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3.xml" ContentType="application/vnd.openxmlformats-officedocument.theme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4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5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6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72" r:id="rId1"/>
    <p:sldMasterId id="2147483703" r:id="rId2"/>
    <p:sldMasterId id="2147483726" r:id="rId3"/>
    <p:sldMasterId id="2147483749" r:id="rId4"/>
    <p:sldMasterId id="2147483772" r:id="rId5"/>
  </p:sldMasterIdLst>
  <p:notesMasterIdLst>
    <p:notesMasterId r:id="rId44"/>
  </p:notesMasterIdLst>
  <p:handoutMasterIdLst>
    <p:handoutMasterId r:id="rId45"/>
  </p:handoutMasterIdLst>
  <p:sldIdLst>
    <p:sldId id="298" r:id="rId6"/>
    <p:sldId id="376" r:id="rId7"/>
    <p:sldId id="338" r:id="rId8"/>
    <p:sldId id="340" r:id="rId9"/>
    <p:sldId id="308" r:id="rId10"/>
    <p:sldId id="316" r:id="rId11"/>
    <p:sldId id="323" r:id="rId12"/>
    <p:sldId id="318" r:id="rId13"/>
    <p:sldId id="319" r:id="rId14"/>
    <p:sldId id="320" r:id="rId15"/>
    <p:sldId id="370" r:id="rId16"/>
    <p:sldId id="372" r:id="rId17"/>
    <p:sldId id="344" r:id="rId18"/>
    <p:sldId id="345" r:id="rId19"/>
    <p:sldId id="346" r:id="rId20"/>
    <p:sldId id="347" r:id="rId21"/>
    <p:sldId id="373" r:id="rId22"/>
    <p:sldId id="348" r:id="rId23"/>
    <p:sldId id="349" r:id="rId24"/>
    <p:sldId id="350" r:id="rId25"/>
    <p:sldId id="352" r:id="rId26"/>
    <p:sldId id="374" r:id="rId27"/>
    <p:sldId id="354" r:id="rId28"/>
    <p:sldId id="356" r:id="rId29"/>
    <p:sldId id="357" r:id="rId30"/>
    <p:sldId id="358" r:id="rId31"/>
    <p:sldId id="359" r:id="rId32"/>
    <p:sldId id="360" r:id="rId33"/>
    <p:sldId id="361" r:id="rId34"/>
    <p:sldId id="362" r:id="rId35"/>
    <p:sldId id="363" r:id="rId36"/>
    <p:sldId id="364" r:id="rId37"/>
    <p:sldId id="365" r:id="rId38"/>
    <p:sldId id="366" r:id="rId39"/>
    <p:sldId id="367" r:id="rId40"/>
    <p:sldId id="375" r:id="rId41"/>
    <p:sldId id="369" r:id="rId42"/>
    <p:sldId id="371" r:id="rId43"/>
  </p:sldIdLst>
  <p:sldSz cx="9144000" cy="5143500" type="screen16x9"/>
  <p:notesSz cx="6797675" cy="9926638"/>
  <p:custDataLst>
    <p:tags r:id="rId4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nabelle OUVRARD-MILON" initials="AO" lastIdx="11" clrIdx="0"/>
  <p:cmAuthor id="2" name="Marina Klymus" initials="MK" lastIdx="7" clrIdx="1">
    <p:extLst>
      <p:ext uri="{19B8F6BF-5375-455C-9EA6-DF929625EA0E}">
        <p15:presenceInfo xmlns:p15="http://schemas.microsoft.com/office/powerpoint/2012/main" userId="S-1-5-21-27507750-1476877928-2106512898-1249" providerId="AD"/>
      </p:ext>
    </p:extLst>
  </p:cmAuthor>
  <p:cmAuthor id="3" name="Caroline Lafon" initials="CL" lastIdx="9" clrIdx="2">
    <p:extLst>
      <p:ext uri="{19B8F6BF-5375-455C-9EA6-DF929625EA0E}">
        <p15:presenceInfo xmlns:p15="http://schemas.microsoft.com/office/powerpoint/2012/main" userId="S-1-5-21-27507750-1476877928-2106512898-123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53C43"/>
    <a:srgbClr val="EC6C43"/>
    <a:srgbClr val="009FE3"/>
    <a:srgbClr val="BEAD8A"/>
    <a:srgbClr val="34B1A9"/>
    <a:srgbClr val="9F3E91"/>
    <a:srgbClr val="FFFFFF"/>
    <a:srgbClr val="57BC71"/>
    <a:srgbClr val="3A1B0B"/>
    <a:srgbClr val="2626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275" autoAdjust="0"/>
    <p:restoredTop sz="96196" autoAdjust="0"/>
  </p:normalViewPr>
  <p:slideViewPr>
    <p:cSldViewPr snapToGrid="0">
      <p:cViewPr varScale="1">
        <p:scale>
          <a:sx n="140" d="100"/>
          <a:sy n="140" d="100"/>
        </p:scale>
        <p:origin x="852" y="9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918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commentAuthors" Target="commentAuthors.xml"/><Relationship Id="rId50" Type="http://schemas.openxmlformats.org/officeDocument/2006/relationships/theme" Target="theme/theme1.xml"/><Relationship Id="rId7" Type="http://schemas.openxmlformats.org/officeDocument/2006/relationships/slide" Target="slides/slide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presProps" Target="presProps.xml"/><Relationship Id="rId8" Type="http://schemas.openxmlformats.org/officeDocument/2006/relationships/slide" Target="slides/slide3.xml"/><Relationship Id="rId51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tags" Target="tags/tag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1461FF18-AD66-434C-8578-DAC99F96174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6D3A1691-CD5A-4BAB-B77B-94F178F725D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EDFAB7-0ED1-408E-83A2-3D9340714EF2}" type="datetimeFigureOut">
              <a:rPr lang="fr-FR" smtClean="0"/>
              <a:t>15/10/2025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7562F571-E17C-4684-AC3C-385D1218352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63297BF6-FBC4-4AAB-ACD4-5748E4C82A5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167F04-8FF0-487C-9623-B0EDA0C584F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620019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8D41F1-F6B6-4B81-A014-4F6E15413B44}" type="datetimeFigureOut">
              <a:rPr lang="fr-FR" smtClean="0"/>
              <a:t>15/10/2025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81BCBC0-77C7-4993-85CC-31D15380751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584528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1BCBC0-77C7-4993-85CC-31D153807511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265561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1BCBC0-77C7-4993-85CC-31D153807511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807178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1BCBC0-77C7-4993-85CC-31D153807511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8728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1BCBC0-77C7-4993-85CC-31D153807511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915157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1BCBC0-77C7-4993-85CC-31D153807511}" type="slidenum">
              <a:rPr lang="fr-FR" smtClean="0"/>
              <a:t>2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233839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1BCBC0-77C7-4993-85CC-31D153807511}" type="slidenum">
              <a:rPr lang="fr-FR" smtClean="0"/>
              <a:t>3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904299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2.svg"/><Relationship Id="rId7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png"/><Relationship Id="rId9" Type="http://schemas.openxmlformats.org/officeDocument/2006/relationships/image" Target="../media/image6.png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1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nstagram.com/universitedebordeaux/" TargetMode="External"/><Relationship Id="rId13" Type="http://schemas.openxmlformats.org/officeDocument/2006/relationships/image" Target="../media/image20.svg"/><Relationship Id="rId18" Type="http://schemas.openxmlformats.org/officeDocument/2006/relationships/image" Target="../media/image23.png"/><Relationship Id="rId3" Type="http://schemas.openxmlformats.org/officeDocument/2006/relationships/image" Target="../media/image13.png"/><Relationship Id="rId21" Type="http://schemas.openxmlformats.org/officeDocument/2006/relationships/image" Target="../media/image26.svg"/><Relationship Id="rId7" Type="http://schemas.openxmlformats.org/officeDocument/2006/relationships/image" Target="../media/image16.svg"/><Relationship Id="rId12" Type="http://schemas.openxmlformats.org/officeDocument/2006/relationships/image" Target="../media/image19.png"/><Relationship Id="rId17" Type="http://schemas.openxmlformats.org/officeDocument/2006/relationships/hyperlink" Target="https://www.youtube.com/user/ubordeaux" TargetMode="External"/><Relationship Id="rId2" Type="http://schemas.openxmlformats.org/officeDocument/2006/relationships/hyperlink" Target="https://twitter.com/univbordeaux" TargetMode="External"/><Relationship Id="rId16" Type="http://schemas.openxmlformats.org/officeDocument/2006/relationships/image" Target="../media/image22.svg"/><Relationship Id="rId20" Type="http://schemas.openxmlformats.org/officeDocument/2006/relationships/image" Target="../media/image25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5.png"/><Relationship Id="rId11" Type="http://schemas.openxmlformats.org/officeDocument/2006/relationships/hyperlink" Target="https://www.linkedin.com/school/universite-de-bordeaux/" TargetMode="External"/><Relationship Id="rId5" Type="http://schemas.openxmlformats.org/officeDocument/2006/relationships/hyperlink" Target="https://www.facebook.com/univbordeaux" TargetMode="External"/><Relationship Id="rId15" Type="http://schemas.openxmlformats.org/officeDocument/2006/relationships/image" Target="../media/image21.png"/><Relationship Id="rId23" Type="http://schemas.openxmlformats.org/officeDocument/2006/relationships/image" Target="../media/image8.svg"/><Relationship Id="rId10" Type="http://schemas.openxmlformats.org/officeDocument/2006/relationships/image" Target="../media/image18.svg"/><Relationship Id="rId19" Type="http://schemas.openxmlformats.org/officeDocument/2006/relationships/image" Target="../media/image24.svg"/><Relationship Id="rId4" Type="http://schemas.openxmlformats.org/officeDocument/2006/relationships/image" Target="../media/image14.svg"/><Relationship Id="rId9" Type="http://schemas.openxmlformats.org/officeDocument/2006/relationships/image" Target="../media/image17.png"/><Relationship Id="rId14" Type="http://schemas.openxmlformats.org/officeDocument/2006/relationships/hyperlink" Target="http://www.u-bordeaux.fr/" TargetMode="External"/><Relationship Id="rId22" Type="http://schemas.openxmlformats.org/officeDocument/2006/relationships/image" Target="../media/image7.png"/></Relationships>
</file>

<file path=ppt/slideLayouts/_rels/slideLayout11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nstagram.com/universitedebordeaux/" TargetMode="External"/><Relationship Id="rId13" Type="http://schemas.openxmlformats.org/officeDocument/2006/relationships/image" Target="../media/image34.svg"/><Relationship Id="rId18" Type="http://schemas.openxmlformats.org/officeDocument/2006/relationships/image" Target="../media/image37.png"/><Relationship Id="rId3" Type="http://schemas.openxmlformats.org/officeDocument/2006/relationships/image" Target="../media/image27.png"/><Relationship Id="rId21" Type="http://schemas.openxmlformats.org/officeDocument/2006/relationships/image" Target="../media/image40.svg"/><Relationship Id="rId7" Type="http://schemas.openxmlformats.org/officeDocument/2006/relationships/image" Target="../media/image30.svg"/><Relationship Id="rId12" Type="http://schemas.openxmlformats.org/officeDocument/2006/relationships/image" Target="../media/image33.png"/><Relationship Id="rId17" Type="http://schemas.openxmlformats.org/officeDocument/2006/relationships/hyperlink" Target="https://www.youtube.com/user/ubordeaux" TargetMode="External"/><Relationship Id="rId2" Type="http://schemas.openxmlformats.org/officeDocument/2006/relationships/hyperlink" Target="https://twitter.com/univbordeaux" TargetMode="External"/><Relationship Id="rId16" Type="http://schemas.openxmlformats.org/officeDocument/2006/relationships/image" Target="../media/image36.svg"/><Relationship Id="rId20" Type="http://schemas.openxmlformats.org/officeDocument/2006/relationships/image" Target="../media/image39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29.png"/><Relationship Id="rId11" Type="http://schemas.openxmlformats.org/officeDocument/2006/relationships/hyperlink" Target="https://www.linkedin.com/school/universite-de-bordeaux/" TargetMode="External"/><Relationship Id="rId5" Type="http://schemas.openxmlformats.org/officeDocument/2006/relationships/hyperlink" Target="https://www.facebook.com/univbordeaux" TargetMode="External"/><Relationship Id="rId15" Type="http://schemas.openxmlformats.org/officeDocument/2006/relationships/image" Target="../media/image35.png"/><Relationship Id="rId10" Type="http://schemas.openxmlformats.org/officeDocument/2006/relationships/image" Target="../media/image32.svg"/><Relationship Id="rId19" Type="http://schemas.openxmlformats.org/officeDocument/2006/relationships/image" Target="../media/image38.svg"/><Relationship Id="rId4" Type="http://schemas.openxmlformats.org/officeDocument/2006/relationships/image" Target="../media/image28.svg"/><Relationship Id="rId9" Type="http://schemas.openxmlformats.org/officeDocument/2006/relationships/image" Target="../media/image31.png"/><Relationship Id="rId14" Type="http://schemas.openxmlformats.org/officeDocument/2006/relationships/hyperlink" Target="http://www.u-bordeaux.fr/" TargetMode="Externa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2.svg"/><Relationship Id="rId7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png"/><Relationship Id="rId9" Type="http://schemas.openxmlformats.org/officeDocument/2006/relationships/image" Target="../media/image6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nstagram.com/universitedebordeaux/" TargetMode="External"/><Relationship Id="rId13" Type="http://schemas.openxmlformats.org/officeDocument/2006/relationships/image" Target="../media/image20.svg"/><Relationship Id="rId18" Type="http://schemas.openxmlformats.org/officeDocument/2006/relationships/image" Target="../media/image23.png"/><Relationship Id="rId3" Type="http://schemas.openxmlformats.org/officeDocument/2006/relationships/image" Target="../media/image13.png"/><Relationship Id="rId21" Type="http://schemas.openxmlformats.org/officeDocument/2006/relationships/image" Target="../media/image26.svg"/><Relationship Id="rId7" Type="http://schemas.openxmlformats.org/officeDocument/2006/relationships/image" Target="../media/image16.svg"/><Relationship Id="rId12" Type="http://schemas.openxmlformats.org/officeDocument/2006/relationships/image" Target="../media/image19.png"/><Relationship Id="rId17" Type="http://schemas.openxmlformats.org/officeDocument/2006/relationships/hyperlink" Target="https://www.youtube.com/user/ubordeaux" TargetMode="External"/><Relationship Id="rId2" Type="http://schemas.openxmlformats.org/officeDocument/2006/relationships/hyperlink" Target="https://twitter.com/univbordeaux" TargetMode="External"/><Relationship Id="rId16" Type="http://schemas.openxmlformats.org/officeDocument/2006/relationships/image" Target="../media/image22.svg"/><Relationship Id="rId20" Type="http://schemas.openxmlformats.org/officeDocument/2006/relationships/image" Target="../media/image2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5.png"/><Relationship Id="rId11" Type="http://schemas.openxmlformats.org/officeDocument/2006/relationships/hyperlink" Target="https://www.linkedin.com/school/universite-de-bordeaux/" TargetMode="External"/><Relationship Id="rId5" Type="http://schemas.openxmlformats.org/officeDocument/2006/relationships/hyperlink" Target="https://www.facebook.com/univbordeaux" TargetMode="External"/><Relationship Id="rId15" Type="http://schemas.openxmlformats.org/officeDocument/2006/relationships/image" Target="../media/image21.png"/><Relationship Id="rId23" Type="http://schemas.openxmlformats.org/officeDocument/2006/relationships/image" Target="../media/image8.svg"/><Relationship Id="rId10" Type="http://schemas.openxmlformats.org/officeDocument/2006/relationships/image" Target="../media/image18.svg"/><Relationship Id="rId19" Type="http://schemas.openxmlformats.org/officeDocument/2006/relationships/image" Target="../media/image24.svg"/><Relationship Id="rId4" Type="http://schemas.openxmlformats.org/officeDocument/2006/relationships/image" Target="../media/image14.svg"/><Relationship Id="rId9" Type="http://schemas.openxmlformats.org/officeDocument/2006/relationships/image" Target="../media/image17.png"/><Relationship Id="rId14" Type="http://schemas.openxmlformats.org/officeDocument/2006/relationships/hyperlink" Target="http://www.u-bordeaux.fr/" TargetMode="External"/><Relationship Id="rId22" Type="http://schemas.openxmlformats.org/officeDocument/2006/relationships/image" Target="../media/image7.png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nstagram.com/universitedebordeaux/" TargetMode="External"/><Relationship Id="rId13" Type="http://schemas.openxmlformats.org/officeDocument/2006/relationships/image" Target="../media/image34.svg"/><Relationship Id="rId18" Type="http://schemas.openxmlformats.org/officeDocument/2006/relationships/image" Target="../media/image37.png"/><Relationship Id="rId3" Type="http://schemas.openxmlformats.org/officeDocument/2006/relationships/image" Target="../media/image27.png"/><Relationship Id="rId21" Type="http://schemas.openxmlformats.org/officeDocument/2006/relationships/image" Target="../media/image40.svg"/><Relationship Id="rId7" Type="http://schemas.openxmlformats.org/officeDocument/2006/relationships/image" Target="../media/image30.svg"/><Relationship Id="rId12" Type="http://schemas.openxmlformats.org/officeDocument/2006/relationships/image" Target="../media/image33.png"/><Relationship Id="rId17" Type="http://schemas.openxmlformats.org/officeDocument/2006/relationships/hyperlink" Target="https://www.youtube.com/user/ubordeaux" TargetMode="External"/><Relationship Id="rId2" Type="http://schemas.openxmlformats.org/officeDocument/2006/relationships/hyperlink" Target="https://twitter.com/univbordeaux" TargetMode="External"/><Relationship Id="rId16" Type="http://schemas.openxmlformats.org/officeDocument/2006/relationships/image" Target="../media/image36.svg"/><Relationship Id="rId20" Type="http://schemas.openxmlformats.org/officeDocument/2006/relationships/image" Target="../media/image3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9.png"/><Relationship Id="rId11" Type="http://schemas.openxmlformats.org/officeDocument/2006/relationships/hyperlink" Target="https://www.linkedin.com/school/universite-de-bordeaux/" TargetMode="External"/><Relationship Id="rId5" Type="http://schemas.openxmlformats.org/officeDocument/2006/relationships/hyperlink" Target="https://www.facebook.com/univbordeaux" TargetMode="External"/><Relationship Id="rId15" Type="http://schemas.openxmlformats.org/officeDocument/2006/relationships/image" Target="../media/image35.png"/><Relationship Id="rId10" Type="http://schemas.openxmlformats.org/officeDocument/2006/relationships/image" Target="../media/image32.svg"/><Relationship Id="rId19" Type="http://schemas.openxmlformats.org/officeDocument/2006/relationships/image" Target="../media/image38.svg"/><Relationship Id="rId4" Type="http://schemas.openxmlformats.org/officeDocument/2006/relationships/image" Target="../media/image28.svg"/><Relationship Id="rId9" Type="http://schemas.openxmlformats.org/officeDocument/2006/relationships/image" Target="../media/image31.png"/><Relationship Id="rId14" Type="http://schemas.openxmlformats.org/officeDocument/2006/relationships/hyperlink" Target="http://www.u-bordeaux.fr/" TargetMode="Externa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2.svg"/><Relationship Id="rId7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png"/><Relationship Id="rId9" Type="http://schemas.openxmlformats.org/officeDocument/2006/relationships/image" Target="../media/image6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nstagram.com/universitedebordeaux/" TargetMode="External"/><Relationship Id="rId13" Type="http://schemas.openxmlformats.org/officeDocument/2006/relationships/image" Target="../media/image20.svg"/><Relationship Id="rId18" Type="http://schemas.openxmlformats.org/officeDocument/2006/relationships/image" Target="../media/image23.png"/><Relationship Id="rId3" Type="http://schemas.openxmlformats.org/officeDocument/2006/relationships/image" Target="../media/image13.png"/><Relationship Id="rId21" Type="http://schemas.openxmlformats.org/officeDocument/2006/relationships/image" Target="../media/image26.svg"/><Relationship Id="rId7" Type="http://schemas.openxmlformats.org/officeDocument/2006/relationships/image" Target="../media/image16.svg"/><Relationship Id="rId12" Type="http://schemas.openxmlformats.org/officeDocument/2006/relationships/image" Target="../media/image19.png"/><Relationship Id="rId17" Type="http://schemas.openxmlformats.org/officeDocument/2006/relationships/hyperlink" Target="https://www.youtube.com/user/ubordeaux" TargetMode="External"/><Relationship Id="rId2" Type="http://schemas.openxmlformats.org/officeDocument/2006/relationships/hyperlink" Target="https://twitter.com/univbordeaux" TargetMode="External"/><Relationship Id="rId16" Type="http://schemas.openxmlformats.org/officeDocument/2006/relationships/image" Target="../media/image22.svg"/><Relationship Id="rId20" Type="http://schemas.openxmlformats.org/officeDocument/2006/relationships/image" Target="../media/image2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5.png"/><Relationship Id="rId11" Type="http://schemas.openxmlformats.org/officeDocument/2006/relationships/hyperlink" Target="https://www.linkedin.com/school/universite-de-bordeaux/" TargetMode="External"/><Relationship Id="rId5" Type="http://schemas.openxmlformats.org/officeDocument/2006/relationships/hyperlink" Target="https://www.facebook.com/univbordeaux" TargetMode="External"/><Relationship Id="rId15" Type="http://schemas.openxmlformats.org/officeDocument/2006/relationships/image" Target="../media/image21.png"/><Relationship Id="rId23" Type="http://schemas.openxmlformats.org/officeDocument/2006/relationships/image" Target="../media/image8.svg"/><Relationship Id="rId10" Type="http://schemas.openxmlformats.org/officeDocument/2006/relationships/image" Target="../media/image18.svg"/><Relationship Id="rId19" Type="http://schemas.openxmlformats.org/officeDocument/2006/relationships/image" Target="../media/image24.svg"/><Relationship Id="rId4" Type="http://schemas.openxmlformats.org/officeDocument/2006/relationships/image" Target="../media/image14.svg"/><Relationship Id="rId9" Type="http://schemas.openxmlformats.org/officeDocument/2006/relationships/image" Target="../media/image17.png"/><Relationship Id="rId14" Type="http://schemas.openxmlformats.org/officeDocument/2006/relationships/hyperlink" Target="http://www.u-bordeaux.fr/" TargetMode="External"/><Relationship Id="rId22" Type="http://schemas.openxmlformats.org/officeDocument/2006/relationships/image" Target="../media/image7.png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nstagram.com/universitedebordeaux/" TargetMode="External"/><Relationship Id="rId13" Type="http://schemas.openxmlformats.org/officeDocument/2006/relationships/image" Target="../media/image34.svg"/><Relationship Id="rId18" Type="http://schemas.openxmlformats.org/officeDocument/2006/relationships/image" Target="../media/image37.png"/><Relationship Id="rId3" Type="http://schemas.openxmlformats.org/officeDocument/2006/relationships/image" Target="../media/image27.png"/><Relationship Id="rId21" Type="http://schemas.openxmlformats.org/officeDocument/2006/relationships/image" Target="../media/image40.svg"/><Relationship Id="rId7" Type="http://schemas.openxmlformats.org/officeDocument/2006/relationships/image" Target="../media/image30.svg"/><Relationship Id="rId12" Type="http://schemas.openxmlformats.org/officeDocument/2006/relationships/image" Target="../media/image33.png"/><Relationship Id="rId17" Type="http://schemas.openxmlformats.org/officeDocument/2006/relationships/hyperlink" Target="https://www.youtube.com/user/ubordeaux" TargetMode="External"/><Relationship Id="rId2" Type="http://schemas.openxmlformats.org/officeDocument/2006/relationships/hyperlink" Target="https://twitter.com/univbordeaux" TargetMode="External"/><Relationship Id="rId16" Type="http://schemas.openxmlformats.org/officeDocument/2006/relationships/image" Target="../media/image36.svg"/><Relationship Id="rId20" Type="http://schemas.openxmlformats.org/officeDocument/2006/relationships/image" Target="../media/image3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9.png"/><Relationship Id="rId11" Type="http://schemas.openxmlformats.org/officeDocument/2006/relationships/hyperlink" Target="https://www.linkedin.com/school/universite-de-bordeaux/" TargetMode="External"/><Relationship Id="rId5" Type="http://schemas.openxmlformats.org/officeDocument/2006/relationships/hyperlink" Target="https://www.facebook.com/univbordeaux" TargetMode="External"/><Relationship Id="rId15" Type="http://schemas.openxmlformats.org/officeDocument/2006/relationships/image" Target="../media/image35.png"/><Relationship Id="rId10" Type="http://schemas.openxmlformats.org/officeDocument/2006/relationships/image" Target="../media/image32.svg"/><Relationship Id="rId19" Type="http://schemas.openxmlformats.org/officeDocument/2006/relationships/image" Target="../media/image38.svg"/><Relationship Id="rId4" Type="http://schemas.openxmlformats.org/officeDocument/2006/relationships/image" Target="../media/image28.svg"/><Relationship Id="rId9" Type="http://schemas.openxmlformats.org/officeDocument/2006/relationships/image" Target="../media/image31.png"/><Relationship Id="rId14" Type="http://schemas.openxmlformats.org/officeDocument/2006/relationships/hyperlink" Target="http://www.u-bordeaux.fr/" TargetMode="Externa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2.svg"/><Relationship Id="rId7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png"/><Relationship Id="rId9" Type="http://schemas.openxmlformats.org/officeDocument/2006/relationships/image" Target="../media/image6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nstagram.com/universitedebordeaux/" TargetMode="External"/><Relationship Id="rId13" Type="http://schemas.openxmlformats.org/officeDocument/2006/relationships/image" Target="../media/image20.svg"/><Relationship Id="rId18" Type="http://schemas.openxmlformats.org/officeDocument/2006/relationships/image" Target="../media/image23.png"/><Relationship Id="rId3" Type="http://schemas.openxmlformats.org/officeDocument/2006/relationships/image" Target="../media/image13.png"/><Relationship Id="rId21" Type="http://schemas.openxmlformats.org/officeDocument/2006/relationships/image" Target="../media/image26.svg"/><Relationship Id="rId7" Type="http://schemas.openxmlformats.org/officeDocument/2006/relationships/image" Target="../media/image16.svg"/><Relationship Id="rId12" Type="http://schemas.openxmlformats.org/officeDocument/2006/relationships/image" Target="../media/image19.png"/><Relationship Id="rId17" Type="http://schemas.openxmlformats.org/officeDocument/2006/relationships/hyperlink" Target="https://www.youtube.com/user/ubordeaux" TargetMode="External"/><Relationship Id="rId2" Type="http://schemas.openxmlformats.org/officeDocument/2006/relationships/hyperlink" Target="https://twitter.com/univbordeaux" TargetMode="External"/><Relationship Id="rId16" Type="http://schemas.openxmlformats.org/officeDocument/2006/relationships/image" Target="../media/image22.svg"/><Relationship Id="rId20" Type="http://schemas.openxmlformats.org/officeDocument/2006/relationships/image" Target="../media/image2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5.png"/><Relationship Id="rId11" Type="http://schemas.openxmlformats.org/officeDocument/2006/relationships/hyperlink" Target="https://www.linkedin.com/school/universite-de-bordeaux/" TargetMode="External"/><Relationship Id="rId5" Type="http://schemas.openxmlformats.org/officeDocument/2006/relationships/hyperlink" Target="https://www.facebook.com/univbordeaux" TargetMode="External"/><Relationship Id="rId15" Type="http://schemas.openxmlformats.org/officeDocument/2006/relationships/image" Target="../media/image21.png"/><Relationship Id="rId23" Type="http://schemas.openxmlformats.org/officeDocument/2006/relationships/image" Target="../media/image8.svg"/><Relationship Id="rId10" Type="http://schemas.openxmlformats.org/officeDocument/2006/relationships/image" Target="../media/image18.svg"/><Relationship Id="rId19" Type="http://schemas.openxmlformats.org/officeDocument/2006/relationships/image" Target="../media/image24.svg"/><Relationship Id="rId4" Type="http://schemas.openxmlformats.org/officeDocument/2006/relationships/image" Target="../media/image14.svg"/><Relationship Id="rId9" Type="http://schemas.openxmlformats.org/officeDocument/2006/relationships/image" Target="../media/image17.png"/><Relationship Id="rId14" Type="http://schemas.openxmlformats.org/officeDocument/2006/relationships/hyperlink" Target="http://www.u-bordeaux.fr/" TargetMode="External"/><Relationship Id="rId22" Type="http://schemas.openxmlformats.org/officeDocument/2006/relationships/image" Target="../media/image7.png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nstagram.com/universitedebordeaux/" TargetMode="External"/><Relationship Id="rId13" Type="http://schemas.openxmlformats.org/officeDocument/2006/relationships/image" Target="../media/image34.svg"/><Relationship Id="rId18" Type="http://schemas.openxmlformats.org/officeDocument/2006/relationships/image" Target="../media/image37.png"/><Relationship Id="rId3" Type="http://schemas.openxmlformats.org/officeDocument/2006/relationships/image" Target="../media/image27.png"/><Relationship Id="rId21" Type="http://schemas.openxmlformats.org/officeDocument/2006/relationships/image" Target="../media/image40.svg"/><Relationship Id="rId7" Type="http://schemas.openxmlformats.org/officeDocument/2006/relationships/image" Target="../media/image30.svg"/><Relationship Id="rId12" Type="http://schemas.openxmlformats.org/officeDocument/2006/relationships/image" Target="../media/image33.png"/><Relationship Id="rId17" Type="http://schemas.openxmlformats.org/officeDocument/2006/relationships/hyperlink" Target="https://www.youtube.com/user/ubordeaux" TargetMode="External"/><Relationship Id="rId2" Type="http://schemas.openxmlformats.org/officeDocument/2006/relationships/hyperlink" Target="https://twitter.com/univbordeaux" TargetMode="External"/><Relationship Id="rId16" Type="http://schemas.openxmlformats.org/officeDocument/2006/relationships/image" Target="../media/image36.svg"/><Relationship Id="rId20" Type="http://schemas.openxmlformats.org/officeDocument/2006/relationships/image" Target="../media/image39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9.png"/><Relationship Id="rId11" Type="http://schemas.openxmlformats.org/officeDocument/2006/relationships/hyperlink" Target="https://www.linkedin.com/school/universite-de-bordeaux/" TargetMode="External"/><Relationship Id="rId5" Type="http://schemas.openxmlformats.org/officeDocument/2006/relationships/hyperlink" Target="https://www.facebook.com/univbordeaux" TargetMode="External"/><Relationship Id="rId15" Type="http://schemas.openxmlformats.org/officeDocument/2006/relationships/image" Target="../media/image35.png"/><Relationship Id="rId10" Type="http://schemas.openxmlformats.org/officeDocument/2006/relationships/image" Target="../media/image32.svg"/><Relationship Id="rId19" Type="http://schemas.openxmlformats.org/officeDocument/2006/relationships/image" Target="../media/image38.svg"/><Relationship Id="rId4" Type="http://schemas.openxmlformats.org/officeDocument/2006/relationships/image" Target="../media/image28.svg"/><Relationship Id="rId9" Type="http://schemas.openxmlformats.org/officeDocument/2006/relationships/image" Target="../media/image31.png"/><Relationship Id="rId14" Type="http://schemas.openxmlformats.org/officeDocument/2006/relationships/hyperlink" Target="http://www.u-bordeaux.fr/" TargetMode="Externa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2.svg"/><Relationship Id="rId7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png"/><Relationship Id="rId9" Type="http://schemas.openxmlformats.org/officeDocument/2006/relationships/image" Target="../media/image6.pn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nstagram.com/universitedebordeaux/" TargetMode="External"/><Relationship Id="rId13" Type="http://schemas.openxmlformats.org/officeDocument/2006/relationships/image" Target="../media/image20.svg"/><Relationship Id="rId18" Type="http://schemas.openxmlformats.org/officeDocument/2006/relationships/image" Target="../media/image23.png"/><Relationship Id="rId3" Type="http://schemas.openxmlformats.org/officeDocument/2006/relationships/image" Target="../media/image13.png"/><Relationship Id="rId21" Type="http://schemas.openxmlformats.org/officeDocument/2006/relationships/image" Target="../media/image26.svg"/><Relationship Id="rId7" Type="http://schemas.openxmlformats.org/officeDocument/2006/relationships/image" Target="../media/image16.svg"/><Relationship Id="rId12" Type="http://schemas.openxmlformats.org/officeDocument/2006/relationships/image" Target="../media/image19.png"/><Relationship Id="rId17" Type="http://schemas.openxmlformats.org/officeDocument/2006/relationships/hyperlink" Target="https://www.youtube.com/user/ubordeaux" TargetMode="External"/><Relationship Id="rId2" Type="http://schemas.openxmlformats.org/officeDocument/2006/relationships/hyperlink" Target="https://twitter.com/univbordeaux" TargetMode="External"/><Relationship Id="rId16" Type="http://schemas.openxmlformats.org/officeDocument/2006/relationships/image" Target="../media/image22.svg"/><Relationship Id="rId20" Type="http://schemas.openxmlformats.org/officeDocument/2006/relationships/image" Target="../media/image25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5.png"/><Relationship Id="rId11" Type="http://schemas.openxmlformats.org/officeDocument/2006/relationships/hyperlink" Target="https://www.linkedin.com/school/universite-de-bordeaux/" TargetMode="External"/><Relationship Id="rId5" Type="http://schemas.openxmlformats.org/officeDocument/2006/relationships/hyperlink" Target="https://www.facebook.com/univbordeaux" TargetMode="External"/><Relationship Id="rId15" Type="http://schemas.openxmlformats.org/officeDocument/2006/relationships/image" Target="../media/image21.png"/><Relationship Id="rId23" Type="http://schemas.openxmlformats.org/officeDocument/2006/relationships/image" Target="../media/image8.svg"/><Relationship Id="rId10" Type="http://schemas.openxmlformats.org/officeDocument/2006/relationships/image" Target="../media/image18.svg"/><Relationship Id="rId19" Type="http://schemas.openxmlformats.org/officeDocument/2006/relationships/image" Target="../media/image24.svg"/><Relationship Id="rId4" Type="http://schemas.openxmlformats.org/officeDocument/2006/relationships/image" Target="../media/image14.svg"/><Relationship Id="rId9" Type="http://schemas.openxmlformats.org/officeDocument/2006/relationships/image" Target="../media/image17.png"/><Relationship Id="rId14" Type="http://schemas.openxmlformats.org/officeDocument/2006/relationships/hyperlink" Target="http://www.u-bordeaux.fr/" TargetMode="External"/><Relationship Id="rId22" Type="http://schemas.openxmlformats.org/officeDocument/2006/relationships/image" Target="../media/image7.png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nstagram.com/universitedebordeaux/" TargetMode="External"/><Relationship Id="rId13" Type="http://schemas.openxmlformats.org/officeDocument/2006/relationships/image" Target="../media/image34.svg"/><Relationship Id="rId18" Type="http://schemas.openxmlformats.org/officeDocument/2006/relationships/image" Target="../media/image37.png"/><Relationship Id="rId3" Type="http://schemas.openxmlformats.org/officeDocument/2006/relationships/image" Target="../media/image27.png"/><Relationship Id="rId21" Type="http://schemas.openxmlformats.org/officeDocument/2006/relationships/image" Target="../media/image40.svg"/><Relationship Id="rId7" Type="http://schemas.openxmlformats.org/officeDocument/2006/relationships/image" Target="../media/image30.svg"/><Relationship Id="rId12" Type="http://schemas.openxmlformats.org/officeDocument/2006/relationships/image" Target="../media/image33.png"/><Relationship Id="rId17" Type="http://schemas.openxmlformats.org/officeDocument/2006/relationships/hyperlink" Target="https://www.youtube.com/user/ubordeaux" TargetMode="External"/><Relationship Id="rId2" Type="http://schemas.openxmlformats.org/officeDocument/2006/relationships/hyperlink" Target="https://twitter.com/univbordeaux" TargetMode="External"/><Relationship Id="rId16" Type="http://schemas.openxmlformats.org/officeDocument/2006/relationships/image" Target="../media/image36.svg"/><Relationship Id="rId20" Type="http://schemas.openxmlformats.org/officeDocument/2006/relationships/image" Target="../media/image39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9.png"/><Relationship Id="rId11" Type="http://schemas.openxmlformats.org/officeDocument/2006/relationships/hyperlink" Target="https://www.linkedin.com/school/universite-de-bordeaux/" TargetMode="External"/><Relationship Id="rId5" Type="http://schemas.openxmlformats.org/officeDocument/2006/relationships/hyperlink" Target="https://www.facebook.com/univbordeaux" TargetMode="External"/><Relationship Id="rId15" Type="http://schemas.openxmlformats.org/officeDocument/2006/relationships/image" Target="../media/image35.png"/><Relationship Id="rId10" Type="http://schemas.openxmlformats.org/officeDocument/2006/relationships/image" Target="../media/image32.svg"/><Relationship Id="rId19" Type="http://schemas.openxmlformats.org/officeDocument/2006/relationships/image" Target="../media/image38.svg"/><Relationship Id="rId4" Type="http://schemas.openxmlformats.org/officeDocument/2006/relationships/image" Target="../media/image28.svg"/><Relationship Id="rId9" Type="http://schemas.openxmlformats.org/officeDocument/2006/relationships/image" Target="../media/image31.png"/><Relationship Id="rId14" Type="http://schemas.openxmlformats.org/officeDocument/2006/relationships/hyperlink" Target="http://www.u-bordeaux.fr/" TargetMode="Externa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uverture 1 - Foncé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que 2">
            <a:extLst>
              <a:ext uri="{FF2B5EF4-FFF2-40B4-BE49-F238E27FC236}">
                <a16:creationId xmlns:a16="http://schemas.microsoft.com/office/drawing/2014/main" id="{BCA76D0D-BBB6-4E20-BDA2-AF79702AE4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04432" y="2054979"/>
            <a:ext cx="3470194" cy="1035588"/>
          </a:xfrm>
          <a:prstGeom prst="rect">
            <a:avLst/>
          </a:prstGeom>
        </p:spPr>
      </p:pic>
      <p:sp>
        <p:nvSpPr>
          <p:cNvPr id="5" name="Forme libre : forme 4">
            <a:extLst>
              <a:ext uri="{FF2B5EF4-FFF2-40B4-BE49-F238E27FC236}">
                <a16:creationId xmlns:a16="http://schemas.microsoft.com/office/drawing/2014/main" id="{AEFD991A-ABBA-4F4C-98CF-1084947DFB28}"/>
              </a:ext>
            </a:extLst>
          </p:cNvPr>
          <p:cNvSpPr/>
          <p:nvPr userDrawn="1"/>
        </p:nvSpPr>
        <p:spPr>
          <a:xfrm>
            <a:off x="0" y="0"/>
            <a:ext cx="2476252" cy="5143500"/>
          </a:xfrm>
          <a:custGeom>
            <a:avLst/>
            <a:gdLst>
              <a:gd name="connsiteX0" fmla="*/ 0 w 2476252"/>
              <a:gd name="connsiteY0" fmla="*/ 0 h 5143500"/>
              <a:gd name="connsiteX1" fmla="*/ 2038350 w 2476252"/>
              <a:gd name="connsiteY1" fmla="*/ 0 h 5143500"/>
              <a:gd name="connsiteX2" fmla="*/ 2476252 w 2476252"/>
              <a:gd name="connsiteY2" fmla="*/ 0 h 5143500"/>
              <a:gd name="connsiteX3" fmla="*/ 2038350 w 2476252"/>
              <a:gd name="connsiteY3" fmla="*/ 5143500 h 5143500"/>
              <a:gd name="connsiteX4" fmla="*/ 0 w 2476252"/>
              <a:gd name="connsiteY4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76252" h="5143500">
                <a:moveTo>
                  <a:pt x="0" y="0"/>
                </a:moveTo>
                <a:lnTo>
                  <a:pt x="2038350" y="0"/>
                </a:lnTo>
                <a:lnTo>
                  <a:pt x="2476252" y="0"/>
                </a:lnTo>
                <a:lnTo>
                  <a:pt x="2038350" y="5143500"/>
                </a:lnTo>
                <a:lnTo>
                  <a:pt x="0" y="5143500"/>
                </a:lnTo>
                <a:close/>
              </a:path>
            </a:pathLst>
          </a:custGeom>
          <a:solidFill>
            <a:srgbClr val="3A1B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6" name="Forme libre : forme 5">
            <a:extLst>
              <a:ext uri="{FF2B5EF4-FFF2-40B4-BE49-F238E27FC236}">
                <a16:creationId xmlns:a16="http://schemas.microsoft.com/office/drawing/2014/main" id="{864821C3-7BAD-4585-9F8D-C119AC850133}"/>
              </a:ext>
            </a:extLst>
          </p:cNvPr>
          <p:cNvSpPr/>
          <p:nvPr userDrawn="1"/>
        </p:nvSpPr>
        <p:spPr>
          <a:xfrm flipH="1">
            <a:off x="2029641" y="2387470"/>
            <a:ext cx="614164" cy="2756031"/>
          </a:xfrm>
          <a:custGeom>
            <a:avLst/>
            <a:gdLst>
              <a:gd name="connsiteX0" fmla="*/ 379524 w 614164"/>
              <a:gd name="connsiteY0" fmla="*/ 0 h 2756031"/>
              <a:gd name="connsiteX1" fmla="*/ 0 w 614164"/>
              <a:gd name="connsiteY1" fmla="*/ 2756031 h 2756031"/>
              <a:gd name="connsiteX2" fmla="*/ 614164 w 614164"/>
              <a:gd name="connsiteY2" fmla="*/ 2756031 h 2756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14164" h="2756031">
                <a:moveTo>
                  <a:pt x="379524" y="0"/>
                </a:moveTo>
                <a:lnTo>
                  <a:pt x="0" y="2756031"/>
                </a:lnTo>
                <a:lnTo>
                  <a:pt x="614164" y="2756031"/>
                </a:lnTo>
                <a:close/>
              </a:path>
            </a:pathLst>
          </a:custGeom>
          <a:solidFill>
            <a:srgbClr val="009F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DA8CA9DB-B794-428D-9ECF-D4872FBA5C4C}"/>
              </a:ext>
            </a:extLst>
          </p:cNvPr>
          <p:cNvGrpSpPr/>
          <p:nvPr userDrawn="1"/>
        </p:nvGrpSpPr>
        <p:grpSpPr>
          <a:xfrm>
            <a:off x="-134707" y="-72828"/>
            <a:ext cx="2658992" cy="5335244"/>
            <a:chOff x="-134707" y="-72828"/>
            <a:chExt cx="2658992" cy="5335244"/>
          </a:xfrm>
          <a:solidFill>
            <a:schemeClr val="bg2">
              <a:alpha val="10000"/>
            </a:schemeClr>
          </a:solidFill>
        </p:grpSpPr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81E41836-E956-4188-9AAC-A83AE8900453}"/>
                </a:ext>
              </a:extLst>
            </p:cNvPr>
            <p:cNvSpPr/>
            <p:nvPr/>
          </p:nvSpPr>
          <p:spPr>
            <a:xfrm rot="8716295">
              <a:off x="1460344" y="348006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6217F1CC-5E84-40FC-88E7-C42A2398F84B}"/>
                </a:ext>
              </a:extLst>
            </p:cNvPr>
            <p:cNvSpPr/>
            <p:nvPr/>
          </p:nvSpPr>
          <p:spPr>
            <a:xfrm rot="8716295">
              <a:off x="1595642" y="352432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B80A1B59-7F4C-4E95-8CB7-0AACC6C05627}"/>
                </a:ext>
              </a:extLst>
            </p:cNvPr>
            <p:cNvSpPr/>
            <p:nvPr/>
          </p:nvSpPr>
          <p:spPr>
            <a:xfrm rot="8716295">
              <a:off x="1527760" y="339373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8728A690-34B9-4DFF-8734-9F6EBD35EBC5}"/>
                </a:ext>
              </a:extLst>
            </p:cNvPr>
            <p:cNvSpPr/>
            <p:nvPr/>
          </p:nvSpPr>
          <p:spPr>
            <a:xfrm rot="8716295">
              <a:off x="1290473" y="361408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2927191B-5C8D-4149-8DBA-718546C29906}"/>
                </a:ext>
              </a:extLst>
            </p:cNvPr>
            <p:cNvSpPr/>
            <p:nvPr/>
          </p:nvSpPr>
          <p:spPr>
            <a:xfrm rot="8716295">
              <a:off x="1101427" y="329824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375566C6-9E02-4DD8-8C3B-267A6C61A667}"/>
                </a:ext>
              </a:extLst>
            </p:cNvPr>
            <p:cNvSpPr/>
            <p:nvPr/>
          </p:nvSpPr>
          <p:spPr>
            <a:xfrm rot="8716295">
              <a:off x="1083185" y="3088198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1A3C2C2D-7CBE-4F9B-8B8B-959B1D778E3E}"/>
                </a:ext>
              </a:extLst>
            </p:cNvPr>
            <p:cNvSpPr/>
            <p:nvPr/>
          </p:nvSpPr>
          <p:spPr>
            <a:xfrm rot="8716295">
              <a:off x="1426961" y="367606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8EB673A3-36B5-4724-AE91-A9B8454C1396}"/>
                </a:ext>
              </a:extLst>
            </p:cNvPr>
            <p:cNvSpPr/>
            <p:nvPr/>
          </p:nvSpPr>
          <p:spPr>
            <a:xfrm rot="8716295">
              <a:off x="1897908" y="310145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F8EEA06C-B620-4C52-ACA9-B6AC8852992A}"/>
                </a:ext>
              </a:extLst>
            </p:cNvPr>
            <p:cNvSpPr/>
            <p:nvPr/>
          </p:nvSpPr>
          <p:spPr>
            <a:xfrm rot="8716295">
              <a:off x="2028620" y="3176625"/>
              <a:ext cx="305088" cy="336622"/>
            </a:xfrm>
            <a:custGeom>
              <a:avLst/>
              <a:gdLst>
                <a:gd name="connsiteX0" fmla="*/ 211294 w 305088"/>
                <a:gd name="connsiteY0" fmla="*/ 107197 h 336622"/>
                <a:gd name="connsiteX1" fmla="*/ 211294 w 305088"/>
                <a:gd name="connsiteY1" fmla="*/ 82369 h 336622"/>
                <a:gd name="connsiteX2" fmla="*/ 211017 w 305088"/>
                <a:gd name="connsiteY2" fmla="*/ 81498 h 336622"/>
                <a:gd name="connsiteX3" fmla="*/ 278425 w 305088"/>
                <a:gd name="connsiteY3" fmla="*/ 0 h 336622"/>
                <a:gd name="connsiteX4" fmla="*/ 297297 w 305088"/>
                <a:gd name="connsiteY4" fmla="*/ 35535 h 336622"/>
                <a:gd name="connsiteX5" fmla="*/ 305088 w 305088"/>
                <a:gd name="connsiteY5" fmla="*/ 92713 h 336622"/>
                <a:gd name="connsiteX6" fmla="*/ 305088 w 305088"/>
                <a:gd name="connsiteY6" fmla="*/ 101679 h 336622"/>
                <a:gd name="connsiteX7" fmla="*/ 0 w 305088"/>
                <a:gd name="connsiteY7" fmla="*/ 336622 h 336622"/>
                <a:gd name="connsiteX8" fmla="*/ 79568 w 305088"/>
                <a:gd name="connsiteY8" fmla="*/ 240423 h 336622"/>
                <a:gd name="connsiteX9" fmla="*/ 79568 w 305088"/>
                <a:gd name="connsiteY9" fmla="*/ 282372 h 33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5088" h="336622">
                  <a:moveTo>
                    <a:pt x="211294" y="107197"/>
                  </a:moveTo>
                  <a:lnTo>
                    <a:pt x="211294" y="82369"/>
                  </a:lnTo>
                  <a:lnTo>
                    <a:pt x="211017" y="81498"/>
                  </a:lnTo>
                  <a:lnTo>
                    <a:pt x="278425" y="0"/>
                  </a:lnTo>
                  <a:lnTo>
                    <a:pt x="297297" y="35535"/>
                  </a:lnTo>
                  <a:cubicBezTo>
                    <a:pt x="302416" y="52195"/>
                    <a:pt x="305088" y="71334"/>
                    <a:pt x="305088" y="92713"/>
                  </a:cubicBezTo>
                  <a:lnTo>
                    <a:pt x="305088" y="101679"/>
                  </a:lnTo>
                  <a:close/>
                  <a:moveTo>
                    <a:pt x="0" y="336622"/>
                  </a:moveTo>
                  <a:lnTo>
                    <a:pt x="79568" y="240423"/>
                  </a:lnTo>
                  <a:lnTo>
                    <a:pt x="79568" y="28237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84C08685-C991-44FD-898B-8BF95960C6B9}"/>
                </a:ext>
              </a:extLst>
            </p:cNvPr>
            <p:cNvSpPr/>
            <p:nvPr/>
          </p:nvSpPr>
          <p:spPr>
            <a:xfrm rot="8716295">
              <a:off x="1728037" y="323546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75F06F9A-B5F6-494A-BA46-78E41263CC81}"/>
                </a:ext>
              </a:extLst>
            </p:cNvPr>
            <p:cNvSpPr/>
            <p:nvPr/>
          </p:nvSpPr>
          <p:spPr>
            <a:xfrm rot="8716295">
              <a:off x="1538992" y="291963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CE3913D0-3ECC-49C2-BFCE-2E22945EB24B}"/>
                </a:ext>
              </a:extLst>
            </p:cNvPr>
            <p:cNvSpPr/>
            <p:nvPr/>
          </p:nvSpPr>
          <p:spPr>
            <a:xfrm rot="8716295">
              <a:off x="1864525" y="329745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ACF63173-E092-4F8A-A29A-250C09066948}"/>
                </a:ext>
              </a:extLst>
            </p:cNvPr>
            <p:cNvSpPr/>
            <p:nvPr/>
          </p:nvSpPr>
          <p:spPr>
            <a:xfrm rot="8716295">
              <a:off x="1499078" y="307102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7EFA26CA-A39B-4E8B-847D-F85F8518030F}"/>
                </a:ext>
              </a:extLst>
            </p:cNvPr>
            <p:cNvSpPr/>
            <p:nvPr/>
          </p:nvSpPr>
          <p:spPr>
            <a:xfrm rot="7484129">
              <a:off x="2004987" y="3639772"/>
              <a:ext cx="221889" cy="221665"/>
            </a:xfrm>
            <a:custGeom>
              <a:avLst/>
              <a:gdLst>
                <a:gd name="connsiteX0" fmla="*/ 206330 w 221889"/>
                <a:gd name="connsiteY0" fmla="*/ 8936 h 221665"/>
                <a:gd name="connsiteX1" fmla="*/ 221889 w 221889"/>
                <a:gd name="connsiteY1" fmla="*/ 0 h 221665"/>
                <a:gd name="connsiteX2" fmla="*/ 221889 w 221889"/>
                <a:gd name="connsiteY2" fmla="*/ 8936 h 221665"/>
                <a:gd name="connsiteX3" fmla="*/ 50650 w 221889"/>
                <a:gd name="connsiteY3" fmla="*/ 221665 h 221665"/>
                <a:gd name="connsiteX4" fmla="*/ 0 w 221889"/>
                <a:gd name="connsiteY4" fmla="*/ 127433 h 221665"/>
                <a:gd name="connsiteX5" fmla="*/ 103511 w 221889"/>
                <a:gd name="connsiteY5" fmla="*/ 67986 h 221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1889" h="221665">
                  <a:moveTo>
                    <a:pt x="206330" y="8936"/>
                  </a:moveTo>
                  <a:lnTo>
                    <a:pt x="221889" y="0"/>
                  </a:lnTo>
                  <a:lnTo>
                    <a:pt x="221889" y="8936"/>
                  </a:lnTo>
                  <a:close/>
                  <a:moveTo>
                    <a:pt x="50650" y="221665"/>
                  </a:moveTo>
                  <a:lnTo>
                    <a:pt x="0" y="127433"/>
                  </a:lnTo>
                  <a:lnTo>
                    <a:pt x="103511" y="6798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54CB42FE-32B8-4C2C-A4AB-C4F8B84705EC}"/>
                </a:ext>
              </a:extLst>
            </p:cNvPr>
            <p:cNvSpPr/>
            <p:nvPr/>
          </p:nvSpPr>
          <p:spPr>
            <a:xfrm rot="8716295">
              <a:off x="2016311" y="313524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B97467BE-761E-4E11-AD12-792548131E9F}"/>
                </a:ext>
              </a:extLst>
            </p:cNvPr>
            <p:cNvSpPr/>
            <p:nvPr/>
          </p:nvSpPr>
          <p:spPr>
            <a:xfrm rot="8716295">
              <a:off x="1796861" y="4478944"/>
              <a:ext cx="215176" cy="351729"/>
            </a:xfrm>
            <a:custGeom>
              <a:avLst/>
              <a:gdLst>
                <a:gd name="connsiteX0" fmla="*/ 122761 w 215176"/>
                <a:gd name="connsiteY0" fmla="*/ 351729 h 351729"/>
                <a:gd name="connsiteX1" fmla="*/ 122761 w 215176"/>
                <a:gd name="connsiteY1" fmla="*/ 105519 h 351729"/>
                <a:gd name="connsiteX2" fmla="*/ 122761 w 215176"/>
                <a:gd name="connsiteY2" fmla="*/ 99312 h 351729"/>
                <a:gd name="connsiteX3" fmla="*/ 91726 w 215176"/>
                <a:gd name="connsiteY3" fmla="*/ 75863 h 351729"/>
                <a:gd name="connsiteX4" fmla="*/ 0 w 215176"/>
                <a:gd name="connsiteY4" fmla="*/ 75863 h 351729"/>
                <a:gd name="connsiteX5" fmla="*/ 0 w 215176"/>
                <a:gd name="connsiteY5" fmla="*/ 31564 h 351729"/>
                <a:gd name="connsiteX6" fmla="*/ 26107 w 215176"/>
                <a:gd name="connsiteY6" fmla="*/ 0 h 351729"/>
                <a:gd name="connsiteX7" fmla="*/ 128968 w 215176"/>
                <a:gd name="connsiteY7" fmla="*/ 0 h 351729"/>
                <a:gd name="connsiteX8" fmla="*/ 215176 w 215176"/>
                <a:gd name="connsiteY8" fmla="*/ 75863 h 351729"/>
                <a:gd name="connsiteX9" fmla="*/ 215176 w 215176"/>
                <a:gd name="connsiteY9" fmla="*/ 315177 h 351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5176" h="351729">
                  <a:moveTo>
                    <a:pt x="122761" y="35172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31564"/>
                  </a:lnTo>
                  <a:lnTo>
                    <a:pt x="26107" y="0"/>
                  </a:lnTo>
                  <a:lnTo>
                    <a:pt x="128968" y="0"/>
                  </a:lnTo>
                  <a:cubicBezTo>
                    <a:pt x="184831" y="0"/>
                    <a:pt x="215176" y="24139"/>
                    <a:pt x="215176" y="75863"/>
                  </a:cubicBezTo>
                  <a:lnTo>
                    <a:pt x="215176" y="3151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8C358B06-CFB8-4D7E-B58B-64076A590B10}"/>
                </a:ext>
              </a:extLst>
            </p:cNvPr>
            <p:cNvSpPr/>
            <p:nvPr/>
          </p:nvSpPr>
          <p:spPr>
            <a:xfrm rot="8716295">
              <a:off x="1938756" y="4602084"/>
              <a:ext cx="253340" cy="284725"/>
            </a:xfrm>
            <a:custGeom>
              <a:avLst/>
              <a:gdLst>
                <a:gd name="connsiteX0" fmla="*/ 160632 w 253340"/>
                <a:gd name="connsiteY0" fmla="*/ 90518 h 284725"/>
                <a:gd name="connsiteX1" fmla="*/ 235501 w 253340"/>
                <a:gd name="connsiteY1" fmla="*/ 0 h 284725"/>
                <a:gd name="connsiteX2" fmla="*/ 245549 w 253340"/>
                <a:gd name="connsiteY2" fmla="*/ 18921 h 284725"/>
                <a:gd name="connsiteX3" fmla="*/ 253340 w 253340"/>
                <a:gd name="connsiteY3" fmla="*/ 76098 h 284725"/>
                <a:gd name="connsiteX4" fmla="*/ 253340 w 253340"/>
                <a:gd name="connsiteY4" fmla="*/ 85064 h 284725"/>
                <a:gd name="connsiteX5" fmla="*/ 0 w 253340"/>
                <a:gd name="connsiteY5" fmla="*/ 284725 h 284725"/>
                <a:gd name="connsiteX6" fmla="*/ 27820 w 253340"/>
                <a:gd name="connsiteY6" fmla="*/ 251090 h 284725"/>
                <a:gd name="connsiteX7" fmla="*/ 27820 w 253340"/>
                <a:gd name="connsiteY7" fmla="*/ 265757 h 28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3340" h="284725">
                  <a:moveTo>
                    <a:pt x="160632" y="90518"/>
                  </a:moveTo>
                  <a:lnTo>
                    <a:pt x="235501" y="0"/>
                  </a:lnTo>
                  <a:lnTo>
                    <a:pt x="245549" y="18921"/>
                  </a:lnTo>
                  <a:cubicBezTo>
                    <a:pt x="250668" y="35581"/>
                    <a:pt x="253340" y="54719"/>
                    <a:pt x="253340" y="76098"/>
                  </a:cubicBezTo>
                  <a:lnTo>
                    <a:pt x="253340" y="85064"/>
                  </a:lnTo>
                  <a:close/>
                  <a:moveTo>
                    <a:pt x="0" y="284725"/>
                  </a:moveTo>
                  <a:lnTo>
                    <a:pt x="27820" y="251090"/>
                  </a:lnTo>
                  <a:lnTo>
                    <a:pt x="27820" y="26575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55465226-9705-450D-9333-C6F18EA9DA5B}"/>
                </a:ext>
              </a:extLst>
            </p:cNvPr>
            <p:cNvSpPr/>
            <p:nvPr/>
          </p:nvSpPr>
          <p:spPr>
            <a:xfrm rot="8716295">
              <a:off x="1865533" y="439222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14393A34-234C-4F82-B937-651BE2C2EB26}"/>
                </a:ext>
              </a:extLst>
            </p:cNvPr>
            <p:cNvSpPr/>
            <p:nvPr/>
          </p:nvSpPr>
          <p:spPr>
            <a:xfrm rot="8716295">
              <a:off x="1628246" y="461256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C8A075BE-A4F2-4F84-B522-C6E43EFD2240}"/>
                </a:ext>
              </a:extLst>
            </p:cNvPr>
            <p:cNvSpPr/>
            <p:nvPr/>
          </p:nvSpPr>
          <p:spPr>
            <a:xfrm rot="8716295">
              <a:off x="1439200" y="42967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56AB483C-9DB6-4B2C-B13B-6356C19C1FBB}"/>
                </a:ext>
              </a:extLst>
            </p:cNvPr>
            <p:cNvSpPr/>
            <p:nvPr/>
          </p:nvSpPr>
          <p:spPr>
            <a:xfrm rot="8716295">
              <a:off x="1420958" y="408668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AFF52EFA-F302-42BC-851E-3ECAD5E2BCCE}"/>
                </a:ext>
              </a:extLst>
            </p:cNvPr>
            <p:cNvSpPr/>
            <p:nvPr/>
          </p:nvSpPr>
          <p:spPr>
            <a:xfrm rot="8716295">
              <a:off x="1764734" y="467454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DD8C6387-B92F-4AE3-84AA-9699909C3151}"/>
                </a:ext>
              </a:extLst>
            </p:cNvPr>
            <p:cNvSpPr/>
            <p:nvPr/>
          </p:nvSpPr>
          <p:spPr>
            <a:xfrm rot="8716295">
              <a:off x="2058111" y="4234218"/>
              <a:ext cx="77302" cy="80483"/>
            </a:xfrm>
            <a:custGeom>
              <a:avLst/>
              <a:gdLst>
                <a:gd name="connsiteX0" fmla="*/ 2300 w 77302"/>
                <a:gd name="connsiteY0" fmla="*/ 68069 h 80483"/>
                <a:gd name="connsiteX1" fmla="*/ 0 w 77302"/>
                <a:gd name="connsiteY1" fmla="*/ 62622 h 80483"/>
                <a:gd name="connsiteX2" fmla="*/ 51796 w 77302"/>
                <a:gd name="connsiteY2" fmla="*/ 0 h 80483"/>
                <a:gd name="connsiteX3" fmla="*/ 64371 w 77302"/>
                <a:gd name="connsiteY3" fmla="*/ 5309 h 80483"/>
                <a:gd name="connsiteX4" fmla="*/ 64371 w 77302"/>
                <a:gd name="connsiteY4" fmla="*/ 67380 h 80483"/>
                <a:gd name="connsiteX5" fmla="*/ 33335 w 77302"/>
                <a:gd name="connsiteY5" fmla="*/ 80483 h 80483"/>
                <a:gd name="connsiteX6" fmla="*/ 2300 w 77302"/>
                <a:gd name="connsiteY6" fmla="*/ 68069 h 80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7302" h="80483">
                  <a:moveTo>
                    <a:pt x="2300" y="68069"/>
                  </a:moveTo>
                  <a:lnTo>
                    <a:pt x="0" y="62622"/>
                  </a:lnTo>
                  <a:lnTo>
                    <a:pt x="51796" y="0"/>
                  </a:lnTo>
                  <a:lnTo>
                    <a:pt x="64371" y="5309"/>
                  </a:lnTo>
                  <a:cubicBezTo>
                    <a:pt x="81612" y="21861"/>
                    <a:pt x="81613" y="50138"/>
                    <a:pt x="64371" y="67380"/>
                  </a:cubicBezTo>
                  <a:cubicBezTo>
                    <a:pt x="56095" y="75656"/>
                    <a:pt x="45060" y="80483"/>
                    <a:pt x="33335" y="80483"/>
                  </a:cubicBezTo>
                  <a:cubicBezTo>
                    <a:pt x="21611" y="80483"/>
                    <a:pt x="10576" y="76345"/>
                    <a:pt x="2300" y="6806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7D76A85F-9EC7-4610-8B93-DADD647681CA}"/>
                </a:ext>
              </a:extLst>
            </p:cNvPr>
            <p:cNvSpPr/>
            <p:nvPr/>
          </p:nvSpPr>
          <p:spPr>
            <a:xfrm rot="8716295">
              <a:off x="1876235" y="3938134"/>
              <a:ext cx="237808" cy="296463"/>
            </a:xfrm>
            <a:custGeom>
              <a:avLst/>
              <a:gdLst>
                <a:gd name="connsiteX0" fmla="*/ 66569 w 237808"/>
                <a:gd name="connsiteY0" fmla="*/ 296463 h 296463"/>
                <a:gd name="connsiteX1" fmla="*/ 1694 w 237808"/>
                <a:gd name="connsiteY1" fmla="*/ 175766 h 296463"/>
                <a:gd name="connsiteX2" fmla="*/ 34886 w 237808"/>
                <a:gd name="connsiteY2" fmla="*/ 83734 h 296463"/>
                <a:gd name="connsiteX3" fmla="*/ 0 w 237808"/>
                <a:gd name="connsiteY3" fmla="*/ 83734 h 296463"/>
                <a:gd name="connsiteX4" fmla="*/ 69258 w 237808"/>
                <a:gd name="connsiteY4" fmla="*/ 0 h 296463"/>
                <a:gd name="connsiteX5" fmla="*/ 237808 w 237808"/>
                <a:gd name="connsiteY5" fmla="*/ 0 h 296463"/>
                <a:gd name="connsiteX6" fmla="*/ 237808 w 237808"/>
                <a:gd name="connsiteY6" fmla="*/ 83734 h 296463"/>
                <a:gd name="connsiteX7" fmla="*/ 139741 w 237808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7808" h="296463">
                  <a:moveTo>
                    <a:pt x="66569" y="296463"/>
                  </a:moveTo>
                  <a:lnTo>
                    <a:pt x="1694" y="175766"/>
                  </a:lnTo>
                  <a:lnTo>
                    <a:pt x="34886" y="83734"/>
                  </a:lnTo>
                  <a:lnTo>
                    <a:pt x="0" y="83734"/>
                  </a:lnTo>
                  <a:lnTo>
                    <a:pt x="69258" y="0"/>
                  </a:lnTo>
                  <a:lnTo>
                    <a:pt x="237808" y="0"/>
                  </a:lnTo>
                  <a:lnTo>
                    <a:pt x="237808" y="83734"/>
                  </a:lnTo>
                  <a:lnTo>
                    <a:pt x="139741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1D9CF1AF-A09A-459A-A4AB-D88D1905EA6F}"/>
                </a:ext>
              </a:extLst>
            </p:cNvPr>
            <p:cNvSpPr/>
            <p:nvPr/>
          </p:nvSpPr>
          <p:spPr>
            <a:xfrm rot="8716295">
              <a:off x="1836851" y="406950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33B04AAC-330F-42F9-9C1F-3BB73DEAD114}"/>
                </a:ext>
              </a:extLst>
            </p:cNvPr>
            <p:cNvSpPr/>
            <p:nvPr/>
          </p:nvSpPr>
          <p:spPr>
            <a:xfrm rot="8716295">
              <a:off x="1827832" y="5057264"/>
              <a:ext cx="219410" cy="140851"/>
            </a:xfrm>
            <a:custGeom>
              <a:avLst/>
              <a:gdLst>
                <a:gd name="connsiteX0" fmla="*/ 27373 w 219410"/>
                <a:gd name="connsiteY0" fmla="*/ 96063 h 140851"/>
                <a:gd name="connsiteX1" fmla="*/ 1953 w 219410"/>
                <a:gd name="connsiteY1" fmla="*/ 53941 h 140851"/>
                <a:gd name="connsiteX2" fmla="*/ 0 w 219410"/>
                <a:gd name="connsiteY2" fmla="*/ 43352 h 140851"/>
                <a:gd name="connsiteX3" fmla="*/ 35858 w 219410"/>
                <a:gd name="connsiteY3" fmla="*/ 0 h 140851"/>
                <a:gd name="connsiteX4" fmla="*/ 219410 w 219410"/>
                <a:gd name="connsiteY4" fmla="*/ 127232 h 140851"/>
                <a:gd name="connsiteX5" fmla="*/ 200448 w 219410"/>
                <a:gd name="connsiteY5" fmla="*/ 132296 h 140851"/>
                <a:gd name="connsiteX6" fmla="*/ 136904 w 219410"/>
                <a:gd name="connsiteY6" fmla="*/ 140588 h 140851"/>
                <a:gd name="connsiteX7" fmla="*/ 27373 w 219410"/>
                <a:gd name="connsiteY7" fmla="*/ 96063 h 140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9410" h="140851">
                  <a:moveTo>
                    <a:pt x="27373" y="96063"/>
                  </a:moveTo>
                  <a:cubicBezTo>
                    <a:pt x="16020" y="85043"/>
                    <a:pt x="7797" y="71018"/>
                    <a:pt x="1953" y="53941"/>
                  </a:cubicBezTo>
                  <a:lnTo>
                    <a:pt x="0" y="43352"/>
                  </a:lnTo>
                  <a:lnTo>
                    <a:pt x="35858" y="0"/>
                  </a:lnTo>
                  <a:lnTo>
                    <a:pt x="219410" y="127232"/>
                  </a:lnTo>
                  <a:lnTo>
                    <a:pt x="200448" y="132296"/>
                  </a:lnTo>
                  <a:cubicBezTo>
                    <a:pt x="176976" y="136859"/>
                    <a:pt x="155381" y="139475"/>
                    <a:pt x="136904" y="140588"/>
                  </a:cubicBezTo>
                  <a:cubicBezTo>
                    <a:pt x="95942" y="143260"/>
                    <a:pt x="55870" y="125450"/>
                    <a:pt x="27373" y="960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24E0BB53-945A-402E-838B-93267E59D513}"/>
                </a:ext>
              </a:extLst>
            </p:cNvPr>
            <p:cNvSpPr/>
            <p:nvPr/>
          </p:nvSpPr>
          <p:spPr>
            <a:xfrm rot="8716295">
              <a:off x="1125067" y="247965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6C251D8C-A5D9-4ECA-AD3B-1A05AB92D036}"/>
                </a:ext>
              </a:extLst>
            </p:cNvPr>
            <p:cNvSpPr/>
            <p:nvPr/>
          </p:nvSpPr>
          <p:spPr>
            <a:xfrm rot="8716295">
              <a:off x="1260365" y="252391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8B96FE87-2D5C-4688-844D-4E74C72A4B6C}"/>
                </a:ext>
              </a:extLst>
            </p:cNvPr>
            <p:cNvSpPr/>
            <p:nvPr/>
          </p:nvSpPr>
          <p:spPr>
            <a:xfrm rot="8716295">
              <a:off x="1192483" y="2393326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582D3CFC-4736-4E25-B369-A4CE70A870B5}"/>
                </a:ext>
              </a:extLst>
            </p:cNvPr>
            <p:cNvSpPr/>
            <p:nvPr/>
          </p:nvSpPr>
          <p:spPr>
            <a:xfrm rot="8716295">
              <a:off x="955196" y="261367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005E4ED8-B75C-4EF1-8BE9-2F684ADC8702}"/>
                </a:ext>
              </a:extLst>
            </p:cNvPr>
            <p:cNvSpPr/>
            <p:nvPr/>
          </p:nvSpPr>
          <p:spPr>
            <a:xfrm rot="8716295">
              <a:off x="766149" y="229783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AFABF28F-6E8A-4957-B94B-921C1E69A440}"/>
                </a:ext>
              </a:extLst>
            </p:cNvPr>
            <p:cNvSpPr/>
            <p:nvPr/>
          </p:nvSpPr>
          <p:spPr>
            <a:xfrm rot="8716295">
              <a:off x="747908" y="2087785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A9A47BF0-B3E6-4CA8-B1F1-FEC766FA52E5}"/>
                </a:ext>
              </a:extLst>
            </p:cNvPr>
            <p:cNvSpPr/>
            <p:nvPr/>
          </p:nvSpPr>
          <p:spPr>
            <a:xfrm rot="8716295">
              <a:off x="1091684" y="2675653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E9996FB1-6163-4708-89D3-37E7BECE1764}"/>
                </a:ext>
              </a:extLst>
            </p:cNvPr>
            <p:cNvSpPr/>
            <p:nvPr/>
          </p:nvSpPr>
          <p:spPr>
            <a:xfrm rot="8716295">
              <a:off x="1562630" y="210103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A1CE2F3B-6619-4775-85F0-1C1F8C974630}"/>
                </a:ext>
              </a:extLst>
            </p:cNvPr>
            <p:cNvSpPr/>
            <p:nvPr/>
          </p:nvSpPr>
          <p:spPr>
            <a:xfrm rot="8716295">
              <a:off x="1697929" y="214529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8284C668-CF6A-429F-A20E-B2542F51FB46}"/>
                </a:ext>
              </a:extLst>
            </p:cNvPr>
            <p:cNvSpPr/>
            <p:nvPr/>
          </p:nvSpPr>
          <p:spPr>
            <a:xfrm rot="8716295">
              <a:off x="1392759" y="223505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AA01786E-CED8-47C1-98FC-809C875C8CD9}"/>
                </a:ext>
              </a:extLst>
            </p:cNvPr>
            <p:cNvSpPr/>
            <p:nvPr/>
          </p:nvSpPr>
          <p:spPr>
            <a:xfrm rot="8716295">
              <a:off x="1203715" y="191921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2425A90E-FE44-45AD-B145-151A84FF9C22}"/>
                </a:ext>
              </a:extLst>
            </p:cNvPr>
            <p:cNvSpPr/>
            <p:nvPr/>
          </p:nvSpPr>
          <p:spPr>
            <a:xfrm rot="8716295">
              <a:off x="1529248" y="2297037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C0E93116-88EE-4D50-8215-854EE6AEF62E}"/>
                </a:ext>
              </a:extLst>
            </p:cNvPr>
            <p:cNvSpPr/>
            <p:nvPr/>
          </p:nvSpPr>
          <p:spPr>
            <a:xfrm rot="8716295">
              <a:off x="1163801" y="2070611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97447593-0A4C-444A-8AD1-F14699136B1C}"/>
                </a:ext>
              </a:extLst>
            </p:cNvPr>
            <p:cNvSpPr/>
            <p:nvPr/>
          </p:nvSpPr>
          <p:spPr>
            <a:xfrm rot="7484129">
              <a:off x="1688065" y="258665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E8FA1E58-23E1-4418-9B7C-2F5C67C32BDC}"/>
                </a:ext>
              </a:extLst>
            </p:cNvPr>
            <p:cNvSpPr/>
            <p:nvPr/>
          </p:nvSpPr>
          <p:spPr>
            <a:xfrm rot="13089394">
              <a:off x="1845023" y="2531236"/>
              <a:ext cx="412568" cy="496925"/>
            </a:xfrm>
            <a:custGeom>
              <a:avLst/>
              <a:gdLst>
                <a:gd name="connsiteX0" fmla="*/ 412568 w 412568"/>
                <a:gd name="connsiteY0" fmla="*/ 390854 h 496925"/>
                <a:gd name="connsiteX1" fmla="*/ 198232 w 412568"/>
                <a:gd name="connsiteY1" fmla="*/ 489977 h 496925"/>
                <a:gd name="connsiteX2" fmla="*/ 144991 w 412568"/>
                <a:gd name="connsiteY2" fmla="*/ 496925 h 496925"/>
                <a:gd name="connsiteX3" fmla="*/ 0 w 412568"/>
                <a:gd name="connsiteY3" fmla="*/ 276116 h 496925"/>
                <a:gd name="connsiteX4" fmla="*/ 0 w 412568"/>
                <a:gd name="connsiteY4" fmla="*/ 57626 h 496925"/>
                <a:gd name="connsiteX5" fmla="*/ 111075 w 412568"/>
                <a:gd name="connsiteY5" fmla="*/ 0 h 496925"/>
                <a:gd name="connsiteX6" fmla="*/ 112747 w 412568"/>
                <a:gd name="connsiteY6" fmla="*/ 233009 h 496925"/>
                <a:gd name="connsiteX7" fmla="*/ 132789 w 412568"/>
                <a:gd name="connsiteY7" fmla="*/ 371646 h 496925"/>
                <a:gd name="connsiteX8" fmla="*/ 233008 w 412568"/>
                <a:gd name="connsiteY8" fmla="*/ 426766 h 496925"/>
                <a:gd name="connsiteX9" fmla="*/ 308173 w 412568"/>
                <a:gd name="connsiteY9" fmla="*/ 413403 h 496925"/>
                <a:gd name="connsiteX10" fmla="*/ 410897 w 412568"/>
                <a:gd name="connsiteY10" fmla="*/ 371646 h 496925"/>
                <a:gd name="connsiteX11" fmla="*/ 412568 w 412568"/>
                <a:gd name="connsiteY11" fmla="*/ 382502 h 496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2568" h="496925">
                  <a:moveTo>
                    <a:pt x="412568" y="390854"/>
                  </a:moveTo>
                  <a:cubicBezTo>
                    <a:pt x="346173" y="447854"/>
                    <a:pt x="264275" y="477136"/>
                    <a:pt x="198232" y="489977"/>
                  </a:cubicBezTo>
                  <a:lnTo>
                    <a:pt x="144991" y="496925"/>
                  </a:lnTo>
                  <a:lnTo>
                    <a:pt x="0" y="276116"/>
                  </a:lnTo>
                  <a:lnTo>
                    <a:pt x="0" y="57626"/>
                  </a:lnTo>
                  <a:lnTo>
                    <a:pt x="111075" y="0"/>
                  </a:lnTo>
                  <a:lnTo>
                    <a:pt x="112747" y="233009"/>
                  </a:lnTo>
                  <a:cubicBezTo>
                    <a:pt x="110241" y="279778"/>
                    <a:pt x="117757" y="327382"/>
                    <a:pt x="132789" y="371646"/>
                  </a:cubicBezTo>
                  <a:cubicBezTo>
                    <a:pt x="146153" y="408393"/>
                    <a:pt x="180394" y="426766"/>
                    <a:pt x="233008" y="426766"/>
                  </a:cubicBezTo>
                  <a:cubicBezTo>
                    <a:pt x="258899" y="425930"/>
                    <a:pt x="283953" y="420919"/>
                    <a:pt x="308173" y="413403"/>
                  </a:cubicBezTo>
                  <a:cubicBezTo>
                    <a:pt x="343249" y="402546"/>
                    <a:pt x="377491" y="388349"/>
                    <a:pt x="410897" y="371646"/>
                  </a:cubicBezTo>
                  <a:cubicBezTo>
                    <a:pt x="411732" y="374986"/>
                    <a:pt x="412568" y="379161"/>
                    <a:pt x="412568" y="38250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18E16AF5-15DE-4CED-B67B-CF099D4DD885}"/>
                </a:ext>
              </a:extLst>
            </p:cNvPr>
            <p:cNvSpPr/>
            <p:nvPr/>
          </p:nvSpPr>
          <p:spPr>
            <a:xfrm rot="8716295">
              <a:off x="2147054" y="2332037"/>
              <a:ext cx="207668" cy="192886"/>
            </a:xfrm>
            <a:custGeom>
              <a:avLst/>
              <a:gdLst>
                <a:gd name="connsiteX0" fmla="*/ 0 w 207668"/>
                <a:gd name="connsiteY0" fmla="*/ 192886 h 192886"/>
                <a:gd name="connsiteX1" fmla="*/ 159539 w 207668"/>
                <a:gd name="connsiteY1" fmla="*/ 0 h 192886"/>
                <a:gd name="connsiteX2" fmla="*/ 181588 w 207668"/>
                <a:gd name="connsiteY2" fmla="*/ 5201 h 192886"/>
                <a:gd name="connsiteX3" fmla="*/ 207668 w 207668"/>
                <a:gd name="connsiteY3" fmla="*/ 59649 h 192886"/>
                <a:gd name="connsiteX4" fmla="*/ 160490 w 207668"/>
                <a:gd name="connsiteY4" fmla="*/ 123096 h 192886"/>
                <a:gd name="connsiteX5" fmla="*/ 161303 w 207668"/>
                <a:gd name="connsiteY5" fmla="*/ 123096 h 192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668" h="192886">
                  <a:moveTo>
                    <a:pt x="0" y="192886"/>
                  </a:moveTo>
                  <a:lnTo>
                    <a:pt x="159539" y="0"/>
                  </a:lnTo>
                  <a:lnTo>
                    <a:pt x="181588" y="5201"/>
                  </a:lnTo>
                  <a:cubicBezTo>
                    <a:pt x="201262" y="16029"/>
                    <a:pt x="207668" y="40127"/>
                    <a:pt x="207668" y="59649"/>
                  </a:cubicBezTo>
                  <a:cubicBezTo>
                    <a:pt x="205228" y="88119"/>
                    <a:pt x="186518" y="111708"/>
                    <a:pt x="160490" y="123096"/>
                  </a:cubicBezTo>
                  <a:lnTo>
                    <a:pt x="161303" y="1230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EE7EA580-766E-4570-A7DD-55A7181E9140}"/>
                </a:ext>
              </a:extLst>
            </p:cNvPr>
            <p:cNvSpPr/>
            <p:nvPr/>
          </p:nvSpPr>
          <p:spPr>
            <a:xfrm rot="8716295">
              <a:off x="2049197" y="208909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89C54D82-6DB7-45E9-8646-AF058AAE6AFE}"/>
                </a:ext>
              </a:extLst>
            </p:cNvPr>
            <p:cNvSpPr/>
            <p:nvPr/>
          </p:nvSpPr>
          <p:spPr>
            <a:xfrm rot="8716295">
              <a:off x="1681033" y="21348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350EA871-183D-437B-B28B-EF893E9A4930}"/>
                </a:ext>
              </a:extLst>
            </p:cNvPr>
            <p:cNvSpPr/>
            <p:nvPr/>
          </p:nvSpPr>
          <p:spPr>
            <a:xfrm rot="8716295">
              <a:off x="1949615" y="189381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7625BF35-EB3E-4083-8310-66A6ABEEBE81}"/>
                </a:ext>
              </a:extLst>
            </p:cNvPr>
            <p:cNvSpPr/>
            <p:nvPr/>
          </p:nvSpPr>
          <p:spPr>
            <a:xfrm rot="8716295">
              <a:off x="787294" y="148117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4A278F8F-FAFA-4D7A-877C-29D91BF541D4}"/>
                </a:ext>
              </a:extLst>
            </p:cNvPr>
            <p:cNvSpPr/>
            <p:nvPr/>
          </p:nvSpPr>
          <p:spPr>
            <a:xfrm rot="8716295">
              <a:off x="922592" y="152543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DB2610A3-31CF-45EF-B184-4657FD23CA44}"/>
                </a:ext>
              </a:extLst>
            </p:cNvPr>
            <p:cNvSpPr/>
            <p:nvPr/>
          </p:nvSpPr>
          <p:spPr>
            <a:xfrm rot="8716295">
              <a:off x="854710" y="1394843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2721DD24-E32D-474A-8AE8-CB1F5FEA63CC}"/>
                </a:ext>
              </a:extLst>
            </p:cNvPr>
            <p:cNvSpPr/>
            <p:nvPr/>
          </p:nvSpPr>
          <p:spPr>
            <a:xfrm rot="8716295">
              <a:off x="617423" y="161518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271ACC1B-5BC1-4C90-8744-187E477874EA}"/>
                </a:ext>
              </a:extLst>
            </p:cNvPr>
            <p:cNvSpPr/>
            <p:nvPr/>
          </p:nvSpPr>
          <p:spPr>
            <a:xfrm rot="8716295">
              <a:off x="428376" y="129935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09A9FE1D-6CB8-4187-8C52-59F1BA866B08}"/>
                </a:ext>
              </a:extLst>
            </p:cNvPr>
            <p:cNvSpPr/>
            <p:nvPr/>
          </p:nvSpPr>
          <p:spPr>
            <a:xfrm rot="8716295">
              <a:off x="410135" y="1089302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orme libre : forme 58">
              <a:extLst>
                <a:ext uri="{FF2B5EF4-FFF2-40B4-BE49-F238E27FC236}">
                  <a16:creationId xmlns:a16="http://schemas.microsoft.com/office/drawing/2014/main" id="{536CBB26-493E-4AF3-B817-10984C95D957}"/>
                </a:ext>
              </a:extLst>
            </p:cNvPr>
            <p:cNvSpPr/>
            <p:nvPr/>
          </p:nvSpPr>
          <p:spPr>
            <a:xfrm rot="8716295">
              <a:off x="753911" y="1677170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orme libre : forme 59">
              <a:extLst>
                <a:ext uri="{FF2B5EF4-FFF2-40B4-BE49-F238E27FC236}">
                  <a16:creationId xmlns:a16="http://schemas.microsoft.com/office/drawing/2014/main" id="{945CA62F-9E79-459F-9A9E-98D352B7F4FC}"/>
                </a:ext>
              </a:extLst>
            </p:cNvPr>
            <p:cNvSpPr/>
            <p:nvPr/>
          </p:nvSpPr>
          <p:spPr>
            <a:xfrm rot="8716295">
              <a:off x="1224858" y="1102556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orme libre : forme 60">
              <a:extLst>
                <a:ext uri="{FF2B5EF4-FFF2-40B4-BE49-F238E27FC236}">
                  <a16:creationId xmlns:a16="http://schemas.microsoft.com/office/drawing/2014/main" id="{369C3DB8-F103-4448-B156-2B184240310A}"/>
                </a:ext>
              </a:extLst>
            </p:cNvPr>
            <p:cNvSpPr/>
            <p:nvPr/>
          </p:nvSpPr>
          <p:spPr>
            <a:xfrm rot="8716295">
              <a:off x="1360156" y="1146815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orme libre : forme 61">
              <a:extLst>
                <a:ext uri="{FF2B5EF4-FFF2-40B4-BE49-F238E27FC236}">
                  <a16:creationId xmlns:a16="http://schemas.microsoft.com/office/drawing/2014/main" id="{18E1EF68-3C34-4AED-A042-F974F305FFA4}"/>
                </a:ext>
              </a:extLst>
            </p:cNvPr>
            <p:cNvSpPr/>
            <p:nvPr/>
          </p:nvSpPr>
          <p:spPr>
            <a:xfrm rot="8716295">
              <a:off x="1054986" y="123657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orme libre : forme 62">
              <a:extLst>
                <a:ext uri="{FF2B5EF4-FFF2-40B4-BE49-F238E27FC236}">
                  <a16:creationId xmlns:a16="http://schemas.microsoft.com/office/drawing/2014/main" id="{E6940BAB-7063-447D-9788-7A9EFB3FD540}"/>
                </a:ext>
              </a:extLst>
            </p:cNvPr>
            <p:cNvSpPr/>
            <p:nvPr/>
          </p:nvSpPr>
          <p:spPr>
            <a:xfrm rot="8716295">
              <a:off x="865942" y="92073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orme libre : forme 63">
              <a:extLst>
                <a:ext uri="{FF2B5EF4-FFF2-40B4-BE49-F238E27FC236}">
                  <a16:creationId xmlns:a16="http://schemas.microsoft.com/office/drawing/2014/main" id="{ACE5BF6F-DB4B-42E3-B1BA-145CDB9C3DF9}"/>
                </a:ext>
              </a:extLst>
            </p:cNvPr>
            <p:cNvSpPr/>
            <p:nvPr/>
          </p:nvSpPr>
          <p:spPr>
            <a:xfrm rot="8716295">
              <a:off x="1191475" y="1298554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orme libre : forme 64">
              <a:extLst>
                <a:ext uri="{FF2B5EF4-FFF2-40B4-BE49-F238E27FC236}">
                  <a16:creationId xmlns:a16="http://schemas.microsoft.com/office/drawing/2014/main" id="{652E743A-00B8-433E-B55D-34BA48EAC5CE}"/>
                </a:ext>
              </a:extLst>
            </p:cNvPr>
            <p:cNvSpPr/>
            <p:nvPr/>
          </p:nvSpPr>
          <p:spPr>
            <a:xfrm rot="8716295">
              <a:off x="826028" y="1072128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orme libre : forme 65">
              <a:extLst>
                <a:ext uri="{FF2B5EF4-FFF2-40B4-BE49-F238E27FC236}">
                  <a16:creationId xmlns:a16="http://schemas.microsoft.com/office/drawing/2014/main" id="{BACD1396-4989-4CCD-AB4F-6277B1FA025D}"/>
                </a:ext>
              </a:extLst>
            </p:cNvPr>
            <p:cNvSpPr/>
            <p:nvPr/>
          </p:nvSpPr>
          <p:spPr>
            <a:xfrm rot="7484129">
              <a:off x="1350292" y="158817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orme libre : forme 66">
              <a:extLst>
                <a:ext uri="{FF2B5EF4-FFF2-40B4-BE49-F238E27FC236}">
                  <a16:creationId xmlns:a16="http://schemas.microsoft.com/office/drawing/2014/main" id="{F1575DA2-DE7C-4BAF-AFB3-D8ACAD3FE8BB}"/>
                </a:ext>
              </a:extLst>
            </p:cNvPr>
            <p:cNvSpPr/>
            <p:nvPr/>
          </p:nvSpPr>
          <p:spPr>
            <a:xfrm rot="13089394">
              <a:off x="1508942" y="1537520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3D5C7C03-0DD7-4CE0-B323-2DBC8A33D724}"/>
                </a:ext>
              </a:extLst>
            </p:cNvPr>
            <p:cNvSpPr/>
            <p:nvPr/>
          </p:nvSpPr>
          <p:spPr>
            <a:xfrm rot="8716295">
              <a:off x="1789833" y="1247402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orme libre : forme 68">
              <a:extLst>
                <a:ext uri="{FF2B5EF4-FFF2-40B4-BE49-F238E27FC236}">
                  <a16:creationId xmlns:a16="http://schemas.microsoft.com/office/drawing/2014/main" id="{2A0940B5-3257-4C64-A206-488AFE286994}"/>
                </a:ext>
              </a:extLst>
            </p:cNvPr>
            <p:cNvSpPr/>
            <p:nvPr/>
          </p:nvSpPr>
          <p:spPr>
            <a:xfrm rot="8716295">
              <a:off x="1711424" y="109061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orme libre : forme 69">
              <a:extLst>
                <a:ext uri="{FF2B5EF4-FFF2-40B4-BE49-F238E27FC236}">
                  <a16:creationId xmlns:a16="http://schemas.microsoft.com/office/drawing/2014/main" id="{3166A607-68F9-4F3F-A5ED-4FA937BEECD1}"/>
                </a:ext>
              </a:extLst>
            </p:cNvPr>
            <p:cNvSpPr/>
            <p:nvPr/>
          </p:nvSpPr>
          <p:spPr>
            <a:xfrm rot="8716295">
              <a:off x="1343261" y="113635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orme libre : forme 70">
              <a:extLst>
                <a:ext uri="{FF2B5EF4-FFF2-40B4-BE49-F238E27FC236}">
                  <a16:creationId xmlns:a16="http://schemas.microsoft.com/office/drawing/2014/main" id="{E3E45D07-7F2E-45AC-8607-5306F45B7B5E}"/>
                </a:ext>
              </a:extLst>
            </p:cNvPr>
            <p:cNvSpPr/>
            <p:nvPr/>
          </p:nvSpPr>
          <p:spPr>
            <a:xfrm rot="8716295">
              <a:off x="1611842" y="89533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orme libre : forme 71">
              <a:extLst>
                <a:ext uri="{FF2B5EF4-FFF2-40B4-BE49-F238E27FC236}">
                  <a16:creationId xmlns:a16="http://schemas.microsoft.com/office/drawing/2014/main" id="{F61F2692-40B7-4A40-AE32-B2180297905C}"/>
                </a:ext>
              </a:extLst>
            </p:cNvPr>
            <p:cNvSpPr/>
            <p:nvPr/>
          </p:nvSpPr>
          <p:spPr>
            <a:xfrm rot="8716295">
              <a:off x="455920" y="47911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orme libre : forme 72">
              <a:extLst>
                <a:ext uri="{FF2B5EF4-FFF2-40B4-BE49-F238E27FC236}">
                  <a16:creationId xmlns:a16="http://schemas.microsoft.com/office/drawing/2014/main" id="{8D510AFD-E0B6-4C04-A231-06F0DA5461FE}"/>
                </a:ext>
              </a:extLst>
            </p:cNvPr>
            <p:cNvSpPr/>
            <p:nvPr/>
          </p:nvSpPr>
          <p:spPr>
            <a:xfrm rot="8716295">
              <a:off x="591219" y="52337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" name="Forme libre : forme 73">
              <a:extLst>
                <a:ext uri="{FF2B5EF4-FFF2-40B4-BE49-F238E27FC236}">
                  <a16:creationId xmlns:a16="http://schemas.microsoft.com/office/drawing/2014/main" id="{6B88DB4B-6413-485F-AD39-EF4AC1850A75}"/>
                </a:ext>
              </a:extLst>
            </p:cNvPr>
            <p:cNvSpPr/>
            <p:nvPr/>
          </p:nvSpPr>
          <p:spPr>
            <a:xfrm rot="8716295">
              <a:off x="523336" y="39278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" name="Forme libre : forme 74">
              <a:extLst>
                <a:ext uri="{FF2B5EF4-FFF2-40B4-BE49-F238E27FC236}">
                  <a16:creationId xmlns:a16="http://schemas.microsoft.com/office/drawing/2014/main" id="{985A4035-A707-4F38-A0C9-2533BF637BC9}"/>
                </a:ext>
              </a:extLst>
            </p:cNvPr>
            <p:cNvSpPr/>
            <p:nvPr/>
          </p:nvSpPr>
          <p:spPr>
            <a:xfrm rot="8716295">
              <a:off x="286049" y="6131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" name="Forme libre : forme 75">
              <a:extLst>
                <a:ext uri="{FF2B5EF4-FFF2-40B4-BE49-F238E27FC236}">
                  <a16:creationId xmlns:a16="http://schemas.microsoft.com/office/drawing/2014/main" id="{F8A46B91-F44C-4F7E-94A8-64349465DA46}"/>
                </a:ext>
              </a:extLst>
            </p:cNvPr>
            <p:cNvSpPr/>
            <p:nvPr/>
          </p:nvSpPr>
          <p:spPr>
            <a:xfrm rot="8716295">
              <a:off x="97003" y="2972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" name="Forme libre : forme 76">
              <a:extLst>
                <a:ext uri="{FF2B5EF4-FFF2-40B4-BE49-F238E27FC236}">
                  <a16:creationId xmlns:a16="http://schemas.microsoft.com/office/drawing/2014/main" id="{D98B2AD3-F200-4E21-B245-12CF6B31E044}"/>
                </a:ext>
              </a:extLst>
            </p:cNvPr>
            <p:cNvSpPr/>
            <p:nvPr/>
          </p:nvSpPr>
          <p:spPr>
            <a:xfrm rot="8716295">
              <a:off x="78761" y="87249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" name="Forme libre : forme 77">
              <a:extLst>
                <a:ext uri="{FF2B5EF4-FFF2-40B4-BE49-F238E27FC236}">
                  <a16:creationId xmlns:a16="http://schemas.microsoft.com/office/drawing/2014/main" id="{31F62124-299F-4960-8825-F200F77E89B1}"/>
                </a:ext>
              </a:extLst>
            </p:cNvPr>
            <p:cNvSpPr/>
            <p:nvPr/>
          </p:nvSpPr>
          <p:spPr>
            <a:xfrm rot="8716295">
              <a:off x="422537" y="67511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orme libre : forme 78">
              <a:extLst>
                <a:ext uri="{FF2B5EF4-FFF2-40B4-BE49-F238E27FC236}">
                  <a16:creationId xmlns:a16="http://schemas.microsoft.com/office/drawing/2014/main" id="{EE39F313-B670-444A-981C-E127C24D857F}"/>
                </a:ext>
              </a:extLst>
            </p:cNvPr>
            <p:cNvSpPr/>
            <p:nvPr/>
          </p:nvSpPr>
          <p:spPr>
            <a:xfrm rot="8716295">
              <a:off x="893484" y="10050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Forme libre : forme 79">
              <a:extLst>
                <a:ext uri="{FF2B5EF4-FFF2-40B4-BE49-F238E27FC236}">
                  <a16:creationId xmlns:a16="http://schemas.microsoft.com/office/drawing/2014/main" id="{9BFFA7AA-3FAD-4A4D-BF99-76B00FB2C288}"/>
                </a:ext>
              </a:extLst>
            </p:cNvPr>
            <p:cNvSpPr/>
            <p:nvPr/>
          </p:nvSpPr>
          <p:spPr>
            <a:xfrm rot="8716295">
              <a:off x="1028783" y="14476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" name="Forme libre : forme 80">
              <a:extLst>
                <a:ext uri="{FF2B5EF4-FFF2-40B4-BE49-F238E27FC236}">
                  <a16:creationId xmlns:a16="http://schemas.microsoft.com/office/drawing/2014/main" id="{1433DBAF-4AFA-4A86-A99F-428DB317C17F}"/>
                </a:ext>
              </a:extLst>
            </p:cNvPr>
            <p:cNvSpPr/>
            <p:nvPr/>
          </p:nvSpPr>
          <p:spPr>
            <a:xfrm rot="8716295">
              <a:off x="723613" y="23451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orme libre : forme 81">
              <a:extLst>
                <a:ext uri="{FF2B5EF4-FFF2-40B4-BE49-F238E27FC236}">
                  <a16:creationId xmlns:a16="http://schemas.microsoft.com/office/drawing/2014/main" id="{AF029D07-5D40-4341-9548-A67032BB1C77}"/>
                </a:ext>
              </a:extLst>
            </p:cNvPr>
            <p:cNvSpPr/>
            <p:nvPr/>
          </p:nvSpPr>
          <p:spPr>
            <a:xfrm rot="8716295">
              <a:off x="547803" y="-17289"/>
              <a:ext cx="308531" cy="226033"/>
            </a:xfrm>
            <a:custGeom>
              <a:avLst/>
              <a:gdLst>
                <a:gd name="connsiteX0" fmla="*/ 106716 w 203847"/>
                <a:gd name="connsiteY0" fmla="*/ 149340 h 149340"/>
                <a:gd name="connsiteX1" fmla="*/ 50038 w 203847"/>
                <a:gd name="connsiteY1" fmla="*/ 110053 h 149340"/>
                <a:gd name="connsiteX2" fmla="*/ 69777 w 203847"/>
                <a:gd name="connsiteY2" fmla="*/ 55323 h 149340"/>
                <a:gd name="connsiteX3" fmla="*/ 0 w 203847"/>
                <a:gd name="connsiteY3" fmla="*/ 55323 h 149340"/>
                <a:gd name="connsiteX4" fmla="*/ 0 w 203847"/>
                <a:gd name="connsiteY4" fmla="*/ 0 h 149340"/>
                <a:gd name="connsiteX5" fmla="*/ 203847 w 203847"/>
                <a:gd name="connsiteY5" fmla="*/ 0 h 149340"/>
                <a:gd name="connsiteX6" fmla="*/ 203847 w 203847"/>
                <a:gd name="connsiteY6" fmla="*/ 55323 h 149340"/>
                <a:gd name="connsiteX7" fmla="*/ 139055 w 203847"/>
                <a:gd name="connsiteY7" fmla="*/ 55323 h 14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49340">
                  <a:moveTo>
                    <a:pt x="106716" y="149340"/>
                  </a:moveTo>
                  <a:lnTo>
                    <a:pt x="50038" y="110053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Forme libre : forme 82">
              <a:extLst>
                <a:ext uri="{FF2B5EF4-FFF2-40B4-BE49-F238E27FC236}">
                  <a16:creationId xmlns:a16="http://schemas.microsoft.com/office/drawing/2014/main" id="{2932702E-E8E3-46BA-A87E-0ED0BC303BF9}"/>
                </a:ext>
              </a:extLst>
            </p:cNvPr>
            <p:cNvSpPr/>
            <p:nvPr/>
          </p:nvSpPr>
          <p:spPr>
            <a:xfrm rot="8716295">
              <a:off x="860101" y="29650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4" name="Forme libre : forme 83">
              <a:extLst>
                <a:ext uri="{FF2B5EF4-FFF2-40B4-BE49-F238E27FC236}">
                  <a16:creationId xmlns:a16="http://schemas.microsoft.com/office/drawing/2014/main" id="{69A563A2-99F0-4626-A5AF-E9AD22DC8484}"/>
                </a:ext>
              </a:extLst>
            </p:cNvPr>
            <p:cNvSpPr/>
            <p:nvPr/>
          </p:nvSpPr>
          <p:spPr>
            <a:xfrm rot="8716295">
              <a:off x="494655" y="7007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5" name="Forme libre : forme 84">
              <a:extLst>
                <a:ext uri="{FF2B5EF4-FFF2-40B4-BE49-F238E27FC236}">
                  <a16:creationId xmlns:a16="http://schemas.microsoft.com/office/drawing/2014/main" id="{B18A375D-EEA2-4D9B-96D1-D4924AE08EC7}"/>
                </a:ext>
              </a:extLst>
            </p:cNvPr>
            <p:cNvSpPr/>
            <p:nvPr/>
          </p:nvSpPr>
          <p:spPr>
            <a:xfrm rot="7484129">
              <a:off x="1018919" y="58611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6" name="Forme libre : forme 85">
              <a:extLst>
                <a:ext uri="{FF2B5EF4-FFF2-40B4-BE49-F238E27FC236}">
                  <a16:creationId xmlns:a16="http://schemas.microsoft.com/office/drawing/2014/main" id="{7717CD41-705F-4F28-B88E-73D27DF645C8}"/>
                </a:ext>
              </a:extLst>
            </p:cNvPr>
            <p:cNvSpPr/>
            <p:nvPr/>
          </p:nvSpPr>
          <p:spPr>
            <a:xfrm rot="13089394">
              <a:off x="1177568" y="53546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7" name="Forme libre : forme 86">
              <a:extLst>
                <a:ext uri="{FF2B5EF4-FFF2-40B4-BE49-F238E27FC236}">
                  <a16:creationId xmlns:a16="http://schemas.microsoft.com/office/drawing/2014/main" id="{285D68BE-9E3D-4F4C-AC96-578345571AC5}"/>
                </a:ext>
              </a:extLst>
            </p:cNvPr>
            <p:cNvSpPr/>
            <p:nvPr/>
          </p:nvSpPr>
          <p:spPr>
            <a:xfrm rot="8716295">
              <a:off x="1458459" y="24534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8" name="Forme libre : forme 87">
              <a:extLst>
                <a:ext uri="{FF2B5EF4-FFF2-40B4-BE49-F238E27FC236}">
                  <a16:creationId xmlns:a16="http://schemas.microsoft.com/office/drawing/2014/main" id="{83EDC7AF-2352-4CD0-B767-0567B99FAECC}"/>
                </a:ext>
              </a:extLst>
            </p:cNvPr>
            <p:cNvSpPr/>
            <p:nvPr/>
          </p:nvSpPr>
          <p:spPr>
            <a:xfrm rot="8716295">
              <a:off x="1380050" y="8855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9" name="Forme libre : forme 88">
              <a:extLst>
                <a:ext uri="{FF2B5EF4-FFF2-40B4-BE49-F238E27FC236}">
                  <a16:creationId xmlns:a16="http://schemas.microsoft.com/office/drawing/2014/main" id="{E853F8BE-90D5-4EB8-BCC9-E92102CA6DFE}"/>
                </a:ext>
              </a:extLst>
            </p:cNvPr>
            <p:cNvSpPr/>
            <p:nvPr/>
          </p:nvSpPr>
          <p:spPr>
            <a:xfrm rot="8716295">
              <a:off x="1011887" y="13429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" name="Forme libre : forme 89">
              <a:extLst>
                <a:ext uri="{FF2B5EF4-FFF2-40B4-BE49-F238E27FC236}">
                  <a16:creationId xmlns:a16="http://schemas.microsoft.com/office/drawing/2014/main" id="{42758375-22F2-40F5-8D40-436514F398B4}"/>
                </a:ext>
              </a:extLst>
            </p:cNvPr>
            <p:cNvSpPr/>
            <p:nvPr/>
          </p:nvSpPr>
          <p:spPr>
            <a:xfrm rot="8716295">
              <a:off x="1291652" y="-36449"/>
              <a:ext cx="134197" cy="106947"/>
            </a:xfrm>
            <a:custGeom>
              <a:avLst/>
              <a:gdLst>
                <a:gd name="connsiteX0" fmla="*/ 83649 w 88664"/>
                <a:gd name="connsiteY0" fmla="*/ 70660 h 70660"/>
                <a:gd name="connsiteX1" fmla="*/ 0 w 88664"/>
                <a:gd name="connsiteY1" fmla="*/ 12677 h 70660"/>
                <a:gd name="connsiteX2" fmla="*/ 30024 w 88664"/>
                <a:gd name="connsiteY2" fmla="*/ 0 h 70660"/>
                <a:gd name="connsiteX3" fmla="*/ 71417 w 88664"/>
                <a:gd name="connsiteY3" fmla="*/ 17477 h 70660"/>
                <a:gd name="connsiteX4" fmla="*/ 88664 w 88664"/>
                <a:gd name="connsiteY4" fmla="*/ 58525 h 70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664" h="70660">
                  <a:moveTo>
                    <a:pt x="83649" y="70660"/>
                  </a:moveTo>
                  <a:lnTo>
                    <a:pt x="0" y="12677"/>
                  </a:lnTo>
                  <a:lnTo>
                    <a:pt x="30024" y="0"/>
                  </a:lnTo>
                  <a:cubicBezTo>
                    <a:pt x="45662" y="0"/>
                    <a:pt x="60379" y="6439"/>
                    <a:pt x="71417" y="17477"/>
                  </a:cubicBezTo>
                  <a:cubicBezTo>
                    <a:pt x="82915" y="28515"/>
                    <a:pt x="88664" y="43462"/>
                    <a:pt x="88664" y="58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" name="Forme libre : forme 90">
              <a:extLst>
                <a:ext uri="{FF2B5EF4-FFF2-40B4-BE49-F238E27FC236}">
                  <a16:creationId xmlns:a16="http://schemas.microsoft.com/office/drawing/2014/main" id="{39402522-16DA-4E11-927D-0744A887E931}"/>
                </a:ext>
              </a:extLst>
            </p:cNvPr>
            <p:cNvSpPr/>
            <p:nvPr/>
          </p:nvSpPr>
          <p:spPr>
            <a:xfrm rot="13089394">
              <a:off x="990163" y="-39748"/>
              <a:ext cx="111277" cy="115595"/>
            </a:xfrm>
            <a:custGeom>
              <a:avLst/>
              <a:gdLst>
                <a:gd name="connsiteX0" fmla="*/ 73521 w 73521"/>
                <a:gd name="connsiteY0" fmla="*/ 18609 h 76374"/>
                <a:gd name="connsiteX1" fmla="*/ 0 w 73521"/>
                <a:gd name="connsiteY1" fmla="*/ 76374 h 76374"/>
                <a:gd name="connsiteX2" fmla="*/ 0 w 73521"/>
                <a:gd name="connsiteY2" fmla="*/ 38074 h 76374"/>
                <a:gd name="connsiteX3" fmla="*/ 73388 w 73521"/>
                <a:gd name="connsiteY3" fmla="*/ 0 h 7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521" h="76374">
                  <a:moveTo>
                    <a:pt x="73521" y="18609"/>
                  </a:moveTo>
                  <a:lnTo>
                    <a:pt x="0" y="76374"/>
                  </a:lnTo>
                  <a:lnTo>
                    <a:pt x="0" y="38074"/>
                  </a:lnTo>
                  <a:lnTo>
                    <a:pt x="7338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" name="Forme libre : forme 91">
              <a:extLst>
                <a:ext uri="{FF2B5EF4-FFF2-40B4-BE49-F238E27FC236}">
                  <a16:creationId xmlns:a16="http://schemas.microsoft.com/office/drawing/2014/main" id="{BA0CCCD1-A43A-4EDA-9AE2-2B760A750CB8}"/>
                </a:ext>
              </a:extLst>
            </p:cNvPr>
            <p:cNvSpPr/>
            <p:nvPr/>
          </p:nvSpPr>
          <p:spPr>
            <a:xfrm rot="8716295">
              <a:off x="121288" y="414134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" name="Forme libre : forme 92">
              <a:extLst>
                <a:ext uri="{FF2B5EF4-FFF2-40B4-BE49-F238E27FC236}">
                  <a16:creationId xmlns:a16="http://schemas.microsoft.com/office/drawing/2014/main" id="{B00F8218-3F51-4CFB-9D4D-4142207B942F}"/>
                </a:ext>
              </a:extLst>
            </p:cNvPr>
            <p:cNvSpPr/>
            <p:nvPr/>
          </p:nvSpPr>
          <p:spPr>
            <a:xfrm rot="8716295">
              <a:off x="256586" y="418560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" name="Forme libre : forme 93">
              <a:extLst>
                <a:ext uri="{FF2B5EF4-FFF2-40B4-BE49-F238E27FC236}">
                  <a16:creationId xmlns:a16="http://schemas.microsoft.com/office/drawing/2014/main" id="{59A33452-85A5-44B9-85E4-34DB64857691}"/>
                </a:ext>
              </a:extLst>
            </p:cNvPr>
            <p:cNvSpPr/>
            <p:nvPr/>
          </p:nvSpPr>
          <p:spPr>
            <a:xfrm rot="8716295">
              <a:off x="188704" y="405501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orme libre : forme 94">
              <a:extLst>
                <a:ext uri="{FF2B5EF4-FFF2-40B4-BE49-F238E27FC236}">
                  <a16:creationId xmlns:a16="http://schemas.microsoft.com/office/drawing/2014/main" id="{6EB29E53-18CD-42F3-9B37-2ECC6883F84C}"/>
                </a:ext>
              </a:extLst>
            </p:cNvPr>
            <p:cNvSpPr/>
            <p:nvPr/>
          </p:nvSpPr>
          <p:spPr>
            <a:xfrm rot="8716295">
              <a:off x="-22408" y="4278013"/>
              <a:ext cx="57413" cy="71926"/>
            </a:xfrm>
            <a:custGeom>
              <a:avLst/>
              <a:gdLst>
                <a:gd name="connsiteX0" fmla="*/ 11441 w 57413"/>
                <a:gd name="connsiteY0" fmla="*/ 71926 h 71926"/>
                <a:gd name="connsiteX1" fmla="*/ 0 w 57413"/>
                <a:gd name="connsiteY1" fmla="*/ 44829 h 71926"/>
                <a:gd name="connsiteX2" fmla="*/ 0 w 57413"/>
                <a:gd name="connsiteY2" fmla="*/ 44139 h 71926"/>
                <a:gd name="connsiteX3" fmla="*/ 13104 w 57413"/>
                <a:gd name="connsiteY3" fmla="*/ 13104 h 71926"/>
                <a:gd name="connsiteX4" fmla="*/ 44139 w 57413"/>
                <a:gd name="connsiteY4" fmla="*/ 0 h 71926"/>
                <a:gd name="connsiteX5" fmla="*/ 57413 w 57413"/>
                <a:gd name="connsiteY5" fmla="*/ 5605 h 71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413" h="71926">
                  <a:moveTo>
                    <a:pt x="11441" y="71926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lnTo>
                    <a:pt x="57413" y="5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Forme libre : forme 95">
              <a:extLst>
                <a:ext uri="{FF2B5EF4-FFF2-40B4-BE49-F238E27FC236}">
                  <a16:creationId xmlns:a16="http://schemas.microsoft.com/office/drawing/2014/main" id="{5DEA4AC8-B4A8-4210-932F-E61308CFB12D}"/>
                </a:ext>
              </a:extLst>
            </p:cNvPr>
            <p:cNvSpPr/>
            <p:nvPr/>
          </p:nvSpPr>
          <p:spPr>
            <a:xfrm rot="8716295">
              <a:off x="-36969" y="4107248"/>
              <a:ext cx="147272" cy="83734"/>
            </a:xfrm>
            <a:custGeom>
              <a:avLst/>
              <a:gdLst>
                <a:gd name="connsiteX0" fmla="*/ 0 w 147272"/>
                <a:gd name="connsiteY0" fmla="*/ 83734 h 83734"/>
                <a:gd name="connsiteX1" fmla="*/ 0 w 147272"/>
                <a:gd name="connsiteY1" fmla="*/ 0 h 83734"/>
                <a:gd name="connsiteX2" fmla="*/ 147272 w 147272"/>
                <a:gd name="connsiteY2" fmla="*/ 0 h 83734"/>
                <a:gd name="connsiteX3" fmla="*/ 89230 w 147272"/>
                <a:gd name="connsiteY3" fmla="*/ 83734 h 83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272" h="83734">
                  <a:moveTo>
                    <a:pt x="0" y="83734"/>
                  </a:moveTo>
                  <a:lnTo>
                    <a:pt x="0" y="0"/>
                  </a:lnTo>
                  <a:lnTo>
                    <a:pt x="147272" y="0"/>
                  </a:lnTo>
                  <a:lnTo>
                    <a:pt x="89230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" name="Forme libre : forme 96">
              <a:extLst>
                <a:ext uri="{FF2B5EF4-FFF2-40B4-BE49-F238E27FC236}">
                  <a16:creationId xmlns:a16="http://schemas.microsoft.com/office/drawing/2014/main" id="{B218914A-7EA1-40E4-B44A-2A3DBC972AF7}"/>
                </a:ext>
              </a:extLst>
            </p:cNvPr>
            <p:cNvSpPr/>
            <p:nvPr/>
          </p:nvSpPr>
          <p:spPr>
            <a:xfrm rot="8716295">
              <a:off x="43378" y="3712531"/>
              <a:ext cx="125537" cy="468763"/>
            </a:xfrm>
            <a:custGeom>
              <a:avLst/>
              <a:gdLst>
                <a:gd name="connsiteX0" fmla="*/ 29455 w 125537"/>
                <a:gd name="connsiteY0" fmla="*/ 468763 h 468763"/>
                <a:gd name="connsiteX1" fmla="*/ 7792 w 125537"/>
                <a:gd name="connsiteY1" fmla="*/ 425988 h 468763"/>
                <a:gd name="connsiteX2" fmla="*/ 0 w 125537"/>
                <a:gd name="connsiteY2" fmla="*/ 333043 h 468763"/>
                <a:gd name="connsiteX3" fmla="*/ 0 w 125537"/>
                <a:gd name="connsiteY3" fmla="*/ 61444 h 468763"/>
                <a:gd name="connsiteX4" fmla="*/ 118434 w 125537"/>
                <a:gd name="connsiteY4" fmla="*/ 0 h 468763"/>
                <a:gd name="connsiteX5" fmla="*/ 120216 w 125537"/>
                <a:gd name="connsiteY5" fmla="*/ 248447 h 468763"/>
                <a:gd name="connsiteX6" fmla="*/ 123889 w 125537"/>
                <a:gd name="connsiteY6" fmla="*/ 323359 h 468763"/>
                <a:gd name="connsiteX7" fmla="*/ 125537 w 125537"/>
                <a:gd name="connsiteY7" fmla="*/ 330150 h 468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537" h="468763">
                  <a:moveTo>
                    <a:pt x="29455" y="468763"/>
                  </a:moveTo>
                  <a:lnTo>
                    <a:pt x="7792" y="425988"/>
                  </a:lnTo>
                  <a:cubicBezTo>
                    <a:pt x="2003" y="400498"/>
                    <a:pt x="0" y="369553"/>
                    <a:pt x="0" y="333043"/>
                  </a:cubicBezTo>
                  <a:lnTo>
                    <a:pt x="0" y="61444"/>
                  </a:lnTo>
                  <a:lnTo>
                    <a:pt x="118434" y="0"/>
                  </a:lnTo>
                  <a:lnTo>
                    <a:pt x="120216" y="248447"/>
                  </a:lnTo>
                  <a:cubicBezTo>
                    <a:pt x="118880" y="273381"/>
                    <a:pt x="120216" y="298537"/>
                    <a:pt x="123889" y="323359"/>
                  </a:cubicBezTo>
                  <a:lnTo>
                    <a:pt x="125537" y="3301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" name="Forme libre : forme 97">
              <a:extLst>
                <a:ext uri="{FF2B5EF4-FFF2-40B4-BE49-F238E27FC236}">
                  <a16:creationId xmlns:a16="http://schemas.microsoft.com/office/drawing/2014/main" id="{B6F2924E-906C-4ED1-BF2D-C834372E14EF}"/>
                </a:ext>
              </a:extLst>
            </p:cNvPr>
            <p:cNvSpPr/>
            <p:nvPr/>
          </p:nvSpPr>
          <p:spPr>
            <a:xfrm rot="8716295">
              <a:off x="87905" y="4337347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" name="Forme libre : forme 98">
              <a:extLst>
                <a:ext uri="{FF2B5EF4-FFF2-40B4-BE49-F238E27FC236}">
                  <a16:creationId xmlns:a16="http://schemas.microsoft.com/office/drawing/2014/main" id="{0D75C9D9-5C3D-47E0-90AD-938F1B8E2F44}"/>
                </a:ext>
              </a:extLst>
            </p:cNvPr>
            <p:cNvSpPr/>
            <p:nvPr/>
          </p:nvSpPr>
          <p:spPr>
            <a:xfrm rot="8716295">
              <a:off x="558851" y="376273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orme libre : forme 99">
              <a:extLst>
                <a:ext uri="{FF2B5EF4-FFF2-40B4-BE49-F238E27FC236}">
                  <a16:creationId xmlns:a16="http://schemas.microsoft.com/office/drawing/2014/main" id="{FB753F16-18A9-4EF7-8A5C-AFE5FF2AAE20}"/>
                </a:ext>
              </a:extLst>
            </p:cNvPr>
            <p:cNvSpPr/>
            <p:nvPr/>
          </p:nvSpPr>
          <p:spPr>
            <a:xfrm rot="8716295">
              <a:off x="694150" y="380699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Forme libre : forme 100">
              <a:extLst>
                <a:ext uri="{FF2B5EF4-FFF2-40B4-BE49-F238E27FC236}">
                  <a16:creationId xmlns:a16="http://schemas.microsoft.com/office/drawing/2014/main" id="{3BF96335-BBEB-4DB5-9C46-1C3097EF0D59}"/>
                </a:ext>
              </a:extLst>
            </p:cNvPr>
            <p:cNvSpPr/>
            <p:nvPr/>
          </p:nvSpPr>
          <p:spPr>
            <a:xfrm rot="8716295">
              <a:off x="388980" y="389674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" name="Forme libre : forme 101">
              <a:extLst>
                <a:ext uri="{FF2B5EF4-FFF2-40B4-BE49-F238E27FC236}">
                  <a16:creationId xmlns:a16="http://schemas.microsoft.com/office/drawing/2014/main" id="{5E31C792-E11F-4ADA-B2CB-57C48077CBA4}"/>
                </a:ext>
              </a:extLst>
            </p:cNvPr>
            <p:cNvSpPr/>
            <p:nvPr/>
          </p:nvSpPr>
          <p:spPr>
            <a:xfrm rot="8716295">
              <a:off x="199936" y="358091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" name="Forme libre : forme 102">
              <a:extLst>
                <a:ext uri="{FF2B5EF4-FFF2-40B4-BE49-F238E27FC236}">
                  <a16:creationId xmlns:a16="http://schemas.microsoft.com/office/drawing/2014/main" id="{94FED6A4-8569-4EA9-A306-CB876E36FB03}"/>
                </a:ext>
              </a:extLst>
            </p:cNvPr>
            <p:cNvSpPr/>
            <p:nvPr/>
          </p:nvSpPr>
          <p:spPr>
            <a:xfrm rot="8716295">
              <a:off x="525469" y="3958731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" name="Forme libre : forme 103">
              <a:extLst>
                <a:ext uri="{FF2B5EF4-FFF2-40B4-BE49-F238E27FC236}">
                  <a16:creationId xmlns:a16="http://schemas.microsoft.com/office/drawing/2014/main" id="{980A1AA3-B52B-4C80-9AC4-D47CC78A5A3B}"/>
                </a:ext>
              </a:extLst>
            </p:cNvPr>
            <p:cNvSpPr/>
            <p:nvPr/>
          </p:nvSpPr>
          <p:spPr>
            <a:xfrm rot="8716295">
              <a:off x="160022" y="3732305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" name="Forme libre : forme 104">
              <a:extLst>
                <a:ext uri="{FF2B5EF4-FFF2-40B4-BE49-F238E27FC236}">
                  <a16:creationId xmlns:a16="http://schemas.microsoft.com/office/drawing/2014/main" id="{C66003E5-2553-46E6-8D65-9CD33FAF8398}"/>
                </a:ext>
              </a:extLst>
            </p:cNvPr>
            <p:cNvSpPr/>
            <p:nvPr/>
          </p:nvSpPr>
          <p:spPr>
            <a:xfrm rot="7484129">
              <a:off x="684286" y="424834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" name="Forme libre : forme 105">
              <a:extLst>
                <a:ext uri="{FF2B5EF4-FFF2-40B4-BE49-F238E27FC236}">
                  <a16:creationId xmlns:a16="http://schemas.microsoft.com/office/drawing/2014/main" id="{A5156F8D-1CAA-4650-BC6D-5AD5CAA0A30F}"/>
                </a:ext>
              </a:extLst>
            </p:cNvPr>
            <p:cNvSpPr/>
            <p:nvPr/>
          </p:nvSpPr>
          <p:spPr>
            <a:xfrm rot="13089394">
              <a:off x="842936" y="4197697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" name="Forme libre : forme 106">
              <a:extLst>
                <a:ext uri="{FF2B5EF4-FFF2-40B4-BE49-F238E27FC236}">
                  <a16:creationId xmlns:a16="http://schemas.microsoft.com/office/drawing/2014/main" id="{7A0FA012-A668-45E7-9A04-80DC4066A5EA}"/>
                </a:ext>
              </a:extLst>
            </p:cNvPr>
            <p:cNvSpPr/>
            <p:nvPr/>
          </p:nvSpPr>
          <p:spPr>
            <a:xfrm rot="8716295">
              <a:off x="1123827" y="390757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" name="Forme libre : forme 107">
              <a:extLst>
                <a:ext uri="{FF2B5EF4-FFF2-40B4-BE49-F238E27FC236}">
                  <a16:creationId xmlns:a16="http://schemas.microsoft.com/office/drawing/2014/main" id="{DE4CA035-6173-48AD-BD1D-D7ED5F77A322}"/>
                </a:ext>
              </a:extLst>
            </p:cNvPr>
            <p:cNvSpPr/>
            <p:nvPr/>
          </p:nvSpPr>
          <p:spPr>
            <a:xfrm rot="8716295">
              <a:off x="1045418" y="375078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" name="Forme libre : forme 108">
              <a:extLst>
                <a:ext uri="{FF2B5EF4-FFF2-40B4-BE49-F238E27FC236}">
                  <a16:creationId xmlns:a16="http://schemas.microsoft.com/office/drawing/2014/main" id="{40E22C8F-9A2F-4D96-8E60-B4FAE9625F7E}"/>
                </a:ext>
              </a:extLst>
            </p:cNvPr>
            <p:cNvSpPr/>
            <p:nvPr/>
          </p:nvSpPr>
          <p:spPr>
            <a:xfrm rot="8716295">
              <a:off x="677254" y="379652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" name="Forme libre : forme 109">
              <a:extLst>
                <a:ext uri="{FF2B5EF4-FFF2-40B4-BE49-F238E27FC236}">
                  <a16:creationId xmlns:a16="http://schemas.microsoft.com/office/drawing/2014/main" id="{0FB9706E-9855-492B-8609-A2F256591A28}"/>
                </a:ext>
              </a:extLst>
            </p:cNvPr>
            <p:cNvSpPr/>
            <p:nvPr/>
          </p:nvSpPr>
          <p:spPr>
            <a:xfrm rot="8716295">
              <a:off x="945836" y="355550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" name="Forme libre : forme 110">
              <a:extLst>
                <a:ext uri="{FF2B5EF4-FFF2-40B4-BE49-F238E27FC236}">
                  <a16:creationId xmlns:a16="http://schemas.microsoft.com/office/drawing/2014/main" id="{ADF55B74-AC60-4155-92FA-4565710C9BFA}"/>
                </a:ext>
              </a:extLst>
            </p:cNvPr>
            <p:cNvSpPr/>
            <p:nvPr/>
          </p:nvSpPr>
          <p:spPr>
            <a:xfrm rot="8716295">
              <a:off x="601570" y="5027951"/>
              <a:ext cx="169680" cy="113030"/>
            </a:xfrm>
            <a:custGeom>
              <a:avLst/>
              <a:gdLst>
                <a:gd name="connsiteX0" fmla="*/ 8965 w 169680"/>
                <a:gd name="connsiteY0" fmla="*/ 113030 h 113030"/>
                <a:gd name="connsiteX1" fmla="*/ 0 w 169680"/>
                <a:gd name="connsiteY1" fmla="*/ 100616 h 113030"/>
                <a:gd name="connsiteX2" fmla="*/ 106933 w 169680"/>
                <a:gd name="connsiteY2" fmla="*/ 0 h 113030"/>
                <a:gd name="connsiteX3" fmla="*/ 169680 w 169680"/>
                <a:gd name="connsiteY3" fmla="*/ 43494 h 113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680" h="113030">
                  <a:moveTo>
                    <a:pt x="8965" y="113030"/>
                  </a:moveTo>
                  <a:lnTo>
                    <a:pt x="0" y="100616"/>
                  </a:lnTo>
                  <a:lnTo>
                    <a:pt x="106933" y="0"/>
                  </a:lnTo>
                  <a:lnTo>
                    <a:pt x="169680" y="434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" name="Forme libre : forme 111">
              <a:extLst>
                <a:ext uri="{FF2B5EF4-FFF2-40B4-BE49-F238E27FC236}">
                  <a16:creationId xmlns:a16="http://schemas.microsoft.com/office/drawing/2014/main" id="{DDFE2301-223D-4F62-87C3-BBD61CFA4AE0}"/>
                </a:ext>
              </a:extLst>
            </p:cNvPr>
            <p:cNvSpPr/>
            <p:nvPr/>
          </p:nvSpPr>
          <p:spPr>
            <a:xfrm rot="8716295">
              <a:off x="197311" y="4925365"/>
              <a:ext cx="194366" cy="296463"/>
            </a:xfrm>
            <a:custGeom>
              <a:avLst/>
              <a:gdLst>
                <a:gd name="connsiteX0" fmla="*/ 137293 w 194366"/>
                <a:gd name="connsiteY0" fmla="*/ 296463 h 296463"/>
                <a:gd name="connsiteX1" fmla="*/ 72418 w 194366"/>
                <a:gd name="connsiteY1" fmla="*/ 175766 h 296463"/>
                <a:gd name="connsiteX2" fmla="*/ 105610 w 194366"/>
                <a:gd name="connsiteY2" fmla="*/ 83734 h 296463"/>
                <a:gd name="connsiteX3" fmla="*/ 0 w 194366"/>
                <a:gd name="connsiteY3" fmla="*/ 83734 h 296463"/>
                <a:gd name="connsiteX4" fmla="*/ 0 w 194366"/>
                <a:gd name="connsiteY4" fmla="*/ 0 h 296463"/>
                <a:gd name="connsiteX5" fmla="*/ 6043 w 194366"/>
                <a:gd name="connsiteY5" fmla="*/ 0 h 296463"/>
                <a:gd name="connsiteX6" fmla="*/ 194366 w 194366"/>
                <a:gd name="connsiteY6" fmla="*/ 130539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4366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6043" y="0"/>
                  </a:lnTo>
                  <a:lnTo>
                    <a:pt x="194366" y="1305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" name="Forme libre : forme 112">
              <a:extLst>
                <a:ext uri="{FF2B5EF4-FFF2-40B4-BE49-F238E27FC236}">
                  <a16:creationId xmlns:a16="http://schemas.microsoft.com/office/drawing/2014/main" id="{3377FDF7-2BED-4403-9821-41A8059D732F}"/>
                </a:ext>
              </a:extLst>
            </p:cNvPr>
            <p:cNvSpPr/>
            <p:nvPr/>
          </p:nvSpPr>
          <p:spPr>
            <a:xfrm rot="8716295">
              <a:off x="73168" y="4745087"/>
              <a:ext cx="439901" cy="517329"/>
            </a:xfrm>
            <a:custGeom>
              <a:avLst/>
              <a:gdLst>
                <a:gd name="connsiteX0" fmla="*/ 38290 w 439901"/>
                <a:gd name="connsiteY0" fmla="*/ 472541 h 517329"/>
                <a:gd name="connsiteX1" fmla="*/ 0 w 439901"/>
                <a:gd name="connsiteY1" fmla="*/ 319377 h 517329"/>
                <a:gd name="connsiteX2" fmla="*/ 0 w 439901"/>
                <a:gd name="connsiteY2" fmla="*/ 47778 h 517329"/>
                <a:gd name="connsiteX3" fmla="*/ 92094 w 439901"/>
                <a:gd name="connsiteY3" fmla="*/ 0 h 517329"/>
                <a:gd name="connsiteX4" fmla="*/ 118664 w 439901"/>
                <a:gd name="connsiteY4" fmla="*/ 18418 h 517329"/>
                <a:gd name="connsiteX5" fmla="*/ 120216 w 439901"/>
                <a:gd name="connsiteY5" fmla="*/ 234781 h 517329"/>
                <a:gd name="connsiteX6" fmla="*/ 141587 w 439901"/>
                <a:gd name="connsiteY6" fmla="*/ 382603 h 517329"/>
                <a:gd name="connsiteX7" fmla="*/ 248446 w 439901"/>
                <a:gd name="connsiteY7" fmla="*/ 441375 h 517329"/>
                <a:gd name="connsiteX8" fmla="*/ 328589 w 439901"/>
                <a:gd name="connsiteY8" fmla="*/ 427127 h 517329"/>
                <a:gd name="connsiteX9" fmla="*/ 438120 w 439901"/>
                <a:gd name="connsiteY9" fmla="*/ 382603 h 517329"/>
                <a:gd name="connsiteX10" fmla="*/ 439901 w 439901"/>
                <a:gd name="connsiteY10" fmla="*/ 394178 h 517329"/>
                <a:gd name="connsiteX11" fmla="*/ 439901 w 439901"/>
                <a:gd name="connsiteY11" fmla="*/ 403083 h 517329"/>
                <a:gd name="connsiteX12" fmla="*/ 147821 w 439901"/>
                <a:gd name="connsiteY12" fmla="*/ 517066 h 517329"/>
                <a:gd name="connsiteX13" fmla="*/ 38290 w 439901"/>
                <a:gd name="connsiteY13" fmla="*/ 472541 h 517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9901" h="517329">
                  <a:moveTo>
                    <a:pt x="38290" y="472541"/>
                  </a:moveTo>
                  <a:cubicBezTo>
                    <a:pt x="8014" y="443156"/>
                    <a:pt x="0" y="392397"/>
                    <a:pt x="0" y="319377"/>
                  </a:cubicBezTo>
                  <a:lnTo>
                    <a:pt x="0" y="47778"/>
                  </a:lnTo>
                  <a:lnTo>
                    <a:pt x="92094" y="0"/>
                  </a:lnTo>
                  <a:lnTo>
                    <a:pt x="118664" y="18418"/>
                  </a:lnTo>
                  <a:lnTo>
                    <a:pt x="120216" y="234781"/>
                  </a:lnTo>
                  <a:cubicBezTo>
                    <a:pt x="117544" y="284648"/>
                    <a:pt x="125558" y="335406"/>
                    <a:pt x="141587" y="382603"/>
                  </a:cubicBezTo>
                  <a:cubicBezTo>
                    <a:pt x="155836" y="421784"/>
                    <a:pt x="192345" y="441375"/>
                    <a:pt x="248446" y="441375"/>
                  </a:cubicBezTo>
                  <a:cubicBezTo>
                    <a:pt x="276051" y="440484"/>
                    <a:pt x="302766" y="435141"/>
                    <a:pt x="328589" y="427127"/>
                  </a:cubicBezTo>
                  <a:cubicBezTo>
                    <a:pt x="365990" y="415550"/>
                    <a:pt x="402500" y="400412"/>
                    <a:pt x="438120" y="382603"/>
                  </a:cubicBezTo>
                  <a:cubicBezTo>
                    <a:pt x="439010" y="386164"/>
                    <a:pt x="439901" y="390616"/>
                    <a:pt x="439901" y="394178"/>
                  </a:cubicBezTo>
                  <a:lnTo>
                    <a:pt x="439901" y="403083"/>
                  </a:lnTo>
                  <a:cubicBezTo>
                    <a:pt x="345509" y="484118"/>
                    <a:pt x="221731" y="512614"/>
                    <a:pt x="147821" y="517066"/>
                  </a:cubicBezTo>
                  <a:cubicBezTo>
                    <a:pt x="106859" y="519738"/>
                    <a:pt x="66787" y="501928"/>
                    <a:pt x="38290" y="47254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" name="Forme libre : forme 113">
              <a:extLst>
                <a:ext uri="{FF2B5EF4-FFF2-40B4-BE49-F238E27FC236}">
                  <a16:creationId xmlns:a16="http://schemas.microsoft.com/office/drawing/2014/main" id="{B93DC94C-820F-4572-BF0C-6383E8E9C877}"/>
                </a:ext>
              </a:extLst>
            </p:cNvPr>
            <p:cNvSpPr/>
            <p:nvPr/>
          </p:nvSpPr>
          <p:spPr>
            <a:xfrm rot="8716295">
              <a:off x="896624" y="4761216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" name="Forme libre : forme 114">
              <a:extLst>
                <a:ext uri="{FF2B5EF4-FFF2-40B4-BE49-F238E27FC236}">
                  <a16:creationId xmlns:a16="http://schemas.microsoft.com/office/drawing/2014/main" id="{46905971-2CA6-4786-88F6-6625CD1AC045}"/>
                </a:ext>
              </a:extLst>
            </p:cNvPr>
            <p:cNvSpPr/>
            <p:nvPr/>
          </p:nvSpPr>
          <p:spPr>
            <a:xfrm rot="8716295">
              <a:off x="1032483" y="4799006"/>
              <a:ext cx="389853" cy="383455"/>
            </a:xfrm>
            <a:custGeom>
              <a:avLst/>
              <a:gdLst>
                <a:gd name="connsiteX0" fmla="*/ 77932 w 389853"/>
                <a:gd name="connsiteY0" fmla="*/ 383455 h 383455"/>
                <a:gd name="connsiteX1" fmla="*/ 77932 w 389853"/>
                <a:gd name="connsiteY1" fmla="*/ 66898 h 383455"/>
                <a:gd name="connsiteX2" fmla="*/ 0 w 389853"/>
                <a:gd name="connsiteY2" fmla="*/ 66898 h 383455"/>
                <a:gd name="connsiteX3" fmla="*/ 0 w 389853"/>
                <a:gd name="connsiteY3" fmla="*/ 0 h 383455"/>
                <a:gd name="connsiteX4" fmla="*/ 158623 w 389853"/>
                <a:gd name="connsiteY4" fmla="*/ 0 h 383455"/>
                <a:gd name="connsiteX5" fmla="*/ 158623 w 389853"/>
                <a:gd name="connsiteY5" fmla="*/ 111726 h 383455"/>
                <a:gd name="connsiteX6" fmla="*/ 160692 w 389853"/>
                <a:gd name="connsiteY6" fmla="*/ 111726 h 383455"/>
                <a:gd name="connsiteX7" fmla="*/ 192762 w 389853"/>
                <a:gd name="connsiteY7" fmla="*/ 39914 h 383455"/>
                <a:gd name="connsiteX8" fmla="*/ 216292 w 389853"/>
                <a:gd name="connsiteY8" fmla="*/ 20658 h 383455"/>
                <a:gd name="connsiteX9" fmla="*/ 389853 w 389853"/>
                <a:gd name="connsiteY9" fmla="*/ 140965 h 383455"/>
                <a:gd name="connsiteX10" fmla="*/ 300695 w 389853"/>
                <a:gd name="connsiteY10" fmla="*/ 146210 h 383455"/>
                <a:gd name="connsiteX11" fmla="*/ 300694 w 389853"/>
                <a:gd name="connsiteY11" fmla="*/ 121382 h 383455"/>
                <a:gd name="connsiteX12" fmla="*/ 249659 w 389853"/>
                <a:gd name="connsiteY12" fmla="*/ 58622 h 383455"/>
                <a:gd name="connsiteX13" fmla="*/ 168969 w 389853"/>
                <a:gd name="connsiteY13" fmla="*/ 191038 h 383455"/>
                <a:gd name="connsiteX14" fmla="*/ 168969 w 389853"/>
                <a:gd name="connsiteY14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9853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71727" y="78967"/>
                    <a:pt x="181555" y="56208"/>
                    <a:pt x="192762" y="39914"/>
                  </a:cubicBezTo>
                  <a:lnTo>
                    <a:pt x="216292" y="20658"/>
                  </a:lnTo>
                  <a:lnTo>
                    <a:pt x="389853" y="140965"/>
                  </a:lnTo>
                  <a:lnTo>
                    <a:pt x="300695" y="146210"/>
                  </a:lnTo>
                  <a:lnTo>
                    <a:pt x="300694" y="121382"/>
                  </a:lnTo>
                  <a:cubicBezTo>
                    <a:pt x="300695" y="84140"/>
                    <a:pt x="279315" y="58621"/>
                    <a:pt x="249659" y="58622"/>
                  </a:cubicBezTo>
                  <a:cubicBezTo>
                    <a:pt x="205521" y="58621"/>
                    <a:pt x="168969" y="117244"/>
                    <a:pt x="168969" y="191038"/>
                  </a:cubicBez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" name="Forme libre : forme 115">
              <a:extLst>
                <a:ext uri="{FF2B5EF4-FFF2-40B4-BE49-F238E27FC236}">
                  <a16:creationId xmlns:a16="http://schemas.microsoft.com/office/drawing/2014/main" id="{8E2B23B6-FA24-4ECF-865C-D4B85991FB2B}"/>
                </a:ext>
              </a:extLst>
            </p:cNvPr>
            <p:cNvSpPr/>
            <p:nvPr/>
          </p:nvSpPr>
          <p:spPr>
            <a:xfrm rot="8716295">
              <a:off x="726753" y="489523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" name="Forme libre : forme 116">
              <a:extLst>
                <a:ext uri="{FF2B5EF4-FFF2-40B4-BE49-F238E27FC236}">
                  <a16:creationId xmlns:a16="http://schemas.microsoft.com/office/drawing/2014/main" id="{068C5BF4-ACAC-42CE-AE54-FD21152507C1}"/>
                </a:ext>
              </a:extLst>
            </p:cNvPr>
            <p:cNvSpPr/>
            <p:nvPr/>
          </p:nvSpPr>
          <p:spPr>
            <a:xfrm rot="8716295">
              <a:off x="537709" y="457939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" name="Forme libre : forme 117">
              <a:extLst>
                <a:ext uri="{FF2B5EF4-FFF2-40B4-BE49-F238E27FC236}">
                  <a16:creationId xmlns:a16="http://schemas.microsoft.com/office/drawing/2014/main" id="{0ACBCA4F-4DCF-49D0-8A3E-C12DE7B45BF0}"/>
                </a:ext>
              </a:extLst>
            </p:cNvPr>
            <p:cNvSpPr/>
            <p:nvPr/>
          </p:nvSpPr>
          <p:spPr>
            <a:xfrm rot="8716295">
              <a:off x="826576" y="4988476"/>
              <a:ext cx="91035" cy="198648"/>
            </a:xfrm>
            <a:custGeom>
              <a:avLst/>
              <a:gdLst>
                <a:gd name="connsiteX0" fmla="*/ 91035 w 91035"/>
                <a:gd name="connsiteY0" fmla="*/ 198648 h 198648"/>
                <a:gd name="connsiteX1" fmla="*/ 0 w 91035"/>
                <a:gd name="connsiteY1" fmla="*/ 111060 h 198648"/>
                <a:gd name="connsiteX2" fmla="*/ 0 w 91035"/>
                <a:gd name="connsiteY2" fmla="*/ 0 h 198648"/>
                <a:gd name="connsiteX3" fmla="*/ 91035 w 91035"/>
                <a:gd name="connsiteY3" fmla="*/ 63103 h 198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198648">
                  <a:moveTo>
                    <a:pt x="91035" y="198648"/>
                  </a:moveTo>
                  <a:lnTo>
                    <a:pt x="0" y="111060"/>
                  </a:lnTo>
                  <a:lnTo>
                    <a:pt x="0" y="0"/>
                  </a:lnTo>
                  <a:lnTo>
                    <a:pt x="91035" y="631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" name="Forme libre : forme 118">
              <a:extLst>
                <a:ext uri="{FF2B5EF4-FFF2-40B4-BE49-F238E27FC236}">
                  <a16:creationId xmlns:a16="http://schemas.microsoft.com/office/drawing/2014/main" id="{CF5DC784-7D69-46EA-A75B-D2ED877AA625}"/>
                </a:ext>
              </a:extLst>
            </p:cNvPr>
            <p:cNvSpPr/>
            <p:nvPr/>
          </p:nvSpPr>
          <p:spPr>
            <a:xfrm rot="8716295">
              <a:off x="497795" y="4730788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" name="Forme libre : forme 119">
              <a:extLst>
                <a:ext uri="{FF2B5EF4-FFF2-40B4-BE49-F238E27FC236}">
                  <a16:creationId xmlns:a16="http://schemas.microsoft.com/office/drawing/2014/main" id="{283C5FE9-EF8F-4940-9D13-7BC399536967}"/>
                </a:ext>
              </a:extLst>
            </p:cNvPr>
            <p:cNvSpPr/>
            <p:nvPr/>
          </p:nvSpPr>
          <p:spPr>
            <a:xfrm rot="8716295">
              <a:off x="1459248" y="4904357"/>
              <a:ext cx="328004" cy="223069"/>
            </a:xfrm>
            <a:custGeom>
              <a:avLst/>
              <a:gdLst>
                <a:gd name="connsiteX0" fmla="*/ 10574 w 328004"/>
                <a:gd name="connsiteY0" fmla="*/ 223069 h 223069"/>
                <a:gd name="connsiteX1" fmla="*/ 0 w 328004"/>
                <a:gd name="connsiteY1" fmla="*/ 208428 h 223069"/>
                <a:gd name="connsiteX2" fmla="*/ 192781 w 328004"/>
                <a:gd name="connsiteY2" fmla="*/ 27035 h 223069"/>
                <a:gd name="connsiteX3" fmla="*/ 227094 w 328004"/>
                <a:gd name="connsiteY3" fmla="*/ 0 h 223069"/>
                <a:gd name="connsiteX4" fmla="*/ 328004 w 328004"/>
                <a:gd name="connsiteY4" fmla="*/ 69948 h 223069"/>
                <a:gd name="connsiteX5" fmla="*/ 326080 w 328004"/>
                <a:gd name="connsiteY5" fmla="*/ 74925 h 223069"/>
                <a:gd name="connsiteX6" fmla="*/ 293645 w 328004"/>
                <a:gd name="connsiteY6" fmla="*/ 100243 h 223069"/>
                <a:gd name="connsiteX7" fmla="*/ 294458 w 328004"/>
                <a:gd name="connsiteY7" fmla="*/ 100243 h 223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8004" h="223069">
                  <a:moveTo>
                    <a:pt x="10574" y="223069"/>
                  </a:moveTo>
                  <a:lnTo>
                    <a:pt x="0" y="208428"/>
                  </a:lnTo>
                  <a:lnTo>
                    <a:pt x="192781" y="27035"/>
                  </a:lnTo>
                  <a:lnTo>
                    <a:pt x="227094" y="0"/>
                  </a:lnTo>
                  <a:lnTo>
                    <a:pt x="328004" y="69948"/>
                  </a:lnTo>
                  <a:lnTo>
                    <a:pt x="326080" y="74925"/>
                  </a:lnTo>
                  <a:cubicBezTo>
                    <a:pt x="317843" y="85805"/>
                    <a:pt x="306659" y="94549"/>
                    <a:pt x="293645" y="100243"/>
                  </a:cubicBezTo>
                  <a:lnTo>
                    <a:pt x="294458" y="10024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" name="Forme libre : forme 120">
              <a:extLst>
                <a:ext uri="{FF2B5EF4-FFF2-40B4-BE49-F238E27FC236}">
                  <a16:creationId xmlns:a16="http://schemas.microsoft.com/office/drawing/2014/main" id="{0B28DAC7-E1B5-4397-8312-3939C6181805}"/>
                </a:ext>
              </a:extLst>
            </p:cNvPr>
            <p:cNvSpPr/>
            <p:nvPr/>
          </p:nvSpPr>
          <p:spPr>
            <a:xfrm rot="8716295">
              <a:off x="1383191" y="474927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" name="Forme libre : forme 121">
              <a:extLst>
                <a:ext uri="{FF2B5EF4-FFF2-40B4-BE49-F238E27FC236}">
                  <a16:creationId xmlns:a16="http://schemas.microsoft.com/office/drawing/2014/main" id="{9B5900D5-EF58-45B1-849A-84D4EFAA76C9}"/>
                </a:ext>
              </a:extLst>
            </p:cNvPr>
            <p:cNvSpPr/>
            <p:nvPr/>
          </p:nvSpPr>
          <p:spPr>
            <a:xfrm rot="8716295">
              <a:off x="1015027" y="479501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" name="Forme libre : forme 122">
              <a:extLst>
                <a:ext uri="{FF2B5EF4-FFF2-40B4-BE49-F238E27FC236}">
                  <a16:creationId xmlns:a16="http://schemas.microsoft.com/office/drawing/2014/main" id="{31771F28-8680-4E6C-A8C1-BC66F7BF0BA9}"/>
                </a:ext>
              </a:extLst>
            </p:cNvPr>
            <p:cNvSpPr/>
            <p:nvPr/>
          </p:nvSpPr>
          <p:spPr>
            <a:xfrm rot="8716295">
              <a:off x="1283609" y="455399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" name="Forme libre : forme 123">
              <a:extLst>
                <a:ext uri="{FF2B5EF4-FFF2-40B4-BE49-F238E27FC236}">
                  <a16:creationId xmlns:a16="http://schemas.microsoft.com/office/drawing/2014/main" id="{AC2CE701-4BE3-4F79-917E-19B3C750B982}"/>
                </a:ext>
              </a:extLst>
            </p:cNvPr>
            <p:cNvSpPr/>
            <p:nvPr/>
          </p:nvSpPr>
          <p:spPr>
            <a:xfrm rot="8716295">
              <a:off x="-30381" y="3359388"/>
              <a:ext cx="98497" cy="75863"/>
            </a:xfrm>
            <a:custGeom>
              <a:avLst/>
              <a:gdLst>
                <a:gd name="connsiteX0" fmla="*/ 0 w 98497"/>
                <a:gd name="connsiteY0" fmla="*/ 75863 h 75863"/>
                <a:gd name="connsiteX1" fmla="*/ 0 w 98497"/>
                <a:gd name="connsiteY1" fmla="*/ 0 h 75863"/>
                <a:gd name="connsiteX2" fmla="*/ 98497 w 98497"/>
                <a:gd name="connsiteY2" fmla="*/ 0 h 75863"/>
                <a:gd name="connsiteX3" fmla="*/ 45911 w 98497"/>
                <a:gd name="connsiteY3" fmla="*/ 75863 h 75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497" h="75863">
                  <a:moveTo>
                    <a:pt x="0" y="75863"/>
                  </a:moveTo>
                  <a:lnTo>
                    <a:pt x="0" y="0"/>
                  </a:lnTo>
                  <a:lnTo>
                    <a:pt x="98497" y="0"/>
                  </a:lnTo>
                  <a:lnTo>
                    <a:pt x="45911" y="758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" name="Forme libre : forme 124">
              <a:extLst>
                <a:ext uri="{FF2B5EF4-FFF2-40B4-BE49-F238E27FC236}">
                  <a16:creationId xmlns:a16="http://schemas.microsoft.com/office/drawing/2014/main" id="{F4F0C1BC-FBE5-45A4-A80E-BAB3E52DE367}"/>
                </a:ext>
              </a:extLst>
            </p:cNvPr>
            <p:cNvSpPr/>
            <p:nvPr/>
          </p:nvSpPr>
          <p:spPr>
            <a:xfrm rot="8716295">
              <a:off x="-77334" y="3178477"/>
              <a:ext cx="389652" cy="385611"/>
            </a:xfrm>
            <a:custGeom>
              <a:avLst/>
              <a:gdLst>
                <a:gd name="connsiteX0" fmla="*/ 77932 w 389652"/>
                <a:gd name="connsiteY0" fmla="*/ 385611 h 385611"/>
                <a:gd name="connsiteX1" fmla="*/ 77932 w 389652"/>
                <a:gd name="connsiteY1" fmla="*/ 69054 h 385611"/>
                <a:gd name="connsiteX2" fmla="*/ 0 w 389652"/>
                <a:gd name="connsiteY2" fmla="*/ 69054 h 385611"/>
                <a:gd name="connsiteX3" fmla="*/ 0 w 389652"/>
                <a:gd name="connsiteY3" fmla="*/ 2156 h 385611"/>
                <a:gd name="connsiteX4" fmla="*/ 158623 w 389652"/>
                <a:gd name="connsiteY4" fmla="*/ 2156 h 385611"/>
                <a:gd name="connsiteX5" fmla="*/ 158623 w 389652"/>
                <a:gd name="connsiteY5" fmla="*/ 113882 h 385611"/>
                <a:gd name="connsiteX6" fmla="*/ 160692 w 389652"/>
                <a:gd name="connsiteY6" fmla="*/ 113882 h 385611"/>
                <a:gd name="connsiteX7" fmla="*/ 233107 w 389652"/>
                <a:gd name="connsiteY7" fmla="*/ 9053 h 385611"/>
                <a:gd name="connsiteX8" fmla="*/ 280694 w 389652"/>
                <a:gd name="connsiteY8" fmla="*/ 87 h 385611"/>
                <a:gd name="connsiteX9" fmla="*/ 364230 w 389652"/>
                <a:gd name="connsiteY9" fmla="*/ 34398 h 385611"/>
                <a:gd name="connsiteX10" fmla="*/ 389652 w 389652"/>
                <a:gd name="connsiteY10" fmla="*/ 117977 h 385611"/>
                <a:gd name="connsiteX11" fmla="*/ 371473 w 389652"/>
                <a:gd name="connsiteY11" fmla="*/ 144202 h 385611"/>
                <a:gd name="connsiteX12" fmla="*/ 300695 w 389652"/>
                <a:gd name="connsiteY12" fmla="*/ 148366 h 385611"/>
                <a:gd name="connsiteX13" fmla="*/ 300695 w 389652"/>
                <a:gd name="connsiteY13" fmla="*/ 123538 h 385611"/>
                <a:gd name="connsiteX14" fmla="*/ 249659 w 389652"/>
                <a:gd name="connsiteY14" fmla="*/ 60778 h 385611"/>
                <a:gd name="connsiteX15" fmla="*/ 168969 w 389652"/>
                <a:gd name="connsiteY15" fmla="*/ 193194 h 385611"/>
                <a:gd name="connsiteX16" fmla="*/ 168969 w 389652"/>
                <a:gd name="connsiteY16" fmla="*/ 323541 h 385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89652" h="385611">
                  <a:moveTo>
                    <a:pt x="77932" y="385611"/>
                  </a:moveTo>
                  <a:lnTo>
                    <a:pt x="77932" y="69054"/>
                  </a:lnTo>
                  <a:lnTo>
                    <a:pt x="0" y="69054"/>
                  </a:lnTo>
                  <a:lnTo>
                    <a:pt x="0" y="2156"/>
                  </a:lnTo>
                  <a:lnTo>
                    <a:pt x="158623" y="2156"/>
                  </a:lnTo>
                  <a:lnTo>
                    <a:pt x="158623" y="113882"/>
                  </a:lnTo>
                  <a:lnTo>
                    <a:pt x="160692" y="113882"/>
                  </a:lnTo>
                  <a:cubicBezTo>
                    <a:pt x="182762" y="48364"/>
                    <a:pt x="200003" y="22846"/>
                    <a:pt x="233107" y="9053"/>
                  </a:cubicBezTo>
                  <a:cubicBezTo>
                    <a:pt x="248280" y="2846"/>
                    <a:pt x="264142" y="-602"/>
                    <a:pt x="280694" y="87"/>
                  </a:cubicBezTo>
                  <a:cubicBezTo>
                    <a:pt x="316212" y="-603"/>
                    <a:pt x="344661" y="11466"/>
                    <a:pt x="364230" y="34398"/>
                  </a:cubicBezTo>
                  <a:lnTo>
                    <a:pt x="389652" y="117977"/>
                  </a:lnTo>
                  <a:lnTo>
                    <a:pt x="371473" y="144202"/>
                  </a:lnTo>
                  <a:lnTo>
                    <a:pt x="300695" y="148366"/>
                  </a:lnTo>
                  <a:lnTo>
                    <a:pt x="300695" y="123538"/>
                  </a:lnTo>
                  <a:cubicBezTo>
                    <a:pt x="300695" y="86296"/>
                    <a:pt x="279315" y="60778"/>
                    <a:pt x="249659" y="60778"/>
                  </a:cubicBezTo>
                  <a:cubicBezTo>
                    <a:pt x="205521" y="60778"/>
                    <a:pt x="168969" y="119400"/>
                    <a:pt x="168969" y="193194"/>
                  </a:cubicBezTo>
                  <a:lnTo>
                    <a:pt x="168969" y="3235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" name="Forme libre : forme 125">
              <a:extLst>
                <a:ext uri="{FF2B5EF4-FFF2-40B4-BE49-F238E27FC236}">
                  <a16:creationId xmlns:a16="http://schemas.microsoft.com/office/drawing/2014/main" id="{DD7E27D6-EDC4-4410-A8FD-B0AB28C9E1C2}"/>
                </a:ext>
              </a:extLst>
            </p:cNvPr>
            <p:cNvSpPr/>
            <p:nvPr/>
          </p:nvSpPr>
          <p:spPr>
            <a:xfrm rot="8716295">
              <a:off x="-71352" y="3029015"/>
              <a:ext cx="193594" cy="189959"/>
            </a:xfrm>
            <a:custGeom>
              <a:avLst/>
              <a:gdLst>
                <a:gd name="connsiteX0" fmla="*/ 8965 w 193594"/>
                <a:gd name="connsiteY0" fmla="*/ 189959 h 189959"/>
                <a:gd name="connsiteX1" fmla="*/ 0 w 193594"/>
                <a:gd name="connsiteY1" fmla="*/ 177545 h 189959"/>
                <a:gd name="connsiteX2" fmla="*/ 163451 w 193594"/>
                <a:gd name="connsiteY2" fmla="*/ 23749 h 189959"/>
                <a:gd name="connsiteX3" fmla="*/ 193594 w 193594"/>
                <a:gd name="connsiteY3" fmla="*/ 0 h 189959"/>
                <a:gd name="connsiteX4" fmla="*/ 84606 w 193594"/>
                <a:gd name="connsiteY4" fmla="*/ 157232 h 189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594" h="189959">
                  <a:moveTo>
                    <a:pt x="8965" y="189959"/>
                  </a:moveTo>
                  <a:lnTo>
                    <a:pt x="0" y="177545"/>
                  </a:lnTo>
                  <a:lnTo>
                    <a:pt x="163451" y="23749"/>
                  </a:lnTo>
                  <a:lnTo>
                    <a:pt x="193594" y="0"/>
                  </a:lnTo>
                  <a:lnTo>
                    <a:pt x="84606" y="15723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" name="Forme libre : forme 126">
              <a:extLst>
                <a:ext uri="{FF2B5EF4-FFF2-40B4-BE49-F238E27FC236}">
                  <a16:creationId xmlns:a16="http://schemas.microsoft.com/office/drawing/2014/main" id="{9053D84D-7FDB-4998-A81C-E5ABAA6EDE5E}"/>
                </a:ext>
              </a:extLst>
            </p:cNvPr>
            <p:cNvSpPr/>
            <p:nvPr/>
          </p:nvSpPr>
          <p:spPr>
            <a:xfrm rot="8716295">
              <a:off x="223574" y="276232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" name="Forme libre : forme 127">
              <a:extLst>
                <a:ext uri="{FF2B5EF4-FFF2-40B4-BE49-F238E27FC236}">
                  <a16:creationId xmlns:a16="http://schemas.microsoft.com/office/drawing/2014/main" id="{87AB580E-8F4B-47CD-9028-D46526078CE4}"/>
                </a:ext>
              </a:extLst>
            </p:cNvPr>
            <p:cNvSpPr/>
            <p:nvPr/>
          </p:nvSpPr>
          <p:spPr>
            <a:xfrm rot="8716295">
              <a:off x="358873" y="2806579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" name="Forme libre : forme 128">
              <a:extLst>
                <a:ext uri="{FF2B5EF4-FFF2-40B4-BE49-F238E27FC236}">
                  <a16:creationId xmlns:a16="http://schemas.microsoft.com/office/drawing/2014/main" id="{E19792CF-DDD1-4F4B-9682-435BC6CB8DED}"/>
                </a:ext>
              </a:extLst>
            </p:cNvPr>
            <p:cNvSpPr/>
            <p:nvPr/>
          </p:nvSpPr>
          <p:spPr>
            <a:xfrm rot="8716295">
              <a:off x="53703" y="2896335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" name="Forme libre : forme 129">
              <a:extLst>
                <a:ext uri="{FF2B5EF4-FFF2-40B4-BE49-F238E27FC236}">
                  <a16:creationId xmlns:a16="http://schemas.microsoft.com/office/drawing/2014/main" id="{BD0B65CA-A3C5-4B2A-8016-3FA0B6B241F4}"/>
                </a:ext>
              </a:extLst>
            </p:cNvPr>
            <p:cNvSpPr/>
            <p:nvPr/>
          </p:nvSpPr>
          <p:spPr>
            <a:xfrm rot="8716295">
              <a:off x="-92201" y="2622488"/>
              <a:ext cx="271732" cy="238722"/>
            </a:xfrm>
            <a:custGeom>
              <a:avLst/>
              <a:gdLst>
                <a:gd name="connsiteX0" fmla="*/ 106257 w 271732"/>
                <a:gd name="connsiteY0" fmla="*/ 238722 h 238722"/>
                <a:gd name="connsiteX1" fmla="*/ 72418 w 271732"/>
                <a:gd name="connsiteY1" fmla="*/ 175766 h 238722"/>
                <a:gd name="connsiteX2" fmla="*/ 105610 w 271732"/>
                <a:gd name="connsiteY2" fmla="*/ 83734 h 238722"/>
                <a:gd name="connsiteX3" fmla="*/ 0 w 271732"/>
                <a:gd name="connsiteY3" fmla="*/ 83734 h 238722"/>
                <a:gd name="connsiteX4" fmla="*/ 0 w 271732"/>
                <a:gd name="connsiteY4" fmla="*/ 0 h 238722"/>
                <a:gd name="connsiteX5" fmla="*/ 271732 w 271732"/>
                <a:gd name="connsiteY5" fmla="*/ 0 h 238722"/>
                <a:gd name="connsiteX6" fmla="*/ 213690 w 271732"/>
                <a:gd name="connsiteY6" fmla="*/ 83734 h 238722"/>
                <a:gd name="connsiteX7" fmla="*/ 210465 w 271732"/>
                <a:gd name="connsiteY7" fmla="*/ 83734 h 238722"/>
                <a:gd name="connsiteX8" fmla="*/ 207289 w 271732"/>
                <a:gd name="connsiteY8" fmla="*/ 92969 h 238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1732" h="238722">
                  <a:moveTo>
                    <a:pt x="106257" y="238722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71732" y="0"/>
                  </a:lnTo>
                  <a:lnTo>
                    <a:pt x="213690" y="83734"/>
                  </a:lnTo>
                  <a:lnTo>
                    <a:pt x="210465" y="83734"/>
                  </a:lnTo>
                  <a:lnTo>
                    <a:pt x="207289" y="929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" name="Forme libre : forme 130">
              <a:extLst>
                <a:ext uri="{FF2B5EF4-FFF2-40B4-BE49-F238E27FC236}">
                  <a16:creationId xmlns:a16="http://schemas.microsoft.com/office/drawing/2014/main" id="{A401047D-B75D-4F40-878E-D1BF52EA2F0E}"/>
                </a:ext>
              </a:extLst>
            </p:cNvPr>
            <p:cNvSpPr/>
            <p:nvPr/>
          </p:nvSpPr>
          <p:spPr>
            <a:xfrm rot="8716295">
              <a:off x="190192" y="2958318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" name="Forme libre : forme 131">
              <a:extLst>
                <a:ext uri="{FF2B5EF4-FFF2-40B4-BE49-F238E27FC236}">
                  <a16:creationId xmlns:a16="http://schemas.microsoft.com/office/drawing/2014/main" id="{0A764231-DFA5-45AC-9649-96FE00947629}"/>
                </a:ext>
              </a:extLst>
            </p:cNvPr>
            <p:cNvSpPr/>
            <p:nvPr/>
          </p:nvSpPr>
          <p:spPr>
            <a:xfrm rot="7484129">
              <a:off x="349009" y="324793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" name="Forme libre : forme 132">
              <a:extLst>
                <a:ext uri="{FF2B5EF4-FFF2-40B4-BE49-F238E27FC236}">
                  <a16:creationId xmlns:a16="http://schemas.microsoft.com/office/drawing/2014/main" id="{08367284-C420-422D-A59E-EC2B0D5CAF81}"/>
                </a:ext>
              </a:extLst>
            </p:cNvPr>
            <p:cNvSpPr/>
            <p:nvPr/>
          </p:nvSpPr>
          <p:spPr>
            <a:xfrm rot="13089394">
              <a:off x="507659" y="3197284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" name="Forme libre : forme 133">
              <a:extLst>
                <a:ext uri="{FF2B5EF4-FFF2-40B4-BE49-F238E27FC236}">
                  <a16:creationId xmlns:a16="http://schemas.microsoft.com/office/drawing/2014/main" id="{6E0CAE80-C507-4A7F-B64E-2B2322B07A4F}"/>
                </a:ext>
              </a:extLst>
            </p:cNvPr>
            <p:cNvSpPr/>
            <p:nvPr/>
          </p:nvSpPr>
          <p:spPr>
            <a:xfrm rot="8716295">
              <a:off x="788550" y="2907166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" name="Forme libre : forme 134">
              <a:extLst>
                <a:ext uri="{FF2B5EF4-FFF2-40B4-BE49-F238E27FC236}">
                  <a16:creationId xmlns:a16="http://schemas.microsoft.com/office/drawing/2014/main" id="{4935918E-F29D-4E02-AE1D-44610A8EABE6}"/>
                </a:ext>
              </a:extLst>
            </p:cNvPr>
            <p:cNvSpPr/>
            <p:nvPr/>
          </p:nvSpPr>
          <p:spPr>
            <a:xfrm rot="8716295">
              <a:off x="710141" y="275037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" name="Forme libre : forme 135">
              <a:extLst>
                <a:ext uri="{FF2B5EF4-FFF2-40B4-BE49-F238E27FC236}">
                  <a16:creationId xmlns:a16="http://schemas.microsoft.com/office/drawing/2014/main" id="{0186616C-3255-4138-99FF-17ACDEE12423}"/>
                </a:ext>
              </a:extLst>
            </p:cNvPr>
            <p:cNvSpPr/>
            <p:nvPr/>
          </p:nvSpPr>
          <p:spPr>
            <a:xfrm rot="8716295">
              <a:off x="341977" y="279611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" name="Forme libre : forme 136">
              <a:extLst>
                <a:ext uri="{FF2B5EF4-FFF2-40B4-BE49-F238E27FC236}">
                  <a16:creationId xmlns:a16="http://schemas.microsoft.com/office/drawing/2014/main" id="{00B7B22E-16FD-44D5-9219-31608DDFCC39}"/>
                </a:ext>
              </a:extLst>
            </p:cNvPr>
            <p:cNvSpPr/>
            <p:nvPr/>
          </p:nvSpPr>
          <p:spPr>
            <a:xfrm rot="8716295">
              <a:off x="610559" y="2555095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" name="Forme libre : forme 137">
              <a:extLst>
                <a:ext uri="{FF2B5EF4-FFF2-40B4-BE49-F238E27FC236}">
                  <a16:creationId xmlns:a16="http://schemas.microsoft.com/office/drawing/2014/main" id="{A6953B6D-6364-4054-88C6-74B273B65431}"/>
                </a:ext>
              </a:extLst>
            </p:cNvPr>
            <p:cNvSpPr/>
            <p:nvPr/>
          </p:nvSpPr>
          <p:spPr>
            <a:xfrm rot="8716295">
              <a:off x="-24305" y="2374348"/>
              <a:ext cx="58950" cy="66898"/>
            </a:xfrm>
            <a:custGeom>
              <a:avLst/>
              <a:gdLst>
                <a:gd name="connsiteX0" fmla="*/ 0 w 58950"/>
                <a:gd name="connsiteY0" fmla="*/ 66898 h 66898"/>
                <a:gd name="connsiteX1" fmla="*/ 0 w 58950"/>
                <a:gd name="connsiteY1" fmla="*/ 0 h 66898"/>
                <a:gd name="connsiteX2" fmla="*/ 58950 w 58950"/>
                <a:gd name="connsiteY2" fmla="*/ 0 h 66898"/>
                <a:gd name="connsiteX3" fmla="*/ 12579 w 58950"/>
                <a:gd name="connsiteY3" fmla="*/ 66898 h 6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950" h="66898">
                  <a:moveTo>
                    <a:pt x="0" y="66898"/>
                  </a:moveTo>
                  <a:lnTo>
                    <a:pt x="0" y="0"/>
                  </a:lnTo>
                  <a:lnTo>
                    <a:pt x="58950" y="0"/>
                  </a:lnTo>
                  <a:lnTo>
                    <a:pt x="12579" y="668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" name="Forme libre : forme 138">
              <a:extLst>
                <a:ext uri="{FF2B5EF4-FFF2-40B4-BE49-F238E27FC236}">
                  <a16:creationId xmlns:a16="http://schemas.microsoft.com/office/drawing/2014/main" id="{41AD4D21-E927-44C5-8A83-B759FDFF6D06}"/>
                </a:ext>
              </a:extLst>
            </p:cNvPr>
            <p:cNvSpPr/>
            <p:nvPr/>
          </p:nvSpPr>
          <p:spPr>
            <a:xfrm rot="8716295">
              <a:off x="-39593" y="1952072"/>
              <a:ext cx="198050" cy="140164"/>
            </a:xfrm>
            <a:custGeom>
              <a:avLst/>
              <a:gdLst>
                <a:gd name="connsiteX0" fmla="*/ 0 w 198050"/>
                <a:gd name="connsiteY0" fmla="*/ 75863 h 140164"/>
                <a:gd name="connsiteX1" fmla="*/ 0 w 198050"/>
                <a:gd name="connsiteY1" fmla="*/ 0 h 140164"/>
                <a:gd name="connsiteX2" fmla="*/ 128968 w 198050"/>
                <a:gd name="connsiteY2" fmla="*/ 0 h 140164"/>
                <a:gd name="connsiteX3" fmla="*/ 193021 w 198050"/>
                <a:gd name="connsiteY3" fmla="*/ 18535 h 140164"/>
                <a:gd name="connsiteX4" fmla="*/ 198050 w 198050"/>
                <a:gd name="connsiteY4" fmla="*/ 31548 h 140164"/>
                <a:gd name="connsiteX5" fmla="*/ 122761 w 198050"/>
                <a:gd name="connsiteY5" fmla="*/ 140164 h 140164"/>
                <a:gd name="connsiteX6" fmla="*/ 122761 w 198050"/>
                <a:gd name="connsiteY6" fmla="*/ 105519 h 140164"/>
                <a:gd name="connsiteX7" fmla="*/ 122761 w 198050"/>
                <a:gd name="connsiteY7" fmla="*/ 99312 h 140164"/>
                <a:gd name="connsiteX8" fmla="*/ 91726 w 198050"/>
                <a:gd name="connsiteY8" fmla="*/ 75863 h 140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8050" h="140164">
                  <a:moveTo>
                    <a:pt x="0" y="75863"/>
                  </a:moveTo>
                  <a:lnTo>
                    <a:pt x="0" y="0"/>
                  </a:lnTo>
                  <a:lnTo>
                    <a:pt x="128968" y="0"/>
                  </a:lnTo>
                  <a:cubicBezTo>
                    <a:pt x="156900" y="0"/>
                    <a:pt x="178452" y="6034"/>
                    <a:pt x="193021" y="18535"/>
                  </a:cubicBezTo>
                  <a:lnTo>
                    <a:pt x="198050" y="31548"/>
                  </a:lnTo>
                  <a:lnTo>
                    <a:pt x="122761" y="140164"/>
                  </a:ln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4"/>
                    <a:pt x="91726" y="758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" name="Forme libre : forme 139">
              <a:extLst>
                <a:ext uri="{FF2B5EF4-FFF2-40B4-BE49-F238E27FC236}">
                  <a16:creationId xmlns:a16="http://schemas.microsoft.com/office/drawing/2014/main" id="{B82C4F59-A689-41F2-8DD0-9745004AE675}"/>
                </a:ext>
              </a:extLst>
            </p:cNvPr>
            <p:cNvSpPr/>
            <p:nvPr/>
          </p:nvSpPr>
          <p:spPr>
            <a:xfrm rot="8716295">
              <a:off x="21100" y="1808096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" name="Forme libre : forme 140">
              <a:extLst>
                <a:ext uri="{FF2B5EF4-FFF2-40B4-BE49-F238E27FC236}">
                  <a16:creationId xmlns:a16="http://schemas.microsoft.com/office/drawing/2014/main" id="{FA2478B0-E5E2-4F32-8061-87C7FA11FBE0}"/>
                </a:ext>
              </a:extLst>
            </p:cNvPr>
            <p:cNvSpPr/>
            <p:nvPr/>
          </p:nvSpPr>
          <p:spPr>
            <a:xfrm rot="8716295">
              <a:off x="-24330" y="2197782"/>
              <a:ext cx="102508" cy="53362"/>
            </a:xfrm>
            <a:custGeom>
              <a:avLst/>
              <a:gdLst>
                <a:gd name="connsiteX0" fmla="*/ 0 w 102508"/>
                <a:gd name="connsiteY0" fmla="*/ 23637 h 53362"/>
                <a:gd name="connsiteX1" fmla="*/ 0 w 102508"/>
                <a:gd name="connsiteY1" fmla="*/ 2258 h 53362"/>
                <a:gd name="connsiteX2" fmla="*/ 102508 w 102508"/>
                <a:gd name="connsiteY2" fmla="*/ 0 h 53362"/>
                <a:gd name="connsiteX3" fmla="*/ 65519 w 102508"/>
                <a:gd name="connsiteY3" fmla="*/ 53362 h 53362"/>
                <a:gd name="connsiteX4" fmla="*/ 65519 w 102508"/>
                <a:gd name="connsiteY4" fmla="*/ 23637 h 5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508" h="53362">
                  <a:moveTo>
                    <a:pt x="0" y="23637"/>
                  </a:moveTo>
                  <a:lnTo>
                    <a:pt x="0" y="2258"/>
                  </a:lnTo>
                  <a:lnTo>
                    <a:pt x="102508" y="0"/>
                  </a:lnTo>
                  <a:lnTo>
                    <a:pt x="65519" y="53362"/>
                  </a:lnTo>
                  <a:lnTo>
                    <a:pt x="65519" y="2363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" name="Forme libre : forme 141">
              <a:extLst>
                <a:ext uri="{FF2B5EF4-FFF2-40B4-BE49-F238E27FC236}">
                  <a16:creationId xmlns:a16="http://schemas.microsoft.com/office/drawing/2014/main" id="{949053A5-7216-4B32-8AE1-A37ED2B2705A}"/>
                </a:ext>
              </a:extLst>
            </p:cNvPr>
            <p:cNvSpPr/>
            <p:nvPr/>
          </p:nvSpPr>
          <p:spPr>
            <a:xfrm rot="7484129">
              <a:off x="11236" y="224945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" name="Forme libre : forme 142">
              <a:extLst>
                <a:ext uri="{FF2B5EF4-FFF2-40B4-BE49-F238E27FC236}">
                  <a16:creationId xmlns:a16="http://schemas.microsoft.com/office/drawing/2014/main" id="{028B569C-B0FE-4A67-B111-B99F3950BB2A}"/>
                </a:ext>
              </a:extLst>
            </p:cNvPr>
            <p:cNvSpPr/>
            <p:nvPr/>
          </p:nvSpPr>
          <p:spPr>
            <a:xfrm rot="13089394">
              <a:off x="169886" y="2198801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4" name="Forme libre : forme 143">
              <a:extLst>
                <a:ext uri="{FF2B5EF4-FFF2-40B4-BE49-F238E27FC236}">
                  <a16:creationId xmlns:a16="http://schemas.microsoft.com/office/drawing/2014/main" id="{DDDAF86D-35C8-42A2-A70C-525D2D5475FD}"/>
                </a:ext>
              </a:extLst>
            </p:cNvPr>
            <p:cNvSpPr/>
            <p:nvPr/>
          </p:nvSpPr>
          <p:spPr>
            <a:xfrm rot="8716295">
              <a:off x="450777" y="1908683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5" name="Forme libre : forme 144">
              <a:extLst>
                <a:ext uri="{FF2B5EF4-FFF2-40B4-BE49-F238E27FC236}">
                  <a16:creationId xmlns:a16="http://schemas.microsoft.com/office/drawing/2014/main" id="{0456C75C-046A-4449-8D19-7B887B7670B6}"/>
                </a:ext>
              </a:extLst>
            </p:cNvPr>
            <p:cNvSpPr/>
            <p:nvPr/>
          </p:nvSpPr>
          <p:spPr>
            <a:xfrm rot="8716295">
              <a:off x="372368" y="175189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6" name="Forme libre : forme 145">
              <a:extLst>
                <a:ext uri="{FF2B5EF4-FFF2-40B4-BE49-F238E27FC236}">
                  <a16:creationId xmlns:a16="http://schemas.microsoft.com/office/drawing/2014/main" id="{9071FCAB-0728-4659-9A50-F1E4D3A34FCA}"/>
                </a:ext>
              </a:extLst>
            </p:cNvPr>
            <p:cNvSpPr/>
            <p:nvPr/>
          </p:nvSpPr>
          <p:spPr>
            <a:xfrm rot="8716295">
              <a:off x="4204" y="179763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7" name="Forme libre : forme 146">
              <a:extLst>
                <a:ext uri="{FF2B5EF4-FFF2-40B4-BE49-F238E27FC236}">
                  <a16:creationId xmlns:a16="http://schemas.microsoft.com/office/drawing/2014/main" id="{74F9CC45-BF7F-4E25-8F71-1BD6DA2F0E29}"/>
                </a:ext>
              </a:extLst>
            </p:cNvPr>
            <p:cNvSpPr/>
            <p:nvPr/>
          </p:nvSpPr>
          <p:spPr>
            <a:xfrm rot="8716295">
              <a:off x="272786" y="155661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8" name="Forme libre : forme 147">
              <a:extLst>
                <a:ext uri="{FF2B5EF4-FFF2-40B4-BE49-F238E27FC236}">
                  <a16:creationId xmlns:a16="http://schemas.microsoft.com/office/drawing/2014/main" id="{9BA7D72C-89C5-4ADB-A9D6-05B170E731F6}"/>
                </a:ext>
              </a:extLst>
            </p:cNvPr>
            <p:cNvSpPr/>
            <p:nvPr/>
          </p:nvSpPr>
          <p:spPr>
            <a:xfrm rot="8716295">
              <a:off x="-35149" y="938156"/>
              <a:ext cx="158623" cy="159016"/>
            </a:xfrm>
            <a:custGeom>
              <a:avLst/>
              <a:gdLst>
                <a:gd name="connsiteX0" fmla="*/ 77932 w 158623"/>
                <a:gd name="connsiteY0" fmla="*/ 159016 h 159016"/>
                <a:gd name="connsiteX1" fmla="*/ 77932 w 158623"/>
                <a:gd name="connsiteY1" fmla="*/ 66898 h 159016"/>
                <a:gd name="connsiteX2" fmla="*/ 0 w 158623"/>
                <a:gd name="connsiteY2" fmla="*/ 66898 h 159016"/>
                <a:gd name="connsiteX3" fmla="*/ 0 w 158623"/>
                <a:gd name="connsiteY3" fmla="*/ 0 h 159016"/>
                <a:gd name="connsiteX4" fmla="*/ 158623 w 158623"/>
                <a:gd name="connsiteY4" fmla="*/ 0 h 159016"/>
                <a:gd name="connsiteX5" fmla="*/ 158623 w 158623"/>
                <a:gd name="connsiteY5" fmla="*/ 42606 h 15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8623" h="159016">
                  <a:moveTo>
                    <a:pt x="77932" y="159016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4260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9" name="Forme libre : forme 148">
              <a:extLst>
                <a:ext uri="{FF2B5EF4-FFF2-40B4-BE49-F238E27FC236}">
                  <a16:creationId xmlns:a16="http://schemas.microsoft.com/office/drawing/2014/main" id="{049A796E-46A8-44F5-A685-EFE861D38A62}"/>
                </a:ext>
              </a:extLst>
            </p:cNvPr>
            <p:cNvSpPr/>
            <p:nvPr/>
          </p:nvSpPr>
          <p:spPr>
            <a:xfrm rot="7484129">
              <a:off x="-32979" y="1345537"/>
              <a:ext cx="65961" cy="45734"/>
            </a:xfrm>
            <a:custGeom>
              <a:avLst/>
              <a:gdLst>
                <a:gd name="connsiteX0" fmla="*/ 0 w 65961"/>
                <a:gd name="connsiteY0" fmla="*/ 45734 h 45734"/>
                <a:gd name="connsiteX1" fmla="*/ 0 w 65961"/>
                <a:gd name="connsiteY1" fmla="*/ 0 h 45734"/>
                <a:gd name="connsiteX2" fmla="*/ 65961 w 65961"/>
                <a:gd name="connsiteY2" fmla="*/ 0 h 45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5961" h="45734">
                  <a:moveTo>
                    <a:pt x="0" y="45734"/>
                  </a:moveTo>
                  <a:lnTo>
                    <a:pt x="0" y="0"/>
                  </a:lnTo>
                  <a:lnTo>
                    <a:pt x="6596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0" name="Forme libre : forme 149">
              <a:extLst>
                <a:ext uri="{FF2B5EF4-FFF2-40B4-BE49-F238E27FC236}">
                  <a16:creationId xmlns:a16="http://schemas.microsoft.com/office/drawing/2014/main" id="{5C3088F6-9CC3-48D3-A8B8-D590346DDC75}"/>
                </a:ext>
              </a:extLst>
            </p:cNvPr>
            <p:cNvSpPr/>
            <p:nvPr/>
          </p:nvSpPr>
          <p:spPr>
            <a:xfrm rot="13089394">
              <a:off x="-134707" y="1200752"/>
              <a:ext cx="386820" cy="481345"/>
            </a:xfrm>
            <a:custGeom>
              <a:avLst/>
              <a:gdLst>
                <a:gd name="connsiteX0" fmla="*/ 386820 w 386820"/>
                <a:gd name="connsiteY0" fmla="*/ 391818 h 481345"/>
                <a:gd name="connsiteX1" fmla="*/ 342166 w 386820"/>
                <a:gd name="connsiteY1" fmla="*/ 422376 h 481345"/>
                <a:gd name="connsiteX2" fmla="*/ 138636 w 386820"/>
                <a:gd name="connsiteY2" fmla="*/ 481098 h 481345"/>
                <a:gd name="connsiteX3" fmla="*/ 35911 w 386820"/>
                <a:gd name="connsiteY3" fmla="*/ 439340 h 481345"/>
                <a:gd name="connsiteX4" fmla="*/ 0 w 386820"/>
                <a:gd name="connsiteY4" fmla="*/ 295693 h 481345"/>
                <a:gd name="connsiteX5" fmla="*/ 0 w 386820"/>
                <a:gd name="connsiteY5" fmla="*/ 40970 h 481345"/>
                <a:gd name="connsiteX6" fmla="*/ 78970 w 386820"/>
                <a:gd name="connsiteY6" fmla="*/ 0 h 481345"/>
                <a:gd name="connsiteX7" fmla="*/ 111492 w 386820"/>
                <a:gd name="connsiteY7" fmla="*/ 41392 h 481345"/>
                <a:gd name="connsiteX8" fmla="*/ 112747 w 386820"/>
                <a:gd name="connsiteY8" fmla="*/ 216353 h 481345"/>
                <a:gd name="connsiteX9" fmla="*/ 132789 w 386820"/>
                <a:gd name="connsiteY9" fmla="*/ 354990 h 481345"/>
                <a:gd name="connsiteX10" fmla="*/ 233008 w 386820"/>
                <a:gd name="connsiteY10" fmla="*/ 410110 h 481345"/>
                <a:gd name="connsiteX11" fmla="*/ 308173 w 386820"/>
                <a:gd name="connsiteY11" fmla="*/ 396747 h 481345"/>
                <a:gd name="connsiteX12" fmla="*/ 370717 w 386820"/>
                <a:gd name="connsiteY12" fmla="*/ 371323 h 481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6820" h="481345">
                  <a:moveTo>
                    <a:pt x="386820" y="391818"/>
                  </a:moveTo>
                  <a:lnTo>
                    <a:pt x="342166" y="422376"/>
                  </a:lnTo>
                  <a:cubicBezTo>
                    <a:pt x="268920" y="462151"/>
                    <a:pt x="190624" y="477966"/>
                    <a:pt x="138636" y="481098"/>
                  </a:cubicBezTo>
                  <a:cubicBezTo>
                    <a:pt x="100219" y="483604"/>
                    <a:pt x="62637" y="466901"/>
                    <a:pt x="35911" y="439340"/>
                  </a:cubicBezTo>
                  <a:cubicBezTo>
                    <a:pt x="7516" y="411780"/>
                    <a:pt x="0" y="364176"/>
                    <a:pt x="0" y="295693"/>
                  </a:cubicBezTo>
                  <a:lnTo>
                    <a:pt x="0" y="40970"/>
                  </a:lnTo>
                  <a:lnTo>
                    <a:pt x="78970" y="0"/>
                  </a:lnTo>
                  <a:lnTo>
                    <a:pt x="111492" y="41392"/>
                  </a:lnTo>
                  <a:lnTo>
                    <a:pt x="112747" y="216353"/>
                  </a:lnTo>
                  <a:cubicBezTo>
                    <a:pt x="110241" y="263122"/>
                    <a:pt x="117757" y="310726"/>
                    <a:pt x="132789" y="354990"/>
                  </a:cubicBezTo>
                  <a:cubicBezTo>
                    <a:pt x="146153" y="391736"/>
                    <a:pt x="180394" y="410110"/>
                    <a:pt x="233008" y="410110"/>
                  </a:cubicBezTo>
                  <a:cubicBezTo>
                    <a:pt x="258899" y="409274"/>
                    <a:pt x="283953" y="404263"/>
                    <a:pt x="308173" y="396747"/>
                  </a:cubicBezTo>
                  <a:lnTo>
                    <a:pt x="370717" y="371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1" name="Forme libre : forme 150">
              <a:extLst>
                <a:ext uri="{FF2B5EF4-FFF2-40B4-BE49-F238E27FC236}">
                  <a16:creationId xmlns:a16="http://schemas.microsoft.com/office/drawing/2014/main" id="{45A3690F-0557-4DB0-94E4-7427021CEC86}"/>
                </a:ext>
              </a:extLst>
            </p:cNvPr>
            <p:cNvSpPr/>
            <p:nvPr/>
          </p:nvSpPr>
          <p:spPr>
            <a:xfrm rot="8716295">
              <a:off x="119403" y="90662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2" name="Forme libre : forme 151">
              <a:extLst>
                <a:ext uri="{FF2B5EF4-FFF2-40B4-BE49-F238E27FC236}">
                  <a16:creationId xmlns:a16="http://schemas.microsoft.com/office/drawing/2014/main" id="{1C3938EF-FACF-4118-88DE-3CA52114B602}"/>
                </a:ext>
              </a:extLst>
            </p:cNvPr>
            <p:cNvSpPr/>
            <p:nvPr/>
          </p:nvSpPr>
          <p:spPr>
            <a:xfrm rot="8716295">
              <a:off x="40994" y="74983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3" name="Forme libre : forme 152">
              <a:extLst>
                <a:ext uri="{FF2B5EF4-FFF2-40B4-BE49-F238E27FC236}">
                  <a16:creationId xmlns:a16="http://schemas.microsoft.com/office/drawing/2014/main" id="{DFC0458A-EB47-48D9-8C11-B6676E2C5CAE}"/>
                </a:ext>
              </a:extLst>
            </p:cNvPr>
            <p:cNvSpPr/>
            <p:nvPr/>
          </p:nvSpPr>
          <p:spPr>
            <a:xfrm rot="8716295">
              <a:off x="-44934" y="551941"/>
              <a:ext cx="152592" cy="165412"/>
            </a:xfrm>
            <a:custGeom>
              <a:avLst/>
              <a:gdLst>
                <a:gd name="connsiteX0" fmla="*/ 26453 w 152592"/>
                <a:gd name="connsiteY0" fmla="*/ 153143 h 165412"/>
                <a:gd name="connsiteX1" fmla="*/ 0 w 152592"/>
                <a:gd name="connsiteY1" fmla="*/ 90494 h 165412"/>
                <a:gd name="connsiteX2" fmla="*/ 0 w 152592"/>
                <a:gd name="connsiteY2" fmla="*/ 89101 h 165412"/>
                <a:gd name="connsiteX3" fmla="*/ 26453 w 152592"/>
                <a:gd name="connsiteY3" fmla="*/ 26453 h 165412"/>
                <a:gd name="connsiteX4" fmla="*/ 89101 w 152592"/>
                <a:gd name="connsiteY4" fmla="*/ 0 h 165412"/>
                <a:gd name="connsiteX5" fmla="*/ 151752 w 152592"/>
                <a:gd name="connsiteY5" fmla="*/ 26453 h 165412"/>
                <a:gd name="connsiteX6" fmla="*/ 152592 w 152592"/>
                <a:gd name="connsiteY6" fmla="*/ 27688 h 165412"/>
                <a:gd name="connsiteX7" fmla="*/ 57126 w 152592"/>
                <a:gd name="connsiteY7" fmla="*/ 165412 h 165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592" h="165412">
                  <a:moveTo>
                    <a:pt x="26453" y="153143"/>
                  </a:moveTo>
                  <a:cubicBezTo>
                    <a:pt x="9746" y="136436"/>
                    <a:pt x="0" y="114161"/>
                    <a:pt x="0" y="90494"/>
                  </a:cubicBezTo>
                  <a:lnTo>
                    <a:pt x="0" y="89101"/>
                  </a:lnTo>
                  <a:cubicBezTo>
                    <a:pt x="0" y="65434"/>
                    <a:pt x="9746" y="43159"/>
                    <a:pt x="26453" y="26453"/>
                  </a:cubicBezTo>
                  <a:cubicBezTo>
                    <a:pt x="43159" y="9746"/>
                    <a:pt x="65435" y="0"/>
                    <a:pt x="89101" y="0"/>
                  </a:cubicBezTo>
                  <a:cubicBezTo>
                    <a:pt x="112770" y="0"/>
                    <a:pt x="135045" y="9746"/>
                    <a:pt x="151752" y="26453"/>
                  </a:cubicBezTo>
                  <a:lnTo>
                    <a:pt x="152592" y="27688"/>
                  </a:lnTo>
                  <a:lnTo>
                    <a:pt x="57126" y="1654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4" name="Forme libre : forme 153">
              <a:extLst>
                <a:ext uri="{FF2B5EF4-FFF2-40B4-BE49-F238E27FC236}">
                  <a16:creationId xmlns:a16="http://schemas.microsoft.com/office/drawing/2014/main" id="{51206894-A2FA-4091-8709-9038ECFC9F62}"/>
                </a:ext>
              </a:extLst>
            </p:cNvPr>
            <p:cNvSpPr/>
            <p:nvPr/>
          </p:nvSpPr>
          <p:spPr>
            <a:xfrm rot="8716295">
              <a:off x="-69806" y="4587027"/>
              <a:ext cx="183810" cy="187594"/>
            </a:xfrm>
            <a:custGeom>
              <a:avLst/>
              <a:gdLst>
                <a:gd name="connsiteX0" fmla="*/ 10574 w 183810"/>
                <a:gd name="connsiteY0" fmla="*/ 187594 h 187594"/>
                <a:gd name="connsiteX1" fmla="*/ 0 w 183810"/>
                <a:gd name="connsiteY1" fmla="*/ 172952 h 187594"/>
                <a:gd name="connsiteX2" fmla="*/ 183810 w 183810"/>
                <a:gd name="connsiteY2" fmla="*/ 0 h 187594"/>
                <a:gd name="connsiteX3" fmla="*/ 72284 w 183810"/>
                <a:gd name="connsiteY3" fmla="*/ 160894 h 187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810" h="187594">
                  <a:moveTo>
                    <a:pt x="10574" y="187594"/>
                  </a:moveTo>
                  <a:lnTo>
                    <a:pt x="0" y="172952"/>
                  </a:lnTo>
                  <a:lnTo>
                    <a:pt x="183810" y="0"/>
                  </a:lnTo>
                  <a:lnTo>
                    <a:pt x="72284" y="1608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5" name="Forme libre : forme 154">
              <a:extLst>
                <a:ext uri="{FF2B5EF4-FFF2-40B4-BE49-F238E27FC236}">
                  <a16:creationId xmlns:a16="http://schemas.microsoft.com/office/drawing/2014/main" id="{75F36939-0C1D-4F35-A6F3-978C7845A7FE}"/>
                </a:ext>
              </a:extLst>
            </p:cNvPr>
            <p:cNvSpPr/>
            <p:nvPr/>
          </p:nvSpPr>
          <p:spPr>
            <a:xfrm rot="8716295">
              <a:off x="2260816" y="1871889"/>
              <a:ext cx="76563" cy="79800"/>
            </a:xfrm>
            <a:custGeom>
              <a:avLst/>
              <a:gdLst>
                <a:gd name="connsiteX0" fmla="*/ 1561 w 76563"/>
                <a:gd name="connsiteY0" fmla="*/ 67386 h 79800"/>
                <a:gd name="connsiteX1" fmla="*/ 0 w 76563"/>
                <a:gd name="connsiteY1" fmla="*/ 63688 h 79800"/>
                <a:gd name="connsiteX2" fmla="*/ 52676 w 76563"/>
                <a:gd name="connsiteY2" fmla="*/ 0 h 79800"/>
                <a:gd name="connsiteX3" fmla="*/ 63632 w 76563"/>
                <a:gd name="connsiteY3" fmla="*/ 4626 h 79800"/>
                <a:gd name="connsiteX4" fmla="*/ 63632 w 76563"/>
                <a:gd name="connsiteY4" fmla="*/ 66697 h 79800"/>
                <a:gd name="connsiteX5" fmla="*/ 32596 w 76563"/>
                <a:gd name="connsiteY5" fmla="*/ 79800 h 79800"/>
                <a:gd name="connsiteX6" fmla="*/ 1561 w 76563"/>
                <a:gd name="connsiteY6" fmla="*/ 67386 h 79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563" h="79800">
                  <a:moveTo>
                    <a:pt x="1561" y="67386"/>
                  </a:moveTo>
                  <a:lnTo>
                    <a:pt x="0" y="63688"/>
                  </a:lnTo>
                  <a:lnTo>
                    <a:pt x="52676" y="0"/>
                  </a:lnTo>
                  <a:lnTo>
                    <a:pt x="63632" y="4626"/>
                  </a:lnTo>
                  <a:cubicBezTo>
                    <a:pt x="80874" y="21178"/>
                    <a:pt x="80873" y="49455"/>
                    <a:pt x="63632" y="66697"/>
                  </a:cubicBezTo>
                  <a:cubicBezTo>
                    <a:pt x="55356" y="74973"/>
                    <a:pt x="44321" y="79800"/>
                    <a:pt x="32596" y="79800"/>
                  </a:cubicBezTo>
                  <a:cubicBezTo>
                    <a:pt x="20872" y="79800"/>
                    <a:pt x="9837" y="75662"/>
                    <a:pt x="1561" y="6738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6" name="Forme libre : forme 155">
              <a:extLst>
                <a:ext uri="{FF2B5EF4-FFF2-40B4-BE49-F238E27FC236}">
                  <a16:creationId xmlns:a16="http://schemas.microsoft.com/office/drawing/2014/main" id="{BD296649-E6F7-43B4-A921-2D9F25E09891}"/>
                </a:ext>
              </a:extLst>
            </p:cNvPr>
            <p:cNvSpPr/>
            <p:nvPr/>
          </p:nvSpPr>
          <p:spPr>
            <a:xfrm rot="8716295">
              <a:off x="2079218" y="1576016"/>
              <a:ext cx="236114" cy="296463"/>
            </a:xfrm>
            <a:custGeom>
              <a:avLst/>
              <a:gdLst>
                <a:gd name="connsiteX0" fmla="*/ 64875 w 236114"/>
                <a:gd name="connsiteY0" fmla="*/ 296463 h 296463"/>
                <a:gd name="connsiteX1" fmla="*/ 0 w 236114"/>
                <a:gd name="connsiteY1" fmla="*/ 175766 h 296463"/>
                <a:gd name="connsiteX2" fmla="*/ 33192 w 236114"/>
                <a:gd name="connsiteY2" fmla="*/ 83734 h 296463"/>
                <a:gd name="connsiteX3" fmla="*/ 489 w 236114"/>
                <a:gd name="connsiteY3" fmla="*/ 83734 h 296463"/>
                <a:gd name="connsiteX4" fmla="*/ 69747 w 236114"/>
                <a:gd name="connsiteY4" fmla="*/ 0 h 296463"/>
                <a:gd name="connsiteX5" fmla="*/ 236114 w 236114"/>
                <a:gd name="connsiteY5" fmla="*/ 0 h 296463"/>
                <a:gd name="connsiteX6" fmla="*/ 236114 w 236114"/>
                <a:gd name="connsiteY6" fmla="*/ 83734 h 296463"/>
                <a:gd name="connsiteX7" fmla="*/ 138047 w 236114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6114" h="296463">
                  <a:moveTo>
                    <a:pt x="64875" y="296463"/>
                  </a:moveTo>
                  <a:lnTo>
                    <a:pt x="0" y="175766"/>
                  </a:lnTo>
                  <a:lnTo>
                    <a:pt x="33192" y="83734"/>
                  </a:lnTo>
                  <a:lnTo>
                    <a:pt x="489" y="83734"/>
                  </a:lnTo>
                  <a:lnTo>
                    <a:pt x="69747" y="0"/>
                  </a:lnTo>
                  <a:lnTo>
                    <a:pt x="236114" y="0"/>
                  </a:lnTo>
                  <a:lnTo>
                    <a:pt x="236114" y="83734"/>
                  </a:lnTo>
                  <a:lnTo>
                    <a:pt x="138047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7" name="Forme libre : forme 156">
              <a:extLst>
                <a:ext uri="{FF2B5EF4-FFF2-40B4-BE49-F238E27FC236}">
                  <a16:creationId xmlns:a16="http://schemas.microsoft.com/office/drawing/2014/main" id="{6CA34F6D-826D-4D6C-B9D3-13816F14A2D6}"/>
                </a:ext>
              </a:extLst>
            </p:cNvPr>
            <p:cNvSpPr/>
            <p:nvPr/>
          </p:nvSpPr>
          <p:spPr>
            <a:xfrm rot="8716295">
              <a:off x="1975890" y="1368961"/>
              <a:ext cx="432296" cy="245571"/>
            </a:xfrm>
            <a:custGeom>
              <a:avLst/>
              <a:gdLst>
                <a:gd name="connsiteX0" fmla="*/ 30685 w 432296"/>
                <a:gd name="connsiteY0" fmla="*/ 200783 h 245571"/>
                <a:gd name="connsiteX1" fmla="*/ 187 w 432296"/>
                <a:gd name="connsiteY1" fmla="*/ 140564 h 245571"/>
                <a:gd name="connsiteX2" fmla="*/ 0 w 432296"/>
                <a:gd name="connsiteY2" fmla="*/ 138341 h 245571"/>
                <a:gd name="connsiteX3" fmla="*/ 114424 w 432296"/>
                <a:gd name="connsiteY3" fmla="*/ 0 h 245571"/>
                <a:gd name="connsiteX4" fmla="*/ 116284 w 432296"/>
                <a:gd name="connsiteY4" fmla="*/ 37935 h 245571"/>
                <a:gd name="connsiteX5" fmla="*/ 133982 w 432296"/>
                <a:gd name="connsiteY5" fmla="*/ 110844 h 245571"/>
                <a:gd name="connsiteX6" fmla="*/ 240841 w 432296"/>
                <a:gd name="connsiteY6" fmla="*/ 169617 h 245571"/>
                <a:gd name="connsiteX7" fmla="*/ 320985 w 432296"/>
                <a:gd name="connsiteY7" fmla="*/ 155369 h 245571"/>
                <a:gd name="connsiteX8" fmla="*/ 430515 w 432296"/>
                <a:gd name="connsiteY8" fmla="*/ 110844 h 245571"/>
                <a:gd name="connsiteX9" fmla="*/ 432296 w 432296"/>
                <a:gd name="connsiteY9" fmla="*/ 122420 h 245571"/>
                <a:gd name="connsiteX10" fmla="*/ 432296 w 432296"/>
                <a:gd name="connsiteY10" fmla="*/ 131325 h 245571"/>
                <a:gd name="connsiteX11" fmla="*/ 140216 w 432296"/>
                <a:gd name="connsiteY11" fmla="*/ 245308 h 245571"/>
                <a:gd name="connsiteX12" fmla="*/ 30685 w 432296"/>
                <a:gd name="connsiteY12" fmla="*/ 200783 h 245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32296" h="245571">
                  <a:moveTo>
                    <a:pt x="30685" y="200783"/>
                  </a:moveTo>
                  <a:cubicBezTo>
                    <a:pt x="15547" y="186091"/>
                    <a:pt x="5975" y="166054"/>
                    <a:pt x="187" y="140564"/>
                  </a:cubicBezTo>
                  <a:lnTo>
                    <a:pt x="0" y="138341"/>
                  </a:lnTo>
                  <a:lnTo>
                    <a:pt x="114424" y="0"/>
                  </a:lnTo>
                  <a:lnTo>
                    <a:pt x="116284" y="37935"/>
                  </a:lnTo>
                  <a:cubicBezTo>
                    <a:pt x="119957" y="62758"/>
                    <a:pt x="125968" y="87246"/>
                    <a:pt x="133982" y="110844"/>
                  </a:cubicBezTo>
                  <a:cubicBezTo>
                    <a:pt x="148231" y="150026"/>
                    <a:pt x="184740" y="169617"/>
                    <a:pt x="240841" y="169617"/>
                  </a:cubicBezTo>
                  <a:cubicBezTo>
                    <a:pt x="268446" y="168726"/>
                    <a:pt x="295161" y="163383"/>
                    <a:pt x="320985" y="155369"/>
                  </a:cubicBezTo>
                  <a:cubicBezTo>
                    <a:pt x="358385" y="143792"/>
                    <a:pt x="394895" y="128654"/>
                    <a:pt x="430515" y="110844"/>
                  </a:cubicBezTo>
                  <a:cubicBezTo>
                    <a:pt x="431405" y="114406"/>
                    <a:pt x="432296" y="118858"/>
                    <a:pt x="432296" y="122420"/>
                  </a:cubicBezTo>
                  <a:lnTo>
                    <a:pt x="432296" y="131325"/>
                  </a:lnTo>
                  <a:cubicBezTo>
                    <a:pt x="337904" y="212360"/>
                    <a:pt x="214126" y="240856"/>
                    <a:pt x="140216" y="245308"/>
                  </a:cubicBezTo>
                  <a:cubicBezTo>
                    <a:pt x="99254" y="247980"/>
                    <a:pt x="59182" y="230170"/>
                    <a:pt x="30685" y="2007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8" name="Forme libre : forme 157">
              <a:extLst>
                <a:ext uri="{FF2B5EF4-FFF2-40B4-BE49-F238E27FC236}">
                  <a16:creationId xmlns:a16="http://schemas.microsoft.com/office/drawing/2014/main" id="{1B5AAC38-2C08-40E5-95BE-5338A8CAC415}"/>
                </a:ext>
              </a:extLst>
            </p:cNvPr>
            <p:cNvSpPr/>
            <p:nvPr/>
          </p:nvSpPr>
          <p:spPr>
            <a:xfrm rot="8716295">
              <a:off x="2107141" y="73528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9" name="Forme libre : forme 158">
              <a:extLst>
                <a:ext uri="{FF2B5EF4-FFF2-40B4-BE49-F238E27FC236}">
                  <a16:creationId xmlns:a16="http://schemas.microsoft.com/office/drawing/2014/main" id="{A4125EC0-3011-4C53-83B6-DD287160F4E7}"/>
                </a:ext>
              </a:extLst>
            </p:cNvPr>
            <p:cNvSpPr/>
            <p:nvPr/>
          </p:nvSpPr>
          <p:spPr>
            <a:xfrm rot="8716295">
              <a:off x="2242282" y="832029"/>
              <a:ext cx="282003" cy="313470"/>
            </a:xfrm>
            <a:custGeom>
              <a:avLst/>
              <a:gdLst>
                <a:gd name="connsiteX0" fmla="*/ 188208 w 282003"/>
                <a:gd name="connsiteY0" fmla="*/ 99785 h 313470"/>
                <a:gd name="connsiteX1" fmla="*/ 188208 w 282003"/>
                <a:gd name="connsiteY1" fmla="*/ 85923 h 313470"/>
                <a:gd name="connsiteX2" fmla="*/ 259276 w 282003"/>
                <a:gd name="connsiteY2" fmla="*/ 0 h 313470"/>
                <a:gd name="connsiteX3" fmla="*/ 274211 w 282003"/>
                <a:gd name="connsiteY3" fmla="*/ 28123 h 313470"/>
                <a:gd name="connsiteX4" fmla="*/ 282003 w 282003"/>
                <a:gd name="connsiteY4" fmla="*/ 85301 h 313470"/>
                <a:gd name="connsiteX5" fmla="*/ 282002 w 282003"/>
                <a:gd name="connsiteY5" fmla="*/ 94267 h 313470"/>
                <a:gd name="connsiteX6" fmla="*/ 0 w 282003"/>
                <a:gd name="connsiteY6" fmla="*/ 313470 h 313470"/>
                <a:gd name="connsiteX7" fmla="*/ 56482 w 282003"/>
                <a:gd name="connsiteY7" fmla="*/ 245183 h 313470"/>
                <a:gd name="connsiteX8" fmla="*/ 56482 w 282003"/>
                <a:gd name="connsiteY8" fmla="*/ 274960 h 313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2003" h="313470">
                  <a:moveTo>
                    <a:pt x="188208" y="99785"/>
                  </a:moveTo>
                  <a:lnTo>
                    <a:pt x="188208" y="85923"/>
                  </a:lnTo>
                  <a:lnTo>
                    <a:pt x="259276" y="0"/>
                  </a:lnTo>
                  <a:lnTo>
                    <a:pt x="274211" y="28123"/>
                  </a:lnTo>
                  <a:cubicBezTo>
                    <a:pt x="279330" y="44783"/>
                    <a:pt x="282002" y="63922"/>
                    <a:pt x="282003" y="85301"/>
                  </a:cubicBezTo>
                  <a:lnTo>
                    <a:pt x="282002" y="94267"/>
                  </a:lnTo>
                  <a:close/>
                  <a:moveTo>
                    <a:pt x="0" y="313470"/>
                  </a:moveTo>
                  <a:lnTo>
                    <a:pt x="56482" y="245183"/>
                  </a:lnTo>
                  <a:lnTo>
                    <a:pt x="56482" y="2749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0" name="Forme libre : forme 159">
              <a:extLst>
                <a:ext uri="{FF2B5EF4-FFF2-40B4-BE49-F238E27FC236}">
                  <a16:creationId xmlns:a16="http://schemas.microsoft.com/office/drawing/2014/main" id="{FF9B0781-A82C-47AF-AC1C-21015974FDE2}"/>
                </a:ext>
              </a:extLst>
            </p:cNvPr>
            <p:cNvSpPr/>
            <p:nvPr/>
          </p:nvSpPr>
          <p:spPr>
            <a:xfrm rot="8716295">
              <a:off x="2174558" y="64895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1" name="Forme libre : forme 160">
              <a:extLst>
                <a:ext uri="{FF2B5EF4-FFF2-40B4-BE49-F238E27FC236}">
                  <a16:creationId xmlns:a16="http://schemas.microsoft.com/office/drawing/2014/main" id="{E647964A-EFA4-4875-8CBA-E79FD37F80FD}"/>
                </a:ext>
              </a:extLst>
            </p:cNvPr>
            <p:cNvSpPr/>
            <p:nvPr/>
          </p:nvSpPr>
          <p:spPr>
            <a:xfrm rot="8716295">
              <a:off x="1937270" y="86929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2" name="Forme libre : forme 161">
              <a:extLst>
                <a:ext uri="{FF2B5EF4-FFF2-40B4-BE49-F238E27FC236}">
                  <a16:creationId xmlns:a16="http://schemas.microsoft.com/office/drawing/2014/main" id="{92A84223-E9E1-4AA2-A477-395EEFC832F2}"/>
                </a:ext>
              </a:extLst>
            </p:cNvPr>
            <p:cNvSpPr/>
            <p:nvPr/>
          </p:nvSpPr>
          <p:spPr>
            <a:xfrm rot="8716295">
              <a:off x="1748224" y="55346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3" name="Forme libre : forme 162">
              <a:extLst>
                <a:ext uri="{FF2B5EF4-FFF2-40B4-BE49-F238E27FC236}">
                  <a16:creationId xmlns:a16="http://schemas.microsoft.com/office/drawing/2014/main" id="{25B16338-FDD7-4AA6-9D09-5C2DE296D9CE}"/>
                </a:ext>
              </a:extLst>
            </p:cNvPr>
            <p:cNvSpPr/>
            <p:nvPr/>
          </p:nvSpPr>
          <p:spPr>
            <a:xfrm rot="8716295">
              <a:off x="1729983" y="34341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4" name="Forme libre : forme 163">
              <a:extLst>
                <a:ext uri="{FF2B5EF4-FFF2-40B4-BE49-F238E27FC236}">
                  <a16:creationId xmlns:a16="http://schemas.microsoft.com/office/drawing/2014/main" id="{FD37B6C0-63BE-47FD-9D48-08E0F916E511}"/>
                </a:ext>
              </a:extLst>
            </p:cNvPr>
            <p:cNvSpPr/>
            <p:nvPr/>
          </p:nvSpPr>
          <p:spPr>
            <a:xfrm rot="8716295">
              <a:off x="2073759" y="93127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5" name="Forme libre : forme 164">
              <a:extLst>
                <a:ext uri="{FF2B5EF4-FFF2-40B4-BE49-F238E27FC236}">
                  <a16:creationId xmlns:a16="http://schemas.microsoft.com/office/drawing/2014/main" id="{93F06371-0361-4141-BEE3-CC9849B020E6}"/>
                </a:ext>
              </a:extLst>
            </p:cNvPr>
            <p:cNvSpPr/>
            <p:nvPr/>
          </p:nvSpPr>
          <p:spPr>
            <a:xfrm rot="8716295">
              <a:off x="2367873" y="489398"/>
              <a:ext cx="81526" cy="84395"/>
            </a:xfrm>
            <a:custGeom>
              <a:avLst/>
              <a:gdLst>
                <a:gd name="connsiteX0" fmla="*/ 6524 w 81526"/>
                <a:gd name="connsiteY0" fmla="*/ 71981 h 84395"/>
                <a:gd name="connsiteX1" fmla="*/ 0 w 81526"/>
                <a:gd name="connsiteY1" fmla="*/ 56529 h 84395"/>
                <a:gd name="connsiteX2" fmla="*/ 46756 w 81526"/>
                <a:gd name="connsiteY2" fmla="*/ 0 h 84395"/>
                <a:gd name="connsiteX3" fmla="*/ 68595 w 81526"/>
                <a:gd name="connsiteY3" fmla="*/ 9221 h 84395"/>
                <a:gd name="connsiteX4" fmla="*/ 68595 w 81526"/>
                <a:gd name="connsiteY4" fmla="*/ 71292 h 84395"/>
                <a:gd name="connsiteX5" fmla="*/ 37559 w 81526"/>
                <a:gd name="connsiteY5" fmla="*/ 84395 h 84395"/>
                <a:gd name="connsiteX6" fmla="*/ 6524 w 81526"/>
                <a:gd name="connsiteY6" fmla="*/ 71981 h 84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526" h="84395">
                  <a:moveTo>
                    <a:pt x="6524" y="71981"/>
                  </a:moveTo>
                  <a:lnTo>
                    <a:pt x="0" y="56529"/>
                  </a:lnTo>
                  <a:lnTo>
                    <a:pt x="46756" y="0"/>
                  </a:lnTo>
                  <a:lnTo>
                    <a:pt x="68595" y="9221"/>
                  </a:lnTo>
                  <a:cubicBezTo>
                    <a:pt x="85837" y="25773"/>
                    <a:pt x="85836" y="54050"/>
                    <a:pt x="68595" y="71292"/>
                  </a:cubicBezTo>
                  <a:cubicBezTo>
                    <a:pt x="60319" y="79568"/>
                    <a:pt x="49284" y="84395"/>
                    <a:pt x="37559" y="84395"/>
                  </a:cubicBezTo>
                  <a:cubicBezTo>
                    <a:pt x="25835" y="84395"/>
                    <a:pt x="14800" y="80257"/>
                    <a:pt x="6524" y="7198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6" name="Forme libre : forme 165">
              <a:extLst>
                <a:ext uri="{FF2B5EF4-FFF2-40B4-BE49-F238E27FC236}">
                  <a16:creationId xmlns:a16="http://schemas.microsoft.com/office/drawing/2014/main" id="{5196C23A-E9EE-4BB5-B0E6-FCA193386C5B}"/>
                </a:ext>
              </a:extLst>
            </p:cNvPr>
            <p:cNvSpPr/>
            <p:nvPr/>
          </p:nvSpPr>
          <p:spPr>
            <a:xfrm rot="8716295">
              <a:off x="2184146" y="191304"/>
              <a:ext cx="250306" cy="296463"/>
            </a:xfrm>
            <a:custGeom>
              <a:avLst/>
              <a:gdLst>
                <a:gd name="connsiteX0" fmla="*/ 79067 w 250306"/>
                <a:gd name="connsiteY0" fmla="*/ 296463 h 296463"/>
                <a:gd name="connsiteX1" fmla="*/ 14192 w 250306"/>
                <a:gd name="connsiteY1" fmla="*/ 175766 h 296463"/>
                <a:gd name="connsiteX2" fmla="*/ 47384 w 250306"/>
                <a:gd name="connsiteY2" fmla="*/ 83734 h 296463"/>
                <a:gd name="connsiteX3" fmla="*/ 0 w 250306"/>
                <a:gd name="connsiteY3" fmla="*/ 83734 h 296463"/>
                <a:gd name="connsiteX4" fmla="*/ 69257 w 250306"/>
                <a:gd name="connsiteY4" fmla="*/ 0 h 296463"/>
                <a:gd name="connsiteX5" fmla="*/ 250306 w 250306"/>
                <a:gd name="connsiteY5" fmla="*/ 0 h 296463"/>
                <a:gd name="connsiteX6" fmla="*/ 250306 w 250306"/>
                <a:gd name="connsiteY6" fmla="*/ 83734 h 296463"/>
                <a:gd name="connsiteX7" fmla="*/ 152239 w 250306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0306" h="296463">
                  <a:moveTo>
                    <a:pt x="79067" y="296463"/>
                  </a:moveTo>
                  <a:lnTo>
                    <a:pt x="14192" y="175766"/>
                  </a:lnTo>
                  <a:lnTo>
                    <a:pt x="47384" y="83734"/>
                  </a:lnTo>
                  <a:lnTo>
                    <a:pt x="0" y="83734"/>
                  </a:lnTo>
                  <a:lnTo>
                    <a:pt x="69257" y="0"/>
                  </a:lnTo>
                  <a:lnTo>
                    <a:pt x="250306" y="0"/>
                  </a:lnTo>
                  <a:lnTo>
                    <a:pt x="250306" y="83734"/>
                  </a:lnTo>
                  <a:lnTo>
                    <a:pt x="152239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7" name="Forme libre : forme 166">
              <a:extLst>
                <a:ext uri="{FF2B5EF4-FFF2-40B4-BE49-F238E27FC236}">
                  <a16:creationId xmlns:a16="http://schemas.microsoft.com/office/drawing/2014/main" id="{AF8BB132-EA68-41A8-B3E5-2FCCBDEB7D5A}"/>
                </a:ext>
              </a:extLst>
            </p:cNvPr>
            <p:cNvSpPr/>
            <p:nvPr/>
          </p:nvSpPr>
          <p:spPr>
            <a:xfrm rot="8716295">
              <a:off x="2145876" y="32623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8" name="Forme libre : forme 167">
              <a:extLst>
                <a:ext uri="{FF2B5EF4-FFF2-40B4-BE49-F238E27FC236}">
                  <a16:creationId xmlns:a16="http://schemas.microsoft.com/office/drawing/2014/main" id="{0C891817-7BA1-4E19-A5B6-7030FDA5B7F1}"/>
                </a:ext>
              </a:extLst>
            </p:cNvPr>
            <p:cNvSpPr/>
            <p:nvPr/>
          </p:nvSpPr>
          <p:spPr>
            <a:xfrm rot="8716295">
              <a:off x="1834766" y="-57684"/>
              <a:ext cx="186564" cy="129320"/>
            </a:xfrm>
            <a:custGeom>
              <a:avLst/>
              <a:gdLst>
                <a:gd name="connsiteX0" fmla="*/ 123263 w 123263"/>
                <a:gd name="connsiteY0" fmla="*/ 85442 h 85442"/>
                <a:gd name="connsiteX1" fmla="*/ 0 w 123263"/>
                <a:gd name="connsiteY1" fmla="*/ 0 h 85442"/>
                <a:gd name="connsiteX2" fmla="*/ 66305 w 123263"/>
                <a:gd name="connsiteY2" fmla="*/ 0 h 85442"/>
                <a:gd name="connsiteX3" fmla="*/ 123263 w 123263"/>
                <a:gd name="connsiteY3" fmla="*/ 50123 h 85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63" h="85442">
                  <a:moveTo>
                    <a:pt x="123263" y="85442"/>
                  </a:moveTo>
                  <a:lnTo>
                    <a:pt x="0" y="0"/>
                  </a:lnTo>
                  <a:lnTo>
                    <a:pt x="66305" y="0"/>
                  </a:lnTo>
                  <a:cubicBezTo>
                    <a:pt x="103214" y="0"/>
                    <a:pt x="123263" y="15948"/>
                    <a:pt x="123263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9" name="Forme libre : forme 168">
              <a:extLst>
                <a:ext uri="{FF2B5EF4-FFF2-40B4-BE49-F238E27FC236}">
                  <a16:creationId xmlns:a16="http://schemas.microsoft.com/office/drawing/2014/main" id="{4406013B-1E43-4380-98C9-594C282D12B3}"/>
                </a:ext>
              </a:extLst>
            </p:cNvPr>
            <p:cNvSpPr/>
            <p:nvPr/>
          </p:nvSpPr>
          <p:spPr>
            <a:xfrm rot="8716295">
              <a:off x="1969949" y="-13794"/>
              <a:ext cx="394488" cy="148365"/>
            </a:xfrm>
            <a:custGeom>
              <a:avLst/>
              <a:gdLst>
                <a:gd name="connsiteX0" fmla="*/ 104802 w 260639"/>
                <a:gd name="connsiteY0" fmla="*/ 74264 h 98025"/>
                <a:gd name="connsiteX1" fmla="*/ 0 w 260639"/>
                <a:gd name="connsiteY1" fmla="*/ 1618 h 98025"/>
                <a:gd name="connsiteX2" fmla="*/ 0 w 260639"/>
                <a:gd name="connsiteY2" fmla="*/ 1425 h 98025"/>
                <a:gd name="connsiteX3" fmla="*/ 104803 w 260639"/>
                <a:gd name="connsiteY3" fmla="*/ 1425 h 98025"/>
                <a:gd name="connsiteX4" fmla="*/ 122123 w 260639"/>
                <a:gd name="connsiteY4" fmla="*/ 86270 h 98025"/>
                <a:gd name="connsiteX5" fmla="*/ 106178 w 260639"/>
                <a:gd name="connsiteY5" fmla="*/ 75218 h 98025"/>
                <a:gd name="connsiteX6" fmla="*/ 116721 w 260639"/>
                <a:gd name="connsiteY6" fmla="*/ 47439 h 98025"/>
                <a:gd name="connsiteX7" fmla="*/ 154014 w 260639"/>
                <a:gd name="connsiteY7" fmla="*/ 5981 h 98025"/>
                <a:gd name="connsiteX8" fmla="*/ 185455 w 260639"/>
                <a:gd name="connsiteY8" fmla="*/ 57 h 98025"/>
                <a:gd name="connsiteX9" fmla="*/ 260639 w 260639"/>
                <a:gd name="connsiteY9" fmla="*/ 88456 h 98025"/>
                <a:gd name="connsiteX10" fmla="*/ 260639 w 260639"/>
                <a:gd name="connsiteY10" fmla="*/ 94380 h 98025"/>
                <a:gd name="connsiteX11" fmla="*/ 198669 w 260639"/>
                <a:gd name="connsiteY11" fmla="*/ 98025 h 98025"/>
                <a:gd name="connsiteX12" fmla="*/ 198669 w 260639"/>
                <a:gd name="connsiteY12" fmla="*/ 81621 h 98025"/>
                <a:gd name="connsiteX13" fmla="*/ 164950 w 260639"/>
                <a:gd name="connsiteY13" fmla="*/ 40156 h 98025"/>
                <a:gd name="connsiteX14" fmla="*/ 127358 w 260639"/>
                <a:gd name="connsiteY14" fmla="*/ 65616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60639" h="98025">
                  <a:moveTo>
                    <a:pt x="104802" y="74264"/>
                  </a:moveTo>
                  <a:lnTo>
                    <a:pt x="0" y="1618"/>
                  </a:lnTo>
                  <a:lnTo>
                    <a:pt x="0" y="1425"/>
                  </a:lnTo>
                  <a:lnTo>
                    <a:pt x="104803" y="1425"/>
                  </a:lnTo>
                  <a:close/>
                  <a:moveTo>
                    <a:pt x="122123" y="86270"/>
                  </a:moveTo>
                  <a:lnTo>
                    <a:pt x="106178" y="75218"/>
                  </a:lnTo>
                  <a:lnTo>
                    <a:pt x="116721" y="47439"/>
                  </a:lnTo>
                  <a:cubicBezTo>
                    <a:pt x="127102" y="24008"/>
                    <a:pt x="137610" y="12816"/>
                    <a:pt x="154014" y="5981"/>
                  </a:cubicBezTo>
                  <a:cubicBezTo>
                    <a:pt x="164038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50369" y="40156"/>
                    <a:pt x="137041" y="49839"/>
                    <a:pt x="127358" y="656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0" name="Forme libre : forme 169">
              <a:extLst>
                <a:ext uri="{FF2B5EF4-FFF2-40B4-BE49-F238E27FC236}">
                  <a16:creationId xmlns:a16="http://schemas.microsoft.com/office/drawing/2014/main" id="{697ACF89-8E3E-4CA4-96AD-ED3067ABB920}"/>
                </a:ext>
              </a:extLst>
            </p:cNvPr>
            <p:cNvSpPr/>
            <p:nvPr/>
          </p:nvSpPr>
          <p:spPr>
            <a:xfrm rot="8716295">
              <a:off x="1736738" y="-7282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1" name="Forme libre : forme 170">
              <a:extLst>
                <a:ext uri="{FF2B5EF4-FFF2-40B4-BE49-F238E27FC236}">
                  <a16:creationId xmlns:a16="http://schemas.microsoft.com/office/drawing/2014/main" id="{914F8714-5CD4-41D2-92D2-73A622448BB2}"/>
                </a:ext>
              </a:extLst>
            </p:cNvPr>
            <p:cNvSpPr/>
            <p:nvPr/>
          </p:nvSpPr>
          <p:spPr>
            <a:xfrm rot="7484129">
              <a:off x="2394733" y="32841"/>
              <a:ext cx="135077" cy="94074"/>
            </a:xfrm>
            <a:custGeom>
              <a:avLst/>
              <a:gdLst>
                <a:gd name="connsiteX0" fmla="*/ 100725 w 135077"/>
                <a:gd name="connsiteY0" fmla="*/ 19729 h 94074"/>
                <a:gd name="connsiteX1" fmla="*/ 135077 w 135077"/>
                <a:gd name="connsiteY1" fmla="*/ 0 h 94074"/>
                <a:gd name="connsiteX2" fmla="*/ 135077 w 135077"/>
                <a:gd name="connsiteY2" fmla="*/ 19729 h 94074"/>
                <a:gd name="connsiteX3" fmla="*/ 0 w 135077"/>
                <a:gd name="connsiteY3" fmla="*/ 77576 h 94074"/>
                <a:gd name="connsiteX4" fmla="*/ 21327 w 135077"/>
                <a:gd name="connsiteY4" fmla="*/ 65328 h 94074"/>
                <a:gd name="connsiteX5" fmla="*/ 11439 w 135077"/>
                <a:gd name="connsiteY5" fmla="*/ 94074 h 94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5077" h="94074">
                  <a:moveTo>
                    <a:pt x="100725" y="19729"/>
                  </a:moveTo>
                  <a:lnTo>
                    <a:pt x="135077" y="0"/>
                  </a:lnTo>
                  <a:lnTo>
                    <a:pt x="135077" y="19729"/>
                  </a:lnTo>
                  <a:close/>
                  <a:moveTo>
                    <a:pt x="0" y="77576"/>
                  </a:moveTo>
                  <a:lnTo>
                    <a:pt x="21327" y="65328"/>
                  </a:lnTo>
                  <a:lnTo>
                    <a:pt x="11439" y="940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993560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clair + Texte">
    <p:bg>
      <p:bgPr>
        <a:solidFill>
          <a:srgbClr val="009F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6" name="Groupe 905">
            <a:extLst>
              <a:ext uri="{FF2B5EF4-FFF2-40B4-BE49-F238E27FC236}">
                <a16:creationId xmlns:a16="http://schemas.microsoft.com/office/drawing/2014/main" id="{262DD600-3D98-450E-9C13-1ED3731F0C57}"/>
              </a:ext>
            </a:extLst>
          </p:cNvPr>
          <p:cNvGrpSpPr/>
          <p:nvPr userDrawn="1"/>
        </p:nvGrpSpPr>
        <p:grpSpPr>
          <a:xfrm>
            <a:off x="5646189" y="-56618"/>
            <a:ext cx="3577789" cy="5281077"/>
            <a:chOff x="5646189" y="-56618"/>
            <a:chExt cx="3577789" cy="5281077"/>
          </a:xfrm>
          <a:solidFill>
            <a:schemeClr val="bg2">
              <a:alpha val="5000"/>
            </a:schemeClr>
          </a:solidFill>
        </p:grpSpPr>
        <p:sp>
          <p:nvSpPr>
            <p:cNvPr id="907" name="Forme libre : forme 906">
              <a:extLst>
                <a:ext uri="{FF2B5EF4-FFF2-40B4-BE49-F238E27FC236}">
                  <a16:creationId xmlns:a16="http://schemas.microsoft.com/office/drawing/2014/main" id="{316F36C1-A141-4E61-9E83-EFDA32C46FDD}"/>
                </a:ext>
              </a:extLst>
            </p:cNvPr>
            <p:cNvSpPr/>
            <p:nvPr/>
          </p:nvSpPr>
          <p:spPr>
            <a:xfrm rot="8716295">
              <a:off x="5849244" y="2601866"/>
              <a:ext cx="81391" cy="44199"/>
            </a:xfrm>
            <a:custGeom>
              <a:avLst/>
              <a:gdLst>
                <a:gd name="connsiteX0" fmla="*/ 0 w 81391"/>
                <a:gd name="connsiteY0" fmla="*/ 44199 h 44199"/>
                <a:gd name="connsiteX1" fmla="*/ 0 w 81391"/>
                <a:gd name="connsiteY1" fmla="*/ 0 h 44199"/>
                <a:gd name="connsiteX2" fmla="*/ 81391 w 81391"/>
                <a:gd name="connsiteY2" fmla="*/ 0 h 44199"/>
                <a:gd name="connsiteX3" fmla="*/ 44834 w 81391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1391" h="44199">
                  <a:moveTo>
                    <a:pt x="0" y="44199"/>
                  </a:moveTo>
                  <a:lnTo>
                    <a:pt x="0" y="0"/>
                  </a:lnTo>
                  <a:lnTo>
                    <a:pt x="81391" y="0"/>
                  </a:lnTo>
                  <a:lnTo>
                    <a:pt x="44834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8" name="Forme libre : forme 907">
              <a:extLst>
                <a:ext uri="{FF2B5EF4-FFF2-40B4-BE49-F238E27FC236}">
                  <a16:creationId xmlns:a16="http://schemas.microsoft.com/office/drawing/2014/main" id="{3C10A908-8704-4ED3-B0DC-1D82C51CB83F}"/>
                </a:ext>
              </a:extLst>
            </p:cNvPr>
            <p:cNvSpPr/>
            <p:nvPr/>
          </p:nvSpPr>
          <p:spPr>
            <a:xfrm rot="13089394">
              <a:off x="5767060" y="2734286"/>
              <a:ext cx="230958" cy="317148"/>
            </a:xfrm>
            <a:custGeom>
              <a:avLst/>
              <a:gdLst>
                <a:gd name="connsiteX0" fmla="*/ 230958 w 230958"/>
                <a:gd name="connsiteY0" fmla="*/ 274842 h 317148"/>
                <a:gd name="connsiteX1" fmla="*/ 226070 w 230958"/>
                <a:gd name="connsiteY1" fmla="*/ 278187 h 317148"/>
                <a:gd name="connsiteX2" fmla="*/ 91597 w 230958"/>
                <a:gd name="connsiteY2" fmla="*/ 316985 h 317148"/>
                <a:gd name="connsiteX3" fmla="*/ 23727 w 230958"/>
                <a:gd name="connsiteY3" fmla="*/ 289395 h 317148"/>
                <a:gd name="connsiteX4" fmla="*/ 0 w 230958"/>
                <a:gd name="connsiteY4" fmla="*/ 194488 h 317148"/>
                <a:gd name="connsiteX5" fmla="*/ 0 w 230958"/>
                <a:gd name="connsiteY5" fmla="*/ 26192 h 317148"/>
                <a:gd name="connsiteX6" fmla="*/ 50486 w 230958"/>
                <a:gd name="connsiteY6" fmla="*/ 0 h 317148"/>
                <a:gd name="connsiteX7" fmla="*/ 73727 w 230958"/>
                <a:gd name="connsiteY7" fmla="*/ 35393 h 317148"/>
                <a:gd name="connsiteX8" fmla="*/ 74492 w 230958"/>
                <a:gd name="connsiteY8" fmla="*/ 142068 h 317148"/>
                <a:gd name="connsiteX9" fmla="*/ 87734 w 230958"/>
                <a:gd name="connsiteY9" fmla="*/ 233665 h 317148"/>
                <a:gd name="connsiteX10" fmla="*/ 153949 w 230958"/>
                <a:gd name="connsiteY10" fmla="*/ 270083 h 317148"/>
                <a:gd name="connsiteX11" fmla="*/ 203610 w 230958"/>
                <a:gd name="connsiteY11" fmla="*/ 261254 h 317148"/>
                <a:gd name="connsiteX12" fmla="*/ 218153 w 230958"/>
                <a:gd name="connsiteY12" fmla="*/ 255342 h 317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0958" h="317148">
                  <a:moveTo>
                    <a:pt x="230958" y="274842"/>
                  </a:moveTo>
                  <a:lnTo>
                    <a:pt x="226070" y="278187"/>
                  </a:lnTo>
                  <a:cubicBezTo>
                    <a:pt x="177676" y="304466"/>
                    <a:pt x="125946" y="314915"/>
                    <a:pt x="91597" y="316985"/>
                  </a:cubicBezTo>
                  <a:cubicBezTo>
                    <a:pt x="66215" y="318640"/>
                    <a:pt x="41385" y="307605"/>
                    <a:pt x="23727" y="289395"/>
                  </a:cubicBezTo>
                  <a:cubicBezTo>
                    <a:pt x="4966" y="271187"/>
                    <a:pt x="0" y="239734"/>
                    <a:pt x="0" y="194488"/>
                  </a:cubicBezTo>
                  <a:lnTo>
                    <a:pt x="0" y="26192"/>
                  </a:lnTo>
                  <a:lnTo>
                    <a:pt x="50486" y="0"/>
                  </a:lnTo>
                  <a:lnTo>
                    <a:pt x="73727" y="35393"/>
                  </a:lnTo>
                  <a:lnTo>
                    <a:pt x="74492" y="142068"/>
                  </a:lnTo>
                  <a:cubicBezTo>
                    <a:pt x="72836" y="172968"/>
                    <a:pt x="77802" y="204420"/>
                    <a:pt x="87734" y="233665"/>
                  </a:cubicBezTo>
                  <a:cubicBezTo>
                    <a:pt x="96564" y="257944"/>
                    <a:pt x="119186" y="270083"/>
                    <a:pt x="153949" y="270083"/>
                  </a:cubicBezTo>
                  <a:cubicBezTo>
                    <a:pt x="171055" y="269531"/>
                    <a:pt x="187608" y="266220"/>
                    <a:pt x="203610" y="261254"/>
                  </a:cubicBezTo>
                  <a:lnTo>
                    <a:pt x="218153" y="2553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9" name="Forme libre : forme 908">
              <a:extLst>
                <a:ext uri="{FF2B5EF4-FFF2-40B4-BE49-F238E27FC236}">
                  <a16:creationId xmlns:a16="http://schemas.microsoft.com/office/drawing/2014/main" id="{A199C0B0-5C8A-45B3-BBDF-121576C18A1E}"/>
                </a:ext>
              </a:extLst>
            </p:cNvPr>
            <p:cNvSpPr/>
            <p:nvPr/>
          </p:nvSpPr>
          <p:spPr>
            <a:xfrm rot="8716295">
              <a:off x="5912695" y="253226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0" name="Forme libre : forme 909">
              <a:extLst>
                <a:ext uri="{FF2B5EF4-FFF2-40B4-BE49-F238E27FC236}">
                  <a16:creationId xmlns:a16="http://schemas.microsoft.com/office/drawing/2014/main" id="{674F96B3-B4CB-4FDB-8233-AF794BDAABA3}"/>
                </a:ext>
              </a:extLst>
            </p:cNvPr>
            <p:cNvSpPr/>
            <p:nvPr/>
          </p:nvSpPr>
          <p:spPr>
            <a:xfrm rot="8716295">
              <a:off x="5857614" y="2424677"/>
              <a:ext cx="112409" cy="115397"/>
            </a:xfrm>
            <a:custGeom>
              <a:avLst/>
              <a:gdLst>
                <a:gd name="connsiteX0" fmla="*/ 17477 w 112409"/>
                <a:gd name="connsiteY0" fmla="*/ 101182 h 115397"/>
                <a:gd name="connsiteX1" fmla="*/ 0 w 112409"/>
                <a:gd name="connsiteY1" fmla="*/ 59790 h 115397"/>
                <a:gd name="connsiteX2" fmla="*/ 0 w 112409"/>
                <a:gd name="connsiteY2" fmla="*/ 58869 h 115397"/>
                <a:gd name="connsiteX3" fmla="*/ 17477 w 112409"/>
                <a:gd name="connsiteY3" fmla="*/ 17477 h 115397"/>
                <a:gd name="connsiteX4" fmla="*/ 58869 w 112409"/>
                <a:gd name="connsiteY4" fmla="*/ 0 h 115397"/>
                <a:gd name="connsiteX5" fmla="*/ 100263 w 112409"/>
                <a:gd name="connsiteY5" fmla="*/ 17477 h 115397"/>
                <a:gd name="connsiteX6" fmla="*/ 112409 w 112409"/>
                <a:gd name="connsiteY6" fmla="*/ 35332 h 115397"/>
                <a:gd name="connsiteX7" fmla="*/ 46186 w 112409"/>
                <a:gd name="connsiteY7" fmla="*/ 115397 h 115397"/>
                <a:gd name="connsiteX8" fmla="*/ 36449 w 112409"/>
                <a:gd name="connsiteY8" fmla="*/ 113599 h 115397"/>
                <a:gd name="connsiteX9" fmla="*/ 17477 w 112409"/>
                <a:gd name="connsiteY9" fmla="*/ 101182 h 11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2409" h="115397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2" y="0"/>
                    <a:pt x="58869" y="0"/>
                  </a:cubicBezTo>
                  <a:cubicBezTo>
                    <a:pt x="74507" y="0"/>
                    <a:pt x="89224" y="6439"/>
                    <a:pt x="100263" y="17477"/>
                  </a:cubicBezTo>
                  <a:lnTo>
                    <a:pt x="112409" y="35332"/>
                  </a:lnTo>
                  <a:lnTo>
                    <a:pt x="46186" y="115397"/>
                  </a:lnTo>
                  <a:lnTo>
                    <a:pt x="36449" y="113599"/>
                  </a:lnTo>
                  <a:cubicBezTo>
                    <a:pt x="29435" y="110840"/>
                    <a:pt x="22996" y="106701"/>
                    <a:pt x="17477" y="10118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1" name="Forme libre : forme 910">
              <a:extLst>
                <a:ext uri="{FF2B5EF4-FFF2-40B4-BE49-F238E27FC236}">
                  <a16:creationId xmlns:a16="http://schemas.microsoft.com/office/drawing/2014/main" id="{3DE21975-F28E-4032-8E60-B5D4D4B87EE5}"/>
                </a:ext>
              </a:extLst>
            </p:cNvPr>
            <p:cNvSpPr/>
            <p:nvPr/>
          </p:nvSpPr>
          <p:spPr>
            <a:xfrm rot="8716295">
              <a:off x="5881807" y="2341768"/>
              <a:ext cx="26879" cy="32498"/>
            </a:xfrm>
            <a:custGeom>
              <a:avLst/>
              <a:gdLst>
                <a:gd name="connsiteX0" fmla="*/ 0 w 26879"/>
                <a:gd name="connsiteY0" fmla="*/ 32498 h 32498"/>
                <a:gd name="connsiteX1" fmla="*/ 10867 w 26879"/>
                <a:gd name="connsiteY1" fmla="*/ 6761 h 32498"/>
                <a:gd name="connsiteX2" fmla="*/ 26879 w 26879"/>
                <a:gd name="connsiteY2" fmla="*/ 0 h 32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879" h="32498">
                  <a:moveTo>
                    <a:pt x="0" y="32498"/>
                  </a:moveTo>
                  <a:lnTo>
                    <a:pt x="10867" y="6761"/>
                  </a:lnTo>
                  <a:lnTo>
                    <a:pt x="26879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2" name="Forme libre : forme 911">
              <a:extLst>
                <a:ext uri="{FF2B5EF4-FFF2-40B4-BE49-F238E27FC236}">
                  <a16:creationId xmlns:a16="http://schemas.microsoft.com/office/drawing/2014/main" id="{9764F5B5-C912-4DBF-84E2-7421124A4791}"/>
                </a:ext>
              </a:extLst>
            </p:cNvPr>
            <p:cNvSpPr/>
            <p:nvPr/>
          </p:nvSpPr>
          <p:spPr>
            <a:xfrm rot="8716295">
              <a:off x="5913671" y="466578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3" name="Forme libre : forme 912">
              <a:extLst>
                <a:ext uri="{FF2B5EF4-FFF2-40B4-BE49-F238E27FC236}">
                  <a16:creationId xmlns:a16="http://schemas.microsoft.com/office/drawing/2014/main" id="{28FBA634-B173-4807-AF78-C3BE0198B5A0}"/>
                </a:ext>
              </a:extLst>
            </p:cNvPr>
            <p:cNvSpPr/>
            <p:nvPr/>
          </p:nvSpPr>
          <p:spPr>
            <a:xfrm rot="8716295">
              <a:off x="6003063" y="469502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4" name="Forme libre : forme 913">
              <a:extLst>
                <a:ext uri="{FF2B5EF4-FFF2-40B4-BE49-F238E27FC236}">
                  <a16:creationId xmlns:a16="http://schemas.microsoft.com/office/drawing/2014/main" id="{D8555892-46F5-4C26-887B-701A898C715E}"/>
                </a:ext>
              </a:extLst>
            </p:cNvPr>
            <p:cNvSpPr/>
            <p:nvPr/>
          </p:nvSpPr>
          <p:spPr>
            <a:xfrm rot="8716295">
              <a:off x="5958213" y="460874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5" name="Forme libre : forme 914">
              <a:extLst>
                <a:ext uri="{FF2B5EF4-FFF2-40B4-BE49-F238E27FC236}">
                  <a16:creationId xmlns:a16="http://schemas.microsoft.com/office/drawing/2014/main" id="{681D1B8C-10AD-42F0-942E-CC687ED23676}"/>
                </a:ext>
              </a:extLst>
            </p:cNvPr>
            <p:cNvSpPr/>
            <p:nvPr/>
          </p:nvSpPr>
          <p:spPr>
            <a:xfrm rot="8716295">
              <a:off x="5801437" y="475432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6" name="Forme libre : forme 915">
              <a:extLst>
                <a:ext uri="{FF2B5EF4-FFF2-40B4-BE49-F238E27FC236}">
                  <a16:creationId xmlns:a16="http://schemas.microsoft.com/office/drawing/2014/main" id="{EE1786F7-846D-4C35-BEF0-71DF51874200}"/>
                </a:ext>
              </a:extLst>
            </p:cNvPr>
            <p:cNvSpPr/>
            <p:nvPr/>
          </p:nvSpPr>
          <p:spPr>
            <a:xfrm rot="8716295">
              <a:off x="5676534" y="454565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7" name="Forme libre : forme 916">
              <a:extLst>
                <a:ext uri="{FF2B5EF4-FFF2-40B4-BE49-F238E27FC236}">
                  <a16:creationId xmlns:a16="http://schemas.microsoft.com/office/drawing/2014/main" id="{D6857D82-8E0B-444B-8E66-5012E332E7B3}"/>
                </a:ext>
              </a:extLst>
            </p:cNvPr>
            <p:cNvSpPr/>
            <p:nvPr/>
          </p:nvSpPr>
          <p:spPr>
            <a:xfrm rot="8716295">
              <a:off x="5768458" y="4370657"/>
              <a:ext cx="172989" cy="350829"/>
            </a:xfrm>
            <a:custGeom>
              <a:avLst/>
              <a:gdLst>
                <a:gd name="connsiteX0" fmla="*/ 25299 w 172989"/>
                <a:gd name="connsiteY0" fmla="*/ 321238 h 350829"/>
                <a:gd name="connsiteX1" fmla="*/ 0 w 172989"/>
                <a:gd name="connsiteY1" fmla="*/ 220042 h 350829"/>
                <a:gd name="connsiteX2" fmla="*/ 0 w 172989"/>
                <a:gd name="connsiteY2" fmla="*/ 40596 h 350829"/>
                <a:gd name="connsiteX3" fmla="*/ 78250 w 172989"/>
                <a:gd name="connsiteY3" fmla="*/ 0 h 350829"/>
                <a:gd name="connsiteX4" fmla="*/ 79427 w 172989"/>
                <a:gd name="connsiteY4" fmla="*/ 164149 h 350829"/>
                <a:gd name="connsiteX5" fmla="*/ 93547 w 172989"/>
                <a:gd name="connsiteY5" fmla="*/ 261815 h 350829"/>
                <a:gd name="connsiteX6" fmla="*/ 164149 w 172989"/>
                <a:gd name="connsiteY6" fmla="*/ 300646 h 350829"/>
                <a:gd name="connsiteX7" fmla="*/ 172989 w 172989"/>
                <a:gd name="connsiteY7" fmla="*/ 299074 h 350829"/>
                <a:gd name="connsiteX8" fmla="*/ 134278 w 172989"/>
                <a:gd name="connsiteY8" fmla="*/ 345877 h 350829"/>
                <a:gd name="connsiteX9" fmla="*/ 97665 w 172989"/>
                <a:gd name="connsiteY9" fmla="*/ 350655 h 350829"/>
                <a:gd name="connsiteX10" fmla="*/ 25299 w 172989"/>
                <a:gd name="connsiteY10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2989" h="350829">
                  <a:moveTo>
                    <a:pt x="25299" y="321238"/>
                  </a:moveTo>
                  <a:cubicBezTo>
                    <a:pt x="5295" y="301822"/>
                    <a:pt x="0" y="268287"/>
                    <a:pt x="0" y="220042"/>
                  </a:cubicBez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9" y="300646"/>
                  </a:cubicBezTo>
                  <a:lnTo>
                    <a:pt x="172989" y="299074"/>
                  </a:lnTo>
                  <a:lnTo>
                    <a:pt x="134278" y="345877"/>
                  </a:lnTo>
                  <a:lnTo>
                    <a:pt x="97665" y="350655"/>
                  </a:ln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8" name="Forme libre : forme 917">
              <a:extLst>
                <a:ext uri="{FF2B5EF4-FFF2-40B4-BE49-F238E27FC236}">
                  <a16:creationId xmlns:a16="http://schemas.microsoft.com/office/drawing/2014/main" id="{EB8D3ABA-6A82-4EB5-8976-7A067BF087A1}"/>
                </a:ext>
              </a:extLst>
            </p:cNvPr>
            <p:cNvSpPr/>
            <p:nvPr/>
          </p:nvSpPr>
          <p:spPr>
            <a:xfrm rot="8716295">
              <a:off x="5891615" y="479527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9" name="Forme libre : forme 918">
              <a:extLst>
                <a:ext uri="{FF2B5EF4-FFF2-40B4-BE49-F238E27FC236}">
                  <a16:creationId xmlns:a16="http://schemas.microsoft.com/office/drawing/2014/main" id="{CDE3B9A6-DC2D-4FA6-99E1-2A25E54B47AA}"/>
                </a:ext>
              </a:extLst>
            </p:cNvPr>
            <p:cNvSpPr/>
            <p:nvPr/>
          </p:nvSpPr>
          <p:spPr>
            <a:xfrm rot="8716295">
              <a:off x="6202770" y="441563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0" name="Forme libre : forme 919">
              <a:extLst>
                <a:ext uri="{FF2B5EF4-FFF2-40B4-BE49-F238E27FC236}">
                  <a16:creationId xmlns:a16="http://schemas.microsoft.com/office/drawing/2014/main" id="{5B7D053E-0D42-4B34-AF0A-97083013C28E}"/>
                </a:ext>
              </a:extLst>
            </p:cNvPr>
            <p:cNvSpPr/>
            <p:nvPr/>
          </p:nvSpPr>
          <p:spPr>
            <a:xfrm rot="8716295">
              <a:off x="6292162" y="444487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1" name="Forme libre : forme 920">
              <a:extLst>
                <a:ext uri="{FF2B5EF4-FFF2-40B4-BE49-F238E27FC236}">
                  <a16:creationId xmlns:a16="http://schemas.microsoft.com/office/drawing/2014/main" id="{694450A2-AFB6-47EC-9F1E-9256E1A21402}"/>
                </a:ext>
              </a:extLst>
            </p:cNvPr>
            <p:cNvSpPr/>
            <p:nvPr/>
          </p:nvSpPr>
          <p:spPr>
            <a:xfrm rot="8716295">
              <a:off x="6090536" y="450417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2" name="Forme libre : forme 921">
              <a:extLst>
                <a:ext uri="{FF2B5EF4-FFF2-40B4-BE49-F238E27FC236}">
                  <a16:creationId xmlns:a16="http://schemas.microsoft.com/office/drawing/2014/main" id="{2E1D4188-16BB-4F4E-B396-4368ED517467}"/>
                </a:ext>
              </a:extLst>
            </p:cNvPr>
            <p:cNvSpPr/>
            <p:nvPr/>
          </p:nvSpPr>
          <p:spPr>
            <a:xfrm rot="8716295">
              <a:off x="5965634" y="429550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3" name="Forme libre : forme 922">
              <a:extLst>
                <a:ext uri="{FF2B5EF4-FFF2-40B4-BE49-F238E27FC236}">
                  <a16:creationId xmlns:a16="http://schemas.microsoft.com/office/drawing/2014/main" id="{EBDC38B5-8342-4F3F-B5B5-1F3F235D0C56}"/>
                </a:ext>
              </a:extLst>
            </p:cNvPr>
            <p:cNvSpPr/>
            <p:nvPr/>
          </p:nvSpPr>
          <p:spPr>
            <a:xfrm rot="8716295">
              <a:off x="6180714" y="454512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4" name="Forme libre : forme 923">
              <a:extLst>
                <a:ext uri="{FF2B5EF4-FFF2-40B4-BE49-F238E27FC236}">
                  <a16:creationId xmlns:a16="http://schemas.microsoft.com/office/drawing/2014/main" id="{C4B5129D-445F-4392-8AC2-B9203BB346DD}"/>
                </a:ext>
              </a:extLst>
            </p:cNvPr>
            <p:cNvSpPr/>
            <p:nvPr/>
          </p:nvSpPr>
          <p:spPr>
            <a:xfrm rot="8716295">
              <a:off x="5939263" y="439552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5" name="Forme libre : forme 924">
              <a:extLst>
                <a:ext uri="{FF2B5EF4-FFF2-40B4-BE49-F238E27FC236}">
                  <a16:creationId xmlns:a16="http://schemas.microsoft.com/office/drawing/2014/main" id="{970FEF4F-2806-4E6F-A7A1-4451942C9570}"/>
                </a:ext>
              </a:extLst>
            </p:cNvPr>
            <p:cNvSpPr/>
            <p:nvPr/>
          </p:nvSpPr>
          <p:spPr>
            <a:xfrm rot="7484129">
              <a:off x="6285645" y="473647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6" name="Forme libre : forme 925">
              <a:extLst>
                <a:ext uri="{FF2B5EF4-FFF2-40B4-BE49-F238E27FC236}">
                  <a16:creationId xmlns:a16="http://schemas.microsoft.com/office/drawing/2014/main" id="{168E5BFD-1FF0-4328-BCD6-5A1BDBE7CD08}"/>
                </a:ext>
              </a:extLst>
            </p:cNvPr>
            <p:cNvSpPr/>
            <p:nvPr/>
          </p:nvSpPr>
          <p:spPr>
            <a:xfrm rot="13089394">
              <a:off x="6390465" y="470301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7" name="Forme libre : forme 926">
              <a:extLst>
                <a:ext uri="{FF2B5EF4-FFF2-40B4-BE49-F238E27FC236}">
                  <a16:creationId xmlns:a16="http://schemas.microsoft.com/office/drawing/2014/main" id="{951FD6F9-1046-440D-A307-0E7AB7A12F89}"/>
                </a:ext>
              </a:extLst>
            </p:cNvPr>
            <p:cNvSpPr/>
            <p:nvPr/>
          </p:nvSpPr>
          <p:spPr>
            <a:xfrm rot="8716295">
              <a:off x="6576050" y="451133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8" name="Forme libre : forme 927">
              <a:extLst>
                <a:ext uri="{FF2B5EF4-FFF2-40B4-BE49-F238E27FC236}">
                  <a16:creationId xmlns:a16="http://schemas.microsoft.com/office/drawing/2014/main" id="{1E996269-D47F-468E-AA98-30BA5BAD5601}"/>
                </a:ext>
              </a:extLst>
            </p:cNvPr>
            <p:cNvSpPr/>
            <p:nvPr/>
          </p:nvSpPr>
          <p:spPr>
            <a:xfrm rot="8716295">
              <a:off x="6524245" y="440773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9" name="Forme libre : forme 928">
              <a:extLst>
                <a:ext uri="{FF2B5EF4-FFF2-40B4-BE49-F238E27FC236}">
                  <a16:creationId xmlns:a16="http://schemas.microsoft.com/office/drawing/2014/main" id="{C949C9CA-7367-4FDB-9FDD-5DB19B82AE8D}"/>
                </a:ext>
              </a:extLst>
            </p:cNvPr>
            <p:cNvSpPr/>
            <p:nvPr/>
          </p:nvSpPr>
          <p:spPr>
            <a:xfrm rot="8716295">
              <a:off x="6280999" y="443795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0" name="Forme libre : forme 929">
              <a:extLst>
                <a:ext uri="{FF2B5EF4-FFF2-40B4-BE49-F238E27FC236}">
                  <a16:creationId xmlns:a16="http://schemas.microsoft.com/office/drawing/2014/main" id="{5CC25390-A23A-40EF-A07C-D971AF863154}"/>
                </a:ext>
              </a:extLst>
            </p:cNvPr>
            <p:cNvSpPr/>
            <p:nvPr/>
          </p:nvSpPr>
          <p:spPr>
            <a:xfrm rot="8716295">
              <a:off x="6458451" y="427871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1" name="Forme libre : forme 930">
              <a:extLst>
                <a:ext uri="{FF2B5EF4-FFF2-40B4-BE49-F238E27FC236}">
                  <a16:creationId xmlns:a16="http://schemas.microsoft.com/office/drawing/2014/main" id="{146B7D99-DE33-4639-937C-D36E74FC0553}"/>
                </a:ext>
              </a:extLst>
            </p:cNvPr>
            <p:cNvSpPr/>
            <p:nvPr/>
          </p:nvSpPr>
          <p:spPr>
            <a:xfrm rot="8716295">
              <a:off x="5769872" y="3510436"/>
              <a:ext cx="90341" cy="46972"/>
            </a:xfrm>
            <a:custGeom>
              <a:avLst/>
              <a:gdLst>
                <a:gd name="connsiteX0" fmla="*/ 0 w 90341"/>
                <a:gd name="connsiteY0" fmla="*/ 44199 h 46972"/>
                <a:gd name="connsiteX1" fmla="*/ 0 w 90341"/>
                <a:gd name="connsiteY1" fmla="*/ 0 h 46972"/>
                <a:gd name="connsiteX2" fmla="*/ 90341 w 90341"/>
                <a:gd name="connsiteY2" fmla="*/ 0 h 46972"/>
                <a:gd name="connsiteX3" fmla="*/ 51490 w 90341"/>
                <a:gd name="connsiteY3" fmla="*/ 46972 h 46972"/>
                <a:gd name="connsiteX4" fmla="*/ 51490 w 90341"/>
                <a:gd name="connsiteY4" fmla="*/ 44199 h 46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341" h="46972">
                  <a:moveTo>
                    <a:pt x="0" y="44199"/>
                  </a:moveTo>
                  <a:lnTo>
                    <a:pt x="0" y="0"/>
                  </a:lnTo>
                  <a:lnTo>
                    <a:pt x="90341" y="0"/>
                  </a:lnTo>
                  <a:lnTo>
                    <a:pt x="51490" y="46972"/>
                  </a:lnTo>
                  <a:lnTo>
                    <a:pt x="51490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2" name="Forme libre : forme 931">
              <a:extLst>
                <a:ext uri="{FF2B5EF4-FFF2-40B4-BE49-F238E27FC236}">
                  <a16:creationId xmlns:a16="http://schemas.microsoft.com/office/drawing/2014/main" id="{3DDBB1E4-D3C5-4DF2-B891-FF20DEDD11B2}"/>
                </a:ext>
              </a:extLst>
            </p:cNvPr>
            <p:cNvSpPr/>
            <p:nvPr/>
          </p:nvSpPr>
          <p:spPr>
            <a:xfrm rot="8716295">
              <a:off x="5792621" y="3203487"/>
              <a:ext cx="140657" cy="113060"/>
            </a:xfrm>
            <a:custGeom>
              <a:avLst/>
              <a:gdLst>
                <a:gd name="connsiteX0" fmla="*/ 81109 w 140657"/>
                <a:gd name="connsiteY0" fmla="*/ 113060 h 113060"/>
                <a:gd name="connsiteX1" fmla="*/ 81108 w 140657"/>
                <a:gd name="connsiteY1" fmla="*/ 69717 h 113060"/>
                <a:gd name="connsiteX2" fmla="*/ 81108 w 140657"/>
                <a:gd name="connsiteY2" fmla="*/ 65616 h 113060"/>
                <a:gd name="connsiteX3" fmla="*/ 60604 w 140657"/>
                <a:gd name="connsiteY3" fmla="*/ 50123 h 113060"/>
                <a:gd name="connsiteX4" fmla="*/ 0 w 140657"/>
                <a:gd name="connsiteY4" fmla="*/ 50123 h 113060"/>
                <a:gd name="connsiteX5" fmla="*/ 0 w 140657"/>
                <a:gd name="connsiteY5" fmla="*/ 0 h 113060"/>
                <a:gd name="connsiteX6" fmla="*/ 85209 w 140657"/>
                <a:gd name="connsiteY6" fmla="*/ 0 h 113060"/>
                <a:gd name="connsiteX7" fmla="*/ 138458 w 140657"/>
                <a:gd name="connsiteY7" fmla="*/ 27874 h 113060"/>
                <a:gd name="connsiteX8" fmla="*/ 140657 w 140657"/>
                <a:gd name="connsiteY8" fmla="*/ 41065 h 113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0657" h="113060">
                  <a:moveTo>
                    <a:pt x="81109" y="113060"/>
                  </a:moveTo>
                  <a:lnTo>
                    <a:pt x="81108" y="69717"/>
                  </a:lnTo>
                  <a:cubicBezTo>
                    <a:pt x="81108" y="68350"/>
                    <a:pt x="81109" y="66983"/>
                    <a:pt x="81108" y="65616"/>
                  </a:cubicBezTo>
                  <a:cubicBezTo>
                    <a:pt x="79741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12891" y="0"/>
                    <a:pt x="131089" y="8971"/>
                    <a:pt x="138458" y="27874"/>
                  </a:cubicBezTo>
                  <a:lnTo>
                    <a:pt x="140657" y="4106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3" name="Forme libre : forme 932">
              <a:extLst>
                <a:ext uri="{FF2B5EF4-FFF2-40B4-BE49-F238E27FC236}">
                  <a16:creationId xmlns:a16="http://schemas.microsoft.com/office/drawing/2014/main" id="{D0B2DA57-A70B-43F7-9619-5711704B639A}"/>
                </a:ext>
              </a:extLst>
            </p:cNvPr>
            <p:cNvSpPr/>
            <p:nvPr/>
          </p:nvSpPr>
          <p:spPr>
            <a:xfrm rot="8716295">
              <a:off x="5847477" y="312420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4" name="Forme libre : forme 933">
              <a:extLst>
                <a:ext uri="{FF2B5EF4-FFF2-40B4-BE49-F238E27FC236}">
                  <a16:creationId xmlns:a16="http://schemas.microsoft.com/office/drawing/2014/main" id="{1051B224-B15E-43CC-A0B6-B9EF6E747E24}"/>
                </a:ext>
              </a:extLst>
            </p:cNvPr>
            <p:cNvSpPr/>
            <p:nvPr/>
          </p:nvSpPr>
          <p:spPr>
            <a:xfrm rot="8716295">
              <a:off x="5773507" y="3354505"/>
              <a:ext cx="103435" cy="76949"/>
            </a:xfrm>
            <a:custGeom>
              <a:avLst/>
              <a:gdLst>
                <a:gd name="connsiteX0" fmla="*/ 43288 w 103435"/>
                <a:gd name="connsiteY0" fmla="*/ 76949 h 76949"/>
                <a:gd name="connsiteX1" fmla="*/ 43288 w 103435"/>
                <a:gd name="connsiteY1" fmla="*/ 16404 h 76949"/>
                <a:gd name="connsiteX2" fmla="*/ 0 w 103435"/>
                <a:gd name="connsiteY2" fmla="*/ 16404 h 76949"/>
                <a:gd name="connsiteX3" fmla="*/ 0 w 103435"/>
                <a:gd name="connsiteY3" fmla="*/ 2278 h 76949"/>
                <a:gd name="connsiteX4" fmla="*/ 103435 w 103435"/>
                <a:gd name="connsiteY4" fmla="*/ 0 h 76949"/>
                <a:gd name="connsiteX5" fmla="*/ 103435 w 103435"/>
                <a:gd name="connsiteY5" fmla="*/ 4230 h 76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76949">
                  <a:moveTo>
                    <a:pt x="43288" y="76949"/>
                  </a:move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423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5" name="Forme libre : forme 934">
              <a:extLst>
                <a:ext uri="{FF2B5EF4-FFF2-40B4-BE49-F238E27FC236}">
                  <a16:creationId xmlns:a16="http://schemas.microsoft.com/office/drawing/2014/main" id="{352A9204-99DE-4A12-9185-D55A857434F8}"/>
                </a:ext>
              </a:extLst>
            </p:cNvPr>
            <p:cNvSpPr/>
            <p:nvPr/>
          </p:nvSpPr>
          <p:spPr>
            <a:xfrm rot="7484129">
              <a:off x="5840960" y="341580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6" name="Forme libre : forme 935">
              <a:extLst>
                <a:ext uri="{FF2B5EF4-FFF2-40B4-BE49-F238E27FC236}">
                  <a16:creationId xmlns:a16="http://schemas.microsoft.com/office/drawing/2014/main" id="{1AF7DA6B-CCB6-40AE-904E-CD1E7D32B1FE}"/>
                </a:ext>
              </a:extLst>
            </p:cNvPr>
            <p:cNvSpPr/>
            <p:nvPr/>
          </p:nvSpPr>
          <p:spPr>
            <a:xfrm rot="13089394">
              <a:off x="5945780" y="3382339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7" name="Forme libre : forme 936">
              <a:extLst>
                <a:ext uri="{FF2B5EF4-FFF2-40B4-BE49-F238E27FC236}">
                  <a16:creationId xmlns:a16="http://schemas.microsoft.com/office/drawing/2014/main" id="{92F73C9C-D47A-4DBF-A36A-63EFBB8F7092}"/>
                </a:ext>
              </a:extLst>
            </p:cNvPr>
            <p:cNvSpPr/>
            <p:nvPr/>
          </p:nvSpPr>
          <p:spPr>
            <a:xfrm rot="8716295">
              <a:off x="6131365" y="319065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8" name="Forme libre : forme 937">
              <a:extLst>
                <a:ext uri="{FF2B5EF4-FFF2-40B4-BE49-F238E27FC236}">
                  <a16:creationId xmlns:a16="http://schemas.microsoft.com/office/drawing/2014/main" id="{86E70207-E48B-40D3-9AE0-B4D98BA8D82A}"/>
                </a:ext>
              </a:extLst>
            </p:cNvPr>
            <p:cNvSpPr/>
            <p:nvPr/>
          </p:nvSpPr>
          <p:spPr>
            <a:xfrm rot="8716295">
              <a:off x="6079560" y="308706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9" name="Forme libre : forme 938">
              <a:extLst>
                <a:ext uri="{FF2B5EF4-FFF2-40B4-BE49-F238E27FC236}">
                  <a16:creationId xmlns:a16="http://schemas.microsoft.com/office/drawing/2014/main" id="{578F257E-8AEA-4C62-8BCB-A3EC01FA30A5}"/>
                </a:ext>
              </a:extLst>
            </p:cNvPr>
            <p:cNvSpPr/>
            <p:nvPr/>
          </p:nvSpPr>
          <p:spPr>
            <a:xfrm rot="8716295">
              <a:off x="5836314" y="311728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0" name="Forme libre : forme 939">
              <a:extLst>
                <a:ext uri="{FF2B5EF4-FFF2-40B4-BE49-F238E27FC236}">
                  <a16:creationId xmlns:a16="http://schemas.microsoft.com/office/drawing/2014/main" id="{A29AEA70-F7EC-4CA7-971C-78399CA63009}"/>
                </a:ext>
              </a:extLst>
            </p:cNvPr>
            <p:cNvSpPr/>
            <p:nvPr/>
          </p:nvSpPr>
          <p:spPr>
            <a:xfrm rot="8716295">
              <a:off x="6013766" y="295804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1" name="Forme libre : forme 940">
              <a:extLst>
                <a:ext uri="{FF2B5EF4-FFF2-40B4-BE49-F238E27FC236}">
                  <a16:creationId xmlns:a16="http://schemas.microsoft.com/office/drawing/2014/main" id="{96E0F3D2-C3AC-4108-AFBE-445ECA00ACA7}"/>
                </a:ext>
              </a:extLst>
            </p:cNvPr>
            <p:cNvSpPr/>
            <p:nvPr/>
          </p:nvSpPr>
          <p:spPr>
            <a:xfrm rot="8716295">
              <a:off x="5720177" y="4097348"/>
              <a:ext cx="142168" cy="131086"/>
            </a:xfrm>
            <a:custGeom>
              <a:avLst/>
              <a:gdLst>
                <a:gd name="connsiteX0" fmla="*/ 81108 w 142168"/>
                <a:gd name="connsiteY0" fmla="*/ 131086 h 131086"/>
                <a:gd name="connsiteX1" fmla="*/ 81108 w 142168"/>
                <a:gd name="connsiteY1" fmla="*/ 69717 h 131086"/>
                <a:gd name="connsiteX2" fmla="*/ 81108 w 142168"/>
                <a:gd name="connsiteY2" fmla="*/ 65616 h 131086"/>
                <a:gd name="connsiteX3" fmla="*/ 60604 w 142168"/>
                <a:gd name="connsiteY3" fmla="*/ 50123 h 131086"/>
                <a:gd name="connsiteX4" fmla="*/ 0 w 142168"/>
                <a:gd name="connsiteY4" fmla="*/ 50123 h 131086"/>
                <a:gd name="connsiteX5" fmla="*/ 0 w 142168"/>
                <a:gd name="connsiteY5" fmla="*/ 0 h 131086"/>
                <a:gd name="connsiteX6" fmla="*/ 85209 w 142168"/>
                <a:gd name="connsiteY6" fmla="*/ 0 h 131086"/>
                <a:gd name="connsiteX7" fmla="*/ 142167 w 142168"/>
                <a:gd name="connsiteY7" fmla="*/ 50123 h 131086"/>
                <a:gd name="connsiteX8" fmla="*/ 142168 w 142168"/>
                <a:gd name="connsiteY8" fmla="*/ 57264 h 131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8" h="131086">
                  <a:moveTo>
                    <a:pt x="81108" y="131086"/>
                  </a:moveTo>
                  <a:lnTo>
                    <a:pt x="81108" y="69717"/>
                  </a:lnTo>
                  <a:cubicBezTo>
                    <a:pt x="81108" y="68350"/>
                    <a:pt x="81109" y="66983"/>
                    <a:pt x="81108" y="65616"/>
                  </a:cubicBezTo>
                  <a:cubicBezTo>
                    <a:pt x="79741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9"/>
                    <a:pt x="142167" y="50123"/>
                  </a:cubicBezTo>
                  <a:lnTo>
                    <a:pt x="142168" y="572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2" name="Forme libre : forme 941">
              <a:extLst>
                <a:ext uri="{FF2B5EF4-FFF2-40B4-BE49-F238E27FC236}">
                  <a16:creationId xmlns:a16="http://schemas.microsoft.com/office/drawing/2014/main" id="{D0A7ABF4-BCEC-4B57-BCB3-E83AC5575A2E}"/>
                </a:ext>
              </a:extLst>
            </p:cNvPr>
            <p:cNvSpPr/>
            <p:nvPr/>
          </p:nvSpPr>
          <p:spPr>
            <a:xfrm rot="8716295">
              <a:off x="5781545" y="403405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3" name="Forme libre : forme 942">
              <a:extLst>
                <a:ext uri="{FF2B5EF4-FFF2-40B4-BE49-F238E27FC236}">
                  <a16:creationId xmlns:a16="http://schemas.microsoft.com/office/drawing/2014/main" id="{E7410290-1E3A-47AF-BA4D-8362B73A00E3}"/>
                </a:ext>
              </a:extLst>
            </p:cNvPr>
            <p:cNvSpPr/>
            <p:nvPr/>
          </p:nvSpPr>
          <p:spPr>
            <a:xfrm rot="8716295">
              <a:off x="5736695" y="3947771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4" name="Forme libre : forme 943">
              <a:extLst>
                <a:ext uri="{FF2B5EF4-FFF2-40B4-BE49-F238E27FC236}">
                  <a16:creationId xmlns:a16="http://schemas.microsoft.com/office/drawing/2014/main" id="{9BED9B6C-47E6-4D5F-928F-91F5377B4250}"/>
                </a:ext>
              </a:extLst>
            </p:cNvPr>
            <p:cNvSpPr/>
            <p:nvPr/>
          </p:nvSpPr>
          <p:spPr>
            <a:xfrm rot="8716295">
              <a:off x="5702441" y="4247935"/>
              <a:ext cx="103435" cy="94974"/>
            </a:xfrm>
            <a:custGeom>
              <a:avLst/>
              <a:gdLst>
                <a:gd name="connsiteX0" fmla="*/ 43288 w 103435"/>
                <a:gd name="connsiteY0" fmla="*/ 94974 h 94974"/>
                <a:gd name="connsiteX1" fmla="*/ 43288 w 103435"/>
                <a:gd name="connsiteY1" fmla="*/ 16404 h 94974"/>
                <a:gd name="connsiteX2" fmla="*/ 0 w 103435"/>
                <a:gd name="connsiteY2" fmla="*/ 16404 h 94974"/>
                <a:gd name="connsiteX3" fmla="*/ 0 w 103435"/>
                <a:gd name="connsiteY3" fmla="*/ 2278 h 94974"/>
                <a:gd name="connsiteX4" fmla="*/ 103435 w 103435"/>
                <a:gd name="connsiteY4" fmla="*/ 0 h 94974"/>
                <a:gd name="connsiteX5" fmla="*/ 103435 w 103435"/>
                <a:gd name="connsiteY5" fmla="*/ 22255 h 94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94974">
                  <a:moveTo>
                    <a:pt x="43288" y="94974"/>
                  </a:move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222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5" name="Forme libre : forme 944">
              <a:extLst>
                <a:ext uri="{FF2B5EF4-FFF2-40B4-BE49-F238E27FC236}">
                  <a16:creationId xmlns:a16="http://schemas.microsoft.com/office/drawing/2014/main" id="{3B973B62-C6C8-4FF1-84DA-2CF100C6F600}"/>
                </a:ext>
              </a:extLst>
            </p:cNvPr>
            <p:cNvSpPr/>
            <p:nvPr/>
          </p:nvSpPr>
          <p:spPr>
            <a:xfrm rot="8716295">
              <a:off x="5981252" y="375465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6" name="Forme libre : forme 945">
              <a:extLst>
                <a:ext uri="{FF2B5EF4-FFF2-40B4-BE49-F238E27FC236}">
                  <a16:creationId xmlns:a16="http://schemas.microsoft.com/office/drawing/2014/main" id="{2AF0D86E-53FF-404D-972C-BFC50DCEBF42}"/>
                </a:ext>
              </a:extLst>
            </p:cNvPr>
            <p:cNvSpPr/>
            <p:nvPr/>
          </p:nvSpPr>
          <p:spPr>
            <a:xfrm rot="8716295">
              <a:off x="6070644" y="378389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7" name="Forme libre : forme 946">
              <a:extLst>
                <a:ext uri="{FF2B5EF4-FFF2-40B4-BE49-F238E27FC236}">
                  <a16:creationId xmlns:a16="http://schemas.microsoft.com/office/drawing/2014/main" id="{1CD18C36-834E-4DAE-BDAA-F92E9244DC61}"/>
                </a:ext>
              </a:extLst>
            </p:cNvPr>
            <p:cNvSpPr/>
            <p:nvPr/>
          </p:nvSpPr>
          <p:spPr>
            <a:xfrm rot="8716295">
              <a:off x="5869018" y="384320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8" name="Forme libre : forme 947">
              <a:extLst>
                <a:ext uri="{FF2B5EF4-FFF2-40B4-BE49-F238E27FC236}">
                  <a16:creationId xmlns:a16="http://schemas.microsoft.com/office/drawing/2014/main" id="{3C7E1362-5870-4F46-928D-1A08D53107E4}"/>
                </a:ext>
              </a:extLst>
            </p:cNvPr>
            <p:cNvSpPr/>
            <p:nvPr/>
          </p:nvSpPr>
          <p:spPr>
            <a:xfrm rot="8716295">
              <a:off x="5744116" y="363452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9" name="Forme libre : forme 948">
              <a:extLst>
                <a:ext uri="{FF2B5EF4-FFF2-40B4-BE49-F238E27FC236}">
                  <a16:creationId xmlns:a16="http://schemas.microsoft.com/office/drawing/2014/main" id="{0C5E2F6B-6631-4816-8A8A-1BB8467E77D2}"/>
                </a:ext>
              </a:extLst>
            </p:cNvPr>
            <p:cNvSpPr/>
            <p:nvPr/>
          </p:nvSpPr>
          <p:spPr>
            <a:xfrm rot="8716295">
              <a:off x="5959196" y="3884153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0" name="Forme libre : forme 949">
              <a:extLst>
                <a:ext uri="{FF2B5EF4-FFF2-40B4-BE49-F238E27FC236}">
                  <a16:creationId xmlns:a16="http://schemas.microsoft.com/office/drawing/2014/main" id="{E65DCBA9-55EE-45E1-B233-4077B825D76D}"/>
                </a:ext>
              </a:extLst>
            </p:cNvPr>
            <p:cNvSpPr/>
            <p:nvPr/>
          </p:nvSpPr>
          <p:spPr>
            <a:xfrm rot="8716295">
              <a:off x="5756235" y="3750459"/>
              <a:ext cx="38930" cy="44504"/>
            </a:xfrm>
            <a:custGeom>
              <a:avLst/>
              <a:gdLst>
                <a:gd name="connsiteX0" fmla="*/ 2222 w 38930"/>
                <a:gd name="connsiteY0" fmla="*/ 44504 h 44504"/>
                <a:gd name="connsiteX1" fmla="*/ 0 w 38930"/>
                <a:gd name="connsiteY1" fmla="*/ 39242 h 44504"/>
                <a:gd name="connsiteX2" fmla="*/ 0 w 38930"/>
                <a:gd name="connsiteY2" fmla="*/ 38638 h 44504"/>
                <a:gd name="connsiteX3" fmla="*/ 11471 w 38930"/>
                <a:gd name="connsiteY3" fmla="*/ 11471 h 44504"/>
                <a:gd name="connsiteX4" fmla="*/ 38638 w 38930"/>
                <a:gd name="connsiteY4" fmla="*/ 0 h 44504"/>
                <a:gd name="connsiteX5" fmla="*/ 38930 w 38930"/>
                <a:gd name="connsiteY5" fmla="*/ 123 h 44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930" h="44504">
                  <a:moveTo>
                    <a:pt x="2222" y="44504"/>
                  </a:moveTo>
                  <a:lnTo>
                    <a:pt x="0" y="39242"/>
                  </a:lnTo>
                  <a:lnTo>
                    <a:pt x="0" y="38638"/>
                  </a:lnTo>
                  <a:cubicBezTo>
                    <a:pt x="0" y="28375"/>
                    <a:pt x="4226" y="18716"/>
                    <a:pt x="11471" y="11471"/>
                  </a:cubicBezTo>
                  <a:cubicBezTo>
                    <a:pt x="18716" y="4226"/>
                    <a:pt x="28376" y="0"/>
                    <a:pt x="38638" y="0"/>
                  </a:cubicBezTo>
                  <a:lnTo>
                    <a:pt x="38930" y="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1" name="Forme libre : forme 950">
              <a:extLst>
                <a:ext uri="{FF2B5EF4-FFF2-40B4-BE49-F238E27FC236}">
                  <a16:creationId xmlns:a16="http://schemas.microsoft.com/office/drawing/2014/main" id="{EA118543-7877-4501-A5A0-4C2991DA5E90}"/>
                </a:ext>
              </a:extLst>
            </p:cNvPr>
            <p:cNvSpPr/>
            <p:nvPr/>
          </p:nvSpPr>
          <p:spPr>
            <a:xfrm rot="7484129">
              <a:off x="6064127" y="407550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2" name="Forme libre : forme 951">
              <a:extLst>
                <a:ext uri="{FF2B5EF4-FFF2-40B4-BE49-F238E27FC236}">
                  <a16:creationId xmlns:a16="http://schemas.microsoft.com/office/drawing/2014/main" id="{7AB6C3EC-555A-4C76-B15E-AAB3CAAF24B3}"/>
                </a:ext>
              </a:extLst>
            </p:cNvPr>
            <p:cNvSpPr/>
            <p:nvPr/>
          </p:nvSpPr>
          <p:spPr>
            <a:xfrm rot="13089394">
              <a:off x="6168947" y="4042038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3" name="Forme libre : forme 952">
              <a:extLst>
                <a:ext uri="{FF2B5EF4-FFF2-40B4-BE49-F238E27FC236}">
                  <a16:creationId xmlns:a16="http://schemas.microsoft.com/office/drawing/2014/main" id="{963A3DD5-51DE-4848-9EB9-5B90B6B81918}"/>
                </a:ext>
              </a:extLst>
            </p:cNvPr>
            <p:cNvSpPr/>
            <p:nvPr/>
          </p:nvSpPr>
          <p:spPr>
            <a:xfrm rot="8716295">
              <a:off x="6354532" y="3850357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4" name="Forme libre : forme 953">
              <a:extLst>
                <a:ext uri="{FF2B5EF4-FFF2-40B4-BE49-F238E27FC236}">
                  <a16:creationId xmlns:a16="http://schemas.microsoft.com/office/drawing/2014/main" id="{995C729E-49BA-4503-863A-2DDC26B4CD56}"/>
                </a:ext>
              </a:extLst>
            </p:cNvPr>
            <p:cNvSpPr/>
            <p:nvPr/>
          </p:nvSpPr>
          <p:spPr>
            <a:xfrm rot="8716295">
              <a:off x="6302727" y="374676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5" name="Forme libre : forme 954">
              <a:extLst>
                <a:ext uri="{FF2B5EF4-FFF2-40B4-BE49-F238E27FC236}">
                  <a16:creationId xmlns:a16="http://schemas.microsoft.com/office/drawing/2014/main" id="{B68D55F1-87C8-418D-9415-5E30511E82CD}"/>
                </a:ext>
              </a:extLst>
            </p:cNvPr>
            <p:cNvSpPr/>
            <p:nvPr/>
          </p:nvSpPr>
          <p:spPr>
            <a:xfrm rot="8716295">
              <a:off x="6059481" y="377698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6" name="Forme libre : forme 955">
              <a:extLst>
                <a:ext uri="{FF2B5EF4-FFF2-40B4-BE49-F238E27FC236}">
                  <a16:creationId xmlns:a16="http://schemas.microsoft.com/office/drawing/2014/main" id="{C863A7CC-4158-4F17-9AE2-A72A139B887C}"/>
                </a:ext>
              </a:extLst>
            </p:cNvPr>
            <p:cNvSpPr/>
            <p:nvPr/>
          </p:nvSpPr>
          <p:spPr>
            <a:xfrm rot="8716295">
              <a:off x="6236933" y="361774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7" name="Forme libre : forme 956">
              <a:extLst>
                <a:ext uri="{FF2B5EF4-FFF2-40B4-BE49-F238E27FC236}">
                  <a16:creationId xmlns:a16="http://schemas.microsoft.com/office/drawing/2014/main" id="{FAF82776-068F-41C0-96DF-85F697986F49}"/>
                </a:ext>
              </a:extLst>
            </p:cNvPr>
            <p:cNvSpPr/>
            <p:nvPr/>
          </p:nvSpPr>
          <p:spPr>
            <a:xfrm rot="8716295">
              <a:off x="5646341" y="5012072"/>
              <a:ext cx="61128" cy="44199"/>
            </a:xfrm>
            <a:custGeom>
              <a:avLst/>
              <a:gdLst>
                <a:gd name="connsiteX0" fmla="*/ 0 w 61128"/>
                <a:gd name="connsiteY0" fmla="*/ 44199 h 44199"/>
                <a:gd name="connsiteX1" fmla="*/ 0 w 61128"/>
                <a:gd name="connsiteY1" fmla="*/ 0 h 44199"/>
                <a:gd name="connsiteX2" fmla="*/ 61128 w 61128"/>
                <a:gd name="connsiteY2" fmla="*/ 0 h 44199"/>
                <a:gd name="connsiteX3" fmla="*/ 24570 w 61128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128" h="44199">
                  <a:moveTo>
                    <a:pt x="0" y="44199"/>
                  </a:moveTo>
                  <a:lnTo>
                    <a:pt x="0" y="0"/>
                  </a:lnTo>
                  <a:lnTo>
                    <a:pt x="61128" y="0"/>
                  </a:lnTo>
                  <a:lnTo>
                    <a:pt x="24570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8" name="Forme libre : forme 957">
              <a:extLst>
                <a:ext uri="{FF2B5EF4-FFF2-40B4-BE49-F238E27FC236}">
                  <a16:creationId xmlns:a16="http://schemas.microsoft.com/office/drawing/2014/main" id="{5D62A47A-9C19-4F62-9A51-E8D6D493BCBB}"/>
                </a:ext>
              </a:extLst>
            </p:cNvPr>
            <p:cNvSpPr/>
            <p:nvPr/>
          </p:nvSpPr>
          <p:spPr>
            <a:xfrm rot="8716295">
              <a:off x="5686469" y="4948149"/>
              <a:ext cx="225182" cy="162840"/>
            </a:xfrm>
            <a:custGeom>
              <a:avLst/>
              <a:gdLst>
                <a:gd name="connsiteX0" fmla="*/ 6986 w 225182"/>
                <a:gd name="connsiteY0" fmla="*/ 162840 h 162840"/>
                <a:gd name="connsiteX1" fmla="*/ 0 w 225182"/>
                <a:gd name="connsiteY1" fmla="*/ 153167 h 162840"/>
                <a:gd name="connsiteX2" fmla="*/ 127370 w 225182"/>
                <a:gd name="connsiteY2" fmla="*/ 33321 h 162840"/>
                <a:gd name="connsiteX3" fmla="*/ 191862 w 225182"/>
                <a:gd name="connsiteY3" fmla="*/ 0 h 162840"/>
                <a:gd name="connsiteX4" fmla="*/ 196795 w 225182"/>
                <a:gd name="connsiteY4" fmla="*/ 1164 h 162840"/>
                <a:gd name="connsiteX5" fmla="*/ 219028 w 225182"/>
                <a:gd name="connsiteY5" fmla="*/ 16575 h 162840"/>
                <a:gd name="connsiteX6" fmla="*/ 225182 w 225182"/>
                <a:gd name="connsiteY6" fmla="*/ 39770 h 162840"/>
                <a:gd name="connsiteX7" fmla="*/ 194012 w 225182"/>
                <a:gd name="connsiteY7" fmla="*/ 81689 h 162840"/>
                <a:gd name="connsiteX8" fmla="*/ 194548 w 225182"/>
                <a:gd name="connsiteY8" fmla="*/ 81689 h 162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5182" h="162840">
                  <a:moveTo>
                    <a:pt x="6986" y="162840"/>
                  </a:moveTo>
                  <a:lnTo>
                    <a:pt x="0" y="153167"/>
                  </a:lnTo>
                  <a:lnTo>
                    <a:pt x="127370" y="33321"/>
                  </a:lnTo>
                  <a:cubicBezTo>
                    <a:pt x="143493" y="14511"/>
                    <a:pt x="166602" y="2687"/>
                    <a:pt x="191862" y="0"/>
                  </a:cubicBezTo>
                  <a:lnTo>
                    <a:pt x="196795" y="1164"/>
                  </a:lnTo>
                  <a:lnTo>
                    <a:pt x="219028" y="16575"/>
                  </a:lnTo>
                  <a:lnTo>
                    <a:pt x="225182" y="39770"/>
                  </a:lnTo>
                  <a:cubicBezTo>
                    <a:pt x="223570" y="58580"/>
                    <a:pt x="211208" y="74165"/>
                    <a:pt x="194012" y="81689"/>
                  </a:cubicBezTo>
                  <a:lnTo>
                    <a:pt x="194548" y="816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9" name="Forme libre : forme 958">
              <a:extLst>
                <a:ext uri="{FF2B5EF4-FFF2-40B4-BE49-F238E27FC236}">
                  <a16:creationId xmlns:a16="http://schemas.microsoft.com/office/drawing/2014/main" id="{2F2DED4E-A984-4BA6-A236-177692C90757}"/>
                </a:ext>
              </a:extLst>
            </p:cNvPr>
            <p:cNvSpPr/>
            <p:nvPr/>
          </p:nvSpPr>
          <p:spPr>
            <a:xfrm rot="8716295">
              <a:off x="5646189" y="4843185"/>
              <a:ext cx="103263" cy="109760"/>
            </a:xfrm>
            <a:custGeom>
              <a:avLst/>
              <a:gdLst>
                <a:gd name="connsiteX0" fmla="*/ 17478 w 103263"/>
                <a:gd name="connsiteY0" fmla="*/ 101182 h 109760"/>
                <a:gd name="connsiteX1" fmla="*/ 0 w 103263"/>
                <a:gd name="connsiteY1" fmla="*/ 59790 h 109760"/>
                <a:gd name="connsiteX2" fmla="*/ 0 w 103263"/>
                <a:gd name="connsiteY2" fmla="*/ 58869 h 109760"/>
                <a:gd name="connsiteX3" fmla="*/ 17477 w 103263"/>
                <a:gd name="connsiteY3" fmla="*/ 17477 h 109760"/>
                <a:gd name="connsiteX4" fmla="*/ 58869 w 103263"/>
                <a:gd name="connsiteY4" fmla="*/ 0 h 109760"/>
                <a:gd name="connsiteX5" fmla="*/ 100262 w 103263"/>
                <a:gd name="connsiteY5" fmla="*/ 17478 h 109760"/>
                <a:gd name="connsiteX6" fmla="*/ 103263 w 103263"/>
                <a:gd name="connsiteY6" fmla="*/ 21889 h 109760"/>
                <a:gd name="connsiteX7" fmla="*/ 30583 w 103263"/>
                <a:gd name="connsiteY7" fmla="*/ 109760 h 109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3263" h="109760">
                  <a:moveTo>
                    <a:pt x="17478" y="101182"/>
                  </a:moveTo>
                  <a:cubicBezTo>
                    <a:pt x="6440" y="90144"/>
                    <a:pt x="0" y="75426"/>
                    <a:pt x="0" y="59790"/>
                  </a:cubicBezTo>
                  <a:lnTo>
                    <a:pt x="0" y="58869"/>
                  </a:lnTo>
                  <a:cubicBezTo>
                    <a:pt x="0" y="43232"/>
                    <a:pt x="6439" y="28515"/>
                    <a:pt x="17477" y="17477"/>
                  </a:cubicBezTo>
                  <a:cubicBezTo>
                    <a:pt x="28515" y="6439"/>
                    <a:pt x="43232" y="0"/>
                    <a:pt x="58869" y="0"/>
                  </a:cubicBezTo>
                  <a:cubicBezTo>
                    <a:pt x="74507" y="0"/>
                    <a:pt x="89224" y="6440"/>
                    <a:pt x="100262" y="17478"/>
                  </a:cubicBezTo>
                  <a:lnTo>
                    <a:pt x="103263" y="21889"/>
                  </a:lnTo>
                  <a:lnTo>
                    <a:pt x="30583" y="1097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0" name="Forme libre : forme 959">
              <a:extLst>
                <a:ext uri="{FF2B5EF4-FFF2-40B4-BE49-F238E27FC236}">
                  <a16:creationId xmlns:a16="http://schemas.microsoft.com/office/drawing/2014/main" id="{A6F97576-1723-4483-ABFD-51F7D8B729B6}"/>
                </a:ext>
              </a:extLst>
            </p:cNvPr>
            <p:cNvSpPr/>
            <p:nvPr/>
          </p:nvSpPr>
          <p:spPr>
            <a:xfrm rot="8716295">
              <a:off x="5912192" y="5052711"/>
              <a:ext cx="199936" cy="162182"/>
            </a:xfrm>
            <a:custGeom>
              <a:avLst/>
              <a:gdLst>
                <a:gd name="connsiteX0" fmla="*/ 25299 w 199936"/>
                <a:gd name="connsiteY0" fmla="*/ 132591 h 162182"/>
                <a:gd name="connsiteX1" fmla="*/ 0 w 199936"/>
                <a:gd name="connsiteY1" fmla="*/ 31395 h 162182"/>
                <a:gd name="connsiteX2" fmla="*/ 0 w 199936"/>
                <a:gd name="connsiteY2" fmla="*/ 0 h 162182"/>
                <a:gd name="connsiteX3" fmla="*/ 92209 w 199936"/>
                <a:gd name="connsiteY3" fmla="*/ 63916 h 162182"/>
                <a:gd name="connsiteX4" fmla="*/ 93547 w 199936"/>
                <a:gd name="connsiteY4" fmla="*/ 73168 h 162182"/>
                <a:gd name="connsiteX5" fmla="*/ 118478 w 199936"/>
                <a:gd name="connsiteY5" fmla="*/ 102291 h 162182"/>
                <a:gd name="connsiteX6" fmla="*/ 160439 w 199936"/>
                <a:gd name="connsiteY6" fmla="*/ 111210 h 162182"/>
                <a:gd name="connsiteX7" fmla="*/ 199936 w 199936"/>
                <a:gd name="connsiteY7" fmla="*/ 138589 h 162182"/>
                <a:gd name="connsiteX8" fmla="*/ 189080 w 199936"/>
                <a:gd name="connsiteY8" fmla="*/ 143328 h 162182"/>
                <a:gd name="connsiteX9" fmla="*/ 97665 w 199936"/>
                <a:gd name="connsiteY9" fmla="*/ 162008 h 162182"/>
                <a:gd name="connsiteX10" fmla="*/ 25299 w 199936"/>
                <a:gd name="connsiteY10" fmla="*/ 132591 h 162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9936" h="162182">
                  <a:moveTo>
                    <a:pt x="25299" y="132591"/>
                  </a:moveTo>
                  <a:cubicBezTo>
                    <a:pt x="5295" y="113175"/>
                    <a:pt x="0" y="79640"/>
                    <a:pt x="0" y="31395"/>
                  </a:cubicBezTo>
                  <a:lnTo>
                    <a:pt x="0" y="0"/>
                  </a:lnTo>
                  <a:lnTo>
                    <a:pt x="92209" y="63916"/>
                  </a:lnTo>
                  <a:lnTo>
                    <a:pt x="93547" y="73168"/>
                  </a:lnTo>
                  <a:cubicBezTo>
                    <a:pt x="98254" y="86111"/>
                    <a:pt x="106638" y="95819"/>
                    <a:pt x="118478" y="102291"/>
                  </a:cubicBezTo>
                  <a:lnTo>
                    <a:pt x="160439" y="111210"/>
                  </a:lnTo>
                  <a:lnTo>
                    <a:pt x="199936" y="138589"/>
                  </a:lnTo>
                  <a:lnTo>
                    <a:pt x="189080" y="143328"/>
                  </a:lnTo>
                  <a:cubicBezTo>
                    <a:pt x="154735" y="155095"/>
                    <a:pt x="122082" y="160537"/>
                    <a:pt x="97665" y="162008"/>
                  </a:cubicBezTo>
                  <a:cubicBezTo>
                    <a:pt x="70602" y="163773"/>
                    <a:pt x="44126" y="152006"/>
                    <a:pt x="25299" y="13259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1" name="Forme libre : forme 960">
              <a:extLst>
                <a:ext uri="{FF2B5EF4-FFF2-40B4-BE49-F238E27FC236}">
                  <a16:creationId xmlns:a16="http://schemas.microsoft.com/office/drawing/2014/main" id="{90B8ABE7-A5DD-43D8-841B-962E7DF13DBB}"/>
                </a:ext>
              </a:extLst>
            </p:cNvPr>
            <p:cNvSpPr/>
            <p:nvPr/>
          </p:nvSpPr>
          <p:spPr>
            <a:xfrm rot="8716295">
              <a:off x="6391313" y="5109036"/>
              <a:ext cx="48754" cy="53077"/>
            </a:xfrm>
            <a:custGeom>
              <a:avLst/>
              <a:gdLst>
                <a:gd name="connsiteX0" fmla="*/ 0 w 48754"/>
                <a:gd name="connsiteY0" fmla="*/ 53077 h 53077"/>
                <a:gd name="connsiteX1" fmla="*/ 0 w 48754"/>
                <a:gd name="connsiteY1" fmla="*/ 0 h 53077"/>
                <a:gd name="connsiteX2" fmla="*/ 48754 w 48754"/>
                <a:gd name="connsiteY2" fmla="*/ 33794 h 53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754" h="53077">
                  <a:moveTo>
                    <a:pt x="0" y="53077"/>
                  </a:moveTo>
                  <a:lnTo>
                    <a:pt x="0" y="0"/>
                  </a:lnTo>
                  <a:lnTo>
                    <a:pt x="48754" y="337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2" name="Forme libre : forme 961">
              <a:extLst>
                <a:ext uri="{FF2B5EF4-FFF2-40B4-BE49-F238E27FC236}">
                  <a16:creationId xmlns:a16="http://schemas.microsoft.com/office/drawing/2014/main" id="{FE1A44B8-6EFF-4767-8A7A-1368FB776C2C}"/>
                </a:ext>
              </a:extLst>
            </p:cNvPr>
            <p:cNvSpPr/>
            <p:nvPr/>
          </p:nvSpPr>
          <p:spPr>
            <a:xfrm rot="8716295">
              <a:off x="6604006" y="5086303"/>
              <a:ext cx="59107" cy="81271"/>
            </a:xfrm>
            <a:custGeom>
              <a:avLst/>
              <a:gdLst>
                <a:gd name="connsiteX0" fmla="*/ 0 w 59107"/>
                <a:gd name="connsiteY0" fmla="*/ 81271 h 81271"/>
                <a:gd name="connsiteX1" fmla="*/ 0 w 59107"/>
                <a:gd name="connsiteY1" fmla="*/ 0 h 81271"/>
                <a:gd name="connsiteX2" fmla="*/ 59107 w 59107"/>
                <a:gd name="connsiteY2" fmla="*/ 40971 h 81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9107" h="81271">
                  <a:moveTo>
                    <a:pt x="0" y="81271"/>
                  </a:moveTo>
                  <a:lnTo>
                    <a:pt x="0" y="0"/>
                  </a:lnTo>
                  <a:lnTo>
                    <a:pt x="59107" y="409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3" name="Forme libre : forme 962">
              <a:extLst>
                <a:ext uri="{FF2B5EF4-FFF2-40B4-BE49-F238E27FC236}">
                  <a16:creationId xmlns:a16="http://schemas.microsoft.com/office/drawing/2014/main" id="{564969A8-6844-48A3-9D81-0C8C78AA871A}"/>
                </a:ext>
              </a:extLst>
            </p:cNvPr>
            <p:cNvSpPr/>
            <p:nvPr/>
          </p:nvSpPr>
          <p:spPr>
            <a:xfrm rot="8716295">
              <a:off x="6183968" y="4952734"/>
              <a:ext cx="202937" cy="195874"/>
            </a:xfrm>
            <a:custGeom>
              <a:avLst/>
              <a:gdLst>
                <a:gd name="connsiteX0" fmla="*/ 90709 w 202937"/>
                <a:gd name="connsiteY0" fmla="*/ 195874 h 195874"/>
                <a:gd name="connsiteX1" fmla="*/ 47847 w 202937"/>
                <a:gd name="connsiteY1" fmla="*/ 116129 h 195874"/>
                <a:gd name="connsiteX2" fmla="*/ 69777 w 202937"/>
                <a:gd name="connsiteY2" fmla="*/ 55323 h 195874"/>
                <a:gd name="connsiteX3" fmla="*/ 0 w 202937"/>
                <a:gd name="connsiteY3" fmla="*/ 55323 h 195874"/>
                <a:gd name="connsiteX4" fmla="*/ 0 w 202937"/>
                <a:gd name="connsiteY4" fmla="*/ 0 h 195874"/>
                <a:gd name="connsiteX5" fmla="*/ 123124 w 202937"/>
                <a:gd name="connsiteY5" fmla="*/ 0 h 195874"/>
                <a:gd name="connsiteX6" fmla="*/ 202937 w 202937"/>
                <a:gd name="connsiteY6" fmla="*/ 55323 h 195874"/>
                <a:gd name="connsiteX7" fmla="*/ 139055 w 202937"/>
                <a:gd name="connsiteY7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2937" h="195874">
                  <a:moveTo>
                    <a:pt x="90709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123124" y="0"/>
                  </a:lnTo>
                  <a:lnTo>
                    <a:pt x="20293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4" name="Forme libre : forme 963">
              <a:extLst>
                <a:ext uri="{FF2B5EF4-FFF2-40B4-BE49-F238E27FC236}">
                  <a16:creationId xmlns:a16="http://schemas.microsoft.com/office/drawing/2014/main" id="{08AD032C-6C86-4845-A4B0-3D6B054ABD87}"/>
                </a:ext>
              </a:extLst>
            </p:cNvPr>
            <p:cNvSpPr/>
            <p:nvPr/>
          </p:nvSpPr>
          <p:spPr>
            <a:xfrm rot="8716295">
              <a:off x="6161279" y="505310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5" name="Forme libre : forme 964">
              <a:extLst>
                <a:ext uri="{FF2B5EF4-FFF2-40B4-BE49-F238E27FC236}">
                  <a16:creationId xmlns:a16="http://schemas.microsoft.com/office/drawing/2014/main" id="{1634811C-B4C0-451B-962C-E46A7CD8B922}"/>
                </a:ext>
              </a:extLst>
            </p:cNvPr>
            <p:cNvSpPr/>
            <p:nvPr/>
          </p:nvSpPr>
          <p:spPr>
            <a:xfrm rot="8716295">
              <a:off x="6931575" y="5125548"/>
              <a:ext cx="28968" cy="21142"/>
            </a:xfrm>
            <a:custGeom>
              <a:avLst/>
              <a:gdLst>
                <a:gd name="connsiteX0" fmla="*/ 6986 w 28968"/>
                <a:gd name="connsiteY0" fmla="*/ 21142 h 21142"/>
                <a:gd name="connsiteX1" fmla="*/ 0 w 28968"/>
                <a:gd name="connsiteY1" fmla="*/ 11469 h 21142"/>
                <a:gd name="connsiteX2" fmla="*/ 12189 w 28968"/>
                <a:gd name="connsiteY2" fmla="*/ 0 h 21142"/>
                <a:gd name="connsiteX3" fmla="*/ 28968 w 28968"/>
                <a:gd name="connsiteY3" fmla="*/ 11631 h 2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968" h="21142">
                  <a:moveTo>
                    <a:pt x="6986" y="21142"/>
                  </a:moveTo>
                  <a:lnTo>
                    <a:pt x="0" y="11469"/>
                  </a:lnTo>
                  <a:lnTo>
                    <a:pt x="12189" y="0"/>
                  </a:lnTo>
                  <a:lnTo>
                    <a:pt x="28968" y="116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6" name="Forme libre : forme 965">
              <a:extLst>
                <a:ext uri="{FF2B5EF4-FFF2-40B4-BE49-F238E27FC236}">
                  <a16:creationId xmlns:a16="http://schemas.microsoft.com/office/drawing/2014/main" id="{4DAB4475-0622-4D27-8698-19DE6A41164E}"/>
                </a:ext>
              </a:extLst>
            </p:cNvPr>
            <p:cNvSpPr/>
            <p:nvPr/>
          </p:nvSpPr>
          <p:spPr>
            <a:xfrm rot="8716295">
              <a:off x="6737940" y="5060558"/>
              <a:ext cx="113691" cy="106472"/>
            </a:xfrm>
            <a:custGeom>
              <a:avLst/>
              <a:gdLst>
                <a:gd name="connsiteX0" fmla="*/ 17478 w 113691"/>
                <a:gd name="connsiteY0" fmla="*/ 89915 h 106472"/>
                <a:gd name="connsiteX1" fmla="*/ 0 w 113691"/>
                <a:gd name="connsiteY1" fmla="*/ 48523 h 106472"/>
                <a:gd name="connsiteX2" fmla="*/ 0 w 113691"/>
                <a:gd name="connsiteY2" fmla="*/ 47602 h 106472"/>
                <a:gd name="connsiteX3" fmla="*/ 17477 w 113691"/>
                <a:gd name="connsiteY3" fmla="*/ 6210 h 106472"/>
                <a:gd name="connsiteX4" fmla="*/ 32186 w 113691"/>
                <a:gd name="connsiteY4" fmla="*/ 0 h 106472"/>
                <a:gd name="connsiteX5" fmla="*/ 113691 w 113691"/>
                <a:gd name="connsiteY5" fmla="*/ 56496 h 106472"/>
                <a:gd name="connsiteX6" fmla="*/ 100263 w 113691"/>
                <a:gd name="connsiteY6" fmla="*/ 88995 h 106472"/>
                <a:gd name="connsiteX7" fmla="*/ 58869 w 113691"/>
                <a:gd name="connsiteY7" fmla="*/ 106472 h 106472"/>
                <a:gd name="connsiteX8" fmla="*/ 17478 w 113691"/>
                <a:gd name="connsiteY8" fmla="*/ 89915 h 106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3691" h="106472">
                  <a:moveTo>
                    <a:pt x="17478" y="89915"/>
                  </a:moveTo>
                  <a:cubicBezTo>
                    <a:pt x="6440" y="78877"/>
                    <a:pt x="0" y="64159"/>
                    <a:pt x="0" y="48523"/>
                  </a:cubicBezTo>
                  <a:lnTo>
                    <a:pt x="0" y="47602"/>
                  </a:lnTo>
                  <a:cubicBezTo>
                    <a:pt x="0" y="31965"/>
                    <a:pt x="6439" y="17248"/>
                    <a:pt x="17477" y="6210"/>
                  </a:cubicBezTo>
                  <a:lnTo>
                    <a:pt x="32186" y="0"/>
                  </a:lnTo>
                  <a:lnTo>
                    <a:pt x="113691" y="56496"/>
                  </a:lnTo>
                  <a:lnTo>
                    <a:pt x="100263" y="88995"/>
                  </a:lnTo>
                  <a:cubicBezTo>
                    <a:pt x="89224" y="100033"/>
                    <a:pt x="74507" y="106471"/>
                    <a:pt x="58869" y="106472"/>
                  </a:cubicBezTo>
                  <a:cubicBezTo>
                    <a:pt x="43233" y="106472"/>
                    <a:pt x="28515" y="100952"/>
                    <a:pt x="17478" y="8991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7" name="Forme libre : forme 966">
              <a:extLst>
                <a:ext uri="{FF2B5EF4-FFF2-40B4-BE49-F238E27FC236}">
                  <a16:creationId xmlns:a16="http://schemas.microsoft.com/office/drawing/2014/main" id="{B623F3B8-2654-4B92-BE58-3F7E38DD0FB8}"/>
                </a:ext>
              </a:extLst>
            </p:cNvPr>
            <p:cNvSpPr/>
            <p:nvPr/>
          </p:nvSpPr>
          <p:spPr>
            <a:xfrm rot="8716295">
              <a:off x="6498383" y="5093340"/>
              <a:ext cx="58211" cy="56997"/>
            </a:xfrm>
            <a:custGeom>
              <a:avLst/>
              <a:gdLst>
                <a:gd name="connsiteX0" fmla="*/ 8658 w 58211"/>
                <a:gd name="connsiteY0" fmla="*/ 48794 h 56997"/>
                <a:gd name="connsiteX1" fmla="*/ 0 w 58211"/>
                <a:gd name="connsiteY1" fmla="*/ 28290 h 56997"/>
                <a:gd name="connsiteX2" fmla="*/ 0 w 58211"/>
                <a:gd name="connsiteY2" fmla="*/ 27833 h 56997"/>
                <a:gd name="connsiteX3" fmla="*/ 8658 w 58211"/>
                <a:gd name="connsiteY3" fmla="*/ 7329 h 56997"/>
                <a:gd name="connsiteX4" fmla="*/ 26015 w 58211"/>
                <a:gd name="connsiteY4" fmla="*/ 0 h 56997"/>
                <a:gd name="connsiteX5" fmla="*/ 55042 w 58211"/>
                <a:gd name="connsiteY5" fmla="*/ 20120 h 56997"/>
                <a:gd name="connsiteX6" fmla="*/ 58211 w 58211"/>
                <a:gd name="connsiteY6" fmla="*/ 27663 h 56997"/>
                <a:gd name="connsiteX7" fmla="*/ 49668 w 58211"/>
                <a:gd name="connsiteY7" fmla="*/ 48339 h 56997"/>
                <a:gd name="connsiteX8" fmla="*/ 29163 w 58211"/>
                <a:gd name="connsiteY8" fmla="*/ 56997 h 56997"/>
                <a:gd name="connsiteX9" fmla="*/ 8658 w 58211"/>
                <a:gd name="connsiteY9" fmla="*/ 48794 h 56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8211" h="56997">
                  <a:moveTo>
                    <a:pt x="8658" y="48794"/>
                  </a:moveTo>
                  <a:cubicBezTo>
                    <a:pt x="3190" y="43327"/>
                    <a:pt x="0" y="36035"/>
                    <a:pt x="0" y="28290"/>
                  </a:cubicBezTo>
                  <a:lnTo>
                    <a:pt x="0" y="27833"/>
                  </a:lnTo>
                  <a:cubicBezTo>
                    <a:pt x="0" y="20088"/>
                    <a:pt x="3190" y="12797"/>
                    <a:pt x="8658" y="7329"/>
                  </a:cubicBezTo>
                  <a:lnTo>
                    <a:pt x="26015" y="0"/>
                  </a:lnTo>
                  <a:lnTo>
                    <a:pt x="55042" y="20120"/>
                  </a:lnTo>
                  <a:lnTo>
                    <a:pt x="58211" y="27663"/>
                  </a:lnTo>
                  <a:cubicBezTo>
                    <a:pt x="58212" y="35125"/>
                    <a:pt x="55364" y="42643"/>
                    <a:pt x="49668" y="48339"/>
                  </a:cubicBezTo>
                  <a:cubicBezTo>
                    <a:pt x="44200" y="53807"/>
                    <a:pt x="36909" y="56996"/>
                    <a:pt x="29163" y="56997"/>
                  </a:cubicBezTo>
                  <a:cubicBezTo>
                    <a:pt x="21416" y="56996"/>
                    <a:pt x="14126" y="54262"/>
                    <a:pt x="8658" y="4879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8" name="Forme libre : forme 967">
              <a:extLst>
                <a:ext uri="{FF2B5EF4-FFF2-40B4-BE49-F238E27FC236}">
                  <a16:creationId xmlns:a16="http://schemas.microsoft.com/office/drawing/2014/main" id="{09425ABD-6513-4C44-B2C5-3F8F0BD4C408}"/>
                </a:ext>
              </a:extLst>
            </p:cNvPr>
            <p:cNvSpPr/>
            <p:nvPr/>
          </p:nvSpPr>
          <p:spPr>
            <a:xfrm rot="8716295">
              <a:off x="6680467" y="493629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9" name="Forme libre : forme 968">
              <a:extLst>
                <a:ext uri="{FF2B5EF4-FFF2-40B4-BE49-F238E27FC236}">
                  <a16:creationId xmlns:a16="http://schemas.microsoft.com/office/drawing/2014/main" id="{9B183886-0645-4A14-8362-6B1FDC1B0148}"/>
                </a:ext>
              </a:extLst>
            </p:cNvPr>
            <p:cNvSpPr/>
            <p:nvPr/>
          </p:nvSpPr>
          <p:spPr>
            <a:xfrm rot="8716295">
              <a:off x="6106444" y="219919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0" name="Forme libre : forme 969">
              <a:extLst>
                <a:ext uri="{FF2B5EF4-FFF2-40B4-BE49-F238E27FC236}">
                  <a16:creationId xmlns:a16="http://schemas.microsoft.com/office/drawing/2014/main" id="{2EFB178A-8391-4919-B609-712FE3C8A80B}"/>
                </a:ext>
              </a:extLst>
            </p:cNvPr>
            <p:cNvSpPr/>
            <p:nvPr/>
          </p:nvSpPr>
          <p:spPr>
            <a:xfrm rot="8716295">
              <a:off x="6195836" y="222843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1" name="Forme libre : forme 970">
              <a:extLst>
                <a:ext uri="{FF2B5EF4-FFF2-40B4-BE49-F238E27FC236}">
                  <a16:creationId xmlns:a16="http://schemas.microsoft.com/office/drawing/2014/main" id="{0FFCBE3C-AA93-430F-8E5B-BDFB102AC2EA}"/>
                </a:ext>
              </a:extLst>
            </p:cNvPr>
            <p:cNvSpPr/>
            <p:nvPr/>
          </p:nvSpPr>
          <p:spPr>
            <a:xfrm rot="8716295">
              <a:off x="6150986" y="214215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2" name="Forme libre : forme 971">
              <a:extLst>
                <a:ext uri="{FF2B5EF4-FFF2-40B4-BE49-F238E27FC236}">
                  <a16:creationId xmlns:a16="http://schemas.microsoft.com/office/drawing/2014/main" id="{FFB53123-B577-43B0-94BC-06BEF39D167F}"/>
                </a:ext>
              </a:extLst>
            </p:cNvPr>
            <p:cNvSpPr/>
            <p:nvPr/>
          </p:nvSpPr>
          <p:spPr>
            <a:xfrm rot="8716295">
              <a:off x="5994210" y="228773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3" name="Forme libre : forme 972">
              <a:extLst>
                <a:ext uri="{FF2B5EF4-FFF2-40B4-BE49-F238E27FC236}">
                  <a16:creationId xmlns:a16="http://schemas.microsoft.com/office/drawing/2014/main" id="{42AC1E8A-7A0A-409A-9CF1-4E4EBD069982}"/>
                </a:ext>
              </a:extLst>
            </p:cNvPr>
            <p:cNvSpPr/>
            <p:nvPr/>
          </p:nvSpPr>
          <p:spPr>
            <a:xfrm rot="8716295">
              <a:off x="5869307" y="207906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4" name="Forme libre : forme 973">
              <a:extLst>
                <a:ext uri="{FF2B5EF4-FFF2-40B4-BE49-F238E27FC236}">
                  <a16:creationId xmlns:a16="http://schemas.microsoft.com/office/drawing/2014/main" id="{707943F8-782E-4969-8471-01FE2059FFE2}"/>
                </a:ext>
              </a:extLst>
            </p:cNvPr>
            <p:cNvSpPr/>
            <p:nvPr/>
          </p:nvSpPr>
          <p:spPr>
            <a:xfrm rot="8716295">
              <a:off x="5980698" y="1897979"/>
              <a:ext cx="151619" cy="350829"/>
            </a:xfrm>
            <a:custGeom>
              <a:avLst/>
              <a:gdLst>
                <a:gd name="connsiteX0" fmla="*/ 25299 w 151619"/>
                <a:gd name="connsiteY0" fmla="*/ 321238 h 350829"/>
                <a:gd name="connsiteX1" fmla="*/ 0 w 151619"/>
                <a:gd name="connsiteY1" fmla="*/ 220042 h 350829"/>
                <a:gd name="connsiteX2" fmla="*/ 0 w 151619"/>
                <a:gd name="connsiteY2" fmla="*/ 40596 h 350829"/>
                <a:gd name="connsiteX3" fmla="*/ 78250 w 151619"/>
                <a:gd name="connsiteY3" fmla="*/ 0 h 350829"/>
                <a:gd name="connsiteX4" fmla="*/ 79427 w 151619"/>
                <a:gd name="connsiteY4" fmla="*/ 164149 h 350829"/>
                <a:gd name="connsiteX5" fmla="*/ 93547 w 151619"/>
                <a:gd name="connsiteY5" fmla="*/ 261815 h 350829"/>
                <a:gd name="connsiteX6" fmla="*/ 118478 w 151619"/>
                <a:gd name="connsiteY6" fmla="*/ 290938 h 350829"/>
                <a:gd name="connsiteX7" fmla="*/ 151619 w 151619"/>
                <a:gd name="connsiteY7" fmla="*/ 297983 h 350829"/>
                <a:gd name="connsiteX8" fmla="*/ 109310 w 151619"/>
                <a:gd name="connsiteY8" fmla="*/ 349136 h 350829"/>
                <a:gd name="connsiteX9" fmla="*/ 97665 w 151619"/>
                <a:gd name="connsiteY9" fmla="*/ 350655 h 350829"/>
                <a:gd name="connsiteX10" fmla="*/ 25299 w 151619"/>
                <a:gd name="connsiteY10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1619" h="350829">
                  <a:moveTo>
                    <a:pt x="25299" y="321238"/>
                  </a:moveTo>
                  <a:cubicBezTo>
                    <a:pt x="5295" y="301823"/>
                    <a:pt x="0" y="268287"/>
                    <a:pt x="0" y="220042"/>
                  </a:cubicBez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98254" y="274758"/>
                    <a:pt x="106638" y="284466"/>
                    <a:pt x="118478" y="290938"/>
                  </a:cubicBezTo>
                  <a:lnTo>
                    <a:pt x="151619" y="297983"/>
                  </a:lnTo>
                  <a:lnTo>
                    <a:pt x="109310" y="349136"/>
                  </a:lnTo>
                  <a:lnTo>
                    <a:pt x="97665" y="350655"/>
                  </a:ln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5" name="Forme libre : forme 974">
              <a:extLst>
                <a:ext uri="{FF2B5EF4-FFF2-40B4-BE49-F238E27FC236}">
                  <a16:creationId xmlns:a16="http://schemas.microsoft.com/office/drawing/2014/main" id="{F4544020-0266-41BA-8C00-E24B164AB2ED}"/>
                </a:ext>
              </a:extLst>
            </p:cNvPr>
            <p:cNvSpPr/>
            <p:nvPr/>
          </p:nvSpPr>
          <p:spPr>
            <a:xfrm rot="8716295">
              <a:off x="6084388" y="232868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6" name="Forme libre : forme 975">
              <a:extLst>
                <a:ext uri="{FF2B5EF4-FFF2-40B4-BE49-F238E27FC236}">
                  <a16:creationId xmlns:a16="http://schemas.microsoft.com/office/drawing/2014/main" id="{271CA1CD-963F-4CD4-AA61-A9B8E1C43CF8}"/>
                </a:ext>
              </a:extLst>
            </p:cNvPr>
            <p:cNvSpPr/>
            <p:nvPr/>
          </p:nvSpPr>
          <p:spPr>
            <a:xfrm rot="8716295">
              <a:off x="6395543" y="194904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7" name="Forme libre : forme 976">
              <a:extLst>
                <a:ext uri="{FF2B5EF4-FFF2-40B4-BE49-F238E27FC236}">
                  <a16:creationId xmlns:a16="http://schemas.microsoft.com/office/drawing/2014/main" id="{FE1D00A6-C81C-4E96-A531-7D8D031389D2}"/>
                </a:ext>
              </a:extLst>
            </p:cNvPr>
            <p:cNvSpPr/>
            <p:nvPr/>
          </p:nvSpPr>
          <p:spPr>
            <a:xfrm rot="8716295">
              <a:off x="6484935" y="197828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8" name="Forme libre : forme 977">
              <a:extLst>
                <a:ext uri="{FF2B5EF4-FFF2-40B4-BE49-F238E27FC236}">
                  <a16:creationId xmlns:a16="http://schemas.microsoft.com/office/drawing/2014/main" id="{D1AD4F7D-FFA6-412C-8AC2-97E76C5D511B}"/>
                </a:ext>
              </a:extLst>
            </p:cNvPr>
            <p:cNvSpPr/>
            <p:nvPr/>
          </p:nvSpPr>
          <p:spPr>
            <a:xfrm rot="8716295">
              <a:off x="6283309" y="203758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9" name="Forme libre : forme 978">
              <a:extLst>
                <a:ext uri="{FF2B5EF4-FFF2-40B4-BE49-F238E27FC236}">
                  <a16:creationId xmlns:a16="http://schemas.microsoft.com/office/drawing/2014/main" id="{B6B09C33-56D6-43CA-889B-8BC67F824FD1}"/>
                </a:ext>
              </a:extLst>
            </p:cNvPr>
            <p:cNvSpPr/>
            <p:nvPr/>
          </p:nvSpPr>
          <p:spPr>
            <a:xfrm rot="8716295">
              <a:off x="6158407" y="182891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0" name="Forme libre : forme 979">
              <a:extLst>
                <a:ext uri="{FF2B5EF4-FFF2-40B4-BE49-F238E27FC236}">
                  <a16:creationId xmlns:a16="http://schemas.microsoft.com/office/drawing/2014/main" id="{64E9AC88-77BF-47F7-9F24-3879D854D04A}"/>
                </a:ext>
              </a:extLst>
            </p:cNvPr>
            <p:cNvSpPr/>
            <p:nvPr/>
          </p:nvSpPr>
          <p:spPr>
            <a:xfrm rot="8716295">
              <a:off x="6373487" y="207853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1" name="Forme libre : forme 980">
              <a:extLst>
                <a:ext uri="{FF2B5EF4-FFF2-40B4-BE49-F238E27FC236}">
                  <a16:creationId xmlns:a16="http://schemas.microsoft.com/office/drawing/2014/main" id="{CF11DCA9-1C6D-449B-A7C0-73F03FD1154F}"/>
                </a:ext>
              </a:extLst>
            </p:cNvPr>
            <p:cNvSpPr/>
            <p:nvPr/>
          </p:nvSpPr>
          <p:spPr>
            <a:xfrm rot="8716295">
              <a:off x="6132036" y="192893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2" name="Forme libre : forme 981">
              <a:extLst>
                <a:ext uri="{FF2B5EF4-FFF2-40B4-BE49-F238E27FC236}">
                  <a16:creationId xmlns:a16="http://schemas.microsoft.com/office/drawing/2014/main" id="{4B619A62-FDFD-4430-894F-6ACA1B302C71}"/>
                </a:ext>
              </a:extLst>
            </p:cNvPr>
            <p:cNvSpPr/>
            <p:nvPr/>
          </p:nvSpPr>
          <p:spPr>
            <a:xfrm rot="7484129">
              <a:off x="6478418" y="226988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3" name="Forme libre : forme 982">
              <a:extLst>
                <a:ext uri="{FF2B5EF4-FFF2-40B4-BE49-F238E27FC236}">
                  <a16:creationId xmlns:a16="http://schemas.microsoft.com/office/drawing/2014/main" id="{EEC07FBE-5BAD-4BDB-9368-94EB98E8DB84}"/>
                </a:ext>
              </a:extLst>
            </p:cNvPr>
            <p:cNvSpPr/>
            <p:nvPr/>
          </p:nvSpPr>
          <p:spPr>
            <a:xfrm rot="13089394">
              <a:off x="6583238" y="2236421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4" name="Forme libre : forme 983">
              <a:extLst>
                <a:ext uri="{FF2B5EF4-FFF2-40B4-BE49-F238E27FC236}">
                  <a16:creationId xmlns:a16="http://schemas.microsoft.com/office/drawing/2014/main" id="{6C20D42A-CF2C-4DF9-8389-1987D2DA4730}"/>
                </a:ext>
              </a:extLst>
            </p:cNvPr>
            <p:cNvSpPr/>
            <p:nvPr/>
          </p:nvSpPr>
          <p:spPr>
            <a:xfrm rot="8716295">
              <a:off x="6768823" y="204474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5" name="Forme libre : forme 984">
              <a:extLst>
                <a:ext uri="{FF2B5EF4-FFF2-40B4-BE49-F238E27FC236}">
                  <a16:creationId xmlns:a16="http://schemas.microsoft.com/office/drawing/2014/main" id="{690A085A-5485-49A4-B859-ADCE99BE4188}"/>
                </a:ext>
              </a:extLst>
            </p:cNvPr>
            <p:cNvSpPr/>
            <p:nvPr/>
          </p:nvSpPr>
          <p:spPr>
            <a:xfrm rot="8716295">
              <a:off x="6717018" y="194114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6" name="Forme libre : forme 985">
              <a:extLst>
                <a:ext uri="{FF2B5EF4-FFF2-40B4-BE49-F238E27FC236}">
                  <a16:creationId xmlns:a16="http://schemas.microsoft.com/office/drawing/2014/main" id="{617C9727-2FB5-4490-85D8-1E9D17ED0FFB}"/>
                </a:ext>
              </a:extLst>
            </p:cNvPr>
            <p:cNvSpPr/>
            <p:nvPr/>
          </p:nvSpPr>
          <p:spPr>
            <a:xfrm rot="8716295">
              <a:off x="6473772" y="197136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7" name="Forme libre : forme 986">
              <a:extLst>
                <a:ext uri="{FF2B5EF4-FFF2-40B4-BE49-F238E27FC236}">
                  <a16:creationId xmlns:a16="http://schemas.microsoft.com/office/drawing/2014/main" id="{A4EA73FB-BC31-47BA-B0AF-60CD29A14CE4}"/>
                </a:ext>
              </a:extLst>
            </p:cNvPr>
            <p:cNvSpPr/>
            <p:nvPr/>
          </p:nvSpPr>
          <p:spPr>
            <a:xfrm rot="8716295">
              <a:off x="6651224" y="18121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8" name="Forme libre : forme 987">
              <a:extLst>
                <a:ext uri="{FF2B5EF4-FFF2-40B4-BE49-F238E27FC236}">
                  <a16:creationId xmlns:a16="http://schemas.microsoft.com/office/drawing/2014/main" id="{156A20B8-C2E0-4D62-9BB2-A5D841EE0CF6}"/>
                </a:ext>
              </a:extLst>
            </p:cNvPr>
            <p:cNvSpPr/>
            <p:nvPr/>
          </p:nvSpPr>
          <p:spPr>
            <a:xfrm rot="8716295">
              <a:off x="6329611" y="285889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9" name="Forme libre : forme 988">
              <a:extLst>
                <a:ext uri="{FF2B5EF4-FFF2-40B4-BE49-F238E27FC236}">
                  <a16:creationId xmlns:a16="http://schemas.microsoft.com/office/drawing/2014/main" id="{23E51C9F-FBAB-4ECD-8008-9610D0830C99}"/>
                </a:ext>
              </a:extLst>
            </p:cNvPr>
            <p:cNvSpPr/>
            <p:nvPr/>
          </p:nvSpPr>
          <p:spPr>
            <a:xfrm rot="8716295">
              <a:off x="6419003" y="288813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0" name="Forme libre : forme 989">
              <a:extLst>
                <a:ext uri="{FF2B5EF4-FFF2-40B4-BE49-F238E27FC236}">
                  <a16:creationId xmlns:a16="http://schemas.microsoft.com/office/drawing/2014/main" id="{7F32C77C-4F6E-45B6-AD92-CD6F8E2E6271}"/>
                </a:ext>
              </a:extLst>
            </p:cNvPr>
            <p:cNvSpPr/>
            <p:nvPr/>
          </p:nvSpPr>
          <p:spPr>
            <a:xfrm rot="8716295">
              <a:off x="6374153" y="280185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1" name="Forme libre : forme 990">
              <a:extLst>
                <a:ext uri="{FF2B5EF4-FFF2-40B4-BE49-F238E27FC236}">
                  <a16:creationId xmlns:a16="http://schemas.microsoft.com/office/drawing/2014/main" id="{D4431DD9-04B9-4FE1-A081-03E62FD89C9D}"/>
                </a:ext>
              </a:extLst>
            </p:cNvPr>
            <p:cNvSpPr/>
            <p:nvPr/>
          </p:nvSpPr>
          <p:spPr>
            <a:xfrm rot="8716295">
              <a:off x="6217377" y="294743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2" name="Forme libre : forme 991">
              <a:extLst>
                <a:ext uri="{FF2B5EF4-FFF2-40B4-BE49-F238E27FC236}">
                  <a16:creationId xmlns:a16="http://schemas.microsoft.com/office/drawing/2014/main" id="{3776591D-A273-4F99-BE73-AB66F060ED94}"/>
                </a:ext>
              </a:extLst>
            </p:cNvPr>
            <p:cNvSpPr/>
            <p:nvPr/>
          </p:nvSpPr>
          <p:spPr>
            <a:xfrm rot="8716295">
              <a:off x="6092474" y="273876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3" name="Forme libre : forme 992">
              <a:extLst>
                <a:ext uri="{FF2B5EF4-FFF2-40B4-BE49-F238E27FC236}">
                  <a16:creationId xmlns:a16="http://schemas.microsoft.com/office/drawing/2014/main" id="{70BC3904-666B-4476-94FE-E1509AD90EDA}"/>
                </a:ext>
              </a:extLst>
            </p:cNvPr>
            <p:cNvSpPr/>
            <p:nvPr/>
          </p:nvSpPr>
          <p:spPr>
            <a:xfrm rot="8716295">
              <a:off x="6080422" y="259998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4" name="Forme libre : forme 993">
              <a:extLst>
                <a:ext uri="{FF2B5EF4-FFF2-40B4-BE49-F238E27FC236}">
                  <a16:creationId xmlns:a16="http://schemas.microsoft.com/office/drawing/2014/main" id="{9A71DA94-5749-49E1-B169-14B235223A8A}"/>
                </a:ext>
              </a:extLst>
            </p:cNvPr>
            <p:cNvSpPr/>
            <p:nvPr/>
          </p:nvSpPr>
          <p:spPr>
            <a:xfrm rot="8716295">
              <a:off x="6307555" y="298838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5" name="Forme libre : forme 994">
              <a:extLst>
                <a:ext uri="{FF2B5EF4-FFF2-40B4-BE49-F238E27FC236}">
                  <a16:creationId xmlns:a16="http://schemas.microsoft.com/office/drawing/2014/main" id="{5E531992-BAC1-4C94-95FD-24C15B9EF2BF}"/>
                </a:ext>
              </a:extLst>
            </p:cNvPr>
            <p:cNvSpPr/>
            <p:nvPr/>
          </p:nvSpPr>
          <p:spPr>
            <a:xfrm rot="8716295">
              <a:off x="6618710" y="260873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6" name="Forme libre : forme 995">
              <a:extLst>
                <a:ext uri="{FF2B5EF4-FFF2-40B4-BE49-F238E27FC236}">
                  <a16:creationId xmlns:a16="http://schemas.microsoft.com/office/drawing/2014/main" id="{E4284C6A-7A82-4CAE-89A5-2E977266E045}"/>
                </a:ext>
              </a:extLst>
            </p:cNvPr>
            <p:cNvSpPr/>
            <p:nvPr/>
          </p:nvSpPr>
          <p:spPr>
            <a:xfrm rot="8716295">
              <a:off x="6708102" y="263798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7" name="Forme libre : forme 996">
              <a:extLst>
                <a:ext uri="{FF2B5EF4-FFF2-40B4-BE49-F238E27FC236}">
                  <a16:creationId xmlns:a16="http://schemas.microsoft.com/office/drawing/2014/main" id="{6AD07265-46A4-4F48-AE48-C93ECBEB0115}"/>
                </a:ext>
              </a:extLst>
            </p:cNvPr>
            <p:cNvSpPr/>
            <p:nvPr/>
          </p:nvSpPr>
          <p:spPr>
            <a:xfrm rot="8716295">
              <a:off x="6506476" y="269728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8" name="Forme libre : forme 997">
              <a:extLst>
                <a:ext uri="{FF2B5EF4-FFF2-40B4-BE49-F238E27FC236}">
                  <a16:creationId xmlns:a16="http://schemas.microsoft.com/office/drawing/2014/main" id="{0F626FEE-5136-4D5A-B874-AE58DE51C27B}"/>
                </a:ext>
              </a:extLst>
            </p:cNvPr>
            <p:cNvSpPr/>
            <p:nvPr/>
          </p:nvSpPr>
          <p:spPr>
            <a:xfrm rot="8716295">
              <a:off x="6381574" y="248861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9" name="Forme libre : forme 998">
              <a:extLst>
                <a:ext uri="{FF2B5EF4-FFF2-40B4-BE49-F238E27FC236}">
                  <a16:creationId xmlns:a16="http://schemas.microsoft.com/office/drawing/2014/main" id="{7B0A3539-A5EC-4DA5-B326-1671C80D9FC9}"/>
                </a:ext>
              </a:extLst>
            </p:cNvPr>
            <p:cNvSpPr/>
            <p:nvPr/>
          </p:nvSpPr>
          <p:spPr>
            <a:xfrm rot="8716295">
              <a:off x="6596654" y="273823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0" name="Forme libre : forme 999">
              <a:extLst>
                <a:ext uri="{FF2B5EF4-FFF2-40B4-BE49-F238E27FC236}">
                  <a16:creationId xmlns:a16="http://schemas.microsoft.com/office/drawing/2014/main" id="{A34DFDFC-C834-479E-912E-6B279D3D7039}"/>
                </a:ext>
              </a:extLst>
            </p:cNvPr>
            <p:cNvSpPr/>
            <p:nvPr/>
          </p:nvSpPr>
          <p:spPr>
            <a:xfrm rot="8716295">
              <a:off x="6355203" y="258863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1" name="Forme libre : forme 1000">
              <a:extLst>
                <a:ext uri="{FF2B5EF4-FFF2-40B4-BE49-F238E27FC236}">
                  <a16:creationId xmlns:a16="http://schemas.microsoft.com/office/drawing/2014/main" id="{07620231-653C-4CB4-8F77-0AA8D3803BFF}"/>
                </a:ext>
              </a:extLst>
            </p:cNvPr>
            <p:cNvSpPr/>
            <p:nvPr/>
          </p:nvSpPr>
          <p:spPr>
            <a:xfrm rot="7484129">
              <a:off x="6701585" y="292958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2" name="Forme libre : forme 1001">
              <a:extLst>
                <a:ext uri="{FF2B5EF4-FFF2-40B4-BE49-F238E27FC236}">
                  <a16:creationId xmlns:a16="http://schemas.microsoft.com/office/drawing/2014/main" id="{D290ABBC-41B3-4F18-93F2-164F7D54EBDE}"/>
                </a:ext>
              </a:extLst>
            </p:cNvPr>
            <p:cNvSpPr/>
            <p:nvPr/>
          </p:nvSpPr>
          <p:spPr>
            <a:xfrm rot="13089394">
              <a:off x="6806405" y="289612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3" name="Forme libre : forme 1002">
              <a:extLst>
                <a:ext uri="{FF2B5EF4-FFF2-40B4-BE49-F238E27FC236}">
                  <a16:creationId xmlns:a16="http://schemas.microsoft.com/office/drawing/2014/main" id="{8DD9E291-7841-4F2C-A3C2-BF1A5190446E}"/>
                </a:ext>
              </a:extLst>
            </p:cNvPr>
            <p:cNvSpPr/>
            <p:nvPr/>
          </p:nvSpPr>
          <p:spPr>
            <a:xfrm rot="8716295">
              <a:off x="6991990" y="270443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4" name="Forme libre : forme 1003">
              <a:extLst>
                <a:ext uri="{FF2B5EF4-FFF2-40B4-BE49-F238E27FC236}">
                  <a16:creationId xmlns:a16="http://schemas.microsoft.com/office/drawing/2014/main" id="{41A89C08-3907-4E7D-B1E6-D307FE9BC2BC}"/>
                </a:ext>
              </a:extLst>
            </p:cNvPr>
            <p:cNvSpPr/>
            <p:nvPr/>
          </p:nvSpPr>
          <p:spPr>
            <a:xfrm rot="8716295">
              <a:off x="6940185" y="260084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5" name="Forme libre : forme 1004">
              <a:extLst>
                <a:ext uri="{FF2B5EF4-FFF2-40B4-BE49-F238E27FC236}">
                  <a16:creationId xmlns:a16="http://schemas.microsoft.com/office/drawing/2014/main" id="{157F3384-4A1D-41EA-805B-09275197A993}"/>
                </a:ext>
              </a:extLst>
            </p:cNvPr>
            <p:cNvSpPr/>
            <p:nvPr/>
          </p:nvSpPr>
          <p:spPr>
            <a:xfrm rot="8716295">
              <a:off x="6696939" y="263106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6" name="Forme libre : forme 1005">
              <a:extLst>
                <a:ext uri="{FF2B5EF4-FFF2-40B4-BE49-F238E27FC236}">
                  <a16:creationId xmlns:a16="http://schemas.microsoft.com/office/drawing/2014/main" id="{FF46E72A-AA4E-4A7E-AA90-4EE78B17F3E0}"/>
                </a:ext>
              </a:extLst>
            </p:cNvPr>
            <p:cNvSpPr/>
            <p:nvPr/>
          </p:nvSpPr>
          <p:spPr>
            <a:xfrm rot="8716295">
              <a:off x="6874391" y="247182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7" name="Forme libre : forme 1006">
              <a:extLst>
                <a:ext uri="{FF2B5EF4-FFF2-40B4-BE49-F238E27FC236}">
                  <a16:creationId xmlns:a16="http://schemas.microsoft.com/office/drawing/2014/main" id="{F3CC0703-4FAA-4CF5-BF29-341DDF37A94E}"/>
                </a:ext>
              </a:extLst>
            </p:cNvPr>
            <p:cNvSpPr/>
            <p:nvPr/>
          </p:nvSpPr>
          <p:spPr>
            <a:xfrm rot="8716295">
              <a:off x="6992966" y="483796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8" name="Forme libre : forme 1007">
              <a:extLst>
                <a:ext uri="{FF2B5EF4-FFF2-40B4-BE49-F238E27FC236}">
                  <a16:creationId xmlns:a16="http://schemas.microsoft.com/office/drawing/2014/main" id="{C3F81C70-85AD-4CF6-A01C-4C0E0F9C52D5}"/>
                </a:ext>
              </a:extLst>
            </p:cNvPr>
            <p:cNvSpPr/>
            <p:nvPr/>
          </p:nvSpPr>
          <p:spPr>
            <a:xfrm rot="8716295">
              <a:off x="7082358" y="486720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9" name="Forme libre : forme 1008">
              <a:extLst>
                <a:ext uri="{FF2B5EF4-FFF2-40B4-BE49-F238E27FC236}">
                  <a16:creationId xmlns:a16="http://schemas.microsoft.com/office/drawing/2014/main" id="{8594D2EF-5DEB-4BF2-8AF7-303476CE0CC5}"/>
                </a:ext>
              </a:extLst>
            </p:cNvPr>
            <p:cNvSpPr/>
            <p:nvPr/>
          </p:nvSpPr>
          <p:spPr>
            <a:xfrm rot="8716295">
              <a:off x="7037508" y="478092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0" name="Forme libre : forme 1009">
              <a:extLst>
                <a:ext uri="{FF2B5EF4-FFF2-40B4-BE49-F238E27FC236}">
                  <a16:creationId xmlns:a16="http://schemas.microsoft.com/office/drawing/2014/main" id="{77E9C412-FDC3-454A-B80E-5D8A9E43C4DA}"/>
                </a:ext>
              </a:extLst>
            </p:cNvPr>
            <p:cNvSpPr/>
            <p:nvPr/>
          </p:nvSpPr>
          <p:spPr>
            <a:xfrm rot="8716295">
              <a:off x="6880732" y="49265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1" name="Forme libre : forme 1010">
              <a:extLst>
                <a:ext uri="{FF2B5EF4-FFF2-40B4-BE49-F238E27FC236}">
                  <a16:creationId xmlns:a16="http://schemas.microsoft.com/office/drawing/2014/main" id="{A5D4AA44-D0FA-491F-BE63-FF8A4B5DD958}"/>
                </a:ext>
              </a:extLst>
            </p:cNvPr>
            <p:cNvSpPr/>
            <p:nvPr/>
          </p:nvSpPr>
          <p:spPr>
            <a:xfrm rot="8716295">
              <a:off x="6755829" y="471783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2" name="Forme libre : forme 1011">
              <a:extLst>
                <a:ext uri="{FF2B5EF4-FFF2-40B4-BE49-F238E27FC236}">
                  <a16:creationId xmlns:a16="http://schemas.microsoft.com/office/drawing/2014/main" id="{EA7B1920-6683-4EDE-8D1A-30EA77A457A9}"/>
                </a:ext>
              </a:extLst>
            </p:cNvPr>
            <p:cNvSpPr/>
            <p:nvPr/>
          </p:nvSpPr>
          <p:spPr>
            <a:xfrm rot="8716295">
              <a:off x="6743777" y="4579051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3" name="Forme libre : forme 1012">
              <a:extLst>
                <a:ext uri="{FF2B5EF4-FFF2-40B4-BE49-F238E27FC236}">
                  <a16:creationId xmlns:a16="http://schemas.microsoft.com/office/drawing/2014/main" id="{0C35C265-9177-4FAD-9F28-2B57935811A6}"/>
                </a:ext>
              </a:extLst>
            </p:cNvPr>
            <p:cNvSpPr/>
            <p:nvPr/>
          </p:nvSpPr>
          <p:spPr>
            <a:xfrm rot="8716295">
              <a:off x="6967304" y="4968128"/>
              <a:ext cx="103435" cy="217167"/>
            </a:xfrm>
            <a:custGeom>
              <a:avLst/>
              <a:gdLst>
                <a:gd name="connsiteX0" fmla="*/ 0 w 103435"/>
                <a:gd name="connsiteY0" fmla="*/ 14397 h 217167"/>
                <a:gd name="connsiteX1" fmla="*/ 0 w 103435"/>
                <a:gd name="connsiteY1" fmla="*/ 271 h 217167"/>
                <a:gd name="connsiteX2" fmla="*/ 12306 w 103435"/>
                <a:gd name="connsiteY2" fmla="*/ 0 h 217167"/>
                <a:gd name="connsiteX3" fmla="*/ 33075 w 103435"/>
                <a:gd name="connsiteY3" fmla="*/ 14397 h 217167"/>
                <a:gd name="connsiteX4" fmla="*/ 103435 w 103435"/>
                <a:gd name="connsiteY4" fmla="*/ 217167 h 217167"/>
                <a:gd name="connsiteX5" fmla="*/ 43288 w 103435"/>
                <a:gd name="connsiteY5" fmla="*/ 159297 h 217167"/>
                <a:gd name="connsiteX6" fmla="*/ 43288 w 103435"/>
                <a:gd name="connsiteY6" fmla="*/ 21477 h 217167"/>
                <a:gd name="connsiteX7" fmla="*/ 103435 w 103435"/>
                <a:gd name="connsiteY7" fmla="*/ 63169 h 217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3435" h="217167">
                  <a:moveTo>
                    <a:pt x="0" y="14397"/>
                  </a:moveTo>
                  <a:lnTo>
                    <a:pt x="0" y="271"/>
                  </a:lnTo>
                  <a:lnTo>
                    <a:pt x="12306" y="0"/>
                  </a:lnTo>
                  <a:lnTo>
                    <a:pt x="33075" y="14397"/>
                  </a:lnTo>
                  <a:close/>
                  <a:moveTo>
                    <a:pt x="103435" y="217167"/>
                  </a:moveTo>
                  <a:lnTo>
                    <a:pt x="43288" y="159297"/>
                  </a:lnTo>
                  <a:lnTo>
                    <a:pt x="43288" y="21477"/>
                  </a:lnTo>
                  <a:lnTo>
                    <a:pt x="103435" y="631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4" name="Forme libre : forme 1013">
              <a:extLst>
                <a:ext uri="{FF2B5EF4-FFF2-40B4-BE49-F238E27FC236}">
                  <a16:creationId xmlns:a16="http://schemas.microsoft.com/office/drawing/2014/main" id="{BD244519-3E70-4BEA-A7E9-6D6329332810}"/>
                </a:ext>
              </a:extLst>
            </p:cNvPr>
            <p:cNvSpPr/>
            <p:nvPr/>
          </p:nvSpPr>
          <p:spPr>
            <a:xfrm rot="8716295">
              <a:off x="7282065" y="458780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5" name="Forme libre : forme 1014">
              <a:extLst>
                <a:ext uri="{FF2B5EF4-FFF2-40B4-BE49-F238E27FC236}">
                  <a16:creationId xmlns:a16="http://schemas.microsoft.com/office/drawing/2014/main" id="{B4585F35-0A90-4165-A27A-19AF98E52F16}"/>
                </a:ext>
              </a:extLst>
            </p:cNvPr>
            <p:cNvSpPr/>
            <p:nvPr/>
          </p:nvSpPr>
          <p:spPr>
            <a:xfrm rot="8716295">
              <a:off x="7371457" y="461705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6" name="Forme libre : forme 1015">
              <a:extLst>
                <a:ext uri="{FF2B5EF4-FFF2-40B4-BE49-F238E27FC236}">
                  <a16:creationId xmlns:a16="http://schemas.microsoft.com/office/drawing/2014/main" id="{037BBBAE-DF3D-45D1-93C9-705EA55906DA}"/>
                </a:ext>
              </a:extLst>
            </p:cNvPr>
            <p:cNvSpPr/>
            <p:nvPr/>
          </p:nvSpPr>
          <p:spPr>
            <a:xfrm rot="8716295">
              <a:off x="7169831" y="467635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7" name="Forme libre : forme 1016">
              <a:extLst>
                <a:ext uri="{FF2B5EF4-FFF2-40B4-BE49-F238E27FC236}">
                  <a16:creationId xmlns:a16="http://schemas.microsoft.com/office/drawing/2014/main" id="{79B12E01-567A-4F11-A8EA-E4D5E5D6D861}"/>
                </a:ext>
              </a:extLst>
            </p:cNvPr>
            <p:cNvSpPr/>
            <p:nvPr/>
          </p:nvSpPr>
          <p:spPr>
            <a:xfrm rot="8716295">
              <a:off x="7044929" y="446767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8" name="Forme libre : forme 1017">
              <a:extLst>
                <a:ext uri="{FF2B5EF4-FFF2-40B4-BE49-F238E27FC236}">
                  <a16:creationId xmlns:a16="http://schemas.microsoft.com/office/drawing/2014/main" id="{FD84A8E2-51AA-4D9A-9373-C01406950A10}"/>
                </a:ext>
              </a:extLst>
            </p:cNvPr>
            <p:cNvSpPr/>
            <p:nvPr/>
          </p:nvSpPr>
          <p:spPr>
            <a:xfrm rot="8716295">
              <a:off x="7260009" y="471730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9" name="Forme libre : forme 1018">
              <a:extLst>
                <a:ext uri="{FF2B5EF4-FFF2-40B4-BE49-F238E27FC236}">
                  <a16:creationId xmlns:a16="http://schemas.microsoft.com/office/drawing/2014/main" id="{BA3A5019-01D7-4AD7-A88B-3385609FFFB0}"/>
                </a:ext>
              </a:extLst>
            </p:cNvPr>
            <p:cNvSpPr/>
            <p:nvPr/>
          </p:nvSpPr>
          <p:spPr>
            <a:xfrm rot="8716295">
              <a:off x="7018558" y="456770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0" name="Forme libre : forme 1019">
              <a:extLst>
                <a:ext uri="{FF2B5EF4-FFF2-40B4-BE49-F238E27FC236}">
                  <a16:creationId xmlns:a16="http://schemas.microsoft.com/office/drawing/2014/main" id="{C76C9B6C-CE3D-4347-A6FC-4F62281A45DE}"/>
                </a:ext>
              </a:extLst>
            </p:cNvPr>
            <p:cNvSpPr/>
            <p:nvPr/>
          </p:nvSpPr>
          <p:spPr>
            <a:xfrm rot="7484129">
              <a:off x="7360806" y="490932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199801 w 203847"/>
                <a:gd name="connsiteY5" fmla="*/ 0 h 195874"/>
                <a:gd name="connsiteX6" fmla="*/ 203847 w 203847"/>
                <a:gd name="connsiteY6" fmla="*/ 5835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199801" y="0"/>
                  </a:lnTo>
                  <a:lnTo>
                    <a:pt x="203847" y="5835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1" name="Forme libre : forme 1020">
              <a:extLst>
                <a:ext uri="{FF2B5EF4-FFF2-40B4-BE49-F238E27FC236}">
                  <a16:creationId xmlns:a16="http://schemas.microsoft.com/office/drawing/2014/main" id="{968CDA2A-BCE6-4E6C-B078-182B2D0CB115}"/>
                </a:ext>
              </a:extLst>
            </p:cNvPr>
            <p:cNvSpPr/>
            <p:nvPr/>
          </p:nvSpPr>
          <p:spPr>
            <a:xfrm rot="13089394">
              <a:off x="7492553" y="4879598"/>
              <a:ext cx="272584" cy="252337"/>
            </a:xfrm>
            <a:custGeom>
              <a:avLst/>
              <a:gdLst>
                <a:gd name="connsiteX0" fmla="*/ 272584 w 272584"/>
                <a:gd name="connsiteY0" fmla="*/ 181545 h 252337"/>
                <a:gd name="connsiteX1" fmla="*/ 91597 w 272584"/>
                <a:gd name="connsiteY1" fmla="*/ 252174 h 252337"/>
                <a:gd name="connsiteX2" fmla="*/ 23727 w 272584"/>
                <a:gd name="connsiteY2" fmla="*/ 224584 h 252337"/>
                <a:gd name="connsiteX3" fmla="*/ 0 w 272584"/>
                <a:gd name="connsiteY3" fmla="*/ 129677 h 252337"/>
                <a:gd name="connsiteX4" fmla="*/ 0 w 272584"/>
                <a:gd name="connsiteY4" fmla="*/ 58093 h 252337"/>
                <a:gd name="connsiteX5" fmla="*/ 73938 w 272584"/>
                <a:gd name="connsiteY5" fmla="*/ 0 h 252337"/>
                <a:gd name="connsiteX6" fmla="*/ 74492 w 272584"/>
                <a:gd name="connsiteY6" fmla="*/ 77257 h 252337"/>
                <a:gd name="connsiteX7" fmla="*/ 87734 w 272584"/>
                <a:gd name="connsiteY7" fmla="*/ 168854 h 252337"/>
                <a:gd name="connsiteX8" fmla="*/ 153949 w 272584"/>
                <a:gd name="connsiteY8" fmla="*/ 205272 h 252337"/>
                <a:gd name="connsiteX9" fmla="*/ 203610 w 272584"/>
                <a:gd name="connsiteY9" fmla="*/ 196443 h 252337"/>
                <a:gd name="connsiteX10" fmla="*/ 271481 w 272584"/>
                <a:gd name="connsiteY10" fmla="*/ 168854 h 252337"/>
                <a:gd name="connsiteX11" fmla="*/ 272584 w 272584"/>
                <a:gd name="connsiteY11" fmla="*/ 176027 h 25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2584" h="252337">
                  <a:moveTo>
                    <a:pt x="272584" y="181545"/>
                  </a:moveTo>
                  <a:cubicBezTo>
                    <a:pt x="214095" y="231758"/>
                    <a:pt x="137395" y="249415"/>
                    <a:pt x="91597" y="252174"/>
                  </a:cubicBezTo>
                  <a:cubicBezTo>
                    <a:pt x="66215" y="253830"/>
                    <a:pt x="41384" y="242793"/>
                    <a:pt x="23727" y="224584"/>
                  </a:cubicBezTo>
                  <a:cubicBezTo>
                    <a:pt x="4966" y="206376"/>
                    <a:pt x="0" y="174923"/>
                    <a:pt x="0" y="129677"/>
                  </a:cubicBezTo>
                  <a:lnTo>
                    <a:pt x="0" y="58093"/>
                  </a:lnTo>
                  <a:lnTo>
                    <a:pt x="73938" y="0"/>
                  </a:lnTo>
                  <a:lnTo>
                    <a:pt x="74492" y="77257"/>
                  </a:lnTo>
                  <a:cubicBezTo>
                    <a:pt x="72836" y="108157"/>
                    <a:pt x="77802" y="139609"/>
                    <a:pt x="87734" y="168854"/>
                  </a:cubicBezTo>
                  <a:cubicBezTo>
                    <a:pt x="96563" y="193132"/>
                    <a:pt x="119186" y="205272"/>
                    <a:pt x="153949" y="205272"/>
                  </a:cubicBezTo>
                  <a:cubicBezTo>
                    <a:pt x="171055" y="204720"/>
                    <a:pt x="187608" y="201409"/>
                    <a:pt x="203610" y="196443"/>
                  </a:cubicBezTo>
                  <a:cubicBezTo>
                    <a:pt x="226785" y="189270"/>
                    <a:pt x="249409" y="179890"/>
                    <a:pt x="271481" y="168854"/>
                  </a:cubicBezTo>
                  <a:cubicBezTo>
                    <a:pt x="272032" y="171061"/>
                    <a:pt x="272584" y="173820"/>
                    <a:pt x="272584" y="17602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2" name="Forme libre : forme 1021">
              <a:extLst>
                <a:ext uri="{FF2B5EF4-FFF2-40B4-BE49-F238E27FC236}">
                  <a16:creationId xmlns:a16="http://schemas.microsoft.com/office/drawing/2014/main" id="{ADB8B43F-E5ED-4756-924C-F5F4F7DBE002}"/>
                </a:ext>
              </a:extLst>
            </p:cNvPr>
            <p:cNvSpPr/>
            <p:nvPr/>
          </p:nvSpPr>
          <p:spPr>
            <a:xfrm rot="8716295">
              <a:off x="7655345" y="468350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3" name="Forme libre : forme 1022">
              <a:extLst>
                <a:ext uri="{FF2B5EF4-FFF2-40B4-BE49-F238E27FC236}">
                  <a16:creationId xmlns:a16="http://schemas.microsoft.com/office/drawing/2014/main" id="{FEE379FB-4155-4B72-A7C1-37CBAC14E821}"/>
                </a:ext>
              </a:extLst>
            </p:cNvPr>
            <p:cNvSpPr/>
            <p:nvPr/>
          </p:nvSpPr>
          <p:spPr>
            <a:xfrm rot="8716295">
              <a:off x="7603540" y="457991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4" name="Forme libre : forme 1023">
              <a:extLst>
                <a:ext uri="{FF2B5EF4-FFF2-40B4-BE49-F238E27FC236}">
                  <a16:creationId xmlns:a16="http://schemas.microsoft.com/office/drawing/2014/main" id="{6003D4A9-3A9F-4CD8-9279-C73BEB73CC6E}"/>
                </a:ext>
              </a:extLst>
            </p:cNvPr>
            <p:cNvSpPr/>
            <p:nvPr/>
          </p:nvSpPr>
          <p:spPr>
            <a:xfrm rot="8716295">
              <a:off x="7360294" y="461013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5" name="Forme libre : forme 1024">
              <a:extLst>
                <a:ext uri="{FF2B5EF4-FFF2-40B4-BE49-F238E27FC236}">
                  <a16:creationId xmlns:a16="http://schemas.microsoft.com/office/drawing/2014/main" id="{AFF9EBE2-B2A3-496B-B841-3E5E6836F7FA}"/>
                </a:ext>
              </a:extLst>
            </p:cNvPr>
            <p:cNvSpPr/>
            <p:nvPr/>
          </p:nvSpPr>
          <p:spPr>
            <a:xfrm rot="8716295">
              <a:off x="7537746" y="445089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6" name="Forme libre : forme 1025">
              <a:extLst>
                <a:ext uri="{FF2B5EF4-FFF2-40B4-BE49-F238E27FC236}">
                  <a16:creationId xmlns:a16="http://schemas.microsoft.com/office/drawing/2014/main" id="{CD875011-73F3-4769-8BC4-991165C05F53}"/>
                </a:ext>
              </a:extLst>
            </p:cNvPr>
            <p:cNvSpPr/>
            <p:nvPr/>
          </p:nvSpPr>
          <p:spPr>
            <a:xfrm rot="8716295">
              <a:off x="6548281" y="351728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7" name="Forme libre : forme 1026">
              <a:extLst>
                <a:ext uri="{FF2B5EF4-FFF2-40B4-BE49-F238E27FC236}">
                  <a16:creationId xmlns:a16="http://schemas.microsoft.com/office/drawing/2014/main" id="{0615D39A-2E64-416D-A795-F3C0FDD2FE87}"/>
                </a:ext>
              </a:extLst>
            </p:cNvPr>
            <p:cNvSpPr/>
            <p:nvPr/>
          </p:nvSpPr>
          <p:spPr>
            <a:xfrm rot="8716295">
              <a:off x="6637673" y="354652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8" name="Forme libre : forme 1027">
              <a:extLst>
                <a:ext uri="{FF2B5EF4-FFF2-40B4-BE49-F238E27FC236}">
                  <a16:creationId xmlns:a16="http://schemas.microsoft.com/office/drawing/2014/main" id="{060FADA5-0D30-41B8-8660-35EDACE6E0AC}"/>
                </a:ext>
              </a:extLst>
            </p:cNvPr>
            <p:cNvSpPr/>
            <p:nvPr/>
          </p:nvSpPr>
          <p:spPr>
            <a:xfrm rot="8716295">
              <a:off x="6592823" y="3460249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9" name="Forme libre : forme 1028">
              <a:extLst>
                <a:ext uri="{FF2B5EF4-FFF2-40B4-BE49-F238E27FC236}">
                  <a16:creationId xmlns:a16="http://schemas.microsoft.com/office/drawing/2014/main" id="{3DD05617-C2D8-48AB-B506-5C707825A77C}"/>
                </a:ext>
              </a:extLst>
            </p:cNvPr>
            <p:cNvSpPr/>
            <p:nvPr/>
          </p:nvSpPr>
          <p:spPr>
            <a:xfrm rot="8716295">
              <a:off x="6436047" y="36058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0" name="Forme libre : forme 1029">
              <a:extLst>
                <a:ext uri="{FF2B5EF4-FFF2-40B4-BE49-F238E27FC236}">
                  <a16:creationId xmlns:a16="http://schemas.microsoft.com/office/drawing/2014/main" id="{026125EF-4515-4513-B863-6BC5A9CD34C8}"/>
                </a:ext>
              </a:extLst>
            </p:cNvPr>
            <p:cNvSpPr/>
            <p:nvPr/>
          </p:nvSpPr>
          <p:spPr>
            <a:xfrm rot="8716295">
              <a:off x="6311144" y="339715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1" name="Forme libre : forme 1030">
              <a:extLst>
                <a:ext uri="{FF2B5EF4-FFF2-40B4-BE49-F238E27FC236}">
                  <a16:creationId xmlns:a16="http://schemas.microsoft.com/office/drawing/2014/main" id="{C0D350EA-C4E6-472F-843B-5DB93BCF6803}"/>
                </a:ext>
              </a:extLst>
            </p:cNvPr>
            <p:cNvSpPr/>
            <p:nvPr/>
          </p:nvSpPr>
          <p:spPr>
            <a:xfrm rot="8716295">
              <a:off x="6299092" y="325837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2" name="Forme libre : forme 1031">
              <a:extLst>
                <a:ext uri="{FF2B5EF4-FFF2-40B4-BE49-F238E27FC236}">
                  <a16:creationId xmlns:a16="http://schemas.microsoft.com/office/drawing/2014/main" id="{06276D8F-369A-4565-8BB4-AD96B8E4E096}"/>
                </a:ext>
              </a:extLst>
            </p:cNvPr>
            <p:cNvSpPr/>
            <p:nvPr/>
          </p:nvSpPr>
          <p:spPr>
            <a:xfrm rot="8716295">
              <a:off x="6526225" y="3646783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3" name="Forme libre : forme 1032">
              <a:extLst>
                <a:ext uri="{FF2B5EF4-FFF2-40B4-BE49-F238E27FC236}">
                  <a16:creationId xmlns:a16="http://schemas.microsoft.com/office/drawing/2014/main" id="{A7CF24B1-51CC-4AB6-89E7-65ED0BB80D36}"/>
                </a:ext>
              </a:extLst>
            </p:cNvPr>
            <p:cNvSpPr/>
            <p:nvPr/>
          </p:nvSpPr>
          <p:spPr>
            <a:xfrm rot="8716295">
              <a:off x="6837380" y="326713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4" name="Forme libre : forme 1033">
              <a:extLst>
                <a:ext uri="{FF2B5EF4-FFF2-40B4-BE49-F238E27FC236}">
                  <a16:creationId xmlns:a16="http://schemas.microsoft.com/office/drawing/2014/main" id="{5142FB3F-C994-4469-A365-E36070ACE548}"/>
                </a:ext>
              </a:extLst>
            </p:cNvPr>
            <p:cNvSpPr/>
            <p:nvPr/>
          </p:nvSpPr>
          <p:spPr>
            <a:xfrm rot="8716295">
              <a:off x="6926772" y="329637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5" name="Forme libre : forme 1034">
              <a:extLst>
                <a:ext uri="{FF2B5EF4-FFF2-40B4-BE49-F238E27FC236}">
                  <a16:creationId xmlns:a16="http://schemas.microsoft.com/office/drawing/2014/main" id="{5CF22B05-C83E-4374-AB2F-AF795A582E04}"/>
                </a:ext>
              </a:extLst>
            </p:cNvPr>
            <p:cNvSpPr/>
            <p:nvPr/>
          </p:nvSpPr>
          <p:spPr>
            <a:xfrm rot="8716295">
              <a:off x="6725146" y="335567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6" name="Forme libre : forme 1035">
              <a:extLst>
                <a:ext uri="{FF2B5EF4-FFF2-40B4-BE49-F238E27FC236}">
                  <a16:creationId xmlns:a16="http://schemas.microsoft.com/office/drawing/2014/main" id="{EFD9D455-CD8C-48E5-9EA7-45DB179447D5}"/>
                </a:ext>
              </a:extLst>
            </p:cNvPr>
            <p:cNvSpPr/>
            <p:nvPr/>
          </p:nvSpPr>
          <p:spPr>
            <a:xfrm rot="8716295">
              <a:off x="6600244" y="314700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7" name="Forme libre : forme 1036">
              <a:extLst>
                <a:ext uri="{FF2B5EF4-FFF2-40B4-BE49-F238E27FC236}">
                  <a16:creationId xmlns:a16="http://schemas.microsoft.com/office/drawing/2014/main" id="{35A86230-3679-4051-8A1E-60A8E79938A2}"/>
                </a:ext>
              </a:extLst>
            </p:cNvPr>
            <p:cNvSpPr/>
            <p:nvPr/>
          </p:nvSpPr>
          <p:spPr>
            <a:xfrm rot="8716295">
              <a:off x="6815324" y="3396631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8" name="Forme libre : forme 1037">
              <a:extLst>
                <a:ext uri="{FF2B5EF4-FFF2-40B4-BE49-F238E27FC236}">
                  <a16:creationId xmlns:a16="http://schemas.microsoft.com/office/drawing/2014/main" id="{C9206E0E-FAAE-4EE0-A8C9-53785CD31A1D}"/>
                </a:ext>
              </a:extLst>
            </p:cNvPr>
            <p:cNvSpPr/>
            <p:nvPr/>
          </p:nvSpPr>
          <p:spPr>
            <a:xfrm rot="8716295">
              <a:off x="6573873" y="324703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9" name="Forme libre : forme 1038">
              <a:extLst>
                <a:ext uri="{FF2B5EF4-FFF2-40B4-BE49-F238E27FC236}">
                  <a16:creationId xmlns:a16="http://schemas.microsoft.com/office/drawing/2014/main" id="{249F3AA5-95A4-45B1-849C-670C08A25C3F}"/>
                </a:ext>
              </a:extLst>
            </p:cNvPr>
            <p:cNvSpPr/>
            <p:nvPr/>
          </p:nvSpPr>
          <p:spPr>
            <a:xfrm rot="7484129">
              <a:off x="6920255" y="358798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0" name="Forme libre : forme 1039">
              <a:extLst>
                <a:ext uri="{FF2B5EF4-FFF2-40B4-BE49-F238E27FC236}">
                  <a16:creationId xmlns:a16="http://schemas.microsoft.com/office/drawing/2014/main" id="{1087B106-1BAC-4BF5-B094-3EE0A3C2971B}"/>
                </a:ext>
              </a:extLst>
            </p:cNvPr>
            <p:cNvSpPr/>
            <p:nvPr/>
          </p:nvSpPr>
          <p:spPr>
            <a:xfrm rot="13089394">
              <a:off x="7025075" y="355451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1" name="Forme libre : forme 1040">
              <a:extLst>
                <a:ext uri="{FF2B5EF4-FFF2-40B4-BE49-F238E27FC236}">
                  <a16:creationId xmlns:a16="http://schemas.microsoft.com/office/drawing/2014/main" id="{C7700747-2F7A-44F2-A882-B7E2217A3398}"/>
                </a:ext>
              </a:extLst>
            </p:cNvPr>
            <p:cNvSpPr/>
            <p:nvPr/>
          </p:nvSpPr>
          <p:spPr>
            <a:xfrm rot="8716295">
              <a:off x="7210660" y="336283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2" name="Forme libre : forme 1041">
              <a:extLst>
                <a:ext uri="{FF2B5EF4-FFF2-40B4-BE49-F238E27FC236}">
                  <a16:creationId xmlns:a16="http://schemas.microsoft.com/office/drawing/2014/main" id="{36A96034-BC43-4282-A4BC-768E81ED9FC4}"/>
                </a:ext>
              </a:extLst>
            </p:cNvPr>
            <p:cNvSpPr/>
            <p:nvPr/>
          </p:nvSpPr>
          <p:spPr>
            <a:xfrm rot="8716295">
              <a:off x="7158855" y="325924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3" name="Forme libre : forme 1042">
              <a:extLst>
                <a:ext uri="{FF2B5EF4-FFF2-40B4-BE49-F238E27FC236}">
                  <a16:creationId xmlns:a16="http://schemas.microsoft.com/office/drawing/2014/main" id="{177D614D-3D8E-4B72-A402-6E4739EFD98F}"/>
                </a:ext>
              </a:extLst>
            </p:cNvPr>
            <p:cNvSpPr/>
            <p:nvPr/>
          </p:nvSpPr>
          <p:spPr>
            <a:xfrm rot="8716295">
              <a:off x="6915609" y="328946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4" name="Forme libre : forme 1043">
              <a:extLst>
                <a:ext uri="{FF2B5EF4-FFF2-40B4-BE49-F238E27FC236}">
                  <a16:creationId xmlns:a16="http://schemas.microsoft.com/office/drawing/2014/main" id="{F17CE4CA-0138-428C-BC4F-6826A011B769}"/>
                </a:ext>
              </a:extLst>
            </p:cNvPr>
            <p:cNvSpPr/>
            <p:nvPr/>
          </p:nvSpPr>
          <p:spPr>
            <a:xfrm rot="8716295">
              <a:off x="7093061" y="313022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5" name="Forme libre : forme 1044">
              <a:extLst>
                <a:ext uri="{FF2B5EF4-FFF2-40B4-BE49-F238E27FC236}">
                  <a16:creationId xmlns:a16="http://schemas.microsoft.com/office/drawing/2014/main" id="{4B720940-ABA3-4C23-81DC-0B6806C0661A}"/>
                </a:ext>
              </a:extLst>
            </p:cNvPr>
            <p:cNvSpPr/>
            <p:nvPr/>
          </p:nvSpPr>
          <p:spPr>
            <a:xfrm rot="8716295">
              <a:off x="6771448" y="417698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6" name="Forme libre : forme 1045">
              <a:extLst>
                <a:ext uri="{FF2B5EF4-FFF2-40B4-BE49-F238E27FC236}">
                  <a16:creationId xmlns:a16="http://schemas.microsoft.com/office/drawing/2014/main" id="{EC0DCD9D-823B-45DB-93A0-478BA4EF5F65}"/>
                </a:ext>
              </a:extLst>
            </p:cNvPr>
            <p:cNvSpPr/>
            <p:nvPr/>
          </p:nvSpPr>
          <p:spPr>
            <a:xfrm rot="8716295">
              <a:off x="6860840" y="420622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7" name="Forme libre : forme 1046">
              <a:extLst>
                <a:ext uri="{FF2B5EF4-FFF2-40B4-BE49-F238E27FC236}">
                  <a16:creationId xmlns:a16="http://schemas.microsoft.com/office/drawing/2014/main" id="{6714C14A-42A3-4158-A04D-39890F5FFDD6}"/>
                </a:ext>
              </a:extLst>
            </p:cNvPr>
            <p:cNvSpPr/>
            <p:nvPr/>
          </p:nvSpPr>
          <p:spPr>
            <a:xfrm rot="8716295">
              <a:off x="6815990" y="4119948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8" name="Forme libre : forme 1047">
              <a:extLst>
                <a:ext uri="{FF2B5EF4-FFF2-40B4-BE49-F238E27FC236}">
                  <a16:creationId xmlns:a16="http://schemas.microsoft.com/office/drawing/2014/main" id="{008B8287-375F-405E-8DE9-E2164C398F81}"/>
                </a:ext>
              </a:extLst>
            </p:cNvPr>
            <p:cNvSpPr/>
            <p:nvPr/>
          </p:nvSpPr>
          <p:spPr>
            <a:xfrm rot="8716295">
              <a:off x="6659214" y="42655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9" name="Forme libre : forme 1048">
              <a:extLst>
                <a:ext uri="{FF2B5EF4-FFF2-40B4-BE49-F238E27FC236}">
                  <a16:creationId xmlns:a16="http://schemas.microsoft.com/office/drawing/2014/main" id="{F04C8B7C-4B10-4B6E-8BA5-DDF0AF373E5C}"/>
                </a:ext>
              </a:extLst>
            </p:cNvPr>
            <p:cNvSpPr/>
            <p:nvPr/>
          </p:nvSpPr>
          <p:spPr>
            <a:xfrm rot="8716295">
              <a:off x="6534311" y="405685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0" name="Forme libre : forme 1049">
              <a:extLst>
                <a:ext uri="{FF2B5EF4-FFF2-40B4-BE49-F238E27FC236}">
                  <a16:creationId xmlns:a16="http://schemas.microsoft.com/office/drawing/2014/main" id="{5F188DCA-0384-43CB-8EBE-CC2C38A75C79}"/>
                </a:ext>
              </a:extLst>
            </p:cNvPr>
            <p:cNvSpPr/>
            <p:nvPr/>
          </p:nvSpPr>
          <p:spPr>
            <a:xfrm rot="8716295">
              <a:off x="6522259" y="3918077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1" name="Forme libre : forme 1050">
              <a:extLst>
                <a:ext uri="{FF2B5EF4-FFF2-40B4-BE49-F238E27FC236}">
                  <a16:creationId xmlns:a16="http://schemas.microsoft.com/office/drawing/2014/main" id="{399AA06D-1BD2-4996-9067-7FE24F4CC47C}"/>
                </a:ext>
              </a:extLst>
            </p:cNvPr>
            <p:cNvSpPr/>
            <p:nvPr/>
          </p:nvSpPr>
          <p:spPr>
            <a:xfrm rot="8716295">
              <a:off x="6749392" y="4306482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2" name="Forme libre : forme 1051">
              <a:extLst>
                <a:ext uri="{FF2B5EF4-FFF2-40B4-BE49-F238E27FC236}">
                  <a16:creationId xmlns:a16="http://schemas.microsoft.com/office/drawing/2014/main" id="{FCA379A2-63C0-43B0-AA38-EDFC8609AAA3}"/>
                </a:ext>
              </a:extLst>
            </p:cNvPr>
            <p:cNvSpPr/>
            <p:nvPr/>
          </p:nvSpPr>
          <p:spPr>
            <a:xfrm rot="8716295">
              <a:off x="7060547" y="392683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3" name="Forme libre : forme 1052">
              <a:extLst>
                <a:ext uri="{FF2B5EF4-FFF2-40B4-BE49-F238E27FC236}">
                  <a16:creationId xmlns:a16="http://schemas.microsoft.com/office/drawing/2014/main" id="{F8817E64-249C-4E98-998C-64B73B74C552}"/>
                </a:ext>
              </a:extLst>
            </p:cNvPr>
            <p:cNvSpPr/>
            <p:nvPr/>
          </p:nvSpPr>
          <p:spPr>
            <a:xfrm rot="8716295">
              <a:off x="7149939" y="395607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4" name="Forme libre : forme 1053">
              <a:extLst>
                <a:ext uri="{FF2B5EF4-FFF2-40B4-BE49-F238E27FC236}">
                  <a16:creationId xmlns:a16="http://schemas.microsoft.com/office/drawing/2014/main" id="{D2A1BAFB-4B8B-4354-AED5-B2DA7C911BD1}"/>
                </a:ext>
              </a:extLst>
            </p:cNvPr>
            <p:cNvSpPr/>
            <p:nvPr/>
          </p:nvSpPr>
          <p:spPr>
            <a:xfrm rot="8716295">
              <a:off x="6948313" y="401537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5" name="Forme libre : forme 1054">
              <a:extLst>
                <a:ext uri="{FF2B5EF4-FFF2-40B4-BE49-F238E27FC236}">
                  <a16:creationId xmlns:a16="http://schemas.microsoft.com/office/drawing/2014/main" id="{2D83A4CC-A29C-4FE2-BA50-FF0D6749F766}"/>
                </a:ext>
              </a:extLst>
            </p:cNvPr>
            <p:cNvSpPr/>
            <p:nvPr/>
          </p:nvSpPr>
          <p:spPr>
            <a:xfrm rot="8716295">
              <a:off x="6823411" y="380670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6" name="Forme libre : forme 1055">
              <a:extLst>
                <a:ext uri="{FF2B5EF4-FFF2-40B4-BE49-F238E27FC236}">
                  <a16:creationId xmlns:a16="http://schemas.microsoft.com/office/drawing/2014/main" id="{4A00E427-6E5D-4D47-9A38-C57E5463133B}"/>
                </a:ext>
              </a:extLst>
            </p:cNvPr>
            <p:cNvSpPr/>
            <p:nvPr/>
          </p:nvSpPr>
          <p:spPr>
            <a:xfrm rot="8716295">
              <a:off x="7038491" y="4056330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7" name="Forme libre : forme 1056">
              <a:extLst>
                <a:ext uri="{FF2B5EF4-FFF2-40B4-BE49-F238E27FC236}">
                  <a16:creationId xmlns:a16="http://schemas.microsoft.com/office/drawing/2014/main" id="{D1E998CB-4164-4F0A-AE45-D5940B3F5B03}"/>
                </a:ext>
              </a:extLst>
            </p:cNvPr>
            <p:cNvSpPr/>
            <p:nvPr/>
          </p:nvSpPr>
          <p:spPr>
            <a:xfrm rot="8716295">
              <a:off x="6797040" y="3906730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8" name="Forme libre : forme 1057">
              <a:extLst>
                <a:ext uri="{FF2B5EF4-FFF2-40B4-BE49-F238E27FC236}">
                  <a16:creationId xmlns:a16="http://schemas.microsoft.com/office/drawing/2014/main" id="{E95D9A03-19D9-41CF-AE73-1CCF51881A6C}"/>
                </a:ext>
              </a:extLst>
            </p:cNvPr>
            <p:cNvSpPr/>
            <p:nvPr/>
          </p:nvSpPr>
          <p:spPr>
            <a:xfrm rot="7484129">
              <a:off x="7143422" y="424768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9" name="Forme libre : forme 1058">
              <a:extLst>
                <a:ext uri="{FF2B5EF4-FFF2-40B4-BE49-F238E27FC236}">
                  <a16:creationId xmlns:a16="http://schemas.microsoft.com/office/drawing/2014/main" id="{16E31431-A176-4757-BB37-61FDFC58B5A0}"/>
                </a:ext>
              </a:extLst>
            </p:cNvPr>
            <p:cNvSpPr/>
            <p:nvPr/>
          </p:nvSpPr>
          <p:spPr>
            <a:xfrm rot="13089394">
              <a:off x="7248242" y="4214215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0" name="Forme libre : forme 1059">
              <a:extLst>
                <a:ext uri="{FF2B5EF4-FFF2-40B4-BE49-F238E27FC236}">
                  <a16:creationId xmlns:a16="http://schemas.microsoft.com/office/drawing/2014/main" id="{0E403317-EDA0-44E5-B8CC-1127CBB20F33}"/>
                </a:ext>
              </a:extLst>
            </p:cNvPr>
            <p:cNvSpPr/>
            <p:nvPr/>
          </p:nvSpPr>
          <p:spPr>
            <a:xfrm rot="8716295">
              <a:off x="7433827" y="4022534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1" name="Forme libre : forme 1060">
              <a:extLst>
                <a:ext uri="{FF2B5EF4-FFF2-40B4-BE49-F238E27FC236}">
                  <a16:creationId xmlns:a16="http://schemas.microsoft.com/office/drawing/2014/main" id="{AB67AE90-EF3D-41EE-9989-687C2404CA33}"/>
                </a:ext>
              </a:extLst>
            </p:cNvPr>
            <p:cNvSpPr/>
            <p:nvPr/>
          </p:nvSpPr>
          <p:spPr>
            <a:xfrm rot="8716295">
              <a:off x="7382022" y="391894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2" name="Forme libre : forme 1061">
              <a:extLst>
                <a:ext uri="{FF2B5EF4-FFF2-40B4-BE49-F238E27FC236}">
                  <a16:creationId xmlns:a16="http://schemas.microsoft.com/office/drawing/2014/main" id="{30ED97EE-1D2B-4407-8DB5-1B4E940C148E}"/>
                </a:ext>
              </a:extLst>
            </p:cNvPr>
            <p:cNvSpPr/>
            <p:nvPr/>
          </p:nvSpPr>
          <p:spPr>
            <a:xfrm rot="8716295">
              <a:off x="7138776" y="394916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3" name="Forme libre : forme 1062">
              <a:extLst>
                <a:ext uri="{FF2B5EF4-FFF2-40B4-BE49-F238E27FC236}">
                  <a16:creationId xmlns:a16="http://schemas.microsoft.com/office/drawing/2014/main" id="{095663CC-60E0-4062-92DC-F23C00E2E6AD}"/>
                </a:ext>
              </a:extLst>
            </p:cNvPr>
            <p:cNvSpPr/>
            <p:nvPr/>
          </p:nvSpPr>
          <p:spPr>
            <a:xfrm rot="8716295">
              <a:off x="7316228" y="378992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4" name="Forme libre : forme 1063">
              <a:extLst>
                <a:ext uri="{FF2B5EF4-FFF2-40B4-BE49-F238E27FC236}">
                  <a16:creationId xmlns:a16="http://schemas.microsoft.com/office/drawing/2014/main" id="{AE6FCD97-9FAA-4459-B8EC-324DA8C84CF3}"/>
                </a:ext>
              </a:extLst>
            </p:cNvPr>
            <p:cNvSpPr/>
            <p:nvPr/>
          </p:nvSpPr>
          <p:spPr>
            <a:xfrm rot="8716295">
              <a:off x="5923122" y="1654505"/>
              <a:ext cx="139422" cy="104157"/>
            </a:xfrm>
            <a:custGeom>
              <a:avLst/>
              <a:gdLst>
                <a:gd name="connsiteX0" fmla="*/ 0 w 139422"/>
                <a:gd name="connsiteY0" fmla="*/ 50123 h 104157"/>
                <a:gd name="connsiteX1" fmla="*/ 0 w 139422"/>
                <a:gd name="connsiteY1" fmla="*/ 0 h 104157"/>
                <a:gd name="connsiteX2" fmla="*/ 85209 w 139422"/>
                <a:gd name="connsiteY2" fmla="*/ 0 h 104157"/>
                <a:gd name="connsiteX3" fmla="*/ 138458 w 139422"/>
                <a:gd name="connsiteY3" fmla="*/ 27874 h 104157"/>
                <a:gd name="connsiteX4" fmla="*/ 139422 w 139422"/>
                <a:gd name="connsiteY4" fmla="*/ 33655 h 104157"/>
                <a:gd name="connsiteX5" fmla="*/ 81108 w 139422"/>
                <a:gd name="connsiteY5" fmla="*/ 104157 h 104157"/>
                <a:gd name="connsiteX6" fmla="*/ 81109 w 139422"/>
                <a:gd name="connsiteY6" fmla="*/ 69717 h 104157"/>
                <a:gd name="connsiteX7" fmla="*/ 81108 w 139422"/>
                <a:gd name="connsiteY7" fmla="*/ 65615 h 104157"/>
                <a:gd name="connsiteX8" fmla="*/ 60604 w 139422"/>
                <a:gd name="connsiteY8" fmla="*/ 50123 h 104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9422" h="104157">
                  <a:moveTo>
                    <a:pt x="0" y="50123"/>
                  </a:moveTo>
                  <a:lnTo>
                    <a:pt x="0" y="0"/>
                  </a:lnTo>
                  <a:lnTo>
                    <a:pt x="85209" y="0"/>
                  </a:lnTo>
                  <a:cubicBezTo>
                    <a:pt x="112891" y="0"/>
                    <a:pt x="131089" y="8971"/>
                    <a:pt x="138458" y="27874"/>
                  </a:cubicBezTo>
                  <a:lnTo>
                    <a:pt x="139422" y="33655"/>
                  </a:lnTo>
                  <a:lnTo>
                    <a:pt x="81108" y="104157"/>
                  </a:lnTo>
                  <a:lnTo>
                    <a:pt x="81109" y="69717"/>
                  </a:lnTo>
                  <a:cubicBezTo>
                    <a:pt x="81108" y="68349"/>
                    <a:pt x="81108" y="66983"/>
                    <a:pt x="81108" y="65615"/>
                  </a:cubicBezTo>
                  <a:cubicBezTo>
                    <a:pt x="79741" y="55591"/>
                    <a:pt x="70628" y="48756"/>
                    <a:pt x="60604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5" name="Forme libre : forme 1064">
              <a:extLst>
                <a:ext uri="{FF2B5EF4-FFF2-40B4-BE49-F238E27FC236}">
                  <a16:creationId xmlns:a16="http://schemas.microsoft.com/office/drawing/2014/main" id="{3E102D85-2676-42AD-ABAD-44897C15C1BF}"/>
                </a:ext>
              </a:extLst>
            </p:cNvPr>
            <p:cNvSpPr/>
            <p:nvPr/>
          </p:nvSpPr>
          <p:spPr>
            <a:xfrm rot="8716295">
              <a:off x="5974318" y="15674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6" name="Forme libre : forme 1065">
              <a:extLst>
                <a:ext uri="{FF2B5EF4-FFF2-40B4-BE49-F238E27FC236}">
                  <a16:creationId xmlns:a16="http://schemas.microsoft.com/office/drawing/2014/main" id="{D500F2F4-E9E6-4CF6-AFD9-43967F4858E6}"/>
                </a:ext>
              </a:extLst>
            </p:cNvPr>
            <p:cNvSpPr/>
            <p:nvPr/>
          </p:nvSpPr>
          <p:spPr>
            <a:xfrm rot="8716295">
              <a:off x="5925344" y="1481103"/>
              <a:ext cx="190923" cy="138066"/>
            </a:xfrm>
            <a:custGeom>
              <a:avLst/>
              <a:gdLst>
                <a:gd name="connsiteX0" fmla="*/ 5923 w 190923"/>
                <a:gd name="connsiteY0" fmla="*/ 138066 h 138066"/>
                <a:gd name="connsiteX1" fmla="*/ 0 w 190923"/>
                <a:gd name="connsiteY1" fmla="*/ 129864 h 138066"/>
                <a:gd name="connsiteX2" fmla="*/ 107993 w 190923"/>
                <a:gd name="connsiteY2" fmla="*/ 28251 h 138066"/>
                <a:gd name="connsiteX3" fmla="*/ 162672 w 190923"/>
                <a:gd name="connsiteY3" fmla="*/ 0 h 138066"/>
                <a:gd name="connsiteX4" fmla="*/ 190923 w 190923"/>
                <a:gd name="connsiteY4" fmla="*/ 33719 h 138066"/>
                <a:gd name="connsiteX5" fmla="*/ 184633 w 190923"/>
                <a:gd name="connsiteY5" fmla="*/ 49986 h 138066"/>
                <a:gd name="connsiteX6" fmla="*/ 176335 w 190923"/>
                <a:gd name="connsiteY6" fmla="*/ 60018 h 138066"/>
                <a:gd name="connsiteX7" fmla="*/ 164495 w 190923"/>
                <a:gd name="connsiteY7" fmla="*/ 69261 h 138066"/>
                <a:gd name="connsiteX8" fmla="*/ 164950 w 190923"/>
                <a:gd name="connsiteY8" fmla="*/ 69261 h 138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0923" h="138066">
                  <a:moveTo>
                    <a:pt x="5923" y="138066"/>
                  </a:moveTo>
                  <a:lnTo>
                    <a:pt x="0" y="129864"/>
                  </a:lnTo>
                  <a:lnTo>
                    <a:pt x="107993" y="28251"/>
                  </a:lnTo>
                  <a:cubicBezTo>
                    <a:pt x="121663" y="12303"/>
                    <a:pt x="141256" y="2279"/>
                    <a:pt x="162672" y="0"/>
                  </a:cubicBezTo>
                  <a:cubicBezTo>
                    <a:pt x="184544" y="0"/>
                    <a:pt x="190923" y="19138"/>
                    <a:pt x="190923" y="33719"/>
                  </a:cubicBezTo>
                  <a:lnTo>
                    <a:pt x="184633" y="49986"/>
                  </a:lnTo>
                  <a:lnTo>
                    <a:pt x="176335" y="60018"/>
                  </a:lnTo>
                  <a:lnTo>
                    <a:pt x="164495" y="69261"/>
                  </a:lnTo>
                  <a:lnTo>
                    <a:pt x="164950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7" name="Forme libre : forme 1066">
              <a:extLst>
                <a:ext uri="{FF2B5EF4-FFF2-40B4-BE49-F238E27FC236}">
                  <a16:creationId xmlns:a16="http://schemas.microsoft.com/office/drawing/2014/main" id="{0F62DC4A-077A-45F5-B182-21AD9369750E}"/>
                </a:ext>
              </a:extLst>
            </p:cNvPr>
            <p:cNvSpPr/>
            <p:nvPr/>
          </p:nvSpPr>
          <p:spPr>
            <a:xfrm rot="8716295">
              <a:off x="5906444" y="1804761"/>
              <a:ext cx="99498" cy="67958"/>
            </a:xfrm>
            <a:custGeom>
              <a:avLst/>
              <a:gdLst>
                <a:gd name="connsiteX0" fmla="*/ 43288 w 99498"/>
                <a:gd name="connsiteY0" fmla="*/ 67958 h 67958"/>
                <a:gd name="connsiteX1" fmla="*/ 43288 w 99498"/>
                <a:gd name="connsiteY1" fmla="*/ 16317 h 67958"/>
                <a:gd name="connsiteX2" fmla="*/ 0 w 99498"/>
                <a:gd name="connsiteY2" fmla="*/ 16317 h 67958"/>
                <a:gd name="connsiteX3" fmla="*/ 0 w 99498"/>
                <a:gd name="connsiteY3" fmla="*/ 2192 h 67958"/>
                <a:gd name="connsiteX4" fmla="*/ 99498 w 99498"/>
                <a:gd name="connsiteY4" fmla="*/ 0 h 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98" h="67958">
                  <a:moveTo>
                    <a:pt x="43288" y="67958"/>
                  </a:moveTo>
                  <a:lnTo>
                    <a:pt x="43288" y="16317"/>
                  </a:lnTo>
                  <a:lnTo>
                    <a:pt x="0" y="16317"/>
                  </a:lnTo>
                  <a:lnTo>
                    <a:pt x="0" y="2192"/>
                  </a:lnTo>
                  <a:lnTo>
                    <a:pt x="9949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8" name="Forme libre : forme 1067">
              <a:extLst>
                <a:ext uri="{FF2B5EF4-FFF2-40B4-BE49-F238E27FC236}">
                  <a16:creationId xmlns:a16="http://schemas.microsoft.com/office/drawing/2014/main" id="{559D0A60-2AFB-4EF8-A10C-4FEC23F97476}"/>
                </a:ext>
              </a:extLst>
            </p:cNvPr>
            <p:cNvSpPr/>
            <p:nvPr/>
          </p:nvSpPr>
          <p:spPr>
            <a:xfrm rot="8716295">
              <a:off x="6174025" y="128806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9" name="Forme libre : forme 1068">
              <a:extLst>
                <a:ext uri="{FF2B5EF4-FFF2-40B4-BE49-F238E27FC236}">
                  <a16:creationId xmlns:a16="http://schemas.microsoft.com/office/drawing/2014/main" id="{73861CC2-64F0-42DB-A7B3-CC13005B7BBD}"/>
                </a:ext>
              </a:extLst>
            </p:cNvPr>
            <p:cNvSpPr/>
            <p:nvPr/>
          </p:nvSpPr>
          <p:spPr>
            <a:xfrm rot="8716295">
              <a:off x="6263417" y="131730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0" name="Forme libre : forme 1069">
              <a:extLst>
                <a:ext uri="{FF2B5EF4-FFF2-40B4-BE49-F238E27FC236}">
                  <a16:creationId xmlns:a16="http://schemas.microsoft.com/office/drawing/2014/main" id="{0D1A1D48-D74E-427F-A329-7E9BE8568EC4}"/>
                </a:ext>
              </a:extLst>
            </p:cNvPr>
            <p:cNvSpPr/>
            <p:nvPr/>
          </p:nvSpPr>
          <p:spPr>
            <a:xfrm rot="8716295">
              <a:off x="6061791" y="137661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1" name="Forme libre : forme 1070">
              <a:extLst>
                <a:ext uri="{FF2B5EF4-FFF2-40B4-BE49-F238E27FC236}">
                  <a16:creationId xmlns:a16="http://schemas.microsoft.com/office/drawing/2014/main" id="{DD8B604F-D83A-432D-A7CC-91D01710CD5A}"/>
                </a:ext>
              </a:extLst>
            </p:cNvPr>
            <p:cNvSpPr/>
            <p:nvPr/>
          </p:nvSpPr>
          <p:spPr>
            <a:xfrm rot="8716295">
              <a:off x="5934512" y="1174677"/>
              <a:ext cx="203847" cy="188381"/>
            </a:xfrm>
            <a:custGeom>
              <a:avLst/>
              <a:gdLst>
                <a:gd name="connsiteX0" fmla="*/ 86683 w 203847"/>
                <a:gd name="connsiteY0" fmla="*/ 188381 h 188381"/>
                <a:gd name="connsiteX1" fmla="*/ 47847 w 203847"/>
                <a:gd name="connsiteY1" fmla="*/ 116128 h 188381"/>
                <a:gd name="connsiteX2" fmla="*/ 69777 w 203847"/>
                <a:gd name="connsiteY2" fmla="*/ 55323 h 188381"/>
                <a:gd name="connsiteX3" fmla="*/ 0 w 203847"/>
                <a:gd name="connsiteY3" fmla="*/ 55323 h 188381"/>
                <a:gd name="connsiteX4" fmla="*/ 0 w 203847"/>
                <a:gd name="connsiteY4" fmla="*/ 0 h 188381"/>
                <a:gd name="connsiteX5" fmla="*/ 203847 w 203847"/>
                <a:gd name="connsiteY5" fmla="*/ 0 h 188381"/>
                <a:gd name="connsiteX6" fmla="*/ 203847 w 203847"/>
                <a:gd name="connsiteY6" fmla="*/ 46726 h 188381"/>
                <a:gd name="connsiteX7" fmla="*/ 196736 w 203847"/>
                <a:gd name="connsiteY7" fmla="*/ 55323 h 188381"/>
                <a:gd name="connsiteX8" fmla="*/ 139055 w 203847"/>
                <a:gd name="connsiteY8" fmla="*/ 55323 h 188381"/>
                <a:gd name="connsiteX9" fmla="*/ 97989 w 203847"/>
                <a:gd name="connsiteY9" fmla="*/ 174711 h 188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847" h="188381">
                  <a:moveTo>
                    <a:pt x="86683" y="188381"/>
                  </a:moveTo>
                  <a:lnTo>
                    <a:pt x="47847" y="116128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46726"/>
                  </a:lnTo>
                  <a:lnTo>
                    <a:pt x="196736" y="55323"/>
                  </a:lnTo>
                  <a:lnTo>
                    <a:pt x="139055" y="55323"/>
                  </a:lnTo>
                  <a:lnTo>
                    <a:pt x="97989" y="1747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2" name="Forme libre : forme 1071">
              <a:extLst>
                <a:ext uri="{FF2B5EF4-FFF2-40B4-BE49-F238E27FC236}">
                  <a16:creationId xmlns:a16="http://schemas.microsoft.com/office/drawing/2014/main" id="{B563983C-B171-4A7B-83F3-23BB992AF6EF}"/>
                </a:ext>
              </a:extLst>
            </p:cNvPr>
            <p:cNvSpPr/>
            <p:nvPr/>
          </p:nvSpPr>
          <p:spPr>
            <a:xfrm rot="8716295">
              <a:off x="6151969" y="141756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3" name="Forme libre : forme 1072">
              <a:extLst>
                <a:ext uri="{FF2B5EF4-FFF2-40B4-BE49-F238E27FC236}">
                  <a16:creationId xmlns:a16="http://schemas.microsoft.com/office/drawing/2014/main" id="{831AE182-FAC7-488F-900A-43002A409545}"/>
                </a:ext>
              </a:extLst>
            </p:cNvPr>
            <p:cNvSpPr/>
            <p:nvPr/>
          </p:nvSpPr>
          <p:spPr>
            <a:xfrm rot="7484129">
              <a:off x="6256900" y="160891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4" name="Forme libre : forme 1073">
              <a:extLst>
                <a:ext uri="{FF2B5EF4-FFF2-40B4-BE49-F238E27FC236}">
                  <a16:creationId xmlns:a16="http://schemas.microsoft.com/office/drawing/2014/main" id="{F6941A0F-F413-40E0-B377-19E50B2069BC}"/>
                </a:ext>
              </a:extLst>
            </p:cNvPr>
            <p:cNvSpPr/>
            <p:nvPr/>
          </p:nvSpPr>
          <p:spPr>
            <a:xfrm rot="13089394">
              <a:off x="6361720" y="1575447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5" name="Forme libre : forme 1074">
              <a:extLst>
                <a:ext uri="{FF2B5EF4-FFF2-40B4-BE49-F238E27FC236}">
                  <a16:creationId xmlns:a16="http://schemas.microsoft.com/office/drawing/2014/main" id="{72C44DD1-DEBE-446A-8992-2DDCAF098F91}"/>
                </a:ext>
              </a:extLst>
            </p:cNvPr>
            <p:cNvSpPr/>
            <p:nvPr/>
          </p:nvSpPr>
          <p:spPr>
            <a:xfrm rot="8716295">
              <a:off x="6547305" y="1383766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6" name="Forme libre : forme 1075">
              <a:extLst>
                <a:ext uri="{FF2B5EF4-FFF2-40B4-BE49-F238E27FC236}">
                  <a16:creationId xmlns:a16="http://schemas.microsoft.com/office/drawing/2014/main" id="{2C8F4F40-3004-4B87-BA24-3390EA6EECD4}"/>
                </a:ext>
              </a:extLst>
            </p:cNvPr>
            <p:cNvSpPr/>
            <p:nvPr/>
          </p:nvSpPr>
          <p:spPr>
            <a:xfrm rot="8716295">
              <a:off x="6495500" y="128017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7" name="Forme libre : forme 1076">
              <a:extLst>
                <a:ext uri="{FF2B5EF4-FFF2-40B4-BE49-F238E27FC236}">
                  <a16:creationId xmlns:a16="http://schemas.microsoft.com/office/drawing/2014/main" id="{719509D2-B221-462F-99BE-1A0215C63C3E}"/>
                </a:ext>
              </a:extLst>
            </p:cNvPr>
            <p:cNvSpPr/>
            <p:nvPr/>
          </p:nvSpPr>
          <p:spPr>
            <a:xfrm rot="8716295">
              <a:off x="6252254" y="131039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8" name="Forme libre : forme 1077">
              <a:extLst>
                <a:ext uri="{FF2B5EF4-FFF2-40B4-BE49-F238E27FC236}">
                  <a16:creationId xmlns:a16="http://schemas.microsoft.com/office/drawing/2014/main" id="{75A12CA5-EDD6-41EF-886B-F85DCFC06CE9}"/>
                </a:ext>
              </a:extLst>
            </p:cNvPr>
            <p:cNvSpPr/>
            <p:nvPr/>
          </p:nvSpPr>
          <p:spPr>
            <a:xfrm rot="8716295">
              <a:off x="6429706" y="115115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9" name="Forme libre : forme 1078">
              <a:extLst>
                <a:ext uri="{FF2B5EF4-FFF2-40B4-BE49-F238E27FC236}">
                  <a16:creationId xmlns:a16="http://schemas.microsoft.com/office/drawing/2014/main" id="{AEA4E9A6-FD47-4377-8599-06FE127731A3}"/>
                </a:ext>
              </a:extLst>
            </p:cNvPr>
            <p:cNvSpPr/>
            <p:nvPr/>
          </p:nvSpPr>
          <p:spPr>
            <a:xfrm rot="8716295">
              <a:off x="5983723" y="1040028"/>
              <a:ext cx="68069" cy="44199"/>
            </a:xfrm>
            <a:custGeom>
              <a:avLst/>
              <a:gdLst>
                <a:gd name="connsiteX0" fmla="*/ 0 w 68069"/>
                <a:gd name="connsiteY0" fmla="*/ 44199 h 44199"/>
                <a:gd name="connsiteX1" fmla="*/ 0 w 68069"/>
                <a:gd name="connsiteY1" fmla="*/ 0 h 44199"/>
                <a:gd name="connsiteX2" fmla="*/ 68069 w 68069"/>
                <a:gd name="connsiteY2" fmla="*/ 0 h 44199"/>
                <a:gd name="connsiteX3" fmla="*/ 31511 w 68069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069" h="44199">
                  <a:moveTo>
                    <a:pt x="0" y="44199"/>
                  </a:moveTo>
                  <a:lnTo>
                    <a:pt x="0" y="0"/>
                  </a:lnTo>
                  <a:lnTo>
                    <a:pt x="68069" y="0"/>
                  </a:lnTo>
                  <a:lnTo>
                    <a:pt x="31511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0" name="Forme libre : forme 1079">
              <a:extLst>
                <a:ext uri="{FF2B5EF4-FFF2-40B4-BE49-F238E27FC236}">
                  <a16:creationId xmlns:a16="http://schemas.microsoft.com/office/drawing/2014/main" id="{E1F987B1-1B94-478B-A58C-711372161096}"/>
                </a:ext>
              </a:extLst>
            </p:cNvPr>
            <p:cNvSpPr/>
            <p:nvPr/>
          </p:nvSpPr>
          <p:spPr>
            <a:xfrm rot="8716295">
              <a:off x="5998891" y="759603"/>
              <a:ext cx="134260" cy="86132"/>
            </a:xfrm>
            <a:custGeom>
              <a:avLst/>
              <a:gdLst>
                <a:gd name="connsiteX0" fmla="*/ 0 w 134260"/>
                <a:gd name="connsiteY0" fmla="*/ 50123 h 86132"/>
                <a:gd name="connsiteX1" fmla="*/ 0 w 134260"/>
                <a:gd name="connsiteY1" fmla="*/ 0 h 86132"/>
                <a:gd name="connsiteX2" fmla="*/ 85209 w 134260"/>
                <a:gd name="connsiteY2" fmla="*/ 0 h 86132"/>
                <a:gd name="connsiteX3" fmla="*/ 127529 w 134260"/>
                <a:gd name="connsiteY3" fmla="*/ 12246 h 86132"/>
                <a:gd name="connsiteX4" fmla="*/ 134260 w 134260"/>
                <a:gd name="connsiteY4" fmla="*/ 21871 h 86132"/>
                <a:gd name="connsiteX5" fmla="*/ 81108 w 134260"/>
                <a:gd name="connsiteY5" fmla="*/ 86132 h 86132"/>
                <a:gd name="connsiteX6" fmla="*/ 81108 w 134260"/>
                <a:gd name="connsiteY6" fmla="*/ 69717 h 86132"/>
                <a:gd name="connsiteX7" fmla="*/ 81108 w 134260"/>
                <a:gd name="connsiteY7" fmla="*/ 65615 h 86132"/>
                <a:gd name="connsiteX8" fmla="*/ 60604 w 134260"/>
                <a:gd name="connsiteY8" fmla="*/ 50123 h 86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4260" h="86132">
                  <a:moveTo>
                    <a:pt x="0" y="50123"/>
                  </a:moveTo>
                  <a:lnTo>
                    <a:pt x="0" y="0"/>
                  </a:lnTo>
                  <a:lnTo>
                    <a:pt x="85209" y="0"/>
                  </a:lnTo>
                  <a:cubicBezTo>
                    <a:pt x="103664" y="0"/>
                    <a:pt x="117903" y="3987"/>
                    <a:pt x="127529" y="12246"/>
                  </a:cubicBezTo>
                  <a:lnTo>
                    <a:pt x="134260" y="21871"/>
                  </a:lnTo>
                  <a:lnTo>
                    <a:pt x="81108" y="86132"/>
                  </a:lnTo>
                  <a:lnTo>
                    <a:pt x="81108" y="69717"/>
                  </a:lnTo>
                  <a:cubicBezTo>
                    <a:pt x="81108" y="68349"/>
                    <a:pt x="81108" y="66983"/>
                    <a:pt x="81108" y="65615"/>
                  </a:cubicBezTo>
                  <a:cubicBezTo>
                    <a:pt x="79741" y="55591"/>
                    <a:pt x="70628" y="48756"/>
                    <a:pt x="60604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1" name="Forme libre : forme 1080">
              <a:extLst>
                <a:ext uri="{FF2B5EF4-FFF2-40B4-BE49-F238E27FC236}">
                  <a16:creationId xmlns:a16="http://schemas.microsoft.com/office/drawing/2014/main" id="{D8733639-E083-48C4-B7AC-143FF95DA4EA}"/>
                </a:ext>
              </a:extLst>
            </p:cNvPr>
            <p:cNvSpPr/>
            <p:nvPr/>
          </p:nvSpPr>
          <p:spPr>
            <a:xfrm rot="8716295">
              <a:off x="6040250" y="65760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2" name="Forme libre : forme 1081">
              <a:extLst>
                <a:ext uri="{FF2B5EF4-FFF2-40B4-BE49-F238E27FC236}">
                  <a16:creationId xmlns:a16="http://schemas.microsoft.com/office/drawing/2014/main" id="{4C5AD67D-6BC4-40A6-B419-E1C6D391B5D2}"/>
                </a:ext>
              </a:extLst>
            </p:cNvPr>
            <p:cNvSpPr/>
            <p:nvPr/>
          </p:nvSpPr>
          <p:spPr>
            <a:xfrm rot="8716295">
              <a:off x="5991248" y="907034"/>
              <a:ext cx="84313" cy="49600"/>
            </a:xfrm>
            <a:custGeom>
              <a:avLst/>
              <a:gdLst>
                <a:gd name="connsiteX0" fmla="*/ 43288 w 84313"/>
                <a:gd name="connsiteY0" fmla="*/ 49600 h 49600"/>
                <a:gd name="connsiteX1" fmla="*/ 43288 w 84313"/>
                <a:gd name="connsiteY1" fmla="*/ 15983 h 49600"/>
                <a:gd name="connsiteX2" fmla="*/ 0 w 84313"/>
                <a:gd name="connsiteY2" fmla="*/ 15983 h 49600"/>
                <a:gd name="connsiteX3" fmla="*/ 0 w 84313"/>
                <a:gd name="connsiteY3" fmla="*/ 1857 h 49600"/>
                <a:gd name="connsiteX4" fmla="*/ 84313 w 84313"/>
                <a:gd name="connsiteY4" fmla="*/ 0 h 49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313" h="49600">
                  <a:moveTo>
                    <a:pt x="43288" y="49600"/>
                  </a:moveTo>
                  <a:lnTo>
                    <a:pt x="43288" y="15983"/>
                  </a:lnTo>
                  <a:lnTo>
                    <a:pt x="0" y="15983"/>
                  </a:lnTo>
                  <a:lnTo>
                    <a:pt x="0" y="1857"/>
                  </a:lnTo>
                  <a:lnTo>
                    <a:pt x="84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3" name="Forme libre : forme 1082">
              <a:extLst>
                <a:ext uri="{FF2B5EF4-FFF2-40B4-BE49-F238E27FC236}">
                  <a16:creationId xmlns:a16="http://schemas.microsoft.com/office/drawing/2014/main" id="{E0507806-EEA4-49D9-A332-F46B9C7122A0}"/>
                </a:ext>
              </a:extLst>
            </p:cNvPr>
            <p:cNvSpPr/>
            <p:nvPr/>
          </p:nvSpPr>
          <p:spPr>
            <a:xfrm rot="7484129">
              <a:off x="6033733" y="94921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4" name="Forme libre : forme 1083">
              <a:extLst>
                <a:ext uri="{FF2B5EF4-FFF2-40B4-BE49-F238E27FC236}">
                  <a16:creationId xmlns:a16="http://schemas.microsoft.com/office/drawing/2014/main" id="{AE139150-F899-47C8-9080-822320C87149}"/>
                </a:ext>
              </a:extLst>
            </p:cNvPr>
            <p:cNvSpPr/>
            <p:nvPr/>
          </p:nvSpPr>
          <p:spPr>
            <a:xfrm rot="13089394">
              <a:off x="6138553" y="915748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5" name="Forme libre : forme 1084">
              <a:extLst>
                <a:ext uri="{FF2B5EF4-FFF2-40B4-BE49-F238E27FC236}">
                  <a16:creationId xmlns:a16="http://schemas.microsoft.com/office/drawing/2014/main" id="{912D0E73-F8A3-4A4B-A726-36495324DCAB}"/>
                </a:ext>
              </a:extLst>
            </p:cNvPr>
            <p:cNvSpPr/>
            <p:nvPr/>
          </p:nvSpPr>
          <p:spPr>
            <a:xfrm rot="8716295">
              <a:off x="6324138" y="724067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6" name="Forme libre : forme 1085">
              <a:extLst>
                <a:ext uri="{FF2B5EF4-FFF2-40B4-BE49-F238E27FC236}">
                  <a16:creationId xmlns:a16="http://schemas.microsoft.com/office/drawing/2014/main" id="{2B4B35EE-0BB5-49CB-8C5B-42A88BD793D8}"/>
                </a:ext>
              </a:extLst>
            </p:cNvPr>
            <p:cNvSpPr/>
            <p:nvPr/>
          </p:nvSpPr>
          <p:spPr>
            <a:xfrm rot="8716295">
              <a:off x="6272333" y="62047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7" name="Forme libre : forme 1086">
              <a:extLst>
                <a:ext uri="{FF2B5EF4-FFF2-40B4-BE49-F238E27FC236}">
                  <a16:creationId xmlns:a16="http://schemas.microsoft.com/office/drawing/2014/main" id="{DD0061FC-B163-4DBC-B8D9-4C423CB17A9E}"/>
                </a:ext>
              </a:extLst>
            </p:cNvPr>
            <p:cNvSpPr/>
            <p:nvPr/>
          </p:nvSpPr>
          <p:spPr>
            <a:xfrm rot="8716295">
              <a:off x="6027863" y="648628"/>
              <a:ext cx="55259" cy="57130"/>
            </a:xfrm>
            <a:custGeom>
              <a:avLst/>
              <a:gdLst>
                <a:gd name="connsiteX0" fmla="*/ 8658 w 55259"/>
                <a:gd name="connsiteY0" fmla="*/ 50123 h 57130"/>
                <a:gd name="connsiteX1" fmla="*/ 0 w 55259"/>
                <a:gd name="connsiteY1" fmla="*/ 29619 h 57130"/>
                <a:gd name="connsiteX2" fmla="*/ 0 w 55259"/>
                <a:gd name="connsiteY2" fmla="*/ 29163 h 57130"/>
                <a:gd name="connsiteX3" fmla="*/ 8658 w 55259"/>
                <a:gd name="connsiteY3" fmla="*/ 8658 h 57130"/>
                <a:gd name="connsiteX4" fmla="*/ 29163 w 55259"/>
                <a:gd name="connsiteY4" fmla="*/ 0 h 57130"/>
                <a:gd name="connsiteX5" fmla="*/ 49668 w 55259"/>
                <a:gd name="connsiteY5" fmla="*/ 8658 h 57130"/>
                <a:gd name="connsiteX6" fmla="*/ 55259 w 55259"/>
                <a:gd name="connsiteY6" fmla="*/ 21964 h 57130"/>
                <a:gd name="connsiteX7" fmla="*/ 26173 w 55259"/>
                <a:gd name="connsiteY7" fmla="*/ 57130 h 57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5259" h="57130">
                  <a:moveTo>
                    <a:pt x="8658" y="50123"/>
                  </a:moveTo>
                  <a:cubicBezTo>
                    <a:pt x="3190" y="44655"/>
                    <a:pt x="0" y="37364"/>
                    <a:pt x="0" y="29619"/>
                  </a:cubicBezTo>
                  <a:lnTo>
                    <a:pt x="0" y="29163"/>
                  </a:lnTo>
                  <a:cubicBezTo>
                    <a:pt x="0" y="21417"/>
                    <a:pt x="3190" y="14126"/>
                    <a:pt x="8658" y="8658"/>
                  </a:cubicBezTo>
                  <a:cubicBezTo>
                    <a:pt x="14126" y="3190"/>
                    <a:pt x="21417" y="0"/>
                    <a:pt x="29163" y="0"/>
                  </a:cubicBezTo>
                  <a:cubicBezTo>
                    <a:pt x="36909" y="0"/>
                    <a:pt x="44200" y="3190"/>
                    <a:pt x="49668" y="8658"/>
                  </a:cubicBezTo>
                  <a:lnTo>
                    <a:pt x="55259" y="21964"/>
                  </a:lnTo>
                  <a:lnTo>
                    <a:pt x="26173" y="5713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8" name="Forme libre : forme 1087">
              <a:extLst>
                <a:ext uri="{FF2B5EF4-FFF2-40B4-BE49-F238E27FC236}">
                  <a16:creationId xmlns:a16="http://schemas.microsoft.com/office/drawing/2014/main" id="{4D8AC7F8-F18B-4BC7-A549-62EC42E18C0E}"/>
                </a:ext>
              </a:extLst>
            </p:cNvPr>
            <p:cNvSpPr/>
            <p:nvPr/>
          </p:nvSpPr>
          <p:spPr>
            <a:xfrm rot="8716295">
              <a:off x="6206539" y="49145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9" name="Forme libre : forme 1088">
              <a:extLst>
                <a:ext uri="{FF2B5EF4-FFF2-40B4-BE49-F238E27FC236}">
                  <a16:creationId xmlns:a16="http://schemas.microsoft.com/office/drawing/2014/main" id="{AB9FAD6E-CA1F-425C-B0AC-99CCAEDDC6ED}"/>
                </a:ext>
              </a:extLst>
            </p:cNvPr>
            <p:cNvSpPr/>
            <p:nvPr/>
          </p:nvSpPr>
          <p:spPr>
            <a:xfrm rot="8716295">
              <a:off x="5990259" y="-43220"/>
              <a:ext cx="78210" cy="235131"/>
            </a:xfrm>
            <a:custGeom>
              <a:avLst/>
              <a:gdLst>
                <a:gd name="connsiteX0" fmla="*/ 0 w 78210"/>
                <a:gd name="connsiteY0" fmla="*/ 44199 h 235131"/>
                <a:gd name="connsiteX1" fmla="*/ 0 w 78210"/>
                <a:gd name="connsiteY1" fmla="*/ 0 h 235131"/>
                <a:gd name="connsiteX2" fmla="*/ 58367 w 78210"/>
                <a:gd name="connsiteY2" fmla="*/ 0 h 235131"/>
                <a:gd name="connsiteX3" fmla="*/ 21809 w 78210"/>
                <a:gd name="connsiteY3" fmla="*/ 44199 h 235131"/>
                <a:gd name="connsiteX4" fmla="*/ 78210 w 78210"/>
                <a:gd name="connsiteY4" fmla="*/ 235131 h 235131"/>
                <a:gd name="connsiteX5" fmla="*/ 64850 w 78210"/>
                <a:gd name="connsiteY5" fmla="*/ 225870 h 235131"/>
                <a:gd name="connsiteX6" fmla="*/ 78210 w 78210"/>
                <a:gd name="connsiteY6" fmla="*/ 235131 h 235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210" h="235131">
                  <a:moveTo>
                    <a:pt x="0" y="44199"/>
                  </a:moveTo>
                  <a:lnTo>
                    <a:pt x="0" y="0"/>
                  </a:lnTo>
                  <a:lnTo>
                    <a:pt x="58367" y="0"/>
                  </a:lnTo>
                  <a:lnTo>
                    <a:pt x="21809" y="44199"/>
                  </a:lnTo>
                  <a:close/>
                  <a:moveTo>
                    <a:pt x="78210" y="235131"/>
                  </a:moveTo>
                  <a:lnTo>
                    <a:pt x="64850" y="225870"/>
                  </a:lnTo>
                  <a:lnTo>
                    <a:pt x="78210" y="2351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0" name="Forme libre : forme 1089">
              <a:extLst>
                <a:ext uri="{FF2B5EF4-FFF2-40B4-BE49-F238E27FC236}">
                  <a16:creationId xmlns:a16="http://schemas.microsoft.com/office/drawing/2014/main" id="{76D9A3BA-A429-46B9-9CE6-D737A95DD8B3}"/>
                </a:ext>
              </a:extLst>
            </p:cNvPr>
            <p:cNvSpPr/>
            <p:nvPr/>
          </p:nvSpPr>
          <p:spPr>
            <a:xfrm rot="13089394">
              <a:off x="5976283" y="269816"/>
              <a:ext cx="215080" cy="308935"/>
            </a:xfrm>
            <a:custGeom>
              <a:avLst/>
              <a:gdLst>
                <a:gd name="connsiteX0" fmla="*/ 215080 w 215080"/>
                <a:gd name="connsiteY0" fmla="*/ 274772 h 308935"/>
                <a:gd name="connsiteX1" fmla="*/ 177331 w 215080"/>
                <a:gd name="connsiteY1" fmla="*/ 291252 h 308935"/>
                <a:gd name="connsiteX2" fmla="*/ 91597 w 215080"/>
                <a:gd name="connsiteY2" fmla="*/ 308772 h 308935"/>
                <a:gd name="connsiteX3" fmla="*/ 23726 w 215080"/>
                <a:gd name="connsiteY3" fmla="*/ 281182 h 308935"/>
                <a:gd name="connsiteX4" fmla="*/ 0 w 215080"/>
                <a:gd name="connsiteY4" fmla="*/ 186274 h 308935"/>
                <a:gd name="connsiteX5" fmla="*/ 0 w 215080"/>
                <a:gd name="connsiteY5" fmla="*/ 17979 h 308935"/>
                <a:gd name="connsiteX6" fmla="*/ 34655 w 215080"/>
                <a:gd name="connsiteY6" fmla="*/ 0 h 308935"/>
                <a:gd name="connsiteX7" fmla="*/ 73961 w 215080"/>
                <a:gd name="connsiteY7" fmla="*/ 59860 h 308935"/>
                <a:gd name="connsiteX8" fmla="*/ 74492 w 215080"/>
                <a:gd name="connsiteY8" fmla="*/ 133855 h 308935"/>
                <a:gd name="connsiteX9" fmla="*/ 87734 w 215080"/>
                <a:gd name="connsiteY9" fmla="*/ 225452 h 308935"/>
                <a:gd name="connsiteX10" fmla="*/ 153949 w 215080"/>
                <a:gd name="connsiteY10" fmla="*/ 261870 h 308935"/>
                <a:gd name="connsiteX11" fmla="*/ 201103 w 215080"/>
                <a:gd name="connsiteY11" fmla="*/ 253487 h 308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5080" h="308935">
                  <a:moveTo>
                    <a:pt x="215080" y="274772"/>
                  </a:moveTo>
                  <a:lnTo>
                    <a:pt x="177331" y="291252"/>
                  </a:lnTo>
                  <a:cubicBezTo>
                    <a:pt x="145121" y="302288"/>
                    <a:pt x="114496" y="307392"/>
                    <a:pt x="91597" y="308772"/>
                  </a:cubicBezTo>
                  <a:cubicBezTo>
                    <a:pt x="66215" y="310427"/>
                    <a:pt x="41384" y="299392"/>
                    <a:pt x="23726" y="281182"/>
                  </a:cubicBezTo>
                  <a:cubicBezTo>
                    <a:pt x="4966" y="262973"/>
                    <a:pt x="0" y="231521"/>
                    <a:pt x="0" y="186274"/>
                  </a:cubicBezTo>
                  <a:lnTo>
                    <a:pt x="0" y="17979"/>
                  </a:lnTo>
                  <a:lnTo>
                    <a:pt x="34655" y="0"/>
                  </a:lnTo>
                  <a:lnTo>
                    <a:pt x="73961" y="59860"/>
                  </a:lnTo>
                  <a:lnTo>
                    <a:pt x="74492" y="133855"/>
                  </a:lnTo>
                  <a:cubicBezTo>
                    <a:pt x="72836" y="164755"/>
                    <a:pt x="77802" y="196207"/>
                    <a:pt x="87734" y="225452"/>
                  </a:cubicBezTo>
                  <a:cubicBezTo>
                    <a:pt x="96564" y="249730"/>
                    <a:pt x="119186" y="261870"/>
                    <a:pt x="153949" y="261870"/>
                  </a:cubicBezTo>
                  <a:lnTo>
                    <a:pt x="201103" y="25348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1" name="Forme libre : forme 1090">
              <a:extLst>
                <a:ext uri="{FF2B5EF4-FFF2-40B4-BE49-F238E27FC236}">
                  <a16:creationId xmlns:a16="http://schemas.microsoft.com/office/drawing/2014/main" id="{4E622CC6-C496-4DCE-9057-BDF9539B95A4}"/>
                </a:ext>
              </a:extLst>
            </p:cNvPr>
            <p:cNvSpPr/>
            <p:nvPr/>
          </p:nvSpPr>
          <p:spPr>
            <a:xfrm rot="8716295">
              <a:off x="6105199" y="6200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2" name="Forme libre : forme 1091">
              <a:extLst>
                <a:ext uri="{FF2B5EF4-FFF2-40B4-BE49-F238E27FC236}">
                  <a16:creationId xmlns:a16="http://schemas.microsoft.com/office/drawing/2014/main" id="{7603AAA1-071D-439F-A511-02E260209FED}"/>
                </a:ext>
              </a:extLst>
            </p:cNvPr>
            <p:cNvSpPr/>
            <p:nvPr/>
          </p:nvSpPr>
          <p:spPr>
            <a:xfrm rot="8716295">
              <a:off x="6072242" y="-8046"/>
              <a:ext cx="93729" cy="73541"/>
            </a:xfrm>
            <a:custGeom>
              <a:avLst/>
              <a:gdLst>
                <a:gd name="connsiteX0" fmla="*/ 0 w 93729"/>
                <a:gd name="connsiteY0" fmla="*/ 39235 h 73541"/>
                <a:gd name="connsiteX1" fmla="*/ 9187 w 93729"/>
                <a:gd name="connsiteY1" fmla="*/ 17477 h 73541"/>
                <a:gd name="connsiteX2" fmla="*/ 50579 w 93729"/>
                <a:gd name="connsiteY2" fmla="*/ 0 h 73541"/>
                <a:gd name="connsiteX3" fmla="*/ 91973 w 93729"/>
                <a:gd name="connsiteY3" fmla="*/ 17477 h 73541"/>
                <a:gd name="connsiteX4" fmla="*/ 93729 w 93729"/>
                <a:gd name="connsiteY4" fmla="*/ 20058 h 73541"/>
                <a:gd name="connsiteX5" fmla="*/ 49492 w 93729"/>
                <a:gd name="connsiteY5" fmla="*/ 73541 h 73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729" h="73541">
                  <a:moveTo>
                    <a:pt x="0" y="39235"/>
                  </a:moveTo>
                  <a:lnTo>
                    <a:pt x="9187" y="17477"/>
                  </a:lnTo>
                  <a:cubicBezTo>
                    <a:pt x="20225" y="6439"/>
                    <a:pt x="34943" y="0"/>
                    <a:pt x="50579" y="0"/>
                  </a:cubicBezTo>
                  <a:cubicBezTo>
                    <a:pt x="66217" y="0"/>
                    <a:pt x="80934" y="6439"/>
                    <a:pt x="91973" y="17477"/>
                  </a:cubicBezTo>
                  <a:lnTo>
                    <a:pt x="93729" y="20058"/>
                  </a:lnTo>
                  <a:lnTo>
                    <a:pt x="49492" y="735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3" name="Forme libre : forme 1092">
              <a:extLst>
                <a:ext uri="{FF2B5EF4-FFF2-40B4-BE49-F238E27FC236}">
                  <a16:creationId xmlns:a16="http://schemas.microsoft.com/office/drawing/2014/main" id="{9C8F8AD8-9BE3-4AFF-9D9E-827181BFFE71}"/>
                </a:ext>
              </a:extLst>
            </p:cNvPr>
            <p:cNvSpPr/>
            <p:nvPr/>
          </p:nvSpPr>
          <p:spPr>
            <a:xfrm rot="8716295">
              <a:off x="7172347" y="237144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4" name="Forme libre : forme 1093">
              <a:extLst>
                <a:ext uri="{FF2B5EF4-FFF2-40B4-BE49-F238E27FC236}">
                  <a16:creationId xmlns:a16="http://schemas.microsoft.com/office/drawing/2014/main" id="{B50EEFFE-50F1-41BD-AC0F-C587493B9502}"/>
                </a:ext>
              </a:extLst>
            </p:cNvPr>
            <p:cNvSpPr/>
            <p:nvPr/>
          </p:nvSpPr>
          <p:spPr>
            <a:xfrm rot="8716295">
              <a:off x="7261739" y="240068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5" name="Forme libre : forme 1094">
              <a:extLst>
                <a:ext uri="{FF2B5EF4-FFF2-40B4-BE49-F238E27FC236}">
                  <a16:creationId xmlns:a16="http://schemas.microsoft.com/office/drawing/2014/main" id="{2580D73F-ABFD-46AB-A8B8-663F26EB77C2}"/>
                </a:ext>
              </a:extLst>
            </p:cNvPr>
            <p:cNvSpPr/>
            <p:nvPr/>
          </p:nvSpPr>
          <p:spPr>
            <a:xfrm rot="8716295">
              <a:off x="7216889" y="2314408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6" name="Forme libre : forme 1095">
              <a:extLst>
                <a:ext uri="{FF2B5EF4-FFF2-40B4-BE49-F238E27FC236}">
                  <a16:creationId xmlns:a16="http://schemas.microsoft.com/office/drawing/2014/main" id="{2C3435C1-11AD-43F5-B057-1EA87D25FBC9}"/>
                </a:ext>
              </a:extLst>
            </p:cNvPr>
            <p:cNvSpPr/>
            <p:nvPr/>
          </p:nvSpPr>
          <p:spPr>
            <a:xfrm rot="8716295">
              <a:off x="7060113" y="245999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7" name="Forme libre : forme 1096">
              <a:extLst>
                <a:ext uri="{FF2B5EF4-FFF2-40B4-BE49-F238E27FC236}">
                  <a16:creationId xmlns:a16="http://schemas.microsoft.com/office/drawing/2014/main" id="{4B47ED33-41DD-4DB3-AD1B-B82A88377D4B}"/>
                </a:ext>
              </a:extLst>
            </p:cNvPr>
            <p:cNvSpPr/>
            <p:nvPr/>
          </p:nvSpPr>
          <p:spPr>
            <a:xfrm rot="8716295">
              <a:off x="6935210" y="225131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8" name="Forme libre : forme 1097">
              <a:extLst>
                <a:ext uri="{FF2B5EF4-FFF2-40B4-BE49-F238E27FC236}">
                  <a16:creationId xmlns:a16="http://schemas.microsoft.com/office/drawing/2014/main" id="{FDADFB27-095D-4A69-842C-AC50F274C2CB}"/>
                </a:ext>
              </a:extLst>
            </p:cNvPr>
            <p:cNvSpPr/>
            <p:nvPr/>
          </p:nvSpPr>
          <p:spPr>
            <a:xfrm rot="8716295">
              <a:off x="6923158" y="2112537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9" name="Forme libre : forme 1098">
              <a:extLst>
                <a:ext uri="{FF2B5EF4-FFF2-40B4-BE49-F238E27FC236}">
                  <a16:creationId xmlns:a16="http://schemas.microsoft.com/office/drawing/2014/main" id="{51728AE9-139E-41E1-8F39-80B1269EE624}"/>
                </a:ext>
              </a:extLst>
            </p:cNvPr>
            <p:cNvSpPr/>
            <p:nvPr/>
          </p:nvSpPr>
          <p:spPr>
            <a:xfrm rot="8716295">
              <a:off x="7150291" y="2500942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0" name="Forme libre : forme 1099">
              <a:extLst>
                <a:ext uri="{FF2B5EF4-FFF2-40B4-BE49-F238E27FC236}">
                  <a16:creationId xmlns:a16="http://schemas.microsoft.com/office/drawing/2014/main" id="{92B4175C-E509-4678-8549-D6B4F8ECF63E}"/>
                </a:ext>
              </a:extLst>
            </p:cNvPr>
            <p:cNvSpPr/>
            <p:nvPr/>
          </p:nvSpPr>
          <p:spPr>
            <a:xfrm rot="8716295">
              <a:off x="7461446" y="212129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1" name="Forme libre : forme 1100">
              <a:extLst>
                <a:ext uri="{FF2B5EF4-FFF2-40B4-BE49-F238E27FC236}">
                  <a16:creationId xmlns:a16="http://schemas.microsoft.com/office/drawing/2014/main" id="{03A48A9F-470F-4E42-AB0D-A2092DAB19E1}"/>
                </a:ext>
              </a:extLst>
            </p:cNvPr>
            <p:cNvSpPr/>
            <p:nvPr/>
          </p:nvSpPr>
          <p:spPr>
            <a:xfrm rot="8716295">
              <a:off x="7550838" y="215053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2" name="Forme libre : forme 1101">
              <a:extLst>
                <a:ext uri="{FF2B5EF4-FFF2-40B4-BE49-F238E27FC236}">
                  <a16:creationId xmlns:a16="http://schemas.microsoft.com/office/drawing/2014/main" id="{D787AC24-D650-46E0-AF17-D8D11DE74854}"/>
                </a:ext>
              </a:extLst>
            </p:cNvPr>
            <p:cNvSpPr/>
            <p:nvPr/>
          </p:nvSpPr>
          <p:spPr>
            <a:xfrm rot="8716295">
              <a:off x="7349212" y="220983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3" name="Forme libre : forme 1102">
              <a:extLst>
                <a:ext uri="{FF2B5EF4-FFF2-40B4-BE49-F238E27FC236}">
                  <a16:creationId xmlns:a16="http://schemas.microsoft.com/office/drawing/2014/main" id="{0FB757C5-F53D-4FA3-95F2-B6B3C4253FFC}"/>
                </a:ext>
              </a:extLst>
            </p:cNvPr>
            <p:cNvSpPr/>
            <p:nvPr/>
          </p:nvSpPr>
          <p:spPr>
            <a:xfrm rot="8716295">
              <a:off x="7224310" y="200116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4" name="Forme libre : forme 1103">
              <a:extLst>
                <a:ext uri="{FF2B5EF4-FFF2-40B4-BE49-F238E27FC236}">
                  <a16:creationId xmlns:a16="http://schemas.microsoft.com/office/drawing/2014/main" id="{BF242107-D725-4B4F-BC78-5EDCA137735E}"/>
                </a:ext>
              </a:extLst>
            </p:cNvPr>
            <p:cNvSpPr/>
            <p:nvPr/>
          </p:nvSpPr>
          <p:spPr>
            <a:xfrm rot="8716295">
              <a:off x="7439390" y="2250790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5" name="Forme libre : forme 1104">
              <a:extLst>
                <a:ext uri="{FF2B5EF4-FFF2-40B4-BE49-F238E27FC236}">
                  <a16:creationId xmlns:a16="http://schemas.microsoft.com/office/drawing/2014/main" id="{3CE12C75-E0FA-48A2-87D6-5CE57DDA0BBD}"/>
                </a:ext>
              </a:extLst>
            </p:cNvPr>
            <p:cNvSpPr/>
            <p:nvPr/>
          </p:nvSpPr>
          <p:spPr>
            <a:xfrm rot="8716295">
              <a:off x="7197939" y="2101190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6" name="Forme libre : forme 1105">
              <a:extLst>
                <a:ext uri="{FF2B5EF4-FFF2-40B4-BE49-F238E27FC236}">
                  <a16:creationId xmlns:a16="http://schemas.microsoft.com/office/drawing/2014/main" id="{B337DB84-252C-4B02-A3DE-B9A85A114904}"/>
                </a:ext>
              </a:extLst>
            </p:cNvPr>
            <p:cNvSpPr/>
            <p:nvPr/>
          </p:nvSpPr>
          <p:spPr>
            <a:xfrm rot="7484129">
              <a:off x="7544321" y="244214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7" name="Forme libre : forme 1106">
              <a:extLst>
                <a:ext uri="{FF2B5EF4-FFF2-40B4-BE49-F238E27FC236}">
                  <a16:creationId xmlns:a16="http://schemas.microsoft.com/office/drawing/2014/main" id="{F19E0C83-77A7-4617-BCA2-22616BECAE12}"/>
                </a:ext>
              </a:extLst>
            </p:cNvPr>
            <p:cNvSpPr/>
            <p:nvPr/>
          </p:nvSpPr>
          <p:spPr>
            <a:xfrm rot="13089394">
              <a:off x="7649141" y="2408675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8" name="Forme libre : forme 1107">
              <a:extLst>
                <a:ext uri="{FF2B5EF4-FFF2-40B4-BE49-F238E27FC236}">
                  <a16:creationId xmlns:a16="http://schemas.microsoft.com/office/drawing/2014/main" id="{F5B45C54-84E0-4739-ADB3-959633174024}"/>
                </a:ext>
              </a:extLst>
            </p:cNvPr>
            <p:cNvSpPr/>
            <p:nvPr/>
          </p:nvSpPr>
          <p:spPr>
            <a:xfrm rot="8716295">
              <a:off x="7834726" y="2216994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9" name="Forme libre : forme 1108">
              <a:extLst>
                <a:ext uri="{FF2B5EF4-FFF2-40B4-BE49-F238E27FC236}">
                  <a16:creationId xmlns:a16="http://schemas.microsoft.com/office/drawing/2014/main" id="{66B27175-8CF2-4D68-B9A3-8660A0B5CD05}"/>
                </a:ext>
              </a:extLst>
            </p:cNvPr>
            <p:cNvSpPr/>
            <p:nvPr/>
          </p:nvSpPr>
          <p:spPr>
            <a:xfrm rot="8716295">
              <a:off x="7782921" y="211340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0" name="Forme libre : forme 1109">
              <a:extLst>
                <a:ext uri="{FF2B5EF4-FFF2-40B4-BE49-F238E27FC236}">
                  <a16:creationId xmlns:a16="http://schemas.microsoft.com/office/drawing/2014/main" id="{8FD17293-97E3-4673-AA7F-84B5B99446CA}"/>
                </a:ext>
              </a:extLst>
            </p:cNvPr>
            <p:cNvSpPr/>
            <p:nvPr/>
          </p:nvSpPr>
          <p:spPr>
            <a:xfrm rot="8716295">
              <a:off x="7539675" y="214362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1" name="Forme libre : forme 1110">
              <a:extLst>
                <a:ext uri="{FF2B5EF4-FFF2-40B4-BE49-F238E27FC236}">
                  <a16:creationId xmlns:a16="http://schemas.microsoft.com/office/drawing/2014/main" id="{C73B72CE-98CF-4B2D-903B-F181C83E80BA}"/>
                </a:ext>
              </a:extLst>
            </p:cNvPr>
            <p:cNvSpPr/>
            <p:nvPr/>
          </p:nvSpPr>
          <p:spPr>
            <a:xfrm rot="8716295">
              <a:off x="7717127" y="198438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2" name="Forme libre : forme 1111">
              <a:extLst>
                <a:ext uri="{FF2B5EF4-FFF2-40B4-BE49-F238E27FC236}">
                  <a16:creationId xmlns:a16="http://schemas.microsoft.com/office/drawing/2014/main" id="{696CB62E-C4B4-4490-8872-413E82440B78}"/>
                </a:ext>
              </a:extLst>
            </p:cNvPr>
            <p:cNvSpPr/>
            <p:nvPr/>
          </p:nvSpPr>
          <p:spPr>
            <a:xfrm rot="8716295">
              <a:off x="7395514" y="303114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3" name="Forme libre : forme 1112">
              <a:extLst>
                <a:ext uri="{FF2B5EF4-FFF2-40B4-BE49-F238E27FC236}">
                  <a16:creationId xmlns:a16="http://schemas.microsoft.com/office/drawing/2014/main" id="{B9248AD5-32BA-4917-BA85-0157D956096A}"/>
                </a:ext>
              </a:extLst>
            </p:cNvPr>
            <p:cNvSpPr/>
            <p:nvPr/>
          </p:nvSpPr>
          <p:spPr>
            <a:xfrm rot="8716295">
              <a:off x="7484906" y="306038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4" name="Forme libre : forme 1113">
              <a:extLst>
                <a:ext uri="{FF2B5EF4-FFF2-40B4-BE49-F238E27FC236}">
                  <a16:creationId xmlns:a16="http://schemas.microsoft.com/office/drawing/2014/main" id="{C01A8DA7-4F44-4FB4-AD68-2519B990D7F2}"/>
                </a:ext>
              </a:extLst>
            </p:cNvPr>
            <p:cNvSpPr/>
            <p:nvPr/>
          </p:nvSpPr>
          <p:spPr>
            <a:xfrm rot="8716295">
              <a:off x="7440056" y="297410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5" name="Forme libre : forme 1114">
              <a:extLst>
                <a:ext uri="{FF2B5EF4-FFF2-40B4-BE49-F238E27FC236}">
                  <a16:creationId xmlns:a16="http://schemas.microsoft.com/office/drawing/2014/main" id="{42D9C24E-2646-42DD-BFA5-E1307CC2B5EC}"/>
                </a:ext>
              </a:extLst>
            </p:cNvPr>
            <p:cNvSpPr/>
            <p:nvPr/>
          </p:nvSpPr>
          <p:spPr>
            <a:xfrm rot="8716295">
              <a:off x="7283280" y="311968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6" name="Forme libre : forme 1115">
              <a:extLst>
                <a:ext uri="{FF2B5EF4-FFF2-40B4-BE49-F238E27FC236}">
                  <a16:creationId xmlns:a16="http://schemas.microsoft.com/office/drawing/2014/main" id="{CFABA53A-4A06-4580-8C61-8286352F9F67}"/>
                </a:ext>
              </a:extLst>
            </p:cNvPr>
            <p:cNvSpPr/>
            <p:nvPr/>
          </p:nvSpPr>
          <p:spPr>
            <a:xfrm rot="8716295">
              <a:off x="7158377" y="291101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7" name="Forme libre : forme 1116">
              <a:extLst>
                <a:ext uri="{FF2B5EF4-FFF2-40B4-BE49-F238E27FC236}">
                  <a16:creationId xmlns:a16="http://schemas.microsoft.com/office/drawing/2014/main" id="{C74B7EC2-6979-4A8A-9284-FAC8E9267907}"/>
                </a:ext>
              </a:extLst>
            </p:cNvPr>
            <p:cNvSpPr/>
            <p:nvPr/>
          </p:nvSpPr>
          <p:spPr>
            <a:xfrm rot="8716295">
              <a:off x="7146325" y="277223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8" name="Forme libre : forme 1117">
              <a:extLst>
                <a:ext uri="{FF2B5EF4-FFF2-40B4-BE49-F238E27FC236}">
                  <a16:creationId xmlns:a16="http://schemas.microsoft.com/office/drawing/2014/main" id="{F8DC9ECB-1E3E-434D-AF3D-8360A2556CE1}"/>
                </a:ext>
              </a:extLst>
            </p:cNvPr>
            <p:cNvSpPr/>
            <p:nvPr/>
          </p:nvSpPr>
          <p:spPr>
            <a:xfrm rot="8716295">
              <a:off x="7373458" y="316064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9" name="Forme libre : forme 1118">
              <a:extLst>
                <a:ext uri="{FF2B5EF4-FFF2-40B4-BE49-F238E27FC236}">
                  <a16:creationId xmlns:a16="http://schemas.microsoft.com/office/drawing/2014/main" id="{51772F42-3F0C-424A-977C-894DBAF1080F}"/>
                </a:ext>
              </a:extLst>
            </p:cNvPr>
            <p:cNvSpPr/>
            <p:nvPr/>
          </p:nvSpPr>
          <p:spPr>
            <a:xfrm rot="8716295">
              <a:off x="7684613" y="278099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0" name="Forme libre : forme 1119">
              <a:extLst>
                <a:ext uri="{FF2B5EF4-FFF2-40B4-BE49-F238E27FC236}">
                  <a16:creationId xmlns:a16="http://schemas.microsoft.com/office/drawing/2014/main" id="{B5CD12DE-C7EB-4EFA-AC20-74C4AE1F7190}"/>
                </a:ext>
              </a:extLst>
            </p:cNvPr>
            <p:cNvSpPr/>
            <p:nvPr/>
          </p:nvSpPr>
          <p:spPr>
            <a:xfrm rot="8716295">
              <a:off x="7774005" y="281023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1" name="Forme libre : forme 1120">
              <a:extLst>
                <a:ext uri="{FF2B5EF4-FFF2-40B4-BE49-F238E27FC236}">
                  <a16:creationId xmlns:a16="http://schemas.microsoft.com/office/drawing/2014/main" id="{D4963745-603E-4027-A61D-8C66F68BBCF1}"/>
                </a:ext>
              </a:extLst>
            </p:cNvPr>
            <p:cNvSpPr/>
            <p:nvPr/>
          </p:nvSpPr>
          <p:spPr>
            <a:xfrm rot="8716295">
              <a:off x="7572379" y="286953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2" name="Forme libre : forme 1121">
              <a:extLst>
                <a:ext uri="{FF2B5EF4-FFF2-40B4-BE49-F238E27FC236}">
                  <a16:creationId xmlns:a16="http://schemas.microsoft.com/office/drawing/2014/main" id="{B2AE503B-34E9-4267-86FA-CBE3FB4412BF}"/>
                </a:ext>
              </a:extLst>
            </p:cNvPr>
            <p:cNvSpPr/>
            <p:nvPr/>
          </p:nvSpPr>
          <p:spPr>
            <a:xfrm rot="8716295">
              <a:off x="7447477" y="266086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3" name="Forme libre : forme 1122">
              <a:extLst>
                <a:ext uri="{FF2B5EF4-FFF2-40B4-BE49-F238E27FC236}">
                  <a16:creationId xmlns:a16="http://schemas.microsoft.com/office/drawing/2014/main" id="{555AB00F-5214-4D5A-B856-0D6CE43A6974}"/>
                </a:ext>
              </a:extLst>
            </p:cNvPr>
            <p:cNvSpPr/>
            <p:nvPr/>
          </p:nvSpPr>
          <p:spPr>
            <a:xfrm rot="8716295">
              <a:off x="7662557" y="291048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4" name="Forme libre : forme 1123">
              <a:extLst>
                <a:ext uri="{FF2B5EF4-FFF2-40B4-BE49-F238E27FC236}">
                  <a16:creationId xmlns:a16="http://schemas.microsoft.com/office/drawing/2014/main" id="{E9EF5FF3-F4BF-4CDD-9607-4DBF4C2F0085}"/>
                </a:ext>
              </a:extLst>
            </p:cNvPr>
            <p:cNvSpPr/>
            <p:nvPr/>
          </p:nvSpPr>
          <p:spPr>
            <a:xfrm rot="8716295">
              <a:off x="7421106" y="276088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5" name="Forme libre : forme 1124">
              <a:extLst>
                <a:ext uri="{FF2B5EF4-FFF2-40B4-BE49-F238E27FC236}">
                  <a16:creationId xmlns:a16="http://schemas.microsoft.com/office/drawing/2014/main" id="{59DF2FDB-C1DD-4AAC-8ED6-A9A2F1015694}"/>
                </a:ext>
              </a:extLst>
            </p:cNvPr>
            <p:cNvSpPr/>
            <p:nvPr/>
          </p:nvSpPr>
          <p:spPr>
            <a:xfrm rot="7484129">
              <a:off x="7767488" y="310184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6" name="Forme libre : forme 1125">
              <a:extLst>
                <a:ext uri="{FF2B5EF4-FFF2-40B4-BE49-F238E27FC236}">
                  <a16:creationId xmlns:a16="http://schemas.microsoft.com/office/drawing/2014/main" id="{4196ADC5-483D-4AAF-B032-555B70BC6EE5}"/>
                </a:ext>
              </a:extLst>
            </p:cNvPr>
            <p:cNvSpPr/>
            <p:nvPr/>
          </p:nvSpPr>
          <p:spPr>
            <a:xfrm rot="13089394">
              <a:off x="7872308" y="306837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7" name="Forme libre : forme 1126">
              <a:extLst>
                <a:ext uri="{FF2B5EF4-FFF2-40B4-BE49-F238E27FC236}">
                  <a16:creationId xmlns:a16="http://schemas.microsoft.com/office/drawing/2014/main" id="{32A56DA8-4C3D-4B7F-A319-4811C6B7AA5C}"/>
                </a:ext>
              </a:extLst>
            </p:cNvPr>
            <p:cNvSpPr/>
            <p:nvPr/>
          </p:nvSpPr>
          <p:spPr>
            <a:xfrm rot="8716295">
              <a:off x="8057893" y="287669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8" name="Forme libre : forme 1127">
              <a:extLst>
                <a:ext uri="{FF2B5EF4-FFF2-40B4-BE49-F238E27FC236}">
                  <a16:creationId xmlns:a16="http://schemas.microsoft.com/office/drawing/2014/main" id="{8E0F1C28-8F77-4966-95BD-C88FCEF83216}"/>
                </a:ext>
              </a:extLst>
            </p:cNvPr>
            <p:cNvSpPr/>
            <p:nvPr/>
          </p:nvSpPr>
          <p:spPr>
            <a:xfrm rot="8716295">
              <a:off x="8006088" y="277310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9" name="Forme libre : forme 1128">
              <a:extLst>
                <a:ext uri="{FF2B5EF4-FFF2-40B4-BE49-F238E27FC236}">
                  <a16:creationId xmlns:a16="http://schemas.microsoft.com/office/drawing/2014/main" id="{E5A4A31B-3B75-496C-9F61-22A820F43FCD}"/>
                </a:ext>
              </a:extLst>
            </p:cNvPr>
            <p:cNvSpPr/>
            <p:nvPr/>
          </p:nvSpPr>
          <p:spPr>
            <a:xfrm rot="8716295">
              <a:off x="7762842" y="280332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0" name="Forme libre : forme 1129">
              <a:extLst>
                <a:ext uri="{FF2B5EF4-FFF2-40B4-BE49-F238E27FC236}">
                  <a16:creationId xmlns:a16="http://schemas.microsoft.com/office/drawing/2014/main" id="{4862B135-8953-4E24-B4C9-59ECE15EAE81}"/>
                </a:ext>
              </a:extLst>
            </p:cNvPr>
            <p:cNvSpPr/>
            <p:nvPr/>
          </p:nvSpPr>
          <p:spPr>
            <a:xfrm rot="8716295">
              <a:off x="7940294" y="264407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1" name="Forme libre : forme 1130">
              <a:extLst>
                <a:ext uri="{FF2B5EF4-FFF2-40B4-BE49-F238E27FC236}">
                  <a16:creationId xmlns:a16="http://schemas.microsoft.com/office/drawing/2014/main" id="{3E405773-6C52-4033-9D2E-C77CD5E36C97}"/>
                </a:ext>
              </a:extLst>
            </p:cNvPr>
            <p:cNvSpPr/>
            <p:nvPr/>
          </p:nvSpPr>
          <p:spPr>
            <a:xfrm rot="8716295">
              <a:off x="8044812" y="5014610"/>
              <a:ext cx="142167" cy="185946"/>
            </a:xfrm>
            <a:custGeom>
              <a:avLst/>
              <a:gdLst>
                <a:gd name="connsiteX0" fmla="*/ 0 w 142167"/>
                <a:gd name="connsiteY0" fmla="*/ 3681 h 185946"/>
                <a:gd name="connsiteX1" fmla="*/ 0 w 142167"/>
                <a:gd name="connsiteY1" fmla="*/ 0 h 185946"/>
                <a:gd name="connsiteX2" fmla="*/ 5311 w 142167"/>
                <a:gd name="connsiteY2" fmla="*/ 3681 h 185946"/>
                <a:gd name="connsiteX3" fmla="*/ 81108 w 142167"/>
                <a:gd name="connsiteY3" fmla="*/ 185946 h 185946"/>
                <a:gd name="connsiteX4" fmla="*/ 81108 w 142167"/>
                <a:gd name="connsiteY4" fmla="*/ 56221 h 185946"/>
                <a:gd name="connsiteX5" fmla="*/ 142167 w 142167"/>
                <a:gd name="connsiteY5" fmla="*/ 98545 h 185946"/>
                <a:gd name="connsiteX6" fmla="*/ 142167 w 142167"/>
                <a:gd name="connsiteY6" fmla="*/ 161796 h 185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167" h="185946">
                  <a:moveTo>
                    <a:pt x="0" y="3681"/>
                  </a:moveTo>
                  <a:lnTo>
                    <a:pt x="0" y="0"/>
                  </a:lnTo>
                  <a:lnTo>
                    <a:pt x="5311" y="3681"/>
                  </a:lnTo>
                  <a:close/>
                  <a:moveTo>
                    <a:pt x="81108" y="185946"/>
                  </a:moveTo>
                  <a:lnTo>
                    <a:pt x="81108" y="56221"/>
                  </a:lnTo>
                  <a:lnTo>
                    <a:pt x="142167" y="98545"/>
                  </a:lnTo>
                  <a:lnTo>
                    <a:pt x="142167" y="1617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2" name="Forme libre : forme 1131">
              <a:extLst>
                <a:ext uri="{FF2B5EF4-FFF2-40B4-BE49-F238E27FC236}">
                  <a16:creationId xmlns:a16="http://schemas.microsoft.com/office/drawing/2014/main" id="{1E88E955-7F03-41E3-9D75-6D519C17C0A9}"/>
                </a:ext>
              </a:extLst>
            </p:cNvPr>
            <p:cNvSpPr/>
            <p:nvPr/>
          </p:nvSpPr>
          <p:spPr>
            <a:xfrm rot="8716295">
              <a:off x="8258973" y="5016779"/>
              <a:ext cx="60148" cy="157919"/>
            </a:xfrm>
            <a:custGeom>
              <a:avLst/>
              <a:gdLst>
                <a:gd name="connsiteX0" fmla="*/ 0 w 60148"/>
                <a:gd name="connsiteY0" fmla="*/ 157919 h 157919"/>
                <a:gd name="connsiteX1" fmla="*/ 0 w 60148"/>
                <a:gd name="connsiteY1" fmla="*/ 0 h 157919"/>
                <a:gd name="connsiteX2" fmla="*/ 60148 w 60148"/>
                <a:gd name="connsiteY2" fmla="*/ 41692 h 157919"/>
                <a:gd name="connsiteX3" fmla="*/ 60148 w 60148"/>
                <a:gd name="connsiteY3" fmla="*/ 116909 h 157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8" h="157919">
                  <a:moveTo>
                    <a:pt x="0" y="157919"/>
                  </a:moveTo>
                  <a:lnTo>
                    <a:pt x="0" y="0"/>
                  </a:lnTo>
                  <a:lnTo>
                    <a:pt x="60148" y="41692"/>
                  </a:lnTo>
                  <a:lnTo>
                    <a:pt x="60148" y="11690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3" name="Forme libre : forme 1132">
              <a:extLst>
                <a:ext uri="{FF2B5EF4-FFF2-40B4-BE49-F238E27FC236}">
                  <a16:creationId xmlns:a16="http://schemas.microsoft.com/office/drawing/2014/main" id="{CA2B8755-B7BC-4A60-A8F4-7FADFD1B1DC2}"/>
                </a:ext>
              </a:extLst>
            </p:cNvPr>
            <p:cNvSpPr/>
            <p:nvPr/>
          </p:nvSpPr>
          <p:spPr>
            <a:xfrm rot="8716295">
              <a:off x="8103411" y="495317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4" name="Forme libre : forme 1133">
              <a:extLst>
                <a:ext uri="{FF2B5EF4-FFF2-40B4-BE49-F238E27FC236}">
                  <a16:creationId xmlns:a16="http://schemas.microsoft.com/office/drawing/2014/main" id="{E1AF4DEC-6ACA-4C7B-B12C-9DCB672B78AA}"/>
                </a:ext>
              </a:extLst>
            </p:cNvPr>
            <p:cNvSpPr/>
            <p:nvPr/>
          </p:nvSpPr>
          <p:spPr>
            <a:xfrm rot="8716295">
              <a:off x="7941579" y="5096694"/>
              <a:ext cx="58211" cy="55513"/>
            </a:xfrm>
            <a:custGeom>
              <a:avLst/>
              <a:gdLst>
                <a:gd name="connsiteX0" fmla="*/ 8658 w 58211"/>
                <a:gd name="connsiteY0" fmla="*/ 47310 h 55513"/>
                <a:gd name="connsiteX1" fmla="*/ 0 w 58211"/>
                <a:gd name="connsiteY1" fmla="*/ 26806 h 55513"/>
                <a:gd name="connsiteX2" fmla="*/ 0 w 58211"/>
                <a:gd name="connsiteY2" fmla="*/ 26349 h 55513"/>
                <a:gd name="connsiteX3" fmla="*/ 8658 w 58211"/>
                <a:gd name="connsiteY3" fmla="*/ 5845 h 55513"/>
                <a:gd name="connsiteX4" fmla="*/ 22501 w 58211"/>
                <a:gd name="connsiteY4" fmla="*/ 0 h 55513"/>
                <a:gd name="connsiteX5" fmla="*/ 57366 w 58211"/>
                <a:gd name="connsiteY5" fmla="*/ 24167 h 55513"/>
                <a:gd name="connsiteX6" fmla="*/ 58211 w 58211"/>
                <a:gd name="connsiteY6" fmla="*/ 26179 h 55513"/>
                <a:gd name="connsiteX7" fmla="*/ 49668 w 58211"/>
                <a:gd name="connsiteY7" fmla="*/ 46855 h 55513"/>
                <a:gd name="connsiteX8" fmla="*/ 29163 w 58211"/>
                <a:gd name="connsiteY8" fmla="*/ 55513 h 55513"/>
                <a:gd name="connsiteX9" fmla="*/ 8658 w 58211"/>
                <a:gd name="connsiteY9" fmla="*/ 47310 h 55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8211" h="55513">
                  <a:moveTo>
                    <a:pt x="8658" y="47310"/>
                  </a:moveTo>
                  <a:cubicBezTo>
                    <a:pt x="3190" y="41843"/>
                    <a:pt x="0" y="34551"/>
                    <a:pt x="0" y="26806"/>
                  </a:cubicBezTo>
                  <a:lnTo>
                    <a:pt x="0" y="26349"/>
                  </a:lnTo>
                  <a:cubicBezTo>
                    <a:pt x="0" y="18604"/>
                    <a:pt x="3190" y="11313"/>
                    <a:pt x="8658" y="5845"/>
                  </a:cubicBezTo>
                  <a:lnTo>
                    <a:pt x="22501" y="0"/>
                  </a:lnTo>
                  <a:lnTo>
                    <a:pt x="57366" y="24167"/>
                  </a:lnTo>
                  <a:lnTo>
                    <a:pt x="58211" y="26179"/>
                  </a:lnTo>
                  <a:cubicBezTo>
                    <a:pt x="58212" y="33641"/>
                    <a:pt x="55364" y="41159"/>
                    <a:pt x="49668" y="46855"/>
                  </a:cubicBezTo>
                  <a:cubicBezTo>
                    <a:pt x="44200" y="52323"/>
                    <a:pt x="36909" y="55512"/>
                    <a:pt x="29163" y="55513"/>
                  </a:cubicBezTo>
                  <a:cubicBezTo>
                    <a:pt x="21416" y="55512"/>
                    <a:pt x="14126" y="52778"/>
                    <a:pt x="8658" y="473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5" name="Forme libre : forme 1134">
              <a:extLst>
                <a:ext uri="{FF2B5EF4-FFF2-40B4-BE49-F238E27FC236}">
                  <a16:creationId xmlns:a16="http://schemas.microsoft.com/office/drawing/2014/main" id="{B8F042BB-C9F6-4157-AE20-FD1AD8D9B197}"/>
                </a:ext>
              </a:extLst>
            </p:cNvPr>
            <p:cNvSpPr/>
            <p:nvPr/>
          </p:nvSpPr>
          <p:spPr>
            <a:xfrm rot="8716295">
              <a:off x="7821732" y="489008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6" name="Forme libre : forme 1135">
              <a:extLst>
                <a:ext uri="{FF2B5EF4-FFF2-40B4-BE49-F238E27FC236}">
                  <a16:creationId xmlns:a16="http://schemas.microsoft.com/office/drawing/2014/main" id="{42560913-1E4E-4677-9E81-A4912B35BE09}"/>
                </a:ext>
              </a:extLst>
            </p:cNvPr>
            <p:cNvSpPr/>
            <p:nvPr/>
          </p:nvSpPr>
          <p:spPr>
            <a:xfrm rot="8716295">
              <a:off x="7809680" y="475130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7" name="Forme libre : forme 1136">
              <a:extLst>
                <a:ext uri="{FF2B5EF4-FFF2-40B4-BE49-F238E27FC236}">
                  <a16:creationId xmlns:a16="http://schemas.microsoft.com/office/drawing/2014/main" id="{7BFA6FDC-5CB7-4DDB-87E8-074ECA1084F2}"/>
                </a:ext>
              </a:extLst>
            </p:cNvPr>
            <p:cNvSpPr/>
            <p:nvPr/>
          </p:nvSpPr>
          <p:spPr>
            <a:xfrm rot="8716295">
              <a:off x="8347968" y="476006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8" name="Forme libre : forme 1137">
              <a:extLst>
                <a:ext uri="{FF2B5EF4-FFF2-40B4-BE49-F238E27FC236}">
                  <a16:creationId xmlns:a16="http://schemas.microsoft.com/office/drawing/2014/main" id="{A72146F5-0FE8-433A-B4E4-A08CDA8CE838}"/>
                </a:ext>
              </a:extLst>
            </p:cNvPr>
            <p:cNvSpPr/>
            <p:nvPr/>
          </p:nvSpPr>
          <p:spPr>
            <a:xfrm rot="8716295">
              <a:off x="8437360" y="478930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9" name="Forme libre : forme 1138">
              <a:extLst>
                <a:ext uri="{FF2B5EF4-FFF2-40B4-BE49-F238E27FC236}">
                  <a16:creationId xmlns:a16="http://schemas.microsoft.com/office/drawing/2014/main" id="{B0815185-98D4-4C05-A864-471788D20585}"/>
                </a:ext>
              </a:extLst>
            </p:cNvPr>
            <p:cNvSpPr/>
            <p:nvPr/>
          </p:nvSpPr>
          <p:spPr>
            <a:xfrm rot="8716295">
              <a:off x="8235734" y="484860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0" name="Forme libre : forme 1139">
              <a:extLst>
                <a:ext uri="{FF2B5EF4-FFF2-40B4-BE49-F238E27FC236}">
                  <a16:creationId xmlns:a16="http://schemas.microsoft.com/office/drawing/2014/main" id="{ADDDCEE7-B6A9-4A01-8C1B-1A7C3E608705}"/>
                </a:ext>
              </a:extLst>
            </p:cNvPr>
            <p:cNvSpPr/>
            <p:nvPr/>
          </p:nvSpPr>
          <p:spPr>
            <a:xfrm rot="8716295">
              <a:off x="8110832" y="463993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1" name="Forme libre : forme 1140">
              <a:extLst>
                <a:ext uri="{FF2B5EF4-FFF2-40B4-BE49-F238E27FC236}">
                  <a16:creationId xmlns:a16="http://schemas.microsoft.com/office/drawing/2014/main" id="{286D2BD3-550D-4955-8EE3-067F78BD5B31}"/>
                </a:ext>
              </a:extLst>
            </p:cNvPr>
            <p:cNvSpPr/>
            <p:nvPr/>
          </p:nvSpPr>
          <p:spPr>
            <a:xfrm rot="8716295">
              <a:off x="8325912" y="488955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2" name="Forme libre : forme 1141">
              <a:extLst>
                <a:ext uri="{FF2B5EF4-FFF2-40B4-BE49-F238E27FC236}">
                  <a16:creationId xmlns:a16="http://schemas.microsoft.com/office/drawing/2014/main" id="{74F489EB-7AD1-4764-88E8-EF5930816B76}"/>
                </a:ext>
              </a:extLst>
            </p:cNvPr>
            <p:cNvSpPr/>
            <p:nvPr/>
          </p:nvSpPr>
          <p:spPr>
            <a:xfrm rot="8716295">
              <a:off x="8084461" y="473995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3" name="Forme libre : forme 1142">
              <a:extLst>
                <a:ext uri="{FF2B5EF4-FFF2-40B4-BE49-F238E27FC236}">
                  <a16:creationId xmlns:a16="http://schemas.microsoft.com/office/drawing/2014/main" id="{848DCC45-C596-44D7-A17C-7DD4A4668DE6}"/>
                </a:ext>
              </a:extLst>
            </p:cNvPr>
            <p:cNvSpPr/>
            <p:nvPr/>
          </p:nvSpPr>
          <p:spPr>
            <a:xfrm rot="7484129">
              <a:off x="8500513" y="5042942"/>
              <a:ext cx="102412" cy="181729"/>
            </a:xfrm>
            <a:custGeom>
              <a:avLst/>
              <a:gdLst>
                <a:gd name="connsiteX0" fmla="*/ 0 w 102412"/>
                <a:gd name="connsiteY0" fmla="*/ 41179 h 181729"/>
                <a:gd name="connsiteX1" fmla="*/ 0 w 102412"/>
                <a:gd name="connsiteY1" fmla="*/ 0 h 181729"/>
                <a:gd name="connsiteX2" fmla="*/ 28551 w 102412"/>
                <a:gd name="connsiteY2" fmla="*/ 41179 h 181729"/>
                <a:gd name="connsiteX3" fmla="*/ 90709 w 102412"/>
                <a:gd name="connsiteY3" fmla="*/ 181729 h 181729"/>
                <a:gd name="connsiteX4" fmla="*/ 47847 w 102412"/>
                <a:gd name="connsiteY4" fmla="*/ 101985 h 181729"/>
                <a:gd name="connsiteX5" fmla="*/ 55670 w 102412"/>
                <a:gd name="connsiteY5" fmla="*/ 80292 h 181729"/>
                <a:gd name="connsiteX6" fmla="*/ 102412 w 102412"/>
                <a:gd name="connsiteY6" fmla="*/ 147707 h 181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2412" h="181729">
                  <a:moveTo>
                    <a:pt x="0" y="41179"/>
                  </a:moveTo>
                  <a:lnTo>
                    <a:pt x="0" y="0"/>
                  </a:lnTo>
                  <a:lnTo>
                    <a:pt x="28551" y="41179"/>
                  </a:lnTo>
                  <a:close/>
                  <a:moveTo>
                    <a:pt x="90709" y="181729"/>
                  </a:moveTo>
                  <a:lnTo>
                    <a:pt x="47847" y="101985"/>
                  </a:lnTo>
                  <a:lnTo>
                    <a:pt x="55670" y="80292"/>
                  </a:lnTo>
                  <a:lnTo>
                    <a:pt x="102412" y="14770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4" name="Forme libre : forme 1143">
              <a:extLst>
                <a:ext uri="{FF2B5EF4-FFF2-40B4-BE49-F238E27FC236}">
                  <a16:creationId xmlns:a16="http://schemas.microsoft.com/office/drawing/2014/main" id="{7A947FA2-4A2A-44E5-9A4C-F2720B1B3F87}"/>
                </a:ext>
              </a:extLst>
            </p:cNvPr>
            <p:cNvSpPr/>
            <p:nvPr/>
          </p:nvSpPr>
          <p:spPr>
            <a:xfrm rot="13089394">
              <a:off x="8615617" y="5055433"/>
              <a:ext cx="225779" cy="83483"/>
            </a:xfrm>
            <a:custGeom>
              <a:avLst/>
              <a:gdLst>
                <a:gd name="connsiteX0" fmla="*/ 225779 w 225779"/>
                <a:gd name="connsiteY0" fmla="*/ 12691 h 83483"/>
                <a:gd name="connsiteX1" fmla="*/ 44792 w 225779"/>
                <a:gd name="connsiteY1" fmla="*/ 83320 h 83483"/>
                <a:gd name="connsiteX2" fmla="*/ 7960 w 225779"/>
                <a:gd name="connsiteY2" fmla="*/ 76974 h 83483"/>
                <a:gd name="connsiteX3" fmla="*/ 0 w 225779"/>
                <a:gd name="connsiteY3" fmla="*/ 71526 h 83483"/>
                <a:gd name="connsiteX4" fmla="*/ 70403 w 225779"/>
                <a:gd name="connsiteY4" fmla="*/ 16211 h 83483"/>
                <a:gd name="connsiteX5" fmla="*/ 107144 w 225779"/>
                <a:gd name="connsiteY5" fmla="*/ 36418 h 83483"/>
                <a:gd name="connsiteX6" fmla="*/ 156805 w 225779"/>
                <a:gd name="connsiteY6" fmla="*/ 27589 h 83483"/>
                <a:gd name="connsiteX7" fmla="*/ 224676 w 225779"/>
                <a:gd name="connsiteY7" fmla="*/ 0 h 83483"/>
                <a:gd name="connsiteX8" fmla="*/ 225779 w 225779"/>
                <a:gd name="connsiteY8" fmla="*/ 7173 h 83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5779" h="83483">
                  <a:moveTo>
                    <a:pt x="225779" y="12691"/>
                  </a:moveTo>
                  <a:cubicBezTo>
                    <a:pt x="167290" y="62904"/>
                    <a:pt x="90590" y="80561"/>
                    <a:pt x="44792" y="83320"/>
                  </a:cubicBezTo>
                  <a:cubicBezTo>
                    <a:pt x="32101" y="84147"/>
                    <a:pt x="19548" y="81802"/>
                    <a:pt x="7960" y="76974"/>
                  </a:cubicBezTo>
                  <a:lnTo>
                    <a:pt x="0" y="71526"/>
                  </a:lnTo>
                  <a:lnTo>
                    <a:pt x="70403" y="16211"/>
                  </a:lnTo>
                  <a:lnTo>
                    <a:pt x="107144" y="36418"/>
                  </a:lnTo>
                  <a:cubicBezTo>
                    <a:pt x="124250" y="35866"/>
                    <a:pt x="140803" y="32555"/>
                    <a:pt x="156805" y="27589"/>
                  </a:cubicBezTo>
                  <a:cubicBezTo>
                    <a:pt x="179981" y="20416"/>
                    <a:pt x="202604" y="11036"/>
                    <a:pt x="224676" y="0"/>
                  </a:cubicBezTo>
                  <a:cubicBezTo>
                    <a:pt x="225227" y="2207"/>
                    <a:pt x="225779" y="4965"/>
                    <a:pt x="225779" y="71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5" name="Forme libre : forme 1144">
              <a:extLst>
                <a:ext uri="{FF2B5EF4-FFF2-40B4-BE49-F238E27FC236}">
                  <a16:creationId xmlns:a16="http://schemas.microsoft.com/office/drawing/2014/main" id="{39ED4F39-D158-4423-B25C-BC478768EA1A}"/>
                </a:ext>
              </a:extLst>
            </p:cNvPr>
            <p:cNvSpPr/>
            <p:nvPr/>
          </p:nvSpPr>
          <p:spPr>
            <a:xfrm rot="8716295">
              <a:off x="8721248" y="485576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6" name="Forme libre : forme 1145">
              <a:extLst>
                <a:ext uri="{FF2B5EF4-FFF2-40B4-BE49-F238E27FC236}">
                  <a16:creationId xmlns:a16="http://schemas.microsoft.com/office/drawing/2014/main" id="{1CB5F890-4E11-48EA-BB42-A7836BF6E61A}"/>
                </a:ext>
              </a:extLst>
            </p:cNvPr>
            <p:cNvSpPr/>
            <p:nvPr/>
          </p:nvSpPr>
          <p:spPr>
            <a:xfrm rot="8716295">
              <a:off x="8669443" y="475216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7" name="Forme libre : forme 1146">
              <a:extLst>
                <a:ext uri="{FF2B5EF4-FFF2-40B4-BE49-F238E27FC236}">
                  <a16:creationId xmlns:a16="http://schemas.microsoft.com/office/drawing/2014/main" id="{2FE11692-ECC8-46EB-8FDE-A35EDA11A744}"/>
                </a:ext>
              </a:extLst>
            </p:cNvPr>
            <p:cNvSpPr/>
            <p:nvPr/>
          </p:nvSpPr>
          <p:spPr>
            <a:xfrm rot="8716295">
              <a:off x="8426197" y="478239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8" name="Forme libre : forme 1147">
              <a:extLst>
                <a:ext uri="{FF2B5EF4-FFF2-40B4-BE49-F238E27FC236}">
                  <a16:creationId xmlns:a16="http://schemas.microsoft.com/office/drawing/2014/main" id="{DA75CED1-0CC6-4289-861E-A817A7D7FDCB}"/>
                </a:ext>
              </a:extLst>
            </p:cNvPr>
            <p:cNvSpPr/>
            <p:nvPr/>
          </p:nvSpPr>
          <p:spPr>
            <a:xfrm rot="8716295">
              <a:off x="8603649" y="462314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9" name="Forme libre : forme 1148">
              <a:extLst>
                <a:ext uri="{FF2B5EF4-FFF2-40B4-BE49-F238E27FC236}">
                  <a16:creationId xmlns:a16="http://schemas.microsoft.com/office/drawing/2014/main" id="{E3DA200A-0DBF-467B-A809-7E259C003918}"/>
                </a:ext>
              </a:extLst>
            </p:cNvPr>
            <p:cNvSpPr/>
            <p:nvPr/>
          </p:nvSpPr>
          <p:spPr>
            <a:xfrm rot="8716295">
              <a:off x="7614184" y="368954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0" name="Forme libre : forme 1149">
              <a:extLst>
                <a:ext uri="{FF2B5EF4-FFF2-40B4-BE49-F238E27FC236}">
                  <a16:creationId xmlns:a16="http://schemas.microsoft.com/office/drawing/2014/main" id="{9D92A201-A401-4BB8-B0E2-C72AA1A3DC87}"/>
                </a:ext>
              </a:extLst>
            </p:cNvPr>
            <p:cNvSpPr/>
            <p:nvPr/>
          </p:nvSpPr>
          <p:spPr>
            <a:xfrm rot="8716295">
              <a:off x="7703576" y="371878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1" name="Forme libre : forme 1150">
              <a:extLst>
                <a:ext uri="{FF2B5EF4-FFF2-40B4-BE49-F238E27FC236}">
                  <a16:creationId xmlns:a16="http://schemas.microsoft.com/office/drawing/2014/main" id="{79DA82A8-A0CA-4B4F-BBBB-315766D51523}"/>
                </a:ext>
              </a:extLst>
            </p:cNvPr>
            <p:cNvSpPr/>
            <p:nvPr/>
          </p:nvSpPr>
          <p:spPr>
            <a:xfrm rot="8716295">
              <a:off x="7658726" y="363250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2" name="Forme libre : forme 1151">
              <a:extLst>
                <a:ext uri="{FF2B5EF4-FFF2-40B4-BE49-F238E27FC236}">
                  <a16:creationId xmlns:a16="http://schemas.microsoft.com/office/drawing/2014/main" id="{8B5996A9-C87F-4F13-AF9E-E2187D14CB27}"/>
                </a:ext>
              </a:extLst>
            </p:cNvPr>
            <p:cNvSpPr/>
            <p:nvPr/>
          </p:nvSpPr>
          <p:spPr>
            <a:xfrm rot="8716295">
              <a:off x="7501950" y="377808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3" name="Forme libre : forme 1152">
              <a:extLst>
                <a:ext uri="{FF2B5EF4-FFF2-40B4-BE49-F238E27FC236}">
                  <a16:creationId xmlns:a16="http://schemas.microsoft.com/office/drawing/2014/main" id="{9D90D6A8-2DAB-4C1A-9D9D-7615E3303858}"/>
                </a:ext>
              </a:extLst>
            </p:cNvPr>
            <p:cNvSpPr/>
            <p:nvPr/>
          </p:nvSpPr>
          <p:spPr>
            <a:xfrm rot="8716295">
              <a:off x="7377047" y="356941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4" name="Forme libre : forme 1153">
              <a:extLst>
                <a:ext uri="{FF2B5EF4-FFF2-40B4-BE49-F238E27FC236}">
                  <a16:creationId xmlns:a16="http://schemas.microsoft.com/office/drawing/2014/main" id="{49FBE6DC-FE15-41E4-B5B4-10D7B4864EFF}"/>
                </a:ext>
              </a:extLst>
            </p:cNvPr>
            <p:cNvSpPr/>
            <p:nvPr/>
          </p:nvSpPr>
          <p:spPr>
            <a:xfrm rot="8716295">
              <a:off x="7364995" y="343063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5" name="Forme libre : forme 1154">
              <a:extLst>
                <a:ext uri="{FF2B5EF4-FFF2-40B4-BE49-F238E27FC236}">
                  <a16:creationId xmlns:a16="http://schemas.microsoft.com/office/drawing/2014/main" id="{7D94CD64-B4CB-4A42-A476-CA0C3DFEE258}"/>
                </a:ext>
              </a:extLst>
            </p:cNvPr>
            <p:cNvSpPr/>
            <p:nvPr/>
          </p:nvSpPr>
          <p:spPr>
            <a:xfrm rot="8716295">
              <a:off x="7592128" y="381903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6" name="Forme libre : forme 1155">
              <a:extLst>
                <a:ext uri="{FF2B5EF4-FFF2-40B4-BE49-F238E27FC236}">
                  <a16:creationId xmlns:a16="http://schemas.microsoft.com/office/drawing/2014/main" id="{E15F6D57-42A0-4212-B322-938D731726CE}"/>
                </a:ext>
              </a:extLst>
            </p:cNvPr>
            <p:cNvSpPr/>
            <p:nvPr/>
          </p:nvSpPr>
          <p:spPr>
            <a:xfrm rot="8716295">
              <a:off x="7903283" y="343938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7" name="Forme libre : forme 1156">
              <a:extLst>
                <a:ext uri="{FF2B5EF4-FFF2-40B4-BE49-F238E27FC236}">
                  <a16:creationId xmlns:a16="http://schemas.microsoft.com/office/drawing/2014/main" id="{0096F62B-549C-4459-9305-3A442F92B5A1}"/>
                </a:ext>
              </a:extLst>
            </p:cNvPr>
            <p:cNvSpPr/>
            <p:nvPr/>
          </p:nvSpPr>
          <p:spPr>
            <a:xfrm rot="8716295">
              <a:off x="7992675" y="346863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8" name="Forme libre : forme 1157">
              <a:extLst>
                <a:ext uri="{FF2B5EF4-FFF2-40B4-BE49-F238E27FC236}">
                  <a16:creationId xmlns:a16="http://schemas.microsoft.com/office/drawing/2014/main" id="{3DE0E646-3932-4C85-B367-D7385C416577}"/>
                </a:ext>
              </a:extLst>
            </p:cNvPr>
            <p:cNvSpPr/>
            <p:nvPr/>
          </p:nvSpPr>
          <p:spPr>
            <a:xfrm rot="8716295">
              <a:off x="7791049" y="352793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9" name="Forme libre : forme 1158">
              <a:extLst>
                <a:ext uri="{FF2B5EF4-FFF2-40B4-BE49-F238E27FC236}">
                  <a16:creationId xmlns:a16="http://schemas.microsoft.com/office/drawing/2014/main" id="{340EEC8A-A514-4289-B2AE-301D73A339EB}"/>
                </a:ext>
              </a:extLst>
            </p:cNvPr>
            <p:cNvSpPr/>
            <p:nvPr/>
          </p:nvSpPr>
          <p:spPr>
            <a:xfrm rot="8716295">
              <a:off x="7666147" y="331926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0" name="Forme libre : forme 1159">
              <a:extLst>
                <a:ext uri="{FF2B5EF4-FFF2-40B4-BE49-F238E27FC236}">
                  <a16:creationId xmlns:a16="http://schemas.microsoft.com/office/drawing/2014/main" id="{BBF08D7F-AB50-4F5F-92DC-B2A874D297A9}"/>
                </a:ext>
              </a:extLst>
            </p:cNvPr>
            <p:cNvSpPr/>
            <p:nvPr/>
          </p:nvSpPr>
          <p:spPr>
            <a:xfrm rot="8716295">
              <a:off x="7881227" y="356888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1" name="Forme libre : forme 1160">
              <a:extLst>
                <a:ext uri="{FF2B5EF4-FFF2-40B4-BE49-F238E27FC236}">
                  <a16:creationId xmlns:a16="http://schemas.microsoft.com/office/drawing/2014/main" id="{AF11B51D-4A34-4A10-8CC2-9BAFA07FF6D7}"/>
                </a:ext>
              </a:extLst>
            </p:cNvPr>
            <p:cNvSpPr/>
            <p:nvPr/>
          </p:nvSpPr>
          <p:spPr>
            <a:xfrm rot="8716295">
              <a:off x="7639776" y="341928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2" name="Forme libre : forme 1161">
              <a:extLst>
                <a:ext uri="{FF2B5EF4-FFF2-40B4-BE49-F238E27FC236}">
                  <a16:creationId xmlns:a16="http://schemas.microsoft.com/office/drawing/2014/main" id="{19A2DF71-5EF9-42D2-9E22-9A592E16CE1F}"/>
                </a:ext>
              </a:extLst>
            </p:cNvPr>
            <p:cNvSpPr/>
            <p:nvPr/>
          </p:nvSpPr>
          <p:spPr>
            <a:xfrm rot="7484129">
              <a:off x="7986158" y="376023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3" name="Forme libre : forme 1162">
              <a:extLst>
                <a:ext uri="{FF2B5EF4-FFF2-40B4-BE49-F238E27FC236}">
                  <a16:creationId xmlns:a16="http://schemas.microsoft.com/office/drawing/2014/main" id="{ECF89376-999C-4FB6-A0B0-CD63B4196AF0}"/>
                </a:ext>
              </a:extLst>
            </p:cNvPr>
            <p:cNvSpPr/>
            <p:nvPr/>
          </p:nvSpPr>
          <p:spPr>
            <a:xfrm rot="13089394">
              <a:off x="8090978" y="372677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4" name="Forme libre : forme 1163">
              <a:extLst>
                <a:ext uri="{FF2B5EF4-FFF2-40B4-BE49-F238E27FC236}">
                  <a16:creationId xmlns:a16="http://schemas.microsoft.com/office/drawing/2014/main" id="{2FB7576F-977D-487A-A779-FFB16DC20CBE}"/>
                </a:ext>
              </a:extLst>
            </p:cNvPr>
            <p:cNvSpPr/>
            <p:nvPr/>
          </p:nvSpPr>
          <p:spPr>
            <a:xfrm rot="8716295">
              <a:off x="8276563" y="353508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5" name="Forme libre : forme 1164">
              <a:extLst>
                <a:ext uri="{FF2B5EF4-FFF2-40B4-BE49-F238E27FC236}">
                  <a16:creationId xmlns:a16="http://schemas.microsoft.com/office/drawing/2014/main" id="{B3B583BE-52BB-4659-A9E4-9638AD2373BB}"/>
                </a:ext>
              </a:extLst>
            </p:cNvPr>
            <p:cNvSpPr/>
            <p:nvPr/>
          </p:nvSpPr>
          <p:spPr>
            <a:xfrm rot="8716295">
              <a:off x="8224758" y="343149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6" name="Forme libre : forme 1165">
              <a:extLst>
                <a:ext uri="{FF2B5EF4-FFF2-40B4-BE49-F238E27FC236}">
                  <a16:creationId xmlns:a16="http://schemas.microsoft.com/office/drawing/2014/main" id="{C7154427-FACD-42B2-ADC3-A6FEB97A7B7A}"/>
                </a:ext>
              </a:extLst>
            </p:cNvPr>
            <p:cNvSpPr/>
            <p:nvPr/>
          </p:nvSpPr>
          <p:spPr>
            <a:xfrm rot="8716295">
              <a:off x="7981512" y="346171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7" name="Forme libre : forme 1166">
              <a:extLst>
                <a:ext uri="{FF2B5EF4-FFF2-40B4-BE49-F238E27FC236}">
                  <a16:creationId xmlns:a16="http://schemas.microsoft.com/office/drawing/2014/main" id="{846AA465-4FEC-4EA7-9F46-8AC26FB6F4CA}"/>
                </a:ext>
              </a:extLst>
            </p:cNvPr>
            <p:cNvSpPr/>
            <p:nvPr/>
          </p:nvSpPr>
          <p:spPr>
            <a:xfrm rot="8716295">
              <a:off x="8158964" y="330247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8" name="Forme libre : forme 1167">
              <a:extLst>
                <a:ext uri="{FF2B5EF4-FFF2-40B4-BE49-F238E27FC236}">
                  <a16:creationId xmlns:a16="http://schemas.microsoft.com/office/drawing/2014/main" id="{1C5A03CD-5F8E-4F7E-B077-E3D486F6E4FC}"/>
                </a:ext>
              </a:extLst>
            </p:cNvPr>
            <p:cNvSpPr/>
            <p:nvPr/>
          </p:nvSpPr>
          <p:spPr>
            <a:xfrm rot="8716295">
              <a:off x="7837351" y="434924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9" name="Forme libre : forme 1168">
              <a:extLst>
                <a:ext uri="{FF2B5EF4-FFF2-40B4-BE49-F238E27FC236}">
                  <a16:creationId xmlns:a16="http://schemas.microsoft.com/office/drawing/2014/main" id="{A3C54C69-E017-421B-9FCB-48E02E5B88D5}"/>
                </a:ext>
              </a:extLst>
            </p:cNvPr>
            <p:cNvSpPr/>
            <p:nvPr/>
          </p:nvSpPr>
          <p:spPr>
            <a:xfrm rot="8716295">
              <a:off x="7926743" y="437848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0" name="Forme libre : forme 1169">
              <a:extLst>
                <a:ext uri="{FF2B5EF4-FFF2-40B4-BE49-F238E27FC236}">
                  <a16:creationId xmlns:a16="http://schemas.microsoft.com/office/drawing/2014/main" id="{8629CE69-864F-4EE6-B494-A17DC76E667F}"/>
                </a:ext>
              </a:extLst>
            </p:cNvPr>
            <p:cNvSpPr/>
            <p:nvPr/>
          </p:nvSpPr>
          <p:spPr>
            <a:xfrm rot="8716295">
              <a:off x="7881893" y="429220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1" name="Forme libre : forme 1170">
              <a:extLst>
                <a:ext uri="{FF2B5EF4-FFF2-40B4-BE49-F238E27FC236}">
                  <a16:creationId xmlns:a16="http://schemas.microsoft.com/office/drawing/2014/main" id="{F6A5667A-39C4-44BA-804E-5395FBF424A8}"/>
                </a:ext>
              </a:extLst>
            </p:cNvPr>
            <p:cNvSpPr/>
            <p:nvPr/>
          </p:nvSpPr>
          <p:spPr>
            <a:xfrm rot="8716295">
              <a:off x="7725117" y="443778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2" name="Forme libre : forme 1171">
              <a:extLst>
                <a:ext uri="{FF2B5EF4-FFF2-40B4-BE49-F238E27FC236}">
                  <a16:creationId xmlns:a16="http://schemas.microsoft.com/office/drawing/2014/main" id="{66550BB0-7261-45C4-B672-89C2B638E15A}"/>
                </a:ext>
              </a:extLst>
            </p:cNvPr>
            <p:cNvSpPr/>
            <p:nvPr/>
          </p:nvSpPr>
          <p:spPr>
            <a:xfrm rot="8716295">
              <a:off x="7600214" y="422911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3" name="Forme libre : forme 1172">
              <a:extLst>
                <a:ext uri="{FF2B5EF4-FFF2-40B4-BE49-F238E27FC236}">
                  <a16:creationId xmlns:a16="http://schemas.microsoft.com/office/drawing/2014/main" id="{420EB997-CA34-4E05-86E2-81CD1690B28B}"/>
                </a:ext>
              </a:extLst>
            </p:cNvPr>
            <p:cNvSpPr/>
            <p:nvPr/>
          </p:nvSpPr>
          <p:spPr>
            <a:xfrm rot="8716295">
              <a:off x="7588162" y="4090331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4" name="Forme libre : forme 1173">
              <a:extLst>
                <a:ext uri="{FF2B5EF4-FFF2-40B4-BE49-F238E27FC236}">
                  <a16:creationId xmlns:a16="http://schemas.microsoft.com/office/drawing/2014/main" id="{F89D5A3F-20B8-4A58-8C23-93C433B8124B}"/>
                </a:ext>
              </a:extLst>
            </p:cNvPr>
            <p:cNvSpPr/>
            <p:nvPr/>
          </p:nvSpPr>
          <p:spPr>
            <a:xfrm rot="8716295">
              <a:off x="7815295" y="447873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5" name="Forme libre : forme 1174">
              <a:extLst>
                <a:ext uri="{FF2B5EF4-FFF2-40B4-BE49-F238E27FC236}">
                  <a16:creationId xmlns:a16="http://schemas.microsoft.com/office/drawing/2014/main" id="{3D6899F7-E78B-45C3-8C5E-9B72454B3CE5}"/>
                </a:ext>
              </a:extLst>
            </p:cNvPr>
            <p:cNvSpPr/>
            <p:nvPr/>
          </p:nvSpPr>
          <p:spPr>
            <a:xfrm rot="8716295">
              <a:off x="8126450" y="409908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6" name="Forme libre : forme 1175">
              <a:extLst>
                <a:ext uri="{FF2B5EF4-FFF2-40B4-BE49-F238E27FC236}">
                  <a16:creationId xmlns:a16="http://schemas.microsoft.com/office/drawing/2014/main" id="{4BE7A350-33AF-4013-BE12-592AC789A5B0}"/>
                </a:ext>
              </a:extLst>
            </p:cNvPr>
            <p:cNvSpPr/>
            <p:nvPr/>
          </p:nvSpPr>
          <p:spPr>
            <a:xfrm rot="8716295">
              <a:off x="8215842" y="412833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7" name="Forme libre : forme 1176">
              <a:extLst>
                <a:ext uri="{FF2B5EF4-FFF2-40B4-BE49-F238E27FC236}">
                  <a16:creationId xmlns:a16="http://schemas.microsoft.com/office/drawing/2014/main" id="{8CC775CD-B94F-4EE8-84DE-64B0E72EE88B}"/>
                </a:ext>
              </a:extLst>
            </p:cNvPr>
            <p:cNvSpPr/>
            <p:nvPr/>
          </p:nvSpPr>
          <p:spPr>
            <a:xfrm rot="8716295">
              <a:off x="8014216" y="418763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8" name="Forme libre : forme 1177">
              <a:extLst>
                <a:ext uri="{FF2B5EF4-FFF2-40B4-BE49-F238E27FC236}">
                  <a16:creationId xmlns:a16="http://schemas.microsoft.com/office/drawing/2014/main" id="{D5C7DC3C-BE17-4FC7-B720-096C91CE00BF}"/>
                </a:ext>
              </a:extLst>
            </p:cNvPr>
            <p:cNvSpPr/>
            <p:nvPr/>
          </p:nvSpPr>
          <p:spPr>
            <a:xfrm rot="8716295">
              <a:off x="7889314" y="397895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9" name="Forme libre : forme 1178">
              <a:extLst>
                <a:ext uri="{FF2B5EF4-FFF2-40B4-BE49-F238E27FC236}">
                  <a16:creationId xmlns:a16="http://schemas.microsoft.com/office/drawing/2014/main" id="{6BDC2261-090A-49AA-8E70-A2121C18643A}"/>
                </a:ext>
              </a:extLst>
            </p:cNvPr>
            <p:cNvSpPr/>
            <p:nvPr/>
          </p:nvSpPr>
          <p:spPr>
            <a:xfrm rot="8716295">
              <a:off x="8104394" y="422858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0" name="Forme libre : forme 1179">
              <a:extLst>
                <a:ext uri="{FF2B5EF4-FFF2-40B4-BE49-F238E27FC236}">
                  <a16:creationId xmlns:a16="http://schemas.microsoft.com/office/drawing/2014/main" id="{E0B0FE31-338C-48EF-82D0-84F5E36B60EC}"/>
                </a:ext>
              </a:extLst>
            </p:cNvPr>
            <p:cNvSpPr/>
            <p:nvPr/>
          </p:nvSpPr>
          <p:spPr>
            <a:xfrm rot="8716295">
              <a:off x="7862943" y="407898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1" name="Forme libre : forme 1180">
              <a:extLst>
                <a:ext uri="{FF2B5EF4-FFF2-40B4-BE49-F238E27FC236}">
                  <a16:creationId xmlns:a16="http://schemas.microsoft.com/office/drawing/2014/main" id="{0109B29D-4E66-45E1-8B31-E15A265250AC}"/>
                </a:ext>
              </a:extLst>
            </p:cNvPr>
            <p:cNvSpPr/>
            <p:nvPr/>
          </p:nvSpPr>
          <p:spPr>
            <a:xfrm rot="7484129">
              <a:off x="8209325" y="441993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2" name="Forme libre : forme 1181">
              <a:extLst>
                <a:ext uri="{FF2B5EF4-FFF2-40B4-BE49-F238E27FC236}">
                  <a16:creationId xmlns:a16="http://schemas.microsoft.com/office/drawing/2014/main" id="{3FAC18C9-44B5-40A5-96E0-CFC26768C4D4}"/>
                </a:ext>
              </a:extLst>
            </p:cNvPr>
            <p:cNvSpPr/>
            <p:nvPr/>
          </p:nvSpPr>
          <p:spPr>
            <a:xfrm rot="13089394">
              <a:off x="8314145" y="4386469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3" name="Forme libre : forme 1182">
              <a:extLst>
                <a:ext uri="{FF2B5EF4-FFF2-40B4-BE49-F238E27FC236}">
                  <a16:creationId xmlns:a16="http://schemas.microsoft.com/office/drawing/2014/main" id="{4E3D2B23-BEFF-40D9-B6DB-37F124FD3C95}"/>
                </a:ext>
              </a:extLst>
            </p:cNvPr>
            <p:cNvSpPr/>
            <p:nvPr/>
          </p:nvSpPr>
          <p:spPr>
            <a:xfrm rot="8716295">
              <a:off x="8499730" y="419478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4" name="Forme libre : forme 1183">
              <a:extLst>
                <a:ext uri="{FF2B5EF4-FFF2-40B4-BE49-F238E27FC236}">
                  <a16:creationId xmlns:a16="http://schemas.microsoft.com/office/drawing/2014/main" id="{28DC055A-3C20-403E-B18A-B01A6D4D41D9}"/>
                </a:ext>
              </a:extLst>
            </p:cNvPr>
            <p:cNvSpPr/>
            <p:nvPr/>
          </p:nvSpPr>
          <p:spPr>
            <a:xfrm rot="8716295">
              <a:off x="8447925" y="409119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5" name="Forme libre : forme 1184">
              <a:extLst>
                <a:ext uri="{FF2B5EF4-FFF2-40B4-BE49-F238E27FC236}">
                  <a16:creationId xmlns:a16="http://schemas.microsoft.com/office/drawing/2014/main" id="{4FC27D3B-4F75-4013-B2B8-3865EB368D2F}"/>
                </a:ext>
              </a:extLst>
            </p:cNvPr>
            <p:cNvSpPr/>
            <p:nvPr/>
          </p:nvSpPr>
          <p:spPr>
            <a:xfrm rot="8716295">
              <a:off x="8204679" y="412141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6" name="Forme libre : forme 1185">
              <a:extLst>
                <a:ext uri="{FF2B5EF4-FFF2-40B4-BE49-F238E27FC236}">
                  <a16:creationId xmlns:a16="http://schemas.microsoft.com/office/drawing/2014/main" id="{AA78BC68-C129-41C5-BCC5-3BDBF1C6DDA8}"/>
                </a:ext>
              </a:extLst>
            </p:cNvPr>
            <p:cNvSpPr/>
            <p:nvPr/>
          </p:nvSpPr>
          <p:spPr>
            <a:xfrm rot="8716295">
              <a:off x="8382131" y="396217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7" name="Forme libre : forme 1186">
              <a:extLst>
                <a:ext uri="{FF2B5EF4-FFF2-40B4-BE49-F238E27FC236}">
                  <a16:creationId xmlns:a16="http://schemas.microsoft.com/office/drawing/2014/main" id="{AB1FFA2C-792B-47BA-B840-8265A523ABB9}"/>
                </a:ext>
              </a:extLst>
            </p:cNvPr>
            <p:cNvSpPr/>
            <p:nvPr/>
          </p:nvSpPr>
          <p:spPr>
            <a:xfrm rot="8716295">
              <a:off x="6950829" y="171047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8" name="Forme libre : forme 1187">
              <a:extLst>
                <a:ext uri="{FF2B5EF4-FFF2-40B4-BE49-F238E27FC236}">
                  <a16:creationId xmlns:a16="http://schemas.microsoft.com/office/drawing/2014/main" id="{1340850E-4196-4DCD-9404-99CDA26BEA50}"/>
                </a:ext>
              </a:extLst>
            </p:cNvPr>
            <p:cNvSpPr/>
            <p:nvPr/>
          </p:nvSpPr>
          <p:spPr>
            <a:xfrm rot="8716295">
              <a:off x="7040221" y="173971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9" name="Forme libre : forme 1188">
              <a:extLst>
                <a:ext uri="{FF2B5EF4-FFF2-40B4-BE49-F238E27FC236}">
                  <a16:creationId xmlns:a16="http://schemas.microsoft.com/office/drawing/2014/main" id="{E59EE44C-1FC2-4EAA-9CFD-E7A5FA798CFB}"/>
                </a:ext>
              </a:extLst>
            </p:cNvPr>
            <p:cNvSpPr/>
            <p:nvPr/>
          </p:nvSpPr>
          <p:spPr>
            <a:xfrm rot="8716295">
              <a:off x="6995371" y="165343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0" name="Forme libre : forme 1189">
              <a:extLst>
                <a:ext uri="{FF2B5EF4-FFF2-40B4-BE49-F238E27FC236}">
                  <a16:creationId xmlns:a16="http://schemas.microsoft.com/office/drawing/2014/main" id="{C6B79EE2-6C49-4D52-A8CF-44579DD6EFF4}"/>
                </a:ext>
              </a:extLst>
            </p:cNvPr>
            <p:cNvSpPr/>
            <p:nvPr/>
          </p:nvSpPr>
          <p:spPr>
            <a:xfrm rot="8716295">
              <a:off x="6838595" y="179901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1" name="Forme libre : forme 1190">
              <a:extLst>
                <a:ext uri="{FF2B5EF4-FFF2-40B4-BE49-F238E27FC236}">
                  <a16:creationId xmlns:a16="http://schemas.microsoft.com/office/drawing/2014/main" id="{C13E9905-F473-4E72-BA1A-3BCA03F6BE9A}"/>
                </a:ext>
              </a:extLst>
            </p:cNvPr>
            <p:cNvSpPr/>
            <p:nvPr/>
          </p:nvSpPr>
          <p:spPr>
            <a:xfrm rot="8716295">
              <a:off x="6713692" y="159034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2" name="Forme libre : forme 1191">
              <a:extLst>
                <a:ext uri="{FF2B5EF4-FFF2-40B4-BE49-F238E27FC236}">
                  <a16:creationId xmlns:a16="http://schemas.microsoft.com/office/drawing/2014/main" id="{40BA29EB-56BC-4FAD-86A4-0A628B321930}"/>
                </a:ext>
              </a:extLst>
            </p:cNvPr>
            <p:cNvSpPr/>
            <p:nvPr/>
          </p:nvSpPr>
          <p:spPr>
            <a:xfrm rot="8716295">
              <a:off x="6701640" y="145156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3" name="Forme libre : forme 1192">
              <a:extLst>
                <a:ext uri="{FF2B5EF4-FFF2-40B4-BE49-F238E27FC236}">
                  <a16:creationId xmlns:a16="http://schemas.microsoft.com/office/drawing/2014/main" id="{95F7CF15-1FFD-4AFF-91F7-2E7EEF3CE144}"/>
                </a:ext>
              </a:extLst>
            </p:cNvPr>
            <p:cNvSpPr/>
            <p:nvPr/>
          </p:nvSpPr>
          <p:spPr>
            <a:xfrm rot="8716295">
              <a:off x="6928773" y="183996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4" name="Forme libre : forme 1193">
              <a:extLst>
                <a:ext uri="{FF2B5EF4-FFF2-40B4-BE49-F238E27FC236}">
                  <a16:creationId xmlns:a16="http://schemas.microsoft.com/office/drawing/2014/main" id="{947C422F-B3CC-4BA9-A815-4BFF8E1CD09A}"/>
                </a:ext>
              </a:extLst>
            </p:cNvPr>
            <p:cNvSpPr/>
            <p:nvPr/>
          </p:nvSpPr>
          <p:spPr>
            <a:xfrm rot="8716295">
              <a:off x="7239928" y="146032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5" name="Forme libre : forme 1194">
              <a:extLst>
                <a:ext uri="{FF2B5EF4-FFF2-40B4-BE49-F238E27FC236}">
                  <a16:creationId xmlns:a16="http://schemas.microsoft.com/office/drawing/2014/main" id="{EA8D18A5-23F7-4D1E-A33B-42E161986869}"/>
                </a:ext>
              </a:extLst>
            </p:cNvPr>
            <p:cNvSpPr/>
            <p:nvPr/>
          </p:nvSpPr>
          <p:spPr>
            <a:xfrm rot="8716295">
              <a:off x="7329320" y="148956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6" name="Forme libre : forme 1195">
              <a:extLst>
                <a:ext uri="{FF2B5EF4-FFF2-40B4-BE49-F238E27FC236}">
                  <a16:creationId xmlns:a16="http://schemas.microsoft.com/office/drawing/2014/main" id="{90520389-A6A6-49A2-BB39-41FD8B6EF60F}"/>
                </a:ext>
              </a:extLst>
            </p:cNvPr>
            <p:cNvSpPr/>
            <p:nvPr/>
          </p:nvSpPr>
          <p:spPr>
            <a:xfrm rot="8716295">
              <a:off x="7127694" y="154886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7" name="Forme libre : forme 1196">
              <a:extLst>
                <a:ext uri="{FF2B5EF4-FFF2-40B4-BE49-F238E27FC236}">
                  <a16:creationId xmlns:a16="http://schemas.microsoft.com/office/drawing/2014/main" id="{EE879CA0-425E-4E55-AC41-43CE23168272}"/>
                </a:ext>
              </a:extLst>
            </p:cNvPr>
            <p:cNvSpPr/>
            <p:nvPr/>
          </p:nvSpPr>
          <p:spPr>
            <a:xfrm rot="8716295">
              <a:off x="7002792" y="134019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8" name="Forme libre : forme 1197">
              <a:extLst>
                <a:ext uri="{FF2B5EF4-FFF2-40B4-BE49-F238E27FC236}">
                  <a16:creationId xmlns:a16="http://schemas.microsoft.com/office/drawing/2014/main" id="{CC45E380-8DC0-4437-8CAE-10BBE8319094}"/>
                </a:ext>
              </a:extLst>
            </p:cNvPr>
            <p:cNvSpPr/>
            <p:nvPr/>
          </p:nvSpPr>
          <p:spPr>
            <a:xfrm rot="8716295">
              <a:off x="7217872" y="158981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9" name="Forme libre : forme 1198">
              <a:extLst>
                <a:ext uri="{FF2B5EF4-FFF2-40B4-BE49-F238E27FC236}">
                  <a16:creationId xmlns:a16="http://schemas.microsoft.com/office/drawing/2014/main" id="{A7F354BB-9DA2-43FD-82DC-9135B0A54746}"/>
                </a:ext>
              </a:extLst>
            </p:cNvPr>
            <p:cNvSpPr/>
            <p:nvPr/>
          </p:nvSpPr>
          <p:spPr>
            <a:xfrm rot="8716295">
              <a:off x="6976421" y="144021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0" name="Forme libre : forme 1199">
              <a:extLst>
                <a:ext uri="{FF2B5EF4-FFF2-40B4-BE49-F238E27FC236}">
                  <a16:creationId xmlns:a16="http://schemas.microsoft.com/office/drawing/2014/main" id="{629D5918-99E3-4AFB-9828-C7C893447217}"/>
                </a:ext>
              </a:extLst>
            </p:cNvPr>
            <p:cNvSpPr/>
            <p:nvPr/>
          </p:nvSpPr>
          <p:spPr>
            <a:xfrm rot="7484129">
              <a:off x="7322803" y="178116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1" name="Forme libre : forme 1200">
              <a:extLst>
                <a:ext uri="{FF2B5EF4-FFF2-40B4-BE49-F238E27FC236}">
                  <a16:creationId xmlns:a16="http://schemas.microsoft.com/office/drawing/2014/main" id="{2B5BC839-D232-40BF-9839-AF973EE23896}"/>
                </a:ext>
              </a:extLst>
            </p:cNvPr>
            <p:cNvSpPr/>
            <p:nvPr/>
          </p:nvSpPr>
          <p:spPr>
            <a:xfrm rot="13089394">
              <a:off x="7427623" y="1747701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2" name="Forme libre : forme 1201">
              <a:extLst>
                <a:ext uri="{FF2B5EF4-FFF2-40B4-BE49-F238E27FC236}">
                  <a16:creationId xmlns:a16="http://schemas.microsoft.com/office/drawing/2014/main" id="{17F8EB19-741C-4F5D-8114-83E4E38C0BD0}"/>
                </a:ext>
              </a:extLst>
            </p:cNvPr>
            <p:cNvSpPr/>
            <p:nvPr/>
          </p:nvSpPr>
          <p:spPr>
            <a:xfrm rot="8716295">
              <a:off x="7613208" y="155602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3" name="Forme libre : forme 1202">
              <a:extLst>
                <a:ext uri="{FF2B5EF4-FFF2-40B4-BE49-F238E27FC236}">
                  <a16:creationId xmlns:a16="http://schemas.microsoft.com/office/drawing/2014/main" id="{72D1D28C-63E4-4163-9C3E-64676831F0B1}"/>
                </a:ext>
              </a:extLst>
            </p:cNvPr>
            <p:cNvSpPr/>
            <p:nvPr/>
          </p:nvSpPr>
          <p:spPr>
            <a:xfrm rot="8716295">
              <a:off x="7561403" y="145242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4" name="Forme libre : forme 1203">
              <a:extLst>
                <a:ext uri="{FF2B5EF4-FFF2-40B4-BE49-F238E27FC236}">
                  <a16:creationId xmlns:a16="http://schemas.microsoft.com/office/drawing/2014/main" id="{B09D03B7-6104-4FA1-85AD-34E5E1086C66}"/>
                </a:ext>
              </a:extLst>
            </p:cNvPr>
            <p:cNvSpPr/>
            <p:nvPr/>
          </p:nvSpPr>
          <p:spPr>
            <a:xfrm rot="8716295">
              <a:off x="7318157" y="148264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5" name="Forme libre : forme 1204">
              <a:extLst>
                <a:ext uri="{FF2B5EF4-FFF2-40B4-BE49-F238E27FC236}">
                  <a16:creationId xmlns:a16="http://schemas.microsoft.com/office/drawing/2014/main" id="{DF608D14-5B9F-44E8-A664-3F90091BB211}"/>
                </a:ext>
              </a:extLst>
            </p:cNvPr>
            <p:cNvSpPr/>
            <p:nvPr/>
          </p:nvSpPr>
          <p:spPr>
            <a:xfrm rot="8716295">
              <a:off x="7495609" y="132340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6" name="Forme libre : forme 1205">
              <a:extLst>
                <a:ext uri="{FF2B5EF4-FFF2-40B4-BE49-F238E27FC236}">
                  <a16:creationId xmlns:a16="http://schemas.microsoft.com/office/drawing/2014/main" id="{7A151D09-AFBB-4FA0-B1C3-A8DD66CD3D63}"/>
                </a:ext>
              </a:extLst>
            </p:cNvPr>
            <p:cNvSpPr/>
            <p:nvPr/>
          </p:nvSpPr>
          <p:spPr>
            <a:xfrm rot="8716295">
              <a:off x="6727662" y="105077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7" name="Forme libre : forme 1206">
              <a:extLst>
                <a:ext uri="{FF2B5EF4-FFF2-40B4-BE49-F238E27FC236}">
                  <a16:creationId xmlns:a16="http://schemas.microsoft.com/office/drawing/2014/main" id="{537DC097-29D2-46CB-98BF-879E7F90C023}"/>
                </a:ext>
              </a:extLst>
            </p:cNvPr>
            <p:cNvSpPr/>
            <p:nvPr/>
          </p:nvSpPr>
          <p:spPr>
            <a:xfrm rot="8716295">
              <a:off x="6817054" y="108001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8" name="Forme libre : forme 1207">
              <a:extLst>
                <a:ext uri="{FF2B5EF4-FFF2-40B4-BE49-F238E27FC236}">
                  <a16:creationId xmlns:a16="http://schemas.microsoft.com/office/drawing/2014/main" id="{2DFEF32C-E4B4-44C9-A69A-253F120A6BFE}"/>
                </a:ext>
              </a:extLst>
            </p:cNvPr>
            <p:cNvSpPr/>
            <p:nvPr/>
          </p:nvSpPr>
          <p:spPr>
            <a:xfrm rot="8716295">
              <a:off x="6772204" y="99373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9" name="Forme libre : forme 1208">
              <a:extLst>
                <a:ext uri="{FF2B5EF4-FFF2-40B4-BE49-F238E27FC236}">
                  <a16:creationId xmlns:a16="http://schemas.microsoft.com/office/drawing/2014/main" id="{414D5FAB-9669-4C92-BDB9-096006C9E3F3}"/>
                </a:ext>
              </a:extLst>
            </p:cNvPr>
            <p:cNvSpPr/>
            <p:nvPr/>
          </p:nvSpPr>
          <p:spPr>
            <a:xfrm rot="8716295">
              <a:off x="6615428" y="113931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0" name="Forme libre : forme 1209">
              <a:extLst>
                <a:ext uri="{FF2B5EF4-FFF2-40B4-BE49-F238E27FC236}">
                  <a16:creationId xmlns:a16="http://schemas.microsoft.com/office/drawing/2014/main" id="{33070C28-3765-49B2-B940-22EBB7C77257}"/>
                </a:ext>
              </a:extLst>
            </p:cNvPr>
            <p:cNvSpPr/>
            <p:nvPr/>
          </p:nvSpPr>
          <p:spPr>
            <a:xfrm rot="8716295">
              <a:off x="6490525" y="93064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1" name="Forme libre : forme 1210">
              <a:extLst>
                <a:ext uri="{FF2B5EF4-FFF2-40B4-BE49-F238E27FC236}">
                  <a16:creationId xmlns:a16="http://schemas.microsoft.com/office/drawing/2014/main" id="{3E91FBF7-F71A-4004-BD6B-3B4CA8CC5BC1}"/>
                </a:ext>
              </a:extLst>
            </p:cNvPr>
            <p:cNvSpPr/>
            <p:nvPr/>
          </p:nvSpPr>
          <p:spPr>
            <a:xfrm rot="8716295">
              <a:off x="6478473" y="79186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2" name="Forme libre : forme 1211">
              <a:extLst>
                <a:ext uri="{FF2B5EF4-FFF2-40B4-BE49-F238E27FC236}">
                  <a16:creationId xmlns:a16="http://schemas.microsoft.com/office/drawing/2014/main" id="{DEC26DC2-9B7C-4ED5-8F46-A9DE3CC1E8F6}"/>
                </a:ext>
              </a:extLst>
            </p:cNvPr>
            <p:cNvSpPr/>
            <p:nvPr/>
          </p:nvSpPr>
          <p:spPr>
            <a:xfrm rot="8716295">
              <a:off x="6705606" y="118026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3" name="Forme libre : forme 1212">
              <a:extLst>
                <a:ext uri="{FF2B5EF4-FFF2-40B4-BE49-F238E27FC236}">
                  <a16:creationId xmlns:a16="http://schemas.microsoft.com/office/drawing/2014/main" id="{AEE9DF08-A4FF-4C9E-9471-932A27226041}"/>
                </a:ext>
              </a:extLst>
            </p:cNvPr>
            <p:cNvSpPr/>
            <p:nvPr/>
          </p:nvSpPr>
          <p:spPr>
            <a:xfrm rot="8716295">
              <a:off x="7016761" y="80062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4" name="Forme libre : forme 1213">
              <a:extLst>
                <a:ext uri="{FF2B5EF4-FFF2-40B4-BE49-F238E27FC236}">
                  <a16:creationId xmlns:a16="http://schemas.microsoft.com/office/drawing/2014/main" id="{A4F04E13-842A-4005-8B9F-7B34EAAE6EED}"/>
                </a:ext>
              </a:extLst>
            </p:cNvPr>
            <p:cNvSpPr/>
            <p:nvPr/>
          </p:nvSpPr>
          <p:spPr>
            <a:xfrm rot="8716295">
              <a:off x="7106153" y="82986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5" name="Forme libre : forme 1214">
              <a:extLst>
                <a:ext uri="{FF2B5EF4-FFF2-40B4-BE49-F238E27FC236}">
                  <a16:creationId xmlns:a16="http://schemas.microsoft.com/office/drawing/2014/main" id="{F5247EBE-0FCF-4EAA-AB3A-810D83F18B0E}"/>
                </a:ext>
              </a:extLst>
            </p:cNvPr>
            <p:cNvSpPr/>
            <p:nvPr/>
          </p:nvSpPr>
          <p:spPr>
            <a:xfrm rot="8716295">
              <a:off x="6904527" y="88916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6" name="Forme libre : forme 1215">
              <a:extLst>
                <a:ext uri="{FF2B5EF4-FFF2-40B4-BE49-F238E27FC236}">
                  <a16:creationId xmlns:a16="http://schemas.microsoft.com/office/drawing/2014/main" id="{C7BAA05C-D979-45BB-B4AB-BF6D372F6625}"/>
                </a:ext>
              </a:extLst>
            </p:cNvPr>
            <p:cNvSpPr/>
            <p:nvPr/>
          </p:nvSpPr>
          <p:spPr>
            <a:xfrm rot="8716295">
              <a:off x="6779625" y="68049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7" name="Forme libre : forme 1216">
              <a:extLst>
                <a:ext uri="{FF2B5EF4-FFF2-40B4-BE49-F238E27FC236}">
                  <a16:creationId xmlns:a16="http://schemas.microsoft.com/office/drawing/2014/main" id="{5E1B5732-0C73-4728-BB7A-E84990C08201}"/>
                </a:ext>
              </a:extLst>
            </p:cNvPr>
            <p:cNvSpPr/>
            <p:nvPr/>
          </p:nvSpPr>
          <p:spPr>
            <a:xfrm rot="8716295">
              <a:off x="6994705" y="93011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8" name="Forme libre : forme 1217">
              <a:extLst>
                <a:ext uri="{FF2B5EF4-FFF2-40B4-BE49-F238E27FC236}">
                  <a16:creationId xmlns:a16="http://schemas.microsoft.com/office/drawing/2014/main" id="{C9672C88-6D83-47B9-B7AE-2C7AC95A35BB}"/>
                </a:ext>
              </a:extLst>
            </p:cNvPr>
            <p:cNvSpPr/>
            <p:nvPr/>
          </p:nvSpPr>
          <p:spPr>
            <a:xfrm rot="8716295">
              <a:off x="6753254" y="78051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9" name="Forme libre : forme 1218">
              <a:extLst>
                <a:ext uri="{FF2B5EF4-FFF2-40B4-BE49-F238E27FC236}">
                  <a16:creationId xmlns:a16="http://schemas.microsoft.com/office/drawing/2014/main" id="{7E8C7D36-8D7B-4EC3-8272-B128D4C63C8D}"/>
                </a:ext>
              </a:extLst>
            </p:cNvPr>
            <p:cNvSpPr/>
            <p:nvPr/>
          </p:nvSpPr>
          <p:spPr>
            <a:xfrm rot="7484129">
              <a:off x="7099636" y="112146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0" name="Forme libre : forme 1219">
              <a:extLst>
                <a:ext uri="{FF2B5EF4-FFF2-40B4-BE49-F238E27FC236}">
                  <a16:creationId xmlns:a16="http://schemas.microsoft.com/office/drawing/2014/main" id="{328F1E42-AB6A-4F60-8C64-A19DEE7C769E}"/>
                </a:ext>
              </a:extLst>
            </p:cNvPr>
            <p:cNvSpPr/>
            <p:nvPr/>
          </p:nvSpPr>
          <p:spPr>
            <a:xfrm rot="13089394">
              <a:off x="7204456" y="108800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1" name="Forme libre : forme 1220">
              <a:extLst>
                <a:ext uri="{FF2B5EF4-FFF2-40B4-BE49-F238E27FC236}">
                  <a16:creationId xmlns:a16="http://schemas.microsoft.com/office/drawing/2014/main" id="{509D4D12-E9CA-410B-BB0F-D0713E56A398}"/>
                </a:ext>
              </a:extLst>
            </p:cNvPr>
            <p:cNvSpPr/>
            <p:nvPr/>
          </p:nvSpPr>
          <p:spPr>
            <a:xfrm rot="8716295">
              <a:off x="7390041" y="89632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2" name="Forme libre : forme 1221">
              <a:extLst>
                <a:ext uri="{FF2B5EF4-FFF2-40B4-BE49-F238E27FC236}">
                  <a16:creationId xmlns:a16="http://schemas.microsoft.com/office/drawing/2014/main" id="{830904F0-D47A-4A6A-8ABD-BDF673EC72D4}"/>
                </a:ext>
              </a:extLst>
            </p:cNvPr>
            <p:cNvSpPr/>
            <p:nvPr/>
          </p:nvSpPr>
          <p:spPr>
            <a:xfrm rot="8716295">
              <a:off x="7338236" y="79272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3" name="Forme libre : forme 1222">
              <a:extLst>
                <a:ext uri="{FF2B5EF4-FFF2-40B4-BE49-F238E27FC236}">
                  <a16:creationId xmlns:a16="http://schemas.microsoft.com/office/drawing/2014/main" id="{B303CAC1-0497-41B6-AE51-AFDB58DA234D}"/>
                </a:ext>
              </a:extLst>
            </p:cNvPr>
            <p:cNvSpPr/>
            <p:nvPr/>
          </p:nvSpPr>
          <p:spPr>
            <a:xfrm rot="8716295">
              <a:off x="7094990" y="82294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4" name="Forme libre : forme 1223">
              <a:extLst>
                <a:ext uri="{FF2B5EF4-FFF2-40B4-BE49-F238E27FC236}">
                  <a16:creationId xmlns:a16="http://schemas.microsoft.com/office/drawing/2014/main" id="{7AB18378-0E44-4AB1-8DD6-2E92F7CD14AF}"/>
                </a:ext>
              </a:extLst>
            </p:cNvPr>
            <p:cNvSpPr/>
            <p:nvPr/>
          </p:nvSpPr>
          <p:spPr>
            <a:xfrm rot="8716295">
              <a:off x="7272442" y="66370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5" name="Forme libre : forme 1224">
              <a:extLst>
                <a:ext uri="{FF2B5EF4-FFF2-40B4-BE49-F238E27FC236}">
                  <a16:creationId xmlns:a16="http://schemas.microsoft.com/office/drawing/2014/main" id="{F703561A-BE93-421B-BC6A-B698ECD7F8E2}"/>
                </a:ext>
              </a:extLst>
            </p:cNvPr>
            <p:cNvSpPr/>
            <p:nvPr/>
          </p:nvSpPr>
          <p:spPr>
            <a:xfrm rot="8716295">
              <a:off x="6508723" y="38871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6" name="Forme libre : forme 1225">
              <a:extLst>
                <a:ext uri="{FF2B5EF4-FFF2-40B4-BE49-F238E27FC236}">
                  <a16:creationId xmlns:a16="http://schemas.microsoft.com/office/drawing/2014/main" id="{6483B125-4CCB-42BB-A5D9-88213C0491CD}"/>
                </a:ext>
              </a:extLst>
            </p:cNvPr>
            <p:cNvSpPr/>
            <p:nvPr/>
          </p:nvSpPr>
          <p:spPr>
            <a:xfrm rot="8716295">
              <a:off x="6598115" y="41795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7" name="Forme libre : forme 1226">
              <a:extLst>
                <a:ext uri="{FF2B5EF4-FFF2-40B4-BE49-F238E27FC236}">
                  <a16:creationId xmlns:a16="http://schemas.microsoft.com/office/drawing/2014/main" id="{A49BDE23-F77C-4882-B6C8-151A102158FC}"/>
                </a:ext>
              </a:extLst>
            </p:cNvPr>
            <p:cNvSpPr/>
            <p:nvPr/>
          </p:nvSpPr>
          <p:spPr>
            <a:xfrm rot="8716295">
              <a:off x="6553265" y="33167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8" name="Forme libre : forme 1227">
              <a:extLst>
                <a:ext uri="{FF2B5EF4-FFF2-40B4-BE49-F238E27FC236}">
                  <a16:creationId xmlns:a16="http://schemas.microsoft.com/office/drawing/2014/main" id="{C40CBD4D-C196-457C-9A88-EDB02C0969CB}"/>
                </a:ext>
              </a:extLst>
            </p:cNvPr>
            <p:cNvSpPr/>
            <p:nvPr/>
          </p:nvSpPr>
          <p:spPr>
            <a:xfrm rot="8716295">
              <a:off x="6396489" y="47725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9" name="Forme libre : forme 1228">
              <a:extLst>
                <a:ext uri="{FF2B5EF4-FFF2-40B4-BE49-F238E27FC236}">
                  <a16:creationId xmlns:a16="http://schemas.microsoft.com/office/drawing/2014/main" id="{A27EEF75-7221-4666-98E0-0825D37EA836}"/>
                </a:ext>
              </a:extLst>
            </p:cNvPr>
            <p:cNvSpPr/>
            <p:nvPr/>
          </p:nvSpPr>
          <p:spPr>
            <a:xfrm rot="8716295">
              <a:off x="6271586" y="26858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0" name="Forme libre : forme 1229">
              <a:extLst>
                <a:ext uri="{FF2B5EF4-FFF2-40B4-BE49-F238E27FC236}">
                  <a16:creationId xmlns:a16="http://schemas.microsoft.com/office/drawing/2014/main" id="{B5E1367D-C065-41FF-91C9-C5A9486DC9ED}"/>
                </a:ext>
              </a:extLst>
            </p:cNvPr>
            <p:cNvSpPr/>
            <p:nvPr/>
          </p:nvSpPr>
          <p:spPr>
            <a:xfrm rot="8716295">
              <a:off x="6259534" y="12980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1" name="Forme libre : forme 1230">
              <a:extLst>
                <a:ext uri="{FF2B5EF4-FFF2-40B4-BE49-F238E27FC236}">
                  <a16:creationId xmlns:a16="http://schemas.microsoft.com/office/drawing/2014/main" id="{1913EF5B-0FAD-4DB9-AE2C-65D6AB9888CC}"/>
                </a:ext>
              </a:extLst>
            </p:cNvPr>
            <p:cNvSpPr/>
            <p:nvPr/>
          </p:nvSpPr>
          <p:spPr>
            <a:xfrm rot="8716295">
              <a:off x="6486667" y="51821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2" name="Forme libre : forme 1231">
              <a:extLst>
                <a:ext uri="{FF2B5EF4-FFF2-40B4-BE49-F238E27FC236}">
                  <a16:creationId xmlns:a16="http://schemas.microsoft.com/office/drawing/2014/main" id="{EC81A569-5FA3-4248-96EC-9B1D26C84996}"/>
                </a:ext>
              </a:extLst>
            </p:cNvPr>
            <p:cNvSpPr/>
            <p:nvPr/>
          </p:nvSpPr>
          <p:spPr>
            <a:xfrm rot="8716295">
              <a:off x="6797822" y="13856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3" name="Forme libre : forme 1232">
              <a:extLst>
                <a:ext uri="{FF2B5EF4-FFF2-40B4-BE49-F238E27FC236}">
                  <a16:creationId xmlns:a16="http://schemas.microsoft.com/office/drawing/2014/main" id="{A22DBA90-02BD-4F3A-BDB3-FE0902AA9AB8}"/>
                </a:ext>
              </a:extLst>
            </p:cNvPr>
            <p:cNvSpPr/>
            <p:nvPr/>
          </p:nvSpPr>
          <p:spPr>
            <a:xfrm rot="8716295">
              <a:off x="6887214" y="16780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4" name="Forme libre : forme 1233">
              <a:extLst>
                <a:ext uri="{FF2B5EF4-FFF2-40B4-BE49-F238E27FC236}">
                  <a16:creationId xmlns:a16="http://schemas.microsoft.com/office/drawing/2014/main" id="{FEF05712-8A56-4367-8FEE-945FBECD01B5}"/>
                </a:ext>
              </a:extLst>
            </p:cNvPr>
            <p:cNvSpPr/>
            <p:nvPr/>
          </p:nvSpPr>
          <p:spPr>
            <a:xfrm rot="8716295">
              <a:off x="6685588" y="22710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5" name="Forme libre : forme 1234">
              <a:extLst>
                <a:ext uri="{FF2B5EF4-FFF2-40B4-BE49-F238E27FC236}">
                  <a16:creationId xmlns:a16="http://schemas.microsoft.com/office/drawing/2014/main" id="{2E8C24E9-575D-4C62-9BD6-2C78B3992080}"/>
                </a:ext>
              </a:extLst>
            </p:cNvPr>
            <p:cNvSpPr/>
            <p:nvPr/>
          </p:nvSpPr>
          <p:spPr>
            <a:xfrm rot="8716295">
              <a:off x="6560686" y="1843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6" name="Forme libre : forme 1235">
              <a:extLst>
                <a:ext uri="{FF2B5EF4-FFF2-40B4-BE49-F238E27FC236}">
                  <a16:creationId xmlns:a16="http://schemas.microsoft.com/office/drawing/2014/main" id="{7FFD2C46-732D-4C6D-86D8-43D8100DC4BB}"/>
                </a:ext>
              </a:extLst>
            </p:cNvPr>
            <p:cNvSpPr/>
            <p:nvPr/>
          </p:nvSpPr>
          <p:spPr>
            <a:xfrm rot="8716295">
              <a:off x="6775766" y="26805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7" name="Forme libre : forme 1236">
              <a:extLst>
                <a:ext uri="{FF2B5EF4-FFF2-40B4-BE49-F238E27FC236}">
                  <a16:creationId xmlns:a16="http://schemas.microsoft.com/office/drawing/2014/main" id="{54000F56-7D25-433E-A7C8-6A29B8CAD136}"/>
                </a:ext>
              </a:extLst>
            </p:cNvPr>
            <p:cNvSpPr/>
            <p:nvPr/>
          </p:nvSpPr>
          <p:spPr>
            <a:xfrm rot="8716295">
              <a:off x="6534315" y="11845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8" name="Forme libre : forme 1237">
              <a:extLst>
                <a:ext uri="{FF2B5EF4-FFF2-40B4-BE49-F238E27FC236}">
                  <a16:creationId xmlns:a16="http://schemas.microsoft.com/office/drawing/2014/main" id="{F78F27FF-A989-48C0-90D5-D4D8D52897CB}"/>
                </a:ext>
              </a:extLst>
            </p:cNvPr>
            <p:cNvSpPr/>
            <p:nvPr/>
          </p:nvSpPr>
          <p:spPr>
            <a:xfrm rot="7484129">
              <a:off x="6880697" y="45941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9" name="Forme libre : forme 1238">
              <a:extLst>
                <a:ext uri="{FF2B5EF4-FFF2-40B4-BE49-F238E27FC236}">
                  <a16:creationId xmlns:a16="http://schemas.microsoft.com/office/drawing/2014/main" id="{8DC30F69-7296-48A1-A43C-EC188F89BEA5}"/>
                </a:ext>
              </a:extLst>
            </p:cNvPr>
            <p:cNvSpPr/>
            <p:nvPr/>
          </p:nvSpPr>
          <p:spPr>
            <a:xfrm rot="13089394">
              <a:off x="6985517" y="42594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0" name="Forme libre : forme 1239">
              <a:extLst>
                <a:ext uri="{FF2B5EF4-FFF2-40B4-BE49-F238E27FC236}">
                  <a16:creationId xmlns:a16="http://schemas.microsoft.com/office/drawing/2014/main" id="{D47ED595-5E0B-4FF2-BED8-A5E968958FDA}"/>
                </a:ext>
              </a:extLst>
            </p:cNvPr>
            <p:cNvSpPr/>
            <p:nvPr/>
          </p:nvSpPr>
          <p:spPr>
            <a:xfrm rot="8716295">
              <a:off x="7171102" y="23426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1" name="Forme libre : forme 1240">
              <a:extLst>
                <a:ext uri="{FF2B5EF4-FFF2-40B4-BE49-F238E27FC236}">
                  <a16:creationId xmlns:a16="http://schemas.microsoft.com/office/drawing/2014/main" id="{E870685A-3B15-499C-B93E-DAE343CA274F}"/>
                </a:ext>
              </a:extLst>
            </p:cNvPr>
            <p:cNvSpPr/>
            <p:nvPr/>
          </p:nvSpPr>
          <p:spPr>
            <a:xfrm rot="8716295">
              <a:off x="7119297" y="13067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2" name="Forme libre : forme 1241">
              <a:extLst>
                <a:ext uri="{FF2B5EF4-FFF2-40B4-BE49-F238E27FC236}">
                  <a16:creationId xmlns:a16="http://schemas.microsoft.com/office/drawing/2014/main" id="{25EC0356-F84B-4116-B821-ACE30FB22FFC}"/>
                </a:ext>
              </a:extLst>
            </p:cNvPr>
            <p:cNvSpPr/>
            <p:nvPr/>
          </p:nvSpPr>
          <p:spPr>
            <a:xfrm rot="8716295">
              <a:off x="6876051" y="16089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3" name="Forme libre : forme 1242">
              <a:extLst>
                <a:ext uri="{FF2B5EF4-FFF2-40B4-BE49-F238E27FC236}">
                  <a16:creationId xmlns:a16="http://schemas.microsoft.com/office/drawing/2014/main" id="{C756C41F-43B4-4A5A-9BD8-36D108A4F6F6}"/>
                </a:ext>
              </a:extLst>
            </p:cNvPr>
            <p:cNvSpPr/>
            <p:nvPr/>
          </p:nvSpPr>
          <p:spPr>
            <a:xfrm rot="8716295">
              <a:off x="7053503" y="164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4" name="Forme libre : forme 1243">
              <a:extLst>
                <a:ext uri="{FF2B5EF4-FFF2-40B4-BE49-F238E27FC236}">
                  <a16:creationId xmlns:a16="http://schemas.microsoft.com/office/drawing/2014/main" id="{5023A082-5622-42E1-99CC-B465837313AB}"/>
                </a:ext>
              </a:extLst>
            </p:cNvPr>
            <p:cNvSpPr/>
            <p:nvPr/>
          </p:nvSpPr>
          <p:spPr>
            <a:xfrm rot="8716295">
              <a:off x="6443978" y="-32333"/>
              <a:ext cx="92323" cy="67774"/>
            </a:xfrm>
            <a:custGeom>
              <a:avLst/>
              <a:gdLst>
                <a:gd name="connsiteX0" fmla="*/ 92323 w 92323"/>
                <a:gd name="connsiteY0" fmla="*/ 67774 h 67774"/>
                <a:gd name="connsiteX1" fmla="*/ 0 w 92323"/>
                <a:gd name="connsiteY1" fmla="*/ 3779 h 67774"/>
                <a:gd name="connsiteX2" fmla="*/ 19952 w 92323"/>
                <a:gd name="connsiteY2" fmla="*/ 19 h 67774"/>
                <a:gd name="connsiteX3" fmla="*/ 89989 w 92323"/>
                <a:gd name="connsiteY3" fmla="*/ 50641 h 67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323" h="67774">
                  <a:moveTo>
                    <a:pt x="92323" y="67774"/>
                  </a:moveTo>
                  <a:lnTo>
                    <a:pt x="0" y="3779"/>
                  </a:lnTo>
                  <a:lnTo>
                    <a:pt x="19952" y="19"/>
                  </a:lnTo>
                  <a:cubicBezTo>
                    <a:pt x="55152" y="-664"/>
                    <a:pt x="79843" y="17619"/>
                    <a:pt x="89989" y="5064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5" name="Forme libre : forme 1244">
              <a:extLst>
                <a:ext uri="{FF2B5EF4-FFF2-40B4-BE49-F238E27FC236}">
                  <a16:creationId xmlns:a16="http://schemas.microsoft.com/office/drawing/2014/main" id="{4292D438-03B7-4554-BAAC-30500F05D527}"/>
                </a:ext>
              </a:extLst>
            </p:cNvPr>
            <p:cNvSpPr/>
            <p:nvPr/>
          </p:nvSpPr>
          <p:spPr>
            <a:xfrm rot="8716295">
              <a:off x="6294141" y="-38610"/>
              <a:ext cx="103435" cy="102698"/>
            </a:xfrm>
            <a:custGeom>
              <a:avLst/>
              <a:gdLst>
                <a:gd name="connsiteX0" fmla="*/ 103435 w 103435"/>
                <a:gd name="connsiteY0" fmla="*/ 102698 h 102698"/>
                <a:gd name="connsiteX1" fmla="*/ 43288 w 103435"/>
                <a:gd name="connsiteY1" fmla="*/ 61006 h 102698"/>
                <a:gd name="connsiteX2" fmla="*/ 43288 w 103435"/>
                <a:gd name="connsiteY2" fmla="*/ 16404 h 102698"/>
                <a:gd name="connsiteX3" fmla="*/ 0 w 103435"/>
                <a:gd name="connsiteY3" fmla="*/ 16404 h 102698"/>
                <a:gd name="connsiteX4" fmla="*/ 0 w 103435"/>
                <a:gd name="connsiteY4" fmla="*/ 2279 h 102698"/>
                <a:gd name="connsiteX5" fmla="*/ 103435 w 103435"/>
                <a:gd name="connsiteY5" fmla="*/ 0 h 102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102698">
                  <a:moveTo>
                    <a:pt x="103435" y="102698"/>
                  </a:moveTo>
                  <a:lnTo>
                    <a:pt x="43288" y="61006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2279"/>
                  </a:lnTo>
                  <a:cubicBezTo>
                    <a:pt x="32808" y="3645"/>
                    <a:pt x="66983" y="911"/>
                    <a:pt x="10343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6" name="Forme libre : forme 1245">
              <a:extLst>
                <a:ext uri="{FF2B5EF4-FFF2-40B4-BE49-F238E27FC236}">
                  <a16:creationId xmlns:a16="http://schemas.microsoft.com/office/drawing/2014/main" id="{E78BAE53-0890-439D-972C-8E15B622CE74}"/>
                </a:ext>
              </a:extLst>
            </p:cNvPr>
            <p:cNvSpPr/>
            <p:nvPr/>
          </p:nvSpPr>
          <p:spPr>
            <a:xfrm rot="7484129">
              <a:off x="6746550" y="-26340"/>
              <a:ext cx="41571" cy="55323"/>
            </a:xfrm>
            <a:custGeom>
              <a:avLst/>
              <a:gdLst>
                <a:gd name="connsiteX0" fmla="*/ 38358 w 41571"/>
                <a:gd name="connsiteY0" fmla="*/ 55323 h 55323"/>
                <a:gd name="connsiteX1" fmla="*/ 0 w 41571"/>
                <a:gd name="connsiteY1" fmla="*/ 0 h 55323"/>
                <a:gd name="connsiteX2" fmla="*/ 41571 w 41571"/>
                <a:gd name="connsiteY2" fmla="*/ 0 h 55323"/>
                <a:gd name="connsiteX3" fmla="*/ 41571 w 41571"/>
                <a:gd name="connsiteY3" fmla="*/ 55323 h 55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571" h="55323">
                  <a:moveTo>
                    <a:pt x="38358" y="55323"/>
                  </a:moveTo>
                  <a:lnTo>
                    <a:pt x="0" y="0"/>
                  </a:lnTo>
                  <a:lnTo>
                    <a:pt x="41571" y="0"/>
                  </a:lnTo>
                  <a:lnTo>
                    <a:pt x="41571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7" name="Forme libre : forme 1246">
              <a:extLst>
                <a:ext uri="{FF2B5EF4-FFF2-40B4-BE49-F238E27FC236}">
                  <a16:creationId xmlns:a16="http://schemas.microsoft.com/office/drawing/2014/main" id="{D6E1A050-AAB6-49AB-8BF0-F86E9CB3E3ED}"/>
                </a:ext>
              </a:extLst>
            </p:cNvPr>
            <p:cNvSpPr/>
            <p:nvPr/>
          </p:nvSpPr>
          <p:spPr>
            <a:xfrm rot="13089394">
              <a:off x="6891234" y="-41515"/>
              <a:ext cx="74217" cy="174004"/>
            </a:xfrm>
            <a:custGeom>
              <a:avLst/>
              <a:gdLst>
                <a:gd name="connsiteX0" fmla="*/ 74217 w 74217"/>
                <a:gd name="connsiteY0" fmla="*/ 115692 h 174004"/>
                <a:gd name="connsiteX1" fmla="*/ 0 w 74217"/>
                <a:gd name="connsiteY1" fmla="*/ 174004 h 174004"/>
                <a:gd name="connsiteX2" fmla="*/ 0 w 74217"/>
                <a:gd name="connsiteY2" fmla="*/ 38074 h 174004"/>
                <a:gd name="connsiteX3" fmla="*/ 73388 w 74217"/>
                <a:gd name="connsiteY3" fmla="*/ 0 h 17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217" h="174004">
                  <a:moveTo>
                    <a:pt x="74217" y="115692"/>
                  </a:moveTo>
                  <a:lnTo>
                    <a:pt x="0" y="174004"/>
                  </a:lnTo>
                  <a:lnTo>
                    <a:pt x="0" y="38074"/>
                  </a:lnTo>
                  <a:lnTo>
                    <a:pt x="7338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8" name="Forme libre : forme 1247">
              <a:extLst>
                <a:ext uri="{FF2B5EF4-FFF2-40B4-BE49-F238E27FC236}">
                  <a16:creationId xmlns:a16="http://schemas.microsoft.com/office/drawing/2014/main" id="{2A426EB1-69A8-4B8C-95E3-ADCF2B7D8201}"/>
                </a:ext>
              </a:extLst>
            </p:cNvPr>
            <p:cNvSpPr/>
            <p:nvPr/>
          </p:nvSpPr>
          <p:spPr>
            <a:xfrm rot="8716295">
              <a:off x="8238556" y="254247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9" name="Forme libre : forme 1248">
              <a:extLst>
                <a:ext uri="{FF2B5EF4-FFF2-40B4-BE49-F238E27FC236}">
                  <a16:creationId xmlns:a16="http://schemas.microsoft.com/office/drawing/2014/main" id="{A1136BA6-7E11-4570-BF0A-E022C010F10B}"/>
                </a:ext>
              </a:extLst>
            </p:cNvPr>
            <p:cNvSpPr/>
            <p:nvPr/>
          </p:nvSpPr>
          <p:spPr>
            <a:xfrm rot="8716295">
              <a:off x="8327948" y="257172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0" name="Forme libre : forme 1249">
              <a:extLst>
                <a:ext uri="{FF2B5EF4-FFF2-40B4-BE49-F238E27FC236}">
                  <a16:creationId xmlns:a16="http://schemas.microsoft.com/office/drawing/2014/main" id="{9E188FF5-EB46-4C83-98D2-A6FBCDBA9974}"/>
                </a:ext>
              </a:extLst>
            </p:cNvPr>
            <p:cNvSpPr/>
            <p:nvPr/>
          </p:nvSpPr>
          <p:spPr>
            <a:xfrm rot="8716295">
              <a:off x="8283098" y="2485441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1" name="Forme libre : forme 1250">
              <a:extLst>
                <a:ext uri="{FF2B5EF4-FFF2-40B4-BE49-F238E27FC236}">
                  <a16:creationId xmlns:a16="http://schemas.microsoft.com/office/drawing/2014/main" id="{0F03884C-9A24-4485-8C8A-520F146E35BD}"/>
                </a:ext>
              </a:extLst>
            </p:cNvPr>
            <p:cNvSpPr/>
            <p:nvPr/>
          </p:nvSpPr>
          <p:spPr>
            <a:xfrm rot="8716295">
              <a:off x="8126322" y="263102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2" name="Forme libre : forme 1251">
              <a:extLst>
                <a:ext uri="{FF2B5EF4-FFF2-40B4-BE49-F238E27FC236}">
                  <a16:creationId xmlns:a16="http://schemas.microsoft.com/office/drawing/2014/main" id="{EA64506B-D82A-4EEA-924F-30E2F79C1B7D}"/>
                </a:ext>
              </a:extLst>
            </p:cNvPr>
            <p:cNvSpPr/>
            <p:nvPr/>
          </p:nvSpPr>
          <p:spPr>
            <a:xfrm rot="8716295">
              <a:off x="8001419" y="24223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3" name="Forme libre : forme 1252">
              <a:extLst>
                <a:ext uri="{FF2B5EF4-FFF2-40B4-BE49-F238E27FC236}">
                  <a16:creationId xmlns:a16="http://schemas.microsoft.com/office/drawing/2014/main" id="{5B8FDB35-6753-4D04-985E-254E87C9982E}"/>
                </a:ext>
              </a:extLst>
            </p:cNvPr>
            <p:cNvSpPr/>
            <p:nvPr/>
          </p:nvSpPr>
          <p:spPr>
            <a:xfrm rot="8716295">
              <a:off x="7989367" y="2283570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4" name="Forme libre : forme 1253">
              <a:extLst>
                <a:ext uri="{FF2B5EF4-FFF2-40B4-BE49-F238E27FC236}">
                  <a16:creationId xmlns:a16="http://schemas.microsoft.com/office/drawing/2014/main" id="{F77402CE-B126-41FD-B060-8753DA6781D5}"/>
                </a:ext>
              </a:extLst>
            </p:cNvPr>
            <p:cNvSpPr/>
            <p:nvPr/>
          </p:nvSpPr>
          <p:spPr>
            <a:xfrm rot="8716295">
              <a:off x="8216500" y="267197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5" name="Forme libre : forme 1254">
              <a:extLst>
                <a:ext uri="{FF2B5EF4-FFF2-40B4-BE49-F238E27FC236}">
                  <a16:creationId xmlns:a16="http://schemas.microsoft.com/office/drawing/2014/main" id="{D662227F-81B5-45A3-8065-CFABAFC187C6}"/>
                </a:ext>
              </a:extLst>
            </p:cNvPr>
            <p:cNvSpPr/>
            <p:nvPr/>
          </p:nvSpPr>
          <p:spPr>
            <a:xfrm rot="8716295">
              <a:off x="8527655" y="229232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6" name="Forme libre : forme 1255">
              <a:extLst>
                <a:ext uri="{FF2B5EF4-FFF2-40B4-BE49-F238E27FC236}">
                  <a16:creationId xmlns:a16="http://schemas.microsoft.com/office/drawing/2014/main" id="{B3F07D8E-83A0-44A5-8F5F-C55A1A045146}"/>
                </a:ext>
              </a:extLst>
            </p:cNvPr>
            <p:cNvSpPr/>
            <p:nvPr/>
          </p:nvSpPr>
          <p:spPr>
            <a:xfrm rot="8716295">
              <a:off x="8617047" y="232156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7" name="Forme libre : forme 1256">
              <a:extLst>
                <a:ext uri="{FF2B5EF4-FFF2-40B4-BE49-F238E27FC236}">
                  <a16:creationId xmlns:a16="http://schemas.microsoft.com/office/drawing/2014/main" id="{BEC9833E-1103-4B09-9C27-70B4371CFFC3}"/>
                </a:ext>
              </a:extLst>
            </p:cNvPr>
            <p:cNvSpPr/>
            <p:nvPr/>
          </p:nvSpPr>
          <p:spPr>
            <a:xfrm rot="8716295">
              <a:off x="8415421" y="238087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8" name="Forme libre : forme 1257">
              <a:extLst>
                <a:ext uri="{FF2B5EF4-FFF2-40B4-BE49-F238E27FC236}">
                  <a16:creationId xmlns:a16="http://schemas.microsoft.com/office/drawing/2014/main" id="{B1FB9B12-3BD9-453E-A39D-3DAA86A44344}"/>
                </a:ext>
              </a:extLst>
            </p:cNvPr>
            <p:cNvSpPr/>
            <p:nvPr/>
          </p:nvSpPr>
          <p:spPr>
            <a:xfrm rot="8716295">
              <a:off x="8290519" y="217219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9" name="Forme libre : forme 1258">
              <a:extLst>
                <a:ext uri="{FF2B5EF4-FFF2-40B4-BE49-F238E27FC236}">
                  <a16:creationId xmlns:a16="http://schemas.microsoft.com/office/drawing/2014/main" id="{3C2388FE-8F47-47D7-86C1-60ACC4D81856}"/>
                </a:ext>
              </a:extLst>
            </p:cNvPr>
            <p:cNvSpPr/>
            <p:nvPr/>
          </p:nvSpPr>
          <p:spPr>
            <a:xfrm rot="8716295">
              <a:off x="8505599" y="2421823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0" name="Forme libre : forme 1259">
              <a:extLst>
                <a:ext uri="{FF2B5EF4-FFF2-40B4-BE49-F238E27FC236}">
                  <a16:creationId xmlns:a16="http://schemas.microsoft.com/office/drawing/2014/main" id="{A11C39A7-D0D0-434D-A171-90D1234959F5}"/>
                </a:ext>
              </a:extLst>
            </p:cNvPr>
            <p:cNvSpPr/>
            <p:nvPr/>
          </p:nvSpPr>
          <p:spPr>
            <a:xfrm rot="8716295">
              <a:off x="8264148" y="2272223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1" name="Forme libre : forme 1260">
              <a:extLst>
                <a:ext uri="{FF2B5EF4-FFF2-40B4-BE49-F238E27FC236}">
                  <a16:creationId xmlns:a16="http://schemas.microsoft.com/office/drawing/2014/main" id="{4C61989D-4DFE-46E1-AF97-41DE6361CDB1}"/>
                </a:ext>
              </a:extLst>
            </p:cNvPr>
            <p:cNvSpPr/>
            <p:nvPr/>
          </p:nvSpPr>
          <p:spPr>
            <a:xfrm rot="7484129">
              <a:off x="8610530" y="261317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2" name="Forme libre : forme 1261">
              <a:extLst>
                <a:ext uri="{FF2B5EF4-FFF2-40B4-BE49-F238E27FC236}">
                  <a16:creationId xmlns:a16="http://schemas.microsoft.com/office/drawing/2014/main" id="{5C49FF36-E600-4A74-B23E-CD8D4047E6EE}"/>
                </a:ext>
              </a:extLst>
            </p:cNvPr>
            <p:cNvSpPr/>
            <p:nvPr/>
          </p:nvSpPr>
          <p:spPr>
            <a:xfrm rot="13089394">
              <a:off x="8715350" y="2579708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3" name="Forme libre : forme 1262">
              <a:extLst>
                <a:ext uri="{FF2B5EF4-FFF2-40B4-BE49-F238E27FC236}">
                  <a16:creationId xmlns:a16="http://schemas.microsoft.com/office/drawing/2014/main" id="{1D04E94A-1C0D-454D-9922-50FF5EBE6C43}"/>
                </a:ext>
              </a:extLst>
            </p:cNvPr>
            <p:cNvSpPr/>
            <p:nvPr/>
          </p:nvSpPr>
          <p:spPr>
            <a:xfrm rot="8716295">
              <a:off x="8900935" y="2388027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4" name="Forme libre : forme 1263">
              <a:extLst>
                <a:ext uri="{FF2B5EF4-FFF2-40B4-BE49-F238E27FC236}">
                  <a16:creationId xmlns:a16="http://schemas.microsoft.com/office/drawing/2014/main" id="{10563C18-A269-4229-B70A-8D68962158B9}"/>
                </a:ext>
              </a:extLst>
            </p:cNvPr>
            <p:cNvSpPr/>
            <p:nvPr/>
          </p:nvSpPr>
          <p:spPr>
            <a:xfrm rot="8716295">
              <a:off x="8849130" y="228443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5" name="Forme libre : forme 1264">
              <a:extLst>
                <a:ext uri="{FF2B5EF4-FFF2-40B4-BE49-F238E27FC236}">
                  <a16:creationId xmlns:a16="http://schemas.microsoft.com/office/drawing/2014/main" id="{208F3E00-CBC6-4CD3-9BBC-C388642BC9E1}"/>
                </a:ext>
              </a:extLst>
            </p:cNvPr>
            <p:cNvSpPr/>
            <p:nvPr/>
          </p:nvSpPr>
          <p:spPr>
            <a:xfrm rot="8716295">
              <a:off x="8605884" y="231465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6" name="Forme libre : forme 1265">
              <a:extLst>
                <a:ext uri="{FF2B5EF4-FFF2-40B4-BE49-F238E27FC236}">
                  <a16:creationId xmlns:a16="http://schemas.microsoft.com/office/drawing/2014/main" id="{A7B737F3-1AE0-4B4A-887B-DCA6987975B9}"/>
                </a:ext>
              </a:extLst>
            </p:cNvPr>
            <p:cNvSpPr/>
            <p:nvPr/>
          </p:nvSpPr>
          <p:spPr>
            <a:xfrm rot="8716295">
              <a:off x="8783336" y="215541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7" name="Forme libre : forme 1266">
              <a:extLst>
                <a:ext uri="{FF2B5EF4-FFF2-40B4-BE49-F238E27FC236}">
                  <a16:creationId xmlns:a16="http://schemas.microsoft.com/office/drawing/2014/main" id="{ED038CD8-6F63-4DEA-AFB9-416565E0B1AE}"/>
                </a:ext>
              </a:extLst>
            </p:cNvPr>
            <p:cNvSpPr/>
            <p:nvPr/>
          </p:nvSpPr>
          <p:spPr>
            <a:xfrm rot="8716295">
              <a:off x="8461723" y="320217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8" name="Forme libre : forme 1267">
              <a:extLst>
                <a:ext uri="{FF2B5EF4-FFF2-40B4-BE49-F238E27FC236}">
                  <a16:creationId xmlns:a16="http://schemas.microsoft.com/office/drawing/2014/main" id="{4ADDF2AA-F777-43E8-985A-08DA5C91CAC3}"/>
                </a:ext>
              </a:extLst>
            </p:cNvPr>
            <p:cNvSpPr/>
            <p:nvPr/>
          </p:nvSpPr>
          <p:spPr>
            <a:xfrm rot="8716295">
              <a:off x="8551115" y="323142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9" name="Forme libre : forme 1268">
              <a:extLst>
                <a:ext uri="{FF2B5EF4-FFF2-40B4-BE49-F238E27FC236}">
                  <a16:creationId xmlns:a16="http://schemas.microsoft.com/office/drawing/2014/main" id="{5F6A757A-2778-41F5-B5E1-C920513FE4A3}"/>
                </a:ext>
              </a:extLst>
            </p:cNvPr>
            <p:cNvSpPr/>
            <p:nvPr/>
          </p:nvSpPr>
          <p:spPr>
            <a:xfrm rot="8716295">
              <a:off x="8506265" y="314514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0" name="Forme libre : forme 1269">
              <a:extLst>
                <a:ext uri="{FF2B5EF4-FFF2-40B4-BE49-F238E27FC236}">
                  <a16:creationId xmlns:a16="http://schemas.microsoft.com/office/drawing/2014/main" id="{0EFEE5D5-C1BD-4136-8474-BA19679B6FE6}"/>
                </a:ext>
              </a:extLst>
            </p:cNvPr>
            <p:cNvSpPr/>
            <p:nvPr/>
          </p:nvSpPr>
          <p:spPr>
            <a:xfrm rot="8716295">
              <a:off x="8349489" y="329072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1" name="Forme libre : forme 1270">
              <a:extLst>
                <a:ext uri="{FF2B5EF4-FFF2-40B4-BE49-F238E27FC236}">
                  <a16:creationId xmlns:a16="http://schemas.microsoft.com/office/drawing/2014/main" id="{478BD2EF-1B5E-4C0F-83FF-65BB9BDBEB73}"/>
                </a:ext>
              </a:extLst>
            </p:cNvPr>
            <p:cNvSpPr/>
            <p:nvPr/>
          </p:nvSpPr>
          <p:spPr>
            <a:xfrm rot="8716295">
              <a:off x="8224586" y="308204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2" name="Forme libre : forme 1271">
              <a:extLst>
                <a:ext uri="{FF2B5EF4-FFF2-40B4-BE49-F238E27FC236}">
                  <a16:creationId xmlns:a16="http://schemas.microsoft.com/office/drawing/2014/main" id="{CA9F447E-DAA7-42DE-BF9D-296DA2E235D4}"/>
                </a:ext>
              </a:extLst>
            </p:cNvPr>
            <p:cNvSpPr/>
            <p:nvPr/>
          </p:nvSpPr>
          <p:spPr>
            <a:xfrm rot="8716295">
              <a:off x="8212534" y="2943269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3" name="Forme libre : forme 1272">
              <a:extLst>
                <a:ext uri="{FF2B5EF4-FFF2-40B4-BE49-F238E27FC236}">
                  <a16:creationId xmlns:a16="http://schemas.microsoft.com/office/drawing/2014/main" id="{B7FB840A-B629-4503-ACF9-05EB6F60350A}"/>
                </a:ext>
              </a:extLst>
            </p:cNvPr>
            <p:cNvSpPr/>
            <p:nvPr/>
          </p:nvSpPr>
          <p:spPr>
            <a:xfrm rot="8716295">
              <a:off x="8439667" y="333167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4" name="Forme libre : forme 1273">
              <a:extLst>
                <a:ext uri="{FF2B5EF4-FFF2-40B4-BE49-F238E27FC236}">
                  <a16:creationId xmlns:a16="http://schemas.microsoft.com/office/drawing/2014/main" id="{284BE434-693F-4B53-B96A-BC8BBBAA6451}"/>
                </a:ext>
              </a:extLst>
            </p:cNvPr>
            <p:cNvSpPr/>
            <p:nvPr/>
          </p:nvSpPr>
          <p:spPr>
            <a:xfrm rot="8716295">
              <a:off x="8750822" y="295202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5" name="Forme libre : forme 1274">
              <a:extLst>
                <a:ext uri="{FF2B5EF4-FFF2-40B4-BE49-F238E27FC236}">
                  <a16:creationId xmlns:a16="http://schemas.microsoft.com/office/drawing/2014/main" id="{00E031F6-CDA7-4F23-85AC-0C03588D8BFF}"/>
                </a:ext>
              </a:extLst>
            </p:cNvPr>
            <p:cNvSpPr/>
            <p:nvPr/>
          </p:nvSpPr>
          <p:spPr>
            <a:xfrm rot="8716295">
              <a:off x="8840214" y="298126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6" name="Forme libre : forme 1275">
              <a:extLst>
                <a:ext uri="{FF2B5EF4-FFF2-40B4-BE49-F238E27FC236}">
                  <a16:creationId xmlns:a16="http://schemas.microsoft.com/office/drawing/2014/main" id="{48A487FF-161F-413C-A2D1-AFC7148CC4B0}"/>
                </a:ext>
              </a:extLst>
            </p:cNvPr>
            <p:cNvSpPr/>
            <p:nvPr/>
          </p:nvSpPr>
          <p:spPr>
            <a:xfrm rot="8716295">
              <a:off x="8638588" y="304057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7" name="Forme libre : forme 1276">
              <a:extLst>
                <a:ext uri="{FF2B5EF4-FFF2-40B4-BE49-F238E27FC236}">
                  <a16:creationId xmlns:a16="http://schemas.microsoft.com/office/drawing/2014/main" id="{DD5BE4D1-C7C8-4842-9CD7-28661B0A4744}"/>
                </a:ext>
              </a:extLst>
            </p:cNvPr>
            <p:cNvSpPr/>
            <p:nvPr/>
          </p:nvSpPr>
          <p:spPr>
            <a:xfrm rot="8716295">
              <a:off x="8513686" y="283189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8" name="Forme libre : forme 1277">
              <a:extLst>
                <a:ext uri="{FF2B5EF4-FFF2-40B4-BE49-F238E27FC236}">
                  <a16:creationId xmlns:a16="http://schemas.microsoft.com/office/drawing/2014/main" id="{0B4DA140-E81E-4D65-A5C9-F035DA31F730}"/>
                </a:ext>
              </a:extLst>
            </p:cNvPr>
            <p:cNvSpPr/>
            <p:nvPr/>
          </p:nvSpPr>
          <p:spPr>
            <a:xfrm rot="8716295">
              <a:off x="8728766" y="308152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9" name="Forme libre : forme 1278">
              <a:extLst>
                <a:ext uri="{FF2B5EF4-FFF2-40B4-BE49-F238E27FC236}">
                  <a16:creationId xmlns:a16="http://schemas.microsoft.com/office/drawing/2014/main" id="{14371798-95AB-4DEA-8474-58BAC0008E89}"/>
                </a:ext>
              </a:extLst>
            </p:cNvPr>
            <p:cNvSpPr/>
            <p:nvPr/>
          </p:nvSpPr>
          <p:spPr>
            <a:xfrm rot="8716295">
              <a:off x="8487315" y="293192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0" name="Forme libre : forme 1279">
              <a:extLst>
                <a:ext uri="{FF2B5EF4-FFF2-40B4-BE49-F238E27FC236}">
                  <a16:creationId xmlns:a16="http://schemas.microsoft.com/office/drawing/2014/main" id="{B40273FF-66D0-4D54-A913-9136C391E5E9}"/>
                </a:ext>
              </a:extLst>
            </p:cNvPr>
            <p:cNvSpPr/>
            <p:nvPr/>
          </p:nvSpPr>
          <p:spPr>
            <a:xfrm rot="7484129">
              <a:off x="8833697" y="32728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1" name="Forme libre : forme 1280">
              <a:extLst>
                <a:ext uri="{FF2B5EF4-FFF2-40B4-BE49-F238E27FC236}">
                  <a16:creationId xmlns:a16="http://schemas.microsoft.com/office/drawing/2014/main" id="{FCD6CCFC-12B5-4C32-A6C9-28B6678973BF}"/>
                </a:ext>
              </a:extLst>
            </p:cNvPr>
            <p:cNvSpPr/>
            <p:nvPr/>
          </p:nvSpPr>
          <p:spPr>
            <a:xfrm rot="13089394">
              <a:off x="8933167" y="3248496"/>
              <a:ext cx="272584" cy="314617"/>
            </a:xfrm>
            <a:custGeom>
              <a:avLst/>
              <a:gdLst>
                <a:gd name="connsiteX0" fmla="*/ 77412 w 272584"/>
                <a:gd name="connsiteY0" fmla="*/ 203022 h 314617"/>
                <a:gd name="connsiteX1" fmla="*/ 0 w 272584"/>
                <a:gd name="connsiteY1" fmla="*/ 104495 h 314617"/>
                <a:gd name="connsiteX2" fmla="*/ 0 w 272584"/>
                <a:gd name="connsiteY2" fmla="*/ 38074 h 314617"/>
                <a:gd name="connsiteX3" fmla="*/ 73388 w 272584"/>
                <a:gd name="connsiteY3" fmla="*/ 0 h 314617"/>
                <a:gd name="connsiteX4" fmla="*/ 74492 w 272584"/>
                <a:gd name="connsiteY4" fmla="*/ 153950 h 314617"/>
                <a:gd name="connsiteX5" fmla="*/ 76768 w 272584"/>
                <a:gd name="connsiteY5" fmla="*/ 200369 h 314617"/>
                <a:gd name="connsiteX6" fmla="*/ 272584 w 272584"/>
                <a:gd name="connsiteY6" fmla="*/ 258238 h 314617"/>
                <a:gd name="connsiteX7" fmla="*/ 177331 w 272584"/>
                <a:gd name="connsiteY7" fmla="*/ 311348 h 314617"/>
                <a:gd name="connsiteX8" fmla="*/ 165091 w 272584"/>
                <a:gd name="connsiteY8" fmla="*/ 314617 h 314617"/>
                <a:gd name="connsiteX9" fmla="*/ 136528 w 272584"/>
                <a:gd name="connsiteY9" fmla="*/ 278262 h 314617"/>
                <a:gd name="connsiteX10" fmla="*/ 153949 w 272584"/>
                <a:gd name="connsiteY10" fmla="*/ 281965 h 314617"/>
                <a:gd name="connsiteX11" fmla="*/ 203610 w 272584"/>
                <a:gd name="connsiteY11" fmla="*/ 273137 h 314617"/>
                <a:gd name="connsiteX12" fmla="*/ 271481 w 272584"/>
                <a:gd name="connsiteY12" fmla="*/ 245547 h 314617"/>
                <a:gd name="connsiteX13" fmla="*/ 272584 w 272584"/>
                <a:gd name="connsiteY13" fmla="*/ 252720 h 314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2584" h="314617">
                  <a:moveTo>
                    <a:pt x="77412" y="203022"/>
                  </a:moveTo>
                  <a:lnTo>
                    <a:pt x="0" y="104495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3664" y="169400"/>
                    <a:pt x="74491" y="184988"/>
                    <a:pt x="76768" y="200369"/>
                  </a:cubicBezTo>
                  <a:close/>
                  <a:moveTo>
                    <a:pt x="272584" y="258238"/>
                  </a:moveTo>
                  <a:cubicBezTo>
                    <a:pt x="243339" y="283344"/>
                    <a:pt x="209542" y="300312"/>
                    <a:pt x="177331" y="311348"/>
                  </a:cubicBezTo>
                  <a:lnTo>
                    <a:pt x="165091" y="314617"/>
                  </a:lnTo>
                  <a:lnTo>
                    <a:pt x="136528" y="278262"/>
                  </a:lnTo>
                  <a:lnTo>
                    <a:pt x="153949" y="281965"/>
                  </a:lnTo>
                  <a:cubicBezTo>
                    <a:pt x="171055" y="281413"/>
                    <a:pt x="187608" y="278102"/>
                    <a:pt x="203610" y="273137"/>
                  </a:cubicBezTo>
                  <a:cubicBezTo>
                    <a:pt x="226786" y="265963"/>
                    <a:pt x="249409" y="256583"/>
                    <a:pt x="271481" y="245547"/>
                  </a:cubicBezTo>
                  <a:cubicBezTo>
                    <a:pt x="272032" y="247754"/>
                    <a:pt x="272584" y="250512"/>
                    <a:pt x="272584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2" name="Forme libre : forme 1281">
              <a:extLst>
                <a:ext uri="{FF2B5EF4-FFF2-40B4-BE49-F238E27FC236}">
                  <a16:creationId xmlns:a16="http://schemas.microsoft.com/office/drawing/2014/main" id="{49322978-3720-487C-8006-BF9E3F6D1CD3}"/>
                </a:ext>
              </a:extLst>
            </p:cNvPr>
            <p:cNvSpPr/>
            <p:nvPr/>
          </p:nvSpPr>
          <p:spPr>
            <a:xfrm rot="8716295">
              <a:off x="9063436" y="2943322"/>
              <a:ext cx="105430" cy="113008"/>
            </a:xfrm>
            <a:custGeom>
              <a:avLst/>
              <a:gdLst>
                <a:gd name="connsiteX0" fmla="*/ 5398 w 105430"/>
                <a:gd name="connsiteY0" fmla="*/ 96451 h 113008"/>
                <a:gd name="connsiteX1" fmla="*/ 0 w 105430"/>
                <a:gd name="connsiteY1" fmla="*/ 83667 h 113008"/>
                <a:gd name="connsiteX2" fmla="*/ 57995 w 105430"/>
                <a:gd name="connsiteY2" fmla="*/ 0 h 113008"/>
                <a:gd name="connsiteX3" fmla="*/ 88184 w 105430"/>
                <a:gd name="connsiteY3" fmla="*/ 12746 h 113008"/>
                <a:gd name="connsiteX4" fmla="*/ 88183 w 105430"/>
                <a:gd name="connsiteY4" fmla="*/ 95531 h 113008"/>
                <a:gd name="connsiteX5" fmla="*/ 46790 w 105430"/>
                <a:gd name="connsiteY5" fmla="*/ 113008 h 113008"/>
                <a:gd name="connsiteX6" fmla="*/ 5398 w 105430"/>
                <a:gd name="connsiteY6" fmla="*/ 96451 h 113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5430" h="113008">
                  <a:moveTo>
                    <a:pt x="5398" y="96451"/>
                  </a:moveTo>
                  <a:lnTo>
                    <a:pt x="0" y="83667"/>
                  </a:lnTo>
                  <a:lnTo>
                    <a:pt x="57995" y="0"/>
                  </a:lnTo>
                  <a:lnTo>
                    <a:pt x="88184" y="12746"/>
                  </a:lnTo>
                  <a:cubicBezTo>
                    <a:pt x="111179" y="34822"/>
                    <a:pt x="111179" y="72535"/>
                    <a:pt x="88183" y="95531"/>
                  </a:cubicBezTo>
                  <a:cubicBezTo>
                    <a:pt x="77145" y="106569"/>
                    <a:pt x="62428" y="113008"/>
                    <a:pt x="46790" y="113008"/>
                  </a:cubicBezTo>
                  <a:cubicBezTo>
                    <a:pt x="31154" y="113008"/>
                    <a:pt x="16436" y="107489"/>
                    <a:pt x="5398" y="9645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3" name="Forme libre : forme 1282">
              <a:extLst>
                <a:ext uri="{FF2B5EF4-FFF2-40B4-BE49-F238E27FC236}">
                  <a16:creationId xmlns:a16="http://schemas.microsoft.com/office/drawing/2014/main" id="{0E79394D-1F93-4DAB-A031-4180A71FEAA6}"/>
                </a:ext>
              </a:extLst>
            </p:cNvPr>
            <p:cNvSpPr/>
            <p:nvPr/>
          </p:nvSpPr>
          <p:spPr>
            <a:xfrm rot="8716295">
              <a:off x="8829051" y="297435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4" name="Forme libre : forme 1283">
              <a:extLst>
                <a:ext uri="{FF2B5EF4-FFF2-40B4-BE49-F238E27FC236}">
                  <a16:creationId xmlns:a16="http://schemas.microsoft.com/office/drawing/2014/main" id="{A779B4B1-CCAB-4B22-BE71-EFFAA7770D63}"/>
                </a:ext>
              </a:extLst>
            </p:cNvPr>
            <p:cNvSpPr/>
            <p:nvPr/>
          </p:nvSpPr>
          <p:spPr>
            <a:xfrm rot="8716295">
              <a:off x="9006503" y="281511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5" name="Forme libre : forme 1284">
              <a:extLst>
                <a:ext uri="{FF2B5EF4-FFF2-40B4-BE49-F238E27FC236}">
                  <a16:creationId xmlns:a16="http://schemas.microsoft.com/office/drawing/2014/main" id="{755E45E0-E074-4D6C-9B76-6EFDFD1013C0}"/>
                </a:ext>
              </a:extLst>
            </p:cNvPr>
            <p:cNvSpPr/>
            <p:nvPr/>
          </p:nvSpPr>
          <p:spPr>
            <a:xfrm rot="8716295">
              <a:off x="8951372" y="5039787"/>
              <a:ext cx="114842" cy="149763"/>
            </a:xfrm>
            <a:custGeom>
              <a:avLst/>
              <a:gdLst>
                <a:gd name="connsiteX0" fmla="*/ 0 w 114842"/>
                <a:gd name="connsiteY0" fmla="*/ 9212 h 149763"/>
                <a:gd name="connsiteX1" fmla="*/ 0 w 114842"/>
                <a:gd name="connsiteY1" fmla="*/ 0 h 149763"/>
                <a:gd name="connsiteX2" fmla="*/ 13290 w 114842"/>
                <a:gd name="connsiteY2" fmla="*/ 9212 h 149763"/>
                <a:gd name="connsiteX3" fmla="*/ 90709 w 114842"/>
                <a:gd name="connsiteY3" fmla="*/ 149763 h 149763"/>
                <a:gd name="connsiteX4" fmla="*/ 47847 w 114842"/>
                <a:gd name="connsiteY4" fmla="*/ 70018 h 149763"/>
                <a:gd name="connsiteX5" fmla="*/ 58479 w 114842"/>
                <a:gd name="connsiteY5" fmla="*/ 40536 h 149763"/>
                <a:gd name="connsiteX6" fmla="*/ 114842 w 114842"/>
                <a:gd name="connsiteY6" fmla="*/ 79604 h 149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842" h="149763">
                  <a:moveTo>
                    <a:pt x="0" y="9212"/>
                  </a:moveTo>
                  <a:lnTo>
                    <a:pt x="0" y="0"/>
                  </a:lnTo>
                  <a:lnTo>
                    <a:pt x="13290" y="9212"/>
                  </a:lnTo>
                  <a:close/>
                  <a:moveTo>
                    <a:pt x="90709" y="149763"/>
                  </a:moveTo>
                  <a:lnTo>
                    <a:pt x="47847" y="70018"/>
                  </a:lnTo>
                  <a:lnTo>
                    <a:pt x="58479" y="40536"/>
                  </a:lnTo>
                  <a:lnTo>
                    <a:pt x="114842" y="796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6" name="Forme libre : forme 1285">
              <a:extLst>
                <a:ext uri="{FF2B5EF4-FFF2-40B4-BE49-F238E27FC236}">
                  <a16:creationId xmlns:a16="http://schemas.microsoft.com/office/drawing/2014/main" id="{8AED8A80-C2CB-4353-A4D6-B63B770DAFE6}"/>
                </a:ext>
              </a:extLst>
            </p:cNvPr>
            <p:cNvSpPr/>
            <p:nvPr/>
          </p:nvSpPr>
          <p:spPr>
            <a:xfrm rot="8716295">
              <a:off x="8858304" y="4924131"/>
              <a:ext cx="290644" cy="300328"/>
            </a:xfrm>
            <a:custGeom>
              <a:avLst/>
              <a:gdLst>
                <a:gd name="connsiteX0" fmla="*/ 25298 w 290644"/>
                <a:gd name="connsiteY0" fmla="*/ 270737 h 300328"/>
                <a:gd name="connsiteX1" fmla="*/ 1 w 290644"/>
                <a:gd name="connsiteY1" fmla="*/ 169541 h 300328"/>
                <a:gd name="connsiteX2" fmla="*/ 0 w 290644"/>
                <a:gd name="connsiteY2" fmla="*/ 113409 h 300328"/>
                <a:gd name="connsiteX3" fmla="*/ 78612 w 290644"/>
                <a:gd name="connsiteY3" fmla="*/ 0 h 300328"/>
                <a:gd name="connsiteX4" fmla="*/ 79427 w 290644"/>
                <a:gd name="connsiteY4" fmla="*/ 113648 h 300328"/>
                <a:gd name="connsiteX5" fmla="*/ 93547 w 290644"/>
                <a:gd name="connsiteY5" fmla="*/ 211314 h 300328"/>
                <a:gd name="connsiteX6" fmla="*/ 164149 w 290644"/>
                <a:gd name="connsiteY6" fmla="*/ 250145 h 300328"/>
                <a:gd name="connsiteX7" fmla="*/ 217100 w 290644"/>
                <a:gd name="connsiteY7" fmla="*/ 240732 h 300328"/>
                <a:gd name="connsiteX8" fmla="*/ 289467 w 290644"/>
                <a:gd name="connsiteY8" fmla="*/ 211314 h 300328"/>
                <a:gd name="connsiteX9" fmla="*/ 290643 w 290644"/>
                <a:gd name="connsiteY9" fmla="*/ 218962 h 300328"/>
                <a:gd name="connsiteX10" fmla="*/ 290644 w 290644"/>
                <a:gd name="connsiteY10" fmla="*/ 224846 h 300328"/>
                <a:gd name="connsiteX11" fmla="*/ 97666 w 290644"/>
                <a:gd name="connsiteY11" fmla="*/ 300154 h 300328"/>
                <a:gd name="connsiteX12" fmla="*/ 25298 w 290644"/>
                <a:gd name="connsiteY12" fmla="*/ 270737 h 300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0644" h="300328">
                  <a:moveTo>
                    <a:pt x="25298" y="270737"/>
                  </a:moveTo>
                  <a:cubicBezTo>
                    <a:pt x="5295" y="251321"/>
                    <a:pt x="0" y="217786"/>
                    <a:pt x="1" y="169541"/>
                  </a:cubicBezTo>
                  <a:lnTo>
                    <a:pt x="0" y="113409"/>
                  </a:lnTo>
                  <a:lnTo>
                    <a:pt x="78612" y="0"/>
                  </a:lnTo>
                  <a:lnTo>
                    <a:pt x="79427" y="113648"/>
                  </a:lnTo>
                  <a:cubicBezTo>
                    <a:pt x="77662" y="146596"/>
                    <a:pt x="82956" y="180131"/>
                    <a:pt x="93547" y="211314"/>
                  </a:cubicBezTo>
                  <a:cubicBezTo>
                    <a:pt x="102961" y="237201"/>
                    <a:pt x="127083" y="250145"/>
                    <a:pt x="164149" y="250145"/>
                  </a:cubicBezTo>
                  <a:cubicBezTo>
                    <a:pt x="182388" y="249557"/>
                    <a:pt x="200038" y="246026"/>
                    <a:pt x="217100" y="240732"/>
                  </a:cubicBezTo>
                  <a:cubicBezTo>
                    <a:pt x="241810" y="233083"/>
                    <a:pt x="265932" y="223080"/>
                    <a:pt x="289467" y="211314"/>
                  </a:cubicBezTo>
                  <a:cubicBezTo>
                    <a:pt x="290055" y="213668"/>
                    <a:pt x="290643" y="216609"/>
                    <a:pt x="290643" y="218962"/>
                  </a:cubicBezTo>
                  <a:lnTo>
                    <a:pt x="290644" y="224846"/>
                  </a:lnTo>
                  <a:cubicBezTo>
                    <a:pt x="228278" y="278385"/>
                    <a:pt x="146498" y="297213"/>
                    <a:pt x="97666" y="300154"/>
                  </a:cubicBezTo>
                  <a:cubicBezTo>
                    <a:pt x="70602" y="301920"/>
                    <a:pt x="44126" y="290152"/>
                    <a:pt x="25298" y="27073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7" name="Forme libre : forme 1286">
              <a:extLst>
                <a:ext uri="{FF2B5EF4-FFF2-40B4-BE49-F238E27FC236}">
                  <a16:creationId xmlns:a16="http://schemas.microsoft.com/office/drawing/2014/main" id="{F6434F03-7136-449A-AE8B-69AAC2772741}"/>
                </a:ext>
              </a:extLst>
            </p:cNvPr>
            <p:cNvSpPr/>
            <p:nvPr/>
          </p:nvSpPr>
          <p:spPr>
            <a:xfrm rot="8716295">
              <a:off x="8680393" y="386057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8" name="Forme libre : forme 1287">
              <a:extLst>
                <a:ext uri="{FF2B5EF4-FFF2-40B4-BE49-F238E27FC236}">
                  <a16:creationId xmlns:a16="http://schemas.microsoft.com/office/drawing/2014/main" id="{18FA482F-B79B-416B-B433-51E98289C96F}"/>
                </a:ext>
              </a:extLst>
            </p:cNvPr>
            <p:cNvSpPr/>
            <p:nvPr/>
          </p:nvSpPr>
          <p:spPr>
            <a:xfrm rot="8716295">
              <a:off x="8769785" y="388981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9" name="Forme libre : forme 1288">
              <a:extLst>
                <a:ext uri="{FF2B5EF4-FFF2-40B4-BE49-F238E27FC236}">
                  <a16:creationId xmlns:a16="http://schemas.microsoft.com/office/drawing/2014/main" id="{0633B816-D2AD-461A-8DC1-A0C291E15BED}"/>
                </a:ext>
              </a:extLst>
            </p:cNvPr>
            <p:cNvSpPr/>
            <p:nvPr/>
          </p:nvSpPr>
          <p:spPr>
            <a:xfrm rot="8716295">
              <a:off x="8724935" y="380353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0" name="Forme libre : forme 1289">
              <a:extLst>
                <a:ext uri="{FF2B5EF4-FFF2-40B4-BE49-F238E27FC236}">
                  <a16:creationId xmlns:a16="http://schemas.microsoft.com/office/drawing/2014/main" id="{6AEF1F62-3BB3-42AF-9ABA-6922472D9D4C}"/>
                </a:ext>
              </a:extLst>
            </p:cNvPr>
            <p:cNvSpPr/>
            <p:nvPr/>
          </p:nvSpPr>
          <p:spPr>
            <a:xfrm rot="8716295">
              <a:off x="8568159" y="394911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1" name="Forme libre : forme 1290">
              <a:extLst>
                <a:ext uri="{FF2B5EF4-FFF2-40B4-BE49-F238E27FC236}">
                  <a16:creationId xmlns:a16="http://schemas.microsoft.com/office/drawing/2014/main" id="{37A3E740-A35C-49B8-BCA6-B63F53924CD9}"/>
                </a:ext>
              </a:extLst>
            </p:cNvPr>
            <p:cNvSpPr/>
            <p:nvPr/>
          </p:nvSpPr>
          <p:spPr>
            <a:xfrm rot="8716295">
              <a:off x="8443256" y="374044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2" name="Forme libre : forme 1291">
              <a:extLst>
                <a:ext uri="{FF2B5EF4-FFF2-40B4-BE49-F238E27FC236}">
                  <a16:creationId xmlns:a16="http://schemas.microsoft.com/office/drawing/2014/main" id="{4BC6A6C6-3506-4720-B433-50EBFD398AB2}"/>
                </a:ext>
              </a:extLst>
            </p:cNvPr>
            <p:cNvSpPr/>
            <p:nvPr/>
          </p:nvSpPr>
          <p:spPr>
            <a:xfrm rot="8716295">
              <a:off x="8431204" y="360166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3" name="Forme libre : forme 1292">
              <a:extLst>
                <a:ext uri="{FF2B5EF4-FFF2-40B4-BE49-F238E27FC236}">
                  <a16:creationId xmlns:a16="http://schemas.microsoft.com/office/drawing/2014/main" id="{856A2550-AA18-418C-9080-EC3036E4F436}"/>
                </a:ext>
              </a:extLst>
            </p:cNvPr>
            <p:cNvSpPr/>
            <p:nvPr/>
          </p:nvSpPr>
          <p:spPr>
            <a:xfrm rot="8716295">
              <a:off x="8658337" y="399007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4" name="Forme libre : forme 1293">
              <a:extLst>
                <a:ext uri="{FF2B5EF4-FFF2-40B4-BE49-F238E27FC236}">
                  <a16:creationId xmlns:a16="http://schemas.microsoft.com/office/drawing/2014/main" id="{D5235751-C722-4643-BB69-A63D9B7E2C7F}"/>
                </a:ext>
              </a:extLst>
            </p:cNvPr>
            <p:cNvSpPr/>
            <p:nvPr/>
          </p:nvSpPr>
          <p:spPr>
            <a:xfrm rot="8716295">
              <a:off x="8968661" y="3610682"/>
              <a:ext cx="142168" cy="232388"/>
            </a:xfrm>
            <a:custGeom>
              <a:avLst/>
              <a:gdLst>
                <a:gd name="connsiteX0" fmla="*/ 81109 w 142168"/>
                <a:gd name="connsiteY0" fmla="*/ 232388 h 232388"/>
                <a:gd name="connsiteX1" fmla="*/ 81108 w 142168"/>
                <a:gd name="connsiteY1" fmla="*/ 69717 h 232388"/>
                <a:gd name="connsiteX2" fmla="*/ 81108 w 142168"/>
                <a:gd name="connsiteY2" fmla="*/ 65615 h 232388"/>
                <a:gd name="connsiteX3" fmla="*/ 60603 w 142168"/>
                <a:gd name="connsiteY3" fmla="*/ 50123 h 232388"/>
                <a:gd name="connsiteX4" fmla="*/ 0 w 142168"/>
                <a:gd name="connsiteY4" fmla="*/ 50123 h 232388"/>
                <a:gd name="connsiteX5" fmla="*/ 0 w 142168"/>
                <a:gd name="connsiteY5" fmla="*/ 35740 h 232388"/>
                <a:gd name="connsiteX6" fmla="*/ 24774 w 142168"/>
                <a:gd name="connsiteY6" fmla="*/ 0 h 232388"/>
                <a:gd name="connsiteX7" fmla="*/ 85210 w 142168"/>
                <a:gd name="connsiteY7" fmla="*/ 0 h 232388"/>
                <a:gd name="connsiteX8" fmla="*/ 142168 w 142168"/>
                <a:gd name="connsiteY8" fmla="*/ 50123 h 232388"/>
                <a:gd name="connsiteX9" fmla="*/ 142167 w 142168"/>
                <a:gd name="connsiteY9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2168" h="232388">
                  <a:moveTo>
                    <a:pt x="81109" y="232388"/>
                  </a:moveTo>
                  <a:lnTo>
                    <a:pt x="81108" y="69717"/>
                  </a:lnTo>
                  <a:cubicBezTo>
                    <a:pt x="81108" y="68350"/>
                    <a:pt x="81108" y="66982"/>
                    <a:pt x="81108" y="65615"/>
                  </a:cubicBezTo>
                  <a:cubicBezTo>
                    <a:pt x="79741" y="55591"/>
                    <a:pt x="70628" y="48756"/>
                    <a:pt x="60603" y="50123"/>
                  </a:cubicBezTo>
                  <a:lnTo>
                    <a:pt x="0" y="50123"/>
                  </a:lnTo>
                  <a:lnTo>
                    <a:pt x="0" y="35740"/>
                  </a:lnTo>
                  <a:lnTo>
                    <a:pt x="24774" y="0"/>
                  </a:lnTo>
                  <a:lnTo>
                    <a:pt x="85210" y="0"/>
                  </a:lnTo>
                  <a:cubicBezTo>
                    <a:pt x="122118" y="0"/>
                    <a:pt x="142167" y="15949"/>
                    <a:pt x="142168" y="50123"/>
                  </a:cubicBezTo>
                  <a:lnTo>
                    <a:pt x="142167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5" name="Forme libre : forme 1294">
              <a:extLst>
                <a:ext uri="{FF2B5EF4-FFF2-40B4-BE49-F238E27FC236}">
                  <a16:creationId xmlns:a16="http://schemas.microsoft.com/office/drawing/2014/main" id="{85A06E5C-7F12-4A00-B7C2-0D110DC8B17B}"/>
                </a:ext>
              </a:extLst>
            </p:cNvPr>
            <p:cNvSpPr/>
            <p:nvPr/>
          </p:nvSpPr>
          <p:spPr>
            <a:xfrm rot="8716295">
              <a:off x="9109023" y="3840461"/>
              <a:ext cx="57223" cy="60210"/>
            </a:xfrm>
            <a:custGeom>
              <a:avLst/>
              <a:gdLst>
                <a:gd name="connsiteX0" fmla="*/ 0 w 57223"/>
                <a:gd name="connsiteY0" fmla="*/ 60210 h 60210"/>
                <a:gd name="connsiteX1" fmla="*/ 41735 w 57223"/>
                <a:gd name="connsiteY1" fmla="*/ 0 h 60210"/>
                <a:gd name="connsiteX2" fmla="*/ 57223 w 57223"/>
                <a:gd name="connsiteY2" fmla="*/ 50920 h 60210"/>
                <a:gd name="connsiteX3" fmla="*/ 57223 w 57223"/>
                <a:gd name="connsiteY3" fmla="*/ 56844 h 60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223" h="60210">
                  <a:moveTo>
                    <a:pt x="0" y="60210"/>
                  </a:moveTo>
                  <a:lnTo>
                    <a:pt x="41735" y="0"/>
                  </a:lnTo>
                  <a:lnTo>
                    <a:pt x="57223" y="50920"/>
                  </a:lnTo>
                  <a:lnTo>
                    <a:pt x="57223" y="568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6" name="Forme libre : forme 1295">
              <a:extLst>
                <a:ext uri="{FF2B5EF4-FFF2-40B4-BE49-F238E27FC236}">
                  <a16:creationId xmlns:a16="http://schemas.microsoft.com/office/drawing/2014/main" id="{1252EC58-9E57-4107-B2FC-C59BA27CE7DF}"/>
                </a:ext>
              </a:extLst>
            </p:cNvPr>
            <p:cNvSpPr/>
            <p:nvPr/>
          </p:nvSpPr>
          <p:spPr>
            <a:xfrm rot="8716295">
              <a:off x="8857258" y="369896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7" name="Forme libre : forme 1296">
              <a:extLst>
                <a:ext uri="{FF2B5EF4-FFF2-40B4-BE49-F238E27FC236}">
                  <a16:creationId xmlns:a16="http://schemas.microsoft.com/office/drawing/2014/main" id="{1954E87D-9885-4B97-8ACC-9DDD71F1F192}"/>
                </a:ext>
              </a:extLst>
            </p:cNvPr>
            <p:cNvSpPr/>
            <p:nvPr/>
          </p:nvSpPr>
          <p:spPr>
            <a:xfrm rot="8716295">
              <a:off x="8732356" y="349029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8" name="Forme libre : forme 1297">
              <a:extLst>
                <a:ext uri="{FF2B5EF4-FFF2-40B4-BE49-F238E27FC236}">
                  <a16:creationId xmlns:a16="http://schemas.microsoft.com/office/drawing/2014/main" id="{7DA0C229-B685-46FD-A282-2DDCFCEDAB1D}"/>
                </a:ext>
              </a:extLst>
            </p:cNvPr>
            <p:cNvSpPr/>
            <p:nvPr/>
          </p:nvSpPr>
          <p:spPr>
            <a:xfrm rot="8716295">
              <a:off x="8947436" y="373991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9" name="Forme libre : forme 1298">
              <a:extLst>
                <a:ext uri="{FF2B5EF4-FFF2-40B4-BE49-F238E27FC236}">
                  <a16:creationId xmlns:a16="http://schemas.microsoft.com/office/drawing/2014/main" id="{E583C73B-C59E-4715-A88F-1B25FEE34388}"/>
                </a:ext>
              </a:extLst>
            </p:cNvPr>
            <p:cNvSpPr/>
            <p:nvPr/>
          </p:nvSpPr>
          <p:spPr>
            <a:xfrm rot="8716295">
              <a:off x="8705985" y="359031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0" name="Forme libre : forme 1299">
              <a:extLst>
                <a:ext uri="{FF2B5EF4-FFF2-40B4-BE49-F238E27FC236}">
                  <a16:creationId xmlns:a16="http://schemas.microsoft.com/office/drawing/2014/main" id="{38178581-3BEA-4A48-A870-1DDB85404FFE}"/>
                </a:ext>
              </a:extLst>
            </p:cNvPr>
            <p:cNvSpPr/>
            <p:nvPr/>
          </p:nvSpPr>
          <p:spPr>
            <a:xfrm rot="7484129">
              <a:off x="9046498" y="3963386"/>
              <a:ext cx="145510" cy="161114"/>
            </a:xfrm>
            <a:custGeom>
              <a:avLst/>
              <a:gdLst>
                <a:gd name="connsiteX0" fmla="*/ 115849 w 145510"/>
                <a:gd name="connsiteY0" fmla="*/ 20564 h 161114"/>
                <a:gd name="connsiteX1" fmla="*/ 145509 w 145510"/>
                <a:gd name="connsiteY1" fmla="*/ 0 h 161114"/>
                <a:gd name="connsiteX2" fmla="*/ 145510 w 145510"/>
                <a:gd name="connsiteY2" fmla="*/ 20564 h 161114"/>
                <a:gd name="connsiteX3" fmla="*/ 32372 w 145510"/>
                <a:gd name="connsiteY3" fmla="*/ 161114 h 161114"/>
                <a:gd name="connsiteX4" fmla="*/ 0 w 145510"/>
                <a:gd name="connsiteY4" fmla="*/ 100888 h 161114"/>
                <a:gd name="connsiteX5" fmla="*/ 69714 w 145510"/>
                <a:gd name="connsiteY5" fmla="*/ 52552 h 161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5510" h="161114">
                  <a:moveTo>
                    <a:pt x="115849" y="20564"/>
                  </a:moveTo>
                  <a:lnTo>
                    <a:pt x="145509" y="0"/>
                  </a:lnTo>
                  <a:lnTo>
                    <a:pt x="145510" y="20564"/>
                  </a:lnTo>
                  <a:close/>
                  <a:moveTo>
                    <a:pt x="32372" y="161114"/>
                  </a:moveTo>
                  <a:lnTo>
                    <a:pt x="0" y="100888"/>
                  </a:lnTo>
                  <a:lnTo>
                    <a:pt x="69714" y="525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1" name="Forme libre : forme 1300">
              <a:extLst>
                <a:ext uri="{FF2B5EF4-FFF2-40B4-BE49-F238E27FC236}">
                  <a16:creationId xmlns:a16="http://schemas.microsoft.com/office/drawing/2014/main" id="{2DF0D885-AE91-4D82-A22C-467632822CD4}"/>
                </a:ext>
              </a:extLst>
            </p:cNvPr>
            <p:cNvSpPr/>
            <p:nvPr/>
          </p:nvSpPr>
          <p:spPr>
            <a:xfrm rot="8716295">
              <a:off x="9047721" y="363275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2" name="Forme libre : forme 1301">
              <a:extLst>
                <a:ext uri="{FF2B5EF4-FFF2-40B4-BE49-F238E27FC236}">
                  <a16:creationId xmlns:a16="http://schemas.microsoft.com/office/drawing/2014/main" id="{33C52D86-EED4-4053-8849-8D331CAB4CF0}"/>
                </a:ext>
              </a:extLst>
            </p:cNvPr>
            <p:cNvSpPr/>
            <p:nvPr/>
          </p:nvSpPr>
          <p:spPr>
            <a:xfrm rot="8716295">
              <a:off x="8903560" y="452027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3" name="Forme libre : forme 1302">
              <a:extLst>
                <a:ext uri="{FF2B5EF4-FFF2-40B4-BE49-F238E27FC236}">
                  <a16:creationId xmlns:a16="http://schemas.microsoft.com/office/drawing/2014/main" id="{0AC4DA6A-C1AB-4D56-874A-91BC5CE716BE}"/>
                </a:ext>
              </a:extLst>
            </p:cNvPr>
            <p:cNvSpPr/>
            <p:nvPr/>
          </p:nvSpPr>
          <p:spPr>
            <a:xfrm rot="8716295">
              <a:off x="8995011" y="4560813"/>
              <a:ext cx="209150" cy="252972"/>
            </a:xfrm>
            <a:custGeom>
              <a:avLst/>
              <a:gdLst>
                <a:gd name="connsiteX0" fmla="*/ 147180 w 209150"/>
                <a:gd name="connsiteY0" fmla="*/ 96224 h 252972"/>
                <a:gd name="connsiteX1" fmla="*/ 147180 w 209150"/>
                <a:gd name="connsiteY1" fmla="*/ 79820 h 252972"/>
                <a:gd name="connsiteX2" fmla="*/ 113461 w 209150"/>
                <a:gd name="connsiteY2" fmla="*/ 38355 h 252972"/>
                <a:gd name="connsiteX3" fmla="*/ 111078 w 209150"/>
                <a:gd name="connsiteY3" fmla="*/ 39142 h 252972"/>
                <a:gd name="connsiteX4" fmla="*/ 138210 w 209150"/>
                <a:gd name="connsiteY4" fmla="*/ 0 h 252972"/>
                <a:gd name="connsiteX5" fmla="*/ 189158 w 209150"/>
                <a:gd name="connsiteY5" fmla="*/ 20925 h 252972"/>
                <a:gd name="connsiteX6" fmla="*/ 209150 w 209150"/>
                <a:gd name="connsiteY6" fmla="*/ 86655 h 252972"/>
                <a:gd name="connsiteX7" fmla="*/ 209150 w 209150"/>
                <a:gd name="connsiteY7" fmla="*/ 92579 h 252972"/>
                <a:gd name="connsiteX8" fmla="*/ 0 w 209150"/>
                <a:gd name="connsiteY8" fmla="*/ 252972 h 252972"/>
                <a:gd name="connsiteX9" fmla="*/ 0 w 209150"/>
                <a:gd name="connsiteY9" fmla="*/ 199389 h 252972"/>
                <a:gd name="connsiteX10" fmla="*/ 62137 w 209150"/>
                <a:gd name="connsiteY10" fmla="*/ 109748 h 252972"/>
                <a:gd name="connsiteX11" fmla="*/ 60149 w 209150"/>
                <a:gd name="connsiteY11" fmla="*/ 125842 h 252972"/>
                <a:gd name="connsiteX12" fmla="*/ 60149 w 209150"/>
                <a:gd name="connsiteY12" fmla="*/ 211963 h 252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9150" h="252972">
                  <a:moveTo>
                    <a:pt x="147180" y="96224"/>
                  </a:moveTo>
                  <a:lnTo>
                    <a:pt x="147180" y="79820"/>
                  </a:lnTo>
                  <a:cubicBezTo>
                    <a:pt x="147180" y="55214"/>
                    <a:pt x="133055" y="38354"/>
                    <a:pt x="113461" y="38355"/>
                  </a:cubicBezTo>
                  <a:lnTo>
                    <a:pt x="111078" y="39142"/>
                  </a:lnTo>
                  <a:lnTo>
                    <a:pt x="138210" y="0"/>
                  </a:lnTo>
                  <a:lnTo>
                    <a:pt x="189158" y="20925"/>
                  </a:lnTo>
                  <a:cubicBezTo>
                    <a:pt x="202088" y="36076"/>
                    <a:pt x="209150" y="58404"/>
                    <a:pt x="209150" y="86655"/>
                  </a:cubicBezTo>
                  <a:lnTo>
                    <a:pt x="209150" y="92579"/>
                  </a:lnTo>
                  <a:close/>
                  <a:moveTo>
                    <a:pt x="0" y="252972"/>
                  </a:moveTo>
                  <a:lnTo>
                    <a:pt x="0" y="199389"/>
                  </a:lnTo>
                  <a:lnTo>
                    <a:pt x="62137" y="109748"/>
                  </a:lnTo>
                  <a:lnTo>
                    <a:pt x="60149" y="125842"/>
                  </a:lnTo>
                  <a:lnTo>
                    <a:pt x="60149" y="211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4" name="Forme libre : forme 1303">
              <a:extLst>
                <a:ext uri="{FF2B5EF4-FFF2-40B4-BE49-F238E27FC236}">
                  <a16:creationId xmlns:a16="http://schemas.microsoft.com/office/drawing/2014/main" id="{46EFB273-913D-41A4-BE13-A8E412E897AD}"/>
                </a:ext>
              </a:extLst>
            </p:cNvPr>
            <p:cNvSpPr/>
            <p:nvPr/>
          </p:nvSpPr>
          <p:spPr>
            <a:xfrm rot="8716295">
              <a:off x="8948102" y="446323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5" name="Forme libre : forme 1304">
              <a:extLst>
                <a:ext uri="{FF2B5EF4-FFF2-40B4-BE49-F238E27FC236}">
                  <a16:creationId xmlns:a16="http://schemas.microsoft.com/office/drawing/2014/main" id="{C8AFD01E-66A1-4775-A3BB-2B5B572FDEF5}"/>
                </a:ext>
              </a:extLst>
            </p:cNvPr>
            <p:cNvSpPr/>
            <p:nvPr/>
          </p:nvSpPr>
          <p:spPr>
            <a:xfrm rot="8716295">
              <a:off x="8791326" y="460881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6" name="Forme libre : forme 1305">
              <a:extLst>
                <a:ext uri="{FF2B5EF4-FFF2-40B4-BE49-F238E27FC236}">
                  <a16:creationId xmlns:a16="http://schemas.microsoft.com/office/drawing/2014/main" id="{C962FDB1-0DD4-43C1-8205-DE0798092D1A}"/>
                </a:ext>
              </a:extLst>
            </p:cNvPr>
            <p:cNvSpPr/>
            <p:nvPr/>
          </p:nvSpPr>
          <p:spPr>
            <a:xfrm rot="8716295">
              <a:off x="8666423" y="440014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7" name="Forme libre : forme 1306">
              <a:extLst>
                <a:ext uri="{FF2B5EF4-FFF2-40B4-BE49-F238E27FC236}">
                  <a16:creationId xmlns:a16="http://schemas.microsoft.com/office/drawing/2014/main" id="{0480D47A-1697-4D7E-813B-FF226D47F8DF}"/>
                </a:ext>
              </a:extLst>
            </p:cNvPr>
            <p:cNvSpPr/>
            <p:nvPr/>
          </p:nvSpPr>
          <p:spPr>
            <a:xfrm rot="8716295">
              <a:off x="8654371" y="426136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8" name="Forme libre : forme 1307">
              <a:extLst>
                <a:ext uri="{FF2B5EF4-FFF2-40B4-BE49-F238E27FC236}">
                  <a16:creationId xmlns:a16="http://schemas.microsoft.com/office/drawing/2014/main" id="{65904141-C75F-433C-BE0F-46087197E036}"/>
                </a:ext>
              </a:extLst>
            </p:cNvPr>
            <p:cNvSpPr/>
            <p:nvPr/>
          </p:nvSpPr>
          <p:spPr>
            <a:xfrm rot="8716295">
              <a:off x="8881504" y="464976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9" name="Forme libre : forme 1308">
              <a:extLst>
                <a:ext uri="{FF2B5EF4-FFF2-40B4-BE49-F238E27FC236}">
                  <a16:creationId xmlns:a16="http://schemas.microsoft.com/office/drawing/2014/main" id="{A0CD19D0-7C1F-40D5-AA23-F68A2F38F994}"/>
                </a:ext>
              </a:extLst>
            </p:cNvPr>
            <p:cNvSpPr/>
            <p:nvPr/>
          </p:nvSpPr>
          <p:spPr>
            <a:xfrm rot="8716295">
              <a:off x="9080425" y="435866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0" name="Forme libre : forme 1309">
              <a:extLst>
                <a:ext uri="{FF2B5EF4-FFF2-40B4-BE49-F238E27FC236}">
                  <a16:creationId xmlns:a16="http://schemas.microsoft.com/office/drawing/2014/main" id="{81CE2624-1FCB-48DB-8B92-3586C59F8F57}"/>
                </a:ext>
              </a:extLst>
            </p:cNvPr>
            <p:cNvSpPr/>
            <p:nvPr/>
          </p:nvSpPr>
          <p:spPr>
            <a:xfrm rot="8716295">
              <a:off x="9127247" y="4438294"/>
              <a:ext cx="21643" cy="52047"/>
            </a:xfrm>
            <a:custGeom>
              <a:avLst/>
              <a:gdLst>
                <a:gd name="connsiteX0" fmla="*/ 21643 w 21643"/>
                <a:gd name="connsiteY0" fmla="*/ 52047 h 52047"/>
                <a:gd name="connsiteX1" fmla="*/ 0 w 21643"/>
                <a:gd name="connsiteY1" fmla="*/ 31224 h 52047"/>
                <a:gd name="connsiteX2" fmla="*/ 21643 w 21643"/>
                <a:gd name="connsiteY2" fmla="*/ 0 h 52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643" h="52047">
                  <a:moveTo>
                    <a:pt x="21643" y="52047"/>
                  </a:moveTo>
                  <a:lnTo>
                    <a:pt x="0" y="31224"/>
                  </a:lnTo>
                  <a:lnTo>
                    <a:pt x="2164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1" name="Forme libre : forme 1310">
              <a:extLst>
                <a:ext uri="{FF2B5EF4-FFF2-40B4-BE49-F238E27FC236}">
                  <a16:creationId xmlns:a16="http://schemas.microsoft.com/office/drawing/2014/main" id="{31C12572-D0CA-4CC0-9BB5-4B6FE0704FA0}"/>
                </a:ext>
              </a:extLst>
            </p:cNvPr>
            <p:cNvSpPr/>
            <p:nvPr/>
          </p:nvSpPr>
          <p:spPr>
            <a:xfrm rot="8716295">
              <a:off x="8929152" y="425001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2" name="Forme libre : forme 1311">
              <a:extLst>
                <a:ext uri="{FF2B5EF4-FFF2-40B4-BE49-F238E27FC236}">
                  <a16:creationId xmlns:a16="http://schemas.microsoft.com/office/drawing/2014/main" id="{06FE0F28-DCFA-4771-A32B-AC14F208D6DB}"/>
                </a:ext>
              </a:extLst>
            </p:cNvPr>
            <p:cNvSpPr/>
            <p:nvPr/>
          </p:nvSpPr>
          <p:spPr>
            <a:xfrm rot="8716295">
              <a:off x="8017038" y="188150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3" name="Forme libre : forme 1312">
              <a:extLst>
                <a:ext uri="{FF2B5EF4-FFF2-40B4-BE49-F238E27FC236}">
                  <a16:creationId xmlns:a16="http://schemas.microsoft.com/office/drawing/2014/main" id="{03B42E83-510C-4BBE-9C20-B941145EA450}"/>
                </a:ext>
              </a:extLst>
            </p:cNvPr>
            <p:cNvSpPr/>
            <p:nvPr/>
          </p:nvSpPr>
          <p:spPr>
            <a:xfrm rot="8716295">
              <a:off x="8106430" y="191074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4" name="Forme libre : forme 1313">
              <a:extLst>
                <a:ext uri="{FF2B5EF4-FFF2-40B4-BE49-F238E27FC236}">
                  <a16:creationId xmlns:a16="http://schemas.microsoft.com/office/drawing/2014/main" id="{E67399C3-F788-46B5-AAA0-190EC08469BC}"/>
                </a:ext>
              </a:extLst>
            </p:cNvPr>
            <p:cNvSpPr/>
            <p:nvPr/>
          </p:nvSpPr>
          <p:spPr>
            <a:xfrm rot="8716295">
              <a:off x="8061580" y="182446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5" name="Forme libre : forme 1314">
              <a:extLst>
                <a:ext uri="{FF2B5EF4-FFF2-40B4-BE49-F238E27FC236}">
                  <a16:creationId xmlns:a16="http://schemas.microsoft.com/office/drawing/2014/main" id="{BD7D0800-7564-4656-8A63-156A029FB19B}"/>
                </a:ext>
              </a:extLst>
            </p:cNvPr>
            <p:cNvSpPr/>
            <p:nvPr/>
          </p:nvSpPr>
          <p:spPr>
            <a:xfrm rot="8716295">
              <a:off x="7904804" y="197004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6" name="Forme libre : forme 1315">
              <a:extLst>
                <a:ext uri="{FF2B5EF4-FFF2-40B4-BE49-F238E27FC236}">
                  <a16:creationId xmlns:a16="http://schemas.microsoft.com/office/drawing/2014/main" id="{E030DE09-FA2D-4210-A1C0-5CFD337D68EF}"/>
                </a:ext>
              </a:extLst>
            </p:cNvPr>
            <p:cNvSpPr/>
            <p:nvPr/>
          </p:nvSpPr>
          <p:spPr>
            <a:xfrm rot="8716295">
              <a:off x="7779901" y="17613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7" name="Forme libre : forme 1316">
              <a:extLst>
                <a:ext uri="{FF2B5EF4-FFF2-40B4-BE49-F238E27FC236}">
                  <a16:creationId xmlns:a16="http://schemas.microsoft.com/office/drawing/2014/main" id="{441C3211-E12F-43F5-818D-D86C03979435}"/>
                </a:ext>
              </a:extLst>
            </p:cNvPr>
            <p:cNvSpPr/>
            <p:nvPr/>
          </p:nvSpPr>
          <p:spPr>
            <a:xfrm rot="8716295">
              <a:off x="7767849" y="162259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8" name="Forme libre : forme 1317">
              <a:extLst>
                <a:ext uri="{FF2B5EF4-FFF2-40B4-BE49-F238E27FC236}">
                  <a16:creationId xmlns:a16="http://schemas.microsoft.com/office/drawing/2014/main" id="{C81B3DBB-390A-4D8F-BC6E-FD3ECDEE0BB0}"/>
                </a:ext>
              </a:extLst>
            </p:cNvPr>
            <p:cNvSpPr/>
            <p:nvPr/>
          </p:nvSpPr>
          <p:spPr>
            <a:xfrm rot="8716295">
              <a:off x="7994982" y="201100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9" name="Forme libre : forme 1318">
              <a:extLst>
                <a:ext uri="{FF2B5EF4-FFF2-40B4-BE49-F238E27FC236}">
                  <a16:creationId xmlns:a16="http://schemas.microsoft.com/office/drawing/2014/main" id="{BFAFB460-4ECD-40BE-A4EC-4006AC399A7C}"/>
                </a:ext>
              </a:extLst>
            </p:cNvPr>
            <p:cNvSpPr/>
            <p:nvPr/>
          </p:nvSpPr>
          <p:spPr>
            <a:xfrm rot="8716295">
              <a:off x="8306137" y="163135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0" name="Forme libre : forme 1319">
              <a:extLst>
                <a:ext uri="{FF2B5EF4-FFF2-40B4-BE49-F238E27FC236}">
                  <a16:creationId xmlns:a16="http://schemas.microsoft.com/office/drawing/2014/main" id="{7B541B2F-C4AD-4DCD-BCB5-5352D9CFB3ED}"/>
                </a:ext>
              </a:extLst>
            </p:cNvPr>
            <p:cNvSpPr/>
            <p:nvPr/>
          </p:nvSpPr>
          <p:spPr>
            <a:xfrm rot="8716295">
              <a:off x="8395529" y="166059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1" name="Forme libre : forme 1320">
              <a:extLst>
                <a:ext uri="{FF2B5EF4-FFF2-40B4-BE49-F238E27FC236}">
                  <a16:creationId xmlns:a16="http://schemas.microsoft.com/office/drawing/2014/main" id="{A45C4522-56D9-451A-9CF4-67FE5A5396B0}"/>
                </a:ext>
              </a:extLst>
            </p:cNvPr>
            <p:cNvSpPr/>
            <p:nvPr/>
          </p:nvSpPr>
          <p:spPr>
            <a:xfrm rot="8716295">
              <a:off x="8193903" y="171989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2" name="Forme libre : forme 1321">
              <a:extLst>
                <a:ext uri="{FF2B5EF4-FFF2-40B4-BE49-F238E27FC236}">
                  <a16:creationId xmlns:a16="http://schemas.microsoft.com/office/drawing/2014/main" id="{E7717817-0555-4B4B-895C-A33E36D53D8F}"/>
                </a:ext>
              </a:extLst>
            </p:cNvPr>
            <p:cNvSpPr/>
            <p:nvPr/>
          </p:nvSpPr>
          <p:spPr>
            <a:xfrm rot="8716295">
              <a:off x="8069001" y="151122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3" name="Forme libre : forme 1322">
              <a:extLst>
                <a:ext uri="{FF2B5EF4-FFF2-40B4-BE49-F238E27FC236}">
                  <a16:creationId xmlns:a16="http://schemas.microsoft.com/office/drawing/2014/main" id="{5BD4E83D-6535-4EE0-A9B7-D5185CFA466C}"/>
                </a:ext>
              </a:extLst>
            </p:cNvPr>
            <p:cNvSpPr/>
            <p:nvPr/>
          </p:nvSpPr>
          <p:spPr>
            <a:xfrm rot="8716295">
              <a:off x="8284081" y="176084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4" name="Forme libre : forme 1323">
              <a:extLst>
                <a:ext uri="{FF2B5EF4-FFF2-40B4-BE49-F238E27FC236}">
                  <a16:creationId xmlns:a16="http://schemas.microsoft.com/office/drawing/2014/main" id="{550B4B31-795C-4AC8-BA83-B9758B5300F7}"/>
                </a:ext>
              </a:extLst>
            </p:cNvPr>
            <p:cNvSpPr/>
            <p:nvPr/>
          </p:nvSpPr>
          <p:spPr>
            <a:xfrm rot="8716295">
              <a:off x="8042630" y="161124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5" name="Forme libre : forme 1324">
              <a:extLst>
                <a:ext uri="{FF2B5EF4-FFF2-40B4-BE49-F238E27FC236}">
                  <a16:creationId xmlns:a16="http://schemas.microsoft.com/office/drawing/2014/main" id="{7AE347C2-0FF0-43F2-9E07-9395DE30E665}"/>
                </a:ext>
              </a:extLst>
            </p:cNvPr>
            <p:cNvSpPr/>
            <p:nvPr/>
          </p:nvSpPr>
          <p:spPr>
            <a:xfrm rot="7484129">
              <a:off x="8389012" y="195220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6" name="Forme libre : forme 1325">
              <a:extLst>
                <a:ext uri="{FF2B5EF4-FFF2-40B4-BE49-F238E27FC236}">
                  <a16:creationId xmlns:a16="http://schemas.microsoft.com/office/drawing/2014/main" id="{D3A4F277-D48F-4980-838D-133EBFE3B58C}"/>
                </a:ext>
              </a:extLst>
            </p:cNvPr>
            <p:cNvSpPr/>
            <p:nvPr/>
          </p:nvSpPr>
          <p:spPr>
            <a:xfrm rot="13089394">
              <a:off x="8493832" y="191873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7" name="Forme libre : forme 1326">
              <a:extLst>
                <a:ext uri="{FF2B5EF4-FFF2-40B4-BE49-F238E27FC236}">
                  <a16:creationId xmlns:a16="http://schemas.microsoft.com/office/drawing/2014/main" id="{F44857BA-0E6D-444C-8130-0CFA8DA44B30}"/>
                </a:ext>
              </a:extLst>
            </p:cNvPr>
            <p:cNvSpPr/>
            <p:nvPr/>
          </p:nvSpPr>
          <p:spPr>
            <a:xfrm rot="8716295">
              <a:off x="8679417" y="172705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8" name="Forme libre : forme 1327">
              <a:extLst>
                <a:ext uri="{FF2B5EF4-FFF2-40B4-BE49-F238E27FC236}">
                  <a16:creationId xmlns:a16="http://schemas.microsoft.com/office/drawing/2014/main" id="{D4C84979-7E73-4B70-A159-042D83A98EA4}"/>
                </a:ext>
              </a:extLst>
            </p:cNvPr>
            <p:cNvSpPr/>
            <p:nvPr/>
          </p:nvSpPr>
          <p:spPr>
            <a:xfrm rot="8716295">
              <a:off x="8627612" y="162346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9" name="Forme libre : forme 1328">
              <a:extLst>
                <a:ext uri="{FF2B5EF4-FFF2-40B4-BE49-F238E27FC236}">
                  <a16:creationId xmlns:a16="http://schemas.microsoft.com/office/drawing/2014/main" id="{C1D10C79-BBC0-4738-9EE2-1E8709B72D7D}"/>
                </a:ext>
              </a:extLst>
            </p:cNvPr>
            <p:cNvSpPr/>
            <p:nvPr/>
          </p:nvSpPr>
          <p:spPr>
            <a:xfrm rot="8716295">
              <a:off x="8384366" y="165368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0" name="Forme libre : forme 1329">
              <a:extLst>
                <a:ext uri="{FF2B5EF4-FFF2-40B4-BE49-F238E27FC236}">
                  <a16:creationId xmlns:a16="http://schemas.microsoft.com/office/drawing/2014/main" id="{84968DC1-9DA6-4257-AB15-0940E818C029}"/>
                </a:ext>
              </a:extLst>
            </p:cNvPr>
            <p:cNvSpPr/>
            <p:nvPr/>
          </p:nvSpPr>
          <p:spPr>
            <a:xfrm rot="8716295">
              <a:off x="8561818" y="149443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1" name="Forme libre : forme 1330">
              <a:extLst>
                <a:ext uri="{FF2B5EF4-FFF2-40B4-BE49-F238E27FC236}">
                  <a16:creationId xmlns:a16="http://schemas.microsoft.com/office/drawing/2014/main" id="{259462E3-1804-418C-9BF0-9C34C3096E62}"/>
                </a:ext>
              </a:extLst>
            </p:cNvPr>
            <p:cNvSpPr/>
            <p:nvPr/>
          </p:nvSpPr>
          <p:spPr>
            <a:xfrm rot="8716295">
              <a:off x="7793871" y="122180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2" name="Forme libre : forme 1331">
              <a:extLst>
                <a:ext uri="{FF2B5EF4-FFF2-40B4-BE49-F238E27FC236}">
                  <a16:creationId xmlns:a16="http://schemas.microsoft.com/office/drawing/2014/main" id="{7B2E794A-058D-4204-8976-C2253563124B}"/>
                </a:ext>
              </a:extLst>
            </p:cNvPr>
            <p:cNvSpPr/>
            <p:nvPr/>
          </p:nvSpPr>
          <p:spPr>
            <a:xfrm rot="8716295">
              <a:off x="7883263" y="125104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3" name="Forme libre : forme 1332">
              <a:extLst>
                <a:ext uri="{FF2B5EF4-FFF2-40B4-BE49-F238E27FC236}">
                  <a16:creationId xmlns:a16="http://schemas.microsoft.com/office/drawing/2014/main" id="{31CF00F1-0460-4F25-BB21-EB3DEDFBD98D}"/>
                </a:ext>
              </a:extLst>
            </p:cNvPr>
            <p:cNvSpPr/>
            <p:nvPr/>
          </p:nvSpPr>
          <p:spPr>
            <a:xfrm rot="8716295">
              <a:off x="7838413" y="1164768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4" name="Forme libre : forme 1333">
              <a:extLst>
                <a:ext uri="{FF2B5EF4-FFF2-40B4-BE49-F238E27FC236}">
                  <a16:creationId xmlns:a16="http://schemas.microsoft.com/office/drawing/2014/main" id="{BCBED745-150E-4526-8568-62C6BF9E77BE}"/>
                </a:ext>
              </a:extLst>
            </p:cNvPr>
            <p:cNvSpPr/>
            <p:nvPr/>
          </p:nvSpPr>
          <p:spPr>
            <a:xfrm rot="8716295">
              <a:off x="7681637" y="131035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5" name="Forme libre : forme 1334">
              <a:extLst>
                <a:ext uri="{FF2B5EF4-FFF2-40B4-BE49-F238E27FC236}">
                  <a16:creationId xmlns:a16="http://schemas.microsoft.com/office/drawing/2014/main" id="{4F66BBCB-B640-4584-ADDB-9A235DECC828}"/>
                </a:ext>
              </a:extLst>
            </p:cNvPr>
            <p:cNvSpPr/>
            <p:nvPr/>
          </p:nvSpPr>
          <p:spPr>
            <a:xfrm rot="8716295">
              <a:off x="7556734" y="110167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6" name="Forme libre : forme 1335">
              <a:extLst>
                <a:ext uri="{FF2B5EF4-FFF2-40B4-BE49-F238E27FC236}">
                  <a16:creationId xmlns:a16="http://schemas.microsoft.com/office/drawing/2014/main" id="{E6E36EEB-8827-4842-B89F-26523D1637B2}"/>
                </a:ext>
              </a:extLst>
            </p:cNvPr>
            <p:cNvSpPr/>
            <p:nvPr/>
          </p:nvSpPr>
          <p:spPr>
            <a:xfrm rot="8716295">
              <a:off x="7544682" y="962897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7" name="Forme libre : forme 1336">
              <a:extLst>
                <a:ext uri="{FF2B5EF4-FFF2-40B4-BE49-F238E27FC236}">
                  <a16:creationId xmlns:a16="http://schemas.microsoft.com/office/drawing/2014/main" id="{ECE47C5C-3D06-4911-A1DE-543CB20F5396}"/>
                </a:ext>
              </a:extLst>
            </p:cNvPr>
            <p:cNvSpPr/>
            <p:nvPr/>
          </p:nvSpPr>
          <p:spPr>
            <a:xfrm rot="8716295">
              <a:off x="7771815" y="1351302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8" name="Forme libre : forme 1337">
              <a:extLst>
                <a:ext uri="{FF2B5EF4-FFF2-40B4-BE49-F238E27FC236}">
                  <a16:creationId xmlns:a16="http://schemas.microsoft.com/office/drawing/2014/main" id="{8CC68F11-D64D-4203-A8DD-898BE62FB0FE}"/>
                </a:ext>
              </a:extLst>
            </p:cNvPr>
            <p:cNvSpPr/>
            <p:nvPr/>
          </p:nvSpPr>
          <p:spPr>
            <a:xfrm rot="8716295">
              <a:off x="8082970" y="97165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9" name="Forme libre : forme 1338">
              <a:extLst>
                <a:ext uri="{FF2B5EF4-FFF2-40B4-BE49-F238E27FC236}">
                  <a16:creationId xmlns:a16="http://schemas.microsoft.com/office/drawing/2014/main" id="{1B97A536-69CC-493F-9F28-150068FA4CCA}"/>
                </a:ext>
              </a:extLst>
            </p:cNvPr>
            <p:cNvSpPr/>
            <p:nvPr/>
          </p:nvSpPr>
          <p:spPr>
            <a:xfrm rot="8716295">
              <a:off x="8172362" y="100089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0" name="Forme libre : forme 1339">
              <a:extLst>
                <a:ext uri="{FF2B5EF4-FFF2-40B4-BE49-F238E27FC236}">
                  <a16:creationId xmlns:a16="http://schemas.microsoft.com/office/drawing/2014/main" id="{CCB2D551-0206-4F5E-9C9A-7BFB60BB3657}"/>
                </a:ext>
              </a:extLst>
            </p:cNvPr>
            <p:cNvSpPr/>
            <p:nvPr/>
          </p:nvSpPr>
          <p:spPr>
            <a:xfrm rot="8716295">
              <a:off x="7970736" y="106019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1" name="Forme libre : forme 1340">
              <a:extLst>
                <a:ext uri="{FF2B5EF4-FFF2-40B4-BE49-F238E27FC236}">
                  <a16:creationId xmlns:a16="http://schemas.microsoft.com/office/drawing/2014/main" id="{9A449D56-39AF-4FEE-8AA3-483E9E2127DF}"/>
                </a:ext>
              </a:extLst>
            </p:cNvPr>
            <p:cNvSpPr/>
            <p:nvPr/>
          </p:nvSpPr>
          <p:spPr>
            <a:xfrm rot="8716295">
              <a:off x="7845834" y="85152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2" name="Forme libre : forme 1341">
              <a:extLst>
                <a:ext uri="{FF2B5EF4-FFF2-40B4-BE49-F238E27FC236}">
                  <a16:creationId xmlns:a16="http://schemas.microsoft.com/office/drawing/2014/main" id="{2C1F0455-4C7C-4E73-A620-001FD7ED9AB5}"/>
                </a:ext>
              </a:extLst>
            </p:cNvPr>
            <p:cNvSpPr/>
            <p:nvPr/>
          </p:nvSpPr>
          <p:spPr>
            <a:xfrm rot="8716295">
              <a:off x="8060914" y="1101150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3" name="Forme libre : forme 1342">
              <a:extLst>
                <a:ext uri="{FF2B5EF4-FFF2-40B4-BE49-F238E27FC236}">
                  <a16:creationId xmlns:a16="http://schemas.microsoft.com/office/drawing/2014/main" id="{41DB3307-8152-4BE9-B762-06FE2A91823A}"/>
                </a:ext>
              </a:extLst>
            </p:cNvPr>
            <p:cNvSpPr/>
            <p:nvPr/>
          </p:nvSpPr>
          <p:spPr>
            <a:xfrm rot="8716295">
              <a:off x="7819463" y="951550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4" name="Forme libre : forme 1343">
              <a:extLst>
                <a:ext uri="{FF2B5EF4-FFF2-40B4-BE49-F238E27FC236}">
                  <a16:creationId xmlns:a16="http://schemas.microsoft.com/office/drawing/2014/main" id="{2DB83C87-A139-49A9-B6AB-1102034F7247}"/>
                </a:ext>
              </a:extLst>
            </p:cNvPr>
            <p:cNvSpPr/>
            <p:nvPr/>
          </p:nvSpPr>
          <p:spPr>
            <a:xfrm rot="7484129">
              <a:off x="8165845" y="129250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5" name="Forme libre : forme 1344">
              <a:extLst>
                <a:ext uri="{FF2B5EF4-FFF2-40B4-BE49-F238E27FC236}">
                  <a16:creationId xmlns:a16="http://schemas.microsoft.com/office/drawing/2014/main" id="{11C329AE-CBAF-4CCB-B99D-3F22C888BA7C}"/>
                </a:ext>
              </a:extLst>
            </p:cNvPr>
            <p:cNvSpPr/>
            <p:nvPr/>
          </p:nvSpPr>
          <p:spPr>
            <a:xfrm rot="13089394">
              <a:off x="8270665" y="1259035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6" name="Forme libre : forme 1345">
              <a:extLst>
                <a:ext uri="{FF2B5EF4-FFF2-40B4-BE49-F238E27FC236}">
                  <a16:creationId xmlns:a16="http://schemas.microsoft.com/office/drawing/2014/main" id="{E706AB59-2595-41B4-8522-59590F4D9699}"/>
                </a:ext>
              </a:extLst>
            </p:cNvPr>
            <p:cNvSpPr/>
            <p:nvPr/>
          </p:nvSpPr>
          <p:spPr>
            <a:xfrm rot="8716295">
              <a:off x="8456250" y="1067354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7" name="Forme libre : forme 1346">
              <a:extLst>
                <a:ext uri="{FF2B5EF4-FFF2-40B4-BE49-F238E27FC236}">
                  <a16:creationId xmlns:a16="http://schemas.microsoft.com/office/drawing/2014/main" id="{8B218DA3-4C20-417B-B0EF-ABDFE6AB8CC6}"/>
                </a:ext>
              </a:extLst>
            </p:cNvPr>
            <p:cNvSpPr/>
            <p:nvPr/>
          </p:nvSpPr>
          <p:spPr>
            <a:xfrm rot="8716295">
              <a:off x="8404445" y="96376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8" name="Forme libre : forme 1347">
              <a:extLst>
                <a:ext uri="{FF2B5EF4-FFF2-40B4-BE49-F238E27FC236}">
                  <a16:creationId xmlns:a16="http://schemas.microsoft.com/office/drawing/2014/main" id="{377AE419-7F42-4BED-883F-DE4817AED47F}"/>
                </a:ext>
              </a:extLst>
            </p:cNvPr>
            <p:cNvSpPr/>
            <p:nvPr/>
          </p:nvSpPr>
          <p:spPr>
            <a:xfrm rot="8716295">
              <a:off x="8161199" y="99398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9" name="Forme libre : forme 1348">
              <a:extLst>
                <a:ext uri="{FF2B5EF4-FFF2-40B4-BE49-F238E27FC236}">
                  <a16:creationId xmlns:a16="http://schemas.microsoft.com/office/drawing/2014/main" id="{7E83A637-26B0-46B8-8EFD-0E2059469BCD}"/>
                </a:ext>
              </a:extLst>
            </p:cNvPr>
            <p:cNvSpPr/>
            <p:nvPr/>
          </p:nvSpPr>
          <p:spPr>
            <a:xfrm rot="8716295">
              <a:off x="8338651" y="83474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0" name="Forme libre : forme 1349">
              <a:extLst>
                <a:ext uri="{FF2B5EF4-FFF2-40B4-BE49-F238E27FC236}">
                  <a16:creationId xmlns:a16="http://schemas.microsoft.com/office/drawing/2014/main" id="{C18F78D3-27CA-4FE7-8D10-288FCA710C52}"/>
                </a:ext>
              </a:extLst>
            </p:cNvPr>
            <p:cNvSpPr/>
            <p:nvPr/>
          </p:nvSpPr>
          <p:spPr>
            <a:xfrm rot="8716295">
              <a:off x="7574932" y="55974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1" name="Forme libre : forme 1350">
              <a:extLst>
                <a:ext uri="{FF2B5EF4-FFF2-40B4-BE49-F238E27FC236}">
                  <a16:creationId xmlns:a16="http://schemas.microsoft.com/office/drawing/2014/main" id="{A924F1C2-2B76-450B-9A77-8646D18AD03B}"/>
                </a:ext>
              </a:extLst>
            </p:cNvPr>
            <p:cNvSpPr/>
            <p:nvPr/>
          </p:nvSpPr>
          <p:spPr>
            <a:xfrm rot="8716295">
              <a:off x="7664324" y="58899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2" name="Forme libre : forme 1351">
              <a:extLst>
                <a:ext uri="{FF2B5EF4-FFF2-40B4-BE49-F238E27FC236}">
                  <a16:creationId xmlns:a16="http://schemas.microsoft.com/office/drawing/2014/main" id="{60DD2207-E931-4D7C-9A6C-4E56F5350FC4}"/>
                </a:ext>
              </a:extLst>
            </p:cNvPr>
            <p:cNvSpPr/>
            <p:nvPr/>
          </p:nvSpPr>
          <p:spPr>
            <a:xfrm rot="8716295">
              <a:off x="7619474" y="50271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3" name="Forme libre : forme 1352">
              <a:extLst>
                <a:ext uri="{FF2B5EF4-FFF2-40B4-BE49-F238E27FC236}">
                  <a16:creationId xmlns:a16="http://schemas.microsoft.com/office/drawing/2014/main" id="{689E2E49-7D57-46D6-AA9A-1A26E7895ACE}"/>
                </a:ext>
              </a:extLst>
            </p:cNvPr>
            <p:cNvSpPr/>
            <p:nvPr/>
          </p:nvSpPr>
          <p:spPr>
            <a:xfrm rot="8716295">
              <a:off x="7462698" y="64829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4" name="Forme libre : forme 1353">
              <a:extLst>
                <a:ext uri="{FF2B5EF4-FFF2-40B4-BE49-F238E27FC236}">
                  <a16:creationId xmlns:a16="http://schemas.microsoft.com/office/drawing/2014/main" id="{E762F27D-A5ED-44DC-B200-6B930738C39C}"/>
                </a:ext>
              </a:extLst>
            </p:cNvPr>
            <p:cNvSpPr/>
            <p:nvPr/>
          </p:nvSpPr>
          <p:spPr>
            <a:xfrm rot="8716295">
              <a:off x="7337795" y="43961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5" name="Forme libre : forme 1354">
              <a:extLst>
                <a:ext uri="{FF2B5EF4-FFF2-40B4-BE49-F238E27FC236}">
                  <a16:creationId xmlns:a16="http://schemas.microsoft.com/office/drawing/2014/main" id="{CE2E4ED8-7B2D-48C9-B5B5-5ED6C2B0B006}"/>
                </a:ext>
              </a:extLst>
            </p:cNvPr>
            <p:cNvSpPr/>
            <p:nvPr/>
          </p:nvSpPr>
          <p:spPr>
            <a:xfrm rot="8716295">
              <a:off x="7325743" y="300839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6" name="Forme libre : forme 1355">
              <a:extLst>
                <a:ext uri="{FF2B5EF4-FFF2-40B4-BE49-F238E27FC236}">
                  <a16:creationId xmlns:a16="http://schemas.microsoft.com/office/drawing/2014/main" id="{9FB8DA68-5ABC-4DC0-834A-BDB943EA68FB}"/>
                </a:ext>
              </a:extLst>
            </p:cNvPr>
            <p:cNvSpPr/>
            <p:nvPr/>
          </p:nvSpPr>
          <p:spPr>
            <a:xfrm rot="8716295">
              <a:off x="7552876" y="68924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7" name="Forme libre : forme 1356">
              <a:extLst>
                <a:ext uri="{FF2B5EF4-FFF2-40B4-BE49-F238E27FC236}">
                  <a16:creationId xmlns:a16="http://schemas.microsoft.com/office/drawing/2014/main" id="{2532A1A1-AFF9-4E4A-AE61-85F94FA9A1F0}"/>
                </a:ext>
              </a:extLst>
            </p:cNvPr>
            <p:cNvSpPr/>
            <p:nvPr/>
          </p:nvSpPr>
          <p:spPr>
            <a:xfrm rot="8716295">
              <a:off x="7864031" y="30959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8" name="Forme libre : forme 1357">
              <a:extLst>
                <a:ext uri="{FF2B5EF4-FFF2-40B4-BE49-F238E27FC236}">
                  <a16:creationId xmlns:a16="http://schemas.microsoft.com/office/drawing/2014/main" id="{DED91229-5351-48DF-B7EF-4609E3893D59}"/>
                </a:ext>
              </a:extLst>
            </p:cNvPr>
            <p:cNvSpPr/>
            <p:nvPr/>
          </p:nvSpPr>
          <p:spPr>
            <a:xfrm rot="8716295">
              <a:off x="7953423" y="33883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9" name="Forme libre : forme 1358">
              <a:extLst>
                <a:ext uri="{FF2B5EF4-FFF2-40B4-BE49-F238E27FC236}">
                  <a16:creationId xmlns:a16="http://schemas.microsoft.com/office/drawing/2014/main" id="{F6DE1FE8-6182-462A-B540-3AB721D4880E}"/>
                </a:ext>
              </a:extLst>
            </p:cNvPr>
            <p:cNvSpPr/>
            <p:nvPr/>
          </p:nvSpPr>
          <p:spPr>
            <a:xfrm rot="8716295">
              <a:off x="7751797" y="39814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0" name="Forme libre : forme 1359">
              <a:extLst>
                <a:ext uri="{FF2B5EF4-FFF2-40B4-BE49-F238E27FC236}">
                  <a16:creationId xmlns:a16="http://schemas.microsoft.com/office/drawing/2014/main" id="{2928CCE2-867E-4FA8-A555-51BA581DB6E0}"/>
                </a:ext>
              </a:extLst>
            </p:cNvPr>
            <p:cNvSpPr/>
            <p:nvPr/>
          </p:nvSpPr>
          <p:spPr>
            <a:xfrm rot="8716295">
              <a:off x="7626895" y="18946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1" name="Forme libre : forme 1360">
              <a:extLst>
                <a:ext uri="{FF2B5EF4-FFF2-40B4-BE49-F238E27FC236}">
                  <a16:creationId xmlns:a16="http://schemas.microsoft.com/office/drawing/2014/main" id="{055FDC26-CCE7-48FF-9A8C-B56F5E68D13A}"/>
                </a:ext>
              </a:extLst>
            </p:cNvPr>
            <p:cNvSpPr/>
            <p:nvPr/>
          </p:nvSpPr>
          <p:spPr>
            <a:xfrm rot="8716295">
              <a:off x="7841975" y="43909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2" name="Forme libre : forme 1361">
              <a:extLst>
                <a:ext uri="{FF2B5EF4-FFF2-40B4-BE49-F238E27FC236}">
                  <a16:creationId xmlns:a16="http://schemas.microsoft.com/office/drawing/2014/main" id="{988F6F8A-D004-4539-900F-79E6C75585ED}"/>
                </a:ext>
              </a:extLst>
            </p:cNvPr>
            <p:cNvSpPr/>
            <p:nvPr/>
          </p:nvSpPr>
          <p:spPr>
            <a:xfrm rot="8716295">
              <a:off x="7600524" y="28949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3" name="Forme libre : forme 1362">
              <a:extLst>
                <a:ext uri="{FF2B5EF4-FFF2-40B4-BE49-F238E27FC236}">
                  <a16:creationId xmlns:a16="http://schemas.microsoft.com/office/drawing/2014/main" id="{4FDA5393-01D2-4137-A7AE-DC3D20BA6CB3}"/>
                </a:ext>
              </a:extLst>
            </p:cNvPr>
            <p:cNvSpPr/>
            <p:nvPr/>
          </p:nvSpPr>
          <p:spPr>
            <a:xfrm rot="7484129">
              <a:off x="7946906" y="63044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4" name="Forme libre : forme 1363">
              <a:extLst>
                <a:ext uri="{FF2B5EF4-FFF2-40B4-BE49-F238E27FC236}">
                  <a16:creationId xmlns:a16="http://schemas.microsoft.com/office/drawing/2014/main" id="{B758289F-AE2B-40D9-A572-42C3517F5AA9}"/>
                </a:ext>
              </a:extLst>
            </p:cNvPr>
            <p:cNvSpPr/>
            <p:nvPr/>
          </p:nvSpPr>
          <p:spPr>
            <a:xfrm rot="13089394">
              <a:off x="8051726" y="596977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5" name="Forme libre : forme 1364">
              <a:extLst>
                <a:ext uri="{FF2B5EF4-FFF2-40B4-BE49-F238E27FC236}">
                  <a16:creationId xmlns:a16="http://schemas.microsoft.com/office/drawing/2014/main" id="{ED6E2519-7C8C-4C17-B032-71686AF10CAE}"/>
                </a:ext>
              </a:extLst>
            </p:cNvPr>
            <p:cNvSpPr/>
            <p:nvPr/>
          </p:nvSpPr>
          <p:spPr>
            <a:xfrm rot="8716295">
              <a:off x="8237311" y="405296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6" name="Forme libre : forme 1365">
              <a:extLst>
                <a:ext uri="{FF2B5EF4-FFF2-40B4-BE49-F238E27FC236}">
                  <a16:creationId xmlns:a16="http://schemas.microsoft.com/office/drawing/2014/main" id="{8B98362B-5544-455D-AD14-4D640A01A342}"/>
                </a:ext>
              </a:extLst>
            </p:cNvPr>
            <p:cNvSpPr/>
            <p:nvPr/>
          </p:nvSpPr>
          <p:spPr>
            <a:xfrm rot="8716295">
              <a:off x="8185506" y="30170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7" name="Forme libre : forme 1366">
              <a:extLst>
                <a:ext uri="{FF2B5EF4-FFF2-40B4-BE49-F238E27FC236}">
                  <a16:creationId xmlns:a16="http://schemas.microsoft.com/office/drawing/2014/main" id="{25F3D004-02E6-4757-8DE0-F470300CA68C}"/>
                </a:ext>
              </a:extLst>
            </p:cNvPr>
            <p:cNvSpPr/>
            <p:nvPr/>
          </p:nvSpPr>
          <p:spPr>
            <a:xfrm rot="8716295">
              <a:off x="7942260" y="33192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8" name="Forme libre : forme 1367">
              <a:extLst>
                <a:ext uri="{FF2B5EF4-FFF2-40B4-BE49-F238E27FC236}">
                  <a16:creationId xmlns:a16="http://schemas.microsoft.com/office/drawing/2014/main" id="{D4EFEE6B-69F7-42E4-9007-3A49D0282381}"/>
                </a:ext>
              </a:extLst>
            </p:cNvPr>
            <p:cNvSpPr/>
            <p:nvPr/>
          </p:nvSpPr>
          <p:spPr>
            <a:xfrm rot="8716295">
              <a:off x="8119712" y="17268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9" name="Forme libre : forme 1368">
              <a:extLst>
                <a:ext uri="{FF2B5EF4-FFF2-40B4-BE49-F238E27FC236}">
                  <a16:creationId xmlns:a16="http://schemas.microsoft.com/office/drawing/2014/main" id="{AF4B2206-0455-407E-9842-620BA12D9F9F}"/>
                </a:ext>
              </a:extLst>
            </p:cNvPr>
            <p:cNvSpPr/>
            <p:nvPr/>
          </p:nvSpPr>
          <p:spPr>
            <a:xfrm rot="8716295">
              <a:off x="7366062" y="-56618"/>
              <a:ext cx="142168" cy="181024"/>
            </a:xfrm>
            <a:custGeom>
              <a:avLst/>
              <a:gdLst>
                <a:gd name="connsiteX0" fmla="*/ 142168 w 142168"/>
                <a:gd name="connsiteY0" fmla="*/ 181024 h 181024"/>
                <a:gd name="connsiteX1" fmla="*/ 81108 w 142168"/>
                <a:gd name="connsiteY1" fmla="*/ 138700 h 181024"/>
                <a:gd name="connsiteX2" fmla="*/ 81108 w 142168"/>
                <a:gd name="connsiteY2" fmla="*/ 69717 h 181024"/>
                <a:gd name="connsiteX3" fmla="*/ 81108 w 142168"/>
                <a:gd name="connsiteY3" fmla="*/ 65616 h 181024"/>
                <a:gd name="connsiteX4" fmla="*/ 60604 w 142168"/>
                <a:gd name="connsiteY4" fmla="*/ 50123 h 181024"/>
                <a:gd name="connsiteX5" fmla="*/ 0 w 142168"/>
                <a:gd name="connsiteY5" fmla="*/ 50123 h 181024"/>
                <a:gd name="connsiteX6" fmla="*/ 0 w 142168"/>
                <a:gd name="connsiteY6" fmla="*/ 0 h 181024"/>
                <a:gd name="connsiteX7" fmla="*/ 85209 w 142168"/>
                <a:gd name="connsiteY7" fmla="*/ 0 h 181024"/>
                <a:gd name="connsiteX8" fmla="*/ 142167 w 142168"/>
                <a:gd name="connsiteY8" fmla="*/ 50123 h 18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8" h="181024">
                  <a:moveTo>
                    <a:pt x="142168" y="181024"/>
                  </a:moveTo>
                  <a:lnTo>
                    <a:pt x="81108" y="138700"/>
                  </a:lnTo>
                  <a:lnTo>
                    <a:pt x="81108" y="69717"/>
                  </a:lnTo>
                  <a:cubicBezTo>
                    <a:pt x="81108" y="68349"/>
                    <a:pt x="81108" y="66983"/>
                    <a:pt x="81108" y="65616"/>
                  </a:cubicBezTo>
                  <a:cubicBezTo>
                    <a:pt x="79741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9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0" name="Forme libre : forme 1369">
              <a:extLst>
                <a:ext uri="{FF2B5EF4-FFF2-40B4-BE49-F238E27FC236}">
                  <a16:creationId xmlns:a16="http://schemas.microsoft.com/office/drawing/2014/main" id="{60AE319B-5FB3-4EAD-96BF-8E2F415B0911}"/>
                </a:ext>
              </a:extLst>
            </p:cNvPr>
            <p:cNvSpPr/>
            <p:nvPr/>
          </p:nvSpPr>
          <p:spPr>
            <a:xfrm rot="8716295">
              <a:off x="7462482" y="-4908"/>
              <a:ext cx="260639" cy="174584"/>
            </a:xfrm>
            <a:custGeom>
              <a:avLst/>
              <a:gdLst>
                <a:gd name="connsiteX0" fmla="*/ 111638 w 260639"/>
                <a:gd name="connsiteY0" fmla="*/ 174584 h 174584"/>
                <a:gd name="connsiteX1" fmla="*/ 51490 w 260639"/>
                <a:gd name="connsiteY1" fmla="*/ 132891 h 174584"/>
                <a:gd name="connsiteX2" fmla="*/ 51490 w 260639"/>
                <a:gd name="connsiteY2" fmla="*/ 45624 h 174584"/>
                <a:gd name="connsiteX3" fmla="*/ 0 w 260639"/>
                <a:gd name="connsiteY3" fmla="*/ 45624 h 174584"/>
                <a:gd name="connsiteX4" fmla="*/ 0 w 260639"/>
                <a:gd name="connsiteY4" fmla="*/ 1425 h 174584"/>
                <a:gd name="connsiteX5" fmla="*/ 104803 w 260639"/>
                <a:gd name="connsiteY5" fmla="*/ 1425 h 174584"/>
                <a:gd name="connsiteX6" fmla="*/ 104803 w 260639"/>
                <a:gd name="connsiteY6" fmla="*/ 75242 h 174584"/>
                <a:gd name="connsiteX7" fmla="*/ 106169 w 260639"/>
                <a:gd name="connsiteY7" fmla="*/ 75242 h 174584"/>
                <a:gd name="connsiteX8" fmla="*/ 154014 w 260639"/>
                <a:gd name="connsiteY8" fmla="*/ 5981 h 174584"/>
                <a:gd name="connsiteX9" fmla="*/ 185455 w 260639"/>
                <a:gd name="connsiteY9" fmla="*/ 57 h 174584"/>
                <a:gd name="connsiteX10" fmla="*/ 260639 w 260639"/>
                <a:gd name="connsiteY10" fmla="*/ 88456 h 174584"/>
                <a:gd name="connsiteX11" fmla="*/ 260639 w 260639"/>
                <a:gd name="connsiteY11" fmla="*/ 94380 h 174584"/>
                <a:gd name="connsiteX12" fmla="*/ 198669 w 260639"/>
                <a:gd name="connsiteY12" fmla="*/ 98025 h 174584"/>
                <a:gd name="connsiteX13" fmla="*/ 198669 w 260639"/>
                <a:gd name="connsiteY13" fmla="*/ 81621 h 174584"/>
                <a:gd name="connsiteX14" fmla="*/ 164950 w 260639"/>
                <a:gd name="connsiteY14" fmla="*/ 40156 h 174584"/>
                <a:gd name="connsiteX15" fmla="*/ 111638 w 260639"/>
                <a:gd name="connsiteY15" fmla="*/ 127643 h 174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0639" h="174584">
                  <a:moveTo>
                    <a:pt x="111638" y="174584"/>
                  </a:moveTo>
                  <a:lnTo>
                    <a:pt x="51490" y="132891"/>
                  </a:ln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5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1" name="Forme libre : forme 1370">
              <a:extLst>
                <a:ext uri="{FF2B5EF4-FFF2-40B4-BE49-F238E27FC236}">
                  <a16:creationId xmlns:a16="http://schemas.microsoft.com/office/drawing/2014/main" id="{9DF7A270-CA19-4125-81C5-D8ACDF29EE64}"/>
                </a:ext>
              </a:extLst>
            </p:cNvPr>
            <p:cNvSpPr/>
            <p:nvPr/>
          </p:nvSpPr>
          <p:spPr>
            <a:xfrm rot="8716295">
              <a:off x="7443082" y="-10146"/>
              <a:ext cx="28973" cy="21279"/>
            </a:xfrm>
            <a:custGeom>
              <a:avLst/>
              <a:gdLst>
                <a:gd name="connsiteX0" fmla="*/ 28973 w 28973"/>
                <a:gd name="connsiteY0" fmla="*/ 21279 h 21279"/>
                <a:gd name="connsiteX1" fmla="*/ 0 w 28973"/>
                <a:gd name="connsiteY1" fmla="*/ 1196 h 21279"/>
                <a:gd name="connsiteX2" fmla="*/ 4022 w 28973"/>
                <a:gd name="connsiteY2" fmla="*/ 0 h 21279"/>
                <a:gd name="connsiteX3" fmla="*/ 26350 w 28973"/>
                <a:gd name="connsiteY3" fmla="*/ 11392 h 21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973" h="21279">
                  <a:moveTo>
                    <a:pt x="28973" y="21279"/>
                  </a:moveTo>
                  <a:lnTo>
                    <a:pt x="0" y="1196"/>
                  </a:lnTo>
                  <a:lnTo>
                    <a:pt x="4022" y="0"/>
                  </a:lnTo>
                  <a:cubicBezTo>
                    <a:pt x="14958" y="0"/>
                    <a:pt x="22021" y="4785"/>
                    <a:pt x="26350" y="113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2" name="Forme libre : forme 1371">
              <a:extLst>
                <a:ext uri="{FF2B5EF4-FFF2-40B4-BE49-F238E27FC236}">
                  <a16:creationId xmlns:a16="http://schemas.microsoft.com/office/drawing/2014/main" id="{3D6704E2-4C91-48C3-B5AB-B19397D56649}"/>
                </a:ext>
              </a:extLst>
            </p:cNvPr>
            <p:cNvSpPr/>
            <p:nvPr/>
          </p:nvSpPr>
          <p:spPr>
            <a:xfrm rot="8716295">
              <a:off x="7237548" y="-11765"/>
              <a:ext cx="56281" cy="52701"/>
            </a:xfrm>
            <a:custGeom>
              <a:avLst/>
              <a:gdLst>
                <a:gd name="connsiteX0" fmla="*/ 40554 w 56281"/>
                <a:gd name="connsiteY0" fmla="*/ 52701 h 52701"/>
                <a:gd name="connsiteX1" fmla="*/ 0 w 56281"/>
                <a:gd name="connsiteY1" fmla="*/ 24591 h 52701"/>
                <a:gd name="connsiteX2" fmla="*/ 6728 w 56281"/>
                <a:gd name="connsiteY2" fmla="*/ 8658 h 52701"/>
                <a:gd name="connsiteX3" fmla="*/ 27232 w 56281"/>
                <a:gd name="connsiteY3" fmla="*/ 0 h 52701"/>
                <a:gd name="connsiteX4" fmla="*/ 47738 w 56281"/>
                <a:gd name="connsiteY4" fmla="*/ 8658 h 52701"/>
                <a:gd name="connsiteX5" fmla="*/ 47738 w 56281"/>
                <a:gd name="connsiteY5" fmla="*/ 49668 h 52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281" h="52701">
                  <a:moveTo>
                    <a:pt x="40554" y="52701"/>
                  </a:moveTo>
                  <a:lnTo>
                    <a:pt x="0" y="24591"/>
                  </a:lnTo>
                  <a:lnTo>
                    <a:pt x="6728" y="8658"/>
                  </a:lnTo>
                  <a:cubicBezTo>
                    <a:pt x="12196" y="3190"/>
                    <a:pt x="19487" y="0"/>
                    <a:pt x="27232" y="0"/>
                  </a:cubicBezTo>
                  <a:cubicBezTo>
                    <a:pt x="34979" y="0"/>
                    <a:pt x="42270" y="3190"/>
                    <a:pt x="47738" y="8658"/>
                  </a:cubicBezTo>
                  <a:cubicBezTo>
                    <a:pt x="59130" y="19594"/>
                    <a:pt x="59129" y="38276"/>
                    <a:pt x="47738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3" name="Forme libre : forme 1372">
              <a:extLst>
                <a:ext uri="{FF2B5EF4-FFF2-40B4-BE49-F238E27FC236}">
                  <a16:creationId xmlns:a16="http://schemas.microsoft.com/office/drawing/2014/main" id="{AF0E56D3-9FDC-4C86-AF97-6A5B745021CC}"/>
                </a:ext>
              </a:extLst>
            </p:cNvPr>
            <p:cNvSpPr/>
            <p:nvPr/>
          </p:nvSpPr>
          <p:spPr>
            <a:xfrm rot="8716295">
              <a:off x="7178221" y="-7670"/>
              <a:ext cx="22135" cy="15343"/>
            </a:xfrm>
            <a:custGeom>
              <a:avLst/>
              <a:gdLst>
                <a:gd name="connsiteX0" fmla="*/ 22135 w 22135"/>
                <a:gd name="connsiteY0" fmla="*/ 15343 h 15343"/>
                <a:gd name="connsiteX1" fmla="*/ 0 w 22135"/>
                <a:gd name="connsiteY1" fmla="*/ 0 h 15343"/>
                <a:gd name="connsiteX2" fmla="*/ 22135 w 22135"/>
                <a:gd name="connsiteY2" fmla="*/ 0 h 15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135" h="15343">
                  <a:moveTo>
                    <a:pt x="22135" y="15343"/>
                  </a:moveTo>
                  <a:lnTo>
                    <a:pt x="0" y="0"/>
                  </a:lnTo>
                  <a:lnTo>
                    <a:pt x="2213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4" name="Forme libre : forme 1373">
              <a:extLst>
                <a:ext uri="{FF2B5EF4-FFF2-40B4-BE49-F238E27FC236}">
                  <a16:creationId xmlns:a16="http://schemas.microsoft.com/office/drawing/2014/main" id="{F9D2269A-12D2-478A-A148-0174F4547759}"/>
                </a:ext>
              </a:extLst>
            </p:cNvPr>
            <p:cNvSpPr/>
            <p:nvPr/>
          </p:nvSpPr>
          <p:spPr>
            <a:xfrm rot="8716295">
              <a:off x="7330206" y="2582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5" name="Forme libre : forme 1374">
              <a:extLst>
                <a:ext uri="{FF2B5EF4-FFF2-40B4-BE49-F238E27FC236}">
                  <a16:creationId xmlns:a16="http://schemas.microsoft.com/office/drawing/2014/main" id="{AF2048E4-EBEC-4616-8234-D6C4143F0269}"/>
                </a:ext>
              </a:extLst>
            </p:cNvPr>
            <p:cNvSpPr/>
            <p:nvPr/>
          </p:nvSpPr>
          <p:spPr>
            <a:xfrm rot="7484129">
              <a:off x="7724236" y="-3297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6" name="Forme libre : forme 1375">
              <a:extLst>
                <a:ext uri="{FF2B5EF4-FFF2-40B4-BE49-F238E27FC236}">
                  <a16:creationId xmlns:a16="http://schemas.microsoft.com/office/drawing/2014/main" id="{BCCFC94C-6F39-428B-907F-F878519A4EFD}"/>
                </a:ext>
              </a:extLst>
            </p:cNvPr>
            <p:cNvSpPr/>
            <p:nvPr/>
          </p:nvSpPr>
          <p:spPr>
            <a:xfrm rot="13089394">
              <a:off x="7941179" y="-29293"/>
              <a:ext cx="145407" cy="327190"/>
            </a:xfrm>
            <a:custGeom>
              <a:avLst/>
              <a:gdLst>
                <a:gd name="connsiteX0" fmla="*/ 145407 w 145407"/>
                <a:gd name="connsiteY0" fmla="*/ 277267 h 327190"/>
                <a:gd name="connsiteX1" fmla="*/ 81867 w 145407"/>
                <a:gd name="connsiteY1" fmla="*/ 327190 h 327190"/>
                <a:gd name="connsiteX2" fmla="*/ 54765 w 145407"/>
                <a:gd name="connsiteY2" fmla="*/ 322521 h 327190"/>
                <a:gd name="connsiteX3" fmla="*/ 23727 w 145407"/>
                <a:gd name="connsiteY3" fmla="*/ 301277 h 327190"/>
                <a:gd name="connsiteX4" fmla="*/ 0 w 145407"/>
                <a:gd name="connsiteY4" fmla="*/ 206369 h 327190"/>
                <a:gd name="connsiteX5" fmla="*/ 0 w 145407"/>
                <a:gd name="connsiteY5" fmla="*/ 38074 h 327190"/>
                <a:gd name="connsiteX6" fmla="*/ 73388 w 145407"/>
                <a:gd name="connsiteY6" fmla="*/ 0 h 327190"/>
                <a:gd name="connsiteX7" fmla="*/ 74492 w 145407"/>
                <a:gd name="connsiteY7" fmla="*/ 153950 h 327190"/>
                <a:gd name="connsiteX8" fmla="*/ 87734 w 145407"/>
                <a:gd name="connsiteY8" fmla="*/ 245547 h 327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5407" h="327190">
                  <a:moveTo>
                    <a:pt x="145407" y="277267"/>
                  </a:moveTo>
                  <a:lnTo>
                    <a:pt x="81867" y="327190"/>
                  </a:lnTo>
                  <a:lnTo>
                    <a:pt x="54765" y="322521"/>
                  </a:lnTo>
                  <a:cubicBezTo>
                    <a:pt x="43178" y="317693"/>
                    <a:pt x="32556" y="310382"/>
                    <a:pt x="23727" y="301277"/>
                  </a:cubicBezTo>
                  <a:cubicBezTo>
                    <a:pt x="4966" y="283069"/>
                    <a:pt x="0" y="251616"/>
                    <a:pt x="0" y="206369"/>
                  </a:cubicBez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2836" y="184850"/>
                    <a:pt x="77802" y="216302"/>
                    <a:pt x="87734" y="2455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7" name="Forme libre : forme 1376">
              <a:extLst>
                <a:ext uri="{FF2B5EF4-FFF2-40B4-BE49-F238E27FC236}">
                  <a16:creationId xmlns:a16="http://schemas.microsoft.com/office/drawing/2014/main" id="{53C58AA9-5E6A-49CD-9AC5-5641232CD965}"/>
                </a:ext>
              </a:extLst>
            </p:cNvPr>
            <p:cNvSpPr/>
            <p:nvPr/>
          </p:nvSpPr>
          <p:spPr>
            <a:xfrm rot="8716295">
              <a:off x="9089009" y="2081072"/>
              <a:ext cx="61059" cy="173964"/>
            </a:xfrm>
            <a:custGeom>
              <a:avLst/>
              <a:gdLst>
                <a:gd name="connsiteX0" fmla="*/ 0 w 61059"/>
                <a:gd name="connsiteY0" fmla="*/ 173964 h 173964"/>
                <a:gd name="connsiteX1" fmla="*/ 0 w 61059"/>
                <a:gd name="connsiteY1" fmla="*/ 88087 h 173964"/>
                <a:gd name="connsiteX2" fmla="*/ 61059 w 61059"/>
                <a:gd name="connsiteY2" fmla="*/ 0 h 173964"/>
                <a:gd name="connsiteX3" fmla="*/ 61059 w 61059"/>
                <a:gd name="connsiteY3" fmla="*/ 149814 h 173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059" h="173964">
                  <a:moveTo>
                    <a:pt x="0" y="173964"/>
                  </a:moveTo>
                  <a:lnTo>
                    <a:pt x="0" y="88087"/>
                  </a:lnTo>
                  <a:lnTo>
                    <a:pt x="61059" y="0"/>
                  </a:lnTo>
                  <a:lnTo>
                    <a:pt x="61059" y="14981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8" name="Forme libre : forme 1377">
              <a:extLst>
                <a:ext uri="{FF2B5EF4-FFF2-40B4-BE49-F238E27FC236}">
                  <a16:creationId xmlns:a16="http://schemas.microsoft.com/office/drawing/2014/main" id="{67AAFA86-3922-4406-A9C1-01A9C544B234}"/>
                </a:ext>
              </a:extLst>
            </p:cNvPr>
            <p:cNvSpPr/>
            <p:nvPr/>
          </p:nvSpPr>
          <p:spPr>
            <a:xfrm rot="8716295">
              <a:off x="8987023" y="214104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9" name="Forme libre : forme 1378">
              <a:extLst>
                <a:ext uri="{FF2B5EF4-FFF2-40B4-BE49-F238E27FC236}">
                  <a16:creationId xmlns:a16="http://schemas.microsoft.com/office/drawing/2014/main" id="{F49E9DC2-C797-4A9E-913F-D8431378EB92}"/>
                </a:ext>
              </a:extLst>
            </p:cNvPr>
            <p:cNvSpPr/>
            <p:nvPr/>
          </p:nvSpPr>
          <p:spPr>
            <a:xfrm rot="8716295">
              <a:off x="8862120" y="19323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0" name="Forme libre : forme 1379">
              <a:extLst>
                <a:ext uri="{FF2B5EF4-FFF2-40B4-BE49-F238E27FC236}">
                  <a16:creationId xmlns:a16="http://schemas.microsoft.com/office/drawing/2014/main" id="{1BF45189-83CA-4A70-B575-8A2D9D49B065}"/>
                </a:ext>
              </a:extLst>
            </p:cNvPr>
            <p:cNvSpPr/>
            <p:nvPr/>
          </p:nvSpPr>
          <p:spPr>
            <a:xfrm rot="8716295">
              <a:off x="8845263" y="1791394"/>
              <a:ext cx="290644" cy="345190"/>
            </a:xfrm>
            <a:custGeom>
              <a:avLst/>
              <a:gdLst>
                <a:gd name="connsiteX0" fmla="*/ 25298 w 290644"/>
                <a:gd name="connsiteY0" fmla="*/ 315598 h 345190"/>
                <a:gd name="connsiteX1" fmla="*/ 0 w 290644"/>
                <a:gd name="connsiteY1" fmla="*/ 214403 h 345190"/>
                <a:gd name="connsiteX2" fmla="*/ 0 w 290644"/>
                <a:gd name="connsiteY2" fmla="*/ 112946 h 345190"/>
                <a:gd name="connsiteX3" fmla="*/ 78290 w 290644"/>
                <a:gd name="connsiteY3" fmla="*/ 0 h 345190"/>
                <a:gd name="connsiteX4" fmla="*/ 79427 w 290644"/>
                <a:gd name="connsiteY4" fmla="*/ 158510 h 345190"/>
                <a:gd name="connsiteX5" fmla="*/ 93547 w 290644"/>
                <a:gd name="connsiteY5" fmla="*/ 256176 h 345190"/>
                <a:gd name="connsiteX6" fmla="*/ 164149 w 290644"/>
                <a:gd name="connsiteY6" fmla="*/ 295007 h 345190"/>
                <a:gd name="connsiteX7" fmla="*/ 217100 w 290644"/>
                <a:gd name="connsiteY7" fmla="*/ 285593 h 345190"/>
                <a:gd name="connsiteX8" fmla="*/ 289467 w 290644"/>
                <a:gd name="connsiteY8" fmla="*/ 256176 h 345190"/>
                <a:gd name="connsiteX9" fmla="*/ 290644 w 290644"/>
                <a:gd name="connsiteY9" fmla="*/ 263824 h 345190"/>
                <a:gd name="connsiteX10" fmla="*/ 290644 w 290644"/>
                <a:gd name="connsiteY10" fmla="*/ 269708 h 345190"/>
                <a:gd name="connsiteX11" fmla="*/ 97666 w 290644"/>
                <a:gd name="connsiteY11" fmla="*/ 345016 h 345190"/>
                <a:gd name="connsiteX12" fmla="*/ 25298 w 290644"/>
                <a:gd name="connsiteY12" fmla="*/ 315598 h 345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0644" h="345190">
                  <a:moveTo>
                    <a:pt x="25298" y="315598"/>
                  </a:moveTo>
                  <a:cubicBezTo>
                    <a:pt x="5294" y="296183"/>
                    <a:pt x="0" y="262647"/>
                    <a:pt x="0" y="214403"/>
                  </a:cubicBezTo>
                  <a:lnTo>
                    <a:pt x="0" y="112946"/>
                  </a:lnTo>
                  <a:lnTo>
                    <a:pt x="78290" y="0"/>
                  </a:lnTo>
                  <a:lnTo>
                    <a:pt x="79427" y="158510"/>
                  </a:lnTo>
                  <a:cubicBezTo>
                    <a:pt x="77662" y="191458"/>
                    <a:pt x="82956" y="224993"/>
                    <a:pt x="93547" y="256176"/>
                  </a:cubicBezTo>
                  <a:cubicBezTo>
                    <a:pt x="102961" y="282063"/>
                    <a:pt x="127083" y="295007"/>
                    <a:pt x="164149" y="295007"/>
                  </a:cubicBezTo>
                  <a:cubicBezTo>
                    <a:pt x="182388" y="294418"/>
                    <a:pt x="200038" y="290888"/>
                    <a:pt x="217100" y="285593"/>
                  </a:cubicBezTo>
                  <a:cubicBezTo>
                    <a:pt x="241810" y="277945"/>
                    <a:pt x="265932" y="267942"/>
                    <a:pt x="289467" y="256176"/>
                  </a:cubicBezTo>
                  <a:cubicBezTo>
                    <a:pt x="290055" y="258529"/>
                    <a:pt x="290643" y="261471"/>
                    <a:pt x="290644" y="263824"/>
                  </a:cubicBezTo>
                  <a:lnTo>
                    <a:pt x="290644" y="269708"/>
                  </a:lnTo>
                  <a:cubicBezTo>
                    <a:pt x="228278" y="323247"/>
                    <a:pt x="146498" y="342075"/>
                    <a:pt x="97666" y="345016"/>
                  </a:cubicBezTo>
                  <a:cubicBezTo>
                    <a:pt x="70602" y="346782"/>
                    <a:pt x="44126" y="335014"/>
                    <a:pt x="25298" y="31559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1" name="Forme libre : forme 1380">
              <a:extLst>
                <a:ext uri="{FF2B5EF4-FFF2-40B4-BE49-F238E27FC236}">
                  <a16:creationId xmlns:a16="http://schemas.microsoft.com/office/drawing/2014/main" id="{3AC6BB5F-39B7-428A-B7D5-ED66181C770C}"/>
                </a:ext>
              </a:extLst>
            </p:cNvPr>
            <p:cNvSpPr/>
            <p:nvPr/>
          </p:nvSpPr>
          <p:spPr>
            <a:xfrm rot="8716295">
              <a:off x="9077116" y="2195107"/>
              <a:ext cx="60148" cy="215998"/>
            </a:xfrm>
            <a:custGeom>
              <a:avLst/>
              <a:gdLst>
                <a:gd name="connsiteX0" fmla="*/ 60148 w 60148"/>
                <a:gd name="connsiteY0" fmla="*/ 215998 h 215998"/>
                <a:gd name="connsiteX1" fmla="*/ 1 w 60148"/>
                <a:gd name="connsiteY1" fmla="*/ 158129 h 215998"/>
                <a:gd name="connsiteX2" fmla="*/ 0 w 60148"/>
                <a:gd name="connsiteY2" fmla="*/ 86771 h 215998"/>
                <a:gd name="connsiteX3" fmla="*/ 60147 w 60148"/>
                <a:gd name="connsiteY3" fmla="*/ 0 h 215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8" h="215998">
                  <a:moveTo>
                    <a:pt x="60148" y="215998"/>
                  </a:moveTo>
                  <a:lnTo>
                    <a:pt x="1" y="158129"/>
                  </a:lnTo>
                  <a:lnTo>
                    <a:pt x="0" y="86771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2" name="Forme libre : forme 1381">
              <a:extLst>
                <a:ext uri="{FF2B5EF4-FFF2-40B4-BE49-F238E27FC236}">
                  <a16:creationId xmlns:a16="http://schemas.microsoft.com/office/drawing/2014/main" id="{62FF5918-1B87-4604-8492-36999A995344}"/>
                </a:ext>
              </a:extLst>
            </p:cNvPr>
            <p:cNvSpPr/>
            <p:nvPr/>
          </p:nvSpPr>
          <p:spPr>
            <a:xfrm rot="8716295">
              <a:off x="9116544" y="1789625"/>
              <a:ext cx="46394" cy="58308"/>
            </a:xfrm>
            <a:custGeom>
              <a:avLst/>
              <a:gdLst>
                <a:gd name="connsiteX0" fmla="*/ 0 w 46394"/>
                <a:gd name="connsiteY0" fmla="*/ 55145 h 58308"/>
                <a:gd name="connsiteX1" fmla="*/ 38225 w 46394"/>
                <a:gd name="connsiteY1" fmla="*/ 0 h 58308"/>
                <a:gd name="connsiteX2" fmla="*/ 46394 w 46394"/>
                <a:gd name="connsiteY2" fmla="*/ 19443 h 58308"/>
                <a:gd name="connsiteX3" fmla="*/ 35074 w 46394"/>
                <a:gd name="connsiteY3" fmla="*/ 46837 h 58308"/>
                <a:gd name="connsiteX4" fmla="*/ 7907 w 46394"/>
                <a:gd name="connsiteY4" fmla="*/ 58308 h 58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394" h="58308">
                  <a:moveTo>
                    <a:pt x="0" y="55145"/>
                  </a:moveTo>
                  <a:lnTo>
                    <a:pt x="38225" y="0"/>
                  </a:lnTo>
                  <a:lnTo>
                    <a:pt x="46394" y="19443"/>
                  </a:lnTo>
                  <a:cubicBezTo>
                    <a:pt x="46394" y="29329"/>
                    <a:pt x="42621" y="39290"/>
                    <a:pt x="35074" y="46837"/>
                  </a:cubicBezTo>
                  <a:cubicBezTo>
                    <a:pt x="27830" y="54082"/>
                    <a:pt x="18170" y="58308"/>
                    <a:pt x="7907" y="5830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3" name="Forme libre : forme 1382">
              <a:extLst>
                <a:ext uri="{FF2B5EF4-FFF2-40B4-BE49-F238E27FC236}">
                  <a16:creationId xmlns:a16="http://schemas.microsoft.com/office/drawing/2014/main" id="{413B021A-A885-48B9-8570-152DCC9A71A5}"/>
                </a:ext>
              </a:extLst>
            </p:cNvPr>
            <p:cNvSpPr/>
            <p:nvPr/>
          </p:nvSpPr>
          <p:spPr>
            <a:xfrm rot="8716295">
              <a:off x="9083119" y="2618313"/>
              <a:ext cx="117324" cy="177047"/>
            </a:xfrm>
            <a:custGeom>
              <a:avLst/>
              <a:gdLst>
                <a:gd name="connsiteX0" fmla="*/ 92026 w 117324"/>
                <a:gd name="connsiteY0" fmla="*/ 36497 h 177047"/>
                <a:gd name="connsiteX1" fmla="*/ 117324 w 117324"/>
                <a:gd name="connsiteY1" fmla="*/ 0 h 177047"/>
                <a:gd name="connsiteX2" fmla="*/ 117324 w 117324"/>
                <a:gd name="connsiteY2" fmla="*/ 36497 h 177047"/>
                <a:gd name="connsiteX3" fmla="*/ 4187 w 117324"/>
                <a:gd name="connsiteY3" fmla="*/ 177047 h 177047"/>
                <a:gd name="connsiteX4" fmla="*/ 0 w 117324"/>
                <a:gd name="connsiteY4" fmla="*/ 169258 h 177047"/>
                <a:gd name="connsiteX5" fmla="*/ 13629 w 117324"/>
                <a:gd name="connsiteY5" fmla="*/ 149597 h 177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7324" h="177047">
                  <a:moveTo>
                    <a:pt x="92026" y="36497"/>
                  </a:moveTo>
                  <a:lnTo>
                    <a:pt x="117324" y="0"/>
                  </a:lnTo>
                  <a:lnTo>
                    <a:pt x="117324" y="36497"/>
                  </a:lnTo>
                  <a:close/>
                  <a:moveTo>
                    <a:pt x="4187" y="177047"/>
                  </a:moveTo>
                  <a:lnTo>
                    <a:pt x="0" y="169258"/>
                  </a:lnTo>
                  <a:lnTo>
                    <a:pt x="13629" y="14959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4" name="Forme libre : forme 1383">
              <a:extLst>
                <a:ext uri="{FF2B5EF4-FFF2-40B4-BE49-F238E27FC236}">
                  <a16:creationId xmlns:a16="http://schemas.microsoft.com/office/drawing/2014/main" id="{9BA6659A-4363-4246-884D-227E97C0C14A}"/>
                </a:ext>
              </a:extLst>
            </p:cNvPr>
            <p:cNvSpPr/>
            <p:nvPr/>
          </p:nvSpPr>
          <p:spPr>
            <a:xfrm rot="8716295">
              <a:off x="9006440" y="2509028"/>
              <a:ext cx="177822" cy="85743"/>
            </a:xfrm>
            <a:custGeom>
              <a:avLst/>
              <a:gdLst>
                <a:gd name="connsiteX0" fmla="*/ 0 w 177822"/>
                <a:gd name="connsiteY0" fmla="*/ 85743 h 85743"/>
                <a:gd name="connsiteX1" fmla="*/ 37709 w 177822"/>
                <a:gd name="connsiteY1" fmla="*/ 31342 h 85743"/>
                <a:gd name="connsiteX2" fmla="*/ 51327 w 177822"/>
                <a:gd name="connsiteY2" fmla="*/ 38831 h 85743"/>
                <a:gd name="connsiteX3" fmla="*/ 104278 w 177822"/>
                <a:gd name="connsiteY3" fmla="*/ 29418 h 85743"/>
                <a:gd name="connsiteX4" fmla="*/ 176645 w 177822"/>
                <a:gd name="connsiteY4" fmla="*/ 0 h 85743"/>
                <a:gd name="connsiteX5" fmla="*/ 177822 w 177822"/>
                <a:gd name="connsiteY5" fmla="*/ 7648 h 85743"/>
                <a:gd name="connsiteX6" fmla="*/ 177822 w 177822"/>
                <a:gd name="connsiteY6" fmla="*/ 13532 h 85743"/>
                <a:gd name="connsiteX7" fmla="*/ 76258 w 177822"/>
                <a:gd name="connsiteY7" fmla="*/ 70160 h 85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7822" h="85743">
                  <a:moveTo>
                    <a:pt x="0" y="85743"/>
                  </a:moveTo>
                  <a:lnTo>
                    <a:pt x="37709" y="31342"/>
                  </a:lnTo>
                  <a:lnTo>
                    <a:pt x="51327" y="38831"/>
                  </a:lnTo>
                  <a:cubicBezTo>
                    <a:pt x="69566" y="38242"/>
                    <a:pt x="87216" y="34712"/>
                    <a:pt x="104278" y="29418"/>
                  </a:cubicBezTo>
                  <a:cubicBezTo>
                    <a:pt x="128988" y="21768"/>
                    <a:pt x="153111" y="11766"/>
                    <a:pt x="176645" y="0"/>
                  </a:cubicBezTo>
                  <a:cubicBezTo>
                    <a:pt x="177233" y="2354"/>
                    <a:pt x="177821" y="5295"/>
                    <a:pt x="177822" y="7648"/>
                  </a:cubicBezTo>
                  <a:lnTo>
                    <a:pt x="177822" y="13532"/>
                  </a:lnTo>
                  <a:cubicBezTo>
                    <a:pt x="146639" y="40301"/>
                    <a:pt x="110603" y="58393"/>
                    <a:pt x="76258" y="7016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5" name="Forme libre : forme 1384">
              <a:extLst>
                <a:ext uri="{FF2B5EF4-FFF2-40B4-BE49-F238E27FC236}">
                  <a16:creationId xmlns:a16="http://schemas.microsoft.com/office/drawing/2014/main" id="{CD8F4158-D52E-4B42-86D9-9C394223B4E4}"/>
                </a:ext>
              </a:extLst>
            </p:cNvPr>
            <p:cNvSpPr/>
            <p:nvPr/>
          </p:nvSpPr>
          <p:spPr>
            <a:xfrm rot="8716295">
              <a:off x="8877739" y="139153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6" name="Forme libre : forme 1385">
              <a:extLst>
                <a:ext uri="{FF2B5EF4-FFF2-40B4-BE49-F238E27FC236}">
                  <a16:creationId xmlns:a16="http://schemas.microsoft.com/office/drawing/2014/main" id="{34819D09-90FC-40AC-A71E-2F09A9E62118}"/>
                </a:ext>
              </a:extLst>
            </p:cNvPr>
            <p:cNvSpPr/>
            <p:nvPr/>
          </p:nvSpPr>
          <p:spPr>
            <a:xfrm rot="8716295">
              <a:off x="8969693" y="1431914"/>
              <a:ext cx="209150" cy="254735"/>
            </a:xfrm>
            <a:custGeom>
              <a:avLst/>
              <a:gdLst>
                <a:gd name="connsiteX0" fmla="*/ 0 w 209150"/>
                <a:gd name="connsiteY0" fmla="*/ 254735 h 254735"/>
                <a:gd name="connsiteX1" fmla="*/ 0 w 209150"/>
                <a:gd name="connsiteY1" fmla="*/ 155827 h 254735"/>
                <a:gd name="connsiteX2" fmla="*/ 104101 w 209150"/>
                <a:gd name="connsiteY2" fmla="*/ 5646 h 254735"/>
                <a:gd name="connsiteX3" fmla="*/ 133965 w 209150"/>
                <a:gd name="connsiteY3" fmla="*/ 19 h 254735"/>
                <a:gd name="connsiteX4" fmla="*/ 209150 w 209150"/>
                <a:gd name="connsiteY4" fmla="*/ 88418 h 254735"/>
                <a:gd name="connsiteX5" fmla="*/ 209150 w 209150"/>
                <a:gd name="connsiteY5" fmla="*/ 94342 h 254735"/>
                <a:gd name="connsiteX6" fmla="*/ 147180 w 209150"/>
                <a:gd name="connsiteY6" fmla="*/ 97987 h 254735"/>
                <a:gd name="connsiteX7" fmla="*/ 147180 w 209150"/>
                <a:gd name="connsiteY7" fmla="*/ 81584 h 254735"/>
                <a:gd name="connsiteX8" fmla="*/ 113461 w 209150"/>
                <a:gd name="connsiteY8" fmla="*/ 40118 h 254735"/>
                <a:gd name="connsiteX9" fmla="*/ 60149 w 209150"/>
                <a:gd name="connsiteY9" fmla="*/ 127605 h 254735"/>
                <a:gd name="connsiteX10" fmla="*/ 60149 w 209150"/>
                <a:gd name="connsiteY10" fmla="*/ 213726 h 254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9150" h="254735">
                  <a:moveTo>
                    <a:pt x="0" y="254735"/>
                  </a:moveTo>
                  <a:lnTo>
                    <a:pt x="0" y="155827"/>
                  </a:lnTo>
                  <a:lnTo>
                    <a:pt x="104101" y="5646"/>
                  </a:lnTo>
                  <a:lnTo>
                    <a:pt x="133965" y="19"/>
                  </a:lnTo>
                  <a:cubicBezTo>
                    <a:pt x="180899" y="-892"/>
                    <a:pt x="209150" y="31916"/>
                    <a:pt x="209150" y="88418"/>
                  </a:cubicBezTo>
                  <a:lnTo>
                    <a:pt x="209150" y="94342"/>
                  </a:lnTo>
                  <a:lnTo>
                    <a:pt x="147180" y="97987"/>
                  </a:lnTo>
                  <a:lnTo>
                    <a:pt x="147180" y="81584"/>
                  </a:lnTo>
                  <a:cubicBezTo>
                    <a:pt x="147180" y="56977"/>
                    <a:pt x="133054" y="40118"/>
                    <a:pt x="113461" y="40118"/>
                  </a:cubicBezTo>
                  <a:cubicBezTo>
                    <a:pt x="84299" y="40118"/>
                    <a:pt x="60149" y="78850"/>
                    <a:pt x="60149" y="127605"/>
                  </a:cubicBezTo>
                  <a:lnTo>
                    <a:pt x="60149" y="21372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7" name="Forme libre : forme 1386">
              <a:extLst>
                <a:ext uri="{FF2B5EF4-FFF2-40B4-BE49-F238E27FC236}">
                  <a16:creationId xmlns:a16="http://schemas.microsoft.com/office/drawing/2014/main" id="{A927842F-CF5D-4DDB-980D-DAEB7684488A}"/>
                </a:ext>
              </a:extLst>
            </p:cNvPr>
            <p:cNvSpPr/>
            <p:nvPr/>
          </p:nvSpPr>
          <p:spPr>
            <a:xfrm rot="8716295">
              <a:off x="8922281" y="133449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8" name="Forme libre : forme 1387">
              <a:extLst>
                <a:ext uri="{FF2B5EF4-FFF2-40B4-BE49-F238E27FC236}">
                  <a16:creationId xmlns:a16="http://schemas.microsoft.com/office/drawing/2014/main" id="{360EB861-FB1A-4E23-9134-68DC077A8790}"/>
                </a:ext>
              </a:extLst>
            </p:cNvPr>
            <p:cNvSpPr/>
            <p:nvPr/>
          </p:nvSpPr>
          <p:spPr>
            <a:xfrm rot="8716295">
              <a:off x="8765505" y="148007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9" name="Forme libre : forme 1388">
              <a:extLst>
                <a:ext uri="{FF2B5EF4-FFF2-40B4-BE49-F238E27FC236}">
                  <a16:creationId xmlns:a16="http://schemas.microsoft.com/office/drawing/2014/main" id="{0001364E-BDF9-4964-AFCF-8B1B5ED15F9E}"/>
                </a:ext>
              </a:extLst>
            </p:cNvPr>
            <p:cNvSpPr/>
            <p:nvPr/>
          </p:nvSpPr>
          <p:spPr>
            <a:xfrm rot="8716295">
              <a:off x="8640602" y="127140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0" name="Forme libre : forme 1389">
              <a:extLst>
                <a:ext uri="{FF2B5EF4-FFF2-40B4-BE49-F238E27FC236}">
                  <a16:creationId xmlns:a16="http://schemas.microsoft.com/office/drawing/2014/main" id="{EE73FF96-9E36-461F-A96C-8FEF57947F14}"/>
                </a:ext>
              </a:extLst>
            </p:cNvPr>
            <p:cNvSpPr/>
            <p:nvPr/>
          </p:nvSpPr>
          <p:spPr>
            <a:xfrm rot="8716295">
              <a:off x="8628550" y="113262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1" name="Forme libre : forme 1390">
              <a:extLst>
                <a:ext uri="{FF2B5EF4-FFF2-40B4-BE49-F238E27FC236}">
                  <a16:creationId xmlns:a16="http://schemas.microsoft.com/office/drawing/2014/main" id="{6DB2B1A4-E2FA-49FA-9C05-6E8348596F60}"/>
                </a:ext>
              </a:extLst>
            </p:cNvPr>
            <p:cNvSpPr/>
            <p:nvPr/>
          </p:nvSpPr>
          <p:spPr>
            <a:xfrm rot="8716295">
              <a:off x="8855683" y="152102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2" name="Forme libre : forme 1391">
              <a:extLst>
                <a:ext uri="{FF2B5EF4-FFF2-40B4-BE49-F238E27FC236}">
                  <a16:creationId xmlns:a16="http://schemas.microsoft.com/office/drawing/2014/main" id="{C6D4FFEB-A683-4FE3-8068-6610CCEEB1B0}"/>
                </a:ext>
              </a:extLst>
            </p:cNvPr>
            <p:cNvSpPr/>
            <p:nvPr/>
          </p:nvSpPr>
          <p:spPr>
            <a:xfrm rot="8716295">
              <a:off x="9129108" y="1200690"/>
              <a:ext cx="29782" cy="42964"/>
            </a:xfrm>
            <a:custGeom>
              <a:avLst/>
              <a:gdLst>
                <a:gd name="connsiteX0" fmla="*/ 0 w 29782"/>
                <a:gd name="connsiteY0" fmla="*/ 42964 h 42964"/>
                <a:gd name="connsiteX1" fmla="*/ 29782 w 29782"/>
                <a:gd name="connsiteY1" fmla="*/ 0 h 42964"/>
                <a:gd name="connsiteX2" fmla="*/ 29782 w 29782"/>
                <a:gd name="connsiteY2" fmla="*/ 31185 h 4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9782" h="42964">
                  <a:moveTo>
                    <a:pt x="0" y="42964"/>
                  </a:moveTo>
                  <a:lnTo>
                    <a:pt x="29782" y="0"/>
                  </a:lnTo>
                  <a:lnTo>
                    <a:pt x="29782" y="311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3" name="Forme libre : forme 1392">
              <a:extLst>
                <a:ext uri="{FF2B5EF4-FFF2-40B4-BE49-F238E27FC236}">
                  <a16:creationId xmlns:a16="http://schemas.microsoft.com/office/drawing/2014/main" id="{EA725989-A234-4480-B04C-CFCEE23774F2}"/>
                </a:ext>
              </a:extLst>
            </p:cNvPr>
            <p:cNvSpPr/>
            <p:nvPr/>
          </p:nvSpPr>
          <p:spPr>
            <a:xfrm rot="8716295">
              <a:off x="9054604" y="122992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4" name="Forme libre : forme 1393">
              <a:extLst>
                <a:ext uri="{FF2B5EF4-FFF2-40B4-BE49-F238E27FC236}">
                  <a16:creationId xmlns:a16="http://schemas.microsoft.com/office/drawing/2014/main" id="{466911C7-5D17-4DD5-91B8-36CEBB4BC9F6}"/>
                </a:ext>
              </a:extLst>
            </p:cNvPr>
            <p:cNvSpPr/>
            <p:nvPr/>
          </p:nvSpPr>
          <p:spPr>
            <a:xfrm rot="8716295">
              <a:off x="8929702" y="10212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5" name="Forme libre : forme 1394">
              <a:extLst>
                <a:ext uri="{FF2B5EF4-FFF2-40B4-BE49-F238E27FC236}">
                  <a16:creationId xmlns:a16="http://schemas.microsoft.com/office/drawing/2014/main" id="{87609BCB-7D37-4FB0-A906-2BDD38155F26}"/>
                </a:ext>
              </a:extLst>
            </p:cNvPr>
            <p:cNvSpPr/>
            <p:nvPr/>
          </p:nvSpPr>
          <p:spPr>
            <a:xfrm rot="8716295">
              <a:off x="9112658" y="1300147"/>
              <a:ext cx="40491" cy="97371"/>
            </a:xfrm>
            <a:custGeom>
              <a:avLst/>
              <a:gdLst>
                <a:gd name="connsiteX0" fmla="*/ 40491 w 40491"/>
                <a:gd name="connsiteY0" fmla="*/ 97371 h 97371"/>
                <a:gd name="connsiteX1" fmla="*/ 0 w 40491"/>
                <a:gd name="connsiteY1" fmla="*/ 58414 h 97371"/>
                <a:gd name="connsiteX2" fmla="*/ 40491 w 40491"/>
                <a:gd name="connsiteY2" fmla="*/ 0 h 9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491" h="97371">
                  <a:moveTo>
                    <a:pt x="40491" y="97371"/>
                  </a:moveTo>
                  <a:lnTo>
                    <a:pt x="0" y="58414"/>
                  </a:lnTo>
                  <a:lnTo>
                    <a:pt x="4049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6" name="Forme libre : forme 1395">
              <a:extLst>
                <a:ext uri="{FF2B5EF4-FFF2-40B4-BE49-F238E27FC236}">
                  <a16:creationId xmlns:a16="http://schemas.microsoft.com/office/drawing/2014/main" id="{947B4F8A-AEF6-4C9F-8CA5-B6B423F87C52}"/>
                </a:ext>
              </a:extLst>
            </p:cNvPr>
            <p:cNvSpPr/>
            <p:nvPr/>
          </p:nvSpPr>
          <p:spPr>
            <a:xfrm rot="8716295">
              <a:off x="8903331" y="112127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7" name="Forme libre : forme 1396">
              <a:extLst>
                <a:ext uri="{FF2B5EF4-FFF2-40B4-BE49-F238E27FC236}">
                  <a16:creationId xmlns:a16="http://schemas.microsoft.com/office/drawing/2014/main" id="{ECC3872B-A5B2-45B1-9D4A-B953AF7F8C47}"/>
                </a:ext>
              </a:extLst>
            </p:cNvPr>
            <p:cNvSpPr/>
            <p:nvPr/>
          </p:nvSpPr>
          <p:spPr>
            <a:xfrm rot="8716295">
              <a:off x="8654572" y="73183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9" name="Forme libre : forme 1398">
              <a:extLst>
                <a:ext uri="{FF2B5EF4-FFF2-40B4-BE49-F238E27FC236}">
                  <a16:creationId xmlns:a16="http://schemas.microsoft.com/office/drawing/2014/main" id="{EF2C5093-481E-4A2C-8B5F-4CE69A605FED}"/>
                </a:ext>
              </a:extLst>
            </p:cNvPr>
            <p:cNvSpPr/>
            <p:nvPr/>
          </p:nvSpPr>
          <p:spPr>
            <a:xfrm rot="8716295">
              <a:off x="8743964" y="76107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0" name="Forme libre : forme 1399">
              <a:extLst>
                <a:ext uri="{FF2B5EF4-FFF2-40B4-BE49-F238E27FC236}">
                  <a16:creationId xmlns:a16="http://schemas.microsoft.com/office/drawing/2014/main" id="{30AF5DC6-0C45-4EE5-BDB7-B8625E175365}"/>
                </a:ext>
              </a:extLst>
            </p:cNvPr>
            <p:cNvSpPr/>
            <p:nvPr/>
          </p:nvSpPr>
          <p:spPr>
            <a:xfrm rot="8716295">
              <a:off x="8699114" y="67479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3" name="Forme libre : forme 1402">
              <a:extLst>
                <a:ext uri="{FF2B5EF4-FFF2-40B4-BE49-F238E27FC236}">
                  <a16:creationId xmlns:a16="http://schemas.microsoft.com/office/drawing/2014/main" id="{B70C0FD5-7DFB-4A0C-AE55-F5A7B134B91A}"/>
                </a:ext>
              </a:extLst>
            </p:cNvPr>
            <p:cNvSpPr/>
            <p:nvPr/>
          </p:nvSpPr>
          <p:spPr>
            <a:xfrm rot="8716295">
              <a:off x="8542338" y="82037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4" name="Forme libre : forme 1403">
              <a:extLst>
                <a:ext uri="{FF2B5EF4-FFF2-40B4-BE49-F238E27FC236}">
                  <a16:creationId xmlns:a16="http://schemas.microsoft.com/office/drawing/2014/main" id="{9023C4A5-B8BC-415D-A51C-5615A6A3B1AB}"/>
                </a:ext>
              </a:extLst>
            </p:cNvPr>
            <p:cNvSpPr/>
            <p:nvPr/>
          </p:nvSpPr>
          <p:spPr>
            <a:xfrm rot="8716295">
              <a:off x="8417435" y="61170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5" name="Forme libre : forme 1404">
              <a:extLst>
                <a:ext uri="{FF2B5EF4-FFF2-40B4-BE49-F238E27FC236}">
                  <a16:creationId xmlns:a16="http://schemas.microsoft.com/office/drawing/2014/main" id="{E7A0D7D3-B881-47A9-8F6D-CE2F06D30D49}"/>
                </a:ext>
              </a:extLst>
            </p:cNvPr>
            <p:cNvSpPr/>
            <p:nvPr/>
          </p:nvSpPr>
          <p:spPr>
            <a:xfrm rot="8716295">
              <a:off x="8405383" y="47292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7" name="Forme libre : forme 1406">
              <a:extLst>
                <a:ext uri="{FF2B5EF4-FFF2-40B4-BE49-F238E27FC236}">
                  <a16:creationId xmlns:a16="http://schemas.microsoft.com/office/drawing/2014/main" id="{63003894-E4F2-4BC2-83BB-B9FC026CCC8B}"/>
                </a:ext>
              </a:extLst>
            </p:cNvPr>
            <p:cNvSpPr/>
            <p:nvPr/>
          </p:nvSpPr>
          <p:spPr>
            <a:xfrm rot="8716295">
              <a:off x="8632516" y="86132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8" name="Forme libre : forme 1407">
              <a:extLst>
                <a:ext uri="{FF2B5EF4-FFF2-40B4-BE49-F238E27FC236}">
                  <a16:creationId xmlns:a16="http://schemas.microsoft.com/office/drawing/2014/main" id="{4177F84E-2F46-4B16-B2EB-2A6CAAA999C1}"/>
                </a:ext>
              </a:extLst>
            </p:cNvPr>
            <p:cNvSpPr/>
            <p:nvPr/>
          </p:nvSpPr>
          <p:spPr>
            <a:xfrm rot="8716295">
              <a:off x="8943671" y="48168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9" name="Forme libre : forme 1408">
              <a:extLst>
                <a:ext uri="{FF2B5EF4-FFF2-40B4-BE49-F238E27FC236}">
                  <a16:creationId xmlns:a16="http://schemas.microsoft.com/office/drawing/2014/main" id="{7ECC4D0A-0137-4778-9C34-ECD007160309}"/>
                </a:ext>
              </a:extLst>
            </p:cNvPr>
            <p:cNvSpPr/>
            <p:nvPr/>
          </p:nvSpPr>
          <p:spPr>
            <a:xfrm rot="8716295">
              <a:off x="9036942" y="543643"/>
              <a:ext cx="187036" cy="222292"/>
            </a:xfrm>
            <a:custGeom>
              <a:avLst/>
              <a:gdLst>
                <a:gd name="connsiteX0" fmla="*/ 125066 w 187036"/>
                <a:gd name="connsiteY0" fmla="*/ 80621 h 222292"/>
                <a:gd name="connsiteX1" fmla="*/ 125066 w 187036"/>
                <a:gd name="connsiteY1" fmla="*/ 64217 h 222292"/>
                <a:gd name="connsiteX2" fmla="*/ 120199 w 187036"/>
                <a:gd name="connsiteY2" fmla="*/ 48887 h 222292"/>
                <a:gd name="connsiteX3" fmla="*/ 154086 w 187036"/>
                <a:gd name="connsiteY3" fmla="*/ 0 h 222292"/>
                <a:gd name="connsiteX4" fmla="*/ 167044 w 187036"/>
                <a:gd name="connsiteY4" fmla="*/ 5322 h 222292"/>
                <a:gd name="connsiteX5" fmla="*/ 187036 w 187036"/>
                <a:gd name="connsiteY5" fmla="*/ 71052 h 222292"/>
                <a:gd name="connsiteX6" fmla="*/ 187036 w 187036"/>
                <a:gd name="connsiteY6" fmla="*/ 76976 h 222292"/>
                <a:gd name="connsiteX7" fmla="*/ 0 w 187036"/>
                <a:gd name="connsiteY7" fmla="*/ 222292 h 222292"/>
                <a:gd name="connsiteX8" fmla="*/ 38035 w 187036"/>
                <a:gd name="connsiteY8" fmla="*/ 167421 h 222292"/>
                <a:gd name="connsiteX9" fmla="*/ 38035 w 187036"/>
                <a:gd name="connsiteY9" fmla="*/ 196360 h 222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036" h="222292">
                  <a:moveTo>
                    <a:pt x="125066" y="80621"/>
                  </a:moveTo>
                  <a:lnTo>
                    <a:pt x="125066" y="64217"/>
                  </a:lnTo>
                  <a:lnTo>
                    <a:pt x="120199" y="48887"/>
                  </a:lnTo>
                  <a:lnTo>
                    <a:pt x="154086" y="0"/>
                  </a:lnTo>
                  <a:lnTo>
                    <a:pt x="167044" y="5322"/>
                  </a:lnTo>
                  <a:cubicBezTo>
                    <a:pt x="179974" y="20473"/>
                    <a:pt x="187036" y="42801"/>
                    <a:pt x="187036" y="71052"/>
                  </a:cubicBezTo>
                  <a:lnTo>
                    <a:pt x="187036" y="76976"/>
                  </a:lnTo>
                  <a:close/>
                  <a:moveTo>
                    <a:pt x="0" y="222292"/>
                  </a:moveTo>
                  <a:lnTo>
                    <a:pt x="38035" y="167421"/>
                  </a:lnTo>
                  <a:lnTo>
                    <a:pt x="38035" y="1963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0" name="Forme libre : forme 1409">
              <a:extLst>
                <a:ext uri="{FF2B5EF4-FFF2-40B4-BE49-F238E27FC236}">
                  <a16:creationId xmlns:a16="http://schemas.microsoft.com/office/drawing/2014/main" id="{8CF1C17D-8FE5-4586-84EC-797BF0C748ED}"/>
                </a:ext>
              </a:extLst>
            </p:cNvPr>
            <p:cNvSpPr/>
            <p:nvPr/>
          </p:nvSpPr>
          <p:spPr>
            <a:xfrm rot="8716295">
              <a:off x="8831437" y="57022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1" name="Forme libre : forme 1410">
              <a:extLst>
                <a:ext uri="{FF2B5EF4-FFF2-40B4-BE49-F238E27FC236}">
                  <a16:creationId xmlns:a16="http://schemas.microsoft.com/office/drawing/2014/main" id="{AE830191-0020-4FE4-A98C-BF2C46A15C3D}"/>
                </a:ext>
              </a:extLst>
            </p:cNvPr>
            <p:cNvSpPr/>
            <p:nvPr/>
          </p:nvSpPr>
          <p:spPr>
            <a:xfrm rot="8716295">
              <a:off x="8706535" y="36155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5" name="Forme libre : forme 1414">
              <a:extLst>
                <a:ext uri="{FF2B5EF4-FFF2-40B4-BE49-F238E27FC236}">
                  <a16:creationId xmlns:a16="http://schemas.microsoft.com/office/drawing/2014/main" id="{EE8C59D9-229F-48BD-A5E1-860C9FC9870C}"/>
                </a:ext>
              </a:extLst>
            </p:cNvPr>
            <p:cNvSpPr/>
            <p:nvPr/>
          </p:nvSpPr>
          <p:spPr>
            <a:xfrm rot="8716295">
              <a:off x="8921615" y="61117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7" name="Forme libre : forme 1416">
              <a:extLst>
                <a:ext uri="{FF2B5EF4-FFF2-40B4-BE49-F238E27FC236}">
                  <a16:creationId xmlns:a16="http://schemas.microsoft.com/office/drawing/2014/main" id="{8B3EDBB4-588F-4A74-A7EE-F28AB8A86698}"/>
                </a:ext>
              </a:extLst>
            </p:cNvPr>
            <p:cNvSpPr/>
            <p:nvPr/>
          </p:nvSpPr>
          <p:spPr>
            <a:xfrm rot="8716295">
              <a:off x="8680164" y="46157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8" name="Forme libre : forme 1417">
              <a:extLst>
                <a:ext uri="{FF2B5EF4-FFF2-40B4-BE49-F238E27FC236}">
                  <a16:creationId xmlns:a16="http://schemas.microsoft.com/office/drawing/2014/main" id="{E513DE33-1C86-4B9E-A5D2-1C775A4B6B9A}"/>
                </a:ext>
              </a:extLst>
            </p:cNvPr>
            <p:cNvSpPr/>
            <p:nvPr/>
          </p:nvSpPr>
          <p:spPr>
            <a:xfrm rot="7484129">
              <a:off x="9031331" y="823575"/>
              <a:ext cx="156001" cy="192535"/>
            </a:xfrm>
            <a:custGeom>
              <a:avLst/>
              <a:gdLst>
                <a:gd name="connsiteX0" fmla="*/ 42863 w 156001"/>
                <a:gd name="connsiteY0" fmla="*/ 192535 h 192535"/>
                <a:gd name="connsiteX1" fmla="*/ 0 w 156001"/>
                <a:gd name="connsiteY1" fmla="*/ 112791 h 192535"/>
                <a:gd name="connsiteX2" fmla="*/ 2226 w 156001"/>
                <a:gd name="connsiteY2" fmla="*/ 106620 h 192535"/>
                <a:gd name="connsiteX3" fmla="*/ 156001 w 156001"/>
                <a:gd name="connsiteY3" fmla="*/ 0 h 192535"/>
                <a:gd name="connsiteX4" fmla="*/ 156001 w 156001"/>
                <a:gd name="connsiteY4" fmla="*/ 51985 h 192535"/>
                <a:gd name="connsiteX5" fmla="*/ 91208 w 156001"/>
                <a:gd name="connsiteY5" fmla="*/ 51985 h 192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6001" h="192535">
                  <a:moveTo>
                    <a:pt x="42863" y="192535"/>
                  </a:moveTo>
                  <a:lnTo>
                    <a:pt x="0" y="112791"/>
                  </a:lnTo>
                  <a:lnTo>
                    <a:pt x="2226" y="106620"/>
                  </a:lnTo>
                  <a:lnTo>
                    <a:pt x="156001" y="0"/>
                  </a:lnTo>
                  <a:lnTo>
                    <a:pt x="156001" y="51985"/>
                  </a:lnTo>
                  <a:lnTo>
                    <a:pt x="91208" y="519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9" name="Forme libre : forme 1418">
              <a:extLst>
                <a:ext uri="{FF2B5EF4-FFF2-40B4-BE49-F238E27FC236}">
                  <a16:creationId xmlns:a16="http://schemas.microsoft.com/office/drawing/2014/main" id="{A1C128FB-3960-4D7F-8598-CEF9CD401A08}"/>
                </a:ext>
              </a:extLst>
            </p:cNvPr>
            <p:cNvSpPr/>
            <p:nvPr/>
          </p:nvSpPr>
          <p:spPr>
            <a:xfrm rot="8716295">
              <a:off x="9021900" y="50400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0" name="Forme libre : forme 1419">
              <a:extLst>
                <a:ext uri="{FF2B5EF4-FFF2-40B4-BE49-F238E27FC236}">
                  <a16:creationId xmlns:a16="http://schemas.microsoft.com/office/drawing/2014/main" id="{BC46D4D0-028A-4521-9F49-7D03D0168DF3}"/>
                </a:ext>
              </a:extLst>
            </p:cNvPr>
            <p:cNvSpPr/>
            <p:nvPr/>
          </p:nvSpPr>
          <p:spPr>
            <a:xfrm rot="8716295">
              <a:off x="8435633" y="6977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1" name="Forme libre : forme 1420">
              <a:extLst>
                <a:ext uri="{FF2B5EF4-FFF2-40B4-BE49-F238E27FC236}">
                  <a16:creationId xmlns:a16="http://schemas.microsoft.com/office/drawing/2014/main" id="{6EAA635A-78A6-405C-8277-7FA4213ACDA7}"/>
                </a:ext>
              </a:extLst>
            </p:cNvPr>
            <p:cNvSpPr/>
            <p:nvPr/>
          </p:nvSpPr>
          <p:spPr>
            <a:xfrm rot="8716295">
              <a:off x="8525025" y="9901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2" name="Forme libre : forme 1421">
              <a:extLst>
                <a:ext uri="{FF2B5EF4-FFF2-40B4-BE49-F238E27FC236}">
                  <a16:creationId xmlns:a16="http://schemas.microsoft.com/office/drawing/2014/main" id="{C5FD0327-5E56-4ECB-88CA-C38610032A32}"/>
                </a:ext>
              </a:extLst>
            </p:cNvPr>
            <p:cNvSpPr/>
            <p:nvPr/>
          </p:nvSpPr>
          <p:spPr>
            <a:xfrm rot="8716295">
              <a:off x="8481025" y="28568"/>
              <a:ext cx="174031" cy="125883"/>
            </a:xfrm>
            <a:custGeom>
              <a:avLst/>
              <a:gdLst>
                <a:gd name="connsiteX0" fmla="*/ 17189 w 174031"/>
                <a:gd name="connsiteY0" fmla="*/ 125883 h 125883"/>
                <a:gd name="connsiteX1" fmla="*/ 0 w 174031"/>
                <a:gd name="connsiteY1" fmla="*/ 113969 h 125883"/>
                <a:gd name="connsiteX2" fmla="*/ 91100 w 174031"/>
                <a:gd name="connsiteY2" fmla="*/ 28251 h 125883"/>
                <a:gd name="connsiteX3" fmla="*/ 145780 w 174031"/>
                <a:gd name="connsiteY3" fmla="*/ 0 h 125883"/>
                <a:gd name="connsiteX4" fmla="*/ 174031 w 174031"/>
                <a:gd name="connsiteY4" fmla="*/ 33719 h 125883"/>
                <a:gd name="connsiteX5" fmla="*/ 147603 w 174031"/>
                <a:gd name="connsiteY5" fmla="*/ 69261 h 125883"/>
                <a:gd name="connsiteX6" fmla="*/ 148058 w 174031"/>
                <a:gd name="connsiteY6" fmla="*/ 69261 h 125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4031" h="125883">
                  <a:moveTo>
                    <a:pt x="17189" y="125883"/>
                  </a:moveTo>
                  <a:lnTo>
                    <a:pt x="0" y="113969"/>
                  </a:lnTo>
                  <a:lnTo>
                    <a:pt x="91100" y="28251"/>
                  </a:lnTo>
                  <a:cubicBezTo>
                    <a:pt x="104771" y="12303"/>
                    <a:pt x="124364" y="2279"/>
                    <a:pt x="145780" y="0"/>
                  </a:cubicBezTo>
                  <a:cubicBezTo>
                    <a:pt x="167652" y="0"/>
                    <a:pt x="174031" y="19138"/>
                    <a:pt x="174031" y="33719"/>
                  </a:cubicBezTo>
                  <a:cubicBezTo>
                    <a:pt x="172664" y="49668"/>
                    <a:pt x="162183" y="62881"/>
                    <a:pt x="147603" y="69261"/>
                  </a:cubicBezTo>
                  <a:lnTo>
                    <a:pt x="148058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3" name="Forme libre : forme 1422">
              <a:extLst>
                <a:ext uri="{FF2B5EF4-FFF2-40B4-BE49-F238E27FC236}">
                  <a16:creationId xmlns:a16="http://schemas.microsoft.com/office/drawing/2014/main" id="{8E0D4F69-3810-42E5-A76B-E65DD8821F35}"/>
                </a:ext>
              </a:extLst>
            </p:cNvPr>
            <p:cNvSpPr/>
            <p:nvPr/>
          </p:nvSpPr>
          <p:spPr>
            <a:xfrm rot="8716295">
              <a:off x="8323399" y="15831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4" name="Forme libre : forme 1423">
              <a:extLst>
                <a:ext uri="{FF2B5EF4-FFF2-40B4-BE49-F238E27FC236}">
                  <a16:creationId xmlns:a16="http://schemas.microsoft.com/office/drawing/2014/main" id="{25E613B1-767E-4C1C-A1A1-1C6EDD583421}"/>
                </a:ext>
              </a:extLst>
            </p:cNvPr>
            <p:cNvSpPr/>
            <p:nvPr/>
          </p:nvSpPr>
          <p:spPr>
            <a:xfrm rot="8716295">
              <a:off x="8205007" y="-15193"/>
              <a:ext cx="203847" cy="157180"/>
            </a:xfrm>
            <a:custGeom>
              <a:avLst/>
              <a:gdLst>
                <a:gd name="connsiteX0" fmla="*/ 104019 w 203847"/>
                <a:gd name="connsiteY0" fmla="*/ 157180 h 157180"/>
                <a:gd name="connsiteX1" fmla="*/ 49658 w 203847"/>
                <a:gd name="connsiteY1" fmla="*/ 119499 h 157180"/>
                <a:gd name="connsiteX2" fmla="*/ 47847 w 203847"/>
                <a:gd name="connsiteY2" fmla="*/ 116129 h 157180"/>
                <a:gd name="connsiteX3" fmla="*/ 69777 w 203847"/>
                <a:gd name="connsiteY3" fmla="*/ 55323 h 157180"/>
                <a:gd name="connsiteX4" fmla="*/ 0 w 203847"/>
                <a:gd name="connsiteY4" fmla="*/ 55323 h 157180"/>
                <a:gd name="connsiteX5" fmla="*/ 0 w 203847"/>
                <a:gd name="connsiteY5" fmla="*/ 0 h 157180"/>
                <a:gd name="connsiteX6" fmla="*/ 203847 w 203847"/>
                <a:gd name="connsiteY6" fmla="*/ 0 h 157180"/>
                <a:gd name="connsiteX7" fmla="*/ 203847 w 203847"/>
                <a:gd name="connsiteY7" fmla="*/ 55323 h 157180"/>
                <a:gd name="connsiteX8" fmla="*/ 139055 w 203847"/>
                <a:gd name="connsiteY8" fmla="*/ 55323 h 157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57180">
                  <a:moveTo>
                    <a:pt x="104019" y="157180"/>
                  </a:moveTo>
                  <a:lnTo>
                    <a:pt x="49658" y="119499"/>
                  </a:ln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5" name="Forme libre : forme 1424">
              <a:extLst>
                <a:ext uri="{FF2B5EF4-FFF2-40B4-BE49-F238E27FC236}">
                  <a16:creationId xmlns:a16="http://schemas.microsoft.com/office/drawing/2014/main" id="{F63808BA-4F7E-40A3-8486-7E6DEBA484C6}"/>
                </a:ext>
              </a:extLst>
            </p:cNvPr>
            <p:cNvSpPr/>
            <p:nvPr/>
          </p:nvSpPr>
          <p:spPr>
            <a:xfrm rot="8716295">
              <a:off x="8444752" y="-32262"/>
              <a:ext cx="79035" cy="109481"/>
            </a:xfrm>
            <a:custGeom>
              <a:avLst/>
              <a:gdLst>
                <a:gd name="connsiteX0" fmla="*/ 79035 w 79035"/>
                <a:gd name="connsiteY0" fmla="*/ 109481 h 109481"/>
                <a:gd name="connsiteX1" fmla="*/ 0 w 79035"/>
                <a:gd name="connsiteY1" fmla="*/ 54697 h 109481"/>
                <a:gd name="connsiteX2" fmla="*/ 0 w 79035"/>
                <a:gd name="connsiteY2" fmla="*/ 40597 h 109481"/>
                <a:gd name="connsiteX3" fmla="*/ 78250 w 79035"/>
                <a:gd name="connsiteY3" fmla="*/ 0 h 109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035" h="109481">
                  <a:moveTo>
                    <a:pt x="79035" y="109481"/>
                  </a:moveTo>
                  <a:lnTo>
                    <a:pt x="0" y="54697"/>
                  </a:lnTo>
                  <a:lnTo>
                    <a:pt x="0" y="40597"/>
                  </a:lnTo>
                  <a:lnTo>
                    <a:pt x="7825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6" name="Forme libre : forme 1425">
              <a:extLst>
                <a:ext uri="{FF2B5EF4-FFF2-40B4-BE49-F238E27FC236}">
                  <a16:creationId xmlns:a16="http://schemas.microsoft.com/office/drawing/2014/main" id="{D63DA307-52BC-4792-8492-1FEF33029CFC}"/>
                </a:ext>
              </a:extLst>
            </p:cNvPr>
            <p:cNvSpPr/>
            <p:nvPr/>
          </p:nvSpPr>
          <p:spPr>
            <a:xfrm rot="8716295">
              <a:off x="8413577" y="19927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7" name="Forme libre : forme 1426">
              <a:extLst>
                <a:ext uri="{FF2B5EF4-FFF2-40B4-BE49-F238E27FC236}">
                  <a16:creationId xmlns:a16="http://schemas.microsoft.com/office/drawing/2014/main" id="{AD849204-8303-4A61-8B71-EA8E15704047}"/>
                </a:ext>
              </a:extLst>
            </p:cNvPr>
            <p:cNvSpPr/>
            <p:nvPr/>
          </p:nvSpPr>
          <p:spPr>
            <a:xfrm rot="8716295">
              <a:off x="8766514" y="-43842"/>
              <a:ext cx="126501" cy="87686"/>
            </a:xfrm>
            <a:custGeom>
              <a:avLst/>
              <a:gdLst>
                <a:gd name="connsiteX0" fmla="*/ 126501 w 126501"/>
                <a:gd name="connsiteY0" fmla="*/ 87686 h 87686"/>
                <a:gd name="connsiteX1" fmla="*/ 0 w 126501"/>
                <a:gd name="connsiteY1" fmla="*/ 0 h 87686"/>
                <a:gd name="connsiteX2" fmla="*/ 69543 w 126501"/>
                <a:gd name="connsiteY2" fmla="*/ 0 h 87686"/>
                <a:gd name="connsiteX3" fmla="*/ 126501 w 126501"/>
                <a:gd name="connsiteY3" fmla="*/ 50123 h 87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501" h="87686">
                  <a:moveTo>
                    <a:pt x="126501" y="87686"/>
                  </a:moveTo>
                  <a:lnTo>
                    <a:pt x="0" y="0"/>
                  </a:lnTo>
                  <a:lnTo>
                    <a:pt x="69543" y="0"/>
                  </a:lnTo>
                  <a:cubicBezTo>
                    <a:pt x="106451" y="0"/>
                    <a:pt x="126500" y="15949"/>
                    <a:pt x="126501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8" name="Forme libre : forme 1427">
              <a:extLst>
                <a:ext uri="{FF2B5EF4-FFF2-40B4-BE49-F238E27FC236}">
                  <a16:creationId xmlns:a16="http://schemas.microsoft.com/office/drawing/2014/main" id="{A2D7FB67-3D0C-4319-811C-4A6A2542C621}"/>
                </a:ext>
              </a:extLst>
            </p:cNvPr>
            <p:cNvSpPr/>
            <p:nvPr/>
          </p:nvSpPr>
          <p:spPr>
            <a:xfrm rot="8716295">
              <a:off x="8856759" y="-11878"/>
              <a:ext cx="260639" cy="98025"/>
            </a:xfrm>
            <a:custGeom>
              <a:avLst/>
              <a:gdLst>
                <a:gd name="connsiteX0" fmla="*/ 121640 w 260639"/>
                <a:gd name="connsiteY0" fmla="*/ 88179 h 98025"/>
                <a:gd name="connsiteX1" fmla="*/ 0 w 260639"/>
                <a:gd name="connsiteY1" fmla="*/ 3862 h 98025"/>
                <a:gd name="connsiteX2" fmla="*/ 0 w 260639"/>
                <a:gd name="connsiteY2" fmla="*/ 1424 h 98025"/>
                <a:gd name="connsiteX3" fmla="*/ 104802 w 260639"/>
                <a:gd name="connsiteY3" fmla="*/ 1424 h 98025"/>
                <a:gd name="connsiteX4" fmla="*/ 104802 w 260639"/>
                <a:gd name="connsiteY4" fmla="*/ 75242 h 98025"/>
                <a:gd name="connsiteX5" fmla="*/ 106170 w 260639"/>
                <a:gd name="connsiteY5" fmla="*/ 75242 h 98025"/>
                <a:gd name="connsiteX6" fmla="*/ 154014 w 260639"/>
                <a:gd name="connsiteY6" fmla="*/ 5981 h 98025"/>
                <a:gd name="connsiteX7" fmla="*/ 185454 w 260639"/>
                <a:gd name="connsiteY7" fmla="*/ 57 h 98025"/>
                <a:gd name="connsiteX8" fmla="*/ 260639 w 260639"/>
                <a:gd name="connsiteY8" fmla="*/ 88456 h 98025"/>
                <a:gd name="connsiteX9" fmla="*/ 260639 w 260639"/>
                <a:gd name="connsiteY9" fmla="*/ 94380 h 98025"/>
                <a:gd name="connsiteX10" fmla="*/ 198669 w 260639"/>
                <a:gd name="connsiteY10" fmla="*/ 98025 h 98025"/>
                <a:gd name="connsiteX11" fmla="*/ 198669 w 260639"/>
                <a:gd name="connsiteY11" fmla="*/ 81621 h 98025"/>
                <a:gd name="connsiteX12" fmla="*/ 164950 w 260639"/>
                <a:gd name="connsiteY12" fmla="*/ 40156 h 98025"/>
                <a:gd name="connsiteX13" fmla="*/ 127358 w 260639"/>
                <a:gd name="connsiteY13" fmla="*/ 65616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60639" h="98025">
                  <a:moveTo>
                    <a:pt x="121640" y="88179"/>
                  </a:moveTo>
                  <a:lnTo>
                    <a:pt x="0" y="3862"/>
                  </a:lnTo>
                  <a:lnTo>
                    <a:pt x="0" y="1424"/>
                  </a:lnTo>
                  <a:lnTo>
                    <a:pt x="104802" y="1424"/>
                  </a:lnTo>
                  <a:lnTo>
                    <a:pt x="104802" y="75242"/>
                  </a:lnTo>
                  <a:lnTo>
                    <a:pt x="106170" y="75242"/>
                  </a:lnTo>
                  <a:cubicBezTo>
                    <a:pt x="120751" y="31954"/>
                    <a:pt x="132143" y="15095"/>
                    <a:pt x="154014" y="5981"/>
                  </a:cubicBezTo>
                  <a:cubicBezTo>
                    <a:pt x="164039" y="1880"/>
                    <a:pt x="174519" y="-398"/>
                    <a:pt x="185454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5"/>
                    <a:pt x="184543" y="40156"/>
                    <a:pt x="164950" y="40156"/>
                  </a:cubicBezTo>
                  <a:cubicBezTo>
                    <a:pt x="150369" y="40156"/>
                    <a:pt x="137041" y="49839"/>
                    <a:pt x="127358" y="656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9" name="Forme libre : forme 1428">
              <a:extLst>
                <a:ext uri="{FF2B5EF4-FFF2-40B4-BE49-F238E27FC236}">
                  <a16:creationId xmlns:a16="http://schemas.microsoft.com/office/drawing/2014/main" id="{7EB29EE7-8CE0-4F9C-BE94-981E02C14E6E}"/>
                </a:ext>
              </a:extLst>
            </p:cNvPr>
            <p:cNvSpPr/>
            <p:nvPr/>
          </p:nvSpPr>
          <p:spPr>
            <a:xfrm rot="8716295">
              <a:off x="8702676" y="-5088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0" name="Forme libre : forme 1429">
              <a:extLst>
                <a:ext uri="{FF2B5EF4-FFF2-40B4-BE49-F238E27FC236}">
                  <a16:creationId xmlns:a16="http://schemas.microsoft.com/office/drawing/2014/main" id="{0BDDD1E9-AF02-445F-B0F9-274E91D802B8}"/>
                </a:ext>
              </a:extLst>
            </p:cNvPr>
            <p:cNvSpPr/>
            <p:nvPr/>
          </p:nvSpPr>
          <p:spPr>
            <a:xfrm rot="7484129">
              <a:off x="8807607" y="14046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1" name="Forme libre : forme 1430">
              <a:extLst>
                <a:ext uri="{FF2B5EF4-FFF2-40B4-BE49-F238E27FC236}">
                  <a16:creationId xmlns:a16="http://schemas.microsoft.com/office/drawing/2014/main" id="{2995B139-7C17-446E-807C-66D934593AD9}"/>
                </a:ext>
              </a:extLst>
            </p:cNvPr>
            <p:cNvSpPr/>
            <p:nvPr/>
          </p:nvSpPr>
          <p:spPr>
            <a:xfrm rot="13089394">
              <a:off x="8909339" y="109550"/>
              <a:ext cx="272584" cy="321941"/>
            </a:xfrm>
            <a:custGeom>
              <a:avLst/>
              <a:gdLst>
                <a:gd name="connsiteX0" fmla="*/ 272584 w 272584"/>
                <a:gd name="connsiteY0" fmla="*/ 258238 h 321941"/>
                <a:gd name="connsiteX1" fmla="*/ 177331 w 272584"/>
                <a:gd name="connsiteY1" fmla="*/ 311348 h 321941"/>
                <a:gd name="connsiteX2" fmla="*/ 137666 w 272584"/>
                <a:gd name="connsiteY2" fmla="*/ 321941 h 321941"/>
                <a:gd name="connsiteX3" fmla="*/ 0 w 272584"/>
                <a:gd name="connsiteY3" fmla="*/ 146725 h 321941"/>
                <a:gd name="connsiteX4" fmla="*/ 0 w 272584"/>
                <a:gd name="connsiteY4" fmla="*/ 38074 h 321941"/>
                <a:gd name="connsiteX5" fmla="*/ 73387 w 272584"/>
                <a:gd name="connsiteY5" fmla="*/ 0 h 321941"/>
                <a:gd name="connsiteX6" fmla="*/ 74491 w 272584"/>
                <a:gd name="connsiteY6" fmla="*/ 153950 h 321941"/>
                <a:gd name="connsiteX7" fmla="*/ 87734 w 272584"/>
                <a:gd name="connsiteY7" fmla="*/ 245547 h 321941"/>
                <a:gd name="connsiteX8" fmla="*/ 153949 w 272584"/>
                <a:gd name="connsiteY8" fmla="*/ 281965 h 321941"/>
                <a:gd name="connsiteX9" fmla="*/ 203610 w 272584"/>
                <a:gd name="connsiteY9" fmla="*/ 273136 h 321941"/>
                <a:gd name="connsiteX10" fmla="*/ 271481 w 272584"/>
                <a:gd name="connsiteY10" fmla="*/ 245547 h 321941"/>
                <a:gd name="connsiteX11" fmla="*/ 272584 w 272584"/>
                <a:gd name="connsiteY11" fmla="*/ 252720 h 321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2584" h="321941">
                  <a:moveTo>
                    <a:pt x="272584" y="258238"/>
                  </a:moveTo>
                  <a:cubicBezTo>
                    <a:pt x="243339" y="283344"/>
                    <a:pt x="209542" y="300312"/>
                    <a:pt x="177331" y="311348"/>
                  </a:cubicBezTo>
                  <a:lnTo>
                    <a:pt x="137666" y="321941"/>
                  </a:lnTo>
                  <a:lnTo>
                    <a:pt x="0" y="146725"/>
                  </a:lnTo>
                  <a:lnTo>
                    <a:pt x="0" y="38074"/>
                  </a:lnTo>
                  <a:lnTo>
                    <a:pt x="73387" y="0"/>
                  </a:lnTo>
                  <a:lnTo>
                    <a:pt x="74491" y="153950"/>
                  </a:lnTo>
                  <a:cubicBezTo>
                    <a:pt x="72836" y="184850"/>
                    <a:pt x="77802" y="216301"/>
                    <a:pt x="87734" y="245547"/>
                  </a:cubicBezTo>
                  <a:cubicBezTo>
                    <a:pt x="96563" y="269826"/>
                    <a:pt x="119187" y="281965"/>
                    <a:pt x="153949" y="281965"/>
                  </a:cubicBezTo>
                  <a:cubicBezTo>
                    <a:pt x="171055" y="281413"/>
                    <a:pt x="187608" y="278102"/>
                    <a:pt x="203610" y="273136"/>
                  </a:cubicBezTo>
                  <a:cubicBezTo>
                    <a:pt x="226786" y="265962"/>
                    <a:pt x="249409" y="256583"/>
                    <a:pt x="271481" y="245547"/>
                  </a:cubicBezTo>
                  <a:cubicBezTo>
                    <a:pt x="272032" y="247754"/>
                    <a:pt x="272584" y="250512"/>
                    <a:pt x="272584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2" name="Forme libre : forme 1431">
              <a:extLst>
                <a:ext uri="{FF2B5EF4-FFF2-40B4-BE49-F238E27FC236}">
                  <a16:creationId xmlns:a16="http://schemas.microsoft.com/office/drawing/2014/main" id="{5A473123-E00F-4291-A955-BB5219A058F6}"/>
                </a:ext>
              </a:extLst>
            </p:cNvPr>
            <p:cNvSpPr/>
            <p:nvPr/>
          </p:nvSpPr>
          <p:spPr>
            <a:xfrm rot="8716295">
              <a:off x="9122688" y="40501"/>
              <a:ext cx="40667" cy="55234"/>
            </a:xfrm>
            <a:custGeom>
              <a:avLst/>
              <a:gdLst>
                <a:gd name="connsiteX0" fmla="*/ 0 w 40667"/>
                <a:gd name="connsiteY0" fmla="*/ 55234 h 55234"/>
                <a:gd name="connsiteX1" fmla="*/ 38286 w 40667"/>
                <a:gd name="connsiteY1" fmla="*/ 0 h 55234"/>
                <a:gd name="connsiteX2" fmla="*/ 40667 w 40667"/>
                <a:gd name="connsiteY2" fmla="*/ 8974 h 55234"/>
                <a:gd name="connsiteX3" fmla="*/ 9497 w 40667"/>
                <a:gd name="connsiteY3" fmla="*/ 50893 h 55234"/>
                <a:gd name="connsiteX4" fmla="*/ 10033 w 40667"/>
                <a:gd name="connsiteY4" fmla="*/ 50893 h 55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667" h="55234">
                  <a:moveTo>
                    <a:pt x="0" y="55234"/>
                  </a:moveTo>
                  <a:lnTo>
                    <a:pt x="38286" y="0"/>
                  </a:lnTo>
                  <a:lnTo>
                    <a:pt x="40667" y="8974"/>
                  </a:lnTo>
                  <a:cubicBezTo>
                    <a:pt x="39055" y="27784"/>
                    <a:pt x="26693" y="43369"/>
                    <a:pt x="9497" y="50893"/>
                  </a:cubicBezTo>
                  <a:lnTo>
                    <a:pt x="10033" y="508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3" name="Forme libre : forme 1432">
              <a:extLst>
                <a:ext uri="{FF2B5EF4-FFF2-40B4-BE49-F238E27FC236}">
                  <a16:creationId xmlns:a16="http://schemas.microsoft.com/office/drawing/2014/main" id="{EE271554-B785-4605-928F-70CAFB70DEA7}"/>
                </a:ext>
              </a:extLst>
            </p:cNvPr>
            <p:cNvSpPr/>
            <p:nvPr/>
          </p:nvSpPr>
          <p:spPr>
            <a:xfrm rot="8716295">
              <a:off x="8952852" y="4155793"/>
              <a:ext cx="183188" cy="195873"/>
            </a:xfrm>
            <a:custGeom>
              <a:avLst/>
              <a:gdLst>
                <a:gd name="connsiteX0" fmla="*/ 70051 w 183188"/>
                <a:gd name="connsiteY0" fmla="*/ 195873 h 195873"/>
                <a:gd name="connsiteX1" fmla="*/ 27188 w 183188"/>
                <a:gd name="connsiteY1" fmla="*/ 116129 h 195873"/>
                <a:gd name="connsiteX2" fmla="*/ 49117 w 183188"/>
                <a:gd name="connsiteY2" fmla="*/ 55323 h 195873"/>
                <a:gd name="connsiteX3" fmla="*/ 0 w 183188"/>
                <a:gd name="connsiteY3" fmla="*/ 55323 h 195873"/>
                <a:gd name="connsiteX4" fmla="*/ 38348 w 183188"/>
                <a:gd name="connsiteY4" fmla="*/ 0 h 195873"/>
                <a:gd name="connsiteX5" fmla="*/ 183188 w 183188"/>
                <a:gd name="connsiteY5" fmla="*/ 0 h 195873"/>
                <a:gd name="connsiteX6" fmla="*/ 183188 w 183188"/>
                <a:gd name="connsiteY6" fmla="*/ 55323 h 195873"/>
                <a:gd name="connsiteX7" fmla="*/ 118395 w 183188"/>
                <a:gd name="connsiteY7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3188" h="195873">
                  <a:moveTo>
                    <a:pt x="70051" y="195873"/>
                  </a:moveTo>
                  <a:lnTo>
                    <a:pt x="27188" y="116129"/>
                  </a:lnTo>
                  <a:lnTo>
                    <a:pt x="49117" y="55323"/>
                  </a:lnTo>
                  <a:lnTo>
                    <a:pt x="0" y="55323"/>
                  </a:lnTo>
                  <a:lnTo>
                    <a:pt x="38348" y="0"/>
                  </a:lnTo>
                  <a:lnTo>
                    <a:pt x="183188" y="0"/>
                  </a:lnTo>
                  <a:lnTo>
                    <a:pt x="183188" y="55323"/>
                  </a:lnTo>
                  <a:lnTo>
                    <a:pt x="11839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1434" name="Forme libre : forme 1433">
            <a:extLst>
              <a:ext uri="{FF2B5EF4-FFF2-40B4-BE49-F238E27FC236}">
                <a16:creationId xmlns:a16="http://schemas.microsoft.com/office/drawing/2014/main" id="{3099C65B-8B10-484F-B315-40A09E366107}"/>
              </a:ext>
            </a:extLst>
          </p:cNvPr>
          <p:cNvSpPr/>
          <p:nvPr userDrawn="1"/>
        </p:nvSpPr>
        <p:spPr>
          <a:xfrm>
            <a:off x="1" y="0"/>
            <a:ext cx="6096000" cy="5143500"/>
          </a:xfrm>
          <a:custGeom>
            <a:avLst/>
            <a:gdLst>
              <a:gd name="connsiteX0" fmla="*/ 0 w 6096000"/>
              <a:gd name="connsiteY0" fmla="*/ 0 h 5143500"/>
              <a:gd name="connsiteX1" fmla="*/ 6096000 w 6096000"/>
              <a:gd name="connsiteY1" fmla="*/ 0 h 5143500"/>
              <a:gd name="connsiteX2" fmla="*/ 5658098 w 6096000"/>
              <a:gd name="connsiteY2" fmla="*/ 5143500 h 5143500"/>
              <a:gd name="connsiteX3" fmla="*/ 0 w 6096000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5143500">
                <a:moveTo>
                  <a:pt x="0" y="0"/>
                </a:moveTo>
                <a:lnTo>
                  <a:pt x="6096000" y="0"/>
                </a:lnTo>
                <a:lnTo>
                  <a:pt x="5658098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12" name="Espace réservé du texte 1411">
            <a:extLst>
              <a:ext uri="{FF2B5EF4-FFF2-40B4-BE49-F238E27FC236}">
                <a16:creationId xmlns:a16="http://schemas.microsoft.com/office/drawing/2014/main" id="{B975A26C-84FD-4C11-BF53-E602FA68DDC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9920" y="812296"/>
            <a:ext cx="36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1413" name="Espace réservé du texte 1412">
            <a:extLst>
              <a:ext uri="{FF2B5EF4-FFF2-40B4-BE49-F238E27FC236}">
                <a16:creationId xmlns:a16="http://schemas.microsoft.com/office/drawing/2014/main" id="{1F3E6244-BF30-44B9-B6F9-BF4959AA80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29920" y="812296"/>
            <a:ext cx="36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1414" name="Titre 1413">
            <a:extLst>
              <a:ext uri="{FF2B5EF4-FFF2-40B4-BE49-F238E27FC236}">
                <a16:creationId xmlns:a16="http://schemas.microsoft.com/office/drawing/2014/main" id="{7B15E4E4-6E7E-48BC-92A9-631F532CE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5123" y="333575"/>
            <a:ext cx="4278481" cy="4247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Titre de la slide</a:t>
            </a:r>
          </a:p>
        </p:txBody>
      </p:sp>
      <p:sp>
        <p:nvSpPr>
          <p:cNvPr id="1435" name="Espace réservé du texte 527">
            <a:extLst>
              <a:ext uri="{FF2B5EF4-FFF2-40B4-BE49-F238E27FC236}">
                <a16:creationId xmlns:a16="http://schemas.microsoft.com/office/drawing/2014/main" id="{122505A0-011B-4B6A-B1E5-4E67B987548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57797" y="4265959"/>
            <a:ext cx="972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1436" name="Espace réservé du texte 528">
            <a:extLst>
              <a:ext uri="{FF2B5EF4-FFF2-40B4-BE49-F238E27FC236}">
                <a16:creationId xmlns:a16="http://schemas.microsoft.com/office/drawing/2014/main" id="{FA2FD6D6-E4AA-4328-9FAB-C95B52D0740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527881" y="4265959"/>
            <a:ext cx="972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rgbClr val="3A1B0B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1437" name="Espace réservé du texte 530">
            <a:extLst>
              <a:ext uri="{FF2B5EF4-FFF2-40B4-BE49-F238E27FC236}">
                <a16:creationId xmlns:a16="http://schemas.microsoft.com/office/drawing/2014/main" id="{08A6D908-22E3-475D-AFD6-C01F2E5AFFB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44353" y="491319"/>
            <a:ext cx="2190214" cy="3455711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1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Niveau 2</a:t>
            </a:r>
          </a:p>
        </p:txBody>
      </p:sp>
      <p:sp>
        <p:nvSpPr>
          <p:cNvPr id="531" name="Espace réservé du numéro de diapositive 530">
            <a:extLst>
              <a:ext uri="{FF2B5EF4-FFF2-40B4-BE49-F238E27FC236}">
                <a16:creationId xmlns:a16="http://schemas.microsoft.com/office/drawing/2014/main" id="{88C86476-5A7E-47D7-A0E9-020EE06E65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00800" y="0"/>
            <a:ext cx="594090" cy="2665951"/>
          </a:xfrm>
          <a:custGeom>
            <a:avLst/>
            <a:gdLst>
              <a:gd name="connsiteX0" fmla="*/ 0 w 594090"/>
              <a:gd name="connsiteY0" fmla="*/ 0 h 2665951"/>
              <a:gd name="connsiteX1" fmla="*/ 594090 w 594090"/>
              <a:gd name="connsiteY1" fmla="*/ 0 h 2665951"/>
              <a:gd name="connsiteX2" fmla="*/ 367119 w 594090"/>
              <a:gd name="connsiteY2" fmla="*/ 2665951 h 2665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94090" h="2665951">
                <a:moveTo>
                  <a:pt x="0" y="0"/>
                </a:moveTo>
                <a:lnTo>
                  <a:pt x="594090" y="0"/>
                </a:lnTo>
                <a:lnTo>
                  <a:pt x="367119" y="2665951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180000" rIns="0" bIns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1892955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ur une ligne + Conten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Espace réservé du numéro de diapositive 129">
            <a:extLst>
              <a:ext uri="{FF2B5EF4-FFF2-40B4-BE49-F238E27FC236}">
                <a16:creationId xmlns:a16="http://schemas.microsoft.com/office/drawing/2014/main" id="{62EE913C-626B-433C-BC1F-844371E1C2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9681" y="3148262"/>
            <a:ext cx="444626" cy="1995238"/>
          </a:xfrm>
          <a:custGeom>
            <a:avLst/>
            <a:gdLst>
              <a:gd name="connsiteX0" fmla="*/ 169868 w 444626"/>
              <a:gd name="connsiteY0" fmla="*/ 0 h 1995238"/>
              <a:gd name="connsiteX1" fmla="*/ 444626 w 444626"/>
              <a:gd name="connsiteY1" fmla="*/ 1995238 h 1995238"/>
              <a:gd name="connsiteX2" fmla="*/ 0 w 444626"/>
              <a:gd name="connsiteY2" fmla="*/ 1995238 h 1995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4626" h="1995238">
                <a:moveTo>
                  <a:pt x="169868" y="0"/>
                </a:moveTo>
                <a:lnTo>
                  <a:pt x="444626" y="1995238"/>
                </a:lnTo>
                <a:lnTo>
                  <a:pt x="0" y="199523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180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138" name="Forme libre : forme 137">
            <a:extLst>
              <a:ext uri="{FF2B5EF4-FFF2-40B4-BE49-F238E27FC236}">
                <a16:creationId xmlns:a16="http://schemas.microsoft.com/office/drawing/2014/main" id="{0FDE4FE4-FDFC-41B3-BDA4-CE918EEAE71E}"/>
              </a:ext>
            </a:extLst>
          </p:cNvPr>
          <p:cNvSpPr/>
          <p:nvPr userDrawn="1"/>
        </p:nvSpPr>
        <p:spPr>
          <a:xfrm>
            <a:off x="629550" y="0"/>
            <a:ext cx="8514451" cy="5143499"/>
          </a:xfrm>
          <a:custGeom>
            <a:avLst/>
            <a:gdLst>
              <a:gd name="connsiteX0" fmla="*/ 689595 w 8514451"/>
              <a:gd name="connsiteY0" fmla="*/ 884098 h 5143499"/>
              <a:gd name="connsiteX1" fmla="*/ 689595 w 8514451"/>
              <a:gd name="connsiteY1" fmla="*/ 929817 h 5143499"/>
              <a:gd name="connsiteX2" fmla="*/ 1049595 w 8514451"/>
              <a:gd name="connsiteY2" fmla="*/ 929817 h 5143499"/>
              <a:gd name="connsiteX3" fmla="*/ 1049595 w 8514451"/>
              <a:gd name="connsiteY3" fmla="*/ 884098 h 5143499"/>
              <a:gd name="connsiteX4" fmla="*/ 268034 w 8514451"/>
              <a:gd name="connsiteY4" fmla="*/ 0 h 5143499"/>
              <a:gd name="connsiteX5" fmla="*/ 8514451 w 8514451"/>
              <a:gd name="connsiteY5" fmla="*/ 0 h 5143499"/>
              <a:gd name="connsiteX6" fmla="*/ 8514451 w 8514451"/>
              <a:gd name="connsiteY6" fmla="*/ 5143499 h 5143499"/>
              <a:gd name="connsiteX7" fmla="*/ 274758 w 8514451"/>
              <a:gd name="connsiteY7" fmla="*/ 5143499 h 5143499"/>
              <a:gd name="connsiteX8" fmla="*/ 0 w 8514451"/>
              <a:gd name="connsiteY8" fmla="*/ 3148262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514451" h="5143499">
                <a:moveTo>
                  <a:pt x="689595" y="884098"/>
                </a:moveTo>
                <a:lnTo>
                  <a:pt x="689595" y="929817"/>
                </a:lnTo>
                <a:lnTo>
                  <a:pt x="1049595" y="929817"/>
                </a:lnTo>
                <a:lnTo>
                  <a:pt x="1049595" y="884098"/>
                </a:lnTo>
                <a:close/>
                <a:moveTo>
                  <a:pt x="268034" y="0"/>
                </a:moveTo>
                <a:lnTo>
                  <a:pt x="8514451" y="0"/>
                </a:lnTo>
                <a:lnTo>
                  <a:pt x="8514451" y="5143499"/>
                </a:lnTo>
                <a:lnTo>
                  <a:pt x="274758" y="5143499"/>
                </a:lnTo>
                <a:lnTo>
                  <a:pt x="0" y="31482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48DF42C1-5220-478C-ABAC-92E468D673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Titre de la slide sur une ligne</a:t>
            </a:r>
          </a:p>
        </p:txBody>
      </p:sp>
      <p:sp>
        <p:nvSpPr>
          <p:cNvPr id="9" name="Forme libre : forme 8">
            <a:extLst>
              <a:ext uri="{FF2B5EF4-FFF2-40B4-BE49-F238E27FC236}">
                <a16:creationId xmlns:a16="http://schemas.microsoft.com/office/drawing/2014/main" id="{4100D4C0-1B0B-4813-97B4-727B3F07A2B3}"/>
              </a:ext>
            </a:extLst>
          </p:cNvPr>
          <p:cNvSpPr/>
          <p:nvPr/>
        </p:nvSpPr>
        <p:spPr>
          <a:xfrm rot="8716295">
            <a:off x="617786" y="1780350"/>
            <a:ext cx="152726" cy="195873"/>
          </a:xfrm>
          <a:custGeom>
            <a:avLst/>
            <a:gdLst>
              <a:gd name="connsiteX0" fmla="*/ 39589 w 152726"/>
              <a:gd name="connsiteY0" fmla="*/ 195873 h 195873"/>
              <a:gd name="connsiteX1" fmla="*/ 0 w 152726"/>
              <a:gd name="connsiteY1" fmla="*/ 122219 h 195873"/>
              <a:gd name="connsiteX2" fmla="*/ 101089 w 152726"/>
              <a:gd name="connsiteY2" fmla="*/ 0 h 195873"/>
              <a:gd name="connsiteX3" fmla="*/ 152726 w 152726"/>
              <a:gd name="connsiteY3" fmla="*/ 0 h 195873"/>
              <a:gd name="connsiteX4" fmla="*/ 152726 w 152726"/>
              <a:gd name="connsiteY4" fmla="*/ 55323 h 195873"/>
              <a:gd name="connsiteX5" fmla="*/ 87934 w 152726"/>
              <a:gd name="connsiteY5" fmla="*/ 55323 h 195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2726" h="195873">
                <a:moveTo>
                  <a:pt x="39589" y="195873"/>
                </a:moveTo>
                <a:lnTo>
                  <a:pt x="0" y="122219"/>
                </a:lnTo>
                <a:lnTo>
                  <a:pt x="101089" y="0"/>
                </a:lnTo>
                <a:lnTo>
                  <a:pt x="152726" y="0"/>
                </a:lnTo>
                <a:lnTo>
                  <a:pt x="152726" y="55323"/>
                </a:lnTo>
                <a:lnTo>
                  <a:pt x="87934" y="5532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" name="Forme libre : forme 9">
            <a:extLst>
              <a:ext uri="{FF2B5EF4-FFF2-40B4-BE49-F238E27FC236}">
                <a16:creationId xmlns:a16="http://schemas.microsoft.com/office/drawing/2014/main" id="{CB9A2237-374C-411A-AB62-0191ED80FFE2}"/>
              </a:ext>
            </a:extLst>
          </p:cNvPr>
          <p:cNvSpPr/>
          <p:nvPr/>
        </p:nvSpPr>
        <p:spPr>
          <a:xfrm rot="8716295">
            <a:off x="534441" y="1654353"/>
            <a:ext cx="262864" cy="103234"/>
          </a:xfrm>
          <a:custGeom>
            <a:avLst/>
            <a:gdLst>
              <a:gd name="connsiteX0" fmla="*/ 0 w 262864"/>
              <a:gd name="connsiteY0" fmla="*/ 75341 h 103234"/>
              <a:gd name="connsiteX1" fmla="*/ 62316 w 262864"/>
              <a:gd name="connsiteY1" fmla="*/ 0 h 103234"/>
              <a:gd name="connsiteX2" fmla="*/ 65768 w 262864"/>
              <a:gd name="connsiteY2" fmla="*/ 14220 h 103234"/>
              <a:gd name="connsiteX3" fmla="*/ 136369 w 262864"/>
              <a:gd name="connsiteY3" fmla="*/ 53051 h 103234"/>
              <a:gd name="connsiteX4" fmla="*/ 189321 w 262864"/>
              <a:gd name="connsiteY4" fmla="*/ 43637 h 103234"/>
              <a:gd name="connsiteX5" fmla="*/ 261688 w 262864"/>
              <a:gd name="connsiteY5" fmla="*/ 14220 h 103234"/>
              <a:gd name="connsiteX6" fmla="*/ 262864 w 262864"/>
              <a:gd name="connsiteY6" fmla="*/ 21868 h 103234"/>
              <a:gd name="connsiteX7" fmla="*/ 262864 w 262864"/>
              <a:gd name="connsiteY7" fmla="*/ 27752 h 103234"/>
              <a:gd name="connsiteX8" fmla="*/ 69887 w 262864"/>
              <a:gd name="connsiteY8" fmla="*/ 103060 h 103234"/>
              <a:gd name="connsiteX9" fmla="*/ 30615 w 262864"/>
              <a:gd name="connsiteY9" fmla="*/ 96294 h 1032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2864" h="103234">
                <a:moveTo>
                  <a:pt x="0" y="75341"/>
                </a:moveTo>
                <a:lnTo>
                  <a:pt x="62316" y="0"/>
                </a:lnTo>
                <a:lnTo>
                  <a:pt x="65768" y="14220"/>
                </a:lnTo>
                <a:cubicBezTo>
                  <a:pt x="75182" y="40107"/>
                  <a:pt x="99304" y="53051"/>
                  <a:pt x="136369" y="53051"/>
                </a:cubicBezTo>
                <a:cubicBezTo>
                  <a:pt x="154609" y="52462"/>
                  <a:pt x="172259" y="48932"/>
                  <a:pt x="189321" y="43637"/>
                </a:cubicBezTo>
                <a:cubicBezTo>
                  <a:pt x="214031" y="35988"/>
                  <a:pt x="238154" y="25987"/>
                  <a:pt x="261688" y="14220"/>
                </a:cubicBezTo>
                <a:cubicBezTo>
                  <a:pt x="262276" y="16573"/>
                  <a:pt x="262864" y="19515"/>
                  <a:pt x="262864" y="21868"/>
                </a:cubicBezTo>
                <a:lnTo>
                  <a:pt x="262864" y="27752"/>
                </a:lnTo>
                <a:cubicBezTo>
                  <a:pt x="200500" y="81291"/>
                  <a:pt x="118719" y="100119"/>
                  <a:pt x="69887" y="103060"/>
                </a:cubicBezTo>
                <a:cubicBezTo>
                  <a:pt x="56355" y="103943"/>
                  <a:pt x="42970" y="101442"/>
                  <a:pt x="30615" y="96294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" name="Forme libre : forme 10">
            <a:extLst>
              <a:ext uri="{FF2B5EF4-FFF2-40B4-BE49-F238E27FC236}">
                <a16:creationId xmlns:a16="http://schemas.microsoft.com/office/drawing/2014/main" id="{8F8A3734-3F77-44C7-9A38-570198540CBC}"/>
              </a:ext>
            </a:extLst>
          </p:cNvPr>
          <p:cNvSpPr/>
          <p:nvPr/>
        </p:nvSpPr>
        <p:spPr>
          <a:xfrm rot="8716295">
            <a:off x="632719" y="1232432"/>
            <a:ext cx="121558" cy="232388"/>
          </a:xfrm>
          <a:custGeom>
            <a:avLst/>
            <a:gdLst>
              <a:gd name="connsiteX0" fmla="*/ 60499 w 121558"/>
              <a:gd name="connsiteY0" fmla="*/ 232388 h 232388"/>
              <a:gd name="connsiteX1" fmla="*/ 60499 w 121558"/>
              <a:gd name="connsiteY1" fmla="*/ 69717 h 232388"/>
              <a:gd name="connsiteX2" fmla="*/ 60499 w 121558"/>
              <a:gd name="connsiteY2" fmla="*/ 65615 h 232388"/>
              <a:gd name="connsiteX3" fmla="*/ 39995 w 121558"/>
              <a:gd name="connsiteY3" fmla="*/ 50123 h 232388"/>
              <a:gd name="connsiteX4" fmla="*/ 0 w 121558"/>
              <a:gd name="connsiteY4" fmla="*/ 50123 h 232388"/>
              <a:gd name="connsiteX5" fmla="*/ 41457 w 121558"/>
              <a:gd name="connsiteY5" fmla="*/ 0 h 232388"/>
              <a:gd name="connsiteX6" fmla="*/ 64601 w 121558"/>
              <a:gd name="connsiteY6" fmla="*/ 0 h 232388"/>
              <a:gd name="connsiteX7" fmla="*/ 121558 w 121558"/>
              <a:gd name="connsiteY7" fmla="*/ 50123 h 232388"/>
              <a:gd name="connsiteX8" fmla="*/ 121558 w 121558"/>
              <a:gd name="connsiteY8" fmla="*/ 208238 h 232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558" h="232388">
                <a:moveTo>
                  <a:pt x="60499" y="232388"/>
                </a:moveTo>
                <a:lnTo>
                  <a:pt x="60499" y="69717"/>
                </a:lnTo>
                <a:cubicBezTo>
                  <a:pt x="60499" y="68349"/>
                  <a:pt x="60499" y="66983"/>
                  <a:pt x="60499" y="65615"/>
                </a:cubicBezTo>
                <a:cubicBezTo>
                  <a:pt x="59133" y="55591"/>
                  <a:pt x="50019" y="48756"/>
                  <a:pt x="39995" y="50123"/>
                </a:cubicBezTo>
                <a:lnTo>
                  <a:pt x="0" y="50123"/>
                </a:lnTo>
                <a:lnTo>
                  <a:pt x="41457" y="0"/>
                </a:lnTo>
                <a:lnTo>
                  <a:pt x="64601" y="0"/>
                </a:lnTo>
                <a:cubicBezTo>
                  <a:pt x="101509" y="0"/>
                  <a:pt x="121558" y="15948"/>
                  <a:pt x="121558" y="50123"/>
                </a:cubicBezTo>
                <a:lnTo>
                  <a:pt x="121558" y="208238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" name="Forme libre : forme 11">
            <a:extLst>
              <a:ext uri="{FF2B5EF4-FFF2-40B4-BE49-F238E27FC236}">
                <a16:creationId xmlns:a16="http://schemas.microsoft.com/office/drawing/2014/main" id="{70856B7B-717B-4AEA-95A4-A1E79A999538}"/>
              </a:ext>
            </a:extLst>
          </p:cNvPr>
          <p:cNvSpPr/>
          <p:nvPr/>
        </p:nvSpPr>
        <p:spPr>
          <a:xfrm rot="8716295">
            <a:off x="763454" y="1474783"/>
            <a:ext cx="14143" cy="14319"/>
          </a:xfrm>
          <a:custGeom>
            <a:avLst/>
            <a:gdLst>
              <a:gd name="connsiteX0" fmla="*/ 0 w 14143"/>
              <a:gd name="connsiteY0" fmla="*/ 14319 h 14319"/>
              <a:gd name="connsiteX1" fmla="*/ 11843 w 14143"/>
              <a:gd name="connsiteY1" fmla="*/ 0 h 14319"/>
              <a:gd name="connsiteX2" fmla="*/ 14143 w 14143"/>
              <a:gd name="connsiteY2" fmla="*/ 7563 h 14319"/>
              <a:gd name="connsiteX3" fmla="*/ 14143 w 14143"/>
              <a:gd name="connsiteY3" fmla="*/ 13487 h 143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143" h="14319">
                <a:moveTo>
                  <a:pt x="0" y="14319"/>
                </a:moveTo>
                <a:lnTo>
                  <a:pt x="11843" y="0"/>
                </a:lnTo>
                <a:lnTo>
                  <a:pt x="14143" y="7563"/>
                </a:lnTo>
                <a:lnTo>
                  <a:pt x="14143" y="13487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3E264A51-6081-4342-94AB-E5098D8BEE47}"/>
              </a:ext>
            </a:extLst>
          </p:cNvPr>
          <p:cNvSpPr/>
          <p:nvPr/>
        </p:nvSpPr>
        <p:spPr>
          <a:xfrm rot="8716295">
            <a:off x="672878" y="1171577"/>
            <a:ext cx="183964" cy="137618"/>
          </a:xfrm>
          <a:custGeom>
            <a:avLst/>
            <a:gdLst>
              <a:gd name="connsiteX0" fmla="*/ 0 w 183964"/>
              <a:gd name="connsiteY0" fmla="*/ 137618 h 137618"/>
              <a:gd name="connsiteX1" fmla="*/ 53346 w 183964"/>
              <a:gd name="connsiteY1" fmla="*/ 73121 h 137618"/>
              <a:gd name="connsiteX2" fmla="*/ 101034 w 183964"/>
              <a:gd name="connsiteY2" fmla="*/ 28251 h 137618"/>
              <a:gd name="connsiteX3" fmla="*/ 155713 w 183964"/>
              <a:gd name="connsiteY3" fmla="*/ 0 h 137618"/>
              <a:gd name="connsiteX4" fmla="*/ 183964 w 183964"/>
              <a:gd name="connsiteY4" fmla="*/ 33719 h 137618"/>
              <a:gd name="connsiteX5" fmla="*/ 157536 w 183964"/>
              <a:gd name="connsiteY5" fmla="*/ 69261 h 137618"/>
              <a:gd name="connsiteX6" fmla="*/ 157991 w 183964"/>
              <a:gd name="connsiteY6" fmla="*/ 69261 h 137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3964" h="137618">
                <a:moveTo>
                  <a:pt x="0" y="137618"/>
                </a:moveTo>
                <a:lnTo>
                  <a:pt x="53346" y="73121"/>
                </a:lnTo>
                <a:lnTo>
                  <a:pt x="101034" y="28251"/>
                </a:lnTo>
                <a:cubicBezTo>
                  <a:pt x="114703" y="12303"/>
                  <a:pt x="134297" y="2278"/>
                  <a:pt x="155713" y="0"/>
                </a:cubicBezTo>
                <a:cubicBezTo>
                  <a:pt x="177585" y="0"/>
                  <a:pt x="183964" y="19138"/>
                  <a:pt x="183964" y="33719"/>
                </a:cubicBezTo>
                <a:cubicBezTo>
                  <a:pt x="182597" y="49667"/>
                  <a:pt x="172117" y="62881"/>
                  <a:pt x="157536" y="69261"/>
                </a:cubicBezTo>
                <a:lnTo>
                  <a:pt x="157991" y="69261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03D4C536-74A8-424A-B4F4-647CD66813A6}"/>
              </a:ext>
            </a:extLst>
          </p:cNvPr>
          <p:cNvSpPr/>
          <p:nvPr/>
        </p:nvSpPr>
        <p:spPr>
          <a:xfrm rot="8716295">
            <a:off x="519479" y="1314846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5" name="Forme libre : forme 14">
            <a:extLst>
              <a:ext uri="{FF2B5EF4-FFF2-40B4-BE49-F238E27FC236}">
                <a16:creationId xmlns:a16="http://schemas.microsoft.com/office/drawing/2014/main" id="{6C726A65-5764-428F-B78B-B207E19CC8A7}"/>
              </a:ext>
            </a:extLst>
          </p:cNvPr>
          <p:cNvSpPr/>
          <p:nvPr/>
        </p:nvSpPr>
        <p:spPr>
          <a:xfrm rot="8716295">
            <a:off x="394576" y="1106173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6" name="Forme libre : forme 15">
            <a:extLst>
              <a:ext uri="{FF2B5EF4-FFF2-40B4-BE49-F238E27FC236}">
                <a16:creationId xmlns:a16="http://schemas.microsoft.com/office/drawing/2014/main" id="{B057F75B-3923-494B-B65B-A96E682E21D4}"/>
              </a:ext>
            </a:extLst>
          </p:cNvPr>
          <p:cNvSpPr/>
          <p:nvPr/>
        </p:nvSpPr>
        <p:spPr>
          <a:xfrm rot="8716295">
            <a:off x="382524" y="967393"/>
            <a:ext cx="288290" cy="347125"/>
          </a:xfrm>
          <a:custGeom>
            <a:avLst/>
            <a:gdLst>
              <a:gd name="connsiteX0" fmla="*/ 470535 w 466725"/>
              <a:gd name="connsiteY0" fmla="*/ 436245 h 561975"/>
              <a:gd name="connsiteX1" fmla="*/ 470535 w 466725"/>
              <a:gd name="connsiteY1" fmla="*/ 445770 h 561975"/>
              <a:gd name="connsiteX2" fmla="*/ 158115 w 466725"/>
              <a:gd name="connsiteY2" fmla="*/ 567690 h 561975"/>
              <a:gd name="connsiteX3" fmla="*/ 40957 w 466725"/>
              <a:gd name="connsiteY3" fmla="*/ 520065 h 561975"/>
              <a:gd name="connsiteX4" fmla="*/ 0 w 466725"/>
              <a:gd name="connsiteY4" fmla="*/ 356235 h 561975"/>
              <a:gd name="connsiteX5" fmla="*/ 0 w 466725"/>
              <a:gd name="connsiteY5" fmla="*/ 65723 h 561975"/>
              <a:gd name="connsiteX6" fmla="*/ 126682 w 466725"/>
              <a:gd name="connsiteY6" fmla="*/ 0 h 561975"/>
              <a:gd name="connsiteX7" fmla="*/ 128588 w 466725"/>
              <a:gd name="connsiteY7" fmla="*/ 265748 h 561975"/>
              <a:gd name="connsiteX8" fmla="*/ 151447 w 466725"/>
              <a:gd name="connsiteY8" fmla="*/ 423863 h 561975"/>
              <a:gd name="connsiteX9" fmla="*/ 265747 w 466725"/>
              <a:gd name="connsiteY9" fmla="*/ 486728 h 561975"/>
              <a:gd name="connsiteX10" fmla="*/ 351472 w 466725"/>
              <a:gd name="connsiteY10" fmla="*/ 471488 h 561975"/>
              <a:gd name="connsiteX11" fmla="*/ 468630 w 466725"/>
              <a:gd name="connsiteY11" fmla="*/ 423863 h 561975"/>
              <a:gd name="connsiteX12" fmla="*/ 470535 w 466725"/>
              <a:gd name="connsiteY12" fmla="*/ 436245 h 56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6725" h="561975">
                <a:moveTo>
                  <a:pt x="470535" y="436245"/>
                </a:moveTo>
                <a:lnTo>
                  <a:pt x="470535" y="445770"/>
                </a:lnTo>
                <a:cubicBezTo>
                  <a:pt x="369570" y="532448"/>
                  <a:pt x="237172" y="562928"/>
                  <a:pt x="158115" y="567690"/>
                </a:cubicBezTo>
                <a:cubicBezTo>
                  <a:pt x="114300" y="570548"/>
                  <a:pt x="71438" y="551498"/>
                  <a:pt x="40957" y="520065"/>
                </a:cubicBezTo>
                <a:cubicBezTo>
                  <a:pt x="8572" y="488633"/>
                  <a:pt x="0" y="434340"/>
                  <a:pt x="0" y="356235"/>
                </a:cubicBezTo>
                <a:lnTo>
                  <a:pt x="0" y="65723"/>
                </a:lnTo>
                <a:lnTo>
                  <a:pt x="126682" y="0"/>
                </a:lnTo>
                <a:lnTo>
                  <a:pt x="128588" y="265748"/>
                </a:lnTo>
                <a:cubicBezTo>
                  <a:pt x="125730" y="319088"/>
                  <a:pt x="134302" y="373380"/>
                  <a:pt x="151447" y="423863"/>
                </a:cubicBezTo>
                <a:cubicBezTo>
                  <a:pt x="166688" y="465773"/>
                  <a:pt x="205740" y="486728"/>
                  <a:pt x="265747" y="486728"/>
                </a:cubicBezTo>
                <a:cubicBezTo>
                  <a:pt x="295275" y="485775"/>
                  <a:pt x="323850" y="480060"/>
                  <a:pt x="351472" y="471488"/>
                </a:cubicBezTo>
                <a:cubicBezTo>
                  <a:pt x="391477" y="459105"/>
                  <a:pt x="430530" y="442913"/>
                  <a:pt x="468630" y="423863"/>
                </a:cubicBezTo>
                <a:cubicBezTo>
                  <a:pt x="469582" y="427673"/>
                  <a:pt x="470535" y="432435"/>
                  <a:pt x="470535" y="43624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7" name="Forme libre : forme 16">
            <a:extLst>
              <a:ext uri="{FF2B5EF4-FFF2-40B4-BE49-F238E27FC236}">
                <a16:creationId xmlns:a16="http://schemas.microsoft.com/office/drawing/2014/main" id="{B57FA1DB-CF40-4C3B-8603-B0C589DE9032}"/>
              </a:ext>
            </a:extLst>
          </p:cNvPr>
          <p:cNvSpPr/>
          <p:nvPr/>
        </p:nvSpPr>
        <p:spPr>
          <a:xfrm rot="8716295">
            <a:off x="609657" y="1355798"/>
            <a:ext cx="100246" cy="218718"/>
          </a:xfrm>
          <a:custGeom>
            <a:avLst/>
            <a:gdLst>
              <a:gd name="connsiteX0" fmla="*/ 216217 w 209550"/>
              <a:gd name="connsiteY0" fmla="*/ 0 h 457200"/>
              <a:gd name="connsiteX1" fmla="*/ 216217 w 209550"/>
              <a:gd name="connsiteY1" fmla="*/ 458153 h 457200"/>
              <a:gd name="connsiteX2" fmla="*/ 90488 w 209550"/>
              <a:gd name="connsiteY2" fmla="*/ 337185 h 457200"/>
              <a:gd name="connsiteX3" fmla="*/ 90488 w 209550"/>
              <a:gd name="connsiteY3" fmla="*/ 34290 h 457200"/>
              <a:gd name="connsiteX4" fmla="*/ 0 w 209550"/>
              <a:gd name="connsiteY4" fmla="*/ 34290 h 457200"/>
              <a:gd name="connsiteX5" fmla="*/ 0 w 209550"/>
              <a:gd name="connsiteY5" fmla="*/ 4763 h 457200"/>
              <a:gd name="connsiteX6" fmla="*/ 216217 w 209550"/>
              <a:gd name="connsiteY6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9550" h="457200">
                <a:moveTo>
                  <a:pt x="216217" y="0"/>
                </a:moveTo>
                <a:lnTo>
                  <a:pt x="216217" y="458153"/>
                </a:lnTo>
                <a:lnTo>
                  <a:pt x="90488" y="337185"/>
                </a:lnTo>
                <a:lnTo>
                  <a:pt x="90488" y="34290"/>
                </a:lnTo>
                <a:lnTo>
                  <a:pt x="0" y="34290"/>
                </a:lnTo>
                <a:lnTo>
                  <a:pt x="0" y="4763"/>
                </a:lnTo>
                <a:cubicBezTo>
                  <a:pt x="68580" y="7620"/>
                  <a:pt x="140017" y="1905"/>
                  <a:pt x="216217" y="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8" name="Forme libre : forme 17">
            <a:extLst>
              <a:ext uri="{FF2B5EF4-FFF2-40B4-BE49-F238E27FC236}">
                <a16:creationId xmlns:a16="http://schemas.microsoft.com/office/drawing/2014/main" id="{8AA6873E-3CFC-4928-9C0D-5E1C199A6A43}"/>
              </a:ext>
            </a:extLst>
          </p:cNvPr>
          <p:cNvSpPr/>
          <p:nvPr/>
        </p:nvSpPr>
        <p:spPr>
          <a:xfrm rot="8716295">
            <a:off x="683426" y="869567"/>
            <a:ext cx="156000" cy="195873"/>
          </a:xfrm>
          <a:custGeom>
            <a:avLst/>
            <a:gdLst>
              <a:gd name="connsiteX0" fmla="*/ 42863 w 156000"/>
              <a:gd name="connsiteY0" fmla="*/ 195873 h 195873"/>
              <a:gd name="connsiteX1" fmla="*/ 0 w 156000"/>
              <a:gd name="connsiteY1" fmla="*/ 116129 h 195873"/>
              <a:gd name="connsiteX2" fmla="*/ 5100 w 156000"/>
              <a:gd name="connsiteY2" fmla="*/ 101988 h 195873"/>
              <a:gd name="connsiteX3" fmla="*/ 89456 w 156000"/>
              <a:gd name="connsiteY3" fmla="*/ 0 h 195873"/>
              <a:gd name="connsiteX4" fmla="*/ 156000 w 156000"/>
              <a:gd name="connsiteY4" fmla="*/ 0 h 195873"/>
              <a:gd name="connsiteX5" fmla="*/ 156000 w 156000"/>
              <a:gd name="connsiteY5" fmla="*/ 55323 h 195873"/>
              <a:gd name="connsiteX6" fmla="*/ 91208 w 156000"/>
              <a:gd name="connsiteY6" fmla="*/ 55323 h 195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6000" h="195873">
                <a:moveTo>
                  <a:pt x="42863" y="195873"/>
                </a:moveTo>
                <a:lnTo>
                  <a:pt x="0" y="116129"/>
                </a:lnTo>
                <a:lnTo>
                  <a:pt x="5100" y="101988"/>
                </a:lnTo>
                <a:lnTo>
                  <a:pt x="89456" y="0"/>
                </a:lnTo>
                <a:lnTo>
                  <a:pt x="156000" y="0"/>
                </a:lnTo>
                <a:lnTo>
                  <a:pt x="156000" y="55323"/>
                </a:lnTo>
                <a:lnTo>
                  <a:pt x="91208" y="5532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9" name="Forme libre : forme 18">
            <a:extLst>
              <a:ext uri="{FF2B5EF4-FFF2-40B4-BE49-F238E27FC236}">
                <a16:creationId xmlns:a16="http://schemas.microsoft.com/office/drawing/2014/main" id="{0609DC7B-52A5-4494-9388-1386F1B7ECA0}"/>
              </a:ext>
            </a:extLst>
          </p:cNvPr>
          <p:cNvSpPr/>
          <p:nvPr/>
        </p:nvSpPr>
        <p:spPr>
          <a:xfrm rot="8716295">
            <a:off x="657305" y="956046"/>
            <a:ext cx="72447" cy="72447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0" name="Forme libre : forme 19">
            <a:extLst>
              <a:ext uri="{FF2B5EF4-FFF2-40B4-BE49-F238E27FC236}">
                <a16:creationId xmlns:a16="http://schemas.microsoft.com/office/drawing/2014/main" id="{FA9B5438-F371-4C5C-851A-CA35F035D933}"/>
              </a:ext>
            </a:extLst>
          </p:cNvPr>
          <p:cNvSpPr/>
          <p:nvPr/>
        </p:nvSpPr>
        <p:spPr>
          <a:xfrm rot="8716295">
            <a:off x="412774" y="564244"/>
            <a:ext cx="141256" cy="232388"/>
          </a:xfrm>
          <a:custGeom>
            <a:avLst/>
            <a:gdLst>
              <a:gd name="connsiteX0" fmla="*/ 297180 w 295275"/>
              <a:gd name="connsiteY0" fmla="*/ 104775 h 485775"/>
              <a:gd name="connsiteX1" fmla="*/ 297180 w 295275"/>
              <a:gd name="connsiteY1" fmla="*/ 435293 h 485775"/>
              <a:gd name="connsiteX2" fmla="*/ 169545 w 295275"/>
              <a:gd name="connsiteY2" fmla="*/ 485775 h 485775"/>
              <a:gd name="connsiteX3" fmla="*/ 169545 w 295275"/>
              <a:gd name="connsiteY3" fmla="*/ 145733 h 485775"/>
              <a:gd name="connsiteX4" fmla="*/ 169545 w 295275"/>
              <a:gd name="connsiteY4" fmla="*/ 137160 h 485775"/>
              <a:gd name="connsiteX5" fmla="*/ 126683 w 295275"/>
              <a:gd name="connsiteY5" fmla="*/ 104775 h 485775"/>
              <a:gd name="connsiteX6" fmla="*/ 0 w 295275"/>
              <a:gd name="connsiteY6" fmla="*/ 104775 h 485775"/>
              <a:gd name="connsiteX7" fmla="*/ 0 w 295275"/>
              <a:gd name="connsiteY7" fmla="*/ 0 h 485775"/>
              <a:gd name="connsiteX8" fmla="*/ 178118 w 295275"/>
              <a:gd name="connsiteY8" fmla="*/ 0 h 485775"/>
              <a:gd name="connsiteX9" fmla="*/ 297180 w 295275"/>
              <a:gd name="connsiteY9" fmla="*/ 104775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95275" h="485775">
                <a:moveTo>
                  <a:pt x="297180" y="104775"/>
                </a:moveTo>
                <a:lnTo>
                  <a:pt x="297180" y="435293"/>
                </a:lnTo>
                <a:lnTo>
                  <a:pt x="169545" y="485775"/>
                </a:lnTo>
                <a:lnTo>
                  <a:pt x="169545" y="145733"/>
                </a:lnTo>
                <a:cubicBezTo>
                  <a:pt x="169545" y="142875"/>
                  <a:pt x="169545" y="140018"/>
                  <a:pt x="169545" y="137160"/>
                </a:cubicBezTo>
                <a:cubicBezTo>
                  <a:pt x="166688" y="116205"/>
                  <a:pt x="147638" y="101918"/>
                  <a:pt x="126683" y="104775"/>
                </a:cubicBezTo>
                <a:lnTo>
                  <a:pt x="0" y="104775"/>
                </a:lnTo>
                <a:lnTo>
                  <a:pt x="0" y="0"/>
                </a:lnTo>
                <a:lnTo>
                  <a:pt x="178118" y="0"/>
                </a:lnTo>
                <a:cubicBezTo>
                  <a:pt x="255270" y="0"/>
                  <a:pt x="297180" y="33338"/>
                  <a:pt x="297180" y="10477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1" name="Forme libre : forme 20">
            <a:extLst>
              <a:ext uri="{FF2B5EF4-FFF2-40B4-BE49-F238E27FC236}">
                <a16:creationId xmlns:a16="http://schemas.microsoft.com/office/drawing/2014/main" id="{ED2997EF-2C09-4DA3-BB88-8DA5032A40C8}"/>
              </a:ext>
            </a:extLst>
          </p:cNvPr>
          <p:cNvSpPr/>
          <p:nvPr/>
        </p:nvSpPr>
        <p:spPr>
          <a:xfrm rot="8716295">
            <a:off x="502166" y="593486"/>
            <a:ext cx="259728" cy="250615"/>
          </a:xfrm>
          <a:custGeom>
            <a:avLst/>
            <a:gdLst>
              <a:gd name="connsiteX0" fmla="*/ 544830 w 542925"/>
              <a:gd name="connsiteY0" fmla="*/ 184905 h 523875"/>
              <a:gd name="connsiteX1" fmla="*/ 544830 w 542925"/>
              <a:gd name="connsiteY1" fmla="*/ 197288 h 523875"/>
              <a:gd name="connsiteX2" fmla="*/ 415290 w 542925"/>
              <a:gd name="connsiteY2" fmla="*/ 204908 h 523875"/>
              <a:gd name="connsiteX3" fmla="*/ 415290 w 542925"/>
              <a:gd name="connsiteY3" fmla="*/ 170618 h 523875"/>
              <a:gd name="connsiteX4" fmla="*/ 344805 w 542925"/>
              <a:gd name="connsiteY4" fmla="*/ 83940 h 523875"/>
              <a:gd name="connsiteX5" fmla="*/ 233363 w 542925"/>
              <a:gd name="connsiteY5" fmla="*/ 266820 h 523875"/>
              <a:gd name="connsiteX6" fmla="*/ 233363 w 542925"/>
              <a:gd name="connsiteY6" fmla="*/ 446843 h 523875"/>
              <a:gd name="connsiteX7" fmla="*/ 107632 w 542925"/>
              <a:gd name="connsiteY7" fmla="*/ 532568 h 523875"/>
              <a:gd name="connsiteX8" fmla="*/ 107632 w 542925"/>
              <a:gd name="connsiteY8" fmla="*/ 95370 h 523875"/>
              <a:gd name="connsiteX9" fmla="*/ 0 w 542925"/>
              <a:gd name="connsiteY9" fmla="*/ 95370 h 523875"/>
              <a:gd name="connsiteX10" fmla="*/ 0 w 542925"/>
              <a:gd name="connsiteY10" fmla="*/ 2978 h 523875"/>
              <a:gd name="connsiteX11" fmla="*/ 219075 w 542925"/>
              <a:gd name="connsiteY11" fmla="*/ 2978 h 523875"/>
              <a:gd name="connsiteX12" fmla="*/ 219075 w 542925"/>
              <a:gd name="connsiteY12" fmla="*/ 157283 h 523875"/>
              <a:gd name="connsiteX13" fmla="*/ 221932 w 542925"/>
              <a:gd name="connsiteY13" fmla="*/ 157283 h 523875"/>
              <a:gd name="connsiteX14" fmla="*/ 321945 w 542925"/>
              <a:gd name="connsiteY14" fmla="*/ 12503 h 523875"/>
              <a:gd name="connsiteX15" fmla="*/ 387667 w 542925"/>
              <a:gd name="connsiteY15" fmla="*/ 120 h 523875"/>
              <a:gd name="connsiteX16" fmla="*/ 544830 w 542925"/>
              <a:gd name="connsiteY16" fmla="*/ 18490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42925" h="523875">
                <a:moveTo>
                  <a:pt x="544830" y="184905"/>
                </a:moveTo>
                <a:lnTo>
                  <a:pt x="544830" y="197288"/>
                </a:lnTo>
                <a:lnTo>
                  <a:pt x="415290" y="204908"/>
                </a:lnTo>
                <a:lnTo>
                  <a:pt x="415290" y="170618"/>
                </a:lnTo>
                <a:cubicBezTo>
                  <a:pt x="415290" y="119183"/>
                  <a:pt x="385763" y="83940"/>
                  <a:pt x="344805" y="83940"/>
                </a:cubicBezTo>
                <a:cubicBezTo>
                  <a:pt x="283845" y="83940"/>
                  <a:pt x="233363" y="164903"/>
                  <a:pt x="233363" y="266820"/>
                </a:cubicBezTo>
                <a:lnTo>
                  <a:pt x="233363" y="446843"/>
                </a:lnTo>
                <a:lnTo>
                  <a:pt x="107632" y="532568"/>
                </a:lnTo>
                <a:lnTo>
                  <a:pt x="107632" y="95370"/>
                </a:lnTo>
                <a:lnTo>
                  <a:pt x="0" y="95370"/>
                </a:lnTo>
                <a:lnTo>
                  <a:pt x="0" y="2978"/>
                </a:lnTo>
                <a:lnTo>
                  <a:pt x="219075" y="2978"/>
                </a:lnTo>
                <a:lnTo>
                  <a:pt x="219075" y="157283"/>
                </a:lnTo>
                <a:lnTo>
                  <a:pt x="221932" y="157283"/>
                </a:lnTo>
                <a:cubicBezTo>
                  <a:pt x="252413" y="66795"/>
                  <a:pt x="276225" y="31553"/>
                  <a:pt x="321945" y="12503"/>
                </a:cubicBezTo>
                <a:cubicBezTo>
                  <a:pt x="342900" y="3930"/>
                  <a:pt x="364807" y="-832"/>
                  <a:pt x="387667" y="120"/>
                </a:cubicBezTo>
                <a:cubicBezTo>
                  <a:pt x="485775" y="-1785"/>
                  <a:pt x="544830" y="66795"/>
                  <a:pt x="544830" y="18490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2" name="Forme libre : forme 21">
            <a:extLst>
              <a:ext uri="{FF2B5EF4-FFF2-40B4-BE49-F238E27FC236}">
                <a16:creationId xmlns:a16="http://schemas.microsoft.com/office/drawing/2014/main" id="{DBD136C4-820E-4184-B91F-ED5B5690DC24}"/>
              </a:ext>
            </a:extLst>
          </p:cNvPr>
          <p:cNvSpPr/>
          <p:nvPr/>
        </p:nvSpPr>
        <p:spPr>
          <a:xfrm rot="8716295">
            <a:off x="457316" y="507206"/>
            <a:ext cx="186822" cy="136699"/>
          </a:xfrm>
          <a:custGeom>
            <a:avLst/>
            <a:gdLst>
              <a:gd name="connsiteX0" fmla="*/ 343853 w 390525"/>
              <a:gd name="connsiteY0" fmla="*/ 144780 h 285750"/>
              <a:gd name="connsiteX1" fmla="*/ 344805 w 390525"/>
              <a:gd name="connsiteY1" fmla="*/ 144780 h 285750"/>
              <a:gd name="connsiteX2" fmla="*/ 12382 w 390525"/>
              <a:gd name="connsiteY2" fmla="*/ 288608 h 285750"/>
              <a:gd name="connsiteX3" fmla="*/ 0 w 390525"/>
              <a:gd name="connsiteY3" fmla="*/ 271463 h 285750"/>
              <a:gd name="connsiteX4" fmla="*/ 225743 w 390525"/>
              <a:gd name="connsiteY4" fmla="*/ 59055 h 285750"/>
              <a:gd name="connsiteX5" fmla="*/ 340043 w 390525"/>
              <a:gd name="connsiteY5" fmla="*/ 0 h 285750"/>
              <a:gd name="connsiteX6" fmla="*/ 399098 w 390525"/>
              <a:gd name="connsiteY6" fmla="*/ 70485 h 285750"/>
              <a:gd name="connsiteX7" fmla="*/ 343853 w 390525"/>
              <a:gd name="connsiteY7" fmla="*/ 14478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0525" h="285750">
                <a:moveTo>
                  <a:pt x="343853" y="144780"/>
                </a:moveTo>
                <a:lnTo>
                  <a:pt x="344805" y="144780"/>
                </a:lnTo>
                <a:lnTo>
                  <a:pt x="12382" y="288608"/>
                </a:lnTo>
                <a:lnTo>
                  <a:pt x="0" y="271463"/>
                </a:lnTo>
                <a:lnTo>
                  <a:pt x="225743" y="59055"/>
                </a:lnTo>
                <a:cubicBezTo>
                  <a:pt x="254318" y="25718"/>
                  <a:pt x="295275" y="4763"/>
                  <a:pt x="340043" y="0"/>
                </a:cubicBezTo>
                <a:cubicBezTo>
                  <a:pt x="385763" y="0"/>
                  <a:pt x="399098" y="40005"/>
                  <a:pt x="399098" y="70485"/>
                </a:cubicBezTo>
                <a:cubicBezTo>
                  <a:pt x="396240" y="103823"/>
                  <a:pt x="374332" y="131445"/>
                  <a:pt x="343853" y="14478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3" name="Forme libre : forme 22">
            <a:extLst>
              <a:ext uri="{FF2B5EF4-FFF2-40B4-BE49-F238E27FC236}">
                <a16:creationId xmlns:a16="http://schemas.microsoft.com/office/drawing/2014/main" id="{8BD8CCA9-A2C8-4634-B0CF-620A635CE67A}"/>
              </a:ext>
            </a:extLst>
          </p:cNvPr>
          <p:cNvSpPr/>
          <p:nvPr/>
        </p:nvSpPr>
        <p:spPr>
          <a:xfrm rot="8716295">
            <a:off x="300540" y="652788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4" name="Forme libre : forme 23">
            <a:extLst>
              <a:ext uri="{FF2B5EF4-FFF2-40B4-BE49-F238E27FC236}">
                <a16:creationId xmlns:a16="http://schemas.microsoft.com/office/drawing/2014/main" id="{33B24AF7-29F7-4408-AE25-97A38660E784}"/>
              </a:ext>
            </a:extLst>
          </p:cNvPr>
          <p:cNvSpPr/>
          <p:nvPr/>
        </p:nvSpPr>
        <p:spPr>
          <a:xfrm rot="8716295">
            <a:off x="175637" y="444115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5" name="Forme libre : forme 24">
            <a:extLst>
              <a:ext uri="{FF2B5EF4-FFF2-40B4-BE49-F238E27FC236}">
                <a16:creationId xmlns:a16="http://schemas.microsoft.com/office/drawing/2014/main" id="{506A4C62-4148-4841-838F-A205F53AD573}"/>
              </a:ext>
            </a:extLst>
          </p:cNvPr>
          <p:cNvSpPr/>
          <p:nvPr/>
        </p:nvSpPr>
        <p:spPr>
          <a:xfrm rot="8716295">
            <a:off x="163585" y="305335"/>
            <a:ext cx="288290" cy="347125"/>
          </a:xfrm>
          <a:custGeom>
            <a:avLst/>
            <a:gdLst>
              <a:gd name="connsiteX0" fmla="*/ 470535 w 466725"/>
              <a:gd name="connsiteY0" fmla="*/ 436245 h 561975"/>
              <a:gd name="connsiteX1" fmla="*/ 470535 w 466725"/>
              <a:gd name="connsiteY1" fmla="*/ 445770 h 561975"/>
              <a:gd name="connsiteX2" fmla="*/ 158115 w 466725"/>
              <a:gd name="connsiteY2" fmla="*/ 567690 h 561975"/>
              <a:gd name="connsiteX3" fmla="*/ 40957 w 466725"/>
              <a:gd name="connsiteY3" fmla="*/ 520065 h 561975"/>
              <a:gd name="connsiteX4" fmla="*/ 0 w 466725"/>
              <a:gd name="connsiteY4" fmla="*/ 356235 h 561975"/>
              <a:gd name="connsiteX5" fmla="*/ 0 w 466725"/>
              <a:gd name="connsiteY5" fmla="*/ 65723 h 561975"/>
              <a:gd name="connsiteX6" fmla="*/ 126682 w 466725"/>
              <a:gd name="connsiteY6" fmla="*/ 0 h 561975"/>
              <a:gd name="connsiteX7" fmla="*/ 128588 w 466725"/>
              <a:gd name="connsiteY7" fmla="*/ 265748 h 561975"/>
              <a:gd name="connsiteX8" fmla="*/ 151447 w 466725"/>
              <a:gd name="connsiteY8" fmla="*/ 423863 h 561975"/>
              <a:gd name="connsiteX9" fmla="*/ 265747 w 466725"/>
              <a:gd name="connsiteY9" fmla="*/ 486728 h 561975"/>
              <a:gd name="connsiteX10" fmla="*/ 351472 w 466725"/>
              <a:gd name="connsiteY10" fmla="*/ 471488 h 561975"/>
              <a:gd name="connsiteX11" fmla="*/ 468630 w 466725"/>
              <a:gd name="connsiteY11" fmla="*/ 423863 h 561975"/>
              <a:gd name="connsiteX12" fmla="*/ 470535 w 466725"/>
              <a:gd name="connsiteY12" fmla="*/ 436245 h 56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6725" h="561975">
                <a:moveTo>
                  <a:pt x="470535" y="436245"/>
                </a:moveTo>
                <a:lnTo>
                  <a:pt x="470535" y="445770"/>
                </a:lnTo>
                <a:cubicBezTo>
                  <a:pt x="369570" y="532448"/>
                  <a:pt x="237172" y="562928"/>
                  <a:pt x="158115" y="567690"/>
                </a:cubicBezTo>
                <a:cubicBezTo>
                  <a:pt x="114300" y="570548"/>
                  <a:pt x="71438" y="551498"/>
                  <a:pt x="40957" y="520065"/>
                </a:cubicBezTo>
                <a:cubicBezTo>
                  <a:pt x="8572" y="488633"/>
                  <a:pt x="0" y="434340"/>
                  <a:pt x="0" y="356235"/>
                </a:cubicBezTo>
                <a:lnTo>
                  <a:pt x="0" y="65723"/>
                </a:lnTo>
                <a:lnTo>
                  <a:pt x="126682" y="0"/>
                </a:lnTo>
                <a:lnTo>
                  <a:pt x="128588" y="265748"/>
                </a:lnTo>
                <a:cubicBezTo>
                  <a:pt x="125730" y="319088"/>
                  <a:pt x="134302" y="373380"/>
                  <a:pt x="151447" y="423863"/>
                </a:cubicBezTo>
                <a:cubicBezTo>
                  <a:pt x="166688" y="465773"/>
                  <a:pt x="205740" y="486728"/>
                  <a:pt x="265747" y="486728"/>
                </a:cubicBezTo>
                <a:cubicBezTo>
                  <a:pt x="295275" y="485775"/>
                  <a:pt x="323850" y="480060"/>
                  <a:pt x="351472" y="471488"/>
                </a:cubicBezTo>
                <a:cubicBezTo>
                  <a:pt x="391477" y="459105"/>
                  <a:pt x="430530" y="442913"/>
                  <a:pt x="468630" y="423863"/>
                </a:cubicBezTo>
                <a:cubicBezTo>
                  <a:pt x="469582" y="427673"/>
                  <a:pt x="470535" y="432435"/>
                  <a:pt x="470535" y="43624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6" name="Forme libre : forme 25">
            <a:extLst>
              <a:ext uri="{FF2B5EF4-FFF2-40B4-BE49-F238E27FC236}">
                <a16:creationId xmlns:a16="http://schemas.microsoft.com/office/drawing/2014/main" id="{1C1A41D0-65C3-44E5-8A29-ECCEBE983C62}"/>
              </a:ext>
            </a:extLst>
          </p:cNvPr>
          <p:cNvSpPr/>
          <p:nvPr/>
        </p:nvSpPr>
        <p:spPr>
          <a:xfrm rot="8716295">
            <a:off x="390718" y="693740"/>
            <a:ext cx="100246" cy="218718"/>
          </a:xfrm>
          <a:custGeom>
            <a:avLst/>
            <a:gdLst>
              <a:gd name="connsiteX0" fmla="*/ 216217 w 209550"/>
              <a:gd name="connsiteY0" fmla="*/ 0 h 457200"/>
              <a:gd name="connsiteX1" fmla="*/ 216217 w 209550"/>
              <a:gd name="connsiteY1" fmla="*/ 458153 h 457200"/>
              <a:gd name="connsiteX2" fmla="*/ 90488 w 209550"/>
              <a:gd name="connsiteY2" fmla="*/ 337185 h 457200"/>
              <a:gd name="connsiteX3" fmla="*/ 90488 w 209550"/>
              <a:gd name="connsiteY3" fmla="*/ 34290 h 457200"/>
              <a:gd name="connsiteX4" fmla="*/ 0 w 209550"/>
              <a:gd name="connsiteY4" fmla="*/ 34290 h 457200"/>
              <a:gd name="connsiteX5" fmla="*/ 0 w 209550"/>
              <a:gd name="connsiteY5" fmla="*/ 4763 h 457200"/>
              <a:gd name="connsiteX6" fmla="*/ 216217 w 209550"/>
              <a:gd name="connsiteY6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9550" h="457200">
                <a:moveTo>
                  <a:pt x="216217" y="0"/>
                </a:moveTo>
                <a:lnTo>
                  <a:pt x="216217" y="458153"/>
                </a:lnTo>
                <a:lnTo>
                  <a:pt x="90488" y="337185"/>
                </a:lnTo>
                <a:lnTo>
                  <a:pt x="90488" y="34290"/>
                </a:lnTo>
                <a:lnTo>
                  <a:pt x="0" y="34290"/>
                </a:lnTo>
                <a:lnTo>
                  <a:pt x="0" y="4763"/>
                </a:lnTo>
                <a:cubicBezTo>
                  <a:pt x="68580" y="7620"/>
                  <a:pt x="140017" y="1905"/>
                  <a:pt x="216217" y="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7" name="Forme libre : forme 26">
            <a:extLst>
              <a:ext uri="{FF2B5EF4-FFF2-40B4-BE49-F238E27FC236}">
                <a16:creationId xmlns:a16="http://schemas.microsoft.com/office/drawing/2014/main" id="{A93B008E-5902-4D55-9E1E-85F07149CD35}"/>
              </a:ext>
            </a:extLst>
          </p:cNvPr>
          <p:cNvSpPr/>
          <p:nvPr/>
        </p:nvSpPr>
        <p:spPr>
          <a:xfrm rot="8716295">
            <a:off x="702015" y="317459"/>
            <a:ext cx="131260" cy="232388"/>
          </a:xfrm>
          <a:custGeom>
            <a:avLst/>
            <a:gdLst>
              <a:gd name="connsiteX0" fmla="*/ 70201 w 131260"/>
              <a:gd name="connsiteY0" fmla="*/ 232388 h 232388"/>
              <a:gd name="connsiteX1" fmla="*/ 70201 w 131260"/>
              <a:gd name="connsiteY1" fmla="*/ 69717 h 232388"/>
              <a:gd name="connsiteX2" fmla="*/ 70201 w 131260"/>
              <a:gd name="connsiteY2" fmla="*/ 65615 h 232388"/>
              <a:gd name="connsiteX3" fmla="*/ 49697 w 131260"/>
              <a:gd name="connsiteY3" fmla="*/ 50123 h 232388"/>
              <a:gd name="connsiteX4" fmla="*/ 0 w 131260"/>
              <a:gd name="connsiteY4" fmla="*/ 50123 h 232388"/>
              <a:gd name="connsiteX5" fmla="*/ 41457 w 131260"/>
              <a:gd name="connsiteY5" fmla="*/ 0 h 232388"/>
              <a:gd name="connsiteX6" fmla="*/ 74303 w 131260"/>
              <a:gd name="connsiteY6" fmla="*/ 0 h 232388"/>
              <a:gd name="connsiteX7" fmla="*/ 131260 w 131260"/>
              <a:gd name="connsiteY7" fmla="*/ 50123 h 232388"/>
              <a:gd name="connsiteX8" fmla="*/ 131260 w 131260"/>
              <a:gd name="connsiteY8" fmla="*/ 208238 h 232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1260" h="232388">
                <a:moveTo>
                  <a:pt x="70201" y="232388"/>
                </a:moveTo>
                <a:lnTo>
                  <a:pt x="70201" y="69717"/>
                </a:lnTo>
                <a:cubicBezTo>
                  <a:pt x="70201" y="68349"/>
                  <a:pt x="70201" y="66983"/>
                  <a:pt x="70201" y="65615"/>
                </a:cubicBezTo>
                <a:cubicBezTo>
                  <a:pt x="68835" y="55591"/>
                  <a:pt x="59721" y="48756"/>
                  <a:pt x="49697" y="50123"/>
                </a:cubicBezTo>
                <a:lnTo>
                  <a:pt x="0" y="50123"/>
                </a:lnTo>
                <a:lnTo>
                  <a:pt x="41457" y="0"/>
                </a:lnTo>
                <a:lnTo>
                  <a:pt x="74303" y="0"/>
                </a:lnTo>
                <a:cubicBezTo>
                  <a:pt x="111211" y="0"/>
                  <a:pt x="131260" y="15948"/>
                  <a:pt x="131260" y="50123"/>
                </a:cubicBezTo>
                <a:lnTo>
                  <a:pt x="131260" y="208238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8" name="Forme libre : forme 27">
            <a:extLst>
              <a:ext uri="{FF2B5EF4-FFF2-40B4-BE49-F238E27FC236}">
                <a16:creationId xmlns:a16="http://schemas.microsoft.com/office/drawing/2014/main" id="{8AA688E0-8B68-432D-AC4C-16B34E3E659F}"/>
              </a:ext>
            </a:extLst>
          </p:cNvPr>
          <p:cNvSpPr/>
          <p:nvPr/>
        </p:nvSpPr>
        <p:spPr>
          <a:xfrm rot="8716295">
            <a:off x="834978" y="558357"/>
            <a:ext cx="24341" cy="23495"/>
          </a:xfrm>
          <a:custGeom>
            <a:avLst/>
            <a:gdLst>
              <a:gd name="connsiteX0" fmla="*/ 0 w 24341"/>
              <a:gd name="connsiteY0" fmla="*/ 23495 h 23495"/>
              <a:gd name="connsiteX1" fmla="*/ 19433 w 24341"/>
              <a:gd name="connsiteY1" fmla="*/ 0 h 23495"/>
              <a:gd name="connsiteX2" fmla="*/ 24341 w 24341"/>
              <a:gd name="connsiteY2" fmla="*/ 16139 h 23495"/>
              <a:gd name="connsiteX3" fmla="*/ 24341 w 24341"/>
              <a:gd name="connsiteY3" fmla="*/ 22063 h 23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341" h="23495">
                <a:moveTo>
                  <a:pt x="0" y="23495"/>
                </a:moveTo>
                <a:lnTo>
                  <a:pt x="19433" y="0"/>
                </a:lnTo>
                <a:lnTo>
                  <a:pt x="24341" y="16139"/>
                </a:lnTo>
                <a:lnTo>
                  <a:pt x="24341" y="2206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672AA540-A579-4E8F-A234-CD30C1FF0A89}"/>
              </a:ext>
            </a:extLst>
          </p:cNvPr>
          <p:cNvSpPr/>
          <p:nvPr/>
        </p:nvSpPr>
        <p:spPr>
          <a:xfrm rot="8716295">
            <a:off x="589639" y="402636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0" name="Forme libre : forme 29">
            <a:extLst>
              <a:ext uri="{FF2B5EF4-FFF2-40B4-BE49-F238E27FC236}">
                <a16:creationId xmlns:a16="http://schemas.microsoft.com/office/drawing/2014/main" id="{C0BAD361-E55B-42F0-893F-014DB3986A10}"/>
              </a:ext>
            </a:extLst>
          </p:cNvPr>
          <p:cNvSpPr/>
          <p:nvPr/>
        </p:nvSpPr>
        <p:spPr>
          <a:xfrm rot="8716295">
            <a:off x="464737" y="193963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7776BC0-23C7-4489-8F09-E129A530C0CC}"/>
              </a:ext>
            </a:extLst>
          </p:cNvPr>
          <p:cNvSpPr/>
          <p:nvPr/>
        </p:nvSpPr>
        <p:spPr>
          <a:xfrm rot="8716295">
            <a:off x="679817" y="443588"/>
            <a:ext cx="100246" cy="218719"/>
          </a:xfrm>
          <a:custGeom>
            <a:avLst/>
            <a:gdLst>
              <a:gd name="connsiteX0" fmla="*/ 216217 w 209550"/>
              <a:gd name="connsiteY0" fmla="*/ 0 h 457200"/>
              <a:gd name="connsiteX1" fmla="*/ 216217 w 209550"/>
              <a:gd name="connsiteY1" fmla="*/ 458153 h 457200"/>
              <a:gd name="connsiteX2" fmla="*/ 90488 w 209550"/>
              <a:gd name="connsiteY2" fmla="*/ 337185 h 457200"/>
              <a:gd name="connsiteX3" fmla="*/ 90488 w 209550"/>
              <a:gd name="connsiteY3" fmla="*/ 34290 h 457200"/>
              <a:gd name="connsiteX4" fmla="*/ 0 w 209550"/>
              <a:gd name="connsiteY4" fmla="*/ 34290 h 457200"/>
              <a:gd name="connsiteX5" fmla="*/ 0 w 209550"/>
              <a:gd name="connsiteY5" fmla="*/ 4763 h 457200"/>
              <a:gd name="connsiteX6" fmla="*/ 216217 w 209550"/>
              <a:gd name="connsiteY6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9550" h="457200">
                <a:moveTo>
                  <a:pt x="216217" y="0"/>
                </a:moveTo>
                <a:lnTo>
                  <a:pt x="216217" y="458153"/>
                </a:lnTo>
                <a:lnTo>
                  <a:pt x="90488" y="337185"/>
                </a:lnTo>
                <a:lnTo>
                  <a:pt x="90488" y="34290"/>
                </a:lnTo>
                <a:lnTo>
                  <a:pt x="0" y="34290"/>
                </a:lnTo>
                <a:lnTo>
                  <a:pt x="0" y="4763"/>
                </a:lnTo>
                <a:cubicBezTo>
                  <a:pt x="68580" y="7620"/>
                  <a:pt x="140017" y="1905"/>
                  <a:pt x="216217" y="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2" name="Forme libre : forme 31">
            <a:extLst>
              <a:ext uri="{FF2B5EF4-FFF2-40B4-BE49-F238E27FC236}">
                <a16:creationId xmlns:a16="http://schemas.microsoft.com/office/drawing/2014/main" id="{6EC00833-27CA-42E8-A3F4-264B72DC896E}"/>
              </a:ext>
            </a:extLst>
          </p:cNvPr>
          <p:cNvSpPr/>
          <p:nvPr/>
        </p:nvSpPr>
        <p:spPr>
          <a:xfrm rot="8716295">
            <a:off x="438366" y="293988"/>
            <a:ext cx="72447" cy="72447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3" name="Forme libre : forme 32">
            <a:extLst>
              <a:ext uri="{FF2B5EF4-FFF2-40B4-BE49-F238E27FC236}">
                <a16:creationId xmlns:a16="http://schemas.microsoft.com/office/drawing/2014/main" id="{1FD6DD85-FCBC-4AED-9D6D-4125AB918B1C}"/>
              </a:ext>
            </a:extLst>
          </p:cNvPr>
          <p:cNvSpPr/>
          <p:nvPr/>
        </p:nvSpPr>
        <p:spPr>
          <a:xfrm rot="7484129">
            <a:off x="811674" y="658874"/>
            <a:ext cx="31078" cy="46141"/>
          </a:xfrm>
          <a:custGeom>
            <a:avLst/>
            <a:gdLst>
              <a:gd name="connsiteX0" fmla="*/ 15207 w 31078"/>
              <a:gd name="connsiteY0" fmla="*/ 46141 h 46141"/>
              <a:gd name="connsiteX1" fmla="*/ 0 w 31078"/>
              <a:gd name="connsiteY1" fmla="*/ 17849 h 46141"/>
              <a:gd name="connsiteX2" fmla="*/ 31078 w 31078"/>
              <a:gd name="connsiteY2" fmla="*/ 0 h 461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078" h="46141">
                <a:moveTo>
                  <a:pt x="15207" y="46141"/>
                </a:moveTo>
                <a:lnTo>
                  <a:pt x="0" y="17849"/>
                </a:lnTo>
                <a:lnTo>
                  <a:pt x="31078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4" name="Forme libre : forme 33">
            <a:extLst>
              <a:ext uri="{FF2B5EF4-FFF2-40B4-BE49-F238E27FC236}">
                <a16:creationId xmlns:a16="http://schemas.microsoft.com/office/drawing/2014/main" id="{ED8E04A5-1CCB-474C-BB14-6861F24B92EE}"/>
              </a:ext>
            </a:extLst>
          </p:cNvPr>
          <p:cNvSpPr/>
          <p:nvPr/>
        </p:nvSpPr>
        <p:spPr>
          <a:xfrm rot="8716295">
            <a:off x="780102" y="336420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5" name="Forme libre : forme 34">
            <a:extLst>
              <a:ext uri="{FF2B5EF4-FFF2-40B4-BE49-F238E27FC236}">
                <a16:creationId xmlns:a16="http://schemas.microsoft.com/office/drawing/2014/main" id="{D2589E01-70DB-4980-9D5E-15028C3BF442}"/>
              </a:ext>
            </a:extLst>
          </p:cNvPr>
          <p:cNvSpPr/>
          <p:nvPr/>
        </p:nvSpPr>
        <p:spPr>
          <a:xfrm rot="8716295">
            <a:off x="202348" y="-57106"/>
            <a:ext cx="142167" cy="186494"/>
          </a:xfrm>
          <a:custGeom>
            <a:avLst/>
            <a:gdLst>
              <a:gd name="connsiteX0" fmla="*/ 142167 w 142167"/>
              <a:gd name="connsiteY0" fmla="*/ 186494 h 186494"/>
              <a:gd name="connsiteX1" fmla="*/ 81108 w 142167"/>
              <a:gd name="connsiteY1" fmla="*/ 144170 h 186494"/>
              <a:gd name="connsiteX2" fmla="*/ 81108 w 142167"/>
              <a:gd name="connsiteY2" fmla="*/ 69717 h 186494"/>
              <a:gd name="connsiteX3" fmla="*/ 81108 w 142167"/>
              <a:gd name="connsiteY3" fmla="*/ 65615 h 186494"/>
              <a:gd name="connsiteX4" fmla="*/ 60603 w 142167"/>
              <a:gd name="connsiteY4" fmla="*/ 50123 h 186494"/>
              <a:gd name="connsiteX5" fmla="*/ 0 w 142167"/>
              <a:gd name="connsiteY5" fmla="*/ 50123 h 186494"/>
              <a:gd name="connsiteX6" fmla="*/ 0 w 142167"/>
              <a:gd name="connsiteY6" fmla="*/ 0 h 186494"/>
              <a:gd name="connsiteX7" fmla="*/ 85209 w 142167"/>
              <a:gd name="connsiteY7" fmla="*/ 0 h 186494"/>
              <a:gd name="connsiteX8" fmla="*/ 142167 w 142167"/>
              <a:gd name="connsiteY8" fmla="*/ 50123 h 186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2167" h="186494">
                <a:moveTo>
                  <a:pt x="142167" y="186494"/>
                </a:moveTo>
                <a:lnTo>
                  <a:pt x="81108" y="144170"/>
                </a:lnTo>
                <a:lnTo>
                  <a:pt x="81108" y="69717"/>
                </a:lnTo>
                <a:cubicBezTo>
                  <a:pt x="81108" y="68349"/>
                  <a:pt x="81108" y="66983"/>
                  <a:pt x="81108" y="65615"/>
                </a:cubicBezTo>
                <a:cubicBezTo>
                  <a:pt x="79741" y="55591"/>
                  <a:pt x="70628" y="48756"/>
                  <a:pt x="60603" y="50123"/>
                </a:cubicBezTo>
                <a:lnTo>
                  <a:pt x="0" y="50123"/>
                </a:lnTo>
                <a:lnTo>
                  <a:pt x="0" y="0"/>
                </a:lnTo>
                <a:lnTo>
                  <a:pt x="85209" y="0"/>
                </a:lnTo>
                <a:cubicBezTo>
                  <a:pt x="122118" y="0"/>
                  <a:pt x="142167" y="15948"/>
                  <a:pt x="142167" y="501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6" name="Forme libre : forme 35">
            <a:extLst>
              <a:ext uri="{FF2B5EF4-FFF2-40B4-BE49-F238E27FC236}">
                <a16:creationId xmlns:a16="http://schemas.microsoft.com/office/drawing/2014/main" id="{2AEF8F7A-52DD-4323-9058-8F5D8BF7C257}"/>
              </a:ext>
            </a:extLst>
          </p:cNvPr>
          <p:cNvSpPr/>
          <p:nvPr/>
        </p:nvSpPr>
        <p:spPr>
          <a:xfrm rot="8716295">
            <a:off x="298766" y="-5395"/>
            <a:ext cx="260639" cy="180054"/>
          </a:xfrm>
          <a:custGeom>
            <a:avLst/>
            <a:gdLst>
              <a:gd name="connsiteX0" fmla="*/ 111638 w 260639"/>
              <a:gd name="connsiteY0" fmla="*/ 180054 h 180054"/>
              <a:gd name="connsiteX1" fmla="*/ 51490 w 260639"/>
              <a:gd name="connsiteY1" fmla="*/ 138362 h 180054"/>
              <a:gd name="connsiteX2" fmla="*/ 51490 w 260639"/>
              <a:gd name="connsiteY2" fmla="*/ 45624 h 180054"/>
              <a:gd name="connsiteX3" fmla="*/ 0 w 260639"/>
              <a:gd name="connsiteY3" fmla="*/ 45624 h 180054"/>
              <a:gd name="connsiteX4" fmla="*/ 0 w 260639"/>
              <a:gd name="connsiteY4" fmla="*/ 1425 h 180054"/>
              <a:gd name="connsiteX5" fmla="*/ 104802 w 260639"/>
              <a:gd name="connsiteY5" fmla="*/ 1425 h 180054"/>
              <a:gd name="connsiteX6" fmla="*/ 104802 w 260639"/>
              <a:gd name="connsiteY6" fmla="*/ 75242 h 180054"/>
              <a:gd name="connsiteX7" fmla="*/ 106169 w 260639"/>
              <a:gd name="connsiteY7" fmla="*/ 75242 h 180054"/>
              <a:gd name="connsiteX8" fmla="*/ 154014 w 260639"/>
              <a:gd name="connsiteY8" fmla="*/ 5981 h 180054"/>
              <a:gd name="connsiteX9" fmla="*/ 185455 w 260639"/>
              <a:gd name="connsiteY9" fmla="*/ 57 h 180054"/>
              <a:gd name="connsiteX10" fmla="*/ 260639 w 260639"/>
              <a:gd name="connsiteY10" fmla="*/ 88456 h 180054"/>
              <a:gd name="connsiteX11" fmla="*/ 260639 w 260639"/>
              <a:gd name="connsiteY11" fmla="*/ 94380 h 180054"/>
              <a:gd name="connsiteX12" fmla="*/ 198669 w 260639"/>
              <a:gd name="connsiteY12" fmla="*/ 98025 h 180054"/>
              <a:gd name="connsiteX13" fmla="*/ 198669 w 260639"/>
              <a:gd name="connsiteY13" fmla="*/ 81621 h 180054"/>
              <a:gd name="connsiteX14" fmla="*/ 164950 w 260639"/>
              <a:gd name="connsiteY14" fmla="*/ 40156 h 180054"/>
              <a:gd name="connsiteX15" fmla="*/ 111638 w 260639"/>
              <a:gd name="connsiteY15" fmla="*/ 127643 h 180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60639" h="180054">
                <a:moveTo>
                  <a:pt x="111638" y="180054"/>
                </a:moveTo>
                <a:lnTo>
                  <a:pt x="51490" y="138362"/>
                </a:lnTo>
                <a:lnTo>
                  <a:pt x="51490" y="45624"/>
                </a:lnTo>
                <a:lnTo>
                  <a:pt x="0" y="45624"/>
                </a:lnTo>
                <a:lnTo>
                  <a:pt x="0" y="1425"/>
                </a:lnTo>
                <a:lnTo>
                  <a:pt x="104802" y="1425"/>
                </a:lnTo>
                <a:lnTo>
                  <a:pt x="104802" y="75242"/>
                </a:lnTo>
                <a:lnTo>
                  <a:pt x="106169" y="75242"/>
                </a:lnTo>
                <a:cubicBezTo>
                  <a:pt x="120751" y="31954"/>
                  <a:pt x="132142" y="15094"/>
                  <a:pt x="154014" y="5981"/>
                </a:cubicBezTo>
                <a:cubicBezTo>
                  <a:pt x="164039" y="1880"/>
                  <a:pt x="174519" y="-398"/>
                  <a:pt x="185455" y="57"/>
                </a:cubicBezTo>
                <a:cubicBezTo>
                  <a:pt x="232388" y="-854"/>
                  <a:pt x="260639" y="31954"/>
                  <a:pt x="260639" y="88456"/>
                </a:cubicBezTo>
                <a:lnTo>
                  <a:pt x="260639" y="94380"/>
                </a:lnTo>
                <a:lnTo>
                  <a:pt x="198669" y="98025"/>
                </a:lnTo>
                <a:lnTo>
                  <a:pt x="198669" y="81621"/>
                </a:lnTo>
                <a:cubicBezTo>
                  <a:pt x="198669" y="57016"/>
                  <a:pt x="184544" y="40156"/>
                  <a:pt x="164950" y="40156"/>
                </a:cubicBezTo>
                <a:cubicBezTo>
                  <a:pt x="135788" y="40156"/>
                  <a:pt x="111638" y="78887"/>
                  <a:pt x="111638" y="12764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7" name="Forme libre : forme 36">
            <a:extLst>
              <a:ext uri="{FF2B5EF4-FFF2-40B4-BE49-F238E27FC236}">
                <a16:creationId xmlns:a16="http://schemas.microsoft.com/office/drawing/2014/main" id="{4EA5F182-B436-49C8-8170-C1AD6D2F32D5}"/>
              </a:ext>
            </a:extLst>
          </p:cNvPr>
          <p:cNvSpPr/>
          <p:nvPr/>
        </p:nvSpPr>
        <p:spPr>
          <a:xfrm rot="8716295">
            <a:off x="276903" y="-12823"/>
            <a:ext cx="36272" cy="27982"/>
          </a:xfrm>
          <a:custGeom>
            <a:avLst/>
            <a:gdLst>
              <a:gd name="connsiteX0" fmla="*/ 36272 w 36272"/>
              <a:gd name="connsiteY0" fmla="*/ 27982 h 27982"/>
              <a:gd name="connsiteX1" fmla="*/ 0 w 36272"/>
              <a:gd name="connsiteY1" fmla="*/ 2840 h 27982"/>
              <a:gd name="connsiteX2" fmla="*/ 9543 w 36272"/>
              <a:gd name="connsiteY2" fmla="*/ 0 h 27982"/>
              <a:gd name="connsiteX3" fmla="*/ 31871 w 36272"/>
              <a:gd name="connsiteY3" fmla="*/ 11392 h 27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272" h="27982">
                <a:moveTo>
                  <a:pt x="36272" y="27982"/>
                </a:moveTo>
                <a:lnTo>
                  <a:pt x="0" y="2840"/>
                </a:lnTo>
                <a:lnTo>
                  <a:pt x="9543" y="0"/>
                </a:lnTo>
                <a:cubicBezTo>
                  <a:pt x="20479" y="0"/>
                  <a:pt x="27542" y="4784"/>
                  <a:pt x="31871" y="11392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8" name="Forme libre : forme 37">
            <a:extLst>
              <a:ext uri="{FF2B5EF4-FFF2-40B4-BE49-F238E27FC236}">
                <a16:creationId xmlns:a16="http://schemas.microsoft.com/office/drawing/2014/main" id="{F421218E-0235-4F72-A3A0-C0DE2686EE65}"/>
              </a:ext>
            </a:extLst>
          </p:cNvPr>
          <p:cNvSpPr/>
          <p:nvPr/>
        </p:nvSpPr>
        <p:spPr>
          <a:xfrm rot="8716295">
            <a:off x="74640" y="-9665"/>
            <a:ext cx="58068" cy="54772"/>
          </a:xfrm>
          <a:custGeom>
            <a:avLst/>
            <a:gdLst>
              <a:gd name="connsiteX0" fmla="*/ 37436 w 58068"/>
              <a:gd name="connsiteY0" fmla="*/ 54772 h 54772"/>
              <a:gd name="connsiteX1" fmla="*/ 0 w 58068"/>
              <a:gd name="connsiteY1" fmla="*/ 28823 h 54772"/>
              <a:gd name="connsiteX2" fmla="*/ 8515 w 58068"/>
              <a:gd name="connsiteY2" fmla="*/ 8658 h 54772"/>
              <a:gd name="connsiteX3" fmla="*/ 29020 w 58068"/>
              <a:gd name="connsiteY3" fmla="*/ 0 h 54772"/>
              <a:gd name="connsiteX4" fmla="*/ 49525 w 58068"/>
              <a:gd name="connsiteY4" fmla="*/ 8658 h 54772"/>
              <a:gd name="connsiteX5" fmla="*/ 49525 w 58068"/>
              <a:gd name="connsiteY5" fmla="*/ 49668 h 54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068" h="54772">
                <a:moveTo>
                  <a:pt x="37436" y="54772"/>
                </a:moveTo>
                <a:lnTo>
                  <a:pt x="0" y="28823"/>
                </a:lnTo>
                <a:lnTo>
                  <a:pt x="8515" y="8658"/>
                </a:lnTo>
                <a:cubicBezTo>
                  <a:pt x="13983" y="3190"/>
                  <a:pt x="21273" y="0"/>
                  <a:pt x="29020" y="0"/>
                </a:cubicBezTo>
                <a:cubicBezTo>
                  <a:pt x="36766" y="0"/>
                  <a:pt x="44057" y="3190"/>
                  <a:pt x="49525" y="8658"/>
                </a:cubicBezTo>
                <a:cubicBezTo>
                  <a:pt x="60916" y="19594"/>
                  <a:pt x="60916" y="38276"/>
                  <a:pt x="49525" y="49668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9" name="Forme libre : forme 38">
            <a:extLst>
              <a:ext uri="{FF2B5EF4-FFF2-40B4-BE49-F238E27FC236}">
                <a16:creationId xmlns:a16="http://schemas.microsoft.com/office/drawing/2014/main" id="{CE77A4A5-0ECD-4D80-A03D-A10DC965EA39}"/>
              </a:ext>
            </a:extLst>
          </p:cNvPr>
          <p:cNvSpPr/>
          <p:nvPr/>
        </p:nvSpPr>
        <p:spPr>
          <a:xfrm rot="8716295">
            <a:off x="13802" y="-10406"/>
            <a:ext cx="30027" cy="20814"/>
          </a:xfrm>
          <a:custGeom>
            <a:avLst/>
            <a:gdLst>
              <a:gd name="connsiteX0" fmla="*/ 30027 w 30027"/>
              <a:gd name="connsiteY0" fmla="*/ 20814 h 20814"/>
              <a:gd name="connsiteX1" fmla="*/ 0 w 30027"/>
              <a:gd name="connsiteY1" fmla="*/ 0 h 20814"/>
              <a:gd name="connsiteX2" fmla="*/ 30027 w 30027"/>
              <a:gd name="connsiteY2" fmla="*/ 0 h 20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027" h="20814">
                <a:moveTo>
                  <a:pt x="30027" y="20814"/>
                </a:moveTo>
                <a:lnTo>
                  <a:pt x="0" y="0"/>
                </a:lnTo>
                <a:lnTo>
                  <a:pt x="30027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0" name="Forme libre : forme 39">
            <a:extLst>
              <a:ext uri="{FF2B5EF4-FFF2-40B4-BE49-F238E27FC236}">
                <a16:creationId xmlns:a16="http://schemas.microsoft.com/office/drawing/2014/main" id="{403799C4-A408-4325-A92C-9E809B8BB4D4}"/>
              </a:ext>
            </a:extLst>
          </p:cNvPr>
          <p:cNvSpPr/>
          <p:nvPr/>
        </p:nvSpPr>
        <p:spPr>
          <a:xfrm rot="8716295">
            <a:off x="168048" y="30325"/>
            <a:ext cx="100246" cy="218718"/>
          </a:xfrm>
          <a:custGeom>
            <a:avLst/>
            <a:gdLst>
              <a:gd name="connsiteX0" fmla="*/ 216217 w 209550"/>
              <a:gd name="connsiteY0" fmla="*/ 0 h 457200"/>
              <a:gd name="connsiteX1" fmla="*/ 216217 w 209550"/>
              <a:gd name="connsiteY1" fmla="*/ 458153 h 457200"/>
              <a:gd name="connsiteX2" fmla="*/ 90488 w 209550"/>
              <a:gd name="connsiteY2" fmla="*/ 337185 h 457200"/>
              <a:gd name="connsiteX3" fmla="*/ 90488 w 209550"/>
              <a:gd name="connsiteY3" fmla="*/ 34290 h 457200"/>
              <a:gd name="connsiteX4" fmla="*/ 0 w 209550"/>
              <a:gd name="connsiteY4" fmla="*/ 34290 h 457200"/>
              <a:gd name="connsiteX5" fmla="*/ 0 w 209550"/>
              <a:gd name="connsiteY5" fmla="*/ 4763 h 457200"/>
              <a:gd name="connsiteX6" fmla="*/ 216217 w 209550"/>
              <a:gd name="connsiteY6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9550" h="457200">
                <a:moveTo>
                  <a:pt x="216217" y="0"/>
                </a:moveTo>
                <a:lnTo>
                  <a:pt x="216217" y="458153"/>
                </a:lnTo>
                <a:lnTo>
                  <a:pt x="90488" y="337185"/>
                </a:lnTo>
                <a:lnTo>
                  <a:pt x="90488" y="34290"/>
                </a:lnTo>
                <a:lnTo>
                  <a:pt x="0" y="34290"/>
                </a:lnTo>
                <a:lnTo>
                  <a:pt x="0" y="4763"/>
                </a:lnTo>
                <a:cubicBezTo>
                  <a:pt x="68580" y="7620"/>
                  <a:pt x="140017" y="1905"/>
                  <a:pt x="216217" y="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1" name="Forme libre : forme 40">
            <a:extLst>
              <a:ext uri="{FF2B5EF4-FFF2-40B4-BE49-F238E27FC236}">
                <a16:creationId xmlns:a16="http://schemas.microsoft.com/office/drawing/2014/main" id="{01FB23B7-9B20-4D2E-83CD-6A7A68C9BDC4}"/>
              </a:ext>
            </a:extLst>
          </p:cNvPr>
          <p:cNvSpPr/>
          <p:nvPr/>
        </p:nvSpPr>
        <p:spPr>
          <a:xfrm rot="7484129">
            <a:off x="562078" y="-28476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2" name="Forme libre : forme 41">
            <a:extLst>
              <a:ext uri="{FF2B5EF4-FFF2-40B4-BE49-F238E27FC236}">
                <a16:creationId xmlns:a16="http://schemas.microsoft.com/office/drawing/2014/main" id="{ACF32F9A-0344-4E5B-A601-5E2A5DCEE676}"/>
              </a:ext>
            </a:extLst>
          </p:cNvPr>
          <p:cNvSpPr/>
          <p:nvPr/>
        </p:nvSpPr>
        <p:spPr>
          <a:xfrm rot="13089394">
            <a:off x="767127" y="-2787"/>
            <a:ext cx="149688" cy="301067"/>
          </a:xfrm>
          <a:custGeom>
            <a:avLst/>
            <a:gdLst>
              <a:gd name="connsiteX0" fmla="*/ 149688 w 149688"/>
              <a:gd name="connsiteY0" fmla="*/ 279622 h 301067"/>
              <a:gd name="connsiteX1" fmla="*/ 122393 w 149688"/>
              <a:gd name="connsiteY1" fmla="*/ 301067 h 301067"/>
              <a:gd name="connsiteX2" fmla="*/ 0 w 149688"/>
              <a:gd name="connsiteY2" fmla="*/ 114672 h 301067"/>
              <a:gd name="connsiteX3" fmla="*/ 0 w 149688"/>
              <a:gd name="connsiteY3" fmla="*/ 38074 h 301067"/>
              <a:gd name="connsiteX4" fmla="*/ 73388 w 149688"/>
              <a:gd name="connsiteY4" fmla="*/ 0 h 301067"/>
              <a:gd name="connsiteX5" fmla="*/ 74492 w 149688"/>
              <a:gd name="connsiteY5" fmla="*/ 153950 h 301067"/>
              <a:gd name="connsiteX6" fmla="*/ 87734 w 149688"/>
              <a:gd name="connsiteY6" fmla="*/ 245547 h 301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9688" h="301067">
                <a:moveTo>
                  <a:pt x="149688" y="279622"/>
                </a:moveTo>
                <a:lnTo>
                  <a:pt x="122393" y="301067"/>
                </a:lnTo>
                <a:lnTo>
                  <a:pt x="0" y="114672"/>
                </a:lnTo>
                <a:lnTo>
                  <a:pt x="0" y="38074"/>
                </a:lnTo>
                <a:lnTo>
                  <a:pt x="73388" y="0"/>
                </a:lnTo>
                <a:lnTo>
                  <a:pt x="74492" y="153950"/>
                </a:lnTo>
                <a:cubicBezTo>
                  <a:pt x="72836" y="184850"/>
                  <a:pt x="77802" y="216302"/>
                  <a:pt x="87734" y="245547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9B540A9C-752F-4966-AE11-E0DA13D5676A}"/>
              </a:ext>
            </a:extLst>
          </p:cNvPr>
          <p:cNvSpPr/>
          <p:nvPr/>
        </p:nvSpPr>
        <p:spPr>
          <a:xfrm rot="8716295">
            <a:off x="212141" y="3045028"/>
            <a:ext cx="141256" cy="232388"/>
          </a:xfrm>
          <a:custGeom>
            <a:avLst/>
            <a:gdLst>
              <a:gd name="connsiteX0" fmla="*/ 297180 w 295275"/>
              <a:gd name="connsiteY0" fmla="*/ 104775 h 485775"/>
              <a:gd name="connsiteX1" fmla="*/ 297180 w 295275"/>
              <a:gd name="connsiteY1" fmla="*/ 435293 h 485775"/>
              <a:gd name="connsiteX2" fmla="*/ 169545 w 295275"/>
              <a:gd name="connsiteY2" fmla="*/ 485775 h 485775"/>
              <a:gd name="connsiteX3" fmla="*/ 169545 w 295275"/>
              <a:gd name="connsiteY3" fmla="*/ 145733 h 485775"/>
              <a:gd name="connsiteX4" fmla="*/ 169545 w 295275"/>
              <a:gd name="connsiteY4" fmla="*/ 137160 h 485775"/>
              <a:gd name="connsiteX5" fmla="*/ 126683 w 295275"/>
              <a:gd name="connsiteY5" fmla="*/ 104775 h 485775"/>
              <a:gd name="connsiteX6" fmla="*/ 0 w 295275"/>
              <a:gd name="connsiteY6" fmla="*/ 104775 h 485775"/>
              <a:gd name="connsiteX7" fmla="*/ 0 w 295275"/>
              <a:gd name="connsiteY7" fmla="*/ 0 h 485775"/>
              <a:gd name="connsiteX8" fmla="*/ 178118 w 295275"/>
              <a:gd name="connsiteY8" fmla="*/ 0 h 485775"/>
              <a:gd name="connsiteX9" fmla="*/ 297180 w 295275"/>
              <a:gd name="connsiteY9" fmla="*/ 104775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95275" h="485775">
                <a:moveTo>
                  <a:pt x="297180" y="104775"/>
                </a:moveTo>
                <a:lnTo>
                  <a:pt x="297180" y="435293"/>
                </a:lnTo>
                <a:lnTo>
                  <a:pt x="169545" y="485775"/>
                </a:lnTo>
                <a:lnTo>
                  <a:pt x="169545" y="145733"/>
                </a:lnTo>
                <a:cubicBezTo>
                  <a:pt x="169545" y="142875"/>
                  <a:pt x="169545" y="140018"/>
                  <a:pt x="169545" y="137160"/>
                </a:cubicBezTo>
                <a:cubicBezTo>
                  <a:pt x="166688" y="116205"/>
                  <a:pt x="147638" y="101918"/>
                  <a:pt x="126683" y="104775"/>
                </a:cubicBezTo>
                <a:lnTo>
                  <a:pt x="0" y="104775"/>
                </a:lnTo>
                <a:lnTo>
                  <a:pt x="0" y="0"/>
                </a:lnTo>
                <a:lnTo>
                  <a:pt x="178118" y="0"/>
                </a:lnTo>
                <a:cubicBezTo>
                  <a:pt x="255270" y="0"/>
                  <a:pt x="297180" y="33338"/>
                  <a:pt x="297180" y="10477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4" name="Forme libre : forme 43">
            <a:extLst>
              <a:ext uri="{FF2B5EF4-FFF2-40B4-BE49-F238E27FC236}">
                <a16:creationId xmlns:a16="http://schemas.microsoft.com/office/drawing/2014/main" id="{27352092-3B53-44B3-ABC2-E6A268F28524}"/>
              </a:ext>
            </a:extLst>
          </p:cNvPr>
          <p:cNvSpPr/>
          <p:nvPr/>
        </p:nvSpPr>
        <p:spPr>
          <a:xfrm rot="8716295">
            <a:off x="301533" y="3074270"/>
            <a:ext cx="259728" cy="250615"/>
          </a:xfrm>
          <a:custGeom>
            <a:avLst/>
            <a:gdLst>
              <a:gd name="connsiteX0" fmla="*/ 544830 w 542925"/>
              <a:gd name="connsiteY0" fmla="*/ 184905 h 523875"/>
              <a:gd name="connsiteX1" fmla="*/ 544830 w 542925"/>
              <a:gd name="connsiteY1" fmla="*/ 197288 h 523875"/>
              <a:gd name="connsiteX2" fmla="*/ 415290 w 542925"/>
              <a:gd name="connsiteY2" fmla="*/ 204908 h 523875"/>
              <a:gd name="connsiteX3" fmla="*/ 415290 w 542925"/>
              <a:gd name="connsiteY3" fmla="*/ 170618 h 523875"/>
              <a:gd name="connsiteX4" fmla="*/ 344805 w 542925"/>
              <a:gd name="connsiteY4" fmla="*/ 83940 h 523875"/>
              <a:gd name="connsiteX5" fmla="*/ 233363 w 542925"/>
              <a:gd name="connsiteY5" fmla="*/ 266820 h 523875"/>
              <a:gd name="connsiteX6" fmla="*/ 233363 w 542925"/>
              <a:gd name="connsiteY6" fmla="*/ 446843 h 523875"/>
              <a:gd name="connsiteX7" fmla="*/ 107632 w 542925"/>
              <a:gd name="connsiteY7" fmla="*/ 532568 h 523875"/>
              <a:gd name="connsiteX8" fmla="*/ 107632 w 542925"/>
              <a:gd name="connsiteY8" fmla="*/ 95370 h 523875"/>
              <a:gd name="connsiteX9" fmla="*/ 0 w 542925"/>
              <a:gd name="connsiteY9" fmla="*/ 95370 h 523875"/>
              <a:gd name="connsiteX10" fmla="*/ 0 w 542925"/>
              <a:gd name="connsiteY10" fmla="*/ 2978 h 523875"/>
              <a:gd name="connsiteX11" fmla="*/ 219075 w 542925"/>
              <a:gd name="connsiteY11" fmla="*/ 2978 h 523875"/>
              <a:gd name="connsiteX12" fmla="*/ 219075 w 542925"/>
              <a:gd name="connsiteY12" fmla="*/ 157283 h 523875"/>
              <a:gd name="connsiteX13" fmla="*/ 221932 w 542925"/>
              <a:gd name="connsiteY13" fmla="*/ 157283 h 523875"/>
              <a:gd name="connsiteX14" fmla="*/ 321945 w 542925"/>
              <a:gd name="connsiteY14" fmla="*/ 12503 h 523875"/>
              <a:gd name="connsiteX15" fmla="*/ 387667 w 542925"/>
              <a:gd name="connsiteY15" fmla="*/ 120 h 523875"/>
              <a:gd name="connsiteX16" fmla="*/ 544830 w 542925"/>
              <a:gd name="connsiteY16" fmla="*/ 18490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42925" h="523875">
                <a:moveTo>
                  <a:pt x="544830" y="184905"/>
                </a:moveTo>
                <a:lnTo>
                  <a:pt x="544830" y="197288"/>
                </a:lnTo>
                <a:lnTo>
                  <a:pt x="415290" y="204908"/>
                </a:lnTo>
                <a:lnTo>
                  <a:pt x="415290" y="170618"/>
                </a:lnTo>
                <a:cubicBezTo>
                  <a:pt x="415290" y="119183"/>
                  <a:pt x="385763" y="83940"/>
                  <a:pt x="344805" y="83940"/>
                </a:cubicBezTo>
                <a:cubicBezTo>
                  <a:pt x="283845" y="83940"/>
                  <a:pt x="233363" y="164903"/>
                  <a:pt x="233363" y="266820"/>
                </a:cubicBezTo>
                <a:lnTo>
                  <a:pt x="233363" y="446843"/>
                </a:lnTo>
                <a:lnTo>
                  <a:pt x="107632" y="532568"/>
                </a:lnTo>
                <a:lnTo>
                  <a:pt x="107632" y="95370"/>
                </a:lnTo>
                <a:lnTo>
                  <a:pt x="0" y="95370"/>
                </a:lnTo>
                <a:lnTo>
                  <a:pt x="0" y="2978"/>
                </a:lnTo>
                <a:lnTo>
                  <a:pt x="219075" y="2978"/>
                </a:lnTo>
                <a:lnTo>
                  <a:pt x="219075" y="157283"/>
                </a:lnTo>
                <a:lnTo>
                  <a:pt x="221932" y="157283"/>
                </a:lnTo>
                <a:cubicBezTo>
                  <a:pt x="252413" y="66795"/>
                  <a:pt x="276225" y="31553"/>
                  <a:pt x="321945" y="12503"/>
                </a:cubicBezTo>
                <a:cubicBezTo>
                  <a:pt x="342900" y="3930"/>
                  <a:pt x="364807" y="-832"/>
                  <a:pt x="387667" y="120"/>
                </a:cubicBezTo>
                <a:cubicBezTo>
                  <a:pt x="485775" y="-1785"/>
                  <a:pt x="544830" y="66795"/>
                  <a:pt x="544830" y="18490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5" name="Forme libre : forme 44">
            <a:extLst>
              <a:ext uri="{FF2B5EF4-FFF2-40B4-BE49-F238E27FC236}">
                <a16:creationId xmlns:a16="http://schemas.microsoft.com/office/drawing/2014/main" id="{1A1EEC7B-8896-4B95-9A1A-B0F21E6748C1}"/>
              </a:ext>
            </a:extLst>
          </p:cNvPr>
          <p:cNvSpPr/>
          <p:nvPr/>
        </p:nvSpPr>
        <p:spPr>
          <a:xfrm rot="8716295">
            <a:off x="256683" y="2987990"/>
            <a:ext cx="186822" cy="136699"/>
          </a:xfrm>
          <a:custGeom>
            <a:avLst/>
            <a:gdLst>
              <a:gd name="connsiteX0" fmla="*/ 343853 w 390525"/>
              <a:gd name="connsiteY0" fmla="*/ 144780 h 285750"/>
              <a:gd name="connsiteX1" fmla="*/ 344805 w 390525"/>
              <a:gd name="connsiteY1" fmla="*/ 144780 h 285750"/>
              <a:gd name="connsiteX2" fmla="*/ 12382 w 390525"/>
              <a:gd name="connsiteY2" fmla="*/ 288608 h 285750"/>
              <a:gd name="connsiteX3" fmla="*/ 0 w 390525"/>
              <a:gd name="connsiteY3" fmla="*/ 271463 h 285750"/>
              <a:gd name="connsiteX4" fmla="*/ 225743 w 390525"/>
              <a:gd name="connsiteY4" fmla="*/ 59055 h 285750"/>
              <a:gd name="connsiteX5" fmla="*/ 340043 w 390525"/>
              <a:gd name="connsiteY5" fmla="*/ 0 h 285750"/>
              <a:gd name="connsiteX6" fmla="*/ 399098 w 390525"/>
              <a:gd name="connsiteY6" fmla="*/ 70485 h 285750"/>
              <a:gd name="connsiteX7" fmla="*/ 343853 w 390525"/>
              <a:gd name="connsiteY7" fmla="*/ 14478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0525" h="285750">
                <a:moveTo>
                  <a:pt x="343853" y="144780"/>
                </a:moveTo>
                <a:lnTo>
                  <a:pt x="344805" y="144780"/>
                </a:lnTo>
                <a:lnTo>
                  <a:pt x="12382" y="288608"/>
                </a:lnTo>
                <a:lnTo>
                  <a:pt x="0" y="271463"/>
                </a:lnTo>
                <a:lnTo>
                  <a:pt x="225743" y="59055"/>
                </a:lnTo>
                <a:cubicBezTo>
                  <a:pt x="254318" y="25718"/>
                  <a:pt x="295275" y="4763"/>
                  <a:pt x="340043" y="0"/>
                </a:cubicBezTo>
                <a:cubicBezTo>
                  <a:pt x="385763" y="0"/>
                  <a:pt x="399098" y="40005"/>
                  <a:pt x="399098" y="70485"/>
                </a:cubicBezTo>
                <a:cubicBezTo>
                  <a:pt x="396240" y="103823"/>
                  <a:pt x="374332" y="131445"/>
                  <a:pt x="343853" y="14478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6" name="Forme libre : forme 45">
            <a:extLst>
              <a:ext uri="{FF2B5EF4-FFF2-40B4-BE49-F238E27FC236}">
                <a16:creationId xmlns:a16="http://schemas.microsoft.com/office/drawing/2014/main" id="{4FA7D1EC-A217-4326-8F37-649F5ADE83EB}"/>
              </a:ext>
            </a:extLst>
          </p:cNvPr>
          <p:cNvSpPr/>
          <p:nvPr/>
        </p:nvSpPr>
        <p:spPr>
          <a:xfrm rot="8716295">
            <a:off x="99907" y="3133572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7" name="Forme libre : forme 46">
            <a:extLst>
              <a:ext uri="{FF2B5EF4-FFF2-40B4-BE49-F238E27FC236}">
                <a16:creationId xmlns:a16="http://schemas.microsoft.com/office/drawing/2014/main" id="{33C99497-0B48-43C7-BD1A-0279E44CA612}"/>
              </a:ext>
            </a:extLst>
          </p:cNvPr>
          <p:cNvSpPr/>
          <p:nvPr/>
        </p:nvSpPr>
        <p:spPr>
          <a:xfrm rot="8716295">
            <a:off x="-24996" y="2924899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8" name="Forme libre : forme 47">
            <a:extLst>
              <a:ext uri="{FF2B5EF4-FFF2-40B4-BE49-F238E27FC236}">
                <a16:creationId xmlns:a16="http://schemas.microsoft.com/office/drawing/2014/main" id="{A93858F0-0010-48FE-BF9C-AFE6080030D7}"/>
              </a:ext>
            </a:extLst>
          </p:cNvPr>
          <p:cNvSpPr/>
          <p:nvPr/>
        </p:nvSpPr>
        <p:spPr>
          <a:xfrm rot="8716295">
            <a:off x="51899" y="2754602"/>
            <a:ext cx="189488" cy="350829"/>
          </a:xfrm>
          <a:custGeom>
            <a:avLst/>
            <a:gdLst>
              <a:gd name="connsiteX0" fmla="*/ 25299 w 189488"/>
              <a:gd name="connsiteY0" fmla="*/ 321238 h 350829"/>
              <a:gd name="connsiteX1" fmla="*/ 0 w 189488"/>
              <a:gd name="connsiteY1" fmla="*/ 220042 h 350829"/>
              <a:gd name="connsiteX2" fmla="*/ 0 w 189488"/>
              <a:gd name="connsiteY2" fmla="*/ 40596 h 350829"/>
              <a:gd name="connsiteX3" fmla="*/ 78250 w 189488"/>
              <a:gd name="connsiteY3" fmla="*/ 0 h 350829"/>
              <a:gd name="connsiteX4" fmla="*/ 79427 w 189488"/>
              <a:gd name="connsiteY4" fmla="*/ 164149 h 350829"/>
              <a:gd name="connsiteX5" fmla="*/ 93547 w 189488"/>
              <a:gd name="connsiteY5" fmla="*/ 261815 h 350829"/>
              <a:gd name="connsiteX6" fmla="*/ 164148 w 189488"/>
              <a:gd name="connsiteY6" fmla="*/ 300646 h 350829"/>
              <a:gd name="connsiteX7" fmla="*/ 189488 w 189488"/>
              <a:gd name="connsiteY7" fmla="*/ 296141 h 350829"/>
              <a:gd name="connsiteX8" fmla="*/ 160617 w 189488"/>
              <a:gd name="connsiteY8" fmla="*/ 337791 h 350829"/>
              <a:gd name="connsiteX9" fmla="*/ 97666 w 189488"/>
              <a:gd name="connsiteY9" fmla="*/ 350655 h 350829"/>
              <a:gd name="connsiteX10" fmla="*/ 25299 w 189488"/>
              <a:gd name="connsiteY10" fmla="*/ 321238 h 350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9488" h="350829">
                <a:moveTo>
                  <a:pt x="25299" y="321238"/>
                </a:moveTo>
                <a:cubicBezTo>
                  <a:pt x="5295" y="301823"/>
                  <a:pt x="0" y="268286"/>
                  <a:pt x="0" y="220042"/>
                </a:cubicBezTo>
                <a:lnTo>
                  <a:pt x="0" y="40596"/>
                </a:lnTo>
                <a:lnTo>
                  <a:pt x="78250" y="0"/>
                </a:lnTo>
                <a:lnTo>
                  <a:pt x="79427" y="164149"/>
                </a:lnTo>
                <a:cubicBezTo>
                  <a:pt x="77662" y="197097"/>
                  <a:pt x="82957" y="230632"/>
                  <a:pt x="93547" y="261815"/>
                </a:cubicBezTo>
                <a:cubicBezTo>
                  <a:pt x="102961" y="287702"/>
                  <a:pt x="127083" y="300646"/>
                  <a:pt x="164148" y="300646"/>
                </a:cubicBezTo>
                <a:lnTo>
                  <a:pt x="189488" y="296141"/>
                </a:lnTo>
                <a:lnTo>
                  <a:pt x="160617" y="337791"/>
                </a:lnTo>
                <a:lnTo>
                  <a:pt x="97666" y="350655"/>
                </a:lnTo>
                <a:cubicBezTo>
                  <a:pt x="70602" y="352420"/>
                  <a:pt x="44126" y="340653"/>
                  <a:pt x="25299" y="321238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9" name="Forme libre : forme 48">
            <a:extLst>
              <a:ext uri="{FF2B5EF4-FFF2-40B4-BE49-F238E27FC236}">
                <a16:creationId xmlns:a16="http://schemas.microsoft.com/office/drawing/2014/main" id="{CAFD1C73-118C-42A8-A6D1-F7527C0F98CE}"/>
              </a:ext>
            </a:extLst>
          </p:cNvPr>
          <p:cNvSpPr/>
          <p:nvPr/>
        </p:nvSpPr>
        <p:spPr>
          <a:xfrm rot="8716295">
            <a:off x="190085" y="3174524"/>
            <a:ext cx="100246" cy="218718"/>
          </a:xfrm>
          <a:custGeom>
            <a:avLst/>
            <a:gdLst>
              <a:gd name="connsiteX0" fmla="*/ 216217 w 209550"/>
              <a:gd name="connsiteY0" fmla="*/ 0 h 457200"/>
              <a:gd name="connsiteX1" fmla="*/ 216217 w 209550"/>
              <a:gd name="connsiteY1" fmla="*/ 458153 h 457200"/>
              <a:gd name="connsiteX2" fmla="*/ 90488 w 209550"/>
              <a:gd name="connsiteY2" fmla="*/ 337185 h 457200"/>
              <a:gd name="connsiteX3" fmla="*/ 90488 w 209550"/>
              <a:gd name="connsiteY3" fmla="*/ 34290 h 457200"/>
              <a:gd name="connsiteX4" fmla="*/ 0 w 209550"/>
              <a:gd name="connsiteY4" fmla="*/ 34290 h 457200"/>
              <a:gd name="connsiteX5" fmla="*/ 0 w 209550"/>
              <a:gd name="connsiteY5" fmla="*/ 4763 h 457200"/>
              <a:gd name="connsiteX6" fmla="*/ 216217 w 209550"/>
              <a:gd name="connsiteY6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9550" h="457200">
                <a:moveTo>
                  <a:pt x="216217" y="0"/>
                </a:moveTo>
                <a:lnTo>
                  <a:pt x="216217" y="458153"/>
                </a:lnTo>
                <a:lnTo>
                  <a:pt x="90488" y="337185"/>
                </a:lnTo>
                <a:lnTo>
                  <a:pt x="90488" y="34290"/>
                </a:lnTo>
                <a:lnTo>
                  <a:pt x="0" y="34290"/>
                </a:lnTo>
                <a:lnTo>
                  <a:pt x="0" y="4763"/>
                </a:lnTo>
                <a:cubicBezTo>
                  <a:pt x="68580" y="7620"/>
                  <a:pt x="140017" y="1905"/>
                  <a:pt x="216217" y="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0" name="Forme libre : forme 49">
            <a:extLst>
              <a:ext uri="{FF2B5EF4-FFF2-40B4-BE49-F238E27FC236}">
                <a16:creationId xmlns:a16="http://schemas.microsoft.com/office/drawing/2014/main" id="{E7F4D18B-0BB2-451B-AA77-2B268E142A91}"/>
              </a:ext>
            </a:extLst>
          </p:cNvPr>
          <p:cNvSpPr/>
          <p:nvPr/>
        </p:nvSpPr>
        <p:spPr>
          <a:xfrm rot="8716295">
            <a:off x="502599" y="2802136"/>
            <a:ext cx="117588" cy="232388"/>
          </a:xfrm>
          <a:custGeom>
            <a:avLst/>
            <a:gdLst>
              <a:gd name="connsiteX0" fmla="*/ 56529 w 117588"/>
              <a:gd name="connsiteY0" fmla="*/ 232388 h 232388"/>
              <a:gd name="connsiteX1" fmla="*/ 56529 w 117588"/>
              <a:gd name="connsiteY1" fmla="*/ 69717 h 232388"/>
              <a:gd name="connsiteX2" fmla="*/ 56529 w 117588"/>
              <a:gd name="connsiteY2" fmla="*/ 65615 h 232388"/>
              <a:gd name="connsiteX3" fmla="*/ 36025 w 117588"/>
              <a:gd name="connsiteY3" fmla="*/ 50123 h 232388"/>
              <a:gd name="connsiteX4" fmla="*/ 0 w 117588"/>
              <a:gd name="connsiteY4" fmla="*/ 50123 h 232388"/>
              <a:gd name="connsiteX5" fmla="*/ 41458 w 117588"/>
              <a:gd name="connsiteY5" fmla="*/ 0 h 232388"/>
              <a:gd name="connsiteX6" fmla="*/ 60630 w 117588"/>
              <a:gd name="connsiteY6" fmla="*/ 0 h 232388"/>
              <a:gd name="connsiteX7" fmla="*/ 117588 w 117588"/>
              <a:gd name="connsiteY7" fmla="*/ 50123 h 232388"/>
              <a:gd name="connsiteX8" fmla="*/ 117588 w 117588"/>
              <a:gd name="connsiteY8" fmla="*/ 208238 h 232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588" h="232388">
                <a:moveTo>
                  <a:pt x="56529" y="232388"/>
                </a:moveTo>
                <a:lnTo>
                  <a:pt x="56529" y="69717"/>
                </a:lnTo>
                <a:cubicBezTo>
                  <a:pt x="56529" y="68349"/>
                  <a:pt x="56529" y="66983"/>
                  <a:pt x="56529" y="65615"/>
                </a:cubicBezTo>
                <a:cubicBezTo>
                  <a:pt x="55163" y="55591"/>
                  <a:pt x="46049" y="48756"/>
                  <a:pt x="36025" y="50123"/>
                </a:cubicBezTo>
                <a:lnTo>
                  <a:pt x="0" y="50123"/>
                </a:lnTo>
                <a:lnTo>
                  <a:pt x="41458" y="0"/>
                </a:lnTo>
                <a:lnTo>
                  <a:pt x="60630" y="0"/>
                </a:lnTo>
                <a:cubicBezTo>
                  <a:pt x="97539" y="0"/>
                  <a:pt x="117588" y="15948"/>
                  <a:pt x="117588" y="50123"/>
                </a:cubicBezTo>
                <a:lnTo>
                  <a:pt x="117588" y="208238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1" name="Forme libre : forme 50">
            <a:extLst>
              <a:ext uri="{FF2B5EF4-FFF2-40B4-BE49-F238E27FC236}">
                <a16:creationId xmlns:a16="http://schemas.microsoft.com/office/drawing/2014/main" id="{6F67DBA9-AD6C-4780-AA17-98BCE9381DC5}"/>
              </a:ext>
            </a:extLst>
          </p:cNvPr>
          <p:cNvSpPr/>
          <p:nvPr/>
        </p:nvSpPr>
        <p:spPr>
          <a:xfrm rot="8716295">
            <a:off x="389006" y="2883420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2" name="Forme libre : forme 51">
            <a:extLst>
              <a:ext uri="{FF2B5EF4-FFF2-40B4-BE49-F238E27FC236}">
                <a16:creationId xmlns:a16="http://schemas.microsoft.com/office/drawing/2014/main" id="{60CE2A9A-219E-42C9-9F53-FED763C7A971}"/>
              </a:ext>
            </a:extLst>
          </p:cNvPr>
          <p:cNvSpPr/>
          <p:nvPr/>
        </p:nvSpPr>
        <p:spPr>
          <a:xfrm rot="8716295">
            <a:off x="264104" y="2674747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3" name="Forme libre : forme 52">
            <a:extLst>
              <a:ext uri="{FF2B5EF4-FFF2-40B4-BE49-F238E27FC236}">
                <a16:creationId xmlns:a16="http://schemas.microsoft.com/office/drawing/2014/main" id="{5F47A361-80F1-4C02-906B-845AB367B960}"/>
              </a:ext>
            </a:extLst>
          </p:cNvPr>
          <p:cNvSpPr/>
          <p:nvPr/>
        </p:nvSpPr>
        <p:spPr>
          <a:xfrm rot="8716295">
            <a:off x="479184" y="2924372"/>
            <a:ext cx="100246" cy="218719"/>
          </a:xfrm>
          <a:custGeom>
            <a:avLst/>
            <a:gdLst>
              <a:gd name="connsiteX0" fmla="*/ 216217 w 209550"/>
              <a:gd name="connsiteY0" fmla="*/ 0 h 457200"/>
              <a:gd name="connsiteX1" fmla="*/ 216217 w 209550"/>
              <a:gd name="connsiteY1" fmla="*/ 458153 h 457200"/>
              <a:gd name="connsiteX2" fmla="*/ 90488 w 209550"/>
              <a:gd name="connsiteY2" fmla="*/ 337185 h 457200"/>
              <a:gd name="connsiteX3" fmla="*/ 90488 w 209550"/>
              <a:gd name="connsiteY3" fmla="*/ 34290 h 457200"/>
              <a:gd name="connsiteX4" fmla="*/ 0 w 209550"/>
              <a:gd name="connsiteY4" fmla="*/ 34290 h 457200"/>
              <a:gd name="connsiteX5" fmla="*/ 0 w 209550"/>
              <a:gd name="connsiteY5" fmla="*/ 4763 h 457200"/>
              <a:gd name="connsiteX6" fmla="*/ 216217 w 209550"/>
              <a:gd name="connsiteY6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9550" h="457200">
                <a:moveTo>
                  <a:pt x="216217" y="0"/>
                </a:moveTo>
                <a:lnTo>
                  <a:pt x="216217" y="458153"/>
                </a:lnTo>
                <a:lnTo>
                  <a:pt x="90488" y="337185"/>
                </a:lnTo>
                <a:lnTo>
                  <a:pt x="90488" y="34290"/>
                </a:lnTo>
                <a:lnTo>
                  <a:pt x="0" y="34290"/>
                </a:lnTo>
                <a:lnTo>
                  <a:pt x="0" y="4763"/>
                </a:lnTo>
                <a:cubicBezTo>
                  <a:pt x="68580" y="7620"/>
                  <a:pt x="140017" y="1905"/>
                  <a:pt x="216217" y="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4" name="Forme libre : forme 53">
            <a:extLst>
              <a:ext uri="{FF2B5EF4-FFF2-40B4-BE49-F238E27FC236}">
                <a16:creationId xmlns:a16="http://schemas.microsoft.com/office/drawing/2014/main" id="{2CC40EA3-7663-4B10-9112-24251EC60BEA}"/>
              </a:ext>
            </a:extLst>
          </p:cNvPr>
          <p:cNvSpPr/>
          <p:nvPr/>
        </p:nvSpPr>
        <p:spPr>
          <a:xfrm rot="8716295">
            <a:off x="237733" y="2774772"/>
            <a:ext cx="72447" cy="72447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5" name="Forme libre : forme 54">
            <a:extLst>
              <a:ext uri="{FF2B5EF4-FFF2-40B4-BE49-F238E27FC236}">
                <a16:creationId xmlns:a16="http://schemas.microsoft.com/office/drawing/2014/main" id="{96946020-930E-406D-ABEE-7096E7CB1426}"/>
              </a:ext>
            </a:extLst>
          </p:cNvPr>
          <p:cNvSpPr/>
          <p:nvPr/>
        </p:nvSpPr>
        <p:spPr>
          <a:xfrm rot="7484129">
            <a:off x="609980" y="3142825"/>
            <a:ext cx="20881" cy="31001"/>
          </a:xfrm>
          <a:custGeom>
            <a:avLst/>
            <a:gdLst>
              <a:gd name="connsiteX0" fmla="*/ 10218 w 20881"/>
              <a:gd name="connsiteY0" fmla="*/ 31001 h 31001"/>
              <a:gd name="connsiteX1" fmla="*/ 0 w 20881"/>
              <a:gd name="connsiteY1" fmla="*/ 11992 h 31001"/>
              <a:gd name="connsiteX2" fmla="*/ 20881 w 20881"/>
              <a:gd name="connsiteY2" fmla="*/ 0 h 31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881" h="31001">
                <a:moveTo>
                  <a:pt x="10218" y="31001"/>
                </a:moveTo>
                <a:lnTo>
                  <a:pt x="0" y="11992"/>
                </a:lnTo>
                <a:lnTo>
                  <a:pt x="20881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6" name="Forme libre : forme 55">
            <a:extLst>
              <a:ext uri="{FF2B5EF4-FFF2-40B4-BE49-F238E27FC236}">
                <a16:creationId xmlns:a16="http://schemas.microsoft.com/office/drawing/2014/main" id="{9709EEED-4F73-41F3-A069-C965126CECA4}"/>
              </a:ext>
            </a:extLst>
          </p:cNvPr>
          <p:cNvSpPr/>
          <p:nvPr/>
        </p:nvSpPr>
        <p:spPr>
          <a:xfrm rot="8716295">
            <a:off x="579469" y="2817204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7" name="Forme libre : forme 56">
            <a:extLst>
              <a:ext uri="{FF2B5EF4-FFF2-40B4-BE49-F238E27FC236}">
                <a16:creationId xmlns:a16="http://schemas.microsoft.com/office/drawing/2014/main" id="{AB7C8B58-13F0-4FCC-99DC-3B3AAD65E69B}"/>
              </a:ext>
            </a:extLst>
          </p:cNvPr>
          <p:cNvSpPr/>
          <p:nvPr/>
        </p:nvSpPr>
        <p:spPr>
          <a:xfrm rot="8716295">
            <a:off x="437995" y="3716235"/>
            <a:ext cx="102679" cy="232388"/>
          </a:xfrm>
          <a:custGeom>
            <a:avLst/>
            <a:gdLst>
              <a:gd name="connsiteX0" fmla="*/ 41620 w 102679"/>
              <a:gd name="connsiteY0" fmla="*/ 232388 h 232388"/>
              <a:gd name="connsiteX1" fmla="*/ 41620 w 102679"/>
              <a:gd name="connsiteY1" fmla="*/ 69717 h 232388"/>
              <a:gd name="connsiteX2" fmla="*/ 41620 w 102679"/>
              <a:gd name="connsiteY2" fmla="*/ 65615 h 232388"/>
              <a:gd name="connsiteX3" fmla="*/ 21116 w 102679"/>
              <a:gd name="connsiteY3" fmla="*/ 50123 h 232388"/>
              <a:gd name="connsiteX4" fmla="*/ 0 w 102679"/>
              <a:gd name="connsiteY4" fmla="*/ 50123 h 232388"/>
              <a:gd name="connsiteX5" fmla="*/ 41457 w 102679"/>
              <a:gd name="connsiteY5" fmla="*/ 0 h 232388"/>
              <a:gd name="connsiteX6" fmla="*/ 45721 w 102679"/>
              <a:gd name="connsiteY6" fmla="*/ 0 h 232388"/>
              <a:gd name="connsiteX7" fmla="*/ 102679 w 102679"/>
              <a:gd name="connsiteY7" fmla="*/ 50123 h 232388"/>
              <a:gd name="connsiteX8" fmla="*/ 102679 w 102679"/>
              <a:gd name="connsiteY8" fmla="*/ 208238 h 232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2679" h="232388">
                <a:moveTo>
                  <a:pt x="41620" y="232388"/>
                </a:moveTo>
                <a:lnTo>
                  <a:pt x="41620" y="69717"/>
                </a:lnTo>
                <a:cubicBezTo>
                  <a:pt x="41620" y="68349"/>
                  <a:pt x="41620" y="66983"/>
                  <a:pt x="41620" y="65615"/>
                </a:cubicBezTo>
                <a:cubicBezTo>
                  <a:pt x="40254" y="55591"/>
                  <a:pt x="31140" y="48756"/>
                  <a:pt x="21116" y="50123"/>
                </a:cubicBezTo>
                <a:lnTo>
                  <a:pt x="0" y="50123"/>
                </a:lnTo>
                <a:lnTo>
                  <a:pt x="41457" y="0"/>
                </a:lnTo>
                <a:lnTo>
                  <a:pt x="45721" y="0"/>
                </a:lnTo>
                <a:cubicBezTo>
                  <a:pt x="82630" y="0"/>
                  <a:pt x="102679" y="15948"/>
                  <a:pt x="102679" y="50123"/>
                </a:cubicBezTo>
                <a:lnTo>
                  <a:pt x="102679" y="208238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8" name="Forme libre : forme 57">
            <a:extLst>
              <a:ext uri="{FF2B5EF4-FFF2-40B4-BE49-F238E27FC236}">
                <a16:creationId xmlns:a16="http://schemas.microsoft.com/office/drawing/2014/main" id="{9C4DC6CC-AFAA-4414-8BA6-D58CC891D657}"/>
              </a:ext>
            </a:extLst>
          </p:cNvPr>
          <p:cNvSpPr/>
          <p:nvPr/>
        </p:nvSpPr>
        <p:spPr>
          <a:xfrm rot="8716295">
            <a:off x="482715" y="3669965"/>
            <a:ext cx="154563" cy="124897"/>
          </a:xfrm>
          <a:custGeom>
            <a:avLst/>
            <a:gdLst>
              <a:gd name="connsiteX0" fmla="*/ 0 w 154563"/>
              <a:gd name="connsiteY0" fmla="*/ 124897 h 124897"/>
              <a:gd name="connsiteX1" fmla="*/ 95474 w 154563"/>
              <a:gd name="connsiteY1" fmla="*/ 9467 h 124897"/>
              <a:gd name="connsiteX2" fmla="*/ 96067 w 154563"/>
              <a:gd name="connsiteY2" fmla="*/ 9000 h 124897"/>
              <a:gd name="connsiteX3" fmla="*/ 126312 w 154563"/>
              <a:gd name="connsiteY3" fmla="*/ 0 h 124897"/>
              <a:gd name="connsiteX4" fmla="*/ 154563 w 154563"/>
              <a:gd name="connsiteY4" fmla="*/ 33719 h 124897"/>
              <a:gd name="connsiteX5" fmla="*/ 128135 w 154563"/>
              <a:gd name="connsiteY5" fmla="*/ 69261 h 124897"/>
              <a:gd name="connsiteX6" fmla="*/ 128590 w 154563"/>
              <a:gd name="connsiteY6" fmla="*/ 69261 h 124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4563" h="124897">
                <a:moveTo>
                  <a:pt x="0" y="124897"/>
                </a:moveTo>
                <a:lnTo>
                  <a:pt x="95474" y="9467"/>
                </a:lnTo>
                <a:lnTo>
                  <a:pt x="96067" y="9000"/>
                </a:lnTo>
                <a:cubicBezTo>
                  <a:pt x="105351" y="4215"/>
                  <a:pt x="115604" y="1139"/>
                  <a:pt x="126312" y="0"/>
                </a:cubicBezTo>
                <a:cubicBezTo>
                  <a:pt x="148184" y="0"/>
                  <a:pt x="154563" y="19138"/>
                  <a:pt x="154563" y="33719"/>
                </a:cubicBezTo>
                <a:cubicBezTo>
                  <a:pt x="153196" y="49668"/>
                  <a:pt x="142715" y="62882"/>
                  <a:pt x="128135" y="69261"/>
                </a:cubicBezTo>
                <a:lnTo>
                  <a:pt x="128590" y="69261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9" name="Forme libre : forme 58">
            <a:extLst>
              <a:ext uri="{FF2B5EF4-FFF2-40B4-BE49-F238E27FC236}">
                <a16:creationId xmlns:a16="http://schemas.microsoft.com/office/drawing/2014/main" id="{4EE0C0AC-519B-4FC6-8231-6D03F18E647C}"/>
              </a:ext>
            </a:extLst>
          </p:cNvPr>
          <p:cNvSpPr/>
          <p:nvPr/>
        </p:nvSpPr>
        <p:spPr>
          <a:xfrm rot="8716295">
            <a:off x="323074" y="3793271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0" name="Forme libre : forme 59">
            <a:extLst>
              <a:ext uri="{FF2B5EF4-FFF2-40B4-BE49-F238E27FC236}">
                <a16:creationId xmlns:a16="http://schemas.microsoft.com/office/drawing/2014/main" id="{D6F59EA5-8316-4C20-AADC-7D706ECCBE6F}"/>
              </a:ext>
            </a:extLst>
          </p:cNvPr>
          <p:cNvSpPr/>
          <p:nvPr/>
        </p:nvSpPr>
        <p:spPr>
          <a:xfrm rot="8716295">
            <a:off x="198171" y="3584598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1" name="Forme libre : forme 60">
            <a:extLst>
              <a:ext uri="{FF2B5EF4-FFF2-40B4-BE49-F238E27FC236}">
                <a16:creationId xmlns:a16="http://schemas.microsoft.com/office/drawing/2014/main" id="{B0440107-C1DF-4CF9-A961-BF836C4847FA}"/>
              </a:ext>
            </a:extLst>
          </p:cNvPr>
          <p:cNvSpPr/>
          <p:nvPr/>
        </p:nvSpPr>
        <p:spPr>
          <a:xfrm rot="8716295">
            <a:off x="186119" y="3445818"/>
            <a:ext cx="288290" cy="347125"/>
          </a:xfrm>
          <a:custGeom>
            <a:avLst/>
            <a:gdLst>
              <a:gd name="connsiteX0" fmla="*/ 470535 w 466725"/>
              <a:gd name="connsiteY0" fmla="*/ 436245 h 561975"/>
              <a:gd name="connsiteX1" fmla="*/ 470535 w 466725"/>
              <a:gd name="connsiteY1" fmla="*/ 445770 h 561975"/>
              <a:gd name="connsiteX2" fmla="*/ 158115 w 466725"/>
              <a:gd name="connsiteY2" fmla="*/ 567690 h 561975"/>
              <a:gd name="connsiteX3" fmla="*/ 40957 w 466725"/>
              <a:gd name="connsiteY3" fmla="*/ 520065 h 561975"/>
              <a:gd name="connsiteX4" fmla="*/ 0 w 466725"/>
              <a:gd name="connsiteY4" fmla="*/ 356235 h 561975"/>
              <a:gd name="connsiteX5" fmla="*/ 0 w 466725"/>
              <a:gd name="connsiteY5" fmla="*/ 65723 h 561975"/>
              <a:gd name="connsiteX6" fmla="*/ 126682 w 466725"/>
              <a:gd name="connsiteY6" fmla="*/ 0 h 561975"/>
              <a:gd name="connsiteX7" fmla="*/ 128588 w 466725"/>
              <a:gd name="connsiteY7" fmla="*/ 265748 h 561975"/>
              <a:gd name="connsiteX8" fmla="*/ 151447 w 466725"/>
              <a:gd name="connsiteY8" fmla="*/ 423863 h 561975"/>
              <a:gd name="connsiteX9" fmla="*/ 265747 w 466725"/>
              <a:gd name="connsiteY9" fmla="*/ 486728 h 561975"/>
              <a:gd name="connsiteX10" fmla="*/ 351472 w 466725"/>
              <a:gd name="connsiteY10" fmla="*/ 471488 h 561975"/>
              <a:gd name="connsiteX11" fmla="*/ 468630 w 466725"/>
              <a:gd name="connsiteY11" fmla="*/ 423863 h 561975"/>
              <a:gd name="connsiteX12" fmla="*/ 470535 w 466725"/>
              <a:gd name="connsiteY12" fmla="*/ 436245 h 56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6725" h="561975">
                <a:moveTo>
                  <a:pt x="470535" y="436245"/>
                </a:moveTo>
                <a:lnTo>
                  <a:pt x="470535" y="445770"/>
                </a:lnTo>
                <a:cubicBezTo>
                  <a:pt x="369570" y="532448"/>
                  <a:pt x="237172" y="562928"/>
                  <a:pt x="158115" y="567690"/>
                </a:cubicBezTo>
                <a:cubicBezTo>
                  <a:pt x="114300" y="570548"/>
                  <a:pt x="71438" y="551498"/>
                  <a:pt x="40957" y="520065"/>
                </a:cubicBezTo>
                <a:cubicBezTo>
                  <a:pt x="8572" y="488633"/>
                  <a:pt x="0" y="434340"/>
                  <a:pt x="0" y="356235"/>
                </a:cubicBezTo>
                <a:lnTo>
                  <a:pt x="0" y="65723"/>
                </a:lnTo>
                <a:lnTo>
                  <a:pt x="126682" y="0"/>
                </a:lnTo>
                <a:lnTo>
                  <a:pt x="128588" y="265748"/>
                </a:lnTo>
                <a:cubicBezTo>
                  <a:pt x="125730" y="319088"/>
                  <a:pt x="134302" y="373380"/>
                  <a:pt x="151447" y="423863"/>
                </a:cubicBezTo>
                <a:cubicBezTo>
                  <a:pt x="166688" y="465773"/>
                  <a:pt x="205740" y="486728"/>
                  <a:pt x="265747" y="486728"/>
                </a:cubicBezTo>
                <a:cubicBezTo>
                  <a:pt x="295275" y="485775"/>
                  <a:pt x="323850" y="480060"/>
                  <a:pt x="351472" y="471488"/>
                </a:cubicBezTo>
                <a:cubicBezTo>
                  <a:pt x="391477" y="459105"/>
                  <a:pt x="430530" y="442913"/>
                  <a:pt x="468630" y="423863"/>
                </a:cubicBezTo>
                <a:cubicBezTo>
                  <a:pt x="469582" y="427673"/>
                  <a:pt x="470535" y="432435"/>
                  <a:pt x="470535" y="43624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2" name="Forme libre : forme 61">
            <a:extLst>
              <a:ext uri="{FF2B5EF4-FFF2-40B4-BE49-F238E27FC236}">
                <a16:creationId xmlns:a16="http://schemas.microsoft.com/office/drawing/2014/main" id="{FAD20847-20DA-4661-A963-D2C01E523D8E}"/>
              </a:ext>
            </a:extLst>
          </p:cNvPr>
          <p:cNvSpPr/>
          <p:nvPr/>
        </p:nvSpPr>
        <p:spPr>
          <a:xfrm rot="8716295">
            <a:off x="410218" y="3834716"/>
            <a:ext cx="103435" cy="219174"/>
          </a:xfrm>
          <a:custGeom>
            <a:avLst/>
            <a:gdLst>
              <a:gd name="connsiteX0" fmla="*/ 103435 w 103435"/>
              <a:gd name="connsiteY0" fmla="*/ 219174 h 219174"/>
              <a:gd name="connsiteX1" fmla="*/ 43288 w 103435"/>
              <a:gd name="connsiteY1" fmla="*/ 161305 h 219174"/>
              <a:gd name="connsiteX2" fmla="*/ 43288 w 103435"/>
              <a:gd name="connsiteY2" fmla="*/ 16404 h 219174"/>
              <a:gd name="connsiteX3" fmla="*/ 0 w 103435"/>
              <a:gd name="connsiteY3" fmla="*/ 16404 h 219174"/>
              <a:gd name="connsiteX4" fmla="*/ 0 w 103435"/>
              <a:gd name="connsiteY4" fmla="*/ 16028 h 219174"/>
              <a:gd name="connsiteX5" fmla="*/ 11583 w 103435"/>
              <a:gd name="connsiteY5" fmla="*/ 2023 h 219174"/>
              <a:gd name="connsiteX6" fmla="*/ 103435 w 103435"/>
              <a:gd name="connsiteY6" fmla="*/ 0 h 2191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3435" h="219174">
                <a:moveTo>
                  <a:pt x="103435" y="219174"/>
                </a:moveTo>
                <a:lnTo>
                  <a:pt x="43288" y="161305"/>
                </a:lnTo>
                <a:lnTo>
                  <a:pt x="43288" y="16404"/>
                </a:lnTo>
                <a:lnTo>
                  <a:pt x="0" y="16404"/>
                </a:lnTo>
                <a:lnTo>
                  <a:pt x="0" y="16028"/>
                </a:lnTo>
                <a:lnTo>
                  <a:pt x="11583" y="2023"/>
                </a:lnTo>
                <a:lnTo>
                  <a:pt x="103435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3" name="Forme libre : forme 62">
            <a:extLst>
              <a:ext uri="{FF2B5EF4-FFF2-40B4-BE49-F238E27FC236}">
                <a16:creationId xmlns:a16="http://schemas.microsoft.com/office/drawing/2014/main" id="{28D4D932-7CCD-4A1C-82BE-BDC6C863C34D}"/>
              </a:ext>
            </a:extLst>
          </p:cNvPr>
          <p:cNvSpPr/>
          <p:nvPr/>
        </p:nvSpPr>
        <p:spPr>
          <a:xfrm rot="8716295">
            <a:off x="487452" y="3349370"/>
            <a:ext cx="151162" cy="195873"/>
          </a:xfrm>
          <a:custGeom>
            <a:avLst/>
            <a:gdLst>
              <a:gd name="connsiteX0" fmla="*/ 38025 w 151162"/>
              <a:gd name="connsiteY0" fmla="*/ 195873 h 195873"/>
              <a:gd name="connsiteX1" fmla="*/ 0 w 151162"/>
              <a:gd name="connsiteY1" fmla="*/ 125130 h 195873"/>
              <a:gd name="connsiteX2" fmla="*/ 103497 w 151162"/>
              <a:gd name="connsiteY2" fmla="*/ 0 h 195873"/>
              <a:gd name="connsiteX3" fmla="*/ 151162 w 151162"/>
              <a:gd name="connsiteY3" fmla="*/ 0 h 195873"/>
              <a:gd name="connsiteX4" fmla="*/ 151162 w 151162"/>
              <a:gd name="connsiteY4" fmla="*/ 55323 h 195873"/>
              <a:gd name="connsiteX5" fmla="*/ 86370 w 151162"/>
              <a:gd name="connsiteY5" fmla="*/ 55323 h 195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1162" h="195873">
                <a:moveTo>
                  <a:pt x="38025" y="195873"/>
                </a:moveTo>
                <a:lnTo>
                  <a:pt x="0" y="125130"/>
                </a:lnTo>
                <a:lnTo>
                  <a:pt x="103497" y="0"/>
                </a:lnTo>
                <a:lnTo>
                  <a:pt x="151162" y="0"/>
                </a:lnTo>
                <a:lnTo>
                  <a:pt x="151162" y="55323"/>
                </a:lnTo>
                <a:lnTo>
                  <a:pt x="86370" y="5532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4" name="Forme libre : forme 63">
            <a:extLst>
              <a:ext uri="{FF2B5EF4-FFF2-40B4-BE49-F238E27FC236}">
                <a16:creationId xmlns:a16="http://schemas.microsoft.com/office/drawing/2014/main" id="{CC6BD8CB-3AAF-4232-9DAB-6067219DB083}"/>
              </a:ext>
            </a:extLst>
          </p:cNvPr>
          <p:cNvSpPr/>
          <p:nvPr/>
        </p:nvSpPr>
        <p:spPr>
          <a:xfrm rot="8716295">
            <a:off x="460900" y="3434471"/>
            <a:ext cx="72447" cy="72447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5" name="Forme libre : forme 64">
            <a:extLst>
              <a:ext uri="{FF2B5EF4-FFF2-40B4-BE49-F238E27FC236}">
                <a16:creationId xmlns:a16="http://schemas.microsoft.com/office/drawing/2014/main" id="{C4402BE5-EFA1-455E-87AA-2CF0F2131AB9}"/>
              </a:ext>
            </a:extLst>
          </p:cNvPr>
          <p:cNvSpPr/>
          <p:nvPr/>
        </p:nvSpPr>
        <p:spPr>
          <a:xfrm rot="8716295">
            <a:off x="417336" y="4258920"/>
            <a:ext cx="147637" cy="195874"/>
          </a:xfrm>
          <a:custGeom>
            <a:avLst/>
            <a:gdLst>
              <a:gd name="connsiteX0" fmla="*/ 34500 w 147637"/>
              <a:gd name="connsiteY0" fmla="*/ 195874 h 195874"/>
              <a:gd name="connsiteX1" fmla="*/ 0 w 147637"/>
              <a:gd name="connsiteY1" fmla="*/ 131688 h 195874"/>
              <a:gd name="connsiteX2" fmla="*/ 108921 w 147637"/>
              <a:gd name="connsiteY2" fmla="*/ 0 h 195874"/>
              <a:gd name="connsiteX3" fmla="*/ 147637 w 147637"/>
              <a:gd name="connsiteY3" fmla="*/ 0 h 195874"/>
              <a:gd name="connsiteX4" fmla="*/ 147637 w 147637"/>
              <a:gd name="connsiteY4" fmla="*/ 55323 h 195874"/>
              <a:gd name="connsiteX5" fmla="*/ 82845 w 147637"/>
              <a:gd name="connsiteY5" fmla="*/ 55323 h 195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7637" h="195874">
                <a:moveTo>
                  <a:pt x="34500" y="195874"/>
                </a:moveTo>
                <a:lnTo>
                  <a:pt x="0" y="131688"/>
                </a:lnTo>
                <a:lnTo>
                  <a:pt x="108921" y="0"/>
                </a:lnTo>
                <a:lnTo>
                  <a:pt x="147637" y="0"/>
                </a:lnTo>
                <a:lnTo>
                  <a:pt x="147637" y="55323"/>
                </a:lnTo>
                <a:lnTo>
                  <a:pt x="82845" y="5532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6" name="Forme libre : forme 65">
            <a:extLst>
              <a:ext uri="{FF2B5EF4-FFF2-40B4-BE49-F238E27FC236}">
                <a16:creationId xmlns:a16="http://schemas.microsoft.com/office/drawing/2014/main" id="{61A670F2-3CC6-425A-A67F-3F30EE51B04A}"/>
              </a:ext>
            </a:extLst>
          </p:cNvPr>
          <p:cNvSpPr/>
          <p:nvPr/>
        </p:nvSpPr>
        <p:spPr>
          <a:xfrm rot="8716295">
            <a:off x="330834" y="4134902"/>
            <a:ext cx="254613" cy="91157"/>
          </a:xfrm>
          <a:custGeom>
            <a:avLst/>
            <a:gdLst>
              <a:gd name="connsiteX0" fmla="*/ 0 w 254613"/>
              <a:gd name="connsiteY0" fmla="*/ 68911 h 91157"/>
              <a:gd name="connsiteX1" fmla="*/ 56997 w 254613"/>
              <a:gd name="connsiteY1" fmla="*/ 0 h 91157"/>
              <a:gd name="connsiteX2" fmla="*/ 57517 w 254613"/>
              <a:gd name="connsiteY2" fmla="*/ 2143 h 91157"/>
              <a:gd name="connsiteX3" fmla="*/ 128118 w 254613"/>
              <a:gd name="connsiteY3" fmla="*/ 40974 h 91157"/>
              <a:gd name="connsiteX4" fmla="*/ 181070 w 254613"/>
              <a:gd name="connsiteY4" fmla="*/ 31560 h 91157"/>
              <a:gd name="connsiteX5" fmla="*/ 253437 w 254613"/>
              <a:gd name="connsiteY5" fmla="*/ 2143 h 91157"/>
              <a:gd name="connsiteX6" fmla="*/ 254613 w 254613"/>
              <a:gd name="connsiteY6" fmla="*/ 9791 h 91157"/>
              <a:gd name="connsiteX7" fmla="*/ 254613 w 254613"/>
              <a:gd name="connsiteY7" fmla="*/ 15674 h 91157"/>
              <a:gd name="connsiteX8" fmla="*/ 61636 w 254613"/>
              <a:gd name="connsiteY8" fmla="*/ 90983 h 91157"/>
              <a:gd name="connsiteX9" fmla="*/ 22363 w 254613"/>
              <a:gd name="connsiteY9" fmla="*/ 84217 h 91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54613" h="91157">
                <a:moveTo>
                  <a:pt x="0" y="68911"/>
                </a:moveTo>
                <a:lnTo>
                  <a:pt x="56997" y="0"/>
                </a:lnTo>
                <a:lnTo>
                  <a:pt x="57517" y="2143"/>
                </a:lnTo>
                <a:cubicBezTo>
                  <a:pt x="66931" y="28030"/>
                  <a:pt x="91053" y="40974"/>
                  <a:pt x="128118" y="40974"/>
                </a:cubicBezTo>
                <a:cubicBezTo>
                  <a:pt x="146357" y="40385"/>
                  <a:pt x="164008" y="36855"/>
                  <a:pt x="181070" y="31560"/>
                </a:cubicBezTo>
                <a:cubicBezTo>
                  <a:pt x="205780" y="23912"/>
                  <a:pt x="229903" y="13910"/>
                  <a:pt x="253437" y="2143"/>
                </a:cubicBezTo>
                <a:cubicBezTo>
                  <a:pt x="254025" y="4496"/>
                  <a:pt x="254613" y="7438"/>
                  <a:pt x="254613" y="9791"/>
                </a:cubicBezTo>
                <a:lnTo>
                  <a:pt x="254613" y="15674"/>
                </a:lnTo>
                <a:cubicBezTo>
                  <a:pt x="192249" y="69215"/>
                  <a:pt x="110468" y="88042"/>
                  <a:pt x="61636" y="90983"/>
                </a:cubicBezTo>
                <a:cubicBezTo>
                  <a:pt x="48104" y="91866"/>
                  <a:pt x="34719" y="89365"/>
                  <a:pt x="22363" y="84217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7" name="Forme libre : forme 66">
            <a:extLst>
              <a:ext uri="{FF2B5EF4-FFF2-40B4-BE49-F238E27FC236}">
                <a16:creationId xmlns:a16="http://schemas.microsoft.com/office/drawing/2014/main" id="{8311F45B-46D1-4E93-B5FB-C96A0B131FB3}"/>
              </a:ext>
            </a:extLst>
          </p:cNvPr>
          <p:cNvSpPr/>
          <p:nvPr/>
        </p:nvSpPr>
        <p:spPr>
          <a:xfrm rot="8716295">
            <a:off x="-3428" y="2405990"/>
            <a:ext cx="142167" cy="208592"/>
          </a:xfrm>
          <a:custGeom>
            <a:avLst/>
            <a:gdLst>
              <a:gd name="connsiteX0" fmla="*/ 81108 w 142167"/>
              <a:gd name="connsiteY0" fmla="*/ 208592 h 208592"/>
              <a:gd name="connsiteX1" fmla="*/ 81108 w 142167"/>
              <a:gd name="connsiteY1" fmla="*/ 69717 h 208592"/>
              <a:gd name="connsiteX2" fmla="*/ 81108 w 142167"/>
              <a:gd name="connsiteY2" fmla="*/ 65615 h 208592"/>
              <a:gd name="connsiteX3" fmla="*/ 60604 w 142167"/>
              <a:gd name="connsiteY3" fmla="*/ 50123 h 208592"/>
              <a:gd name="connsiteX4" fmla="*/ 0 w 142167"/>
              <a:gd name="connsiteY4" fmla="*/ 50123 h 208592"/>
              <a:gd name="connsiteX5" fmla="*/ 0 w 142167"/>
              <a:gd name="connsiteY5" fmla="*/ 0 h 208592"/>
              <a:gd name="connsiteX6" fmla="*/ 85210 w 142167"/>
              <a:gd name="connsiteY6" fmla="*/ 0 h 208592"/>
              <a:gd name="connsiteX7" fmla="*/ 142167 w 142167"/>
              <a:gd name="connsiteY7" fmla="*/ 50123 h 208592"/>
              <a:gd name="connsiteX8" fmla="*/ 142167 w 142167"/>
              <a:gd name="connsiteY8" fmla="*/ 120504 h 208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2167" h="208592">
                <a:moveTo>
                  <a:pt x="81108" y="208592"/>
                </a:moveTo>
                <a:lnTo>
                  <a:pt x="81108" y="69717"/>
                </a:lnTo>
                <a:cubicBezTo>
                  <a:pt x="81108" y="68350"/>
                  <a:pt x="81108" y="66983"/>
                  <a:pt x="81108" y="65615"/>
                </a:cubicBezTo>
                <a:cubicBezTo>
                  <a:pt x="79742" y="55591"/>
                  <a:pt x="70628" y="48756"/>
                  <a:pt x="60604" y="50123"/>
                </a:cubicBezTo>
                <a:lnTo>
                  <a:pt x="0" y="50123"/>
                </a:lnTo>
                <a:lnTo>
                  <a:pt x="0" y="0"/>
                </a:lnTo>
                <a:lnTo>
                  <a:pt x="85210" y="0"/>
                </a:lnTo>
                <a:cubicBezTo>
                  <a:pt x="122118" y="0"/>
                  <a:pt x="142167" y="15948"/>
                  <a:pt x="142167" y="50123"/>
                </a:cubicBezTo>
                <a:lnTo>
                  <a:pt x="142167" y="120504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8" name="Forme libre : forme 67">
            <a:extLst>
              <a:ext uri="{FF2B5EF4-FFF2-40B4-BE49-F238E27FC236}">
                <a16:creationId xmlns:a16="http://schemas.microsoft.com/office/drawing/2014/main" id="{FBB49843-79D6-49E9-8512-3ED8074BAF49}"/>
              </a:ext>
            </a:extLst>
          </p:cNvPr>
          <p:cNvSpPr/>
          <p:nvPr/>
        </p:nvSpPr>
        <p:spPr>
          <a:xfrm rot="8716295">
            <a:off x="80015" y="2413296"/>
            <a:ext cx="259728" cy="250615"/>
          </a:xfrm>
          <a:custGeom>
            <a:avLst/>
            <a:gdLst>
              <a:gd name="connsiteX0" fmla="*/ 544830 w 542925"/>
              <a:gd name="connsiteY0" fmla="*/ 184905 h 523875"/>
              <a:gd name="connsiteX1" fmla="*/ 544830 w 542925"/>
              <a:gd name="connsiteY1" fmla="*/ 197288 h 523875"/>
              <a:gd name="connsiteX2" fmla="*/ 415290 w 542925"/>
              <a:gd name="connsiteY2" fmla="*/ 204908 h 523875"/>
              <a:gd name="connsiteX3" fmla="*/ 415290 w 542925"/>
              <a:gd name="connsiteY3" fmla="*/ 170618 h 523875"/>
              <a:gd name="connsiteX4" fmla="*/ 344805 w 542925"/>
              <a:gd name="connsiteY4" fmla="*/ 83940 h 523875"/>
              <a:gd name="connsiteX5" fmla="*/ 233363 w 542925"/>
              <a:gd name="connsiteY5" fmla="*/ 266820 h 523875"/>
              <a:gd name="connsiteX6" fmla="*/ 233363 w 542925"/>
              <a:gd name="connsiteY6" fmla="*/ 446843 h 523875"/>
              <a:gd name="connsiteX7" fmla="*/ 107632 w 542925"/>
              <a:gd name="connsiteY7" fmla="*/ 532568 h 523875"/>
              <a:gd name="connsiteX8" fmla="*/ 107632 w 542925"/>
              <a:gd name="connsiteY8" fmla="*/ 95370 h 523875"/>
              <a:gd name="connsiteX9" fmla="*/ 0 w 542925"/>
              <a:gd name="connsiteY9" fmla="*/ 95370 h 523875"/>
              <a:gd name="connsiteX10" fmla="*/ 0 w 542925"/>
              <a:gd name="connsiteY10" fmla="*/ 2978 h 523875"/>
              <a:gd name="connsiteX11" fmla="*/ 219075 w 542925"/>
              <a:gd name="connsiteY11" fmla="*/ 2978 h 523875"/>
              <a:gd name="connsiteX12" fmla="*/ 219075 w 542925"/>
              <a:gd name="connsiteY12" fmla="*/ 157283 h 523875"/>
              <a:gd name="connsiteX13" fmla="*/ 221932 w 542925"/>
              <a:gd name="connsiteY13" fmla="*/ 157283 h 523875"/>
              <a:gd name="connsiteX14" fmla="*/ 321945 w 542925"/>
              <a:gd name="connsiteY14" fmla="*/ 12503 h 523875"/>
              <a:gd name="connsiteX15" fmla="*/ 387667 w 542925"/>
              <a:gd name="connsiteY15" fmla="*/ 120 h 523875"/>
              <a:gd name="connsiteX16" fmla="*/ 544830 w 542925"/>
              <a:gd name="connsiteY16" fmla="*/ 18490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42925" h="523875">
                <a:moveTo>
                  <a:pt x="544830" y="184905"/>
                </a:moveTo>
                <a:lnTo>
                  <a:pt x="544830" y="197288"/>
                </a:lnTo>
                <a:lnTo>
                  <a:pt x="415290" y="204908"/>
                </a:lnTo>
                <a:lnTo>
                  <a:pt x="415290" y="170618"/>
                </a:lnTo>
                <a:cubicBezTo>
                  <a:pt x="415290" y="119183"/>
                  <a:pt x="385763" y="83940"/>
                  <a:pt x="344805" y="83940"/>
                </a:cubicBezTo>
                <a:cubicBezTo>
                  <a:pt x="283845" y="83940"/>
                  <a:pt x="233363" y="164903"/>
                  <a:pt x="233363" y="266820"/>
                </a:cubicBezTo>
                <a:lnTo>
                  <a:pt x="233363" y="446843"/>
                </a:lnTo>
                <a:lnTo>
                  <a:pt x="107632" y="532568"/>
                </a:lnTo>
                <a:lnTo>
                  <a:pt x="107632" y="95370"/>
                </a:lnTo>
                <a:lnTo>
                  <a:pt x="0" y="95370"/>
                </a:lnTo>
                <a:lnTo>
                  <a:pt x="0" y="2978"/>
                </a:lnTo>
                <a:lnTo>
                  <a:pt x="219075" y="2978"/>
                </a:lnTo>
                <a:lnTo>
                  <a:pt x="219075" y="157283"/>
                </a:lnTo>
                <a:lnTo>
                  <a:pt x="221932" y="157283"/>
                </a:lnTo>
                <a:cubicBezTo>
                  <a:pt x="252413" y="66795"/>
                  <a:pt x="276225" y="31553"/>
                  <a:pt x="321945" y="12503"/>
                </a:cubicBezTo>
                <a:cubicBezTo>
                  <a:pt x="342900" y="3930"/>
                  <a:pt x="364807" y="-832"/>
                  <a:pt x="387667" y="120"/>
                </a:cubicBezTo>
                <a:cubicBezTo>
                  <a:pt x="485775" y="-1785"/>
                  <a:pt x="544830" y="66795"/>
                  <a:pt x="544830" y="18490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9" name="Forme libre : forme 68">
            <a:extLst>
              <a:ext uri="{FF2B5EF4-FFF2-40B4-BE49-F238E27FC236}">
                <a16:creationId xmlns:a16="http://schemas.microsoft.com/office/drawing/2014/main" id="{2588E0D5-81C5-4973-87D7-DBF7607FAFF4}"/>
              </a:ext>
            </a:extLst>
          </p:cNvPr>
          <p:cNvSpPr/>
          <p:nvPr/>
        </p:nvSpPr>
        <p:spPr>
          <a:xfrm rot="8716295">
            <a:off x="35165" y="2327016"/>
            <a:ext cx="186822" cy="136699"/>
          </a:xfrm>
          <a:custGeom>
            <a:avLst/>
            <a:gdLst>
              <a:gd name="connsiteX0" fmla="*/ 343853 w 390525"/>
              <a:gd name="connsiteY0" fmla="*/ 144780 h 285750"/>
              <a:gd name="connsiteX1" fmla="*/ 344805 w 390525"/>
              <a:gd name="connsiteY1" fmla="*/ 144780 h 285750"/>
              <a:gd name="connsiteX2" fmla="*/ 12382 w 390525"/>
              <a:gd name="connsiteY2" fmla="*/ 288608 h 285750"/>
              <a:gd name="connsiteX3" fmla="*/ 0 w 390525"/>
              <a:gd name="connsiteY3" fmla="*/ 271463 h 285750"/>
              <a:gd name="connsiteX4" fmla="*/ 225743 w 390525"/>
              <a:gd name="connsiteY4" fmla="*/ 59055 h 285750"/>
              <a:gd name="connsiteX5" fmla="*/ 340043 w 390525"/>
              <a:gd name="connsiteY5" fmla="*/ 0 h 285750"/>
              <a:gd name="connsiteX6" fmla="*/ 399098 w 390525"/>
              <a:gd name="connsiteY6" fmla="*/ 70485 h 285750"/>
              <a:gd name="connsiteX7" fmla="*/ 343853 w 390525"/>
              <a:gd name="connsiteY7" fmla="*/ 14478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0525" h="285750">
                <a:moveTo>
                  <a:pt x="343853" y="144780"/>
                </a:moveTo>
                <a:lnTo>
                  <a:pt x="344805" y="144780"/>
                </a:lnTo>
                <a:lnTo>
                  <a:pt x="12382" y="288608"/>
                </a:lnTo>
                <a:lnTo>
                  <a:pt x="0" y="271463"/>
                </a:lnTo>
                <a:lnTo>
                  <a:pt x="225743" y="59055"/>
                </a:lnTo>
                <a:cubicBezTo>
                  <a:pt x="254318" y="25718"/>
                  <a:pt x="295275" y="4763"/>
                  <a:pt x="340043" y="0"/>
                </a:cubicBezTo>
                <a:cubicBezTo>
                  <a:pt x="385763" y="0"/>
                  <a:pt x="399098" y="40005"/>
                  <a:pt x="399098" y="70485"/>
                </a:cubicBezTo>
                <a:cubicBezTo>
                  <a:pt x="396240" y="103823"/>
                  <a:pt x="374332" y="131445"/>
                  <a:pt x="343853" y="14478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0" name="Forme libre : forme 69">
            <a:extLst>
              <a:ext uri="{FF2B5EF4-FFF2-40B4-BE49-F238E27FC236}">
                <a16:creationId xmlns:a16="http://schemas.microsoft.com/office/drawing/2014/main" id="{4C19B60F-0DA9-4BC3-BAAD-2E7DE57F5376}"/>
              </a:ext>
            </a:extLst>
          </p:cNvPr>
          <p:cNvSpPr/>
          <p:nvPr/>
        </p:nvSpPr>
        <p:spPr>
          <a:xfrm rot="8716295">
            <a:off x="-20257" y="2217087"/>
            <a:ext cx="78731" cy="180665"/>
          </a:xfrm>
          <a:custGeom>
            <a:avLst/>
            <a:gdLst>
              <a:gd name="connsiteX0" fmla="*/ 0 w 78731"/>
              <a:gd name="connsiteY0" fmla="*/ 180665 h 180665"/>
              <a:gd name="connsiteX1" fmla="*/ 0 w 78731"/>
              <a:gd name="connsiteY1" fmla="*/ 40596 h 180665"/>
              <a:gd name="connsiteX2" fmla="*/ 78250 w 78731"/>
              <a:gd name="connsiteY2" fmla="*/ 0 h 180665"/>
              <a:gd name="connsiteX3" fmla="*/ 78731 w 78731"/>
              <a:gd name="connsiteY3" fmla="*/ 67083 h 180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8731" h="180665">
                <a:moveTo>
                  <a:pt x="0" y="180665"/>
                </a:moveTo>
                <a:lnTo>
                  <a:pt x="0" y="40596"/>
                </a:lnTo>
                <a:lnTo>
                  <a:pt x="78250" y="0"/>
                </a:lnTo>
                <a:lnTo>
                  <a:pt x="78731" y="6708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1" name="Forme libre : forme 70">
            <a:extLst>
              <a:ext uri="{FF2B5EF4-FFF2-40B4-BE49-F238E27FC236}">
                <a16:creationId xmlns:a16="http://schemas.microsoft.com/office/drawing/2014/main" id="{6EC16758-5536-44AA-B18E-D5428BFF36DA}"/>
              </a:ext>
            </a:extLst>
          </p:cNvPr>
          <p:cNvSpPr/>
          <p:nvPr/>
        </p:nvSpPr>
        <p:spPr>
          <a:xfrm rot="8716295">
            <a:off x="-15341" y="2575209"/>
            <a:ext cx="103435" cy="152027"/>
          </a:xfrm>
          <a:custGeom>
            <a:avLst/>
            <a:gdLst>
              <a:gd name="connsiteX0" fmla="*/ 43288 w 103435"/>
              <a:gd name="connsiteY0" fmla="*/ 152027 h 152027"/>
              <a:gd name="connsiteX1" fmla="*/ 43288 w 103435"/>
              <a:gd name="connsiteY1" fmla="*/ 16404 h 152027"/>
              <a:gd name="connsiteX2" fmla="*/ 0 w 103435"/>
              <a:gd name="connsiteY2" fmla="*/ 16404 h 152027"/>
              <a:gd name="connsiteX3" fmla="*/ 0 w 103435"/>
              <a:gd name="connsiteY3" fmla="*/ 2278 h 152027"/>
              <a:gd name="connsiteX4" fmla="*/ 103435 w 103435"/>
              <a:gd name="connsiteY4" fmla="*/ 0 h 152027"/>
              <a:gd name="connsiteX5" fmla="*/ 103435 w 103435"/>
              <a:gd name="connsiteY5" fmla="*/ 65255 h 152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3435" h="152027">
                <a:moveTo>
                  <a:pt x="43288" y="152027"/>
                </a:moveTo>
                <a:lnTo>
                  <a:pt x="43288" y="16404"/>
                </a:lnTo>
                <a:lnTo>
                  <a:pt x="0" y="16404"/>
                </a:lnTo>
                <a:lnTo>
                  <a:pt x="0" y="2278"/>
                </a:lnTo>
                <a:cubicBezTo>
                  <a:pt x="32808" y="3645"/>
                  <a:pt x="66982" y="911"/>
                  <a:pt x="103435" y="0"/>
                </a:cubicBezTo>
                <a:lnTo>
                  <a:pt x="103435" y="65255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2" name="Forme libre : forme 71">
            <a:extLst>
              <a:ext uri="{FF2B5EF4-FFF2-40B4-BE49-F238E27FC236}">
                <a16:creationId xmlns:a16="http://schemas.microsoft.com/office/drawing/2014/main" id="{F8CD2FD6-8E29-4A7B-A6E7-A08269AC0224}"/>
              </a:ext>
            </a:extLst>
          </p:cNvPr>
          <p:cNvSpPr/>
          <p:nvPr/>
        </p:nvSpPr>
        <p:spPr>
          <a:xfrm rot="8716295">
            <a:off x="279722" y="2133902"/>
            <a:ext cx="141256" cy="232388"/>
          </a:xfrm>
          <a:custGeom>
            <a:avLst/>
            <a:gdLst>
              <a:gd name="connsiteX0" fmla="*/ 297180 w 295275"/>
              <a:gd name="connsiteY0" fmla="*/ 104775 h 485775"/>
              <a:gd name="connsiteX1" fmla="*/ 297180 w 295275"/>
              <a:gd name="connsiteY1" fmla="*/ 435293 h 485775"/>
              <a:gd name="connsiteX2" fmla="*/ 169545 w 295275"/>
              <a:gd name="connsiteY2" fmla="*/ 485775 h 485775"/>
              <a:gd name="connsiteX3" fmla="*/ 169545 w 295275"/>
              <a:gd name="connsiteY3" fmla="*/ 145733 h 485775"/>
              <a:gd name="connsiteX4" fmla="*/ 169545 w 295275"/>
              <a:gd name="connsiteY4" fmla="*/ 137160 h 485775"/>
              <a:gd name="connsiteX5" fmla="*/ 126683 w 295275"/>
              <a:gd name="connsiteY5" fmla="*/ 104775 h 485775"/>
              <a:gd name="connsiteX6" fmla="*/ 0 w 295275"/>
              <a:gd name="connsiteY6" fmla="*/ 104775 h 485775"/>
              <a:gd name="connsiteX7" fmla="*/ 0 w 295275"/>
              <a:gd name="connsiteY7" fmla="*/ 0 h 485775"/>
              <a:gd name="connsiteX8" fmla="*/ 178118 w 295275"/>
              <a:gd name="connsiteY8" fmla="*/ 0 h 485775"/>
              <a:gd name="connsiteX9" fmla="*/ 297180 w 295275"/>
              <a:gd name="connsiteY9" fmla="*/ 104775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95275" h="485775">
                <a:moveTo>
                  <a:pt x="297180" y="104775"/>
                </a:moveTo>
                <a:lnTo>
                  <a:pt x="297180" y="435293"/>
                </a:lnTo>
                <a:lnTo>
                  <a:pt x="169545" y="485775"/>
                </a:lnTo>
                <a:lnTo>
                  <a:pt x="169545" y="145733"/>
                </a:lnTo>
                <a:cubicBezTo>
                  <a:pt x="169545" y="142875"/>
                  <a:pt x="169545" y="140018"/>
                  <a:pt x="169545" y="137160"/>
                </a:cubicBezTo>
                <a:cubicBezTo>
                  <a:pt x="166688" y="116205"/>
                  <a:pt x="147638" y="101918"/>
                  <a:pt x="126683" y="104775"/>
                </a:cubicBezTo>
                <a:lnTo>
                  <a:pt x="0" y="104775"/>
                </a:lnTo>
                <a:lnTo>
                  <a:pt x="0" y="0"/>
                </a:lnTo>
                <a:lnTo>
                  <a:pt x="178118" y="0"/>
                </a:lnTo>
                <a:cubicBezTo>
                  <a:pt x="255270" y="0"/>
                  <a:pt x="297180" y="33338"/>
                  <a:pt x="297180" y="10477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3" name="Forme libre : forme 72">
            <a:extLst>
              <a:ext uri="{FF2B5EF4-FFF2-40B4-BE49-F238E27FC236}">
                <a16:creationId xmlns:a16="http://schemas.microsoft.com/office/drawing/2014/main" id="{B8E4BE1C-C619-4E1A-8472-B00AFC43BA29}"/>
              </a:ext>
            </a:extLst>
          </p:cNvPr>
          <p:cNvSpPr/>
          <p:nvPr/>
        </p:nvSpPr>
        <p:spPr>
          <a:xfrm rot="8716295">
            <a:off x="369114" y="2163144"/>
            <a:ext cx="259728" cy="250615"/>
          </a:xfrm>
          <a:custGeom>
            <a:avLst/>
            <a:gdLst>
              <a:gd name="connsiteX0" fmla="*/ 544830 w 542925"/>
              <a:gd name="connsiteY0" fmla="*/ 184905 h 523875"/>
              <a:gd name="connsiteX1" fmla="*/ 544830 w 542925"/>
              <a:gd name="connsiteY1" fmla="*/ 197288 h 523875"/>
              <a:gd name="connsiteX2" fmla="*/ 415290 w 542925"/>
              <a:gd name="connsiteY2" fmla="*/ 204908 h 523875"/>
              <a:gd name="connsiteX3" fmla="*/ 415290 w 542925"/>
              <a:gd name="connsiteY3" fmla="*/ 170618 h 523875"/>
              <a:gd name="connsiteX4" fmla="*/ 344805 w 542925"/>
              <a:gd name="connsiteY4" fmla="*/ 83940 h 523875"/>
              <a:gd name="connsiteX5" fmla="*/ 233363 w 542925"/>
              <a:gd name="connsiteY5" fmla="*/ 266820 h 523875"/>
              <a:gd name="connsiteX6" fmla="*/ 233363 w 542925"/>
              <a:gd name="connsiteY6" fmla="*/ 446843 h 523875"/>
              <a:gd name="connsiteX7" fmla="*/ 107632 w 542925"/>
              <a:gd name="connsiteY7" fmla="*/ 532568 h 523875"/>
              <a:gd name="connsiteX8" fmla="*/ 107632 w 542925"/>
              <a:gd name="connsiteY8" fmla="*/ 95370 h 523875"/>
              <a:gd name="connsiteX9" fmla="*/ 0 w 542925"/>
              <a:gd name="connsiteY9" fmla="*/ 95370 h 523875"/>
              <a:gd name="connsiteX10" fmla="*/ 0 w 542925"/>
              <a:gd name="connsiteY10" fmla="*/ 2978 h 523875"/>
              <a:gd name="connsiteX11" fmla="*/ 219075 w 542925"/>
              <a:gd name="connsiteY11" fmla="*/ 2978 h 523875"/>
              <a:gd name="connsiteX12" fmla="*/ 219075 w 542925"/>
              <a:gd name="connsiteY12" fmla="*/ 157283 h 523875"/>
              <a:gd name="connsiteX13" fmla="*/ 221932 w 542925"/>
              <a:gd name="connsiteY13" fmla="*/ 157283 h 523875"/>
              <a:gd name="connsiteX14" fmla="*/ 321945 w 542925"/>
              <a:gd name="connsiteY14" fmla="*/ 12503 h 523875"/>
              <a:gd name="connsiteX15" fmla="*/ 387667 w 542925"/>
              <a:gd name="connsiteY15" fmla="*/ 120 h 523875"/>
              <a:gd name="connsiteX16" fmla="*/ 544830 w 542925"/>
              <a:gd name="connsiteY16" fmla="*/ 18490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42925" h="523875">
                <a:moveTo>
                  <a:pt x="544830" y="184905"/>
                </a:moveTo>
                <a:lnTo>
                  <a:pt x="544830" y="197288"/>
                </a:lnTo>
                <a:lnTo>
                  <a:pt x="415290" y="204908"/>
                </a:lnTo>
                <a:lnTo>
                  <a:pt x="415290" y="170618"/>
                </a:lnTo>
                <a:cubicBezTo>
                  <a:pt x="415290" y="119183"/>
                  <a:pt x="385763" y="83940"/>
                  <a:pt x="344805" y="83940"/>
                </a:cubicBezTo>
                <a:cubicBezTo>
                  <a:pt x="283845" y="83940"/>
                  <a:pt x="233363" y="164903"/>
                  <a:pt x="233363" y="266820"/>
                </a:cubicBezTo>
                <a:lnTo>
                  <a:pt x="233363" y="446843"/>
                </a:lnTo>
                <a:lnTo>
                  <a:pt x="107632" y="532568"/>
                </a:lnTo>
                <a:lnTo>
                  <a:pt x="107632" y="95370"/>
                </a:lnTo>
                <a:lnTo>
                  <a:pt x="0" y="95370"/>
                </a:lnTo>
                <a:lnTo>
                  <a:pt x="0" y="2978"/>
                </a:lnTo>
                <a:lnTo>
                  <a:pt x="219075" y="2978"/>
                </a:lnTo>
                <a:lnTo>
                  <a:pt x="219075" y="157283"/>
                </a:lnTo>
                <a:lnTo>
                  <a:pt x="221932" y="157283"/>
                </a:lnTo>
                <a:cubicBezTo>
                  <a:pt x="252413" y="66795"/>
                  <a:pt x="276225" y="31553"/>
                  <a:pt x="321945" y="12503"/>
                </a:cubicBezTo>
                <a:cubicBezTo>
                  <a:pt x="342900" y="3930"/>
                  <a:pt x="364807" y="-832"/>
                  <a:pt x="387667" y="120"/>
                </a:cubicBezTo>
                <a:cubicBezTo>
                  <a:pt x="485775" y="-1785"/>
                  <a:pt x="544830" y="66795"/>
                  <a:pt x="544830" y="18490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4" name="Forme libre : forme 73">
            <a:extLst>
              <a:ext uri="{FF2B5EF4-FFF2-40B4-BE49-F238E27FC236}">
                <a16:creationId xmlns:a16="http://schemas.microsoft.com/office/drawing/2014/main" id="{E00D5309-AD7C-43C7-8A0B-B7211B97E879}"/>
              </a:ext>
            </a:extLst>
          </p:cNvPr>
          <p:cNvSpPr/>
          <p:nvPr/>
        </p:nvSpPr>
        <p:spPr>
          <a:xfrm rot="8716295">
            <a:off x="167488" y="2222446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5" name="Forme libre : forme 74">
            <a:extLst>
              <a:ext uri="{FF2B5EF4-FFF2-40B4-BE49-F238E27FC236}">
                <a16:creationId xmlns:a16="http://schemas.microsoft.com/office/drawing/2014/main" id="{569B59A1-12B4-4886-9F85-B0AFCE236D87}"/>
              </a:ext>
            </a:extLst>
          </p:cNvPr>
          <p:cNvSpPr/>
          <p:nvPr/>
        </p:nvSpPr>
        <p:spPr>
          <a:xfrm rot="8716295">
            <a:off x="42586" y="2013773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6" name="Forme libre : forme 75">
            <a:extLst>
              <a:ext uri="{FF2B5EF4-FFF2-40B4-BE49-F238E27FC236}">
                <a16:creationId xmlns:a16="http://schemas.microsoft.com/office/drawing/2014/main" id="{F564295A-16CC-45A5-86A1-4CEC6CD90425}"/>
              </a:ext>
            </a:extLst>
          </p:cNvPr>
          <p:cNvSpPr/>
          <p:nvPr/>
        </p:nvSpPr>
        <p:spPr>
          <a:xfrm rot="8716295">
            <a:off x="257666" y="2263398"/>
            <a:ext cx="100246" cy="218719"/>
          </a:xfrm>
          <a:custGeom>
            <a:avLst/>
            <a:gdLst>
              <a:gd name="connsiteX0" fmla="*/ 216217 w 209550"/>
              <a:gd name="connsiteY0" fmla="*/ 0 h 457200"/>
              <a:gd name="connsiteX1" fmla="*/ 216217 w 209550"/>
              <a:gd name="connsiteY1" fmla="*/ 458153 h 457200"/>
              <a:gd name="connsiteX2" fmla="*/ 90488 w 209550"/>
              <a:gd name="connsiteY2" fmla="*/ 337185 h 457200"/>
              <a:gd name="connsiteX3" fmla="*/ 90488 w 209550"/>
              <a:gd name="connsiteY3" fmla="*/ 34290 h 457200"/>
              <a:gd name="connsiteX4" fmla="*/ 0 w 209550"/>
              <a:gd name="connsiteY4" fmla="*/ 34290 h 457200"/>
              <a:gd name="connsiteX5" fmla="*/ 0 w 209550"/>
              <a:gd name="connsiteY5" fmla="*/ 4763 h 457200"/>
              <a:gd name="connsiteX6" fmla="*/ 216217 w 209550"/>
              <a:gd name="connsiteY6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9550" h="457200">
                <a:moveTo>
                  <a:pt x="216217" y="0"/>
                </a:moveTo>
                <a:lnTo>
                  <a:pt x="216217" y="458153"/>
                </a:lnTo>
                <a:lnTo>
                  <a:pt x="90488" y="337185"/>
                </a:lnTo>
                <a:lnTo>
                  <a:pt x="90488" y="34290"/>
                </a:lnTo>
                <a:lnTo>
                  <a:pt x="0" y="34290"/>
                </a:lnTo>
                <a:lnTo>
                  <a:pt x="0" y="4763"/>
                </a:lnTo>
                <a:cubicBezTo>
                  <a:pt x="68580" y="7620"/>
                  <a:pt x="140017" y="1905"/>
                  <a:pt x="216217" y="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7" name="Forme libre : forme 76">
            <a:extLst>
              <a:ext uri="{FF2B5EF4-FFF2-40B4-BE49-F238E27FC236}">
                <a16:creationId xmlns:a16="http://schemas.microsoft.com/office/drawing/2014/main" id="{2384700C-00D8-4B4D-ABDF-BE0456A14505}"/>
              </a:ext>
            </a:extLst>
          </p:cNvPr>
          <p:cNvSpPr/>
          <p:nvPr/>
        </p:nvSpPr>
        <p:spPr>
          <a:xfrm rot="8716295">
            <a:off x="16215" y="2113798"/>
            <a:ext cx="72447" cy="72447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8" name="Forme libre : forme 77">
            <a:extLst>
              <a:ext uri="{FF2B5EF4-FFF2-40B4-BE49-F238E27FC236}">
                <a16:creationId xmlns:a16="http://schemas.microsoft.com/office/drawing/2014/main" id="{D8BA4606-ED26-402C-93D7-D77E55C056EF}"/>
              </a:ext>
            </a:extLst>
          </p:cNvPr>
          <p:cNvSpPr/>
          <p:nvPr/>
        </p:nvSpPr>
        <p:spPr>
          <a:xfrm rot="7484129">
            <a:off x="362597" y="2454749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9" name="Forme libre : forme 78">
            <a:extLst>
              <a:ext uri="{FF2B5EF4-FFF2-40B4-BE49-F238E27FC236}">
                <a16:creationId xmlns:a16="http://schemas.microsoft.com/office/drawing/2014/main" id="{3CCE9711-ABFF-417D-B3E6-0BDB1263FCD1}"/>
              </a:ext>
            </a:extLst>
          </p:cNvPr>
          <p:cNvSpPr/>
          <p:nvPr/>
        </p:nvSpPr>
        <p:spPr>
          <a:xfrm rot="13089394">
            <a:off x="463440" y="2426400"/>
            <a:ext cx="272584" cy="319064"/>
          </a:xfrm>
          <a:custGeom>
            <a:avLst/>
            <a:gdLst>
              <a:gd name="connsiteX0" fmla="*/ 80445 w 272584"/>
              <a:gd name="connsiteY0" fmla="*/ 215518 h 319064"/>
              <a:gd name="connsiteX1" fmla="*/ 0 w 272584"/>
              <a:gd name="connsiteY1" fmla="*/ 93007 h 319064"/>
              <a:gd name="connsiteX2" fmla="*/ 0 w 272584"/>
              <a:gd name="connsiteY2" fmla="*/ 38074 h 319064"/>
              <a:gd name="connsiteX3" fmla="*/ 73388 w 272584"/>
              <a:gd name="connsiteY3" fmla="*/ 0 h 319064"/>
              <a:gd name="connsiteX4" fmla="*/ 74492 w 272584"/>
              <a:gd name="connsiteY4" fmla="*/ 153950 h 319064"/>
              <a:gd name="connsiteX5" fmla="*/ 76768 w 272584"/>
              <a:gd name="connsiteY5" fmla="*/ 200369 h 319064"/>
              <a:gd name="connsiteX6" fmla="*/ 272584 w 272584"/>
              <a:gd name="connsiteY6" fmla="*/ 258238 h 319064"/>
              <a:gd name="connsiteX7" fmla="*/ 177331 w 272584"/>
              <a:gd name="connsiteY7" fmla="*/ 311347 h 319064"/>
              <a:gd name="connsiteX8" fmla="*/ 148437 w 272584"/>
              <a:gd name="connsiteY8" fmla="*/ 319064 h 319064"/>
              <a:gd name="connsiteX9" fmla="*/ 119231 w 272584"/>
              <a:gd name="connsiteY9" fmla="*/ 274585 h 319064"/>
              <a:gd name="connsiteX10" fmla="*/ 153949 w 272584"/>
              <a:gd name="connsiteY10" fmla="*/ 281965 h 319064"/>
              <a:gd name="connsiteX11" fmla="*/ 203610 w 272584"/>
              <a:gd name="connsiteY11" fmla="*/ 273136 h 319064"/>
              <a:gd name="connsiteX12" fmla="*/ 271481 w 272584"/>
              <a:gd name="connsiteY12" fmla="*/ 245547 h 319064"/>
              <a:gd name="connsiteX13" fmla="*/ 272584 w 272584"/>
              <a:gd name="connsiteY13" fmla="*/ 252720 h 319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72584" h="319064">
                <a:moveTo>
                  <a:pt x="80445" y="215518"/>
                </a:moveTo>
                <a:lnTo>
                  <a:pt x="0" y="93007"/>
                </a:lnTo>
                <a:lnTo>
                  <a:pt x="0" y="38074"/>
                </a:lnTo>
                <a:lnTo>
                  <a:pt x="73388" y="0"/>
                </a:lnTo>
                <a:lnTo>
                  <a:pt x="74492" y="153950"/>
                </a:lnTo>
                <a:cubicBezTo>
                  <a:pt x="73664" y="169400"/>
                  <a:pt x="74492" y="184988"/>
                  <a:pt x="76768" y="200369"/>
                </a:cubicBezTo>
                <a:close/>
                <a:moveTo>
                  <a:pt x="272584" y="258238"/>
                </a:moveTo>
                <a:cubicBezTo>
                  <a:pt x="243339" y="283344"/>
                  <a:pt x="209542" y="300312"/>
                  <a:pt x="177331" y="311347"/>
                </a:cubicBezTo>
                <a:lnTo>
                  <a:pt x="148437" y="319064"/>
                </a:lnTo>
                <a:lnTo>
                  <a:pt x="119231" y="274585"/>
                </a:lnTo>
                <a:lnTo>
                  <a:pt x="153949" y="281965"/>
                </a:lnTo>
                <a:cubicBezTo>
                  <a:pt x="171055" y="281413"/>
                  <a:pt x="187609" y="278102"/>
                  <a:pt x="203610" y="273136"/>
                </a:cubicBezTo>
                <a:cubicBezTo>
                  <a:pt x="226785" y="265963"/>
                  <a:pt x="249409" y="256583"/>
                  <a:pt x="271481" y="245547"/>
                </a:cubicBezTo>
                <a:cubicBezTo>
                  <a:pt x="272032" y="247754"/>
                  <a:pt x="272584" y="250513"/>
                  <a:pt x="272584" y="25272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0" name="Forme libre : forme 79">
            <a:extLst>
              <a:ext uri="{FF2B5EF4-FFF2-40B4-BE49-F238E27FC236}">
                <a16:creationId xmlns:a16="http://schemas.microsoft.com/office/drawing/2014/main" id="{6E12610B-6A34-4C00-8EC5-09F9F5AEEEF0}"/>
              </a:ext>
            </a:extLst>
          </p:cNvPr>
          <p:cNvSpPr/>
          <p:nvPr/>
        </p:nvSpPr>
        <p:spPr>
          <a:xfrm rot="8716295">
            <a:off x="675867" y="2357327"/>
            <a:ext cx="38012" cy="45752"/>
          </a:xfrm>
          <a:custGeom>
            <a:avLst/>
            <a:gdLst>
              <a:gd name="connsiteX0" fmla="*/ 0 w 38012"/>
              <a:gd name="connsiteY0" fmla="*/ 45752 h 45752"/>
              <a:gd name="connsiteX1" fmla="*/ 37842 w 38012"/>
              <a:gd name="connsiteY1" fmla="*/ 0 h 45752"/>
              <a:gd name="connsiteX2" fmla="*/ 38012 w 38012"/>
              <a:gd name="connsiteY2" fmla="*/ 641 h 45752"/>
              <a:gd name="connsiteX3" fmla="*/ 6841 w 38012"/>
              <a:gd name="connsiteY3" fmla="*/ 42560 h 45752"/>
              <a:gd name="connsiteX4" fmla="*/ 7378 w 38012"/>
              <a:gd name="connsiteY4" fmla="*/ 42560 h 45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012" h="45752">
                <a:moveTo>
                  <a:pt x="0" y="45752"/>
                </a:moveTo>
                <a:lnTo>
                  <a:pt x="37842" y="0"/>
                </a:lnTo>
                <a:lnTo>
                  <a:pt x="38012" y="641"/>
                </a:lnTo>
                <a:cubicBezTo>
                  <a:pt x="36400" y="19451"/>
                  <a:pt x="24039" y="35036"/>
                  <a:pt x="6841" y="42560"/>
                </a:cubicBezTo>
                <a:lnTo>
                  <a:pt x="7378" y="4256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1" name="Forme libre : forme 80">
            <a:extLst>
              <a:ext uri="{FF2B5EF4-FFF2-40B4-BE49-F238E27FC236}">
                <a16:creationId xmlns:a16="http://schemas.microsoft.com/office/drawing/2014/main" id="{04C60C27-7F84-4DDC-864F-602B18A26BC5}"/>
              </a:ext>
            </a:extLst>
          </p:cNvPr>
          <p:cNvSpPr/>
          <p:nvPr/>
        </p:nvSpPr>
        <p:spPr>
          <a:xfrm rot="8716295">
            <a:off x="601197" y="2126009"/>
            <a:ext cx="110380" cy="1103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2" name="Forme libre : forme 81">
            <a:extLst>
              <a:ext uri="{FF2B5EF4-FFF2-40B4-BE49-F238E27FC236}">
                <a16:creationId xmlns:a16="http://schemas.microsoft.com/office/drawing/2014/main" id="{603BCEF5-66FB-4B3A-9672-2C4F09A114FA}"/>
              </a:ext>
            </a:extLst>
          </p:cNvPr>
          <p:cNvSpPr/>
          <p:nvPr/>
        </p:nvSpPr>
        <p:spPr>
          <a:xfrm rot="8716295">
            <a:off x="357951" y="2156230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3" name="Forme libre : forme 82">
            <a:extLst>
              <a:ext uri="{FF2B5EF4-FFF2-40B4-BE49-F238E27FC236}">
                <a16:creationId xmlns:a16="http://schemas.microsoft.com/office/drawing/2014/main" id="{47C10671-5456-47FF-825A-4447688D4139}"/>
              </a:ext>
            </a:extLst>
          </p:cNvPr>
          <p:cNvSpPr/>
          <p:nvPr/>
        </p:nvSpPr>
        <p:spPr>
          <a:xfrm rot="8716295">
            <a:off x="535403" y="1996988"/>
            <a:ext cx="110380" cy="1103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4" name="Forme libre : forme 83">
            <a:extLst>
              <a:ext uri="{FF2B5EF4-FFF2-40B4-BE49-F238E27FC236}">
                <a16:creationId xmlns:a16="http://schemas.microsoft.com/office/drawing/2014/main" id="{DB34C374-02D3-4583-9890-9C27CA821837}"/>
              </a:ext>
            </a:extLst>
          </p:cNvPr>
          <p:cNvSpPr/>
          <p:nvPr/>
        </p:nvSpPr>
        <p:spPr>
          <a:xfrm rot="8716295">
            <a:off x="-76043" y="1768178"/>
            <a:ext cx="197178" cy="215049"/>
          </a:xfrm>
          <a:custGeom>
            <a:avLst/>
            <a:gdLst>
              <a:gd name="connsiteX0" fmla="*/ 51490 w 197178"/>
              <a:gd name="connsiteY0" fmla="*/ 215049 h 215049"/>
              <a:gd name="connsiteX1" fmla="*/ 51490 w 197178"/>
              <a:gd name="connsiteY1" fmla="*/ 45624 h 215049"/>
              <a:gd name="connsiteX2" fmla="*/ 0 w 197178"/>
              <a:gd name="connsiteY2" fmla="*/ 45624 h 215049"/>
              <a:gd name="connsiteX3" fmla="*/ 0 w 197178"/>
              <a:gd name="connsiteY3" fmla="*/ 1424 h 215049"/>
              <a:gd name="connsiteX4" fmla="*/ 104803 w 197178"/>
              <a:gd name="connsiteY4" fmla="*/ 1425 h 215049"/>
              <a:gd name="connsiteX5" fmla="*/ 104803 w 197178"/>
              <a:gd name="connsiteY5" fmla="*/ 75242 h 215049"/>
              <a:gd name="connsiteX6" fmla="*/ 106169 w 197178"/>
              <a:gd name="connsiteY6" fmla="*/ 75242 h 215049"/>
              <a:gd name="connsiteX7" fmla="*/ 154014 w 197178"/>
              <a:gd name="connsiteY7" fmla="*/ 5981 h 215049"/>
              <a:gd name="connsiteX8" fmla="*/ 185455 w 197178"/>
              <a:gd name="connsiteY8" fmla="*/ 57 h 215049"/>
              <a:gd name="connsiteX9" fmla="*/ 197178 w 197178"/>
              <a:gd name="connsiteY9" fmla="*/ 4872 h 215049"/>
              <a:gd name="connsiteX10" fmla="*/ 170795 w 197178"/>
              <a:gd name="connsiteY10" fmla="*/ 42934 h 215049"/>
              <a:gd name="connsiteX11" fmla="*/ 164950 w 197178"/>
              <a:gd name="connsiteY11" fmla="*/ 40156 h 215049"/>
              <a:gd name="connsiteX12" fmla="*/ 111638 w 197178"/>
              <a:gd name="connsiteY12" fmla="*/ 127643 h 215049"/>
              <a:gd name="connsiteX13" fmla="*/ 111638 w 197178"/>
              <a:gd name="connsiteY13" fmla="*/ 128277 h 215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97178" h="215049">
                <a:moveTo>
                  <a:pt x="51490" y="215049"/>
                </a:moveTo>
                <a:lnTo>
                  <a:pt x="51490" y="45624"/>
                </a:lnTo>
                <a:lnTo>
                  <a:pt x="0" y="45624"/>
                </a:lnTo>
                <a:lnTo>
                  <a:pt x="0" y="1424"/>
                </a:lnTo>
                <a:lnTo>
                  <a:pt x="104803" y="1425"/>
                </a:lnTo>
                <a:lnTo>
                  <a:pt x="104803" y="75242"/>
                </a:lnTo>
                <a:lnTo>
                  <a:pt x="106169" y="75242"/>
                </a:lnTo>
                <a:cubicBezTo>
                  <a:pt x="120751" y="31954"/>
                  <a:pt x="132142" y="15094"/>
                  <a:pt x="154014" y="5981"/>
                </a:cubicBezTo>
                <a:cubicBezTo>
                  <a:pt x="164039" y="1880"/>
                  <a:pt x="174519" y="-398"/>
                  <a:pt x="185455" y="57"/>
                </a:cubicBezTo>
                <a:lnTo>
                  <a:pt x="197178" y="4872"/>
                </a:lnTo>
                <a:lnTo>
                  <a:pt x="170795" y="42934"/>
                </a:lnTo>
                <a:lnTo>
                  <a:pt x="164950" y="40156"/>
                </a:lnTo>
                <a:cubicBezTo>
                  <a:pt x="135788" y="40156"/>
                  <a:pt x="111638" y="78887"/>
                  <a:pt x="111638" y="127643"/>
                </a:cubicBezTo>
                <a:lnTo>
                  <a:pt x="111638" y="128277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5" name="Forme libre : forme 84">
            <a:extLst>
              <a:ext uri="{FF2B5EF4-FFF2-40B4-BE49-F238E27FC236}">
                <a16:creationId xmlns:a16="http://schemas.microsoft.com/office/drawing/2014/main" id="{F27A5053-248B-4729-A180-CFD83FBA8C7D}"/>
              </a:ext>
            </a:extLst>
          </p:cNvPr>
          <p:cNvSpPr/>
          <p:nvPr/>
        </p:nvSpPr>
        <p:spPr>
          <a:xfrm rot="8716295">
            <a:off x="56555" y="1474203"/>
            <a:ext cx="141256" cy="232388"/>
          </a:xfrm>
          <a:custGeom>
            <a:avLst/>
            <a:gdLst>
              <a:gd name="connsiteX0" fmla="*/ 297180 w 295275"/>
              <a:gd name="connsiteY0" fmla="*/ 104775 h 485775"/>
              <a:gd name="connsiteX1" fmla="*/ 297180 w 295275"/>
              <a:gd name="connsiteY1" fmla="*/ 435293 h 485775"/>
              <a:gd name="connsiteX2" fmla="*/ 169545 w 295275"/>
              <a:gd name="connsiteY2" fmla="*/ 485775 h 485775"/>
              <a:gd name="connsiteX3" fmla="*/ 169545 w 295275"/>
              <a:gd name="connsiteY3" fmla="*/ 145733 h 485775"/>
              <a:gd name="connsiteX4" fmla="*/ 169545 w 295275"/>
              <a:gd name="connsiteY4" fmla="*/ 137160 h 485775"/>
              <a:gd name="connsiteX5" fmla="*/ 126683 w 295275"/>
              <a:gd name="connsiteY5" fmla="*/ 104775 h 485775"/>
              <a:gd name="connsiteX6" fmla="*/ 0 w 295275"/>
              <a:gd name="connsiteY6" fmla="*/ 104775 h 485775"/>
              <a:gd name="connsiteX7" fmla="*/ 0 w 295275"/>
              <a:gd name="connsiteY7" fmla="*/ 0 h 485775"/>
              <a:gd name="connsiteX8" fmla="*/ 178118 w 295275"/>
              <a:gd name="connsiteY8" fmla="*/ 0 h 485775"/>
              <a:gd name="connsiteX9" fmla="*/ 297180 w 295275"/>
              <a:gd name="connsiteY9" fmla="*/ 104775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95275" h="485775">
                <a:moveTo>
                  <a:pt x="297180" y="104775"/>
                </a:moveTo>
                <a:lnTo>
                  <a:pt x="297180" y="435293"/>
                </a:lnTo>
                <a:lnTo>
                  <a:pt x="169545" y="485775"/>
                </a:lnTo>
                <a:lnTo>
                  <a:pt x="169545" y="145733"/>
                </a:lnTo>
                <a:cubicBezTo>
                  <a:pt x="169545" y="142875"/>
                  <a:pt x="169545" y="140018"/>
                  <a:pt x="169545" y="137160"/>
                </a:cubicBezTo>
                <a:cubicBezTo>
                  <a:pt x="166688" y="116205"/>
                  <a:pt x="147638" y="101918"/>
                  <a:pt x="126683" y="104775"/>
                </a:cubicBezTo>
                <a:lnTo>
                  <a:pt x="0" y="104775"/>
                </a:lnTo>
                <a:lnTo>
                  <a:pt x="0" y="0"/>
                </a:lnTo>
                <a:lnTo>
                  <a:pt x="178118" y="0"/>
                </a:lnTo>
                <a:cubicBezTo>
                  <a:pt x="255270" y="0"/>
                  <a:pt x="297180" y="33338"/>
                  <a:pt x="297180" y="10477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6" name="Forme libre : forme 85">
            <a:extLst>
              <a:ext uri="{FF2B5EF4-FFF2-40B4-BE49-F238E27FC236}">
                <a16:creationId xmlns:a16="http://schemas.microsoft.com/office/drawing/2014/main" id="{9918622A-7E96-4EC8-A35B-CBCD19A79AE2}"/>
              </a:ext>
            </a:extLst>
          </p:cNvPr>
          <p:cNvSpPr/>
          <p:nvPr/>
        </p:nvSpPr>
        <p:spPr>
          <a:xfrm rot="8716295">
            <a:off x="145947" y="1503445"/>
            <a:ext cx="259728" cy="250615"/>
          </a:xfrm>
          <a:custGeom>
            <a:avLst/>
            <a:gdLst>
              <a:gd name="connsiteX0" fmla="*/ 544830 w 542925"/>
              <a:gd name="connsiteY0" fmla="*/ 184905 h 523875"/>
              <a:gd name="connsiteX1" fmla="*/ 544830 w 542925"/>
              <a:gd name="connsiteY1" fmla="*/ 197288 h 523875"/>
              <a:gd name="connsiteX2" fmla="*/ 415290 w 542925"/>
              <a:gd name="connsiteY2" fmla="*/ 204908 h 523875"/>
              <a:gd name="connsiteX3" fmla="*/ 415290 w 542925"/>
              <a:gd name="connsiteY3" fmla="*/ 170618 h 523875"/>
              <a:gd name="connsiteX4" fmla="*/ 344805 w 542925"/>
              <a:gd name="connsiteY4" fmla="*/ 83940 h 523875"/>
              <a:gd name="connsiteX5" fmla="*/ 233363 w 542925"/>
              <a:gd name="connsiteY5" fmla="*/ 266820 h 523875"/>
              <a:gd name="connsiteX6" fmla="*/ 233363 w 542925"/>
              <a:gd name="connsiteY6" fmla="*/ 446843 h 523875"/>
              <a:gd name="connsiteX7" fmla="*/ 107632 w 542925"/>
              <a:gd name="connsiteY7" fmla="*/ 532568 h 523875"/>
              <a:gd name="connsiteX8" fmla="*/ 107632 w 542925"/>
              <a:gd name="connsiteY8" fmla="*/ 95370 h 523875"/>
              <a:gd name="connsiteX9" fmla="*/ 0 w 542925"/>
              <a:gd name="connsiteY9" fmla="*/ 95370 h 523875"/>
              <a:gd name="connsiteX10" fmla="*/ 0 w 542925"/>
              <a:gd name="connsiteY10" fmla="*/ 2978 h 523875"/>
              <a:gd name="connsiteX11" fmla="*/ 219075 w 542925"/>
              <a:gd name="connsiteY11" fmla="*/ 2978 h 523875"/>
              <a:gd name="connsiteX12" fmla="*/ 219075 w 542925"/>
              <a:gd name="connsiteY12" fmla="*/ 157283 h 523875"/>
              <a:gd name="connsiteX13" fmla="*/ 221932 w 542925"/>
              <a:gd name="connsiteY13" fmla="*/ 157283 h 523875"/>
              <a:gd name="connsiteX14" fmla="*/ 321945 w 542925"/>
              <a:gd name="connsiteY14" fmla="*/ 12503 h 523875"/>
              <a:gd name="connsiteX15" fmla="*/ 387667 w 542925"/>
              <a:gd name="connsiteY15" fmla="*/ 120 h 523875"/>
              <a:gd name="connsiteX16" fmla="*/ 544830 w 542925"/>
              <a:gd name="connsiteY16" fmla="*/ 18490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42925" h="523875">
                <a:moveTo>
                  <a:pt x="544830" y="184905"/>
                </a:moveTo>
                <a:lnTo>
                  <a:pt x="544830" y="197288"/>
                </a:lnTo>
                <a:lnTo>
                  <a:pt x="415290" y="204908"/>
                </a:lnTo>
                <a:lnTo>
                  <a:pt x="415290" y="170618"/>
                </a:lnTo>
                <a:cubicBezTo>
                  <a:pt x="415290" y="119183"/>
                  <a:pt x="385763" y="83940"/>
                  <a:pt x="344805" y="83940"/>
                </a:cubicBezTo>
                <a:cubicBezTo>
                  <a:pt x="283845" y="83940"/>
                  <a:pt x="233363" y="164903"/>
                  <a:pt x="233363" y="266820"/>
                </a:cubicBezTo>
                <a:lnTo>
                  <a:pt x="233363" y="446843"/>
                </a:lnTo>
                <a:lnTo>
                  <a:pt x="107632" y="532568"/>
                </a:lnTo>
                <a:lnTo>
                  <a:pt x="107632" y="95370"/>
                </a:lnTo>
                <a:lnTo>
                  <a:pt x="0" y="95370"/>
                </a:lnTo>
                <a:lnTo>
                  <a:pt x="0" y="2978"/>
                </a:lnTo>
                <a:lnTo>
                  <a:pt x="219075" y="2978"/>
                </a:lnTo>
                <a:lnTo>
                  <a:pt x="219075" y="157283"/>
                </a:lnTo>
                <a:lnTo>
                  <a:pt x="221932" y="157283"/>
                </a:lnTo>
                <a:cubicBezTo>
                  <a:pt x="252413" y="66795"/>
                  <a:pt x="276225" y="31553"/>
                  <a:pt x="321945" y="12503"/>
                </a:cubicBezTo>
                <a:cubicBezTo>
                  <a:pt x="342900" y="3930"/>
                  <a:pt x="364807" y="-832"/>
                  <a:pt x="387667" y="120"/>
                </a:cubicBezTo>
                <a:cubicBezTo>
                  <a:pt x="485775" y="-1785"/>
                  <a:pt x="544830" y="66795"/>
                  <a:pt x="544830" y="18490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7" name="Forme libre : forme 86">
            <a:extLst>
              <a:ext uri="{FF2B5EF4-FFF2-40B4-BE49-F238E27FC236}">
                <a16:creationId xmlns:a16="http://schemas.microsoft.com/office/drawing/2014/main" id="{0ECD9757-2AFD-4623-9C3D-24E52F11F047}"/>
              </a:ext>
            </a:extLst>
          </p:cNvPr>
          <p:cNvSpPr/>
          <p:nvPr/>
        </p:nvSpPr>
        <p:spPr>
          <a:xfrm rot="8716295">
            <a:off x="-21870" y="1443501"/>
            <a:ext cx="68614" cy="55323"/>
          </a:xfrm>
          <a:custGeom>
            <a:avLst/>
            <a:gdLst>
              <a:gd name="connsiteX0" fmla="*/ 0 w 68614"/>
              <a:gd name="connsiteY0" fmla="*/ 55323 h 55323"/>
              <a:gd name="connsiteX1" fmla="*/ 0 w 68614"/>
              <a:gd name="connsiteY1" fmla="*/ 0 h 55323"/>
              <a:gd name="connsiteX2" fmla="*/ 68614 w 68614"/>
              <a:gd name="connsiteY2" fmla="*/ 0 h 55323"/>
              <a:gd name="connsiteX3" fmla="*/ 30266 w 68614"/>
              <a:gd name="connsiteY3" fmla="*/ 55323 h 553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614" h="55323">
                <a:moveTo>
                  <a:pt x="0" y="55323"/>
                </a:moveTo>
                <a:lnTo>
                  <a:pt x="0" y="0"/>
                </a:lnTo>
                <a:lnTo>
                  <a:pt x="68614" y="0"/>
                </a:lnTo>
                <a:lnTo>
                  <a:pt x="30266" y="5532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8" name="Forme libre : forme 87">
            <a:extLst>
              <a:ext uri="{FF2B5EF4-FFF2-40B4-BE49-F238E27FC236}">
                <a16:creationId xmlns:a16="http://schemas.microsoft.com/office/drawing/2014/main" id="{661ED1FA-7FC0-427E-9226-6E31215700D9}"/>
              </a:ext>
            </a:extLst>
          </p:cNvPr>
          <p:cNvSpPr/>
          <p:nvPr/>
        </p:nvSpPr>
        <p:spPr>
          <a:xfrm rot="8716295">
            <a:off x="35817" y="1618109"/>
            <a:ext cx="103435" cy="203897"/>
          </a:xfrm>
          <a:custGeom>
            <a:avLst/>
            <a:gdLst>
              <a:gd name="connsiteX0" fmla="*/ 87556 w 103435"/>
              <a:gd name="connsiteY0" fmla="*/ 203897 h 203897"/>
              <a:gd name="connsiteX1" fmla="*/ 43288 w 103435"/>
              <a:gd name="connsiteY1" fmla="*/ 161305 h 203897"/>
              <a:gd name="connsiteX2" fmla="*/ 43288 w 103435"/>
              <a:gd name="connsiteY2" fmla="*/ 16404 h 203897"/>
              <a:gd name="connsiteX3" fmla="*/ 0 w 103435"/>
              <a:gd name="connsiteY3" fmla="*/ 16404 h 203897"/>
              <a:gd name="connsiteX4" fmla="*/ 0 w 103435"/>
              <a:gd name="connsiteY4" fmla="*/ 2278 h 203897"/>
              <a:gd name="connsiteX5" fmla="*/ 103435 w 103435"/>
              <a:gd name="connsiteY5" fmla="*/ 0 h 203897"/>
              <a:gd name="connsiteX6" fmla="*/ 103435 w 103435"/>
              <a:gd name="connsiteY6" fmla="*/ 180989 h 203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3435" h="203897">
                <a:moveTo>
                  <a:pt x="87556" y="203897"/>
                </a:moveTo>
                <a:lnTo>
                  <a:pt x="43288" y="161305"/>
                </a:lnTo>
                <a:lnTo>
                  <a:pt x="43288" y="16404"/>
                </a:lnTo>
                <a:lnTo>
                  <a:pt x="0" y="16404"/>
                </a:lnTo>
                <a:lnTo>
                  <a:pt x="0" y="2278"/>
                </a:lnTo>
                <a:cubicBezTo>
                  <a:pt x="32808" y="3645"/>
                  <a:pt x="66982" y="911"/>
                  <a:pt x="103435" y="0"/>
                </a:cubicBezTo>
                <a:lnTo>
                  <a:pt x="103435" y="180989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9" name="Forme libre : forme 88">
            <a:extLst>
              <a:ext uri="{FF2B5EF4-FFF2-40B4-BE49-F238E27FC236}">
                <a16:creationId xmlns:a16="http://schemas.microsoft.com/office/drawing/2014/main" id="{A1295F39-BDBB-432C-B32B-C5B551977FC2}"/>
              </a:ext>
            </a:extLst>
          </p:cNvPr>
          <p:cNvSpPr/>
          <p:nvPr/>
        </p:nvSpPr>
        <p:spPr>
          <a:xfrm rot="7484129">
            <a:off x="139430" y="1795050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0" name="Forme libre : forme 89">
            <a:extLst>
              <a:ext uri="{FF2B5EF4-FFF2-40B4-BE49-F238E27FC236}">
                <a16:creationId xmlns:a16="http://schemas.microsoft.com/office/drawing/2014/main" id="{F2E91B5E-C359-4716-9781-DAEDAFFE884C}"/>
              </a:ext>
            </a:extLst>
          </p:cNvPr>
          <p:cNvSpPr/>
          <p:nvPr/>
        </p:nvSpPr>
        <p:spPr>
          <a:xfrm rot="13089394">
            <a:off x="244250" y="1761584"/>
            <a:ext cx="270377" cy="325556"/>
          </a:xfrm>
          <a:custGeom>
            <a:avLst/>
            <a:gdLst>
              <a:gd name="connsiteX0" fmla="*/ 470535 w 466725"/>
              <a:gd name="connsiteY0" fmla="*/ 436245 h 561975"/>
              <a:gd name="connsiteX1" fmla="*/ 470535 w 466725"/>
              <a:gd name="connsiteY1" fmla="*/ 445770 h 561975"/>
              <a:gd name="connsiteX2" fmla="*/ 158115 w 466725"/>
              <a:gd name="connsiteY2" fmla="*/ 567690 h 561975"/>
              <a:gd name="connsiteX3" fmla="*/ 40957 w 466725"/>
              <a:gd name="connsiteY3" fmla="*/ 520065 h 561975"/>
              <a:gd name="connsiteX4" fmla="*/ 0 w 466725"/>
              <a:gd name="connsiteY4" fmla="*/ 356235 h 561975"/>
              <a:gd name="connsiteX5" fmla="*/ 0 w 466725"/>
              <a:gd name="connsiteY5" fmla="*/ 65723 h 561975"/>
              <a:gd name="connsiteX6" fmla="*/ 126682 w 466725"/>
              <a:gd name="connsiteY6" fmla="*/ 0 h 561975"/>
              <a:gd name="connsiteX7" fmla="*/ 128588 w 466725"/>
              <a:gd name="connsiteY7" fmla="*/ 265748 h 561975"/>
              <a:gd name="connsiteX8" fmla="*/ 151447 w 466725"/>
              <a:gd name="connsiteY8" fmla="*/ 423863 h 561975"/>
              <a:gd name="connsiteX9" fmla="*/ 265747 w 466725"/>
              <a:gd name="connsiteY9" fmla="*/ 486728 h 561975"/>
              <a:gd name="connsiteX10" fmla="*/ 351472 w 466725"/>
              <a:gd name="connsiteY10" fmla="*/ 471488 h 561975"/>
              <a:gd name="connsiteX11" fmla="*/ 468630 w 466725"/>
              <a:gd name="connsiteY11" fmla="*/ 423863 h 561975"/>
              <a:gd name="connsiteX12" fmla="*/ 470535 w 466725"/>
              <a:gd name="connsiteY12" fmla="*/ 436245 h 56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6725" h="561975">
                <a:moveTo>
                  <a:pt x="470535" y="436245"/>
                </a:moveTo>
                <a:lnTo>
                  <a:pt x="470535" y="445770"/>
                </a:lnTo>
                <a:cubicBezTo>
                  <a:pt x="369570" y="532448"/>
                  <a:pt x="237172" y="562928"/>
                  <a:pt x="158115" y="567690"/>
                </a:cubicBezTo>
                <a:cubicBezTo>
                  <a:pt x="114300" y="570548"/>
                  <a:pt x="71438" y="551498"/>
                  <a:pt x="40957" y="520065"/>
                </a:cubicBezTo>
                <a:cubicBezTo>
                  <a:pt x="8572" y="488633"/>
                  <a:pt x="0" y="434340"/>
                  <a:pt x="0" y="356235"/>
                </a:cubicBezTo>
                <a:lnTo>
                  <a:pt x="0" y="65723"/>
                </a:lnTo>
                <a:lnTo>
                  <a:pt x="126682" y="0"/>
                </a:lnTo>
                <a:lnTo>
                  <a:pt x="128588" y="265748"/>
                </a:lnTo>
                <a:cubicBezTo>
                  <a:pt x="125730" y="319088"/>
                  <a:pt x="134302" y="373380"/>
                  <a:pt x="151447" y="423863"/>
                </a:cubicBezTo>
                <a:cubicBezTo>
                  <a:pt x="166688" y="465773"/>
                  <a:pt x="205740" y="486728"/>
                  <a:pt x="265747" y="486728"/>
                </a:cubicBezTo>
                <a:cubicBezTo>
                  <a:pt x="295275" y="485775"/>
                  <a:pt x="323850" y="480060"/>
                  <a:pt x="351472" y="471488"/>
                </a:cubicBezTo>
                <a:cubicBezTo>
                  <a:pt x="391477" y="459105"/>
                  <a:pt x="430530" y="442913"/>
                  <a:pt x="468630" y="423863"/>
                </a:cubicBezTo>
                <a:cubicBezTo>
                  <a:pt x="469582" y="427673"/>
                  <a:pt x="470535" y="432435"/>
                  <a:pt x="470535" y="43624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1" name="Forme libre : forme 90">
            <a:extLst>
              <a:ext uri="{FF2B5EF4-FFF2-40B4-BE49-F238E27FC236}">
                <a16:creationId xmlns:a16="http://schemas.microsoft.com/office/drawing/2014/main" id="{4C9CCC26-5417-41E7-B753-3B7D59038FBD}"/>
              </a:ext>
            </a:extLst>
          </p:cNvPr>
          <p:cNvSpPr/>
          <p:nvPr/>
        </p:nvSpPr>
        <p:spPr>
          <a:xfrm rot="8716295">
            <a:off x="429835" y="1569903"/>
            <a:ext cx="220345" cy="161228"/>
          </a:xfrm>
          <a:custGeom>
            <a:avLst/>
            <a:gdLst>
              <a:gd name="connsiteX0" fmla="*/ 343853 w 390525"/>
              <a:gd name="connsiteY0" fmla="*/ 144780 h 285750"/>
              <a:gd name="connsiteX1" fmla="*/ 344805 w 390525"/>
              <a:gd name="connsiteY1" fmla="*/ 144780 h 285750"/>
              <a:gd name="connsiteX2" fmla="*/ 12382 w 390525"/>
              <a:gd name="connsiteY2" fmla="*/ 288608 h 285750"/>
              <a:gd name="connsiteX3" fmla="*/ 0 w 390525"/>
              <a:gd name="connsiteY3" fmla="*/ 271463 h 285750"/>
              <a:gd name="connsiteX4" fmla="*/ 225743 w 390525"/>
              <a:gd name="connsiteY4" fmla="*/ 59055 h 285750"/>
              <a:gd name="connsiteX5" fmla="*/ 340043 w 390525"/>
              <a:gd name="connsiteY5" fmla="*/ 0 h 285750"/>
              <a:gd name="connsiteX6" fmla="*/ 399098 w 390525"/>
              <a:gd name="connsiteY6" fmla="*/ 70485 h 285750"/>
              <a:gd name="connsiteX7" fmla="*/ 343853 w 390525"/>
              <a:gd name="connsiteY7" fmla="*/ 14478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0525" h="285750">
                <a:moveTo>
                  <a:pt x="343853" y="144780"/>
                </a:moveTo>
                <a:lnTo>
                  <a:pt x="344805" y="144780"/>
                </a:lnTo>
                <a:lnTo>
                  <a:pt x="12382" y="288608"/>
                </a:lnTo>
                <a:lnTo>
                  <a:pt x="0" y="271463"/>
                </a:lnTo>
                <a:lnTo>
                  <a:pt x="225743" y="59055"/>
                </a:lnTo>
                <a:cubicBezTo>
                  <a:pt x="254318" y="25718"/>
                  <a:pt x="295275" y="4763"/>
                  <a:pt x="340043" y="0"/>
                </a:cubicBezTo>
                <a:cubicBezTo>
                  <a:pt x="385763" y="0"/>
                  <a:pt x="399098" y="40005"/>
                  <a:pt x="399098" y="70485"/>
                </a:cubicBezTo>
                <a:cubicBezTo>
                  <a:pt x="396240" y="103823"/>
                  <a:pt x="374332" y="131445"/>
                  <a:pt x="343853" y="14478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2" name="Forme libre : forme 91">
            <a:extLst>
              <a:ext uri="{FF2B5EF4-FFF2-40B4-BE49-F238E27FC236}">
                <a16:creationId xmlns:a16="http://schemas.microsoft.com/office/drawing/2014/main" id="{D6712892-AD9E-4694-AEF5-3D17C5AEEE1D}"/>
              </a:ext>
            </a:extLst>
          </p:cNvPr>
          <p:cNvSpPr/>
          <p:nvPr/>
        </p:nvSpPr>
        <p:spPr>
          <a:xfrm rot="8716295">
            <a:off x="378030" y="1466310"/>
            <a:ext cx="110380" cy="1103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3" name="Forme libre : forme 92">
            <a:extLst>
              <a:ext uri="{FF2B5EF4-FFF2-40B4-BE49-F238E27FC236}">
                <a16:creationId xmlns:a16="http://schemas.microsoft.com/office/drawing/2014/main" id="{8DA7EFED-D0A6-45D4-A875-2F1DCEFC57C8}"/>
              </a:ext>
            </a:extLst>
          </p:cNvPr>
          <p:cNvSpPr/>
          <p:nvPr/>
        </p:nvSpPr>
        <p:spPr>
          <a:xfrm rot="8716295">
            <a:off x="134784" y="1496531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4" name="Forme libre : forme 93">
            <a:extLst>
              <a:ext uri="{FF2B5EF4-FFF2-40B4-BE49-F238E27FC236}">
                <a16:creationId xmlns:a16="http://schemas.microsoft.com/office/drawing/2014/main" id="{32971A81-1820-4964-A66E-2FD721A16F56}"/>
              </a:ext>
            </a:extLst>
          </p:cNvPr>
          <p:cNvSpPr/>
          <p:nvPr/>
        </p:nvSpPr>
        <p:spPr>
          <a:xfrm rot="8716295">
            <a:off x="312236" y="1337289"/>
            <a:ext cx="110380" cy="1103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5" name="Forme libre : forme 94">
            <a:extLst>
              <a:ext uri="{FF2B5EF4-FFF2-40B4-BE49-F238E27FC236}">
                <a16:creationId xmlns:a16="http://schemas.microsoft.com/office/drawing/2014/main" id="{BC42F9C8-99E7-4F04-B258-C142D2DE142F}"/>
              </a:ext>
            </a:extLst>
          </p:cNvPr>
          <p:cNvSpPr/>
          <p:nvPr/>
        </p:nvSpPr>
        <p:spPr>
          <a:xfrm rot="8716295">
            <a:off x="-17798" y="949199"/>
            <a:ext cx="39526" cy="50123"/>
          </a:xfrm>
          <a:custGeom>
            <a:avLst/>
            <a:gdLst>
              <a:gd name="connsiteX0" fmla="*/ 0 w 39526"/>
              <a:gd name="connsiteY0" fmla="*/ 50123 h 50123"/>
              <a:gd name="connsiteX1" fmla="*/ 0 w 39526"/>
              <a:gd name="connsiteY1" fmla="*/ 0 h 50123"/>
              <a:gd name="connsiteX2" fmla="*/ 39526 w 39526"/>
              <a:gd name="connsiteY2" fmla="*/ 0 h 50123"/>
              <a:gd name="connsiteX3" fmla="*/ 4782 w 39526"/>
              <a:gd name="connsiteY3" fmla="*/ 50123 h 50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526" h="50123">
                <a:moveTo>
                  <a:pt x="0" y="50123"/>
                </a:moveTo>
                <a:lnTo>
                  <a:pt x="0" y="0"/>
                </a:lnTo>
                <a:lnTo>
                  <a:pt x="39526" y="0"/>
                </a:lnTo>
                <a:lnTo>
                  <a:pt x="4782" y="5012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6" name="Forme libre : forme 95">
            <a:extLst>
              <a:ext uri="{FF2B5EF4-FFF2-40B4-BE49-F238E27FC236}">
                <a16:creationId xmlns:a16="http://schemas.microsoft.com/office/drawing/2014/main" id="{D29A62DB-0DC5-407D-A1DF-C8A39BAC784A}"/>
              </a:ext>
            </a:extLst>
          </p:cNvPr>
          <p:cNvSpPr/>
          <p:nvPr/>
        </p:nvSpPr>
        <p:spPr>
          <a:xfrm rot="8716295">
            <a:off x="-64996" y="834728"/>
            <a:ext cx="249650" cy="254774"/>
          </a:xfrm>
          <a:custGeom>
            <a:avLst/>
            <a:gdLst>
              <a:gd name="connsiteX0" fmla="*/ 51490 w 249650"/>
              <a:gd name="connsiteY0" fmla="*/ 254774 h 254774"/>
              <a:gd name="connsiteX1" fmla="*/ 51490 w 249650"/>
              <a:gd name="connsiteY1" fmla="*/ 45624 h 254774"/>
              <a:gd name="connsiteX2" fmla="*/ 0 w 249650"/>
              <a:gd name="connsiteY2" fmla="*/ 45624 h 254774"/>
              <a:gd name="connsiteX3" fmla="*/ 0 w 249650"/>
              <a:gd name="connsiteY3" fmla="*/ 1425 h 254774"/>
              <a:gd name="connsiteX4" fmla="*/ 104803 w 249650"/>
              <a:gd name="connsiteY4" fmla="*/ 1425 h 254774"/>
              <a:gd name="connsiteX5" fmla="*/ 104803 w 249650"/>
              <a:gd name="connsiteY5" fmla="*/ 75242 h 254774"/>
              <a:gd name="connsiteX6" fmla="*/ 106169 w 249650"/>
              <a:gd name="connsiteY6" fmla="*/ 75242 h 254774"/>
              <a:gd name="connsiteX7" fmla="*/ 154014 w 249650"/>
              <a:gd name="connsiteY7" fmla="*/ 5981 h 254774"/>
              <a:gd name="connsiteX8" fmla="*/ 185455 w 249650"/>
              <a:gd name="connsiteY8" fmla="*/ 57 h 254774"/>
              <a:gd name="connsiteX9" fmla="*/ 240647 w 249650"/>
              <a:gd name="connsiteY9" fmla="*/ 22727 h 254774"/>
              <a:gd name="connsiteX10" fmla="*/ 249650 w 249650"/>
              <a:gd name="connsiteY10" fmla="*/ 52327 h 254774"/>
              <a:gd name="connsiteX11" fmla="*/ 218795 w 249650"/>
              <a:gd name="connsiteY11" fmla="*/ 96841 h 254774"/>
              <a:gd name="connsiteX12" fmla="*/ 198669 w 249650"/>
              <a:gd name="connsiteY12" fmla="*/ 98025 h 254774"/>
              <a:gd name="connsiteX13" fmla="*/ 198669 w 249650"/>
              <a:gd name="connsiteY13" fmla="*/ 81621 h 254774"/>
              <a:gd name="connsiteX14" fmla="*/ 164950 w 249650"/>
              <a:gd name="connsiteY14" fmla="*/ 40156 h 254774"/>
              <a:gd name="connsiteX15" fmla="*/ 111638 w 249650"/>
              <a:gd name="connsiteY15" fmla="*/ 127643 h 254774"/>
              <a:gd name="connsiteX16" fmla="*/ 111638 w 249650"/>
              <a:gd name="connsiteY16" fmla="*/ 213764 h 254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49650" h="254774">
                <a:moveTo>
                  <a:pt x="51490" y="254774"/>
                </a:moveTo>
                <a:lnTo>
                  <a:pt x="51490" y="45624"/>
                </a:lnTo>
                <a:lnTo>
                  <a:pt x="0" y="45624"/>
                </a:lnTo>
                <a:lnTo>
                  <a:pt x="0" y="1425"/>
                </a:lnTo>
                <a:lnTo>
                  <a:pt x="104803" y="1425"/>
                </a:lnTo>
                <a:lnTo>
                  <a:pt x="104803" y="75242"/>
                </a:lnTo>
                <a:lnTo>
                  <a:pt x="106169" y="75242"/>
                </a:lnTo>
                <a:cubicBezTo>
                  <a:pt x="120751" y="31954"/>
                  <a:pt x="132142" y="15094"/>
                  <a:pt x="154014" y="5981"/>
                </a:cubicBezTo>
                <a:cubicBezTo>
                  <a:pt x="164039" y="1880"/>
                  <a:pt x="174519" y="-398"/>
                  <a:pt x="185455" y="57"/>
                </a:cubicBezTo>
                <a:cubicBezTo>
                  <a:pt x="208922" y="-398"/>
                  <a:pt x="227718" y="7576"/>
                  <a:pt x="240647" y="22727"/>
                </a:cubicBezTo>
                <a:lnTo>
                  <a:pt x="249650" y="52327"/>
                </a:lnTo>
                <a:lnTo>
                  <a:pt x="218795" y="96841"/>
                </a:lnTo>
                <a:lnTo>
                  <a:pt x="198669" y="98025"/>
                </a:lnTo>
                <a:lnTo>
                  <a:pt x="198669" y="81621"/>
                </a:lnTo>
                <a:cubicBezTo>
                  <a:pt x="198669" y="57016"/>
                  <a:pt x="184544" y="40156"/>
                  <a:pt x="164950" y="40156"/>
                </a:cubicBezTo>
                <a:cubicBezTo>
                  <a:pt x="135788" y="40156"/>
                  <a:pt x="111638" y="78887"/>
                  <a:pt x="111638" y="127643"/>
                </a:cubicBezTo>
                <a:lnTo>
                  <a:pt x="111638" y="213764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7" name="Forme libre : forme 96">
            <a:extLst>
              <a:ext uri="{FF2B5EF4-FFF2-40B4-BE49-F238E27FC236}">
                <a16:creationId xmlns:a16="http://schemas.microsoft.com/office/drawing/2014/main" id="{4160A2B5-61C4-44D3-8FA4-49A1FCD41A0C}"/>
              </a:ext>
            </a:extLst>
          </p:cNvPr>
          <p:cNvSpPr/>
          <p:nvPr/>
        </p:nvSpPr>
        <p:spPr>
          <a:xfrm rot="7484129">
            <a:off x="-63314" y="1172497"/>
            <a:ext cx="203848" cy="146395"/>
          </a:xfrm>
          <a:custGeom>
            <a:avLst/>
            <a:gdLst>
              <a:gd name="connsiteX0" fmla="*/ 0 w 203848"/>
              <a:gd name="connsiteY0" fmla="*/ 55323 h 146395"/>
              <a:gd name="connsiteX1" fmla="*/ 0 w 203848"/>
              <a:gd name="connsiteY1" fmla="*/ 0 h 146395"/>
              <a:gd name="connsiteX2" fmla="*/ 203848 w 203848"/>
              <a:gd name="connsiteY2" fmla="*/ 0 h 146395"/>
              <a:gd name="connsiteX3" fmla="*/ 203847 w 203848"/>
              <a:gd name="connsiteY3" fmla="*/ 49512 h 146395"/>
              <a:gd name="connsiteX4" fmla="*/ 195466 w 203848"/>
              <a:gd name="connsiteY4" fmla="*/ 55323 h 146395"/>
              <a:gd name="connsiteX5" fmla="*/ 139055 w 203848"/>
              <a:gd name="connsiteY5" fmla="*/ 55323 h 146395"/>
              <a:gd name="connsiteX6" fmla="*/ 121388 w 203848"/>
              <a:gd name="connsiteY6" fmla="*/ 106685 h 146395"/>
              <a:gd name="connsiteX7" fmla="*/ 64115 w 203848"/>
              <a:gd name="connsiteY7" fmla="*/ 146395 h 146395"/>
              <a:gd name="connsiteX8" fmla="*/ 47847 w 203848"/>
              <a:gd name="connsiteY8" fmla="*/ 116129 h 146395"/>
              <a:gd name="connsiteX9" fmla="*/ 69777 w 203848"/>
              <a:gd name="connsiteY9" fmla="*/ 55323 h 146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3848" h="146395">
                <a:moveTo>
                  <a:pt x="0" y="55323"/>
                </a:moveTo>
                <a:lnTo>
                  <a:pt x="0" y="0"/>
                </a:lnTo>
                <a:lnTo>
                  <a:pt x="203848" y="0"/>
                </a:lnTo>
                <a:lnTo>
                  <a:pt x="203847" y="49512"/>
                </a:lnTo>
                <a:lnTo>
                  <a:pt x="195466" y="55323"/>
                </a:lnTo>
                <a:lnTo>
                  <a:pt x="139055" y="55323"/>
                </a:lnTo>
                <a:lnTo>
                  <a:pt x="121388" y="106685"/>
                </a:lnTo>
                <a:lnTo>
                  <a:pt x="64115" y="146395"/>
                </a:lnTo>
                <a:lnTo>
                  <a:pt x="47847" y="116129"/>
                </a:lnTo>
                <a:lnTo>
                  <a:pt x="69777" y="5532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8" name="Forme libre : forme 97">
            <a:extLst>
              <a:ext uri="{FF2B5EF4-FFF2-40B4-BE49-F238E27FC236}">
                <a16:creationId xmlns:a16="http://schemas.microsoft.com/office/drawing/2014/main" id="{0F651F8F-312F-4D1A-9E4B-A79B81999918}"/>
              </a:ext>
            </a:extLst>
          </p:cNvPr>
          <p:cNvSpPr/>
          <p:nvPr/>
        </p:nvSpPr>
        <p:spPr>
          <a:xfrm rot="13089394">
            <a:off x="25311" y="1099526"/>
            <a:ext cx="270377" cy="325556"/>
          </a:xfrm>
          <a:custGeom>
            <a:avLst/>
            <a:gdLst>
              <a:gd name="connsiteX0" fmla="*/ 470535 w 466725"/>
              <a:gd name="connsiteY0" fmla="*/ 436245 h 561975"/>
              <a:gd name="connsiteX1" fmla="*/ 470535 w 466725"/>
              <a:gd name="connsiteY1" fmla="*/ 445770 h 561975"/>
              <a:gd name="connsiteX2" fmla="*/ 158115 w 466725"/>
              <a:gd name="connsiteY2" fmla="*/ 567690 h 561975"/>
              <a:gd name="connsiteX3" fmla="*/ 40957 w 466725"/>
              <a:gd name="connsiteY3" fmla="*/ 520065 h 561975"/>
              <a:gd name="connsiteX4" fmla="*/ 0 w 466725"/>
              <a:gd name="connsiteY4" fmla="*/ 356235 h 561975"/>
              <a:gd name="connsiteX5" fmla="*/ 0 w 466725"/>
              <a:gd name="connsiteY5" fmla="*/ 65723 h 561975"/>
              <a:gd name="connsiteX6" fmla="*/ 126682 w 466725"/>
              <a:gd name="connsiteY6" fmla="*/ 0 h 561975"/>
              <a:gd name="connsiteX7" fmla="*/ 128588 w 466725"/>
              <a:gd name="connsiteY7" fmla="*/ 265748 h 561975"/>
              <a:gd name="connsiteX8" fmla="*/ 151447 w 466725"/>
              <a:gd name="connsiteY8" fmla="*/ 423863 h 561975"/>
              <a:gd name="connsiteX9" fmla="*/ 265747 w 466725"/>
              <a:gd name="connsiteY9" fmla="*/ 486728 h 561975"/>
              <a:gd name="connsiteX10" fmla="*/ 351472 w 466725"/>
              <a:gd name="connsiteY10" fmla="*/ 471488 h 561975"/>
              <a:gd name="connsiteX11" fmla="*/ 468630 w 466725"/>
              <a:gd name="connsiteY11" fmla="*/ 423863 h 561975"/>
              <a:gd name="connsiteX12" fmla="*/ 470535 w 466725"/>
              <a:gd name="connsiteY12" fmla="*/ 436245 h 56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6725" h="561975">
                <a:moveTo>
                  <a:pt x="470535" y="436245"/>
                </a:moveTo>
                <a:lnTo>
                  <a:pt x="470535" y="445770"/>
                </a:lnTo>
                <a:cubicBezTo>
                  <a:pt x="369570" y="532448"/>
                  <a:pt x="237172" y="562928"/>
                  <a:pt x="158115" y="567690"/>
                </a:cubicBezTo>
                <a:cubicBezTo>
                  <a:pt x="114300" y="570548"/>
                  <a:pt x="71438" y="551498"/>
                  <a:pt x="40957" y="520065"/>
                </a:cubicBezTo>
                <a:cubicBezTo>
                  <a:pt x="8572" y="488633"/>
                  <a:pt x="0" y="434340"/>
                  <a:pt x="0" y="356235"/>
                </a:cubicBezTo>
                <a:lnTo>
                  <a:pt x="0" y="65723"/>
                </a:lnTo>
                <a:lnTo>
                  <a:pt x="126682" y="0"/>
                </a:lnTo>
                <a:lnTo>
                  <a:pt x="128588" y="265748"/>
                </a:lnTo>
                <a:cubicBezTo>
                  <a:pt x="125730" y="319088"/>
                  <a:pt x="134302" y="373380"/>
                  <a:pt x="151447" y="423863"/>
                </a:cubicBezTo>
                <a:cubicBezTo>
                  <a:pt x="166688" y="465773"/>
                  <a:pt x="205740" y="486728"/>
                  <a:pt x="265747" y="486728"/>
                </a:cubicBezTo>
                <a:cubicBezTo>
                  <a:pt x="295275" y="485775"/>
                  <a:pt x="323850" y="480060"/>
                  <a:pt x="351472" y="471488"/>
                </a:cubicBezTo>
                <a:cubicBezTo>
                  <a:pt x="391477" y="459105"/>
                  <a:pt x="430530" y="442913"/>
                  <a:pt x="468630" y="423863"/>
                </a:cubicBezTo>
                <a:cubicBezTo>
                  <a:pt x="469582" y="427673"/>
                  <a:pt x="470535" y="432435"/>
                  <a:pt x="470535" y="43624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9" name="Forme libre : forme 98">
            <a:extLst>
              <a:ext uri="{FF2B5EF4-FFF2-40B4-BE49-F238E27FC236}">
                <a16:creationId xmlns:a16="http://schemas.microsoft.com/office/drawing/2014/main" id="{12E33E54-ECAF-462B-B069-F233780DF121}"/>
              </a:ext>
            </a:extLst>
          </p:cNvPr>
          <p:cNvSpPr/>
          <p:nvPr/>
        </p:nvSpPr>
        <p:spPr>
          <a:xfrm rot="8716295">
            <a:off x="210896" y="907845"/>
            <a:ext cx="220345" cy="161228"/>
          </a:xfrm>
          <a:custGeom>
            <a:avLst/>
            <a:gdLst>
              <a:gd name="connsiteX0" fmla="*/ 343853 w 390525"/>
              <a:gd name="connsiteY0" fmla="*/ 144780 h 285750"/>
              <a:gd name="connsiteX1" fmla="*/ 344805 w 390525"/>
              <a:gd name="connsiteY1" fmla="*/ 144780 h 285750"/>
              <a:gd name="connsiteX2" fmla="*/ 12382 w 390525"/>
              <a:gd name="connsiteY2" fmla="*/ 288608 h 285750"/>
              <a:gd name="connsiteX3" fmla="*/ 0 w 390525"/>
              <a:gd name="connsiteY3" fmla="*/ 271463 h 285750"/>
              <a:gd name="connsiteX4" fmla="*/ 225743 w 390525"/>
              <a:gd name="connsiteY4" fmla="*/ 59055 h 285750"/>
              <a:gd name="connsiteX5" fmla="*/ 340043 w 390525"/>
              <a:gd name="connsiteY5" fmla="*/ 0 h 285750"/>
              <a:gd name="connsiteX6" fmla="*/ 399098 w 390525"/>
              <a:gd name="connsiteY6" fmla="*/ 70485 h 285750"/>
              <a:gd name="connsiteX7" fmla="*/ 343853 w 390525"/>
              <a:gd name="connsiteY7" fmla="*/ 14478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0525" h="285750">
                <a:moveTo>
                  <a:pt x="343853" y="144780"/>
                </a:moveTo>
                <a:lnTo>
                  <a:pt x="344805" y="144780"/>
                </a:lnTo>
                <a:lnTo>
                  <a:pt x="12382" y="288608"/>
                </a:lnTo>
                <a:lnTo>
                  <a:pt x="0" y="271463"/>
                </a:lnTo>
                <a:lnTo>
                  <a:pt x="225743" y="59055"/>
                </a:lnTo>
                <a:cubicBezTo>
                  <a:pt x="254318" y="25718"/>
                  <a:pt x="295275" y="4763"/>
                  <a:pt x="340043" y="0"/>
                </a:cubicBezTo>
                <a:cubicBezTo>
                  <a:pt x="385763" y="0"/>
                  <a:pt x="399098" y="40005"/>
                  <a:pt x="399098" y="70485"/>
                </a:cubicBezTo>
                <a:cubicBezTo>
                  <a:pt x="396240" y="103823"/>
                  <a:pt x="374332" y="131445"/>
                  <a:pt x="343853" y="14478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0" name="Forme libre : forme 99">
            <a:extLst>
              <a:ext uri="{FF2B5EF4-FFF2-40B4-BE49-F238E27FC236}">
                <a16:creationId xmlns:a16="http://schemas.microsoft.com/office/drawing/2014/main" id="{42ACC1F1-A8E1-420C-B7DE-55FFEE501260}"/>
              </a:ext>
            </a:extLst>
          </p:cNvPr>
          <p:cNvSpPr/>
          <p:nvPr/>
        </p:nvSpPr>
        <p:spPr>
          <a:xfrm rot="8716295">
            <a:off x="159091" y="804252"/>
            <a:ext cx="110380" cy="1103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1" name="Forme libre : forme 100">
            <a:extLst>
              <a:ext uri="{FF2B5EF4-FFF2-40B4-BE49-F238E27FC236}">
                <a16:creationId xmlns:a16="http://schemas.microsoft.com/office/drawing/2014/main" id="{B902C445-D42B-4D0E-8897-FDE236E78375}"/>
              </a:ext>
            </a:extLst>
          </p:cNvPr>
          <p:cNvSpPr/>
          <p:nvPr/>
        </p:nvSpPr>
        <p:spPr>
          <a:xfrm rot="8716295">
            <a:off x="93297" y="675231"/>
            <a:ext cx="110380" cy="1103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2" name="Forme libre : forme 101">
            <a:extLst>
              <a:ext uri="{FF2B5EF4-FFF2-40B4-BE49-F238E27FC236}">
                <a16:creationId xmlns:a16="http://schemas.microsoft.com/office/drawing/2014/main" id="{4EDB9DFE-AA44-492B-9D2C-70F199FD6162}"/>
              </a:ext>
            </a:extLst>
          </p:cNvPr>
          <p:cNvSpPr/>
          <p:nvPr/>
        </p:nvSpPr>
        <p:spPr>
          <a:xfrm rot="8716295">
            <a:off x="-7001" y="316701"/>
            <a:ext cx="14001" cy="20198"/>
          </a:xfrm>
          <a:custGeom>
            <a:avLst/>
            <a:gdLst>
              <a:gd name="connsiteX0" fmla="*/ 0 w 14001"/>
              <a:gd name="connsiteY0" fmla="*/ 20198 h 20198"/>
              <a:gd name="connsiteX1" fmla="*/ 0 w 14001"/>
              <a:gd name="connsiteY1" fmla="*/ 0 h 20198"/>
              <a:gd name="connsiteX2" fmla="*/ 14001 w 14001"/>
              <a:gd name="connsiteY2" fmla="*/ 0 h 20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001" h="20198">
                <a:moveTo>
                  <a:pt x="0" y="20198"/>
                </a:moveTo>
                <a:lnTo>
                  <a:pt x="0" y="0"/>
                </a:lnTo>
                <a:lnTo>
                  <a:pt x="14001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3" name="Forme libre : forme 102">
            <a:extLst>
              <a:ext uri="{FF2B5EF4-FFF2-40B4-BE49-F238E27FC236}">
                <a16:creationId xmlns:a16="http://schemas.microsoft.com/office/drawing/2014/main" id="{9B8E4668-5129-4061-833F-DDB8DC144C55}"/>
              </a:ext>
            </a:extLst>
          </p:cNvPr>
          <p:cNvSpPr/>
          <p:nvPr/>
        </p:nvSpPr>
        <p:spPr>
          <a:xfrm rot="13089394">
            <a:off x="-81658" y="472652"/>
            <a:ext cx="173631" cy="237684"/>
          </a:xfrm>
          <a:custGeom>
            <a:avLst/>
            <a:gdLst>
              <a:gd name="connsiteX0" fmla="*/ 173631 w 173631"/>
              <a:gd name="connsiteY0" fmla="*/ 220990 h 237684"/>
              <a:gd name="connsiteX1" fmla="*/ 130972 w 173631"/>
              <a:gd name="connsiteY1" fmla="*/ 232382 h 237684"/>
              <a:gd name="connsiteX2" fmla="*/ 91597 w 173631"/>
              <a:gd name="connsiteY2" fmla="*/ 237521 h 237684"/>
              <a:gd name="connsiteX3" fmla="*/ 23727 w 173631"/>
              <a:gd name="connsiteY3" fmla="*/ 209931 h 237684"/>
              <a:gd name="connsiteX4" fmla="*/ 0 w 173631"/>
              <a:gd name="connsiteY4" fmla="*/ 115023 h 237684"/>
              <a:gd name="connsiteX5" fmla="*/ 0 w 173631"/>
              <a:gd name="connsiteY5" fmla="*/ 0 h 237684"/>
              <a:gd name="connsiteX6" fmla="*/ 76176 w 173631"/>
              <a:gd name="connsiteY6" fmla="*/ 96953 h 237684"/>
              <a:gd name="connsiteX7" fmla="*/ 76768 w 173631"/>
              <a:gd name="connsiteY7" fmla="*/ 109023 h 237684"/>
              <a:gd name="connsiteX8" fmla="*/ 87734 w 173631"/>
              <a:gd name="connsiteY8" fmla="*/ 154201 h 237684"/>
              <a:gd name="connsiteX9" fmla="*/ 111117 w 173631"/>
              <a:gd name="connsiteY9" fmla="*/ 181514 h 237684"/>
              <a:gd name="connsiteX10" fmla="*/ 148930 w 173631"/>
              <a:gd name="connsiteY10" fmla="*/ 189552 h 237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73631" h="237684">
                <a:moveTo>
                  <a:pt x="173631" y="220990"/>
                </a:moveTo>
                <a:lnTo>
                  <a:pt x="130972" y="232382"/>
                </a:lnTo>
                <a:cubicBezTo>
                  <a:pt x="116428" y="235210"/>
                  <a:pt x="103047" y="236831"/>
                  <a:pt x="91597" y="237521"/>
                </a:cubicBezTo>
                <a:cubicBezTo>
                  <a:pt x="66215" y="239176"/>
                  <a:pt x="41384" y="228141"/>
                  <a:pt x="23727" y="209931"/>
                </a:cubicBezTo>
                <a:cubicBezTo>
                  <a:pt x="4966" y="191722"/>
                  <a:pt x="0" y="160270"/>
                  <a:pt x="0" y="115023"/>
                </a:cubicBezTo>
                <a:lnTo>
                  <a:pt x="0" y="0"/>
                </a:lnTo>
                <a:lnTo>
                  <a:pt x="76176" y="96953"/>
                </a:lnTo>
                <a:lnTo>
                  <a:pt x="76768" y="109023"/>
                </a:lnTo>
                <a:cubicBezTo>
                  <a:pt x="79044" y="124404"/>
                  <a:pt x="82768" y="139578"/>
                  <a:pt x="87734" y="154201"/>
                </a:cubicBezTo>
                <a:cubicBezTo>
                  <a:pt x="92149" y="166340"/>
                  <a:pt x="100012" y="175445"/>
                  <a:pt x="111117" y="181514"/>
                </a:cubicBezTo>
                <a:lnTo>
                  <a:pt x="148930" y="189552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4" name="Forme libre : forme 103">
            <a:extLst>
              <a:ext uri="{FF2B5EF4-FFF2-40B4-BE49-F238E27FC236}">
                <a16:creationId xmlns:a16="http://schemas.microsoft.com/office/drawing/2014/main" id="{99FF5E45-909E-4FF2-B754-B344F6F11F69}"/>
              </a:ext>
            </a:extLst>
          </p:cNvPr>
          <p:cNvSpPr/>
          <p:nvPr/>
        </p:nvSpPr>
        <p:spPr>
          <a:xfrm rot="8716295">
            <a:off x="-11774" y="244430"/>
            <a:ext cx="220345" cy="161228"/>
          </a:xfrm>
          <a:custGeom>
            <a:avLst/>
            <a:gdLst>
              <a:gd name="connsiteX0" fmla="*/ 343853 w 390525"/>
              <a:gd name="connsiteY0" fmla="*/ 144780 h 285750"/>
              <a:gd name="connsiteX1" fmla="*/ 344805 w 390525"/>
              <a:gd name="connsiteY1" fmla="*/ 144780 h 285750"/>
              <a:gd name="connsiteX2" fmla="*/ 12382 w 390525"/>
              <a:gd name="connsiteY2" fmla="*/ 288608 h 285750"/>
              <a:gd name="connsiteX3" fmla="*/ 0 w 390525"/>
              <a:gd name="connsiteY3" fmla="*/ 271463 h 285750"/>
              <a:gd name="connsiteX4" fmla="*/ 225743 w 390525"/>
              <a:gd name="connsiteY4" fmla="*/ 59055 h 285750"/>
              <a:gd name="connsiteX5" fmla="*/ 340043 w 390525"/>
              <a:gd name="connsiteY5" fmla="*/ 0 h 285750"/>
              <a:gd name="connsiteX6" fmla="*/ 399098 w 390525"/>
              <a:gd name="connsiteY6" fmla="*/ 70485 h 285750"/>
              <a:gd name="connsiteX7" fmla="*/ 343853 w 390525"/>
              <a:gd name="connsiteY7" fmla="*/ 14478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0525" h="285750">
                <a:moveTo>
                  <a:pt x="343853" y="144780"/>
                </a:moveTo>
                <a:lnTo>
                  <a:pt x="344805" y="144780"/>
                </a:lnTo>
                <a:lnTo>
                  <a:pt x="12382" y="288608"/>
                </a:lnTo>
                <a:lnTo>
                  <a:pt x="0" y="271463"/>
                </a:lnTo>
                <a:lnTo>
                  <a:pt x="225743" y="59055"/>
                </a:lnTo>
                <a:cubicBezTo>
                  <a:pt x="254318" y="25718"/>
                  <a:pt x="295275" y="4763"/>
                  <a:pt x="340043" y="0"/>
                </a:cubicBezTo>
                <a:cubicBezTo>
                  <a:pt x="385763" y="0"/>
                  <a:pt x="399098" y="40005"/>
                  <a:pt x="399098" y="70485"/>
                </a:cubicBezTo>
                <a:cubicBezTo>
                  <a:pt x="396240" y="103823"/>
                  <a:pt x="374332" y="131445"/>
                  <a:pt x="343853" y="14478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5" name="Forme libre : forme 104">
            <a:extLst>
              <a:ext uri="{FF2B5EF4-FFF2-40B4-BE49-F238E27FC236}">
                <a16:creationId xmlns:a16="http://schemas.microsoft.com/office/drawing/2014/main" id="{EB79107E-889E-47A5-A1AB-E4F4B49C7BFA}"/>
              </a:ext>
            </a:extLst>
          </p:cNvPr>
          <p:cNvSpPr/>
          <p:nvPr/>
        </p:nvSpPr>
        <p:spPr>
          <a:xfrm rot="8716295">
            <a:off x="-30092" y="143486"/>
            <a:ext cx="77721" cy="97260"/>
          </a:xfrm>
          <a:custGeom>
            <a:avLst/>
            <a:gdLst>
              <a:gd name="connsiteX0" fmla="*/ 15821 w 77721"/>
              <a:gd name="connsiteY0" fmla="*/ 97260 h 97260"/>
              <a:gd name="connsiteX1" fmla="*/ 0 w 77721"/>
              <a:gd name="connsiteY1" fmla="*/ 59790 h 97260"/>
              <a:gd name="connsiteX2" fmla="*/ 0 w 77721"/>
              <a:gd name="connsiteY2" fmla="*/ 58869 h 97260"/>
              <a:gd name="connsiteX3" fmla="*/ 17477 w 77721"/>
              <a:gd name="connsiteY3" fmla="*/ 17477 h 97260"/>
              <a:gd name="connsiteX4" fmla="*/ 58869 w 77721"/>
              <a:gd name="connsiteY4" fmla="*/ 0 h 97260"/>
              <a:gd name="connsiteX5" fmla="*/ 77721 w 77721"/>
              <a:gd name="connsiteY5" fmla="*/ 7960 h 97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7721" h="97260">
                <a:moveTo>
                  <a:pt x="15821" y="97260"/>
                </a:moveTo>
                <a:lnTo>
                  <a:pt x="0" y="59790"/>
                </a:lnTo>
                <a:lnTo>
                  <a:pt x="0" y="58869"/>
                </a:lnTo>
                <a:cubicBezTo>
                  <a:pt x="0" y="43233"/>
                  <a:pt x="6439" y="28515"/>
                  <a:pt x="17477" y="17477"/>
                </a:cubicBezTo>
                <a:cubicBezTo>
                  <a:pt x="28515" y="6439"/>
                  <a:pt x="43233" y="0"/>
                  <a:pt x="58869" y="0"/>
                </a:cubicBezTo>
                <a:lnTo>
                  <a:pt x="77721" y="796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6" name="Forme libre : forme 105">
            <a:extLst>
              <a:ext uri="{FF2B5EF4-FFF2-40B4-BE49-F238E27FC236}">
                <a16:creationId xmlns:a16="http://schemas.microsoft.com/office/drawing/2014/main" id="{D8EC7674-F8C4-4C98-B223-FB48E7028D2B}"/>
              </a:ext>
            </a:extLst>
          </p:cNvPr>
          <p:cNvSpPr/>
          <p:nvPr/>
        </p:nvSpPr>
        <p:spPr>
          <a:xfrm rot="8716295">
            <a:off x="-17797" y="3452694"/>
            <a:ext cx="58455" cy="44199"/>
          </a:xfrm>
          <a:custGeom>
            <a:avLst/>
            <a:gdLst>
              <a:gd name="connsiteX0" fmla="*/ 0 w 58455"/>
              <a:gd name="connsiteY0" fmla="*/ 44199 h 44199"/>
              <a:gd name="connsiteX1" fmla="*/ 0 w 58455"/>
              <a:gd name="connsiteY1" fmla="*/ 0 h 44199"/>
              <a:gd name="connsiteX2" fmla="*/ 58455 w 58455"/>
              <a:gd name="connsiteY2" fmla="*/ 0 h 44199"/>
              <a:gd name="connsiteX3" fmla="*/ 27817 w 58455"/>
              <a:gd name="connsiteY3" fmla="*/ 44199 h 44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455" h="44199">
                <a:moveTo>
                  <a:pt x="0" y="44199"/>
                </a:moveTo>
                <a:lnTo>
                  <a:pt x="0" y="0"/>
                </a:lnTo>
                <a:lnTo>
                  <a:pt x="58455" y="0"/>
                </a:lnTo>
                <a:lnTo>
                  <a:pt x="27817" y="44199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7" name="Forme libre : forme 106">
            <a:extLst>
              <a:ext uri="{FF2B5EF4-FFF2-40B4-BE49-F238E27FC236}">
                <a16:creationId xmlns:a16="http://schemas.microsoft.com/office/drawing/2014/main" id="{4367C4D5-414D-49AB-A590-D84D23E38E78}"/>
              </a:ext>
            </a:extLst>
          </p:cNvPr>
          <p:cNvSpPr/>
          <p:nvPr/>
        </p:nvSpPr>
        <p:spPr>
          <a:xfrm rot="13089394">
            <a:off x="-91485" y="3601812"/>
            <a:ext cx="206527" cy="292654"/>
          </a:xfrm>
          <a:custGeom>
            <a:avLst/>
            <a:gdLst>
              <a:gd name="connsiteX0" fmla="*/ 206527 w 206527"/>
              <a:gd name="connsiteY0" fmla="*/ 258693 h 292654"/>
              <a:gd name="connsiteX1" fmla="*/ 177331 w 206527"/>
              <a:gd name="connsiteY1" fmla="*/ 274971 h 292654"/>
              <a:gd name="connsiteX2" fmla="*/ 91597 w 206527"/>
              <a:gd name="connsiteY2" fmla="*/ 292491 h 292654"/>
              <a:gd name="connsiteX3" fmla="*/ 23727 w 206527"/>
              <a:gd name="connsiteY3" fmla="*/ 264901 h 292654"/>
              <a:gd name="connsiteX4" fmla="*/ 0 w 206527"/>
              <a:gd name="connsiteY4" fmla="*/ 169993 h 292654"/>
              <a:gd name="connsiteX5" fmla="*/ 0 w 206527"/>
              <a:gd name="connsiteY5" fmla="*/ 1698 h 292654"/>
              <a:gd name="connsiteX6" fmla="*/ 3273 w 206527"/>
              <a:gd name="connsiteY6" fmla="*/ 0 h 292654"/>
              <a:gd name="connsiteX7" fmla="*/ 74297 w 206527"/>
              <a:gd name="connsiteY7" fmla="*/ 90396 h 292654"/>
              <a:gd name="connsiteX8" fmla="*/ 74492 w 206527"/>
              <a:gd name="connsiteY8" fmla="*/ 117574 h 292654"/>
              <a:gd name="connsiteX9" fmla="*/ 87734 w 206527"/>
              <a:gd name="connsiteY9" fmla="*/ 209171 h 292654"/>
              <a:gd name="connsiteX10" fmla="*/ 153949 w 206527"/>
              <a:gd name="connsiteY10" fmla="*/ 245589 h 292654"/>
              <a:gd name="connsiteX11" fmla="*/ 191049 w 206527"/>
              <a:gd name="connsiteY11" fmla="*/ 238993 h 2926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06527" h="292654">
                <a:moveTo>
                  <a:pt x="206527" y="258693"/>
                </a:moveTo>
                <a:lnTo>
                  <a:pt x="177331" y="274971"/>
                </a:lnTo>
                <a:cubicBezTo>
                  <a:pt x="145121" y="286007"/>
                  <a:pt x="114496" y="291111"/>
                  <a:pt x="91597" y="292491"/>
                </a:cubicBezTo>
                <a:cubicBezTo>
                  <a:pt x="66215" y="294146"/>
                  <a:pt x="41385" y="283111"/>
                  <a:pt x="23727" y="264901"/>
                </a:cubicBezTo>
                <a:cubicBezTo>
                  <a:pt x="4966" y="246692"/>
                  <a:pt x="0" y="215240"/>
                  <a:pt x="0" y="169993"/>
                </a:cubicBezTo>
                <a:lnTo>
                  <a:pt x="0" y="1698"/>
                </a:lnTo>
                <a:lnTo>
                  <a:pt x="3273" y="0"/>
                </a:lnTo>
                <a:lnTo>
                  <a:pt x="74297" y="90396"/>
                </a:lnTo>
                <a:lnTo>
                  <a:pt x="74492" y="117574"/>
                </a:lnTo>
                <a:cubicBezTo>
                  <a:pt x="72836" y="148474"/>
                  <a:pt x="77802" y="179926"/>
                  <a:pt x="87734" y="209171"/>
                </a:cubicBezTo>
                <a:cubicBezTo>
                  <a:pt x="96564" y="233450"/>
                  <a:pt x="119187" y="245589"/>
                  <a:pt x="153949" y="245589"/>
                </a:cubicBezTo>
                <a:lnTo>
                  <a:pt x="191049" y="23899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8" name="Forme libre : forme 107">
            <a:extLst>
              <a:ext uri="{FF2B5EF4-FFF2-40B4-BE49-F238E27FC236}">
                <a16:creationId xmlns:a16="http://schemas.microsoft.com/office/drawing/2014/main" id="{C0F2930B-1B76-4127-88A5-3C45B984D36E}"/>
              </a:ext>
            </a:extLst>
          </p:cNvPr>
          <p:cNvSpPr/>
          <p:nvPr/>
        </p:nvSpPr>
        <p:spPr>
          <a:xfrm rot="8716295">
            <a:off x="24761" y="3389623"/>
            <a:ext cx="220345" cy="161228"/>
          </a:xfrm>
          <a:custGeom>
            <a:avLst/>
            <a:gdLst>
              <a:gd name="connsiteX0" fmla="*/ 343853 w 390525"/>
              <a:gd name="connsiteY0" fmla="*/ 144780 h 285750"/>
              <a:gd name="connsiteX1" fmla="*/ 344805 w 390525"/>
              <a:gd name="connsiteY1" fmla="*/ 144780 h 285750"/>
              <a:gd name="connsiteX2" fmla="*/ 12382 w 390525"/>
              <a:gd name="connsiteY2" fmla="*/ 288608 h 285750"/>
              <a:gd name="connsiteX3" fmla="*/ 0 w 390525"/>
              <a:gd name="connsiteY3" fmla="*/ 271463 h 285750"/>
              <a:gd name="connsiteX4" fmla="*/ 225743 w 390525"/>
              <a:gd name="connsiteY4" fmla="*/ 59055 h 285750"/>
              <a:gd name="connsiteX5" fmla="*/ 340043 w 390525"/>
              <a:gd name="connsiteY5" fmla="*/ 0 h 285750"/>
              <a:gd name="connsiteX6" fmla="*/ 399098 w 390525"/>
              <a:gd name="connsiteY6" fmla="*/ 70485 h 285750"/>
              <a:gd name="connsiteX7" fmla="*/ 343853 w 390525"/>
              <a:gd name="connsiteY7" fmla="*/ 14478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0525" h="285750">
                <a:moveTo>
                  <a:pt x="343853" y="144780"/>
                </a:moveTo>
                <a:lnTo>
                  <a:pt x="344805" y="144780"/>
                </a:lnTo>
                <a:lnTo>
                  <a:pt x="12382" y="288608"/>
                </a:lnTo>
                <a:lnTo>
                  <a:pt x="0" y="271463"/>
                </a:lnTo>
                <a:lnTo>
                  <a:pt x="225743" y="59055"/>
                </a:lnTo>
                <a:cubicBezTo>
                  <a:pt x="254318" y="25718"/>
                  <a:pt x="295275" y="4763"/>
                  <a:pt x="340043" y="0"/>
                </a:cubicBezTo>
                <a:cubicBezTo>
                  <a:pt x="385763" y="0"/>
                  <a:pt x="399098" y="40005"/>
                  <a:pt x="399098" y="70485"/>
                </a:cubicBezTo>
                <a:cubicBezTo>
                  <a:pt x="396240" y="103823"/>
                  <a:pt x="374332" y="131445"/>
                  <a:pt x="343853" y="14478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9" name="Forme libre : forme 108">
            <a:extLst>
              <a:ext uri="{FF2B5EF4-FFF2-40B4-BE49-F238E27FC236}">
                <a16:creationId xmlns:a16="http://schemas.microsoft.com/office/drawing/2014/main" id="{5D516E03-78DF-4FFF-8FB2-A397635DD48F}"/>
              </a:ext>
            </a:extLst>
          </p:cNvPr>
          <p:cNvSpPr/>
          <p:nvPr/>
        </p:nvSpPr>
        <p:spPr>
          <a:xfrm rot="8716295">
            <a:off x="-24047" y="3281741"/>
            <a:ext cx="106042" cy="113733"/>
          </a:xfrm>
          <a:custGeom>
            <a:avLst/>
            <a:gdLst>
              <a:gd name="connsiteX0" fmla="*/ 17477 w 106042"/>
              <a:gd name="connsiteY0" fmla="*/ 101182 h 113733"/>
              <a:gd name="connsiteX1" fmla="*/ 0 w 106042"/>
              <a:gd name="connsiteY1" fmla="*/ 59790 h 113733"/>
              <a:gd name="connsiteX2" fmla="*/ 0 w 106042"/>
              <a:gd name="connsiteY2" fmla="*/ 58869 h 113733"/>
              <a:gd name="connsiteX3" fmla="*/ 17477 w 106042"/>
              <a:gd name="connsiteY3" fmla="*/ 17477 h 113733"/>
              <a:gd name="connsiteX4" fmla="*/ 58869 w 106042"/>
              <a:gd name="connsiteY4" fmla="*/ 0 h 113733"/>
              <a:gd name="connsiteX5" fmla="*/ 100262 w 106042"/>
              <a:gd name="connsiteY5" fmla="*/ 17477 h 113733"/>
              <a:gd name="connsiteX6" fmla="*/ 106042 w 106042"/>
              <a:gd name="connsiteY6" fmla="*/ 31234 h 113733"/>
              <a:gd name="connsiteX7" fmla="*/ 48856 w 106042"/>
              <a:gd name="connsiteY7" fmla="*/ 113733 h 1137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6042" h="113733">
                <a:moveTo>
                  <a:pt x="17477" y="101182"/>
                </a:moveTo>
                <a:cubicBezTo>
                  <a:pt x="6439" y="90144"/>
                  <a:pt x="0" y="75426"/>
                  <a:pt x="0" y="59790"/>
                </a:cubicBezTo>
                <a:lnTo>
                  <a:pt x="0" y="58869"/>
                </a:lnTo>
                <a:cubicBezTo>
                  <a:pt x="0" y="43233"/>
                  <a:pt x="6439" y="28515"/>
                  <a:pt x="17477" y="17477"/>
                </a:cubicBezTo>
                <a:cubicBezTo>
                  <a:pt x="28515" y="6439"/>
                  <a:pt x="43233" y="0"/>
                  <a:pt x="58869" y="0"/>
                </a:cubicBezTo>
                <a:cubicBezTo>
                  <a:pt x="74507" y="0"/>
                  <a:pt x="89224" y="6439"/>
                  <a:pt x="100262" y="17477"/>
                </a:cubicBezTo>
                <a:lnTo>
                  <a:pt x="106042" y="31234"/>
                </a:lnTo>
                <a:lnTo>
                  <a:pt x="48856" y="11373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0" name="Forme libre : forme 109">
            <a:extLst>
              <a:ext uri="{FF2B5EF4-FFF2-40B4-BE49-F238E27FC236}">
                <a16:creationId xmlns:a16="http://schemas.microsoft.com/office/drawing/2014/main" id="{4709179C-E348-4A89-8150-2CCBA6DE45C5}"/>
              </a:ext>
            </a:extLst>
          </p:cNvPr>
          <p:cNvSpPr/>
          <p:nvPr/>
        </p:nvSpPr>
        <p:spPr>
          <a:xfrm rot="8716295">
            <a:off x="-21924" y="3179872"/>
            <a:ext cx="45776" cy="62656"/>
          </a:xfrm>
          <a:custGeom>
            <a:avLst/>
            <a:gdLst>
              <a:gd name="connsiteX0" fmla="*/ 2345 w 45776"/>
              <a:gd name="connsiteY0" fmla="*/ 62656 h 62656"/>
              <a:gd name="connsiteX1" fmla="*/ 0 w 45776"/>
              <a:gd name="connsiteY1" fmla="*/ 57104 h 62656"/>
              <a:gd name="connsiteX2" fmla="*/ 0 w 45776"/>
              <a:gd name="connsiteY2" fmla="*/ 56183 h 62656"/>
              <a:gd name="connsiteX3" fmla="*/ 17477 w 45776"/>
              <a:gd name="connsiteY3" fmla="*/ 14791 h 62656"/>
              <a:gd name="connsiteX4" fmla="*/ 36449 w 45776"/>
              <a:gd name="connsiteY4" fmla="*/ 1913 h 62656"/>
              <a:gd name="connsiteX5" fmla="*/ 45776 w 45776"/>
              <a:gd name="connsiteY5" fmla="*/ 0 h 626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776" h="62656">
                <a:moveTo>
                  <a:pt x="2345" y="62656"/>
                </a:moveTo>
                <a:lnTo>
                  <a:pt x="0" y="57104"/>
                </a:lnTo>
                <a:lnTo>
                  <a:pt x="0" y="56183"/>
                </a:lnTo>
                <a:cubicBezTo>
                  <a:pt x="0" y="40547"/>
                  <a:pt x="6439" y="25829"/>
                  <a:pt x="17477" y="14791"/>
                </a:cubicBezTo>
                <a:cubicBezTo>
                  <a:pt x="22996" y="9272"/>
                  <a:pt x="29435" y="4903"/>
                  <a:pt x="36449" y="1913"/>
                </a:cubicBezTo>
                <a:lnTo>
                  <a:pt x="45776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1" name="Forme libre : forme 110">
            <a:extLst>
              <a:ext uri="{FF2B5EF4-FFF2-40B4-BE49-F238E27FC236}">
                <a16:creationId xmlns:a16="http://schemas.microsoft.com/office/drawing/2014/main" id="{E216B864-0116-44B5-A0E9-8D6C9FB4451C}"/>
              </a:ext>
            </a:extLst>
          </p:cNvPr>
          <p:cNvSpPr/>
          <p:nvPr/>
        </p:nvSpPr>
        <p:spPr>
          <a:xfrm rot="8716295">
            <a:off x="-21324" y="4100649"/>
            <a:ext cx="79113" cy="50123"/>
          </a:xfrm>
          <a:custGeom>
            <a:avLst/>
            <a:gdLst>
              <a:gd name="connsiteX0" fmla="*/ 0 w 79113"/>
              <a:gd name="connsiteY0" fmla="*/ 50123 h 50123"/>
              <a:gd name="connsiteX1" fmla="*/ 0 w 79113"/>
              <a:gd name="connsiteY1" fmla="*/ 0 h 50123"/>
              <a:gd name="connsiteX2" fmla="*/ 79113 w 79113"/>
              <a:gd name="connsiteY2" fmla="*/ 0 h 50123"/>
              <a:gd name="connsiteX3" fmla="*/ 44369 w 79113"/>
              <a:gd name="connsiteY3" fmla="*/ 50123 h 50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9113" h="50123">
                <a:moveTo>
                  <a:pt x="0" y="50123"/>
                </a:moveTo>
                <a:lnTo>
                  <a:pt x="0" y="0"/>
                </a:lnTo>
                <a:lnTo>
                  <a:pt x="79113" y="0"/>
                </a:lnTo>
                <a:lnTo>
                  <a:pt x="44369" y="5012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2" name="Forme libre : forme 111">
            <a:extLst>
              <a:ext uri="{FF2B5EF4-FFF2-40B4-BE49-F238E27FC236}">
                <a16:creationId xmlns:a16="http://schemas.microsoft.com/office/drawing/2014/main" id="{E81DDFAA-1A06-4A18-8287-C68132D6876A}"/>
              </a:ext>
            </a:extLst>
          </p:cNvPr>
          <p:cNvSpPr/>
          <p:nvPr/>
        </p:nvSpPr>
        <p:spPr>
          <a:xfrm rot="8716295">
            <a:off x="-40457" y="3981561"/>
            <a:ext cx="259728" cy="250615"/>
          </a:xfrm>
          <a:custGeom>
            <a:avLst/>
            <a:gdLst>
              <a:gd name="connsiteX0" fmla="*/ 544830 w 542925"/>
              <a:gd name="connsiteY0" fmla="*/ 184905 h 523875"/>
              <a:gd name="connsiteX1" fmla="*/ 544830 w 542925"/>
              <a:gd name="connsiteY1" fmla="*/ 197288 h 523875"/>
              <a:gd name="connsiteX2" fmla="*/ 415290 w 542925"/>
              <a:gd name="connsiteY2" fmla="*/ 204908 h 523875"/>
              <a:gd name="connsiteX3" fmla="*/ 415290 w 542925"/>
              <a:gd name="connsiteY3" fmla="*/ 170618 h 523875"/>
              <a:gd name="connsiteX4" fmla="*/ 344805 w 542925"/>
              <a:gd name="connsiteY4" fmla="*/ 83940 h 523875"/>
              <a:gd name="connsiteX5" fmla="*/ 233363 w 542925"/>
              <a:gd name="connsiteY5" fmla="*/ 266820 h 523875"/>
              <a:gd name="connsiteX6" fmla="*/ 233363 w 542925"/>
              <a:gd name="connsiteY6" fmla="*/ 446843 h 523875"/>
              <a:gd name="connsiteX7" fmla="*/ 107632 w 542925"/>
              <a:gd name="connsiteY7" fmla="*/ 532568 h 523875"/>
              <a:gd name="connsiteX8" fmla="*/ 107632 w 542925"/>
              <a:gd name="connsiteY8" fmla="*/ 95370 h 523875"/>
              <a:gd name="connsiteX9" fmla="*/ 0 w 542925"/>
              <a:gd name="connsiteY9" fmla="*/ 95370 h 523875"/>
              <a:gd name="connsiteX10" fmla="*/ 0 w 542925"/>
              <a:gd name="connsiteY10" fmla="*/ 2978 h 523875"/>
              <a:gd name="connsiteX11" fmla="*/ 219075 w 542925"/>
              <a:gd name="connsiteY11" fmla="*/ 2978 h 523875"/>
              <a:gd name="connsiteX12" fmla="*/ 219075 w 542925"/>
              <a:gd name="connsiteY12" fmla="*/ 157283 h 523875"/>
              <a:gd name="connsiteX13" fmla="*/ 221932 w 542925"/>
              <a:gd name="connsiteY13" fmla="*/ 157283 h 523875"/>
              <a:gd name="connsiteX14" fmla="*/ 321945 w 542925"/>
              <a:gd name="connsiteY14" fmla="*/ 12503 h 523875"/>
              <a:gd name="connsiteX15" fmla="*/ 387667 w 542925"/>
              <a:gd name="connsiteY15" fmla="*/ 120 h 523875"/>
              <a:gd name="connsiteX16" fmla="*/ 544830 w 542925"/>
              <a:gd name="connsiteY16" fmla="*/ 18490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42925" h="523875">
                <a:moveTo>
                  <a:pt x="544830" y="184905"/>
                </a:moveTo>
                <a:lnTo>
                  <a:pt x="544830" y="197288"/>
                </a:lnTo>
                <a:lnTo>
                  <a:pt x="415290" y="204908"/>
                </a:lnTo>
                <a:lnTo>
                  <a:pt x="415290" y="170618"/>
                </a:lnTo>
                <a:cubicBezTo>
                  <a:pt x="415290" y="119183"/>
                  <a:pt x="385763" y="83940"/>
                  <a:pt x="344805" y="83940"/>
                </a:cubicBezTo>
                <a:cubicBezTo>
                  <a:pt x="283845" y="83940"/>
                  <a:pt x="233363" y="164903"/>
                  <a:pt x="233363" y="266820"/>
                </a:cubicBezTo>
                <a:lnTo>
                  <a:pt x="233363" y="446843"/>
                </a:lnTo>
                <a:lnTo>
                  <a:pt x="107632" y="532568"/>
                </a:lnTo>
                <a:lnTo>
                  <a:pt x="107632" y="95370"/>
                </a:lnTo>
                <a:lnTo>
                  <a:pt x="0" y="95370"/>
                </a:lnTo>
                <a:lnTo>
                  <a:pt x="0" y="2978"/>
                </a:lnTo>
                <a:lnTo>
                  <a:pt x="219075" y="2978"/>
                </a:lnTo>
                <a:lnTo>
                  <a:pt x="219075" y="157283"/>
                </a:lnTo>
                <a:lnTo>
                  <a:pt x="221932" y="157283"/>
                </a:lnTo>
                <a:cubicBezTo>
                  <a:pt x="252413" y="66795"/>
                  <a:pt x="276225" y="31553"/>
                  <a:pt x="321945" y="12503"/>
                </a:cubicBezTo>
                <a:cubicBezTo>
                  <a:pt x="342900" y="3930"/>
                  <a:pt x="364807" y="-832"/>
                  <a:pt x="387667" y="120"/>
                </a:cubicBezTo>
                <a:cubicBezTo>
                  <a:pt x="485775" y="-1785"/>
                  <a:pt x="544830" y="66795"/>
                  <a:pt x="544830" y="18490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3" name="Forme libre : forme 112">
            <a:extLst>
              <a:ext uri="{FF2B5EF4-FFF2-40B4-BE49-F238E27FC236}">
                <a16:creationId xmlns:a16="http://schemas.microsoft.com/office/drawing/2014/main" id="{1D567C73-1317-457C-BAF4-E866C8E84479}"/>
              </a:ext>
            </a:extLst>
          </p:cNvPr>
          <p:cNvSpPr/>
          <p:nvPr/>
        </p:nvSpPr>
        <p:spPr>
          <a:xfrm rot="7484129">
            <a:off x="-46974" y="4273166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4" name="Forme libre : forme 113">
            <a:extLst>
              <a:ext uri="{FF2B5EF4-FFF2-40B4-BE49-F238E27FC236}">
                <a16:creationId xmlns:a16="http://schemas.microsoft.com/office/drawing/2014/main" id="{4B07308E-D0A0-4D3E-9DEB-C235BB5B8299}"/>
              </a:ext>
            </a:extLst>
          </p:cNvPr>
          <p:cNvSpPr/>
          <p:nvPr/>
        </p:nvSpPr>
        <p:spPr>
          <a:xfrm rot="13089394">
            <a:off x="57846" y="4239700"/>
            <a:ext cx="270377" cy="325556"/>
          </a:xfrm>
          <a:custGeom>
            <a:avLst/>
            <a:gdLst>
              <a:gd name="connsiteX0" fmla="*/ 470535 w 466725"/>
              <a:gd name="connsiteY0" fmla="*/ 436245 h 561975"/>
              <a:gd name="connsiteX1" fmla="*/ 470535 w 466725"/>
              <a:gd name="connsiteY1" fmla="*/ 445770 h 561975"/>
              <a:gd name="connsiteX2" fmla="*/ 158115 w 466725"/>
              <a:gd name="connsiteY2" fmla="*/ 567690 h 561975"/>
              <a:gd name="connsiteX3" fmla="*/ 40957 w 466725"/>
              <a:gd name="connsiteY3" fmla="*/ 520065 h 561975"/>
              <a:gd name="connsiteX4" fmla="*/ 0 w 466725"/>
              <a:gd name="connsiteY4" fmla="*/ 356235 h 561975"/>
              <a:gd name="connsiteX5" fmla="*/ 0 w 466725"/>
              <a:gd name="connsiteY5" fmla="*/ 65723 h 561975"/>
              <a:gd name="connsiteX6" fmla="*/ 126682 w 466725"/>
              <a:gd name="connsiteY6" fmla="*/ 0 h 561975"/>
              <a:gd name="connsiteX7" fmla="*/ 128588 w 466725"/>
              <a:gd name="connsiteY7" fmla="*/ 265748 h 561975"/>
              <a:gd name="connsiteX8" fmla="*/ 151447 w 466725"/>
              <a:gd name="connsiteY8" fmla="*/ 423863 h 561975"/>
              <a:gd name="connsiteX9" fmla="*/ 265747 w 466725"/>
              <a:gd name="connsiteY9" fmla="*/ 486728 h 561975"/>
              <a:gd name="connsiteX10" fmla="*/ 351472 w 466725"/>
              <a:gd name="connsiteY10" fmla="*/ 471488 h 561975"/>
              <a:gd name="connsiteX11" fmla="*/ 468630 w 466725"/>
              <a:gd name="connsiteY11" fmla="*/ 423863 h 561975"/>
              <a:gd name="connsiteX12" fmla="*/ 470535 w 466725"/>
              <a:gd name="connsiteY12" fmla="*/ 436245 h 56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6725" h="561975">
                <a:moveTo>
                  <a:pt x="470535" y="436245"/>
                </a:moveTo>
                <a:lnTo>
                  <a:pt x="470535" y="445770"/>
                </a:lnTo>
                <a:cubicBezTo>
                  <a:pt x="369570" y="532448"/>
                  <a:pt x="237172" y="562928"/>
                  <a:pt x="158115" y="567690"/>
                </a:cubicBezTo>
                <a:cubicBezTo>
                  <a:pt x="114300" y="570548"/>
                  <a:pt x="71438" y="551498"/>
                  <a:pt x="40957" y="520065"/>
                </a:cubicBezTo>
                <a:cubicBezTo>
                  <a:pt x="8572" y="488633"/>
                  <a:pt x="0" y="434340"/>
                  <a:pt x="0" y="356235"/>
                </a:cubicBezTo>
                <a:lnTo>
                  <a:pt x="0" y="65723"/>
                </a:lnTo>
                <a:lnTo>
                  <a:pt x="126682" y="0"/>
                </a:lnTo>
                <a:lnTo>
                  <a:pt x="128588" y="265748"/>
                </a:lnTo>
                <a:cubicBezTo>
                  <a:pt x="125730" y="319088"/>
                  <a:pt x="134302" y="373380"/>
                  <a:pt x="151447" y="423863"/>
                </a:cubicBezTo>
                <a:cubicBezTo>
                  <a:pt x="166688" y="465773"/>
                  <a:pt x="205740" y="486728"/>
                  <a:pt x="265747" y="486728"/>
                </a:cubicBezTo>
                <a:cubicBezTo>
                  <a:pt x="295275" y="485775"/>
                  <a:pt x="323850" y="480060"/>
                  <a:pt x="351472" y="471488"/>
                </a:cubicBezTo>
                <a:cubicBezTo>
                  <a:pt x="391477" y="459105"/>
                  <a:pt x="430530" y="442913"/>
                  <a:pt x="468630" y="423863"/>
                </a:cubicBezTo>
                <a:cubicBezTo>
                  <a:pt x="469582" y="427673"/>
                  <a:pt x="470535" y="432435"/>
                  <a:pt x="470535" y="43624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5" name="Forme libre : forme 114">
            <a:extLst>
              <a:ext uri="{FF2B5EF4-FFF2-40B4-BE49-F238E27FC236}">
                <a16:creationId xmlns:a16="http://schemas.microsoft.com/office/drawing/2014/main" id="{B3D02E0E-617A-4DDE-855C-BECF0834C305}"/>
              </a:ext>
            </a:extLst>
          </p:cNvPr>
          <p:cNvSpPr/>
          <p:nvPr/>
        </p:nvSpPr>
        <p:spPr>
          <a:xfrm rot="8716295">
            <a:off x="243431" y="4048019"/>
            <a:ext cx="220345" cy="161228"/>
          </a:xfrm>
          <a:custGeom>
            <a:avLst/>
            <a:gdLst>
              <a:gd name="connsiteX0" fmla="*/ 343853 w 390525"/>
              <a:gd name="connsiteY0" fmla="*/ 144780 h 285750"/>
              <a:gd name="connsiteX1" fmla="*/ 344805 w 390525"/>
              <a:gd name="connsiteY1" fmla="*/ 144780 h 285750"/>
              <a:gd name="connsiteX2" fmla="*/ 12382 w 390525"/>
              <a:gd name="connsiteY2" fmla="*/ 288608 h 285750"/>
              <a:gd name="connsiteX3" fmla="*/ 0 w 390525"/>
              <a:gd name="connsiteY3" fmla="*/ 271463 h 285750"/>
              <a:gd name="connsiteX4" fmla="*/ 225743 w 390525"/>
              <a:gd name="connsiteY4" fmla="*/ 59055 h 285750"/>
              <a:gd name="connsiteX5" fmla="*/ 340043 w 390525"/>
              <a:gd name="connsiteY5" fmla="*/ 0 h 285750"/>
              <a:gd name="connsiteX6" fmla="*/ 399098 w 390525"/>
              <a:gd name="connsiteY6" fmla="*/ 70485 h 285750"/>
              <a:gd name="connsiteX7" fmla="*/ 343853 w 390525"/>
              <a:gd name="connsiteY7" fmla="*/ 14478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0525" h="285750">
                <a:moveTo>
                  <a:pt x="343853" y="144780"/>
                </a:moveTo>
                <a:lnTo>
                  <a:pt x="344805" y="144780"/>
                </a:lnTo>
                <a:lnTo>
                  <a:pt x="12382" y="288608"/>
                </a:lnTo>
                <a:lnTo>
                  <a:pt x="0" y="271463"/>
                </a:lnTo>
                <a:lnTo>
                  <a:pt x="225743" y="59055"/>
                </a:lnTo>
                <a:cubicBezTo>
                  <a:pt x="254318" y="25718"/>
                  <a:pt x="295275" y="4763"/>
                  <a:pt x="340043" y="0"/>
                </a:cubicBezTo>
                <a:cubicBezTo>
                  <a:pt x="385763" y="0"/>
                  <a:pt x="399098" y="40005"/>
                  <a:pt x="399098" y="70485"/>
                </a:cubicBezTo>
                <a:cubicBezTo>
                  <a:pt x="396240" y="103823"/>
                  <a:pt x="374332" y="131445"/>
                  <a:pt x="343853" y="14478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6" name="Forme libre : forme 115">
            <a:extLst>
              <a:ext uri="{FF2B5EF4-FFF2-40B4-BE49-F238E27FC236}">
                <a16:creationId xmlns:a16="http://schemas.microsoft.com/office/drawing/2014/main" id="{FCFFBDC4-0942-4E6E-9EF4-22477617D5C9}"/>
              </a:ext>
            </a:extLst>
          </p:cNvPr>
          <p:cNvSpPr/>
          <p:nvPr/>
        </p:nvSpPr>
        <p:spPr>
          <a:xfrm rot="8716295">
            <a:off x="191626" y="3944426"/>
            <a:ext cx="110380" cy="1103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7" name="Forme libre : forme 116">
            <a:extLst>
              <a:ext uri="{FF2B5EF4-FFF2-40B4-BE49-F238E27FC236}">
                <a16:creationId xmlns:a16="http://schemas.microsoft.com/office/drawing/2014/main" id="{6779D405-E211-4D4D-B286-FEED219E73DF}"/>
              </a:ext>
            </a:extLst>
          </p:cNvPr>
          <p:cNvSpPr/>
          <p:nvPr/>
        </p:nvSpPr>
        <p:spPr>
          <a:xfrm rot="8716295">
            <a:off x="125832" y="3815405"/>
            <a:ext cx="110380" cy="1103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8" name="Forme libre : forme 117">
            <a:extLst>
              <a:ext uri="{FF2B5EF4-FFF2-40B4-BE49-F238E27FC236}">
                <a16:creationId xmlns:a16="http://schemas.microsoft.com/office/drawing/2014/main" id="{1B98413D-C7CC-484D-AF71-C6706295A09F}"/>
              </a:ext>
            </a:extLst>
          </p:cNvPr>
          <p:cNvSpPr/>
          <p:nvPr/>
        </p:nvSpPr>
        <p:spPr>
          <a:xfrm rot="8716295">
            <a:off x="-73048" y="4876828"/>
            <a:ext cx="221382" cy="253349"/>
          </a:xfrm>
          <a:custGeom>
            <a:avLst/>
            <a:gdLst>
              <a:gd name="connsiteX0" fmla="*/ 51490 w 221382"/>
              <a:gd name="connsiteY0" fmla="*/ 253349 h 253349"/>
              <a:gd name="connsiteX1" fmla="*/ 51490 w 221382"/>
              <a:gd name="connsiteY1" fmla="*/ 44199 h 253349"/>
              <a:gd name="connsiteX2" fmla="*/ 0 w 221382"/>
              <a:gd name="connsiteY2" fmla="*/ 44199 h 253349"/>
              <a:gd name="connsiteX3" fmla="*/ 0 w 221382"/>
              <a:gd name="connsiteY3" fmla="*/ 0 h 253349"/>
              <a:gd name="connsiteX4" fmla="*/ 104803 w 221382"/>
              <a:gd name="connsiteY4" fmla="*/ 0 h 253349"/>
              <a:gd name="connsiteX5" fmla="*/ 104802 w 221382"/>
              <a:gd name="connsiteY5" fmla="*/ 73817 h 253349"/>
              <a:gd name="connsiteX6" fmla="*/ 106169 w 221382"/>
              <a:gd name="connsiteY6" fmla="*/ 73817 h 253349"/>
              <a:gd name="connsiteX7" fmla="*/ 154014 w 221382"/>
              <a:gd name="connsiteY7" fmla="*/ 4556 h 253349"/>
              <a:gd name="connsiteX8" fmla="*/ 174650 w 221382"/>
              <a:gd name="connsiteY8" fmla="*/ 668 h 253349"/>
              <a:gd name="connsiteX9" fmla="*/ 214075 w 221382"/>
              <a:gd name="connsiteY9" fmla="*/ 27996 h 253349"/>
              <a:gd name="connsiteX10" fmla="*/ 221382 w 221382"/>
              <a:gd name="connsiteY10" fmla="*/ 33060 h 253349"/>
              <a:gd name="connsiteX11" fmla="*/ 195540 w 221382"/>
              <a:gd name="connsiteY11" fmla="*/ 70341 h 253349"/>
              <a:gd name="connsiteX12" fmla="*/ 189157 w 221382"/>
              <a:gd name="connsiteY12" fmla="*/ 50236 h 253349"/>
              <a:gd name="connsiteX13" fmla="*/ 164950 w 221382"/>
              <a:gd name="connsiteY13" fmla="*/ 38731 h 253349"/>
              <a:gd name="connsiteX14" fmla="*/ 111638 w 221382"/>
              <a:gd name="connsiteY14" fmla="*/ 126218 h 253349"/>
              <a:gd name="connsiteX15" fmla="*/ 111638 w 221382"/>
              <a:gd name="connsiteY15" fmla="*/ 191383 h 253349"/>
              <a:gd name="connsiteX16" fmla="*/ 84096 w 221382"/>
              <a:gd name="connsiteY16" fmla="*/ 231117 h 2533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21382" h="253349">
                <a:moveTo>
                  <a:pt x="51490" y="253349"/>
                </a:moveTo>
                <a:lnTo>
                  <a:pt x="51490" y="44199"/>
                </a:lnTo>
                <a:lnTo>
                  <a:pt x="0" y="44199"/>
                </a:lnTo>
                <a:lnTo>
                  <a:pt x="0" y="0"/>
                </a:lnTo>
                <a:lnTo>
                  <a:pt x="104803" y="0"/>
                </a:lnTo>
                <a:lnTo>
                  <a:pt x="104802" y="73817"/>
                </a:lnTo>
                <a:lnTo>
                  <a:pt x="106169" y="73817"/>
                </a:lnTo>
                <a:cubicBezTo>
                  <a:pt x="120751" y="30529"/>
                  <a:pt x="132142" y="13670"/>
                  <a:pt x="154014" y="4556"/>
                </a:cubicBezTo>
                <a:lnTo>
                  <a:pt x="174650" y="668"/>
                </a:lnTo>
                <a:lnTo>
                  <a:pt x="214075" y="27996"/>
                </a:lnTo>
                <a:lnTo>
                  <a:pt x="221382" y="33060"/>
                </a:lnTo>
                <a:lnTo>
                  <a:pt x="195540" y="70341"/>
                </a:lnTo>
                <a:lnTo>
                  <a:pt x="189157" y="50236"/>
                </a:lnTo>
                <a:cubicBezTo>
                  <a:pt x="183177" y="42946"/>
                  <a:pt x="174747" y="38731"/>
                  <a:pt x="164950" y="38731"/>
                </a:cubicBezTo>
                <a:cubicBezTo>
                  <a:pt x="135788" y="38731"/>
                  <a:pt x="111638" y="77463"/>
                  <a:pt x="111638" y="126218"/>
                </a:cubicBezTo>
                <a:lnTo>
                  <a:pt x="111638" y="191383"/>
                </a:lnTo>
                <a:lnTo>
                  <a:pt x="84096" y="231117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9" name="Forme libre : forme 118">
            <a:extLst>
              <a:ext uri="{FF2B5EF4-FFF2-40B4-BE49-F238E27FC236}">
                <a16:creationId xmlns:a16="http://schemas.microsoft.com/office/drawing/2014/main" id="{6176F84A-9766-45D5-91E9-4847B60A5CD4}"/>
              </a:ext>
            </a:extLst>
          </p:cNvPr>
          <p:cNvSpPr/>
          <p:nvPr/>
        </p:nvSpPr>
        <p:spPr>
          <a:xfrm rot="8716295">
            <a:off x="93318" y="4612018"/>
            <a:ext cx="141256" cy="232388"/>
          </a:xfrm>
          <a:custGeom>
            <a:avLst/>
            <a:gdLst>
              <a:gd name="connsiteX0" fmla="*/ 297180 w 295275"/>
              <a:gd name="connsiteY0" fmla="*/ 104775 h 485775"/>
              <a:gd name="connsiteX1" fmla="*/ 297180 w 295275"/>
              <a:gd name="connsiteY1" fmla="*/ 435293 h 485775"/>
              <a:gd name="connsiteX2" fmla="*/ 169545 w 295275"/>
              <a:gd name="connsiteY2" fmla="*/ 485775 h 485775"/>
              <a:gd name="connsiteX3" fmla="*/ 169545 w 295275"/>
              <a:gd name="connsiteY3" fmla="*/ 145733 h 485775"/>
              <a:gd name="connsiteX4" fmla="*/ 169545 w 295275"/>
              <a:gd name="connsiteY4" fmla="*/ 137160 h 485775"/>
              <a:gd name="connsiteX5" fmla="*/ 126683 w 295275"/>
              <a:gd name="connsiteY5" fmla="*/ 104775 h 485775"/>
              <a:gd name="connsiteX6" fmla="*/ 0 w 295275"/>
              <a:gd name="connsiteY6" fmla="*/ 104775 h 485775"/>
              <a:gd name="connsiteX7" fmla="*/ 0 w 295275"/>
              <a:gd name="connsiteY7" fmla="*/ 0 h 485775"/>
              <a:gd name="connsiteX8" fmla="*/ 178118 w 295275"/>
              <a:gd name="connsiteY8" fmla="*/ 0 h 485775"/>
              <a:gd name="connsiteX9" fmla="*/ 297180 w 295275"/>
              <a:gd name="connsiteY9" fmla="*/ 104775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95275" h="485775">
                <a:moveTo>
                  <a:pt x="297180" y="104775"/>
                </a:moveTo>
                <a:lnTo>
                  <a:pt x="297180" y="435293"/>
                </a:lnTo>
                <a:lnTo>
                  <a:pt x="169545" y="485775"/>
                </a:lnTo>
                <a:lnTo>
                  <a:pt x="169545" y="145733"/>
                </a:lnTo>
                <a:cubicBezTo>
                  <a:pt x="169545" y="142875"/>
                  <a:pt x="169545" y="140018"/>
                  <a:pt x="169545" y="137160"/>
                </a:cubicBezTo>
                <a:cubicBezTo>
                  <a:pt x="166688" y="116205"/>
                  <a:pt x="147638" y="101918"/>
                  <a:pt x="126683" y="104775"/>
                </a:cubicBezTo>
                <a:lnTo>
                  <a:pt x="0" y="104775"/>
                </a:lnTo>
                <a:lnTo>
                  <a:pt x="0" y="0"/>
                </a:lnTo>
                <a:lnTo>
                  <a:pt x="178118" y="0"/>
                </a:lnTo>
                <a:cubicBezTo>
                  <a:pt x="255270" y="0"/>
                  <a:pt x="297180" y="33338"/>
                  <a:pt x="297180" y="10477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0" name="Forme libre : forme 119">
            <a:extLst>
              <a:ext uri="{FF2B5EF4-FFF2-40B4-BE49-F238E27FC236}">
                <a16:creationId xmlns:a16="http://schemas.microsoft.com/office/drawing/2014/main" id="{3DA54937-5DEF-4122-B904-83A03268CA89}"/>
              </a:ext>
            </a:extLst>
          </p:cNvPr>
          <p:cNvSpPr/>
          <p:nvPr/>
        </p:nvSpPr>
        <p:spPr>
          <a:xfrm rot="8716295">
            <a:off x="182710" y="4641260"/>
            <a:ext cx="259728" cy="250615"/>
          </a:xfrm>
          <a:custGeom>
            <a:avLst/>
            <a:gdLst>
              <a:gd name="connsiteX0" fmla="*/ 544830 w 542925"/>
              <a:gd name="connsiteY0" fmla="*/ 184905 h 523875"/>
              <a:gd name="connsiteX1" fmla="*/ 544830 w 542925"/>
              <a:gd name="connsiteY1" fmla="*/ 197288 h 523875"/>
              <a:gd name="connsiteX2" fmla="*/ 415290 w 542925"/>
              <a:gd name="connsiteY2" fmla="*/ 204908 h 523875"/>
              <a:gd name="connsiteX3" fmla="*/ 415290 w 542925"/>
              <a:gd name="connsiteY3" fmla="*/ 170618 h 523875"/>
              <a:gd name="connsiteX4" fmla="*/ 344805 w 542925"/>
              <a:gd name="connsiteY4" fmla="*/ 83940 h 523875"/>
              <a:gd name="connsiteX5" fmla="*/ 233363 w 542925"/>
              <a:gd name="connsiteY5" fmla="*/ 266820 h 523875"/>
              <a:gd name="connsiteX6" fmla="*/ 233363 w 542925"/>
              <a:gd name="connsiteY6" fmla="*/ 446843 h 523875"/>
              <a:gd name="connsiteX7" fmla="*/ 107632 w 542925"/>
              <a:gd name="connsiteY7" fmla="*/ 532568 h 523875"/>
              <a:gd name="connsiteX8" fmla="*/ 107632 w 542925"/>
              <a:gd name="connsiteY8" fmla="*/ 95370 h 523875"/>
              <a:gd name="connsiteX9" fmla="*/ 0 w 542925"/>
              <a:gd name="connsiteY9" fmla="*/ 95370 h 523875"/>
              <a:gd name="connsiteX10" fmla="*/ 0 w 542925"/>
              <a:gd name="connsiteY10" fmla="*/ 2978 h 523875"/>
              <a:gd name="connsiteX11" fmla="*/ 219075 w 542925"/>
              <a:gd name="connsiteY11" fmla="*/ 2978 h 523875"/>
              <a:gd name="connsiteX12" fmla="*/ 219075 w 542925"/>
              <a:gd name="connsiteY12" fmla="*/ 157283 h 523875"/>
              <a:gd name="connsiteX13" fmla="*/ 221932 w 542925"/>
              <a:gd name="connsiteY13" fmla="*/ 157283 h 523875"/>
              <a:gd name="connsiteX14" fmla="*/ 321945 w 542925"/>
              <a:gd name="connsiteY14" fmla="*/ 12503 h 523875"/>
              <a:gd name="connsiteX15" fmla="*/ 387667 w 542925"/>
              <a:gd name="connsiteY15" fmla="*/ 120 h 523875"/>
              <a:gd name="connsiteX16" fmla="*/ 544830 w 542925"/>
              <a:gd name="connsiteY16" fmla="*/ 18490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42925" h="523875">
                <a:moveTo>
                  <a:pt x="544830" y="184905"/>
                </a:moveTo>
                <a:lnTo>
                  <a:pt x="544830" y="197288"/>
                </a:lnTo>
                <a:lnTo>
                  <a:pt x="415290" y="204908"/>
                </a:lnTo>
                <a:lnTo>
                  <a:pt x="415290" y="170618"/>
                </a:lnTo>
                <a:cubicBezTo>
                  <a:pt x="415290" y="119183"/>
                  <a:pt x="385763" y="83940"/>
                  <a:pt x="344805" y="83940"/>
                </a:cubicBezTo>
                <a:cubicBezTo>
                  <a:pt x="283845" y="83940"/>
                  <a:pt x="233363" y="164903"/>
                  <a:pt x="233363" y="266820"/>
                </a:cubicBezTo>
                <a:lnTo>
                  <a:pt x="233363" y="446843"/>
                </a:lnTo>
                <a:lnTo>
                  <a:pt x="107632" y="532568"/>
                </a:lnTo>
                <a:lnTo>
                  <a:pt x="107632" y="95370"/>
                </a:lnTo>
                <a:lnTo>
                  <a:pt x="0" y="95370"/>
                </a:lnTo>
                <a:lnTo>
                  <a:pt x="0" y="2978"/>
                </a:lnTo>
                <a:lnTo>
                  <a:pt x="219075" y="2978"/>
                </a:lnTo>
                <a:lnTo>
                  <a:pt x="219075" y="157283"/>
                </a:lnTo>
                <a:lnTo>
                  <a:pt x="221932" y="157283"/>
                </a:lnTo>
                <a:cubicBezTo>
                  <a:pt x="252413" y="66795"/>
                  <a:pt x="276225" y="31553"/>
                  <a:pt x="321945" y="12503"/>
                </a:cubicBezTo>
                <a:cubicBezTo>
                  <a:pt x="342900" y="3930"/>
                  <a:pt x="364807" y="-832"/>
                  <a:pt x="387667" y="120"/>
                </a:cubicBezTo>
                <a:cubicBezTo>
                  <a:pt x="485775" y="-1785"/>
                  <a:pt x="544830" y="66795"/>
                  <a:pt x="544830" y="18490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1" name="Forme libre : forme 120">
            <a:extLst>
              <a:ext uri="{FF2B5EF4-FFF2-40B4-BE49-F238E27FC236}">
                <a16:creationId xmlns:a16="http://schemas.microsoft.com/office/drawing/2014/main" id="{24CD3C2A-51CB-4CA4-A2B4-FE03D227C422}"/>
              </a:ext>
            </a:extLst>
          </p:cNvPr>
          <p:cNvSpPr/>
          <p:nvPr/>
        </p:nvSpPr>
        <p:spPr>
          <a:xfrm rot="8716295">
            <a:off x="-14524" y="4699631"/>
            <a:ext cx="49997" cy="54238"/>
          </a:xfrm>
          <a:custGeom>
            <a:avLst/>
            <a:gdLst>
              <a:gd name="connsiteX0" fmla="*/ 8658 w 49997"/>
              <a:gd name="connsiteY0" fmla="*/ 50123 h 54238"/>
              <a:gd name="connsiteX1" fmla="*/ 0 w 49997"/>
              <a:gd name="connsiteY1" fmla="*/ 29619 h 54238"/>
              <a:gd name="connsiteX2" fmla="*/ 0 w 49997"/>
              <a:gd name="connsiteY2" fmla="*/ 29162 h 54238"/>
              <a:gd name="connsiteX3" fmla="*/ 8658 w 49997"/>
              <a:gd name="connsiteY3" fmla="*/ 8658 h 54238"/>
              <a:gd name="connsiteX4" fmla="*/ 29163 w 49997"/>
              <a:gd name="connsiteY4" fmla="*/ 0 h 54238"/>
              <a:gd name="connsiteX5" fmla="*/ 49668 w 49997"/>
              <a:gd name="connsiteY5" fmla="*/ 8658 h 54238"/>
              <a:gd name="connsiteX6" fmla="*/ 49997 w 49997"/>
              <a:gd name="connsiteY6" fmla="*/ 9441 h 54238"/>
              <a:gd name="connsiteX7" fmla="*/ 18945 w 49997"/>
              <a:gd name="connsiteY7" fmla="*/ 54238 h 54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9997" h="54238">
                <a:moveTo>
                  <a:pt x="8658" y="50123"/>
                </a:moveTo>
                <a:cubicBezTo>
                  <a:pt x="3190" y="44655"/>
                  <a:pt x="0" y="37365"/>
                  <a:pt x="0" y="29619"/>
                </a:cubicBezTo>
                <a:lnTo>
                  <a:pt x="0" y="29162"/>
                </a:lnTo>
                <a:cubicBezTo>
                  <a:pt x="0" y="21417"/>
                  <a:pt x="3190" y="14126"/>
                  <a:pt x="8658" y="8658"/>
                </a:cubicBezTo>
                <a:cubicBezTo>
                  <a:pt x="14126" y="3190"/>
                  <a:pt x="21416" y="0"/>
                  <a:pt x="29163" y="0"/>
                </a:cubicBezTo>
                <a:cubicBezTo>
                  <a:pt x="36909" y="0"/>
                  <a:pt x="44200" y="3190"/>
                  <a:pt x="49668" y="8658"/>
                </a:cubicBezTo>
                <a:lnTo>
                  <a:pt x="49997" y="9441"/>
                </a:lnTo>
                <a:lnTo>
                  <a:pt x="18945" y="54238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2" name="Forme libre : forme 121">
            <a:extLst>
              <a:ext uri="{FF2B5EF4-FFF2-40B4-BE49-F238E27FC236}">
                <a16:creationId xmlns:a16="http://schemas.microsoft.com/office/drawing/2014/main" id="{7A46CCF0-E67A-4E1E-9549-23C0DBDB68E2}"/>
              </a:ext>
            </a:extLst>
          </p:cNvPr>
          <p:cNvSpPr/>
          <p:nvPr/>
        </p:nvSpPr>
        <p:spPr>
          <a:xfrm rot="8716295">
            <a:off x="-30327" y="4579755"/>
            <a:ext cx="113346" cy="71024"/>
          </a:xfrm>
          <a:custGeom>
            <a:avLst/>
            <a:gdLst>
              <a:gd name="connsiteX0" fmla="*/ 0 w 113346"/>
              <a:gd name="connsiteY0" fmla="*/ 55323 h 71024"/>
              <a:gd name="connsiteX1" fmla="*/ 0 w 113346"/>
              <a:gd name="connsiteY1" fmla="*/ 0 h 71024"/>
              <a:gd name="connsiteX2" fmla="*/ 113346 w 113346"/>
              <a:gd name="connsiteY2" fmla="*/ 0 h 71024"/>
              <a:gd name="connsiteX3" fmla="*/ 64114 w 113346"/>
              <a:gd name="connsiteY3" fmla="*/ 71024 h 71024"/>
              <a:gd name="connsiteX4" fmla="*/ 69777 w 113346"/>
              <a:gd name="connsiteY4" fmla="*/ 55323 h 71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346" h="71024">
                <a:moveTo>
                  <a:pt x="0" y="55323"/>
                </a:moveTo>
                <a:lnTo>
                  <a:pt x="0" y="0"/>
                </a:lnTo>
                <a:lnTo>
                  <a:pt x="113346" y="0"/>
                </a:lnTo>
                <a:lnTo>
                  <a:pt x="64114" y="71024"/>
                </a:lnTo>
                <a:lnTo>
                  <a:pt x="69777" y="5532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3" name="Forme libre : forme 122">
            <a:extLst>
              <a:ext uri="{FF2B5EF4-FFF2-40B4-BE49-F238E27FC236}">
                <a16:creationId xmlns:a16="http://schemas.microsoft.com/office/drawing/2014/main" id="{01D04BC1-282A-4CFE-BF99-5B57F855BCBC}"/>
              </a:ext>
            </a:extLst>
          </p:cNvPr>
          <p:cNvSpPr/>
          <p:nvPr/>
        </p:nvSpPr>
        <p:spPr>
          <a:xfrm rot="8716295">
            <a:off x="71262" y="4741514"/>
            <a:ext cx="100246" cy="218719"/>
          </a:xfrm>
          <a:custGeom>
            <a:avLst/>
            <a:gdLst>
              <a:gd name="connsiteX0" fmla="*/ 216217 w 209550"/>
              <a:gd name="connsiteY0" fmla="*/ 0 h 457200"/>
              <a:gd name="connsiteX1" fmla="*/ 216217 w 209550"/>
              <a:gd name="connsiteY1" fmla="*/ 458153 h 457200"/>
              <a:gd name="connsiteX2" fmla="*/ 90488 w 209550"/>
              <a:gd name="connsiteY2" fmla="*/ 337185 h 457200"/>
              <a:gd name="connsiteX3" fmla="*/ 90488 w 209550"/>
              <a:gd name="connsiteY3" fmla="*/ 34290 h 457200"/>
              <a:gd name="connsiteX4" fmla="*/ 0 w 209550"/>
              <a:gd name="connsiteY4" fmla="*/ 34290 h 457200"/>
              <a:gd name="connsiteX5" fmla="*/ 0 w 209550"/>
              <a:gd name="connsiteY5" fmla="*/ 4763 h 457200"/>
              <a:gd name="connsiteX6" fmla="*/ 216217 w 209550"/>
              <a:gd name="connsiteY6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9550" h="457200">
                <a:moveTo>
                  <a:pt x="216217" y="0"/>
                </a:moveTo>
                <a:lnTo>
                  <a:pt x="216217" y="458153"/>
                </a:lnTo>
                <a:lnTo>
                  <a:pt x="90488" y="337185"/>
                </a:lnTo>
                <a:lnTo>
                  <a:pt x="90488" y="34290"/>
                </a:lnTo>
                <a:lnTo>
                  <a:pt x="0" y="34290"/>
                </a:lnTo>
                <a:lnTo>
                  <a:pt x="0" y="4763"/>
                </a:lnTo>
                <a:cubicBezTo>
                  <a:pt x="68580" y="7620"/>
                  <a:pt x="140017" y="1905"/>
                  <a:pt x="216217" y="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4" name="Forme libre : forme 123">
            <a:extLst>
              <a:ext uri="{FF2B5EF4-FFF2-40B4-BE49-F238E27FC236}">
                <a16:creationId xmlns:a16="http://schemas.microsoft.com/office/drawing/2014/main" id="{A04953EA-5C79-45C4-9757-065EFCA47539}"/>
              </a:ext>
            </a:extLst>
          </p:cNvPr>
          <p:cNvSpPr/>
          <p:nvPr/>
        </p:nvSpPr>
        <p:spPr>
          <a:xfrm rot="7484129">
            <a:off x="172059" y="4933533"/>
            <a:ext cx="203847" cy="195874"/>
          </a:xfrm>
          <a:custGeom>
            <a:avLst/>
            <a:gdLst>
              <a:gd name="connsiteX0" fmla="*/ 90710 w 203847"/>
              <a:gd name="connsiteY0" fmla="*/ 195874 h 195874"/>
              <a:gd name="connsiteX1" fmla="*/ 47847 w 203847"/>
              <a:gd name="connsiteY1" fmla="*/ 116129 h 195874"/>
              <a:gd name="connsiteX2" fmla="*/ 69777 w 203847"/>
              <a:gd name="connsiteY2" fmla="*/ 55323 h 195874"/>
              <a:gd name="connsiteX3" fmla="*/ 0 w 203847"/>
              <a:gd name="connsiteY3" fmla="*/ 55323 h 195874"/>
              <a:gd name="connsiteX4" fmla="*/ 0 w 203847"/>
              <a:gd name="connsiteY4" fmla="*/ 0 h 195874"/>
              <a:gd name="connsiteX5" fmla="*/ 170341 w 203847"/>
              <a:gd name="connsiteY5" fmla="*/ 0 h 195874"/>
              <a:gd name="connsiteX6" fmla="*/ 203847 w 203847"/>
              <a:gd name="connsiteY6" fmla="*/ 48325 h 195874"/>
              <a:gd name="connsiteX7" fmla="*/ 203847 w 203847"/>
              <a:gd name="connsiteY7" fmla="*/ 55323 h 195874"/>
              <a:gd name="connsiteX8" fmla="*/ 139055 w 203847"/>
              <a:gd name="connsiteY8" fmla="*/ 55323 h 195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3847" h="195874">
                <a:moveTo>
                  <a:pt x="90710" y="195874"/>
                </a:moveTo>
                <a:lnTo>
                  <a:pt x="47847" y="116129"/>
                </a:lnTo>
                <a:lnTo>
                  <a:pt x="69777" y="55323"/>
                </a:lnTo>
                <a:lnTo>
                  <a:pt x="0" y="55323"/>
                </a:lnTo>
                <a:lnTo>
                  <a:pt x="0" y="0"/>
                </a:lnTo>
                <a:lnTo>
                  <a:pt x="170341" y="0"/>
                </a:lnTo>
                <a:lnTo>
                  <a:pt x="203847" y="48325"/>
                </a:lnTo>
                <a:lnTo>
                  <a:pt x="203847" y="55323"/>
                </a:lnTo>
                <a:lnTo>
                  <a:pt x="139055" y="5532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5" name="Forme libre : forme 124">
            <a:extLst>
              <a:ext uri="{FF2B5EF4-FFF2-40B4-BE49-F238E27FC236}">
                <a16:creationId xmlns:a16="http://schemas.microsoft.com/office/drawing/2014/main" id="{49CB50EA-8DFB-4219-A82A-979E56D219DC}"/>
              </a:ext>
            </a:extLst>
          </p:cNvPr>
          <p:cNvSpPr/>
          <p:nvPr/>
        </p:nvSpPr>
        <p:spPr>
          <a:xfrm rot="13089394">
            <a:off x="313551" y="4906246"/>
            <a:ext cx="221827" cy="205098"/>
          </a:xfrm>
          <a:custGeom>
            <a:avLst/>
            <a:gdLst>
              <a:gd name="connsiteX0" fmla="*/ 24153 w 221827"/>
              <a:gd name="connsiteY0" fmla="*/ 55168 h 205098"/>
              <a:gd name="connsiteX1" fmla="*/ 0 w 221827"/>
              <a:gd name="connsiteY1" fmla="*/ 18385 h 205098"/>
              <a:gd name="connsiteX2" fmla="*/ 23400 w 221827"/>
              <a:gd name="connsiteY2" fmla="*/ 0 h 205098"/>
              <a:gd name="connsiteX3" fmla="*/ 23735 w 221827"/>
              <a:gd name="connsiteY3" fmla="*/ 46640 h 205098"/>
              <a:gd name="connsiteX4" fmla="*/ 221827 w 221827"/>
              <a:gd name="connsiteY4" fmla="*/ 150928 h 205098"/>
              <a:gd name="connsiteX5" fmla="*/ 126574 w 221827"/>
              <a:gd name="connsiteY5" fmla="*/ 204038 h 205098"/>
              <a:gd name="connsiteX6" fmla="*/ 122603 w 221827"/>
              <a:gd name="connsiteY6" fmla="*/ 205098 h 205098"/>
              <a:gd name="connsiteX7" fmla="*/ 102519 w 221827"/>
              <a:gd name="connsiteY7" fmla="*/ 174512 h 205098"/>
              <a:gd name="connsiteX8" fmla="*/ 103192 w 221827"/>
              <a:gd name="connsiteY8" fmla="*/ 174655 h 205098"/>
              <a:gd name="connsiteX9" fmla="*/ 152853 w 221827"/>
              <a:gd name="connsiteY9" fmla="*/ 165826 h 205098"/>
              <a:gd name="connsiteX10" fmla="*/ 220723 w 221827"/>
              <a:gd name="connsiteY10" fmla="*/ 138237 h 205098"/>
              <a:gd name="connsiteX11" fmla="*/ 221827 w 221827"/>
              <a:gd name="connsiteY11" fmla="*/ 145410 h 205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21827" h="205098">
                <a:moveTo>
                  <a:pt x="24153" y="55168"/>
                </a:moveTo>
                <a:lnTo>
                  <a:pt x="0" y="18385"/>
                </a:lnTo>
                <a:lnTo>
                  <a:pt x="23400" y="0"/>
                </a:lnTo>
                <a:lnTo>
                  <a:pt x="23735" y="46640"/>
                </a:lnTo>
                <a:close/>
                <a:moveTo>
                  <a:pt x="221827" y="150928"/>
                </a:moveTo>
                <a:cubicBezTo>
                  <a:pt x="192582" y="176035"/>
                  <a:pt x="158785" y="193002"/>
                  <a:pt x="126574" y="204038"/>
                </a:cubicBezTo>
                <a:lnTo>
                  <a:pt x="122603" y="205098"/>
                </a:lnTo>
                <a:lnTo>
                  <a:pt x="102519" y="174512"/>
                </a:lnTo>
                <a:lnTo>
                  <a:pt x="103192" y="174655"/>
                </a:lnTo>
                <a:cubicBezTo>
                  <a:pt x="120298" y="174103"/>
                  <a:pt x="136851" y="170792"/>
                  <a:pt x="152853" y="165826"/>
                </a:cubicBezTo>
                <a:cubicBezTo>
                  <a:pt x="176028" y="158653"/>
                  <a:pt x="198652" y="149273"/>
                  <a:pt x="220723" y="138237"/>
                </a:cubicBezTo>
                <a:cubicBezTo>
                  <a:pt x="221275" y="140444"/>
                  <a:pt x="221827" y="143203"/>
                  <a:pt x="221827" y="14541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6" name="Forme libre : forme 125">
            <a:extLst>
              <a:ext uri="{FF2B5EF4-FFF2-40B4-BE49-F238E27FC236}">
                <a16:creationId xmlns:a16="http://schemas.microsoft.com/office/drawing/2014/main" id="{5146513B-5632-4832-9AF5-1E4051EECD28}"/>
              </a:ext>
            </a:extLst>
          </p:cNvPr>
          <p:cNvSpPr/>
          <p:nvPr/>
        </p:nvSpPr>
        <p:spPr>
          <a:xfrm rot="8716295">
            <a:off x="406370" y="4600606"/>
            <a:ext cx="113655" cy="117117"/>
          </a:xfrm>
          <a:custGeom>
            <a:avLst/>
            <a:gdLst>
              <a:gd name="connsiteX0" fmla="*/ 13623 w 113655"/>
              <a:gd name="connsiteY0" fmla="*/ 100559 h 117117"/>
              <a:gd name="connsiteX1" fmla="*/ 0 w 113655"/>
              <a:gd name="connsiteY1" fmla="*/ 68296 h 117117"/>
              <a:gd name="connsiteX2" fmla="*/ 56488 w 113655"/>
              <a:gd name="connsiteY2" fmla="*/ 0 h 117117"/>
              <a:gd name="connsiteX3" fmla="*/ 96408 w 113655"/>
              <a:gd name="connsiteY3" fmla="*/ 16856 h 117117"/>
              <a:gd name="connsiteX4" fmla="*/ 96408 w 113655"/>
              <a:gd name="connsiteY4" fmla="*/ 99640 h 117117"/>
              <a:gd name="connsiteX5" fmla="*/ 55015 w 113655"/>
              <a:gd name="connsiteY5" fmla="*/ 117117 h 117117"/>
              <a:gd name="connsiteX6" fmla="*/ 13623 w 113655"/>
              <a:gd name="connsiteY6" fmla="*/ 100559 h 117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3655" h="117117">
                <a:moveTo>
                  <a:pt x="13623" y="100559"/>
                </a:moveTo>
                <a:lnTo>
                  <a:pt x="0" y="68296"/>
                </a:lnTo>
                <a:lnTo>
                  <a:pt x="56488" y="0"/>
                </a:lnTo>
                <a:lnTo>
                  <a:pt x="96408" y="16856"/>
                </a:lnTo>
                <a:cubicBezTo>
                  <a:pt x="119404" y="38931"/>
                  <a:pt x="119404" y="76644"/>
                  <a:pt x="96408" y="99640"/>
                </a:cubicBezTo>
                <a:cubicBezTo>
                  <a:pt x="85370" y="110678"/>
                  <a:pt x="70653" y="117116"/>
                  <a:pt x="55015" y="117117"/>
                </a:cubicBezTo>
                <a:cubicBezTo>
                  <a:pt x="39378" y="117117"/>
                  <a:pt x="24661" y="111597"/>
                  <a:pt x="13623" y="100559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7" name="Forme libre : forme 126">
            <a:extLst>
              <a:ext uri="{FF2B5EF4-FFF2-40B4-BE49-F238E27FC236}">
                <a16:creationId xmlns:a16="http://schemas.microsoft.com/office/drawing/2014/main" id="{FE3150CC-51A0-4255-BE10-7C4DD2D82ED1}"/>
              </a:ext>
            </a:extLst>
          </p:cNvPr>
          <p:cNvSpPr/>
          <p:nvPr/>
        </p:nvSpPr>
        <p:spPr>
          <a:xfrm rot="8716295">
            <a:off x="171547" y="4634346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8" name="Forme libre : forme 127">
            <a:extLst>
              <a:ext uri="{FF2B5EF4-FFF2-40B4-BE49-F238E27FC236}">
                <a16:creationId xmlns:a16="http://schemas.microsoft.com/office/drawing/2014/main" id="{3071C62B-77D8-4A0E-86A6-83549F6B4AD6}"/>
              </a:ext>
            </a:extLst>
          </p:cNvPr>
          <p:cNvSpPr/>
          <p:nvPr/>
        </p:nvSpPr>
        <p:spPr>
          <a:xfrm rot="8716295">
            <a:off x="348999" y="4475104"/>
            <a:ext cx="110380" cy="1103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BED9834D-49E7-4AFD-BEE4-8AB20B969F92}"/>
              </a:ext>
            </a:extLst>
          </p:cNvPr>
          <p:cNvSpPr/>
          <p:nvPr/>
        </p:nvSpPr>
        <p:spPr>
          <a:xfrm>
            <a:off x="1675026" y="884098"/>
            <a:ext cx="360000" cy="457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29" name="Espace réservé du texte 533">
            <a:extLst>
              <a:ext uri="{FF2B5EF4-FFF2-40B4-BE49-F238E27FC236}">
                <a16:creationId xmlns:a16="http://schemas.microsoft.com/office/drawing/2014/main" id="{935C0E43-331D-4BB2-8807-8DF7E7628E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97959" y="1375576"/>
            <a:ext cx="7316491" cy="3260705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300"/>
              </a:spcBef>
              <a:spcAft>
                <a:spcPts val="1000"/>
              </a:spcAft>
              <a:buNone/>
              <a:defRPr sz="1100">
                <a:solidFill>
                  <a:schemeClr val="tx1"/>
                </a:solidFill>
              </a:defRPr>
            </a:lvl2pPr>
            <a:lvl3pPr marL="270000" indent="-270000" algn="l" defTabSz="457200" rtl="0" eaLnBrk="1" latinLnBrk="0" hangingPunct="1">
              <a:spcBef>
                <a:spcPts val="400"/>
              </a:spcBef>
              <a:spcAft>
                <a:spcPts val="1000"/>
              </a:spcAft>
              <a:buSzPct val="100000"/>
              <a:buFontTx/>
              <a:buBlip>
                <a:blip r:embed="rId2"/>
              </a:buBlip>
              <a:defRPr lang="fr-FR" sz="1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0000" indent="-269875">
              <a:spcBef>
                <a:spcPts val="400"/>
              </a:spcBef>
              <a:spcAft>
                <a:spcPts val="1000"/>
              </a:spcAft>
              <a:buFontTx/>
              <a:buBlip>
                <a:blip r:embed="rId3"/>
              </a:buBlip>
              <a:defRPr sz="1000" b="1">
                <a:solidFill>
                  <a:schemeClr val="tx1"/>
                </a:solidFill>
              </a:defRPr>
            </a:lvl4pPr>
            <a:lvl5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4"/>
              </a:buBlip>
              <a:defRPr sz="1000" b="1">
                <a:solidFill>
                  <a:schemeClr val="tx1"/>
                </a:solidFill>
              </a:defRPr>
            </a:lvl5pPr>
            <a:lvl6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5"/>
              </a:buBlip>
              <a:defRPr sz="1000" b="1">
                <a:solidFill>
                  <a:schemeClr val="tx1"/>
                </a:solidFill>
              </a:defRPr>
            </a:lvl6pPr>
            <a:lvl7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6"/>
              </a:buBlip>
              <a:defRPr sz="1000" b="1">
                <a:solidFill>
                  <a:schemeClr val="tx1"/>
                </a:solidFill>
              </a:defRPr>
            </a:lvl7pPr>
            <a:lvl8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7"/>
              </a:buBlip>
              <a:defRPr sz="1000" b="1">
                <a:solidFill>
                  <a:schemeClr val="tx1"/>
                </a:solidFill>
              </a:defRPr>
            </a:lvl8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Puce bleu</a:t>
            </a:r>
          </a:p>
          <a:p>
            <a:pPr lvl="3"/>
            <a:r>
              <a:rPr lang="fr-FR" dirty="0"/>
              <a:t>Puce orange</a:t>
            </a:r>
          </a:p>
          <a:p>
            <a:pPr lvl="4"/>
            <a:r>
              <a:rPr lang="fr-FR" dirty="0"/>
              <a:t>Puce rouge</a:t>
            </a:r>
          </a:p>
          <a:p>
            <a:pPr lvl="5"/>
            <a:r>
              <a:rPr lang="fr-FR" dirty="0"/>
              <a:t>Puce vert d’eau</a:t>
            </a:r>
          </a:p>
          <a:p>
            <a:pPr lvl="6"/>
            <a:r>
              <a:rPr lang="fr-FR" dirty="0"/>
              <a:t>Puce verte</a:t>
            </a:r>
          </a:p>
          <a:p>
            <a:pPr lvl="7"/>
            <a:r>
              <a:rPr lang="fr-FR" dirty="0"/>
              <a:t>Puce violette</a:t>
            </a:r>
          </a:p>
        </p:txBody>
      </p:sp>
    </p:spTree>
    <p:extLst>
      <p:ext uri="{BB962C8B-B14F-4D97-AF65-F5344CB8AC3E}">
        <p14:creationId xmlns:p14="http://schemas.microsoft.com/office/powerpoint/2010/main" val="248092758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ur deux lignes + Conten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Forme libre : forme 134">
            <a:extLst>
              <a:ext uri="{FF2B5EF4-FFF2-40B4-BE49-F238E27FC236}">
                <a16:creationId xmlns:a16="http://schemas.microsoft.com/office/drawing/2014/main" id="{BCA8F2DB-0EFB-46C7-BE50-C48C3F133EFC}"/>
              </a:ext>
            </a:extLst>
          </p:cNvPr>
          <p:cNvSpPr/>
          <p:nvPr userDrawn="1"/>
        </p:nvSpPr>
        <p:spPr>
          <a:xfrm>
            <a:off x="629550" y="0"/>
            <a:ext cx="8514451" cy="5143499"/>
          </a:xfrm>
          <a:custGeom>
            <a:avLst/>
            <a:gdLst>
              <a:gd name="connsiteX0" fmla="*/ 685476 w 8514451"/>
              <a:gd name="connsiteY0" fmla="*/ 1246048 h 5143499"/>
              <a:gd name="connsiteX1" fmla="*/ 685476 w 8514451"/>
              <a:gd name="connsiteY1" fmla="*/ 1291767 h 5143499"/>
              <a:gd name="connsiteX2" fmla="*/ 1045476 w 8514451"/>
              <a:gd name="connsiteY2" fmla="*/ 1291767 h 5143499"/>
              <a:gd name="connsiteX3" fmla="*/ 1045476 w 8514451"/>
              <a:gd name="connsiteY3" fmla="*/ 1246048 h 5143499"/>
              <a:gd name="connsiteX4" fmla="*/ 268034 w 8514451"/>
              <a:gd name="connsiteY4" fmla="*/ 0 h 5143499"/>
              <a:gd name="connsiteX5" fmla="*/ 8514451 w 8514451"/>
              <a:gd name="connsiteY5" fmla="*/ 0 h 5143499"/>
              <a:gd name="connsiteX6" fmla="*/ 8514451 w 8514451"/>
              <a:gd name="connsiteY6" fmla="*/ 5143499 h 5143499"/>
              <a:gd name="connsiteX7" fmla="*/ 274758 w 8514451"/>
              <a:gd name="connsiteY7" fmla="*/ 5143499 h 5143499"/>
              <a:gd name="connsiteX8" fmla="*/ 0 w 8514451"/>
              <a:gd name="connsiteY8" fmla="*/ 3148262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514451" h="5143499">
                <a:moveTo>
                  <a:pt x="685476" y="1246048"/>
                </a:moveTo>
                <a:lnTo>
                  <a:pt x="685476" y="1291767"/>
                </a:lnTo>
                <a:lnTo>
                  <a:pt x="1045476" y="1291767"/>
                </a:lnTo>
                <a:lnTo>
                  <a:pt x="1045476" y="1246048"/>
                </a:lnTo>
                <a:close/>
                <a:moveTo>
                  <a:pt x="268034" y="0"/>
                </a:moveTo>
                <a:lnTo>
                  <a:pt x="8514451" y="0"/>
                </a:lnTo>
                <a:lnTo>
                  <a:pt x="8514451" y="5143499"/>
                </a:lnTo>
                <a:lnTo>
                  <a:pt x="274758" y="5143499"/>
                </a:lnTo>
                <a:lnTo>
                  <a:pt x="0" y="31482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48DF42C1-5220-478C-ABAC-92E468D673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8859" y="342566"/>
            <a:ext cx="7316491" cy="757130"/>
          </a:xfrm>
        </p:spPr>
        <p:txBody>
          <a:bodyPr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Titre de la slide</a:t>
            </a:r>
            <a:br>
              <a:rPr lang="fr-FR" dirty="0"/>
            </a:br>
            <a:r>
              <a:rPr lang="fr-FR" dirty="0"/>
              <a:t>sur deux lignes</a:t>
            </a:r>
          </a:p>
        </p:txBody>
      </p:sp>
      <p:grpSp>
        <p:nvGrpSpPr>
          <p:cNvPr id="4" name="Groupe 3">
            <a:extLst>
              <a:ext uri="{FF2B5EF4-FFF2-40B4-BE49-F238E27FC236}">
                <a16:creationId xmlns:a16="http://schemas.microsoft.com/office/drawing/2014/main" id="{7D4448DD-C686-4013-AFB5-FE86795F0079}"/>
              </a:ext>
            </a:extLst>
          </p:cNvPr>
          <p:cNvGrpSpPr/>
          <p:nvPr userDrawn="1"/>
        </p:nvGrpSpPr>
        <p:grpSpPr>
          <a:xfrm>
            <a:off x="-91485" y="-57106"/>
            <a:ext cx="1008300" cy="5190499"/>
            <a:chOff x="-91485" y="-57106"/>
            <a:chExt cx="1008300" cy="5190499"/>
          </a:xfrm>
          <a:solidFill>
            <a:schemeClr val="bg2">
              <a:alpha val="5000"/>
            </a:schemeClr>
          </a:solidFill>
        </p:grpSpPr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4100D4C0-1B0B-4813-97B4-727B3F07A2B3}"/>
                </a:ext>
              </a:extLst>
            </p:cNvPr>
            <p:cNvSpPr/>
            <p:nvPr/>
          </p:nvSpPr>
          <p:spPr>
            <a:xfrm rot="8716295">
              <a:off x="617786" y="1780350"/>
              <a:ext cx="152726" cy="195873"/>
            </a:xfrm>
            <a:custGeom>
              <a:avLst/>
              <a:gdLst>
                <a:gd name="connsiteX0" fmla="*/ 39589 w 152726"/>
                <a:gd name="connsiteY0" fmla="*/ 195873 h 195873"/>
                <a:gd name="connsiteX1" fmla="*/ 0 w 152726"/>
                <a:gd name="connsiteY1" fmla="*/ 122219 h 195873"/>
                <a:gd name="connsiteX2" fmla="*/ 101089 w 152726"/>
                <a:gd name="connsiteY2" fmla="*/ 0 h 195873"/>
                <a:gd name="connsiteX3" fmla="*/ 152726 w 152726"/>
                <a:gd name="connsiteY3" fmla="*/ 0 h 195873"/>
                <a:gd name="connsiteX4" fmla="*/ 152726 w 152726"/>
                <a:gd name="connsiteY4" fmla="*/ 55323 h 195873"/>
                <a:gd name="connsiteX5" fmla="*/ 87934 w 152726"/>
                <a:gd name="connsiteY5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726" h="195873">
                  <a:moveTo>
                    <a:pt x="39589" y="195873"/>
                  </a:moveTo>
                  <a:lnTo>
                    <a:pt x="0" y="122219"/>
                  </a:lnTo>
                  <a:lnTo>
                    <a:pt x="101089" y="0"/>
                  </a:lnTo>
                  <a:lnTo>
                    <a:pt x="152726" y="0"/>
                  </a:lnTo>
                  <a:lnTo>
                    <a:pt x="152726" y="55323"/>
                  </a:lnTo>
                  <a:lnTo>
                    <a:pt x="87934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CB9A2237-374C-411A-AB62-0191ED80FFE2}"/>
                </a:ext>
              </a:extLst>
            </p:cNvPr>
            <p:cNvSpPr/>
            <p:nvPr/>
          </p:nvSpPr>
          <p:spPr>
            <a:xfrm rot="8716295">
              <a:off x="534441" y="1654353"/>
              <a:ext cx="262864" cy="103234"/>
            </a:xfrm>
            <a:custGeom>
              <a:avLst/>
              <a:gdLst>
                <a:gd name="connsiteX0" fmla="*/ 0 w 262864"/>
                <a:gd name="connsiteY0" fmla="*/ 75341 h 103234"/>
                <a:gd name="connsiteX1" fmla="*/ 62316 w 262864"/>
                <a:gd name="connsiteY1" fmla="*/ 0 h 103234"/>
                <a:gd name="connsiteX2" fmla="*/ 65768 w 262864"/>
                <a:gd name="connsiteY2" fmla="*/ 14220 h 103234"/>
                <a:gd name="connsiteX3" fmla="*/ 136369 w 262864"/>
                <a:gd name="connsiteY3" fmla="*/ 53051 h 103234"/>
                <a:gd name="connsiteX4" fmla="*/ 189321 w 262864"/>
                <a:gd name="connsiteY4" fmla="*/ 43637 h 103234"/>
                <a:gd name="connsiteX5" fmla="*/ 261688 w 262864"/>
                <a:gd name="connsiteY5" fmla="*/ 14220 h 103234"/>
                <a:gd name="connsiteX6" fmla="*/ 262864 w 262864"/>
                <a:gd name="connsiteY6" fmla="*/ 21868 h 103234"/>
                <a:gd name="connsiteX7" fmla="*/ 262864 w 262864"/>
                <a:gd name="connsiteY7" fmla="*/ 27752 h 103234"/>
                <a:gd name="connsiteX8" fmla="*/ 69887 w 262864"/>
                <a:gd name="connsiteY8" fmla="*/ 103060 h 103234"/>
                <a:gd name="connsiteX9" fmla="*/ 30615 w 262864"/>
                <a:gd name="connsiteY9" fmla="*/ 96294 h 103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2864" h="103234">
                  <a:moveTo>
                    <a:pt x="0" y="75341"/>
                  </a:moveTo>
                  <a:lnTo>
                    <a:pt x="62316" y="0"/>
                  </a:lnTo>
                  <a:lnTo>
                    <a:pt x="65768" y="14220"/>
                  </a:lnTo>
                  <a:cubicBezTo>
                    <a:pt x="75182" y="40107"/>
                    <a:pt x="99304" y="53051"/>
                    <a:pt x="136369" y="53051"/>
                  </a:cubicBezTo>
                  <a:cubicBezTo>
                    <a:pt x="154609" y="52462"/>
                    <a:pt x="172259" y="48932"/>
                    <a:pt x="189321" y="43637"/>
                  </a:cubicBezTo>
                  <a:cubicBezTo>
                    <a:pt x="214031" y="35988"/>
                    <a:pt x="238154" y="25987"/>
                    <a:pt x="261688" y="14220"/>
                  </a:cubicBezTo>
                  <a:cubicBezTo>
                    <a:pt x="262276" y="16573"/>
                    <a:pt x="262864" y="19515"/>
                    <a:pt x="262864" y="21868"/>
                  </a:cubicBezTo>
                  <a:lnTo>
                    <a:pt x="262864" y="27752"/>
                  </a:lnTo>
                  <a:cubicBezTo>
                    <a:pt x="200500" y="81291"/>
                    <a:pt x="118719" y="100119"/>
                    <a:pt x="69887" y="103060"/>
                  </a:cubicBezTo>
                  <a:cubicBezTo>
                    <a:pt x="56355" y="103943"/>
                    <a:pt x="42970" y="101442"/>
                    <a:pt x="30615" y="9629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8F8A3734-3F77-44C7-9A38-570198540CBC}"/>
                </a:ext>
              </a:extLst>
            </p:cNvPr>
            <p:cNvSpPr/>
            <p:nvPr/>
          </p:nvSpPr>
          <p:spPr>
            <a:xfrm rot="8716295">
              <a:off x="632719" y="1232432"/>
              <a:ext cx="121558" cy="232388"/>
            </a:xfrm>
            <a:custGeom>
              <a:avLst/>
              <a:gdLst>
                <a:gd name="connsiteX0" fmla="*/ 60499 w 121558"/>
                <a:gd name="connsiteY0" fmla="*/ 232388 h 232388"/>
                <a:gd name="connsiteX1" fmla="*/ 60499 w 121558"/>
                <a:gd name="connsiteY1" fmla="*/ 69717 h 232388"/>
                <a:gd name="connsiteX2" fmla="*/ 60499 w 121558"/>
                <a:gd name="connsiteY2" fmla="*/ 65615 h 232388"/>
                <a:gd name="connsiteX3" fmla="*/ 39995 w 121558"/>
                <a:gd name="connsiteY3" fmla="*/ 50123 h 232388"/>
                <a:gd name="connsiteX4" fmla="*/ 0 w 121558"/>
                <a:gd name="connsiteY4" fmla="*/ 50123 h 232388"/>
                <a:gd name="connsiteX5" fmla="*/ 41457 w 121558"/>
                <a:gd name="connsiteY5" fmla="*/ 0 h 232388"/>
                <a:gd name="connsiteX6" fmla="*/ 64601 w 121558"/>
                <a:gd name="connsiteY6" fmla="*/ 0 h 232388"/>
                <a:gd name="connsiteX7" fmla="*/ 121558 w 121558"/>
                <a:gd name="connsiteY7" fmla="*/ 50123 h 232388"/>
                <a:gd name="connsiteX8" fmla="*/ 121558 w 121558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558" h="232388">
                  <a:moveTo>
                    <a:pt x="60499" y="232388"/>
                  </a:moveTo>
                  <a:lnTo>
                    <a:pt x="60499" y="69717"/>
                  </a:lnTo>
                  <a:cubicBezTo>
                    <a:pt x="60499" y="68349"/>
                    <a:pt x="60499" y="66983"/>
                    <a:pt x="60499" y="65615"/>
                  </a:cubicBezTo>
                  <a:cubicBezTo>
                    <a:pt x="59133" y="55591"/>
                    <a:pt x="50019" y="48756"/>
                    <a:pt x="39995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64601" y="0"/>
                  </a:lnTo>
                  <a:cubicBezTo>
                    <a:pt x="101509" y="0"/>
                    <a:pt x="121558" y="15948"/>
                    <a:pt x="121558" y="50123"/>
                  </a:cubicBezTo>
                  <a:lnTo>
                    <a:pt x="121558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70856B7B-717B-4AEA-95A4-A1E79A999538}"/>
                </a:ext>
              </a:extLst>
            </p:cNvPr>
            <p:cNvSpPr/>
            <p:nvPr/>
          </p:nvSpPr>
          <p:spPr>
            <a:xfrm rot="8716295">
              <a:off x="763454" y="1474783"/>
              <a:ext cx="14143" cy="14319"/>
            </a:xfrm>
            <a:custGeom>
              <a:avLst/>
              <a:gdLst>
                <a:gd name="connsiteX0" fmla="*/ 0 w 14143"/>
                <a:gd name="connsiteY0" fmla="*/ 14319 h 14319"/>
                <a:gd name="connsiteX1" fmla="*/ 11843 w 14143"/>
                <a:gd name="connsiteY1" fmla="*/ 0 h 14319"/>
                <a:gd name="connsiteX2" fmla="*/ 14143 w 14143"/>
                <a:gd name="connsiteY2" fmla="*/ 7563 h 14319"/>
                <a:gd name="connsiteX3" fmla="*/ 14143 w 14143"/>
                <a:gd name="connsiteY3" fmla="*/ 13487 h 1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43" h="14319">
                  <a:moveTo>
                    <a:pt x="0" y="14319"/>
                  </a:moveTo>
                  <a:lnTo>
                    <a:pt x="11843" y="0"/>
                  </a:lnTo>
                  <a:lnTo>
                    <a:pt x="14143" y="7563"/>
                  </a:lnTo>
                  <a:lnTo>
                    <a:pt x="14143" y="1348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3E264A51-6081-4342-94AB-E5098D8BEE47}"/>
                </a:ext>
              </a:extLst>
            </p:cNvPr>
            <p:cNvSpPr/>
            <p:nvPr/>
          </p:nvSpPr>
          <p:spPr>
            <a:xfrm rot="8716295">
              <a:off x="672878" y="1171577"/>
              <a:ext cx="183964" cy="137618"/>
            </a:xfrm>
            <a:custGeom>
              <a:avLst/>
              <a:gdLst>
                <a:gd name="connsiteX0" fmla="*/ 0 w 183964"/>
                <a:gd name="connsiteY0" fmla="*/ 137618 h 137618"/>
                <a:gd name="connsiteX1" fmla="*/ 53346 w 183964"/>
                <a:gd name="connsiteY1" fmla="*/ 73121 h 137618"/>
                <a:gd name="connsiteX2" fmla="*/ 101034 w 183964"/>
                <a:gd name="connsiteY2" fmla="*/ 28251 h 137618"/>
                <a:gd name="connsiteX3" fmla="*/ 155713 w 183964"/>
                <a:gd name="connsiteY3" fmla="*/ 0 h 137618"/>
                <a:gd name="connsiteX4" fmla="*/ 183964 w 183964"/>
                <a:gd name="connsiteY4" fmla="*/ 33719 h 137618"/>
                <a:gd name="connsiteX5" fmla="*/ 157536 w 183964"/>
                <a:gd name="connsiteY5" fmla="*/ 69261 h 137618"/>
                <a:gd name="connsiteX6" fmla="*/ 157991 w 183964"/>
                <a:gd name="connsiteY6" fmla="*/ 69261 h 137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3964" h="137618">
                  <a:moveTo>
                    <a:pt x="0" y="137618"/>
                  </a:moveTo>
                  <a:lnTo>
                    <a:pt x="53346" y="73121"/>
                  </a:lnTo>
                  <a:lnTo>
                    <a:pt x="101034" y="28251"/>
                  </a:lnTo>
                  <a:cubicBezTo>
                    <a:pt x="114703" y="12303"/>
                    <a:pt x="134297" y="2278"/>
                    <a:pt x="155713" y="0"/>
                  </a:cubicBezTo>
                  <a:cubicBezTo>
                    <a:pt x="177585" y="0"/>
                    <a:pt x="183964" y="19138"/>
                    <a:pt x="183964" y="33719"/>
                  </a:cubicBezTo>
                  <a:cubicBezTo>
                    <a:pt x="182597" y="49667"/>
                    <a:pt x="172117" y="62881"/>
                    <a:pt x="157536" y="69261"/>
                  </a:cubicBezTo>
                  <a:lnTo>
                    <a:pt x="157991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03D4C536-74A8-424A-B4F4-647CD66813A6}"/>
                </a:ext>
              </a:extLst>
            </p:cNvPr>
            <p:cNvSpPr/>
            <p:nvPr/>
          </p:nvSpPr>
          <p:spPr>
            <a:xfrm rot="8716295">
              <a:off x="519479" y="13148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6C726A65-5764-428F-B78B-B207E19CC8A7}"/>
                </a:ext>
              </a:extLst>
            </p:cNvPr>
            <p:cNvSpPr/>
            <p:nvPr/>
          </p:nvSpPr>
          <p:spPr>
            <a:xfrm rot="8716295">
              <a:off x="394576" y="11061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B057F75B-3923-494B-B65B-A96E682E21D4}"/>
                </a:ext>
              </a:extLst>
            </p:cNvPr>
            <p:cNvSpPr/>
            <p:nvPr/>
          </p:nvSpPr>
          <p:spPr>
            <a:xfrm rot="8716295">
              <a:off x="382524" y="96739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B57FA1DB-CF40-4C3B-8603-B0C589DE9032}"/>
                </a:ext>
              </a:extLst>
            </p:cNvPr>
            <p:cNvSpPr/>
            <p:nvPr/>
          </p:nvSpPr>
          <p:spPr>
            <a:xfrm rot="8716295">
              <a:off x="609657" y="135579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8AA6873E-3CFC-4928-9C0D-5E1C199A6A43}"/>
                </a:ext>
              </a:extLst>
            </p:cNvPr>
            <p:cNvSpPr/>
            <p:nvPr/>
          </p:nvSpPr>
          <p:spPr>
            <a:xfrm rot="8716295">
              <a:off x="683426" y="869567"/>
              <a:ext cx="156000" cy="195873"/>
            </a:xfrm>
            <a:custGeom>
              <a:avLst/>
              <a:gdLst>
                <a:gd name="connsiteX0" fmla="*/ 42863 w 156000"/>
                <a:gd name="connsiteY0" fmla="*/ 195873 h 195873"/>
                <a:gd name="connsiteX1" fmla="*/ 0 w 156000"/>
                <a:gd name="connsiteY1" fmla="*/ 116129 h 195873"/>
                <a:gd name="connsiteX2" fmla="*/ 5100 w 156000"/>
                <a:gd name="connsiteY2" fmla="*/ 101988 h 195873"/>
                <a:gd name="connsiteX3" fmla="*/ 89456 w 156000"/>
                <a:gd name="connsiteY3" fmla="*/ 0 h 195873"/>
                <a:gd name="connsiteX4" fmla="*/ 156000 w 156000"/>
                <a:gd name="connsiteY4" fmla="*/ 0 h 195873"/>
                <a:gd name="connsiteX5" fmla="*/ 156000 w 156000"/>
                <a:gd name="connsiteY5" fmla="*/ 55323 h 195873"/>
                <a:gd name="connsiteX6" fmla="*/ 91208 w 156000"/>
                <a:gd name="connsiteY6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000" h="195873">
                  <a:moveTo>
                    <a:pt x="42863" y="195873"/>
                  </a:moveTo>
                  <a:lnTo>
                    <a:pt x="0" y="116129"/>
                  </a:lnTo>
                  <a:lnTo>
                    <a:pt x="5100" y="101988"/>
                  </a:lnTo>
                  <a:lnTo>
                    <a:pt x="89456" y="0"/>
                  </a:lnTo>
                  <a:lnTo>
                    <a:pt x="156000" y="0"/>
                  </a:lnTo>
                  <a:lnTo>
                    <a:pt x="156000" y="55323"/>
                  </a:lnTo>
                  <a:lnTo>
                    <a:pt x="91208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0609DC7B-52A5-4494-9388-1386F1B7ECA0}"/>
                </a:ext>
              </a:extLst>
            </p:cNvPr>
            <p:cNvSpPr/>
            <p:nvPr/>
          </p:nvSpPr>
          <p:spPr>
            <a:xfrm rot="8716295">
              <a:off x="657305" y="95604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FA9B5438-F371-4C5C-851A-CA35F035D933}"/>
                </a:ext>
              </a:extLst>
            </p:cNvPr>
            <p:cNvSpPr/>
            <p:nvPr/>
          </p:nvSpPr>
          <p:spPr>
            <a:xfrm rot="8716295">
              <a:off x="412774" y="56424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ED2997EF-2C09-4DA3-BB88-8DA5032A40C8}"/>
                </a:ext>
              </a:extLst>
            </p:cNvPr>
            <p:cNvSpPr/>
            <p:nvPr/>
          </p:nvSpPr>
          <p:spPr>
            <a:xfrm rot="8716295">
              <a:off x="502166" y="59348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DBD136C4-820E-4184-B91F-ED5B5690DC24}"/>
                </a:ext>
              </a:extLst>
            </p:cNvPr>
            <p:cNvSpPr/>
            <p:nvPr/>
          </p:nvSpPr>
          <p:spPr>
            <a:xfrm rot="8716295">
              <a:off x="457316" y="50720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8BD8CCA9-A2C8-4634-B0CF-620A635CE67A}"/>
                </a:ext>
              </a:extLst>
            </p:cNvPr>
            <p:cNvSpPr/>
            <p:nvPr/>
          </p:nvSpPr>
          <p:spPr>
            <a:xfrm rot="8716295">
              <a:off x="300540" y="65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33B24AF7-29F7-4408-AE25-97A38660E784}"/>
                </a:ext>
              </a:extLst>
            </p:cNvPr>
            <p:cNvSpPr/>
            <p:nvPr/>
          </p:nvSpPr>
          <p:spPr>
            <a:xfrm rot="8716295">
              <a:off x="175637" y="44411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506A4C62-4148-4841-838F-A205F53AD573}"/>
                </a:ext>
              </a:extLst>
            </p:cNvPr>
            <p:cNvSpPr/>
            <p:nvPr/>
          </p:nvSpPr>
          <p:spPr>
            <a:xfrm rot="8716295">
              <a:off x="163585" y="30533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1C1A41D0-65C3-44E5-8A29-ECCEBE983C62}"/>
                </a:ext>
              </a:extLst>
            </p:cNvPr>
            <p:cNvSpPr/>
            <p:nvPr/>
          </p:nvSpPr>
          <p:spPr>
            <a:xfrm rot="8716295">
              <a:off x="390718" y="69374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A93B008E-5902-4D55-9E1E-85F07149CD35}"/>
                </a:ext>
              </a:extLst>
            </p:cNvPr>
            <p:cNvSpPr/>
            <p:nvPr/>
          </p:nvSpPr>
          <p:spPr>
            <a:xfrm rot="8716295">
              <a:off x="702015" y="317459"/>
              <a:ext cx="131260" cy="232388"/>
            </a:xfrm>
            <a:custGeom>
              <a:avLst/>
              <a:gdLst>
                <a:gd name="connsiteX0" fmla="*/ 70201 w 131260"/>
                <a:gd name="connsiteY0" fmla="*/ 232388 h 232388"/>
                <a:gd name="connsiteX1" fmla="*/ 70201 w 131260"/>
                <a:gd name="connsiteY1" fmla="*/ 69717 h 232388"/>
                <a:gd name="connsiteX2" fmla="*/ 70201 w 131260"/>
                <a:gd name="connsiteY2" fmla="*/ 65615 h 232388"/>
                <a:gd name="connsiteX3" fmla="*/ 49697 w 131260"/>
                <a:gd name="connsiteY3" fmla="*/ 50123 h 232388"/>
                <a:gd name="connsiteX4" fmla="*/ 0 w 131260"/>
                <a:gd name="connsiteY4" fmla="*/ 50123 h 232388"/>
                <a:gd name="connsiteX5" fmla="*/ 41457 w 131260"/>
                <a:gd name="connsiteY5" fmla="*/ 0 h 232388"/>
                <a:gd name="connsiteX6" fmla="*/ 74303 w 131260"/>
                <a:gd name="connsiteY6" fmla="*/ 0 h 232388"/>
                <a:gd name="connsiteX7" fmla="*/ 131260 w 131260"/>
                <a:gd name="connsiteY7" fmla="*/ 50123 h 232388"/>
                <a:gd name="connsiteX8" fmla="*/ 131260 w 131260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1260" h="232388">
                  <a:moveTo>
                    <a:pt x="70201" y="232388"/>
                  </a:moveTo>
                  <a:lnTo>
                    <a:pt x="70201" y="69717"/>
                  </a:lnTo>
                  <a:cubicBezTo>
                    <a:pt x="70201" y="68349"/>
                    <a:pt x="70201" y="66983"/>
                    <a:pt x="70201" y="65615"/>
                  </a:cubicBezTo>
                  <a:cubicBezTo>
                    <a:pt x="68835" y="55591"/>
                    <a:pt x="59721" y="48756"/>
                    <a:pt x="49697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74303" y="0"/>
                  </a:lnTo>
                  <a:cubicBezTo>
                    <a:pt x="111211" y="0"/>
                    <a:pt x="131260" y="15948"/>
                    <a:pt x="131260" y="50123"/>
                  </a:cubicBezTo>
                  <a:lnTo>
                    <a:pt x="131260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8AA688E0-8B68-432D-AC4C-16B34E3E659F}"/>
                </a:ext>
              </a:extLst>
            </p:cNvPr>
            <p:cNvSpPr/>
            <p:nvPr/>
          </p:nvSpPr>
          <p:spPr>
            <a:xfrm rot="8716295">
              <a:off x="834978" y="558357"/>
              <a:ext cx="24341" cy="23495"/>
            </a:xfrm>
            <a:custGeom>
              <a:avLst/>
              <a:gdLst>
                <a:gd name="connsiteX0" fmla="*/ 0 w 24341"/>
                <a:gd name="connsiteY0" fmla="*/ 23495 h 23495"/>
                <a:gd name="connsiteX1" fmla="*/ 19433 w 24341"/>
                <a:gd name="connsiteY1" fmla="*/ 0 h 23495"/>
                <a:gd name="connsiteX2" fmla="*/ 24341 w 24341"/>
                <a:gd name="connsiteY2" fmla="*/ 16139 h 23495"/>
                <a:gd name="connsiteX3" fmla="*/ 24341 w 24341"/>
                <a:gd name="connsiteY3" fmla="*/ 22063 h 23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41" h="23495">
                  <a:moveTo>
                    <a:pt x="0" y="23495"/>
                  </a:moveTo>
                  <a:lnTo>
                    <a:pt x="19433" y="0"/>
                  </a:lnTo>
                  <a:lnTo>
                    <a:pt x="24341" y="16139"/>
                  </a:lnTo>
                  <a:lnTo>
                    <a:pt x="24341" y="220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672AA540-A579-4E8F-A234-CD30C1FF0A89}"/>
                </a:ext>
              </a:extLst>
            </p:cNvPr>
            <p:cNvSpPr/>
            <p:nvPr/>
          </p:nvSpPr>
          <p:spPr>
            <a:xfrm rot="8716295">
              <a:off x="589639" y="40263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C0BAD361-E55B-42F0-893F-014DB3986A10}"/>
                </a:ext>
              </a:extLst>
            </p:cNvPr>
            <p:cNvSpPr/>
            <p:nvPr/>
          </p:nvSpPr>
          <p:spPr>
            <a:xfrm rot="8716295">
              <a:off x="464737" y="19396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C7776BC0-23C7-4489-8F09-E129A530C0CC}"/>
                </a:ext>
              </a:extLst>
            </p:cNvPr>
            <p:cNvSpPr/>
            <p:nvPr/>
          </p:nvSpPr>
          <p:spPr>
            <a:xfrm rot="8716295">
              <a:off x="679817" y="44358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6EC00833-27CA-42E8-A3F4-264B72DC896E}"/>
                </a:ext>
              </a:extLst>
            </p:cNvPr>
            <p:cNvSpPr/>
            <p:nvPr/>
          </p:nvSpPr>
          <p:spPr>
            <a:xfrm rot="8716295">
              <a:off x="438366" y="29398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1FD6DD85-FCBC-4AED-9D6D-4125AB918B1C}"/>
                </a:ext>
              </a:extLst>
            </p:cNvPr>
            <p:cNvSpPr/>
            <p:nvPr/>
          </p:nvSpPr>
          <p:spPr>
            <a:xfrm rot="7484129">
              <a:off x="811674" y="658874"/>
              <a:ext cx="31078" cy="46141"/>
            </a:xfrm>
            <a:custGeom>
              <a:avLst/>
              <a:gdLst>
                <a:gd name="connsiteX0" fmla="*/ 15207 w 31078"/>
                <a:gd name="connsiteY0" fmla="*/ 46141 h 46141"/>
                <a:gd name="connsiteX1" fmla="*/ 0 w 31078"/>
                <a:gd name="connsiteY1" fmla="*/ 17849 h 46141"/>
                <a:gd name="connsiteX2" fmla="*/ 31078 w 31078"/>
                <a:gd name="connsiteY2" fmla="*/ 0 h 46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078" h="46141">
                  <a:moveTo>
                    <a:pt x="15207" y="46141"/>
                  </a:moveTo>
                  <a:lnTo>
                    <a:pt x="0" y="17849"/>
                  </a:lnTo>
                  <a:lnTo>
                    <a:pt x="3107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ED8E04A5-1CCB-474C-BB14-6861F24B92EE}"/>
                </a:ext>
              </a:extLst>
            </p:cNvPr>
            <p:cNvSpPr/>
            <p:nvPr/>
          </p:nvSpPr>
          <p:spPr>
            <a:xfrm rot="8716295">
              <a:off x="780102" y="336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D2589E01-70DB-4980-9D5E-15028C3BF442}"/>
                </a:ext>
              </a:extLst>
            </p:cNvPr>
            <p:cNvSpPr/>
            <p:nvPr/>
          </p:nvSpPr>
          <p:spPr>
            <a:xfrm rot="8716295">
              <a:off x="202348" y="-57106"/>
              <a:ext cx="142167" cy="186494"/>
            </a:xfrm>
            <a:custGeom>
              <a:avLst/>
              <a:gdLst>
                <a:gd name="connsiteX0" fmla="*/ 142167 w 142167"/>
                <a:gd name="connsiteY0" fmla="*/ 186494 h 186494"/>
                <a:gd name="connsiteX1" fmla="*/ 81108 w 142167"/>
                <a:gd name="connsiteY1" fmla="*/ 144170 h 186494"/>
                <a:gd name="connsiteX2" fmla="*/ 81108 w 142167"/>
                <a:gd name="connsiteY2" fmla="*/ 69717 h 186494"/>
                <a:gd name="connsiteX3" fmla="*/ 81108 w 142167"/>
                <a:gd name="connsiteY3" fmla="*/ 65615 h 186494"/>
                <a:gd name="connsiteX4" fmla="*/ 60603 w 142167"/>
                <a:gd name="connsiteY4" fmla="*/ 50123 h 186494"/>
                <a:gd name="connsiteX5" fmla="*/ 0 w 142167"/>
                <a:gd name="connsiteY5" fmla="*/ 50123 h 186494"/>
                <a:gd name="connsiteX6" fmla="*/ 0 w 142167"/>
                <a:gd name="connsiteY6" fmla="*/ 0 h 186494"/>
                <a:gd name="connsiteX7" fmla="*/ 85209 w 142167"/>
                <a:gd name="connsiteY7" fmla="*/ 0 h 186494"/>
                <a:gd name="connsiteX8" fmla="*/ 142167 w 142167"/>
                <a:gd name="connsiteY8" fmla="*/ 50123 h 186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86494">
                  <a:moveTo>
                    <a:pt x="142167" y="186494"/>
                  </a:moveTo>
                  <a:lnTo>
                    <a:pt x="81108" y="144170"/>
                  </a:lnTo>
                  <a:lnTo>
                    <a:pt x="81108" y="69717"/>
                  </a:lnTo>
                  <a:cubicBezTo>
                    <a:pt x="81108" y="68349"/>
                    <a:pt x="81108" y="66983"/>
                    <a:pt x="81108" y="65615"/>
                  </a:cubicBezTo>
                  <a:cubicBezTo>
                    <a:pt x="79741" y="55591"/>
                    <a:pt x="70628" y="48756"/>
                    <a:pt x="60603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2AEF8F7A-52DD-4323-9058-8F5D8BF7C257}"/>
                </a:ext>
              </a:extLst>
            </p:cNvPr>
            <p:cNvSpPr/>
            <p:nvPr/>
          </p:nvSpPr>
          <p:spPr>
            <a:xfrm rot="8716295">
              <a:off x="298766" y="-5395"/>
              <a:ext cx="260639" cy="180054"/>
            </a:xfrm>
            <a:custGeom>
              <a:avLst/>
              <a:gdLst>
                <a:gd name="connsiteX0" fmla="*/ 111638 w 260639"/>
                <a:gd name="connsiteY0" fmla="*/ 180054 h 180054"/>
                <a:gd name="connsiteX1" fmla="*/ 51490 w 260639"/>
                <a:gd name="connsiteY1" fmla="*/ 138362 h 180054"/>
                <a:gd name="connsiteX2" fmla="*/ 51490 w 260639"/>
                <a:gd name="connsiteY2" fmla="*/ 45624 h 180054"/>
                <a:gd name="connsiteX3" fmla="*/ 0 w 260639"/>
                <a:gd name="connsiteY3" fmla="*/ 45624 h 180054"/>
                <a:gd name="connsiteX4" fmla="*/ 0 w 260639"/>
                <a:gd name="connsiteY4" fmla="*/ 1425 h 180054"/>
                <a:gd name="connsiteX5" fmla="*/ 104802 w 260639"/>
                <a:gd name="connsiteY5" fmla="*/ 1425 h 180054"/>
                <a:gd name="connsiteX6" fmla="*/ 104802 w 260639"/>
                <a:gd name="connsiteY6" fmla="*/ 75242 h 180054"/>
                <a:gd name="connsiteX7" fmla="*/ 106169 w 260639"/>
                <a:gd name="connsiteY7" fmla="*/ 75242 h 180054"/>
                <a:gd name="connsiteX8" fmla="*/ 154014 w 260639"/>
                <a:gd name="connsiteY8" fmla="*/ 5981 h 180054"/>
                <a:gd name="connsiteX9" fmla="*/ 185455 w 260639"/>
                <a:gd name="connsiteY9" fmla="*/ 57 h 180054"/>
                <a:gd name="connsiteX10" fmla="*/ 260639 w 260639"/>
                <a:gd name="connsiteY10" fmla="*/ 88456 h 180054"/>
                <a:gd name="connsiteX11" fmla="*/ 260639 w 260639"/>
                <a:gd name="connsiteY11" fmla="*/ 94380 h 180054"/>
                <a:gd name="connsiteX12" fmla="*/ 198669 w 260639"/>
                <a:gd name="connsiteY12" fmla="*/ 98025 h 180054"/>
                <a:gd name="connsiteX13" fmla="*/ 198669 w 260639"/>
                <a:gd name="connsiteY13" fmla="*/ 81621 h 180054"/>
                <a:gd name="connsiteX14" fmla="*/ 164950 w 260639"/>
                <a:gd name="connsiteY14" fmla="*/ 40156 h 180054"/>
                <a:gd name="connsiteX15" fmla="*/ 111638 w 260639"/>
                <a:gd name="connsiteY15" fmla="*/ 127643 h 180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0639" h="180054">
                  <a:moveTo>
                    <a:pt x="111638" y="180054"/>
                  </a:moveTo>
                  <a:lnTo>
                    <a:pt x="51490" y="138362"/>
                  </a:ln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4EA5F182-B436-49C8-8170-C1AD6D2F32D5}"/>
                </a:ext>
              </a:extLst>
            </p:cNvPr>
            <p:cNvSpPr/>
            <p:nvPr/>
          </p:nvSpPr>
          <p:spPr>
            <a:xfrm rot="8716295">
              <a:off x="276903" y="-12823"/>
              <a:ext cx="36272" cy="27982"/>
            </a:xfrm>
            <a:custGeom>
              <a:avLst/>
              <a:gdLst>
                <a:gd name="connsiteX0" fmla="*/ 36272 w 36272"/>
                <a:gd name="connsiteY0" fmla="*/ 27982 h 27982"/>
                <a:gd name="connsiteX1" fmla="*/ 0 w 36272"/>
                <a:gd name="connsiteY1" fmla="*/ 2840 h 27982"/>
                <a:gd name="connsiteX2" fmla="*/ 9543 w 36272"/>
                <a:gd name="connsiteY2" fmla="*/ 0 h 27982"/>
                <a:gd name="connsiteX3" fmla="*/ 31871 w 36272"/>
                <a:gd name="connsiteY3" fmla="*/ 11392 h 27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272" h="27982">
                  <a:moveTo>
                    <a:pt x="36272" y="27982"/>
                  </a:moveTo>
                  <a:lnTo>
                    <a:pt x="0" y="2840"/>
                  </a:lnTo>
                  <a:lnTo>
                    <a:pt x="9543" y="0"/>
                  </a:lnTo>
                  <a:cubicBezTo>
                    <a:pt x="20479" y="0"/>
                    <a:pt x="27542" y="4784"/>
                    <a:pt x="31871" y="113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F421218E-0235-4F72-A3A0-C0DE2686EE65}"/>
                </a:ext>
              </a:extLst>
            </p:cNvPr>
            <p:cNvSpPr/>
            <p:nvPr/>
          </p:nvSpPr>
          <p:spPr>
            <a:xfrm rot="8716295">
              <a:off x="74640" y="-9665"/>
              <a:ext cx="58068" cy="54772"/>
            </a:xfrm>
            <a:custGeom>
              <a:avLst/>
              <a:gdLst>
                <a:gd name="connsiteX0" fmla="*/ 37436 w 58068"/>
                <a:gd name="connsiteY0" fmla="*/ 54772 h 54772"/>
                <a:gd name="connsiteX1" fmla="*/ 0 w 58068"/>
                <a:gd name="connsiteY1" fmla="*/ 28823 h 54772"/>
                <a:gd name="connsiteX2" fmla="*/ 8515 w 58068"/>
                <a:gd name="connsiteY2" fmla="*/ 8658 h 54772"/>
                <a:gd name="connsiteX3" fmla="*/ 29020 w 58068"/>
                <a:gd name="connsiteY3" fmla="*/ 0 h 54772"/>
                <a:gd name="connsiteX4" fmla="*/ 49525 w 58068"/>
                <a:gd name="connsiteY4" fmla="*/ 8658 h 54772"/>
                <a:gd name="connsiteX5" fmla="*/ 49525 w 58068"/>
                <a:gd name="connsiteY5" fmla="*/ 49668 h 5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068" h="54772">
                  <a:moveTo>
                    <a:pt x="37436" y="54772"/>
                  </a:moveTo>
                  <a:lnTo>
                    <a:pt x="0" y="28823"/>
                  </a:lnTo>
                  <a:lnTo>
                    <a:pt x="8515" y="8658"/>
                  </a:lnTo>
                  <a:cubicBezTo>
                    <a:pt x="13983" y="3190"/>
                    <a:pt x="21273" y="0"/>
                    <a:pt x="29020" y="0"/>
                  </a:cubicBezTo>
                  <a:cubicBezTo>
                    <a:pt x="36766" y="0"/>
                    <a:pt x="44057" y="3190"/>
                    <a:pt x="49525" y="8658"/>
                  </a:cubicBezTo>
                  <a:cubicBezTo>
                    <a:pt x="60916" y="19594"/>
                    <a:pt x="60916" y="38276"/>
                    <a:pt x="49525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CE77A4A5-0ECD-4D80-A03D-A10DC965EA39}"/>
                </a:ext>
              </a:extLst>
            </p:cNvPr>
            <p:cNvSpPr/>
            <p:nvPr/>
          </p:nvSpPr>
          <p:spPr>
            <a:xfrm rot="8716295">
              <a:off x="13802" y="-10406"/>
              <a:ext cx="30027" cy="20814"/>
            </a:xfrm>
            <a:custGeom>
              <a:avLst/>
              <a:gdLst>
                <a:gd name="connsiteX0" fmla="*/ 30027 w 30027"/>
                <a:gd name="connsiteY0" fmla="*/ 20814 h 20814"/>
                <a:gd name="connsiteX1" fmla="*/ 0 w 30027"/>
                <a:gd name="connsiteY1" fmla="*/ 0 h 20814"/>
                <a:gd name="connsiteX2" fmla="*/ 30027 w 30027"/>
                <a:gd name="connsiteY2" fmla="*/ 0 h 20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027" h="20814">
                  <a:moveTo>
                    <a:pt x="30027" y="20814"/>
                  </a:moveTo>
                  <a:lnTo>
                    <a:pt x="0" y="0"/>
                  </a:lnTo>
                  <a:lnTo>
                    <a:pt x="3002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403799C4-A408-4325-A92C-9E809B8BB4D4}"/>
                </a:ext>
              </a:extLst>
            </p:cNvPr>
            <p:cNvSpPr/>
            <p:nvPr/>
          </p:nvSpPr>
          <p:spPr>
            <a:xfrm rot="8716295">
              <a:off x="168048" y="3032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01FB23B7-9B20-4D2E-83CD-6A7A68C9BDC4}"/>
                </a:ext>
              </a:extLst>
            </p:cNvPr>
            <p:cNvSpPr/>
            <p:nvPr/>
          </p:nvSpPr>
          <p:spPr>
            <a:xfrm rot="7484129">
              <a:off x="562078" y="-284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ACF32F9A-0344-4E5B-A601-5E2A5DCEE676}"/>
                </a:ext>
              </a:extLst>
            </p:cNvPr>
            <p:cNvSpPr/>
            <p:nvPr/>
          </p:nvSpPr>
          <p:spPr>
            <a:xfrm rot="13089394">
              <a:off x="767127" y="-2787"/>
              <a:ext cx="149688" cy="301067"/>
            </a:xfrm>
            <a:custGeom>
              <a:avLst/>
              <a:gdLst>
                <a:gd name="connsiteX0" fmla="*/ 149688 w 149688"/>
                <a:gd name="connsiteY0" fmla="*/ 279622 h 301067"/>
                <a:gd name="connsiteX1" fmla="*/ 122393 w 149688"/>
                <a:gd name="connsiteY1" fmla="*/ 301067 h 301067"/>
                <a:gd name="connsiteX2" fmla="*/ 0 w 149688"/>
                <a:gd name="connsiteY2" fmla="*/ 114672 h 301067"/>
                <a:gd name="connsiteX3" fmla="*/ 0 w 149688"/>
                <a:gd name="connsiteY3" fmla="*/ 38074 h 301067"/>
                <a:gd name="connsiteX4" fmla="*/ 73388 w 149688"/>
                <a:gd name="connsiteY4" fmla="*/ 0 h 301067"/>
                <a:gd name="connsiteX5" fmla="*/ 74492 w 149688"/>
                <a:gd name="connsiteY5" fmla="*/ 153950 h 301067"/>
                <a:gd name="connsiteX6" fmla="*/ 87734 w 149688"/>
                <a:gd name="connsiteY6" fmla="*/ 245547 h 301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9688" h="301067">
                  <a:moveTo>
                    <a:pt x="149688" y="279622"/>
                  </a:moveTo>
                  <a:lnTo>
                    <a:pt x="122393" y="301067"/>
                  </a:lnTo>
                  <a:lnTo>
                    <a:pt x="0" y="114672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2836" y="184850"/>
                    <a:pt x="77802" y="216302"/>
                    <a:pt x="87734" y="2455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9B540A9C-752F-4966-AE11-E0DA13D5676A}"/>
                </a:ext>
              </a:extLst>
            </p:cNvPr>
            <p:cNvSpPr/>
            <p:nvPr/>
          </p:nvSpPr>
          <p:spPr>
            <a:xfrm rot="8716295">
              <a:off x="212141" y="304502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27352092-3B53-44B3-ABC2-E6A268F28524}"/>
                </a:ext>
              </a:extLst>
            </p:cNvPr>
            <p:cNvSpPr/>
            <p:nvPr/>
          </p:nvSpPr>
          <p:spPr>
            <a:xfrm rot="8716295">
              <a:off x="301533" y="307427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1A1EEC7B-8896-4B95-9A1A-B0F21E6748C1}"/>
                </a:ext>
              </a:extLst>
            </p:cNvPr>
            <p:cNvSpPr/>
            <p:nvPr/>
          </p:nvSpPr>
          <p:spPr>
            <a:xfrm rot="8716295">
              <a:off x="256683" y="298799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4FA7D1EC-A217-4326-8F37-649F5ADE83EB}"/>
                </a:ext>
              </a:extLst>
            </p:cNvPr>
            <p:cNvSpPr/>
            <p:nvPr/>
          </p:nvSpPr>
          <p:spPr>
            <a:xfrm rot="8716295">
              <a:off x="99907" y="31335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33C99497-0B48-43C7-BD1A-0279E44CA612}"/>
                </a:ext>
              </a:extLst>
            </p:cNvPr>
            <p:cNvSpPr/>
            <p:nvPr/>
          </p:nvSpPr>
          <p:spPr>
            <a:xfrm rot="8716295">
              <a:off x="-24996" y="29248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A93858F0-0010-48FE-BF9C-AFE6080030D7}"/>
                </a:ext>
              </a:extLst>
            </p:cNvPr>
            <p:cNvSpPr/>
            <p:nvPr/>
          </p:nvSpPr>
          <p:spPr>
            <a:xfrm rot="8716295">
              <a:off x="51899" y="2754602"/>
              <a:ext cx="189488" cy="350829"/>
            </a:xfrm>
            <a:custGeom>
              <a:avLst/>
              <a:gdLst>
                <a:gd name="connsiteX0" fmla="*/ 25299 w 189488"/>
                <a:gd name="connsiteY0" fmla="*/ 321238 h 350829"/>
                <a:gd name="connsiteX1" fmla="*/ 0 w 189488"/>
                <a:gd name="connsiteY1" fmla="*/ 220042 h 350829"/>
                <a:gd name="connsiteX2" fmla="*/ 0 w 189488"/>
                <a:gd name="connsiteY2" fmla="*/ 40596 h 350829"/>
                <a:gd name="connsiteX3" fmla="*/ 78250 w 189488"/>
                <a:gd name="connsiteY3" fmla="*/ 0 h 350829"/>
                <a:gd name="connsiteX4" fmla="*/ 79427 w 189488"/>
                <a:gd name="connsiteY4" fmla="*/ 164149 h 350829"/>
                <a:gd name="connsiteX5" fmla="*/ 93547 w 189488"/>
                <a:gd name="connsiteY5" fmla="*/ 261815 h 350829"/>
                <a:gd name="connsiteX6" fmla="*/ 164148 w 189488"/>
                <a:gd name="connsiteY6" fmla="*/ 300646 h 350829"/>
                <a:gd name="connsiteX7" fmla="*/ 189488 w 189488"/>
                <a:gd name="connsiteY7" fmla="*/ 296141 h 350829"/>
                <a:gd name="connsiteX8" fmla="*/ 160617 w 189488"/>
                <a:gd name="connsiteY8" fmla="*/ 337791 h 350829"/>
                <a:gd name="connsiteX9" fmla="*/ 97666 w 189488"/>
                <a:gd name="connsiteY9" fmla="*/ 350655 h 350829"/>
                <a:gd name="connsiteX10" fmla="*/ 25299 w 189488"/>
                <a:gd name="connsiteY10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9488" h="350829">
                  <a:moveTo>
                    <a:pt x="25299" y="321238"/>
                  </a:moveTo>
                  <a:cubicBezTo>
                    <a:pt x="5295" y="301823"/>
                    <a:pt x="0" y="268286"/>
                    <a:pt x="0" y="220042"/>
                  </a:cubicBez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8" y="300646"/>
                  </a:cubicBezTo>
                  <a:lnTo>
                    <a:pt x="189488" y="296141"/>
                  </a:lnTo>
                  <a:lnTo>
                    <a:pt x="160617" y="337791"/>
                  </a:lnTo>
                  <a:lnTo>
                    <a:pt x="97666" y="350655"/>
                  </a:ln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CAFD1C73-118C-42A8-A6D1-F7527C0F98CE}"/>
                </a:ext>
              </a:extLst>
            </p:cNvPr>
            <p:cNvSpPr/>
            <p:nvPr/>
          </p:nvSpPr>
          <p:spPr>
            <a:xfrm rot="8716295">
              <a:off x="190085" y="317452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E7F4D18B-0BB2-451B-AA77-2B268E142A91}"/>
                </a:ext>
              </a:extLst>
            </p:cNvPr>
            <p:cNvSpPr/>
            <p:nvPr/>
          </p:nvSpPr>
          <p:spPr>
            <a:xfrm rot="8716295">
              <a:off x="502599" y="2802136"/>
              <a:ext cx="117588" cy="232388"/>
            </a:xfrm>
            <a:custGeom>
              <a:avLst/>
              <a:gdLst>
                <a:gd name="connsiteX0" fmla="*/ 56529 w 117588"/>
                <a:gd name="connsiteY0" fmla="*/ 232388 h 232388"/>
                <a:gd name="connsiteX1" fmla="*/ 56529 w 117588"/>
                <a:gd name="connsiteY1" fmla="*/ 69717 h 232388"/>
                <a:gd name="connsiteX2" fmla="*/ 56529 w 117588"/>
                <a:gd name="connsiteY2" fmla="*/ 65615 h 232388"/>
                <a:gd name="connsiteX3" fmla="*/ 36025 w 117588"/>
                <a:gd name="connsiteY3" fmla="*/ 50123 h 232388"/>
                <a:gd name="connsiteX4" fmla="*/ 0 w 117588"/>
                <a:gd name="connsiteY4" fmla="*/ 50123 h 232388"/>
                <a:gd name="connsiteX5" fmla="*/ 41458 w 117588"/>
                <a:gd name="connsiteY5" fmla="*/ 0 h 232388"/>
                <a:gd name="connsiteX6" fmla="*/ 60630 w 117588"/>
                <a:gd name="connsiteY6" fmla="*/ 0 h 232388"/>
                <a:gd name="connsiteX7" fmla="*/ 117588 w 117588"/>
                <a:gd name="connsiteY7" fmla="*/ 50123 h 232388"/>
                <a:gd name="connsiteX8" fmla="*/ 117588 w 117588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7588" h="232388">
                  <a:moveTo>
                    <a:pt x="56529" y="232388"/>
                  </a:moveTo>
                  <a:lnTo>
                    <a:pt x="56529" y="69717"/>
                  </a:lnTo>
                  <a:cubicBezTo>
                    <a:pt x="56529" y="68349"/>
                    <a:pt x="56529" y="66983"/>
                    <a:pt x="56529" y="65615"/>
                  </a:cubicBezTo>
                  <a:cubicBezTo>
                    <a:pt x="55163" y="55591"/>
                    <a:pt x="46049" y="48756"/>
                    <a:pt x="36025" y="50123"/>
                  </a:cubicBezTo>
                  <a:lnTo>
                    <a:pt x="0" y="50123"/>
                  </a:lnTo>
                  <a:lnTo>
                    <a:pt x="41458" y="0"/>
                  </a:lnTo>
                  <a:lnTo>
                    <a:pt x="60630" y="0"/>
                  </a:lnTo>
                  <a:cubicBezTo>
                    <a:pt x="97539" y="0"/>
                    <a:pt x="117588" y="15948"/>
                    <a:pt x="117588" y="50123"/>
                  </a:cubicBezTo>
                  <a:lnTo>
                    <a:pt x="117588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6F67DBA9-AD6C-4780-AA17-98BCE9381DC5}"/>
                </a:ext>
              </a:extLst>
            </p:cNvPr>
            <p:cNvSpPr/>
            <p:nvPr/>
          </p:nvSpPr>
          <p:spPr>
            <a:xfrm rot="8716295">
              <a:off x="389006" y="2883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60CE2A9A-219E-42C9-9F53-FED763C7A971}"/>
                </a:ext>
              </a:extLst>
            </p:cNvPr>
            <p:cNvSpPr/>
            <p:nvPr/>
          </p:nvSpPr>
          <p:spPr>
            <a:xfrm rot="8716295">
              <a:off x="264104" y="267474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5F47A361-80F1-4C02-906B-845AB367B960}"/>
                </a:ext>
              </a:extLst>
            </p:cNvPr>
            <p:cNvSpPr/>
            <p:nvPr/>
          </p:nvSpPr>
          <p:spPr>
            <a:xfrm rot="8716295">
              <a:off x="479184" y="292437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2CC40EA3-7663-4B10-9112-24251EC60BEA}"/>
                </a:ext>
              </a:extLst>
            </p:cNvPr>
            <p:cNvSpPr/>
            <p:nvPr/>
          </p:nvSpPr>
          <p:spPr>
            <a:xfrm rot="8716295">
              <a:off x="237733" y="277477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96946020-930E-406D-ABEE-7096E7CB1426}"/>
                </a:ext>
              </a:extLst>
            </p:cNvPr>
            <p:cNvSpPr/>
            <p:nvPr/>
          </p:nvSpPr>
          <p:spPr>
            <a:xfrm rot="7484129">
              <a:off x="609980" y="3142825"/>
              <a:ext cx="20881" cy="31001"/>
            </a:xfrm>
            <a:custGeom>
              <a:avLst/>
              <a:gdLst>
                <a:gd name="connsiteX0" fmla="*/ 10218 w 20881"/>
                <a:gd name="connsiteY0" fmla="*/ 31001 h 31001"/>
                <a:gd name="connsiteX1" fmla="*/ 0 w 20881"/>
                <a:gd name="connsiteY1" fmla="*/ 11992 h 31001"/>
                <a:gd name="connsiteX2" fmla="*/ 20881 w 20881"/>
                <a:gd name="connsiteY2" fmla="*/ 0 h 31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881" h="31001">
                  <a:moveTo>
                    <a:pt x="10218" y="31001"/>
                  </a:moveTo>
                  <a:lnTo>
                    <a:pt x="0" y="11992"/>
                  </a:lnTo>
                  <a:lnTo>
                    <a:pt x="2088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9709EEED-4F73-41F3-A069-C965126CECA4}"/>
                </a:ext>
              </a:extLst>
            </p:cNvPr>
            <p:cNvSpPr/>
            <p:nvPr/>
          </p:nvSpPr>
          <p:spPr>
            <a:xfrm rot="8716295">
              <a:off x="579469" y="28172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AB7C8B58-13F0-4FCC-99DC-3B3AAD65E69B}"/>
                </a:ext>
              </a:extLst>
            </p:cNvPr>
            <p:cNvSpPr/>
            <p:nvPr/>
          </p:nvSpPr>
          <p:spPr>
            <a:xfrm rot="8716295">
              <a:off x="437995" y="3716235"/>
              <a:ext cx="102679" cy="232388"/>
            </a:xfrm>
            <a:custGeom>
              <a:avLst/>
              <a:gdLst>
                <a:gd name="connsiteX0" fmla="*/ 41620 w 102679"/>
                <a:gd name="connsiteY0" fmla="*/ 232388 h 232388"/>
                <a:gd name="connsiteX1" fmla="*/ 41620 w 102679"/>
                <a:gd name="connsiteY1" fmla="*/ 69717 h 232388"/>
                <a:gd name="connsiteX2" fmla="*/ 41620 w 102679"/>
                <a:gd name="connsiteY2" fmla="*/ 65615 h 232388"/>
                <a:gd name="connsiteX3" fmla="*/ 21116 w 102679"/>
                <a:gd name="connsiteY3" fmla="*/ 50123 h 232388"/>
                <a:gd name="connsiteX4" fmla="*/ 0 w 102679"/>
                <a:gd name="connsiteY4" fmla="*/ 50123 h 232388"/>
                <a:gd name="connsiteX5" fmla="*/ 41457 w 102679"/>
                <a:gd name="connsiteY5" fmla="*/ 0 h 232388"/>
                <a:gd name="connsiteX6" fmla="*/ 45721 w 102679"/>
                <a:gd name="connsiteY6" fmla="*/ 0 h 232388"/>
                <a:gd name="connsiteX7" fmla="*/ 102679 w 102679"/>
                <a:gd name="connsiteY7" fmla="*/ 50123 h 232388"/>
                <a:gd name="connsiteX8" fmla="*/ 102679 w 102679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2679" h="232388">
                  <a:moveTo>
                    <a:pt x="41620" y="232388"/>
                  </a:moveTo>
                  <a:lnTo>
                    <a:pt x="41620" y="69717"/>
                  </a:lnTo>
                  <a:cubicBezTo>
                    <a:pt x="41620" y="68349"/>
                    <a:pt x="41620" y="66983"/>
                    <a:pt x="41620" y="65615"/>
                  </a:cubicBezTo>
                  <a:cubicBezTo>
                    <a:pt x="40254" y="55591"/>
                    <a:pt x="31140" y="48756"/>
                    <a:pt x="21116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45721" y="0"/>
                  </a:lnTo>
                  <a:cubicBezTo>
                    <a:pt x="82630" y="0"/>
                    <a:pt x="102679" y="15948"/>
                    <a:pt x="102679" y="50123"/>
                  </a:cubicBezTo>
                  <a:lnTo>
                    <a:pt x="102679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9C4DC6CC-AFAA-4414-8BA6-D58CC891D657}"/>
                </a:ext>
              </a:extLst>
            </p:cNvPr>
            <p:cNvSpPr/>
            <p:nvPr/>
          </p:nvSpPr>
          <p:spPr>
            <a:xfrm rot="8716295">
              <a:off x="482715" y="3669965"/>
              <a:ext cx="154563" cy="124897"/>
            </a:xfrm>
            <a:custGeom>
              <a:avLst/>
              <a:gdLst>
                <a:gd name="connsiteX0" fmla="*/ 0 w 154563"/>
                <a:gd name="connsiteY0" fmla="*/ 124897 h 124897"/>
                <a:gd name="connsiteX1" fmla="*/ 95474 w 154563"/>
                <a:gd name="connsiteY1" fmla="*/ 9467 h 124897"/>
                <a:gd name="connsiteX2" fmla="*/ 96067 w 154563"/>
                <a:gd name="connsiteY2" fmla="*/ 9000 h 124897"/>
                <a:gd name="connsiteX3" fmla="*/ 126312 w 154563"/>
                <a:gd name="connsiteY3" fmla="*/ 0 h 124897"/>
                <a:gd name="connsiteX4" fmla="*/ 154563 w 154563"/>
                <a:gd name="connsiteY4" fmla="*/ 33719 h 124897"/>
                <a:gd name="connsiteX5" fmla="*/ 128135 w 154563"/>
                <a:gd name="connsiteY5" fmla="*/ 69261 h 124897"/>
                <a:gd name="connsiteX6" fmla="*/ 128590 w 154563"/>
                <a:gd name="connsiteY6" fmla="*/ 69261 h 12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4563" h="124897">
                  <a:moveTo>
                    <a:pt x="0" y="124897"/>
                  </a:moveTo>
                  <a:lnTo>
                    <a:pt x="95474" y="9467"/>
                  </a:lnTo>
                  <a:lnTo>
                    <a:pt x="96067" y="9000"/>
                  </a:lnTo>
                  <a:cubicBezTo>
                    <a:pt x="105351" y="4215"/>
                    <a:pt x="115604" y="1139"/>
                    <a:pt x="126312" y="0"/>
                  </a:cubicBezTo>
                  <a:cubicBezTo>
                    <a:pt x="148184" y="0"/>
                    <a:pt x="154563" y="19138"/>
                    <a:pt x="154563" y="33719"/>
                  </a:cubicBezTo>
                  <a:cubicBezTo>
                    <a:pt x="153196" y="49668"/>
                    <a:pt x="142715" y="62882"/>
                    <a:pt x="128135" y="69261"/>
                  </a:cubicBezTo>
                  <a:lnTo>
                    <a:pt x="128590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orme libre : forme 58">
              <a:extLst>
                <a:ext uri="{FF2B5EF4-FFF2-40B4-BE49-F238E27FC236}">
                  <a16:creationId xmlns:a16="http://schemas.microsoft.com/office/drawing/2014/main" id="{4EE0C0AC-519B-4FC6-8231-6D03F18E647C}"/>
                </a:ext>
              </a:extLst>
            </p:cNvPr>
            <p:cNvSpPr/>
            <p:nvPr/>
          </p:nvSpPr>
          <p:spPr>
            <a:xfrm rot="8716295">
              <a:off x="323074" y="379327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orme libre : forme 59">
              <a:extLst>
                <a:ext uri="{FF2B5EF4-FFF2-40B4-BE49-F238E27FC236}">
                  <a16:creationId xmlns:a16="http://schemas.microsoft.com/office/drawing/2014/main" id="{D6F59EA5-8316-4C20-AADC-7D706ECCBE6F}"/>
                </a:ext>
              </a:extLst>
            </p:cNvPr>
            <p:cNvSpPr/>
            <p:nvPr/>
          </p:nvSpPr>
          <p:spPr>
            <a:xfrm rot="8716295">
              <a:off x="198171" y="358459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orme libre : forme 60">
              <a:extLst>
                <a:ext uri="{FF2B5EF4-FFF2-40B4-BE49-F238E27FC236}">
                  <a16:creationId xmlns:a16="http://schemas.microsoft.com/office/drawing/2014/main" id="{B0440107-C1DF-4CF9-A961-BF836C4847FA}"/>
                </a:ext>
              </a:extLst>
            </p:cNvPr>
            <p:cNvSpPr/>
            <p:nvPr/>
          </p:nvSpPr>
          <p:spPr>
            <a:xfrm rot="8716295">
              <a:off x="186119" y="344581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orme libre : forme 61">
              <a:extLst>
                <a:ext uri="{FF2B5EF4-FFF2-40B4-BE49-F238E27FC236}">
                  <a16:creationId xmlns:a16="http://schemas.microsoft.com/office/drawing/2014/main" id="{FAD20847-20DA-4661-A963-D2C01E523D8E}"/>
                </a:ext>
              </a:extLst>
            </p:cNvPr>
            <p:cNvSpPr/>
            <p:nvPr/>
          </p:nvSpPr>
          <p:spPr>
            <a:xfrm rot="8716295">
              <a:off x="410218" y="3834716"/>
              <a:ext cx="103435" cy="219174"/>
            </a:xfrm>
            <a:custGeom>
              <a:avLst/>
              <a:gdLst>
                <a:gd name="connsiteX0" fmla="*/ 103435 w 103435"/>
                <a:gd name="connsiteY0" fmla="*/ 219174 h 219174"/>
                <a:gd name="connsiteX1" fmla="*/ 43288 w 103435"/>
                <a:gd name="connsiteY1" fmla="*/ 161305 h 219174"/>
                <a:gd name="connsiteX2" fmla="*/ 43288 w 103435"/>
                <a:gd name="connsiteY2" fmla="*/ 16404 h 219174"/>
                <a:gd name="connsiteX3" fmla="*/ 0 w 103435"/>
                <a:gd name="connsiteY3" fmla="*/ 16404 h 219174"/>
                <a:gd name="connsiteX4" fmla="*/ 0 w 103435"/>
                <a:gd name="connsiteY4" fmla="*/ 16028 h 219174"/>
                <a:gd name="connsiteX5" fmla="*/ 11583 w 103435"/>
                <a:gd name="connsiteY5" fmla="*/ 2023 h 219174"/>
                <a:gd name="connsiteX6" fmla="*/ 103435 w 103435"/>
                <a:gd name="connsiteY6" fmla="*/ 0 h 219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19174">
                  <a:moveTo>
                    <a:pt x="103435" y="219174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16028"/>
                  </a:lnTo>
                  <a:lnTo>
                    <a:pt x="11583" y="2023"/>
                  </a:lnTo>
                  <a:lnTo>
                    <a:pt x="10343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orme libre : forme 62">
              <a:extLst>
                <a:ext uri="{FF2B5EF4-FFF2-40B4-BE49-F238E27FC236}">
                  <a16:creationId xmlns:a16="http://schemas.microsoft.com/office/drawing/2014/main" id="{28D4D932-7CCD-4A1C-82BE-BDC6C863C34D}"/>
                </a:ext>
              </a:extLst>
            </p:cNvPr>
            <p:cNvSpPr/>
            <p:nvPr/>
          </p:nvSpPr>
          <p:spPr>
            <a:xfrm rot="8716295">
              <a:off x="487452" y="3349370"/>
              <a:ext cx="151162" cy="195873"/>
            </a:xfrm>
            <a:custGeom>
              <a:avLst/>
              <a:gdLst>
                <a:gd name="connsiteX0" fmla="*/ 38025 w 151162"/>
                <a:gd name="connsiteY0" fmla="*/ 195873 h 195873"/>
                <a:gd name="connsiteX1" fmla="*/ 0 w 151162"/>
                <a:gd name="connsiteY1" fmla="*/ 125130 h 195873"/>
                <a:gd name="connsiteX2" fmla="*/ 103497 w 151162"/>
                <a:gd name="connsiteY2" fmla="*/ 0 h 195873"/>
                <a:gd name="connsiteX3" fmla="*/ 151162 w 151162"/>
                <a:gd name="connsiteY3" fmla="*/ 0 h 195873"/>
                <a:gd name="connsiteX4" fmla="*/ 151162 w 151162"/>
                <a:gd name="connsiteY4" fmla="*/ 55323 h 195873"/>
                <a:gd name="connsiteX5" fmla="*/ 86370 w 151162"/>
                <a:gd name="connsiteY5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1162" h="195873">
                  <a:moveTo>
                    <a:pt x="38025" y="195873"/>
                  </a:moveTo>
                  <a:lnTo>
                    <a:pt x="0" y="125130"/>
                  </a:lnTo>
                  <a:lnTo>
                    <a:pt x="103497" y="0"/>
                  </a:lnTo>
                  <a:lnTo>
                    <a:pt x="151162" y="0"/>
                  </a:lnTo>
                  <a:lnTo>
                    <a:pt x="151162" y="55323"/>
                  </a:lnTo>
                  <a:lnTo>
                    <a:pt x="86370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orme libre : forme 63">
              <a:extLst>
                <a:ext uri="{FF2B5EF4-FFF2-40B4-BE49-F238E27FC236}">
                  <a16:creationId xmlns:a16="http://schemas.microsoft.com/office/drawing/2014/main" id="{CC6BD8CB-3AAF-4232-9DAB-6067219DB083}"/>
                </a:ext>
              </a:extLst>
            </p:cNvPr>
            <p:cNvSpPr/>
            <p:nvPr/>
          </p:nvSpPr>
          <p:spPr>
            <a:xfrm rot="8716295">
              <a:off x="460900" y="343447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orme libre : forme 64">
              <a:extLst>
                <a:ext uri="{FF2B5EF4-FFF2-40B4-BE49-F238E27FC236}">
                  <a16:creationId xmlns:a16="http://schemas.microsoft.com/office/drawing/2014/main" id="{C4402BE5-EFA1-455E-87AA-2CF0F2131AB9}"/>
                </a:ext>
              </a:extLst>
            </p:cNvPr>
            <p:cNvSpPr/>
            <p:nvPr/>
          </p:nvSpPr>
          <p:spPr>
            <a:xfrm rot="8716295">
              <a:off x="417336" y="4258920"/>
              <a:ext cx="147637" cy="195874"/>
            </a:xfrm>
            <a:custGeom>
              <a:avLst/>
              <a:gdLst>
                <a:gd name="connsiteX0" fmla="*/ 34500 w 147637"/>
                <a:gd name="connsiteY0" fmla="*/ 195874 h 195874"/>
                <a:gd name="connsiteX1" fmla="*/ 0 w 147637"/>
                <a:gd name="connsiteY1" fmla="*/ 131688 h 195874"/>
                <a:gd name="connsiteX2" fmla="*/ 108921 w 147637"/>
                <a:gd name="connsiteY2" fmla="*/ 0 h 195874"/>
                <a:gd name="connsiteX3" fmla="*/ 147637 w 147637"/>
                <a:gd name="connsiteY3" fmla="*/ 0 h 195874"/>
                <a:gd name="connsiteX4" fmla="*/ 147637 w 147637"/>
                <a:gd name="connsiteY4" fmla="*/ 55323 h 195874"/>
                <a:gd name="connsiteX5" fmla="*/ 82845 w 147637"/>
                <a:gd name="connsiteY5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7637" h="195874">
                  <a:moveTo>
                    <a:pt x="34500" y="195874"/>
                  </a:moveTo>
                  <a:lnTo>
                    <a:pt x="0" y="131688"/>
                  </a:lnTo>
                  <a:lnTo>
                    <a:pt x="108921" y="0"/>
                  </a:lnTo>
                  <a:lnTo>
                    <a:pt x="147637" y="0"/>
                  </a:lnTo>
                  <a:lnTo>
                    <a:pt x="147637" y="55323"/>
                  </a:lnTo>
                  <a:lnTo>
                    <a:pt x="8284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orme libre : forme 65">
              <a:extLst>
                <a:ext uri="{FF2B5EF4-FFF2-40B4-BE49-F238E27FC236}">
                  <a16:creationId xmlns:a16="http://schemas.microsoft.com/office/drawing/2014/main" id="{61A670F2-3CC6-425A-A67F-3F30EE51B04A}"/>
                </a:ext>
              </a:extLst>
            </p:cNvPr>
            <p:cNvSpPr/>
            <p:nvPr/>
          </p:nvSpPr>
          <p:spPr>
            <a:xfrm rot="8716295">
              <a:off x="330834" y="4134902"/>
              <a:ext cx="254613" cy="91157"/>
            </a:xfrm>
            <a:custGeom>
              <a:avLst/>
              <a:gdLst>
                <a:gd name="connsiteX0" fmla="*/ 0 w 254613"/>
                <a:gd name="connsiteY0" fmla="*/ 68911 h 91157"/>
                <a:gd name="connsiteX1" fmla="*/ 56997 w 254613"/>
                <a:gd name="connsiteY1" fmla="*/ 0 h 91157"/>
                <a:gd name="connsiteX2" fmla="*/ 57517 w 254613"/>
                <a:gd name="connsiteY2" fmla="*/ 2143 h 91157"/>
                <a:gd name="connsiteX3" fmla="*/ 128118 w 254613"/>
                <a:gd name="connsiteY3" fmla="*/ 40974 h 91157"/>
                <a:gd name="connsiteX4" fmla="*/ 181070 w 254613"/>
                <a:gd name="connsiteY4" fmla="*/ 31560 h 91157"/>
                <a:gd name="connsiteX5" fmla="*/ 253437 w 254613"/>
                <a:gd name="connsiteY5" fmla="*/ 2143 h 91157"/>
                <a:gd name="connsiteX6" fmla="*/ 254613 w 254613"/>
                <a:gd name="connsiteY6" fmla="*/ 9791 h 91157"/>
                <a:gd name="connsiteX7" fmla="*/ 254613 w 254613"/>
                <a:gd name="connsiteY7" fmla="*/ 15674 h 91157"/>
                <a:gd name="connsiteX8" fmla="*/ 61636 w 254613"/>
                <a:gd name="connsiteY8" fmla="*/ 90983 h 91157"/>
                <a:gd name="connsiteX9" fmla="*/ 22363 w 254613"/>
                <a:gd name="connsiteY9" fmla="*/ 84217 h 91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4613" h="91157">
                  <a:moveTo>
                    <a:pt x="0" y="68911"/>
                  </a:moveTo>
                  <a:lnTo>
                    <a:pt x="56997" y="0"/>
                  </a:lnTo>
                  <a:lnTo>
                    <a:pt x="57517" y="2143"/>
                  </a:lnTo>
                  <a:cubicBezTo>
                    <a:pt x="66931" y="28030"/>
                    <a:pt x="91053" y="40974"/>
                    <a:pt x="128118" y="40974"/>
                  </a:cubicBezTo>
                  <a:cubicBezTo>
                    <a:pt x="146357" y="40385"/>
                    <a:pt x="164008" y="36855"/>
                    <a:pt x="181070" y="31560"/>
                  </a:cubicBezTo>
                  <a:cubicBezTo>
                    <a:pt x="205780" y="23912"/>
                    <a:pt x="229903" y="13910"/>
                    <a:pt x="253437" y="2143"/>
                  </a:cubicBezTo>
                  <a:cubicBezTo>
                    <a:pt x="254025" y="4496"/>
                    <a:pt x="254613" y="7438"/>
                    <a:pt x="254613" y="9791"/>
                  </a:cubicBezTo>
                  <a:lnTo>
                    <a:pt x="254613" y="15674"/>
                  </a:lnTo>
                  <a:cubicBezTo>
                    <a:pt x="192249" y="69215"/>
                    <a:pt x="110468" y="88042"/>
                    <a:pt x="61636" y="90983"/>
                  </a:cubicBezTo>
                  <a:cubicBezTo>
                    <a:pt x="48104" y="91866"/>
                    <a:pt x="34719" y="89365"/>
                    <a:pt x="22363" y="842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orme libre : forme 66">
              <a:extLst>
                <a:ext uri="{FF2B5EF4-FFF2-40B4-BE49-F238E27FC236}">
                  <a16:creationId xmlns:a16="http://schemas.microsoft.com/office/drawing/2014/main" id="{8311F45B-46D1-4E93-B5FB-C96A0B131FB3}"/>
                </a:ext>
              </a:extLst>
            </p:cNvPr>
            <p:cNvSpPr/>
            <p:nvPr/>
          </p:nvSpPr>
          <p:spPr>
            <a:xfrm rot="8716295">
              <a:off x="-3428" y="2405990"/>
              <a:ext cx="142167" cy="208592"/>
            </a:xfrm>
            <a:custGeom>
              <a:avLst/>
              <a:gdLst>
                <a:gd name="connsiteX0" fmla="*/ 81108 w 142167"/>
                <a:gd name="connsiteY0" fmla="*/ 208592 h 208592"/>
                <a:gd name="connsiteX1" fmla="*/ 81108 w 142167"/>
                <a:gd name="connsiteY1" fmla="*/ 69717 h 208592"/>
                <a:gd name="connsiteX2" fmla="*/ 81108 w 142167"/>
                <a:gd name="connsiteY2" fmla="*/ 65615 h 208592"/>
                <a:gd name="connsiteX3" fmla="*/ 60604 w 142167"/>
                <a:gd name="connsiteY3" fmla="*/ 50123 h 208592"/>
                <a:gd name="connsiteX4" fmla="*/ 0 w 142167"/>
                <a:gd name="connsiteY4" fmla="*/ 50123 h 208592"/>
                <a:gd name="connsiteX5" fmla="*/ 0 w 142167"/>
                <a:gd name="connsiteY5" fmla="*/ 0 h 208592"/>
                <a:gd name="connsiteX6" fmla="*/ 85210 w 142167"/>
                <a:gd name="connsiteY6" fmla="*/ 0 h 208592"/>
                <a:gd name="connsiteX7" fmla="*/ 142167 w 142167"/>
                <a:gd name="connsiteY7" fmla="*/ 50123 h 208592"/>
                <a:gd name="connsiteX8" fmla="*/ 142167 w 142167"/>
                <a:gd name="connsiteY8" fmla="*/ 120504 h 20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08592">
                  <a:moveTo>
                    <a:pt x="81108" y="208592"/>
                  </a:moveTo>
                  <a:lnTo>
                    <a:pt x="81108" y="69717"/>
                  </a:lnTo>
                  <a:cubicBezTo>
                    <a:pt x="81108" y="68350"/>
                    <a:pt x="81108" y="66983"/>
                    <a:pt x="81108" y="65615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10" y="0"/>
                  </a:lnTo>
                  <a:cubicBezTo>
                    <a:pt x="122118" y="0"/>
                    <a:pt x="142167" y="15948"/>
                    <a:pt x="142167" y="50123"/>
                  </a:cubicBezTo>
                  <a:lnTo>
                    <a:pt x="142167" y="1205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FBB49843-79D6-49E9-8512-3ED8074BAF49}"/>
                </a:ext>
              </a:extLst>
            </p:cNvPr>
            <p:cNvSpPr/>
            <p:nvPr/>
          </p:nvSpPr>
          <p:spPr>
            <a:xfrm rot="8716295">
              <a:off x="80015" y="241329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orme libre : forme 68">
              <a:extLst>
                <a:ext uri="{FF2B5EF4-FFF2-40B4-BE49-F238E27FC236}">
                  <a16:creationId xmlns:a16="http://schemas.microsoft.com/office/drawing/2014/main" id="{2588E0D5-81C5-4973-87D7-DBF7607FAFF4}"/>
                </a:ext>
              </a:extLst>
            </p:cNvPr>
            <p:cNvSpPr/>
            <p:nvPr/>
          </p:nvSpPr>
          <p:spPr>
            <a:xfrm rot="8716295">
              <a:off x="35165" y="232701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orme libre : forme 69">
              <a:extLst>
                <a:ext uri="{FF2B5EF4-FFF2-40B4-BE49-F238E27FC236}">
                  <a16:creationId xmlns:a16="http://schemas.microsoft.com/office/drawing/2014/main" id="{4C19B60F-0DA9-4BC3-BAAD-2E7DE57F5376}"/>
                </a:ext>
              </a:extLst>
            </p:cNvPr>
            <p:cNvSpPr/>
            <p:nvPr/>
          </p:nvSpPr>
          <p:spPr>
            <a:xfrm rot="8716295">
              <a:off x="-20257" y="2217087"/>
              <a:ext cx="78731" cy="180665"/>
            </a:xfrm>
            <a:custGeom>
              <a:avLst/>
              <a:gdLst>
                <a:gd name="connsiteX0" fmla="*/ 0 w 78731"/>
                <a:gd name="connsiteY0" fmla="*/ 180665 h 180665"/>
                <a:gd name="connsiteX1" fmla="*/ 0 w 78731"/>
                <a:gd name="connsiteY1" fmla="*/ 40596 h 180665"/>
                <a:gd name="connsiteX2" fmla="*/ 78250 w 78731"/>
                <a:gd name="connsiteY2" fmla="*/ 0 h 180665"/>
                <a:gd name="connsiteX3" fmla="*/ 78731 w 78731"/>
                <a:gd name="connsiteY3" fmla="*/ 67083 h 180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731" h="180665">
                  <a:moveTo>
                    <a:pt x="0" y="180665"/>
                  </a:moveTo>
                  <a:lnTo>
                    <a:pt x="0" y="40596"/>
                  </a:lnTo>
                  <a:lnTo>
                    <a:pt x="78250" y="0"/>
                  </a:lnTo>
                  <a:lnTo>
                    <a:pt x="78731" y="670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orme libre : forme 70">
              <a:extLst>
                <a:ext uri="{FF2B5EF4-FFF2-40B4-BE49-F238E27FC236}">
                  <a16:creationId xmlns:a16="http://schemas.microsoft.com/office/drawing/2014/main" id="{6EC16758-5536-44AA-B18E-D5428BFF36DA}"/>
                </a:ext>
              </a:extLst>
            </p:cNvPr>
            <p:cNvSpPr/>
            <p:nvPr/>
          </p:nvSpPr>
          <p:spPr>
            <a:xfrm rot="8716295">
              <a:off x="-15341" y="2575209"/>
              <a:ext cx="103435" cy="152027"/>
            </a:xfrm>
            <a:custGeom>
              <a:avLst/>
              <a:gdLst>
                <a:gd name="connsiteX0" fmla="*/ 43288 w 103435"/>
                <a:gd name="connsiteY0" fmla="*/ 152027 h 152027"/>
                <a:gd name="connsiteX1" fmla="*/ 43288 w 103435"/>
                <a:gd name="connsiteY1" fmla="*/ 16404 h 152027"/>
                <a:gd name="connsiteX2" fmla="*/ 0 w 103435"/>
                <a:gd name="connsiteY2" fmla="*/ 16404 h 152027"/>
                <a:gd name="connsiteX3" fmla="*/ 0 w 103435"/>
                <a:gd name="connsiteY3" fmla="*/ 2278 h 152027"/>
                <a:gd name="connsiteX4" fmla="*/ 103435 w 103435"/>
                <a:gd name="connsiteY4" fmla="*/ 0 h 152027"/>
                <a:gd name="connsiteX5" fmla="*/ 103435 w 103435"/>
                <a:gd name="connsiteY5" fmla="*/ 65255 h 152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152027">
                  <a:moveTo>
                    <a:pt x="43288" y="152027"/>
                  </a:move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652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orme libre : forme 71">
              <a:extLst>
                <a:ext uri="{FF2B5EF4-FFF2-40B4-BE49-F238E27FC236}">
                  <a16:creationId xmlns:a16="http://schemas.microsoft.com/office/drawing/2014/main" id="{F8CD2FD6-8E29-4A7B-A6E7-A08269AC0224}"/>
                </a:ext>
              </a:extLst>
            </p:cNvPr>
            <p:cNvSpPr/>
            <p:nvPr/>
          </p:nvSpPr>
          <p:spPr>
            <a:xfrm rot="8716295">
              <a:off x="279722" y="21339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orme libre : forme 72">
              <a:extLst>
                <a:ext uri="{FF2B5EF4-FFF2-40B4-BE49-F238E27FC236}">
                  <a16:creationId xmlns:a16="http://schemas.microsoft.com/office/drawing/2014/main" id="{B8E4BE1C-C619-4E1A-8472-B00AFC43BA29}"/>
                </a:ext>
              </a:extLst>
            </p:cNvPr>
            <p:cNvSpPr/>
            <p:nvPr/>
          </p:nvSpPr>
          <p:spPr>
            <a:xfrm rot="8716295">
              <a:off x="369114" y="21631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" name="Forme libre : forme 73">
              <a:extLst>
                <a:ext uri="{FF2B5EF4-FFF2-40B4-BE49-F238E27FC236}">
                  <a16:creationId xmlns:a16="http://schemas.microsoft.com/office/drawing/2014/main" id="{E00D5309-AD7C-43C7-8A0B-B7211B97E879}"/>
                </a:ext>
              </a:extLst>
            </p:cNvPr>
            <p:cNvSpPr/>
            <p:nvPr/>
          </p:nvSpPr>
          <p:spPr>
            <a:xfrm rot="8716295">
              <a:off x="167488" y="22224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" name="Forme libre : forme 74">
              <a:extLst>
                <a:ext uri="{FF2B5EF4-FFF2-40B4-BE49-F238E27FC236}">
                  <a16:creationId xmlns:a16="http://schemas.microsoft.com/office/drawing/2014/main" id="{569B59A1-12B4-4886-9F85-B0AFCE236D87}"/>
                </a:ext>
              </a:extLst>
            </p:cNvPr>
            <p:cNvSpPr/>
            <p:nvPr/>
          </p:nvSpPr>
          <p:spPr>
            <a:xfrm rot="8716295">
              <a:off x="42586" y="20137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" name="Forme libre : forme 75">
              <a:extLst>
                <a:ext uri="{FF2B5EF4-FFF2-40B4-BE49-F238E27FC236}">
                  <a16:creationId xmlns:a16="http://schemas.microsoft.com/office/drawing/2014/main" id="{F564295A-16CC-45A5-86A1-4CEC6CD90425}"/>
                </a:ext>
              </a:extLst>
            </p:cNvPr>
            <p:cNvSpPr/>
            <p:nvPr/>
          </p:nvSpPr>
          <p:spPr>
            <a:xfrm rot="8716295">
              <a:off x="257666" y="226339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" name="Forme libre : forme 76">
              <a:extLst>
                <a:ext uri="{FF2B5EF4-FFF2-40B4-BE49-F238E27FC236}">
                  <a16:creationId xmlns:a16="http://schemas.microsoft.com/office/drawing/2014/main" id="{2384700C-00D8-4B4D-ABDF-BE0456A14505}"/>
                </a:ext>
              </a:extLst>
            </p:cNvPr>
            <p:cNvSpPr/>
            <p:nvPr/>
          </p:nvSpPr>
          <p:spPr>
            <a:xfrm rot="8716295">
              <a:off x="16215" y="211379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" name="Forme libre : forme 77">
              <a:extLst>
                <a:ext uri="{FF2B5EF4-FFF2-40B4-BE49-F238E27FC236}">
                  <a16:creationId xmlns:a16="http://schemas.microsoft.com/office/drawing/2014/main" id="{D8BA4606-ED26-402C-93D7-D77E55C056EF}"/>
                </a:ext>
              </a:extLst>
            </p:cNvPr>
            <p:cNvSpPr/>
            <p:nvPr/>
          </p:nvSpPr>
          <p:spPr>
            <a:xfrm rot="7484129">
              <a:off x="362597" y="245474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orme libre : forme 78">
              <a:extLst>
                <a:ext uri="{FF2B5EF4-FFF2-40B4-BE49-F238E27FC236}">
                  <a16:creationId xmlns:a16="http://schemas.microsoft.com/office/drawing/2014/main" id="{3CCE9711-ABFF-417D-B3E6-0BDB1263FCD1}"/>
                </a:ext>
              </a:extLst>
            </p:cNvPr>
            <p:cNvSpPr/>
            <p:nvPr/>
          </p:nvSpPr>
          <p:spPr>
            <a:xfrm rot="13089394">
              <a:off x="463440" y="2426400"/>
              <a:ext cx="272584" cy="319064"/>
            </a:xfrm>
            <a:custGeom>
              <a:avLst/>
              <a:gdLst>
                <a:gd name="connsiteX0" fmla="*/ 80445 w 272584"/>
                <a:gd name="connsiteY0" fmla="*/ 215518 h 319064"/>
                <a:gd name="connsiteX1" fmla="*/ 0 w 272584"/>
                <a:gd name="connsiteY1" fmla="*/ 93007 h 319064"/>
                <a:gd name="connsiteX2" fmla="*/ 0 w 272584"/>
                <a:gd name="connsiteY2" fmla="*/ 38074 h 319064"/>
                <a:gd name="connsiteX3" fmla="*/ 73388 w 272584"/>
                <a:gd name="connsiteY3" fmla="*/ 0 h 319064"/>
                <a:gd name="connsiteX4" fmla="*/ 74492 w 272584"/>
                <a:gd name="connsiteY4" fmla="*/ 153950 h 319064"/>
                <a:gd name="connsiteX5" fmla="*/ 76768 w 272584"/>
                <a:gd name="connsiteY5" fmla="*/ 200369 h 319064"/>
                <a:gd name="connsiteX6" fmla="*/ 272584 w 272584"/>
                <a:gd name="connsiteY6" fmla="*/ 258238 h 319064"/>
                <a:gd name="connsiteX7" fmla="*/ 177331 w 272584"/>
                <a:gd name="connsiteY7" fmla="*/ 311347 h 319064"/>
                <a:gd name="connsiteX8" fmla="*/ 148437 w 272584"/>
                <a:gd name="connsiteY8" fmla="*/ 319064 h 319064"/>
                <a:gd name="connsiteX9" fmla="*/ 119231 w 272584"/>
                <a:gd name="connsiteY9" fmla="*/ 274585 h 319064"/>
                <a:gd name="connsiteX10" fmla="*/ 153949 w 272584"/>
                <a:gd name="connsiteY10" fmla="*/ 281965 h 319064"/>
                <a:gd name="connsiteX11" fmla="*/ 203610 w 272584"/>
                <a:gd name="connsiteY11" fmla="*/ 273136 h 319064"/>
                <a:gd name="connsiteX12" fmla="*/ 271481 w 272584"/>
                <a:gd name="connsiteY12" fmla="*/ 245547 h 319064"/>
                <a:gd name="connsiteX13" fmla="*/ 272584 w 272584"/>
                <a:gd name="connsiteY13" fmla="*/ 252720 h 319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2584" h="319064">
                  <a:moveTo>
                    <a:pt x="80445" y="215518"/>
                  </a:moveTo>
                  <a:lnTo>
                    <a:pt x="0" y="93007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3664" y="169400"/>
                    <a:pt x="74492" y="184988"/>
                    <a:pt x="76768" y="200369"/>
                  </a:cubicBezTo>
                  <a:close/>
                  <a:moveTo>
                    <a:pt x="272584" y="258238"/>
                  </a:moveTo>
                  <a:cubicBezTo>
                    <a:pt x="243339" y="283344"/>
                    <a:pt x="209542" y="300312"/>
                    <a:pt x="177331" y="311347"/>
                  </a:cubicBezTo>
                  <a:lnTo>
                    <a:pt x="148437" y="319064"/>
                  </a:lnTo>
                  <a:lnTo>
                    <a:pt x="119231" y="274585"/>
                  </a:lnTo>
                  <a:lnTo>
                    <a:pt x="153949" y="281965"/>
                  </a:lnTo>
                  <a:cubicBezTo>
                    <a:pt x="171055" y="281413"/>
                    <a:pt x="187609" y="278102"/>
                    <a:pt x="203610" y="273136"/>
                  </a:cubicBezTo>
                  <a:cubicBezTo>
                    <a:pt x="226785" y="265963"/>
                    <a:pt x="249409" y="256583"/>
                    <a:pt x="271481" y="245547"/>
                  </a:cubicBezTo>
                  <a:cubicBezTo>
                    <a:pt x="272032" y="247754"/>
                    <a:pt x="272584" y="250513"/>
                    <a:pt x="272584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Forme libre : forme 79">
              <a:extLst>
                <a:ext uri="{FF2B5EF4-FFF2-40B4-BE49-F238E27FC236}">
                  <a16:creationId xmlns:a16="http://schemas.microsoft.com/office/drawing/2014/main" id="{6E12610B-6A34-4C00-8EC5-09F9F5AEEEF0}"/>
                </a:ext>
              </a:extLst>
            </p:cNvPr>
            <p:cNvSpPr/>
            <p:nvPr/>
          </p:nvSpPr>
          <p:spPr>
            <a:xfrm rot="8716295">
              <a:off x="675867" y="2357327"/>
              <a:ext cx="38012" cy="45752"/>
            </a:xfrm>
            <a:custGeom>
              <a:avLst/>
              <a:gdLst>
                <a:gd name="connsiteX0" fmla="*/ 0 w 38012"/>
                <a:gd name="connsiteY0" fmla="*/ 45752 h 45752"/>
                <a:gd name="connsiteX1" fmla="*/ 37842 w 38012"/>
                <a:gd name="connsiteY1" fmla="*/ 0 h 45752"/>
                <a:gd name="connsiteX2" fmla="*/ 38012 w 38012"/>
                <a:gd name="connsiteY2" fmla="*/ 641 h 45752"/>
                <a:gd name="connsiteX3" fmla="*/ 6841 w 38012"/>
                <a:gd name="connsiteY3" fmla="*/ 42560 h 45752"/>
                <a:gd name="connsiteX4" fmla="*/ 7378 w 38012"/>
                <a:gd name="connsiteY4" fmla="*/ 42560 h 45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012" h="45752">
                  <a:moveTo>
                    <a:pt x="0" y="45752"/>
                  </a:moveTo>
                  <a:lnTo>
                    <a:pt x="37842" y="0"/>
                  </a:lnTo>
                  <a:lnTo>
                    <a:pt x="38012" y="641"/>
                  </a:lnTo>
                  <a:cubicBezTo>
                    <a:pt x="36400" y="19451"/>
                    <a:pt x="24039" y="35036"/>
                    <a:pt x="6841" y="42560"/>
                  </a:cubicBezTo>
                  <a:lnTo>
                    <a:pt x="7378" y="425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" name="Forme libre : forme 80">
              <a:extLst>
                <a:ext uri="{FF2B5EF4-FFF2-40B4-BE49-F238E27FC236}">
                  <a16:creationId xmlns:a16="http://schemas.microsoft.com/office/drawing/2014/main" id="{04C60C27-7F84-4DDC-864F-602B18A26BC5}"/>
                </a:ext>
              </a:extLst>
            </p:cNvPr>
            <p:cNvSpPr/>
            <p:nvPr/>
          </p:nvSpPr>
          <p:spPr>
            <a:xfrm rot="8716295">
              <a:off x="601197" y="21260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orme libre : forme 81">
              <a:extLst>
                <a:ext uri="{FF2B5EF4-FFF2-40B4-BE49-F238E27FC236}">
                  <a16:creationId xmlns:a16="http://schemas.microsoft.com/office/drawing/2014/main" id="{603BCEF5-66FB-4B3A-9672-2C4F09A114FA}"/>
                </a:ext>
              </a:extLst>
            </p:cNvPr>
            <p:cNvSpPr/>
            <p:nvPr/>
          </p:nvSpPr>
          <p:spPr>
            <a:xfrm rot="8716295">
              <a:off x="357951" y="21562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Forme libre : forme 82">
              <a:extLst>
                <a:ext uri="{FF2B5EF4-FFF2-40B4-BE49-F238E27FC236}">
                  <a16:creationId xmlns:a16="http://schemas.microsoft.com/office/drawing/2014/main" id="{47C10671-5456-47FF-825A-4447688D4139}"/>
                </a:ext>
              </a:extLst>
            </p:cNvPr>
            <p:cNvSpPr/>
            <p:nvPr/>
          </p:nvSpPr>
          <p:spPr>
            <a:xfrm rot="8716295">
              <a:off x="535403" y="199698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4" name="Forme libre : forme 83">
              <a:extLst>
                <a:ext uri="{FF2B5EF4-FFF2-40B4-BE49-F238E27FC236}">
                  <a16:creationId xmlns:a16="http://schemas.microsoft.com/office/drawing/2014/main" id="{DB34C374-02D3-4583-9890-9C27CA821837}"/>
                </a:ext>
              </a:extLst>
            </p:cNvPr>
            <p:cNvSpPr/>
            <p:nvPr/>
          </p:nvSpPr>
          <p:spPr>
            <a:xfrm rot="8716295">
              <a:off x="-76043" y="1768178"/>
              <a:ext cx="197178" cy="215049"/>
            </a:xfrm>
            <a:custGeom>
              <a:avLst/>
              <a:gdLst>
                <a:gd name="connsiteX0" fmla="*/ 51490 w 197178"/>
                <a:gd name="connsiteY0" fmla="*/ 215049 h 215049"/>
                <a:gd name="connsiteX1" fmla="*/ 51490 w 197178"/>
                <a:gd name="connsiteY1" fmla="*/ 45624 h 215049"/>
                <a:gd name="connsiteX2" fmla="*/ 0 w 197178"/>
                <a:gd name="connsiteY2" fmla="*/ 45624 h 215049"/>
                <a:gd name="connsiteX3" fmla="*/ 0 w 197178"/>
                <a:gd name="connsiteY3" fmla="*/ 1424 h 215049"/>
                <a:gd name="connsiteX4" fmla="*/ 104803 w 197178"/>
                <a:gd name="connsiteY4" fmla="*/ 1425 h 215049"/>
                <a:gd name="connsiteX5" fmla="*/ 104803 w 197178"/>
                <a:gd name="connsiteY5" fmla="*/ 75242 h 215049"/>
                <a:gd name="connsiteX6" fmla="*/ 106169 w 197178"/>
                <a:gd name="connsiteY6" fmla="*/ 75242 h 215049"/>
                <a:gd name="connsiteX7" fmla="*/ 154014 w 197178"/>
                <a:gd name="connsiteY7" fmla="*/ 5981 h 215049"/>
                <a:gd name="connsiteX8" fmla="*/ 185455 w 197178"/>
                <a:gd name="connsiteY8" fmla="*/ 57 h 215049"/>
                <a:gd name="connsiteX9" fmla="*/ 197178 w 197178"/>
                <a:gd name="connsiteY9" fmla="*/ 4872 h 215049"/>
                <a:gd name="connsiteX10" fmla="*/ 170795 w 197178"/>
                <a:gd name="connsiteY10" fmla="*/ 42934 h 215049"/>
                <a:gd name="connsiteX11" fmla="*/ 164950 w 197178"/>
                <a:gd name="connsiteY11" fmla="*/ 40156 h 215049"/>
                <a:gd name="connsiteX12" fmla="*/ 111638 w 197178"/>
                <a:gd name="connsiteY12" fmla="*/ 127643 h 215049"/>
                <a:gd name="connsiteX13" fmla="*/ 111638 w 197178"/>
                <a:gd name="connsiteY13" fmla="*/ 128277 h 21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178" h="215049">
                  <a:moveTo>
                    <a:pt x="51490" y="215049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4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lnTo>
                    <a:pt x="197178" y="4872"/>
                  </a:lnTo>
                  <a:lnTo>
                    <a:pt x="170795" y="42934"/>
                  </a:lnTo>
                  <a:lnTo>
                    <a:pt x="164950" y="40156"/>
                  </a:ln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1282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5" name="Forme libre : forme 84">
              <a:extLst>
                <a:ext uri="{FF2B5EF4-FFF2-40B4-BE49-F238E27FC236}">
                  <a16:creationId xmlns:a16="http://schemas.microsoft.com/office/drawing/2014/main" id="{F27A5053-248B-4729-A180-CFD83FBA8C7D}"/>
                </a:ext>
              </a:extLst>
            </p:cNvPr>
            <p:cNvSpPr/>
            <p:nvPr/>
          </p:nvSpPr>
          <p:spPr>
            <a:xfrm rot="8716295">
              <a:off x="56555" y="14742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6" name="Forme libre : forme 85">
              <a:extLst>
                <a:ext uri="{FF2B5EF4-FFF2-40B4-BE49-F238E27FC236}">
                  <a16:creationId xmlns:a16="http://schemas.microsoft.com/office/drawing/2014/main" id="{9918622A-7E96-4EC8-A35B-CBCD19A79AE2}"/>
                </a:ext>
              </a:extLst>
            </p:cNvPr>
            <p:cNvSpPr/>
            <p:nvPr/>
          </p:nvSpPr>
          <p:spPr>
            <a:xfrm rot="8716295">
              <a:off x="145947" y="15034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7" name="Forme libre : forme 86">
              <a:extLst>
                <a:ext uri="{FF2B5EF4-FFF2-40B4-BE49-F238E27FC236}">
                  <a16:creationId xmlns:a16="http://schemas.microsoft.com/office/drawing/2014/main" id="{0ECD9757-2AFD-4623-9C3D-24E52F11F047}"/>
                </a:ext>
              </a:extLst>
            </p:cNvPr>
            <p:cNvSpPr/>
            <p:nvPr/>
          </p:nvSpPr>
          <p:spPr>
            <a:xfrm rot="8716295">
              <a:off x="-21870" y="1443501"/>
              <a:ext cx="68614" cy="55323"/>
            </a:xfrm>
            <a:custGeom>
              <a:avLst/>
              <a:gdLst>
                <a:gd name="connsiteX0" fmla="*/ 0 w 68614"/>
                <a:gd name="connsiteY0" fmla="*/ 55323 h 55323"/>
                <a:gd name="connsiteX1" fmla="*/ 0 w 68614"/>
                <a:gd name="connsiteY1" fmla="*/ 0 h 55323"/>
                <a:gd name="connsiteX2" fmla="*/ 68614 w 68614"/>
                <a:gd name="connsiteY2" fmla="*/ 0 h 55323"/>
                <a:gd name="connsiteX3" fmla="*/ 30266 w 68614"/>
                <a:gd name="connsiteY3" fmla="*/ 55323 h 55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614" h="55323">
                  <a:moveTo>
                    <a:pt x="0" y="55323"/>
                  </a:moveTo>
                  <a:lnTo>
                    <a:pt x="0" y="0"/>
                  </a:lnTo>
                  <a:lnTo>
                    <a:pt x="68614" y="0"/>
                  </a:lnTo>
                  <a:lnTo>
                    <a:pt x="30266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8" name="Forme libre : forme 87">
              <a:extLst>
                <a:ext uri="{FF2B5EF4-FFF2-40B4-BE49-F238E27FC236}">
                  <a16:creationId xmlns:a16="http://schemas.microsoft.com/office/drawing/2014/main" id="{661ED1FA-7FC0-427E-9226-6E31215700D9}"/>
                </a:ext>
              </a:extLst>
            </p:cNvPr>
            <p:cNvSpPr/>
            <p:nvPr/>
          </p:nvSpPr>
          <p:spPr>
            <a:xfrm rot="8716295">
              <a:off x="35817" y="1618109"/>
              <a:ext cx="103435" cy="203897"/>
            </a:xfrm>
            <a:custGeom>
              <a:avLst/>
              <a:gdLst>
                <a:gd name="connsiteX0" fmla="*/ 87556 w 103435"/>
                <a:gd name="connsiteY0" fmla="*/ 203897 h 203897"/>
                <a:gd name="connsiteX1" fmla="*/ 43288 w 103435"/>
                <a:gd name="connsiteY1" fmla="*/ 161305 h 203897"/>
                <a:gd name="connsiteX2" fmla="*/ 43288 w 103435"/>
                <a:gd name="connsiteY2" fmla="*/ 16404 h 203897"/>
                <a:gd name="connsiteX3" fmla="*/ 0 w 103435"/>
                <a:gd name="connsiteY3" fmla="*/ 16404 h 203897"/>
                <a:gd name="connsiteX4" fmla="*/ 0 w 103435"/>
                <a:gd name="connsiteY4" fmla="*/ 2278 h 203897"/>
                <a:gd name="connsiteX5" fmla="*/ 103435 w 103435"/>
                <a:gd name="connsiteY5" fmla="*/ 0 h 203897"/>
                <a:gd name="connsiteX6" fmla="*/ 103435 w 103435"/>
                <a:gd name="connsiteY6" fmla="*/ 180989 h 203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03897">
                  <a:moveTo>
                    <a:pt x="87556" y="203897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1809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9" name="Forme libre : forme 88">
              <a:extLst>
                <a:ext uri="{FF2B5EF4-FFF2-40B4-BE49-F238E27FC236}">
                  <a16:creationId xmlns:a16="http://schemas.microsoft.com/office/drawing/2014/main" id="{A1295F39-BDBB-432C-B32B-C5B551977FC2}"/>
                </a:ext>
              </a:extLst>
            </p:cNvPr>
            <p:cNvSpPr/>
            <p:nvPr/>
          </p:nvSpPr>
          <p:spPr>
            <a:xfrm rot="7484129">
              <a:off x="139430" y="17950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" name="Forme libre : forme 89">
              <a:extLst>
                <a:ext uri="{FF2B5EF4-FFF2-40B4-BE49-F238E27FC236}">
                  <a16:creationId xmlns:a16="http://schemas.microsoft.com/office/drawing/2014/main" id="{F2E91B5E-C359-4716-9781-DAEDAFFE884C}"/>
                </a:ext>
              </a:extLst>
            </p:cNvPr>
            <p:cNvSpPr/>
            <p:nvPr/>
          </p:nvSpPr>
          <p:spPr>
            <a:xfrm rot="13089394">
              <a:off x="244250" y="17615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" name="Forme libre : forme 90">
              <a:extLst>
                <a:ext uri="{FF2B5EF4-FFF2-40B4-BE49-F238E27FC236}">
                  <a16:creationId xmlns:a16="http://schemas.microsoft.com/office/drawing/2014/main" id="{4C9CCC26-5417-41E7-B753-3B7D59038FBD}"/>
                </a:ext>
              </a:extLst>
            </p:cNvPr>
            <p:cNvSpPr/>
            <p:nvPr/>
          </p:nvSpPr>
          <p:spPr>
            <a:xfrm rot="8716295">
              <a:off x="429835" y="15699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" name="Forme libre : forme 91">
              <a:extLst>
                <a:ext uri="{FF2B5EF4-FFF2-40B4-BE49-F238E27FC236}">
                  <a16:creationId xmlns:a16="http://schemas.microsoft.com/office/drawing/2014/main" id="{D6712892-AD9E-4694-AEF5-3D17C5AEEE1D}"/>
                </a:ext>
              </a:extLst>
            </p:cNvPr>
            <p:cNvSpPr/>
            <p:nvPr/>
          </p:nvSpPr>
          <p:spPr>
            <a:xfrm rot="8716295">
              <a:off x="378030" y="14663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" name="Forme libre : forme 92">
              <a:extLst>
                <a:ext uri="{FF2B5EF4-FFF2-40B4-BE49-F238E27FC236}">
                  <a16:creationId xmlns:a16="http://schemas.microsoft.com/office/drawing/2014/main" id="{8DA7EFED-D0A6-45D4-A875-2F1DCEFC57C8}"/>
                </a:ext>
              </a:extLst>
            </p:cNvPr>
            <p:cNvSpPr/>
            <p:nvPr/>
          </p:nvSpPr>
          <p:spPr>
            <a:xfrm rot="8716295">
              <a:off x="134784" y="14965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" name="Forme libre : forme 93">
              <a:extLst>
                <a:ext uri="{FF2B5EF4-FFF2-40B4-BE49-F238E27FC236}">
                  <a16:creationId xmlns:a16="http://schemas.microsoft.com/office/drawing/2014/main" id="{32971A81-1820-4964-A66E-2FD721A16F56}"/>
                </a:ext>
              </a:extLst>
            </p:cNvPr>
            <p:cNvSpPr/>
            <p:nvPr/>
          </p:nvSpPr>
          <p:spPr>
            <a:xfrm rot="8716295">
              <a:off x="312236" y="13372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orme libre : forme 94">
              <a:extLst>
                <a:ext uri="{FF2B5EF4-FFF2-40B4-BE49-F238E27FC236}">
                  <a16:creationId xmlns:a16="http://schemas.microsoft.com/office/drawing/2014/main" id="{BC42F9C8-99E7-4F04-B258-C142D2DE142F}"/>
                </a:ext>
              </a:extLst>
            </p:cNvPr>
            <p:cNvSpPr/>
            <p:nvPr/>
          </p:nvSpPr>
          <p:spPr>
            <a:xfrm rot="8716295">
              <a:off x="-17798" y="949199"/>
              <a:ext cx="39526" cy="50123"/>
            </a:xfrm>
            <a:custGeom>
              <a:avLst/>
              <a:gdLst>
                <a:gd name="connsiteX0" fmla="*/ 0 w 39526"/>
                <a:gd name="connsiteY0" fmla="*/ 50123 h 50123"/>
                <a:gd name="connsiteX1" fmla="*/ 0 w 39526"/>
                <a:gd name="connsiteY1" fmla="*/ 0 h 50123"/>
                <a:gd name="connsiteX2" fmla="*/ 39526 w 39526"/>
                <a:gd name="connsiteY2" fmla="*/ 0 h 50123"/>
                <a:gd name="connsiteX3" fmla="*/ 4782 w 39526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26" h="50123">
                  <a:moveTo>
                    <a:pt x="0" y="50123"/>
                  </a:moveTo>
                  <a:lnTo>
                    <a:pt x="0" y="0"/>
                  </a:lnTo>
                  <a:lnTo>
                    <a:pt x="39526" y="0"/>
                  </a:lnTo>
                  <a:lnTo>
                    <a:pt x="4782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Forme libre : forme 95">
              <a:extLst>
                <a:ext uri="{FF2B5EF4-FFF2-40B4-BE49-F238E27FC236}">
                  <a16:creationId xmlns:a16="http://schemas.microsoft.com/office/drawing/2014/main" id="{D29A62DB-0DC5-407D-A1DF-C8A39BAC784A}"/>
                </a:ext>
              </a:extLst>
            </p:cNvPr>
            <p:cNvSpPr/>
            <p:nvPr/>
          </p:nvSpPr>
          <p:spPr>
            <a:xfrm rot="8716295">
              <a:off x="-64996" y="834728"/>
              <a:ext cx="249650" cy="254774"/>
            </a:xfrm>
            <a:custGeom>
              <a:avLst/>
              <a:gdLst>
                <a:gd name="connsiteX0" fmla="*/ 51490 w 249650"/>
                <a:gd name="connsiteY0" fmla="*/ 254774 h 254774"/>
                <a:gd name="connsiteX1" fmla="*/ 51490 w 249650"/>
                <a:gd name="connsiteY1" fmla="*/ 45624 h 254774"/>
                <a:gd name="connsiteX2" fmla="*/ 0 w 249650"/>
                <a:gd name="connsiteY2" fmla="*/ 45624 h 254774"/>
                <a:gd name="connsiteX3" fmla="*/ 0 w 249650"/>
                <a:gd name="connsiteY3" fmla="*/ 1425 h 254774"/>
                <a:gd name="connsiteX4" fmla="*/ 104803 w 249650"/>
                <a:gd name="connsiteY4" fmla="*/ 1425 h 254774"/>
                <a:gd name="connsiteX5" fmla="*/ 104803 w 249650"/>
                <a:gd name="connsiteY5" fmla="*/ 75242 h 254774"/>
                <a:gd name="connsiteX6" fmla="*/ 106169 w 249650"/>
                <a:gd name="connsiteY6" fmla="*/ 75242 h 254774"/>
                <a:gd name="connsiteX7" fmla="*/ 154014 w 249650"/>
                <a:gd name="connsiteY7" fmla="*/ 5981 h 254774"/>
                <a:gd name="connsiteX8" fmla="*/ 185455 w 249650"/>
                <a:gd name="connsiteY8" fmla="*/ 57 h 254774"/>
                <a:gd name="connsiteX9" fmla="*/ 240647 w 249650"/>
                <a:gd name="connsiteY9" fmla="*/ 22727 h 254774"/>
                <a:gd name="connsiteX10" fmla="*/ 249650 w 249650"/>
                <a:gd name="connsiteY10" fmla="*/ 52327 h 254774"/>
                <a:gd name="connsiteX11" fmla="*/ 218795 w 249650"/>
                <a:gd name="connsiteY11" fmla="*/ 96841 h 254774"/>
                <a:gd name="connsiteX12" fmla="*/ 198669 w 249650"/>
                <a:gd name="connsiteY12" fmla="*/ 98025 h 254774"/>
                <a:gd name="connsiteX13" fmla="*/ 198669 w 249650"/>
                <a:gd name="connsiteY13" fmla="*/ 81621 h 254774"/>
                <a:gd name="connsiteX14" fmla="*/ 164950 w 249650"/>
                <a:gd name="connsiteY14" fmla="*/ 40156 h 254774"/>
                <a:gd name="connsiteX15" fmla="*/ 111638 w 249650"/>
                <a:gd name="connsiteY15" fmla="*/ 127643 h 254774"/>
                <a:gd name="connsiteX16" fmla="*/ 111638 w 249650"/>
                <a:gd name="connsiteY16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9650" h="254774">
                  <a:moveTo>
                    <a:pt x="51490" y="254774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08922" y="-398"/>
                    <a:pt x="227718" y="7576"/>
                    <a:pt x="240647" y="22727"/>
                  </a:cubicBezTo>
                  <a:lnTo>
                    <a:pt x="249650" y="52327"/>
                  </a:lnTo>
                  <a:lnTo>
                    <a:pt x="218795" y="96841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" name="Forme libre : forme 96">
              <a:extLst>
                <a:ext uri="{FF2B5EF4-FFF2-40B4-BE49-F238E27FC236}">
                  <a16:creationId xmlns:a16="http://schemas.microsoft.com/office/drawing/2014/main" id="{4160A2B5-61C4-44D3-8FA4-49A1FCD41A0C}"/>
                </a:ext>
              </a:extLst>
            </p:cNvPr>
            <p:cNvSpPr/>
            <p:nvPr/>
          </p:nvSpPr>
          <p:spPr>
            <a:xfrm rot="7484129">
              <a:off x="-63314" y="1172497"/>
              <a:ext cx="203848" cy="146395"/>
            </a:xfrm>
            <a:custGeom>
              <a:avLst/>
              <a:gdLst>
                <a:gd name="connsiteX0" fmla="*/ 0 w 203848"/>
                <a:gd name="connsiteY0" fmla="*/ 55323 h 146395"/>
                <a:gd name="connsiteX1" fmla="*/ 0 w 203848"/>
                <a:gd name="connsiteY1" fmla="*/ 0 h 146395"/>
                <a:gd name="connsiteX2" fmla="*/ 203848 w 203848"/>
                <a:gd name="connsiteY2" fmla="*/ 0 h 146395"/>
                <a:gd name="connsiteX3" fmla="*/ 203847 w 203848"/>
                <a:gd name="connsiteY3" fmla="*/ 49512 h 146395"/>
                <a:gd name="connsiteX4" fmla="*/ 195466 w 203848"/>
                <a:gd name="connsiteY4" fmla="*/ 55323 h 146395"/>
                <a:gd name="connsiteX5" fmla="*/ 139055 w 203848"/>
                <a:gd name="connsiteY5" fmla="*/ 55323 h 146395"/>
                <a:gd name="connsiteX6" fmla="*/ 121388 w 203848"/>
                <a:gd name="connsiteY6" fmla="*/ 106685 h 146395"/>
                <a:gd name="connsiteX7" fmla="*/ 64115 w 203848"/>
                <a:gd name="connsiteY7" fmla="*/ 146395 h 146395"/>
                <a:gd name="connsiteX8" fmla="*/ 47847 w 203848"/>
                <a:gd name="connsiteY8" fmla="*/ 116129 h 146395"/>
                <a:gd name="connsiteX9" fmla="*/ 69777 w 203848"/>
                <a:gd name="connsiteY9" fmla="*/ 55323 h 146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848" h="146395">
                  <a:moveTo>
                    <a:pt x="0" y="55323"/>
                  </a:moveTo>
                  <a:lnTo>
                    <a:pt x="0" y="0"/>
                  </a:lnTo>
                  <a:lnTo>
                    <a:pt x="203848" y="0"/>
                  </a:lnTo>
                  <a:lnTo>
                    <a:pt x="203847" y="49512"/>
                  </a:lnTo>
                  <a:lnTo>
                    <a:pt x="195466" y="55323"/>
                  </a:lnTo>
                  <a:lnTo>
                    <a:pt x="139055" y="55323"/>
                  </a:lnTo>
                  <a:lnTo>
                    <a:pt x="121388" y="106685"/>
                  </a:lnTo>
                  <a:lnTo>
                    <a:pt x="64115" y="146395"/>
                  </a:lnTo>
                  <a:lnTo>
                    <a:pt x="47847" y="116129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" name="Forme libre : forme 97">
              <a:extLst>
                <a:ext uri="{FF2B5EF4-FFF2-40B4-BE49-F238E27FC236}">
                  <a16:creationId xmlns:a16="http://schemas.microsoft.com/office/drawing/2014/main" id="{0F651F8F-312F-4D1A-9E4B-A79B81999918}"/>
                </a:ext>
              </a:extLst>
            </p:cNvPr>
            <p:cNvSpPr/>
            <p:nvPr/>
          </p:nvSpPr>
          <p:spPr>
            <a:xfrm rot="13089394">
              <a:off x="25311" y="109952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" name="Forme libre : forme 98">
              <a:extLst>
                <a:ext uri="{FF2B5EF4-FFF2-40B4-BE49-F238E27FC236}">
                  <a16:creationId xmlns:a16="http://schemas.microsoft.com/office/drawing/2014/main" id="{12E33E54-ECAF-462B-B069-F233780DF121}"/>
                </a:ext>
              </a:extLst>
            </p:cNvPr>
            <p:cNvSpPr/>
            <p:nvPr/>
          </p:nvSpPr>
          <p:spPr>
            <a:xfrm rot="8716295">
              <a:off x="210896" y="90784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orme libre : forme 99">
              <a:extLst>
                <a:ext uri="{FF2B5EF4-FFF2-40B4-BE49-F238E27FC236}">
                  <a16:creationId xmlns:a16="http://schemas.microsoft.com/office/drawing/2014/main" id="{42ACC1F1-A8E1-420C-B7DE-55FFEE501260}"/>
                </a:ext>
              </a:extLst>
            </p:cNvPr>
            <p:cNvSpPr/>
            <p:nvPr/>
          </p:nvSpPr>
          <p:spPr>
            <a:xfrm rot="8716295">
              <a:off x="159091" y="80425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Forme libre : forme 100">
              <a:extLst>
                <a:ext uri="{FF2B5EF4-FFF2-40B4-BE49-F238E27FC236}">
                  <a16:creationId xmlns:a16="http://schemas.microsoft.com/office/drawing/2014/main" id="{B902C445-D42B-4D0E-8897-FDE236E78375}"/>
                </a:ext>
              </a:extLst>
            </p:cNvPr>
            <p:cNvSpPr/>
            <p:nvPr/>
          </p:nvSpPr>
          <p:spPr>
            <a:xfrm rot="8716295">
              <a:off x="93297" y="67523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" name="Forme libre : forme 101">
              <a:extLst>
                <a:ext uri="{FF2B5EF4-FFF2-40B4-BE49-F238E27FC236}">
                  <a16:creationId xmlns:a16="http://schemas.microsoft.com/office/drawing/2014/main" id="{4EDB9DFE-AA44-492B-9D2C-70F199FD6162}"/>
                </a:ext>
              </a:extLst>
            </p:cNvPr>
            <p:cNvSpPr/>
            <p:nvPr/>
          </p:nvSpPr>
          <p:spPr>
            <a:xfrm rot="8716295">
              <a:off x="-7001" y="316701"/>
              <a:ext cx="14001" cy="20198"/>
            </a:xfrm>
            <a:custGeom>
              <a:avLst/>
              <a:gdLst>
                <a:gd name="connsiteX0" fmla="*/ 0 w 14001"/>
                <a:gd name="connsiteY0" fmla="*/ 20198 h 20198"/>
                <a:gd name="connsiteX1" fmla="*/ 0 w 14001"/>
                <a:gd name="connsiteY1" fmla="*/ 0 h 20198"/>
                <a:gd name="connsiteX2" fmla="*/ 14001 w 14001"/>
                <a:gd name="connsiteY2" fmla="*/ 0 h 2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01" h="20198">
                  <a:moveTo>
                    <a:pt x="0" y="20198"/>
                  </a:moveTo>
                  <a:lnTo>
                    <a:pt x="0" y="0"/>
                  </a:lnTo>
                  <a:lnTo>
                    <a:pt x="1400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" name="Forme libre : forme 102">
              <a:extLst>
                <a:ext uri="{FF2B5EF4-FFF2-40B4-BE49-F238E27FC236}">
                  <a16:creationId xmlns:a16="http://schemas.microsoft.com/office/drawing/2014/main" id="{9B8E4668-5129-4061-833F-DDB8DC144C55}"/>
                </a:ext>
              </a:extLst>
            </p:cNvPr>
            <p:cNvSpPr/>
            <p:nvPr/>
          </p:nvSpPr>
          <p:spPr>
            <a:xfrm rot="13089394">
              <a:off x="-81658" y="472652"/>
              <a:ext cx="173631" cy="237684"/>
            </a:xfrm>
            <a:custGeom>
              <a:avLst/>
              <a:gdLst>
                <a:gd name="connsiteX0" fmla="*/ 173631 w 173631"/>
                <a:gd name="connsiteY0" fmla="*/ 220990 h 237684"/>
                <a:gd name="connsiteX1" fmla="*/ 130972 w 173631"/>
                <a:gd name="connsiteY1" fmla="*/ 232382 h 237684"/>
                <a:gd name="connsiteX2" fmla="*/ 91597 w 173631"/>
                <a:gd name="connsiteY2" fmla="*/ 237521 h 237684"/>
                <a:gd name="connsiteX3" fmla="*/ 23727 w 173631"/>
                <a:gd name="connsiteY3" fmla="*/ 209931 h 237684"/>
                <a:gd name="connsiteX4" fmla="*/ 0 w 173631"/>
                <a:gd name="connsiteY4" fmla="*/ 115023 h 237684"/>
                <a:gd name="connsiteX5" fmla="*/ 0 w 173631"/>
                <a:gd name="connsiteY5" fmla="*/ 0 h 237684"/>
                <a:gd name="connsiteX6" fmla="*/ 76176 w 173631"/>
                <a:gd name="connsiteY6" fmla="*/ 96953 h 237684"/>
                <a:gd name="connsiteX7" fmla="*/ 76768 w 173631"/>
                <a:gd name="connsiteY7" fmla="*/ 109023 h 237684"/>
                <a:gd name="connsiteX8" fmla="*/ 87734 w 173631"/>
                <a:gd name="connsiteY8" fmla="*/ 154201 h 237684"/>
                <a:gd name="connsiteX9" fmla="*/ 111117 w 173631"/>
                <a:gd name="connsiteY9" fmla="*/ 181514 h 237684"/>
                <a:gd name="connsiteX10" fmla="*/ 148930 w 173631"/>
                <a:gd name="connsiteY10" fmla="*/ 189552 h 237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3631" h="237684">
                  <a:moveTo>
                    <a:pt x="173631" y="220990"/>
                  </a:moveTo>
                  <a:lnTo>
                    <a:pt x="130972" y="232382"/>
                  </a:lnTo>
                  <a:cubicBezTo>
                    <a:pt x="116428" y="235210"/>
                    <a:pt x="103047" y="236831"/>
                    <a:pt x="91597" y="237521"/>
                  </a:cubicBezTo>
                  <a:cubicBezTo>
                    <a:pt x="66215" y="239176"/>
                    <a:pt x="41384" y="228141"/>
                    <a:pt x="23727" y="209931"/>
                  </a:cubicBezTo>
                  <a:cubicBezTo>
                    <a:pt x="4966" y="191722"/>
                    <a:pt x="0" y="160270"/>
                    <a:pt x="0" y="115023"/>
                  </a:cubicBezTo>
                  <a:lnTo>
                    <a:pt x="0" y="0"/>
                  </a:lnTo>
                  <a:lnTo>
                    <a:pt x="76176" y="96953"/>
                  </a:lnTo>
                  <a:lnTo>
                    <a:pt x="76768" y="109023"/>
                  </a:lnTo>
                  <a:cubicBezTo>
                    <a:pt x="79044" y="124404"/>
                    <a:pt x="82768" y="139578"/>
                    <a:pt x="87734" y="154201"/>
                  </a:cubicBezTo>
                  <a:cubicBezTo>
                    <a:pt x="92149" y="166340"/>
                    <a:pt x="100012" y="175445"/>
                    <a:pt x="111117" y="181514"/>
                  </a:cubicBezTo>
                  <a:lnTo>
                    <a:pt x="148930" y="1895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" name="Forme libre : forme 103">
              <a:extLst>
                <a:ext uri="{FF2B5EF4-FFF2-40B4-BE49-F238E27FC236}">
                  <a16:creationId xmlns:a16="http://schemas.microsoft.com/office/drawing/2014/main" id="{99FF5E45-909E-4FF2-B754-B344F6F11F69}"/>
                </a:ext>
              </a:extLst>
            </p:cNvPr>
            <p:cNvSpPr/>
            <p:nvPr/>
          </p:nvSpPr>
          <p:spPr>
            <a:xfrm rot="8716295">
              <a:off x="-11774" y="24443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" name="Forme libre : forme 104">
              <a:extLst>
                <a:ext uri="{FF2B5EF4-FFF2-40B4-BE49-F238E27FC236}">
                  <a16:creationId xmlns:a16="http://schemas.microsoft.com/office/drawing/2014/main" id="{EB79107E-889E-47A5-A1AB-E4F4B49C7BFA}"/>
                </a:ext>
              </a:extLst>
            </p:cNvPr>
            <p:cNvSpPr/>
            <p:nvPr/>
          </p:nvSpPr>
          <p:spPr>
            <a:xfrm rot="8716295">
              <a:off x="-30092" y="143486"/>
              <a:ext cx="77721" cy="97260"/>
            </a:xfrm>
            <a:custGeom>
              <a:avLst/>
              <a:gdLst>
                <a:gd name="connsiteX0" fmla="*/ 15821 w 77721"/>
                <a:gd name="connsiteY0" fmla="*/ 97260 h 97260"/>
                <a:gd name="connsiteX1" fmla="*/ 0 w 77721"/>
                <a:gd name="connsiteY1" fmla="*/ 59790 h 97260"/>
                <a:gd name="connsiteX2" fmla="*/ 0 w 77721"/>
                <a:gd name="connsiteY2" fmla="*/ 58869 h 97260"/>
                <a:gd name="connsiteX3" fmla="*/ 17477 w 77721"/>
                <a:gd name="connsiteY3" fmla="*/ 17477 h 97260"/>
                <a:gd name="connsiteX4" fmla="*/ 58869 w 77721"/>
                <a:gd name="connsiteY4" fmla="*/ 0 h 97260"/>
                <a:gd name="connsiteX5" fmla="*/ 77721 w 77721"/>
                <a:gd name="connsiteY5" fmla="*/ 7960 h 97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721" h="97260">
                  <a:moveTo>
                    <a:pt x="15821" y="97260"/>
                  </a:moveTo>
                  <a:lnTo>
                    <a:pt x="0" y="59790"/>
                  </a:ln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lnTo>
                    <a:pt x="77721" y="79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" name="Forme libre : forme 105">
              <a:extLst>
                <a:ext uri="{FF2B5EF4-FFF2-40B4-BE49-F238E27FC236}">
                  <a16:creationId xmlns:a16="http://schemas.microsoft.com/office/drawing/2014/main" id="{D8EC7674-F8C4-4C98-B223-FB48E7028D2B}"/>
                </a:ext>
              </a:extLst>
            </p:cNvPr>
            <p:cNvSpPr/>
            <p:nvPr/>
          </p:nvSpPr>
          <p:spPr>
            <a:xfrm rot="8716295">
              <a:off x="-17797" y="3452694"/>
              <a:ext cx="58455" cy="44199"/>
            </a:xfrm>
            <a:custGeom>
              <a:avLst/>
              <a:gdLst>
                <a:gd name="connsiteX0" fmla="*/ 0 w 58455"/>
                <a:gd name="connsiteY0" fmla="*/ 44199 h 44199"/>
                <a:gd name="connsiteX1" fmla="*/ 0 w 58455"/>
                <a:gd name="connsiteY1" fmla="*/ 0 h 44199"/>
                <a:gd name="connsiteX2" fmla="*/ 58455 w 58455"/>
                <a:gd name="connsiteY2" fmla="*/ 0 h 44199"/>
                <a:gd name="connsiteX3" fmla="*/ 27817 w 58455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55" h="44199">
                  <a:moveTo>
                    <a:pt x="0" y="44199"/>
                  </a:moveTo>
                  <a:lnTo>
                    <a:pt x="0" y="0"/>
                  </a:lnTo>
                  <a:lnTo>
                    <a:pt x="58455" y="0"/>
                  </a:lnTo>
                  <a:lnTo>
                    <a:pt x="27817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" name="Forme libre : forme 106">
              <a:extLst>
                <a:ext uri="{FF2B5EF4-FFF2-40B4-BE49-F238E27FC236}">
                  <a16:creationId xmlns:a16="http://schemas.microsoft.com/office/drawing/2014/main" id="{4367C4D5-414D-49AB-A590-D84D23E38E78}"/>
                </a:ext>
              </a:extLst>
            </p:cNvPr>
            <p:cNvSpPr/>
            <p:nvPr/>
          </p:nvSpPr>
          <p:spPr>
            <a:xfrm rot="13089394">
              <a:off x="-91485" y="3601812"/>
              <a:ext cx="206527" cy="292654"/>
            </a:xfrm>
            <a:custGeom>
              <a:avLst/>
              <a:gdLst>
                <a:gd name="connsiteX0" fmla="*/ 206527 w 206527"/>
                <a:gd name="connsiteY0" fmla="*/ 258693 h 292654"/>
                <a:gd name="connsiteX1" fmla="*/ 177331 w 206527"/>
                <a:gd name="connsiteY1" fmla="*/ 274971 h 292654"/>
                <a:gd name="connsiteX2" fmla="*/ 91597 w 206527"/>
                <a:gd name="connsiteY2" fmla="*/ 292491 h 292654"/>
                <a:gd name="connsiteX3" fmla="*/ 23727 w 206527"/>
                <a:gd name="connsiteY3" fmla="*/ 264901 h 292654"/>
                <a:gd name="connsiteX4" fmla="*/ 0 w 206527"/>
                <a:gd name="connsiteY4" fmla="*/ 169993 h 292654"/>
                <a:gd name="connsiteX5" fmla="*/ 0 w 206527"/>
                <a:gd name="connsiteY5" fmla="*/ 1698 h 292654"/>
                <a:gd name="connsiteX6" fmla="*/ 3273 w 206527"/>
                <a:gd name="connsiteY6" fmla="*/ 0 h 292654"/>
                <a:gd name="connsiteX7" fmla="*/ 74297 w 206527"/>
                <a:gd name="connsiteY7" fmla="*/ 90396 h 292654"/>
                <a:gd name="connsiteX8" fmla="*/ 74492 w 206527"/>
                <a:gd name="connsiteY8" fmla="*/ 117574 h 292654"/>
                <a:gd name="connsiteX9" fmla="*/ 87734 w 206527"/>
                <a:gd name="connsiteY9" fmla="*/ 209171 h 292654"/>
                <a:gd name="connsiteX10" fmla="*/ 153949 w 206527"/>
                <a:gd name="connsiteY10" fmla="*/ 245589 h 292654"/>
                <a:gd name="connsiteX11" fmla="*/ 191049 w 206527"/>
                <a:gd name="connsiteY11" fmla="*/ 238993 h 292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527" h="292654">
                  <a:moveTo>
                    <a:pt x="206527" y="258693"/>
                  </a:moveTo>
                  <a:lnTo>
                    <a:pt x="177331" y="274971"/>
                  </a:lnTo>
                  <a:cubicBezTo>
                    <a:pt x="145121" y="286007"/>
                    <a:pt x="114496" y="291111"/>
                    <a:pt x="91597" y="292491"/>
                  </a:cubicBezTo>
                  <a:cubicBezTo>
                    <a:pt x="66215" y="294146"/>
                    <a:pt x="41385" y="283111"/>
                    <a:pt x="23727" y="264901"/>
                  </a:cubicBezTo>
                  <a:cubicBezTo>
                    <a:pt x="4966" y="246692"/>
                    <a:pt x="0" y="215240"/>
                    <a:pt x="0" y="169993"/>
                  </a:cubicBezTo>
                  <a:lnTo>
                    <a:pt x="0" y="1698"/>
                  </a:lnTo>
                  <a:lnTo>
                    <a:pt x="3273" y="0"/>
                  </a:lnTo>
                  <a:lnTo>
                    <a:pt x="74297" y="90396"/>
                  </a:lnTo>
                  <a:lnTo>
                    <a:pt x="74492" y="117574"/>
                  </a:lnTo>
                  <a:cubicBezTo>
                    <a:pt x="72836" y="148474"/>
                    <a:pt x="77802" y="179926"/>
                    <a:pt x="87734" y="209171"/>
                  </a:cubicBezTo>
                  <a:cubicBezTo>
                    <a:pt x="96564" y="233450"/>
                    <a:pt x="119187" y="245589"/>
                    <a:pt x="153949" y="245589"/>
                  </a:cubicBezTo>
                  <a:lnTo>
                    <a:pt x="191049" y="2389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" name="Forme libre : forme 107">
              <a:extLst>
                <a:ext uri="{FF2B5EF4-FFF2-40B4-BE49-F238E27FC236}">
                  <a16:creationId xmlns:a16="http://schemas.microsoft.com/office/drawing/2014/main" id="{C0F2930B-1B76-4127-88A5-3C45B984D36E}"/>
                </a:ext>
              </a:extLst>
            </p:cNvPr>
            <p:cNvSpPr/>
            <p:nvPr/>
          </p:nvSpPr>
          <p:spPr>
            <a:xfrm rot="8716295">
              <a:off x="24761" y="33896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" name="Forme libre : forme 108">
              <a:extLst>
                <a:ext uri="{FF2B5EF4-FFF2-40B4-BE49-F238E27FC236}">
                  <a16:creationId xmlns:a16="http://schemas.microsoft.com/office/drawing/2014/main" id="{5D516E03-78DF-4FFF-8FB2-A397635DD48F}"/>
                </a:ext>
              </a:extLst>
            </p:cNvPr>
            <p:cNvSpPr/>
            <p:nvPr/>
          </p:nvSpPr>
          <p:spPr>
            <a:xfrm rot="8716295">
              <a:off x="-24047" y="3281741"/>
              <a:ext cx="106042" cy="113733"/>
            </a:xfrm>
            <a:custGeom>
              <a:avLst/>
              <a:gdLst>
                <a:gd name="connsiteX0" fmla="*/ 17477 w 106042"/>
                <a:gd name="connsiteY0" fmla="*/ 101182 h 113733"/>
                <a:gd name="connsiteX1" fmla="*/ 0 w 106042"/>
                <a:gd name="connsiteY1" fmla="*/ 59790 h 113733"/>
                <a:gd name="connsiteX2" fmla="*/ 0 w 106042"/>
                <a:gd name="connsiteY2" fmla="*/ 58869 h 113733"/>
                <a:gd name="connsiteX3" fmla="*/ 17477 w 106042"/>
                <a:gd name="connsiteY3" fmla="*/ 17477 h 113733"/>
                <a:gd name="connsiteX4" fmla="*/ 58869 w 106042"/>
                <a:gd name="connsiteY4" fmla="*/ 0 h 113733"/>
                <a:gd name="connsiteX5" fmla="*/ 100262 w 106042"/>
                <a:gd name="connsiteY5" fmla="*/ 17477 h 113733"/>
                <a:gd name="connsiteX6" fmla="*/ 106042 w 106042"/>
                <a:gd name="connsiteY6" fmla="*/ 31234 h 113733"/>
                <a:gd name="connsiteX7" fmla="*/ 48856 w 106042"/>
                <a:gd name="connsiteY7" fmla="*/ 113733 h 11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042" h="113733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cubicBezTo>
                    <a:pt x="74507" y="0"/>
                    <a:pt x="89224" y="6439"/>
                    <a:pt x="100262" y="17477"/>
                  </a:cubicBezTo>
                  <a:lnTo>
                    <a:pt x="106042" y="31234"/>
                  </a:lnTo>
                  <a:lnTo>
                    <a:pt x="48856" y="1137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" name="Forme libre : forme 109">
              <a:extLst>
                <a:ext uri="{FF2B5EF4-FFF2-40B4-BE49-F238E27FC236}">
                  <a16:creationId xmlns:a16="http://schemas.microsoft.com/office/drawing/2014/main" id="{4709179C-E348-4A89-8150-2CCBA6DE45C5}"/>
                </a:ext>
              </a:extLst>
            </p:cNvPr>
            <p:cNvSpPr/>
            <p:nvPr/>
          </p:nvSpPr>
          <p:spPr>
            <a:xfrm rot="8716295">
              <a:off x="-21924" y="3179872"/>
              <a:ext cx="45776" cy="62656"/>
            </a:xfrm>
            <a:custGeom>
              <a:avLst/>
              <a:gdLst>
                <a:gd name="connsiteX0" fmla="*/ 2345 w 45776"/>
                <a:gd name="connsiteY0" fmla="*/ 62656 h 62656"/>
                <a:gd name="connsiteX1" fmla="*/ 0 w 45776"/>
                <a:gd name="connsiteY1" fmla="*/ 57104 h 62656"/>
                <a:gd name="connsiteX2" fmla="*/ 0 w 45776"/>
                <a:gd name="connsiteY2" fmla="*/ 56183 h 62656"/>
                <a:gd name="connsiteX3" fmla="*/ 17477 w 45776"/>
                <a:gd name="connsiteY3" fmla="*/ 14791 h 62656"/>
                <a:gd name="connsiteX4" fmla="*/ 36449 w 45776"/>
                <a:gd name="connsiteY4" fmla="*/ 1913 h 62656"/>
                <a:gd name="connsiteX5" fmla="*/ 45776 w 45776"/>
                <a:gd name="connsiteY5" fmla="*/ 0 h 62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776" h="62656">
                  <a:moveTo>
                    <a:pt x="2345" y="62656"/>
                  </a:moveTo>
                  <a:lnTo>
                    <a:pt x="0" y="57104"/>
                  </a:lnTo>
                  <a:lnTo>
                    <a:pt x="0" y="56183"/>
                  </a:lnTo>
                  <a:cubicBezTo>
                    <a:pt x="0" y="40547"/>
                    <a:pt x="6439" y="25829"/>
                    <a:pt x="17477" y="14791"/>
                  </a:cubicBezTo>
                  <a:cubicBezTo>
                    <a:pt x="22996" y="9272"/>
                    <a:pt x="29435" y="4903"/>
                    <a:pt x="36449" y="1913"/>
                  </a:cubicBezTo>
                  <a:lnTo>
                    <a:pt x="4577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" name="Forme libre : forme 110">
              <a:extLst>
                <a:ext uri="{FF2B5EF4-FFF2-40B4-BE49-F238E27FC236}">
                  <a16:creationId xmlns:a16="http://schemas.microsoft.com/office/drawing/2014/main" id="{E216B864-0116-44B5-A0E9-8D6C9FB4451C}"/>
                </a:ext>
              </a:extLst>
            </p:cNvPr>
            <p:cNvSpPr/>
            <p:nvPr/>
          </p:nvSpPr>
          <p:spPr>
            <a:xfrm rot="8716295">
              <a:off x="-21324" y="4100649"/>
              <a:ext cx="79113" cy="50123"/>
            </a:xfrm>
            <a:custGeom>
              <a:avLst/>
              <a:gdLst>
                <a:gd name="connsiteX0" fmla="*/ 0 w 79113"/>
                <a:gd name="connsiteY0" fmla="*/ 50123 h 50123"/>
                <a:gd name="connsiteX1" fmla="*/ 0 w 79113"/>
                <a:gd name="connsiteY1" fmla="*/ 0 h 50123"/>
                <a:gd name="connsiteX2" fmla="*/ 79113 w 79113"/>
                <a:gd name="connsiteY2" fmla="*/ 0 h 50123"/>
                <a:gd name="connsiteX3" fmla="*/ 44369 w 79113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113" h="50123">
                  <a:moveTo>
                    <a:pt x="0" y="50123"/>
                  </a:moveTo>
                  <a:lnTo>
                    <a:pt x="0" y="0"/>
                  </a:lnTo>
                  <a:lnTo>
                    <a:pt x="79113" y="0"/>
                  </a:lnTo>
                  <a:lnTo>
                    <a:pt x="44369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" name="Forme libre : forme 111">
              <a:extLst>
                <a:ext uri="{FF2B5EF4-FFF2-40B4-BE49-F238E27FC236}">
                  <a16:creationId xmlns:a16="http://schemas.microsoft.com/office/drawing/2014/main" id="{E81DDFAA-1A06-4A18-8287-C68132D6876A}"/>
                </a:ext>
              </a:extLst>
            </p:cNvPr>
            <p:cNvSpPr/>
            <p:nvPr/>
          </p:nvSpPr>
          <p:spPr>
            <a:xfrm rot="8716295">
              <a:off x="-40457" y="398156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" name="Forme libre : forme 112">
              <a:extLst>
                <a:ext uri="{FF2B5EF4-FFF2-40B4-BE49-F238E27FC236}">
                  <a16:creationId xmlns:a16="http://schemas.microsoft.com/office/drawing/2014/main" id="{1D567C73-1317-457C-BAF4-E866C8E84479}"/>
                </a:ext>
              </a:extLst>
            </p:cNvPr>
            <p:cNvSpPr/>
            <p:nvPr/>
          </p:nvSpPr>
          <p:spPr>
            <a:xfrm rot="7484129">
              <a:off x="-46974" y="427316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" name="Forme libre : forme 113">
              <a:extLst>
                <a:ext uri="{FF2B5EF4-FFF2-40B4-BE49-F238E27FC236}">
                  <a16:creationId xmlns:a16="http://schemas.microsoft.com/office/drawing/2014/main" id="{4B07308E-D0A0-4D3E-9DEB-C235BB5B8299}"/>
                </a:ext>
              </a:extLst>
            </p:cNvPr>
            <p:cNvSpPr/>
            <p:nvPr/>
          </p:nvSpPr>
          <p:spPr>
            <a:xfrm rot="13089394">
              <a:off x="57846" y="423970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" name="Forme libre : forme 114">
              <a:extLst>
                <a:ext uri="{FF2B5EF4-FFF2-40B4-BE49-F238E27FC236}">
                  <a16:creationId xmlns:a16="http://schemas.microsoft.com/office/drawing/2014/main" id="{B3D02E0E-617A-4DDE-855C-BECF0834C305}"/>
                </a:ext>
              </a:extLst>
            </p:cNvPr>
            <p:cNvSpPr/>
            <p:nvPr/>
          </p:nvSpPr>
          <p:spPr>
            <a:xfrm rot="8716295">
              <a:off x="243431" y="404801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" name="Forme libre : forme 115">
              <a:extLst>
                <a:ext uri="{FF2B5EF4-FFF2-40B4-BE49-F238E27FC236}">
                  <a16:creationId xmlns:a16="http://schemas.microsoft.com/office/drawing/2014/main" id="{FCFFBDC4-0942-4E6E-9EF4-22477617D5C9}"/>
                </a:ext>
              </a:extLst>
            </p:cNvPr>
            <p:cNvSpPr/>
            <p:nvPr/>
          </p:nvSpPr>
          <p:spPr>
            <a:xfrm rot="8716295">
              <a:off x="191626" y="39444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" name="Forme libre : forme 116">
              <a:extLst>
                <a:ext uri="{FF2B5EF4-FFF2-40B4-BE49-F238E27FC236}">
                  <a16:creationId xmlns:a16="http://schemas.microsoft.com/office/drawing/2014/main" id="{6779D405-E211-4D4D-B286-FEED219E73DF}"/>
                </a:ext>
              </a:extLst>
            </p:cNvPr>
            <p:cNvSpPr/>
            <p:nvPr/>
          </p:nvSpPr>
          <p:spPr>
            <a:xfrm rot="8716295">
              <a:off x="125832" y="381540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" name="Forme libre : forme 117">
              <a:extLst>
                <a:ext uri="{FF2B5EF4-FFF2-40B4-BE49-F238E27FC236}">
                  <a16:creationId xmlns:a16="http://schemas.microsoft.com/office/drawing/2014/main" id="{1B98413D-C7CC-484D-AF71-C6706295A09F}"/>
                </a:ext>
              </a:extLst>
            </p:cNvPr>
            <p:cNvSpPr/>
            <p:nvPr/>
          </p:nvSpPr>
          <p:spPr>
            <a:xfrm rot="8716295">
              <a:off x="-73048" y="4876828"/>
              <a:ext cx="221382" cy="253349"/>
            </a:xfrm>
            <a:custGeom>
              <a:avLst/>
              <a:gdLst>
                <a:gd name="connsiteX0" fmla="*/ 51490 w 221382"/>
                <a:gd name="connsiteY0" fmla="*/ 253349 h 253349"/>
                <a:gd name="connsiteX1" fmla="*/ 51490 w 221382"/>
                <a:gd name="connsiteY1" fmla="*/ 44199 h 253349"/>
                <a:gd name="connsiteX2" fmla="*/ 0 w 221382"/>
                <a:gd name="connsiteY2" fmla="*/ 44199 h 253349"/>
                <a:gd name="connsiteX3" fmla="*/ 0 w 221382"/>
                <a:gd name="connsiteY3" fmla="*/ 0 h 253349"/>
                <a:gd name="connsiteX4" fmla="*/ 104803 w 221382"/>
                <a:gd name="connsiteY4" fmla="*/ 0 h 253349"/>
                <a:gd name="connsiteX5" fmla="*/ 104802 w 221382"/>
                <a:gd name="connsiteY5" fmla="*/ 73817 h 253349"/>
                <a:gd name="connsiteX6" fmla="*/ 106169 w 221382"/>
                <a:gd name="connsiteY6" fmla="*/ 73817 h 253349"/>
                <a:gd name="connsiteX7" fmla="*/ 154014 w 221382"/>
                <a:gd name="connsiteY7" fmla="*/ 4556 h 253349"/>
                <a:gd name="connsiteX8" fmla="*/ 174650 w 221382"/>
                <a:gd name="connsiteY8" fmla="*/ 668 h 253349"/>
                <a:gd name="connsiteX9" fmla="*/ 214075 w 221382"/>
                <a:gd name="connsiteY9" fmla="*/ 27996 h 253349"/>
                <a:gd name="connsiteX10" fmla="*/ 221382 w 221382"/>
                <a:gd name="connsiteY10" fmla="*/ 33060 h 253349"/>
                <a:gd name="connsiteX11" fmla="*/ 195540 w 221382"/>
                <a:gd name="connsiteY11" fmla="*/ 70341 h 253349"/>
                <a:gd name="connsiteX12" fmla="*/ 189157 w 221382"/>
                <a:gd name="connsiteY12" fmla="*/ 50236 h 253349"/>
                <a:gd name="connsiteX13" fmla="*/ 164950 w 221382"/>
                <a:gd name="connsiteY13" fmla="*/ 38731 h 253349"/>
                <a:gd name="connsiteX14" fmla="*/ 111638 w 221382"/>
                <a:gd name="connsiteY14" fmla="*/ 126218 h 253349"/>
                <a:gd name="connsiteX15" fmla="*/ 111638 w 221382"/>
                <a:gd name="connsiteY15" fmla="*/ 191383 h 253349"/>
                <a:gd name="connsiteX16" fmla="*/ 84096 w 221382"/>
                <a:gd name="connsiteY16" fmla="*/ 231117 h 253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1382" h="253349">
                  <a:moveTo>
                    <a:pt x="51490" y="253349"/>
                  </a:moveTo>
                  <a:lnTo>
                    <a:pt x="51490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104803" y="0"/>
                  </a:lnTo>
                  <a:lnTo>
                    <a:pt x="104802" y="73817"/>
                  </a:lnTo>
                  <a:lnTo>
                    <a:pt x="106169" y="73817"/>
                  </a:lnTo>
                  <a:cubicBezTo>
                    <a:pt x="120751" y="30529"/>
                    <a:pt x="132142" y="13670"/>
                    <a:pt x="154014" y="4556"/>
                  </a:cubicBezTo>
                  <a:lnTo>
                    <a:pt x="174650" y="668"/>
                  </a:lnTo>
                  <a:lnTo>
                    <a:pt x="214075" y="27996"/>
                  </a:lnTo>
                  <a:lnTo>
                    <a:pt x="221382" y="33060"/>
                  </a:lnTo>
                  <a:lnTo>
                    <a:pt x="195540" y="70341"/>
                  </a:lnTo>
                  <a:lnTo>
                    <a:pt x="189157" y="50236"/>
                  </a:lnTo>
                  <a:cubicBezTo>
                    <a:pt x="183177" y="42946"/>
                    <a:pt x="174747" y="38731"/>
                    <a:pt x="164950" y="38731"/>
                  </a:cubicBezTo>
                  <a:cubicBezTo>
                    <a:pt x="135788" y="38731"/>
                    <a:pt x="111638" y="77463"/>
                    <a:pt x="111638" y="126218"/>
                  </a:cubicBezTo>
                  <a:lnTo>
                    <a:pt x="111638" y="191383"/>
                  </a:lnTo>
                  <a:lnTo>
                    <a:pt x="84096" y="2311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" name="Forme libre : forme 118">
              <a:extLst>
                <a:ext uri="{FF2B5EF4-FFF2-40B4-BE49-F238E27FC236}">
                  <a16:creationId xmlns:a16="http://schemas.microsoft.com/office/drawing/2014/main" id="{6176F84A-9766-45D5-91E9-4847B60A5CD4}"/>
                </a:ext>
              </a:extLst>
            </p:cNvPr>
            <p:cNvSpPr/>
            <p:nvPr/>
          </p:nvSpPr>
          <p:spPr>
            <a:xfrm rot="8716295">
              <a:off x="93318" y="46120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" name="Forme libre : forme 119">
              <a:extLst>
                <a:ext uri="{FF2B5EF4-FFF2-40B4-BE49-F238E27FC236}">
                  <a16:creationId xmlns:a16="http://schemas.microsoft.com/office/drawing/2014/main" id="{3DA54937-5DEF-4122-B904-83A03268CA89}"/>
                </a:ext>
              </a:extLst>
            </p:cNvPr>
            <p:cNvSpPr/>
            <p:nvPr/>
          </p:nvSpPr>
          <p:spPr>
            <a:xfrm rot="8716295">
              <a:off x="182710" y="46412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" name="Forme libre : forme 120">
              <a:extLst>
                <a:ext uri="{FF2B5EF4-FFF2-40B4-BE49-F238E27FC236}">
                  <a16:creationId xmlns:a16="http://schemas.microsoft.com/office/drawing/2014/main" id="{24CD3C2A-51CB-4CA4-A2B4-FE03D227C422}"/>
                </a:ext>
              </a:extLst>
            </p:cNvPr>
            <p:cNvSpPr/>
            <p:nvPr/>
          </p:nvSpPr>
          <p:spPr>
            <a:xfrm rot="8716295">
              <a:off x="-14524" y="4699631"/>
              <a:ext cx="49997" cy="54238"/>
            </a:xfrm>
            <a:custGeom>
              <a:avLst/>
              <a:gdLst>
                <a:gd name="connsiteX0" fmla="*/ 8658 w 49997"/>
                <a:gd name="connsiteY0" fmla="*/ 50123 h 54238"/>
                <a:gd name="connsiteX1" fmla="*/ 0 w 49997"/>
                <a:gd name="connsiteY1" fmla="*/ 29619 h 54238"/>
                <a:gd name="connsiteX2" fmla="*/ 0 w 49997"/>
                <a:gd name="connsiteY2" fmla="*/ 29162 h 54238"/>
                <a:gd name="connsiteX3" fmla="*/ 8658 w 49997"/>
                <a:gd name="connsiteY3" fmla="*/ 8658 h 54238"/>
                <a:gd name="connsiteX4" fmla="*/ 29163 w 49997"/>
                <a:gd name="connsiteY4" fmla="*/ 0 h 54238"/>
                <a:gd name="connsiteX5" fmla="*/ 49668 w 49997"/>
                <a:gd name="connsiteY5" fmla="*/ 8658 h 54238"/>
                <a:gd name="connsiteX6" fmla="*/ 49997 w 49997"/>
                <a:gd name="connsiteY6" fmla="*/ 9441 h 54238"/>
                <a:gd name="connsiteX7" fmla="*/ 18945 w 49997"/>
                <a:gd name="connsiteY7" fmla="*/ 54238 h 54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997" h="54238">
                  <a:moveTo>
                    <a:pt x="8658" y="50123"/>
                  </a:moveTo>
                  <a:cubicBezTo>
                    <a:pt x="3190" y="44655"/>
                    <a:pt x="0" y="37365"/>
                    <a:pt x="0" y="29619"/>
                  </a:cubicBezTo>
                  <a:lnTo>
                    <a:pt x="0" y="29162"/>
                  </a:lnTo>
                  <a:cubicBezTo>
                    <a:pt x="0" y="21417"/>
                    <a:pt x="3190" y="14126"/>
                    <a:pt x="8658" y="8658"/>
                  </a:cubicBezTo>
                  <a:cubicBezTo>
                    <a:pt x="14126" y="3190"/>
                    <a:pt x="21416" y="0"/>
                    <a:pt x="29163" y="0"/>
                  </a:cubicBezTo>
                  <a:cubicBezTo>
                    <a:pt x="36909" y="0"/>
                    <a:pt x="44200" y="3190"/>
                    <a:pt x="49668" y="8658"/>
                  </a:cubicBezTo>
                  <a:lnTo>
                    <a:pt x="49997" y="9441"/>
                  </a:lnTo>
                  <a:lnTo>
                    <a:pt x="18945" y="54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" name="Forme libre : forme 121">
              <a:extLst>
                <a:ext uri="{FF2B5EF4-FFF2-40B4-BE49-F238E27FC236}">
                  <a16:creationId xmlns:a16="http://schemas.microsoft.com/office/drawing/2014/main" id="{7A46CCF0-E67A-4E1E-9549-23C0DBDB68E2}"/>
                </a:ext>
              </a:extLst>
            </p:cNvPr>
            <p:cNvSpPr/>
            <p:nvPr/>
          </p:nvSpPr>
          <p:spPr>
            <a:xfrm rot="8716295">
              <a:off x="-30327" y="4579755"/>
              <a:ext cx="113346" cy="71024"/>
            </a:xfrm>
            <a:custGeom>
              <a:avLst/>
              <a:gdLst>
                <a:gd name="connsiteX0" fmla="*/ 0 w 113346"/>
                <a:gd name="connsiteY0" fmla="*/ 55323 h 71024"/>
                <a:gd name="connsiteX1" fmla="*/ 0 w 113346"/>
                <a:gd name="connsiteY1" fmla="*/ 0 h 71024"/>
                <a:gd name="connsiteX2" fmla="*/ 113346 w 113346"/>
                <a:gd name="connsiteY2" fmla="*/ 0 h 71024"/>
                <a:gd name="connsiteX3" fmla="*/ 64114 w 113346"/>
                <a:gd name="connsiteY3" fmla="*/ 71024 h 71024"/>
                <a:gd name="connsiteX4" fmla="*/ 69777 w 113346"/>
                <a:gd name="connsiteY4" fmla="*/ 55323 h 7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346" h="71024">
                  <a:moveTo>
                    <a:pt x="0" y="55323"/>
                  </a:moveTo>
                  <a:lnTo>
                    <a:pt x="0" y="0"/>
                  </a:lnTo>
                  <a:lnTo>
                    <a:pt x="113346" y="0"/>
                  </a:lnTo>
                  <a:lnTo>
                    <a:pt x="64114" y="71024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" name="Forme libre : forme 122">
              <a:extLst>
                <a:ext uri="{FF2B5EF4-FFF2-40B4-BE49-F238E27FC236}">
                  <a16:creationId xmlns:a16="http://schemas.microsoft.com/office/drawing/2014/main" id="{01D04BC1-282A-4CFE-BF99-5B57F855BCBC}"/>
                </a:ext>
              </a:extLst>
            </p:cNvPr>
            <p:cNvSpPr/>
            <p:nvPr/>
          </p:nvSpPr>
          <p:spPr>
            <a:xfrm rot="8716295">
              <a:off x="71262" y="47415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" name="Forme libre : forme 123">
              <a:extLst>
                <a:ext uri="{FF2B5EF4-FFF2-40B4-BE49-F238E27FC236}">
                  <a16:creationId xmlns:a16="http://schemas.microsoft.com/office/drawing/2014/main" id="{A04953EA-5C79-45C4-9757-065EFCA47539}"/>
                </a:ext>
              </a:extLst>
            </p:cNvPr>
            <p:cNvSpPr/>
            <p:nvPr/>
          </p:nvSpPr>
          <p:spPr>
            <a:xfrm rot="7484129">
              <a:off x="172059" y="493353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170341 w 203847"/>
                <a:gd name="connsiteY5" fmla="*/ 0 h 195874"/>
                <a:gd name="connsiteX6" fmla="*/ 203847 w 203847"/>
                <a:gd name="connsiteY6" fmla="*/ 48325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170341" y="0"/>
                  </a:lnTo>
                  <a:lnTo>
                    <a:pt x="203847" y="48325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" name="Forme libre : forme 124">
              <a:extLst>
                <a:ext uri="{FF2B5EF4-FFF2-40B4-BE49-F238E27FC236}">
                  <a16:creationId xmlns:a16="http://schemas.microsoft.com/office/drawing/2014/main" id="{49CB50EA-8DFB-4219-A82A-979E56D219DC}"/>
                </a:ext>
              </a:extLst>
            </p:cNvPr>
            <p:cNvSpPr/>
            <p:nvPr/>
          </p:nvSpPr>
          <p:spPr>
            <a:xfrm rot="13089394">
              <a:off x="313551" y="4906246"/>
              <a:ext cx="221827" cy="205098"/>
            </a:xfrm>
            <a:custGeom>
              <a:avLst/>
              <a:gdLst>
                <a:gd name="connsiteX0" fmla="*/ 24153 w 221827"/>
                <a:gd name="connsiteY0" fmla="*/ 55168 h 205098"/>
                <a:gd name="connsiteX1" fmla="*/ 0 w 221827"/>
                <a:gd name="connsiteY1" fmla="*/ 18385 h 205098"/>
                <a:gd name="connsiteX2" fmla="*/ 23400 w 221827"/>
                <a:gd name="connsiteY2" fmla="*/ 0 h 205098"/>
                <a:gd name="connsiteX3" fmla="*/ 23735 w 221827"/>
                <a:gd name="connsiteY3" fmla="*/ 46640 h 205098"/>
                <a:gd name="connsiteX4" fmla="*/ 221827 w 221827"/>
                <a:gd name="connsiteY4" fmla="*/ 150928 h 205098"/>
                <a:gd name="connsiteX5" fmla="*/ 126574 w 221827"/>
                <a:gd name="connsiteY5" fmla="*/ 204038 h 205098"/>
                <a:gd name="connsiteX6" fmla="*/ 122603 w 221827"/>
                <a:gd name="connsiteY6" fmla="*/ 205098 h 205098"/>
                <a:gd name="connsiteX7" fmla="*/ 102519 w 221827"/>
                <a:gd name="connsiteY7" fmla="*/ 174512 h 205098"/>
                <a:gd name="connsiteX8" fmla="*/ 103192 w 221827"/>
                <a:gd name="connsiteY8" fmla="*/ 174655 h 205098"/>
                <a:gd name="connsiteX9" fmla="*/ 152853 w 221827"/>
                <a:gd name="connsiteY9" fmla="*/ 165826 h 205098"/>
                <a:gd name="connsiteX10" fmla="*/ 220723 w 221827"/>
                <a:gd name="connsiteY10" fmla="*/ 138237 h 205098"/>
                <a:gd name="connsiteX11" fmla="*/ 221827 w 221827"/>
                <a:gd name="connsiteY11" fmla="*/ 145410 h 205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1827" h="205098">
                  <a:moveTo>
                    <a:pt x="24153" y="55168"/>
                  </a:moveTo>
                  <a:lnTo>
                    <a:pt x="0" y="18385"/>
                  </a:lnTo>
                  <a:lnTo>
                    <a:pt x="23400" y="0"/>
                  </a:lnTo>
                  <a:lnTo>
                    <a:pt x="23735" y="46640"/>
                  </a:lnTo>
                  <a:close/>
                  <a:moveTo>
                    <a:pt x="221827" y="150928"/>
                  </a:moveTo>
                  <a:cubicBezTo>
                    <a:pt x="192582" y="176035"/>
                    <a:pt x="158785" y="193002"/>
                    <a:pt x="126574" y="204038"/>
                  </a:cubicBezTo>
                  <a:lnTo>
                    <a:pt x="122603" y="205098"/>
                  </a:lnTo>
                  <a:lnTo>
                    <a:pt x="102519" y="174512"/>
                  </a:lnTo>
                  <a:lnTo>
                    <a:pt x="103192" y="174655"/>
                  </a:lnTo>
                  <a:cubicBezTo>
                    <a:pt x="120298" y="174103"/>
                    <a:pt x="136851" y="170792"/>
                    <a:pt x="152853" y="165826"/>
                  </a:cubicBezTo>
                  <a:cubicBezTo>
                    <a:pt x="176028" y="158653"/>
                    <a:pt x="198652" y="149273"/>
                    <a:pt x="220723" y="138237"/>
                  </a:cubicBezTo>
                  <a:cubicBezTo>
                    <a:pt x="221275" y="140444"/>
                    <a:pt x="221827" y="143203"/>
                    <a:pt x="221827" y="1454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" name="Forme libre : forme 125">
              <a:extLst>
                <a:ext uri="{FF2B5EF4-FFF2-40B4-BE49-F238E27FC236}">
                  <a16:creationId xmlns:a16="http://schemas.microsoft.com/office/drawing/2014/main" id="{5146513B-5632-4832-9AF5-1E4051EECD28}"/>
                </a:ext>
              </a:extLst>
            </p:cNvPr>
            <p:cNvSpPr/>
            <p:nvPr/>
          </p:nvSpPr>
          <p:spPr>
            <a:xfrm rot="8716295">
              <a:off x="406370" y="4600606"/>
              <a:ext cx="113655" cy="117117"/>
            </a:xfrm>
            <a:custGeom>
              <a:avLst/>
              <a:gdLst>
                <a:gd name="connsiteX0" fmla="*/ 13623 w 113655"/>
                <a:gd name="connsiteY0" fmla="*/ 100559 h 117117"/>
                <a:gd name="connsiteX1" fmla="*/ 0 w 113655"/>
                <a:gd name="connsiteY1" fmla="*/ 68296 h 117117"/>
                <a:gd name="connsiteX2" fmla="*/ 56488 w 113655"/>
                <a:gd name="connsiteY2" fmla="*/ 0 h 117117"/>
                <a:gd name="connsiteX3" fmla="*/ 96408 w 113655"/>
                <a:gd name="connsiteY3" fmla="*/ 16856 h 117117"/>
                <a:gd name="connsiteX4" fmla="*/ 96408 w 113655"/>
                <a:gd name="connsiteY4" fmla="*/ 99640 h 117117"/>
                <a:gd name="connsiteX5" fmla="*/ 55015 w 113655"/>
                <a:gd name="connsiteY5" fmla="*/ 117117 h 117117"/>
                <a:gd name="connsiteX6" fmla="*/ 13623 w 113655"/>
                <a:gd name="connsiteY6" fmla="*/ 100559 h 117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655" h="117117">
                  <a:moveTo>
                    <a:pt x="13623" y="100559"/>
                  </a:moveTo>
                  <a:lnTo>
                    <a:pt x="0" y="68296"/>
                  </a:lnTo>
                  <a:lnTo>
                    <a:pt x="56488" y="0"/>
                  </a:lnTo>
                  <a:lnTo>
                    <a:pt x="96408" y="16856"/>
                  </a:lnTo>
                  <a:cubicBezTo>
                    <a:pt x="119404" y="38931"/>
                    <a:pt x="119404" y="76644"/>
                    <a:pt x="96408" y="99640"/>
                  </a:cubicBezTo>
                  <a:cubicBezTo>
                    <a:pt x="85370" y="110678"/>
                    <a:pt x="70653" y="117116"/>
                    <a:pt x="55015" y="117117"/>
                  </a:cubicBezTo>
                  <a:cubicBezTo>
                    <a:pt x="39378" y="117117"/>
                    <a:pt x="24661" y="111597"/>
                    <a:pt x="13623" y="10055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" name="Forme libre : forme 126">
              <a:extLst>
                <a:ext uri="{FF2B5EF4-FFF2-40B4-BE49-F238E27FC236}">
                  <a16:creationId xmlns:a16="http://schemas.microsoft.com/office/drawing/2014/main" id="{FE3150CC-51A0-4255-BE10-7C4DD2D82ED1}"/>
                </a:ext>
              </a:extLst>
            </p:cNvPr>
            <p:cNvSpPr/>
            <p:nvPr/>
          </p:nvSpPr>
          <p:spPr>
            <a:xfrm rot="8716295">
              <a:off x="171547" y="46343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" name="Forme libre : forme 127">
              <a:extLst>
                <a:ext uri="{FF2B5EF4-FFF2-40B4-BE49-F238E27FC236}">
                  <a16:creationId xmlns:a16="http://schemas.microsoft.com/office/drawing/2014/main" id="{3071C62B-77D8-4A0E-86A6-83549F6B4AD6}"/>
                </a:ext>
              </a:extLst>
            </p:cNvPr>
            <p:cNvSpPr/>
            <p:nvPr/>
          </p:nvSpPr>
          <p:spPr>
            <a:xfrm rot="8716295">
              <a:off x="348999" y="44751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131" name="Rectangle 130">
            <a:extLst>
              <a:ext uri="{FF2B5EF4-FFF2-40B4-BE49-F238E27FC236}">
                <a16:creationId xmlns:a16="http://schemas.microsoft.com/office/drawing/2014/main" id="{37E36065-AEDE-402C-AFB2-AFD8D421B3D5}"/>
              </a:ext>
            </a:extLst>
          </p:cNvPr>
          <p:cNvSpPr/>
          <p:nvPr/>
        </p:nvSpPr>
        <p:spPr>
          <a:xfrm>
            <a:off x="1675026" y="1246048"/>
            <a:ext cx="360000" cy="45719"/>
          </a:xfrm>
          <a:prstGeom prst="rect">
            <a:avLst/>
          </a:prstGeom>
          <a:solidFill>
            <a:srgbClr val="3A1B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41" name="Espace réservé du texte 533">
            <a:extLst>
              <a:ext uri="{FF2B5EF4-FFF2-40B4-BE49-F238E27FC236}">
                <a16:creationId xmlns:a16="http://schemas.microsoft.com/office/drawing/2014/main" id="{9CC94730-7BAA-423F-882E-35EC64D162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97959" y="1685677"/>
            <a:ext cx="7316491" cy="295060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300"/>
              </a:spcBef>
              <a:spcAft>
                <a:spcPts val="1000"/>
              </a:spcAft>
              <a:buNone/>
              <a:defRPr sz="1100">
                <a:solidFill>
                  <a:schemeClr val="tx1"/>
                </a:solidFill>
              </a:defRPr>
            </a:lvl2pPr>
            <a:lvl3pPr marL="270000" indent="-270000" algn="l" defTabSz="457200" rtl="0" eaLnBrk="1" latinLnBrk="0" hangingPunct="1">
              <a:spcBef>
                <a:spcPts val="400"/>
              </a:spcBef>
              <a:spcAft>
                <a:spcPts val="1000"/>
              </a:spcAft>
              <a:buSzPct val="100000"/>
              <a:buFontTx/>
              <a:buBlip>
                <a:blip r:embed="rId2"/>
              </a:buBlip>
              <a:defRPr lang="fr-FR" sz="1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0000" indent="-269875">
              <a:spcBef>
                <a:spcPts val="400"/>
              </a:spcBef>
              <a:spcAft>
                <a:spcPts val="1000"/>
              </a:spcAft>
              <a:buFontTx/>
              <a:buBlip>
                <a:blip r:embed="rId3"/>
              </a:buBlip>
              <a:defRPr sz="1000" b="1">
                <a:solidFill>
                  <a:schemeClr val="tx1"/>
                </a:solidFill>
              </a:defRPr>
            </a:lvl4pPr>
            <a:lvl5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4"/>
              </a:buBlip>
              <a:defRPr sz="1000" b="1">
                <a:solidFill>
                  <a:schemeClr val="tx1"/>
                </a:solidFill>
              </a:defRPr>
            </a:lvl5pPr>
            <a:lvl6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5"/>
              </a:buBlip>
              <a:defRPr sz="1000" b="1">
                <a:solidFill>
                  <a:schemeClr val="tx1"/>
                </a:solidFill>
              </a:defRPr>
            </a:lvl6pPr>
            <a:lvl7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6"/>
              </a:buBlip>
              <a:defRPr sz="1000" b="1">
                <a:solidFill>
                  <a:schemeClr val="tx1"/>
                </a:solidFill>
              </a:defRPr>
            </a:lvl7pPr>
            <a:lvl8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7"/>
              </a:buBlip>
              <a:defRPr sz="1000" b="1">
                <a:solidFill>
                  <a:schemeClr val="tx1"/>
                </a:solidFill>
              </a:defRPr>
            </a:lvl8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Puce bleu</a:t>
            </a:r>
          </a:p>
          <a:p>
            <a:pPr lvl="3"/>
            <a:r>
              <a:rPr lang="fr-FR" dirty="0"/>
              <a:t>Puce orange</a:t>
            </a:r>
          </a:p>
          <a:p>
            <a:pPr lvl="4"/>
            <a:r>
              <a:rPr lang="fr-FR" dirty="0"/>
              <a:t>Puce rouge</a:t>
            </a:r>
          </a:p>
          <a:p>
            <a:pPr lvl="5"/>
            <a:r>
              <a:rPr lang="fr-FR" dirty="0"/>
              <a:t>Puce vert d’eau</a:t>
            </a:r>
          </a:p>
          <a:p>
            <a:pPr lvl="6"/>
            <a:r>
              <a:rPr lang="fr-FR" dirty="0"/>
              <a:t>Puce verte</a:t>
            </a:r>
          </a:p>
          <a:p>
            <a:pPr lvl="7"/>
            <a:r>
              <a:rPr lang="fr-FR" dirty="0"/>
              <a:t>Puce violette</a:t>
            </a:r>
          </a:p>
        </p:txBody>
      </p:sp>
      <p:sp>
        <p:nvSpPr>
          <p:cNvPr id="129" name="Espace réservé du numéro de diapositive 128">
            <a:extLst>
              <a:ext uri="{FF2B5EF4-FFF2-40B4-BE49-F238E27FC236}">
                <a16:creationId xmlns:a16="http://schemas.microsoft.com/office/drawing/2014/main" id="{9351D048-E652-4E14-9A68-6779614909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9681" y="3148262"/>
            <a:ext cx="444626" cy="1995238"/>
          </a:xfrm>
          <a:custGeom>
            <a:avLst/>
            <a:gdLst>
              <a:gd name="connsiteX0" fmla="*/ 169868 w 444626"/>
              <a:gd name="connsiteY0" fmla="*/ 0 h 1995238"/>
              <a:gd name="connsiteX1" fmla="*/ 444626 w 444626"/>
              <a:gd name="connsiteY1" fmla="*/ 1995238 h 1995238"/>
              <a:gd name="connsiteX2" fmla="*/ 0 w 444626"/>
              <a:gd name="connsiteY2" fmla="*/ 1995238 h 1995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4626" h="1995238">
                <a:moveTo>
                  <a:pt x="169868" y="0"/>
                </a:moveTo>
                <a:lnTo>
                  <a:pt x="444626" y="1995238"/>
                </a:lnTo>
                <a:lnTo>
                  <a:pt x="0" y="199523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180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755904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ur une lign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Forme libre : forme 137">
            <a:extLst>
              <a:ext uri="{FF2B5EF4-FFF2-40B4-BE49-F238E27FC236}">
                <a16:creationId xmlns:a16="http://schemas.microsoft.com/office/drawing/2014/main" id="{0FDE4FE4-FDFC-41B3-BDA4-CE918EEAE71E}"/>
              </a:ext>
            </a:extLst>
          </p:cNvPr>
          <p:cNvSpPr/>
          <p:nvPr userDrawn="1"/>
        </p:nvSpPr>
        <p:spPr>
          <a:xfrm>
            <a:off x="629550" y="0"/>
            <a:ext cx="8514451" cy="5143499"/>
          </a:xfrm>
          <a:custGeom>
            <a:avLst/>
            <a:gdLst>
              <a:gd name="connsiteX0" fmla="*/ 689595 w 8514451"/>
              <a:gd name="connsiteY0" fmla="*/ 884098 h 5143499"/>
              <a:gd name="connsiteX1" fmla="*/ 689595 w 8514451"/>
              <a:gd name="connsiteY1" fmla="*/ 929817 h 5143499"/>
              <a:gd name="connsiteX2" fmla="*/ 1049595 w 8514451"/>
              <a:gd name="connsiteY2" fmla="*/ 929817 h 5143499"/>
              <a:gd name="connsiteX3" fmla="*/ 1049595 w 8514451"/>
              <a:gd name="connsiteY3" fmla="*/ 884098 h 5143499"/>
              <a:gd name="connsiteX4" fmla="*/ 268034 w 8514451"/>
              <a:gd name="connsiteY4" fmla="*/ 0 h 5143499"/>
              <a:gd name="connsiteX5" fmla="*/ 8514451 w 8514451"/>
              <a:gd name="connsiteY5" fmla="*/ 0 h 5143499"/>
              <a:gd name="connsiteX6" fmla="*/ 8514451 w 8514451"/>
              <a:gd name="connsiteY6" fmla="*/ 5143499 h 5143499"/>
              <a:gd name="connsiteX7" fmla="*/ 274758 w 8514451"/>
              <a:gd name="connsiteY7" fmla="*/ 5143499 h 5143499"/>
              <a:gd name="connsiteX8" fmla="*/ 0 w 8514451"/>
              <a:gd name="connsiteY8" fmla="*/ 3148262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514451" h="5143499">
                <a:moveTo>
                  <a:pt x="689595" y="884098"/>
                </a:moveTo>
                <a:lnTo>
                  <a:pt x="689595" y="929817"/>
                </a:lnTo>
                <a:lnTo>
                  <a:pt x="1049595" y="929817"/>
                </a:lnTo>
                <a:lnTo>
                  <a:pt x="1049595" y="884098"/>
                </a:lnTo>
                <a:close/>
                <a:moveTo>
                  <a:pt x="268034" y="0"/>
                </a:moveTo>
                <a:lnTo>
                  <a:pt x="8514451" y="0"/>
                </a:lnTo>
                <a:lnTo>
                  <a:pt x="8514451" y="5143499"/>
                </a:lnTo>
                <a:lnTo>
                  <a:pt x="274758" y="5143499"/>
                </a:lnTo>
                <a:lnTo>
                  <a:pt x="0" y="31482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48DF42C1-5220-478C-ABAC-92E468D673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Titre de la slide sur une ligne</a:t>
            </a:r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EE6FDC8C-3CED-409B-A90D-CC766521C58C}"/>
              </a:ext>
            </a:extLst>
          </p:cNvPr>
          <p:cNvGrpSpPr/>
          <p:nvPr userDrawn="1"/>
        </p:nvGrpSpPr>
        <p:grpSpPr>
          <a:xfrm>
            <a:off x="-91485" y="-57106"/>
            <a:ext cx="1008300" cy="5190499"/>
            <a:chOff x="-91485" y="-57106"/>
            <a:chExt cx="1008300" cy="5190499"/>
          </a:xfrm>
        </p:grpSpPr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4100D4C0-1B0B-4813-97B4-727B3F07A2B3}"/>
                </a:ext>
              </a:extLst>
            </p:cNvPr>
            <p:cNvSpPr/>
            <p:nvPr/>
          </p:nvSpPr>
          <p:spPr>
            <a:xfrm rot="8716295">
              <a:off x="617786" y="1780350"/>
              <a:ext cx="152726" cy="195873"/>
            </a:xfrm>
            <a:custGeom>
              <a:avLst/>
              <a:gdLst>
                <a:gd name="connsiteX0" fmla="*/ 39589 w 152726"/>
                <a:gd name="connsiteY0" fmla="*/ 195873 h 195873"/>
                <a:gd name="connsiteX1" fmla="*/ 0 w 152726"/>
                <a:gd name="connsiteY1" fmla="*/ 122219 h 195873"/>
                <a:gd name="connsiteX2" fmla="*/ 101089 w 152726"/>
                <a:gd name="connsiteY2" fmla="*/ 0 h 195873"/>
                <a:gd name="connsiteX3" fmla="*/ 152726 w 152726"/>
                <a:gd name="connsiteY3" fmla="*/ 0 h 195873"/>
                <a:gd name="connsiteX4" fmla="*/ 152726 w 152726"/>
                <a:gd name="connsiteY4" fmla="*/ 55323 h 195873"/>
                <a:gd name="connsiteX5" fmla="*/ 87934 w 152726"/>
                <a:gd name="connsiteY5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726" h="195873">
                  <a:moveTo>
                    <a:pt x="39589" y="195873"/>
                  </a:moveTo>
                  <a:lnTo>
                    <a:pt x="0" y="122219"/>
                  </a:lnTo>
                  <a:lnTo>
                    <a:pt x="101089" y="0"/>
                  </a:lnTo>
                  <a:lnTo>
                    <a:pt x="152726" y="0"/>
                  </a:lnTo>
                  <a:lnTo>
                    <a:pt x="152726" y="55323"/>
                  </a:lnTo>
                  <a:lnTo>
                    <a:pt x="87934" y="5532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CB9A2237-374C-411A-AB62-0191ED80FFE2}"/>
                </a:ext>
              </a:extLst>
            </p:cNvPr>
            <p:cNvSpPr/>
            <p:nvPr/>
          </p:nvSpPr>
          <p:spPr>
            <a:xfrm rot="8716295">
              <a:off x="534441" y="1654353"/>
              <a:ext cx="262864" cy="103234"/>
            </a:xfrm>
            <a:custGeom>
              <a:avLst/>
              <a:gdLst>
                <a:gd name="connsiteX0" fmla="*/ 0 w 262864"/>
                <a:gd name="connsiteY0" fmla="*/ 75341 h 103234"/>
                <a:gd name="connsiteX1" fmla="*/ 62316 w 262864"/>
                <a:gd name="connsiteY1" fmla="*/ 0 h 103234"/>
                <a:gd name="connsiteX2" fmla="*/ 65768 w 262864"/>
                <a:gd name="connsiteY2" fmla="*/ 14220 h 103234"/>
                <a:gd name="connsiteX3" fmla="*/ 136369 w 262864"/>
                <a:gd name="connsiteY3" fmla="*/ 53051 h 103234"/>
                <a:gd name="connsiteX4" fmla="*/ 189321 w 262864"/>
                <a:gd name="connsiteY4" fmla="*/ 43637 h 103234"/>
                <a:gd name="connsiteX5" fmla="*/ 261688 w 262864"/>
                <a:gd name="connsiteY5" fmla="*/ 14220 h 103234"/>
                <a:gd name="connsiteX6" fmla="*/ 262864 w 262864"/>
                <a:gd name="connsiteY6" fmla="*/ 21868 h 103234"/>
                <a:gd name="connsiteX7" fmla="*/ 262864 w 262864"/>
                <a:gd name="connsiteY7" fmla="*/ 27752 h 103234"/>
                <a:gd name="connsiteX8" fmla="*/ 69887 w 262864"/>
                <a:gd name="connsiteY8" fmla="*/ 103060 h 103234"/>
                <a:gd name="connsiteX9" fmla="*/ 30615 w 262864"/>
                <a:gd name="connsiteY9" fmla="*/ 96294 h 103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2864" h="103234">
                  <a:moveTo>
                    <a:pt x="0" y="75341"/>
                  </a:moveTo>
                  <a:lnTo>
                    <a:pt x="62316" y="0"/>
                  </a:lnTo>
                  <a:lnTo>
                    <a:pt x="65768" y="14220"/>
                  </a:lnTo>
                  <a:cubicBezTo>
                    <a:pt x="75182" y="40107"/>
                    <a:pt x="99304" y="53051"/>
                    <a:pt x="136369" y="53051"/>
                  </a:cubicBezTo>
                  <a:cubicBezTo>
                    <a:pt x="154609" y="52462"/>
                    <a:pt x="172259" y="48932"/>
                    <a:pt x="189321" y="43637"/>
                  </a:cubicBezTo>
                  <a:cubicBezTo>
                    <a:pt x="214031" y="35988"/>
                    <a:pt x="238154" y="25987"/>
                    <a:pt x="261688" y="14220"/>
                  </a:cubicBezTo>
                  <a:cubicBezTo>
                    <a:pt x="262276" y="16573"/>
                    <a:pt x="262864" y="19515"/>
                    <a:pt x="262864" y="21868"/>
                  </a:cubicBezTo>
                  <a:lnTo>
                    <a:pt x="262864" y="27752"/>
                  </a:lnTo>
                  <a:cubicBezTo>
                    <a:pt x="200500" y="81291"/>
                    <a:pt x="118719" y="100119"/>
                    <a:pt x="69887" y="103060"/>
                  </a:cubicBezTo>
                  <a:cubicBezTo>
                    <a:pt x="56355" y="103943"/>
                    <a:pt x="42970" y="101442"/>
                    <a:pt x="30615" y="96294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8F8A3734-3F77-44C7-9A38-570198540CBC}"/>
                </a:ext>
              </a:extLst>
            </p:cNvPr>
            <p:cNvSpPr/>
            <p:nvPr/>
          </p:nvSpPr>
          <p:spPr>
            <a:xfrm rot="8716295">
              <a:off x="632719" y="1232432"/>
              <a:ext cx="121558" cy="232388"/>
            </a:xfrm>
            <a:custGeom>
              <a:avLst/>
              <a:gdLst>
                <a:gd name="connsiteX0" fmla="*/ 60499 w 121558"/>
                <a:gd name="connsiteY0" fmla="*/ 232388 h 232388"/>
                <a:gd name="connsiteX1" fmla="*/ 60499 w 121558"/>
                <a:gd name="connsiteY1" fmla="*/ 69717 h 232388"/>
                <a:gd name="connsiteX2" fmla="*/ 60499 w 121558"/>
                <a:gd name="connsiteY2" fmla="*/ 65615 h 232388"/>
                <a:gd name="connsiteX3" fmla="*/ 39995 w 121558"/>
                <a:gd name="connsiteY3" fmla="*/ 50123 h 232388"/>
                <a:gd name="connsiteX4" fmla="*/ 0 w 121558"/>
                <a:gd name="connsiteY4" fmla="*/ 50123 h 232388"/>
                <a:gd name="connsiteX5" fmla="*/ 41457 w 121558"/>
                <a:gd name="connsiteY5" fmla="*/ 0 h 232388"/>
                <a:gd name="connsiteX6" fmla="*/ 64601 w 121558"/>
                <a:gd name="connsiteY6" fmla="*/ 0 h 232388"/>
                <a:gd name="connsiteX7" fmla="*/ 121558 w 121558"/>
                <a:gd name="connsiteY7" fmla="*/ 50123 h 232388"/>
                <a:gd name="connsiteX8" fmla="*/ 121558 w 121558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558" h="232388">
                  <a:moveTo>
                    <a:pt x="60499" y="232388"/>
                  </a:moveTo>
                  <a:lnTo>
                    <a:pt x="60499" y="69717"/>
                  </a:lnTo>
                  <a:cubicBezTo>
                    <a:pt x="60499" y="68349"/>
                    <a:pt x="60499" y="66983"/>
                    <a:pt x="60499" y="65615"/>
                  </a:cubicBezTo>
                  <a:cubicBezTo>
                    <a:pt x="59133" y="55591"/>
                    <a:pt x="50019" y="48756"/>
                    <a:pt x="39995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64601" y="0"/>
                  </a:lnTo>
                  <a:cubicBezTo>
                    <a:pt x="101509" y="0"/>
                    <a:pt x="121558" y="15948"/>
                    <a:pt x="121558" y="50123"/>
                  </a:cubicBezTo>
                  <a:lnTo>
                    <a:pt x="121558" y="208238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70856B7B-717B-4AEA-95A4-A1E79A999538}"/>
                </a:ext>
              </a:extLst>
            </p:cNvPr>
            <p:cNvSpPr/>
            <p:nvPr/>
          </p:nvSpPr>
          <p:spPr>
            <a:xfrm rot="8716295">
              <a:off x="763454" y="1474783"/>
              <a:ext cx="14143" cy="14319"/>
            </a:xfrm>
            <a:custGeom>
              <a:avLst/>
              <a:gdLst>
                <a:gd name="connsiteX0" fmla="*/ 0 w 14143"/>
                <a:gd name="connsiteY0" fmla="*/ 14319 h 14319"/>
                <a:gd name="connsiteX1" fmla="*/ 11843 w 14143"/>
                <a:gd name="connsiteY1" fmla="*/ 0 h 14319"/>
                <a:gd name="connsiteX2" fmla="*/ 14143 w 14143"/>
                <a:gd name="connsiteY2" fmla="*/ 7563 h 14319"/>
                <a:gd name="connsiteX3" fmla="*/ 14143 w 14143"/>
                <a:gd name="connsiteY3" fmla="*/ 13487 h 1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43" h="14319">
                  <a:moveTo>
                    <a:pt x="0" y="14319"/>
                  </a:moveTo>
                  <a:lnTo>
                    <a:pt x="11843" y="0"/>
                  </a:lnTo>
                  <a:lnTo>
                    <a:pt x="14143" y="7563"/>
                  </a:lnTo>
                  <a:lnTo>
                    <a:pt x="14143" y="13487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3E264A51-6081-4342-94AB-E5098D8BEE47}"/>
                </a:ext>
              </a:extLst>
            </p:cNvPr>
            <p:cNvSpPr/>
            <p:nvPr/>
          </p:nvSpPr>
          <p:spPr>
            <a:xfrm rot="8716295">
              <a:off x="672878" y="1171577"/>
              <a:ext cx="183964" cy="137618"/>
            </a:xfrm>
            <a:custGeom>
              <a:avLst/>
              <a:gdLst>
                <a:gd name="connsiteX0" fmla="*/ 0 w 183964"/>
                <a:gd name="connsiteY0" fmla="*/ 137618 h 137618"/>
                <a:gd name="connsiteX1" fmla="*/ 53346 w 183964"/>
                <a:gd name="connsiteY1" fmla="*/ 73121 h 137618"/>
                <a:gd name="connsiteX2" fmla="*/ 101034 w 183964"/>
                <a:gd name="connsiteY2" fmla="*/ 28251 h 137618"/>
                <a:gd name="connsiteX3" fmla="*/ 155713 w 183964"/>
                <a:gd name="connsiteY3" fmla="*/ 0 h 137618"/>
                <a:gd name="connsiteX4" fmla="*/ 183964 w 183964"/>
                <a:gd name="connsiteY4" fmla="*/ 33719 h 137618"/>
                <a:gd name="connsiteX5" fmla="*/ 157536 w 183964"/>
                <a:gd name="connsiteY5" fmla="*/ 69261 h 137618"/>
                <a:gd name="connsiteX6" fmla="*/ 157991 w 183964"/>
                <a:gd name="connsiteY6" fmla="*/ 69261 h 137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3964" h="137618">
                  <a:moveTo>
                    <a:pt x="0" y="137618"/>
                  </a:moveTo>
                  <a:lnTo>
                    <a:pt x="53346" y="73121"/>
                  </a:lnTo>
                  <a:lnTo>
                    <a:pt x="101034" y="28251"/>
                  </a:lnTo>
                  <a:cubicBezTo>
                    <a:pt x="114703" y="12303"/>
                    <a:pt x="134297" y="2278"/>
                    <a:pt x="155713" y="0"/>
                  </a:cubicBezTo>
                  <a:cubicBezTo>
                    <a:pt x="177585" y="0"/>
                    <a:pt x="183964" y="19138"/>
                    <a:pt x="183964" y="33719"/>
                  </a:cubicBezTo>
                  <a:cubicBezTo>
                    <a:pt x="182597" y="49667"/>
                    <a:pt x="172117" y="62881"/>
                    <a:pt x="157536" y="69261"/>
                  </a:cubicBezTo>
                  <a:lnTo>
                    <a:pt x="157991" y="69261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03D4C536-74A8-424A-B4F4-647CD66813A6}"/>
                </a:ext>
              </a:extLst>
            </p:cNvPr>
            <p:cNvSpPr/>
            <p:nvPr/>
          </p:nvSpPr>
          <p:spPr>
            <a:xfrm rot="8716295">
              <a:off x="519479" y="13148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6C726A65-5764-428F-B78B-B207E19CC8A7}"/>
                </a:ext>
              </a:extLst>
            </p:cNvPr>
            <p:cNvSpPr/>
            <p:nvPr/>
          </p:nvSpPr>
          <p:spPr>
            <a:xfrm rot="8716295">
              <a:off x="394576" y="11061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B057F75B-3923-494B-B65B-A96E682E21D4}"/>
                </a:ext>
              </a:extLst>
            </p:cNvPr>
            <p:cNvSpPr/>
            <p:nvPr/>
          </p:nvSpPr>
          <p:spPr>
            <a:xfrm rot="8716295">
              <a:off x="382524" y="96739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B57FA1DB-CF40-4C3B-8603-B0C589DE9032}"/>
                </a:ext>
              </a:extLst>
            </p:cNvPr>
            <p:cNvSpPr/>
            <p:nvPr/>
          </p:nvSpPr>
          <p:spPr>
            <a:xfrm rot="8716295">
              <a:off x="609657" y="135579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8AA6873E-3CFC-4928-9C0D-5E1C199A6A43}"/>
                </a:ext>
              </a:extLst>
            </p:cNvPr>
            <p:cNvSpPr/>
            <p:nvPr/>
          </p:nvSpPr>
          <p:spPr>
            <a:xfrm rot="8716295">
              <a:off x="683426" y="869567"/>
              <a:ext cx="156000" cy="195873"/>
            </a:xfrm>
            <a:custGeom>
              <a:avLst/>
              <a:gdLst>
                <a:gd name="connsiteX0" fmla="*/ 42863 w 156000"/>
                <a:gd name="connsiteY0" fmla="*/ 195873 h 195873"/>
                <a:gd name="connsiteX1" fmla="*/ 0 w 156000"/>
                <a:gd name="connsiteY1" fmla="*/ 116129 h 195873"/>
                <a:gd name="connsiteX2" fmla="*/ 5100 w 156000"/>
                <a:gd name="connsiteY2" fmla="*/ 101988 h 195873"/>
                <a:gd name="connsiteX3" fmla="*/ 89456 w 156000"/>
                <a:gd name="connsiteY3" fmla="*/ 0 h 195873"/>
                <a:gd name="connsiteX4" fmla="*/ 156000 w 156000"/>
                <a:gd name="connsiteY4" fmla="*/ 0 h 195873"/>
                <a:gd name="connsiteX5" fmla="*/ 156000 w 156000"/>
                <a:gd name="connsiteY5" fmla="*/ 55323 h 195873"/>
                <a:gd name="connsiteX6" fmla="*/ 91208 w 156000"/>
                <a:gd name="connsiteY6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000" h="195873">
                  <a:moveTo>
                    <a:pt x="42863" y="195873"/>
                  </a:moveTo>
                  <a:lnTo>
                    <a:pt x="0" y="116129"/>
                  </a:lnTo>
                  <a:lnTo>
                    <a:pt x="5100" y="101988"/>
                  </a:lnTo>
                  <a:lnTo>
                    <a:pt x="89456" y="0"/>
                  </a:lnTo>
                  <a:lnTo>
                    <a:pt x="156000" y="0"/>
                  </a:lnTo>
                  <a:lnTo>
                    <a:pt x="156000" y="55323"/>
                  </a:lnTo>
                  <a:lnTo>
                    <a:pt x="91208" y="5532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0609DC7B-52A5-4494-9388-1386F1B7ECA0}"/>
                </a:ext>
              </a:extLst>
            </p:cNvPr>
            <p:cNvSpPr/>
            <p:nvPr/>
          </p:nvSpPr>
          <p:spPr>
            <a:xfrm rot="8716295">
              <a:off x="657305" y="95604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FA9B5438-F371-4C5C-851A-CA35F035D933}"/>
                </a:ext>
              </a:extLst>
            </p:cNvPr>
            <p:cNvSpPr/>
            <p:nvPr/>
          </p:nvSpPr>
          <p:spPr>
            <a:xfrm rot="8716295">
              <a:off x="412774" y="56424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ED2997EF-2C09-4DA3-BB88-8DA5032A40C8}"/>
                </a:ext>
              </a:extLst>
            </p:cNvPr>
            <p:cNvSpPr/>
            <p:nvPr/>
          </p:nvSpPr>
          <p:spPr>
            <a:xfrm rot="8716295">
              <a:off x="502166" y="59348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DBD136C4-820E-4184-B91F-ED5B5690DC24}"/>
                </a:ext>
              </a:extLst>
            </p:cNvPr>
            <p:cNvSpPr/>
            <p:nvPr/>
          </p:nvSpPr>
          <p:spPr>
            <a:xfrm rot="8716295">
              <a:off x="457316" y="50720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8BD8CCA9-A2C8-4634-B0CF-620A635CE67A}"/>
                </a:ext>
              </a:extLst>
            </p:cNvPr>
            <p:cNvSpPr/>
            <p:nvPr/>
          </p:nvSpPr>
          <p:spPr>
            <a:xfrm rot="8716295">
              <a:off x="300540" y="65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33B24AF7-29F7-4408-AE25-97A38660E784}"/>
                </a:ext>
              </a:extLst>
            </p:cNvPr>
            <p:cNvSpPr/>
            <p:nvPr/>
          </p:nvSpPr>
          <p:spPr>
            <a:xfrm rot="8716295">
              <a:off x="175637" y="44411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506A4C62-4148-4841-838F-A205F53AD573}"/>
                </a:ext>
              </a:extLst>
            </p:cNvPr>
            <p:cNvSpPr/>
            <p:nvPr/>
          </p:nvSpPr>
          <p:spPr>
            <a:xfrm rot="8716295">
              <a:off x="163585" y="30533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1C1A41D0-65C3-44E5-8A29-ECCEBE983C62}"/>
                </a:ext>
              </a:extLst>
            </p:cNvPr>
            <p:cNvSpPr/>
            <p:nvPr/>
          </p:nvSpPr>
          <p:spPr>
            <a:xfrm rot="8716295">
              <a:off x="390718" y="69374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A93B008E-5902-4D55-9E1E-85F07149CD35}"/>
                </a:ext>
              </a:extLst>
            </p:cNvPr>
            <p:cNvSpPr/>
            <p:nvPr/>
          </p:nvSpPr>
          <p:spPr>
            <a:xfrm rot="8716295">
              <a:off x="702015" y="317459"/>
              <a:ext cx="131260" cy="232388"/>
            </a:xfrm>
            <a:custGeom>
              <a:avLst/>
              <a:gdLst>
                <a:gd name="connsiteX0" fmla="*/ 70201 w 131260"/>
                <a:gd name="connsiteY0" fmla="*/ 232388 h 232388"/>
                <a:gd name="connsiteX1" fmla="*/ 70201 w 131260"/>
                <a:gd name="connsiteY1" fmla="*/ 69717 h 232388"/>
                <a:gd name="connsiteX2" fmla="*/ 70201 w 131260"/>
                <a:gd name="connsiteY2" fmla="*/ 65615 h 232388"/>
                <a:gd name="connsiteX3" fmla="*/ 49697 w 131260"/>
                <a:gd name="connsiteY3" fmla="*/ 50123 h 232388"/>
                <a:gd name="connsiteX4" fmla="*/ 0 w 131260"/>
                <a:gd name="connsiteY4" fmla="*/ 50123 h 232388"/>
                <a:gd name="connsiteX5" fmla="*/ 41457 w 131260"/>
                <a:gd name="connsiteY5" fmla="*/ 0 h 232388"/>
                <a:gd name="connsiteX6" fmla="*/ 74303 w 131260"/>
                <a:gd name="connsiteY6" fmla="*/ 0 h 232388"/>
                <a:gd name="connsiteX7" fmla="*/ 131260 w 131260"/>
                <a:gd name="connsiteY7" fmla="*/ 50123 h 232388"/>
                <a:gd name="connsiteX8" fmla="*/ 131260 w 131260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1260" h="232388">
                  <a:moveTo>
                    <a:pt x="70201" y="232388"/>
                  </a:moveTo>
                  <a:lnTo>
                    <a:pt x="70201" y="69717"/>
                  </a:lnTo>
                  <a:cubicBezTo>
                    <a:pt x="70201" y="68349"/>
                    <a:pt x="70201" y="66983"/>
                    <a:pt x="70201" y="65615"/>
                  </a:cubicBezTo>
                  <a:cubicBezTo>
                    <a:pt x="68835" y="55591"/>
                    <a:pt x="59721" y="48756"/>
                    <a:pt x="49697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74303" y="0"/>
                  </a:lnTo>
                  <a:cubicBezTo>
                    <a:pt x="111211" y="0"/>
                    <a:pt x="131260" y="15948"/>
                    <a:pt x="131260" y="50123"/>
                  </a:cubicBezTo>
                  <a:lnTo>
                    <a:pt x="131260" y="208238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8AA688E0-8B68-432D-AC4C-16B34E3E659F}"/>
                </a:ext>
              </a:extLst>
            </p:cNvPr>
            <p:cNvSpPr/>
            <p:nvPr/>
          </p:nvSpPr>
          <p:spPr>
            <a:xfrm rot="8716295">
              <a:off x="834978" y="558357"/>
              <a:ext cx="24341" cy="23495"/>
            </a:xfrm>
            <a:custGeom>
              <a:avLst/>
              <a:gdLst>
                <a:gd name="connsiteX0" fmla="*/ 0 w 24341"/>
                <a:gd name="connsiteY0" fmla="*/ 23495 h 23495"/>
                <a:gd name="connsiteX1" fmla="*/ 19433 w 24341"/>
                <a:gd name="connsiteY1" fmla="*/ 0 h 23495"/>
                <a:gd name="connsiteX2" fmla="*/ 24341 w 24341"/>
                <a:gd name="connsiteY2" fmla="*/ 16139 h 23495"/>
                <a:gd name="connsiteX3" fmla="*/ 24341 w 24341"/>
                <a:gd name="connsiteY3" fmla="*/ 22063 h 23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41" h="23495">
                  <a:moveTo>
                    <a:pt x="0" y="23495"/>
                  </a:moveTo>
                  <a:lnTo>
                    <a:pt x="19433" y="0"/>
                  </a:lnTo>
                  <a:lnTo>
                    <a:pt x="24341" y="16139"/>
                  </a:lnTo>
                  <a:lnTo>
                    <a:pt x="24341" y="2206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672AA540-A579-4E8F-A234-CD30C1FF0A89}"/>
                </a:ext>
              </a:extLst>
            </p:cNvPr>
            <p:cNvSpPr/>
            <p:nvPr/>
          </p:nvSpPr>
          <p:spPr>
            <a:xfrm rot="8716295">
              <a:off x="589639" y="40263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C0BAD361-E55B-42F0-893F-014DB3986A10}"/>
                </a:ext>
              </a:extLst>
            </p:cNvPr>
            <p:cNvSpPr/>
            <p:nvPr/>
          </p:nvSpPr>
          <p:spPr>
            <a:xfrm rot="8716295">
              <a:off x="464737" y="19396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C7776BC0-23C7-4489-8F09-E129A530C0CC}"/>
                </a:ext>
              </a:extLst>
            </p:cNvPr>
            <p:cNvSpPr/>
            <p:nvPr/>
          </p:nvSpPr>
          <p:spPr>
            <a:xfrm rot="8716295">
              <a:off x="679817" y="44358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6EC00833-27CA-42E8-A3F4-264B72DC896E}"/>
                </a:ext>
              </a:extLst>
            </p:cNvPr>
            <p:cNvSpPr/>
            <p:nvPr/>
          </p:nvSpPr>
          <p:spPr>
            <a:xfrm rot="8716295">
              <a:off x="438366" y="29398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1FD6DD85-FCBC-4AED-9D6D-4125AB918B1C}"/>
                </a:ext>
              </a:extLst>
            </p:cNvPr>
            <p:cNvSpPr/>
            <p:nvPr/>
          </p:nvSpPr>
          <p:spPr>
            <a:xfrm rot="7484129">
              <a:off x="811674" y="658874"/>
              <a:ext cx="31078" cy="46141"/>
            </a:xfrm>
            <a:custGeom>
              <a:avLst/>
              <a:gdLst>
                <a:gd name="connsiteX0" fmla="*/ 15207 w 31078"/>
                <a:gd name="connsiteY0" fmla="*/ 46141 h 46141"/>
                <a:gd name="connsiteX1" fmla="*/ 0 w 31078"/>
                <a:gd name="connsiteY1" fmla="*/ 17849 h 46141"/>
                <a:gd name="connsiteX2" fmla="*/ 31078 w 31078"/>
                <a:gd name="connsiteY2" fmla="*/ 0 h 46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078" h="46141">
                  <a:moveTo>
                    <a:pt x="15207" y="46141"/>
                  </a:moveTo>
                  <a:lnTo>
                    <a:pt x="0" y="17849"/>
                  </a:lnTo>
                  <a:lnTo>
                    <a:pt x="31078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ED8E04A5-1CCB-474C-BB14-6861F24B92EE}"/>
                </a:ext>
              </a:extLst>
            </p:cNvPr>
            <p:cNvSpPr/>
            <p:nvPr/>
          </p:nvSpPr>
          <p:spPr>
            <a:xfrm rot="8716295">
              <a:off x="780102" y="336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D2589E01-70DB-4980-9D5E-15028C3BF442}"/>
                </a:ext>
              </a:extLst>
            </p:cNvPr>
            <p:cNvSpPr/>
            <p:nvPr/>
          </p:nvSpPr>
          <p:spPr>
            <a:xfrm rot="8716295">
              <a:off x="202348" y="-57106"/>
              <a:ext cx="142167" cy="186494"/>
            </a:xfrm>
            <a:custGeom>
              <a:avLst/>
              <a:gdLst>
                <a:gd name="connsiteX0" fmla="*/ 142167 w 142167"/>
                <a:gd name="connsiteY0" fmla="*/ 186494 h 186494"/>
                <a:gd name="connsiteX1" fmla="*/ 81108 w 142167"/>
                <a:gd name="connsiteY1" fmla="*/ 144170 h 186494"/>
                <a:gd name="connsiteX2" fmla="*/ 81108 w 142167"/>
                <a:gd name="connsiteY2" fmla="*/ 69717 h 186494"/>
                <a:gd name="connsiteX3" fmla="*/ 81108 w 142167"/>
                <a:gd name="connsiteY3" fmla="*/ 65615 h 186494"/>
                <a:gd name="connsiteX4" fmla="*/ 60603 w 142167"/>
                <a:gd name="connsiteY4" fmla="*/ 50123 h 186494"/>
                <a:gd name="connsiteX5" fmla="*/ 0 w 142167"/>
                <a:gd name="connsiteY5" fmla="*/ 50123 h 186494"/>
                <a:gd name="connsiteX6" fmla="*/ 0 w 142167"/>
                <a:gd name="connsiteY6" fmla="*/ 0 h 186494"/>
                <a:gd name="connsiteX7" fmla="*/ 85209 w 142167"/>
                <a:gd name="connsiteY7" fmla="*/ 0 h 186494"/>
                <a:gd name="connsiteX8" fmla="*/ 142167 w 142167"/>
                <a:gd name="connsiteY8" fmla="*/ 50123 h 186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86494">
                  <a:moveTo>
                    <a:pt x="142167" y="186494"/>
                  </a:moveTo>
                  <a:lnTo>
                    <a:pt x="81108" y="144170"/>
                  </a:lnTo>
                  <a:lnTo>
                    <a:pt x="81108" y="69717"/>
                  </a:lnTo>
                  <a:cubicBezTo>
                    <a:pt x="81108" y="68349"/>
                    <a:pt x="81108" y="66983"/>
                    <a:pt x="81108" y="65615"/>
                  </a:cubicBezTo>
                  <a:cubicBezTo>
                    <a:pt x="79741" y="55591"/>
                    <a:pt x="70628" y="48756"/>
                    <a:pt x="60603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2AEF8F7A-52DD-4323-9058-8F5D8BF7C257}"/>
                </a:ext>
              </a:extLst>
            </p:cNvPr>
            <p:cNvSpPr/>
            <p:nvPr/>
          </p:nvSpPr>
          <p:spPr>
            <a:xfrm rot="8716295">
              <a:off x="298766" y="-5395"/>
              <a:ext cx="260639" cy="180054"/>
            </a:xfrm>
            <a:custGeom>
              <a:avLst/>
              <a:gdLst>
                <a:gd name="connsiteX0" fmla="*/ 111638 w 260639"/>
                <a:gd name="connsiteY0" fmla="*/ 180054 h 180054"/>
                <a:gd name="connsiteX1" fmla="*/ 51490 w 260639"/>
                <a:gd name="connsiteY1" fmla="*/ 138362 h 180054"/>
                <a:gd name="connsiteX2" fmla="*/ 51490 w 260639"/>
                <a:gd name="connsiteY2" fmla="*/ 45624 h 180054"/>
                <a:gd name="connsiteX3" fmla="*/ 0 w 260639"/>
                <a:gd name="connsiteY3" fmla="*/ 45624 h 180054"/>
                <a:gd name="connsiteX4" fmla="*/ 0 w 260639"/>
                <a:gd name="connsiteY4" fmla="*/ 1425 h 180054"/>
                <a:gd name="connsiteX5" fmla="*/ 104802 w 260639"/>
                <a:gd name="connsiteY5" fmla="*/ 1425 h 180054"/>
                <a:gd name="connsiteX6" fmla="*/ 104802 w 260639"/>
                <a:gd name="connsiteY6" fmla="*/ 75242 h 180054"/>
                <a:gd name="connsiteX7" fmla="*/ 106169 w 260639"/>
                <a:gd name="connsiteY7" fmla="*/ 75242 h 180054"/>
                <a:gd name="connsiteX8" fmla="*/ 154014 w 260639"/>
                <a:gd name="connsiteY8" fmla="*/ 5981 h 180054"/>
                <a:gd name="connsiteX9" fmla="*/ 185455 w 260639"/>
                <a:gd name="connsiteY9" fmla="*/ 57 h 180054"/>
                <a:gd name="connsiteX10" fmla="*/ 260639 w 260639"/>
                <a:gd name="connsiteY10" fmla="*/ 88456 h 180054"/>
                <a:gd name="connsiteX11" fmla="*/ 260639 w 260639"/>
                <a:gd name="connsiteY11" fmla="*/ 94380 h 180054"/>
                <a:gd name="connsiteX12" fmla="*/ 198669 w 260639"/>
                <a:gd name="connsiteY12" fmla="*/ 98025 h 180054"/>
                <a:gd name="connsiteX13" fmla="*/ 198669 w 260639"/>
                <a:gd name="connsiteY13" fmla="*/ 81621 h 180054"/>
                <a:gd name="connsiteX14" fmla="*/ 164950 w 260639"/>
                <a:gd name="connsiteY14" fmla="*/ 40156 h 180054"/>
                <a:gd name="connsiteX15" fmla="*/ 111638 w 260639"/>
                <a:gd name="connsiteY15" fmla="*/ 127643 h 180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0639" h="180054">
                  <a:moveTo>
                    <a:pt x="111638" y="180054"/>
                  </a:moveTo>
                  <a:lnTo>
                    <a:pt x="51490" y="138362"/>
                  </a:ln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4EA5F182-B436-49C8-8170-C1AD6D2F32D5}"/>
                </a:ext>
              </a:extLst>
            </p:cNvPr>
            <p:cNvSpPr/>
            <p:nvPr/>
          </p:nvSpPr>
          <p:spPr>
            <a:xfrm rot="8716295">
              <a:off x="276903" y="-12823"/>
              <a:ext cx="36272" cy="27982"/>
            </a:xfrm>
            <a:custGeom>
              <a:avLst/>
              <a:gdLst>
                <a:gd name="connsiteX0" fmla="*/ 36272 w 36272"/>
                <a:gd name="connsiteY0" fmla="*/ 27982 h 27982"/>
                <a:gd name="connsiteX1" fmla="*/ 0 w 36272"/>
                <a:gd name="connsiteY1" fmla="*/ 2840 h 27982"/>
                <a:gd name="connsiteX2" fmla="*/ 9543 w 36272"/>
                <a:gd name="connsiteY2" fmla="*/ 0 h 27982"/>
                <a:gd name="connsiteX3" fmla="*/ 31871 w 36272"/>
                <a:gd name="connsiteY3" fmla="*/ 11392 h 27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272" h="27982">
                  <a:moveTo>
                    <a:pt x="36272" y="27982"/>
                  </a:moveTo>
                  <a:lnTo>
                    <a:pt x="0" y="2840"/>
                  </a:lnTo>
                  <a:lnTo>
                    <a:pt x="9543" y="0"/>
                  </a:lnTo>
                  <a:cubicBezTo>
                    <a:pt x="20479" y="0"/>
                    <a:pt x="27542" y="4784"/>
                    <a:pt x="31871" y="11392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F421218E-0235-4F72-A3A0-C0DE2686EE65}"/>
                </a:ext>
              </a:extLst>
            </p:cNvPr>
            <p:cNvSpPr/>
            <p:nvPr/>
          </p:nvSpPr>
          <p:spPr>
            <a:xfrm rot="8716295">
              <a:off x="74640" y="-9665"/>
              <a:ext cx="58068" cy="54772"/>
            </a:xfrm>
            <a:custGeom>
              <a:avLst/>
              <a:gdLst>
                <a:gd name="connsiteX0" fmla="*/ 37436 w 58068"/>
                <a:gd name="connsiteY0" fmla="*/ 54772 h 54772"/>
                <a:gd name="connsiteX1" fmla="*/ 0 w 58068"/>
                <a:gd name="connsiteY1" fmla="*/ 28823 h 54772"/>
                <a:gd name="connsiteX2" fmla="*/ 8515 w 58068"/>
                <a:gd name="connsiteY2" fmla="*/ 8658 h 54772"/>
                <a:gd name="connsiteX3" fmla="*/ 29020 w 58068"/>
                <a:gd name="connsiteY3" fmla="*/ 0 h 54772"/>
                <a:gd name="connsiteX4" fmla="*/ 49525 w 58068"/>
                <a:gd name="connsiteY4" fmla="*/ 8658 h 54772"/>
                <a:gd name="connsiteX5" fmla="*/ 49525 w 58068"/>
                <a:gd name="connsiteY5" fmla="*/ 49668 h 5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068" h="54772">
                  <a:moveTo>
                    <a:pt x="37436" y="54772"/>
                  </a:moveTo>
                  <a:lnTo>
                    <a:pt x="0" y="28823"/>
                  </a:lnTo>
                  <a:lnTo>
                    <a:pt x="8515" y="8658"/>
                  </a:lnTo>
                  <a:cubicBezTo>
                    <a:pt x="13983" y="3190"/>
                    <a:pt x="21273" y="0"/>
                    <a:pt x="29020" y="0"/>
                  </a:cubicBezTo>
                  <a:cubicBezTo>
                    <a:pt x="36766" y="0"/>
                    <a:pt x="44057" y="3190"/>
                    <a:pt x="49525" y="8658"/>
                  </a:cubicBezTo>
                  <a:cubicBezTo>
                    <a:pt x="60916" y="19594"/>
                    <a:pt x="60916" y="38276"/>
                    <a:pt x="49525" y="49668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CE77A4A5-0ECD-4D80-A03D-A10DC965EA39}"/>
                </a:ext>
              </a:extLst>
            </p:cNvPr>
            <p:cNvSpPr/>
            <p:nvPr/>
          </p:nvSpPr>
          <p:spPr>
            <a:xfrm rot="8716295">
              <a:off x="13802" y="-10406"/>
              <a:ext cx="30027" cy="20814"/>
            </a:xfrm>
            <a:custGeom>
              <a:avLst/>
              <a:gdLst>
                <a:gd name="connsiteX0" fmla="*/ 30027 w 30027"/>
                <a:gd name="connsiteY0" fmla="*/ 20814 h 20814"/>
                <a:gd name="connsiteX1" fmla="*/ 0 w 30027"/>
                <a:gd name="connsiteY1" fmla="*/ 0 h 20814"/>
                <a:gd name="connsiteX2" fmla="*/ 30027 w 30027"/>
                <a:gd name="connsiteY2" fmla="*/ 0 h 20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027" h="20814">
                  <a:moveTo>
                    <a:pt x="30027" y="20814"/>
                  </a:moveTo>
                  <a:lnTo>
                    <a:pt x="0" y="0"/>
                  </a:lnTo>
                  <a:lnTo>
                    <a:pt x="30027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403799C4-A408-4325-A92C-9E809B8BB4D4}"/>
                </a:ext>
              </a:extLst>
            </p:cNvPr>
            <p:cNvSpPr/>
            <p:nvPr/>
          </p:nvSpPr>
          <p:spPr>
            <a:xfrm rot="8716295">
              <a:off x="168048" y="3032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01FB23B7-9B20-4D2E-83CD-6A7A68C9BDC4}"/>
                </a:ext>
              </a:extLst>
            </p:cNvPr>
            <p:cNvSpPr/>
            <p:nvPr/>
          </p:nvSpPr>
          <p:spPr>
            <a:xfrm rot="7484129">
              <a:off x="562078" y="-284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ACF32F9A-0344-4E5B-A601-5E2A5DCEE676}"/>
                </a:ext>
              </a:extLst>
            </p:cNvPr>
            <p:cNvSpPr/>
            <p:nvPr/>
          </p:nvSpPr>
          <p:spPr>
            <a:xfrm rot="13089394">
              <a:off x="767127" y="-2787"/>
              <a:ext cx="149688" cy="301067"/>
            </a:xfrm>
            <a:custGeom>
              <a:avLst/>
              <a:gdLst>
                <a:gd name="connsiteX0" fmla="*/ 149688 w 149688"/>
                <a:gd name="connsiteY0" fmla="*/ 279622 h 301067"/>
                <a:gd name="connsiteX1" fmla="*/ 122393 w 149688"/>
                <a:gd name="connsiteY1" fmla="*/ 301067 h 301067"/>
                <a:gd name="connsiteX2" fmla="*/ 0 w 149688"/>
                <a:gd name="connsiteY2" fmla="*/ 114672 h 301067"/>
                <a:gd name="connsiteX3" fmla="*/ 0 w 149688"/>
                <a:gd name="connsiteY3" fmla="*/ 38074 h 301067"/>
                <a:gd name="connsiteX4" fmla="*/ 73388 w 149688"/>
                <a:gd name="connsiteY4" fmla="*/ 0 h 301067"/>
                <a:gd name="connsiteX5" fmla="*/ 74492 w 149688"/>
                <a:gd name="connsiteY5" fmla="*/ 153950 h 301067"/>
                <a:gd name="connsiteX6" fmla="*/ 87734 w 149688"/>
                <a:gd name="connsiteY6" fmla="*/ 245547 h 301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9688" h="301067">
                  <a:moveTo>
                    <a:pt x="149688" y="279622"/>
                  </a:moveTo>
                  <a:lnTo>
                    <a:pt x="122393" y="301067"/>
                  </a:lnTo>
                  <a:lnTo>
                    <a:pt x="0" y="114672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2836" y="184850"/>
                    <a:pt x="77802" y="216302"/>
                    <a:pt x="87734" y="245547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9B540A9C-752F-4966-AE11-E0DA13D5676A}"/>
                </a:ext>
              </a:extLst>
            </p:cNvPr>
            <p:cNvSpPr/>
            <p:nvPr/>
          </p:nvSpPr>
          <p:spPr>
            <a:xfrm rot="8716295">
              <a:off x="212141" y="304502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27352092-3B53-44B3-ABC2-E6A268F28524}"/>
                </a:ext>
              </a:extLst>
            </p:cNvPr>
            <p:cNvSpPr/>
            <p:nvPr/>
          </p:nvSpPr>
          <p:spPr>
            <a:xfrm rot="8716295">
              <a:off x="301533" y="307427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1A1EEC7B-8896-4B95-9A1A-B0F21E6748C1}"/>
                </a:ext>
              </a:extLst>
            </p:cNvPr>
            <p:cNvSpPr/>
            <p:nvPr/>
          </p:nvSpPr>
          <p:spPr>
            <a:xfrm rot="8716295">
              <a:off x="256683" y="298799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4FA7D1EC-A217-4326-8F37-649F5ADE83EB}"/>
                </a:ext>
              </a:extLst>
            </p:cNvPr>
            <p:cNvSpPr/>
            <p:nvPr/>
          </p:nvSpPr>
          <p:spPr>
            <a:xfrm rot="8716295">
              <a:off x="99907" y="31335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33C99497-0B48-43C7-BD1A-0279E44CA612}"/>
                </a:ext>
              </a:extLst>
            </p:cNvPr>
            <p:cNvSpPr/>
            <p:nvPr/>
          </p:nvSpPr>
          <p:spPr>
            <a:xfrm rot="8716295">
              <a:off x="-24996" y="29248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A93858F0-0010-48FE-BF9C-AFE6080030D7}"/>
                </a:ext>
              </a:extLst>
            </p:cNvPr>
            <p:cNvSpPr/>
            <p:nvPr/>
          </p:nvSpPr>
          <p:spPr>
            <a:xfrm rot="8716295">
              <a:off x="51899" y="2754602"/>
              <a:ext cx="189488" cy="350829"/>
            </a:xfrm>
            <a:custGeom>
              <a:avLst/>
              <a:gdLst>
                <a:gd name="connsiteX0" fmla="*/ 25299 w 189488"/>
                <a:gd name="connsiteY0" fmla="*/ 321238 h 350829"/>
                <a:gd name="connsiteX1" fmla="*/ 0 w 189488"/>
                <a:gd name="connsiteY1" fmla="*/ 220042 h 350829"/>
                <a:gd name="connsiteX2" fmla="*/ 0 w 189488"/>
                <a:gd name="connsiteY2" fmla="*/ 40596 h 350829"/>
                <a:gd name="connsiteX3" fmla="*/ 78250 w 189488"/>
                <a:gd name="connsiteY3" fmla="*/ 0 h 350829"/>
                <a:gd name="connsiteX4" fmla="*/ 79427 w 189488"/>
                <a:gd name="connsiteY4" fmla="*/ 164149 h 350829"/>
                <a:gd name="connsiteX5" fmla="*/ 93547 w 189488"/>
                <a:gd name="connsiteY5" fmla="*/ 261815 h 350829"/>
                <a:gd name="connsiteX6" fmla="*/ 164148 w 189488"/>
                <a:gd name="connsiteY6" fmla="*/ 300646 h 350829"/>
                <a:gd name="connsiteX7" fmla="*/ 189488 w 189488"/>
                <a:gd name="connsiteY7" fmla="*/ 296141 h 350829"/>
                <a:gd name="connsiteX8" fmla="*/ 160617 w 189488"/>
                <a:gd name="connsiteY8" fmla="*/ 337791 h 350829"/>
                <a:gd name="connsiteX9" fmla="*/ 97666 w 189488"/>
                <a:gd name="connsiteY9" fmla="*/ 350655 h 350829"/>
                <a:gd name="connsiteX10" fmla="*/ 25299 w 189488"/>
                <a:gd name="connsiteY10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9488" h="350829">
                  <a:moveTo>
                    <a:pt x="25299" y="321238"/>
                  </a:moveTo>
                  <a:cubicBezTo>
                    <a:pt x="5295" y="301823"/>
                    <a:pt x="0" y="268286"/>
                    <a:pt x="0" y="220042"/>
                  </a:cubicBez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8" y="300646"/>
                  </a:cubicBezTo>
                  <a:lnTo>
                    <a:pt x="189488" y="296141"/>
                  </a:lnTo>
                  <a:lnTo>
                    <a:pt x="160617" y="337791"/>
                  </a:lnTo>
                  <a:lnTo>
                    <a:pt x="97666" y="350655"/>
                  </a:ln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CAFD1C73-118C-42A8-A6D1-F7527C0F98CE}"/>
                </a:ext>
              </a:extLst>
            </p:cNvPr>
            <p:cNvSpPr/>
            <p:nvPr/>
          </p:nvSpPr>
          <p:spPr>
            <a:xfrm rot="8716295">
              <a:off x="190085" y="317452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E7F4D18B-0BB2-451B-AA77-2B268E142A91}"/>
                </a:ext>
              </a:extLst>
            </p:cNvPr>
            <p:cNvSpPr/>
            <p:nvPr/>
          </p:nvSpPr>
          <p:spPr>
            <a:xfrm rot="8716295">
              <a:off x="502599" y="2802136"/>
              <a:ext cx="117588" cy="232388"/>
            </a:xfrm>
            <a:custGeom>
              <a:avLst/>
              <a:gdLst>
                <a:gd name="connsiteX0" fmla="*/ 56529 w 117588"/>
                <a:gd name="connsiteY0" fmla="*/ 232388 h 232388"/>
                <a:gd name="connsiteX1" fmla="*/ 56529 w 117588"/>
                <a:gd name="connsiteY1" fmla="*/ 69717 h 232388"/>
                <a:gd name="connsiteX2" fmla="*/ 56529 w 117588"/>
                <a:gd name="connsiteY2" fmla="*/ 65615 h 232388"/>
                <a:gd name="connsiteX3" fmla="*/ 36025 w 117588"/>
                <a:gd name="connsiteY3" fmla="*/ 50123 h 232388"/>
                <a:gd name="connsiteX4" fmla="*/ 0 w 117588"/>
                <a:gd name="connsiteY4" fmla="*/ 50123 h 232388"/>
                <a:gd name="connsiteX5" fmla="*/ 41458 w 117588"/>
                <a:gd name="connsiteY5" fmla="*/ 0 h 232388"/>
                <a:gd name="connsiteX6" fmla="*/ 60630 w 117588"/>
                <a:gd name="connsiteY6" fmla="*/ 0 h 232388"/>
                <a:gd name="connsiteX7" fmla="*/ 117588 w 117588"/>
                <a:gd name="connsiteY7" fmla="*/ 50123 h 232388"/>
                <a:gd name="connsiteX8" fmla="*/ 117588 w 117588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7588" h="232388">
                  <a:moveTo>
                    <a:pt x="56529" y="232388"/>
                  </a:moveTo>
                  <a:lnTo>
                    <a:pt x="56529" y="69717"/>
                  </a:lnTo>
                  <a:cubicBezTo>
                    <a:pt x="56529" y="68349"/>
                    <a:pt x="56529" y="66983"/>
                    <a:pt x="56529" y="65615"/>
                  </a:cubicBezTo>
                  <a:cubicBezTo>
                    <a:pt x="55163" y="55591"/>
                    <a:pt x="46049" y="48756"/>
                    <a:pt x="36025" y="50123"/>
                  </a:cubicBezTo>
                  <a:lnTo>
                    <a:pt x="0" y="50123"/>
                  </a:lnTo>
                  <a:lnTo>
                    <a:pt x="41458" y="0"/>
                  </a:lnTo>
                  <a:lnTo>
                    <a:pt x="60630" y="0"/>
                  </a:lnTo>
                  <a:cubicBezTo>
                    <a:pt x="97539" y="0"/>
                    <a:pt x="117588" y="15948"/>
                    <a:pt x="117588" y="50123"/>
                  </a:cubicBezTo>
                  <a:lnTo>
                    <a:pt x="117588" y="208238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6F67DBA9-AD6C-4780-AA17-98BCE9381DC5}"/>
                </a:ext>
              </a:extLst>
            </p:cNvPr>
            <p:cNvSpPr/>
            <p:nvPr/>
          </p:nvSpPr>
          <p:spPr>
            <a:xfrm rot="8716295">
              <a:off x="389006" y="2883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60CE2A9A-219E-42C9-9F53-FED763C7A971}"/>
                </a:ext>
              </a:extLst>
            </p:cNvPr>
            <p:cNvSpPr/>
            <p:nvPr/>
          </p:nvSpPr>
          <p:spPr>
            <a:xfrm rot="8716295">
              <a:off x="264104" y="267474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5F47A361-80F1-4C02-906B-845AB367B960}"/>
                </a:ext>
              </a:extLst>
            </p:cNvPr>
            <p:cNvSpPr/>
            <p:nvPr/>
          </p:nvSpPr>
          <p:spPr>
            <a:xfrm rot="8716295">
              <a:off x="479184" y="292437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2CC40EA3-7663-4B10-9112-24251EC60BEA}"/>
                </a:ext>
              </a:extLst>
            </p:cNvPr>
            <p:cNvSpPr/>
            <p:nvPr/>
          </p:nvSpPr>
          <p:spPr>
            <a:xfrm rot="8716295">
              <a:off x="237733" y="277477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96946020-930E-406D-ABEE-7096E7CB1426}"/>
                </a:ext>
              </a:extLst>
            </p:cNvPr>
            <p:cNvSpPr/>
            <p:nvPr/>
          </p:nvSpPr>
          <p:spPr>
            <a:xfrm rot="7484129">
              <a:off x="609980" y="3142825"/>
              <a:ext cx="20881" cy="31001"/>
            </a:xfrm>
            <a:custGeom>
              <a:avLst/>
              <a:gdLst>
                <a:gd name="connsiteX0" fmla="*/ 10218 w 20881"/>
                <a:gd name="connsiteY0" fmla="*/ 31001 h 31001"/>
                <a:gd name="connsiteX1" fmla="*/ 0 w 20881"/>
                <a:gd name="connsiteY1" fmla="*/ 11992 h 31001"/>
                <a:gd name="connsiteX2" fmla="*/ 20881 w 20881"/>
                <a:gd name="connsiteY2" fmla="*/ 0 h 31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881" h="31001">
                  <a:moveTo>
                    <a:pt x="10218" y="31001"/>
                  </a:moveTo>
                  <a:lnTo>
                    <a:pt x="0" y="11992"/>
                  </a:lnTo>
                  <a:lnTo>
                    <a:pt x="20881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9709EEED-4F73-41F3-A069-C965126CECA4}"/>
                </a:ext>
              </a:extLst>
            </p:cNvPr>
            <p:cNvSpPr/>
            <p:nvPr/>
          </p:nvSpPr>
          <p:spPr>
            <a:xfrm rot="8716295">
              <a:off x="579469" y="28172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AB7C8B58-13F0-4FCC-99DC-3B3AAD65E69B}"/>
                </a:ext>
              </a:extLst>
            </p:cNvPr>
            <p:cNvSpPr/>
            <p:nvPr/>
          </p:nvSpPr>
          <p:spPr>
            <a:xfrm rot="8716295">
              <a:off x="437995" y="3716235"/>
              <a:ext cx="102679" cy="232388"/>
            </a:xfrm>
            <a:custGeom>
              <a:avLst/>
              <a:gdLst>
                <a:gd name="connsiteX0" fmla="*/ 41620 w 102679"/>
                <a:gd name="connsiteY0" fmla="*/ 232388 h 232388"/>
                <a:gd name="connsiteX1" fmla="*/ 41620 w 102679"/>
                <a:gd name="connsiteY1" fmla="*/ 69717 h 232388"/>
                <a:gd name="connsiteX2" fmla="*/ 41620 w 102679"/>
                <a:gd name="connsiteY2" fmla="*/ 65615 h 232388"/>
                <a:gd name="connsiteX3" fmla="*/ 21116 w 102679"/>
                <a:gd name="connsiteY3" fmla="*/ 50123 h 232388"/>
                <a:gd name="connsiteX4" fmla="*/ 0 w 102679"/>
                <a:gd name="connsiteY4" fmla="*/ 50123 h 232388"/>
                <a:gd name="connsiteX5" fmla="*/ 41457 w 102679"/>
                <a:gd name="connsiteY5" fmla="*/ 0 h 232388"/>
                <a:gd name="connsiteX6" fmla="*/ 45721 w 102679"/>
                <a:gd name="connsiteY6" fmla="*/ 0 h 232388"/>
                <a:gd name="connsiteX7" fmla="*/ 102679 w 102679"/>
                <a:gd name="connsiteY7" fmla="*/ 50123 h 232388"/>
                <a:gd name="connsiteX8" fmla="*/ 102679 w 102679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2679" h="232388">
                  <a:moveTo>
                    <a:pt x="41620" y="232388"/>
                  </a:moveTo>
                  <a:lnTo>
                    <a:pt x="41620" y="69717"/>
                  </a:lnTo>
                  <a:cubicBezTo>
                    <a:pt x="41620" y="68349"/>
                    <a:pt x="41620" y="66983"/>
                    <a:pt x="41620" y="65615"/>
                  </a:cubicBezTo>
                  <a:cubicBezTo>
                    <a:pt x="40254" y="55591"/>
                    <a:pt x="31140" y="48756"/>
                    <a:pt x="21116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45721" y="0"/>
                  </a:lnTo>
                  <a:cubicBezTo>
                    <a:pt x="82630" y="0"/>
                    <a:pt x="102679" y="15948"/>
                    <a:pt x="102679" y="50123"/>
                  </a:cubicBezTo>
                  <a:lnTo>
                    <a:pt x="102679" y="208238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9C4DC6CC-AFAA-4414-8BA6-D58CC891D657}"/>
                </a:ext>
              </a:extLst>
            </p:cNvPr>
            <p:cNvSpPr/>
            <p:nvPr/>
          </p:nvSpPr>
          <p:spPr>
            <a:xfrm rot="8716295">
              <a:off x="482715" y="3669965"/>
              <a:ext cx="154563" cy="124897"/>
            </a:xfrm>
            <a:custGeom>
              <a:avLst/>
              <a:gdLst>
                <a:gd name="connsiteX0" fmla="*/ 0 w 154563"/>
                <a:gd name="connsiteY0" fmla="*/ 124897 h 124897"/>
                <a:gd name="connsiteX1" fmla="*/ 95474 w 154563"/>
                <a:gd name="connsiteY1" fmla="*/ 9467 h 124897"/>
                <a:gd name="connsiteX2" fmla="*/ 96067 w 154563"/>
                <a:gd name="connsiteY2" fmla="*/ 9000 h 124897"/>
                <a:gd name="connsiteX3" fmla="*/ 126312 w 154563"/>
                <a:gd name="connsiteY3" fmla="*/ 0 h 124897"/>
                <a:gd name="connsiteX4" fmla="*/ 154563 w 154563"/>
                <a:gd name="connsiteY4" fmla="*/ 33719 h 124897"/>
                <a:gd name="connsiteX5" fmla="*/ 128135 w 154563"/>
                <a:gd name="connsiteY5" fmla="*/ 69261 h 124897"/>
                <a:gd name="connsiteX6" fmla="*/ 128590 w 154563"/>
                <a:gd name="connsiteY6" fmla="*/ 69261 h 12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4563" h="124897">
                  <a:moveTo>
                    <a:pt x="0" y="124897"/>
                  </a:moveTo>
                  <a:lnTo>
                    <a:pt x="95474" y="9467"/>
                  </a:lnTo>
                  <a:lnTo>
                    <a:pt x="96067" y="9000"/>
                  </a:lnTo>
                  <a:cubicBezTo>
                    <a:pt x="105351" y="4215"/>
                    <a:pt x="115604" y="1139"/>
                    <a:pt x="126312" y="0"/>
                  </a:cubicBezTo>
                  <a:cubicBezTo>
                    <a:pt x="148184" y="0"/>
                    <a:pt x="154563" y="19138"/>
                    <a:pt x="154563" y="33719"/>
                  </a:cubicBezTo>
                  <a:cubicBezTo>
                    <a:pt x="153196" y="49668"/>
                    <a:pt x="142715" y="62882"/>
                    <a:pt x="128135" y="69261"/>
                  </a:cubicBezTo>
                  <a:lnTo>
                    <a:pt x="128590" y="69261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orme libre : forme 58">
              <a:extLst>
                <a:ext uri="{FF2B5EF4-FFF2-40B4-BE49-F238E27FC236}">
                  <a16:creationId xmlns:a16="http://schemas.microsoft.com/office/drawing/2014/main" id="{4EE0C0AC-519B-4FC6-8231-6D03F18E647C}"/>
                </a:ext>
              </a:extLst>
            </p:cNvPr>
            <p:cNvSpPr/>
            <p:nvPr/>
          </p:nvSpPr>
          <p:spPr>
            <a:xfrm rot="8716295">
              <a:off x="323074" y="379327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orme libre : forme 59">
              <a:extLst>
                <a:ext uri="{FF2B5EF4-FFF2-40B4-BE49-F238E27FC236}">
                  <a16:creationId xmlns:a16="http://schemas.microsoft.com/office/drawing/2014/main" id="{D6F59EA5-8316-4C20-AADC-7D706ECCBE6F}"/>
                </a:ext>
              </a:extLst>
            </p:cNvPr>
            <p:cNvSpPr/>
            <p:nvPr/>
          </p:nvSpPr>
          <p:spPr>
            <a:xfrm rot="8716295">
              <a:off x="198171" y="358459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orme libre : forme 60">
              <a:extLst>
                <a:ext uri="{FF2B5EF4-FFF2-40B4-BE49-F238E27FC236}">
                  <a16:creationId xmlns:a16="http://schemas.microsoft.com/office/drawing/2014/main" id="{B0440107-C1DF-4CF9-A961-BF836C4847FA}"/>
                </a:ext>
              </a:extLst>
            </p:cNvPr>
            <p:cNvSpPr/>
            <p:nvPr/>
          </p:nvSpPr>
          <p:spPr>
            <a:xfrm rot="8716295">
              <a:off x="186119" y="344581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orme libre : forme 61">
              <a:extLst>
                <a:ext uri="{FF2B5EF4-FFF2-40B4-BE49-F238E27FC236}">
                  <a16:creationId xmlns:a16="http://schemas.microsoft.com/office/drawing/2014/main" id="{FAD20847-20DA-4661-A963-D2C01E523D8E}"/>
                </a:ext>
              </a:extLst>
            </p:cNvPr>
            <p:cNvSpPr/>
            <p:nvPr/>
          </p:nvSpPr>
          <p:spPr>
            <a:xfrm rot="8716295">
              <a:off x="410218" y="3834716"/>
              <a:ext cx="103435" cy="219174"/>
            </a:xfrm>
            <a:custGeom>
              <a:avLst/>
              <a:gdLst>
                <a:gd name="connsiteX0" fmla="*/ 103435 w 103435"/>
                <a:gd name="connsiteY0" fmla="*/ 219174 h 219174"/>
                <a:gd name="connsiteX1" fmla="*/ 43288 w 103435"/>
                <a:gd name="connsiteY1" fmla="*/ 161305 h 219174"/>
                <a:gd name="connsiteX2" fmla="*/ 43288 w 103435"/>
                <a:gd name="connsiteY2" fmla="*/ 16404 h 219174"/>
                <a:gd name="connsiteX3" fmla="*/ 0 w 103435"/>
                <a:gd name="connsiteY3" fmla="*/ 16404 h 219174"/>
                <a:gd name="connsiteX4" fmla="*/ 0 w 103435"/>
                <a:gd name="connsiteY4" fmla="*/ 16028 h 219174"/>
                <a:gd name="connsiteX5" fmla="*/ 11583 w 103435"/>
                <a:gd name="connsiteY5" fmla="*/ 2023 h 219174"/>
                <a:gd name="connsiteX6" fmla="*/ 103435 w 103435"/>
                <a:gd name="connsiteY6" fmla="*/ 0 h 219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19174">
                  <a:moveTo>
                    <a:pt x="103435" y="219174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16028"/>
                  </a:lnTo>
                  <a:lnTo>
                    <a:pt x="11583" y="2023"/>
                  </a:lnTo>
                  <a:lnTo>
                    <a:pt x="103435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orme libre : forme 62">
              <a:extLst>
                <a:ext uri="{FF2B5EF4-FFF2-40B4-BE49-F238E27FC236}">
                  <a16:creationId xmlns:a16="http://schemas.microsoft.com/office/drawing/2014/main" id="{28D4D932-7CCD-4A1C-82BE-BDC6C863C34D}"/>
                </a:ext>
              </a:extLst>
            </p:cNvPr>
            <p:cNvSpPr/>
            <p:nvPr/>
          </p:nvSpPr>
          <p:spPr>
            <a:xfrm rot="8716295">
              <a:off x="487452" y="3349370"/>
              <a:ext cx="151162" cy="195873"/>
            </a:xfrm>
            <a:custGeom>
              <a:avLst/>
              <a:gdLst>
                <a:gd name="connsiteX0" fmla="*/ 38025 w 151162"/>
                <a:gd name="connsiteY0" fmla="*/ 195873 h 195873"/>
                <a:gd name="connsiteX1" fmla="*/ 0 w 151162"/>
                <a:gd name="connsiteY1" fmla="*/ 125130 h 195873"/>
                <a:gd name="connsiteX2" fmla="*/ 103497 w 151162"/>
                <a:gd name="connsiteY2" fmla="*/ 0 h 195873"/>
                <a:gd name="connsiteX3" fmla="*/ 151162 w 151162"/>
                <a:gd name="connsiteY3" fmla="*/ 0 h 195873"/>
                <a:gd name="connsiteX4" fmla="*/ 151162 w 151162"/>
                <a:gd name="connsiteY4" fmla="*/ 55323 h 195873"/>
                <a:gd name="connsiteX5" fmla="*/ 86370 w 151162"/>
                <a:gd name="connsiteY5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1162" h="195873">
                  <a:moveTo>
                    <a:pt x="38025" y="195873"/>
                  </a:moveTo>
                  <a:lnTo>
                    <a:pt x="0" y="125130"/>
                  </a:lnTo>
                  <a:lnTo>
                    <a:pt x="103497" y="0"/>
                  </a:lnTo>
                  <a:lnTo>
                    <a:pt x="151162" y="0"/>
                  </a:lnTo>
                  <a:lnTo>
                    <a:pt x="151162" y="55323"/>
                  </a:lnTo>
                  <a:lnTo>
                    <a:pt x="86370" y="5532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orme libre : forme 63">
              <a:extLst>
                <a:ext uri="{FF2B5EF4-FFF2-40B4-BE49-F238E27FC236}">
                  <a16:creationId xmlns:a16="http://schemas.microsoft.com/office/drawing/2014/main" id="{CC6BD8CB-3AAF-4232-9DAB-6067219DB083}"/>
                </a:ext>
              </a:extLst>
            </p:cNvPr>
            <p:cNvSpPr/>
            <p:nvPr/>
          </p:nvSpPr>
          <p:spPr>
            <a:xfrm rot="8716295">
              <a:off x="460900" y="343447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orme libre : forme 64">
              <a:extLst>
                <a:ext uri="{FF2B5EF4-FFF2-40B4-BE49-F238E27FC236}">
                  <a16:creationId xmlns:a16="http://schemas.microsoft.com/office/drawing/2014/main" id="{C4402BE5-EFA1-455E-87AA-2CF0F2131AB9}"/>
                </a:ext>
              </a:extLst>
            </p:cNvPr>
            <p:cNvSpPr/>
            <p:nvPr/>
          </p:nvSpPr>
          <p:spPr>
            <a:xfrm rot="8716295">
              <a:off x="417336" y="4258920"/>
              <a:ext cx="147637" cy="195874"/>
            </a:xfrm>
            <a:custGeom>
              <a:avLst/>
              <a:gdLst>
                <a:gd name="connsiteX0" fmla="*/ 34500 w 147637"/>
                <a:gd name="connsiteY0" fmla="*/ 195874 h 195874"/>
                <a:gd name="connsiteX1" fmla="*/ 0 w 147637"/>
                <a:gd name="connsiteY1" fmla="*/ 131688 h 195874"/>
                <a:gd name="connsiteX2" fmla="*/ 108921 w 147637"/>
                <a:gd name="connsiteY2" fmla="*/ 0 h 195874"/>
                <a:gd name="connsiteX3" fmla="*/ 147637 w 147637"/>
                <a:gd name="connsiteY3" fmla="*/ 0 h 195874"/>
                <a:gd name="connsiteX4" fmla="*/ 147637 w 147637"/>
                <a:gd name="connsiteY4" fmla="*/ 55323 h 195874"/>
                <a:gd name="connsiteX5" fmla="*/ 82845 w 147637"/>
                <a:gd name="connsiteY5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7637" h="195874">
                  <a:moveTo>
                    <a:pt x="34500" y="195874"/>
                  </a:moveTo>
                  <a:lnTo>
                    <a:pt x="0" y="131688"/>
                  </a:lnTo>
                  <a:lnTo>
                    <a:pt x="108921" y="0"/>
                  </a:lnTo>
                  <a:lnTo>
                    <a:pt x="147637" y="0"/>
                  </a:lnTo>
                  <a:lnTo>
                    <a:pt x="147637" y="55323"/>
                  </a:lnTo>
                  <a:lnTo>
                    <a:pt x="82845" y="5532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orme libre : forme 65">
              <a:extLst>
                <a:ext uri="{FF2B5EF4-FFF2-40B4-BE49-F238E27FC236}">
                  <a16:creationId xmlns:a16="http://schemas.microsoft.com/office/drawing/2014/main" id="{61A670F2-3CC6-425A-A67F-3F30EE51B04A}"/>
                </a:ext>
              </a:extLst>
            </p:cNvPr>
            <p:cNvSpPr/>
            <p:nvPr/>
          </p:nvSpPr>
          <p:spPr>
            <a:xfrm rot="8716295">
              <a:off x="330834" y="4134902"/>
              <a:ext cx="254613" cy="91157"/>
            </a:xfrm>
            <a:custGeom>
              <a:avLst/>
              <a:gdLst>
                <a:gd name="connsiteX0" fmla="*/ 0 w 254613"/>
                <a:gd name="connsiteY0" fmla="*/ 68911 h 91157"/>
                <a:gd name="connsiteX1" fmla="*/ 56997 w 254613"/>
                <a:gd name="connsiteY1" fmla="*/ 0 h 91157"/>
                <a:gd name="connsiteX2" fmla="*/ 57517 w 254613"/>
                <a:gd name="connsiteY2" fmla="*/ 2143 h 91157"/>
                <a:gd name="connsiteX3" fmla="*/ 128118 w 254613"/>
                <a:gd name="connsiteY3" fmla="*/ 40974 h 91157"/>
                <a:gd name="connsiteX4" fmla="*/ 181070 w 254613"/>
                <a:gd name="connsiteY4" fmla="*/ 31560 h 91157"/>
                <a:gd name="connsiteX5" fmla="*/ 253437 w 254613"/>
                <a:gd name="connsiteY5" fmla="*/ 2143 h 91157"/>
                <a:gd name="connsiteX6" fmla="*/ 254613 w 254613"/>
                <a:gd name="connsiteY6" fmla="*/ 9791 h 91157"/>
                <a:gd name="connsiteX7" fmla="*/ 254613 w 254613"/>
                <a:gd name="connsiteY7" fmla="*/ 15674 h 91157"/>
                <a:gd name="connsiteX8" fmla="*/ 61636 w 254613"/>
                <a:gd name="connsiteY8" fmla="*/ 90983 h 91157"/>
                <a:gd name="connsiteX9" fmla="*/ 22363 w 254613"/>
                <a:gd name="connsiteY9" fmla="*/ 84217 h 91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4613" h="91157">
                  <a:moveTo>
                    <a:pt x="0" y="68911"/>
                  </a:moveTo>
                  <a:lnTo>
                    <a:pt x="56997" y="0"/>
                  </a:lnTo>
                  <a:lnTo>
                    <a:pt x="57517" y="2143"/>
                  </a:lnTo>
                  <a:cubicBezTo>
                    <a:pt x="66931" y="28030"/>
                    <a:pt x="91053" y="40974"/>
                    <a:pt x="128118" y="40974"/>
                  </a:cubicBezTo>
                  <a:cubicBezTo>
                    <a:pt x="146357" y="40385"/>
                    <a:pt x="164008" y="36855"/>
                    <a:pt x="181070" y="31560"/>
                  </a:cubicBezTo>
                  <a:cubicBezTo>
                    <a:pt x="205780" y="23912"/>
                    <a:pt x="229903" y="13910"/>
                    <a:pt x="253437" y="2143"/>
                  </a:cubicBezTo>
                  <a:cubicBezTo>
                    <a:pt x="254025" y="4496"/>
                    <a:pt x="254613" y="7438"/>
                    <a:pt x="254613" y="9791"/>
                  </a:cubicBezTo>
                  <a:lnTo>
                    <a:pt x="254613" y="15674"/>
                  </a:lnTo>
                  <a:cubicBezTo>
                    <a:pt x="192249" y="69215"/>
                    <a:pt x="110468" y="88042"/>
                    <a:pt x="61636" y="90983"/>
                  </a:cubicBezTo>
                  <a:cubicBezTo>
                    <a:pt x="48104" y="91866"/>
                    <a:pt x="34719" y="89365"/>
                    <a:pt x="22363" y="84217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orme libre : forme 66">
              <a:extLst>
                <a:ext uri="{FF2B5EF4-FFF2-40B4-BE49-F238E27FC236}">
                  <a16:creationId xmlns:a16="http://schemas.microsoft.com/office/drawing/2014/main" id="{8311F45B-46D1-4E93-B5FB-C96A0B131FB3}"/>
                </a:ext>
              </a:extLst>
            </p:cNvPr>
            <p:cNvSpPr/>
            <p:nvPr/>
          </p:nvSpPr>
          <p:spPr>
            <a:xfrm rot="8716295">
              <a:off x="-3428" y="2405990"/>
              <a:ext cx="142167" cy="208592"/>
            </a:xfrm>
            <a:custGeom>
              <a:avLst/>
              <a:gdLst>
                <a:gd name="connsiteX0" fmla="*/ 81108 w 142167"/>
                <a:gd name="connsiteY0" fmla="*/ 208592 h 208592"/>
                <a:gd name="connsiteX1" fmla="*/ 81108 w 142167"/>
                <a:gd name="connsiteY1" fmla="*/ 69717 h 208592"/>
                <a:gd name="connsiteX2" fmla="*/ 81108 w 142167"/>
                <a:gd name="connsiteY2" fmla="*/ 65615 h 208592"/>
                <a:gd name="connsiteX3" fmla="*/ 60604 w 142167"/>
                <a:gd name="connsiteY3" fmla="*/ 50123 h 208592"/>
                <a:gd name="connsiteX4" fmla="*/ 0 w 142167"/>
                <a:gd name="connsiteY4" fmla="*/ 50123 h 208592"/>
                <a:gd name="connsiteX5" fmla="*/ 0 w 142167"/>
                <a:gd name="connsiteY5" fmla="*/ 0 h 208592"/>
                <a:gd name="connsiteX6" fmla="*/ 85210 w 142167"/>
                <a:gd name="connsiteY6" fmla="*/ 0 h 208592"/>
                <a:gd name="connsiteX7" fmla="*/ 142167 w 142167"/>
                <a:gd name="connsiteY7" fmla="*/ 50123 h 208592"/>
                <a:gd name="connsiteX8" fmla="*/ 142167 w 142167"/>
                <a:gd name="connsiteY8" fmla="*/ 120504 h 20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08592">
                  <a:moveTo>
                    <a:pt x="81108" y="208592"/>
                  </a:moveTo>
                  <a:lnTo>
                    <a:pt x="81108" y="69717"/>
                  </a:lnTo>
                  <a:cubicBezTo>
                    <a:pt x="81108" y="68350"/>
                    <a:pt x="81108" y="66983"/>
                    <a:pt x="81108" y="65615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10" y="0"/>
                  </a:lnTo>
                  <a:cubicBezTo>
                    <a:pt x="122118" y="0"/>
                    <a:pt x="142167" y="15948"/>
                    <a:pt x="142167" y="50123"/>
                  </a:cubicBezTo>
                  <a:lnTo>
                    <a:pt x="142167" y="120504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FBB49843-79D6-49E9-8512-3ED8074BAF49}"/>
                </a:ext>
              </a:extLst>
            </p:cNvPr>
            <p:cNvSpPr/>
            <p:nvPr/>
          </p:nvSpPr>
          <p:spPr>
            <a:xfrm rot="8716295">
              <a:off x="80015" y="241329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orme libre : forme 68">
              <a:extLst>
                <a:ext uri="{FF2B5EF4-FFF2-40B4-BE49-F238E27FC236}">
                  <a16:creationId xmlns:a16="http://schemas.microsoft.com/office/drawing/2014/main" id="{2588E0D5-81C5-4973-87D7-DBF7607FAFF4}"/>
                </a:ext>
              </a:extLst>
            </p:cNvPr>
            <p:cNvSpPr/>
            <p:nvPr/>
          </p:nvSpPr>
          <p:spPr>
            <a:xfrm rot="8716295">
              <a:off x="35165" y="232701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orme libre : forme 69">
              <a:extLst>
                <a:ext uri="{FF2B5EF4-FFF2-40B4-BE49-F238E27FC236}">
                  <a16:creationId xmlns:a16="http://schemas.microsoft.com/office/drawing/2014/main" id="{4C19B60F-0DA9-4BC3-BAAD-2E7DE57F5376}"/>
                </a:ext>
              </a:extLst>
            </p:cNvPr>
            <p:cNvSpPr/>
            <p:nvPr/>
          </p:nvSpPr>
          <p:spPr>
            <a:xfrm rot="8716295">
              <a:off x="-20257" y="2217087"/>
              <a:ext cx="78731" cy="180665"/>
            </a:xfrm>
            <a:custGeom>
              <a:avLst/>
              <a:gdLst>
                <a:gd name="connsiteX0" fmla="*/ 0 w 78731"/>
                <a:gd name="connsiteY0" fmla="*/ 180665 h 180665"/>
                <a:gd name="connsiteX1" fmla="*/ 0 w 78731"/>
                <a:gd name="connsiteY1" fmla="*/ 40596 h 180665"/>
                <a:gd name="connsiteX2" fmla="*/ 78250 w 78731"/>
                <a:gd name="connsiteY2" fmla="*/ 0 h 180665"/>
                <a:gd name="connsiteX3" fmla="*/ 78731 w 78731"/>
                <a:gd name="connsiteY3" fmla="*/ 67083 h 180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731" h="180665">
                  <a:moveTo>
                    <a:pt x="0" y="180665"/>
                  </a:moveTo>
                  <a:lnTo>
                    <a:pt x="0" y="40596"/>
                  </a:lnTo>
                  <a:lnTo>
                    <a:pt x="78250" y="0"/>
                  </a:lnTo>
                  <a:lnTo>
                    <a:pt x="78731" y="6708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orme libre : forme 70">
              <a:extLst>
                <a:ext uri="{FF2B5EF4-FFF2-40B4-BE49-F238E27FC236}">
                  <a16:creationId xmlns:a16="http://schemas.microsoft.com/office/drawing/2014/main" id="{6EC16758-5536-44AA-B18E-D5428BFF36DA}"/>
                </a:ext>
              </a:extLst>
            </p:cNvPr>
            <p:cNvSpPr/>
            <p:nvPr/>
          </p:nvSpPr>
          <p:spPr>
            <a:xfrm rot="8716295">
              <a:off x="-15341" y="2575209"/>
              <a:ext cx="103435" cy="152027"/>
            </a:xfrm>
            <a:custGeom>
              <a:avLst/>
              <a:gdLst>
                <a:gd name="connsiteX0" fmla="*/ 43288 w 103435"/>
                <a:gd name="connsiteY0" fmla="*/ 152027 h 152027"/>
                <a:gd name="connsiteX1" fmla="*/ 43288 w 103435"/>
                <a:gd name="connsiteY1" fmla="*/ 16404 h 152027"/>
                <a:gd name="connsiteX2" fmla="*/ 0 w 103435"/>
                <a:gd name="connsiteY2" fmla="*/ 16404 h 152027"/>
                <a:gd name="connsiteX3" fmla="*/ 0 w 103435"/>
                <a:gd name="connsiteY3" fmla="*/ 2278 h 152027"/>
                <a:gd name="connsiteX4" fmla="*/ 103435 w 103435"/>
                <a:gd name="connsiteY4" fmla="*/ 0 h 152027"/>
                <a:gd name="connsiteX5" fmla="*/ 103435 w 103435"/>
                <a:gd name="connsiteY5" fmla="*/ 65255 h 152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152027">
                  <a:moveTo>
                    <a:pt x="43288" y="152027"/>
                  </a:move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65255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orme libre : forme 71">
              <a:extLst>
                <a:ext uri="{FF2B5EF4-FFF2-40B4-BE49-F238E27FC236}">
                  <a16:creationId xmlns:a16="http://schemas.microsoft.com/office/drawing/2014/main" id="{F8CD2FD6-8E29-4A7B-A6E7-A08269AC0224}"/>
                </a:ext>
              </a:extLst>
            </p:cNvPr>
            <p:cNvSpPr/>
            <p:nvPr/>
          </p:nvSpPr>
          <p:spPr>
            <a:xfrm rot="8716295">
              <a:off x="279722" y="21339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orme libre : forme 72">
              <a:extLst>
                <a:ext uri="{FF2B5EF4-FFF2-40B4-BE49-F238E27FC236}">
                  <a16:creationId xmlns:a16="http://schemas.microsoft.com/office/drawing/2014/main" id="{B8E4BE1C-C619-4E1A-8472-B00AFC43BA29}"/>
                </a:ext>
              </a:extLst>
            </p:cNvPr>
            <p:cNvSpPr/>
            <p:nvPr/>
          </p:nvSpPr>
          <p:spPr>
            <a:xfrm rot="8716295">
              <a:off x="369114" y="21631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" name="Forme libre : forme 73">
              <a:extLst>
                <a:ext uri="{FF2B5EF4-FFF2-40B4-BE49-F238E27FC236}">
                  <a16:creationId xmlns:a16="http://schemas.microsoft.com/office/drawing/2014/main" id="{E00D5309-AD7C-43C7-8A0B-B7211B97E879}"/>
                </a:ext>
              </a:extLst>
            </p:cNvPr>
            <p:cNvSpPr/>
            <p:nvPr/>
          </p:nvSpPr>
          <p:spPr>
            <a:xfrm rot="8716295">
              <a:off x="167488" y="22224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" name="Forme libre : forme 74">
              <a:extLst>
                <a:ext uri="{FF2B5EF4-FFF2-40B4-BE49-F238E27FC236}">
                  <a16:creationId xmlns:a16="http://schemas.microsoft.com/office/drawing/2014/main" id="{569B59A1-12B4-4886-9F85-B0AFCE236D87}"/>
                </a:ext>
              </a:extLst>
            </p:cNvPr>
            <p:cNvSpPr/>
            <p:nvPr/>
          </p:nvSpPr>
          <p:spPr>
            <a:xfrm rot="8716295">
              <a:off x="42586" y="20137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" name="Forme libre : forme 75">
              <a:extLst>
                <a:ext uri="{FF2B5EF4-FFF2-40B4-BE49-F238E27FC236}">
                  <a16:creationId xmlns:a16="http://schemas.microsoft.com/office/drawing/2014/main" id="{F564295A-16CC-45A5-86A1-4CEC6CD90425}"/>
                </a:ext>
              </a:extLst>
            </p:cNvPr>
            <p:cNvSpPr/>
            <p:nvPr/>
          </p:nvSpPr>
          <p:spPr>
            <a:xfrm rot="8716295">
              <a:off x="257666" y="226339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" name="Forme libre : forme 76">
              <a:extLst>
                <a:ext uri="{FF2B5EF4-FFF2-40B4-BE49-F238E27FC236}">
                  <a16:creationId xmlns:a16="http://schemas.microsoft.com/office/drawing/2014/main" id="{2384700C-00D8-4B4D-ABDF-BE0456A14505}"/>
                </a:ext>
              </a:extLst>
            </p:cNvPr>
            <p:cNvSpPr/>
            <p:nvPr/>
          </p:nvSpPr>
          <p:spPr>
            <a:xfrm rot="8716295">
              <a:off x="16215" y="211379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" name="Forme libre : forme 77">
              <a:extLst>
                <a:ext uri="{FF2B5EF4-FFF2-40B4-BE49-F238E27FC236}">
                  <a16:creationId xmlns:a16="http://schemas.microsoft.com/office/drawing/2014/main" id="{D8BA4606-ED26-402C-93D7-D77E55C056EF}"/>
                </a:ext>
              </a:extLst>
            </p:cNvPr>
            <p:cNvSpPr/>
            <p:nvPr/>
          </p:nvSpPr>
          <p:spPr>
            <a:xfrm rot="7484129">
              <a:off x="362597" y="245474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orme libre : forme 78">
              <a:extLst>
                <a:ext uri="{FF2B5EF4-FFF2-40B4-BE49-F238E27FC236}">
                  <a16:creationId xmlns:a16="http://schemas.microsoft.com/office/drawing/2014/main" id="{3CCE9711-ABFF-417D-B3E6-0BDB1263FCD1}"/>
                </a:ext>
              </a:extLst>
            </p:cNvPr>
            <p:cNvSpPr/>
            <p:nvPr/>
          </p:nvSpPr>
          <p:spPr>
            <a:xfrm rot="13089394">
              <a:off x="463440" y="2426400"/>
              <a:ext cx="272584" cy="319064"/>
            </a:xfrm>
            <a:custGeom>
              <a:avLst/>
              <a:gdLst>
                <a:gd name="connsiteX0" fmla="*/ 80445 w 272584"/>
                <a:gd name="connsiteY0" fmla="*/ 215518 h 319064"/>
                <a:gd name="connsiteX1" fmla="*/ 0 w 272584"/>
                <a:gd name="connsiteY1" fmla="*/ 93007 h 319064"/>
                <a:gd name="connsiteX2" fmla="*/ 0 w 272584"/>
                <a:gd name="connsiteY2" fmla="*/ 38074 h 319064"/>
                <a:gd name="connsiteX3" fmla="*/ 73388 w 272584"/>
                <a:gd name="connsiteY3" fmla="*/ 0 h 319064"/>
                <a:gd name="connsiteX4" fmla="*/ 74492 w 272584"/>
                <a:gd name="connsiteY4" fmla="*/ 153950 h 319064"/>
                <a:gd name="connsiteX5" fmla="*/ 76768 w 272584"/>
                <a:gd name="connsiteY5" fmla="*/ 200369 h 319064"/>
                <a:gd name="connsiteX6" fmla="*/ 272584 w 272584"/>
                <a:gd name="connsiteY6" fmla="*/ 258238 h 319064"/>
                <a:gd name="connsiteX7" fmla="*/ 177331 w 272584"/>
                <a:gd name="connsiteY7" fmla="*/ 311347 h 319064"/>
                <a:gd name="connsiteX8" fmla="*/ 148437 w 272584"/>
                <a:gd name="connsiteY8" fmla="*/ 319064 h 319064"/>
                <a:gd name="connsiteX9" fmla="*/ 119231 w 272584"/>
                <a:gd name="connsiteY9" fmla="*/ 274585 h 319064"/>
                <a:gd name="connsiteX10" fmla="*/ 153949 w 272584"/>
                <a:gd name="connsiteY10" fmla="*/ 281965 h 319064"/>
                <a:gd name="connsiteX11" fmla="*/ 203610 w 272584"/>
                <a:gd name="connsiteY11" fmla="*/ 273136 h 319064"/>
                <a:gd name="connsiteX12" fmla="*/ 271481 w 272584"/>
                <a:gd name="connsiteY12" fmla="*/ 245547 h 319064"/>
                <a:gd name="connsiteX13" fmla="*/ 272584 w 272584"/>
                <a:gd name="connsiteY13" fmla="*/ 252720 h 319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2584" h="319064">
                  <a:moveTo>
                    <a:pt x="80445" y="215518"/>
                  </a:moveTo>
                  <a:lnTo>
                    <a:pt x="0" y="93007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3664" y="169400"/>
                    <a:pt x="74492" y="184988"/>
                    <a:pt x="76768" y="200369"/>
                  </a:cubicBezTo>
                  <a:close/>
                  <a:moveTo>
                    <a:pt x="272584" y="258238"/>
                  </a:moveTo>
                  <a:cubicBezTo>
                    <a:pt x="243339" y="283344"/>
                    <a:pt x="209542" y="300312"/>
                    <a:pt x="177331" y="311347"/>
                  </a:cubicBezTo>
                  <a:lnTo>
                    <a:pt x="148437" y="319064"/>
                  </a:lnTo>
                  <a:lnTo>
                    <a:pt x="119231" y="274585"/>
                  </a:lnTo>
                  <a:lnTo>
                    <a:pt x="153949" y="281965"/>
                  </a:lnTo>
                  <a:cubicBezTo>
                    <a:pt x="171055" y="281413"/>
                    <a:pt x="187609" y="278102"/>
                    <a:pt x="203610" y="273136"/>
                  </a:cubicBezTo>
                  <a:cubicBezTo>
                    <a:pt x="226785" y="265963"/>
                    <a:pt x="249409" y="256583"/>
                    <a:pt x="271481" y="245547"/>
                  </a:cubicBezTo>
                  <a:cubicBezTo>
                    <a:pt x="272032" y="247754"/>
                    <a:pt x="272584" y="250513"/>
                    <a:pt x="272584" y="25272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Forme libre : forme 79">
              <a:extLst>
                <a:ext uri="{FF2B5EF4-FFF2-40B4-BE49-F238E27FC236}">
                  <a16:creationId xmlns:a16="http://schemas.microsoft.com/office/drawing/2014/main" id="{6E12610B-6A34-4C00-8EC5-09F9F5AEEEF0}"/>
                </a:ext>
              </a:extLst>
            </p:cNvPr>
            <p:cNvSpPr/>
            <p:nvPr/>
          </p:nvSpPr>
          <p:spPr>
            <a:xfrm rot="8716295">
              <a:off x="675867" y="2357327"/>
              <a:ext cx="38012" cy="45752"/>
            </a:xfrm>
            <a:custGeom>
              <a:avLst/>
              <a:gdLst>
                <a:gd name="connsiteX0" fmla="*/ 0 w 38012"/>
                <a:gd name="connsiteY0" fmla="*/ 45752 h 45752"/>
                <a:gd name="connsiteX1" fmla="*/ 37842 w 38012"/>
                <a:gd name="connsiteY1" fmla="*/ 0 h 45752"/>
                <a:gd name="connsiteX2" fmla="*/ 38012 w 38012"/>
                <a:gd name="connsiteY2" fmla="*/ 641 h 45752"/>
                <a:gd name="connsiteX3" fmla="*/ 6841 w 38012"/>
                <a:gd name="connsiteY3" fmla="*/ 42560 h 45752"/>
                <a:gd name="connsiteX4" fmla="*/ 7378 w 38012"/>
                <a:gd name="connsiteY4" fmla="*/ 42560 h 45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012" h="45752">
                  <a:moveTo>
                    <a:pt x="0" y="45752"/>
                  </a:moveTo>
                  <a:lnTo>
                    <a:pt x="37842" y="0"/>
                  </a:lnTo>
                  <a:lnTo>
                    <a:pt x="38012" y="641"/>
                  </a:lnTo>
                  <a:cubicBezTo>
                    <a:pt x="36400" y="19451"/>
                    <a:pt x="24039" y="35036"/>
                    <a:pt x="6841" y="42560"/>
                  </a:cubicBezTo>
                  <a:lnTo>
                    <a:pt x="7378" y="4256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" name="Forme libre : forme 80">
              <a:extLst>
                <a:ext uri="{FF2B5EF4-FFF2-40B4-BE49-F238E27FC236}">
                  <a16:creationId xmlns:a16="http://schemas.microsoft.com/office/drawing/2014/main" id="{04C60C27-7F84-4DDC-864F-602B18A26BC5}"/>
                </a:ext>
              </a:extLst>
            </p:cNvPr>
            <p:cNvSpPr/>
            <p:nvPr/>
          </p:nvSpPr>
          <p:spPr>
            <a:xfrm rot="8716295">
              <a:off x="601197" y="21260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orme libre : forme 81">
              <a:extLst>
                <a:ext uri="{FF2B5EF4-FFF2-40B4-BE49-F238E27FC236}">
                  <a16:creationId xmlns:a16="http://schemas.microsoft.com/office/drawing/2014/main" id="{603BCEF5-66FB-4B3A-9672-2C4F09A114FA}"/>
                </a:ext>
              </a:extLst>
            </p:cNvPr>
            <p:cNvSpPr/>
            <p:nvPr/>
          </p:nvSpPr>
          <p:spPr>
            <a:xfrm rot="8716295">
              <a:off x="357951" y="21562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Forme libre : forme 82">
              <a:extLst>
                <a:ext uri="{FF2B5EF4-FFF2-40B4-BE49-F238E27FC236}">
                  <a16:creationId xmlns:a16="http://schemas.microsoft.com/office/drawing/2014/main" id="{47C10671-5456-47FF-825A-4447688D4139}"/>
                </a:ext>
              </a:extLst>
            </p:cNvPr>
            <p:cNvSpPr/>
            <p:nvPr/>
          </p:nvSpPr>
          <p:spPr>
            <a:xfrm rot="8716295">
              <a:off x="535403" y="199698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4" name="Forme libre : forme 83">
              <a:extLst>
                <a:ext uri="{FF2B5EF4-FFF2-40B4-BE49-F238E27FC236}">
                  <a16:creationId xmlns:a16="http://schemas.microsoft.com/office/drawing/2014/main" id="{DB34C374-02D3-4583-9890-9C27CA821837}"/>
                </a:ext>
              </a:extLst>
            </p:cNvPr>
            <p:cNvSpPr/>
            <p:nvPr/>
          </p:nvSpPr>
          <p:spPr>
            <a:xfrm rot="8716295">
              <a:off x="-76043" y="1768178"/>
              <a:ext cx="197178" cy="215049"/>
            </a:xfrm>
            <a:custGeom>
              <a:avLst/>
              <a:gdLst>
                <a:gd name="connsiteX0" fmla="*/ 51490 w 197178"/>
                <a:gd name="connsiteY0" fmla="*/ 215049 h 215049"/>
                <a:gd name="connsiteX1" fmla="*/ 51490 w 197178"/>
                <a:gd name="connsiteY1" fmla="*/ 45624 h 215049"/>
                <a:gd name="connsiteX2" fmla="*/ 0 w 197178"/>
                <a:gd name="connsiteY2" fmla="*/ 45624 h 215049"/>
                <a:gd name="connsiteX3" fmla="*/ 0 w 197178"/>
                <a:gd name="connsiteY3" fmla="*/ 1424 h 215049"/>
                <a:gd name="connsiteX4" fmla="*/ 104803 w 197178"/>
                <a:gd name="connsiteY4" fmla="*/ 1425 h 215049"/>
                <a:gd name="connsiteX5" fmla="*/ 104803 w 197178"/>
                <a:gd name="connsiteY5" fmla="*/ 75242 h 215049"/>
                <a:gd name="connsiteX6" fmla="*/ 106169 w 197178"/>
                <a:gd name="connsiteY6" fmla="*/ 75242 h 215049"/>
                <a:gd name="connsiteX7" fmla="*/ 154014 w 197178"/>
                <a:gd name="connsiteY7" fmla="*/ 5981 h 215049"/>
                <a:gd name="connsiteX8" fmla="*/ 185455 w 197178"/>
                <a:gd name="connsiteY8" fmla="*/ 57 h 215049"/>
                <a:gd name="connsiteX9" fmla="*/ 197178 w 197178"/>
                <a:gd name="connsiteY9" fmla="*/ 4872 h 215049"/>
                <a:gd name="connsiteX10" fmla="*/ 170795 w 197178"/>
                <a:gd name="connsiteY10" fmla="*/ 42934 h 215049"/>
                <a:gd name="connsiteX11" fmla="*/ 164950 w 197178"/>
                <a:gd name="connsiteY11" fmla="*/ 40156 h 215049"/>
                <a:gd name="connsiteX12" fmla="*/ 111638 w 197178"/>
                <a:gd name="connsiteY12" fmla="*/ 127643 h 215049"/>
                <a:gd name="connsiteX13" fmla="*/ 111638 w 197178"/>
                <a:gd name="connsiteY13" fmla="*/ 128277 h 21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178" h="215049">
                  <a:moveTo>
                    <a:pt x="51490" y="215049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4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lnTo>
                    <a:pt x="197178" y="4872"/>
                  </a:lnTo>
                  <a:lnTo>
                    <a:pt x="170795" y="42934"/>
                  </a:lnTo>
                  <a:lnTo>
                    <a:pt x="164950" y="40156"/>
                  </a:ln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128277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5" name="Forme libre : forme 84">
              <a:extLst>
                <a:ext uri="{FF2B5EF4-FFF2-40B4-BE49-F238E27FC236}">
                  <a16:creationId xmlns:a16="http://schemas.microsoft.com/office/drawing/2014/main" id="{F27A5053-248B-4729-A180-CFD83FBA8C7D}"/>
                </a:ext>
              </a:extLst>
            </p:cNvPr>
            <p:cNvSpPr/>
            <p:nvPr/>
          </p:nvSpPr>
          <p:spPr>
            <a:xfrm rot="8716295">
              <a:off x="56555" y="14742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6" name="Forme libre : forme 85">
              <a:extLst>
                <a:ext uri="{FF2B5EF4-FFF2-40B4-BE49-F238E27FC236}">
                  <a16:creationId xmlns:a16="http://schemas.microsoft.com/office/drawing/2014/main" id="{9918622A-7E96-4EC8-A35B-CBCD19A79AE2}"/>
                </a:ext>
              </a:extLst>
            </p:cNvPr>
            <p:cNvSpPr/>
            <p:nvPr/>
          </p:nvSpPr>
          <p:spPr>
            <a:xfrm rot="8716295">
              <a:off x="145947" y="15034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7" name="Forme libre : forme 86">
              <a:extLst>
                <a:ext uri="{FF2B5EF4-FFF2-40B4-BE49-F238E27FC236}">
                  <a16:creationId xmlns:a16="http://schemas.microsoft.com/office/drawing/2014/main" id="{0ECD9757-2AFD-4623-9C3D-24E52F11F047}"/>
                </a:ext>
              </a:extLst>
            </p:cNvPr>
            <p:cNvSpPr/>
            <p:nvPr/>
          </p:nvSpPr>
          <p:spPr>
            <a:xfrm rot="8716295">
              <a:off x="-21870" y="1443501"/>
              <a:ext cx="68614" cy="55323"/>
            </a:xfrm>
            <a:custGeom>
              <a:avLst/>
              <a:gdLst>
                <a:gd name="connsiteX0" fmla="*/ 0 w 68614"/>
                <a:gd name="connsiteY0" fmla="*/ 55323 h 55323"/>
                <a:gd name="connsiteX1" fmla="*/ 0 w 68614"/>
                <a:gd name="connsiteY1" fmla="*/ 0 h 55323"/>
                <a:gd name="connsiteX2" fmla="*/ 68614 w 68614"/>
                <a:gd name="connsiteY2" fmla="*/ 0 h 55323"/>
                <a:gd name="connsiteX3" fmla="*/ 30266 w 68614"/>
                <a:gd name="connsiteY3" fmla="*/ 55323 h 55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614" h="55323">
                  <a:moveTo>
                    <a:pt x="0" y="55323"/>
                  </a:moveTo>
                  <a:lnTo>
                    <a:pt x="0" y="0"/>
                  </a:lnTo>
                  <a:lnTo>
                    <a:pt x="68614" y="0"/>
                  </a:lnTo>
                  <a:lnTo>
                    <a:pt x="30266" y="5532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8" name="Forme libre : forme 87">
              <a:extLst>
                <a:ext uri="{FF2B5EF4-FFF2-40B4-BE49-F238E27FC236}">
                  <a16:creationId xmlns:a16="http://schemas.microsoft.com/office/drawing/2014/main" id="{661ED1FA-7FC0-427E-9226-6E31215700D9}"/>
                </a:ext>
              </a:extLst>
            </p:cNvPr>
            <p:cNvSpPr/>
            <p:nvPr/>
          </p:nvSpPr>
          <p:spPr>
            <a:xfrm rot="8716295">
              <a:off x="35817" y="1618109"/>
              <a:ext cx="103435" cy="203897"/>
            </a:xfrm>
            <a:custGeom>
              <a:avLst/>
              <a:gdLst>
                <a:gd name="connsiteX0" fmla="*/ 87556 w 103435"/>
                <a:gd name="connsiteY0" fmla="*/ 203897 h 203897"/>
                <a:gd name="connsiteX1" fmla="*/ 43288 w 103435"/>
                <a:gd name="connsiteY1" fmla="*/ 161305 h 203897"/>
                <a:gd name="connsiteX2" fmla="*/ 43288 w 103435"/>
                <a:gd name="connsiteY2" fmla="*/ 16404 h 203897"/>
                <a:gd name="connsiteX3" fmla="*/ 0 w 103435"/>
                <a:gd name="connsiteY3" fmla="*/ 16404 h 203897"/>
                <a:gd name="connsiteX4" fmla="*/ 0 w 103435"/>
                <a:gd name="connsiteY4" fmla="*/ 2278 h 203897"/>
                <a:gd name="connsiteX5" fmla="*/ 103435 w 103435"/>
                <a:gd name="connsiteY5" fmla="*/ 0 h 203897"/>
                <a:gd name="connsiteX6" fmla="*/ 103435 w 103435"/>
                <a:gd name="connsiteY6" fmla="*/ 180989 h 203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03897">
                  <a:moveTo>
                    <a:pt x="87556" y="203897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180989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9" name="Forme libre : forme 88">
              <a:extLst>
                <a:ext uri="{FF2B5EF4-FFF2-40B4-BE49-F238E27FC236}">
                  <a16:creationId xmlns:a16="http://schemas.microsoft.com/office/drawing/2014/main" id="{A1295F39-BDBB-432C-B32B-C5B551977FC2}"/>
                </a:ext>
              </a:extLst>
            </p:cNvPr>
            <p:cNvSpPr/>
            <p:nvPr/>
          </p:nvSpPr>
          <p:spPr>
            <a:xfrm rot="7484129">
              <a:off x="139430" y="17950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" name="Forme libre : forme 89">
              <a:extLst>
                <a:ext uri="{FF2B5EF4-FFF2-40B4-BE49-F238E27FC236}">
                  <a16:creationId xmlns:a16="http://schemas.microsoft.com/office/drawing/2014/main" id="{F2E91B5E-C359-4716-9781-DAEDAFFE884C}"/>
                </a:ext>
              </a:extLst>
            </p:cNvPr>
            <p:cNvSpPr/>
            <p:nvPr/>
          </p:nvSpPr>
          <p:spPr>
            <a:xfrm rot="13089394">
              <a:off x="244250" y="17615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" name="Forme libre : forme 90">
              <a:extLst>
                <a:ext uri="{FF2B5EF4-FFF2-40B4-BE49-F238E27FC236}">
                  <a16:creationId xmlns:a16="http://schemas.microsoft.com/office/drawing/2014/main" id="{4C9CCC26-5417-41E7-B753-3B7D59038FBD}"/>
                </a:ext>
              </a:extLst>
            </p:cNvPr>
            <p:cNvSpPr/>
            <p:nvPr/>
          </p:nvSpPr>
          <p:spPr>
            <a:xfrm rot="8716295">
              <a:off x="429835" y="15699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" name="Forme libre : forme 91">
              <a:extLst>
                <a:ext uri="{FF2B5EF4-FFF2-40B4-BE49-F238E27FC236}">
                  <a16:creationId xmlns:a16="http://schemas.microsoft.com/office/drawing/2014/main" id="{D6712892-AD9E-4694-AEF5-3D17C5AEEE1D}"/>
                </a:ext>
              </a:extLst>
            </p:cNvPr>
            <p:cNvSpPr/>
            <p:nvPr/>
          </p:nvSpPr>
          <p:spPr>
            <a:xfrm rot="8716295">
              <a:off x="378030" y="14663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" name="Forme libre : forme 92">
              <a:extLst>
                <a:ext uri="{FF2B5EF4-FFF2-40B4-BE49-F238E27FC236}">
                  <a16:creationId xmlns:a16="http://schemas.microsoft.com/office/drawing/2014/main" id="{8DA7EFED-D0A6-45D4-A875-2F1DCEFC57C8}"/>
                </a:ext>
              </a:extLst>
            </p:cNvPr>
            <p:cNvSpPr/>
            <p:nvPr/>
          </p:nvSpPr>
          <p:spPr>
            <a:xfrm rot="8716295">
              <a:off x="134784" y="14965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" name="Forme libre : forme 93">
              <a:extLst>
                <a:ext uri="{FF2B5EF4-FFF2-40B4-BE49-F238E27FC236}">
                  <a16:creationId xmlns:a16="http://schemas.microsoft.com/office/drawing/2014/main" id="{32971A81-1820-4964-A66E-2FD721A16F56}"/>
                </a:ext>
              </a:extLst>
            </p:cNvPr>
            <p:cNvSpPr/>
            <p:nvPr/>
          </p:nvSpPr>
          <p:spPr>
            <a:xfrm rot="8716295">
              <a:off x="312236" y="13372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orme libre : forme 94">
              <a:extLst>
                <a:ext uri="{FF2B5EF4-FFF2-40B4-BE49-F238E27FC236}">
                  <a16:creationId xmlns:a16="http://schemas.microsoft.com/office/drawing/2014/main" id="{BC42F9C8-99E7-4F04-B258-C142D2DE142F}"/>
                </a:ext>
              </a:extLst>
            </p:cNvPr>
            <p:cNvSpPr/>
            <p:nvPr/>
          </p:nvSpPr>
          <p:spPr>
            <a:xfrm rot="8716295">
              <a:off x="-17798" y="949199"/>
              <a:ext cx="39526" cy="50123"/>
            </a:xfrm>
            <a:custGeom>
              <a:avLst/>
              <a:gdLst>
                <a:gd name="connsiteX0" fmla="*/ 0 w 39526"/>
                <a:gd name="connsiteY0" fmla="*/ 50123 h 50123"/>
                <a:gd name="connsiteX1" fmla="*/ 0 w 39526"/>
                <a:gd name="connsiteY1" fmla="*/ 0 h 50123"/>
                <a:gd name="connsiteX2" fmla="*/ 39526 w 39526"/>
                <a:gd name="connsiteY2" fmla="*/ 0 h 50123"/>
                <a:gd name="connsiteX3" fmla="*/ 4782 w 39526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26" h="50123">
                  <a:moveTo>
                    <a:pt x="0" y="50123"/>
                  </a:moveTo>
                  <a:lnTo>
                    <a:pt x="0" y="0"/>
                  </a:lnTo>
                  <a:lnTo>
                    <a:pt x="39526" y="0"/>
                  </a:lnTo>
                  <a:lnTo>
                    <a:pt x="4782" y="5012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Forme libre : forme 95">
              <a:extLst>
                <a:ext uri="{FF2B5EF4-FFF2-40B4-BE49-F238E27FC236}">
                  <a16:creationId xmlns:a16="http://schemas.microsoft.com/office/drawing/2014/main" id="{D29A62DB-0DC5-407D-A1DF-C8A39BAC784A}"/>
                </a:ext>
              </a:extLst>
            </p:cNvPr>
            <p:cNvSpPr/>
            <p:nvPr/>
          </p:nvSpPr>
          <p:spPr>
            <a:xfrm rot="8716295">
              <a:off x="-64996" y="834728"/>
              <a:ext cx="249650" cy="254774"/>
            </a:xfrm>
            <a:custGeom>
              <a:avLst/>
              <a:gdLst>
                <a:gd name="connsiteX0" fmla="*/ 51490 w 249650"/>
                <a:gd name="connsiteY0" fmla="*/ 254774 h 254774"/>
                <a:gd name="connsiteX1" fmla="*/ 51490 w 249650"/>
                <a:gd name="connsiteY1" fmla="*/ 45624 h 254774"/>
                <a:gd name="connsiteX2" fmla="*/ 0 w 249650"/>
                <a:gd name="connsiteY2" fmla="*/ 45624 h 254774"/>
                <a:gd name="connsiteX3" fmla="*/ 0 w 249650"/>
                <a:gd name="connsiteY3" fmla="*/ 1425 h 254774"/>
                <a:gd name="connsiteX4" fmla="*/ 104803 w 249650"/>
                <a:gd name="connsiteY4" fmla="*/ 1425 h 254774"/>
                <a:gd name="connsiteX5" fmla="*/ 104803 w 249650"/>
                <a:gd name="connsiteY5" fmla="*/ 75242 h 254774"/>
                <a:gd name="connsiteX6" fmla="*/ 106169 w 249650"/>
                <a:gd name="connsiteY6" fmla="*/ 75242 h 254774"/>
                <a:gd name="connsiteX7" fmla="*/ 154014 w 249650"/>
                <a:gd name="connsiteY7" fmla="*/ 5981 h 254774"/>
                <a:gd name="connsiteX8" fmla="*/ 185455 w 249650"/>
                <a:gd name="connsiteY8" fmla="*/ 57 h 254774"/>
                <a:gd name="connsiteX9" fmla="*/ 240647 w 249650"/>
                <a:gd name="connsiteY9" fmla="*/ 22727 h 254774"/>
                <a:gd name="connsiteX10" fmla="*/ 249650 w 249650"/>
                <a:gd name="connsiteY10" fmla="*/ 52327 h 254774"/>
                <a:gd name="connsiteX11" fmla="*/ 218795 w 249650"/>
                <a:gd name="connsiteY11" fmla="*/ 96841 h 254774"/>
                <a:gd name="connsiteX12" fmla="*/ 198669 w 249650"/>
                <a:gd name="connsiteY12" fmla="*/ 98025 h 254774"/>
                <a:gd name="connsiteX13" fmla="*/ 198669 w 249650"/>
                <a:gd name="connsiteY13" fmla="*/ 81621 h 254774"/>
                <a:gd name="connsiteX14" fmla="*/ 164950 w 249650"/>
                <a:gd name="connsiteY14" fmla="*/ 40156 h 254774"/>
                <a:gd name="connsiteX15" fmla="*/ 111638 w 249650"/>
                <a:gd name="connsiteY15" fmla="*/ 127643 h 254774"/>
                <a:gd name="connsiteX16" fmla="*/ 111638 w 249650"/>
                <a:gd name="connsiteY16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9650" h="254774">
                  <a:moveTo>
                    <a:pt x="51490" y="254774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08922" y="-398"/>
                    <a:pt x="227718" y="7576"/>
                    <a:pt x="240647" y="22727"/>
                  </a:cubicBezTo>
                  <a:lnTo>
                    <a:pt x="249650" y="52327"/>
                  </a:lnTo>
                  <a:lnTo>
                    <a:pt x="218795" y="96841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213764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" name="Forme libre : forme 96">
              <a:extLst>
                <a:ext uri="{FF2B5EF4-FFF2-40B4-BE49-F238E27FC236}">
                  <a16:creationId xmlns:a16="http://schemas.microsoft.com/office/drawing/2014/main" id="{4160A2B5-61C4-44D3-8FA4-49A1FCD41A0C}"/>
                </a:ext>
              </a:extLst>
            </p:cNvPr>
            <p:cNvSpPr/>
            <p:nvPr/>
          </p:nvSpPr>
          <p:spPr>
            <a:xfrm rot="7484129">
              <a:off x="-63314" y="1172497"/>
              <a:ext cx="203848" cy="146395"/>
            </a:xfrm>
            <a:custGeom>
              <a:avLst/>
              <a:gdLst>
                <a:gd name="connsiteX0" fmla="*/ 0 w 203848"/>
                <a:gd name="connsiteY0" fmla="*/ 55323 h 146395"/>
                <a:gd name="connsiteX1" fmla="*/ 0 w 203848"/>
                <a:gd name="connsiteY1" fmla="*/ 0 h 146395"/>
                <a:gd name="connsiteX2" fmla="*/ 203848 w 203848"/>
                <a:gd name="connsiteY2" fmla="*/ 0 h 146395"/>
                <a:gd name="connsiteX3" fmla="*/ 203847 w 203848"/>
                <a:gd name="connsiteY3" fmla="*/ 49512 h 146395"/>
                <a:gd name="connsiteX4" fmla="*/ 195466 w 203848"/>
                <a:gd name="connsiteY4" fmla="*/ 55323 h 146395"/>
                <a:gd name="connsiteX5" fmla="*/ 139055 w 203848"/>
                <a:gd name="connsiteY5" fmla="*/ 55323 h 146395"/>
                <a:gd name="connsiteX6" fmla="*/ 121388 w 203848"/>
                <a:gd name="connsiteY6" fmla="*/ 106685 h 146395"/>
                <a:gd name="connsiteX7" fmla="*/ 64115 w 203848"/>
                <a:gd name="connsiteY7" fmla="*/ 146395 h 146395"/>
                <a:gd name="connsiteX8" fmla="*/ 47847 w 203848"/>
                <a:gd name="connsiteY8" fmla="*/ 116129 h 146395"/>
                <a:gd name="connsiteX9" fmla="*/ 69777 w 203848"/>
                <a:gd name="connsiteY9" fmla="*/ 55323 h 146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848" h="146395">
                  <a:moveTo>
                    <a:pt x="0" y="55323"/>
                  </a:moveTo>
                  <a:lnTo>
                    <a:pt x="0" y="0"/>
                  </a:lnTo>
                  <a:lnTo>
                    <a:pt x="203848" y="0"/>
                  </a:lnTo>
                  <a:lnTo>
                    <a:pt x="203847" y="49512"/>
                  </a:lnTo>
                  <a:lnTo>
                    <a:pt x="195466" y="55323"/>
                  </a:lnTo>
                  <a:lnTo>
                    <a:pt x="139055" y="55323"/>
                  </a:lnTo>
                  <a:lnTo>
                    <a:pt x="121388" y="106685"/>
                  </a:lnTo>
                  <a:lnTo>
                    <a:pt x="64115" y="146395"/>
                  </a:lnTo>
                  <a:lnTo>
                    <a:pt x="47847" y="116129"/>
                  </a:lnTo>
                  <a:lnTo>
                    <a:pt x="69777" y="5532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" name="Forme libre : forme 97">
              <a:extLst>
                <a:ext uri="{FF2B5EF4-FFF2-40B4-BE49-F238E27FC236}">
                  <a16:creationId xmlns:a16="http://schemas.microsoft.com/office/drawing/2014/main" id="{0F651F8F-312F-4D1A-9E4B-A79B81999918}"/>
                </a:ext>
              </a:extLst>
            </p:cNvPr>
            <p:cNvSpPr/>
            <p:nvPr/>
          </p:nvSpPr>
          <p:spPr>
            <a:xfrm rot="13089394">
              <a:off x="25311" y="109952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" name="Forme libre : forme 98">
              <a:extLst>
                <a:ext uri="{FF2B5EF4-FFF2-40B4-BE49-F238E27FC236}">
                  <a16:creationId xmlns:a16="http://schemas.microsoft.com/office/drawing/2014/main" id="{12E33E54-ECAF-462B-B069-F233780DF121}"/>
                </a:ext>
              </a:extLst>
            </p:cNvPr>
            <p:cNvSpPr/>
            <p:nvPr/>
          </p:nvSpPr>
          <p:spPr>
            <a:xfrm rot="8716295">
              <a:off x="210896" y="90784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orme libre : forme 99">
              <a:extLst>
                <a:ext uri="{FF2B5EF4-FFF2-40B4-BE49-F238E27FC236}">
                  <a16:creationId xmlns:a16="http://schemas.microsoft.com/office/drawing/2014/main" id="{42ACC1F1-A8E1-420C-B7DE-55FFEE501260}"/>
                </a:ext>
              </a:extLst>
            </p:cNvPr>
            <p:cNvSpPr/>
            <p:nvPr/>
          </p:nvSpPr>
          <p:spPr>
            <a:xfrm rot="8716295">
              <a:off x="159091" y="80425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Forme libre : forme 100">
              <a:extLst>
                <a:ext uri="{FF2B5EF4-FFF2-40B4-BE49-F238E27FC236}">
                  <a16:creationId xmlns:a16="http://schemas.microsoft.com/office/drawing/2014/main" id="{B902C445-D42B-4D0E-8897-FDE236E78375}"/>
                </a:ext>
              </a:extLst>
            </p:cNvPr>
            <p:cNvSpPr/>
            <p:nvPr/>
          </p:nvSpPr>
          <p:spPr>
            <a:xfrm rot="8716295">
              <a:off x="93297" y="67523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" name="Forme libre : forme 101">
              <a:extLst>
                <a:ext uri="{FF2B5EF4-FFF2-40B4-BE49-F238E27FC236}">
                  <a16:creationId xmlns:a16="http://schemas.microsoft.com/office/drawing/2014/main" id="{4EDB9DFE-AA44-492B-9D2C-70F199FD6162}"/>
                </a:ext>
              </a:extLst>
            </p:cNvPr>
            <p:cNvSpPr/>
            <p:nvPr/>
          </p:nvSpPr>
          <p:spPr>
            <a:xfrm rot="8716295">
              <a:off x="-7001" y="316701"/>
              <a:ext cx="14001" cy="20198"/>
            </a:xfrm>
            <a:custGeom>
              <a:avLst/>
              <a:gdLst>
                <a:gd name="connsiteX0" fmla="*/ 0 w 14001"/>
                <a:gd name="connsiteY0" fmla="*/ 20198 h 20198"/>
                <a:gd name="connsiteX1" fmla="*/ 0 w 14001"/>
                <a:gd name="connsiteY1" fmla="*/ 0 h 20198"/>
                <a:gd name="connsiteX2" fmla="*/ 14001 w 14001"/>
                <a:gd name="connsiteY2" fmla="*/ 0 h 2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01" h="20198">
                  <a:moveTo>
                    <a:pt x="0" y="20198"/>
                  </a:moveTo>
                  <a:lnTo>
                    <a:pt x="0" y="0"/>
                  </a:lnTo>
                  <a:lnTo>
                    <a:pt x="14001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" name="Forme libre : forme 102">
              <a:extLst>
                <a:ext uri="{FF2B5EF4-FFF2-40B4-BE49-F238E27FC236}">
                  <a16:creationId xmlns:a16="http://schemas.microsoft.com/office/drawing/2014/main" id="{9B8E4668-5129-4061-833F-DDB8DC144C55}"/>
                </a:ext>
              </a:extLst>
            </p:cNvPr>
            <p:cNvSpPr/>
            <p:nvPr/>
          </p:nvSpPr>
          <p:spPr>
            <a:xfrm rot="13089394">
              <a:off x="-81658" y="472652"/>
              <a:ext cx="173631" cy="237684"/>
            </a:xfrm>
            <a:custGeom>
              <a:avLst/>
              <a:gdLst>
                <a:gd name="connsiteX0" fmla="*/ 173631 w 173631"/>
                <a:gd name="connsiteY0" fmla="*/ 220990 h 237684"/>
                <a:gd name="connsiteX1" fmla="*/ 130972 w 173631"/>
                <a:gd name="connsiteY1" fmla="*/ 232382 h 237684"/>
                <a:gd name="connsiteX2" fmla="*/ 91597 w 173631"/>
                <a:gd name="connsiteY2" fmla="*/ 237521 h 237684"/>
                <a:gd name="connsiteX3" fmla="*/ 23727 w 173631"/>
                <a:gd name="connsiteY3" fmla="*/ 209931 h 237684"/>
                <a:gd name="connsiteX4" fmla="*/ 0 w 173631"/>
                <a:gd name="connsiteY4" fmla="*/ 115023 h 237684"/>
                <a:gd name="connsiteX5" fmla="*/ 0 w 173631"/>
                <a:gd name="connsiteY5" fmla="*/ 0 h 237684"/>
                <a:gd name="connsiteX6" fmla="*/ 76176 w 173631"/>
                <a:gd name="connsiteY6" fmla="*/ 96953 h 237684"/>
                <a:gd name="connsiteX7" fmla="*/ 76768 w 173631"/>
                <a:gd name="connsiteY7" fmla="*/ 109023 h 237684"/>
                <a:gd name="connsiteX8" fmla="*/ 87734 w 173631"/>
                <a:gd name="connsiteY8" fmla="*/ 154201 h 237684"/>
                <a:gd name="connsiteX9" fmla="*/ 111117 w 173631"/>
                <a:gd name="connsiteY9" fmla="*/ 181514 h 237684"/>
                <a:gd name="connsiteX10" fmla="*/ 148930 w 173631"/>
                <a:gd name="connsiteY10" fmla="*/ 189552 h 237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3631" h="237684">
                  <a:moveTo>
                    <a:pt x="173631" y="220990"/>
                  </a:moveTo>
                  <a:lnTo>
                    <a:pt x="130972" y="232382"/>
                  </a:lnTo>
                  <a:cubicBezTo>
                    <a:pt x="116428" y="235210"/>
                    <a:pt x="103047" y="236831"/>
                    <a:pt x="91597" y="237521"/>
                  </a:cubicBezTo>
                  <a:cubicBezTo>
                    <a:pt x="66215" y="239176"/>
                    <a:pt x="41384" y="228141"/>
                    <a:pt x="23727" y="209931"/>
                  </a:cubicBezTo>
                  <a:cubicBezTo>
                    <a:pt x="4966" y="191722"/>
                    <a:pt x="0" y="160270"/>
                    <a:pt x="0" y="115023"/>
                  </a:cubicBezTo>
                  <a:lnTo>
                    <a:pt x="0" y="0"/>
                  </a:lnTo>
                  <a:lnTo>
                    <a:pt x="76176" y="96953"/>
                  </a:lnTo>
                  <a:lnTo>
                    <a:pt x="76768" y="109023"/>
                  </a:lnTo>
                  <a:cubicBezTo>
                    <a:pt x="79044" y="124404"/>
                    <a:pt x="82768" y="139578"/>
                    <a:pt x="87734" y="154201"/>
                  </a:cubicBezTo>
                  <a:cubicBezTo>
                    <a:pt x="92149" y="166340"/>
                    <a:pt x="100012" y="175445"/>
                    <a:pt x="111117" y="181514"/>
                  </a:cubicBezTo>
                  <a:lnTo>
                    <a:pt x="148930" y="189552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" name="Forme libre : forme 103">
              <a:extLst>
                <a:ext uri="{FF2B5EF4-FFF2-40B4-BE49-F238E27FC236}">
                  <a16:creationId xmlns:a16="http://schemas.microsoft.com/office/drawing/2014/main" id="{99FF5E45-909E-4FF2-B754-B344F6F11F69}"/>
                </a:ext>
              </a:extLst>
            </p:cNvPr>
            <p:cNvSpPr/>
            <p:nvPr/>
          </p:nvSpPr>
          <p:spPr>
            <a:xfrm rot="8716295">
              <a:off x="-11774" y="24443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" name="Forme libre : forme 104">
              <a:extLst>
                <a:ext uri="{FF2B5EF4-FFF2-40B4-BE49-F238E27FC236}">
                  <a16:creationId xmlns:a16="http://schemas.microsoft.com/office/drawing/2014/main" id="{EB79107E-889E-47A5-A1AB-E4F4B49C7BFA}"/>
                </a:ext>
              </a:extLst>
            </p:cNvPr>
            <p:cNvSpPr/>
            <p:nvPr/>
          </p:nvSpPr>
          <p:spPr>
            <a:xfrm rot="8716295">
              <a:off x="-30092" y="143486"/>
              <a:ext cx="77721" cy="97260"/>
            </a:xfrm>
            <a:custGeom>
              <a:avLst/>
              <a:gdLst>
                <a:gd name="connsiteX0" fmla="*/ 15821 w 77721"/>
                <a:gd name="connsiteY0" fmla="*/ 97260 h 97260"/>
                <a:gd name="connsiteX1" fmla="*/ 0 w 77721"/>
                <a:gd name="connsiteY1" fmla="*/ 59790 h 97260"/>
                <a:gd name="connsiteX2" fmla="*/ 0 w 77721"/>
                <a:gd name="connsiteY2" fmla="*/ 58869 h 97260"/>
                <a:gd name="connsiteX3" fmla="*/ 17477 w 77721"/>
                <a:gd name="connsiteY3" fmla="*/ 17477 h 97260"/>
                <a:gd name="connsiteX4" fmla="*/ 58869 w 77721"/>
                <a:gd name="connsiteY4" fmla="*/ 0 h 97260"/>
                <a:gd name="connsiteX5" fmla="*/ 77721 w 77721"/>
                <a:gd name="connsiteY5" fmla="*/ 7960 h 97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721" h="97260">
                  <a:moveTo>
                    <a:pt x="15821" y="97260"/>
                  </a:moveTo>
                  <a:lnTo>
                    <a:pt x="0" y="59790"/>
                  </a:ln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lnTo>
                    <a:pt x="77721" y="796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" name="Forme libre : forme 105">
              <a:extLst>
                <a:ext uri="{FF2B5EF4-FFF2-40B4-BE49-F238E27FC236}">
                  <a16:creationId xmlns:a16="http://schemas.microsoft.com/office/drawing/2014/main" id="{D8EC7674-F8C4-4C98-B223-FB48E7028D2B}"/>
                </a:ext>
              </a:extLst>
            </p:cNvPr>
            <p:cNvSpPr/>
            <p:nvPr/>
          </p:nvSpPr>
          <p:spPr>
            <a:xfrm rot="8716295">
              <a:off x="-17797" y="3452694"/>
              <a:ext cx="58455" cy="44199"/>
            </a:xfrm>
            <a:custGeom>
              <a:avLst/>
              <a:gdLst>
                <a:gd name="connsiteX0" fmla="*/ 0 w 58455"/>
                <a:gd name="connsiteY0" fmla="*/ 44199 h 44199"/>
                <a:gd name="connsiteX1" fmla="*/ 0 w 58455"/>
                <a:gd name="connsiteY1" fmla="*/ 0 h 44199"/>
                <a:gd name="connsiteX2" fmla="*/ 58455 w 58455"/>
                <a:gd name="connsiteY2" fmla="*/ 0 h 44199"/>
                <a:gd name="connsiteX3" fmla="*/ 27817 w 58455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55" h="44199">
                  <a:moveTo>
                    <a:pt x="0" y="44199"/>
                  </a:moveTo>
                  <a:lnTo>
                    <a:pt x="0" y="0"/>
                  </a:lnTo>
                  <a:lnTo>
                    <a:pt x="58455" y="0"/>
                  </a:lnTo>
                  <a:lnTo>
                    <a:pt x="27817" y="44199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" name="Forme libre : forme 106">
              <a:extLst>
                <a:ext uri="{FF2B5EF4-FFF2-40B4-BE49-F238E27FC236}">
                  <a16:creationId xmlns:a16="http://schemas.microsoft.com/office/drawing/2014/main" id="{4367C4D5-414D-49AB-A590-D84D23E38E78}"/>
                </a:ext>
              </a:extLst>
            </p:cNvPr>
            <p:cNvSpPr/>
            <p:nvPr/>
          </p:nvSpPr>
          <p:spPr>
            <a:xfrm rot="13089394">
              <a:off x="-91485" y="3601812"/>
              <a:ext cx="206527" cy="292654"/>
            </a:xfrm>
            <a:custGeom>
              <a:avLst/>
              <a:gdLst>
                <a:gd name="connsiteX0" fmla="*/ 206527 w 206527"/>
                <a:gd name="connsiteY0" fmla="*/ 258693 h 292654"/>
                <a:gd name="connsiteX1" fmla="*/ 177331 w 206527"/>
                <a:gd name="connsiteY1" fmla="*/ 274971 h 292654"/>
                <a:gd name="connsiteX2" fmla="*/ 91597 w 206527"/>
                <a:gd name="connsiteY2" fmla="*/ 292491 h 292654"/>
                <a:gd name="connsiteX3" fmla="*/ 23727 w 206527"/>
                <a:gd name="connsiteY3" fmla="*/ 264901 h 292654"/>
                <a:gd name="connsiteX4" fmla="*/ 0 w 206527"/>
                <a:gd name="connsiteY4" fmla="*/ 169993 h 292654"/>
                <a:gd name="connsiteX5" fmla="*/ 0 w 206527"/>
                <a:gd name="connsiteY5" fmla="*/ 1698 h 292654"/>
                <a:gd name="connsiteX6" fmla="*/ 3273 w 206527"/>
                <a:gd name="connsiteY6" fmla="*/ 0 h 292654"/>
                <a:gd name="connsiteX7" fmla="*/ 74297 w 206527"/>
                <a:gd name="connsiteY7" fmla="*/ 90396 h 292654"/>
                <a:gd name="connsiteX8" fmla="*/ 74492 w 206527"/>
                <a:gd name="connsiteY8" fmla="*/ 117574 h 292654"/>
                <a:gd name="connsiteX9" fmla="*/ 87734 w 206527"/>
                <a:gd name="connsiteY9" fmla="*/ 209171 h 292654"/>
                <a:gd name="connsiteX10" fmla="*/ 153949 w 206527"/>
                <a:gd name="connsiteY10" fmla="*/ 245589 h 292654"/>
                <a:gd name="connsiteX11" fmla="*/ 191049 w 206527"/>
                <a:gd name="connsiteY11" fmla="*/ 238993 h 292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527" h="292654">
                  <a:moveTo>
                    <a:pt x="206527" y="258693"/>
                  </a:moveTo>
                  <a:lnTo>
                    <a:pt x="177331" y="274971"/>
                  </a:lnTo>
                  <a:cubicBezTo>
                    <a:pt x="145121" y="286007"/>
                    <a:pt x="114496" y="291111"/>
                    <a:pt x="91597" y="292491"/>
                  </a:cubicBezTo>
                  <a:cubicBezTo>
                    <a:pt x="66215" y="294146"/>
                    <a:pt x="41385" y="283111"/>
                    <a:pt x="23727" y="264901"/>
                  </a:cubicBezTo>
                  <a:cubicBezTo>
                    <a:pt x="4966" y="246692"/>
                    <a:pt x="0" y="215240"/>
                    <a:pt x="0" y="169993"/>
                  </a:cubicBezTo>
                  <a:lnTo>
                    <a:pt x="0" y="1698"/>
                  </a:lnTo>
                  <a:lnTo>
                    <a:pt x="3273" y="0"/>
                  </a:lnTo>
                  <a:lnTo>
                    <a:pt x="74297" y="90396"/>
                  </a:lnTo>
                  <a:lnTo>
                    <a:pt x="74492" y="117574"/>
                  </a:lnTo>
                  <a:cubicBezTo>
                    <a:pt x="72836" y="148474"/>
                    <a:pt x="77802" y="179926"/>
                    <a:pt x="87734" y="209171"/>
                  </a:cubicBezTo>
                  <a:cubicBezTo>
                    <a:pt x="96564" y="233450"/>
                    <a:pt x="119187" y="245589"/>
                    <a:pt x="153949" y="245589"/>
                  </a:cubicBezTo>
                  <a:lnTo>
                    <a:pt x="191049" y="23899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" name="Forme libre : forme 107">
              <a:extLst>
                <a:ext uri="{FF2B5EF4-FFF2-40B4-BE49-F238E27FC236}">
                  <a16:creationId xmlns:a16="http://schemas.microsoft.com/office/drawing/2014/main" id="{C0F2930B-1B76-4127-88A5-3C45B984D36E}"/>
                </a:ext>
              </a:extLst>
            </p:cNvPr>
            <p:cNvSpPr/>
            <p:nvPr/>
          </p:nvSpPr>
          <p:spPr>
            <a:xfrm rot="8716295">
              <a:off x="24761" y="33896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" name="Forme libre : forme 108">
              <a:extLst>
                <a:ext uri="{FF2B5EF4-FFF2-40B4-BE49-F238E27FC236}">
                  <a16:creationId xmlns:a16="http://schemas.microsoft.com/office/drawing/2014/main" id="{5D516E03-78DF-4FFF-8FB2-A397635DD48F}"/>
                </a:ext>
              </a:extLst>
            </p:cNvPr>
            <p:cNvSpPr/>
            <p:nvPr/>
          </p:nvSpPr>
          <p:spPr>
            <a:xfrm rot="8716295">
              <a:off x="-24047" y="3281741"/>
              <a:ext cx="106042" cy="113733"/>
            </a:xfrm>
            <a:custGeom>
              <a:avLst/>
              <a:gdLst>
                <a:gd name="connsiteX0" fmla="*/ 17477 w 106042"/>
                <a:gd name="connsiteY0" fmla="*/ 101182 h 113733"/>
                <a:gd name="connsiteX1" fmla="*/ 0 w 106042"/>
                <a:gd name="connsiteY1" fmla="*/ 59790 h 113733"/>
                <a:gd name="connsiteX2" fmla="*/ 0 w 106042"/>
                <a:gd name="connsiteY2" fmla="*/ 58869 h 113733"/>
                <a:gd name="connsiteX3" fmla="*/ 17477 w 106042"/>
                <a:gd name="connsiteY3" fmla="*/ 17477 h 113733"/>
                <a:gd name="connsiteX4" fmla="*/ 58869 w 106042"/>
                <a:gd name="connsiteY4" fmla="*/ 0 h 113733"/>
                <a:gd name="connsiteX5" fmla="*/ 100262 w 106042"/>
                <a:gd name="connsiteY5" fmla="*/ 17477 h 113733"/>
                <a:gd name="connsiteX6" fmla="*/ 106042 w 106042"/>
                <a:gd name="connsiteY6" fmla="*/ 31234 h 113733"/>
                <a:gd name="connsiteX7" fmla="*/ 48856 w 106042"/>
                <a:gd name="connsiteY7" fmla="*/ 113733 h 11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042" h="113733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cubicBezTo>
                    <a:pt x="74507" y="0"/>
                    <a:pt x="89224" y="6439"/>
                    <a:pt x="100262" y="17477"/>
                  </a:cubicBezTo>
                  <a:lnTo>
                    <a:pt x="106042" y="31234"/>
                  </a:lnTo>
                  <a:lnTo>
                    <a:pt x="48856" y="11373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" name="Forme libre : forme 109">
              <a:extLst>
                <a:ext uri="{FF2B5EF4-FFF2-40B4-BE49-F238E27FC236}">
                  <a16:creationId xmlns:a16="http://schemas.microsoft.com/office/drawing/2014/main" id="{4709179C-E348-4A89-8150-2CCBA6DE45C5}"/>
                </a:ext>
              </a:extLst>
            </p:cNvPr>
            <p:cNvSpPr/>
            <p:nvPr/>
          </p:nvSpPr>
          <p:spPr>
            <a:xfrm rot="8716295">
              <a:off x="-21924" y="3179872"/>
              <a:ext cx="45776" cy="62656"/>
            </a:xfrm>
            <a:custGeom>
              <a:avLst/>
              <a:gdLst>
                <a:gd name="connsiteX0" fmla="*/ 2345 w 45776"/>
                <a:gd name="connsiteY0" fmla="*/ 62656 h 62656"/>
                <a:gd name="connsiteX1" fmla="*/ 0 w 45776"/>
                <a:gd name="connsiteY1" fmla="*/ 57104 h 62656"/>
                <a:gd name="connsiteX2" fmla="*/ 0 w 45776"/>
                <a:gd name="connsiteY2" fmla="*/ 56183 h 62656"/>
                <a:gd name="connsiteX3" fmla="*/ 17477 w 45776"/>
                <a:gd name="connsiteY3" fmla="*/ 14791 h 62656"/>
                <a:gd name="connsiteX4" fmla="*/ 36449 w 45776"/>
                <a:gd name="connsiteY4" fmla="*/ 1913 h 62656"/>
                <a:gd name="connsiteX5" fmla="*/ 45776 w 45776"/>
                <a:gd name="connsiteY5" fmla="*/ 0 h 62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776" h="62656">
                  <a:moveTo>
                    <a:pt x="2345" y="62656"/>
                  </a:moveTo>
                  <a:lnTo>
                    <a:pt x="0" y="57104"/>
                  </a:lnTo>
                  <a:lnTo>
                    <a:pt x="0" y="56183"/>
                  </a:lnTo>
                  <a:cubicBezTo>
                    <a:pt x="0" y="40547"/>
                    <a:pt x="6439" y="25829"/>
                    <a:pt x="17477" y="14791"/>
                  </a:cubicBezTo>
                  <a:cubicBezTo>
                    <a:pt x="22996" y="9272"/>
                    <a:pt x="29435" y="4903"/>
                    <a:pt x="36449" y="1913"/>
                  </a:cubicBezTo>
                  <a:lnTo>
                    <a:pt x="45776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" name="Forme libre : forme 110">
              <a:extLst>
                <a:ext uri="{FF2B5EF4-FFF2-40B4-BE49-F238E27FC236}">
                  <a16:creationId xmlns:a16="http://schemas.microsoft.com/office/drawing/2014/main" id="{E216B864-0116-44B5-A0E9-8D6C9FB4451C}"/>
                </a:ext>
              </a:extLst>
            </p:cNvPr>
            <p:cNvSpPr/>
            <p:nvPr/>
          </p:nvSpPr>
          <p:spPr>
            <a:xfrm rot="8716295">
              <a:off x="-21324" y="4100649"/>
              <a:ext cx="79113" cy="50123"/>
            </a:xfrm>
            <a:custGeom>
              <a:avLst/>
              <a:gdLst>
                <a:gd name="connsiteX0" fmla="*/ 0 w 79113"/>
                <a:gd name="connsiteY0" fmla="*/ 50123 h 50123"/>
                <a:gd name="connsiteX1" fmla="*/ 0 w 79113"/>
                <a:gd name="connsiteY1" fmla="*/ 0 h 50123"/>
                <a:gd name="connsiteX2" fmla="*/ 79113 w 79113"/>
                <a:gd name="connsiteY2" fmla="*/ 0 h 50123"/>
                <a:gd name="connsiteX3" fmla="*/ 44369 w 79113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113" h="50123">
                  <a:moveTo>
                    <a:pt x="0" y="50123"/>
                  </a:moveTo>
                  <a:lnTo>
                    <a:pt x="0" y="0"/>
                  </a:lnTo>
                  <a:lnTo>
                    <a:pt x="79113" y="0"/>
                  </a:lnTo>
                  <a:lnTo>
                    <a:pt x="44369" y="5012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" name="Forme libre : forme 111">
              <a:extLst>
                <a:ext uri="{FF2B5EF4-FFF2-40B4-BE49-F238E27FC236}">
                  <a16:creationId xmlns:a16="http://schemas.microsoft.com/office/drawing/2014/main" id="{E81DDFAA-1A06-4A18-8287-C68132D6876A}"/>
                </a:ext>
              </a:extLst>
            </p:cNvPr>
            <p:cNvSpPr/>
            <p:nvPr/>
          </p:nvSpPr>
          <p:spPr>
            <a:xfrm rot="8716295">
              <a:off x="-40457" y="398156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" name="Forme libre : forme 112">
              <a:extLst>
                <a:ext uri="{FF2B5EF4-FFF2-40B4-BE49-F238E27FC236}">
                  <a16:creationId xmlns:a16="http://schemas.microsoft.com/office/drawing/2014/main" id="{1D567C73-1317-457C-BAF4-E866C8E84479}"/>
                </a:ext>
              </a:extLst>
            </p:cNvPr>
            <p:cNvSpPr/>
            <p:nvPr/>
          </p:nvSpPr>
          <p:spPr>
            <a:xfrm rot="7484129">
              <a:off x="-46974" y="427316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" name="Forme libre : forme 113">
              <a:extLst>
                <a:ext uri="{FF2B5EF4-FFF2-40B4-BE49-F238E27FC236}">
                  <a16:creationId xmlns:a16="http://schemas.microsoft.com/office/drawing/2014/main" id="{4B07308E-D0A0-4D3E-9DEB-C235BB5B8299}"/>
                </a:ext>
              </a:extLst>
            </p:cNvPr>
            <p:cNvSpPr/>
            <p:nvPr/>
          </p:nvSpPr>
          <p:spPr>
            <a:xfrm rot="13089394">
              <a:off x="57846" y="423970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" name="Forme libre : forme 114">
              <a:extLst>
                <a:ext uri="{FF2B5EF4-FFF2-40B4-BE49-F238E27FC236}">
                  <a16:creationId xmlns:a16="http://schemas.microsoft.com/office/drawing/2014/main" id="{B3D02E0E-617A-4DDE-855C-BECF0834C305}"/>
                </a:ext>
              </a:extLst>
            </p:cNvPr>
            <p:cNvSpPr/>
            <p:nvPr/>
          </p:nvSpPr>
          <p:spPr>
            <a:xfrm rot="8716295">
              <a:off x="243431" y="404801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" name="Forme libre : forme 115">
              <a:extLst>
                <a:ext uri="{FF2B5EF4-FFF2-40B4-BE49-F238E27FC236}">
                  <a16:creationId xmlns:a16="http://schemas.microsoft.com/office/drawing/2014/main" id="{FCFFBDC4-0942-4E6E-9EF4-22477617D5C9}"/>
                </a:ext>
              </a:extLst>
            </p:cNvPr>
            <p:cNvSpPr/>
            <p:nvPr/>
          </p:nvSpPr>
          <p:spPr>
            <a:xfrm rot="8716295">
              <a:off x="191626" y="39444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" name="Forme libre : forme 116">
              <a:extLst>
                <a:ext uri="{FF2B5EF4-FFF2-40B4-BE49-F238E27FC236}">
                  <a16:creationId xmlns:a16="http://schemas.microsoft.com/office/drawing/2014/main" id="{6779D405-E211-4D4D-B286-FEED219E73DF}"/>
                </a:ext>
              </a:extLst>
            </p:cNvPr>
            <p:cNvSpPr/>
            <p:nvPr/>
          </p:nvSpPr>
          <p:spPr>
            <a:xfrm rot="8716295">
              <a:off x="125832" y="381540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" name="Forme libre : forme 117">
              <a:extLst>
                <a:ext uri="{FF2B5EF4-FFF2-40B4-BE49-F238E27FC236}">
                  <a16:creationId xmlns:a16="http://schemas.microsoft.com/office/drawing/2014/main" id="{1B98413D-C7CC-484D-AF71-C6706295A09F}"/>
                </a:ext>
              </a:extLst>
            </p:cNvPr>
            <p:cNvSpPr/>
            <p:nvPr/>
          </p:nvSpPr>
          <p:spPr>
            <a:xfrm rot="8716295">
              <a:off x="-73048" y="4876828"/>
              <a:ext cx="221382" cy="253349"/>
            </a:xfrm>
            <a:custGeom>
              <a:avLst/>
              <a:gdLst>
                <a:gd name="connsiteX0" fmla="*/ 51490 w 221382"/>
                <a:gd name="connsiteY0" fmla="*/ 253349 h 253349"/>
                <a:gd name="connsiteX1" fmla="*/ 51490 w 221382"/>
                <a:gd name="connsiteY1" fmla="*/ 44199 h 253349"/>
                <a:gd name="connsiteX2" fmla="*/ 0 w 221382"/>
                <a:gd name="connsiteY2" fmla="*/ 44199 h 253349"/>
                <a:gd name="connsiteX3" fmla="*/ 0 w 221382"/>
                <a:gd name="connsiteY3" fmla="*/ 0 h 253349"/>
                <a:gd name="connsiteX4" fmla="*/ 104803 w 221382"/>
                <a:gd name="connsiteY4" fmla="*/ 0 h 253349"/>
                <a:gd name="connsiteX5" fmla="*/ 104802 w 221382"/>
                <a:gd name="connsiteY5" fmla="*/ 73817 h 253349"/>
                <a:gd name="connsiteX6" fmla="*/ 106169 w 221382"/>
                <a:gd name="connsiteY6" fmla="*/ 73817 h 253349"/>
                <a:gd name="connsiteX7" fmla="*/ 154014 w 221382"/>
                <a:gd name="connsiteY7" fmla="*/ 4556 h 253349"/>
                <a:gd name="connsiteX8" fmla="*/ 174650 w 221382"/>
                <a:gd name="connsiteY8" fmla="*/ 668 h 253349"/>
                <a:gd name="connsiteX9" fmla="*/ 214075 w 221382"/>
                <a:gd name="connsiteY9" fmla="*/ 27996 h 253349"/>
                <a:gd name="connsiteX10" fmla="*/ 221382 w 221382"/>
                <a:gd name="connsiteY10" fmla="*/ 33060 h 253349"/>
                <a:gd name="connsiteX11" fmla="*/ 195540 w 221382"/>
                <a:gd name="connsiteY11" fmla="*/ 70341 h 253349"/>
                <a:gd name="connsiteX12" fmla="*/ 189157 w 221382"/>
                <a:gd name="connsiteY12" fmla="*/ 50236 h 253349"/>
                <a:gd name="connsiteX13" fmla="*/ 164950 w 221382"/>
                <a:gd name="connsiteY13" fmla="*/ 38731 h 253349"/>
                <a:gd name="connsiteX14" fmla="*/ 111638 w 221382"/>
                <a:gd name="connsiteY14" fmla="*/ 126218 h 253349"/>
                <a:gd name="connsiteX15" fmla="*/ 111638 w 221382"/>
                <a:gd name="connsiteY15" fmla="*/ 191383 h 253349"/>
                <a:gd name="connsiteX16" fmla="*/ 84096 w 221382"/>
                <a:gd name="connsiteY16" fmla="*/ 231117 h 253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1382" h="253349">
                  <a:moveTo>
                    <a:pt x="51490" y="253349"/>
                  </a:moveTo>
                  <a:lnTo>
                    <a:pt x="51490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104803" y="0"/>
                  </a:lnTo>
                  <a:lnTo>
                    <a:pt x="104802" y="73817"/>
                  </a:lnTo>
                  <a:lnTo>
                    <a:pt x="106169" y="73817"/>
                  </a:lnTo>
                  <a:cubicBezTo>
                    <a:pt x="120751" y="30529"/>
                    <a:pt x="132142" y="13670"/>
                    <a:pt x="154014" y="4556"/>
                  </a:cubicBezTo>
                  <a:lnTo>
                    <a:pt x="174650" y="668"/>
                  </a:lnTo>
                  <a:lnTo>
                    <a:pt x="214075" y="27996"/>
                  </a:lnTo>
                  <a:lnTo>
                    <a:pt x="221382" y="33060"/>
                  </a:lnTo>
                  <a:lnTo>
                    <a:pt x="195540" y="70341"/>
                  </a:lnTo>
                  <a:lnTo>
                    <a:pt x="189157" y="50236"/>
                  </a:lnTo>
                  <a:cubicBezTo>
                    <a:pt x="183177" y="42946"/>
                    <a:pt x="174747" y="38731"/>
                    <a:pt x="164950" y="38731"/>
                  </a:cubicBezTo>
                  <a:cubicBezTo>
                    <a:pt x="135788" y="38731"/>
                    <a:pt x="111638" y="77463"/>
                    <a:pt x="111638" y="126218"/>
                  </a:cubicBezTo>
                  <a:lnTo>
                    <a:pt x="111638" y="191383"/>
                  </a:lnTo>
                  <a:lnTo>
                    <a:pt x="84096" y="231117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" name="Forme libre : forme 118">
              <a:extLst>
                <a:ext uri="{FF2B5EF4-FFF2-40B4-BE49-F238E27FC236}">
                  <a16:creationId xmlns:a16="http://schemas.microsoft.com/office/drawing/2014/main" id="{6176F84A-9766-45D5-91E9-4847B60A5CD4}"/>
                </a:ext>
              </a:extLst>
            </p:cNvPr>
            <p:cNvSpPr/>
            <p:nvPr/>
          </p:nvSpPr>
          <p:spPr>
            <a:xfrm rot="8716295">
              <a:off x="93318" y="46120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" name="Forme libre : forme 119">
              <a:extLst>
                <a:ext uri="{FF2B5EF4-FFF2-40B4-BE49-F238E27FC236}">
                  <a16:creationId xmlns:a16="http://schemas.microsoft.com/office/drawing/2014/main" id="{3DA54937-5DEF-4122-B904-83A03268CA89}"/>
                </a:ext>
              </a:extLst>
            </p:cNvPr>
            <p:cNvSpPr/>
            <p:nvPr/>
          </p:nvSpPr>
          <p:spPr>
            <a:xfrm rot="8716295">
              <a:off x="182710" y="46412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" name="Forme libre : forme 120">
              <a:extLst>
                <a:ext uri="{FF2B5EF4-FFF2-40B4-BE49-F238E27FC236}">
                  <a16:creationId xmlns:a16="http://schemas.microsoft.com/office/drawing/2014/main" id="{24CD3C2A-51CB-4CA4-A2B4-FE03D227C422}"/>
                </a:ext>
              </a:extLst>
            </p:cNvPr>
            <p:cNvSpPr/>
            <p:nvPr/>
          </p:nvSpPr>
          <p:spPr>
            <a:xfrm rot="8716295">
              <a:off x="-14524" y="4699631"/>
              <a:ext cx="49997" cy="54238"/>
            </a:xfrm>
            <a:custGeom>
              <a:avLst/>
              <a:gdLst>
                <a:gd name="connsiteX0" fmla="*/ 8658 w 49997"/>
                <a:gd name="connsiteY0" fmla="*/ 50123 h 54238"/>
                <a:gd name="connsiteX1" fmla="*/ 0 w 49997"/>
                <a:gd name="connsiteY1" fmla="*/ 29619 h 54238"/>
                <a:gd name="connsiteX2" fmla="*/ 0 w 49997"/>
                <a:gd name="connsiteY2" fmla="*/ 29162 h 54238"/>
                <a:gd name="connsiteX3" fmla="*/ 8658 w 49997"/>
                <a:gd name="connsiteY3" fmla="*/ 8658 h 54238"/>
                <a:gd name="connsiteX4" fmla="*/ 29163 w 49997"/>
                <a:gd name="connsiteY4" fmla="*/ 0 h 54238"/>
                <a:gd name="connsiteX5" fmla="*/ 49668 w 49997"/>
                <a:gd name="connsiteY5" fmla="*/ 8658 h 54238"/>
                <a:gd name="connsiteX6" fmla="*/ 49997 w 49997"/>
                <a:gd name="connsiteY6" fmla="*/ 9441 h 54238"/>
                <a:gd name="connsiteX7" fmla="*/ 18945 w 49997"/>
                <a:gd name="connsiteY7" fmla="*/ 54238 h 54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997" h="54238">
                  <a:moveTo>
                    <a:pt x="8658" y="50123"/>
                  </a:moveTo>
                  <a:cubicBezTo>
                    <a:pt x="3190" y="44655"/>
                    <a:pt x="0" y="37365"/>
                    <a:pt x="0" y="29619"/>
                  </a:cubicBezTo>
                  <a:lnTo>
                    <a:pt x="0" y="29162"/>
                  </a:lnTo>
                  <a:cubicBezTo>
                    <a:pt x="0" y="21417"/>
                    <a:pt x="3190" y="14126"/>
                    <a:pt x="8658" y="8658"/>
                  </a:cubicBezTo>
                  <a:cubicBezTo>
                    <a:pt x="14126" y="3190"/>
                    <a:pt x="21416" y="0"/>
                    <a:pt x="29163" y="0"/>
                  </a:cubicBezTo>
                  <a:cubicBezTo>
                    <a:pt x="36909" y="0"/>
                    <a:pt x="44200" y="3190"/>
                    <a:pt x="49668" y="8658"/>
                  </a:cubicBezTo>
                  <a:lnTo>
                    <a:pt x="49997" y="9441"/>
                  </a:lnTo>
                  <a:lnTo>
                    <a:pt x="18945" y="54238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" name="Forme libre : forme 121">
              <a:extLst>
                <a:ext uri="{FF2B5EF4-FFF2-40B4-BE49-F238E27FC236}">
                  <a16:creationId xmlns:a16="http://schemas.microsoft.com/office/drawing/2014/main" id="{7A46CCF0-E67A-4E1E-9549-23C0DBDB68E2}"/>
                </a:ext>
              </a:extLst>
            </p:cNvPr>
            <p:cNvSpPr/>
            <p:nvPr/>
          </p:nvSpPr>
          <p:spPr>
            <a:xfrm rot="8716295">
              <a:off x="-30327" y="4579755"/>
              <a:ext cx="113346" cy="71024"/>
            </a:xfrm>
            <a:custGeom>
              <a:avLst/>
              <a:gdLst>
                <a:gd name="connsiteX0" fmla="*/ 0 w 113346"/>
                <a:gd name="connsiteY0" fmla="*/ 55323 h 71024"/>
                <a:gd name="connsiteX1" fmla="*/ 0 w 113346"/>
                <a:gd name="connsiteY1" fmla="*/ 0 h 71024"/>
                <a:gd name="connsiteX2" fmla="*/ 113346 w 113346"/>
                <a:gd name="connsiteY2" fmla="*/ 0 h 71024"/>
                <a:gd name="connsiteX3" fmla="*/ 64114 w 113346"/>
                <a:gd name="connsiteY3" fmla="*/ 71024 h 71024"/>
                <a:gd name="connsiteX4" fmla="*/ 69777 w 113346"/>
                <a:gd name="connsiteY4" fmla="*/ 55323 h 7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346" h="71024">
                  <a:moveTo>
                    <a:pt x="0" y="55323"/>
                  </a:moveTo>
                  <a:lnTo>
                    <a:pt x="0" y="0"/>
                  </a:lnTo>
                  <a:lnTo>
                    <a:pt x="113346" y="0"/>
                  </a:lnTo>
                  <a:lnTo>
                    <a:pt x="64114" y="71024"/>
                  </a:lnTo>
                  <a:lnTo>
                    <a:pt x="69777" y="5532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" name="Forme libre : forme 122">
              <a:extLst>
                <a:ext uri="{FF2B5EF4-FFF2-40B4-BE49-F238E27FC236}">
                  <a16:creationId xmlns:a16="http://schemas.microsoft.com/office/drawing/2014/main" id="{01D04BC1-282A-4CFE-BF99-5B57F855BCBC}"/>
                </a:ext>
              </a:extLst>
            </p:cNvPr>
            <p:cNvSpPr/>
            <p:nvPr/>
          </p:nvSpPr>
          <p:spPr>
            <a:xfrm rot="8716295">
              <a:off x="71262" y="47415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" name="Forme libre : forme 123">
              <a:extLst>
                <a:ext uri="{FF2B5EF4-FFF2-40B4-BE49-F238E27FC236}">
                  <a16:creationId xmlns:a16="http://schemas.microsoft.com/office/drawing/2014/main" id="{A04953EA-5C79-45C4-9757-065EFCA47539}"/>
                </a:ext>
              </a:extLst>
            </p:cNvPr>
            <p:cNvSpPr/>
            <p:nvPr/>
          </p:nvSpPr>
          <p:spPr>
            <a:xfrm rot="7484129">
              <a:off x="172059" y="493353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170341 w 203847"/>
                <a:gd name="connsiteY5" fmla="*/ 0 h 195874"/>
                <a:gd name="connsiteX6" fmla="*/ 203847 w 203847"/>
                <a:gd name="connsiteY6" fmla="*/ 48325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170341" y="0"/>
                  </a:lnTo>
                  <a:lnTo>
                    <a:pt x="203847" y="48325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" name="Forme libre : forme 124">
              <a:extLst>
                <a:ext uri="{FF2B5EF4-FFF2-40B4-BE49-F238E27FC236}">
                  <a16:creationId xmlns:a16="http://schemas.microsoft.com/office/drawing/2014/main" id="{49CB50EA-8DFB-4219-A82A-979E56D219DC}"/>
                </a:ext>
              </a:extLst>
            </p:cNvPr>
            <p:cNvSpPr/>
            <p:nvPr/>
          </p:nvSpPr>
          <p:spPr>
            <a:xfrm rot="13089394">
              <a:off x="313551" y="4906246"/>
              <a:ext cx="221827" cy="205098"/>
            </a:xfrm>
            <a:custGeom>
              <a:avLst/>
              <a:gdLst>
                <a:gd name="connsiteX0" fmla="*/ 24153 w 221827"/>
                <a:gd name="connsiteY0" fmla="*/ 55168 h 205098"/>
                <a:gd name="connsiteX1" fmla="*/ 0 w 221827"/>
                <a:gd name="connsiteY1" fmla="*/ 18385 h 205098"/>
                <a:gd name="connsiteX2" fmla="*/ 23400 w 221827"/>
                <a:gd name="connsiteY2" fmla="*/ 0 h 205098"/>
                <a:gd name="connsiteX3" fmla="*/ 23735 w 221827"/>
                <a:gd name="connsiteY3" fmla="*/ 46640 h 205098"/>
                <a:gd name="connsiteX4" fmla="*/ 221827 w 221827"/>
                <a:gd name="connsiteY4" fmla="*/ 150928 h 205098"/>
                <a:gd name="connsiteX5" fmla="*/ 126574 w 221827"/>
                <a:gd name="connsiteY5" fmla="*/ 204038 h 205098"/>
                <a:gd name="connsiteX6" fmla="*/ 122603 w 221827"/>
                <a:gd name="connsiteY6" fmla="*/ 205098 h 205098"/>
                <a:gd name="connsiteX7" fmla="*/ 102519 w 221827"/>
                <a:gd name="connsiteY7" fmla="*/ 174512 h 205098"/>
                <a:gd name="connsiteX8" fmla="*/ 103192 w 221827"/>
                <a:gd name="connsiteY8" fmla="*/ 174655 h 205098"/>
                <a:gd name="connsiteX9" fmla="*/ 152853 w 221827"/>
                <a:gd name="connsiteY9" fmla="*/ 165826 h 205098"/>
                <a:gd name="connsiteX10" fmla="*/ 220723 w 221827"/>
                <a:gd name="connsiteY10" fmla="*/ 138237 h 205098"/>
                <a:gd name="connsiteX11" fmla="*/ 221827 w 221827"/>
                <a:gd name="connsiteY11" fmla="*/ 145410 h 205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1827" h="205098">
                  <a:moveTo>
                    <a:pt x="24153" y="55168"/>
                  </a:moveTo>
                  <a:lnTo>
                    <a:pt x="0" y="18385"/>
                  </a:lnTo>
                  <a:lnTo>
                    <a:pt x="23400" y="0"/>
                  </a:lnTo>
                  <a:lnTo>
                    <a:pt x="23735" y="46640"/>
                  </a:lnTo>
                  <a:close/>
                  <a:moveTo>
                    <a:pt x="221827" y="150928"/>
                  </a:moveTo>
                  <a:cubicBezTo>
                    <a:pt x="192582" y="176035"/>
                    <a:pt x="158785" y="193002"/>
                    <a:pt x="126574" y="204038"/>
                  </a:cubicBezTo>
                  <a:lnTo>
                    <a:pt x="122603" y="205098"/>
                  </a:lnTo>
                  <a:lnTo>
                    <a:pt x="102519" y="174512"/>
                  </a:lnTo>
                  <a:lnTo>
                    <a:pt x="103192" y="174655"/>
                  </a:lnTo>
                  <a:cubicBezTo>
                    <a:pt x="120298" y="174103"/>
                    <a:pt x="136851" y="170792"/>
                    <a:pt x="152853" y="165826"/>
                  </a:cubicBezTo>
                  <a:cubicBezTo>
                    <a:pt x="176028" y="158653"/>
                    <a:pt x="198652" y="149273"/>
                    <a:pt x="220723" y="138237"/>
                  </a:cubicBezTo>
                  <a:cubicBezTo>
                    <a:pt x="221275" y="140444"/>
                    <a:pt x="221827" y="143203"/>
                    <a:pt x="221827" y="14541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" name="Forme libre : forme 125">
              <a:extLst>
                <a:ext uri="{FF2B5EF4-FFF2-40B4-BE49-F238E27FC236}">
                  <a16:creationId xmlns:a16="http://schemas.microsoft.com/office/drawing/2014/main" id="{5146513B-5632-4832-9AF5-1E4051EECD28}"/>
                </a:ext>
              </a:extLst>
            </p:cNvPr>
            <p:cNvSpPr/>
            <p:nvPr/>
          </p:nvSpPr>
          <p:spPr>
            <a:xfrm rot="8716295">
              <a:off x="406370" y="4600606"/>
              <a:ext cx="113655" cy="117117"/>
            </a:xfrm>
            <a:custGeom>
              <a:avLst/>
              <a:gdLst>
                <a:gd name="connsiteX0" fmla="*/ 13623 w 113655"/>
                <a:gd name="connsiteY0" fmla="*/ 100559 h 117117"/>
                <a:gd name="connsiteX1" fmla="*/ 0 w 113655"/>
                <a:gd name="connsiteY1" fmla="*/ 68296 h 117117"/>
                <a:gd name="connsiteX2" fmla="*/ 56488 w 113655"/>
                <a:gd name="connsiteY2" fmla="*/ 0 h 117117"/>
                <a:gd name="connsiteX3" fmla="*/ 96408 w 113655"/>
                <a:gd name="connsiteY3" fmla="*/ 16856 h 117117"/>
                <a:gd name="connsiteX4" fmla="*/ 96408 w 113655"/>
                <a:gd name="connsiteY4" fmla="*/ 99640 h 117117"/>
                <a:gd name="connsiteX5" fmla="*/ 55015 w 113655"/>
                <a:gd name="connsiteY5" fmla="*/ 117117 h 117117"/>
                <a:gd name="connsiteX6" fmla="*/ 13623 w 113655"/>
                <a:gd name="connsiteY6" fmla="*/ 100559 h 117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655" h="117117">
                  <a:moveTo>
                    <a:pt x="13623" y="100559"/>
                  </a:moveTo>
                  <a:lnTo>
                    <a:pt x="0" y="68296"/>
                  </a:lnTo>
                  <a:lnTo>
                    <a:pt x="56488" y="0"/>
                  </a:lnTo>
                  <a:lnTo>
                    <a:pt x="96408" y="16856"/>
                  </a:lnTo>
                  <a:cubicBezTo>
                    <a:pt x="119404" y="38931"/>
                    <a:pt x="119404" y="76644"/>
                    <a:pt x="96408" y="99640"/>
                  </a:cubicBezTo>
                  <a:cubicBezTo>
                    <a:pt x="85370" y="110678"/>
                    <a:pt x="70653" y="117116"/>
                    <a:pt x="55015" y="117117"/>
                  </a:cubicBezTo>
                  <a:cubicBezTo>
                    <a:pt x="39378" y="117117"/>
                    <a:pt x="24661" y="111597"/>
                    <a:pt x="13623" y="100559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" name="Forme libre : forme 126">
              <a:extLst>
                <a:ext uri="{FF2B5EF4-FFF2-40B4-BE49-F238E27FC236}">
                  <a16:creationId xmlns:a16="http://schemas.microsoft.com/office/drawing/2014/main" id="{FE3150CC-51A0-4255-BE10-7C4DD2D82ED1}"/>
                </a:ext>
              </a:extLst>
            </p:cNvPr>
            <p:cNvSpPr/>
            <p:nvPr/>
          </p:nvSpPr>
          <p:spPr>
            <a:xfrm rot="8716295">
              <a:off x="171547" y="46343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" name="Forme libre : forme 127">
              <a:extLst>
                <a:ext uri="{FF2B5EF4-FFF2-40B4-BE49-F238E27FC236}">
                  <a16:creationId xmlns:a16="http://schemas.microsoft.com/office/drawing/2014/main" id="{3071C62B-77D8-4A0E-86A6-83549F6B4AD6}"/>
                </a:ext>
              </a:extLst>
            </p:cNvPr>
            <p:cNvSpPr/>
            <p:nvPr/>
          </p:nvSpPr>
          <p:spPr>
            <a:xfrm rot="8716295">
              <a:off x="348999" y="44751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137" name="Rectangle 136">
            <a:extLst>
              <a:ext uri="{FF2B5EF4-FFF2-40B4-BE49-F238E27FC236}">
                <a16:creationId xmlns:a16="http://schemas.microsoft.com/office/drawing/2014/main" id="{BED9834D-49E7-4AFD-BEE4-8AB20B969F92}"/>
              </a:ext>
            </a:extLst>
          </p:cNvPr>
          <p:cNvSpPr/>
          <p:nvPr/>
        </p:nvSpPr>
        <p:spPr>
          <a:xfrm>
            <a:off x="1675026" y="884098"/>
            <a:ext cx="360000" cy="457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29" name="Espace réservé du numéro de diapositive 128">
            <a:extLst>
              <a:ext uri="{FF2B5EF4-FFF2-40B4-BE49-F238E27FC236}">
                <a16:creationId xmlns:a16="http://schemas.microsoft.com/office/drawing/2014/main" id="{DC511B95-0CDE-42B1-A913-D72AAC6127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9681" y="3148262"/>
            <a:ext cx="444626" cy="1995238"/>
          </a:xfrm>
          <a:custGeom>
            <a:avLst/>
            <a:gdLst>
              <a:gd name="connsiteX0" fmla="*/ 169868 w 444626"/>
              <a:gd name="connsiteY0" fmla="*/ 0 h 1995238"/>
              <a:gd name="connsiteX1" fmla="*/ 444626 w 444626"/>
              <a:gd name="connsiteY1" fmla="*/ 1995238 h 1995238"/>
              <a:gd name="connsiteX2" fmla="*/ 0 w 444626"/>
              <a:gd name="connsiteY2" fmla="*/ 1995238 h 1995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4626" h="1995238">
                <a:moveTo>
                  <a:pt x="169868" y="0"/>
                </a:moveTo>
                <a:lnTo>
                  <a:pt x="444626" y="1995238"/>
                </a:lnTo>
                <a:lnTo>
                  <a:pt x="0" y="199523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180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613903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e 4">
            <a:extLst>
              <a:ext uri="{FF2B5EF4-FFF2-40B4-BE49-F238E27FC236}">
                <a16:creationId xmlns:a16="http://schemas.microsoft.com/office/drawing/2014/main" id="{DDCE9304-D911-423A-A19F-03B0F7F07569}"/>
              </a:ext>
            </a:extLst>
          </p:cNvPr>
          <p:cNvGrpSpPr/>
          <p:nvPr userDrawn="1"/>
        </p:nvGrpSpPr>
        <p:grpSpPr>
          <a:xfrm>
            <a:off x="-91485" y="-57106"/>
            <a:ext cx="1008300" cy="5190499"/>
            <a:chOff x="-91485" y="-57106"/>
            <a:chExt cx="1008300" cy="5190499"/>
          </a:xfrm>
          <a:solidFill>
            <a:schemeClr val="bg2">
              <a:alpha val="5000"/>
            </a:schemeClr>
          </a:solidFill>
        </p:grpSpPr>
        <p:sp>
          <p:nvSpPr>
            <p:cNvPr id="6" name="Forme libre : forme 5">
              <a:extLst>
                <a:ext uri="{FF2B5EF4-FFF2-40B4-BE49-F238E27FC236}">
                  <a16:creationId xmlns:a16="http://schemas.microsoft.com/office/drawing/2014/main" id="{8BF43435-37FA-4F29-AABD-F905029537BD}"/>
                </a:ext>
              </a:extLst>
            </p:cNvPr>
            <p:cNvSpPr/>
            <p:nvPr/>
          </p:nvSpPr>
          <p:spPr>
            <a:xfrm rot="8716295">
              <a:off x="617786" y="1780350"/>
              <a:ext cx="152726" cy="195873"/>
            </a:xfrm>
            <a:custGeom>
              <a:avLst/>
              <a:gdLst>
                <a:gd name="connsiteX0" fmla="*/ 39589 w 152726"/>
                <a:gd name="connsiteY0" fmla="*/ 195873 h 195873"/>
                <a:gd name="connsiteX1" fmla="*/ 0 w 152726"/>
                <a:gd name="connsiteY1" fmla="*/ 122219 h 195873"/>
                <a:gd name="connsiteX2" fmla="*/ 101089 w 152726"/>
                <a:gd name="connsiteY2" fmla="*/ 0 h 195873"/>
                <a:gd name="connsiteX3" fmla="*/ 152726 w 152726"/>
                <a:gd name="connsiteY3" fmla="*/ 0 h 195873"/>
                <a:gd name="connsiteX4" fmla="*/ 152726 w 152726"/>
                <a:gd name="connsiteY4" fmla="*/ 55323 h 195873"/>
                <a:gd name="connsiteX5" fmla="*/ 87934 w 152726"/>
                <a:gd name="connsiteY5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726" h="195873">
                  <a:moveTo>
                    <a:pt x="39589" y="195873"/>
                  </a:moveTo>
                  <a:lnTo>
                    <a:pt x="0" y="122219"/>
                  </a:lnTo>
                  <a:lnTo>
                    <a:pt x="101089" y="0"/>
                  </a:lnTo>
                  <a:lnTo>
                    <a:pt x="152726" y="0"/>
                  </a:lnTo>
                  <a:lnTo>
                    <a:pt x="152726" y="55323"/>
                  </a:lnTo>
                  <a:lnTo>
                    <a:pt x="87934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" name="Forme libre : forme 6">
              <a:extLst>
                <a:ext uri="{FF2B5EF4-FFF2-40B4-BE49-F238E27FC236}">
                  <a16:creationId xmlns:a16="http://schemas.microsoft.com/office/drawing/2014/main" id="{8B995644-775E-4EEC-A2B1-C17BB27E6FAF}"/>
                </a:ext>
              </a:extLst>
            </p:cNvPr>
            <p:cNvSpPr/>
            <p:nvPr/>
          </p:nvSpPr>
          <p:spPr>
            <a:xfrm rot="8716295">
              <a:off x="534441" y="1654353"/>
              <a:ext cx="262864" cy="103234"/>
            </a:xfrm>
            <a:custGeom>
              <a:avLst/>
              <a:gdLst>
                <a:gd name="connsiteX0" fmla="*/ 0 w 262864"/>
                <a:gd name="connsiteY0" fmla="*/ 75341 h 103234"/>
                <a:gd name="connsiteX1" fmla="*/ 62316 w 262864"/>
                <a:gd name="connsiteY1" fmla="*/ 0 h 103234"/>
                <a:gd name="connsiteX2" fmla="*/ 65768 w 262864"/>
                <a:gd name="connsiteY2" fmla="*/ 14220 h 103234"/>
                <a:gd name="connsiteX3" fmla="*/ 136369 w 262864"/>
                <a:gd name="connsiteY3" fmla="*/ 53051 h 103234"/>
                <a:gd name="connsiteX4" fmla="*/ 189321 w 262864"/>
                <a:gd name="connsiteY4" fmla="*/ 43637 h 103234"/>
                <a:gd name="connsiteX5" fmla="*/ 261688 w 262864"/>
                <a:gd name="connsiteY5" fmla="*/ 14220 h 103234"/>
                <a:gd name="connsiteX6" fmla="*/ 262864 w 262864"/>
                <a:gd name="connsiteY6" fmla="*/ 21868 h 103234"/>
                <a:gd name="connsiteX7" fmla="*/ 262864 w 262864"/>
                <a:gd name="connsiteY7" fmla="*/ 27752 h 103234"/>
                <a:gd name="connsiteX8" fmla="*/ 69887 w 262864"/>
                <a:gd name="connsiteY8" fmla="*/ 103060 h 103234"/>
                <a:gd name="connsiteX9" fmla="*/ 30615 w 262864"/>
                <a:gd name="connsiteY9" fmla="*/ 96294 h 103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2864" h="103234">
                  <a:moveTo>
                    <a:pt x="0" y="75341"/>
                  </a:moveTo>
                  <a:lnTo>
                    <a:pt x="62316" y="0"/>
                  </a:lnTo>
                  <a:lnTo>
                    <a:pt x="65768" y="14220"/>
                  </a:lnTo>
                  <a:cubicBezTo>
                    <a:pt x="75182" y="40107"/>
                    <a:pt x="99304" y="53051"/>
                    <a:pt x="136369" y="53051"/>
                  </a:cubicBezTo>
                  <a:cubicBezTo>
                    <a:pt x="154609" y="52462"/>
                    <a:pt x="172259" y="48932"/>
                    <a:pt x="189321" y="43637"/>
                  </a:cubicBezTo>
                  <a:cubicBezTo>
                    <a:pt x="214031" y="35988"/>
                    <a:pt x="238154" y="25987"/>
                    <a:pt x="261688" y="14220"/>
                  </a:cubicBezTo>
                  <a:cubicBezTo>
                    <a:pt x="262276" y="16573"/>
                    <a:pt x="262864" y="19515"/>
                    <a:pt x="262864" y="21868"/>
                  </a:cubicBezTo>
                  <a:lnTo>
                    <a:pt x="262864" y="27752"/>
                  </a:lnTo>
                  <a:cubicBezTo>
                    <a:pt x="200500" y="81291"/>
                    <a:pt x="118719" y="100119"/>
                    <a:pt x="69887" y="103060"/>
                  </a:cubicBezTo>
                  <a:cubicBezTo>
                    <a:pt x="56355" y="103943"/>
                    <a:pt x="42970" y="101442"/>
                    <a:pt x="30615" y="9629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ECEF6D56-E3A3-4A1A-A07B-637782F55FFB}"/>
                </a:ext>
              </a:extLst>
            </p:cNvPr>
            <p:cNvSpPr/>
            <p:nvPr/>
          </p:nvSpPr>
          <p:spPr>
            <a:xfrm rot="8716295">
              <a:off x="632719" y="1232432"/>
              <a:ext cx="121558" cy="232388"/>
            </a:xfrm>
            <a:custGeom>
              <a:avLst/>
              <a:gdLst>
                <a:gd name="connsiteX0" fmla="*/ 60499 w 121558"/>
                <a:gd name="connsiteY0" fmla="*/ 232388 h 232388"/>
                <a:gd name="connsiteX1" fmla="*/ 60499 w 121558"/>
                <a:gd name="connsiteY1" fmla="*/ 69717 h 232388"/>
                <a:gd name="connsiteX2" fmla="*/ 60499 w 121558"/>
                <a:gd name="connsiteY2" fmla="*/ 65615 h 232388"/>
                <a:gd name="connsiteX3" fmla="*/ 39995 w 121558"/>
                <a:gd name="connsiteY3" fmla="*/ 50123 h 232388"/>
                <a:gd name="connsiteX4" fmla="*/ 0 w 121558"/>
                <a:gd name="connsiteY4" fmla="*/ 50123 h 232388"/>
                <a:gd name="connsiteX5" fmla="*/ 41457 w 121558"/>
                <a:gd name="connsiteY5" fmla="*/ 0 h 232388"/>
                <a:gd name="connsiteX6" fmla="*/ 64601 w 121558"/>
                <a:gd name="connsiteY6" fmla="*/ 0 h 232388"/>
                <a:gd name="connsiteX7" fmla="*/ 121558 w 121558"/>
                <a:gd name="connsiteY7" fmla="*/ 50123 h 232388"/>
                <a:gd name="connsiteX8" fmla="*/ 121558 w 121558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558" h="232388">
                  <a:moveTo>
                    <a:pt x="60499" y="232388"/>
                  </a:moveTo>
                  <a:lnTo>
                    <a:pt x="60499" y="69717"/>
                  </a:lnTo>
                  <a:cubicBezTo>
                    <a:pt x="60499" y="68349"/>
                    <a:pt x="60499" y="66983"/>
                    <a:pt x="60499" y="65615"/>
                  </a:cubicBezTo>
                  <a:cubicBezTo>
                    <a:pt x="59133" y="55591"/>
                    <a:pt x="50019" y="48756"/>
                    <a:pt x="39995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64601" y="0"/>
                  </a:lnTo>
                  <a:cubicBezTo>
                    <a:pt x="101509" y="0"/>
                    <a:pt x="121558" y="15948"/>
                    <a:pt x="121558" y="50123"/>
                  </a:cubicBezTo>
                  <a:lnTo>
                    <a:pt x="121558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C210E3DF-2FB4-4CAE-8361-8A940B0AC92D}"/>
                </a:ext>
              </a:extLst>
            </p:cNvPr>
            <p:cNvSpPr/>
            <p:nvPr/>
          </p:nvSpPr>
          <p:spPr>
            <a:xfrm rot="8716295">
              <a:off x="763454" y="1474783"/>
              <a:ext cx="14143" cy="14319"/>
            </a:xfrm>
            <a:custGeom>
              <a:avLst/>
              <a:gdLst>
                <a:gd name="connsiteX0" fmla="*/ 0 w 14143"/>
                <a:gd name="connsiteY0" fmla="*/ 14319 h 14319"/>
                <a:gd name="connsiteX1" fmla="*/ 11843 w 14143"/>
                <a:gd name="connsiteY1" fmla="*/ 0 h 14319"/>
                <a:gd name="connsiteX2" fmla="*/ 14143 w 14143"/>
                <a:gd name="connsiteY2" fmla="*/ 7563 h 14319"/>
                <a:gd name="connsiteX3" fmla="*/ 14143 w 14143"/>
                <a:gd name="connsiteY3" fmla="*/ 13487 h 1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43" h="14319">
                  <a:moveTo>
                    <a:pt x="0" y="14319"/>
                  </a:moveTo>
                  <a:lnTo>
                    <a:pt x="11843" y="0"/>
                  </a:lnTo>
                  <a:lnTo>
                    <a:pt x="14143" y="7563"/>
                  </a:lnTo>
                  <a:lnTo>
                    <a:pt x="14143" y="1348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F29133E2-23FE-4A05-8C3E-06E82B2EE756}"/>
                </a:ext>
              </a:extLst>
            </p:cNvPr>
            <p:cNvSpPr/>
            <p:nvPr/>
          </p:nvSpPr>
          <p:spPr>
            <a:xfrm rot="8716295">
              <a:off x="672878" y="1171577"/>
              <a:ext cx="183964" cy="137618"/>
            </a:xfrm>
            <a:custGeom>
              <a:avLst/>
              <a:gdLst>
                <a:gd name="connsiteX0" fmla="*/ 0 w 183964"/>
                <a:gd name="connsiteY0" fmla="*/ 137618 h 137618"/>
                <a:gd name="connsiteX1" fmla="*/ 53346 w 183964"/>
                <a:gd name="connsiteY1" fmla="*/ 73121 h 137618"/>
                <a:gd name="connsiteX2" fmla="*/ 101034 w 183964"/>
                <a:gd name="connsiteY2" fmla="*/ 28251 h 137618"/>
                <a:gd name="connsiteX3" fmla="*/ 155713 w 183964"/>
                <a:gd name="connsiteY3" fmla="*/ 0 h 137618"/>
                <a:gd name="connsiteX4" fmla="*/ 183964 w 183964"/>
                <a:gd name="connsiteY4" fmla="*/ 33719 h 137618"/>
                <a:gd name="connsiteX5" fmla="*/ 157536 w 183964"/>
                <a:gd name="connsiteY5" fmla="*/ 69261 h 137618"/>
                <a:gd name="connsiteX6" fmla="*/ 157991 w 183964"/>
                <a:gd name="connsiteY6" fmla="*/ 69261 h 137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3964" h="137618">
                  <a:moveTo>
                    <a:pt x="0" y="137618"/>
                  </a:moveTo>
                  <a:lnTo>
                    <a:pt x="53346" y="73121"/>
                  </a:lnTo>
                  <a:lnTo>
                    <a:pt x="101034" y="28251"/>
                  </a:lnTo>
                  <a:cubicBezTo>
                    <a:pt x="114703" y="12303"/>
                    <a:pt x="134297" y="2278"/>
                    <a:pt x="155713" y="0"/>
                  </a:cubicBezTo>
                  <a:cubicBezTo>
                    <a:pt x="177585" y="0"/>
                    <a:pt x="183964" y="19138"/>
                    <a:pt x="183964" y="33719"/>
                  </a:cubicBezTo>
                  <a:cubicBezTo>
                    <a:pt x="182597" y="49667"/>
                    <a:pt x="172117" y="62881"/>
                    <a:pt x="157536" y="69261"/>
                  </a:cubicBezTo>
                  <a:lnTo>
                    <a:pt x="157991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5E79E2F7-FE77-428C-929F-4D7C8FB066A9}"/>
                </a:ext>
              </a:extLst>
            </p:cNvPr>
            <p:cNvSpPr/>
            <p:nvPr/>
          </p:nvSpPr>
          <p:spPr>
            <a:xfrm rot="8716295">
              <a:off x="519479" y="13148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AC49361A-028A-4CA3-A2A1-A372F544DB33}"/>
                </a:ext>
              </a:extLst>
            </p:cNvPr>
            <p:cNvSpPr/>
            <p:nvPr/>
          </p:nvSpPr>
          <p:spPr>
            <a:xfrm rot="8716295">
              <a:off x="394576" y="11061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CAB08DB6-35D5-40DF-BB68-8D985BEBA2F5}"/>
                </a:ext>
              </a:extLst>
            </p:cNvPr>
            <p:cNvSpPr/>
            <p:nvPr/>
          </p:nvSpPr>
          <p:spPr>
            <a:xfrm rot="8716295">
              <a:off x="382524" y="96739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EF0B79A4-ED29-4509-A025-0FDBC80DDF4D}"/>
                </a:ext>
              </a:extLst>
            </p:cNvPr>
            <p:cNvSpPr/>
            <p:nvPr/>
          </p:nvSpPr>
          <p:spPr>
            <a:xfrm rot="8716295">
              <a:off x="609657" y="135579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8A5B8AD6-0C7B-4FD4-A763-E4D6A3665D82}"/>
                </a:ext>
              </a:extLst>
            </p:cNvPr>
            <p:cNvSpPr/>
            <p:nvPr/>
          </p:nvSpPr>
          <p:spPr>
            <a:xfrm rot="8716295">
              <a:off x="683426" y="869567"/>
              <a:ext cx="156000" cy="195873"/>
            </a:xfrm>
            <a:custGeom>
              <a:avLst/>
              <a:gdLst>
                <a:gd name="connsiteX0" fmla="*/ 42863 w 156000"/>
                <a:gd name="connsiteY0" fmla="*/ 195873 h 195873"/>
                <a:gd name="connsiteX1" fmla="*/ 0 w 156000"/>
                <a:gd name="connsiteY1" fmla="*/ 116129 h 195873"/>
                <a:gd name="connsiteX2" fmla="*/ 5100 w 156000"/>
                <a:gd name="connsiteY2" fmla="*/ 101988 h 195873"/>
                <a:gd name="connsiteX3" fmla="*/ 89456 w 156000"/>
                <a:gd name="connsiteY3" fmla="*/ 0 h 195873"/>
                <a:gd name="connsiteX4" fmla="*/ 156000 w 156000"/>
                <a:gd name="connsiteY4" fmla="*/ 0 h 195873"/>
                <a:gd name="connsiteX5" fmla="*/ 156000 w 156000"/>
                <a:gd name="connsiteY5" fmla="*/ 55323 h 195873"/>
                <a:gd name="connsiteX6" fmla="*/ 91208 w 156000"/>
                <a:gd name="connsiteY6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000" h="195873">
                  <a:moveTo>
                    <a:pt x="42863" y="195873"/>
                  </a:moveTo>
                  <a:lnTo>
                    <a:pt x="0" y="116129"/>
                  </a:lnTo>
                  <a:lnTo>
                    <a:pt x="5100" y="101988"/>
                  </a:lnTo>
                  <a:lnTo>
                    <a:pt x="89456" y="0"/>
                  </a:lnTo>
                  <a:lnTo>
                    <a:pt x="156000" y="0"/>
                  </a:lnTo>
                  <a:lnTo>
                    <a:pt x="156000" y="55323"/>
                  </a:lnTo>
                  <a:lnTo>
                    <a:pt x="91208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7DFCEA7D-F372-4371-803B-1BDFB976A5FE}"/>
                </a:ext>
              </a:extLst>
            </p:cNvPr>
            <p:cNvSpPr/>
            <p:nvPr/>
          </p:nvSpPr>
          <p:spPr>
            <a:xfrm rot="8716295">
              <a:off x="657305" y="95604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813AE7E0-5367-40AE-8648-A812F3FCEFB0}"/>
                </a:ext>
              </a:extLst>
            </p:cNvPr>
            <p:cNvSpPr/>
            <p:nvPr/>
          </p:nvSpPr>
          <p:spPr>
            <a:xfrm rot="8716295">
              <a:off x="412774" y="56424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4F0C8F89-3692-4CD2-AB49-0CA987B88CD5}"/>
                </a:ext>
              </a:extLst>
            </p:cNvPr>
            <p:cNvSpPr/>
            <p:nvPr/>
          </p:nvSpPr>
          <p:spPr>
            <a:xfrm rot="8716295">
              <a:off x="502166" y="59348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284418CA-40AC-4E29-8D1E-8E40819DE436}"/>
                </a:ext>
              </a:extLst>
            </p:cNvPr>
            <p:cNvSpPr/>
            <p:nvPr/>
          </p:nvSpPr>
          <p:spPr>
            <a:xfrm rot="8716295">
              <a:off x="457316" y="50720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19514F15-38A0-4598-8B03-DA5265616C1F}"/>
                </a:ext>
              </a:extLst>
            </p:cNvPr>
            <p:cNvSpPr/>
            <p:nvPr/>
          </p:nvSpPr>
          <p:spPr>
            <a:xfrm rot="8716295">
              <a:off x="300540" y="65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35129A39-F7B1-40CB-9723-42A8577DE4D8}"/>
                </a:ext>
              </a:extLst>
            </p:cNvPr>
            <p:cNvSpPr/>
            <p:nvPr/>
          </p:nvSpPr>
          <p:spPr>
            <a:xfrm rot="8716295">
              <a:off x="175637" y="44411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C7017F0B-1736-4A46-A863-13134C22DD70}"/>
                </a:ext>
              </a:extLst>
            </p:cNvPr>
            <p:cNvSpPr/>
            <p:nvPr/>
          </p:nvSpPr>
          <p:spPr>
            <a:xfrm rot="8716295">
              <a:off x="163585" y="30533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E31096BD-DD71-4593-87A9-9B536F3877A9}"/>
                </a:ext>
              </a:extLst>
            </p:cNvPr>
            <p:cNvSpPr/>
            <p:nvPr/>
          </p:nvSpPr>
          <p:spPr>
            <a:xfrm rot="8716295">
              <a:off x="390718" y="69374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489E6E27-B2DC-4644-8C61-0B68592B9997}"/>
                </a:ext>
              </a:extLst>
            </p:cNvPr>
            <p:cNvSpPr/>
            <p:nvPr/>
          </p:nvSpPr>
          <p:spPr>
            <a:xfrm rot="8716295">
              <a:off x="702015" y="317459"/>
              <a:ext cx="131260" cy="232388"/>
            </a:xfrm>
            <a:custGeom>
              <a:avLst/>
              <a:gdLst>
                <a:gd name="connsiteX0" fmla="*/ 70201 w 131260"/>
                <a:gd name="connsiteY0" fmla="*/ 232388 h 232388"/>
                <a:gd name="connsiteX1" fmla="*/ 70201 w 131260"/>
                <a:gd name="connsiteY1" fmla="*/ 69717 h 232388"/>
                <a:gd name="connsiteX2" fmla="*/ 70201 w 131260"/>
                <a:gd name="connsiteY2" fmla="*/ 65615 h 232388"/>
                <a:gd name="connsiteX3" fmla="*/ 49697 w 131260"/>
                <a:gd name="connsiteY3" fmla="*/ 50123 h 232388"/>
                <a:gd name="connsiteX4" fmla="*/ 0 w 131260"/>
                <a:gd name="connsiteY4" fmla="*/ 50123 h 232388"/>
                <a:gd name="connsiteX5" fmla="*/ 41457 w 131260"/>
                <a:gd name="connsiteY5" fmla="*/ 0 h 232388"/>
                <a:gd name="connsiteX6" fmla="*/ 74303 w 131260"/>
                <a:gd name="connsiteY6" fmla="*/ 0 h 232388"/>
                <a:gd name="connsiteX7" fmla="*/ 131260 w 131260"/>
                <a:gd name="connsiteY7" fmla="*/ 50123 h 232388"/>
                <a:gd name="connsiteX8" fmla="*/ 131260 w 131260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1260" h="232388">
                  <a:moveTo>
                    <a:pt x="70201" y="232388"/>
                  </a:moveTo>
                  <a:lnTo>
                    <a:pt x="70201" y="69717"/>
                  </a:lnTo>
                  <a:cubicBezTo>
                    <a:pt x="70201" y="68349"/>
                    <a:pt x="70201" y="66983"/>
                    <a:pt x="70201" y="65615"/>
                  </a:cubicBezTo>
                  <a:cubicBezTo>
                    <a:pt x="68835" y="55591"/>
                    <a:pt x="59721" y="48756"/>
                    <a:pt x="49697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74303" y="0"/>
                  </a:lnTo>
                  <a:cubicBezTo>
                    <a:pt x="111211" y="0"/>
                    <a:pt x="131260" y="15948"/>
                    <a:pt x="131260" y="50123"/>
                  </a:cubicBezTo>
                  <a:lnTo>
                    <a:pt x="131260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64B1D5CD-AA1A-4511-A70C-3D1648AA7620}"/>
                </a:ext>
              </a:extLst>
            </p:cNvPr>
            <p:cNvSpPr/>
            <p:nvPr/>
          </p:nvSpPr>
          <p:spPr>
            <a:xfrm rot="8716295">
              <a:off x="834978" y="558357"/>
              <a:ext cx="24341" cy="23495"/>
            </a:xfrm>
            <a:custGeom>
              <a:avLst/>
              <a:gdLst>
                <a:gd name="connsiteX0" fmla="*/ 0 w 24341"/>
                <a:gd name="connsiteY0" fmla="*/ 23495 h 23495"/>
                <a:gd name="connsiteX1" fmla="*/ 19433 w 24341"/>
                <a:gd name="connsiteY1" fmla="*/ 0 h 23495"/>
                <a:gd name="connsiteX2" fmla="*/ 24341 w 24341"/>
                <a:gd name="connsiteY2" fmla="*/ 16139 h 23495"/>
                <a:gd name="connsiteX3" fmla="*/ 24341 w 24341"/>
                <a:gd name="connsiteY3" fmla="*/ 22063 h 23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41" h="23495">
                  <a:moveTo>
                    <a:pt x="0" y="23495"/>
                  </a:moveTo>
                  <a:lnTo>
                    <a:pt x="19433" y="0"/>
                  </a:lnTo>
                  <a:lnTo>
                    <a:pt x="24341" y="16139"/>
                  </a:lnTo>
                  <a:lnTo>
                    <a:pt x="24341" y="220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C7E6623E-E147-4C70-B4C9-2964958B77BB}"/>
                </a:ext>
              </a:extLst>
            </p:cNvPr>
            <p:cNvSpPr/>
            <p:nvPr/>
          </p:nvSpPr>
          <p:spPr>
            <a:xfrm rot="8716295">
              <a:off x="589639" y="40263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4DE4261E-A052-44C0-B4E1-A4180EFF5C4E}"/>
                </a:ext>
              </a:extLst>
            </p:cNvPr>
            <p:cNvSpPr/>
            <p:nvPr/>
          </p:nvSpPr>
          <p:spPr>
            <a:xfrm rot="8716295">
              <a:off x="464737" y="19396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088943E8-6233-4A69-B579-FE8F6D2031DE}"/>
                </a:ext>
              </a:extLst>
            </p:cNvPr>
            <p:cNvSpPr/>
            <p:nvPr/>
          </p:nvSpPr>
          <p:spPr>
            <a:xfrm rot="8716295">
              <a:off x="679817" y="44358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C9608DDB-F100-4197-8B1F-FCABCA12152A}"/>
                </a:ext>
              </a:extLst>
            </p:cNvPr>
            <p:cNvSpPr/>
            <p:nvPr/>
          </p:nvSpPr>
          <p:spPr>
            <a:xfrm rot="8716295">
              <a:off x="438366" y="29398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D82830A6-34DE-41A5-85EB-BBC1292CFD2D}"/>
                </a:ext>
              </a:extLst>
            </p:cNvPr>
            <p:cNvSpPr/>
            <p:nvPr/>
          </p:nvSpPr>
          <p:spPr>
            <a:xfrm rot="7484129">
              <a:off x="811674" y="658874"/>
              <a:ext cx="31078" cy="46141"/>
            </a:xfrm>
            <a:custGeom>
              <a:avLst/>
              <a:gdLst>
                <a:gd name="connsiteX0" fmla="*/ 15207 w 31078"/>
                <a:gd name="connsiteY0" fmla="*/ 46141 h 46141"/>
                <a:gd name="connsiteX1" fmla="*/ 0 w 31078"/>
                <a:gd name="connsiteY1" fmla="*/ 17849 h 46141"/>
                <a:gd name="connsiteX2" fmla="*/ 31078 w 31078"/>
                <a:gd name="connsiteY2" fmla="*/ 0 h 46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078" h="46141">
                  <a:moveTo>
                    <a:pt x="15207" y="46141"/>
                  </a:moveTo>
                  <a:lnTo>
                    <a:pt x="0" y="17849"/>
                  </a:lnTo>
                  <a:lnTo>
                    <a:pt x="3107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F95DC290-4BE0-47A6-9E13-46128747A546}"/>
                </a:ext>
              </a:extLst>
            </p:cNvPr>
            <p:cNvSpPr/>
            <p:nvPr/>
          </p:nvSpPr>
          <p:spPr>
            <a:xfrm rot="8716295">
              <a:off x="780102" y="336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2DFDD14A-8BE6-4683-84E9-692286466F04}"/>
                </a:ext>
              </a:extLst>
            </p:cNvPr>
            <p:cNvSpPr/>
            <p:nvPr/>
          </p:nvSpPr>
          <p:spPr>
            <a:xfrm rot="8716295">
              <a:off x="202348" y="-57106"/>
              <a:ext cx="142167" cy="186494"/>
            </a:xfrm>
            <a:custGeom>
              <a:avLst/>
              <a:gdLst>
                <a:gd name="connsiteX0" fmla="*/ 142167 w 142167"/>
                <a:gd name="connsiteY0" fmla="*/ 186494 h 186494"/>
                <a:gd name="connsiteX1" fmla="*/ 81108 w 142167"/>
                <a:gd name="connsiteY1" fmla="*/ 144170 h 186494"/>
                <a:gd name="connsiteX2" fmla="*/ 81108 w 142167"/>
                <a:gd name="connsiteY2" fmla="*/ 69717 h 186494"/>
                <a:gd name="connsiteX3" fmla="*/ 81108 w 142167"/>
                <a:gd name="connsiteY3" fmla="*/ 65615 h 186494"/>
                <a:gd name="connsiteX4" fmla="*/ 60603 w 142167"/>
                <a:gd name="connsiteY4" fmla="*/ 50123 h 186494"/>
                <a:gd name="connsiteX5" fmla="*/ 0 w 142167"/>
                <a:gd name="connsiteY5" fmla="*/ 50123 h 186494"/>
                <a:gd name="connsiteX6" fmla="*/ 0 w 142167"/>
                <a:gd name="connsiteY6" fmla="*/ 0 h 186494"/>
                <a:gd name="connsiteX7" fmla="*/ 85209 w 142167"/>
                <a:gd name="connsiteY7" fmla="*/ 0 h 186494"/>
                <a:gd name="connsiteX8" fmla="*/ 142167 w 142167"/>
                <a:gd name="connsiteY8" fmla="*/ 50123 h 186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86494">
                  <a:moveTo>
                    <a:pt x="142167" y="186494"/>
                  </a:moveTo>
                  <a:lnTo>
                    <a:pt x="81108" y="144170"/>
                  </a:lnTo>
                  <a:lnTo>
                    <a:pt x="81108" y="69717"/>
                  </a:lnTo>
                  <a:cubicBezTo>
                    <a:pt x="81108" y="68349"/>
                    <a:pt x="81108" y="66983"/>
                    <a:pt x="81108" y="65615"/>
                  </a:cubicBezTo>
                  <a:cubicBezTo>
                    <a:pt x="79741" y="55591"/>
                    <a:pt x="70628" y="48756"/>
                    <a:pt x="60603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1290DDF0-32AF-49C1-9855-D4608A5165C7}"/>
                </a:ext>
              </a:extLst>
            </p:cNvPr>
            <p:cNvSpPr/>
            <p:nvPr/>
          </p:nvSpPr>
          <p:spPr>
            <a:xfrm rot="8716295">
              <a:off x="298766" y="-5395"/>
              <a:ext cx="260639" cy="180054"/>
            </a:xfrm>
            <a:custGeom>
              <a:avLst/>
              <a:gdLst>
                <a:gd name="connsiteX0" fmla="*/ 111638 w 260639"/>
                <a:gd name="connsiteY0" fmla="*/ 180054 h 180054"/>
                <a:gd name="connsiteX1" fmla="*/ 51490 w 260639"/>
                <a:gd name="connsiteY1" fmla="*/ 138362 h 180054"/>
                <a:gd name="connsiteX2" fmla="*/ 51490 w 260639"/>
                <a:gd name="connsiteY2" fmla="*/ 45624 h 180054"/>
                <a:gd name="connsiteX3" fmla="*/ 0 w 260639"/>
                <a:gd name="connsiteY3" fmla="*/ 45624 h 180054"/>
                <a:gd name="connsiteX4" fmla="*/ 0 w 260639"/>
                <a:gd name="connsiteY4" fmla="*/ 1425 h 180054"/>
                <a:gd name="connsiteX5" fmla="*/ 104802 w 260639"/>
                <a:gd name="connsiteY5" fmla="*/ 1425 h 180054"/>
                <a:gd name="connsiteX6" fmla="*/ 104802 w 260639"/>
                <a:gd name="connsiteY6" fmla="*/ 75242 h 180054"/>
                <a:gd name="connsiteX7" fmla="*/ 106169 w 260639"/>
                <a:gd name="connsiteY7" fmla="*/ 75242 h 180054"/>
                <a:gd name="connsiteX8" fmla="*/ 154014 w 260639"/>
                <a:gd name="connsiteY8" fmla="*/ 5981 h 180054"/>
                <a:gd name="connsiteX9" fmla="*/ 185455 w 260639"/>
                <a:gd name="connsiteY9" fmla="*/ 57 h 180054"/>
                <a:gd name="connsiteX10" fmla="*/ 260639 w 260639"/>
                <a:gd name="connsiteY10" fmla="*/ 88456 h 180054"/>
                <a:gd name="connsiteX11" fmla="*/ 260639 w 260639"/>
                <a:gd name="connsiteY11" fmla="*/ 94380 h 180054"/>
                <a:gd name="connsiteX12" fmla="*/ 198669 w 260639"/>
                <a:gd name="connsiteY12" fmla="*/ 98025 h 180054"/>
                <a:gd name="connsiteX13" fmla="*/ 198669 w 260639"/>
                <a:gd name="connsiteY13" fmla="*/ 81621 h 180054"/>
                <a:gd name="connsiteX14" fmla="*/ 164950 w 260639"/>
                <a:gd name="connsiteY14" fmla="*/ 40156 h 180054"/>
                <a:gd name="connsiteX15" fmla="*/ 111638 w 260639"/>
                <a:gd name="connsiteY15" fmla="*/ 127643 h 180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0639" h="180054">
                  <a:moveTo>
                    <a:pt x="111638" y="180054"/>
                  </a:moveTo>
                  <a:lnTo>
                    <a:pt x="51490" y="138362"/>
                  </a:ln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35F53667-6F8A-4DCE-969D-0E4C74C133AE}"/>
                </a:ext>
              </a:extLst>
            </p:cNvPr>
            <p:cNvSpPr/>
            <p:nvPr/>
          </p:nvSpPr>
          <p:spPr>
            <a:xfrm rot="8716295">
              <a:off x="276903" y="-12823"/>
              <a:ext cx="36272" cy="27982"/>
            </a:xfrm>
            <a:custGeom>
              <a:avLst/>
              <a:gdLst>
                <a:gd name="connsiteX0" fmla="*/ 36272 w 36272"/>
                <a:gd name="connsiteY0" fmla="*/ 27982 h 27982"/>
                <a:gd name="connsiteX1" fmla="*/ 0 w 36272"/>
                <a:gd name="connsiteY1" fmla="*/ 2840 h 27982"/>
                <a:gd name="connsiteX2" fmla="*/ 9543 w 36272"/>
                <a:gd name="connsiteY2" fmla="*/ 0 h 27982"/>
                <a:gd name="connsiteX3" fmla="*/ 31871 w 36272"/>
                <a:gd name="connsiteY3" fmla="*/ 11392 h 27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272" h="27982">
                  <a:moveTo>
                    <a:pt x="36272" y="27982"/>
                  </a:moveTo>
                  <a:lnTo>
                    <a:pt x="0" y="2840"/>
                  </a:lnTo>
                  <a:lnTo>
                    <a:pt x="9543" y="0"/>
                  </a:lnTo>
                  <a:cubicBezTo>
                    <a:pt x="20479" y="0"/>
                    <a:pt x="27542" y="4784"/>
                    <a:pt x="31871" y="113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7EAA08B2-D955-4718-8A05-F3FD6783C060}"/>
                </a:ext>
              </a:extLst>
            </p:cNvPr>
            <p:cNvSpPr/>
            <p:nvPr/>
          </p:nvSpPr>
          <p:spPr>
            <a:xfrm rot="8716295">
              <a:off x="74640" y="-9665"/>
              <a:ext cx="58068" cy="54772"/>
            </a:xfrm>
            <a:custGeom>
              <a:avLst/>
              <a:gdLst>
                <a:gd name="connsiteX0" fmla="*/ 37436 w 58068"/>
                <a:gd name="connsiteY0" fmla="*/ 54772 h 54772"/>
                <a:gd name="connsiteX1" fmla="*/ 0 w 58068"/>
                <a:gd name="connsiteY1" fmla="*/ 28823 h 54772"/>
                <a:gd name="connsiteX2" fmla="*/ 8515 w 58068"/>
                <a:gd name="connsiteY2" fmla="*/ 8658 h 54772"/>
                <a:gd name="connsiteX3" fmla="*/ 29020 w 58068"/>
                <a:gd name="connsiteY3" fmla="*/ 0 h 54772"/>
                <a:gd name="connsiteX4" fmla="*/ 49525 w 58068"/>
                <a:gd name="connsiteY4" fmla="*/ 8658 h 54772"/>
                <a:gd name="connsiteX5" fmla="*/ 49525 w 58068"/>
                <a:gd name="connsiteY5" fmla="*/ 49668 h 5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068" h="54772">
                  <a:moveTo>
                    <a:pt x="37436" y="54772"/>
                  </a:moveTo>
                  <a:lnTo>
                    <a:pt x="0" y="28823"/>
                  </a:lnTo>
                  <a:lnTo>
                    <a:pt x="8515" y="8658"/>
                  </a:lnTo>
                  <a:cubicBezTo>
                    <a:pt x="13983" y="3190"/>
                    <a:pt x="21273" y="0"/>
                    <a:pt x="29020" y="0"/>
                  </a:cubicBezTo>
                  <a:cubicBezTo>
                    <a:pt x="36766" y="0"/>
                    <a:pt x="44057" y="3190"/>
                    <a:pt x="49525" y="8658"/>
                  </a:cubicBezTo>
                  <a:cubicBezTo>
                    <a:pt x="60916" y="19594"/>
                    <a:pt x="60916" y="38276"/>
                    <a:pt x="49525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91D311A3-3988-4CE3-A999-8E18D0FD85FD}"/>
                </a:ext>
              </a:extLst>
            </p:cNvPr>
            <p:cNvSpPr/>
            <p:nvPr/>
          </p:nvSpPr>
          <p:spPr>
            <a:xfrm rot="8716295">
              <a:off x="13802" y="-10406"/>
              <a:ext cx="30027" cy="20814"/>
            </a:xfrm>
            <a:custGeom>
              <a:avLst/>
              <a:gdLst>
                <a:gd name="connsiteX0" fmla="*/ 30027 w 30027"/>
                <a:gd name="connsiteY0" fmla="*/ 20814 h 20814"/>
                <a:gd name="connsiteX1" fmla="*/ 0 w 30027"/>
                <a:gd name="connsiteY1" fmla="*/ 0 h 20814"/>
                <a:gd name="connsiteX2" fmla="*/ 30027 w 30027"/>
                <a:gd name="connsiteY2" fmla="*/ 0 h 20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027" h="20814">
                  <a:moveTo>
                    <a:pt x="30027" y="20814"/>
                  </a:moveTo>
                  <a:lnTo>
                    <a:pt x="0" y="0"/>
                  </a:lnTo>
                  <a:lnTo>
                    <a:pt x="3002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7D873286-5EB5-4CF8-8AF6-196B8CFE1B78}"/>
                </a:ext>
              </a:extLst>
            </p:cNvPr>
            <p:cNvSpPr/>
            <p:nvPr/>
          </p:nvSpPr>
          <p:spPr>
            <a:xfrm rot="8716295">
              <a:off x="168048" y="3032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7A821114-A2EA-43FA-A71F-B45BB20754C5}"/>
                </a:ext>
              </a:extLst>
            </p:cNvPr>
            <p:cNvSpPr/>
            <p:nvPr/>
          </p:nvSpPr>
          <p:spPr>
            <a:xfrm rot="7484129">
              <a:off x="562078" y="-284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3685BB38-9BA5-4418-8C8D-FBEB60E347A8}"/>
                </a:ext>
              </a:extLst>
            </p:cNvPr>
            <p:cNvSpPr/>
            <p:nvPr/>
          </p:nvSpPr>
          <p:spPr>
            <a:xfrm rot="13089394">
              <a:off x="767127" y="-2787"/>
              <a:ext cx="149688" cy="301067"/>
            </a:xfrm>
            <a:custGeom>
              <a:avLst/>
              <a:gdLst>
                <a:gd name="connsiteX0" fmla="*/ 149688 w 149688"/>
                <a:gd name="connsiteY0" fmla="*/ 279622 h 301067"/>
                <a:gd name="connsiteX1" fmla="*/ 122393 w 149688"/>
                <a:gd name="connsiteY1" fmla="*/ 301067 h 301067"/>
                <a:gd name="connsiteX2" fmla="*/ 0 w 149688"/>
                <a:gd name="connsiteY2" fmla="*/ 114672 h 301067"/>
                <a:gd name="connsiteX3" fmla="*/ 0 w 149688"/>
                <a:gd name="connsiteY3" fmla="*/ 38074 h 301067"/>
                <a:gd name="connsiteX4" fmla="*/ 73388 w 149688"/>
                <a:gd name="connsiteY4" fmla="*/ 0 h 301067"/>
                <a:gd name="connsiteX5" fmla="*/ 74492 w 149688"/>
                <a:gd name="connsiteY5" fmla="*/ 153950 h 301067"/>
                <a:gd name="connsiteX6" fmla="*/ 87734 w 149688"/>
                <a:gd name="connsiteY6" fmla="*/ 245547 h 301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9688" h="301067">
                  <a:moveTo>
                    <a:pt x="149688" y="279622"/>
                  </a:moveTo>
                  <a:lnTo>
                    <a:pt x="122393" y="301067"/>
                  </a:lnTo>
                  <a:lnTo>
                    <a:pt x="0" y="114672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2836" y="184850"/>
                    <a:pt x="77802" y="216302"/>
                    <a:pt x="87734" y="2455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114D5DAD-A121-412D-8EC9-36550D867937}"/>
                </a:ext>
              </a:extLst>
            </p:cNvPr>
            <p:cNvSpPr/>
            <p:nvPr/>
          </p:nvSpPr>
          <p:spPr>
            <a:xfrm rot="8716295">
              <a:off x="212141" y="304502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61E96B9A-4D28-4F84-A968-91920B4F682F}"/>
                </a:ext>
              </a:extLst>
            </p:cNvPr>
            <p:cNvSpPr/>
            <p:nvPr/>
          </p:nvSpPr>
          <p:spPr>
            <a:xfrm rot="8716295">
              <a:off x="301533" y="307427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EFBE6CB5-44BD-4FB1-964B-F9876CB1F02D}"/>
                </a:ext>
              </a:extLst>
            </p:cNvPr>
            <p:cNvSpPr/>
            <p:nvPr/>
          </p:nvSpPr>
          <p:spPr>
            <a:xfrm rot="8716295">
              <a:off x="256683" y="298799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38E45A1E-C02E-4B0D-9660-74BB6C6525C0}"/>
                </a:ext>
              </a:extLst>
            </p:cNvPr>
            <p:cNvSpPr/>
            <p:nvPr/>
          </p:nvSpPr>
          <p:spPr>
            <a:xfrm rot="8716295">
              <a:off x="99907" y="31335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6D3358CE-572A-49E2-A96A-A71EBB4EE87B}"/>
                </a:ext>
              </a:extLst>
            </p:cNvPr>
            <p:cNvSpPr/>
            <p:nvPr/>
          </p:nvSpPr>
          <p:spPr>
            <a:xfrm rot="8716295">
              <a:off x="-24996" y="29248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FD4661B5-95D9-433F-BEC2-9F56D7A1586B}"/>
                </a:ext>
              </a:extLst>
            </p:cNvPr>
            <p:cNvSpPr/>
            <p:nvPr/>
          </p:nvSpPr>
          <p:spPr>
            <a:xfrm rot="8716295">
              <a:off x="51899" y="2754602"/>
              <a:ext cx="189488" cy="350829"/>
            </a:xfrm>
            <a:custGeom>
              <a:avLst/>
              <a:gdLst>
                <a:gd name="connsiteX0" fmla="*/ 25299 w 189488"/>
                <a:gd name="connsiteY0" fmla="*/ 321238 h 350829"/>
                <a:gd name="connsiteX1" fmla="*/ 0 w 189488"/>
                <a:gd name="connsiteY1" fmla="*/ 220042 h 350829"/>
                <a:gd name="connsiteX2" fmla="*/ 0 w 189488"/>
                <a:gd name="connsiteY2" fmla="*/ 40596 h 350829"/>
                <a:gd name="connsiteX3" fmla="*/ 78250 w 189488"/>
                <a:gd name="connsiteY3" fmla="*/ 0 h 350829"/>
                <a:gd name="connsiteX4" fmla="*/ 79427 w 189488"/>
                <a:gd name="connsiteY4" fmla="*/ 164149 h 350829"/>
                <a:gd name="connsiteX5" fmla="*/ 93547 w 189488"/>
                <a:gd name="connsiteY5" fmla="*/ 261815 h 350829"/>
                <a:gd name="connsiteX6" fmla="*/ 164148 w 189488"/>
                <a:gd name="connsiteY6" fmla="*/ 300646 h 350829"/>
                <a:gd name="connsiteX7" fmla="*/ 189488 w 189488"/>
                <a:gd name="connsiteY7" fmla="*/ 296141 h 350829"/>
                <a:gd name="connsiteX8" fmla="*/ 160617 w 189488"/>
                <a:gd name="connsiteY8" fmla="*/ 337791 h 350829"/>
                <a:gd name="connsiteX9" fmla="*/ 97666 w 189488"/>
                <a:gd name="connsiteY9" fmla="*/ 350655 h 350829"/>
                <a:gd name="connsiteX10" fmla="*/ 25299 w 189488"/>
                <a:gd name="connsiteY10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9488" h="350829">
                  <a:moveTo>
                    <a:pt x="25299" y="321238"/>
                  </a:moveTo>
                  <a:cubicBezTo>
                    <a:pt x="5295" y="301823"/>
                    <a:pt x="0" y="268286"/>
                    <a:pt x="0" y="220042"/>
                  </a:cubicBez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8" y="300646"/>
                  </a:cubicBezTo>
                  <a:lnTo>
                    <a:pt x="189488" y="296141"/>
                  </a:lnTo>
                  <a:lnTo>
                    <a:pt x="160617" y="337791"/>
                  </a:lnTo>
                  <a:lnTo>
                    <a:pt x="97666" y="350655"/>
                  </a:ln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B2B32B95-C256-448F-A1B2-6C67C09DF5AE}"/>
                </a:ext>
              </a:extLst>
            </p:cNvPr>
            <p:cNvSpPr/>
            <p:nvPr/>
          </p:nvSpPr>
          <p:spPr>
            <a:xfrm rot="8716295">
              <a:off x="190085" y="317452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E877EB14-51C5-4A81-B0BF-26680B1F705F}"/>
                </a:ext>
              </a:extLst>
            </p:cNvPr>
            <p:cNvSpPr/>
            <p:nvPr/>
          </p:nvSpPr>
          <p:spPr>
            <a:xfrm rot="8716295">
              <a:off x="502599" y="2802136"/>
              <a:ext cx="117588" cy="232388"/>
            </a:xfrm>
            <a:custGeom>
              <a:avLst/>
              <a:gdLst>
                <a:gd name="connsiteX0" fmla="*/ 56529 w 117588"/>
                <a:gd name="connsiteY0" fmla="*/ 232388 h 232388"/>
                <a:gd name="connsiteX1" fmla="*/ 56529 w 117588"/>
                <a:gd name="connsiteY1" fmla="*/ 69717 h 232388"/>
                <a:gd name="connsiteX2" fmla="*/ 56529 w 117588"/>
                <a:gd name="connsiteY2" fmla="*/ 65615 h 232388"/>
                <a:gd name="connsiteX3" fmla="*/ 36025 w 117588"/>
                <a:gd name="connsiteY3" fmla="*/ 50123 h 232388"/>
                <a:gd name="connsiteX4" fmla="*/ 0 w 117588"/>
                <a:gd name="connsiteY4" fmla="*/ 50123 h 232388"/>
                <a:gd name="connsiteX5" fmla="*/ 41458 w 117588"/>
                <a:gd name="connsiteY5" fmla="*/ 0 h 232388"/>
                <a:gd name="connsiteX6" fmla="*/ 60630 w 117588"/>
                <a:gd name="connsiteY6" fmla="*/ 0 h 232388"/>
                <a:gd name="connsiteX7" fmla="*/ 117588 w 117588"/>
                <a:gd name="connsiteY7" fmla="*/ 50123 h 232388"/>
                <a:gd name="connsiteX8" fmla="*/ 117588 w 117588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7588" h="232388">
                  <a:moveTo>
                    <a:pt x="56529" y="232388"/>
                  </a:moveTo>
                  <a:lnTo>
                    <a:pt x="56529" y="69717"/>
                  </a:lnTo>
                  <a:cubicBezTo>
                    <a:pt x="56529" y="68349"/>
                    <a:pt x="56529" y="66983"/>
                    <a:pt x="56529" y="65615"/>
                  </a:cubicBezTo>
                  <a:cubicBezTo>
                    <a:pt x="55163" y="55591"/>
                    <a:pt x="46049" y="48756"/>
                    <a:pt x="36025" y="50123"/>
                  </a:cubicBezTo>
                  <a:lnTo>
                    <a:pt x="0" y="50123"/>
                  </a:lnTo>
                  <a:lnTo>
                    <a:pt x="41458" y="0"/>
                  </a:lnTo>
                  <a:lnTo>
                    <a:pt x="60630" y="0"/>
                  </a:lnTo>
                  <a:cubicBezTo>
                    <a:pt x="97539" y="0"/>
                    <a:pt x="117588" y="15948"/>
                    <a:pt x="117588" y="50123"/>
                  </a:cubicBezTo>
                  <a:lnTo>
                    <a:pt x="117588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AE770E37-12A5-49E8-A852-2213359AF064}"/>
                </a:ext>
              </a:extLst>
            </p:cNvPr>
            <p:cNvSpPr/>
            <p:nvPr/>
          </p:nvSpPr>
          <p:spPr>
            <a:xfrm rot="8716295">
              <a:off x="389006" y="2883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575CB7EC-73D6-440C-8D11-02C25DB1B58E}"/>
                </a:ext>
              </a:extLst>
            </p:cNvPr>
            <p:cNvSpPr/>
            <p:nvPr/>
          </p:nvSpPr>
          <p:spPr>
            <a:xfrm rot="8716295">
              <a:off x="264104" y="267474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3E6E4B66-1F26-432C-A14D-A0BFBE670784}"/>
                </a:ext>
              </a:extLst>
            </p:cNvPr>
            <p:cNvSpPr/>
            <p:nvPr/>
          </p:nvSpPr>
          <p:spPr>
            <a:xfrm rot="8716295">
              <a:off x="479184" y="292437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8324BF72-C5F2-44D4-8888-E752B7FEDC5D}"/>
                </a:ext>
              </a:extLst>
            </p:cNvPr>
            <p:cNvSpPr/>
            <p:nvPr/>
          </p:nvSpPr>
          <p:spPr>
            <a:xfrm rot="8716295">
              <a:off x="237733" y="277477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8239F27B-FC1E-4A05-9289-AB74F556DCB2}"/>
                </a:ext>
              </a:extLst>
            </p:cNvPr>
            <p:cNvSpPr/>
            <p:nvPr/>
          </p:nvSpPr>
          <p:spPr>
            <a:xfrm rot="7484129">
              <a:off x="609980" y="3142825"/>
              <a:ext cx="20881" cy="31001"/>
            </a:xfrm>
            <a:custGeom>
              <a:avLst/>
              <a:gdLst>
                <a:gd name="connsiteX0" fmla="*/ 10218 w 20881"/>
                <a:gd name="connsiteY0" fmla="*/ 31001 h 31001"/>
                <a:gd name="connsiteX1" fmla="*/ 0 w 20881"/>
                <a:gd name="connsiteY1" fmla="*/ 11992 h 31001"/>
                <a:gd name="connsiteX2" fmla="*/ 20881 w 20881"/>
                <a:gd name="connsiteY2" fmla="*/ 0 h 31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881" h="31001">
                  <a:moveTo>
                    <a:pt x="10218" y="31001"/>
                  </a:moveTo>
                  <a:lnTo>
                    <a:pt x="0" y="11992"/>
                  </a:lnTo>
                  <a:lnTo>
                    <a:pt x="2088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F966E638-4286-459E-B12F-23BB9A1D87B8}"/>
                </a:ext>
              </a:extLst>
            </p:cNvPr>
            <p:cNvSpPr/>
            <p:nvPr/>
          </p:nvSpPr>
          <p:spPr>
            <a:xfrm rot="8716295">
              <a:off x="579469" y="28172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B2C65482-1A23-4074-8C10-932297BE6093}"/>
                </a:ext>
              </a:extLst>
            </p:cNvPr>
            <p:cNvSpPr/>
            <p:nvPr/>
          </p:nvSpPr>
          <p:spPr>
            <a:xfrm rot="8716295">
              <a:off x="437995" y="3716235"/>
              <a:ext cx="102679" cy="232388"/>
            </a:xfrm>
            <a:custGeom>
              <a:avLst/>
              <a:gdLst>
                <a:gd name="connsiteX0" fmla="*/ 41620 w 102679"/>
                <a:gd name="connsiteY0" fmla="*/ 232388 h 232388"/>
                <a:gd name="connsiteX1" fmla="*/ 41620 w 102679"/>
                <a:gd name="connsiteY1" fmla="*/ 69717 h 232388"/>
                <a:gd name="connsiteX2" fmla="*/ 41620 w 102679"/>
                <a:gd name="connsiteY2" fmla="*/ 65615 h 232388"/>
                <a:gd name="connsiteX3" fmla="*/ 21116 w 102679"/>
                <a:gd name="connsiteY3" fmla="*/ 50123 h 232388"/>
                <a:gd name="connsiteX4" fmla="*/ 0 w 102679"/>
                <a:gd name="connsiteY4" fmla="*/ 50123 h 232388"/>
                <a:gd name="connsiteX5" fmla="*/ 41457 w 102679"/>
                <a:gd name="connsiteY5" fmla="*/ 0 h 232388"/>
                <a:gd name="connsiteX6" fmla="*/ 45721 w 102679"/>
                <a:gd name="connsiteY6" fmla="*/ 0 h 232388"/>
                <a:gd name="connsiteX7" fmla="*/ 102679 w 102679"/>
                <a:gd name="connsiteY7" fmla="*/ 50123 h 232388"/>
                <a:gd name="connsiteX8" fmla="*/ 102679 w 102679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2679" h="232388">
                  <a:moveTo>
                    <a:pt x="41620" y="232388"/>
                  </a:moveTo>
                  <a:lnTo>
                    <a:pt x="41620" y="69717"/>
                  </a:lnTo>
                  <a:cubicBezTo>
                    <a:pt x="41620" y="68349"/>
                    <a:pt x="41620" y="66983"/>
                    <a:pt x="41620" y="65615"/>
                  </a:cubicBezTo>
                  <a:cubicBezTo>
                    <a:pt x="40254" y="55591"/>
                    <a:pt x="31140" y="48756"/>
                    <a:pt x="21116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45721" y="0"/>
                  </a:lnTo>
                  <a:cubicBezTo>
                    <a:pt x="82630" y="0"/>
                    <a:pt x="102679" y="15948"/>
                    <a:pt x="102679" y="50123"/>
                  </a:cubicBezTo>
                  <a:lnTo>
                    <a:pt x="102679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3086E34F-1198-4AFB-9061-33B48AB15AF3}"/>
                </a:ext>
              </a:extLst>
            </p:cNvPr>
            <p:cNvSpPr/>
            <p:nvPr/>
          </p:nvSpPr>
          <p:spPr>
            <a:xfrm rot="8716295">
              <a:off x="482715" y="3669965"/>
              <a:ext cx="154563" cy="124897"/>
            </a:xfrm>
            <a:custGeom>
              <a:avLst/>
              <a:gdLst>
                <a:gd name="connsiteX0" fmla="*/ 0 w 154563"/>
                <a:gd name="connsiteY0" fmla="*/ 124897 h 124897"/>
                <a:gd name="connsiteX1" fmla="*/ 95474 w 154563"/>
                <a:gd name="connsiteY1" fmla="*/ 9467 h 124897"/>
                <a:gd name="connsiteX2" fmla="*/ 96067 w 154563"/>
                <a:gd name="connsiteY2" fmla="*/ 9000 h 124897"/>
                <a:gd name="connsiteX3" fmla="*/ 126312 w 154563"/>
                <a:gd name="connsiteY3" fmla="*/ 0 h 124897"/>
                <a:gd name="connsiteX4" fmla="*/ 154563 w 154563"/>
                <a:gd name="connsiteY4" fmla="*/ 33719 h 124897"/>
                <a:gd name="connsiteX5" fmla="*/ 128135 w 154563"/>
                <a:gd name="connsiteY5" fmla="*/ 69261 h 124897"/>
                <a:gd name="connsiteX6" fmla="*/ 128590 w 154563"/>
                <a:gd name="connsiteY6" fmla="*/ 69261 h 12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4563" h="124897">
                  <a:moveTo>
                    <a:pt x="0" y="124897"/>
                  </a:moveTo>
                  <a:lnTo>
                    <a:pt x="95474" y="9467"/>
                  </a:lnTo>
                  <a:lnTo>
                    <a:pt x="96067" y="9000"/>
                  </a:lnTo>
                  <a:cubicBezTo>
                    <a:pt x="105351" y="4215"/>
                    <a:pt x="115604" y="1139"/>
                    <a:pt x="126312" y="0"/>
                  </a:cubicBezTo>
                  <a:cubicBezTo>
                    <a:pt x="148184" y="0"/>
                    <a:pt x="154563" y="19138"/>
                    <a:pt x="154563" y="33719"/>
                  </a:cubicBezTo>
                  <a:cubicBezTo>
                    <a:pt x="153196" y="49668"/>
                    <a:pt x="142715" y="62882"/>
                    <a:pt x="128135" y="69261"/>
                  </a:cubicBezTo>
                  <a:lnTo>
                    <a:pt x="128590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34D8ECB7-8525-4B33-96F7-6EC94DA1622C}"/>
                </a:ext>
              </a:extLst>
            </p:cNvPr>
            <p:cNvSpPr/>
            <p:nvPr/>
          </p:nvSpPr>
          <p:spPr>
            <a:xfrm rot="8716295">
              <a:off x="323074" y="379327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F43D6D3D-6C35-4427-9A74-A2D3472F3BCC}"/>
                </a:ext>
              </a:extLst>
            </p:cNvPr>
            <p:cNvSpPr/>
            <p:nvPr/>
          </p:nvSpPr>
          <p:spPr>
            <a:xfrm rot="8716295">
              <a:off x="198171" y="358459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4464E862-CB30-4363-9C1D-B97AACD89182}"/>
                </a:ext>
              </a:extLst>
            </p:cNvPr>
            <p:cNvSpPr/>
            <p:nvPr/>
          </p:nvSpPr>
          <p:spPr>
            <a:xfrm rot="8716295">
              <a:off x="186119" y="344581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orme libre : forme 58">
              <a:extLst>
                <a:ext uri="{FF2B5EF4-FFF2-40B4-BE49-F238E27FC236}">
                  <a16:creationId xmlns:a16="http://schemas.microsoft.com/office/drawing/2014/main" id="{88BD8233-E48E-4089-A094-B851A84F1E37}"/>
                </a:ext>
              </a:extLst>
            </p:cNvPr>
            <p:cNvSpPr/>
            <p:nvPr/>
          </p:nvSpPr>
          <p:spPr>
            <a:xfrm rot="8716295">
              <a:off x="410218" y="3834716"/>
              <a:ext cx="103435" cy="219174"/>
            </a:xfrm>
            <a:custGeom>
              <a:avLst/>
              <a:gdLst>
                <a:gd name="connsiteX0" fmla="*/ 103435 w 103435"/>
                <a:gd name="connsiteY0" fmla="*/ 219174 h 219174"/>
                <a:gd name="connsiteX1" fmla="*/ 43288 w 103435"/>
                <a:gd name="connsiteY1" fmla="*/ 161305 h 219174"/>
                <a:gd name="connsiteX2" fmla="*/ 43288 w 103435"/>
                <a:gd name="connsiteY2" fmla="*/ 16404 h 219174"/>
                <a:gd name="connsiteX3" fmla="*/ 0 w 103435"/>
                <a:gd name="connsiteY3" fmla="*/ 16404 h 219174"/>
                <a:gd name="connsiteX4" fmla="*/ 0 w 103435"/>
                <a:gd name="connsiteY4" fmla="*/ 16028 h 219174"/>
                <a:gd name="connsiteX5" fmla="*/ 11583 w 103435"/>
                <a:gd name="connsiteY5" fmla="*/ 2023 h 219174"/>
                <a:gd name="connsiteX6" fmla="*/ 103435 w 103435"/>
                <a:gd name="connsiteY6" fmla="*/ 0 h 219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19174">
                  <a:moveTo>
                    <a:pt x="103435" y="219174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16028"/>
                  </a:lnTo>
                  <a:lnTo>
                    <a:pt x="11583" y="2023"/>
                  </a:lnTo>
                  <a:lnTo>
                    <a:pt x="10343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orme libre : forme 59">
              <a:extLst>
                <a:ext uri="{FF2B5EF4-FFF2-40B4-BE49-F238E27FC236}">
                  <a16:creationId xmlns:a16="http://schemas.microsoft.com/office/drawing/2014/main" id="{D72BA86C-11E8-4C7D-A93A-11E890905CBF}"/>
                </a:ext>
              </a:extLst>
            </p:cNvPr>
            <p:cNvSpPr/>
            <p:nvPr/>
          </p:nvSpPr>
          <p:spPr>
            <a:xfrm rot="8716295">
              <a:off x="487452" y="3349370"/>
              <a:ext cx="151162" cy="195873"/>
            </a:xfrm>
            <a:custGeom>
              <a:avLst/>
              <a:gdLst>
                <a:gd name="connsiteX0" fmla="*/ 38025 w 151162"/>
                <a:gd name="connsiteY0" fmla="*/ 195873 h 195873"/>
                <a:gd name="connsiteX1" fmla="*/ 0 w 151162"/>
                <a:gd name="connsiteY1" fmla="*/ 125130 h 195873"/>
                <a:gd name="connsiteX2" fmla="*/ 103497 w 151162"/>
                <a:gd name="connsiteY2" fmla="*/ 0 h 195873"/>
                <a:gd name="connsiteX3" fmla="*/ 151162 w 151162"/>
                <a:gd name="connsiteY3" fmla="*/ 0 h 195873"/>
                <a:gd name="connsiteX4" fmla="*/ 151162 w 151162"/>
                <a:gd name="connsiteY4" fmla="*/ 55323 h 195873"/>
                <a:gd name="connsiteX5" fmla="*/ 86370 w 151162"/>
                <a:gd name="connsiteY5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1162" h="195873">
                  <a:moveTo>
                    <a:pt x="38025" y="195873"/>
                  </a:moveTo>
                  <a:lnTo>
                    <a:pt x="0" y="125130"/>
                  </a:lnTo>
                  <a:lnTo>
                    <a:pt x="103497" y="0"/>
                  </a:lnTo>
                  <a:lnTo>
                    <a:pt x="151162" y="0"/>
                  </a:lnTo>
                  <a:lnTo>
                    <a:pt x="151162" y="55323"/>
                  </a:lnTo>
                  <a:lnTo>
                    <a:pt x="86370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orme libre : forme 60">
              <a:extLst>
                <a:ext uri="{FF2B5EF4-FFF2-40B4-BE49-F238E27FC236}">
                  <a16:creationId xmlns:a16="http://schemas.microsoft.com/office/drawing/2014/main" id="{BE142581-218C-47B8-9F20-81B808628CD1}"/>
                </a:ext>
              </a:extLst>
            </p:cNvPr>
            <p:cNvSpPr/>
            <p:nvPr/>
          </p:nvSpPr>
          <p:spPr>
            <a:xfrm rot="8716295">
              <a:off x="460900" y="343447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orme libre : forme 61">
              <a:extLst>
                <a:ext uri="{FF2B5EF4-FFF2-40B4-BE49-F238E27FC236}">
                  <a16:creationId xmlns:a16="http://schemas.microsoft.com/office/drawing/2014/main" id="{DB847D65-EDE7-4D20-A3B5-D7E0E2A3E756}"/>
                </a:ext>
              </a:extLst>
            </p:cNvPr>
            <p:cNvSpPr/>
            <p:nvPr/>
          </p:nvSpPr>
          <p:spPr>
            <a:xfrm rot="8716295">
              <a:off x="417336" y="4258920"/>
              <a:ext cx="147637" cy="195874"/>
            </a:xfrm>
            <a:custGeom>
              <a:avLst/>
              <a:gdLst>
                <a:gd name="connsiteX0" fmla="*/ 34500 w 147637"/>
                <a:gd name="connsiteY0" fmla="*/ 195874 h 195874"/>
                <a:gd name="connsiteX1" fmla="*/ 0 w 147637"/>
                <a:gd name="connsiteY1" fmla="*/ 131688 h 195874"/>
                <a:gd name="connsiteX2" fmla="*/ 108921 w 147637"/>
                <a:gd name="connsiteY2" fmla="*/ 0 h 195874"/>
                <a:gd name="connsiteX3" fmla="*/ 147637 w 147637"/>
                <a:gd name="connsiteY3" fmla="*/ 0 h 195874"/>
                <a:gd name="connsiteX4" fmla="*/ 147637 w 147637"/>
                <a:gd name="connsiteY4" fmla="*/ 55323 h 195874"/>
                <a:gd name="connsiteX5" fmla="*/ 82845 w 147637"/>
                <a:gd name="connsiteY5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7637" h="195874">
                  <a:moveTo>
                    <a:pt x="34500" y="195874"/>
                  </a:moveTo>
                  <a:lnTo>
                    <a:pt x="0" y="131688"/>
                  </a:lnTo>
                  <a:lnTo>
                    <a:pt x="108921" y="0"/>
                  </a:lnTo>
                  <a:lnTo>
                    <a:pt x="147637" y="0"/>
                  </a:lnTo>
                  <a:lnTo>
                    <a:pt x="147637" y="55323"/>
                  </a:lnTo>
                  <a:lnTo>
                    <a:pt x="8284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orme libre : forme 62">
              <a:extLst>
                <a:ext uri="{FF2B5EF4-FFF2-40B4-BE49-F238E27FC236}">
                  <a16:creationId xmlns:a16="http://schemas.microsoft.com/office/drawing/2014/main" id="{C9478417-E8D6-452F-A916-ED7E53424518}"/>
                </a:ext>
              </a:extLst>
            </p:cNvPr>
            <p:cNvSpPr/>
            <p:nvPr/>
          </p:nvSpPr>
          <p:spPr>
            <a:xfrm rot="8716295">
              <a:off x="330834" y="4134902"/>
              <a:ext cx="254613" cy="91157"/>
            </a:xfrm>
            <a:custGeom>
              <a:avLst/>
              <a:gdLst>
                <a:gd name="connsiteX0" fmla="*/ 0 w 254613"/>
                <a:gd name="connsiteY0" fmla="*/ 68911 h 91157"/>
                <a:gd name="connsiteX1" fmla="*/ 56997 w 254613"/>
                <a:gd name="connsiteY1" fmla="*/ 0 h 91157"/>
                <a:gd name="connsiteX2" fmla="*/ 57517 w 254613"/>
                <a:gd name="connsiteY2" fmla="*/ 2143 h 91157"/>
                <a:gd name="connsiteX3" fmla="*/ 128118 w 254613"/>
                <a:gd name="connsiteY3" fmla="*/ 40974 h 91157"/>
                <a:gd name="connsiteX4" fmla="*/ 181070 w 254613"/>
                <a:gd name="connsiteY4" fmla="*/ 31560 h 91157"/>
                <a:gd name="connsiteX5" fmla="*/ 253437 w 254613"/>
                <a:gd name="connsiteY5" fmla="*/ 2143 h 91157"/>
                <a:gd name="connsiteX6" fmla="*/ 254613 w 254613"/>
                <a:gd name="connsiteY6" fmla="*/ 9791 h 91157"/>
                <a:gd name="connsiteX7" fmla="*/ 254613 w 254613"/>
                <a:gd name="connsiteY7" fmla="*/ 15674 h 91157"/>
                <a:gd name="connsiteX8" fmla="*/ 61636 w 254613"/>
                <a:gd name="connsiteY8" fmla="*/ 90983 h 91157"/>
                <a:gd name="connsiteX9" fmla="*/ 22363 w 254613"/>
                <a:gd name="connsiteY9" fmla="*/ 84217 h 91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4613" h="91157">
                  <a:moveTo>
                    <a:pt x="0" y="68911"/>
                  </a:moveTo>
                  <a:lnTo>
                    <a:pt x="56997" y="0"/>
                  </a:lnTo>
                  <a:lnTo>
                    <a:pt x="57517" y="2143"/>
                  </a:lnTo>
                  <a:cubicBezTo>
                    <a:pt x="66931" y="28030"/>
                    <a:pt x="91053" y="40974"/>
                    <a:pt x="128118" y="40974"/>
                  </a:cubicBezTo>
                  <a:cubicBezTo>
                    <a:pt x="146357" y="40385"/>
                    <a:pt x="164008" y="36855"/>
                    <a:pt x="181070" y="31560"/>
                  </a:cubicBezTo>
                  <a:cubicBezTo>
                    <a:pt x="205780" y="23912"/>
                    <a:pt x="229903" y="13910"/>
                    <a:pt x="253437" y="2143"/>
                  </a:cubicBezTo>
                  <a:cubicBezTo>
                    <a:pt x="254025" y="4496"/>
                    <a:pt x="254613" y="7438"/>
                    <a:pt x="254613" y="9791"/>
                  </a:cubicBezTo>
                  <a:lnTo>
                    <a:pt x="254613" y="15674"/>
                  </a:lnTo>
                  <a:cubicBezTo>
                    <a:pt x="192249" y="69215"/>
                    <a:pt x="110468" y="88042"/>
                    <a:pt x="61636" y="90983"/>
                  </a:cubicBezTo>
                  <a:cubicBezTo>
                    <a:pt x="48104" y="91866"/>
                    <a:pt x="34719" y="89365"/>
                    <a:pt x="22363" y="842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orme libre : forme 63">
              <a:extLst>
                <a:ext uri="{FF2B5EF4-FFF2-40B4-BE49-F238E27FC236}">
                  <a16:creationId xmlns:a16="http://schemas.microsoft.com/office/drawing/2014/main" id="{59F2B7E5-77D6-489A-B472-1F63C4176A21}"/>
                </a:ext>
              </a:extLst>
            </p:cNvPr>
            <p:cNvSpPr/>
            <p:nvPr/>
          </p:nvSpPr>
          <p:spPr>
            <a:xfrm rot="8716295">
              <a:off x="-3428" y="2405990"/>
              <a:ext cx="142167" cy="208592"/>
            </a:xfrm>
            <a:custGeom>
              <a:avLst/>
              <a:gdLst>
                <a:gd name="connsiteX0" fmla="*/ 81108 w 142167"/>
                <a:gd name="connsiteY0" fmla="*/ 208592 h 208592"/>
                <a:gd name="connsiteX1" fmla="*/ 81108 w 142167"/>
                <a:gd name="connsiteY1" fmla="*/ 69717 h 208592"/>
                <a:gd name="connsiteX2" fmla="*/ 81108 w 142167"/>
                <a:gd name="connsiteY2" fmla="*/ 65615 h 208592"/>
                <a:gd name="connsiteX3" fmla="*/ 60604 w 142167"/>
                <a:gd name="connsiteY3" fmla="*/ 50123 h 208592"/>
                <a:gd name="connsiteX4" fmla="*/ 0 w 142167"/>
                <a:gd name="connsiteY4" fmla="*/ 50123 h 208592"/>
                <a:gd name="connsiteX5" fmla="*/ 0 w 142167"/>
                <a:gd name="connsiteY5" fmla="*/ 0 h 208592"/>
                <a:gd name="connsiteX6" fmla="*/ 85210 w 142167"/>
                <a:gd name="connsiteY6" fmla="*/ 0 h 208592"/>
                <a:gd name="connsiteX7" fmla="*/ 142167 w 142167"/>
                <a:gd name="connsiteY7" fmla="*/ 50123 h 208592"/>
                <a:gd name="connsiteX8" fmla="*/ 142167 w 142167"/>
                <a:gd name="connsiteY8" fmla="*/ 120504 h 20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08592">
                  <a:moveTo>
                    <a:pt x="81108" y="208592"/>
                  </a:moveTo>
                  <a:lnTo>
                    <a:pt x="81108" y="69717"/>
                  </a:lnTo>
                  <a:cubicBezTo>
                    <a:pt x="81108" y="68350"/>
                    <a:pt x="81108" y="66983"/>
                    <a:pt x="81108" y="65615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10" y="0"/>
                  </a:lnTo>
                  <a:cubicBezTo>
                    <a:pt x="122118" y="0"/>
                    <a:pt x="142167" y="15948"/>
                    <a:pt x="142167" y="50123"/>
                  </a:cubicBezTo>
                  <a:lnTo>
                    <a:pt x="142167" y="1205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orme libre : forme 64">
              <a:extLst>
                <a:ext uri="{FF2B5EF4-FFF2-40B4-BE49-F238E27FC236}">
                  <a16:creationId xmlns:a16="http://schemas.microsoft.com/office/drawing/2014/main" id="{58CACDEB-619D-4E1A-8308-201ECECE7C5B}"/>
                </a:ext>
              </a:extLst>
            </p:cNvPr>
            <p:cNvSpPr/>
            <p:nvPr/>
          </p:nvSpPr>
          <p:spPr>
            <a:xfrm rot="8716295">
              <a:off x="80015" y="241329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orme libre : forme 65">
              <a:extLst>
                <a:ext uri="{FF2B5EF4-FFF2-40B4-BE49-F238E27FC236}">
                  <a16:creationId xmlns:a16="http://schemas.microsoft.com/office/drawing/2014/main" id="{121B25A8-5A69-4AD6-9F92-752EBBD3BB04}"/>
                </a:ext>
              </a:extLst>
            </p:cNvPr>
            <p:cNvSpPr/>
            <p:nvPr/>
          </p:nvSpPr>
          <p:spPr>
            <a:xfrm rot="8716295">
              <a:off x="35165" y="232701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orme libre : forme 66">
              <a:extLst>
                <a:ext uri="{FF2B5EF4-FFF2-40B4-BE49-F238E27FC236}">
                  <a16:creationId xmlns:a16="http://schemas.microsoft.com/office/drawing/2014/main" id="{123E728A-9EE1-481E-BA1E-5D72AE6CC637}"/>
                </a:ext>
              </a:extLst>
            </p:cNvPr>
            <p:cNvSpPr/>
            <p:nvPr/>
          </p:nvSpPr>
          <p:spPr>
            <a:xfrm rot="8716295">
              <a:off x="-20257" y="2217087"/>
              <a:ext cx="78731" cy="180665"/>
            </a:xfrm>
            <a:custGeom>
              <a:avLst/>
              <a:gdLst>
                <a:gd name="connsiteX0" fmla="*/ 0 w 78731"/>
                <a:gd name="connsiteY0" fmla="*/ 180665 h 180665"/>
                <a:gd name="connsiteX1" fmla="*/ 0 w 78731"/>
                <a:gd name="connsiteY1" fmla="*/ 40596 h 180665"/>
                <a:gd name="connsiteX2" fmla="*/ 78250 w 78731"/>
                <a:gd name="connsiteY2" fmla="*/ 0 h 180665"/>
                <a:gd name="connsiteX3" fmla="*/ 78731 w 78731"/>
                <a:gd name="connsiteY3" fmla="*/ 67083 h 180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731" h="180665">
                  <a:moveTo>
                    <a:pt x="0" y="180665"/>
                  </a:moveTo>
                  <a:lnTo>
                    <a:pt x="0" y="40596"/>
                  </a:lnTo>
                  <a:lnTo>
                    <a:pt x="78250" y="0"/>
                  </a:lnTo>
                  <a:lnTo>
                    <a:pt x="78731" y="670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078C7082-EAB5-441A-B46A-D723C18E0F9C}"/>
                </a:ext>
              </a:extLst>
            </p:cNvPr>
            <p:cNvSpPr/>
            <p:nvPr/>
          </p:nvSpPr>
          <p:spPr>
            <a:xfrm rot="8716295">
              <a:off x="-15341" y="2575209"/>
              <a:ext cx="103435" cy="152027"/>
            </a:xfrm>
            <a:custGeom>
              <a:avLst/>
              <a:gdLst>
                <a:gd name="connsiteX0" fmla="*/ 43288 w 103435"/>
                <a:gd name="connsiteY0" fmla="*/ 152027 h 152027"/>
                <a:gd name="connsiteX1" fmla="*/ 43288 w 103435"/>
                <a:gd name="connsiteY1" fmla="*/ 16404 h 152027"/>
                <a:gd name="connsiteX2" fmla="*/ 0 w 103435"/>
                <a:gd name="connsiteY2" fmla="*/ 16404 h 152027"/>
                <a:gd name="connsiteX3" fmla="*/ 0 w 103435"/>
                <a:gd name="connsiteY3" fmla="*/ 2278 h 152027"/>
                <a:gd name="connsiteX4" fmla="*/ 103435 w 103435"/>
                <a:gd name="connsiteY4" fmla="*/ 0 h 152027"/>
                <a:gd name="connsiteX5" fmla="*/ 103435 w 103435"/>
                <a:gd name="connsiteY5" fmla="*/ 65255 h 152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152027">
                  <a:moveTo>
                    <a:pt x="43288" y="152027"/>
                  </a:move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652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orme libre : forme 68">
              <a:extLst>
                <a:ext uri="{FF2B5EF4-FFF2-40B4-BE49-F238E27FC236}">
                  <a16:creationId xmlns:a16="http://schemas.microsoft.com/office/drawing/2014/main" id="{74837562-030E-4828-9572-DEE64E263932}"/>
                </a:ext>
              </a:extLst>
            </p:cNvPr>
            <p:cNvSpPr/>
            <p:nvPr/>
          </p:nvSpPr>
          <p:spPr>
            <a:xfrm rot="8716295">
              <a:off x="279722" y="21339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orme libre : forme 69">
              <a:extLst>
                <a:ext uri="{FF2B5EF4-FFF2-40B4-BE49-F238E27FC236}">
                  <a16:creationId xmlns:a16="http://schemas.microsoft.com/office/drawing/2014/main" id="{DB4BA735-F92E-4D5D-ABB4-34ABAF286FF1}"/>
                </a:ext>
              </a:extLst>
            </p:cNvPr>
            <p:cNvSpPr/>
            <p:nvPr/>
          </p:nvSpPr>
          <p:spPr>
            <a:xfrm rot="8716295">
              <a:off x="369114" y="21631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orme libre : forme 70">
              <a:extLst>
                <a:ext uri="{FF2B5EF4-FFF2-40B4-BE49-F238E27FC236}">
                  <a16:creationId xmlns:a16="http://schemas.microsoft.com/office/drawing/2014/main" id="{2E20AC3A-A861-46F6-BDD8-390DF4BE3CED}"/>
                </a:ext>
              </a:extLst>
            </p:cNvPr>
            <p:cNvSpPr/>
            <p:nvPr/>
          </p:nvSpPr>
          <p:spPr>
            <a:xfrm rot="8716295">
              <a:off x="167488" y="22224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orme libre : forme 71">
              <a:extLst>
                <a:ext uri="{FF2B5EF4-FFF2-40B4-BE49-F238E27FC236}">
                  <a16:creationId xmlns:a16="http://schemas.microsoft.com/office/drawing/2014/main" id="{C0645F34-CD0D-494F-A821-08AC0632B9BD}"/>
                </a:ext>
              </a:extLst>
            </p:cNvPr>
            <p:cNvSpPr/>
            <p:nvPr/>
          </p:nvSpPr>
          <p:spPr>
            <a:xfrm rot="8716295">
              <a:off x="42586" y="20137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orme libre : forme 72">
              <a:extLst>
                <a:ext uri="{FF2B5EF4-FFF2-40B4-BE49-F238E27FC236}">
                  <a16:creationId xmlns:a16="http://schemas.microsoft.com/office/drawing/2014/main" id="{D42C02D3-67F7-4963-8807-40F86032EE07}"/>
                </a:ext>
              </a:extLst>
            </p:cNvPr>
            <p:cNvSpPr/>
            <p:nvPr/>
          </p:nvSpPr>
          <p:spPr>
            <a:xfrm rot="8716295">
              <a:off x="257666" y="226339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" name="Forme libre : forme 73">
              <a:extLst>
                <a:ext uri="{FF2B5EF4-FFF2-40B4-BE49-F238E27FC236}">
                  <a16:creationId xmlns:a16="http://schemas.microsoft.com/office/drawing/2014/main" id="{E5391012-9EC2-494D-B5E3-A045F6898117}"/>
                </a:ext>
              </a:extLst>
            </p:cNvPr>
            <p:cNvSpPr/>
            <p:nvPr/>
          </p:nvSpPr>
          <p:spPr>
            <a:xfrm rot="8716295">
              <a:off x="16215" y="211379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" name="Forme libre : forme 74">
              <a:extLst>
                <a:ext uri="{FF2B5EF4-FFF2-40B4-BE49-F238E27FC236}">
                  <a16:creationId xmlns:a16="http://schemas.microsoft.com/office/drawing/2014/main" id="{3E9CDE54-D663-4CD6-BAFF-9CD31B4515CC}"/>
                </a:ext>
              </a:extLst>
            </p:cNvPr>
            <p:cNvSpPr/>
            <p:nvPr/>
          </p:nvSpPr>
          <p:spPr>
            <a:xfrm rot="7484129">
              <a:off x="362597" y="245474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" name="Forme libre : forme 75">
              <a:extLst>
                <a:ext uri="{FF2B5EF4-FFF2-40B4-BE49-F238E27FC236}">
                  <a16:creationId xmlns:a16="http://schemas.microsoft.com/office/drawing/2014/main" id="{1542052B-ACD1-4069-A62D-DB3DE17F9DFB}"/>
                </a:ext>
              </a:extLst>
            </p:cNvPr>
            <p:cNvSpPr/>
            <p:nvPr/>
          </p:nvSpPr>
          <p:spPr>
            <a:xfrm rot="13089394">
              <a:off x="463440" y="2426400"/>
              <a:ext cx="272584" cy="319064"/>
            </a:xfrm>
            <a:custGeom>
              <a:avLst/>
              <a:gdLst>
                <a:gd name="connsiteX0" fmla="*/ 80445 w 272584"/>
                <a:gd name="connsiteY0" fmla="*/ 215518 h 319064"/>
                <a:gd name="connsiteX1" fmla="*/ 0 w 272584"/>
                <a:gd name="connsiteY1" fmla="*/ 93007 h 319064"/>
                <a:gd name="connsiteX2" fmla="*/ 0 w 272584"/>
                <a:gd name="connsiteY2" fmla="*/ 38074 h 319064"/>
                <a:gd name="connsiteX3" fmla="*/ 73388 w 272584"/>
                <a:gd name="connsiteY3" fmla="*/ 0 h 319064"/>
                <a:gd name="connsiteX4" fmla="*/ 74492 w 272584"/>
                <a:gd name="connsiteY4" fmla="*/ 153950 h 319064"/>
                <a:gd name="connsiteX5" fmla="*/ 76768 w 272584"/>
                <a:gd name="connsiteY5" fmla="*/ 200369 h 319064"/>
                <a:gd name="connsiteX6" fmla="*/ 272584 w 272584"/>
                <a:gd name="connsiteY6" fmla="*/ 258238 h 319064"/>
                <a:gd name="connsiteX7" fmla="*/ 177331 w 272584"/>
                <a:gd name="connsiteY7" fmla="*/ 311347 h 319064"/>
                <a:gd name="connsiteX8" fmla="*/ 148437 w 272584"/>
                <a:gd name="connsiteY8" fmla="*/ 319064 h 319064"/>
                <a:gd name="connsiteX9" fmla="*/ 119231 w 272584"/>
                <a:gd name="connsiteY9" fmla="*/ 274585 h 319064"/>
                <a:gd name="connsiteX10" fmla="*/ 153949 w 272584"/>
                <a:gd name="connsiteY10" fmla="*/ 281965 h 319064"/>
                <a:gd name="connsiteX11" fmla="*/ 203610 w 272584"/>
                <a:gd name="connsiteY11" fmla="*/ 273136 h 319064"/>
                <a:gd name="connsiteX12" fmla="*/ 271481 w 272584"/>
                <a:gd name="connsiteY12" fmla="*/ 245547 h 319064"/>
                <a:gd name="connsiteX13" fmla="*/ 272584 w 272584"/>
                <a:gd name="connsiteY13" fmla="*/ 252720 h 319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2584" h="319064">
                  <a:moveTo>
                    <a:pt x="80445" y="215518"/>
                  </a:moveTo>
                  <a:lnTo>
                    <a:pt x="0" y="93007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3664" y="169400"/>
                    <a:pt x="74492" y="184988"/>
                    <a:pt x="76768" y="200369"/>
                  </a:cubicBezTo>
                  <a:close/>
                  <a:moveTo>
                    <a:pt x="272584" y="258238"/>
                  </a:moveTo>
                  <a:cubicBezTo>
                    <a:pt x="243339" y="283344"/>
                    <a:pt x="209542" y="300312"/>
                    <a:pt x="177331" y="311347"/>
                  </a:cubicBezTo>
                  <a:lnTo>
                    <a:pt x="148437" y="319064"/>
                  </a:lnTo>
                  <a:lnTo>
                    <a:pt x="119231" y="274585"/>
                  </a:lnTo>
                  <a:lnTo>
                    <a:pt x="153949" y="281965"/>
                  </a:lnTo>
                  <a:cubicBezTo>
                    <a:pt x="171055" y="281413"/>
                    <a:pt x="187609" y="278102"/>
                    <a:pt x="203610" y="273136"/>
                  </a:cubicBezTo>
                  <a:cubicBezTo>
                    <a:pt x="226785" y="265963"/>
                    <a:pt x="249409" y="256583"/>
                    <a:pt x="271481" y="245547"/>
                  </a:cubicBezTo>
                  <a:cubicBezTo>
                    <a:pt x="272032" y="247754"/>
                    <a:pt x="272584" y="250513"/>
                    <a:pt x="272584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" name="Forme libre : forme 76">
              <a:extLst>
                <a:ext uri="{FF2B5EF4-FFF2-40B4-BE49-F238E27FC236}">
                  <a16:creationId xmlns:a16="http://schemas.microsoft.com/office/drawing/2014/main" id="{008086AB-D1B5-4A02-9688-BF0E6F507FBE}"/>
                </a:ext>
              </a:extLst>
            </p:cNvPr>
            <p:cNvSpPr/>
            <p:nvPr/>
          </p:nvSpPr>
          <p:spPr>
            <a:xfrm rot="8716295">
              <a:off x="675867" y="2357327"/>
              <a:ext cx="38012" cy="45752"/>
            </a:xfrm>
            <a:custGeom>
              <a:avLst/>
              <a:gdLst>
                <a:gd name="connsiteX0" fmla="*/ 0 w 38012"/>
                <a:gd name="connsiteY0" fmla="*/ 45752 h 45752"/>
                <a:gd name="connsiteX1" fmla="*/ 37842 w 38012"/>
                <a:gd name="connsiteY1" fmla="*/ 0 h 45752"/>
                <a:gd name="connsiteX2" fmla="*/ 38012 w 38012"/>
                <a:gd name="connsiteY2" fmla="*/ 641 h 45752"/>
                <a:gd name="connsiteX3" fmla="*/ 6841 w 38012"/>
                <a:gd name="connsiteY3" fmla="*/ 42560 h 45752"/>
                <a:gd name="connsiteX4" fmla="*/ 7378 w 38012"/>
                <a:gd name="connsiteY4" fmla="*/ 42560 h 45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012" h="45752">
                  <a:moveTo>
                    <a:pt x="0" y="45752"/>
                  </a:moveTo>
                  <a:lnTo>
                    <a:pt x="37842" y="0"/>
                  </a:lnTo>
                  <a:lnTo>
                    <a:pt x="38012" y="641"/>
                  </a:lnTo>
                  <a:cubicBezTo>
                    <a:pt x="36400" y="19451"/>
                    <a:pt x="24039" y="35036"/>
                    <a:pt x="6841" y="42560"/>
                  </a:cubicBezTo>
                  <a:lnTo>
                    <a:pt x="7378" y="425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" name="Forme libre : forme 77">
              <a:extLst>
                <a:ext uri="{FF2B5EF4-FFF2-40B4-BE49-F238E27FC236}">
                  <a16:creationId xmlns:a16="http://schemas.microsoft.com/office/drawing/2014/main" id="{9B2F10B6-851C-47E9-B83A-9B630209C4B4}"/>
                </a:ext>
              </a:extLst>
            </p:cNvPr>
            <p:cNvSpPr/>
            <p:nvPr/>
          </p:nvSpPr>
          <p:spPr>
            <a:xfrm rot="8716295">
              <a:off x="601197" y="21260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orme libre : forme 78">
              <a:extLst>
                <a:ext uri="{FF2B5EF4-FFF2-40B4-BE49-F238E27FC236}">
                  <a16:creationId xmlns:a16="http://schemas.microsoft.com/office/drawing/2014/main" id="{6C363324-5366-4BE0-9D94-DFCC2BE5B63F}"/>
                </a:ext>
              </a:extLst>
            </p:cNvPr>
            <p:cNvSpPr/>
            <p:nvPr/>
          </p:nvSpPr>
          <p:spPr>
            <a:xfrm rot="8716295">
              <a:off x="357951" y="21562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Forme libre : forme 79">
              <a:extLst>
                <a:ext uri="{FF2B5EF4-FFF2-40B4-BE49-F238E27FC236}">
                  <a16:creationId xmlns:a16="http://schemas.microsoft.com/office/drawing/2014/main" id="{9E637F42-3062-43A4-9D13-33DD5D4E936B}"/>
                </a:ext>
              </a:extLst>
            </p:cNvPr>
            <p:cNvSpPr/>
            <p:nvPr/>
          </p:nvSpPr>
          <p:spPr>
            <a:xfrm rot="8716295">
              <a:off x="535403" y="199698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" name="Forme libre : forme 80">
              <a:extLst>
                <a:ext uri="{FF2B5EF4-FFF2-40B4-BE49-F238E27FC236}">
                  <a16:creationId xmlns:a16="http://schemas.microsoft.com/office/drawing/2014/main" id="{B543A244-6E3B-4DEA-9891-1869B5B7D6A2}"/>
                </a:ext>
              </a:extLst>
            </p:cNvPr>
            <p:cNvSpPr/>
            <p:nvPr/>
          </p:nvSpPr>
          <p:spPr>
            <a:xfrm rot="8716295">
              <a:off x="-76043" y="1768178"/>
              <a:ext cx="197178" cy="215049"/>
            </a:xfrm>
            <a:custGeom>
              <a:avLst/>
              <a:gdLst>
                <a:gd name="connsiteX0" fmla="*/ 51490 w 197178"/>
                <a:gd name="connsiteY0" fmla="*/ 215049 h 215049"/>
                <a:gd name="connsiteX1" fmla="*/ 51490 w 197178"/>
                <a:gd name="connsiteY1" fmla="*/ 45624 h 215049"/>
                <a:gd name="connsiteX2" fmla="*/ 0 w 197178"/>
                <a:gd name="connsiteY2" fmla="*/ 45624 h 215049"/>
                <a:gd name="connsiteX3" fmla="*/ 0 w 197178"/>
                <a:gd name="connsiteY3" fmla="*/ 1424 h 215049"/>
                <a:gd name="connsiteX4" fmla="*/ 104803 w 197178"/>
                <a:gd name="connsiteY4" fmla="*/ 1425 h 215049"/>
                <a:gd name="connsiteX5" fmla="*/ 104803 w 197178"/>
                <a:gd name="connsiteY5" fmla="*/ 75242 h 215049"/>
                <a:gd name="connsiteX6" fmla="*/ 106169 w 197178"/>
                <a:gd name="connsiteY6" fmla="*/ 75242 h 215049"/>
                <a:gd name="connsiteX7" fmla="*/ 154014 w 197178"/>
                <a:gd name="connsiteY7" fmla="*/ 5981 h 215049"/>
                <a:gd name="connsiteX8" fmla="*/ 185455 w 197178"/>
                <a:gd name="connsiteY8" fmla="*/ 57 h 215049"/>
                <a:gd name="connsiteX9" fmla="*/ 197178 w 197178"/>
                <a:gd name="connsiteY9" fmla="*/ 4872 h 215049"/>
                <a:gd name="connsiteX10" fmla="*/ 170795 w 197178"/>
                <a:gd name="connsiteY10" fmla="*/ 42934 h 215049"/>
                <a:gd name="connsiteX11" fmla="*/ 164950 w 197178"/>
                <a:gd name="connsiteY11" fmla="*/ 40156 h 215049"/>
                <a:gd name="connsiteX12" fmla="*/ 111638 w 197178"/>
                <a:gd name="connsiteY12" fmla="*/ 127643 h 215049"/>
                <a:gd name="connsiteX13" fmla="*/ 111638 w 197178"/>
                <a:gd name="connsiteY13" fmla="*/ 128277 h 21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178" h="215049">
                  <a:moveTo>
                    <a:pt x="51490" y="215049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4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lnTo>
                    <a:pt x="197178" y="4872"/>
                  </a:lnTo>
                  <a:lnTo>
                    <a:pt x="170795" y="42934"/>
                  </a:lnTo>
                  <a:lnTo>
                    <a:pt x="164950" y="40156"/>
                  </a:ln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1282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orme libre : forme 81">
              <a:extLst>
                <a:ext uri="{FF2B5EF4-FFF2-40B4-BE49-F238E27FC236}">
                  <a16:creationId xmlns:a16="http://schemas.microsoft.com/office/drawing/2014/main" id="{5E1EF854-2162-442F-89D8-C209E584C6CD}"/>
                </a:ext>
              </a:extLst>
            </p:cNvPr>
            <p:cNvSpPr/>
            <p:nvPr/>
          </p:nvSpPr>
          <p:spPr>
            <a:xfrm rot="8716295">
              <a:off x="56555" y="14742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Forme libre : forme 82">
              <a:extLst>
                <a:ext uri="{FF2B5EF4-FFF2-40B4-BE49-F238E27FC236}">
                  <a16:creationId xmlns:a16="http://schemas.microsoft.com/office/drawing/2014/main" id="{18D9B3DC-64EA-4A25-9936-D0DEB0918428}"/>
                </a:ext>
              </a:extLst>
            </p:cNvPr>
            <p:cNvSpPr/>
            <p:nvPr/>
          </p:nvSpPr>
          <p:spPr>
            <a:xfrm rot="8716295">
              <a:off x="145947" y="15034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4" name="Forme libre : forme 83">
              <a:extLst>
                <a:ext uri="{FF2B5EF4-FFF2-40B4-BE49-F238E27FC236}">
                  <a16:creationId xmlns:a16="http://schemas.microsoft.com/office/drawing/2014/main" id="{09DE79A5-7E6F-42F4-BAE3-86955C2B68BA}"/>
                </a:ext>
              </a:extLst>
            </p:cNvPr>
            <p:cNvSpPr/>
            <p:nvPr/>
          </p:nvSpPr>
          <p:spPr>
            <a:xfrm rot="8716295">
              <a:off x="-21870" y="1443501"/>
              <a:ext cx="68614" cy="55323"/>
            </a:xfrm>
            <a:custGeom>
              <a:avLst/>
              <a:gdLst>
                <a:gd name="connsiteX0" fmla="*/ 0 w 68614"/>
                <a:gd name="connsiteY0" fmla="*/ 55323 h 55323"/>
                <a:gd name="connsiteX1" fmla="*/ 0 w 68614"/>
                <a:gd name="connsiteY1" fmla="*/ 0 h 55323"/>
                <a:gd name="connsiteX2" fmla="*/ 68614 w 68614"/>
                <a:gd name="connsiteY2" fmla="*/ 0 h 55323"/>
                <a:gd name="connsiteX3" fmla="*/ 30266 w 68614"/>
                <a:gd name="connsiteY3" fmla="*/ 55323 h 55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614" h="55323">
                  <a:moveTo>
                    <a:pt x="0" y="55323"/>
                  </a:moveTo>
                  <a:lnTo>
                    <a:pt x="0" y="0"/>
                  </a:lnTo>
                  <a:lnTo>
                    <a:pt x="68614" y="0"/>
                  </a:lnTo>
                  <a:lnTo>
                    <a:pt x="30266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5" name="Forme libre : forme 84">
              <a:extLst>
                <a:ext uri="{FF2B5EF4-FFF2-40B4-BE49-F238E27FC236}">
                  <a16:creationId xmlns:a16="http://schemas.microsoft.com/office/drawing/2014/main" id="{BF3B0698-561F-4C4D-847E-2B32780BA604}"/>
                </a:ext>
              </a:extLst>
            </p:cNvPr>
            <p:cNvSpPr/>
            <p:nvPr/>
          </p:nvSpPr>
          <p:spPr>
            <a:xfrm rot="8716295">
              <a:off x="35817" y="1618109"/>
              <a:ext cx="103435" cy="203897"/>
            </a:xfrm>
            <a:custGeom>
              <a:avLst/>
              <a:gdLst>
                <a:gd name="connsiteX0" fmla="*/ 87556 w 103435"/>
                <a:gd name="connsiteY0" fmla="*/ 203897 h 203897"/>
                <a:gd name="connsiteX1" fmla="*/ 43288 w 103435"/>
                <a:gd name="connsiteY1" fmla="*/ 161305 h 203897"/>
                <a:gd name="connsiteX2" fmla="*/ 43288 w 103435"/>
                <a:gd name="connsiteY2" fmla="*/ 16404 h 203897"/>
                <a:gd name="connsiteX3" fmla="*/ 0 w 103435"/>
                <a:gd name="connsiteY3" fmla="*/ 16404 h 203897"/>
                <a:gd name="connsiteX4" fmla="*/ 0 w 103435"/>
                <a:gd name="connsiteY4" fmla="*/ 2278 h 203897"/>
                <a:gd name="connsiteX5" fmla="*/ 103435 w 103435"/>
                <a:gd name="connsiteY5" fmla="*/ 0 h 203897"/>
                <a:gd name="connsiteX6" fmla="*/ 103435 w 103435"/>
                <a:gd name="connsiteY6" fmla="*/ 180989 h 203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03897">
                  <a:moveTo>
                    <a:pt x="87556" y="203897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1809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6" name="Forme libre : forme 85">
              <a:extLst>
                <a:ext uri="{FF2B5EF4-FFF2-40B4-BE49-F238E27FC236}">
                  <a16:creationId xmlns:a16="http://schemas.microsoft.com/office/drawing/2014/main" id="{7C271A8B-9C78-428F-B810-6F06C7D59A76}"/>
                </a:ext>
              </a:extLst>
            </p:cNvPr>
            <p:cNvSpPr/>
            <p:nvPr/>
          </p:nvSpPr>
          <p:spPr>
            <a:xfrm rot="7484129">
              <a:off x="139430" y="17950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7" name="Forme libre : forme 86">
              <a:extLst>
                <a:ext uri="{FF2B5EF4-FFF2-40B4-BE49-F238E27FC236}">
                  <a16:creationId xmlns:a16="http://schemas.microsoft.com/office/drawing/2014/main" id="{D36DE129-2836-4CBE-AD58-6C1713D6B3EE}"/>
                </a:ext>
              </a:extLst>
            </p:cNvPr>
            <p:cNvSpPr/>
            <p:nvPr/>
          </p:nvSpPr>
          <p:spPr>
            <a:xfrm rot="13089394">
              <a:off x="244250" y="17615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8" name="Forme libre : forme 87">
              <a:extLst>
                <a:ext uri="{FF2B5EF4-FFF2-40B4-BE49-F238E27FC236}">
                  <a16:creationId xmlns:a16="http://schemas.microsoft.com/office/drawing/2014/main" id="{79EA854C-B4CC-4CA7-8B2A-6C6BC24B199C}"/>
                </a:ext>
              </a:extLst>
            </p:cNvPr>
            <p:cNvSpPr/>
            <p:nvPr/>
          </p:nvSpPr>
          <p:spPr>
            <a:xfrm rot="8716295">
              <a:off x="429835" y="15699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9" name="Forme libre : forme 88">
              <a:extLst>
                <a:ext uri="{FF2B5EF4-FFF2-40B4-BE49-F238E27FC236}">
                  <a16:creationId xmlns:a16="http://schemas.microsoft.com/office/drawing/2014/main" id="{6B913878-9B85-4AB9-9126-9F632954B90F}"/>
                </a:ext>
              </a:extLst>
            </p:cNvPr>
            <p:cNvSpPr/>
            <p:nvPr/>
          </p:nvSpPr>
          <p:spPr>
            <a:xfrm rot="8716295">
              <a:off x="378030" y="14663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" name="Forme libre : forme 89">
              <a:extLst>
                <a:ext uri="{FF2B5EF4-FFF2-40B4-BE49-F238E27FC236}">
                  <a16:creationId xmlns:a16="http://schemas.microsoft.com/office/drawing/2014/main" id="{F162DFE3-5AFB-43AF-B410-9A244C9F4B59}"/>
                </a:ext>
              </a:extLst>
            </p:cNvPr>
            <p:cNvSpPr/>
            <p:nvPr/>
          </p:nvSpPr>
          <p:spPr>
            <a:xfrm rot="8716295">
              <a:off x="134784" y="14965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" name="Forme libre : forme 90">
              <a:extLst>
                <a:ext uri="{FF2B5EF4-FFF2-40B4-BE49-F238E27FC236}">
                  <a16:creationId xmlns:a16="http://schemas.microsoft.com/office/drawing/2014/main" id="{AC3582EB-A41A-446C-B180-6765259FBCEA}"/>
                </a:ext>
              </a:extLst>
            </p:cNvPr>
            <p:cNvSpPr/>
            <p:nvPr/>
          </p:nvSpPr>
          <p:spPr>
            <a:xfrm rot="8716295">
              <a:off x="312236" y="13372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" name="Forme libre : forme 91">
              <a:extLst>
                <a:ext uri="{FF2B5EF4-FFF2-40B4-BE49-F238E27FC236}">
                  <a16:creationId xmlns:a16="http://schemas.microsoft.com/office/drawing/2014/main" id="{B7D17BE7-3087-4D16-B830-BE754FB16667}"/>
                </a:ext>
              </a:extLst>
            </p:cNvPr>
            <p:cNvSpPr/>
            <p:nvPr/>
          </p:nvSpPr>
          <p:spPr>
            <a:xfrm rot="8716295">
              <a:off x="-17798" y="949199"/>
              <a:ext cx="39526" cy="50123"/>
            </a:xfrm>
            <a:custGeom>
              <a:avLst/>
              <a:gdLst>
                <a:gd name="connsiteX0" fmla="*/ 0 w 39526"/>
                <a:gd name="connsiteY0" fmla="*/ 50123 h 50123"/>
                <a:gd name="connsiteX1" fmla="*/ 0 w 39526"/>
                <a:gd name="connsiteY1" fmla="*/ 0 h 50123"/>
                <a:gd name="connsiteX2" fmla="*/ 39526 w 39526"/>
                <a:gd name="connsiteY2" fmla="*/ 0 h 50123"/>
                <a:gd name="connsiteX3" fmla="*/ 4782 w 39526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26" h="50123">
                  <a:moveTo>
                    <a:pt x="0" y="50123"/>
                  </a:moveTo>
                  <a:lnTo>
                    <a:pt x="0" y="0"/>
                  </a:lnTo>
                  <a:lnTo>
                    <a:pt x="39526" y="0"/>
                  </a:lnTo>
                  <a:lnTo>
                    <a:pt x="4782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" name="Forme libre : forme 92">
              <a:extLst>
                <a:ext uri="{FF2B5EF4-FFF2-40B4-BE49-F238E27FC236}">
                  <a16:creationId xmlns:a16="http://schemas.microsoft.com/office/drawing/2014/main" id="{2B1FCA7E-1DA9-4BE4-ACE8-6A5B3C76B12F}"/>
                </a:ext>
              </a:extLst>
            </p:cNvPr>
            <p:cNvSpPr/>
            <p:nvPr/>
          </p:nvSpPr>
          <p:spPr>
            <a:xfrm rot="8716295">
              <a:off x="-64996" y="834728"/>
              <a:ext cx="249650" cy="254774"/>
            </a:xfrm>
            <a:custGeom>
              <a:avLst/>
              <a:gdLst>
                <a:gd name="connsiteX0" fmla="*/ 51490 w 249650"/>
                <a:gd name="connsiteY0" fmla="*/ 254774 h 254774"/>
                <a:gd name="connsiteX1" fmla="*/ 51490 w 249650"/>
                <a:gd name="connsiteY1" fmla="*/ 45624 h 254774"/>
                <a:gd name="connsiteX2" fmla="*/ 0 w 249650"/>
                <a:gd name="connsiteY2" fmla="*/ 45624 h 254774"/>
                <a:gd name="connsiteX3" fmla="*/ 0 w 249650"/>
                <a:gd name="connsiteY3" fmla="*/ 1425 h 254774"/>
                <a:gd name="connsiteX4" fmla="*/ 104803 w 249650"/>
                <a:gd name="connsiteY4" fmla="*/ 1425 h 254774"/>
                <a:gd name="connsiteX5" fmla="*/ 104803 w 249650"/>
                <a:gd name="connsiteY5" fmla="*/ 75242 h 254774"/>
                <a:gd name="connsiteX6" fmla="*/ 106169 w 249650"/>
                <a:gd name="connsiteY6" fmla="*/ 75242 h 254774"/>
                <a:gd name="connsiteX7" fmla="*/ 154014 w 249650"/>
                <a:gd name="connsiteY7" fmla="*/ 5981 h 254774"/>
                <a:gd name="connsiteX8" fmla="*/ 185455 w 249650"/>
                <a:gd name="connsiteY8" fmla="*/ 57 h 254774"/>
                <a:gd name="connsiteX9" fmla="*/ 240647 w 249650"/>
                <a:gd name="connsiteY9" fmla="*/ 22727 h 254774"/>
                <a:gd name="connsiteX10" fmla="*/ 249650 w 249650"/>
                <a:gd name="connsiteY10" fmla="*/ 52327 h 254774"/>
                <a:gd name="connsiteX11" fmla="*/ 218795 w 249650"/>
                <a:gd name="connsiteY11" fmla="*/ 96841 h 254774"/>
                <a:gd name="connsiteX12" fmla="*/ 198669 w 249650"/>
                <a:gd name="connsiteY12" fmla="*/ 98025 h 254774"/>
                <a:gd name="connsiteX13" fmla="*/ 198669 w 249650"/>
                <a:gd name="connsiteY13" fmla="*/ 81621 h 254774"/>
                <a:gd name="connsiteX14" fmla="*/ 164950 w 249650"/>
                <a:gd name="connsiteY14" fmla="*/ 40156 h 254774"/>
                <a:gd name="connsiteX15" fmla="*/ 111638 w 249650"/>
                <a:gd name="connsiteY15" fmla="*/ 127643 h 254774"/>
                <a:gd name="connsiteX16" fmla="*/ 111638 w 249650"/>
                <a:gd name="connsiteY16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9650" h="254774">
                  <a:moveTo>
                    <a:pt x="51490" y="254774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08922" y="-398"/>
                    <a:pt x="227718" y="7576"/>
                    <a:pt x="240647" y="22727"/>
                  </a:cubicBezTo>
                  <a:lnTo>
                    <a:pt x="249650" y="52327"/>
                  </a:lnTo>
                  <a:lnTo>
                    <a:pt x="218795" y="96841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" name="Forme libre : forme 93">
              <a:extLst>
                <a:ext uri="{FF2B5EF4-FFF2-40B4-BE49-F238E27FC236}">
                  <a16:creationId xmlns:a16="http://schemas.microsoft.com/office/drawing/2014/main" id="{0E9593F0-A5A3-4981-A2E1-BBA808D790D1}"/>
                </a:ext>
              </a:extLst>
            </p:cNvPr>
            <p:cNvSpPr/>
            <p:nvPr/>
          </p:nvSpPr>
          <p:spPr>
            <a:xfrm rot="7484129">
              <a:off x="-63314" y="1172497"/>
              <a:ext cx="203848" cy="146395"/>
            </a:xfrm>
            <a:custGeom>
              <a:avLst/>
              <a:gdLst>
                <a:gd name="connsiteX0" fmla="*/ 0 w 203848"/>
                <a:gd name="connsiteY0" fmla="*/ 55323 h 146395"/>
                <a:gd name="connsiteX1" fmla="*/ 0 w 203848"/>
                <a:gd name="connsiteY1" fmla="*/ 0 h 146395"/>
                <a:gd name="connsiteX2" fmla="*/ 203848 w 203848"/>
                <a:gd name="connsiteY2" fmla="*/ 0 h 146395"/>
                <a:gd name="connsiteX3" fmla="*/ 203847 w 203848"/>
                <a:gd name="connsiteY3" fmla="*/ 49512 h 146395"/>
                <a:gd name="connsiteX4" fmla="*/ 195466 w 203848"/>
                <a:gd name="connsiteY4" fmla="*/ 55323 h 146395"/>
                <a:gd name="connsiteX5" fmla="*/ 139055 w 203848"/>
                <a:gd name="connsiteY5" fmla="*/ 55323 h 146395"/>
                <a:gd name="connsiteX6" fmla="*/ 121388 w 203848"/>
                <a:gd name="connsiteY6" fmla="*/ 106685 h 146395"/>
                <a:gd name="connsiteX7" fmla="*/ 64115 w 203848"/>
                <a:gd name="connsiteY7" fmla="*/ 146395 h 146395"/>
                <a:gd name="connsiteX8" fmla="*/ 47847 w 203848"/>
                <a:gd name="connsiteY8" fmla="*/ 116129 h 146395"/>
                <a:gd name="connsiteX9" fmla="*/ 69777 w 203848"/>
                <a:gd name="connsiteY9" fmla="*/ 55323 h 146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848" h="146395">
                  <a:moveTo>
                    <a:pt x="0" y="55323"/>
                  </a:moveTo>
                  <a:lnTo>
                    <a:pt x="0" y="0"/>
                  </a:lnTo>
                  <a:lnTo>
                    <a:pt x="203848" y="0"/>
                  </a:lnTo>
                  <a:lnTo>
                    <a:pt x="203847" y="49512"/>
                  </a:lnTo>
                  <a:lnTo>
                    <a:pt x="195466" y="55323"/>
                  </a:lnTo>
                  <a:lnTo>
                    <a:pt x="139055" y="55323"/>
                  </a:lnTo>
                  <a:lnTo>
                    <a:pt x="121388" y="106685"/>
                  </a:lnTo>
                  <a:lnTo>
                    <a:pt x="64115" y="146395"/>
                  </a:lnTo>
                  <a:lnTo>
                    <a:pt x="47847" y="116129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orme libre : forme 94">
              <a:extLst>
                <a:ext uri="{FF2B5EF4-FFF2-40B4-BE49-F238E27FC236}">
                  <a16:creationId xmlns:a16="http://schemas.microsoft.com/office/drawing/2014/main" id="{A6E76600-79D9-426B-9766-916282D4ABFE}"/>
                </a:ext>
              </a:extLst>
            </p:cNvPr>
            <p:cNvSpPr/>
            <p:nvPr/>
          </p:nvSpPr>
          <p:spPr>
            <a:xfrm rot="13089394">
              <a:off x="25311" y="109952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Forme libre : forme 95">
              <a:extLst>
                <a:ext uri="{FF2B5EF4-FFF2-40B4-BE49-F238E27FC236}">
                  <a16:creationId xmlns:a16="http://schemas.microsoft.com/office/drawing/2014/main" id="{1F255997-FD45-4250-B7D1-37AA1C212612}"/>
                </a:ext>
              </a:extLst>
            </p:cNvPr>
            <p:cNvSpPr/>
            <p:nvPr/>
          </p:nvSpPr>
          <p:spPr>
            <a:xfrm rot="8716295">
              <a:off x="210896" y="90784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" name="Forme libre : forme 96">
              <a:extLst>
                <a:ext uri="{FF2B5EF4-FFF2-40B4-BE49-F238E27FC236}">
                  <a16:creationId xmlns:a16="http://schemas.microsoft.com/office/drawing/2014/main" id="{6A36727B-2BE2-4161-AC0F-4C17D31824EA}"/>
                </a:ext>
              </a:extLst>
            </p:cNvPr>
            <p:cNvSpPr/>
            <p:nvPr/>
          </p:nvSpPr>
          <p:spPr>
            <a:xfrm rot="8716295">
              <a:off x="159091" y="80425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" name="Forme libre : forme 97">
              <a:extLst>
                <a:ext uri="{FF2B5EF4-FFF2-40B4-BE49-F238E27FC236}">
                  <a16:creationId xmlns:a16="http://schemas.microsoft.com/office/drawing/2014/main" id="{68E6EB3F-C519-4331-8DEC-97189DA5A2F9}"/>
                </a:ext>
              </a:extLst>
            </p:cNvPr>
            <p:cNvSpPr/>
            <p:nvPr/>
          </p:nvSpPr>
          <p:spPr>
            <a:xfrm rot="8716295">
              <a:off x="93297" y="67523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" name="Forme libre : forme 98">
              <a:extLst>
                <a:ext uri="{FF2B5EF4-FFF2-40B4-BE49-F238E27FC236}">
                  <a16:creationId xmlns:a16="http://schemas.microsoft.com/office/drawing/2014/main" id="{D6679E24-2A30-4105-9E55-76CEB4537132}"/>
                </a:ext>
              </a:extLst>
            </p:cNvPr>
            <p:cNvSpPr/>
            <p:nvPr/>
          </p:nvSpPr>
          <p:spPr>
            <a:xfrm rot="8716295">
              <a:off x="-7001" y="316701"/>
              <a:ext cx="14001" cy="20198"/>
            </a:xfrm>
            <a:custGeom>
              <a:avLst/>
              <a:gdLst>
                <a:gd name="connsiteX0" fmla="*/ 0 w 14001"/>
                <a:gd name="connsiteY0" fmla="*/ 20198 h 20198"/>
                <a:gd name="connsiteX1" fmla="*/ 0 w 14001"/>
                <a:gd name="connsiteY1" fmla="*/ 0 h 20198"/>
                <a:gd name="connsiteX2" fmla="*/ 14001 w 14001"/>
                <a:gd name="connsiteY2" fmla="*/ 0 h 2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01" h="20198">
                  <a:moveTo>
                    <a:pt x="0" y="20198"/>
                  </a:moveTo>
                  <a:lnTo>
                    <a:pt x="0" y="0"/>
                  </a:lnTo>
                  <a:lnTo>
                    <a:pt x="1400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orme libre : forme 99">
              <a:extLst>
                <a:ext uri="{FF2B5EF4-FFF2-40B4-BE49-F238E27FC236}">
                  <a16:creationId xmlns:a16="http://schemas.microsoft.com/office/drawing/2014/main" id="{0A78184A-E22F-4398-9ADF-6D98FA09F99E}"/>
                </a:ext>
              </a:extLst>
            </p:cNvPr>
            <p:cNvSpPr/>
            <p:nvPr/>
          </p:nvSpPr>
          <p:spPr>
            <a:xfrm rot="13089394">
              <a:off x="-81658" y="472652"/>
              <a:ext cx="173631" cy="237684"/>
            </a:xfrm>
            <a:custGeom>
              <a:avLst/>
              <a:gdLst>
                <a:gd name="connsiteX0" fmla="*/ 173631 w 173631"/>
                <a:gd name="connsiteY0" fmla="*/ 220990 h 237684"/>
                <a:gd name="connsiteX1" fmla="*/ 130972 w 173631"/>
                <a:gd name="connsiteY1" fmla="*/ 232382 h 237684"/>
                <a:gd name="connsiteX2" fmla="*/ 91597 w 173631"/>
                <a:gd name="connsiteY2" fmla="*/ 237521 h 237684"/>
                <a:gd name="connsiteX3" fmla="*/ 23727 w 173631"/>
                <a:gd name="connsiteY3" fmla="*/ 209931 h 237684"/>
                <a:gd name="connsiteX4" fmla="*/ 0 w 173631"/>
                <a:gd name="connsiteY4" fmla="*/ 115023 h 237684"/>
                <a:gd name="connsiteX5" fmla="*/ 0 w 173631"/>
                <a:gd name="connsiteY5" fmla="*/ 0 h 237684"/>
                <a:gd name="connsiteX6" fmla="*/ 76176 w 173631"/>
                <a:gd name="connsiteY6" fmla="*/ 96953 h 237684"/>
                <a:gd name="connsiteX7" fmla="*/ 76768 w 173631"/>
                <a:gd name="connsiteY7" fmla="*/ 109023 h 237684"/>
                <a:gd name="connsiteX8" fmla="*/ 87734 w 173631"/>
                <a:gd name="connsiteY8" fmla="*/ 154201 h 237684"/>
                <a:gd name="connsiteX9" fmla="*/ 111117 w 173631"/>
                <a:gd name="connsiteY9" fmla="*/ 181514 h 237684"/>
                <a:gd name="connsiteX10" fmla="*/ 148930 w 173631"/>
                <a:gd name="connsiteY10" fmla="*/ 189552 h 237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3631" h="237684">
                  <a:moveTo>
                    <a:pt x="173631" y="220990"/>
                  </a:moveTo>
                  <a:lnTo>
                    <a:pt x="130972" y="232382"/>
                  </a:lnTo>
                  <a:cubicBezTo>
                    <a:pt x="116428" y="235210"/>
                    <a:pt x="103047" y="236831"/>
                    <a:pt x="91597" y="237521"/>
                  </a:cubicBezTo>
                  <a:cubicBezTo>
                    <a:pt x="66215" y="239176"/>
                    <a:pt x="41384" y="228141"/>
                    <a:pt x="23727" y="209931"/>
                  </a:cubicBezTo>
                  <a:cubicBezTo>
                    <a:pt x="4966" y="191722"/>
                    <a:pt x="0" y="160270"/>
                    <a:pt x="0" y="115023"/>
                  </a:cubicBezTo>
                  <a:lnTo>
                    <a:pt x="0" y="0"/>
                  </a:lnTo>
                  <a:lnTo>
                    <a:pt x="76176" y="96953"/>
                  </a:lnTo>
                  <a:lnTo>
                    <a:pt x="76768" y="109023"/>
                  </a:lnTo>
                  <a:cubicBezTo>
                    <a:pt x="79044" y="124404"/>
                    <a:pt x="82768" y="139578"/>
                    <a:pt x="87734" y="154201"/>
                  </a:cubicBezTo>
                  <a:cubicBezTo>
                    <a:pt x="92149" y="166340"/>
                    <a:pt x="100012" y="175445"/>
                    <a:pt x="111117" y="181514"/>
                  </a:cubicBezTo>
                  <a:lnTo>
                    <a:pt x="148930" y="1895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Forme libre : forme 100">
              <a:extLst>
                <a:ext uri="{FF2B5EF4-FFF2-40B4-BE49-F238E27FC236}">
                  <a16:creationId xmlns:a16="http://schemas.microsoft.com/office/drawing/2014/main" id="{AD07E803-83BA-4CC0-BF0B-A773586C07A0}"/>
                </a:ext>
              </a:extLst>
            </p:cNvPr>
            <p:cNvSpPr/>
            <p:nvPr/>
          </p:nvSpPr>
          <p:spPr>
            <a:xfrm rot="8716295">
              <a:off x="-11774" y="24443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" name="Forme libre : forme 101">
              <a:extLst>
                <a:ext uri="{FF2B5EF4-FFF2-40B4-BE49-F238E27FC236}">
                  <a16:creationId xmlns:a16="http://schemas.microsoft.com/office/drawing/2014/main" id="{D7DD021A-277F-41FC-B62D-7AD8FCE94AB8}"/>
                </a:ext>
              </a:extLst>
            </p:cNvPr>
            <p:cNvSpPr/>
            <p:nvPr/>
          </p:nvSpPr>
          <p:spPr>
            <a:xfrm rot="8716295">
              <a:off x="-30092" y="143486"/>
              <a:ext cx="77721" cy="97260"/>
            </a:xfrm>
            <a:custGeom>
              <a:avLst/>
              <a:gdLst>
                <a:gd name="connsiteX0" fmla="*/ 15821 w 77721"/>
                <a:gd name="connsiteY0" fmla="*/ 97260 h 97260"/>
                <a:gd name="connsiteX1" fmla="*/ 0 w 77721"/>
                <a:gd name="connsiteY1" fmla="*/ 59790 h 97260"/>
                <a:gd name="connsiteX2" fmla="*/ 0 w 77721"/>
                <a:gd name="connsiteY2" fmla="*/ 58869 h 97260"/>
                <a:gd name="connsiteX3" fmla="*/ 17477 w 77721"/>
                <a:gd name="connsiteY3" fmla="*/ 17477 h 97260"/>
                <a:gd name="connsiteX4" fmla="*/ 58869 w 77721"/>
                <a:gd name="connsiteY4" fmla="*/ 0 h 97260"/>
                <a:gd name="connsiteX5" fmla="*/ 77721 w 77721"/>
                <a:gd name="connsiteY5" fmla="*/ 7960 h 97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721" h="97260">
                  <a:moveTo>
                    <a:pt x="15821" y="97260"/>
                  </a:moveTo>
                  <a:lnTo>
                    <a:pt x="0" y="59790"/>
                  </a:ln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lnTo>
                    <a:pt x="77721" y="79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" name="Forme libre : forme 102">
              <a:extLst>
                <a:ext uri="{FF2B5EF4-FFF2-40B4-BE49-F238E27FC236}">
                  <a16:creationId xmlns:a16="http://schemas.microsoft.com/office/drawing/2014/main" id="{4776F911-AFBC-41FE-BE2B-77BA9B6B6148}"/>
                </a:ext>
              </a:extLst>
            </p:cNvPr>
            <p:cNvSpPr/>
            <p:nvPr/>
          </p:nvSpPr>
          <p:spPr>
            <a:xfrm rot="8716295">
              <a:off x="-17797" y="3452694"/>
              <a:ext cx="58455" cy="44199"/>
            </a:xfrm>
            <a:custGeom>
              <a:avLst/>
              <a:gdLst>
                <a:gd name="connsiteX0" fmla="*/ 0 w 58455"/>
                <a:gd name="connsiteY0" fmla="*/ 44199 h 44199"/>
                <a:gd name="connsiteX1" fmla="*/ 0 w 58455"/>
                <a:gd name="connsiteY1" fmla="*/ 0 h 44199"/>
                <a:gd name="connsiteX2" fmla="*/ 58455 w 58455"/>
                <a:gd name="connsiteY2" fmla="*/ 0 h 44199"/>
                <a:gd name="connsiteX3" fmla="*/ 27817 w 58455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55" h="44199">
                  <a:moveTo>
                    <a:pt x="0" y="44199"/>
                  </a:moveTo>
                  <a:lnTo>
                    <a:pt x="0" y="0"/>
                  </a:lnTo>
                  <a:lnTo>
                    <a:pt x="58455" y="0"/>
                  </a:lnTo>
                  <a:lnTo>
                    <a:pt x="27817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" name="Forme libre : forme 103">
              <a:extLst>
                <a:ext uri="{FF2B5EF4-FFF2-40B4-BE49-F238E27FC236}">
                  <a16:creationId xmlns:a16="http://schemas.microsoft.com/office/drawing/2014/main" id="{33763C32-3833-42AB-BA5F-981A96FDD6C2}"/>
                </a:ext>
              </a:extLst>
            </p:cNvPr>
            <p:cNvSpPr/>
            <p:nvPr/>
          </p:nvSpPr>
          <p:spPr>
            <a:xfrm rot="13089394">
              <a:off x="-91485" y="3601812"/>
              <a:ext cx="206527" cy="292654"/>
            </a:xfrm>
            <a:custGeom>
              <a:avLst/>
              <a:gdLst>
                <a:gd name="connsiteX0" fmla="*/ 206527 w 206527"/>
                <a:gd name="connsiteY0" fmla="*/ 258693 h 292654"/>
                <a:gd name="connsiteX1" fmla="*/ 177331 w 206527"/>
                <a:gd name="connsiteY1" fmla="*/ 274971 h 292654"/>
                <a:gd name="connsiteX2" fmla="*/ 91597 w 206527"/>
                <a:gd name="connsiteY2" fmla="*/ 292491 h 292654"/>
                <a:gd name="connsiteX3" fmla="*/ 23727 w 206527"/>
                <a:gd name="connsiteY3" fmla="*/ 264901 h 292654"/>
                <a:gd name="connsiteX4" fmla="*/ 0 w 206527"/>
                <a:gd name="connsiteY4" fmla="*/ 169993 h 292654"/>
                <a:gd name="connsiteX5" fmla="*/ 0 w 206527"/>
                <a:gd name="connsiteY5" fmla="*/ 1698 h 292654"/>
                <a:gd name="connsiteX6" fmla="*/ 3273 w 206527"/>
                <a:gd name="connsiteY6" fmla="*/ 0 h 292654"/>
                <a:gd name="connsiteX7" fmla="*/ 74297 w 206527"/>
                <a:gd name="connsiteY7" fmla="*/ 90396 h 292654"/>
                <a:gd name="connsiteX8" fmla="*/ 74492 w 206527"/>
                <a:gd name="connsiteY8" fmla="*/ 117574 h 292654"/>
                <a:gd name="connsiteX9" fmla="*/ 87734 w 206527"/>
                <a:gd name="connsiteY9" fmla="*/ 209171 h 292654"/>
                <a:gd name="connsiteX10" fmla="*/ 153949 w 206527"/>
                <a:gd name="connsiteY10" fmla="*/ 245589 h 292654"/>
                <a:gd name="connsiteX11" fmla="*/ 191049 w 206527"/>
                <a:gd name="connsiteY11" fmla="*/ 238993 h 292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527" h="292654">
                  <a:moveTo>
                    <a:pt x="206527" y="258693"/>
                  </a:moveTo>
                  <a:lnTo>
                    <a:pt x="177331" y="274971"/>
                  </a:lnTo>
                  <a:cubicBezTo>
                    <a:pt x="145121" y="286007"/>
                    <a:pt x="114496" y="291111"/>
                    <a:pt x="91597" y="292491"/>
                  </a:cubicBezTo>
                  <a:cubicBezTo>
                    <a:pt x="66215" y="294146"/>
                    <a:pt x="41385" y="283111"/>
                    <a:pt x="23727" y="264901"/>
                  </a:cubicBezTo>
                  <a:cubicBezTo>
                    <a:pt x="4966" y="246692"/>
                    <a:pt x="0" y="215240"/>
                    <a:pt x="0" y="169993"/>
                  </a:cubicBezTo>
                  <a:lnTo>
                    <a:pt x="0" y="1698"/>
                  </a:lnTo>
                  <a:lnTo>
                    <a:pt x="3273" y="0"/>
                  </a:lnTo>
                  <a:lnTo>
                    <a:pt x="74297" y="90396"/>
                  </a:lnTo>
                  <a:lnTo>
                    <a:pt x="74492" y="117574"/>
                  </a:lnTo>
                  <a:cubicBezTo>
                    <a:pt x="72836" y="148474"/>
                    <a:pt x="77802" y="179926"/>
                    <a:pt x="87734" y="209171"/>
                  </a:cubicBezTo>
                  <a:cubicBezTo>
                    <a:pt x="96564" y="233450"/>
                    <a:pt x="119187" y="245589"/>
                    <a:pt x="153949" y="245589"/>
                  </a:cubicBezTo>
                  <a:lnTo>
                    <a:pt x="191049" y="2389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" name="Forme libre : forme 104">
              <a:extLst>
                <a:ext uri="{FF2B5EF4-FFF2-40B4-BE49-F238E27FC236}">
                  <a16:creationId xmlns:a16="http://schemas.microsoft.com/office/drawing/2014/main" id="{2884ED04-80A3-4E4F-8446-F1E8822CAE35}"/>
                </a:ext>
              </a:extLst>
            </p:cNvPr>
            <p:cNvSpPr/>
            <p:nvPr/>
          </p:nvSpPr>
          <p:spPr>
            <a:xfrm rot="8716295">
              <a:off x="24761" y="33896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" name="Forme libre : forme 105">
              <a:extLst>
                <a:ext uri="{FF2B5EF4-FFF2-40B4-BE49-F238E27FC236}">
                  <a16:creationId xmlns:a16="http://schemas.microsoft.com/office/drawing/2014/main" id="{31CC9695-68DF-410B-864E-7B9EA5DA2286}"/>
                </a:ext>
              </a:extLst>
            </p:cNvPr>
            <p:cNvSpPr/>
            <p:nvPr/>
          </p:nvSpPr>
          <p:spPr>
            <a:xfrm rot="8716295">
              <a:off x="-24047" y="3281741"/>
              <a:ext cx="106042" cy="113733"/>
            </a:xfrm>
            <a:custGeom>
              <a:avLst/>
              <a:gdLst>
                <a:gd name="connsiteX0" fmla="*/ 17477 w 106042"/>
                <a:gd name="connsiteY0" fmla="*/ 101182 h 113733"/>
                <a:gd name="connsiteX1" fmla="*/ 0 w 106042"/>
                <a:gd name="connsiteY1" fmla="*/ 59790 h 113733"/>
                <a:gd name="connsiteX2" fmla="*/ 0 w 106042"/>
                <a:gd name="connsiteY2" fmla="*/ 58869 h 113733"/>
                <a:gd name="connsiteX3" fmla="*/ 17477 w 106042"/>
                <a:gd name="connsiteY3" fmla="*/ 17477 h 113733"/>
                <a:gd name="connsiteX4" fmla="*/ 58869 w 106042"/>
                <a:gd name="connsiteY4" fmla="*/ 0 h 113733"/>
                <a:gd name="connsiteX5" fmla="*/ 100262 w 106042"/>
                <a:gd name="connsiteY5" fmla="*/ 17477 h 113733"/>
                <a:gd name="connsiteX6" fmla="*/ 106042 w 106042"/>
                <a:gd name="connsiteY6" fmla="*/ 31234 h 113733"/>
                <a:gd name="connsiteX7" fmla="*/ 48856 w 106042"/>
                <a:gd name="connsiteY7" fmla="*/ 113733 h 11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042" h="113733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cubicBezTo>
                    <a:pt x="74507" y="0"/>
                    <a:pt x="89224" y="6439"/>
                    <a:pt x="100262" y="17477"/>
                  </a:cubicBezTo>
                  <a:lnTo>
                    <a:pt x="106042" y="31234"/>
                  </a:lnTo>
                  <a:lnTo>
                    <a:pt x="48856" y="1137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" name="Forme libre : forme 106">
              <a:extLst>
                <a:ext uri="{FF2B5EF4-FFF2-40B4-BE49-F238E27FC236}">
                  <a16:creationId xmlns:a16="http://schemas.microsoft.com/office/drawing/2014/main" id="{1798CCB7-EC4B-437B-AB85-16FA76906419}"/>
                </a:ext>
              </a:extLst>
            </p:cNvPr>
            <p:cNvSpPr/>
            <p:nvPr/>
          </p:nvSpPr>
          <p:spPr>
            <a:xfrm rot="8716295">
              <a:off x="-21924" y="3179872"/>
              <a:ext cx="45776" cy="62656"/>
            </a:xfrm>
            <a:custGeom>
              <a:avLst/>
              <a:gdLst>
                <a:gd name="connsiteX0" fmla="*/ 2345 w 45776"/>
                <a:gd name="connsiteY0" fmla="*/ 62656 h 62656"/>
                <a:gd name="connsiteX1" fmla="*/ 0 w 45776"/>
                <a:gd name="connsiteY1" fmla="*/ 57104 h 62656"/>
                <a:gd name="connsiteX2" fmla="*/ 0 w 45776"/>
                <a:gd name="connsiteY2" fmla="*/ 56183 h 62656"/>
                <a:gd name="connsiteX3" fmla="*/ 17477 w 45776"/>
                <a:gd name="connsiteY3" fmla="*/ 14791 h 62656"/>
                <a:gd name="connsiteX4" fmla="*/ 36449 w 45776"/>
                <a:gd name="connsiteY4" fmla="*/ 1913 h 62656"/>
                <a:gd name="connsiteX5" fmla="*/ 45776 w 45776"/>
                <a:gd name="connsiteY5" fmla="*/ 0 h 62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776" h="62656">
                  <a:moveTo>
                    <a:pt x="2345" y="62656"/>
                  </a:moveTo>
                  <a:lnTo>
                    <a:pt x="0" y="57104"/>
                  </a:lnTo>
                  <a:lnTo>
                    <a:pt x="0" y="56183"/>
                  </a:lnTo>
                  <a:cubicBezTo>
                    <a:pt x="0" y="40547"/>
                    <a:pt x="6439" y="25829"/>
                    <a:pt x="17477" y="14791"/>
                  </a:cubicBezTo>
                  <a:cubicBezTo>
                    <a:pt x="22996" y="9272"/>
                    <a:pt x="29435" y="4903"/>
                    <a:pt x="36449" y="1913"/>
                  </a:cubicBezTo>
                  <a:lnTo>
                    <a:pt x="4577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" name="Forme libre : forme 107">
              <a:extLst>
                <a:ext uri="{FF2B5EF4-FFF2-40B4-BE49-F238E27FC236}">
                  <a16:creationId xmlns:a16="http://schemas.microsoft.com/office/drawing/2014/main" id="{6EA1D3A3-3395-441B-A805-B0DD713086F0}"/>
                </a:ext>
              </a:extLst>
            </p:cNvPr>
            <p:cNvSpPr/>
            <p:nvPr/>
          </p:nvSpPr>
          <p:spPr>
            <a:xfrm rot="8716295">
              <a:off x="-21324" y="4100649"/>
              <a:ext cx="79113" cy="50123"/>
            </a:xfrm>
            <a:custGeom>
              <a:avLst/>
              <a:gdLst>
                <a:gd name="connsiteX0" fmla="*/ 0 w 79113"/>
                <a:gd name="connsiteY0" fmla="*/ 50123 h 50123"/>
                <a:gd name="connsiteX1" fmla="*/ 0 w 79113"/>
                <a:gd name="connsiteY1" fmla="*/ 0 h 50123"/>
                <a:gd name="connsiteX2" fmla="*/ 79113 w 79113"/>
                <a:gd name="connsiteY2" fmla="*/ 0 h 50123"/>
                <a:gd name="connsiteX3" fmla="*/ 44369 w 79113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113" h="50123">
                  <a:moveTo>
                    <a:pt x="0" y="50123"/>
                  </a:moveTo>
                  <a:lnTo>
                    <a:pt x="0" y="0"/>
                  </a:lnTo>
                  <a:lnTo>
                    <a:pt x="79113" y="0"/>
                  </a:lnTo>
                  <a:lnTo>
                    <a:pt x="44369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" name="Forme libre : forme 108">
              <a:extLst>
                <a:ext uri="{FF2B5EF4-FFF2-40B4-BE49-F238E27FC236}">
                  <a16:creationId xmlns:a16="http://schemas.microsoft.com/office/drawing/2014/main" id="{441E37C8-B014-48F8-9D8A-E28C0A81E8F3}"/>
                </a:ext>
              </a:extLst>
            </p:cNvPr>
            <p:cNvSpPr/>
            <p:nvPr/>
          </p:nvSpPr>
          <p:spPr>
            <a:xfrm rot="8716295">
              <a:off x="-40457" y="398156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" name="Forme libre : forme 109">
              <a:extLst>
                <a:ext uri="{FF2B5EF4-FFF2-40B4-BE49-F238E27FC236}">
                  <a16:creationId xmlns:a16="http://schemas.microsoft.com/office/drawing/2014/main" id="{F00696DB-228C-441B-90E6-48605040C93E}"/>
                </a:ext>
              </a:extLst>
            </p:cNvPr>
            <p:cNvSpPr/>
            <p:nvPr/>
          </p:nvSpPr>
          <p:spPr>
            <a:xfrm rot="7484129">
              <a:off x="-46974" y="427316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" name="Forme libre : forme 110">
              <a:extLst>
                <a:ext uri="{FF2B5EF4-FFF2-40B4-BE49-F238E27FC236}">
                  <a16:creationId xmlns:a16="http://schemas.microsoft.com/office/drawing/2014/main" id="{9A6E1EC7-4FA0-43D8-BEC4-78E0A6587EAD}"/>
                </a:ext>
              </a:extLst>
            </p:cNvPr>
            <p:cNvSpPr/>
            <p:nvPr/>
          </p:nvSpPr>
          <p:spPr>
            <a:xfrm rot="13089394">
              <a:off x="57846" y="423970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" name="Forme libre : forme 111">
              <a:extLst>
                <a:ext uri="{FF2B5EF4-FFF2-40B4-BE49-F238E27FC236}">
                  <a16:creationId xmlns:a16="http://schemas.microsoft.com/office/drawing/2014/main" id="{80389F25-A4FB-4DBD-9B89-4F2BFC751AF3}"/>
                </a:ext>
              </a:extLst>
            </p:cNvPr>
            <p:cNvSpPr/>
            <p:nvPr/>
          </p:nvSpPr>
          <p:spPr>
            <a:xfrm rot="8716295">
              <a:off x="243431" y="404801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" name="Forme libre : forme 112">
              <a:extLst>
                <a:ext uri="{FF2B5EF4-FFF2-40B4-BE49-F238E27FC236}">
                  <a16:creationId xmlns:a16="http://schemas.microsoft.com/office/drawing/2014/main" id="{04EEF1E4-3A54-4E97-9251-258A8E514A0A}"/>
                </a:ext>
              </a:extLst>
            </p:cNvPr>
            <p:cNvSpPr/>
            <p:nvPr/>
          </p:nvSpPr>
          <p:spPr>
            <a:xfrm rot="8716295">
              <a:off x="191626" y="39444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" name="Forme libre : forme 113">
              <a:extLst>
                <a:ext uri="{FF2B5EF4-FFF2-40B4-BE49-F238E27FC236}">
                  <a16:creationId xmlns:a16="http://schemas.microsoft.com/office/drawing/2014/main" id="{6E5BBE1F-D3AC-46AF-8453-7400C641EAAA}"/>
                </a:ext>
              </a:extLst>
            </p:cNvPr>
            <p:cNvSpPr/>
            <p:nvPr/>
          </p:nvSpPr>
          <p:spPr>
            <a:xfrm rot="8716295">
              <a:off x="125832" y="381540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" name="Forme libre : forme 114">
              <a:extLst>
                <a:ext uri="{FF2B5EF4-FFF2-40B4-BE49-F238E27FC236}">
                  <a16:creationId xmlns:a16="http://schemas.microsoft.com/office/drawing/2014/main" id="{8071E294-ECD8-45A0-992E-907B1B9AB08E}"/>
                </a:ext>
              </a:extLst>
            </p:cNvPr>
            <p:cNvSpPr/>
            <p:nvPr/>
          </p:nvSpPr>
          <p:spPr>
            <a:xfrm rot="8716295">
              <a:off x="-73048" y="4876828"/>
              <a:ext cx="221382" cy="253349"/>
            </a:xfrm>
            <a:custGeom>
              <a:avLst/>
              <a:gdLst>
                <a:gd name="connsiteX0" fmla="*/ 51490 w 221382"/>
                <a:gd name="connsiteY0" fmla="*/ 253349 h 253349"/>
                <a:gd name="connsiteX1" fmla="*/ 51490 w 221382"/>
                <a:gd name="connsiteY1" fmla="*/ 44199 h 253349"/>
                <a:gd name="connsiteX2" fmla="*/ 0 w 221382"/>
                <a:gd name="connsiteY2" fmla="*/ 44199 h 253349"/>
                <a:gd name="connsiteX3" fmla="*/ 0 w 221382"/>
                <a:gd name="connsiteY3" fmla="*/ 0 h 253349"/>
                <a:gd name="connsiteX4" fmla="*/ 104803 w 221382"/>
                <a:gd name="connsiteY4" fmla="*/ 0 h 253349"/>
                <a:gd name="connsiteX5" fmla="*/ 104802 w 221382"/>
                <a:gd name="connsiteY5" fmla="*/ 73817 h 253349"/>
                <a:gd name="connsiteX6" fmla="*/ 106169 w 221382"/>
                <a:gd name="connsiteY6" fmla="*/ 73817 h 253349"/>
                <a:gd name="connsiteX7" fmla="*/ 154014 w 221382"/>
                <a:gd name="connsiteY7" fmla="*/ 4556 h 253349"/>
                <a:gd name="connsiteX8" fmla="*/ 174650 w 221382"/>
                <a:gd name="connsiteY8" fmla="*/ 668 h 253349"/>
                <a:gd name="connsiteX9" fmla="*/ 214075 w 221382"/>
                <a:gd name="connsiteY9" fmla="*/ 27996 h 253349"/>
                <a:gd name="connsiteX10" fmla="*/ 221382 w 221382"/>
                <a:gd name="connsiteY10" fmla="*/ 33060 h 253349"/>
                <a:gd name="connsiteX11" fmla="*/ 195540 w 221382"/>
                <a:gd name="connsiteY11" fmla="*/ 70341 h 253349"/>
                <a:gd name="connsiteX12" fmla="*/ 189157 w 221382"/>
                <a:gd name="connsiteY12" fmla="*/ 50236 h 253349"/>
                <a:gd name="connsiteX13" fmla="*/ 164950 w 221382"/>
                <a:gd name="connsiteY13" fmla="*/ 38731 h 253349"/>
                <a:gd name="connsiteX14" fmla="*/ 111638 w 221382"/>
                <a:gd name="connsiteY14" fmla="*/ 126218 h 253349"/>
                <a:gd name="connsiteX15" fmla="*/ 111638 w 221382"/>
                <a:gd name="connsiteY15" fmla="*/ 191383 h 253349"/>
                <a:gd name="connsiteX16" fmla="*/ 84096 w 221382"/>
                <a:gd name="connsiteY16" fmla="*/ 231117 h 253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1382" h="253349">
                  <a:moveTo>
                    <a:pt x="51490" y="253349"/>
                  </a:moveTo>
                  <a:lnTo>
                    <a:pt x="51490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104803" y="0"/>
                  </a:lnTo>
                  <a:lnTo>
                    <a:pt x="104802" y="73817"/>
                  </a:lnTo>
                  <a:lnTo>
                    <a:pt x="106169" y="73817"/>
                  </a:lnTo>
                  <a:cubicBezTo>
                    <a:pt x="120751" y="30529"/>
                    <a:pt x="132142" y="13670"/>
                    <a:pt x="154014" y="4556"/>
                  </a:cubicBezTo>
                  <a:lnTo>
                    <a:pt x="174650" y="668"/>
                  </a:lnTo>
                  <a:lnTo>
                    <a:pt x="214075" y="27996"/>
                  </a:lnTo>
                  <a:lnTo>
                    <a:pt x="221382" y="33060"/>
                  </a:lnTo>
                  <a:lnTo>
                    <a:pt x="195540" y="70341"/>
                  </a:lnTo>
                  <a:lnTo>
                    <a:pt x="189157" y="50236"/>
                  </a:lnTo>
                  <a:cubicBezTo>
                    <a:pt x="183177" y="42946"/>
                    <a:pt x="174747" y="38731"/>
                    <a:pt x="164950" y="38731"/>
                  </a:cubicBezTo>
                  <a:cubicBezTo>
                    <a:pt x="135788" y="38731"/>
                    <a:pt x="111638" y="77463"/>
                    <a:pt x="111638" y="126218"/>
                  </a:cubicBezTo>
                  <a:lnTo>
                    <a:pt x="111638" y="191383"/>
                  </a:lnTo>
                  <a:lnTo>
                    <a:pt x="84096" y="2311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" name="Forme libre : forme 115">
              <a:extLst>
                <a:ext uri="{FF2B5EF4-FFF2-40B4-BE49-F238E27FC236}">
                  <a16:creationId xmlns:a16="http://schemas.microsoft.com/office/drawing/2014/main" id="{E67B14CE-B3ED-42B6-983E-18D9D51B5069}"/>
                </a:ext>
              </a:extLst>
            </p:cNvPr>
            <p:cNvSpPr/>
            <p:nvPr/>
          </p:nvSpPr>
          <p:spPr>
            <a:xfrm rot="8716295">
              <a:off x="93318" y="46120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" name="Forme libre : forme 116">
              <a:extLst>
                <a:ext uri="{FF2B5EF4-FFF2-40B4-BE49-F238E27FC236}">
                  <a16:creationId xmlns:a16="http://schemas.microsoft.com/office/drawing/2014/main" id="{5F92E036-918D-4A69-A634-EF67D2AA85CF}"/>
                </a:ext>
              </a:extLst>
            </p:cNvPr>
            <p:cNvSpPr/>
            <p:nvPr/>
          </p:nvSpPr>
          <p:spPr>
            <a:xfrm rot="8716295">
              <a:off x="182710" y="46412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" name="Forme libre : forme 117">
              <a:extLst>
                <a:ext uri="{FF2B5EF4-FFF2-40B4-BE49-F238E27FC236}">
                  <a16:creationId xmlns:a16="http://schemas.microsoft.com/office/drawing/2014/main" id="{51C689BA-330C-44EA-8320-9417DA402819}"/>
                </a:ext>
              </a:extLst>
            </p:cNvPr>
            <p:cNvSpPr/>
            <p:nvPr/>
          </p:nvSpPr>
          <p:spPr>
            <a:xfrm rot="8716295">
              <a:off x="-14524" y="4699631"/>
              <a:ext cx="49997" cy="54238"/>
            </a:xfrm>
            <a:custGeom>
              <a:avLst/>
              <a:gdLst>
                <a:gd name="connsiteX0" fmla="*/ 8658 w 49997"/>
                <a:gd name="connsiteY0" fmla="*/ 50123 h 54238"/>
                <a:gd name="connsiteX1" fmla="*/ 0 w 49997"/>
                <a:gd name="connsiteY1" fmla="*/ 29619 h 54238"/>
                <a:gd name="connsiteX2" fmla="*/ 0 w 49997"/>
                <a:gd name="connsiteY2" fmla="*/ 29162 h 54238"/>
                <a:gd name="connsiteX3" fmla="*/ 8658 w 49997"/>
                <a:gd name="connsiteY3" fmla="*/ 8658 h 54238"/>
                <a:gd name="connsiteX4" fmla="*/ 29163 w 49997"/>
                <a:gd name="connsiteY4" fmla="*/ 0 h 54238"/>
                <a:gd name="connsiteX5" fmla="*/ 49668 w 49997"/>
                <a:gd name="connsiteY5" fmla="*/ 8658 h 54238"/>
                <a:gd name="connsiteX6" fmla="*/ 49997 w 49997"/>
                <a:gd name="connsiteY6" fmla="*/ 9441 h 54238"/>
                <a:gd name="connsiteX7" fmla="*/ 18945 w 49997"/>
                <a:gd name="connsiteY7" fmla="*/ 54238 h 54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997" h="54238">
                  <a:moveTo>
                    <a:pt x="8658" y="50123"/>
                  </a:moveTo>
                  <a:cubicBezTo>
                    <a:pt x="3190" y="44655"/>
                    <a:pt x="0" y="37365"/>
                    <a:pt x="0" y="29619"/>
                  </a:cubicBezTo>
                  <a:lnTo>
                    <a:pt x="0" y="29162"/>
                  </a:lnTo>
                  <a:cubicBezTo>
                    <a:pt x="0" y="21417"/>
                    <a:pt x="3190" y="14126"/>
                    <a:pt x="8658" y="8658"/>
                  </a:cubicBezTo>
                  <a:cubicBezTo>
                    <a:pt x="14126" y="3190"/>
                    <a:pt x="21416" y="0"/>
                    <a:pt x="29163" y="0"/>
                  </a:cubicBezTo>
                  <a:cubicBezTo>
                    <a:pt x="36909" y="0"/>
                    <a:pt x="44200" y="3190"/>
                    <a:pt x="49668" y="8658"/>
                  </a:cubicBezTo>
                  <a:lnTo>
                    <a:pt x="49997" y="9441"/>
                  </a:lnTo>
                  <a:lnTo>
                    <a:pt x="18945" y="54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" name="Forme libre : forme 118">
              <a:extLst>
                <a:ext uri="{FF2B5EF4-FFF2-40B4-BE49-F238E27FC236}">
                  <a16:creationId xmlns:a16="http://schemas.microsoft.com/office/drawing/2014/main" id="{F2474D32-2245-427E-9F4C-2458D31C5E60}"/>
                </a:ext>
              </a:extLst>
            </p:cNvPr>
            <p:cNvSpPr/>
            <p:nvPr/>
          </p:nvSpPr>
          <p:spPr>
            <a:xfrm rot="8716295">
              <a:off x="-30327" y="4579755"/>
              <a:ext cx="113346" cy="71024"/>
            </a:xfrm>
            <a:custGeom>
              <a:avLst/>
              <a:gdLst>
                <a:gd name="connsiteX0" fmla="*/ 0 w 113346"/>
                <a:gd name="connsiteY0" fmla="*/ 55323 h 71024"/>
                <a:gd name="connsiteX1" fmla="*/ 0 w 113346"/>
                <a:gd name="connsiteY1" fmla="*/ 0 h 71024"/>
                <a:gd name="connsiteX2" fmla="*/ 113346 w 113346"/>
                <a:gd name="connsiteY2" fmla="*/ 0 h 71024"/>
                <a:gd name="connsiteX3" fmla="*/ 64114 w 113346"/>
                <a:gd name="connsiteY3" fmla="*/ 71024 h 71024"/>
                <a:gd name="connsiteX4" fmla="*/ 69777 w 113346"/>
                <a:gd name="connsiteY4" fmla="*/ 55323 h 7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346" h="71024">
                  <a:moveTo>
                    <a:pt x="0" y="55323"/>
                  </a:moveTo>
                  <a:lnTo>
                    <a:pt x="0" y="0"/>
                  </a:lnTo>
                  <a:lnTo>
                    <a:pt x="113346" y="0"/>
                  </a:lnTo>
                  <a:lnTo>
                    <a:pt x="64114" y="71024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" name="Forme libre : forme 119">
              <a:extLst>
                <a:ext uri="{FF2B5EF4-FFF2-40B4-BE49-F238E27FC236}">
                  <a16:creationId xmlns:a16="http://schemas.microsoft.com/office/drawing/2014/main" id="{D5E32DFA-FE41-4DBB-9EA3-322E61838D6F}"/>
                </a:ext>
              </a:extLst>
            </p:cNvPr>
            <p:cNvSpPr/>
            <p:nvPr/>
          </p:nvSpPr>
          <p:spPr>
            <a:xfrm rot="8716295">
              <a:off x="71262" y="47415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" name="Forme libre : forme 120">
              <a:extLst>
                <a:ext uri="{FF2B5EF4-FFF2-40B4-BE49-F238E27FC236}">
                  <a16:creationId xmlns:a16="http://schemas.microsoft.com/office/drawing/2014/main" id="{98C82C88-21C9-41B9-8186-F52C472D7412}"/>
                </a:ext>
              </a:extLst>
            </p:cNvPr>
            <p:cNvSpPr/>
            <p:nvPr/>
          </p:nvSpPr>
          <p:spPr>
            <a:xfrm rot="7484129">
              <a:off x="172059" y="493353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170341 w 203847"/>
                <a:gd name="connsiteY5" fmla="*/ 0 h 195874"/>
                <a:gd name="connsiteX6" fmla="*/ 203847 w 203847"/>
                <a:gd name="connsiteY6" fmla="*/ 48325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170341" y="0"/>
                  </a:lnTo>
                  <a:lnTo>
                    <a:pt x="203847" y="48325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" name="Forme libre : forme 121">
              <a:extLst>
                <a:ext uri="{FF2B5EF4-FFF2-40B4-BE49-F238E27FC236}">
                  <a16:creationId xmlns:a16="http://schemas.microsoft.com/office/drawing/2014/main" id="{A66417E9-C757-466D-8994-1F366AA16F5B}"/>
                </a:ext>
              </a:extLst>
            </p:cNvPr>
            <p:cNvSpPr/>
            <p:nvPr/>
          </p:nvSpPr>
          <p:spPr>
            <a:xfrm rot="13089394">
              <a:off x="313551" y="4906246"/>
              <a:ext cx="221827" cy="205098"/>
            </a:xfrm>
            <a:custGeom>
              <a:avLst/>
              <a:gdLst>
                <a:gd name="connsiteX0" fmla="*/ 24153 w 221827"/>
                <a:gd name="connsiteY0" fmla="*/ 55168 h 205098"/>
                <a:gd name="connsiteX1" fmla="*/ 0 w 221827"/>
                <a:gd name="connsiteY1" fmla="*/ 18385 h 205098"/>
                <a:gd name="connsiteX2" fmla="*/ 23400 w 221827"/>
                <a:gd name="connsiteY2" fmla="*/ 0 h 205098"/>
                <a:gd name="connsiteX3" fmla="*/ 23735 w 221827"/>
                <a:gd name="connsiteY3" fmla="*/ 46640 h 205098"/>
                <a:gd name="connsiteX4" fmla="*/ 221827 w 221827"/>
                <a:gd name="connsiteY4" fmla="*/ 150928 h 205098"/>
                <a:gd name="connsiteX5" fmla="*/ 126574 w 221827"/>
                <a:gd name="connsiteY5" fmla="*/ 204038 h 205098"/>
                <a:gd name="connsiteX6" fmla="*/ 122603 w 221827"/>
                <a:gd name="connsiteY6" fmla="*/ 205098 h 205098"/>
                <a:gd name="connsiteX7" fmla="*/ 102519 w 221827"/>
                <a:gd name="connsiteY7" fmla="*/ 174512 h 205098"/>
                <a:gd name="connsiteX8" fmla="*/ 103192 w 221827"/>
                <a:gd name="connsiteY8" fmla="*/ 174655 h 205098"/>
                <a:gd name="connsiteX9" fmla="*/ 152853 w 221827"/>
                <a:gd name="connsiteY9" fmla="*/ 165826 h 205098"/>
                <a:gd name="connsiteX10" fmla="*/ 220723 w 221827"/>
                <a:gd name="connsiteY10" fmla="*/ 138237 h 205098"/>
                <a:gd name="connsiteX11" fmla="*/ 221827 w 221827"/>
                <a:gd name="connsiteY11" fmla="*/ 145410 h 205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1827" h="205098">
                  <a:moveTo>
                    <a:pt x="24153" y="55168"/>
                  </a:moveTo>
                  <a:lnTo>
                    <a:pt x="0" y="18385"/>
                  </a:lnTo>
                  <a:lnTo>
                    <a:pt x="23400" y="0"/>
                  </a:lnTo>
                  <a:lnTo>
                    <a:pt x="23735" y="46640"/>
                  </a:lnTo>
                  <a:close/>
                  <a:moveTo>
                    <a:pt x="221827" y="150928"/>
                  </a:moveTo>
                  <a:cubicBezTo>
                    <a:pt x="192582" y="176035"/>
                    <a:pt x="158785" y="193002"/>
                    <a:pt x="126574" y="204038"/>
                  </a:cubicBezTo>
                  <a:lnTo>
                    <a:pt x="122603" y="205098"/>
                  </a:lnTo>
                  <a:lnTo>
                    <a:pt x="102519" y="174512"/>
                  </a:lnTo>
                  <a:lnTo>
                    <a:pt x="103192" y="174655"/>
                  </a:lnTo>
                  <a:cubicBezTo>
                    <a:pt x="120298" y="174103"/>
                    <a:pt x="136851" y="170792"/>
                    <a:pt x="152853" y="165826"/>
                  </a:cubicBezTo>
                  <a:cubicBezTo>
                    <a:pt x="176028" y="158653"/>
                    <a:pt x="198652" y="149273"/>
                    <a:pt x="220723" y="138237"/>
                  </a:cubicBezTo>
                  <a:cubicBezTo>
                    <a:pt x="221275" y="140444"/>
                    <a:pt x="221827" y="143203"/>
                    <a:pt x="221827" y="1454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" name="Forme libre : forme 122">
              <a:extLst>
                <a:ext uri="{FF2B5EF4-FFF2-40B4-BE49-F238E27FC236}">
                  <a16:creationId xmlns:a16="http://schemas.microsoft.com/office/drawing/2014/main" id="{A36747DA-F5EA-42E3-9BB6-64441C3802E9}"/>
                </a:ext>
              </a:extLst>
            </p:cNvPr>
            <p:cNvSpPr/>
            <p:nvPr/>
          </p:nvSpPr>
          <p:spPr>
            <a:xfrm rot="8716295">
              <a:off x="406370" y="4600606"/>
              <a:ext cx="113655" cy="117117"/>
            </a:xfrm>
            <a:custGeom>
              <a:avLst/>
              <a:gdLst>
                <a:gd name="connsiteX0" fmla="*/ 13623 w 113655"/>
                <a:gd name="connsiteY0" fmla="*/ 100559 h 117117"/>
                <a:gd name="connsiteX1" fmla="*/ 0 w 113655"/>
                <a:gd name="connsiteY1" fmla="*/ 68296 h 117117"/>
                <a:gd name="connsiteX2" fmla="*/ 56488 w 113655"/>
                <a:gd name="connsiteY2" fmla="*/ 0 h 117117"/>
                <a:gd name="connsiteX3" fmla="*/ 96408 w 113655"/>
                <a:gd name="connsiteY3" fmla="*/ 16856 h 117117"/>
                <a:gd name="connsiteX4" fmla="*/ 96408 w 113655"/>
                <a:gd name="connsiteY4" fmla="*/ 99640 h 117117"/>
                <a:gd name="connsiteX5" fmla="*/ 55015 w 113655"/>
                <a:gd name="connsiteY5" fmla="*/ 117117 h 117117"/>
                <a:gd name="connsiteX6" fmla="*/ 13623 w 113655"/>
                <a:gd name="connsiteY6" fmla="*/ 100559 h 117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655" h="117117">
                  <a:moveTo>
                    <a:pt x="13623" y="100559"/>
                  </a:moveTo>
                  <a:lnTo>
                    <a:pt x="0" y="68296"/>
                  </a:lnTo>
                  <a:lnTo>
                    <a:pt x="56488" y="0"/>
                  </a:lnTo>
                  <a:lnTo>
                    <a:pt x="96408" y="16856"/>
                  </a:lnTo>
                  <a:cubicBezTo>
                    <a:pt x="119404" y="38931"/>
                    <a:pt x="119404" y="76644"/>
                    <a:pt x="96408" y="99640"/>
                  </a:cubicBezTo>
                  <a:cubicBezTo>
                    <a:pt x="85370" y="110678"/>
                    <a:pt x="70653" y="117116"/>
                    <a:pt x="55015" y="117117"/>
                  </a:cubicBezTo>
                  <a:cubicBezTo>
                    <a:pt x="39378" y="117117"/>
                    <a:pt x="24661" y="111597"/>
                    <a:pt x="13623" y="10055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" name="Forme libre : forme 123">
              <a:extLst>
                <a:ext uri="{FF2B5EF4-FFF2-40B4-BE49-F238E27FC236}">
                  <a16:creationId xmlns:a16="http://schemas.microsoft.com/office/drawing/2014/main" id="{AD73B6BA-63FC-484E-8F99-0F24CBA78B87}"/>
                </a:ext>
              </a:extLst>
            </p:cNvPr>
            <p:cNvSpPr/>
            <p:nvPr/>
          </p:nvSpPr>
          <p:spPr>
            <a:xfrm rot="8716295">
              <a:off x="171547" y="46343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" name="Forme libre : forme 124">
              <a:extLst>
                <a:ext uri="{FF2B5EF4-FFF2-40B4-BE49-F238E27FC236}">
                  <a16:creationId xmlns:a16="http://schemas.microsoft.com/office/drawing/2014/main" id="{066AF92B-6B4A-4726-9E49-C3D23D71D48B}"/>
                </a:ext>
              </a:extLst>
            </p:cNvPr>
            <p:cNvSpPr/>
            <p:nvPr/>
          </p:nvSpPr>
          <p:spPr>
            <a:xfrm rot="8716295">
              <a:off x="348999" y="44751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127" name="Forme libre : forme 126">
            <a:extLst>
              <a:ext uri="{FF2B5EF4-FFF2-40B4-BE49-F238E27FC236}">
                <a16:creationId xmlns:a16="http://schemas.microsoft.com/office/drawing/2014/main" id="{3DCAAB30-E6A5-4696-B938-B81AECA9B049}"/>
              </a:ext>
            </a:extLst>
          </p:cNvPr>
          <p:cNvSpPr/>
          <p:nvPr userDrawn="1"/>
        </p:nvSpPr>
        <p:spPr>
          <a:xfrm>
            <a:off x="629550" y="0"/>
            <a:ext cx="8514451" cy="5143499"/>
          </a:xfrm>
          <a:custGeom>
            <a:avLst/>
            <a:gdLst>
              <a:gd name="connsiteX0" fmla="*/ 268034 w 8514451"/>
              <a:gd name="connsiteY0" fmla="*/ 0 h 5143499"/>
              <a:gd name="connsiteX1" fmla="*/ 8514451 w 8514451"/>
              <a:gd name="connsiteY1" fmla="*/ 0 h 5143499"/>
              <a:gd name="connsiteX2" fmla="*/ 8514451 w 8514451"/>
              <a:gd name="connsiteY2" fmla="*/ 5143499 h 5143499"/>
              <a:gd name="connsiteX3" fmla="*/ 274758 w 8514451"/>
              <a:gd name="connsiteY3" fmla="*/ 5143499 h 5143499"/>
              <a:gd name="connsiteX4" fmla="*/ 0 w 8514451"/>
              <a:gd name="connsiteY4" fmla="*/ 3148262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14451" h="5143499">
                <a:moveTo>
                  <a:pt x="268034" y="0"/>
                </a:moveTo>
                <a:lnTo>
                  <a:pt x="8514451" y="0"/>
                </a:lnTo>
                <a:lnTo>
                  <a:pt x="8514451" y="5143499"/>
                </a:lnTo>
                <a:lnTo>
                  <a:pt x="274758" y="5143499"/>
                </a:lnTo>
                <a:lnTo>
                  <a:pt x="0" y="31482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26" name="Espace réservé du numéro de diapositive 125">
            <a:extLst>
              <a:ext uri="{FF2B5EF4-FFF2-40B4-BE49-F238E27FC236}">
                <a16:creationId xmlns:a16="http://schemas.microsoft.com/office/drawing/2014/main" id="{EB3A4323-AB23-411F-A098-2140921A34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9681" y="3148262"/>
            <a:ext cx="444626" cy="1995238"/>
          </a:xfrm>
          <a:custGeom>
            <a:avLst/>
            <a:gdLst>
              <a:gd name="connsiteX0" fmla="*/ 169868 w 444626"/>
              <a:gd name="connsiteY0" fmla="*/ 0 h 1995238"/>
              <a:gd name="connsiteX1" fmla="*/ 444626 w 444626"/>
              <a:gd name="connsiteY1" fmla="*/ 1995238 h 1995238"/>
              <a:gd name="connsiteX2" fmla="*/ 0 w 444626"/>
              <a:gd name="connsiteY2" fmla="*/ 1995238 h 1995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4626" h="1995238">
                <a:moveTo>
                  <a:pt x="169868" y="0"/>
                </a:moveTo>
                <a:lnTo>
                  <a:pt x="444626" y="1995238"/>
                </a:lnTo>
                <a:lnTo>
                  <a:pt x="0" y="199523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180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292389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Conten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8" name="Espace réservé du numéro de diapositive 517">
            <a:extLst>
              <a:ext uri="{FF2B5EF4-FFF2-40B4-BE49-F238E27FC236}">
                <a16:creationId xmlns:a16="http://schemas.microsoft.com/office/drawing/2014/main" id="{FFC307C1-4A5E-4267-B3FA-6564E6513B0C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3048000" y="2811362"/>
            <a:ext cx="519702" cy="2332138"/>
          </a:xfrm>
          <a:custGeom>
            <a:avLst/>
            <a:gdLst>
              <a:gd name="connsiteX0" fmla="*/ 198551 w 519702"/>
              <a:gd name="connsiteY0" fmla="*/ 0 h 2332138"/>
              <a:gd name="connsiteX1" fmla="*/ 519702 w 519702"/>
              <a:gd name="connsiteY1" fmla="*/ 2332138 h 2332138"/>
              <a:gd name="connsiteX2" fmla="*/ 0 w 519702"/>
              <a:gd name="connsiteY2" fmla="*/ 2332138 h 2332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19702" h="2332138">
                <a:moveTo>
                  <a:pt x="198551" y="0"/>
                </a:moveTo>
                <a:lnTo>
                  <a:pt x="519702" y="2332138"/>
                </a:lnTo>
                <a:lnTo>
                  <a:pt x="0" y="233213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180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523" name="Forme libre : forme 522">
            <a:extLst>
              <a:ext uri="{FF2B5EF4-FFF2-40B4-BE49-F238E27FC236}">
                <a16:creationId xmlns:a16="http://schemas.microsoft.com/office/drawing/2014/main" id="{C7F1D93A-4718-405C-AAEF-810045870EFB}"/>
              </a:ext>
            </a:extLst>
          </p:cNvPr>
          <p:cNvSpPr/>
          <p:nvPr userDrawn="1"/>
        </p:nvSpPr>
        <p:spPr>
          <a:xfrm>
            <a:off x="0" y="-1"/>
            <a:ext cx="9144000" cy="5143501"/>
          </a:xfrm>
          <a:custGeom>
            <a:avLst/>
            <a:gdLst>
              <a:gd name="connsiteX0" fmla="*/ 0 w 9144000"/>
              <a:gd name="connsiteY0" fmla="*/ 0 h 5143501"/>
              <a:gd name="connsiteX1" fmla="*/ 9144000 w 9144000"/>
              <a:gd name="connsiteY1" fmla="*/ 0 h 5143501"/>
              <a:gd name="connsiteX2" fmla="*/ 9144000 w 9144000"/>
              <a:gd name="connsiteY2" fmla="*/ 5143501 h 5143501"/>
              <a:gd name="connsiteX3" fmla="*/ 3567702 w 9144000"/>
              <a:gd name="connsiteY3" fmla="*/ 5143501 h 5143501"/>
              <a:gd name="connsiteX4" fmla="*/ 3246551 w 9144000"/>
              <a:gd name="connsiteY4" fmla="*/ 2811363 h 5143501"/>
              <a:gd name="connsiteX5" fmla="*/ 3485902 w 9144000"/>
              <a:gd name="connsiteY5" fmla="*/ 1 h 5143501"/>
              <a:gd name="connsiteX6" fmla="*/ 3048000 w 9144000"/>
              <a:gd name="connsiteY6" fmla="*/ 1 h 5143501"/>
              <a:gd name="connsiteX7" fmla="*/ 2859408 w 9144000"/>
              <a:gd name="connsiteY7" fmla="*/ 1 h 5143501"/>
              <a:gd name="connsiteX8" fmla="*/ 0 w 9144000"/>
              <a:gd name="connsiteY8" fmla="*/ 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4000" h="5143501">
                <a:moveTo>
                  <a:pt x="0" y="0"/>
                </a:moveTo>
                <a:lnTo>
                  <a:pt x="9144000" y="0"/>
                </a:lnTo>
                <a:lnTo>
                  <a:pt x="9144000" y="5143501"/>
                </a:lnTo>
                <a:lnTo>
                  <a:pt x="3567702" y="5143501"/>
                </a:lnTo>
                <a:lnTo>
                  <a:pt x="3246551" y="2811363"/>
                </a:lnTo>
                <a:lnTo>
                  <a:pt x="3485902" y="1"/>
                </a:lnTo>
                <a:lnTo>
                  <a:pt x="3048000" y="1"/>
                </a:lnTo>
                <a:lnTo>
                  <a:pt x="2859408" y="1"/>
                </a:lnTo>
                <a:lnTo>
                  <a:pt x="0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6CB10B59-8983-482C-BCD8-596396CF9E36}"/>
              </a:ext>
            </a:extLst>
          </p:cNvPr>
          <p:cNvGrpSpPr/>
          <p:nvPr userDrawn="1"/>
        </p:nvGrpSpPr>
        <p:grpSpPr>
          <a:xfrm>
            <a:off x="-91485" y="-107301"/>
            <a:ext cx="3580993" cy="5352842"/>
            <a:chOff x="-91485" y="-107301"/>
            <a:chExt cx="3580993" cy="5352842"/>
          </a:xfrm>
          <a:solidFill>
            <a:schemeClr val="bg2">
              <a:alpha val="5000"/>
            </a:schemeClr>
          </a:solidFill>
        </p:grpSpPr>
        <p:sp>
          <p:nvSpPr>
            <p:cNvPr id="7" name="Forme libre : forme 6">
              <a:extLst>
                <a:ext uri="{FF2B5EF4-FFF2-40B4-BE49-F238E27FC236}">
                  <a16:creationId xmlns:a16="http://schemas.microsoft.com/office/drawing/2014/main" id="{FB10E9E7-487F-4046-97FA-383A90CB2678}"/>
                </a:ext>
              </a:extLst>
            </p:cNvPr>
            <p:cNvSpPr/>
            <p:nvPr/>
          </p:nvSpPr>
          <p:spPr>
            <a:xfrm rot="8716295">
              <a:off x="3051469" y="229467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857E0B3E-CF84-4275-8769-4FA84ACE4C3B}"/>
                </a:ext>
              </a:extLst>
            </p:cNvPr>
            <p:cNvSpPr/>
            <p:nvPr/>
          </p:nvSpPr>
          <p:spPr>
            <a:xfrm rot="8716295">
              <a:off x="3141426" y="2335684"/>
              <a:ext cx="209149" cy="247728"/>
            </a:xfrm>
            <a:custGeom>
              <a:avLst/>
              <a:gdLst>
                <a:gd name="connsiteX0" fmla="*/ 147179 w 209149"/>
                <a:gd name="connsiteY0" fmla="*/ 90980 h 247728"/>
                <a:gd name="connsiteX1" fmla="*/ 147179 w 209149"/>
                <a:gd name="connsiteY1" fmla="*/ 74577 h 247728"/>
                <a:gd name="connsiteX2" fmla="*/ 137667 w 209149"/>
                <a:gd name="connsiteY2" fmla="*/ 44616 h 247728"/>
                <a:gd name="connsiteX3" fmla="*/ 132652 w 209149"/>
                <a:gd name="connsiteY3" fmla="*/ 42232 h 247728"/>
                <a:gd name="connsiteX4" fmla="*/ 167583 w 209149"/>
                <a:gd name="connsiteY4" fmla="*/ 0 h 247728"/>
                <a:gd name="connsiteX5" fmla="*/ 189157 w 209149"/>
                <a:gd name="connsiteY5" fmla="*/ 15682 h 247728"/>
                <a:gd name="connsiteX6" fmla="*/ 209149 w 209149"/>
                <a:gd name="connsiteY6" fmla="*/ 81411 h 247728"/>
                <a:gd name="connsiteX7" fmla="*/ 209149 w 209149"/>
                <a:gd name="connsiteY7" fmla="*/ 87335 h 247728"/>
                <a:gd name="connsiteX8" fmla="*/ 0 w 209149"/>
                <a:gd name="connsiteY8" fmla="*/ 247728 h 247728"/>
                <a:gd name="connsiteX9" fmla="*/ 0 w 209149"/>
                <a:gd name="connsiteY9" fmla="*/ 202611 h 247728"/>
                <a:gd name="connsiteX10" fmla="*/ 60148 w 209149"/>
                <a:gd name="connsiteY10" fmla="*/ 129891 h 247728"/>
                <a:gd name="connsiteX11" fmla="*/ 60148 w 209149"/>
                <a:gd name="connsiteY11" fmla="*/ 206719 h 24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9149" h="247728">
                  <a:moveTo>
                    <a:pt x="147179" y="90980"/>
                  </a:moveTo>
                  <a:lnTo>
                    <a:pt x="147179" y="74577"/>
                  </a:lnTo>
                  <a:cubicBezTo>
                    <a:pt x="147179" y="62273"/>
                    <a:pt x="143648" y="51907"/>
                    <a:pt x="137667" y="44616"/>
                  </a:cubicBezTo>
                  <a:lnTo>
                    <a:pt x="132652" y="42232"/>
                  </a:lnTo>
                  <a:lnTo>
                    <a:pt x="167583" y="0"/>
                  </a:lnTo>
                  <a:lnTo>
                    <a:pt x="189157" y="15682"/>
                  </a:lnTo>
                  <a:cubicBezTo>
                    <a:pt x="202086" y="30833"/>
                    <a:pt x="209149" y="53160"/>
                    <a:pt x="209149" y="81411"/>
                  </a:cubicBezTo>
                  <a:lnTo>
                    <a:pt x="209149" y="87335"/>
                  </a:lnTo>
                  <a:close/>
                  <a:moveTo>
                    <a:pt x="0" y="247728"/>
                  </a:moveTo>
                  <a:lnTo>
                    <a:pt x="0" y="202611"/>
                  </a:lnTo>
                  <a:lnTo>
                    <a:pt x="60148" y="129891"/>
                  </a:lnTo>
                  <a:lnTo>
                    <a:pt x="60148" y="20671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CA2EC427-A3CB-46EB-8802-9FA3F8105B5A}"/>
                </a:ext>
              </a:extLst>
            </p:cNvPr>
            <p:cNvSpPr/>
            <p:nvPr/>
          </p:nvSpPr>
          <p:spPr>
            <a:xfrm rot="8716295">
              <a:off x="3096011" y="2237639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474F4DDA-4FC2-4669-AB5F-02BB5506B529}"/>
                </a:ext>
              </a:extLst>
            </p:cNvPr>
            <p:cNvSpPr/>
            <p:nvPr/>
          </p:nvSpPr>
          <p:spPr>
            <a:xfrm rot="8716295">
              <a:off x="2939235" y="238322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D8FF9A2A-12F4-4D4A-838C-2EA6068FA2AB}"/>
                </a:ext>
              </a:extLst>
            </p:cNvPr>
            <p:cNvSpPr/>
            <p:nvPr/>
          </p:nvSpPr>
          <p:spPr>
            <a:xfrm rot="8716295">
              <a:off x="2814332" y="217454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56247F38-2BB4-4C4A-A842-2BBC34C00B4B}"/>
                </a:ext>
              </a:extLst>
            </p:cNvPr>
            <p:cNvSpPr/>
            <p:nvPr/>
          </p:nvSpPr>
          <p:spPr>
            <a:xfrm rot="8716295">
              <a:off x="2802280" y="203576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6B40DCDD-1ED3-48EB-9DB0-DEE21DA8FE29}"/>
                </a:ext>
              </a:extLst>
            </p:cNvPr>
            <p:cNvSpPr/>
            <p:nvPr/>
          </p:nvSpPr>
          <p:spPr>
            <a:xfrm rot="8716295">
              <a:off x="3029413" y="2424173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EEC2D8FD-062C-4F42-B8C0-F129DEB5F20C}"/>
                </a:ext>
              </a:extLst>
            </p:cNvPr>
            <p:cNvSpPr/>
            <p:nvPr/>
          </p:nvSpPr>
          <p:spPr>
            <a:xfrm rot="8716295">
              <a:off x="3300250" y="2118999"/>
              <a:ext cx="9515" cy="11504"/>
            </a:xfrm>
            <a:custGeom>
              <a:avLst/>
              <a:gdLst>
                <a:gd name="connsiteX0" fmla="*/ 0 w 9515"/>
                <a:gd name="connsiteY0" fmla="*/ 11504 h 11504"/>
                <a:gd name="connsiteX1" fmla="*/ 9515 w 9515"/>
                <a:gd name="connsiteY1" fmla="*/ 0 h 11504"/>
                <a:gd name="connsiteX2" fmla="*/ 9515 w 9515"/>
                <a:gd name="connsiteY2" fmla="*/ 7741 h 11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15" h="11504">
                  <a:moveTo>
                    <a:pt x="0" y="11504"/>
                  </a:moveTo>
                  <a:lnTo>
                    <a:pt x="9515" y="0"/>
                  </a:lnTo>
                  <a:lnTo>
                    <a:pt x="9515" y="77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15A33F8C-9B7A-4D6A-854E-3D326335591D}"/>
                </a:ext>
              </a:extLst>
            </p:cNvPr>
            <p:cNvSpPr/>
            <p:nvPr/>
          </p:nvSpPr>
          <p:spPr>
            <a:xfrm rot="8716295">
              <a:off x="3228334" y="213306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949EEDA1-3E93-4DFB-8B0F-8D57B83C540E}"/>
                </a:ext>
              </a:extLst>
            </p:cNvPr>
            <p:cNvSpPr/>
            <p:nvPr/>
          </p:nvSpPr>
          <p:spPr>
            <a:xfrm rot="8716295">
              <a:off x="3098921" y="1924310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44680 h 195874"/>
                <a:gd name="connsiteX5" fmla="*/ 36955 w 203847"/>
                <a:gd name="connsiteY5" fmla="*/ 0 h 195874"/>
                <a:gd name="connsiteX6" fmla="*/ 203847 w 203847"/>
                <a:gd name="connsiteY6" fmla="*/ 0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44680"/>
                  </a:lnTo>
                  <a:lnTo>
                    <a:pt x="36955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513E3AB2-D8F3-4D40-BC3C-53ABB60A2331}"/>
                </a:ext>
              </a:extLst>
            </p:cNvPr>
            <p:cNvSpPr/>
            <p:nvPr/>
          </p:nvSpPr>
          <p:spPr>
            <a:xfrm rot="8716295">
              <a:off x="3275349" y="2211673"/>
              <a:ext cx="24727" cy="53686"/>
            </a:xfrm>
            <a:custGeom>
              <a:avLst/>
              <a:gdLst>
                <a:gd name="connsiteX0" fmla="*/ 24727 w 24727"/>
                <a:gd name="connsiteY0" fmla="*/ 53686 h 53686"/>
                <a:gd name="connsiteX1" fmla="*/ 0 w 24727"/>
                <a:gd name="connsiteY1" fmla="*/ 29895 h 53686"/>
                <a:gd name="connsiteX2" fmla="*/ 24727 w 24727"/>
                <a:gd name="connsiteY2" fmla="*/ 0 h 53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27" h="53686">
                  <a:moveTo>
                    <a:pt x="24727" y="53686"/>
                  </a:moveTo>
                  <a:lnTo>
                    <a:pt x="0" y="29895"/>
                  </a:lnTo>
                  <a:lnTo>
                    <a:pt x="2472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69A3C0F4-2579-479E-90C6-255E973C947C}"/>
                </a:ext>
              </a:extLst>
            </p:cNvPr>
            <p:cNvSpPr/>
            <p:nvPr/>
          </p:nvSpPr>
          <p:spPr>
            <a:xfrm rot="8716295">
              <a:off x="3077061" y="202442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9022B708-F9CE-40AF-852D-9A004CAB7675}"/>
                </a:ext>
              </a:extLst>
            </p:cNvPr>
            <p:cNvSpPr/>
            <p:nvPr/>
          </p:nvSpPr>
          <p:spPr>
            <a:xfrm rot="8716295">
              <a:off x="3162402" y="30429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19F4F78B-5673-4710-BAF3-3B1975D1B861}"/>
                </a:ext>
              </a:extLst>
            </p:cNvPr>
            <p:cNvSpPr/>
            <p:nvPr/>
          </p:nvSpPr>
          <p:spPr>
            <a:xfrm rot="8716295">
              <a:off x="3033531" y="2835902"/>
              <a:ext cx="197743" cy="195873"/>
            </a:xfrm>
            <a:custGeom>
              <a:avLst/>
              <a:gdLst>
                <a:gd name="connsiteX0" fmla="*/ 84606 w 197743"/>
                <a:gd name="connsiteY0" fmla="*/ 195873 h 195873"/>
                <a:gd name="connsiteX1" fmla="*/ 41743 w 197743"/>
                <a:gd name="connsiteY1" fmla="*/ 116129 h 195873"/>
                <a:gd name="connsiteX2" fmla="*/ 63673 w 197743"/>
                <a:gd name="connsiteY2" fmla="*/ 55323 h 195873"/>
                <a:gd name="connsiteX3" fmla="*/ 0 w 197743"/>
                <a:gd name="connsiteY3" fmla="*/ 55323 h 195873"/>
                <a:gd name="connsiteX4" fmla="*/ 45759 w 197743"/>
                <a:gd name="connsiteY4" fmla="*/ 0 h 195873"/>
                <a:gd name="connsiteX5" fmla="*/ 197743 w 197743"/>
                <a:gd name="connsiteY5" fmla="*/ 0 h 195873"/>
                <a:gd name="connsiteX6" fmla="*/ 197743 w 197743"/>
                <a:gd name="connsiteY6" fmla="*/ 55323 h 195873"/>
                <a:gd name="connsiteX7" fmla="*/ 132951 w 197743"/>
                <a:gd name="connsiteY7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7743" h="195873">
                  <a:moveTo>
                    <a:pt x="84606" y="195873"/>
                  </a:moveTo>
                  <a:lnTo>
                    <a:pt x="41743" y="116129"/>
                  </a:lnTo>
                  <a:lnTo>
                    <a:pt x="63673" y="55323"/>
                  </a:lnTo>
                  <a:lnTo>
                    <a:pt x="0" y="55323"/>
                  </a:lnTo>
                  <a:lnTo>
                    <a:pt x="45759" y="0"/>
                  </a:lnTo>
                  <a:lnTo>
                    <a:pt x="197743" y="0"/>
                  </a:lnTo>
                  <a:lnTo>
                    <a:pt x="197743" y="55323"/>
                  </a:lnTo>
                  <a:lnTo>
                    <a:pt x="132951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0BB66207-2F6B-4469-9703-071564C7D57B}"/>
                </a:ext>
              </a:extLst>
            </p:cNvPr>
            <p:cNvSpPr/>
            <p:nvPr/>
          </p:nvSpPr>
          <p:spPr>
            <a:xfrm rot="8716295">
              <a:off x="2982649" y="2705505"/>
              <a:ext cx="289489" cy="211444"/>
            </a:xfrm>
            <a:custGeom>
              <a:avLst/>
              <a:gdLst>
                <a:gd name="connsiteX0" fmla="*/ 24145 w 289489"/>
                <a:gd name="connsiteY0" fmla="*/ 181853 h 211444"/>
                <a:gd name="connsiteX1" fmla="*/ 3994 w 289489"/>
                <a:gd name="connsiteY1" fmla="*/ 142066 h 211444"/>
                <a:gd name="connsiteX2" fmla="*/ 0 w 289489"/>
                <a:gd name="connsiteY2" fmla="*/ 94419 h 211444"/>
                <a:gd name="connsiteX3" fmla="*/ 78096 w 289489"/>
                <a:gd name="connsiteY3" fmla="*/ 0 h 211444"/>
                <a:gd name="connsiteX4" fmla="*/ 78273 w 289489"/>
                <a:gd name="connsiteY4" fmla="*/ 24764 h 211444"/>
                <a:gd name="connsiteX5" fmla="*/ 92393 w 289489"/>
                <a:gd name="connsiteY5" fmla="*/ 122430 h 211444"/>
                <a:gd name="connsiteX6" fmla="*/ 162994 w 289489"/>
                <a:gd name="connsiteY6" fmla="*/ 161261 h 211444"/>
                <a:gd name="connsiteX7" fmla="*/ 215946 w 289489"/>
                <a:gd name="connsiteY7" fmla="*/ 151847 h 211444"/>
                <a:gd name="connsiteX8" fmla="*/ 288313 w 289489"/>
                <a:gd name="connsiteY8" fmla="*/ 122430 h 211444"/>
                <a:gd name="connsiteX9" fmla="*/ 289489 w 289489"/>
                <a:gd name="connsiteY9" fmla="*/ 130078 h 211444"/>
                <a:gd name="connsiteX10" fmla="*/ 289489 w 289489"/>
                <a:gd name="connsiteY10" fmla="*/ 135962 h 211444"/>
                <a:gd name="connsiteX11" fmla="*/ 96512 w 289489"/>
                <a:gd name="connsiteY11" fmla="*/ 211270 h 211444"/>
                <a:gd name="connsiteX12" fmla="*/ 24145 w 289489"/>
                <a:gd name="connsiteY12" fmla="*/ 181853 h 211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9489" h="211444">
                  <a:moveTo>
                    <a:pt x="24145" y="181853"/>
                  </a:moveTo>
                  <a:cubicBezTo>
                    <a:pt x="14143" y="172145"/>
                    <a:pt x="7818" y="158907"/>
                    <a:pt x="3994" y="142066"/>
                  </a:cubicBezTo>
                  <a:lnTo>
                    <a:pt x="0" y="94419"/>
                  </a:lnTo>
                  <a:lnTo>
                    <a:pt x="78096" y="0"/>
                  </a:lnTo>
                  <a:lnTo>
                    <a:pt x="78273" y="24764"/>
                  </a:lnTo>
                  <a:cubicBezTo>
                    <a:pt x="76508" y="57712"/>
                    <a:pt x="81803" y="91247"/>
                    <a:pt x="92393" y="122430"/>
                  </a:cubicBezTo>
                  <a:cubicBezTo>
                    <a:pt x="101807" y="148317"/>
                    <a:pt x="125929" y="161261"/>
                    <a:pt x="162994" y="161261"/>
                  </a:cubicBezTo>
                  <a:cubicBezTo>
                    <a:pt x="181234" y="160672"/>
                    <a:pt x="198884" y="157142"/>
                    <a:pt x="215946" y="151847"/>
                  </a:cubicBezTo>
                  <a:cubicBezTo>
                    <a:pt x="240656" y="144198"/>
                    <a:pt x="264779" y="134197"/>
                    <a:pt x="288313" y="122430"/>
                  </a:cubicBezTo>
                  <a:cubicBezTo>
                    <a:pt x="288901" y="124783"/>
                    <a:pt x="289489" y="127725"/>
                    <a:pt x="289489" y="130078"/>
                  </a:cubicBezTo>
                  <a:lnTo>
                    <a:pt x="289489" y="135962"/>
                  </a:lnTo>
                  <a:cubicBezTo>
                    <a:pt x="227125" y="189501"/>
                    <a:pt x="145344" y="208329"/>
                    <a:pt x="96512" y="211270"/>
                  </a:cubicBezTo>
                  <a:cubicBezTo>
                    <a:pt x="69448" y="213035"/>
                    <a:pt x="42972" y="201268"/>
                    <a:pt x="24145" y="18185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4BE2CE41-0D24-49C7-BC05-1CA24F174056}"/>
                </a:ext>
              </a:extLst>
            </p:cNvPr>
            <p:cNvSpPr/>
            <p:nvPr/>
          </p:nvSpPr>
          <p:spPr>
            <a:xfrm rot="8716295">
              <a:off x="3205022" y="3125495"/>
              <a:ext cx="16424" cy="35661"/>
            </a:xfrm>
            <a:custGeom>
              <a:avLst/>
              <a:gdLst>
                <a:gd name="connsiteX0" fmla="*/ 16424 w 16424"/>
                <a:gd name="connsiteY0" fmla="*/ 35661 h 35661"/>
                <a:gd name="connsiteX1" fmla="*/ 0 w 16424"/>
                <a:gd name="connsiteY1" fmla="*/ 19858 h 35661"/>
                <a:gd name="connsiteX2" fmla="*/ 16424 w 16424"/>
                <a:gd name="connsiteY2" fmla="*/ 0 h 35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24" h="35661">
                  <a:moveTo>
                    <a:pt x="16424" y="35661"/>
                  </a:moveTo>
                  <a:lnTo>
                    <a:pt x="0" y="19858"/>
                  </a:lnTo>
                  <a:lnTo>
                    <a:pt x="16424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3C113F76-2275-4CD3-8629-730BFE6915AD}"/>
                </a:ext>
              </a:extLst>
            </p:cNvPr>
            <p:cNvSpPr/>
            <p:nvPr/>
          </p:nvSpPr>
          <p:spPr>
            <a:xfrm rot="8716295">
              <a:off x="2829951" y="16337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7B2BDFC9-A5B6-45EA-A262-AC19DCF358A2}"/>
                </a:ext>
              </a:extLst>
            </p:cNvPr>
            <p:cNvSpPr/>
            <p:nvPr/>
          </p:nvSpPr>
          <p:spPr>
            <a:xfrm rot="8716295">
              <a:off x="2919343" y="16629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2A249ED1-9FC2-465F-B1C2-CE832E06DAAB}"/>
                </a:ext>
              </a:extLst>
            </p:cNvPr>
            <p:cNvSpPr/>
            <p:nvPr/>
          </p:nvSpPr>
          <p:spPr>
            <a:xfrm rot="8716295">
              <a:off x="2874493" y="157666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D737513C-09E2-4A85-9268-7028FEA47AEC}"/>
                </a:ext>
              </a:extLst>
            </p:cNvPr>
            <p:cNvSpPr/>
            <p:nvPr/>
          </p:nvSpPr>
          <p:spPr>
            <a:xfrm rot="8716295">
              <a:off x="2717717" y="172224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B6E113ED-200A-42D1-8A9B-64F2EA6FEC37}"/>
                </a:ext>
              </a:extLst>
            </p:cNvPr>
            <p:cNvSpPr/>
            <p:nvPr/>
          </p:nvSpPr>
          <p:spPr>
            <a:xfrm rot="8716295">
              <a:off x="2592814" y="151357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C7386AEF-343D-4F67-937B-2D8AE784432C}"/>
                </a:ext>
              </a:extLst>
            </p:cNvPr>
            <p:cNvSpPr/>
            <p:nvPr/>
          </p:nvSpPr>
          <p:spPr>
            <a:xfrm rot="8716295">
              <a:off x="2580762" y="137479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D18230E6-6046-4801-9551-295B7C3DC9AE}"/>
                </a:ext>
              </a:extLst>
            </p:cNvPr>
            <p:cNvSpPr/>
            <p:nvPr/>
          </p:nvSpPr>
          <p:spPr>
            <a:xfrm rot="8716295">
              <a:off x="2807895" y="176319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AA767CF2-B25B-4F2C-8315-830DDA4419B8}"/>
                </a:ext>
              </a:extLst>
            </p:cNvPr>
            <p:cNvSpPr/>
            <p:nvPr/>
          </p:nvSpPr>
          <p:spPr>
            <a:xfrm rot="8716295">
              <a:off x="3119050" y="138355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AAABA641-3338-40FA-9C39-41C30A22033E}"/>
                </a:ext>
              </a:extLst>
            </p:cNvPr>
            <p:cNvSpPr/>
            <p:nvPr/>
          </p:nvSpPr>
          <p:spPr>
            <a:xfrm rot="8716295">
              <a:off x="3209851" y="1424295"/>
              <a:ext cx="209149" cy="250692"/>
            </a:xfrm>
            <a:custGeom>
              <a:avLst/>
              <a:gdLst>
                <a:gd name="connsiteX0" fmla="*/ 147179 w 209149"/>
                <a:gd name="connsiteY0" fmla="*/ 93944 h 250692"/>
                <a:gd name="connsiteX1" fmla="*/ 147179 w 209149"/>
                <a:gd name="connsiteY1" fmla="*/ 77540 h 250692"/>
                <a:gd name="connsiteX2" fmla="*/ 137667 w 209149"/>
                <a:gd name="connsiteY2" fmla="*/ 47580 h 250692"/>
                <a:gd name="connsiteX3" fmla="*/ 123379 w 209149"/>
                <a:gd name="connsiteY3" fmla="*/ 40789 h 250692"/>
                <a:gd name="connsiteX4" fmla="*/ 157117 w 209149"/>
                <a:gd name="connsiteY4" fmla="*/ 0 h 250692"/>
                <a:gd name="connsiteX5" fmla="*/ 165512 w 209149"/>
                <a:gd name="connsiteY5" fmla="*/ 1459 h 250692"/>
                <a:gd name="connsiteX6" fmla="*/ 209149 w 209149"/>
                <a:gd name="connsiteY6" fmla="*/ 84375 h 250692"/>
                <a:gd name="connsiteX7" fmla="*/ 209149 w 209149"/>
                <a:gd name="connsiteY7" fmla="*/ 90299 h 250692"/>
                <a:gd name="connsiteX8" fmla="*/ 0 w 209149"/>
                <a:gd name="connsiteY8" fmla="*/ 250692 h 250692"/>
                <a:gd name="connsiteX9" fmla="*/ 0 w 209149"/>
                <a:gd name="connsiteY9" fmla="*/ 189958 h 250692"/>
                <a:gd name="connsiteX10" fmla="*/ 61066 w 209149"/>
                <a:gd name="connsiteY10" fmla="*/ 116127 h 250692"/>
                <a:gd name="connsiteX11" fmla="*/ 60148 w 209149"/>
                <a:gd name="connsiteY11" fmla="*/ 123562 h 250692"/>
                <a:gd name="connsiteX12" fmla="*/ 60148 w 209149"/>
                <a:gd name="connsiteY12" fmla="*/ 209683 h 250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9149" h="250692">
                  <a:moveTo>
                    <a:pt x="147179" y="93944"/>
                  </a:moveTo>
                  <a:lnTo>
                    <a:pt x="147179" y="77540"/>
                  </a:lnTo>
                  <a:cubicBezTo>
                    <a:pt x="147179" y="65237"/>
                    <a:pt x="143648" y="54871"/>
                    <a:pt x="137667" y="47580"/>
                  </a:cubicBezTo>
                  <a:lnTo>
                    <a:pt x="123379" y="40789"/>
                  </a:lnTo>
                  <a:lnTo>
                    <a:pt x="157117" y="0"/>
                  </a:lnTo>
                  <a:lnTo>
                    <a:pt x="165512" y="1459"/>
                  </a:lnTo>
                  <a:cubicBezTo>
                    <a:pt x="193258" y="12950"/>
                    <a:pt x="209149" y="41998"/>
                    <a:pt x="209149" y="84375"/>
                  </a:cubicBezTo>
                  <a:lnTo>
                    <a:pt x="209149" y="90299"/>
                  </a:lnTo>
                  <a:close/>
                  <a:moveTo>
                    <a:pt x="0" y="250692"/>
                  </a:moveTo>
                  <a:lnTo>
                    <a:pt x="0" y="189958"/>
                  </a:lnTo>
                  <a:lnTo>
                    <a:pt x="61066" y="116127"/>
                  </a:lnTo>
                  <a:lnTo>
                    <a:pt x="60148" y="123562"/>
                  </a:lnTo>
                  <a:lnTo>
                    <a:pt x="60148" y="2096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B2896D46-0FA6-4563-B073-9C0C36686641}"/>
                </a:ext>
              </a:extLst>
            </p:cNvPr>
            <p:cNvSpPr/>
            <p:nvPr/>
          </p:nvSpPr>
          <p:spPr>
            <a:xfrm rot="8716295">
              <a:off x="3006816" y="147209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6EEB717B-FEDB-4989-BE8E-3CB6F80A9A3D}"/>
                </a:ext>
              </a:extLst>
            </p:cNvPr>
            <p:cNvSpPr/>
            <p:nvPr/>
          </p:nvSpPr>
          <p:spPr>
            <a:xfrm rot="8716295">
              <a:off x="2881914" y="126342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F9A3D111-F2E6-4EEC-BA5F-E3F48E1BC144}"/>
                </a:ext>
              </a:extLst>
            </p:cNvPr>
            <p:cNvSpPr/>
            <p:nvPr/>
          </p:nvSpPr>
          <p:spPr>
            <a:xfrm rot="8716295">
              <a:off x="3096994" y="151304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F60E79F3-84EF-445B-800D-9716EB35B924}"/>
                </a:ext>
              </a:extLst>
            </p:cNvPr>
            <p:cNvSpPr/>
            <p:nvPr/>
          </p:nvSpPr>
          <p:spPr>
            <a:xfrm rot="8716295">
              <a:off x="2855543" y="136344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FDB4A4C0-E883-499D-A6D3-A301318DCD73}"/>
                </a:ext>
              </a:extLst>
            </p:cNvPr>
            <p:cNvSpPr/>
            <p:nvPr/>
          </p:nvSpPr>
          <p:spPr>
            <a:xfrm rot="7484129">
              <a:off x="3207325" y="1725125"/>
              <a:ext cx="156001" cy="194030"/>
            </a:xfrm>
            <a:custGeom>
              <a:avLst/>
              <a:gdLst>
                <a:gd name="connsiteX0" fmla="*/ 42863 w 156001"/>
                <a:gd name="connsiteY0" fmla="*/ 194030 h 194030"/>
                <a:gd name="connsiteX1" fmla="*/ 0 w 156001"/>
                <a:gd name="connsiteY1" fmla="*/ 114286 h 194030"/>
                <a:gd name="connsiteX2" fmla="*/ 11232 w 156001"/>
                <a:gd name="connsiteY2" fmla="*/ 83143 h 194030"/>
                <a:gd name="connsiteX3" fmla="*/ 156000 w 156001"/>
                <a:gd name="connsiteY3" fmla="*/ 0 h 194030"/>
                <a:gd name="connsiteX4" fmla="*/ 156001 w 156001"/>
                <a:gd name="connsiteY4" fmla="*/ 53480 h 194030"/>
                <a:gd name="connsiteX5" fmla="*/ 91208 w 156001"/>
                <a:gd name="connsiteY5" fmla="*/ 53480 h 194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6001" h="194030">
                  <a:moveTo>
                    <a:pt x="42863" y="194030"/>
                  </a:moveTo>
                  <a:lnTo>
                    <a:pt x="0" y="114286"/>
                  </a:lnTo>
                  <a:lnTo>
                    <a:pt x="11232" y="83143"/>
                  </a:lnTo>
                  <a:lnTo>
                    <a:pt x="156000" y="0"/>
                  </a:lnTo>
                  <a:lnTo>
                    <a:pt x="156001" y="53480"/>
                  </a:lnTo>
                  <a:lnTo>
                    <a:pt x="91208" y="5348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0B787B40-9B3B-4DF6-B826-D34E59D7A748}"/>
                </a:ext>
              </a:extLst>
            </p:cNvPr>
            <p:cNvSpPr/>
            <p:nvPr/>
          </p:nvSpPr>
          <p:spPr>
            <a:xfrm rot="8716295">
              <a:off x="3197279" y="140587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0A8098AC-35DA-4C71-BDFA-C584261AED79}"/>
                </a:ext>
              </a:extLst>
            </p:cNvPr>
            <p:cNvSpPr/>
            <p:nvPr/>
          </p:nvSpPr>
          <p:spPr>
            <a:xfrm rot="8716295">
              <a:off x="3356472" y="1273070"/>
              <a:ext cx="38162" cy="46138"/>
            </a:xfrm>
            <a:custGeom>
              <a:avLst/>
              <a:gdLst>
                <a:gd name="connsiteX0" fmla="*/ 0 w 38162"/>
                <a:gd name="connsiteY0" fmla="*/ 46138 h 46138"/>
                <a:gd name="connsiteX1" fmla="*/ 38162 w 38162"/>
                <a:gd name="connsiteY1" fmla="*/ 0 h 46138"/>
                <a:gd name="connsiteX2" fmla="*/ 35645 w 38162"/>
                <a:gd name="connsiteY2" fmla="*/ 12962 h 46138"/>
                <a:gd name="connsiteX3" fmla="*/ 22710 w 38162"/>
                <a:gd name="connsiteY3" fmla="*/ 32494 h 46138"/>
                <a:gd name="connsiteX4" fmla="*/ 3739 w 38162"/>
                <a:gd name="connsiteY4" fmla="*/ 45372 h 46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62" h="46138">
                  <a:moveTo>
                    <a:pt x="0" y="46138"/>
                  </a:moveTo>
                  <a:lnTo>
                    <a:pt x="38162" y="0"/>
                  </a:lnTo>
                  <a:lnTo>
                    <a:pt x="35645" y="12962"/>
                  </a:lnTo>
                  <a:cubicBezTo>
                    <a:pt x="32771" y="20076"/>
                    <a:pt x="28459" y="26745"/>
                    <a:pt x="22710" y="32494"/>
                  </a:cubicBezTo>
                  <a:cubicBezTo>
                    <a:pt x="17191" y="38013"/>
                    <a:pt x="10753" y="42382"/>
                    <a:pt x="3739" y="4537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C5475FFB-2FE6-47F1-ADB1-3564B7362FBC}"/>
                </a:ext>
              </a:extLst>
            </p:cNvPr>
            <p:cNvSpPr/>
            <p:nvPr/>
          </p:nvSpPr>
          <p:spPr>
            <a:xfrm rot="8716295">
              <a:off x="2606784" y="97400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9DEC1430-749E-4073-9884-D3917B891663}"/>
                </a:ext>
              </a:extLst>
            </p:cNvPr>
            <p:cNvSpPr/>
            <p:nvPr/>
          </p:nvSpPr>
          <p:spPr>
            <a:xfrm rot="8716295">
              <a:off x="2696176" y="100324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626F965F-1168-4906-A312-B88FB685E6C8}"/>
                </a:ext>
              </a:extLst>
            </p:cNvPr>
            <p:cNvSpPr/>
            <p:nvPr/>
          </p:nvSpPr>
          <p:spPr>
            <a:xfrm rot="8716295">
              <a:off x="2651326" y="91696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63FEE4FF-1D87-4CAE-9FA8-9CF6A9D96EFB}"/>
                </a:ext>
              </a:extLst>
            </p:cNvPr>
            <p:cNvSpPr/>
            <p:nvPr/>
          </p:nvSpPr>
          <p:spPr>
            <a:xfrm rot="8716295">
              <a:off x="2494550" y="106254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BC11557D-3B0F-4F99-BB1C-10D4CD358771}"/>
                </a:ext>
              </a:extLst>
            </p:cNvPr>
            <p:cNvSpPr/>
            <p:nvPr/>
          </p:nvSpPr>
          <p:spPr>
            <a:xfrm rot="8716295">
              <a:off x="2369647" y="85387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1BF9B5DD-16B3-4C9A-A0CB-19167186C695}"/>
                </a:ext>
              </a:extLst>
            </p:cNvPr>
            <p:cNvSpPr/>
            <p:nvPr/>
          </p:nvSpPr>
          <p:spPr>
            <a:xfrm rot="8716295">
              <a:off x="2357595" y="71509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4BDAD41E-2E62-46D5-8972-DD9B42CE139E}"/>
                </a:ext>
              </a:extLst>
            </p:cNvPr>
            <p:cNvSpPr/>
            <p:nvPr/>
          </p:nvSpPr>
          <p:spPr>
            <a:xfrm rot="8716295">
              <a:off x="2584728" y="110350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49E7137B-1AE9-4612-BDE2-1AD75C253D82}"/>
                </a:ext>
              </a:extLst>
            </p:cNvPr>
            <p:cNvSpPr/>
            <p:nvPr/>
          </p:nvSpPr>
          <p:spPr>
            <a:xfrm rot="8716295">
              <a:off x="2895883" y="72385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FB51623D-A683-4809-B6F7-B7284C8425E7}"/>
                </a:ext>
              </a:extLst>
            </p:cNvPr>
            <p:cNvSpPr/>
            <p:nvPr/>
          </p:nvSpPr>
          <p:spPr>
            <a:xfrm rot="8716295">
              <a:off x="2985275" y="75309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281173AB-108D-4FE0-B6D3-50708833EE4A}"/>
                </a:ext>
              </a:extLst>
            </p:cNvPr>
            <p:cNvSpPr/>
            <p:nvPr/>
          </p:nvSpPr>
          <p:spPr>
            <a:xfrm rot="8716295">
              <a:off x="2783649" y="81239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BF07C4A0-5324-4C7F-B4EC-CC1184768828}"/>
                </a:ext>
              </a:extLst>
            </p:cNvPr>
            <p:cNvSpPr/>
            <p:nvPr/>
          </p:nvSpPr>
          <p:spPr>
            <a:xfrm rot="8716295">
              <a:off x="2658747" y="60372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6C1ACB1E-5691-49AE-AB29-06C5DC240D79}"/>
                </a:ext>
              </a:extLst>
            </p:cNvPr>
            <p:cNvSpPr/>
            <p:nvPr/>
          </p:nvSpPr>
          <p:spPr>
            <a:xfrm rot="8716295">
              <a:off x="2873827" y="85334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BBA32666-AB2E-4FC3-AC66-C412DC6DB6FE}"/>
                </a:ext>
              </a:extLst>
            </p:cNvPr>
            <p:cNvSpPr/>
            <p:nvPr/>
          </p:nvSpPr>
          <p:spPr>
            <a:xfrm rot="8716295">
              <a:off x="2632376" y="70374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446CB3B3-0538-4236-9A2B-B81F3C70F649}"/>
                </a:ext>
              </a:extLst>
            </p:cNvPr>
            <p:cNvSpPr/>
            <p:nvPr/>
          </p:nvSpPr>
          <p:spPr>
            <a:xfrm rot="7484129">
              <a:off x="2978758" y="10446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6FEF6605-DD46-4B6F-9434-E75F685EB3F1}"/>
                </a:ext>
              </a:extLst>
            </p:cNvPr>
            <p:cNvSpPr/>
            <p:nvPr/>
          </p:nvSpPr>
          <p:spPr>
            <a:xfrm rot="13089394">
              <a:off x="3083578" y="101123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5FAEA535-E5DC-4ECD-AC87-B4CF523A4E30}"/>
                </a:ext>
              </a:extLst>
            </p:cNvPr>
            <p:cNvSpPr/>
            <p:nvPr/>
          </p:nvSpPr>
          <p:spPr>
            <a:xfrm rot="8716295">
              <a:off x="3269163" y="81955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C4FD16EB-0DAD-4759-8354-258732BCDC6A}"/>
                </a:ext>
              </a:extLst>
            </p:cNvPr>
            <p:cNvSpPr/>
            <p:nvPr/>
          </p:nvSpPr>
          <p:spPr>
            <a:xfrm rot="8716295">
              <a:off x="3217358" y="71595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C79D5733-4C6C-4FFD-A38D-A89F64FE54C8}"/>
                </a:ext>
              </a:extLst>
            </p:cNvPr>
            <p:cNvSpPr/>
            <p:nvPr/>
          </p:nvSpPr>
          <p:spPr>
            <a:xfrm rot="8716295">
              <a:off x="2974112" y="74618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133AF81E-5F8E-4D81-87C0-011CC96E3CC9}"/>
                </a:ext>
              </a:extLst>
            </p:cNvPr>
            <p:cNvSpPr/>
            <p:nvPr/>
          </p:nvSpPr>
          <p:spPr>
            <a:xfrm rot="8716295">
              <a:off x="3151564" y="58693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F5BAA1B0-C7A6-44B2-8867-FEAE18AC26E8}"/>
                </a:ext>
              </a:extLst>
            </p:cNvPr>
            <p:cNvSpPr/>
            <p:nvPr/>
          </p:nvSpPr>
          <p:spPr>
            <a:xfrm rot="8716295">
              <a:off x="2387845" y="31194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orme libre : forme 58">
              <a:extLst>
                <a:ext uri="{FF2B5EF4-FFF2-40B4-BE49-F238E27FC236}">
                  <a16:creationId xmlns:a16="http://schemas.microsoft.com/office/drawing/2014/main" id="{B51F8FF7-DB45-4A7D-B87B-E8E0B15A9D38}"/>
                </a:ext>
              </a:extLst>
            </p:cNvPr>
            <p:cNvSpPr/>
            <p:nvPr/>
          </p:nvSpPr>
          <p:spPr>
            <a:xfrm rot="8716295">
              <a:off x="2477237" y="34118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orme libre : forme 59">
              <a:extLst>
                <a:ext uri="{FF2B5EF4-FFF2-40B4-BE49-F238E27FC236}">
                  <a16:creationId xmlns:a16="http://schemas.microsoft.com/office/drawing/2014/main" id="{1950BE25-03A0-4561-B14B-331445B0D0C3}"/>
                </a:ext>
              </a:extLst>
            </p:cNvPr>
            <p:cNvSpPr/>
            <p:nvPr/>
          </p:nvSpPr>
          <p:spPr>
            <a:xfrm rot="8716295">
              <a:off x="2432387" y="254908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orme libre : forme 60">
              <a:extLst>
                <a:ext uri="{FF2B5EF4-FFF2-40B4-BE49-F238E27FC236}">
                  <a16:creationId xmlns:a16="http://schemas.microsoft.com/office/drawing/2014/main" id="{1E041962-91AE-4D89-B179-1A31E1910CF1}"/>
                </a:ext>
              </a:extLst>
            </p:cNvPr>
            <p:cNvSpPr/>
            <p:nvPr/>
          </p:nvSpPr>
          <p:spPr>
            <a:xfrm rot="8716295">
              <a:off x="2275611" y="40049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orme libre : forme 61">
              <a:extLst>
                <a:ext uri="{FF2B5EF4-FFF2-40B4-BE49-F238E27FC236}">
                  <a16:creationId xmlns:a16="http://schemas.microsoft.com/office/drawing/2014/main" id="{376CFCCF-38DC-4A35-AA3F-E03998AD805A}"/>
                </a:ext>
              </a:extLst>
            </p:cNvPr>
            <p:cNvSpPr/>
            <p:nvPr/>
          </p:nvSpPr>
          <p:spPr>
            <a:xfrm rot="8716295">
              <a:off x="2150708" y="19181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orme libre : forme 62">
              <a:extLst>
                <a:ext uri="{FF2B5EF4-FFF2-40B4-BE49-F238E27FC236}">
                  <a16:creationId xmlns:a16="http://schemas.microsoft.com/office/drawing/2014/main" id="{68D158FE-3FEF-4222-A8A6-28BC2EB41760}"/>
                </a:ext>
              </a:extLst>
            </p:cNvPr>
            <p:cNvSpPr/>
            <p:nvPr/>
          </p:nvSpPr>
          <p:spPr>
            <a:xfrm rot="8716295">
              <a:off x="2138656" y="53037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orme libre : forme 63">
              <a:extLst>
                <a:ext uri="{FF2B5EF4-FFF2-40B4-BE49-F238E27FC236}">
                  <a16:creationId xmlns:a16="http://schemas.microsoft.com/office/drawing/2014/main" id="{DC9E9862-78FC-4213-B2E2-61DF3173636D}"/>
                </a:ext>
              </a:extLst>
            </p:cNvPr>
            <p:cNvSpPr/>
            <p:nvPr/>
          </p:nvSpPr>
          <p:spPr>
            <a:xfrm rot="8716295">
              <a:off x="2365789" y="441442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orme libre : forme 64">
              <a:extLst>
                <a:ext uri="{FF2B5EF4-FFF2-40B4-BE49-F238E27FC236}">
                  <a16:creationId xmlns:a16="http://schemas.microsoft.com/office/drawing/2014/main" id="{8722DBD7-5E81-4E3D-870A-6CD5E129D96B}"/>
                </a:ext>
              </a:extLst>
            </p:cNvPr>
            <p:cNvSpPr/>
            <p:nvPr/>
          </p:nvSpPr>
          <p:spPr>
            <a:xfrm rot="8716295">
              <a:off x="2676944" y="6179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orme libre : forme 65">
              <a:extLst>
                <a:ext uri="{FF2B5EF4-FFF2-40B4-BE49-F238E27FC236}">
                  <a16:creationId xmlns:a16="http://schemas.microsoft.com/office/drawing/2014/main" id="{43ED8C5C-290C-4E36-A603-A668764D918E}"/>
                </a:ext>
              </a:extLst>
            </p:cNvPr>
            <p:cNvSpPr/>
            <p:nvPr/>
          </p:nvSpPr>
          <p:spPr>
            <a:xfrm rot="8716295">
              <a:off x="2766336" y="9103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orme libre : forme 66">
              <a:extLst>
                <a:ext uri="{FF2B5EF4-FFF2-40B4-BE49-F238E27FC236}">
                  <a16:creationId xmlns:a16="http://schemas.microsoft.com/office/drawing/2014/main" id="{143AD9CC-AEFC-4AE6-ADAB-C03B27727981}"/>
                </a:ext>
              </a:extLst>
            </p:cNvPr>
            <p:cNvSpPr/>
            <p:nvPr/>
          </p:nvSpPr>
          <p:spPr>
            <a:xfrm rot="8716295">
              <a:off x="2564710" y="15033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03CE5A8E-699E-421E-ABA5-42929237719B}"/>
                </a:ext>
              </a:extLst>
            </p:cNvPr>
            <p:cNvSpPr/>
            <p:nvPr/>
          </p:nvSpPr>
          <p:spPr>
            <a:xfrm rot="8716295">
              <a:off x="2448552" y="-16031"/>
              <a:ext cx="203847" cy="149340"/>
            </a:xfrm>
            <a:custGeom>
              <a:avLst/>
              <a:gdLst>
                <a:gd name="connsiteX0" fmla="*/ 106716 w 203847"/>
                <a:gd name="connsiteY0" fmla="*/ 149340 h 149340"/>
                <a:gd name="connsiteX1" fmla="*/ 50038 w 203847"/>
                <a:gd name="connsiteY1" fmla="*/ 110053 h 149340"/>
                <a:gd name="connsiteX2" fmla="*/ 69777 w 203847"/>
                <a:gd name="connsiteY2" fmla="*/ 55323 h 149340"/>
                <a:gd name="connsiteX3" fmla="*/ 0 w 203847"/>
                <a:gd name="connsiteY3" fmla="*/ 55323 h 149340"/>
                <a:gd name="connsiteX4" fmla="*/ 0 w 203847"/>
                <a:gd name="connsiteY4" fmla="*/ 0 h 149340"/>
                <a:gd name="connsiteX5" fmla="*/ 203847 w 203847"/>
                <a:gd name="connsiteY5" fmla="*/ 0 h 149340"/>
                <a:gd name="connsiteX6" fmla="*/ 203847 w 203847"/>
                <a:gd name="connsiteY6" fmla="*/ 55323 h 149340"/>
                <a:gd name="connsiteX7" fmla="*/ 139055 w 203847"/>
                <a:gd name="connsiteY7" fmla="*/ 55323 h 14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49340">
                  <a:moveTo>
                    <a:pt x="106716" y="149340"/>
                  </a:moveTo>
                  <a:lnTo>
                    <a:pt x="50038" y="110053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orme libre : forme 68">
              <a:extLst>
                <a:ext uri="{FF2B5EF4-FFF2-40B4-BE49-F238E27FC236}">
                  <a16:creationId xmlns:a16="http://schemas.microsoft.com/office/drawing/2014/main" id="{4F51AFD5-9DB6-4DCA-8489-09E9C4297801}"/>
                </a:ext>
              </a:extLst>
            </p:cNvPr>
            <p:cNvSpPr/>
            <p:nvPr/>
          </p:nvSpPr>
          <p:spPr>
            <a:xfrm rot="8716295">
              <a:off x="2654888" y="191290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orme libre : forme 69">
              <a:extLst>
                <a:ext uri="{FF2B5EF4-FFF2-40B4-BE49-F238E27FC236}">
                  <a16:creationId xmlns:a16="http://schemas.microsoft.com/office/drawing/2014/main" id="{A2ECF224-799C-4DC5-AB51-FEB15AA2B828}"/>
                </a:ext>
              </a:extLst>
            </p:cNvPr>
            <p:cNvSpPr/>
            <p:nvPr/>
          </p:nvSpPr>
          <p:spPr>
            <a:xfrm rot="8716295">
              <a:off x="2413437" y="41690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orme libre : forme 70">
              <a:extLst>
                <a:ext uri="{FF2B5EF4-FFF2-40B4-BE49-F238E27FC236}">
                  <a16:creationId xmlns:a16="http://schemas.microsoft.com/office/drawing/2014/main" id="{1302BF26-B64E-4C90-894D-A7C67007EE36}"/>
                </a:ext>
              </a:extLst>
            </p:cNvPr>
            <p:cNvSpPr/>
            <p:nvPr/>
          </p:nvSpPr>
          <p:spPr>
            <a:xfrm rot="7484129">
              <a:off x="2759819" y="38264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orme libre : forme 71">
              <a:extLst>
                <a:ext uri="{FF2B5EF4-FFF2-40B4-BE49-F238E27FC236}">
                  <a16:creationId xmlns:a16="http://schemas.microsoft.com/office/drawing/2014/main" id="{170CE256-57E7-488F-BBB2-5B7F98B8FB76}"/>
                </a:ext>
              </a:extLst>
            </p:cNvPr>
            <p:cNvSpPr/>
            <p:nvPr/>
          </p:nvSpPr>
          <p:spPr>
            <a:xfrm rot="13089394">
              <a:off x="2864639" y="349175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orme libre : forme 72">
              <a:extLst>
                <a:ext uri="{FF2B5EF4-FFF2-40B4-BE49-F238E27FC236}">
                  <a16:creationId xmlns:a16="http://schemas.microsoft.com/office/drawing/2014/main" id="{5E848AEE-AD50-4EC7-B6E2-006804A78B57}"/>
                </a:ext>
              </a:extLst>
            </p:cNvPr>
            <p:cNvSpPr/>
            <p:nvPr/>
          </p:nvSpPr>
          <p:spPr>
            <a:xfrm rot="8716295">
              <a:off x="3050224" y="157494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" name="Forme libre : forme 73">
              <a:extLst>
                <a:ext uri="{FF2B5EF4-FFF2-40B4-BE49-F238E27FC236}">
                  <a16:creationId xmlns:a16="http://schemas.microsoft.com/office/drawing/2014/main" id="{BEE1CAE8-6503-4A10-B1BA-C6183C9E0E74}"/>
                </a:ext>
              </a:extLst>
            </p:cNvPr>
            <p:cNvSpPr/>
            <p:nvPr/>
          </p:nvSpPr>
          <p:spPr>
            <a:xfrm rot="8716295">
              <a:off x="2998419" y="5390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" name="Forme libre : forme 74">
              <a:extLst>
                <a:ext uri="{FF2B5EF4-FFF2-40B4-BE49-F238E27FC236}">
                  <a16:creationId xmlns:a16="http://schemas.microsoft.com/office/drawing/2014/main" id="{34A8E996-3975-4581-B536-E2CE9D88EBFE}"/>
                </a:ext>
              </a:extLst>
            </p:cNvPr>
            <p:cNvSpPr/>
            <p:nvPr/>
          </p:nvSpPr>
          <p:spPr>
            <a:xfrm rot="8716295">
              <a:off x="2755173" y="8412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" name="Forme libre : forme 75">
              <a:extLst>
                <a:ext uri="{FF2B5EF4-FFF2-40B4-BE49-F238E27FC236}">
                  <a16:creationId xmlns:a16="http://schemas.microsoft.com/office/drawing/2014/main" id="{3BE41751-0FE9-4A5C-97A5-9AF2319641D6}"/>
                </a:ext>
              </a:extLst>
            </p:cNvPr>
            <p:cNvSpPr/>
            <p:nvPr/>
          </p:nvSpPr>
          <p:spPr>
            <a:xfrm rot="8716295">
              <a:off x="2940014" y="-28690"/>
              <a:ext cx="88664" cy="70660"/>
            </a:xfrm>
            <a:custGeom>
              <a:avLst/>
              <a:gdLst>
                <a:gd name="connsiteX0" fmla="*/ 83649 w 88664"/>
                <a:gd name="connsiteY0" fmla="*/ 70660 h 70660"/>
                <a:gd name="connsiteX1" fmla="*/ 0 w 88664"/>
                <a:gd name="connsiteY1" fmla="*/ 12677 h 70660"/>
                <a:gd name="connsiteX2" fmla="*/ 30024 w 88664"/>
                <a:gd name="connsiteY2" fmla="*/ 0 h 70660"/>
                <a:gd name="connsiteX3" fmla="*/ 71417 w 88664"/>
                <a:gd name="connsiteY3" fmla="*/ 17477 h 70660"/>
                <a:gd name="connsiteX4" fmla="*/ 88664 w 88664"/>
                <a:gd name="connsiteY4" fmla="*/ 58525 h 70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664" h="70660">
                  <a:moveTo>
                    <a:pt x="83649" y="70660"/>
                  </a:moveTo>
                  <a:lnTo>
                    <a:pt x="0" y="12677"/>
                  </a:lnTo>
                  <a:lnTo>
                    <a:pt x="30024" y="0"/>
                  </a:lnTo>
                  <a:cubicBezTo>
                    <a:pt x="45662" y="0"/>
                    <a:pt x="60379" y="6439"/>
                    <a:pt x="71417" y="17477"/>
                  </a:cubicBezTo>
                  <a:cubicBezTo>
                    <a:pt x="82915" y="28515"/>
                    <a:pt x="88664" y="43462"/>
                    <a:pt x="88664" y="58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" name="Forme libre : forme 76">
              <a:extLst>
                <a:ext uri="{FF2B5EF4-FFF2-40B4-BE49-F238E27FC236}">
                  <a16:creationId xmlns:a16="http://schemas.microsoft.com/office/drawing/2014/main" id="{7C593DEA-1D52-4373-8D6B-6BD1BBF8835C}"/>
                </a:ext>
              </a:extLst>
            </p:cNvPr>
            <p:cNvSpPr/>
            <p:nvPr/>
          </p:nvSpPr>
          <p:spPr>
            <a:xfrm rot="13089394">
              <a:off x="2740820" y="-30870"/>
              <a:ext cx="73521" cy="76374"/>
            </a:xfrm>
            <a:custGeom>
              <a:avLst/>
              <a:gdLst>
                <a:gd name="connsiteX0" fmla="*/ 73521 w 73521"/>
                <a:gd name="connsiteY0" fmla="*/ 18609 h 76374"/>
                <a:gd name="connsiteX1" fmla="*/ 0 w 73521"/>
                <a:gd name="connsiteY1" fmla="*/ 76374 h 76374"/>
                <a:gd name="connsiteX2" fmla="*/ 0 w 73521"/>
                <a:gd name="connsiteY2" fmla="*/ 38074 h 76374"/>
                <a:gd name="connsiteX3" fmla="*/ 73388 w 73521"/>
                <a:gd name="connsiteY3" fmla="*/ 0 h 7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521" h="76374">
                  <a:moveTo>
                    <a:pt x="73521" y="18609"/>
                  </a:moveTo>
                  <a:lnTo>
                    <a:pt x="0" y="76374"/>
                  </a:lnTo>
                  <a:lnTo>
                    <a:pt x="0" y="38074"/>
                  </a:lnTo>
                  <a:lnTo>
                    <a:pt x="7338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" name="Forme libre : forme 77">
              <a:extLst>
                <a:ext uri="{FF2B5EF4-FFF2-40B4-BE49-F238E27FC236}">
                  <a16:creationId xmlns:a16="http://schemas.microsoft.com/office/drawing/2014/main" id="{31F42A73-BF6E-4A9E-A2F6-7111DF0FD878}"/>
                </a:ext>
              </a:extLst>
            </p:cNvPr>
            <p:cNvSpPr/>
            <p:nvPr/>
          </p:nvSpPr>
          <p:spPr>
            <a:xfrm rot="8716295">
              <a:off x="2166753" y="273158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orme libre : forme 78">
              <a:extLst>
                <a:ext uri="{FF2B5EF4-FFF2-40B4-BE49-F238E27FC236}">
                  <a16:creationId xmlns:a16="http://schemas.microsoft.com/office/drawing/2014/main" id="{863BEFD8-472A-4A82-B952-ACFEE2251E69}"/>
                </a:ext>
              </a:extLst>
            </p:cNvPr>
            <p:cNvSpPr/>
            <p:nvPr/>
          </p:nvSpPr>
          <p:spPr>
            <a:xfrm rot="8716295">
              <a:off x="2256145" y="276082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Forme libre : forme 79">
              <a:extLst>
                <a:ext uri="{FF2B5EF4-FFF2-40B4-BE49-F238E27FC236}">
                  <a16:creationId xmlns:a16="http://schemas.microsoft.com/office/drawing/2014/main" id="{9D41F395-157D-4566-AD0B-619CCA4FE6BE}"/>
                </a:ext>
              </a:extLst>
            </p:cNvPr>
            <p:cNvSpPr/>
            <p:nvPr/>
          </p:nvSpPr>
          <p:spPr>
            <a:xfrm rot="8716295">
              <a:off x="2211295" y="2674548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" name="Forme libre : forme 80">
              <a:extLst>
                <a:ext uri="{FF2B5EF4-FFF2-40B4-BE49-F238E27FC236}">
                  <a16:creationId xmlns:a16="http://schemas.microsoft.com/office/drawing/2014/main" id="{BF76F399-DC6B-4DE2-9E3A-1FFB94BB6465}"/>
                </a:ext>
              </a:extLst>
            </p:cNvPr>
            <p:cNvSpPr/>
            <p:nvPr/>
          </p:nvSpPr>
          <p:spPr>
            <a:xfrm rot="8716295">
              <a:off x="2054519" y="28201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orme libre : forme 81">
              <a:extLst>
                <a:ext uri="{FF2B5EF4-FFF2-40B4-BE49-F238E27FC236}">
                  <a16:creationId xmlns:a16="http://schemas.microsoft.com/office/drawing/2014/main" id="{3065D63F-B336-46ED-922F-641AF1B7B83C}"/>
                </a:ext>
              </a:extLst>
            </p:cNvPr>
            <p:cNvSpPr/>
            <p:nvPr/>
          </p:nvSpPr>
          <p:spPr>
            <a:xfrm rot="8716295">
              <a:off x="1929616" y="261145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Forme libre : forme 82">
              <a:extLst>
                <a:ext uri="{FF2B5EF4-FFF2-40B4-BE49-F238E27FC236}">
                  <a16:creationId xmlns:a16="http://schemas.microsoft.com/office/drawing/2014/main" id="{68BC6F5F-0186-40DD-8404-566D70BB9E99}"/>
                </a:ext>
              </a:extLst>
            </p:cNvPr>
            <p:cNvSpPr/>
            <p:nvPr/>
          </p:nvSpPr>
          <p:spPr>
            <a:xfrm rot="8716295">
              <a:off x="1917564" y="2472677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4" name="Forme libre : forme 83">
              <a:extLst>
                <a:ext uri="{FF2B5EF4-FFF2-40B4-BE49-F238E27FC236}">
                  <a16:creationId xmlns:a16="http://schemas.microsoft.com/office/drawing/2014/main" id="{E12469CC-5FF5-4C57-A661-5C5E14481CD9}"/>
                </a:ext>
              </a:extLst>
            </p:cNvPr>
            <p:cNvSpPr/>
            <p:nvPr/>
          </p:nvSpPr>
          <p:spPr>
            <a:xfrm rot="8716295">
              <a:off x="2144697" y="2861082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5" name="Forme libre : forme 84">
              <a:extLst>
                <a:ext uri="{FF2B5EF4-FFF2-40B4-BE49-F238E27FC236}">
                  <a16:creationId xmlns:a16="http://schemas.microsoft.com/office/drawing/2014/main" id="{30210F38-CF8D-4D63-B79E-43CAC77B4950}"/>
                </a:ext>
              </a:extLst>
            </p:cNvPr>
            <p:cNvSpPr/>
            <p:nvPr/>
          </p:nvSpPr>
          <p:spPr>
            <a:xfrm rot="8716295">
              <a:off x="2455852" y="248143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6" name="Forme libre : forme 85">
              <a:extLst>
                <a:ext uri="{FF2B5EF4-FFF2-40B4-BE49-F238E27FC236}">
                  <a16:creationId xmlns:a16="http://schemas.microsoft.com/office/drawing/2014/main" id="{695A233A-6503-484C-8F4F-186E71E5B99E}"/>
                </a:ext>
              </a:extLst>
            </p:cNvPr>
            <p:cNvSpPr/>
            <p:nvPr/>
          </p:nvSpPr>
          <p:spPr>
            <a:xfrm rot="8716295">
              <a:off x="2545244" y="251067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7" name="Forme libre : forme 86">
              <a:extLst>
                <a:ext uri="{FF2B5EF4-FFF2-40B4-BE49-F238E27FC236}">
                  <a16:creationId xmlns:a16="http://schemas.microsoft.com/office/drawing/2014/main" id="{C4016FC8-3862-4EDD-AD90-D27F3C486D6C}"/>
                </a:ext>
              </a:extLst>
            </p:cNvPr>
            <p:cNvSpPr/>
            <p:nvPr/>
          </p:nvSpPr>
          <p:spPr>
            <a:xfrm rot="8716295">
              <a:off x="2343618" y="256997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8" name="Forme libre : forme 87">
              <a:extLst>
                <a:ext uri="{FF2B5EF4-FFF2-40B4-BE49-F238E27FC236}">
                  <a16:creationId xmlns:a16="http://schemas.microsoft.com/office/drawing/2014/main" id="{841AD7D6-9A1D-47F3-B8D0-0F3912F8A2E1}"/>
                </a:ext>
              </a:extLst>
            </p:cNvPr>
            <p:cNvSpPr/>
            <p:nvPr/>
          </p:nvSpPr>
          <p:spPr>
            <a:xfrm rot="8716295">
              <a:off x="2218716" y="236130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9" name="Forme libre : forme 88">
              <a:extLst>
                <a:ext uri="{FF2B5EF4-FFF2-40B4-BE49-F238E27FC236}">
                  <a16:creationId xmlns:a16="http://schemas.microsoft.com/office/drawing/2014/main" id="{70BCC5A3-9952-4F01-975F-6F986E6B55DD}"/>
                </a:ext>
              </a:extLst>
            </p:cNvPr>
            <p:cNvSpPr/>
            <p:nvPr/>
          </p:nvSpPr>
          <p:spPr>
            <a:xfrm rot="8716295">
              <a:off x="2433796" y="2610930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" name="Forme libre : forme 89">
              <a:extLst>
                <a:ext uri="{FF2B5EF4-FFF2-40B4-BE49-F238E27FC236}">
                  <a16:creationId xmlns:a16="http://schemas.microsoft.com/office/drawing/2014/main" id="{48292A7A-33E9-4FF2-9525-C481018D3541}"/>
                </a:ext>
              </a:extLst>
            </p:cNvPr>
            <p:cNvSpPr/>
            <p:nvPr/>
          </p:nvSpPr>
          <p:spPr>
            <a:xfrm rot="8716295">
              <a:off x="2192345" y="2461330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" name="Forme libre : forme 90">
              <a:extLst>
                <a:ext uri="{FF2B5EF4-FFF2-40B4-BE49-F238E27FC236}">
                  <a16:creationId xmlns:a16="http://schemas.microsoft.com/office/drawing/2014/main" id="{3C5BF462-E2E4-4E2E-A187-F82081942730}"/>
                </a:ext>
              </a:extLst>
            </p:cNvPr>
            <p:cNvSpPr/>
            <p:nvPr/>
          </p:nvSpPr>
          <p:spPr>
            <a:xfrm rot="7484129">
              <a:off x="2538727" y="280228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" name="Forme libre : forme 91">
              <a:extLst>
                <a:ext uri="{FF2B5EF4-FFF2-40B4-BE49-F238E27FC236}">
                  <a16:creationId xmlns:a16="http://schemas.microsoft.com/office/drawing/2014/main" id="{53F93EE7-2FCB-4993-A211-9ABCA8AB16A1}"/>
                </a:ext>
              </a:extLst>
            </p:cNvPr>
            <p:cNvSpPr/>
            <p:nvPr/>
          </p:nvSpPr>
          <p:spPr>
            <a:xfrm rot="13089394">
              <a:off x="2643547" y="2768815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" name="Forme libre : forme 92">
              <a:extLst>
                <a:ext uri="{FF2B5EF4-FFF2-40B4-BE49-F238E27FC236}">
                  <a16:creationId xmlns:a16="http://schemas.microsoft.com/office/drawing/2014/main" id="{ACCCC6BB-9AC5-40F1-8FDF-2D7AAA4F97CC}"/>
                </a:ext>
              </a:extLst>
            </p:cNvPr>
            <p:cNvSpPr/>
            <p:nvPr/>
          </p:nvSpPr>
          <p:spPr>
            <a:xfrm rot="8716295">
              <a:off x="2829132" y="2577134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" name="Forme libre : forme 93">
              <a:extLst>
                <a:ext uri="{FF2B5EF4-FFF2-40B4-BE49-F238E27FC236}">
                  <a16:creationId xmlns:a16="http://schemas.microsoft.com/office/drawing/2014/main" id="{C83E96A9-D46F-4FBD-BA31-A3DDCAF05013}"/>
                </a:ext>
              </a:extLst>
            </p:cNvPr>
            <p:cNvSpPr/>
            <p:nvPr/>
          </p:nvSpPr>
          <p:spPr>
            <a:xfrm rot="8716295">
              <a:off x="2777327" y="247354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orme libre : forme 94">
              <a:extLst>
                <a:ext uri="{FF2B5EF4-FFF2-40B4-BE49-F238E27FC236}">
                  <a16:creationId xmlns:a16="http://schemas.microsoft.com/office/drawing/2014/main" id="{819524D5-42FD-49C2-A52C-138204093572}"/>
                </a:ext>
              </a:extLst>
            </p:cNvPr>
            <p:cNvSpPr/>
            <p:nvPr/>
          </p:nvSpPr>
          <p:spPr>
            <a:xfrm rot="8716295">
              <a:off x="2534081" y="250376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Forme libre : forme 95">
              <a:extLst>
                <a:ext uri="{FF2B5EF4-FFF2-40B4-BE49-F238E27FC236}">
                  <a16:creationId xmlns:a16="http://schemas.microsoft.com/office/drawing/2014/main" id="{D4292037-242B-4F99-8EE6-4056BF8CE17A}"/>
                </a:ext>
              </a:extLst>
            </p:cNvPr>
            <p:cNvSpPr/>
            <p:nvPr/>
          </p:nvSpPr>
          <p:spPr>
            <a:xfrm rot="8716295">
              <a:off x="2711533" y="234452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" name="Forme libre : forme 96">
              <a:extLst>
                <a:ext uri="{FF2B5EF4-FFF2-40B4-BE49-F238E27FC236}">
                  <a16:creationId xmlns:a16="http://schemas.microsoft.com/office/drawing/2014/main" id="{B300D5E8-99AD-4100-BBB0-F9335C60ABF1}"/>
                </a:ext>
              </a:extLst>
            </p:cNvPr>
            <p:cNvSpPr/>
            <p:nvPr/>
          </p:nvSpPr>
          <p:spPr>
            <a:xfrm rot="8716295">
              <a:off x="2389920" y="339128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" name="Forme libre : forme 97">
              <a:extLst>
                <a:ext uri="{FF2B5EF4-FFF2-40B4-BE49-F238E27FC236}">
                  <a16:creationId xmlns:a16="http://schemas.microsoft.com/office/drawing/2014/main" id="{050E0B4C-4868-4ECB-B52A-F4534FB3428C}"/>
                </a:ext>
              </a:extLst>
            </p:cNvPr>
            <p:cNvSpPr/>
            <p:nvPr/>
          </p:nvSpPr>
          <p:spPr>
            <a:xfrm rot="8716295">
              <a:off x="2479312" y="342052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" name="Forme libre : forme 98">
              <a:extLst>
                <a:ext uri="{FF2B5EF4-FFF2-40B4-BE49-F238E27FC236}">
                  <a16:creationId xmlns:a16="http://schemas.microsoft.com/office/drawing/2014/main" id="{2B753CAD-2E05-40BF-8117-865D3F8A49DD}"/>
                </a:ext>
              </a:extLst>
            </p:cNvPr>
            <p:cNvSpPr/>
            <p:nvPr/>
          </p:nvSpPr>
          <p:spPr>
            <a:xfrm rot="8716295">
              <a:off x="2434462" y="333424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orme libre : forme 99">
              <a:extLst>
                <a:ext uri="{FF2B5EF4-FFF2-40B4-BE49-F238E27FC236}">
                  <a16:creationId xmlns:a16="http://schemas.microsoft.com/office/drawing/2014/main" id="{5C8FF835-B7A5-4E03-BDCA-7B70EA22A6CB}"/>
                </a:ext>
              </a:extLst>
            </p:cNvPr>
            <p:cNvSpPr/>
            <p:nvPr/>
          </p:nvSpPr>
          <p:spPr>
            <a:xfrm rot="8716295">
              <a:off x="2277686" y="347982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Forme libre : forme 100">
              <a:extLst>
                <a:ext uri="{FF2B5EF4-FFF2-40B4-BE49-F238E27FC236}">
                  <a16:creationId xmlns:a16="http://schemas.microsoft.com/office/drawing/2014/main" id="{E640627F-DD46-4D4D-BFB7-C32CE4CD2C6E}"/>
                </a:ext>
              </a:extLst>
            </p:cNvPr>
            <p:cNvSpPr/>
            <p:nvPr/>
          </p:nvSpPr>
          <p:spPr>
            <a:xfrm rot="8716295">
              <a:off x="2152783" y="327115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" name="Forme libre : forme 101">
              <a:extLst>
                <a:ext uri="{FF2B5EF4-FFF2-40B4-BE49-F238E27FC236}">
                  <a16:creationId xmlns:a16="http://schemas.microsoft.com/office/drawing/2014/main" id="{D6CFC66E-117A-4E7B-A1B3-B61883DBC87C}"/>
                </a:ext>
              </a:extLst>
            </p:cNvPr>
            <p:cNvSpPr/>
            <p:nvPr/>
          </p:nvSpPr>
          <p:spPr>
            <a:xfrm rot="8716295">
              <a:off x="2140731" y="313237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" name="Forme libre : forme 102">
              <a:extLst>
                <a:ext uri="{FF2B5EF4-FFF2-40B4-BE49-F238E27FC236}">
                  <a16:creationId xmlns:a16="http://schemas.microsoft.com/office/drawing/2014/main" id="{44370D0A-70C8-47DE-B919-BD8689E5F0BD}"/>
                </a:ext>
              </a:extLst>
            </p:cNvPr>
            <p:cNvSpPr/>
            <p:nvPr/>
          </p:nvSpPr>
          <p:spPr>
            <a:xfrm rot="8716295">
              <a:off x="2367864" y="352078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" name="Forme libre : forme 103">
              <a:extLst>
                <a:ext uri="{FF2B5EF4-FFF2-40B4-BE49-F238E27FC236}">
                  <a16:creationId xmlns:a16="http://schemas.microsoft.com/office/drawing/2014/main" id="{6021BDC8-861D-486E-B439-FE7F06960030}"/>
                </a:ext>
              </a:extLst>
            </p:cNvPr>
            <p:cNvSpPr/>
            <p:nvPr/>
          </p:nvSpPr>
          <p:spPr>
            <a:xfrm rot="8716295">
              <a:off x="2679019" y="314113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" name="Forme libre : forme 104">
              <a:extLst>
                <a:ext uri="{FF2B5EF4-FFF2-40B4-BE49-F238E27FC236}">
                  <a16:creationId xmlns:a16="http://schemas.microsoft.com/office/drawing/2014/main" id="{0F608F19-E3BE-4D17-880D-C88146244ED4}"/>
                </a:ext>
              </a:extLst>
            </p:cNvPr>
            <p:cNvSpPr/>
            <p:nvPr/>
          </p:nvSpPr>
          <p:spPr>
            <a:xfrm rot="8716295">
              <a:off x="2768411" y="317037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" name="Forme libre : forme 105">
              <a:extLst>
                <a:ext uri="{FF2B5EF4-FFF2-40B4-BE49-F238E27FC236}">
                  <a16:creationId xmlns:a16="http://schemas.microsoft.com/office/drawing/2014/main" id="{64944F3B-C664-4365-A1CE-C418E167A34E}"/>
                </a:ext>
              </a:extLst>
            </p:cNvPr>
            <p:cNvSpPr/>
            <p:nvPr/>
          </p:nvSpPr>
          <p:spPr>
            <a:xfrm rot="8716295">
              <a:off x="2566785" y="322967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" name="Forme libre : forme 106">
              <a:extLst>
                <a:ext uri="{FF2B5EF4-FFF2-40B4-BE49-F238E27FC236}">
                  <a16:creationId xmlns:a16="http://schemas.microsoft.com/office/drawing/2014/main" id="{58328446-A7EA-46E8-B0B2-5078B627604C}"/>
                </a:ext>
              </a:extLst>
            </p:cNvPr>
            <p:cNvSpPr/>
            <p:nvPr/>
          </p:nvSpPr>
          <p:spPr>
            <a:xfrm rot="8716295">
              <a:off x="2441883" y="302100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" name="Forme libre : forme 107">
              <a:extLst>
                <a:ext uri="{FF2B5EF4-FFF2-40B4-BE49-F238E27FC236}">
                  <a16:creationId xmlns:a16="http://schemas.microsoft.com/office/drawing/2014/main" id="{358F3EE5-D858-432A-A907-9710D31351C8}"/>
                </a:ext>
              </a:extLst>
            </p:cNvPr>
            <p:cNvSpPr/>
            <p:nvPr/>
          </p:nvSpPr>
          <p:spPr>
            <a:xfrm rot="8716295">
              <a:off x="2656963" y="327062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" name="Forme libre : forme 108">
              <a:extLst>
                <a:ext uri="{FF2B5EF4-FFF2-40B4-BE49-F238E27FC236}">
                  <a16:creationId xmlns:a16="http://schemas.microsoft.com/office/drawing/2014/main" id="{B0966A7E-6D89-444C-8034-A9352897C897}"/>
                </a:ext>
              </a:extLst>
            </p:cNvPr>
            <p:cNvSpPr/>
            <p:nvPr/>
          </p:nvSpPr>
          <p:spPr>
            <a:xfrm rot="8716295">
              <a:off x="2415512" y="312102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" name="Forme libre : forme 109">
              <a:extLst>
                <a:ext uri="{FF2B5EF4-FFF2-40B4-BE49-F238E27FC236}">
                  <a16:creationId xmlns:a16="http://schemas.microsoft.com/office/drawing/2014/main" id="{37222F27-8DF7-4207-88C1-2429DD93BED2}"/>
                </a:ext>
              </a:extLst>
            </p:cNvPr>
            <p:cNvSpPr/>
            <p:nvPr/>
          </p:nvSpPr>
          <p:spPr>
            <a:xfrm rot="7484129">
              <a:off x="2761894" y="346198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" name="Forme libre : forme 110">
              <a:extLst>
                <a:ext uri="{FF2B5EF4-FFF2-40B4-BE49-F238E27FC236}">
                  <a16:creationId xmlns:a16="http://schemas.microsoft.com/office/drawing/2014/main" id="{993939CC-3AE4-419F-A9EE-0969EF61AE9B}"/>
                </a:ext>
              </a:extLst>
            </p:cNvPr>
            <p:cNvSpPr/>
            <p:nvPr/>
          </p:nvSpPr>
          <p:spPr>
            <a:xfrm rot="13089394">
              <a:off x="2866714" y="342851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" name="Forme libre : forme 111">
              <a:extLst>
                <a:ext uri="{FF2B5EF4-FFF2-40B4-BE49-F238E27FC236}">
                  <a16:creationId xmlns:a16="http://schemas.microsoft.com/office/drawing/2014/main" id="{A6A63E2F-4261-4DBF-8276-418D86D19210}"/>
                </a:ext>
              </a:extLst>
            </p:cNvPr>
            <p:cNvSpPr/>
            <p:nvPr/>
          </p:nvSpPr>
          <p:spPr>
            <a:xfrm rot="8716295">
              <a:off x="3052299" y="323683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" name="Forme libre : forme 112">
              <a:extLst>
                <a:ext uri="{FF2B5EF4-FFF2-40B4-BE49-F238E27FC236}">
                  <a16:creationId xmlns:a16="http://schemas.microsoft.com/office/drawing/2014/main" id="{1F2896C9-A0C7-4B2C-B1EE-DCCCD9009233}"/>
                </a:ext>
              </a:extLst>
            </p:cNvPr>
            <p:cNvSpPr/>
            <p:nvPr/>
          </p:nvSpPr>
          <p:spPr>
            <a:xfrm rot="8716295">
              <a:off x="3000494" y="313324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" name="Forme libre : forme 113">
              <a:extLst>
                <a:ext uri="{FF2B5EF4-FFF2-40B4-BE49-F238E27FC236}">
                  <a16:creationId xmlns:a16="http://schemas.microsoft.com/office/drawing/2014/main" id="{BFC2A5AA-74CC-447F-BCB7-82C53A9C1EBE}"/>
                </a:ext>
              </a:extLst>
            </p:cNvPr>
            <p:cNvSpPr/>
            <p:nvPr/>
          </p:nvSpPr>
          <p:spPr>
            <a:xfrm rot="8716295">
              <a:off x="2757248" y="316346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" name="Forme libre : forme 114">
              <a:extLst>
                <a:ext uri="{FF2B5EF4-FFF2-40B4-BE49-F238E27FC236}">
                  <a16:creationId xmlns:a16="http://schemas.microsoft.com/office/drawing/2014/main" id="{7736B671-8666-4922-9305-32A24DFDD7BC}"/>
                </a:ext>
              </a:extLst>
            </p:cNvPr>
            <p:cNvSpPr/>
            <p:nvPr/>
          </p:nvSpPr>
          <p:spPr>
            <a:xfrm rot="8716295">
              <a:off x="2934700" y="300421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" name="Forme libre : forme 115">
              <a:extLst>
                <a:ext uri="{FF2B5EF4-FFF2-40B4-BE49-F238E27FC236}">
                  <a16:creationId xmlns:a16="http://schemas.microsoft.com/office/drawing/2014/main" id="{4CF00AFF-9FDA-4C59-A1DE-7CCCB194DEA5}"/>
                </a:ext>
              </a:extLst>
            </p:cNvPr>
            <p:cNvSpPr/>
            <p:nvPr/>
          </p:nvSpPr>
          <p:spPr>
            <a:xfrm rot="8716295">
              <a:off x="2865744" y="5089178"/>
              <a:ext cx="140009" cy="103412"/>
            </a:xfrm>
            <a:custGeom>
              <a:avLst/>
              <a:gdLst>
                <a:gd name="connsiteX0" fmla="*/ 23004 w 140009"/>
                <a:gd name="connsiteY0" fmla="*/ 73821 h 103412"/>
                <a:gd name="connsiteX1" fmla="*/ 2853 w 140009"/>
                <a:gd name="connsiteY1" fmla="*/ 34034 h 103412"/>
                <a:gd name="connsiteX2" fmla="*/ 0 w 140009"/>
                <a:gd name="connsiteY2" fmla="*/ 0 h 103412"/>
                <a:gd name="connsiteX3" fmla="*/ 140009 w 140009"/>
                <a:gd name="connsiteY3" fmla="*/ 97050 h 103412"/>
                <a:gd name="connsiteX4" fmla="*/ 137354 w 140009"/>
                <a:gd name="connsiteY4" fmla="*/ 97759 h 103412"/>
                <a:gd name="connsiteX5" fmla="*/ 95370 w 140009"/>
                <a:gd name="connsiteY5" fmla="*/ 103238 h 103412"/>
                <a:gd name="connsiteX6" fmla="*/ 23004 w 140009"/>
                <a:gd name="connsiteY6" fmla="*/ 73821 h 103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0009" h="103412">
                  <a:moveTo>
                    <a:pt x="23004" y="73821"/>
                  </a:moveTo>
                  <a:cubicBezTo>
                    <a:pt x="13002" y="64113"/>
                    <a:pt x="6677" y="50875"/>
                    <a:pt x="2853" y="34034"/>
                  </a:cubicBezTo>
                  <a:lnTo>
                    <a:pt x="0" y="0"/>
                  </a:lnTo>
                  <a:lnTo>
                    <a:pt x="140009" y="97050"/>
                  </a:lnTo>
                  <a:lnTo>
                    <a:pt x="137354" y="97759"/>
                  </a:lnTo>
                  <a:cubicBezTo>
                    <a:pt x="121846" y="100775"/>
                    <a:pt x="107579" y="102502"/>
                    <a:pt x="95370" y="103238"/>
                  </a:cubicBezTo>
                  <a:cubicBezTo>
                    <a:pt x="68307" y="105003"/>
                    <a:pt x="41831" y="93236"/>
                    <a:pt x="23004" y="7382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" name="Forme libre : forme 116">
              <a:extLst>
                <a:ext uri="{FF2B5EF4-FFF2-40B4-BE49-F238E27FC236}">
                  <a16:creationId xmlns:a16="http://schemas.microsoft.com/office/drawing/2014/main" id="{7486FE8B-6DC8-400F-8B49-3D0FF59EDA59}"/>
                </a:ext>
              </a:extLst>
            </p:cNvPr>
            <p:cNvSpPr/>
            <p:nvPr/>
          </p:nvSpPr>
          <p:spPr>
            <a:xfrm rot="8716295">
              <a:off x="2608590" y="404968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" name="Forme libre : forme 117">
              <a:extLst>
                <a:ext uri="{FF2B5EF4-FFF2-40B4-BE49-F238E27FC236}">
                  <a16:creationId xmlns:a16="http://schemas.microsoft.com/office/drawing/2014/main" id="{409E4F60-3261-496F-85E7-0CED778B23AA}"/>
                </a:ext>
              </a:extLst>
            </p:cNvPr>
            <p:cNvSpPr/>
            <p:nvPr/>
          </p:nvSpPr>
          <p:spPr>
            <a:xfrm rot="8716295">
              <a:off x="2697982" y="407892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" name="Forme libre : forme 118">
              <a:extLst>
                <a:ext uri="{FF2B5EF4-FFF2-40B4-BE49-F238E27FC236}">
                  <a16:creationId xmlns:a16="http://schemas.microsoft.com/office/drawing/2014/main" id="{B4A7442C-1C02-4AB6-8CC3-22865B34D758}"/>
                </a:ext>
              </a:extLst>
            </p:cNvPr>
            <p:cNvSpPr/>
            <p:nvPr/>
          </p:nvSpPr>
          <p:spPr>
            <a:xfrm rot="8716295">
              <a:off x="2653132" y="399264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" name="Forme libre : forme 119">
              <a:extLst>
                <a:ext uri="{FF2B5EF4-FFF2-40B4-BE49-F238E27FC236}">
                  <a16:creationId xmlns:a16="http://schemas.microsoft.com/office/drawing/2014/main" id="{84547BFC-5C73-4C79-BC1E-65D2DA2F8F0F}"/>
                </a:ext>
              </a:extLst>
            </p:cNvPr>
            <p:cNvSpPr/>
            <p:nvPr/>
          </p:nvSpPr>
          <p:spPr>
            <a:xfrm rot="8716295">
              <a:off x="2496356" y="413822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" name="Forme libre : forme 120">
              <a:extLst>
                <a:ext uri="{FF2B5EF4-FFF2-40B4-BE49-F238E27FC236}">
                  <a16:creationId xmlns:a16="http://schemas.microsoft.com/office/drawing/2014/main" id="{1433A272-01C5-407E-A681-F11EFA1E77DE}"/>
                </a:ext>
              </a:extLst>
            </p:cNvPr>
            <p:cNvSpPr/>
            <p:nvPr/>
          </p:nvSpPr>
          <p:spPr>
            <a:xfrm rot="8716295">
              <a:off x="2371453" y="392955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" name="Forme libre : forme 121">
              <a:extLst>
                <a:ext uri="{FF2B5EF4-FFF2-40B4-BE49-F238E27FC236}">
                  <a16:creationId xmlns:a16="http://schemas.microsoft.com/office/drawing/2014/main" id="{B66B2FCE-B89D-4CFE-947C-F30A5386F13E}"/>
                </a:ext>
              </a:extLst>
            </p:cNvPr>
            <p:cNvSpPr/>
            <p:nvPr/>
          </p:nvSpPr>
          <p:spPr>
            <a:xfrm rot="8716295">
              <a:off x="2359401" y="379077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" name="Forme libre : forme 122">
              <a:extLst>
                <a:ext uri="{FF2B5EF4-FFF2-40B4-BE49-F238E27FC236}">
                  <a16:creationId xmlns:a16="http://schemas.microsoft.com/office/drawing/2014/main" id="{CB1F906C-3F04-489D-B712-86F36DCF301D}"/>
                </a:ext>
              </a:extLst>
            </p:cNvPr>
            <p:cNvSpPr/>
            <p:nvPr/>
          </p:nvSpPr>
          <p:spPr>
            <a:xfrm rot="8716295">
              <a:off x="2586534" y="417917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" name="Forme libre : forme 123">
              <a:extLst>
                <a:ext uri="{FF2B5EF4-FFF2-40B4-BE49-F238E27FC236}">
                  <a16:creationId xmlns:a16="http://schemas.microsoft.com/office/drawing/2014/main" id="{BA0DE2D1-2098-4B24-BF1D-8B4133E050A7}"/>
                </a:ext>
              </a:extLst>
            </p:cNvPr>
            <p:cNvSpPr/>
            <p:nvPr/>
          </p:nvSpPr>
          <p:spPr>
            <a:xfrm rot="8716295">
              <a:off x="2897689" y="379952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" name="Forme libre : forme 124">
              <a:extLst>
                <a:ext uri="{FF2B5EF4-FFF2-40B4-BE49-F238E27FC236}">
                  <a16:creationId xmlns:a16="http://schemas.microsoft.com/office/drawing/2014/main" id="{280C5645-8889-4114-AA92-3C2F280AAAB1}"/>
                </a:ext>
              </a:extLst>
            </p:cNvPr>
            <p:cNvSpPr/>
            <p:nvPr/>
          </p:nvSpPr>
          <p:spPr>
            <a:xfrm rot="8716295">
              <a:off x="2989368" y="3839999"/>
              <a:ext cx="209149" cy="253771"/>
            </a:xfrm>
            <a:custGeom>
              <a:avLst/>
              <a:gdLst>
                <a:gd name="connsiteX0" fmla="*/ 147179 w 209149"/>
                <a:gd name="connsiteY0" fmla="*/ 97023 h 253771"/>
                <a:gd name="connsiteX1" fmla="*/ 147179 w 209149"/>
                <a:gd name="connsiteY1" fmla="*/ 80620 h 253771"/>
                <a:gd name="connsiteX2" fmla="*/ 113460 w 209149"/>
                <a:gd name="connsiteY2" fmla="*/ 39154 h 253771"/>
                <a:gd name="connsiteX3" fmla="*/ 104592 w 209149"/>
                <a:gd name="connsiteY3" fmla="*/ 42082 h 253771"/>
                <a:gd name="connsiteX4" fmla="*/ 139399 w 209149"/>
                <a:gd name="connsiteY4" fmla="*/ 0 h 253771"/>
                <a:gd name="connsiteX5" fmla="*/ 165512 w 209149"/>
                <a:gd name="connsiteY5" fmla="*/ 4538 h 253771"/>
                <a:gd name="connsiteX6" fmla="*/ 209149 w 209149"/>
                <a:gd name="connsiteY6" fmla="*/ 87454 h 253771"/>
                <a:gd name="connsiteX7" fmla="*/ 209149 w 209149"/>
                <a:gd name="connsiteY7" fmla="*/ 93378 h 253771"/>
                <a:gd name="connsiteX8" fmla="*/ 0 w 209149"/>
                <a:gd name="connsiteY8" fmla="*/ 253771 h 253771"/>
                <a:gd name="connsiteX9" fmla="*/ 0 w 209149"/>
                <a:gd name="connsiteY9" fmla="*/ 168537 h 253771"/>
                <a:gd name="connsiteX10" fmla="*/ 65782 w 209149"/>
                <a:gd name="connsiteY10" fmla="*/ 89005 h 253771"/>
                <a:gd name="connsiteX11" fmla="*/ 64377 w 209149"/>
                <a:gd name="connsiteY11" fmla="*/ 92403 h 253771"/>
                <a:gd name="connsiteX12" fmla="*/ 60148 w 209149"/>
                <a:gd name="connsiteY12" fmla="*/ 126641 h 253771"/>
                <a:gd name="connsiteX13" fmla="*/ 60148 w 209149"/>
                <a:gd name="connsiteY13" fmla="*/ 212762 h 253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9149" h="253771">
                  <a:moveTo>
                    <a:pt x="147179" y="97023"/>
                  </a:moveTo>
                  <a:lnTo>
                    <a:pt x="147179" y="80620"/>
                  </a:lnTo>
                  <a:cubicBezTo>
                    <a:pt x="147179" y="56013"/>
                    <a:pt x="133054" y="39154"/>
                    <a:pt x="113460" y="39154"/>
                  </a:cubicBezTo>
                  <a:lnTo>
                    <a:pt x="104592" y="42082"/>
                  </a:lnTo>
                  <a:lnTo>
                    <a:pt x="139399" y="0"/>
                  </a:lnTo>
                  <a:lnTo>
                    <a:pt x="165512" y="4538"/>
                  </a:lnTo>
                  <a:cubicBezTo>
                    <a:pt x="193258" y="16029"/>
                    <a:pt x="209149" y="45077"/>
                    <a:pt x="209149" y="87454"/>
                  </a:cubicBezTo>
                  <a:lnTo>
                    <a:pt x="209149" y="93378"/>
                  </a:lnTo>
                  <a:close/>
                  <a:moveTo>
                    <a:pt x="0" y="253771"/>
                  </a:moveTo>
                  <a:lnTo>
                    <a:pt x="0" y="168537"/>
                  </a:lnTo>
                  <a:lnTo>
                    <a:pt x="65782" y="89005"/>
                  </a:lnTo>
                  <a:lnTo>
                    <a:pt x="64377" y="92403"/>
                  </a:lnTo>
                  <a:cubicBezTo>
                    <a:pt x="61657" y="102890"/>
                    <a:pt x="60148" y="114452"/>
                    <a:pt x="60148" y="126641"/>
                  </a:cubicBezTo>
                  <a:lnTo>
                    <a:pt x="60148" y="2127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" name="Forme libre : forme 125">
              <a:extLst>
                <a:ext uri="{FF2B5EF4-FFF2-40B4-BE49-F238E27FC236}">
                  <a16:creationId xmlns:a16="http://schemas.microsoft.com/office/drawing/2014/main" id="{12C74CA9-7295-4DD3-B257-BC02E33DC169}"/>
                </a:ext>
              </a:extLst>
            </p:cNvPr>
            <p:cNvSpPr/>
            <p:nvPr/>
          </p:nvSpPr>
          <p:spPr>
            <a:xfrm rot="8716295">
              <a:off x="2785455" y="388807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" name="Forme libre : forme 126">
              <a:extLst>
                <a:ext uri="{FF2B5EF4-FFF2-40B4-BE49-F238E27FC236}">
                  <a16:creationId xmlns:a16="http://schemas.microsoft.com/office/drawing/2014/main" id="{5EABE596-751A-434B-B681-D5C7A4015BC8}"/>
                </a:ext>
              </a:extLst>
            </p:cNvPr>
            <p:cNvSpPr/>
            <p:nvPr/>
          </p:nvSpPr>
          <p:spPr>
            <a:xfrm rot="8716295">
              <a:off x="2660553" y="367940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" name="Forme libre : forme 127">
              <a:extLst>
                <a:ext uri="{FF2B5EF4-FFF2-40B4-BE49-F238E27FC236}">
                  <a16:creationId xmlns:a16="http://schemas.microsoft.com/office/drawing/2014/main" id="{34A25BB8-E5A6-43A3-A6BE-6CBEBC3F2CD9}"/>
                </a:ext>
              </a:extLst>
            </p:cNvPr>
            <p:cNvSpPr/>
            <p:nvPr/>
          </p:nvSpPr>
          <p:spPr>
            <a:xfrm rot="8716295">
              <a:off x="2875633" y="392902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" name="Forme libre : forme 128">
              <a:extLst>
                <a:ext uri="{FF2B5EF4-FFF2-40B4-BE49-F238E27FC236}">
                  <a16:creationId xmlns:a16="http://schemas.microsoft.com/office/drawing/2014/main" id="{BC27C288-1E66-4F8B-924C-4EDB2BC25294}"/>
                </a:ext>
              </a:extLst>
            </p:cNvPr>
            <p:cNvSpPr/>
            <p:nvPr/>
          </p:nvSpPr>
          <p:spPr>
            <a:xfrm rot="8716295">
              <a:off x="2634182" y="377942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" name="Forme libre : forme 129">
              <a:extLst>
                <a:ext uri="{FF2B5EF4-FFF2-40B4-BE49-F238E27FC236}">
                  <a16:creationId xmlns:a16="http://schemas.microsoft.com/office/drawing/2014/main" id="{C22A0888-0C9E-4945-82D7-7EE608C46CC7}"/>
                </a:ext>
              </a:extLst>
            </p:cNvPr>
            <p:cNvSpPr/>
            <p:nvPr/>
          </p:nvSpPr>
          <p:spPr>
            <a:xfrm rot="7484129">
              <a:off x="2986722" y="4140706"/>
              <a:ext cx="156000" cy="195873"/>
            </a:xfrm>
            <a:custGeom>
              <a:avLst/>
              <a:gdLst>
                <a:gd name="connsiteX0" fmla="*/ 42863 w 156000"/>
                <a:gd name="connsiteY0" fmla="*/ 195873 h 195873"/>
                <a:gd name="connsiteX1" fmla="*/ 0 w 156000"/>
                <a:gd name="connsiteY1" fmla="*/ 116129 h 195873"/>
                <a:gd name="connsiteX2" fmla="*/ 19423 w 156000"/>
                <a:gd name="connsiteY2" fmla="*/ 62274 h 195873"/>
                <a:gd name="connsiteX3" fmla="*/ 127856 w 156000"/>
                <a:gd name="connsiteY3" fmla="*/ 0 h 195873"/>
                <a:gd name="connsiteX4" fmla="*/ 156000 w 156000"/>
                <a:gd name="connsiteY4" fmla="*/ 0 h 195873"/>
                <a:gd name="connsiteX5" fmla="*/ 156000 w 156000"/>
                <a:gd name="connsiteY5" fmla="*/ 55323 h 195873"/>
                <a:gd name="connsiteX6" fmla="*/ 91208 w 156000"/>
                <a:gd name="connsiteY6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000" h="195873">
                  <a:moveTo>
                    <a:pt x="42863" y="195873"/>
                  </a:moveTo>
                  <a:lnTo>
                    <a:pt x="0" y="116129"/>
                  </a:lnTo>
                  <a:lnTo>
                    <a:pt x="19423" y="62274"/>
                  </a:lnTo>
                  <a:lnTo>
                    <a:pt x="127856" y="0"/>
                  </a:lnTo>
                  <a:lnTo>
                    <a:pt x="156000" y="0"/>
                  </a:lnTo>
                  <a:lnTo>
                    <a:pt x="156000" y="55323"/>
                  </a:lnTo>
                  <a:lnTo>
                    <a:pt x="91208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" name="Forme libre : forme 130">
              <a:extLst>
                <a:ext uri="{FF2B5EF4-FFF2-40B4-BE49-F238E27FC236}">
                  <a16:creationId xmlns:a16="http://schemas.microsoft.com/office/drawing/2014/main" id="{B1E3FE16-8016-4EF3-8614-3D1D60105986}"/>
                </a:ext>
              </a:extLst>
            </p:cNvPr>
            <p:cNvSpPr/>
            <p:nvPr/>
          </p:nvSpPr>
          <p:spPr>
            <a:xfrm rot="8716295">
              <a:off x="2975918" y="382185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" name="Forme libre : forme 131">
              <a:extLst>
                <a:ext uri="{FF2B5EF4-FFF2-40B4-BE49-F238E27FC236}">
                  <a16:creationId xmlns:a16="http://schemas.microsoft.com/office/drawing/2014/main" id="{E69AE829-0E6B-4637-B9A4-FB76BF7CE509}"/>
                </a:ext>
              </a:extLst>
            </p:cNvPr>
            <p:cNvSpPr/>
            <p:nvPr/>
          </p:nvSpPr>
          <p:spPr>
            <a:xfrm rot="8716295">
              <a:off x="3136327" y="3677877"/>
              <a:ext cx="62210" cy="70771"/>
            </a:xfrm>
            <a:custGeom>
              <a:avLst/>
              <a:gdLst>
                <a:gd name="connsiteX0" fmla="*/ 0 w 62210"/>
                <a:gd name="connsiteY0" fmla="*/ 69343 h 70771"/>
                <a:gd name="connsiteX1" fmla="*/ 57354 w 62210"/>
                <a:gd name="connsiteY1" fmla="*/ 0 h 70771"/>
                <a:gd name="connsiteX2" fmla="*/ 62210 w 62210"/>
                <a:gd name="connsiteY2" fmla="*/ 11557 h 70771"/>
                <a:gd name="connsiteX3" fmla="*/ 44963 w 62210"/>
                <a:gd name="connsiteY3" fmla="*/ 53294 h 70771"/>
                <a:gd name="connsiteX4" fmla="*/ 3570 w 62210"/>
                <a:gd name="connsiteY4" fmla="*/ 70771 h 70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210" h="70771">
                  <a:moveTo>
                    <a:pt x="0" y="69343"/>
                  </a:moveTo>
                  <a:lnTo>
                    <a:pt x="57354" y="0"/>
                  </a:lnTo>
                  <a:lnTo>
                    <a:pt x="62210" y="11557"/>
                  </a:lnTo>
                  <a:cubicBezTo>
                    <a:pt x="62210" y="26619"/>
                    <a:pt x="56461" y="41796"/>
                    <a:pt x="44963" y="53294"/>
                  </a:cubicBezTo>
                  <a:cubicBezTo>
                    <a:pt x="33925" y="64332"/>
                    <a:pt x="19208" y="70771"/>
                    <a:pt x="3570" y="7077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" name="Forme libre : forme 132">
              <a:extLst>
                <a:ext uri="{FF2B5EF4-FFF2-40B4-BE49-F238E27FC236}">
                  <a16:creationId xmlns:a16="http://schemas.microsoft.com/office/drawing/2014/main" id="{D37688C2-C0A6-4E05-B609-4CB494CE709C}"/>
                </a:ext>
              </a:extLst>
            </p:cNvPr>
            <p:cNvSpPr/>
            <p:nvPr/>
          </p:nvSpPr>
          <p:spPr>
            <a:xfrm rot="8716295">
              <a:off x="2831757" y="470938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" name="Forme libre : forme 133">
              <a:extLst>
                <a:ext uri="{FF2B5EF4-FFF2-40B4-BE49-F238E27FC236}">
                  <a16:creationId xmlns:a16="http://schemas.microsoft.com/office/drawing/2014/main" id="{A3A6BF4C-1E72-4FF3-8FB3-699E9245E152}"/>
                </a:ext>
              </a:extLst>
            </p:cNvPr>
            <p:cNvSpPr/>
            <p:nvPr/>
          </p:nvSpPr>
          <p:spPr>
            <a:xfrm rot="8716295">
              <a:off x="2922791" y="4750051"/>
              <a:ext cx="209149" cy="251506"/>
            </a:xfrm>
            <a:custGeom>
              <a:avLst/>
              <a:gdLst>
                <a:gd name="connsiteX0" fmla="*/ 147179 w 209149"/>
                <a:gd name="connsiteY0" fmla="*/ 94758 h 251506"/>
                <a:gd name="connsiteX1" fmla="*/ 147179 w 209149"/>
                <a:gd name="connsiteY1" fmla="*/ 78354 h 251506"/>
                <a:gd name="connsiteX2" fmla="*/ 137667 w 209149"/>
                <a:gd name="connsiteY2" fmla="*/ 48394 h 251506"/>
                <a:gd name="connsiteX3" fmla="*/ 119535 w 209149"/>
                <a:gd name="connsiteY3" fmla="*/ 39776 h 251506"/>
                <a:gd name="connsiteX4" fmla="*/ 152434 w 209149"/>
                <a:gd name="connsiteY4" fmla="*/ 0 h 251506"/>
                <a:gd name="connsiteX5" fmla="*/ 165512 w 209149"/>
                <a:gd name="connsiteY5" fmla="*/ 2273 h 251506"/>
                <a:gd name="connsiteX6" fmla="*/ 209149 w 209149"/>
                <a:gd name="connsiteY6" fmla="*/ 85189 h 251506"/>
                <a:gd name="connsiteX7" fmla="*/ 209149 w 209149"/>
                <a:gd name="connsiteY7" fmla="*/ 91113 h 251506"/>
                <a:gd name="connsiteX8" fmla="*/ 0 w 209149"/>
                <a:gd name="connsiteY8" fmla="*/ 251506 h 251506"/>
                <a:gd name="connsiteX9" fmla="*/ 0 w 209149"/>
                <a:gd name="connsiteY9" fmla="*/ 184297 h 251506"/>
                <a:gd name="connsiteX10" fmla="*/ 62006 w 209149"/>
                <a:gd name="connsiteY10" fmla="*/ 109330 h 251506"/>
                <a:gd name="connsiteX11" fmla="*/ 60148 w 209149"/>
                <a:gd name="connsiteY11" fmla="*/ 124376 h 251506"/>
                <a:gd name="connsiteX12" fmla="*/ 60148 w 209149"/>
                <a:gd name="connsiteY12" fmla="*/ 210497 h 251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9149" h="251506">
                  <a:moveTo>
                    <a:pt x="147179" y="94758"/>
                  </a:moveTo>
                  <a:lnTo>
                    <a:pt x="147179" y="78354"/>
                  </a:lnTo>
                  <a:cubicBezTo>
                    <a:pt x="147179" y="66051"/>
                    <a:pt x="143648" y="55685"/>
                    <a:pt x="137667" y="48394"/>
                  </a:cubicBezTo>
                  <a:lnTo>
                    <a:pt x="119535" y="39776"/>
                  </a:lnTo>
                  <a:lnTo>
                    <a:pt x="152434" y="0"/>
                  </a:lnTo>
                  <a:lnTo>
                    <a:pt x="165512" y="2273"/>
                  </a:lnTo>
                  <a:cubicBezTo>
                    <a:pt x="193258" y="13764"/>
                    <a:pt x="209149" y="42812"/>
                    <a:pt x="209149" y="85189"/>
                  </a:cubicBezTo>
                  <a:lnTo>
                    <a:pt x="209149" y="91113"/>
                  </a:lnTo>
                  <a:close/>
                  <a:moveTo>
                    <a:pt x="0" y="251506"/>
                  </a:moveTo>
                  <a:lnTo>
                    <a:pt x="0" y="184297"/>
                  </a:lnTo>
                  <a:lnTo>
                    <a:pt x="62006" y="109330"/>
                  </a:lnTo>
                  <a:lnTo>
                    <a:pt x="60148" y="124376"/>
                  </a:lnTo>
                  <a:lnTo>
                    <a:pt x="60148" y="21049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" name="Forme libre : forme 134">
              <a:extLst>
                <a:ext uri="{FF2B5EF4-FFF2-40B4-BE49-F238E27FC236}">
                  <a16:creationId xmlns:a16="http://schemas.microsoft.com/office/drawing/2014/main" id="{5140B893-7827-4D80-AD77-FD3E70DDBAED}"/>
                </a:ext>
              </a:extLst>
            </p:cNvPr>
            <p:cNvSpPr/>
            <p:nvPr/>
          </p:nvSpPr>
          <p:spPr>
            <a:xfrm rot="8716295">
              <a:off x="2876299" y="465234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" name="Forme libre : forme 135">
              <a:extLst>
                <a:ext uri="{FF2B5EF4-FFF2-40B4-BE49-F238E27FC236}">
                  <a16:creationId xmlns:a16="http://schemas.microsoft.com/office/drawing/2014/main" id="{CEF19F0C-E18C-48D8-9AB5-6885668C7FC0}"/>
                </a:ext>
              </a:extLst>
            </p:cNvPr>
            <p:cNvSpPr/>
            <p:nvPr/>
          </p:nvSpPr>
          <p:spPr>
            <a:xfrm rot="8716295">
              <a:off x="2719523" y="479792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" name="Forme libre : forme 136">
              <a:extLst>
                <a:ext uri="{FF2B5EF4-FFF2-40B4-BE49-F238E27FC236}">
                  <a16:creationId xmlns:a16="http://schemas.microsoft.com/office/drawing/2014/main" id="{0BB22A70-3803-482F-84FC-984B6EC6C374}"/>
                </a:ext>
              </a:extLst>
            </p:cNvPr>
            <p:cNvSpPr/>
            <p:nvPr/>
          </p:nvSpPr>
          <p:spPr>
            <a:xfrm rot="8716295">
              <a:off x="2594620" y="458925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" name="Forme libre : forme 137">
              <a:extLst>
                <a:ext uri="{FF2B5EF4-FFF2-40B4-BE49-F238E27FC236}">
                  <a16:creationId xmlns:a16="http://schemas.microsoft.com/office/drawing/2014/main" id="{BB66996B-CABF-4C18-97CF-8361430CCC5E}"/>
                </a:ext>
              </a:extLst>
            </p:cNvPr>
            <p:cNvSpPr/>
            <p:nvPr/>
          </p:nvSpPr>
          <p:spPr>
            <a:xfrm rot="8716295">
              <a:off x="2582568" y="4450471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" name="Forme libre : forme 138">
              <a:extLst>
                <a:ext uri="{FF2B5EF4-FFF2-40B4-BE49-F238E27FC236}">
                  <a16:creationId xmlns:a16="http://schemas.microsoft.com/office/drawing/2014/main" id="{EE47147C-71F2-4045-A9A2-5EC38820966E}"/>
                </a:ext>
              </a:extLst>
            </p:cNvPr>
            <p:cNvSpPr/>
            <p:nvPr/>
          </p:nvSpPr>
          <p:spPr>
            <a:xfrm rot="8716295">
              <a:off x="2809701" y="483887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" name="Forme libre : forme 139">
              <a:extLst>
                <a:ext uri="{FF2B5EF4-FFF2-40B4-BE49-F238E27FC236}">
                  <a16:creationId xmlns:a16="http://schemas.microsoft.com/office/drawing/2014/main" id="{89BAF661-43F0-4B4A-A23C-BA7CE46BDD71}"/>
                </a:ext>
              </a:extLst>
            </p:cNvPr>
            <p:cNvSpPr/>
            <p:nvPr/>
          </p:nvSpPr>
          <p:spPr>
            <a:xfrm rot="8716295">
              <a:off x="3081353" y="4514214"/>
              <a:ext cx="36672" cy="44337"/>
            </a:xfrm>
            <a:custGeom>
              <a:avLst/>
              <a:gdLst>
                <a:gd name="connsiteX0" fmla="*/ 0 w 36672"/>
                <a:gd name="connsiteY0" fmla="*/ 44337 h 44337"/>
                <a:gd name="connsiteX1" fmla="*/ 36672 w 36672"/>
                <a:gd name="connsiteY1" fmla="*/ 0 h 44337"/>
                <a:gd name="connsiteX2" fmla="*/ 36672 w 36672"/>
                <a:gd name="connsiteY2" fmla="*/ 29833 h 44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672" h="44337">
                  <a:moveTo>
                    <a:pt x="0" y="44337"/>
                  </a:moveTo>
                  <a:lnTo>
                    <a:pt x="36672" y="0"/>
                  </a:lnTo>
                  <a:lnTo>
                    <a:pt x="36672" y="298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" name="Forme libre : forme 140">
              <a:extLst>
                <a:ext uri="{FF2B5EF4-FFF2-40B4-BE49-F238E27FC236}">
                  <a16:creationId xmlns:a16="http://schemas.microsoft.com/office/drawing/2014/main" id="{63A651C5-5D05-4459-83FE-EB640DC8F382}"/>
                </a:ext>
              </a:extLst>
            </p:cNvPr>
            <p:cNvSpPr/>
            <p:nvPr/>
          </p:nvSpPr>
          <p:spPr>
            <a:xfrm rot="8716295">
              <a:off x="3008622" y="45477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" name="Forme libre : forme 141">
              <a:extLst>
                <a:ext uri="{FF2B5EF4-FFF2-40B4-BE49-F238E27FC236}">
                  <a16:creationId xmlns:a16="http://schemas.microsoft.com/office/drawing/2014/main" id="{092AE7DF-4653-4199-BFAC-73916EFC860A}"/>
                </a:ext>
              </a:extLst>
            </p:cNvPr>
            <p:cNvSpPr/>
            <p:nvPr/>
          </p:nvSpPr>
          <p:spPr>
            <a:xfrm rot="8716295">
              <a:off x="2879209" y="433901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22587 h 195874"/>
                <a:gd name="connsiteX5" fmla="*/ 18682 w 203847"/>
                <a:gd name="connsiteY5" fmla="*/ 0 h 195874"/>
                <a:gd name="connsiteX6" fmla="*/ 203847 w 203847"/>
                <a:gd name="connsiteY6" fmla="*/ 0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22587"/>
                  </a:lnTo>
                  <a:lnTo>
                    <a:pt x="18682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" name="Forme libre : forme 142">
              <a:extLst>
                <a:ext uri="{FF2B5EF4-FFF2-40B4-BE49-F238E27FC236}">
                  <a16:creationId xmlns:a16="http://schemas.microsoft.com/office/drawing/2014/main" id="{D41ED30F-3026-421E-ABA6-358575487EBA}"/>
                </a:ext>
              </a:extLst>
            </p:cNvPr>
            <p:cNvSpPr/>
            <p:nvPr/>
          </p:nvSpPr>
          <p:spPr>
            <a:xfrm rot="8716295">
              <a:off x="3061023" y="4621511"/>
              <a:ext cx="34902" cy="75779"/>
            </a:xfrm>
            <a:custGeom>
              <a:avLst/>
              <a:gdLst>
                <a:gd name="connsiteX0" fmla="*/ 34902 w 34902"/>
                <a:gd name="connsiteY0" fmla="*/ 75779 h 75779"/>
                <a:gd name="connsiteX1" fmla="*/ 0 w 34902"/>
                <a:gd name="connsiteY1" fmla="*/ 42198 h 75779"/>
                <a:gd name="connsiteX2" fmla="*/ 34902 w 34902"/>
                <a:gd name="connsiteY2" fmla="*/ 0 h 75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902" h="75779">
                  <a:moveTo>
                    <a:pt x="34902" y="75779"/>
                  </a:moveTo>
                  <a:lnTo>
                    <a:pt x="0" y="42198"/>
                  </a:lnTo>
                  <a:lnTo>
                    <a:pt x="3490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4" name="Forme libre : forme 143">
              <a:extLst>
                <a:ext uri="{FF2B5EF4-FFF2-40B4-BE49-F238E27FC236}">
                  <a16:creationId xmlns:a16="http://schemas.microsoft.com/office/drawing/2014/main" id="{3F91EA7A-2760-47AB-B973-A377384BFCEB}"/>
                </a:ext>
              </a:extLst>
            </p:cNvPr>
            <p:cNvSpPr/>
            <p:nvPr/>
          </p:nvSpPr>
          <p:spPr>
            <a:xfrm rot="8716295">
              <a:off x="2857349" y="443912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5" name="Forme libre : forme 144">
              <a:extLst>
                <a:ext uri="{FF2B5EF4-FFF2-40B4-BE49-F238E27FC236}">
                  <a16:creationId xmlns:a16="http://schemas.microsoft.com/office/drawing/2014/main" id="{41EE0DAC-E1CD-4DF6-B038-DF99C017AF47}"/>
                </a:ext>
              </a:extLst>
            </p:cNvPr>
            <p:cNvSpPr/>
            <p:nvPr/>
          </p:nvSpPr>
          <p:spPr>
            <a:xfrm rot="8716295">
              <a:off x="1945235" y="207061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6" name="Forme libre : forme 145">
              <a:extLst>
                <a:ext uri="{FF2B5EF4-FFF2-40B4-BE49-F238E27FC236}">
                  <a16:creationId xmlns:a16="http://schemas.microsoft.com/office/drawing/2014/main" id="{280B0FCB-6B6E-4C11-92C1-4D7A5EC1D4AD}"/>
                </a:ext>
              </a:extLst>
            </p:cNvPr>
            <p:cNvSpPr/>
            <p:nvPr/>
          </p:nvSpPr>
          <p:spPr>
            <a:xfrm rot="8716295">
              <a:off x="2034627" y="209985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7" name="Forme libre : forme 146">
              <a:extLst>
                <a:ext uri="{FF2B5EF4-FFF2-40B4-BE49-F238E27FC236}">
                  <a16:creationId xmlns:a16="http://schemas.microsoft.com/office/drawing/2014/main" id="{9891BA28-484A-4733-8CF3-53CE88879C65}"/>
                </a:ext>
              </a:extLst>
            </p:cNvPr>
            <p:cNvSpPr/>
            <p:nvPr/>
          </p:nvSpPr>
          <p:spPr>
            <a:xfrm rot="8716295">
              <a:off x="1989777" y="201357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8" name="Forme libre : forme 147">
              <a:extLst>
                <a:ext uri="{FF2B5EF4-FFF2-40B4-BE49-F238E27FC236}">
                  <a16:creationId xmlns:a16="http://schemas.microsoft.com/office/drawing/2014/main" id="{9E43636F-0BE6-4C9B-B96D-D3D316F85163}"/>
                </a:ext>
              </a:extLst>
            </p:cNvPr>
            <p:cNvSpPr/>
            <p:nvPr/>
          </p:nvSpPr>
          <p:spPr>
            <a:xfrm rot="8716295">
              <a:off x="1833001" y="215915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9" name="Forme libre : forme 148">
              <a:extLst>
                <a:ext uri="{FF2B5EF4-FFF2-40B4-BE49-F238E27FC236}">
                  <a16:creationId xmlns:a16="http://schemas.microsoft.com/office/drawing/2014/main" id="{E5C5D07F-1F3F-49A7-9D1F-45F1F92DDF33}"/>
                </a:ext>
              </a:extLst>
            </p:cNvPr>
            <p:cNvSpPr/>
            <p:nvPr/>
          </p:nvSpPr>
          <p:spPr>
            <a:xfrm rot="8716295">
              <a:off x="1708098" y="195048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0" name="Forme libre : forme 149">
              <a:extLst>
                <a:ext uri="{FF2B5EF4-FFF2-40B4-BE49-F238E27FC236}">
                  <a16:creationId xmlns:a16="http://schemas.microsoft.com/office/drawing/2014/main" id="{207E57C6-B2AE-4BC9-A0BC-164A405D607B}"/>
                </a:ext>
              </a:extLst>
            </p:cNvPr>
            <p:cNvSpPr/>
            <p:nvPr/>
          </p:nvSpPr>
          <p:spPr>
            <a:xfrm rot="8716295">
              <a:off x="1696046" y="181170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1" name="Forme libre : forme 150">
              <a:extLst>
                <a:ext uri="{FF2B5EF4-FFF2-40B4-BE49-F238E27FC236}">
                  <a16:creationId xmlns:a16="http://schemas.microsoft.com/office/drawing/2014/main" id="{FD7783C5-00B3-479F-9977-DAF07693A1CC}"/>
                </a:ext>
              </a:extLst>
            </p:cNvPr>
            <p:cNvSpPr/>
            <p:nvPr/>
          </p:nvSpPr>
          <p:spPr>
            <a:xfrm rot="8716295">
              <a:off x="1923179" y="220010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2" name="Forme libre : forme 151">
              <a:extLst>
                <a:ext uri="{FF2B5EF4-FFF2-40B4-BE49-F238E27FC236}">
                  <a16:creationId xmlns:a16="http://schemas.microsoft.com/office/drawing/2014/main" id="{DEFBD7BA-14F9-43E3-A392-63B2C3EB3D89}"/>
                </a:ext>
              </a:extLst>
            </p:cNvPr>
            <p:cNvSpPr/>
            <p:nvPr/>
          </p:nvSpPr>
          <p:spPr>
            <a:xfrm rot="8716295">
              <a:off x="2234334" y="182046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3" name="Forme libre : forme 152">
              <a:extLst>
                <a:ext uri="{FF2B5EF4-FFF2-40B4-BE49-F238E27FC236}">
                  <a16:creationId xmlns:a16="http://schemas.microsoft.com/office/drawing/2014/main" id="{FA5B5BF3-F8F8-4C26-90BE-9AB63A9858C0}"/>
                </a:ext>
              </a:extLst>
            </p:cNvPr>
            <p:cNvSpPr/>
            <p:nvPr/>
          </p:nvSpPr>
          <p:spPr>
            <a:xfrm rot="8716295">
              <a:off x="2323726" y="184970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4" name="Forme libre : forme 153">
              <a:extLst>
                <a:ext uri="{FF2B5EF4-FFF2-40B4-BE49-F238E27FC236}">
                  <a16:creationId xmlns:a16="http://schemas.microsoft.com/office/drawing/2014/main" id="{7D4A76DD-C0C6-4680-9B5E-C0F67CFE2306}"/>
                </a:ext>
              </a:extLst>
            </p:cNvPr>
            <p:cNvSpPr/>
            <p:nvPr/>
          </p:nvSpPr>
          <p:spPr>
            <a:xfrm rot="8716295">
              <a:off x="2122100" y="19090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5" name="Forme libre : forme 154">
              <a:extLst>
                <a:ext uri="{FF2B5EF4-FFF2-40B4-BE49-F238E27FC236}">
                  <a16:creationId xmlns:a16="http://schemas.microsoft.com/office/drawing/2014/main" id="{6F20D922-BA49-4338-8552-0E24349BE40F}"/>
                </a:ext>
              </a:extLst>
            </p:cNvPr>
            <p:cNvSpPr/>
            <p:nvPr/>
          </p:nvSpPr>
          <p:spPr>
            <a:xfrm rot="8716295">
              <a:off x="1997198" y="170033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6" name="Forme libre : forme 155">
              <a:extLst>
                <a:ext uri="{FF2B5EF4-FFF2-40B4-BE49-F238E27FC236}">
                  <a16:creationId xmlns:a16="http://schemas.microsoft.com/office/drawing/2014/main" id="{C49CE272-F4B5-48DE-8F4E-72BDDD64982A}"/>
                </a:ext>
              </a:extLst>
            </p:cNvPr>
            <p:cNvSpPr/>
            <p:nvPr/>
          </p:nvSpPr>
          <p:spPr>
            <a:xfrm rot="8716295">
              <a:off x="2212278" y="194995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7" name="Forme libre : forme 156">
              <a:extLst>
                <a:ext uri="{FF2B5EF4-FFF2-40B4-BE49-F238E27FC236}">
                  <a16:creationId xmlns:a16="http://schemas.microsoft.com/office/drawing/2014/main" id="{89A0B9F3-EFEE-493B-B0C9-5CE4EF3AC015}"/>
                </a:ext>
              </a:extLst>
            </p:cNvPr>
            <p:cNvSpPr/>
            <p:nvPr/>
          </p:nvSpPr>
          <p:spPr>
            <a:xfrm rot="8716295">
              <a:off x="1970827" y="180035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8" name="Forme libre : forme 157">
              <a:extLst>
                <a:ext uri="{FF2B5EF4-FFF2-40B4-BE49-F238E27FC236}">
                  <a16:creationId xmlns:a16="http://schemas.microsoft.com/office/drawing/2014/main" id="{381186EF-923B-4BA3-A64F-0BC643A96F05}"/>
                </a:ext>
              </a:extLst>
            </p:cNvPr>
            <p:cNvSpPr/>
            <p:nvPr/>
          </p:nvSpPr>
          <p:spPr>
            <a:xfrm rot="7484129">
              <a:off x="2317209" y="214130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9" name="Forme libre : forme 158">
              <a:extLst>
                <a:ext uri="{FF2B5EF4-FFF2-40B4-BE49-F238E27FC236}">
                  <a16:creationId xmlns:a16="http://schemas.microsoft.com/office/drawing/2014/main" id="{788393C8-C36C-4E12-8713-6D9894A034E5}"/>
                </a:ext>
              </a:extLst>
            </p:cNvPr>
            <p:cNvSpPr/>
            <p:nvPr/>
          </p:nvSpPr>
          <p:spPr>
            <a:xfrm rot="13089394">
              <a:off x="2422029" y="2107841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0" name="Forme libre : forme 159">
              <a:extLst>
                <a:ext uri="{FF2B5EF4-FFF2-40B4-BE49-F238E27FC236}">
                  <a16:creationId xmlns:a16="http://schemas.microsoft.com/office/drawing/2014/main" id="{C4FA5850-C1BD-4E2E-921F-011D1E41FA44}"/>
                </a:ext>
              </a:extLst>
            </p:cNvPr>
            <p:cNvSpPr/>
            <p:nvPr/>
          </p:nvSpPr>
          <p:spPr>
            <a:xfrm rot="8716295">
              <a:off x="2607614" y="191616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1" name="Forme libre : forme 160">
              <a:extLst>
                <a:ext uri="{FF2B5EF4-FFF2-40B4-BE49-F238E27FC236}">
                  <a16:creationId xmlns:a16="http://schemas.microsoft.com/office/drawing/2014/main" id="{D19371A5-FFF2-4505-BA78-FDBD81E756C8}"/>
                </a:ext>
              </a:extLst>
            </p:cNvPr>
            <p:cNvSpPr/>
            <p:nvPr/>
          </p:nvSpPr>
          <p:spPr>
            <a:xfrm rot="8716295">
              <a:off x="2555809" y="181256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2" name="Forme libre : forme 161">
              <a:extLst>
                <a:ext uri="{FF2B5EF4-FFF2-40B4-BE49-F238E27FC236}">
                  <a16:creationId xmlns:a16="http://schemas.microsoft.com/office/drawing/2014/main" id="{A15BB5DD-2D34-4EE6-A86F-363F8D953409}"/>
                </a:ext>
              </a:extLst>
            </p:cNvPr>
            <p:cNvSpPr/>
            <p:nvPr/>
          </p:nvSpPr>
          <p:spPr>
            <a:xfrm rot="8716295">
              <a:off x="2312563" y="184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3" name="Forme libre : forme 162">
              <a:extLst>
                <a:ext uri="{FF2B5EF4-FFF2-40B4-BE49-F238E27FC236}">
                  <a16:creationId xmlns:a16="http://schemas.microsoft.com/office/drawing/2014/main" id="{EA840678-0C4C-427E-B930-90E4B3D4F4F5}"/>
                </a:ext>
              </a:extLst>
            </p:cNvPr>
            <p:cNvSpPr/>
            <p:nvPr/>
          </p:nvSpPr>
          <p:spPr>
            <a:xfrm rot="8716295">
              <a:off x="2490015" y="168354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4" name="Forme libre : forme 163">
              <a:extLst>
                <a:ext uri="{FF2B5EF4-FFF2-40B4-BE49-F238E27FC236}">
                  <a16:creationId xmlns:a16="http://schemas.microsoft.com/office/drawing/2014/main" id="{D24A7F84-D7C5-48B5-A2D9-046539552BF1}"/>
                </a:ext>
              </a:extLst>
            </p:cNvPr>
            <p:cNvSpPr/>
            <p:nvPr/>
          </p:nvSpPr>
          <p:spPr>
            <a:xfrm rot="8716295">
              <a:off x="1722068" y="141091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5" name="Forme libre : forme 164">
              <a:extLst>
                <a:ext uri="{FF2B5EF4-FFF2-40B4-BE49-F238E27FC236}">
                  <a16:creationId xmlns:a16="http://schemas.microsoft.com/office/drawing/2014/main" id="{5057A8E5-18E1-48A6-876F-42538393E91C}"/>
                </a:ext>
              </a:extLst>
            </p:cNvPr>
            <p:cNvSpPr/>
            <p:nvPr/>
          </p:nvSpPr>
          <p:spPr>
            <a:xfrm rot="8716295">
              <a:off x="1811460" y="144015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6" name="Forme libre : forme 165">
              <a:extLst>
                <a:ext uri="{FF2B5EF4-FFF2-40B4-BE49-F238E27FC236}">
                  <a16:creationId xmlns:a16="http://schemas.microsoft.com/office/drawing/2014/main" id="{F17BAF41-442E-4918-95C6-E19EEA6D7525}"/>
                </a:ext>
              </a:extLst>
            </p:cNvPr>
            <p:cNvSpPr/>
            <p:nvPr/>
          </p:nvSpPr>
          <p:spPr>
            <a:xfrm rot="8716295">
              <a:off x="1766610" y="135387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7" name="Forme libre : forme 166">
              <a:extLst>
                <a:ext uri="{FF2B5EF4-FFF2-40B4-BE49-F238E27FC236}">
                  <a16:creationId xmlns:a16="http://schemas.microsoft.com/office/drawing/2014/main" id="{62988CCC-AFDA-4601-89EC-2DCFE47EF1C9}"/>
                </a:ext>
              </a:extLst>
            </p:cNvPr>
            <p:cNvSpPr/>
            <p:nvPr/>
          </p:nvSpPr>
          <p:spPr>
            <a:xfrm rot="8716295">
              <a:off x="1609834" y="149945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8" name="Forme libre : forme 167">
              <a:extLst>
                <a:ext uri="{FF2B5EF4-FFF2-40B4-BE49-F238E27FC236}">
                  <a16:creationId xmlns:a16="http://schemas.microsoft.com/office/drawing/2014/main" id="{5054FA74-E8B8-46F3-A02A-768107F93576}"/>
                </a:ext>
              </a:extLst>
            </p:cNvPr>
            <p:cNvSpPr/>
            <p:nvPr/>
          </p:nvSpPr>
          <p:spPr>
            <a:xfrm rot="8716295">
              <a:off x="1484931" y="129078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9" name="Forme libre : forme 168">
              <a:extLst>
                <a:ext uri="{FF2B5EF4-FFF2-40B4-BE49-F238E27FC236}">
                  <a16:creationId xmlns:a16="http://schemas.microsoft.com/office/drawing/2014/main" id="{A04E0DF6-BDC7-4FC4-B1B7-F62238D08C5B}"/>
                </a:ext>
              </a:extLst>
            </p:cNvPr>
            <p:cNvSpPr/>
            <p:nvPr/>
          </p:nvSpPr>
          <p:spPr>
            <a:xfrm rot="8716295">
              <a:off x="1472879" y="115200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0" name="Forme libre : forme 169">
              <a:extLst>
                <a:ext uri="{FF2B5EF4-FFF2-40B4-BE49-F238E27FC236}">
                  <a16:creationId xmlns:a16="http://schemas.microsoft.com/office/drawing/2014/main" id="{57389608-4676-4687-8ECB-4D71B8133D4F}"/>
                </a:ext>
              </a:extLst>
            </p:cNvPr>
            <p:cNvSpPr/>
            <p:nvPr/>
          </p:nvSpPr>
          <p:spPr>
            <a:xfrm rot="8716295">
              <a:off x="1700012" y="154040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1" name="Forme libre : forme 170">
              <a:extLst>
                <a:ext uri="{FF2B5EF4-FFF2-40B4-BE49-F238E27FC236}">
                  <a16:creationId xmlns:a16="http://schemas.microsoft.com/office/drawing/2014/main" id="{B4719429-3450-446C-9492-3B4DE807655B}"/>
                </a:ext>
              </a:extLst>
            </p:cNvPr>
            <p:cNvSpPr/>
            <p:nvPr/>
          </p:nvSpPr>
          <p:spPr>
            <a:xfrm rot="8716295">
              <a:off x="2011167" y="116076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2" name="Forme libre : forme 171">
              <a:extLst>
                <a:ext uri="{FF2B5EF4-FFF2-40B4-BE49-F238E27FC236}">
                  <a16:creationId xmlns:a16="http://schemas.microsoft.com/office/drawing/2014/main" id="{1BD21CA5-EDB3-4B1C-9DA6-85A17C61C7E0}"/>
                </a:ext>
              </a:extLst>
            </p:cNvPr>
            <p:cNvSpPr/>
            <p:nvPr/>
          </p:nvSpPr>
          <p:spPr>
            <a:xfrm rot="8716295">
              <a:off x="2100559" y="119000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3" name="Forme libre : forme 172">
              <a:extLst>
                <a:ext uri="{FF2B5EF4-FFF2-40B4-BE49-F238E27FC236}">
                  <a16:creationId xmlns:a16="http://schemas.microsoft.com/office/drawing/2014/main" id="{7CA91DF5-20FD-481D-801E-1A30383F35AF}"/>
                </a:ext>
              </a:extLst>
            </p:cNvPr>
            <p:cNvSpPr/>
            <p:nvPr/>
          </p:nvSpPr>
          <p:spPr>
            <a:xfrm rot="8716295">
              <a:off x="1898933" y="124930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4" name="Forme libre : forme 173">
              <a:extLst>
                <a:ext uri="{FF2B5EF4-FFF2-40B4-BE49-F238E27FC236}">
                  <a16:creationId xmlns:a16="http://schemas.microsoft.com/office/drawing/2014/main" id="{14C3D20C-5774-494C-8893-5288670D0889}"/>
                </a:ext>
              </a:extLst>
            </p:cNvPr>
            <p:cNvSpPr/>
            <p:nvPr/>
          </p:nvSpPr>
          <p:spPr>
            <a:xfrm rot="8716295">
              <a:off x="1774031" y="104063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5" name="Forme libre : forme 174">
              <a:extLst>
                <a:ext uri="{FF2B5EF4-FFF2-40B4-BE49-F238E27FC236}">
                  <a16:creationId xmlns:a16="http://schemas.microsoft.com/office/drawing/2014/main" id="{921096A6-36F4-49A7-A062-8CA8DFB2FA2B}"/>
                </a:ext>
              </a:extLst>
            </p:cNvPr>
            <p:cNvSpPr/>
            <p:nvPr/>
          </p:nvSpPr>
          <p:spPr>
            <a:xfrm rot="8716295">
              <a:off x="1989111" y="129025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6" name="Forme libre : forme 175">
              <a:extLst>
                <a:ext uri="{FF2B5EF4-FFF2-40B4-BE49-F238E27FC236}">
                  <a16:creationId xmlns:a16="http://schemas.microsoft.com/office/drawing/2014/main" id="{B0920127-DB05-4341-ACD2-55A82DB831D0}"/>
                </a:ext>
              </a:extLst>
            </p:cNvPr>
            <p:cNvSpPr/>
            <p:nvPr/>
          </p:nvSpPr>
          <p:spPr>
            <a:xfrm rot="8716295">
              <a:off x="1747660" y="114065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7" name="Forme libre : forme 176">
              <a:extLst>
                <a:ext uri="{FF2B5EF4-FFF2-40B4-BE49-F238E27FC236}">
                  <a16:creationId xmlns:a16="http://schemas.microsoft.com/office/drawing/2014/main" id="{247E137A-2962-45C6-854D-3C335B97D942}"/>
                </a:ext>
              </a:extLst>
            </p:cNvPr>
            <p:cNvSpPr/>
            <p:nvPr/>
          </p:nvSpPr>
          <p:spPr>
            <a:xfrm rot="7484129">
              <a:off x="2094042" y="148160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8" name="Forme libre : forme 177">
              <a:extLst>
                <a:ext uri="{FF2B5EF4-FFF2-40B4-BE49-F238E27FC236}">
                  <a16:creationId xmlns:a16="http://schemas.microsoft.com/office/drawing/2014/main" id="{AF26B0FA-FC69-4100-A938-0778F8E044BC}"/>
                </a:ext>
              </a:extLst>
            </p:cNvPr>
            <p:cNvSpPr/>
            <p:nvPr/>
          </p:nvSpPr>
          <p:spPr>
            <a:xfrm rot="13089394">
              <a:off x="2198862" y="144814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9" name="Forme libre : forme 178">
              <a:extLst>
                <a:ext uri="{FF2B5EF4-FFF2-40B4-BE49-F238E27FC236}">
                  <a16:creationId xmlns:a16="http://schemas.microsoft.com/office/drawing/2014/main" id="{39EC1976-14A4-4281-9016-8D042C84E539}"/>
                </a:ext>
              </a:extLst>
            </p:cNvPr>
            <p:cNvSpPr/>
            <p:nvPr/>
          </p:nvSpPr>
          <p:spPr>
            <a:xfrm rot="8716295">
              <a:off x="2384447" y="125646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0" name="Forme libre : forme 179">
              <a:extLst>
                <a:ext uri="{FF2B5EF4-FFF2-40B4-BE49-F238E27FC236}">
                  <a16:creationId xmlns:a16="http://schemas.microsoft.com/office/drawing/2014/main" id="{C3D1445E-47EC-4B9A-86DA-68830C5A9003}"/>
                </a:ext>
              </a:extLst>
            </p:cNvPr>
            <p:cNvSpPr/>
            <p:nvPr/>
          </p:nvSpPr>
          <p:spPr>
            <a:xfrm rot="8716295">
              <a:off x="2332642" y="115286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" name="Forme libre : forme 180">
              <a:extLst>
                <a:ext uri="{FF2B5EF4-FFF2-40B4-BE49-F238E27FC236}">
                  <a16:creationId xmlns:a16="http://schemas.microsoft.com/office/drawing/2014/main" id="{6D64B041-AA03-4C2C-B195-E69DDAF61BCF}"/>
                </a:ext>
              </a:extLst>
            </p:cNvPr>
            <p:cNvSpPr/>
            <p:nvPr/>
          </p:nvSpPr>
          <p:spPr>
            <a:xfrm rot="8716295">
              <a:off x="2089396" y="118308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" name="Forme libre : forme 181">
              <a:extLst>
                <a:ext uri="{FF2B5EF4-FFF2-40B4-BE49-F238E27FC236}">
                  <a16:creationId xmlns:a16="http://schemas.microsoft.com/office/drawing/2014/main" id="{6929DCAA-A61B-45A7-8707-91162650FFF3}"/>
                </a:ext>
              </a:extLst>
            </p:cNvPr>
            <p:cNvSpPr/>
            <p:nvPr/>
          </p:nvSpPr>
          <p:spPr>
            <a:xfrm rot="8716295">
              <a:off x="2266848" y="102384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" name="Forme libre : forme 182">
              <a:extLst>
                <a:ext uri="{FF2B5EF4-FFF2-40B4-BE49-F238E27FC236}">
                  <a16:creationId xmlns:a16="http://schemas.microsoft.com/office/drawing/2014/main" id="{606C2101-E652-4D30-867F-39388545E11E}"/>
                </a:ext>
              </a:extLst>
            </p:cNvPr>
            <p:cNvSpPr/>
            <p:nvPr/>
          </p:nvSpPr>
          <p:spPr>
            <a:xfrm rot="8716295">
              <a:off x="1503129" y="74885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" name="Forme libre : forme 183">
              <a:extLst>
                <a:ext uri="{FF2B5EF4-FFF2-40B4-BE49-F238E27FC236}">
                  <a16:creationId xmlns:a16="http://schemas.microsoft.com/office/drawing/2014/main" id="{BCCF4C0A-B226-447A-AED6-6E411077F313}"/>
                </a:ext>
              </a:extLst>
            </p:cNvPr>
            <p:cNvSpPr/>
            <p:nvPr/>
          </p:nvSpPr>
          <p:spPr>
            <a:xfrm rot="8716295">
              <a:off x="1592521" y="77809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" name="Forme libre : forme 184">
              <a:extLst>
                <a:ext uri="{FF2B5EF4-FFF2-40B4-BE49-F238E27FC236}">
                  <a16:creationId xmlns:a16="http://schemas.microsoft.com/office/drawing/2014/main" id="{1047FAEE-E0A8-4DC0-AF81-D0262E51D58E}"/>
                </a:ext>
              </a:extLst>
            </p:cNvPr>
            <p:cNvSpPr/>
            <p:nvPr/>
          </p:nvSpPr>
          <p:spPr>
            <a:xfrm rot="8716295">
              <a:off x="1547671" y="69181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" name="Forme libre : forme 185">
              <a:extLst>
                <a:ext uri="{FF2B5EF4-FFF2-40B4-BE49-F238E27FC236}">
                  <a16:creationId xmlns:a16="http://schemas.microsoft.com/office/drawing/2014/main" id="{30E94405-5131-4E4F-8725-C67590E30DB2}"/>
                </a:ext>
              </a:extLst>
            </p:cNvPr>
            <p:cNvSpPr/>
            <p:nvPr/>
          </p:nvSpPr>
          <p:spPr>
            <a:xfrm rot="8716295">
              <a:off x="1390895" y="83739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" name="Forme libre : forme 186">
              <a:extLst>
                <a:ext uri="{FF2B5EF4-FFF2-40B4-BE49-F238E27FC236}">
                  <a16:creationId xmlns:a16="http://schemas.microsoft.com/office/drawing/2014/main" id="{3592B2BF-462B-42D1-B159-935FE013A746}"/>
                </a:ext>
              </a:extLst>
            </p:cNvPr>
            <p:cNvSpPr/>
            <p:nvPr/>
          </p:nvSpPr>
          <p:spPr>
            <a:xfrm rot="8716295">
              <a:off x="1265992" y="62872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" name="Forme libre : forme 187">
              <a:extLst>
                <a:ext uri="{FF2B5EF4-FFF2-40B4-BE49-F238E27FC236}">
                  <a16:creationId xmlns:a16="http://schemas.microsoft.com/office/drawing/2014/main" id="{1E56EF9D-6FEF-4D8D-A155-3A26210B9301}"/>
                </a:ext>
              </a:extLst>
            </p:cNvPr>
            <p:cNvSpPr/>
            <p:nvPr/>
          </p:nvSpPr>
          <p:spPr>
            <a:xfrm rot="8716295">
              <a:off x="1253940" y="48994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" name="Forme libre : forme 188">
              <a:extLst>
                <a:ext uri="{FF2B5EF4-FFF2-40B4-BE49-F238E27FC236}">
                  <a16:creationId xmlns:a16="http://schemas.microsoft.com/office/drawing/2014/main" id="{ABF55A8B-11D0-49F1-BB9C-9578891D6FAC}"/>
                </a:ext>
              </a:extLst>
            </p:cNvPr>
            <p:cNvSpPr/>
            <p:nvPr/>
          </p:nvSpPr>
          <p:spPr>
            <a:xfrm rot="8716295">
              <a:off x="1481073" y="87835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" name="Forme libre : forme 189">
              <a:extLst>
                <a:ext uri="{FF2B5EF4-FFF2-40B4-BE49-F238E27FC236}">
                  <a16:creationId xmlns:a16="http://schemas.microsoft.com/office/drawing/2014/main" id="{946D037D-9BA1-48DA-87EF-5EF5B831A0E1}"/>
                </a:ext>
              </a:extLst>
            </p:cNvPr>
            <p:cNvSpPr/>
            <p:nvPr/>
          </p:nvSpPr>
          <p:spPr>
            <a:xfrm rot="8716295">
              <a:off x="1792228" y="4987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" name="Forme libre : forme 190">
              <a:extLst>
                <a:ext uri="{FF2B5EF4-FFF2-40B4-BE49-F238E27FC236}">
                  <a16:creationId xmlns:a16="http://schemas.microsoft.com/office/drawing/2014/main" id="{27B82C76-9BEA-43A1-96FA-84295CCF0AA5}"/>
                </a:ext>
              </a:extLst>
            </p:cNvPr>
            <p:cNvSpPr/>
            <p:nvPr/>
          </p:nvSpPr>
          <p:spPr>
            <a:xfrm rot="8716295">
              <a:off x="1881620" y="5279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" name="Forme libre : forme 191">
              <a:extLst>
                <a:ext uri="{FF2B5EF4-FFF2-40B4-BE49-F238E27FC236}">
                  <a16:creationId xmlns:a16="http://schemas.microsoft.com/office/drawing/2014/main" id="{C9AF6FC6-301E-4498-93BF-1A9EB1439FE6}"/>
                </a:ext>
              </a:extLst>
            </p:cNvPr>
            <p:cNvSpPr/>
            <p:nvPr/>
          </p:nvSpPr>
          <p:spPr>
            <a:xfrm rot="8716295">
              <a:off x="1679994" y="58724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" name="Forme libre : forme 192">
              <a:extLst>
                <a:ext uri="{FF2B5EF4-FFF2-40B4-BE49-F238E27FC236}">
                  <a16:creationId xmlns:a16="http://schemas.microsoft.com/office/drawing/2014/main" id="{988C10D0-6B50-41AB-B9B5-23D20681103E}"/>
                </a:ext>
              </a:extLst>
            </p:cNvPr>
            <p:cNvSpPr/>
            <p:nvPr/>
          </p:nvSpPr>
          <p:spPr>
            <a:xfrm rot="8716295">
              <a:off x="1555092" y="37857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" name="Forme libre : forme 193">
              <a:extLst>
                <a:ext uri="{FF2B5EF4-FFF2-40B4-BE49-F238E27FC236}">
                  <a16:creationId xmlns:a16="http://schemas.microsoft.com/office/drawing/2014/main" id="{BA88EE97-63F0-4D28-BDD9-E175569D56C8}"/>
                </a:ext>
              </a:extLst>
            </p:cNvPr>
            <p:cNvSpPr/>
            <p:nvPr/>
          </p:nvSpPr>
          <p:spPr>
            <a:xfrm rot="8716295">
              <a:off x="1770172" y="62819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" name="Forme libre : forme 194">
              <a:extLst>
                <a:ext uri="{FF2B5EF4-FFF2-40B4-BE49-F238E27FC236}">
                  <a16:creationId xmlns:a16="http://schemas.microsoft.com/office/drawing/2014/main" id="{7DB936D3-752D-4426-96C6-451097B40A6E}"/>
                </a:ext>
              </a:extLst>
            </p:cNvPr>
            <p:cNvSpPr/>
            <p:nvPr/>
          </p:nvSpPr>
          <p:spPr>
            <a:xfrm rot="8716295">
              <a:off x="1528721" y="47859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" name="Forme libre : forme 195">
              <a:extLst>
                <a:ext uri="{FF2B5EF4-FFF2-40B4-BE49-F238E27FC236}">
                  <a16:creationId xmlns:a16="http://schemas.microsoft.com/office/drawing/2014/main" id="{6E95CB13-89AC-4C2B-9D9A-140661272E61}"/>
                </a:ext>
              </a:extLst>
            </p:cNvPr>
            <p:cNvSpPr/>
            <p:nvPr/>
          </p:nvSpPr>
          <p:spPr>
            <a:xfrm rot="7484129">
              <a:off x="1875103" y="8195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" name="Forme libre : forme 196">
              <a:extLst>
                <a:ext uri="{FF2B5EF4-FFF2-40B4-BE49-F238E27FC236}">
                  <a16:creationId xmlns:a16="http://schemas.microsoft.com/office/drawing/2014/main" id="{E94CA442-8190-4409-8D0E-996A3C13C977}"/>
                </a:ext>
              </a:extLst>
            </p:cNvPr>
            <p:cNvSpPr/>
            <p:nvPr/>
          </p:nvSpPr>
          <p:spPr>
            <a:xfrm rot="13089394">
              <a:off x="1979923" y="7860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" name="Forme libre : forme 197">
              <a:extLst>
                <a:ext uri="{FF2B5EF4-FFF2-40B4-BE49-F238E27FC236}">
                  <a16:creationId xmlns:a16="http://schemas.microsoft.com/office/drawing/2014/main" id="{52184F7E-FD35-4373-B77A-668CA5FF6983}"/>
                </a:ext>
              </a:extLst>
            </p:cNvPr>
            <p:cNvSpPr/>
            <p:nvPr/>
          </p:nvSpPr>
          <p:spPr>
            <a:xfrm rot="8716295">
              <a:off x="2165508" y="5944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" name="Forme libre : forme 198">
              <a:extLst>
                <a:ext uri="{FF2B5EF4-FFF2-40B4-BE49-F238E27FC236}">
                  <a16:creationId xmlns:a16="http://schemas.microsoft.com/office/drawing/2014/main" id="{203E9F12-3C6B-465D-9FDE-0F57C68E6794}"/>
                </a:ext>
              </a:extLst>
            </p:cNvPr>
            <p:cNvSpPr/>
            <p:nvPr/>
          </p:nvSpPr>
          <p:spPr>
            <a:xfrm rot="8716295">
              <a:off x="2113703" y="4908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" name="Forme libre : forme 199">
              <a:extLst>
                <a:ext uri="{FF2B5EF4-FFF2-40B4-BE49-F238E27FC236}">
                  <a16:creationId xmlns:a16="http://schemas.microsoft.com/office/drawing/2014/main" id="{3A4792DF-206D-4745-96BF-57BE9528DC29}"/>
                </a:ext>
              </a:extLst>
            </p:cNvPr>
            <p:cNvSpPr/>
            <p:nvPr/>
          </p:nvSpPr>
          <p:spPr>
            <a:xfrm rot="8716295">
              <a:off x="1870457" y="5210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" name="Forme libre : forme 200">
              <a:extLst>
                <a:ext uri="{FF2B5EF4-FFF2-40B4-BE49-F238E27FC236}">
                  <a16:creationId xmlns:a16="http://schemas.microsoft.com/office/drawing/2014/main" id="{D95C5BFF-0992-4FE2-933F-F0F5A8B60014}"/>
                </a:ext>
              </a:extLst>
            </p:cNvPr>
            <p:cNvSpPr/>
            <p:nvPr/>
          </p:nvSpPr>
          <p:spPr>
            <a:xfrm rot="8716295">
              <a:off x="2047909" y="3617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" name="Forme libre : forme 201">
              <a:extLst>
                <a:ext uri="{FF2B5EF4-FFF2-40B4-BE49-F238E27FC236}">
                  <a16:creationId xmlns:a16="http://schemas.microsoft.com/office/drawing/2014/main" id="{20C3FF4D-8F7D-4FCE-A8F6-F7C60C54B616}"/>
                </a:ext>
              </a:extLst>
            </p:cNvPr>
            <p:cNvSpPr/>
            <p:nvPr/>
          </p:nvSpPr>
          <p:spPr>
            <a:xfrm rot="8716295">
              <a:off x="1280459" y="8544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" name="Forme libre : forme 202">
              <a:extLst>
                <a:ext uri="{FF2B5EF4-FFF2-40B4-BE49-F238E27FC236}">
                  <a16:creationId xmlns:a16="http://schemas.microsoft.com/office/drawing/2014/main" id="{4A2EE2E0-D7CF-43D6-ACB3-BE33DBCC49BB}"/>
                </a:ext>
              </a:extLst>
            </p:cNvPr>
            <p:cNvSpPr/>
            <p:nvPr/>
          </p:nvSpPr>
          <p:spPr>
            <a:xfrm rot="8716295">
              <a:off x="1369851" y="11468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" name="Forme libre : forme 203">
              <a:extLst>
                <a:ext uri="{FF2B5EF4-FFF2-40B4-BE49-F238E27FC236}">
                  <a16:creationId xmlns:a16="http://schemas.microsoft.com/office/drawing/2014/main" id="{ADCFE50E-B4B9-4301-A613-96CD6C8E76F5}"/>
                </a:ext>
              </a:extLst>
            </p:cNvPr>
            <p:cNvSpPr/>
            <p:nvPr/>
          </p:nvSpPr>
          <p:spPr>
            <a:xfrm rot="8716295">
              <a:off x="1325001" y="2840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" name="Forme libre : forme 204">
              <a:extLst>
                <a:ext uri="{FF2B5EF4-FFF2-40B4-BE49-F238E27FC236}">
                  <a16:creationId xmlns:a16="http://schemas.microsoft.com/office/drawing/2014/main" id="{1C78DD3D-BA43-491E-A425-4F726ABF99F2}"/>
                </a:ext>
              </a:extLst>
            </p:cNvPr>
            <p:cNvSpPr/>
            <p:nvPr/>
          </p:nvSpPr>
          <p:spPr>
            <a:xfrm rot="8716295">
              <a:off x="1168225" y="17398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" name="Forme libre : forme 205">
              <a:extLst>
                <a:ext uri="{FF2B5EF4-FFF2-40B4-BE49-F238E27FC236}">
                  <a16:creationId xmlns:a16="http://schemas.microsoft.com/office/drawing/2014/main" id="{58A93461-0B09-4176-BDF3-87683487BEBD}"/>
                </a:ext>
              </a:extLst>
            </p:cNvPr>
            <p:cNvSpPr/>
            <p:nvPr/>
          </p:nvSpPr>
          <p:spPr>
            <a:xfrm rot="8716295">
              <a:off x="1045449" y="-13548"/>
              <a:ext cx="203847" cy="172572"/>
            </a:xfrm>
            <a:custGeom>
              <a:avLst/>
              <a:gdLst>
                <a:gd name="connsiteX0" fmla="*/ 98725 w 203847"/>
                <a:gd name="connsiteY0" fmla="*/ 172572 h 172572"/>
                <a:gd name="connsiteX1" fmla="*/ 65988 w 203847"/>
                <a:gd name="connsiteY1" fmla="*/ 149880 h 172572"/>
                <a:gd name="connsiteX2" fmla="*/ 47847 w 203847"/>
                <a:gd name="connsiteY2" fmla="*/ 116129 h 172572"/>
                <a:gd name="connsiteX3" fmla="*/ 69777 w 203847"/>
                <a:gd name="connsiteY3" fmla="*/ 55323 h 172572"/>
                <a:gd name="connsiteX4" fmla="*/ 0 w 203847"/>
                <a:gd name="connsiteY4" fmla="*/ 55323 h 172572"/>
                <a:gd name="connsiteX5" fmla="*/ 0 w 203847"/>
                <a:gd name="connsiteY5" fmla="*/ 0 h 172572"/>
                <a:gd name="connsiteX6" fmla="*/ 203847 w 203847"/>
                <a:gd name="connsiteY6" fmla="*/ 0 h 172572"/>
                <a:gd name="connsiteX7" fmla="*/ 203847 w 203847"/>
                <a:gd name="connsiteY7" fmla="*/ 55323 h 172572"/>
                <a:gd name="connsiteX8" fmla="*/ 139055 w 203847"/>
                <a:gd name="connsiteY8" fmla="*/ 55323 h 172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72572">
                  <a:moveTo>
                    <a:pt x="98725" y="172572"/>
                  </a:moveTo>
                  <a:lnTo>
                    <a:pt x="65988" y="149880"/>
                  </a:ln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" name="Forme libre : forme 206">
              <a:extLst>
                <a:ext uri="{FF2B5EF4-FFF2-40B4-BE49-F238E27FC236}">
                  <a16:creationId xmlns:a16="http://schemas.microsoft.com/office/drawing/2014/main" id="{F6E141F6-F3D7-4382-A5A9-B9DC46311949}"/>
                </a:ext>
              </a:extLst>
            </p:cNvPr>
            <p:cNvSpPr/>
            <p:nvPr/>
          </p:nvSpPr>
          <p:spPr>
            <a:xfrm rot="8716295">
              <a:off x="1049608" y="-107301"/>
              <a:ext cx="290643" cy="275223"/>
            </a:xfrm>
            <a:custGeom>
              <a:avLst/>
              <a:gdLst>
                <a:gd name="connsiteX0" fmla="*/ 79172 w 290643"/>
                <a:gd name="connsiteY0" fmla="*/ 128638 h 275223"/>
                <a:gd name="connsiteX1" fmla="*/ 0 w 290643"/>
                <a:gd name="connsiteY1" fmla="*/ 73758 h 275223"/>
                <a:gd name="connsiteX2" fmla="*/ 0 w 290643"/>
                <a:gd name="connsiteY2" fmla="*/ 40596 h 275223"/>
                <a:gd name="connsiteX3" fmla="*/ 78250 w 290643"/>
                <a:gd name="connsiteY3" fmla="*/ 0 h 275223"/>
                <a:gd name="connsiteX4" fmla="*/ 290643 w 290643"/>
                <a:gd name="connsiteY4" fmla="*/ 275223 h 275223"/>
                <a:gd name="connsiteX5" fmla="*/ 278016 w 290643"/>
                <a:gd name="connsiteY5" fmla="*/ 266470 h 275223"/>
                <a:gd name="connsiteX6" fmla="*/ 289467 w 290643"/>
                <a:gd name="connsiteY6" fmla="*/ 261815 h 275223"/>
                <a:gd name="connsiteX7" fmla="*/ 290643 w 290643"/>
                <a:gd name="connsiteY7" fmla="*/ 269463 h 27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0643" h="275223">
                  <a:moveTo>
                    <a:pt x="79172" y="128638"/>
                  </a:moveTo>
                  <a:lnTo>
                    <a:pt x="0" y="73758"/>
                  </a:lnTo>
                  <a:lnTo>
                    <a:pt x="0" y="40596"/>
                  </a:lnTo>
                  <a:lnTo>
                    <a:pt x="78250" y="0"/>
                  </a:lnTo>
                  <a:close/>
                  <a:moveTo>
                    <a:pt x="290643" y="275223"/>
                  </a:moveTo>
                  <a:lnTo>
                    <a:pt x="278016" y="266470"/>
                  </a:lnTo>
                  <a:lnTo>
                    <a:pt x="289467" y="261815"/>
                  </a:lnTo>
                  <a:cubicBezTo>
                    <a:pt x="290055" y="264168"/>
                    <a:pt x="290643" y="267110"/>
                    <a:pt x="290643" y="2694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" name="Forme libre : forme 207">
              <a:extLst>
                <a:ext uri="{FF2B5EF4-FFF2-40B4-BE49-F238E27FC236}">
                  <a16:creationId xmlns:a16="http://schemas.microsoft.com/office/drawing/2014/main" id="{4C5F5C19-6F05-476E-8B4C-2E1271E3709B}"/>
                </a:ext>
              </a:extLst>
            </p:cNvPr>
            <p:cNvSpPr/>
            <p:nvPr/>
          </p:nvSpPr>
          <p:spPr>
            <a:xfrm rot="8716295">
              <a:off x="1258403" y="21493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" name="Forme libre : forme 208">
              <a:extLst>
                <a:ext uri="{FF2B5EF4-FFF2-40B4-BE49-F238E27FC236}">
                  <a16:creationId xmlns:a16="http://schemas.microsoft.com/office/drawing/2014/main" id="{99462675-4E20-4299-99A1-8C989AC1AC7A}"/>
                </a:ext>
              </a:extLst>
            </p:cNvPr>
            <p:cNvSpPr/>
            <p:nvPr/>
          </p:nvSpPr>
          <p:spPr>
            <a:xfrm rot="8716295">
              <a:off x="1604517" y="-50002"/>
              <a:ext cx="142167" cy="106747"/>
            </a:xfrm>
            <a:custGeom>
              <a:avLst/>
              <a:gdLst>
                <a:gd name="connsiteX0" fmla="*/ 142167 w 142167"/>
                <a:gd name="connsiteY0" fmla="*/ 106747 h 106747"/>
                <a:gd name="connsiteX1" fmla="*/ 79942 w 142167"/>
                <a:gd name="connsiteY1" fmla="*/ 63615 h 106747"/>
                <a:gd name="connsiteX2" fmla="*/ 74103 w 142167"/>
                <a:gd name="connsiteY2" fmla="*/ 53597 h 106747"/>
                <a:gd name="connsiteX3" fmla="*/ 60604 w 142167"/>
                <a:gd name="connsiteY3" fmla="*/ 50123 h 106747"/>
                <a:gd name="connsiteX4" fmla="*/ 60478 w 142167"/>
                <a:gd name="connsiteY4" fmla="*/ 50123 h 106747"/>
                <a:gd name="connsiteX5" fmla="*/ 0 w 142167"/>
                <a:gd name="connsiteY5" fmla="*/ 8201 h 106747"/>
                <a:gd name="connsiteX6" fmla="*/ 0 w 142167"/>
                <a:gd name="connsiteY6" fmla="*/ 0 h 106747"/>
                <a:gd name="connsiteX7" fmla="*/ 85209 w 142167"/>
                <a:gd name="connsiteY7" fmla="*/ 0 h 106747"/>
                <a:gd name="connsiteX8" fmla="*/ 142167 w 142167"/>
                <a:gd name="connsiteY8" fmla="*/ 50123 h 10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06747">
                  <a:moveTo>
                    <a:pt x="142167" y="106747"/>
                  </a:moveTo>
                  <a:lnTo>
                    <a:pt x="79942" y="63615"/>
                  </a:lnTo>
                  <a:lnTo>
                    <a:pt x="74103" y="53597"/>
                  </a:lnTo>
                  <a:cubicBezTo>
                    <a:pt x="70400" y="50806"/>
                    <a:pt x="65616" y="49439"/>
                    <a:pt x="60604" y="50123"/>
                  </a:cubicBezTo>
                  <a:lnTo>
                    <a:pt x="60478" y="50123"/>
                  </a:lnTo>
                  <a:lnTo>
                    <a:pt x="0" y="8201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" name="Forme libre : forme 209">
              <a:extLst>
                <a:ext uri="{FF2B5EF4-FFF2-40B4-BE49-F238E27FC236}">
                  <a16:creationId xmlns:a16="http://schemas.microsoft.com/office/drawing/2014/main" id="{F18E365A-DFDC-47DB-8B33-290827288FD8}"/>
                </a:ext>
              </a:extLst>
            </p:cNvPr>
            <p:cNvSpPr/>
            <p:nvPr/>
          </p:nvSpPr>
          <p:spPr>
            <a:xfrm rot="8716295">
              <a:off x="1699771" y="-2013"/>
              <a:ext cx="260639" cy="104392"/>
            </a:xfrm>
            <a:custGeom>
              <a:avLst/>
              <a:gdLst>
                <a:gd name="connsiteX0" fmla="*/ 117530 w 260639"/>
                <a:gd name="connsiteY0" fmla="*/ 104392 h 104392"/>
                <a:gd name="connsiteX1" fmla="*/ 51490 w 260639"/>
                <a:gd name="connsiteY1" fmla="*/ 58614 h 104392"/>
                <a:gd name="connsiteX2" fmla="*/ 51490 w 260639"/>
                <a:gd name="connsiteY2" fmla="*/ 45624 h 104392"/>
                <a:gd name="connsiteX3" fmla="*/ 32748 w 260639"/>
                <a:gd name="connsiteY3" fmla="*/ 45624 h 104392"/>
                <a:gd name="connsiteX4" fmla="*/ 0 w 260639"/>
                <a:gd name="connsiteY4" fmla="*/ 22924 h 104392"/>
                <a:gd name="connsiteX5" fmla="*/ 0 w 260639"/>
                <a:gd name="connsiteY5" fmla="*/ 1425 h 104392"/>
                <a:gd name="connsiteX6" fmla="*/ 104802 w 260639"/>
                <a:gd name="connsiteY6" fmla="*/ 1425 h 104392"/>
                <a:gd name="connsiteX7" fmla="*/ 104802 w 260639"/>
                <a:gd name="connsiteY7" fmla="*/ 75242 h 104392"/>
                <a:gd name="connsiteX8" fmla="*/ 106169 w 260639"/>
                <a:gd name="connsiteY8" fmla="*/ 75242 h 104392"/>
                <a:gd name="connsiteX9" fmla="*/ 154014 w 260639"/>
                <a:gd name="connsiteY9" fmla="*/ 5981 h 104392"/>
                <a:gd name="connsiteX10" fmla="*/ 185455 w 260639"/>
                <a:gd name="connsiteY10" fmla="*/ 57 h 104392"/>
                <a:gd name="connsiteX11" fmla="*/ 260639 w 260639"/>
                <a:gd name="connsiteY11" fmla="*/ 88456 h 104392"/>
                <a:gd name="connsiteX12" fmla="*/ 260639 w 260639"/>
                <a:gd name="connsiteY12" fmla="*/ 94380 h 104392"/>
                <a:gd name="connsiteX13" fmla="*/ 198669 w 260639"/>
                <a:gd name="connsiteY13" fmla="*/ 98025 h 104392"/>
                <a:gd name="connsiteX14" fmla="*/ 198669 w 260639"/>
                <a:gd name="connsiteY14" fmla="*/ 81621 h 104392"/>
                <a:gd name="connsiteX15" fmla="*/ 164950 w 260639"/>
                <a:gd name="connsiteY15" fmla="*/ 40156 h 104392"/>
                <a:gd name="connsiteX16" fmla="*/ 127358 w 260639"/>
                <a:gd name="connsiteY16" fmla="*/ 65616 h 104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60639" h="104392">
                  <a:moveTo>
                    <a:pt x="117530" y="104392"/>
                  </a:moveTo>
                  <a:lnTo>
                    <a:pt x="51490" y="58614"/>
                  </a:lnTo>
                  <a:lnTo>
                    <a:pt x="51490" y="45624"/>
                  </a:lnTo>
                  <a:lnTo>
                    <a:pt x="32748" y="45624"/>
                  </a:lnTo>
                  <a:lnTo>
                    <a:pt x="0" y="229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5"/>
                    <a:pt x="184544" y="40156"/>
                    <a:pt x="164950" y="40156"/>
                  </a:cubicBezTo>
                  <a:cubicBezTo>
                    <a:pt x="150369" y="40156"/>
                    <a:pt x="137041" y="49839"/>
                    <a:pt x="127358" y="656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" name="Forme libre : forme 210">
              <a:extLst>
                <a:ext uri="{FF2B5EF4-FFF2-40B4-BE49-F238E27FC236}">
                  <a16:creationId xmlns:a16="http://schemas.microsoft.com/office/drawing/2014/main" id="{BD9DBA5B-B938-49AE-B4FF-DC0E17DDD56F}"/>
                </a:ext>
              </a:extLst>
            </p:cNvPr>
            <p:cNvSpPr/>
            <p:nvPr/>
          </p:nvSpPr>
          <p:spPr>
            <a:xfrm rot="8716295">
              <a:off x="1547502" y="-3521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" name="Forme libre : forme 211">
              <a:extLst>
                <a:ext uri="{FF2B5EF4-FFF2-40B4-BE49-F238E27FC236}">
                  <a16:creationId xmlns:a16="http://schemas.microsoft.com/office/drawing/2014/main" id="{8C64BFA5-88D5-4B19-8DD4-8DB6B59A61D8}"/>
                </a:ext>
              </a:extLst>
            </p:cNvPr>
            <p:cNvSpPr/>
            <p:nvPr/>
          </p:nvSpPr>
          <p:spPr>
            <a:xfrm rot="7484129">
              <a:off x="1652433" y="15613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" name="Forme libre : forme 212">
              <a:extLst>
                <a:ext uri="{FF2B5EF4-FFF2-40B4-BE49-F238E27FC236}">
                  <a16:creationId xmlns:a16="http://schemas.microsoft.com/office/drawing/2014/main" id="{034CC524-D8AC-40AF-8EAB-AB1B464A30AF}"/>
                </a:ext>
              </a:extLst>
            </p:cNvPr>
            <p:cNvSpPr/>
            <p:nvPr/>
          </p:nvSpPr>
          <p:spPr>
            <a:xfrm rot="13089394">
              <a:off x="1757253" y="122669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" name="Forme libre : forme 213">
              <a:extLst>
                <a:ext uri="{FF2B5EF4-FFF2-40B4-BE49-F238E27FC236}">
                  <a16:creationId xmlns:a16="http://schemas.microsoft.com/office/drawing/2014/main" id="{D78ECCFB-E224-46B7-92F0-42F89F972C82}"/>
                </a:ext>
              </a:extLst>
            </p:cNvPr>
            <p:cNvSpPr/>
            <p:nvPr/>
          </p:nvSpPr>
          <p:spPr>
            <a:xfrm rot="8716295">
              <a:off x="1960606" y="3279"/>
              <a:ext cx="142687" cy="109177"/>
            </a:xfrm>
            <a:custGeom>
              <a:avLst/>
              <a:gdLst>
                <a:gd name="connsiteX0" fmla="*/ 48521 w 142687"/>
                <a:gd name="connsiteY0" fmla="*/ 109177 h 109177"/>
                <a:gd name="connsiteX1" fmla="*/ 0 w 142687"/>
                <a:gd name="connsiteY1" fmla="*/ 75545 h 109177"/>
                <a:gd name="connsiteX2" fmla="*/ 44875 w 142687"/>
                <a:gd name="connsiteY2" fmla="*/ 33320 h 109177"/>
                <a:gd name="connsiteX3" fmla="*/ 109367 w 142687"/>
                <a:gd name="connsiteY3" fmla="*/ 0 h 109177"/>
                <a:gd name="connsiteX4" fmla="*/ 142687 w 142687"/>
                <a:gd name="connsiteY4" fmla="*/ 39770 h 109177"/>
                <a:gd name="connsiteX5" fmla="*/ 111516 w 142687"/>
                <a:gd name="connsiteY5" fmla="*/ 81689 h 109177"/>
                <a:gd name="connsiteX6" fmla="*/ 112053 w 142687"/>
                <a:gd name="connsiteY6" fmla="*/ 81689 h 109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687" h="109177">
                  <a:moveTo>
                    <a:pt x="48521" y="109177"/>
                  </a:moveTo>
                  <a:lnTo>
                    <a:pt x="0" y="75545"/>
                  </a:lnTo>
                  <a:lnTo>
                    <a:pt x="44875" y="33320"/>
                  </a:lnTo>
                  <a:cubicBezTo>
                    <a:pt x="60998" y="14511"/>
                    <a:pt x="84107" y="2687"/>
                    <a:pt x="109367" y="0"/>
                  </a:cubicBezTo>
                  <a:cubicBezTo>
                    <a:pt x="135163" y="0"/>
                    <a:pt x="142687" y="22572"/>
                    <a:pt x="142687" y="39770"/>
                  </a:cubicBezTo>
                  <a:cubicBezTo>
                    <a:pt x="141074" y="58580"/>
                    <a:pt x="128713" y="74165"/>
                    <a:pt x="111516" y="81689"/>
                  </a:cubicBezTo>
                  <a:lnTo>
                    <a:pt x="112053" y="816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" name="Forme libre : forme 214">
              <a:extLst>
                <a:ext uri="{FF2B5EF4-FFF2-40B4-BE49-F238E27FC236}">
                  <a16:creationId xmlns:a16="http://schemas.microsoft.com/office/drawing/2014/main" id="{30980170-BFE4-4DA8-B94E-3A74F835E666}"/>
                </a:ext>
              </a:extLst>
            </p:cNvPr>
            <p:cNvSpPr/>
            <p:nvPr/>
          </p:nvSpPr>
          <p:spPr>
            <a:xfrm rot="8716295">
              <a:off x="1076398" y="254697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" name="Forme libre : forme 215">
              <a:extLst>
                <a:ext uri="{FF2B5EF4-FFF2-40B4-BE49-F238E27FC236}">
                  <a16:creationId xmlns:a16="http://schemas.microsoft.com/office/drawing/2014/main" id="{EF36344D-9704-4C2C-BC8B-34C87B25880E}"/>
                </a:ext>
              </a:extLst>
            </p:cNvPr>
            <p:cNvSpPr/>
            <p:nvPr/>
          </p:nvSpPr>
          <p:spPr>
            <a:xfrm rot="8716295">
              <a:off x="1165790" y="257621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" name="Forme libre : forme 216">
              <a:extLst>
                <a:ext uri="{FF2B5EF4-FFF2-40B4-BE49-F238E27FC236}">
                  <a16:creationId xmlns:a16="http://schemas.microsoft.com/office/drawing/2014/main" id="{58A38589-98F6-451E-A434-58B30914CF96}"/>
                </a:ext>
              </a:extLst>
            </p:cNvPr>
            <p:cNvSpPr/>
            <p:nvPr/>
          </p:nvSpPr>
          <p:spPr>
            <a:xfrm rot="8716295">
              <a:off x="1120940" y="248993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" name="Forme libre : forme 217">
              <a:extLst>
                <a:ext uri="{FF2B5EF4-FFF2-40B4-BE49-F238E27FC236}">
                  <a16:creationId xmlns:a16="http://schemas.microsoft.com/office/drawing/2014/main" id="{1BBAB649-0D47-451B-AEA7-D99D438CCB67}"/>
                </a:ext>
              </a:extLst>
            </p:cNvPr>
            <p:cNvSpPr/>
            <p:nvPr/>
          </p:nvSpPr>
          <p:spPr>
            <a:xfrm rot="8716295">
              <a:off x="964164" y="263551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" name="Forme libre : forme 218">
              <a:extLst>
                <a:ext uri="{FF2B5EF4-FFF2-40B4-BE49-F238E27FC236}">
                  <a16:creationId xmlns:a16="http://schemas.microsoft.com/office/drawing/2014/main" id="{9ABD39F9-0013-4B66-B07C-F120985F94DF}"/>
                </a:ext>
              </a:extLst>
            </p:cNvPr>
            <p:cNvSpPr/>
            <p:nvPr/>
          </p:nvSpPr>
          <p:spPr>
            <a:xfrm rot="8716295">
              <a:off x="839261" y="242684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" name="Forme libre : forme 219">
              <a:extLst>
                <a:ext uri="{FF2B5EF4-FFF2-40B4-BE49-F238E27FC236}">
                  <a16:creationId xmlns:a16="http://schemas.microsoft.com/office/drawing/2014/main" id="{4B771D9C-DFA4-430F-84AF-9AE075F83BC7}"/>
                </a:ext>
              </a:extLst>
            </p:cNvPr>
            <p:cNvSpPr/>
            <p:nvPr/>
          </p:nvSpPr>
          <p:spPr>
            <a:xfrm rot="8716295">
              <a:off x="827209" y="228806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" name="Forme libre : forme 220">
              <a:extLst>
                <a:ext uri="{FF2B5EF4-FFF2-40B4-BE49-F238E27FC236}">
                  <a16:creationId xmlns:a16="http://schemas.microsoft.com/office/drawing/2014/main" id="{7FEF96BC-C543-4B58-AE20-95C6DC72AE3F}"/>
                </a:ext>
              </a:extLst>
            </p:cNvPr>
            <p:cNvSpPr/>
            <p:nvPr/>
          </p:nvSpPr>
          <p:spPr>
            <a:xfrm rot="8716295">
              <a:off x="1054342" y="267647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" name="Forme libre : forme 221">
              <a:extLst>
                <a:ext uri="{FF2B5EF4-FFF2-40B4-BE49-F238E27FC236}">
                  <a16:creationId xmlns:a16="http://schemas.microsoft.com/office/drawing/2014/main" id="{68891634-5A93-4AAD-9989-2DE5CE062379}"/>
                </a:ext>
              </a:extLst>
            </p:cNvPr>
            <p:cNvSpPr/>
            <p:nvPr/>
          </p:nvSpPr>
          <p:spPr>
            <a:xfrm rot="8716295">
              <a:off x="1365497" y="229682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" name="Forme libre : forme 222">
              <a:extLst>
                <a:ext uri="{FF2B5EF4-FFF2-40B4-BE49-F238E27FC236}">
                  <a16:creationId xmlns:a16="http://schemas.microsoft.com/office/drawing/2014/main" id="{39D665A4-4F4E-441C-B55C-726916A4039E}"/>
                </a:ext>
              </a:extLst>
            </p:cNvPr>
            <p:cNvSpPr/>
            <p:nvPr/>
          </p:nvSpPr>
          <p:spPr>
            <a:xfrm rot="8716295">
              <a:off x="1454889" y="232606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" name="Forme libre : forme 223">
              <a:extLst>
                <a:ext uri="{FF2B5EF4-FFF2-40B4-BE49-F238E27FC236}">
                  <a16:creationId xmlns:a16="http://schemas.microsoft.com/office/drawing/2014/main" id="{8AF4C94D-DC68-46A4-BF2C-889E3D6B62EC}"/>
                </a:ext>
              </a:extLst>
            </p:cNvPr>
            <p:cNvSpPr/>
            <p:nvPr/>
          </p:nvSpPr>
          <p:spPr>
            <a:xfrm rot="8716295">
              <a:off x="1253263" y="238536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" name="Forme libre : forme 224">
              <a:extLst>
                <a:ext uri="{FF2B5EF4-FFF2-40B4-BE49-F238E27FC236}">
                  <a16:creationId xmlns:a16="http://schemas.microsoft.com/office/drawing/2014/main" id="{C1408C1D-6D03-4994-BD3B-49E299BEE8DA}"/>
                </a:ext>
              </a:extLst>
            </p:cNvPr>
            <p:cNvSpPr/>
            <p:nvPr/>
          </p:nvSpPr>
          <p:spPr>
            <a:xfrm rot="8716295">
              <a:off x="1128361" y="217669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" name="Forme libre : forme 225">
              <a:extLst>
                <a:ext uri="{FF2B5EF4-FFF2-40B4-BE49-F238E27FC236}">
                  <a16:creationId xmlns:a16="http://schemas.microsoft.com/office/drawing/2014/main" id="{EB108B47-7607-4350-BAC7-848269D45EA1}"/>
                </a:ext>
              </a:extLst>
            </p:cNvPr>
            <p:cNvSpPr/>
            <p:nvPr/>
          </p:nvSpPr>
          <p:spPr>
            <a:xfrm rot="8716295">
              <a:off x="1343441" y="242631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" name="Forme libre : forme 226">
              <a:extLst>
                <a:ext uri="{FF2B5EF4-FFF2-40B4-BE49-F238E27FC236}">
                  <a16:creationId xmlns:a16="http://schemas.microsoft.com/office/drawing/2014/main" id="{016BF330-2E65-471B-BA9A-203A297FAFCE}"/>
                </a:ext>
              </a:extLst>
            </p:cNvPr>
            <p:cNvSpPr/>
            <p:nvPr/>
          </p:nvSpPr>
          <p:spPr>
            <a:xfrm rot="8716295">
              <a:off x="1101990" y="227671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" name="Forme libre : forme 227">
              <a:extLst>
                <a:ext uri="{FF2B5EF4-FFF2-40B4-BE49-F238E27FC236}">
                  <a16:creationId xmlns:a16="http://schemas.microsoft.com/office/drawing/2014/main" id="{20DF741A-5A82-48D0-A9BB-E29A7DA079B2}"/>
                </a:ext>
              </a:extLst>
            </p:cNvPr>
            <p:cNvSpPr/>
            <p:nvPr/>
          </p:nvSpPr>
          <p:spPr>
            <a:xfrm rot="7484129">
              <a:off x="1448372" y="261767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" name="Forme libre : forme 228">
              <a:extLst>
                <a:ext uri="{FF2B5EF4-FFF2-40B4-BE49-F238E27FC236}">
                  <a16:creationId xmlns:a16="http://schemas.microsoft.com/office/drawing/2014/main" id="{FBBC9382-FE3D-4581-90F5-934825D4E890}"/>
                </a:ext>
              </a:extLst>
            </p:cNvPr>
            <p:cNvSpPr/>
            <p:nvPr/>
          </p:nvSpPr>
          <p:spPr>
            <a:xfrm rot="13089394">
              <a:off x="1553192" y="258420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" name="Forme libre : forme 229">
              <a:extLst>
                <a:ext uri="{FF2B5EF4-FFF2-40B4-BE49-F238E27FC236}">
                  <a16:creationId xmlns:a16="http://schemas.microsoft.com/office/drawing/2014/main" id="{1722850A-0379-4FB9-9C9B-E45F998A47BD}"/>
                </a:ext>
              </a:extLst>
            </p:cNvPr>
            <p:cNvSpPr/>
            <p:nvPr/>
          </p:nvSpPr>
          <p:spPr>
            <a:xfrm rot="8716295">
              <a:off x="1738777" y="23925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" name="Forme libre : forme 230">
              <a:extLst>
                <a:ext uri="{FF2B5EF4-FFF2-40B4-BE49-F238E27FC236}">
                  <a16:creationId xmlns:a16="http://schemas.microsoft.com/office/drawing/2014/main" id="{BF511EF9-A49C-4AE3-8280-5A5B1337EE62}"/>
                </a:ext>
              </a:extLst>
            </p:cNvPr>
            <p:cNvSpPr/>
            <p:nvPr/>
          </p:nvSpPr>
          <p:spPr>
            <a:xfrm rot="8716295">
              <a:off x="1686972" y="228893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" name="Forme libre : forme 231">
              <a:extLst>
                <a:ext uri="{FF2B5EF4-FFF2-40B4-BE49-F238E27FC236}">
                  <a16:creationId xmlns:a16="http://schemas.microsoft.com/office/drawing/2014/main" id="{D138BF00-ED92-4133-ADF5-E9C66056A424}"/>
                </a:ext>
              </a:extLst>
            </p:cNvPr>
            <p:cNvSpPr/>
            <p:nvPr/>
          </p:nvSpPr>
          <p:spPr>
            <a:xfrm rot="8716295">
              <a:off x="1443726" y="231915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" name="Forme libre : forme 232">
              <a:extLst>
                <a:ext uri="{FF2B5EF4-FFF2-40B4-BE49-F238E27FC236}">
                  <a16:creationId xmlns:a16="http://schemas.microsoft.com/office/drawing/2014/main" id="{8E358CEB-AF06-484E-8852-BAE0311E02CC}"/>
                </a:ext>
              </a:extLst>
            </p:cNvPr>
            <p:cNvSpPr/>
            <p:nvPr/>
          </p:nvSpPr>
          <p:spPr>
            <a:xfrm rot="8716295">
              <a:off x="1621178" y="21599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" name="Forme libre : forme 233">
              <a:extLst>
                <a:ext uri="{FF2B5EF4-FFF2-40B4-BE49-F238E27FC236}">
                  <a16:creationId xmlns:a16="http://schemas.microsoft.com/office/drawing/2014/main" id="{9EBAEBBD-0226-432C-8DB2-1DA1060129B8}"/>
                </a:ext>
              </a:extLst>
            </p:cNvPr>
            <p:cNvSpPr/>
            <p:nvPr/>
          </p:nvSpPr>
          <p:spPr>
            <a:xfrm rot="8716295">
              <a:off x="1299565" y="320667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" name="Forme libre : forme 234">
              <a:extLst>
                <a:ext uri="{FF2B5EF4-FFF2-40B4-BE49-F238E27FC236}">
                  <a16:creationId xmlns:a16="http://schemas.microsoft.com/office/drawing/2014/main" id="{B666620F-F3D0-4B5D-9685-3CAB27EBF061}"/>
                </a:ext>
              </a:extLst>
            </p:cNvPr>
            <p:cNvSpPr/>
            <p:nvPr/>
          </p:nvSpPr>
          <p:spPr>
            <a:xfrm rot="8716295">
              <a:off x="1388957" y="323591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" name="Forme libre : forme 235">
              <a:extLst>
                <a:ext uri="{FF2B5EF4-FFF2-40B4-BE49-F238E27FC236}">
                  <a16:creationId xmlns:a16="http://schemas.microsoft.com/office/drawing/2014/main" id="{88947540-8C6A-4BF5-BB71-6D60ADEAEBA1}"/>
                </a:ext>
              </a:extLst>
            </p:cNvPr>
            <p:cNvSpPr/>
            <p:nvPr/>
          </p:nvSpPr>
          <p:spPr>
            <a:xfrm rot="8716295">
              <a:off x="1344107" y="314963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" name="Forme libre : forme 236">
              <a:extLst>
                <a:ext uri="{FF2B5EF4-FFF2-40B4-BE49-F238E27FC236}">
                  <a16:creationId xmlns:a16="http://schemas.microsoft.com/office/drawing/2014/main" id="{55A70DC6-65F6-4764-AD9C-C9CC5AC38D47}"/>
                </a:ext>
              </a:extLst>
            </p:cNvPr>
            <p:cNvSpPr/>
            <p:nvPr/>
          </p:nvSpPr>
          <p:spPr>
            <a:xfrm rot="8716295">
              <a:off x="1187331" y="329521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" name="Forme libre : forme 237">
              <a:extLst>
                <a:ext uri="{FF2B5EF4-FFF2-40B4-BE49-F238E27FC236}">
                  <a16:creationId xmlns:a16="http://schemas.microsoft.com/office/drawing/2014/main" id="{BB754C94-5023-48F1-A098-74F43CE79231}"/>
                </a:ext>
              </a:extLst>
            </p:cNvPr>
            <p:cNvSpPr/>
            <p:nvPr/>
          </p:nvSpPr>
          <p:spPr>
            <a:xfrm rot="8716295">
              <a:off x="1062428" y="308654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" name="Forme libre : forme 238">
              <a:extLst>
                <a:ext uri="{FF2B5EF4-FFF2-40B4-BE49-F238E27FC236}">
                  <a16:creationId xmlns:a16="http://schemas.microsoft.com/office/drawing/2014/main" id="{76EDC7DE-4ED0-41EE-BBDC-2D4CD0BE6E51}"/>
                </a:ext>
              </a:extLst>
            </p:cNvPr>
            <p:cNvSpPr/>
            <p:nvPr/>
          </p:nvSpPr>
          <p:spPr>
            <a:xfrm rot="8716295">
              <a:off x="1050376" y="294776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" name="Forme libre : forme 239">
              <a:extLst>
                <a:ext uri="{FF2B5EF4-FFF2-40B4-BE49-F238E27FC236}">
                  <a16:creationId xmlns:a16="http://schemas.microsoft.com/office/drawing/2014/main" id="{ABABCCB1-DB29-40D3-B384-2DA707723441}"/>
                </a:ext>
              </a:extLst>
            </p:cNvPr>
            <p:cNvSpPr/>
            <p:nvPr/>
          </p:nvSpPr>
          <p:spPr>
            <a:xfrm rot="8716295">
              <a:off x="1277509" y="333617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" name="Forme libre : forme 240">
              <a:extLst>
                <a:ext uri="{FF2B5EF4-FFF2-40B4-BE49-F238E27FC236}">
                  <a16:creationId xmlns:a16="http://schemas.microsoft.com/office/drawing/2014/main" id="{D86BE233-1E89-4884-9471-90ABF15AC049}"/>
                </a:ext>
              </a:extLst>
            </p:cNvPr>
            <p:cNvSpPr/>
            <p:nvPr/>
          </p:nvSpPr>
          <p:spPr>
            <a:xfrm rot="8716295">
              <a:off x="1588664" y="295652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" name="Forme libre : forme 241">
              <a:extLst>
                <a:ext uri="{FF2B5EF4-FFF2-40B4-BE49-F238E27FC236}">
                  <a16:creationId xmlns:a16="http://schemas.microsoft.com/office/drawing/2014/main" id="{1E4464D3-58E9-4A03-BB6A-8B83E3881142}"/>
                </a:ext>
              </a:extLst>
            </p:cNvPr>
            <p:cNvSpPr/>
            <p:nvPr/>
          </p:nvSpPr>
          <p:spPr>
            <a:xfrm rot="8716295">
              <a:off x="1678056" y="298576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" name="Forme libre : forme 242">
              <a:extLst>
                <a:ext uri="{FF2B5EF4-FFF2-40B4-BE49-F238E27FC236}">
                  <a16:creationId xmlns:a16="http://schemas.microsoft.com/office/drawing/2014/main" id="{17781F1F-DB19-4442-B92A-C7711450A6C2}"/>
                </a:ext>
              </a:extLst>
            </p:cNvPr>
            <p:cNvSpPr/>
            <p:nvPr/>
          </p:nvSpPr>
          <p:spPr>
            <a:xfrm rot="8716295">
              <a:off x="1476430" y="304506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" name="Forme libre : forme 243">
              <a:extLst>
                <a:ext uri="{FF2B5EF4-FFF2-40B4-BE49-F238E27FC236}">
                  <a16:creationId xmlns:a16="http://schemas.microsoft.com/office/drawing/2014/main" id="{DBD406CA-7502-44B6-87AF-2C3CFA35CDED}"/>
                </a:ext>
              </a:extLst>
            </p:cNvPr>
            <p:cNvSpPr/>
            <p:nvPr/>
          </p:nvSpPr>
          <p:spPr>
            <a:xfrm rot="8716295">
              <a:off x="1351528" y="283639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" name="Forme libre : forme 244">
              <a:extLst>
                <a:ext uri="{FF2B5EF4-FFF2-40B4-BE49-F238E27FC236}">
                  <a16:creationId xmlns:a16="http://schemas.microsoft.com/office/drawing/2014/main" id="{1D9F6882-BBB8-4C9A-BDD7-FAB6F4D5F59D}"/>
                </a:ext>
              </a:extLst>
            </p:cNvPr>
            <p:cNvSpPr/>
            <p:nvPr/>
          </p:nvSpPr>
          <p:spPr>
            <a:xfrm rot="8716295">
              <a:off x="1566608" y="308601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" name="Forme libre : forme 245">
              <a:extLst>
                <a:ext uri="{FF2B5EF4-FFF2-40B4-BE49-F238E27FC236}">
                  <a16:creationId xmlns:a16="http://schemas.microsoft.com/office/drawing/2014/main" id="{D03B605A-3C15-4096-9741-AEE20EFC39A1}"/>
                </a:ext>
              </a:extLst>
            </p:cNvPr>
            <p:cNvSpPr/>
            <p:nvPr/>
          </p:nvSpPr>
          <p:spPr>
            <a:xfrm rot="8716295">
              <a:off x="1325157" y="293641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" name="Forme libre : forme 246">
              <a:extLst>
                <a:ext uri="{FF2B5EF4-FFF2-40B4-BE49-F238E27FC236}">
                  <a16:creationId xmlns:a16="http://schemas.microsoft.com/office/drawing/2014/main" id="{38898AE8-B829-47A3-880A-38C78C89B9DE}"/>
                </a:ext>
              </a:extLst>
            </p:cNvPr>
            <p:cNvSpPr/>
            <p:nvPr/>
          </p:nvSpPr>
          <p:spPr>
            <a:xfrm rot="7484129">
              <a:off x="1671539" y="327736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" name="Forme libre : forme 247">
              <a:extLst>
                <a:ext uri="{FF2B5EF4-FFF2-40B4-BE49-F238E27FC236}">
                  <a16:creationId xmlns:a16="http://schemas.microsoft.com/office/drawing/2014/main" id="{6C94EF82-BA2B-46A8-965C-6EF68064713F}"/>
                </a:ext>
              </a:extLst>
            </p:cNvPr>
            <p:cNvSpPr/>
            <p:nvPr/>
          </p:nvSpPr>
          <p:spPr>
            <a:xfrm rot="13089394">
              <a:off x="1776359" y="324390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" name="Forme libre : forme 248">
              <a:extLst>
                <a:ext uri="{FF2B5EF4-FFF2-40B4-BE49-F238E27FC236}">
                  <a16:creationId xmlns:a16="http://schemas.microsoft.com/office/drawing/2014/main" id="{551D5950-1E6B-4DD0-AB72-CBFF9866A44D}"/>
                </a:ext>
              </a:extLst>
            </p:cNvPr>
            <p:cNvSpPr/>
            <p:nvPr/>
          </p:nvSpPr>
          <p:spPr>
            <a:xfrm rot="8716295">
              <a:off x="1961944" y="305222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" name="Forme libre : forme 249">
              <a:extLst>
                <a:ext uri="{FF2B5EF4-FFF2-40B4-BE49-F238E27FC236}">
                  <a16:creationId xmlns:a16="http://schemas.microsoft.com/office/drawing/2014/main" id="{B6B88D31-2E44-4166-86AB-E9E6ECCAF3B0}"/>
                </a:ext>
              </a:extLst>
            </p:cNvPr>
            <p:cNvSpPr/>
            <p:nvPr/>
          </p:nvSpPr>
          <p:spPr>
            <a:xfrm rot="8716295">
              <a:off x="1910139" y="294862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" name="Forme libre : forme 250">
              <a:extLst>
                <a:ext uri="{FF2B5EF4-FFF2-40B4-BE49-F238E27FC236}">
                  <a16:creationId xmlns:a16="http://schemas.microsoft.com/office/drawing/2014/main" id="{811032A2-B40D-4E18-A5FE-1E40E940D0A3}"/>
                </a:ext>
              </a:extLst>
            </p:cNvPr>
            <p:cNvSpPr/>
            <p:nvPr/>
          </p:nvSpPr>
          <p:spPr>
            <a:xfrm rot="8716295">
              <a:off x="1666893" y="297885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" name="Forme libre : forme 251">
              <a:extLst>
                <a:ext uri="{FF2B5EF4-FFF2-40B4-BE49-F238E27FC236}">
                  <a16:creationId xmlns:a16="http://schemas.microsoft.com/office/drawing/2014/main" id="{10E9AA39-FF6D-4519-822E-A935B8BFBA5C}"/>
                </a:ext>
              </a:extLst>
            </p:cNvPr>
            <p:cNvSpPr/>
            <p:nvPr/>
          </p:nvSpPr>
          <p:spPr>
            <a:xfrm rot="8716295">
              <a:off x="1844345" y="281960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" name="Forme libre : forme 252">
              <a:extLst>
                <a:ext uri="{FF2B5EF4-FFF2-40B4-BE49-F238E27FC236}">
                  <a16:creationId xmlns:a16="http://schemas.microsoft.com/office/drawing/2014/main" id="{6C0C2891-B5CF-43D2-8AFF-62DA18792308}"/>
                </a:ext>
              </a:extLst>
            </p:cNvPr>
            <p:cNvSpPr/>
            <p:nvPr/>
          </p:nvSpPr>
          <p:spPr>
            <a:xfrm rot="8716295">
              <a:off x="2092137" y="5100860"/>
              <a:ext cx="63833" cy="43384"/>
            </a:xfrm>
            <a:custGeom>
              <a:avLst/>
              <a:gdLst>
                <a:gd name="connsiteX0" fmla="*/ 5923 w 63833"/>
                <a:gd name="connsiteY0" fmla="*/ 43384 h 43384"/>
                <a:gd name="connsiteX1" fmla="*/ 0 w 63833"/>
                <a:gd name="connsiteY1" fmla="*/ 35182 h 43384"/>
                <a:gd name="connsiteX2" fmla="*/ 37391 w 63833"/>
                <a:gd name="connsiteY2" fmla="*/ 0 h 43384"/>
                <a:gd name="connsiteX3" fmla="*/ 63833 w 63833"/>
                <a:gd name="connsiteY3" fmla="*/ 18329 h 4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833" h="43384">
                  <a:moveTo>
                    <a:pt x="5923" y="43384"/>
                  </a:moveTo>
                  <a:lnTo>
                    <a:pt x="0" y="35182"/>
                  </a:lnTo>
                  <a:lnTo>
                    <a:pt x="37391" y="0"/>
                  </a:lnTo>
                  <a:lnTo>
                    <a:pt x="63833" y="1832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" name="Forme libre : forme 253">
              <a:extLst>
                <a:ext uri="{FF2B5EF4-FFF2-40B4-BE49-F238E27FC236}">
                  <a16:creationId xmlns:a16="http://schemas.microsoft.com/office/drawing/2014/main" id="{D0590309-C5C9-415B-B4DB-187E6398C8E2}"/>
                </a:ext>
              </a:extLst>
            </p:cNvPr>
            <p:cNvSpPr/>
            <p:nvPr/>
          </p:nvSpPr>
          <p:spPr>
            <a:xfrm rot="8716295">
              <a:off x="1789040" y="5044339"/>
              <a:ext cx="113322" cy="144291"/>
            </a:xfrm>
            <a:custGeom>
              <a:avLst/>
              <a:gdLst>
                <a:gd name="connsiteX0" fmla="*/ 0 w 113322"/>
                <a:gd name="connsiteY0" fmla="*/ 3741 h 144291"/>
                <a:gd name="connsiteX1" fmla="*/ 0 w 113322"/>
                <a:gd name="connsiteY1" fmla="*/ 0 h 144291"/>
                <a:gd name="connsiteX2" fmla="*/ 5398 w 113322"/>
                <a:gd name="connsiteY2" fmla="*/ 3741 h 144291"/>
                <a:gd name="connsiteX3" fmla="*/ 90709 w 113322"/>
                <a:gd name="connsiteY3" fmla="*/ 144291 h 144291"/>
                <a:gd name="connsiteX4" fmla="*/ 47847 w 113322"/>
                <a:gd name="connsiteY4" fmla="*/ 64547 h 144291"/>
                <a:gd name="connsiteX5" fmla="*/ 56901 w 113322"/>
                <a:gd name="connsiteY5" fmla="*/ 39441 h 144291"/>
                <a:gd name="connsiteX6" fmla="*/ 113322 w 113322"/>
                <a:gd name="connsiteY6" fmla="*/ 78551 h 144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322" h="144291">
                  <a:moveTo>
                    <a:pt x="0" y="3741"/>
                  </a:moveTo>
                  <a:lnTo>
                    <a:pt x="0" y="0"/>
                  </a:lnTo>
                  <a:lnTo>
                    <a:pt x="5398" y="3741"/>
                  </a:lnTo>
                  <a:close/>
                  <a:moveTo>
                    <a:pt x="90709" y="144291"/>
                  </a:moveTo>
                  <a:lnTo>
                    <a:pt x="47847" y="64547"/>
                  </a:lnTo>
                  <a:lnTo>
                    <a:pt x="56901" y="39441"/>
                  </a:lnTo>
                  <a:lnTo>
                    <a:pt x="113322" y="7855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" name="Forme libre : forme 254">
              <a:extLst>
                <a:ext uri="{FF2B5EF4-FFF2-40B4-BE49-F238E27FC236}">
                  <a16:creationId xmlns:a16="http://schemas.microsoft.com/office/drawing/2014/main" id="{5BD5D859-B6BE-4272-BEBA-C49F2EB86FA8}"/>
                </a:ext>
              </a:extLst>
            </p:cNvPr>
            <p:cNvSpPr/>
            <p:nvPr/>
          </p:nvSpPr>
          <p:spPr>
            <a:xfrm rot="8716295">
              <a:off x="1701335" y="4927006"/>
              <a:ext cx="290643" cy="318535"/>
            </a:xfrm>
            <a:custGeom>
              <a:avLst/>
              <a:gdLst>
                <a:gd name="connsiteX0" fmla="*/ 25298 w 290643"/>
                <a:gd name="connsiteY0" fmla="*/ 288944 h 318535"/>
                <a:gd name="connsiteX1" fmla="*/ 0 w 290643"/>
                <a:gd name="connsiteY1" fmla="*/ 187748 h 318535"/>
                <a:gd name="connsiteX2" fmla="*/ 0 w 290643"/>
                <a:gd name="connsiteY2" fmla="*/ 8302 h 318535"/>
                <a:gd name="connsiteX3" fmla="*/ 16003 w 290643"/>
                <a:gd name="connsiteY3" fmla="*/ 0 h 318535"/>
                <a:gd name="connsiteX4" fmla="*/ 78793 w 290643"/>
                <a:gd name="connsiteY4" fmla="*/ 43524 h 318535"/>
                <a:gd name="connsiteX5" fmla="*/ 79427 w 290643"/>
                <a:gd name="connsiteY5" fmla="*/ 131855 h 318535"/>
                <a:gd name="connsiteX6" fmla="*/ 93547 w 290643"/>
                <a:gd name="connsiteY6" fmla="*/ 229521 h 318535"/>
                <a:gd name="connsiteX7" fmla="*/ 164149 w 290643"/>
                <a:gd name="connsiteY7" fmla="*/ 268352 h 318535"/>
                <a:gd name="connsiteX8" fmla="*/ 217100 w 290643"/>
                <a:gd name="connsiteY8" fmla="*/ 258938 h 318535"/>
                <a:gd name="connsiteX9" fmla="*/ 289467 w 290643"/>
                <a:gd name="connsiteY9" fmla="*/ 229521 h 318535"/>
                <a:gd name="connsiteX10" fmla="*/ 290643 w 290643"/>
                <a:gd name="connsiteY10" fmla="*/ 237169 h 318535"/>
                <a:gd name="connsiteX11" fmla="*/ 290643 w 290643"/>
                <a:gd name="connsiteY11" fmla="*/ 243052 h 318535"/>
                <a:gd name="connsiteX12" fmla="*/ 97665 w 290643"/>
                <a:gd name="connsiteY12" fmla="*/ 318361 h 318535"/>
                <a:gd name="connsiteX13" fmla="*/ 25298 w 290643"/>
                <a:gd name="connsiteY13" fmla="*/ 288944 h 318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90643" h="318535">
                  <a:moveTo>
                    <a:pt x="25298" y="288944"/>
                  </a:moveTo>
                  <a:cubicBezTo>
                    <a:pt x="5295" y="269528"/>
                    <a:pt x="0" y="235992"/>
                    <a:pt x="0" y="187748"/>
                  </a:cubicBezTo>
                  <a:lnTo>
                    <a:pt x="0" y="8302"/>
                  </a:lnTo>
                  <a:lnTo>
                    <a:pt x="16003" y="0"/>
                  </a:lnTo>
                  <a:lnTo>
                    <a:pt x="78793" y="43524"/>
                  </a:lnTo>
                  <a:lnTo>
                    <a:pt x="79427" y="131855"/>
                  </a:lnTo>
                  <a:cubicBezTo>
                    <a:pt x="77662" y="164803"/>
                    <a:pt x="82957" y="198338"/>
                    <a:pt x="93547" y="229521"/>
                  </a:cubicBezTo>
                  <a:cubicBezTo>
                    <a:pt x="102961" y="255408"/>
                    <a:pt x="127083" y="268352"/>
                    <a:pt x="164149" y="268352"/>
                  </a:cubicBezTo>
                  <a:cubicBezTo>
                    <a:pt x="182387" y="267763"/>
                    <a:pt x="200038" y="264233"/>
                    <a:pt x="217100" y="258938"/>
                  </a:cubicBezTo>
                  <a:cubicBezTo>
                    <a:pt x="241810" y="251290"/>
                    <a:pt x="265933" y="241288"/>
                    <a:pt x="289467" y="229521"/>
                  </a:cubicBezTo>
                  <a:cubicBezTo>
                    <a:pt x="290055" y="231874"/>
                    <a:pt x="290643" y="234816"/>
                    <a:pt x="290643" y="237169"/>
                  </a:cubicBezTo>
                  <a:lnTo>
                    <a:pt x="290643" y="243052"/>
                  </a:lnTo>
                  <a:cubicBezTo>
                    <a:pt x="228278" y="296592"/>
                    <a:pt x="146498" y="315419"/>
                    <a:pt x="97665" y="318361"/>
                  </a:cubicBezTo>
                  <a:cubicBezTo>
                    <a:pt x="70602" y="320126"/>
                    <a:pt x="44126" y="308359"/>
                    <a:pt x="25298" y="28894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" name="Forme libre : forme 255">
              <a:extLst>
                <a:ext uri="{FF2B5EF4-FFF2-40B4-BE49-F238E27FC236}">
                  <a16:creationId xmlns:a16="http://schemas.microsoft.com/office/drawing/2014/main" id="{DF6324B6-1146-4A58-A87B-58A99832DFC5}"/>
                </a:ext>
              </a:extLst>
            </p:cNvPr>
            <p:cNvSpPr/>
            <p:nvPr/>
          </p:nvSpPr>
          <p:spPr>
            <a:xfrm rot="8716295">
              <a:off x="2251190" y="4935850"/>
              <a:ext cx="142167" cy="232388"/>
            </a:xfrm>
            <a:custGeom>
              <a:avLst/>
              <a:gdLst>
                <a:gd name="connsiteX0" fmla="*/ 81108 w 142167"/>
                <a:gd name="connsiteY0" fmla="*/ 232388 h 232388"/>
                <a:gd name="connsiteX1" fmla="*/ 81108 w 142167"/>
                <a:gd name="connsiteY1" fmla="*/ 69716 h 232388"/>
                <a:gd name="connsiteX2" fmla="*/ 81108 w 142167"/>
                <a:gd name="connsiteY2" fmla="*/ 65616 h 232388"/>
                <a:gd name="connsiteX3" fmla="*/ 60604 w 142167"/>
                <a:gd name="connsiteY3" fmla="*/ 50123 h 232388"/>
                <a:gd name="connsiteX4" fmla="*/ 0 w 142167"/>
                <a:gd name="connsiteY4" fmla="*/ 50123 h 232388"/>
                <a:gd name="connsiteX5" fmla="*/ 0 w 142167"/>
                <a:gd name="connsiteY5" fmla="*/ 0 h 232388"/>
                <a:gd name="connsiteX6" fmla="*/ 63990 w 142167"/>
                <a:gd name="connsiteY6" fmla="*/ 0 h 232388"/>
                <a:gd name="connsiteX7" fmla="*/ 142167 w 142167"/>
                <a:gd name="connsiteY7" fmla="*/ 54190 h 232388"/>
                <a:gd name="connsiteX8" fmla="*/ 142167 w 142167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32388">
                  <a:moveTo>
                    <a:pt x="81108" y="232388"/>
                  </a:moveTo>
                  <a:lnTo>
                    <a:pt x="81108" y="69716"/>
                  </a:lnTo>
                  <a:cubicBezTo>
                    <a:pt x="81108" y="68350"/>
                    <a:pt x="81108" y="66983"/>
                    <a:pt x="81108" y="65616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63990" y="0"/>
                  </a:lnTo>
                  <a:lnTo>
                    <a:pt x="142167" y="54190"/>
                  </a:lnTo>
                  <a:lnTo>
                    <a:pt x="142167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" name="Forme libre : forme 256">
              <a:extLst>
                <a:ext uri="{FF2B5EF4-FFF2-40B4-BE49-F238E27FC236}">
                  <a16:creationId xmlns:a16="http://schemas.microsoft.com/office/drawing/2014/main" id="{646EF66B-E595-4EAF-98DD-AFED25A9F1D2}"/>
                </a:ext>
              </a:extLst>
            </p:cNvPr>
            <p:cNvSpPr/>
            <p:nvPr/>
          </p:nvSpPr>
          <p:spPr>
            <a:xfrm rot="8716295">
              <a:off x="2456859" y="4924575"/>
              <a:ext cx="131246" cy="253348"/>
            </a:xfrm>
            <a:custGeom>
              <a:avLst/>
              <a:gdLst>
                <a:gd name="connsiteX0" fmla="*/ 51490 w 131246"/>
                <a:gd name="connsiteY0" fmla="*/ 253348 h 253348"/>
                <a:gd name="connsiteX1" fmla="*/ 51489 w 131246"/>
                <a:gd name="connsiteY1" fmla="*/ 44199 h 253348"/>
                <a:gd name="connsiteX2" fmla="*/ 0 w 131246"/>
                <a:gd name="connsiteY2" fmla="*/ 44199 h 253348"/>
                <a:gd name="connsiteX3" fmla="*/ 0 w 131246"/>
                <a:gd name="connsiteY3" fmla="*/ 0 h 253348"/>
                <a:gd name="connsiteX4" fmla="*/ 44807 w 131246"/>
                <a:gd name="connsiteY4" fmla="*/ 0 h 253348"/>
                <a:gd name="connsiteX5" fmla="*/ 104802 w 131246"/>
                <a:gd name="connsiteY5" fmla="*/ 41587 h 253348"/>
                <a:gd name="connsiteX6" fmla="*/ 104802 w 131246"/>
                <a:gd name="connsiteY6" fmla="*/ 73817 h 253348"/>
                <a:gd name="connsiteX7" fmla="*/ 106169 w 131246"/>
                <a:gd name="connsiteY7" fmla="*/ 73817 h 253348"/>
                <a:gd name="connsiteX8" fmla="*/ 115569 w 131246"/>
                <a:gd name="connsiteY8" fmla="*/ 49050 h 253348"/>
                <a:gd name="connsiteX9" fmla="*/ 131246 w 131246"/>
                <a:gd name="connsiteY9" fmla="*/ 59916 h 253348"/>
                <a:gd name="connsiteX10" fmla="*/ 127358 w 131246"/>
                <a:gd name="connsiteY10" fmla="*/ 64191 h 253348"/>
                <a:gd name="connsiteX11" fmla="*/ 111638 w 131246"/>
                <a:gd name="connsiteY11" fmla="*/ 126218 h 253348"/>
                <a:gd name="connsiteX12" fmla="*/ 111638 w 131246"/>
                <a:gd name="connsiteY12" fmla="*/ 212339 h 253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1246" h="253348">
                  <a:moveTo>
                    <a:pt x="51490" y="253348"/>
                  </a:moveTo>
                  <a:lnTo>
                    <a:pt x="51489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44807" y="0"/>
                  </a:lnTo>
                  <a:lnTo>
                    <a:pt x="104802" y="41587"/>
                  </a:lnTo>
                  <a:lnTo>
                    <a:pt x="104802" y="73817"/>
                  </a:lnTo>
                  <a:lnTo>
                    <a:pt x="106169" y="73817"/>
                  </a:lnTo>
                  <a:lnTo>
                    <a:pt x="115569" y="49050"/>
                  </a:lnTo>
                  <a:lnTo>
                    <a:pt x="131246" y="59916"/>
                  </a:lnTo>
                  <a:lnTo>
                    <a:pt x="127358" y="64191"/>
                  </a:lnTo>
                  <a:cubicBezTo>
                    <a:pt x="117675" y="79968"/>
                    <a:pt x="111638" y="101840"/>
                    <a:pt x="111638" y="126218"/>
                  </a:cubicBezTo>
                  <a:lnTo>
                    <a:pt x="111638" y="2123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" name="Forme libre : forme 257">
              <a:extLst>
                <a:ext uri="{FF2B5EF4-FFF2-40B4-BE49-F238E27FC236}">
                  <a16:creationId xmlns:a16="http://schemas.microsoft.com/office/drawing/2014/main" id="{BBB2A0DE-B613-4103-A446-00FD5673FDA7}"/>
                </a:ext>
              </a:extLst>
            </p:cNvPr>
            <p:cNvSpPr/>
            <p:nvPr/>
          </p:nvSpPr>
          <p:spPr>
            <a:xfrm rot="8716295">
              <a:off x="2139785" y="502413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" name="Forme libre : forme 258">
              <a:extLst>
                <a:ext uri="{FF2B5EF4-FFF2-40B4-BE49-F238E27FC236}">
                  <a16:creationId xmlns:a16="http://schemas.microsoft.com/office/drawing/2014/main" id="{CE0B209D-C132-46B3-A7D3-E99A86963D83}"/>
                </a:ext>
              </a:extLst>
            </p:cNvPr>
            <p:cNvSpPr/>
            <p:nvPr/>
          </p:nvSpPr>
          <p:spPr>
            <a:xfrm rot="8716295">
              <a:off x="2014883" y="481546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" name="Forme libre : forme 259">
              <a:extLst>
                <a:ext uri="{FF2B5EF4-FFF2-40B4-BE49-F238E27FC236}">
                  <a16:creationId xmlns:a16="http://schemas.microsoft.com/office/drawing/2014/main" id="{46BBD1CB-80EF-4DD7-9CA4-1F270A6D433D}"/>
                </a:ext>
              </a:extLst>
            </p:cNvPr>
            <p:cNvSpPr/>
            <p:nvPr/>
          </p:nvSpPr>
          <p:spPr>
            <a:xfrm rot="8716295">
              <a:off x="2190257" y="5090583"/>
              <a:ext cx="60147" cy="76898"/>
            </a:xfrm>
            <a:custGeom>
              <a:avLst/>
              <a:gdLst>
                <a:gd name="connsiteX0" fmla="*/ 60147 w 60147"/>
                <a:gd name="connsiteY0" fmla="*/ 76898 h 76898"/>
                <a:gd name="connsiteX1" fmla="*/ 0 w 60147"/>
                <a:gd name="connsiteY1" fmla="*/ 19028 h 76898"/>
                <a:gd name="connsiteX2" fmla="*/ 0 w 60147"/>
                <a:gd name="connsiteY2" fmla="*/ 0 h 76898"/>
                <a:gd name="connsiteX3" fmla="*/ 60147 w 60147"/>
                <a:gd name="connsiteY3" fmla="*/ 41692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7" h="76898">
                  <a:moveTo>
                    <a:pt x="60147" y="76898"/>
                  </a:moveTo>
                  <a:lnTo>
                    <a:pt x="0" y="19028"/>
                  </a:lnTo>
                  <a:lnTo>
                    <a:pt x="0" y="0"/>
                  </a:lnTo>
                  <a:lnTo>
                    <a:pt x="60147" y="416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" name="Forme libre : forme 260">
              <a:extLst>
                <a:ext uri="{FF2B5EF4-FFF2-40B4-BE49-F238E27FC236}">
                  <a16:creationId xmlns:a16="http://schemas.microsoft.com/office/drawing/2014/main" id="{A32DFF69-92E6-43D9-A847-4B37531C0FC1}"/>
                </a:ext>
              </a:extLst>
            </p:cNvPr>
            <p:cNvSpPr/>
            <p:nvPr/>
          </p:nvSpPr>
          <p:spPr>
            <a:xfrm rot="8716295">
              <a:off x="1988512" y="491548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" name="Forme libre : forme 261">
              <a:extLst>
                <a:ext uri="{FF2B5EF4-FFF2-40B4-BE49-F238E27FC236}">
                  <a16:creationId xmlns:a16="http://schemas.microsoft.com/office/drawing/2014/main" id="{8232E004-724D-4398-A64A-AF1F94C033B6}"/>
                </a:ext>
              </a:extLst>
            </p:cNvPr>
            <p:cNvSpPr/>
            <p:nvPr/>
          </p:nvSpPr>
          <p:spPr>
            <a:xfrm rot="8716295">
              <a:off x="2650789" y="5021708"/>
              <a:ext cx="177699" cy="117559"/>
            </a:xfrm>
            <a:custGeom>
              <a:avLst/>
              <a:gdLst>
                <a:gd name="connsiteX0" fmla="*/ 6986 w 177699"/>
                <a:gd name="connsiteY0" fmla="*/ 117559 h 117559"/>
                <a:gd name="connsiteX1" fmla="*/ 0 w 177699"/>
                <a:gd name="connsiteY1" fmla="*/ 107886 h 117559"/>
                <a:gd name="connsiteX2" fmla="*/ 114658 w 177699"/>
                <a:gd name="connsiteY2" fmla="*/ 0 h 117559"/>
                <a:gd name="connsiteX3" fmla="*/ 177699 w 177699"/>
                <a:gd name="connsiteY3" fmla="*/ 43698 h 117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7699" h="117559">
                  <a:moveTo>
                    <a:pt x="6986" y="117559"/>
                  </a:moveTo>
                  <a:lnTo>
                    <a:pt x="0" y="107886"/>
                  </a:lnTo>
                  <a:lnTo>
                    <a:pt x="114658" y="0"/>
                  </a:lnTo>
                  <a:lnTo>
                    <a:pt x="177699" y="436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" name="Forme libre : forme 262">
              <a:extLst>
                <a:ext uri="{FF2B5EF4-FFF2-40B4-BE49-F238E27FC236}">
                  <a16:creationId xmlns:a16="http://schemas.microsoft.com/office/drawing/2014/main" id="{FBFBE439-377B-4FDF-9911-15B61D5AC250}"/>
                </a:ext>
              </a:extLst>
            </p:cNvPr>
            <p:cNvSpPr/>
            <p:nvPr/>
          </p:nvSpPr>
          <p:spPr>
            <a:xfrm rot="8716295">
              <a:off x="2573494" y="492769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" name="Forme libre : forme 263">
              <a:extLst>
                <a:ext uri="{FF2B5EF4-FFF2-40B4-BE49-F238E27FC236}">
                  <a16:creationId xmlns:a16="http://schemas.microsoft.com/office/drawing/2014/main" id="{8F5A7FC6-58AF-4BF6-9769-158D9D43A4A8}"/>
                </a:ext>
              </a:extLst>
            </p:cNvPr>
            <p:cNvSpPr/>
            <p:nvPr/>
          </p:nvSpPr>
          <p:spPr>
            <a:xfrm rot="8716295">
              <a:off x="2330248" y="495791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" name="Forme libre : forme 264">
              <a:extLst>
                <a:ext uri="{FF2B5EF4-FFF2-40B4-BE49-F238E27FC236}">
                  <a16:creationId xmlns:a16="http://schemas.microsoft.com/office/drawing/2014/main" id="{0B99B4B3-E447-449D-B6F2-40AFC1232903}"/>
                </a:ext>
              </a:extLst>
            </p:cNvPr>
            <p:cNvSpPr/>
            <p:nvPr/>
          </p:nvSpPr>
          <p:spPr>
            <a:xfrm rot="8716295">
              <a:off x="2507700" y="479867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" name="Forme libre : forme 265">
              <a:extLst>
                <a:ext uri="{FF2B5EF4-FFF2-40B4-BE49-F238E27FC236}">
                  <a16:creationId xmlns:a16="http://schemas.microsoft.com/office/drawing/2014/main" id="{9FDE555B-22C7-4972-A03C-9A881E9F494C}"/>
                </a:ext>
              </a:extLst>
            </p:cNvPr>
            <p:cNvSpPr/>
            <p:nvPr/>
          </p:nvSpPr>
          <p:spPr>
            <a:xfrm rot="8716295">
              <a:off x="1518235" y="386507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" name="Forme libre : forme 266">
              <a:extLst>
                <a:ext uri="{FF2B5EF4-FFF2-40B4-BE49-F238E27FC236}">
                  <a16:creationId xmlns:a16="http://schemas.microsoft.com/office/drawing/2014/main" id="{47023A4A-E9A4-4E7C-9A1F-7F050E215658}"/>
                </a:ext>
              </a:extLst>
            </p:cNvPr>
            <p:cNvSpPr/>
            <p:nvPr/>
          </p:nvSpPr>
          <p:spPr>
            <a:xfrm rot="8716295">
              <a:off x="1607627" y="389431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" name="Forme libre : forme 267">
              <a:extLst>
                <a:ext uri="{FF2B5EF4-FFF2-40B4-BE49-F238E27FC236}">
                  <a16:creationId xmlns:a16="http://schemas.microsoft.com/office/drawing/2014/main" id="{721AE192-0DE9-44CE-AFE7-60EAD2184BA9}"/>
                </a:ext>
              </a:extLst>
            </p:cNvPr>
            <p:cNvSpPr/>
            <p:nvPr/>
          </p:nvSpPr>
          <p:spPr>
            <a:xfrm rot="8716295">
              <a:off x="1562777" y="380803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" name="Forme libre : forme 268">
              <a:extLst>
                <a:ext uri="{FF2B5EF4-FFF2-40B4-BE49-F238E27FC236}">
                  <a16:creationId xmlns:a16="http://schemas.microsoft.com/office/drawing/2014/main" id="{C1003FCB-894D-4CB7-9C82-85789FE9B276}"/>
                </a:ext>
              </a:extLst>
            </p:cNvPr>
            <p:cNvSpPr/>
            <p:nvPr/>
          </p:nvSpPr>
          <p:spPr>
            <a:xfrm rot="8716295">
              <a:off x="1406001" y="395361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0" name="Forme libre : forme 269">
              <a:extLst>
                <a:ext uri="{FF2B5EF4-FFF2-40B4-BE49-F238E27FC236}">
                  <a16:creationId xmlns:a16="http://schemas.microsoft.com/office/drawing/2014/main" id="{7F48A554-D952-4BC7-8F60-7FBDCE05FE70}"/>
                </a:ext>
              </a:extLst>
            </p:cNvPr>
            <p:cNvSpPr/>
            <p:nvPr/>
          </p:nvSpPr>
          <p:spPr>
            <a:xfrm rot="8716295">
              <a:off x="1281098" y="374494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1" name="Forme libre : forme 270">
              <a:extLst>
                <a:ext uri="{FF2B5EF4-FFF2-40B4-BE49-F238E27FC236}">
                  <a16:creationId xmlns:a16="http://schemas.microsoft.com/office/drawing/2014/main" id="{B64659B2-F8CD-4B3D-8353-ED1AAF15923F}"/>
                </a:ext>
              </a:extLst>
            </p:cNvPr>
            <p:cNvSpPr/>
            <p:nvPr/>
          </p:nvSpPr>
          <p:spPr>
            <a:xfrm rot="8716295">
              <a:off x="1269046" y="3606161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2" name="Forme libre : forme 271">
              <a:extLst>
                <a:ext uri="{FF2B5EF4-FFF2-40B4-BE49-F238E27FC236}">
                  <a16:creationId xmlns:a16="http://schemas.microsoft.com/office/drawing/2014/main" id="{C1336409-0E83-4F9F-AE44-B0095CEBE127}"/>
                </a:ext>
              </a:extLst>
            </p:cNvPr>
            <p:cNvSpPr/>
            <p:nvPr/>
          </p:nvSpPr>
          <p:spPr>
            <a:xfrm rot="8716295">
              <a:off x="1496179" y="399456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3" name="Forme libre : forme 272">
              <a:extLst>
                <a:ext uri="{FF2B5EF4-FFF2-40B4-BE49-F238E27FC236}">
                  <a16:creationId xmlns:a16="http://schemas.microsoft.com/office/drawing/2014/main" id="{11163225-7511-4602-A804-B9D156B88F47}"/>
                </a:ext>
              </a:extLst>
            </p:cNvPr>
            <p:cNvSpPr/>
            <p:nvPr/>
          </p:nvSpPr>
          <p:spPr>
            <a:xfrm rot="8716295">
              <a:off x="1807334" y="36149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4" name="Forme libre : forme 273">
              <a:extLst>
                <a:ext uri="{FF2B5EF4-FFF2-40B4-BE49-F238E27FC236}">
                  <a16:creationId xmlns:a16="http://schemas.microsoft.com/office/drawing/2014/main" id="{81961769-D6FF-4365-87D3-0FF20F673A4A}"/>
                </a:ext>
              </a:extLst>
            </p:cNvPr>
            <p:cNvSpPr/>
            <p:nvPr/>
          </p:nvSpPr>
          <p:spPr>
            <a:xfrm rot="8716295">
              <a:off x="1896726" y="36441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5" name="Forme libre : forme 274">
              <a:extLst>
                <a:ext uri="{FF2B5EF4-FFF2-40B4-BE49-F238E27FC236}">
                  <a16:creationId xmlns:a16="http://schemas.microsoft.com/office/drawing/2014/main" id="{D838E7DA-A3D8-4733-90D9-56C4006640C1}"/>
                </a:ext>
              </a:extLst>
            </p:cNvPr>
            <p:cNvSpPr/>
            <p:nvPr/>
          </p:nvSpPr>
          <p:spPr>
            <a:xfrm rot="8716295">
              <a:off x="1695100" y="370346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6" name="Forme libre : forme 275">
              <a:extLst>
                <a:ext uri="{FF2B5EF4-FFF2-40B4-BE49-F238E27FC236}">
                  <a16:creationId xmlns:a16="http://schemas.microsoft.com/office/drawing/2014/main" id="{BE48505C-4A3C-41E8-805D-3F3964663DC3}"/>
                </a:ext>
              </a:extLst>
            </p:cNvPr>
            <p:cNvSpPr/>
            <p:nvPr/>
          </p:nvSpPr>
          <p:spPr>
            <a:xfrm rot="8716295">
              <a:off x="1570198" y="349478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7" name="Forme libre : forme 276">
              <a:extLst>
                <a:ext uri="{FF2B5EF4-FFF2-40B4-BE49-F238E27FC236}">
                  <a16:creationId xmlns:a16="http://schemas.microsoft.com/office/drawing/2014/main" id="{74C1AFD3-7B5D-49B6-B346-37FFDE5D01C0}"/>
                </a:ext>
              </a:extLst>
            </p:cNvPr>
            <p:cNvSpPr/>
            <p:nvPr/>
          </p:nvSpPr>
          <p:spPr>
            <a:xfrm rot="8716295">
              <a:off x="1785278" y="37444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8" name="Forme libre : forme 277">
              <a:extLst>
                <a:ext uri="{FF2B5EF4-FFF2-40B4-BE49-F238E27FC236}">
                  <a16:creationId xmlns:a16="http://schemas.microsoft.com/office/drawing/2014/main" id="{B918BF38-28D0-4E79-852B-01ED43D79B29}"/>
                </a:ext>
              </a:extLst>
            </p:cNvPr>
            <p:cNvSpPr/>
            <p:nvPr/>
          </p:nvSpPr>
          <p:spPr>
            <a:xfrm rot="8716295">
              <a:off x="1543827" y="359481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9" name="Forme libre : forme 278">
              <a:extLst>
                <a:ext uri="{FF2B5EF4-FFF2-40B4-BE49-F238E27FC236}">
                  <a16:creationId xmlns:a16="http://schemas.microsoft.com/office/drawing/2014/main" id="{9821C7DC-A0EE-43BB-82AD-2D73FD4DEC58}"/>
                </a:ext>
              </a:extLst>
            </p:cNvPr>
            <p:cNvSpPr/>
            <p:nvPr/>
          </p:nvSpPr>
          <p:spPr>
            <a:xfrm rot="7484129">
              <a:off x="1890209" y="393576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0" name="Forme libre : forme 279">
              <a:extLst>
                <a:ext uri="{FF2B5EF4-FFF2-40B4-BE49-F238E27FC236}">
                  <a16:creationId xmlns:a16="http://schemas.microsoft.com/office/drawing/2014/main" id="{CE9B832D-CDB0-4485-83A6-7D7ED44A3320}"/>
                </a:ext>
              </a:extLst>
            </p:cNvPr>
            <p:cNvSpPr/>
            <p:nvPr/>
          </p:nvSpPr>
          <p:spPr>
            <a:xfrm rot="13089394">
              <a:off x="1995029" y="3902299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1" name="Forme libre : forme 280">
              <a:extLst>
                <a:ext uri="{FF2B5EF4-FFF2-40B4-BE49-F238E27FC236}">
                  <a16:creationId xmlns:a16="http://schemas.microsoft.com/office/drawing/2014/main" id="{B39230A2-1C21-4062-B5E2-4E3B7D0C88CD}"/>
                </a:ext>
              </a:extLst>
            </p:cNvPr>
            <p:cNvSpPr/>
            <p:nvPr/>
          </p:nvSpPr>
          <p:spPr>
            <a:xfrm rot="8716295">
              <a:off x="2180614" y="371061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2" name="Forme libre : forme 281">
              <a:extLst>
                <a:ext uri="{FF2B5EF4-FFF2-40B4-BE49-F238E27FC236}">
                  <a16:creationId xmlns:a16="http://schemas.microsoft.com/office/drawing/2014/main" id="{81DCB6A5-C857-4E79-932B-EE7CD6E9E80D}"/>
                </a:ext>
              </a:extLst>
            </p:cNvPr>
            <p:cNvSpPr/>
            <p:nvPr/>
          </p:nvSpPr>
          <p:spPr>
            <a:xfrm rot="8716295">
              <a:off x="2128809" y="360702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3" name="Forme libre : forme 282">
              <a:extLst>
                <a:ext uri="{FF2B5EF4-FFF2-40B4-BE49-F238E27FC236}">
                  <a16:creationId xmlns:a16="http://schemas.microsoft.com/office/drawing/2014/main" id="{DE2E55F0-E1D2-42EF-81BE-5B9CF56A8B16}"/>
                </a:ext>
              </a:extLst>
            </p:cNvPr>
            <p:cNvSpPr/>
            <p:nvPr/>
          </p:nvSpPr>
          <p:spPr>
            <a:xfrm rot="8716295">
              <a:off x="1885563" y="36372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4" name="Forme libre : forme 283">
              <a:extLst>
                <a:ext uri="{FF2B5EF4-FFF2-40B4-BE49-F238E27FC236}">
                  <a16:creationId xmlns:a16="http://schemas.microsoft.com/office/drawing/2014/main" id="{14AD1449-9E25-4F42-B0CB-B7AB7DA137A1}"/>
                </a:ext>
              </a:extLst>
            </p:cNvPr>
            <p:cNvSpPr/>
            <p:nvPr/>
          </p:nvSpPr>
          <p:spPr>
            <a:xfrm rot="8716295">
              <a:off x="2063015" y="34780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5" name="Forme libre : forme 284">
              <a:extLst>
                <a:ext uri="{FF2B5EF4-FFF2-40B4-BE49-F238E27FC236}">
                  <a16:creationId xmlns:a16="http://schemas.microsoft.com/office/drawing/2014/main" id="{9459C257-BD83-4EA3-A67A-64F2E29D2444}"/>
                </a:ext>
              </a:extLst>
            </p:cNvPr>
            <p:cNvSpPr/>
            <p:nvPr/>
          </p:nvSpPr>
          <p:spPr>
            <a:xfrm rot="8716295">
              <a:off x="1741402" y="452476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6" name="Forme libre : forme 285">
              <a:extLst>
                <a:ext uri="{FF2B5EF4-FFF2-40B4-BE49-F238E27FC236}">
                  <a16:creationId xmlns:a16="http://schemas.microsoft.com/office/drawing/2014/main" id="{776DF04A-9E10-40B0-8F87-C3176DFB0655}"/>
                </a:ext>
              </a:extLst>
            </p:cNvPr>
            <p:cNvSpPr/>
            <p:nvPr/>
          </p:nvSpPr>
          <p:spPr>
            <a:xfrm rot="8716295">
              <a:off x="1830794" y="455401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7" name="Forme libre : forme 286">
              <a:extLst>
                <a:ext uri="{FF2B5EF4-FFF2-40B4-BE49-F238E27FC236}">
                  <a16:creationId xmlns:a16="http://schemas.microsoft.com/office/drawing/2014/main" id="{1BCF78D3-72E0-4C34-AE46-85492A03A633}"/>
                </a:ext>
              </a:extLst>
            </p:cNvPr>
            <p:cNvSpPr/>
            <p:nvPr/>
          </p:nvSpPr>
          <p:spPr>
            <a:xfrm rot="8716295">
              <a:off x="1785944" y="4467731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8" name="Forme libre : forme 287">
              <a:extLst>
                <a:ext uri="{FF2B5EF4-FFF2-40B4-BE49-F238E27FC236}">
                  <a16:creationId xmlns:a16="http://schemas.microsoft.com/office/drawing/2014/main" id="{40DD2911-8E83-41A0-92FE-163A6FA95009}"/>
                </a:ext>
              </a:extLst>
            </p:cNvPr>
            <p:cNvSpPr/>
            <p:nvPr/>
          </p:nvSpPr>
          <p:spPr>
            <a:xfrm rot="8716295">
              <a:off x="1629168" y="461331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9" name="Forme libre : forme 288">
              <a:extLst>
                <a:ext uri="{FF2B5EF4-FFF2-40B4-BE49-F238E27FC236}">
                  <a16:creationId xmlns:a16="http://schemas.microsoft.com/office/drawing/2014/main" id="{E686274E-624B-4FD1-9536-D2B4D790F806}"/>
                </a:ext>
              </a:extLst>
            </p:cNvPr>
            <p:cNvSpPr/>
            <p:nvPr/>
          </p:nvSpPr>
          <p:spPr>
            <a:xfrm rot="8716295">
              <a:off x="1504265" y="440464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0" name="Forme libre : forme 289">
              <a:extLst>
                <a:ext uri="{FF2B5EF4-FFF2-40B4-BE49-F238E27FC236}">
                  <a16:creationId xmlns:a16="http://schemas.microsoft.com/office/drawing/2014/main" id="{DA92638D-CC75-4944-B78B-61E3B22A12E3}"/>
                </a:ext>
              </a:extLst>
            </p:cNvPr>
            <p:cNvSpPr/>
            <p:nvPr/>
          </p:nvSpPr>
          <p:spPr>
            <a:xfrm rot="8716295">
              <a:off x="1492213" y="4265860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1" name="Forme libre : forme 290">
              <a:extLst>
                <a:ext uri="{FF2B5EF4-FFF2-40B4-BE49-F238E27FC236}">
                  <a16:creationId xmlns:a16="http://schemas.microsoft.com/office/drawing/2014/main" id="{17950727-3BF3-4A34-9F11-5322F5CFB8F3}"/>
                </a:ext>
              </a:extLst>
            </p:cNvPr>
            <p:cNvSpPr/>
            <p:nvPr/>
          </p:nvSpPr>
          <p:spPr>
            <a:xfrm rot="8716295">
              <a:off x="1719346" y="465426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2" name="Forme libre : forme 291">
              <a:extLst>
                <a:ext uri="{FF2B5EF4-FFF2-40B4-BE49-F238E27FC236}">
                  <a16:creationId xmlns:a16="http://schemas.microsoft.com/office/drawing/2014/main" id="{9010FFF3-701E-491D-97A1-527670851B3C}"/>
                </a:ext>
              </a:extLst>
            </p:cNvPr>
            <p:cNvSpPr/>
            <p:nvPr/>
          </p:nvSpPr>
          <p:spPr>
            <a:xfrm rot="8716295">
              <a:off x="2030501" y="427461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3" name="Forme libre : forme 292">
              <a:extLst>
                <a:ext uri="{FF2B5EF4-FFF2-40B4-BE49-F238E27FC236}">
                  <a16:creationId xmlns:a16="http://schemas.microsoft.com/office/drawing/2014/main" id="{8E50FB82-1555-41A1-B55B-D3699A1B10A3}"/>
                </a:ext>
              </a:extLst>
            </p:cNvPr>
            <p:cNvSpPr/>
            <p:nvPr/>
          </p:nvSpPr>
          <p:spPr>
            <a:xfrm rot="8716295">
              <a:off x="2119893" y="430385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4" name="Forme libre : forme 293">
              <a:extLst>
                <a:ext uri="{FF2B5EF4-FFF2-40B4-BE49-F238E27FC236}">
                  <a16:creationId xmlns:a16="http://schemas.microsoft.com/office/drawing/2014/main" id="{ECB71CB3-C9D6-4612-8036-4BC5560F17FE}"/>
                </a:ext>
              </a:extLst>
            </p:cNvPr>
            <p:cNvSpPr/>
            <p:nvPr/>
          </p:nvSpPr>
          <p:spPr>
            <a:xfrm rot="8716295">
              <a:off x="1918267" y="436316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5" name="Forme libre : forme 294">
              <a:extLst>
                <a:ext uri="{FF2B5EF4-FFF2-40B4-BE49-F238E27FC236}">
                  <a16:creationId xmlns:a16="http://schemas.microsoft.com/office/drawing/2014/main" id="{23C3947C-E5CD-4C04-A462-D000016701AE}"/>
                </a:ext>
              </a:extLst>
            </p:cNvPr>
            <p:cNvSpPr/>
            <p:nvPr/>
          </p:nvSpPr>
          <p:spPr>
            <a:xfrm rot="8716295">
              <a:off x="1793365" y="415448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6" name="Forme libre : forme 295">
              <a:extLst>
                <a:ext uri="{FF2B5EF4-FFF2-40B4-BE49-F238E27FC236}">
                  <a16:creationId xmlns:a16="http://schemas.microsoft.com/office/drawing/2014/main" id="{36960960-0C32-4C59-8462-A2186C943B16}"/>
                </a:ext>
              </a:extLst>
            </p:cNvPr>
            <p:cNvSpPr/>
            <p:nvPr/>
          </p:nvSpPr>
          <p:spPr>
            <a:xfrm rot="8716295">
              <a:off x="2008445" y="4404113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7" name="Forme libre : forme 296">
              <a:extLst>
                <a:ext uri="{FF2B5EF4-FFF2-40B4-BE49-F238E27FC236}">
                  <a16:creationId xmlns:a16="http://schemas.microsoft.com/office/drawing/2014/main" id="{A017DED6-0DF0-4954-AA17-FAF145052546}"/>
                </a:ext>
              </a:extLst>
            </p:cNvPr>
            <p:cNvSpPr/>
            <p:nvPr/>
          </p:nvSpPr>
          <p:spPr>
            <a:xfrm rot="8716295">
              <a:off x="1766994" y="4254513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8" name="Forme libre : forme 297">
              <a:extLst>
                <a:ext uri="{FF2B5EF4-FFF2-40B4-BE49-F238E27FC236}">
                  <a16:creationId xmlns:a16="http://schemas.microsoft.com/office/drawing/2014/main" id="{5CC2F812-5E9A-4217-955F-4164466B5C25}"/>
                </a:ext>
              </a:extLst>
            </p:cNvPr>
            <p:cNvSpPr/>
            <p:nvPr/>
          </p:nvSpPr>
          <p:spPr>
            <a:xfrm rot="7484129">
              <a:off x="2113376" y="459546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9" name="Forme libre : forme 298">
              <a:extLst>
                <a:ext uri="{FF2B5EF4-FFF2-40B4-BE49-F238E27FC236}">
                  <a16:creationId xmlns:a16="http://schemas.microsoft.com/office/drawing/2014/main" id="{C4DB3C3C-7923-468B-A1D6-C35736B5F055}"/>
                </a:ext>
              </a:extLst>
            </p:cNvPr>
            <p:cNvSpPr/>
            <p:nvPr/>
          </p:nvSpPr>
          <p:spPr>
            <a:xfrm rot="13089394">
              <a:off x="2218196" y="4561998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0" name="Forme libre : forme 299">
              <a:extLst>
                <a:ext uri="{FF2B5EF4-FFF2-40B4-BE49-F238E27FC236}">
                  <a16:creationId xmlns:a16="http://schemas.microsoft.com/office/drawing/2014/main" id="{4DB3A68B-6594-48A3-9ED1-B19E13D1C859}"/>
                </a:ext>
              </a:extLst>
            </p:cNvPr>
            <p:cNvSpPr/>
            <p:nvPr/>
          </p:nvSpPr>
          <p:spPr>
            <a:xfrm rot="8716295">
              <a:off x="2403781" y="4370317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1" name="Forme libre : forme 300">
              <a:extLst>
                <a:ext uri="{FF2B5EF4-FFF2-40B4-BE49-F238E27FC236}">
                  <a16:creationId xmlns:a16="http://schemas.microsoft.com/office/drawing/2014/main" id="{257847A5-8115-45F6-B365-C04D26B7A465}"/>
                </a:ext>
              </a:extLst>
            </p:cNvPr>
            <p:cNvSpPr/>
            <p:nvPr/>
          </p:nvSpPr>
          <p:spPr>
            <a:xfrm rot="8716295">
              <a:off x="2351976" y="426672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2" name="Forme libre : forme 301">
              <a:extLst>
                <a:ext uri="{FF2B5EF4-FFF2-40B4-BE49-F238E27FC236}">
                  <a16:creationId xmlns:a16="http://schemas.microsoft.com/office/drawing/2014/main" id="{8F6B8004-8361-41BA-B532-27BD701A55E8}"/>
                </a:ext>
              </a:extLst>
            </p:cNvPr>
            <p:cNvSpPr/>
            <p:nvPr/>
          </p:nvSpPr>
          <p:spPr>
            <a:xfrm rot="8716295">
              <a:off x="2108730" y="429694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3" name="Forme libre : forme 302">
              <a:extLst>
                <a:ext uri="{FF2B5EF4-FFF2-40B4-BE49-F238E27FC236}">
                  <a16:creationId xmlns:a16="http://schemas.microsoft.com/office/drawing/2014/main" id="{A2707731-9E6E-4897-BF1C-AD23EDDF33B9}"/>
                </a:ext>
              </a:extLst>
            </p:cNvPr>
            <p:cNvSpPr/>
            <p:nvPr/>
          </p:nvSpPr>
          <p:spPr>
            <a:xfrm rot="8716295">
              <a:off x="2286182" y="413770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4" name="Forme libre : forme 303">
              <a:extLst>
                <a:ext uri="{FF2B5EF4-FFF2-40B4-BE49-F238E27FC236}">
                  <a16:creationId xmlns:a16="http://schemas.microsoft.com/office/drawing/2014/main" id="{71585C5B-7ACF-4291-A3CC-77CF6C2FAF80}"/>
                </a:ext>
              </a:extLst>
            </p:cNvPr>
            <p:cNvSpPr/>
            <p:nvPr/>
          </p:nvSpPr>
          <p:spPr>
            <a:xfrm rot="8716295">
              <a:off x="854880" y="188600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5" name="Forme libre : forme 304">
              <a:extLst>
                <a:ext uri="{FF2B5EF4-FFF2-40B4-BE49-F238E27FC236}">
                  <a16:creationId xmlns:a16="http://schemas.microsoft.com/office/drawing/2014/main" id="{825A50BE-E198-461A-AE4C-E99B0DB548B8}"/>
                </a:ext>
              </a:extLst>
            </p:cNvPr>
            <p:cNvSpPr/>
            <p:nvPr/>
          </p:nvSpPr>
          <p:spPr>
            <a:xfrm rot="8716295">
              <a:off x="944272" y="191524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6" name="Forme libre : forme 305">
              <a:extLst>
                <a:ext uri="{FF2B5EF4-FFF2-40B4-BE49-F238E27FC236}">
                  <a16:creationId xmlns:a16="http://schemas.microsoft.com/office/drawing/2014/main" id="{A7FBDA8A-DF94-413D-B047-17E3CE1805C0}"/>
                </a:ext>
              </a:extLst>
            </p:cNvPr>
            <p:cNvSpPr/>
            <p:nvPr/>
          </p:nvSpPr>
          <p:spPr>
            <a:xfrm rot="8716295">
              <a:off x="899422" y="182896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7" name="Forme libre : forme 306">
              <a:extLst>
                <a:ext uri="{FF2B5EF4-FFF2-40B4-BE49-F238E27FC236}">
                  <a16:creationId xmlns:a16="http://schemas.microsoft.com/office/drawing/2014/main" id="{8DB66338-D210-4BFA-9092-FF348569CC52}"/>
                </a:ext>
              </a:extLst>
            </p:cNvPr>
            <p:cNvSpPr/>
            <p:nvPr/>
          </p:nvSpPr>
          <p:spPr>
            <a:xfrm rot="8716295">
              <a:off x="742646" y="197454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8" name="Forme libre : forme 307">
              <a:extLst>
                <a:ext uri="{FF2B5EF4-FFF2-40B4-BE49-F238E27FC236}">
                  <a16:creationId xmlns:a16="http://schemas.microsoft.com/office/drawing/2014/main" id="{74B60F54-C3F2-4334-BC7E-D49FA3ACE1ED}"/>
                </a:ext>
              </a:extLst>
            </p:cNvPr>
            <p:cNvSpPr/>
            <p:nvPr/>
          </p:nvSpPr>
          <p:spPr>
            <a:xfrm rot="8716295">
              <a:off x="617743" y="176587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9" name="Forme libre : forme 308">
              <a:extLst>
                <a:ext uri="{FF2B5EF4-FFF2-40B4-BE49-F238E27FC236}">
                  <a16:creationId xmlns:a16="http://schemas.microsoft.com/office/drawing/2014/main" id="{CA3E19C2-F96C-48A0-9D2C-698B32CA8895}"/>
                </a:ext>
              </a:extLst>
            </p:cNvPr>
            <p:cNvSpPr/>
            <p:nvPr/>
          </p:nvSpPr>
          <p:spPr>
            <a:xfrm rot="8716295">
              <a:off x="605691" y="162709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0" name="Forme libre : forme 309">
              <a:extLst>
                <a:ext uri="{FF2B5EF4-FFF2-40B4-BE49-F238E27FC236}">
                  <a16:creationId xmlns:a16="http://schemas.microsoft.com/office/drawing/2014/main" id="{9A0D5CB1-8D83-4AFE-B1BE-9F0F522C0D2B}"/>
                </a:ext>
              </a:extLst>
            </p:cNvPr>
            <p:cNvSpPr/>
            <p:nvPr/>
          </p:nvSpPr>
          <p:spPr>
            <a:xfrm rot="8716295">
              <a:off x="832824" y="201549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1" name="Forme libre : forme 310">
              <a:extLst>
                <a:ext uri="{FF2B5EF4-FFF2-40B4-BE49-F238E27FC236}">
                  <a16:creationId xmlns:a16="http://schemas.microsoft.com/office/drawing/2014/main" id="{7A50FCE7-03C8-4853-B73F-CE26795DB2CC}"/>
                </a:ext>
              </a:extLst>
            </p:cNvPr>
            <p:cNvSpPr/>
            <p:nvPr/>
          </p:nvSpPr>
          <p:spPr>
            <a:xfrm rot="8716295">
              <a:off x="1143979" y="163584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2" name="Forme libre : forme 311">
              <a:extLst>
                <a:ext uri="{FF2B5EF4-FFF2-40B4-BE49-F238E27FC236}">
                  <a16:creationId xmlns:a16="http://schemas.microsoft.com/office/drawing/2014/main" id="{457A7093-695D-4C41-85A0-782C2CD8BC44}"/>
                </a:ext>
              </a:extLst>
            </p:cNvPr>
            <p:cNvSpPr/>
            <p:nvPr/>
          </p:nvSpPr>
          <p:spPr>
            <a:xfrm rot="8716295">
              <a:off x="1233371" y="166509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3" name="Forme libre : forme 312">
              <a:extLst>
                <a:ext uri="{FF2B5EF4-FFF2-40B4-BE49-F238E27FC236}">
                  <a16:creationId xmlns:a16="http://schemas.microsoft.com/office/drawing/2014/main" id="{704E3047-55DF-4CDA-9182-C95BBA17BD9B}"/>
                </a:ext>
              </a:extLst>
            </p:cNvPr>
            <p:cNvSpPr/>
            <p:nvPr/>
          </p:nvSpPr>
          <p:spPr>
            <a:xfrm rot="8716295">
              <a:off x="1031745" y="172439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4" name="Forme libre : forme 313">
              <a:extLst>
                <a:ext uri="{FF2B5EF4-FFF2-40B4-BE49-F238E27FC236}">
                  <a16:creationId xmlns:a16="http://schemas.microsoft.com/office/drawing/2014/main" id="{75BDC6A2-BB14-4847-BB83-0C2ABA630806}"/>
                </a:ext>
              </a:extLst>
            </p:cNvPr>
            <p:cNvSpPr/>
            <p:nvPr/>
          </p:nvSpPr>
          <p:spPr>
            <a:xfrm rot="8716295">
              <a:off x="906843" y="151572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5" name="Forme libre : forme 314">
              <a:extLst>
                <a:ext uri="{FF2B5EF4-FFF2-40B4-BE49-F238E27FC236}">
                  <a16:creationId xmlns:a16="http://schemas.microsoft.com/office/drawing/2014/main" id="{7B4C3322-60E4-483D-8950-104BAFBDD71B}"/>
                </a:ext>
              </a:extLst>
            </p:cNvPr>
            <p:cNvSpPr/>
            <p:nvPr/>
          </p:nvSpPr>
          <p:spPr>
            <a:xfrm rot="8716295">
              <a:off x="1121923" y="176534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6" name="Forme libre : forme 315">
              <a:extLst>
                <a:ext uri="{FF2B5EF4-FFF2-40B4-BE49-F238E27FC236}">
                  <a16:creationId xmlns:a16="http://schemas.microsoft.com/office/drawing/2014/main" id="{2CCC10C4-A47F-46B3-9A5E-2B69B8F95724}"/>
                </a:ext>
              </a:extLst>
            </p:cNvPr>
            <p:cNvSpPr/>
            <p:nvPr/>
          </p:nvSpPr>
          <p:spPr>
            <a:xfrm rot="8716295">
              <a:off x="880472" y="161574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7" name="Forme libre : forme 316">
              <a:extLst>
                <a:ext uri="{FF2B5EF4-FFF2-40B4-BE49-F238E27FC236}">
                  <a16:creationId xmlns:a16="http://schemas.microsoft.com/office/drawing/2014/main" id="{C3F47D9C-5F75-4589-82C5-2EB76DD8C333}"/>
                </a:ext>
              </a:extLst>
            </p:cNvPr>
            <p:cNvSpPr/>
            <p:nvPr/>
          </p:nvSpPr>
          <p:spPr>
            <a:xfrm rot="7484129">
              <a:off x="1226854" y="195669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8" name="Forme libre : forme 317">
              <a:extLst>
                <a:ext uri="{FF2B5EF4-FFF2-40B4-BE49-F238E27FC236}">
                  <a16:creationId xmlns:a16="http://schemas.microsoft.com/office/drawing/2014/main" id="{06EDA617-7C34-4BCB-8273-6505201538B5}"/>
                </a:ext>
              </a:extLst>
            </p:cNvPr>
            <p:cNvSpPr/>
            <p:nvPr/>
          </p:nvSpPr>
          <p:spPr>
            <a:xfrm rot="13089394">
              <a:off x="1331674" y="192323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9" name="Forme libre : forme 318">
              <a:extLst>
                <a:ext uri="{FF2B5EF4-FFF2-40B4-BE49-F238E27FC236}">
                  <a16:creationId xmlns:a16="http://schemas.microsoft.com/office/drawing/2014/main" id="{8C00C036-C8B0-4F77-B0BC-B732FD327F08}"/>
                </a:ext>
              </a:extLst>
            </p:cNvPr>
            <p:cNvSpPr/>
            <p:nvPr/>
          </p:nvSpPr>
          <p:spPr>
            <a:xfrm rot="8716295">
              <a:off x="1517259" y="173154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0" name="Forme libre : forme 319">
              <a:extLst>
                <a:ext uri="{FF2B5EF4-FFF2-40B4-BE49-F238E27FC236}">
                  <a16:creationId xmlns:a16="http://schemas.microsoft.com/office/drawing/2014/main" id="{079E7D4D-7CBC-4E80-9ADD-66D10F53D00A}"/>
                </a:ext>
              </a:extLst>
            </p:cNvPr>
            <p:cNvSpPr/>
            <p:nvPr/>
          </p:nvSpPr>
          <p:spPr>
            <a:xfrm rot="8716295">
              <a:off x="1465454" y="162795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1" name="Forme libre : forme 320">
              <a:extLst>
                <a:ext uri="{FF2B5EF4-FFF2-40B4-BE49-F238E27FC236}">
                  <a16:creationId xmlns:a16="http://schemas.microsoft.com/office/drawing/2014/main" id="{F6CBC04A-ACBC-43B1-86C9-792F0278AE9C}"/>
                </a:ext>
              </a:extLst>
            </p:cNvPr>
            <p:cNvSpPr/>
            <p:nvPr/>
          </p:nvSpPr>
          <p:spPr>
            <a:xfrm rot="8716295">
              <a:off x="1222208" y="165817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2" name="Forme libre : forme 321">
              <a:extLst>
                <a:ext uri="{FF2B5EF4-FFF2-40B4-BE49-F238E27FC236}">
                  <a16:creationId xmlns:a16="http://schemas.microsoft.com/office/drawing/2014/main" id="{877F1B10-A111-4EDF-9C97-C64DD5E5FC2D}"/>
                </a:ext>
              </a:extLst>
            </p:cNvPr>
            <p:cNvSpPr/>
            <p:nvPr/>
          </p:nvSpPr>
          <p:spPr>
            <a:xfrm rot="8716295">
              <a:off x="1399660" y="149893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3" name="Forme libre : forme 322">
              <a:extLst>
                <a:ext uri="{FF2B5EF4-FFF2-40B4-BE49-F238E27FC236}">
                  <a16:creationId xmlns:a16="http://schemas.microsoft.com/office/drawing/2014/main" id="{247A35DD-1AE0-4F8F-91F1-39A539F5145A}"/>
                </a:ext>
              </a:extLst>
            </p:cNvPr>
            <p:cNvSpPr/>
            <p:nvPr/>
          </p:nvSpPr>
          <p:spPr>
            <a:xfrm rot="8716295">
              <a:off x="631713" y="12263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4" name="Forme libre : forme 323">
              <a:extLst>
                <a:ext uri="{FF2B5EF4-FFF2-40B4-BE49-F238E27FC236}">
                  <a16:creationId xmlns:a16="http://schemas.microsoft.com/office/drawing/2014/main" id="{B2057DA7-CDDF-43BB-8EAC-22466BE1F259}"/>
                </a:ext>
              </a:extLst>
            </p:cNvPr>
            <p:cNvSpPr/>
            <p:nvPr/>
          </p:nvSpPr>
          <p:spPr>
            <a:xfrm rot="8716295">
              <a:off x="721105" y="12555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5" name="Forme libre : forme 324">
              <a:extLst>
                <a:ext uri="{FF2B5EF4-FFF2-40B4-BE49-F238E27FC236}">
                  <a16:creationId xmlns:a16="http://schemas.microsoft.com/office/drawing/2014/main" id="{E77CA785-1459-4C27-B776-D857A8D4B013}"/>
                </a:ext>
              </a:extLst>
            </p:cNvPr>
            <p:cNvSpPr/>
            <p:nvPr/>
          </p:nvSpPr>
          <p:spPr>
            <a:xfrm rot="8716295">
              <a:off x="676255" y="116926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6" name="Forme libre : forme 325">
              <a:extLst>
                <a:ext uri="{FF2B5EF4-FFF2-40B4-BE49-F238E27FC236}">
                  <a16:creationId xmlns:a16="http://schemas.microsoft.com/office/drawing/2014/main" id="{D9BFC3E7-D875-4777-80CD-7BECEB16ED0F}"/>
                </a:ext>
              </a:extLst>
            </p:cNvPr>
            <p:cNvSpPr/>
            <p:nvPr/>
          </p:nvSpPr>
          <p:spPr>
            <a:xfrm rot="8716295">
              <a:off x="519479" y="13148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7" name="Forme libre : forme 326">
              <a:extLst>
                <a:ext uri="{FF2B5EF4-FFF2-40B4-BE49-F238E27FC236}">
                  <a16:creationId xmlns:a16="http://schemas.microsoft.com/office/drawing/2014/main" id="{E87C9BB6-CA72-4C32-8CA3-A029EC77D88B}"/>
                </a:ext>
              </a:extLst>
            </p:cNvPr>
            <p:cNvSpPr/>
            <p:nvPr/>
          </p:nvSpPr>
          <p:spPr>
            <a:xfrm rot="8716295">
              <a:off x="394576" y="11061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8" name="Forme libre : forme 327">
              <a:extLst>
                <a:ext uri="{FF2B5EF4-FFF2-40B4-BE49-F238E27FC236}">
                  <a16:creationId xmlns:a16="http://schemas.microsoft.com/office/drawing/2014/main" id="{40F6441D-9B69-4079-B1A2-720CB6BA2101}"/>
                </a:ext>
              </a:extLst>
            </p:cNvPr>
            <p:cNvSpPr/>
            <p:nvPr/>
          </p:nvSpPr>
          <p:spPr>
            <a:xfrm rot="8716295">
              <a:off x="382524" y="96739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9" name="Forme libre : forme 328">
              <a:extLst>
                <a:ext uri="{FF2B5EF4-FFF2-40B4-BE49-F238E27FC236}">
                  <a16:creationId xmlns:a16="http://schemas.microsoft.com/office/drawing/2014/main" id="{B832EB8F-3703-48E0-A315-AEFC6F1CBB35}"/>
                </a:ext>
              </a:extLst>
            </p:cNvPr>
            <p:cNvSpPr/>
            <p:nvPr/>
          </p:nvSpPr>
          <p:spPr>
            <a:xfrm rot="8716295">
              <a:off x="609657" y="135579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0" name="Forme libre : forme 329">
              <a:extLst>
                <a:ext uri="{FF2B5EF4-FFF2-40B4-BE49-F238E27FC236}">
                  <a16:creationId xmlns:a16="http://schemas.microsoft.com/office/drawing/2014/main" id="{763E69C5-E960-4417-A0EA-1ECCFB8C6C35}"/>
                </a:ext>
              </a:extLst>
            </p:cNvPr>
            <p:cNvSpPr/>
            <p:nvPr/>
          </p:nvSpPr>
          <p:spPr>
            <a:xfrm rot="8716295">
              <a:off x="920812" y="97615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1" name="Forme libre : forme 330">
              <a:extLst>
                <a:ext uri="{FF2B5EF4-FFF2-40B4-BE49-F238E27FC236}">
                  <a16:creationId xmlns:a16="http://schemas.microsoft.com/office/drawing/2014/main" id="{651DF2CF-FEA7-4A17-8C45-74CA1E1691C9}"/>
                </a:ext>
              </a:extLst>
            </p:cNvPr>
            <p:cNvSpPr/>
            <p:nvPr/>
          </p:nvSpPr>
          <p:spPr>
            <a:xfrm rot="8716295">
              <a:off x="1010204" y="100539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2" name="Forme libre : forme 331">
              <a:extLst>
                <a:ext uri="{FF2B5EF4-FFF2-40B4-BE49-F238E27FC236}">
                  <a16:creationId xmlns:a16="http://schemas.microsoft.com/office/drawing/2014/main" id="{F4BE6752-2F2B-4713-BCC2-F5A751451D2F}"/>
                </a:ext>
              </a:extLst>
            </p:cNvPr>
            <p:cNvSpPr/>
            <p:nvPr/>
          </p:nvSpPr>
          <p:spPr>
            <a:xfrm rot="8716295">
              <a:off x="808578" y="106469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3" name="Forme libre : forme 332">
              <a:extLst>
                <a:ext uri="{FF2B5EF4-FFF2-40B4-BE49-F238E27FC236}">
                  <a16:creationId xmlns:a16="http://schemas.microsoft.com/office/drawing/2014/main" id="{F0181337-48BC-4C6E-BF6A-EF75BA2ADF65}"/>
                </a:ext>
              </a:extLst>
            </p:cNvPr>
            <p:cNvSpPr/>
            <p:nvPr/>
          </p:nvSpPr>
          <p:spPr>
            <a:xfrm rot="8716295">
              <a:off x="683676" y="85602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4" name="Forme libre : forme 333">
              <a:extLst>
                <a:ext uri="{FF2B5EF4-FFF2-40B4-BE49-F238E27FC236}">
                  <a16:creationId xmlns:a16="http://schemas.microsoft.com/office/drawing/2014/main" id="{51A8FF0F-FF59-4E76-A691-2074D9AE597E}"/>
                </a:ext>
              </a:extLst>
            </p:cNvPr>
            <p:cNvSpPr/>
            <p:nvPr/>
          </p:nvSpPr>
          <p:spPr>
            <a:xfrm rot="8716295">
              <a:off x="898756" y="110564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5" name="Forme libre : forme 334">
              <a:extLst>
                <a:ext uri="{FF2B5EF4-FFF2-40B4-BE49-F238E27FC236}">
                  <a16:creationId xmlns:a16="http://schemas.microsoft.com/office/drawing/2014/main" id="{D5F2DBF7-EA5E-412E-BE60-C63CE87201BD}"/>
                </a:ext>
              </a:extLst>
            </p:cNvPr>
            <p:cNvSpPr/>
            <p:nvPr/>
          </p:nvSpPr>
          <p:spPr>
            <a:xfrm rot="8716295">
              <a:off x="657305" y="95604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6" name="Forme libre : forme 335">
              <a:extLst>
                <a:ext uri="{FF2B5EF4-FFF2-40B4-BE49-F238E27FC236}">
                  <a16:creationId xmlns:a16="http://schemas.microsoft.com/office/drawing/2014/main" id="{2B86FAAC-284E-4293-B3BE-662E153BEFE7}"/>
                </a:ext>
              </a:extLst>
            </p:cNvPr>
            <p:cNvSpPr/>
            <p:nvPr/>
          </p:nvSpPr>
          <p:spPr>
            <a:xfrm rot="7484129">
              <a:off x="1003687" y="129699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7" name="Forme libre : forme 336">
              <a:extLst>
                <a:ext uri="{FF2B5EF4-FFF2-40B4-BE49-F238E27FC236}">
                  <a16:creationId xmlns:a16="http://schemas.microsoft.com/office/drawing/2014/main" id="{F8C25AEA-BEFD-464B-AC86-4743BA580AF0}"/>
                </a:ext>
              </a:extLst>
            </p:cNvPr>
            <p:cNvSpPr/>
            <p:nvPr/>
          </p:nvSpPr>
          <p:spPr>
            <a:xfrm rot="13089394">
              <a:off x="1108507" y="1263531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8" name="Forme libre : forme 337">
              <a:extLst>
                <a:ext uri="{FF2B5EF4-FFF2-40B4-BE49-F238E27FC236}">
                  <a16:creationId xmlns:a16="http://schemas.microsoft.com/office/drawing/2014/main" id="{C5FC227C-CE0A-4B9A-BEB5-86A5822E13D2}"/>
                </a:ext>
              </a:extLst>
            </p:cNvPr>
            <p:cNvSpPr/>
            <p:nvPr/>
          </p:nvSpPr>
          <p:spPr>
            <a:xfrm rot="8716295">
              <a:off x="1294092" y="107185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9" name="Forme libre : forme 338">
              <a:extLst>
                <a:ext uri="{FF2B5EF4-FFF2-40B4-BE49-F238E27FC236}">
                  <a16:creationId xmlns:a16="http://schemas.microsoft.com/office/drawing/2014/main" id="{2AD54659-FB71-46D1-A755-0BCF081E050A}"/>
                </a:ext>
              </a:extLst>
            </p:cNvPr>
            <p:cNvSpPr/>
            <p:nvPr/>
          </p:nvSpPr>
          <p:spPr>
            <a:xfrm rot="8716295">
              <a:off x="1242287" y="96825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0" name="Forme libre : forme 339">
              <a:extLst>
                <a:ext uri="{FF2B5EF4-FFF2-40B4-BE49-F238E27FC236}">
                  <a16:creationId xmlns:a16="http://schemas.microsoft.com/office/drawing/2014/main" id="{EA0D1B29-AE82-4655-80DE-F5EADED15310}"/>
                </a:ext>
              </a:extLst>
            </p:cNvPr>
            <p:cNvSpPr/>
            <p:nvPr/>
          </p:nvSpPr>
          <p:spPr>
            <a:xfrm rot="8716295">
              <a:off x="999041" y="99847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1" name="Forme libre : forme 340">
              <a:extLst>
                <a:ext uri="{FF2B5EF4-FFF2-40B4-BE49-F238E27FC236}">
                  <a16:creationId xmlns:a16="http://schemas.microsoft.com/office/drawing/2014/main" id="{FE59AAF9-5326-4148-B75B-C59DBA653A58}"/>
                </a:ext>
              </a:extLst>
            </p:cNvPr>
            <p:cNvSpPr/>
            <p:nvPr/>
          </p:nvSpPr>
          <p:spPr>
            <a:xfrm rot="8716295">
              <a:off x="1176493" y="83923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2" name="Forme libre : forme 341">
              <a:extLst>
                <a:ext uri="{FF2B5EF4-FFF2-40B4-BE49-F238E27FC236}">
                  <a16:creationId xmlns:a16="http://schemas.microsoft.com/office/drawing/2014/main" id="{2B5ED39A-BA82-4FB9-B8D1-BFCBF5FCF8AB}"/>
                </a:ext>
              </a:extLst>
            </p:cNvPr>
            <p:cNvSpPr/>
            <p:nvPr/>
          </p:nvSpPr>
          <p:spPr>
            <a:xfrm rot="8716295">
              <a:off x="412774" y="56424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3" name="Forme libre : forme 342">
              <a:extLst>
                <a:ext uri="{FF2B5EF4-FFF2-40B4-BE49-F238E27FC236}">
                  <a16:creationId xmlns:a16="http://schemas.microsoft.com/office/drawing/2014/main" id="{EF04C128-AC77-4E99-970E-568F219D8A8C}"/>
                </a:ext>
              </a:extLst>
            </p:cNvPr>
            <p:cNvSpPr/>
            <p:nvPr/>
          </p:nvSpPr>
          <p:spPr>
            <a:xfrm rot="8716295">
              <a:off x="502166" y="59348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4" name="Forme libre : forme 343">
              <a:extLst>
                <a:ext uri="{FF2B5EF4-FFF2-40B4-BE49-F238E27FC236}">
                  <a16:creationId xmlns:a16="http://schemas.microsoft.com/office/drawing/2014/main" id="{35DEA77E-6D52-40CB-86CA-54607FDC07E9}"/>
                </a:ext>
              </a:extLst>
            </p:cNvPr>
            <p:cNvSpPr/>
            <p:nvPr/>
          </p:nvSpPr>
          <p:spPr>
            <a:xfrm rot="8716295">
              <a:off x="457316" y="50720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5" name="Forme libre : forme 344">
              <a:extLst>
                <a:ext uri="{FF2B5EF4-FFF2-40B4-BE49-F238E27FC236}">
                  <a16:creationId xmlns:a16="http://schemas.microsoft.com/office/drawing/2014/main" id="{7F83C78F-975E-4433-96C7-AC45753DC5C9}"/>
                </a:ext>
              </a:extLst>
            </p:cNvPr>
            <p:cNvSpPr/>
            <p:nvPr/>
          </p:nvSpPr>
          <p:spPr>
            <a:xfrm rot="8716295">
              <a:off x="300540" y="65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6" name="Forme libre : forme 345">
              <a:extLst>
                <a:ext uri="{FF2B5EF4-FFF2-40B4-BE49-F238E27FC236}">
                  <a16:creationId xmlns:a16="http://schemas.microsoft.com/office/drawing/2014/main" id="{FD3979A2-0F0A-4D64-B2D1-D790A7310394}"/>
                </a:ext>
              </a:extLst>
            </p:cNvPr>
            <p:cNvSpPr/>
            <p:nvPr/>
          </p:nvSpPr>
          <p:spPr>
            <a:xfrm rot="8716295">
              <a:off x="175637" y="44411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7" name="Forme libre : forme 346">
              <a:extLst>
                <a:ext uri="{FF2B5EF4-FFF2-40B4-BE49-F238E27FC236}">
                  <a16:creationId xmlns:a16="http://schemas.microsoft.com/office/drawing/2014/main" id="{AA76E107-EED2-43EE-909B-E95F465CE73B}"/>
                </a:ext>
              </a:extLst>
            </p:cNvPr>
            <p:cNvSpPr/>
            <p:nvPr/>
          </p:nvSpPr>
          <p:spPr>
            <a:xfrm rot="8716295">
              <a:off x="163585" y="30533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8" name="Forme libre : forme 347">
              <a:extLst>
                <a:ext uri="{FF2B5EF4-FFF2-40B4-BE49-F238E27FC236}">
                  <a16:creationId xmlns:a16="http://schemas.microsoft.com/office/drawing/2014/main" id="{B9BBA0BC-EEAF-493E-A940-F09587491C29}"/>
                </a:ext>
              </a:extLst>
            </p:cNvPr>
            <p:cNvSpPr/>
            <p:nvPr/>
          </p:nvSpPr>
          <p:spPr>
            <a:xfrm rot="8716295">
              <a:off x="390718" y="69374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9" name="Forme libre : forme 348">
              <a:extLst>
                <a:ext uri="{FF2B5EF4-FFF2-40B4-BE49-F238E27FC236}">
                  <a16:creationId xmlns:a16="http://schemas.microsoft.com/office/drawing/2014/main" id="{C8D30F56-4A06-4C10-B3F2-60FAA4FF4FB6}"/>
                </a:ext>
              </a:extLst>
            </p:cNvPr>
            <p:cNvSpPr/>
            <p:nvPr/>
          </p:nvSpPr>
          <p:spPr>
            <a:xfrm rot="8716295">
              <a:off x="701873" y="31409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0" name="Forme libre : forme 349">
              <a:extLst>
                <a:ext uri="{FF2B5EF4-FFF2-40B4-BE49-F238E27FC236}">
                  <a16:creationId xmlns:a16="http://schemas.microsoft.com/office/drawing/2014/main" id="{5C6936A8-9A95-4204-9D28-D9B75C140322}"/>
                </a:ext>
              </a:extLst>
            </p:cNvPr>
            <p:cNvSpPr/>
            <p:nvPr/>
          </p:nvSpPr>
          <p:spPr>
            <a:xfrm rot="8716295">
              <a:off x="791265" y="34333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1" name="Forme libre : forme 350">
              <a:extLst>
                <a:ext uri="{FF2B5EF4-FFF2-40B4-BE49-F238E27FC236}">
                  <a16:creationId xmlns:a16="http://schemas.microsoft.com/office/drawing/2014/main" id="{FFF2D367-BA47-4EF1-A7BB-098E80C21CBE}"/>
                </a:ext>
              </a:extLst>
            </p:cNvPr>
            <p:cNvSpPr/>
            <p:nvPr/>
          </p:nvSpPr>
          <p:spPr>
            <a:xfrm rot="8716295">
              <a:off x="589639" y="40263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2" name="Forme libre : forme 351">
              <a:extLst>
                <a:ext uri="{FF2B5EF4-FFF2-40B4-BE49-F238E27FC236}">
                  <a16:creationId xmlns:a16="http://schemas.microsoft.com/office/drawing/2014/main" id="{449281FC-8C05-45F5-BEE0-D74C1D2991A0}"/>
                </a:ext>
              </a:extLst>
            </p:cNvPr>
            <p:cNvSpPr/>
            <p:nvPr/>
          </p:nvSpPr>
          <p:spPr>
            <a:xfrm rot="8716295">
              <a:off x="464737" y="19396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3" name="Forme libre : forme 352">
              <a:extLst>
                <a:ext uri="{FF2B5EF4-FFF2-40B4-BE49-F238E27FC236}">
                  <a16:creationId xmlns:a16="http://schemas.microsoft.com/office/drawing/2014/main" id="{AC76B493-44A9-4110-A979-E79DA2DAD0EF}"/>
                </a:ext>
              </a:extLst>
            </p:cNvPr>
            <p:cNvSpPr/>
            <p:nvPr/>
          </p:nvSpPr>
          <p:spPr>
            <a:xfrm rot="8716295">
              <a:off x="679817" y="44358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4" name="Forme libre : forme 353">
              <a:extLst>
                <a:ext uri="{FF2B5EF4-FFF2-40B4-BE49-F238E27FC236}">
                  <a16:creationId xmlns:a16="http://schemas.microsoft.com/office/drawing/2014/main" id="{A1E49731-9881-455E-A515-C358862DEBAE}"/>
                </a:ext>
              </a:extLst>
            </p:cNvPr>
            <p:cNvSpPr/>
            <p:nvPr/>
          </p:nvSpPr>
          <p:spPr>
            <a:xfrm rot="8716295">
              <a:off x="438366" y="29398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5" name="Forme libre : forme 354">
              <a:extLst>
                <a:ext uri="{FF2B5EF4-FFF2-40B4-BE49-F238E27FC236}">
                  <a16:creationId xmlns:a16="http://schemas.microsoft.com/office/drawing/2014/main" id="{8204F475-BA32-42D6-B48D-2BEE0C6DF622}"/>
                </a:ext>
              </a:extLst>
            </p:cNvPr>
            <p:cNvSpPr/>
            <p:nvPr/>
          </p:nvSpPr>
          <p:spPr>
            <a:xfrm rot="7484129">
              <a:off x="784748" y="63493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6" name="Forme libre : forme 355">
              <a:extLst>
                <a:ext uri="{FF2B5EF4-FFF2-40B4-BE49-F238E27FC236}">
                  <a16:creationId xmlns:a16="http://schemas.microsoft.com/office/drawing/2014/main" id="{3407396E-8B17-4E89-82BB-C091E11448DB}"/>
                </a:ext>
              </a:extLst>
            </p:cNvPr>
            <p:cNvSpPr/>
            <p:nvPr/>
          </p:nvSpPr>
          <p:spPr>
            <a:xfrm rot="13089394">
              <a:off x="889568" y="60147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7" name="Forme libre : forme 356">
              <a:extLst>
                <a:ext uri="{FF2B5EF4-FFF2-40B4-BE49-F238E27FC236}">
                  <a16:creationId xmlns:a16="http://schemas.microsoft.com/office/drawing/2014/main" id="{27719725-2BB1-4B94-8AC6-F116861C62F1}"/>
                </a:ext>
              </a:extLst>
            </p:cNvPr>
            <p:cNvSpPr/>
            <p:nvPr/>
          </p:nvSpPr>
          <p:spPr>
            <a:xfrm rot="8716295">
              <a:off x="1075153" y="40979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8" name="Forme libre : forme 357">
              <a:extLst>
                <a:ext uri="{FF2B5EF4-FFF2-40B4-BE49-F238E27FC236}">
                  <a16:creationId xmlns:a16="http://schemas.microsoft.com/office/drawing/2014/main" id="{43C5E8C2-1177-4638-AAC9-C608290C6D73}"/>
                </a:ext>
              </a:extLst>
            </p:cNvPr>
            <p:cNvSpPr/>
            <p:nvPr/>
          </p:nvSpPr>
          <p:spPr>
            <a:xfrm rot="8716295">
              <a:off x="1023348" y="30619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9" name="Forme libre : forme 358">
              <a:extLst>
                <a:ext uri="{FF2B5EF4-FFF2-40B4-BE49-F238E27FC236}">
                  <a16:creationId xmlns:a16="http://schemas.microsoft.com/office/drawing/2014/main" id="{66F400C8-484F-4AA9-9E69-F9DA598D65AC}"/>
                </a:ext>
              </a:extLst>
            </p:cNvPr>
            <p:cNvSpPr/>
            <p:nvPr/>
          </p:nvSpPr>
          <p:spPr>
            <a:xfrm rot="8716295">
              <a:off x="780102" y="336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0" name="Forme libre : forme 359">
              <a:extLst>
                <a:ext uri="{FF2B5EF4-FFF2-40B4-BE49-F238E27FC236}">
                  <a16:creationId xmlns:a16="http://schemas.microsoft.com/office/drawing/2014/main" id="{FD3344B4-1783-4AD8-8B1E-198B5BC45770}"/>
                </a:ext>
              </a:extLst>
            </p:cNvPr>
            <p:cNvSpPr/>
            <p:nvPr/>
          </p:nvSpPr>
          <p:spPr>
            <a:xfrm rot="8716295">
              <a:off x="957554" y="17717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1" name="Forme libre : forme 360">
              <a:extLst>
                <a:ext uri="{FF2B5EF4-FFF2-40B4-BE49-F238E27FC236}">
                  <a16:creationId xmlns:a16="http://schemas.microsoft.com/office/drawing/2014/main" id="{B1F20E97-7F16-49D8-A491-FB12C97898BA}"/>
                </a:ext>
              </a:extLst>
            </p:cNvPr>
            <p:cNvSpPr/>
            <p:nvPr/>
          </p:nvSpPr>
          <p:spPr>
            <a:xfrm rot="8716295">
              <a:off x="202348" y="-57106"/>
              <a:ext cx="142167" cy="186494"/>
            </a:xfrm>
            <a:custGeom>
              <a:avLst/>
              <a:gdLst>
                <a:gd name="connsiteX0" fmla="*/ 142167 w 142167"/>
                <a:gd name="connsiteY0" fmla="*/ 186494 h 186494"/>
                <a:gd name="connsiteX1" fmla="*/ 81108 w 142167"/>
                <a:gd name="connsiteY1" fmla="*/ 144170 h 186494"/>
                <a:gd name="connsiteX2" fmla="*/ 81108 w 142167"/>
                <a:gd name="connsiteY2" fmla="*/ 69717 h 186494"/>
                <a:gd name="connsiteX3" fmla="*/ 81108 w 142167"/>
                <a:gd name="connsiteY3" fmla="*/ 65615 h 186494"/>
                <a:gd name="connsiteX4" fmla="*/ 60603 w 142167"/>
                <a:gd name="connsiteY4" fmla="*/ 50123 h 186494"/>
                <a:gd name="connsiteX5" fmla="*/ 0 w 142167"/>
                <a:gd name="connsiteY5" fmla="*/ 50123 h 186494"/>
                <a:gd name="connsiteX6" fmla="*/ 0 w 142167"/>
                <a:gd name="connsiteY6" fmla="*/ 0 h 186494"/>
                <a:gd name="connsiteX7" fmla="*/ 85209 w 142167"/>
                <a:gd name="connsiteY7" fmla="*/ 0 h 186494"/>
                <a:gd name="connsiteX8" fmla="*/ 142167 w 142167"/>
                <a:gd name="connsiteY8" fmla="*/ 50123 h 186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86494">
                  <a:moveTo>
                    <a:pt x="142167" y="186494"/>
                  </a:moveTo>
                  <a:lnTo>
                    <a:pt x="81108" y="144170"/>
                  </a:lnTo>
                  <a:lnTo>
                    <a:pt x="81108" y="69717"/>
                  </a:lnTo>
                  <a:cubicBezTo>
                    <a:pt x="81108" y="68349"/>
                    <a:pt x="81108" y="66983"/>
                    <a:pt x="81108" y="65615"/>
                  </a:cubicBezTo>
                  <a:cubicBezTo>
                    <a:pt x="79741" y="55591"/>
                    <a:pt x="70628" y="48756"/>
                    <a:pt x="60603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2" name="Forme libre : forme 361">
              <a:extLst>
                <a:ext uri="{FF2B5EF4-FFF2-40B4-BE49-F238E27FC236}">
                  <a16:creationId xmlns:a16="http://schemas.microsoft.com/office/drawing/2014/main" id="{627DF55A-0BF9-412B-B088-58C19C1BDCF8}"/>
                </a:ext>
              </a:extLst>
            </p:cNvPr>
            <p:cNvSpPr/>
            <p:nvPr/>
          </p:nvSpPr>
          <p:spPr>
            <a:xfrm rot="8716295">
              <a:off x="298766" y="-5395"/>
              <a:ext cx="260639" cy="180054"/>
            </a:xfrm>
            <a:custGeom>
              <a:avLst/>
              <a:gdLst>
                <a:gd name="connsiteX0" fmla="*/ 111638 w 260639"/>
                <a:gd name="connsiteY0" fmla="*/ 180054 h 180054"/>
                <a:gd name="connsiteX1" fmla="*/ 51490 w 260639"/>
                <a:gd name="connsiteY1" fmla="*/ 138362 h 180054"/>
                <a:gd name="connsiteX2" fmla="*/ 51490 w 260639"/>
                <a:gd name="connsiteY2" fmla="*/ 45624 h 180054"/>
                <a:gd name="connsiteX3" fmla="*/ 0 w 260639"/>
                <a:gd name="connsiteY3" fmla="*/ 45624 h 180054"/>
                <a:gd name="connsiteX4" fmla="*/ 0 w 260639"/>
                <a:gd name="connsiteY4" fmla="*/ 1425 h 180054"/>
                <a:gd name="connsiteX5" fmla="*/ 104802 w 260639"/>
                <a:gd name="connsiteY5" fmla="*/ 1425 h 180054"/>
                <a:gd name="connsiteX6" fmla="*/ 104802 w 260639"/>
                <a:gd name="connsiteY6" fmla="*/ 75242 h 180054"/>
                <a:gd name="connsiteX7" fmla="*/ 106169 w 260639"/>
                <a:gd name="connsiteY7" fmla="*/ 75242 h 180054"/>
                <a:gd name="connsiteX8" fmla="*/ 154014 w 260639"/>
                <a:gd name="connsiteY8" fmla="*/ 5981 h 180054"/>
                <a:gd name="connsiteX9" fmla="*/ 185455 w 260639"/>
                <a:gd name="connsiteY9" fmla="*/ 57 h 180054"/>
                <a:gd name="connsiteX10" fmla="*/ 260639 w 260639"/>
                <a:gd name="connsiteY10" fmla="*/ 88456 h 180054"/>
                <a:gd name="connsiteX11" fmla="*/ 260639 w 260639"/>
                <a:gd name="connsiteY11" fmla="*/ 94380 h 180054"/>
                <a:gd name="connsiteX12" fmla="*/ 198669 w 260639"/>
                <a:gd name="connsiteY12" fmla="*/ 98025 h 180054"/>
                <a:gd name="connsiteX13" fmla="*/ 198669 w 260639"/>
                <a:gd name="connsiteY13" fmla="*/ 81621 h 180054"/>
                <a:gd name="connsiteX14" fmla="*/ 164950 w 260639"/>
                <a:gd name="connsiteY14" fmla="*/ 40156 h 180054"/>
                <a:gd name="connsiteX15" fmla="*/ 111638 w 260639"/>
                <a:gd name="connsiteY15" fmla="*/ 127643 h 180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0639" h="180054">
                  <a:moveTo>
                    <a:pt x="111638" y="180054"/>
                  </a:moveTo>
                  <a:lnTo>
                    <a:pt x="51490" y="138362"/>
                  </a:ln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3" name="Forme libre : forme 362">
              <a:extLst>
                <a:ext uri="{FF2B5EF4-FFF2-40B4-BE49-F238E27FC236}">
                  <a16:creationId xmlns:a16="http://schemas.microsoft.com/office/drawing/2014/main" id="{B1CC1170-12B9-42E7-B048-36951089B415}"/>
                </a:ext>
              </a:extLst>
            </p:cNvPr>
            <p:cNvSpPr/>
            <p:nvPr/>
          </p:nvSpPr>
          <p:spPr>
            <a:xfrm rot="8716295">
              <a:off x="276903" y="-12823"/>
              <a:ext cx="36272" cy="27982"/>
            </a:xfrm>
            <a:custGeom>
              <a:avLst/>
              <a:gdLst>
                <a:gd name="connsiteX0" fmla="*/ 36272 w 36272"/>
                <a:gd name="connsiteY0" fmla="*/ 27982 h 27982"/>
                <a:gd name="connsiteX1" fmla="*/ 0 w 36272"/>
                <a:gd name="connsiteY1" fmla="*/ 2840 h 27982"/>
                <a:gd name="connsiteX2" fmla="*/ 9543 w 36272"/>
                <a:gd name="connsiteY2" fmla="*/ 0 h 27982"/>
                <a:gd name="connsiteX3" fmla="*/ 31871 w 36272"/>
                <a:gd name="connsiteY3" fmla="*/ 11392 h 27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272" h="27982">
                  <a:moveTo>
                    <a:pt x="36272" y="27982"/>
                  </a:moveTo>
                  <a:lnTo>
                    <a:pt x="0" y="2840"/>
                  </a:lnTo>
                  <a:lnTo>
                    <a:pt x="9543" y="0"/>
                  </a:lnTo>
                  <a:cubicBezTo>
                    <a:pt x="20479" y="0"/>
                    <a:pt x="27542" y="4784"/>
                    <a:pt x="31871" y="113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4" name="Forme libre : forme 363">
              <a:extLst>
                <a:ext uri="{FF2B5EF4-FFF2-40B4-BE49-F238E27FC236}">
                  <a16:creationId xmlns:a16="http://schemas.microsoft.com/office/drawing/2014/main" id="{E033BF19-7D8B-489E-8421-40953085A3CD}"/>
                </a:ext>
              </a:extLst>
            </p:cNvPr>
            <p:cNvSpPr/>
            <p:nvPr/>
          </p:nvSpPr>
          <p:spPr>
            <a:xfrm rot="8716295">
              <a:off x="74640" y="-9665"/>
              <a:ext cx="58068" cy="54772"/>
            </a:xfrm>
            <a:custGeom>
              <a:avLst/>
              <a:gdLst>
                <a:gd name="connsiteX0" fmla="*/ 37436 w 58068"/>
                <a:gd name="connsiteY0" fmla="*/ 54772 h 54772"/>
                <a:gd name="connsiteX1" fmla="*/ 0 w 58068"/>
                <a:gd name="connsiteY1" fmla="*/ 28823 h 54772"/>
                <a:gd name="connsiteX2" fmla="*/ 8515 w 58068"/>
                <a:gd name="connsiteY2" fmla="*/ 8658 h 54772"/>
                <a:gd name="connsiteX3" fmla="*/ 29020 w 58068"/>
                <a:gd name="connsiteY3" fmla="*/ 0 h 54772"/>
                <a:gd name="connsiteX4" fmla="*/ 49525 w 58068"/>
                <a:gd name="connsiteY4" fmla="*/ 8658 h 54772"/>
                <a:gd name="connsiteX5" fmla="*/ 49525 w 58068"/>
                <a:gd name="connsiteY5" fmla="*/ 49668 h 5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068" h="54772">
                  <a:moveTo>
                    <a:pt x="37436" y="54772"/>
                  </a:moveTo>
                  <a:lnTo>
                    <a:pt x="0" y="28823"/>
                  </a:lnTo>
                  <a:lnTo>
                    <a:pt x="8515" y="8658"/>
                  </a:lnTo>
                  <a:cubicBezTo>
                    <a:pt x="13983" y="3190"/>
                    <a:pt x="21273" y="0"/>
                    <a:pt x="29020" y="0"/>
                  </a:cubicBezTo>
                  <a:cubicBezTo>
                    <a:pt x="36766" y="0"/>
                    <a:pt x="44057" y="3190"/>
                    <a:pt x="49525" y="8658"/>
                  </a:cubicBezTo>
                  <a:cubicBezTo>
                    <a:pt x="60916" y="19594"/>
                    <a:pt x="60916" y="38276"/>
                    <a:pt x="49525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5" name="Forme libre : forme 364">
              <a:extLst>
                <a:ext uri="{FF2B5EF4-FFF2-40B4-BE49-F238E27FC236}">
                  <a16:creationId xmlns:a16="http://schemas.microsoft.com/office/drawing/2014/main" id="{CB7A744C-FCCB-4B93-9898-2A2B2B95BBB6}"/>
                </a:ext>
              </a:extLst>
            </p:cNvPr>
            <p:cNvSpPr/>
            <p:nvPr/>
          </p:nvSpPr>
          <p:spPr>
            <a:xfrm rot="8716295">
              <a:off x="13802" y="-10406"/>
              <a:ext cx="30027" cy="20814"/>
            </a:xfrm>
            <a:custGeom>
              <a:avLst/>
              <a:gdLst>
                <a:gd name="connsiteX0" fmla="*/ 30027 w 30027"/>
                <a:gd name="connsiteY0" fmla="*/ 20814 h 20814"/>
                <a:gd name="connsiteX1" fmla="*/ 0 w 30027"/>
                <a:gd name="connsiteY1" fmla="*/ 0 h 20814"/>
                <a:gd name="connsiteX2" fmla="*/ 30027 w 30027"/>
                <a:gd name="connsiteY2" fmla="*/ 0 h 20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027" h="20814">
                  <a:moveTo>
                    <a:pt x="30027" y="20814"/>
                  </a:moveTo>
                  <a:lnTo>
                    <a:pt x="0" y="0"/>
                  </a:lnTo>
                  <a:lnTo>
                    <a:pt x="3002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6" name="Forme libre : forme 365">
              <a:extLst>
                <a:ext uri="{FF2B5EF4-FFF2-40B4-BE49-F238E27FC236}">
                  <a16:creationId xmlns:a16="http://schemas.microsoft.com/office/drawing/2014/main" id="{A7508798-38A9-48C7-9AA8-5A92078CC84B}"/>
                </a:ext>
              </a:extLst>
            </p:cNvPr>
            <p:cNvSpPr/>
            <p:nvPr/>
          </p:nvSpPr>
          <p:spPr>
            <a:xfrm rot="8716295">
              <a:off x="168048" y="3032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7" name="Forme libre : forme 366">
              <a:extLst>
                <a:ext uri="{FF2B5EF4-FFF2-40B4-BE49-F238E27FC236}">
                  <a16:creationId xmlns:a16="http://schemas.microsoft.com/office/drawing/2014/main" id="{0E351C93-E018-436B-9326-CEDEA386B63D}"/>
                </a:ext>
              </a:extLst>
            </p:cNvPr>
            <p:cNvSpPr/>
            <p:nvPr/>
          </p:nvSpPr>
          <p:spPr>
            <a:xfrm rot="7484129">
              <a:off x="562078" y="-284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8" name="Forme libre : forme 367">
              <a:extLst>
                <a:ext uri="{FF2B5EF4-FFF2-40B4-BE49-F238E27FC236}">
                  <a16:creationId xmlns:a16="http://schemas.microsoft.com/office/drawing/2014/main" id="{BDEF799B-C934-4303-874D-CB44161BDCB0}"/>
                </a:ext>
              </a:extLst>
            </p:cNvPr>
            <p:cNvSpPr/>
            <p:nvPr/>
          </p:nvSpPr>
          <p:spPr>
            <a:xfrm rot="13089394">
              <a:off x="775514" y="-27038"/>
              <a:ext cx="149688" cy="328219"/>
            </a:xfrm>
            <a:custGeom>
              <a:avLst/>
              <a:gdLst>
                <a:gd name="connsiteX0" fmla="*/ 149688 w 149688"/>
                <a:gd name="connsiteY0" fmla="*/ 279622 h 328219"/>
                <a:gd name="connsiteX1" fmla="*/ 87835 w 149688"/>
                <a:gd name="connsiteY1" fmla="*/ 328219 h 328219"/>
                <a:gd name="connsiteX2" fmla="*/ 54765 w 149688"/>
                <a:gd name="connsiteY2" fmla="*/ 322521 h 328219"/>
                <a:gd name="connsiteX3" fmla="*/ 23727 w 149688"/>
                <a:gd name="connsiteY3" fmla="*/ 301277 h 328219"/>
                <a:gd name="connsiteX4" fmla="*/ 0 w 149688"/>
                <a:gd name="connsiteY4" fmla="*/ 206369 h 328219"/>
                <a:gd name="connsiteX5" fmla="*/ 0 w 149688"/>
                <a:gd name="connsiteY5" fmla="*/ 38074 h 328219"/>
                <a:gd name="connsiteX6" fmla="*/ 73388 w 149688"/>
                <a:gd name="connsiteY6" fmla="*/ 0 h 328219"/>
                <a:gd name="connsiteX7" fmla="*/ 74492 w 149688"/>
                <a:gd name="connsiteY7" fmla="*/ 153950 h 328219"/>
                <a:gd name="connsiteX8" fmla="*/ 87734 w 149688"/>
                <a:gd name="connsiteY8" fmla="*/ 245547 h 328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9688" h="328219">
                  <a:moveTo>
                    <a:pt x="149688" y="279622"/>
                  </a:moveTo>
                  <a:lnTo>
                    <a:pt x="87835" y="328219"/>
                  </a:lnTo>
                  <a:lnTo>
                    <a:pt x="54765" y="322521"/>
                  </a:lnTo>
                  <a:cubicBezTo>
                    <a:pt x="43178" y="317693"/>
                    <a:pt x="32555" y="310382"/>
                    <a:pt x="23727" y="301277"/>
                  </a:cubicBezTo>
                  <a:cubicBezTo>
                    <a:pt x="4966" y="283069"/>
                    <a:pt x="0" y="251616"/>
                    <a:pt x="0" y="206369"/>
                  </a:cubicBez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2836" y="184850"/>
                    <a:pt x="77802" y="216302"/>
                    <a:pt x="87734" y="2455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9" name="Forme libre : forme 368">
              <a:extLst>
                <a:ext uri="{FF2B5EF4-FFF2-40B4-BE49-F238E27FC236}">
                  <a16:creationId xmlns:a16="http://schemas.microsoft.com/office/drawing/2014/main" id="{85452057-F6AF-4671-A171-74C9DE20E061}"/>
                </a:ext>
              </a:extLst>
            </p:cNvPr>
            <p:cNvSpPr/>
            <p:nvPr/>
          </p:nvSpPr>
          <p:spPr>
            <a:xfrm rot="8716295">
              <a:off x="3366575" y="56973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0" name="Forme libre : forme 369">
              <a:extLst>
                <a:ext uri="{FF2B5EF4-FFF2-40B4-BE49-F238E27FC236}">
                  <a16:creationId xmlns:a16="http://schemas.microsoft.com/office/drawing/2014/main" id="{0B76C80E-592A-400D-A327-9F0390D4B3C2}"/>
                </a:ext>
              </a:extLst>
            </p:cNvPr>
            <p:cNvSpPr/>
            <p:nvPr/>
          </p:nvSpPr>
          <p:spPr>
            <a:xfrm rot="8716295">
              <a:off x="3237162" y="360980"/>
              <a:ext cx="203847" cy="195873"/>
            </a:xfrm>
            <a:custGeom>
              <a:avLst/>
              <a:gdLst>
                <a:gd name="connsiteX0" fmla="*/ 90710 w 203847"/>
                <a:gd name="connsiteY0" fmla="*/ 195873 h 195873"/>
                <a:gd name="connsiteX1" fmla="*/ 47847 w 203847"/>
                <a:gd name="connsiteY1" fmla="*/ 116129 h 195873"/>
                <a:gd name="connsiteX2" fmla="*/ 69777 w 203847"/>
                <a:gd name="connsiteY2" fmla="*/ 55323 h 195873"/>
                <a:gd name="connsiteX3" fmla="*/ 0 w 203847"/>
                <a:gd name="connsiteY3" fmla="*/ 55323 h 195873"/>
                <a:gd name="connsiteX4" fmla="*/ 0 w 203847"/>
                <a:gd name="connsiteY4" fmla="*/ 52719 h 195873"/>
                <a:gd name="connsiteX5" fmla="*/ 43605 w 203847"/>
                <a:gd name="connsiteY5" fmla="*/ 0 h 195873"/>
                <a:gd name="connsiteX6" fmla="*/ 203847 w 203847"/>
                <a:gd name="connsiteY6" fmla="*/ 0 h 195873"/>
                <a:gd name="connsiteX7" fmla="*/ 203847 w 203847"/>
                <a:gd name="connsiteY7" fmla="*/ 55323 h 195873"/>
                <a:gd name="connsiteX8" fmla="*/ 139055 w 203847"/>
                <a:gd name="connsiteY8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3">
                  <a:moveTo>
                    <a:pt x="90710" y="195873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52719"/>
                  </a:lnTo>
                  <a:lnTo>
                    <a:pt x="43605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1" name="Forme libre : forme 370">
              <a:extLst>
                <a:ext uri="{FF2B5EF4-FFF2-40B4-BE49-F238E27FC236}">
                  <a16:creationId xmlns:a16="http://schemas.microsoft.com/office/drawing/2014/main" id="{5150644E-4F20-423C-8383-236544837AE7}"/>
                </a:ext>
              </a:extLst>
            </p:cNvPr>
            <p:cNvSpPr/>
            <p:nvPr/>
          </p:nvSpPr>
          <p:spPr>
            <a:xfrm rot="8716295">
              <a:off x="3189574" y="231224"/>
              <a:ext cx="290249" cy="221342"/>
            </a:xfrm>
            <a:custGeom>
              <a:avLst/>
              <a:gdLst>
                <a:gd name="connsiteX0" fmla="*/ 24905 w 290249"/>
                <a:gd name="connsiteY0" fmla="*/ 191751 h 221342"/>
                <a:gd name="connsiteX1" fmla="*/ 4754 w 290249"/>
                <a:gd name="connsiteY1" fmla="*/ 151964 h 221342"/>
                <a:gd name="connsiteX2" fmla="*/ 0 w 290249"/>
                <a:gd name="connsiteY2" fmla="*/ 95252 h 221342"/>
                <a:gd name="connsiteX3" fmla="*/ 78785 w 290249"/>
                <a:gd name="connsiteY3" fmla="*/ 0 h 221342"/>
                <a:gd name="connsiteX4" fmla="*/ 79033 w 290249"/>
                <a:gd name="connsiteY4" fmla="*/ 34662 h 221342"/>
                <a:gd name="connsiteX5" fmla="*/ 93153 w 290249"/>
                <a:gd name="connsiteY5" fmla="*/ 132328 h 221342"/>
                <a:gd name="connsiteX6" fmla="*/ 163754 w 290249"/>
                <a:gd name="connsiteY6" fmla="*/ 171159 h 221342"/>
                <a:gd name="connsiteX7" fmla="*/ 216706 w 290249"/>
                <a:gd name="connsiteY7" fmla="*/ 161745 h 221342"/>
                <a:gd name="connsiteX8" fmla="*/ 289073 w 290249"/>
                <a:gd name="connsiteY8" fmla="*/ 132328 h 221342"/>
                <a:gd name="connsiteX9" fmla="*/ 290249 w 290249"/>
                <a:gd name="connsiteY9" fmla="*/ 139976 h 221342"/>
                <a:gd name="connsiteX10" fmla="*/ 290249 w 290249"/>
                <a:gd name="connsiteY10" fmla="*/ 145860 h 221342"/>
                <a:gd name="connsiteX11" fmla="*/ 97272 w 290249"/>
                <a:gd name="connsiteY11" fmla="*/ 221168 h 221342"/>
                <a:gd name="connsiteX12" fmla="*/ 24905 w 290249"/>
                <a:gd name="connsiteY12" fmla="*/ 191751 h 221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0249" h="221342">
                  <a:moveTo>
                    <a:pt x="24905" y="191751"/>
                  </a:moveTo>
                  <a:cubicBezTo>
                    <a:pt x="14903" y="182043"/>
                    <a:pt x="8578" y="168805"/>
                    <a:pt x="4754" y="151964"/>
                  </a:cubicBezTo>
                  <a:lnTo>
                    <a:pt x="0" y="95252"/>
                  </a:lnTo>
                  <a:lnTo>
                    <a:pt x="78785" y="0"/>
                  </a:lnTo>
                  <a:lnTo>
                    <a:pt x="79033" y="34662"/>
                  </a:lnTo>
                  <a:cubicBezTo>
                    <a:pt x="77268" y="67610"/>
                    <a:pt x="82563" y="101145"/>
                    <a:pt x="93153" y="132328"/>
                  </a:cubicBezTo>
                  <a:cubicBezTo>
                    <a:pt x="102567" y="158215"/>
                    <a:pt x="126689" y="171159"/>
                    <a:pt x="163754" y="171159"/>
                  </a:cubicBezTo>
                  <a:cubicBezTo>
                    <a:pt x="181994" y="170570"/>
                    <a:pt x="199644" y="167040"/>
                    <a:pt x="216706" y="161745"/>
                  </a:cubicBezTo>
                  <a:cubicBezTo>
                    <a:pt x="241416" y="154096"/>
                    <a:pt x="265539" y="144095"/>
                    <a:pt x="289073" y="132328"/>
                  </a:cubicBezTo>
                  <a:cubicBezTo>
                    <a:pt x="289661" y="134681"/>
                    <a:pt x="290249" y="137623"/>
                    <a:pt x="290249" y="139976"/>
                  </a:cubicBezTo>
                  <a:lnTo>
                    <a:pt x="290249" y="145860"/>
                  </a:lnTo>
                  <a:cubicBezTo>
                    <a:pt x="227885" y="199399"/>
                    <a:pt x="146104" y="218227"/>
                    <a:pt x="97272" y="221168"/>
                  </a:cubicBezTo>
                  <a:cubicBezTo>
                    <a:pt x="70208" y="222933"/>
                    <a:pt x="43732" y="211166"/>
                    <a:pt x="24905" y="19175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2" name="Forme libre : forme 371">
              <a:extLst>
                <a:ext uri="{FF2B5EF4-FFF2-40B4-BE49-F238E27FC236}">
                  <a16:creationId xmlns:a16="http://schemas.microsoft.com/office/drawing/2014/main" id="{9266C455-B545-49CA-BF30-2607C744AB8E}"/>
                </a:ext>
              </a:extLst>
            </p:cNvPr>
            <p:cNvSpPr/>
            <p:nvPr/>
          </p:nvSpPr>
          <p:spPr>
            <a:xfrm rot="8716295">
              <a:off x="3411629" y="650113"/>
              <a:ext cx="21023" cy="45645"/>
            </a:xfrm>
            <a:custGeom>
              <a:avLst/>
              <a:gdLst>
                <a:gd name="connsiteX0" fmla="*/ 21023 w 21023"/>
                <a:gd name="connsiteY0" fmla="*/ 45645 h 45645"/>
                <a:gd name="connsiteX1" fmla="*/ 0 w 21023"/>
                <a:gd name="connsiteY1" fmla="*/ 25418 h 45645"/>
                <a:gd name="connsiteX2" fmla="*/ 21023 w 21023"/>
                <a:gd name="connsiteY2" fmla="*/ 0 h 4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023" h="45645">
                  <a:moveTo>
                    <a:pt x="21023" y="45645"/>
                  </a:moveTo>
                  <a:lnTo>
                    <a:pt x="0" y="25418"/>
                  </a:lnTo>
                  <a:lnTo>
                    <a:pt x="2102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3" name="Forme libre : forme 372">
              <a:extLst>
                <a:ext uri="{FF2B5EF4-FFF2-40B4-BE49-F238E27FC236}">
                  <a16:creationId xmlns:a16="http://schemas.microsoft.com/office/drawing/2014/main" id="{8A8C4152-A6DA-4079-AA7F-C7451551470E}"/>
                </a:ext>
              </a:extLst>
            </p:cNvPr>
            <p:cNvSpPr/>
            <p:nvPr/>
          </p:nvSpPr>
          <p:spPr>
            <a:xfrm rot="8716295">
              <a:off x="3298850" y="-42720"/>
              <a:ext cx="123263" cy="85442"/>
            </a:xfrm>
            <a:custGeom>
              <a:avLst/>
              <a:gdLst>
                <a:gd name="connsiteX0" fmla="*/ 123263 w 123263"/>
                <a:gd name="connsiteY0" fmla="*/ 85442 h 85442"/>
                <a:gd name="connsiteX1" fmla="*/ 0 w 123263"/>
                <a:gd name="connsiteY1" fmla="*/ 0 h 85442"/>
                <a:gd name="connsiteX2" fmla="*/ 66305 w 123263"/>
                <a:gd name="connsiteY2" fmla="*/ 0 h 85442"/>
                <a:gd name="connsiteX3" fmla="*/ 123263 w 123263"/>
                <a:gd name="connsiteY3" fmla="*/ 50123 h 85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63" h="85442">
                  <a:moveTo>
                    <a:pt x="123263" y="85442"/>
                  </a:moveTo>
                  <a:lnTo>
                    <a:pt x="0" y="0"/>
                  </a:lnTo>
                  <a:lnTo>
                    <a:pt x="66305" y="0"/>
                  </a:lnTo>
                  <a:cubicBezTo>
                    <a:pt x="103214" y="0"/>
                    <a:pt x="123263" y="15948"/>
                    <a:pt x="123263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4" name="Forme libre : forme 373">
              <a:extLst>
                <a:ext uri="{FF2B5EF4-FFF2-40B4-BE49-F238E27FC236}">
                  <a16:creationId xmlns:a16="http://schemas.microsoft.com/office/drawing/2014/main" id="{A339289A-5EC3-49A9-9A48-D86927329ED5}"/>
                </a:ext>
              </a:extLst>
            </p:cNvPr>
            <p:cNvSpPr/>
            <p:nvPr/>
          </p:nvSpPr>
          <p:spPr>
            <a:xfrm rot="8716295">
              <a:off x="3402681" y="37518"/>
              <a:ext cx="82257" cy="93201"/>
            </a:xfrm>
            <a:custGeom>
              <a:avLst/>
              <a:gdLst>
                <a:gd name="connsiteX0" fmla="*/ 20287 w 82257"/>
                <a:gd name="connsiteY0" fmla="*/ 93201 h 93201"/>
                <a:gd name="connsiteX1" fmla="*/ 20287 w 82257"/>
                <a:gd name="connsiteY1" fmla="*/ 76797 h 93201"/>
                <a:gd name="connsiteX2" fmla="*/ 10775 w 82257"/>
                <a:gd name="connsiteY2" fmla="*/ 46837 h 93201"/>
                <a:gd name="connsiteX3" fmla="*/ 0 w 82257"/>
                <a:gd name="connsiteY3" fmla="*/ 41716 h 93201"/>
                <a:gd name="connsiteX4" fmla="*/ 34504 w 82257"/>
                <a:gd name="connsiteY4" fmla="*/ 0 h 93201"/>
                <a:gd name="connsiteX5" fmla="*/ 38620 w 82257"/>
                <a:gd name="connsiteY5" fmla="*/ 715 h 93201"/>
                <a:gd name="connsiteX6" fmla="*/ 82257 w 82257"/>
                <a:gd name="connsiteY6" fmla="*/ 83632 h 93201"/>
                <a:gd name="connsiteX7" fmla="*/ 82257 w 82257"/>
                <a:gd name="connsiteY7" fmla="*/ 89556 h 93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2257" h="93201">
                  <a:moveTo>
                    <a:pt x="20287" y="93201"/>
                  </a:moveTo>
                  <a:lnTo>
                    <a:pt x="20287" y="76797"/>
                  </a:lnTo>
                  <a:cubicBezTo>
                    <a:pt x="20287" y="64494"/>
                    <a:pt x="16756" y="54128"/>
                    <a:pt x="10775" y="46837"/>
                  </a:cubicBezTo>
                  <a:lnTo>
                    <a:pt x="0" y="41716"/>
                  </a:lnTo>
                  <a:lnTo>
                    <a:pt x="34504" y="0"/>
                  </a:lnTo>
                  <a:lnTo>
                    <a:pt x="38620" y="715"/>
                  </a:lnTo>
                  <a:cubicBezTo>
                    <a:pt x="66366" y="12207"/>
                    <a:pt x="82257" y="41255"/>
                    <a:pt x="82257" y="83632"/>
                  </a:cubicBezTo>
                  <a:lnTo>
                    <a:pt x="82257" y="8955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5" name="Forme libre : forme 374">
              <a:extLst>
                <a:ext uri="{FF2B5EF4-FFF2-40B4-BE49-F238E27FC236}">
                  <a16:creationId xmlns:a16="http://schemas.microsoft.com/office/drawing/2014/main" id="{FE84117C-0D75-44E5-BDA4-CA1CB1F335CF}"/>
                </a:ext>
              </a:extLst>
            </p:cNvPr>
            <p:cNvSpPr/>
            <p:nvPr/>
          </p:nvSpPr>
          <p:spPr>
            <a:xfrm rot="8716295">
              <a:off x="3234083" y="-5272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6" name="Forme libre : forme 375">
              <a:extLst>
                <a:ext uri="{FF2B5EF4-FFF2-40B4-BE49-F238E27FC236}">
                  <a16:creationId xmlns:a16="http://schemas.microsoft.com/office/drawing/2014/main" id="{12EEAD1F-5DD6-435B-8A93-C66CE1909363}"/>
                </a:ext>
              </a:extLst>
            </p:cNvPr>
            <p:cNvSpPr/>
            <p:nvPr/>
          </p:nvSpPr>
          <p:spPr>
            <a:xfrm rot="8716295">
              <a:off x="212141" y="304502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7" name="Forme libre : forme 376">
              <a:extLst>
                <a:ext uri="{FF2B5EF4-FFF2-40B4-BE49-F238E27FC236}">
                  <a16:creationId xmlns:a16="http://schemas.microsoft.com/office/drawing/2014/main" id="{E2B3F83B-E193-4145-A936-C1756D937D20}"/>
                </a:ext>
              </a:extLst>
            </p:cNvPr>
            <p:cNvSpPr/>
            <p:nvPr/>
          </p:nvSpPr>
          <p:spPr>
            <a:xfrm rot="8716295">
              <a:off x="301533" y="307427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8" name="Forme libre : forme 377">
              <a:extLst>
                <a:ext uri="{FF2B5EF4-FFF2-40B4-BE49-F238E27FC236}">
                  <a16:creationId xmlns:a16="http://schemas.microsoft.com/office/drawing/2014/main" id="{0EBCDD2D-96D0-40D5-832B-9D432203380A}"/>
                </a:ext>
              </a:extLst>
            </p:cNvPr>
            <p:cNvSpPr/>
            <p:nvPr/>
          </p:nvSpPr>
          <p:spPr>
            <a:xfrm rot="8716295">
              <a:off x="256683" y="298799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9" name="Forme libre : forme 378">
              <a:extLst>
                <a:ext uri="{FF2B5EF4-FFF2-40B4-BE49-F238E27FC236}">
                  <a16:creationId xmlns:a16="http://schemas.microsoft.com/office/drawing/2014/main" id="{D7B14EA1-A5A0-49C4-996C-1F9E3834E06F}"/>
                </a:ext>
              </a:extLst>
            </p:cNvPr>
            <p:cNvSpPr/>
            <p:nvPr/>
          </p:nvSpPr>
          <p:spPr>
            <a:xfrm rot="8716295">
              <a:off x="99907" y="31335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0" name="Forme libre : forme 379">
              <a:extLst>
                <a:ext uri="{FF2B5EF4-FFF2-40B4-BE49-F238E27FC236}">
                  <a16:creationId xmlns:a16="http://schemas.microsoft.com/office/drawing/2014/main" id="{736F0423-C826-490E-96A4-CDB0EDE4D27E}"/>
                </a:ext>
              </a:extLst>
            </p:cNvPr>
            <p:cNvSpPr/>
            <p:nvPr/>
          </p:nvSpPr>
          <p:spPr>
            <a:xfrm rot="8716295">
              <a:off x="-24996" y="29248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1" name="Forme libre : forme 380">
              <a:extLst>
                <a:ext uri="{FF2B5EF4-FFF2-40B4-BE49-F238E27FC236}">
                  <a16:creationId xmlns:a16="http://schemas.microsoft.com/office/drawing/2014/main" id="{75D8D9C1-45FD-4A7E-AA8D-777A228E8F1D}"/>
                </a:ext>
              </a:extLst>
            </p:cNvPr>
            <p:cNvSpPr/>
            <p:nvPr/>
          </p:nvSpPr>
          <p:spPr>
            <a:xfrm rot="8716295">
              <a:off x="51899" y="2754602"/>
              <a:ext cx="189488" cy="350829"/>
            </a:xfrm>
            <a:custGeom>
              <a:avLst/>
              <a:gdLst>
                <a:gd name="connsiteX0" fmla="*/ 25299 w 189488"/>
                <a:gd name="connsiteY0" fmla="*/ 321238 h 350829"/>
                <a:gd name="connsiteX1" fmla="*/ 0 w 189488"/>
                <a:gd name="connsiteY1" fmla="*/ 220042 h 350829"/>
                <a:gd name="connsiteX2" fmla="*/ 0 w 189488"/>
                <a:gd name="connsiteY2" fmla="*/ 40596 h 350829"/>
                <a:gd name="connsiteX3" fmla="*/ 78250 w 189488"/>
                <a:gd name="connsiteY3" fmla="*/ 0 h 350829"/>
                <a:gd name="connsiteX4" fmla="*/ 79427 w 189488"/>
                <a:gd name="connsiteY4" fmla="*/ 164149 h 350829"/>
                <a:gd name="connsiteX5" fmla="*/ 93547 w 189488"/>
                <a:gd name="connsiteY5" fmla="*/ 261815 h 350829"/>
                <a:gd name="connsiteX6" fmla="*/ 164148 w 189488"/>
                <a:gd name="connsiteY6" fmla="*/ 300646 h 350829"/>
                <a:gd name="connsiteX7" fmla="*/ 189488 w 189488"/>
                <a:gd name="connsiteY7" fmla="*/ 296141 h 350829"/>
                <a:gd name="connsiteX8" fmla="*/ 160617 w 189488"/>
                <a:gd name="connsiteY8" fmla="*/ 337791 h 350829"/>
                <a:gd name="connsiteX9" fmla="*/ 97666 w 189488"/>
                <a:gd name="connsiteY9" fmla="*/ 350655 h 350829"/>
                <a:gd name="connsiteX10" fmla="*/ 25299 w 189488"/>
                <a:gd name="connsiteY10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9488" h="350829">
                  <a:moveTo>
                    <a:pt x="25299" y="321238"/>
                  </a:moveTo>
                  <a:cubicBezTo>
                    <a:pt x="5295" y="301823"/>
                    <a:pt x="0" y="268286"/>
                    <a:pt x="0" y="220042"/>
                  </a:cubicBez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8" y="300646"/>
                  </a:cubicBezTo>
                  <a:lnTo>
                    <a:pt x="189488" y="296141"/>
                  </a:lnTo>
                  <a:lnTo>
                    <a:pt x="160617" y="337791"/>
                  </a:lnTo>
                  <a:lnTo>
                    <a:pt x="97666" y="350655"/>
                  </a:ln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2" name="Forme libre : forme 381">
              <a:extLst>
                <a:ext uri="{FF2B5EF4-FFF2-40B4-BE49-F238E27FC236}">
                  <a16:creationId xmlns:a16="http://schemas.microsoft.com/office/drawing/2014/main" id="{B4FEB9FE-AF54-49A2-BE6D-72BA7BE2EB18}"/>
                </a:ext>
              </a:extLst>
            </p:cNvPr>
            <p:cNvSpPr/>
            <p:nvPr/>
          </p:nvSpPr>
          <p:spPr>
            <a:xfrm rot="8716295">
              <a:off x="190085" y="317452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3" name="Forme libre : forme 382">
              <a:extLst>
                <a:ext uri="{FF2B5EF4-FFF2-40B4-BE49-F238E27FC236}">
                  <a16:creationId xmlns:a16="http://schemas.microsoft.com/office/drawing/2014/main" id="{8DA05A66-E883-464C-B559-6FC6B28A3E8D}"/>
                </a:ext>
              </a:extLst>
            </p:cNvPr>
            <p:cNvSpPr/>
            <p:nvPr/>
          </p:nvSpPr>
          <p:spPr>
            <a:xfrm rot="8716295">
              <a:off x="501240" y="279487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4" name="Forme libre : forme 383">
              <a:extLst>
                <a:ext uri="{FF2B5EF4-FFF2-40B4-BE49-F238E27FC236}">
                  <a16:creationId xmlns:a16="http://schemas.microsoft.com/office/drawing/2014/main" id="{70D6E3B7-3736-43CC-9D76-86B0F97A5780}"/>
                </a:ext>
              </a:extLst>
            </p:cNvPr>
            <p:cNvSpPr/>
            <p:nvPr/>
          </p:nvSpPr>
          <p:spPr>
            <a:xfrm rot="8716295">
              <a:off x="590632" y="282411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5" name="Forme libre : forme 384">
              <a:extLst>
                <a:ext uri="{FF2B5EF4-FFF2-40B4-BE49-F238E27FC236}">
                  <a16:creationId xmlns:a16="http://schemas.microsoft.com/office/drawing/2014/main" id="{FC4D3741-889D-4E54-B83F-D0BA201DC6A2}"/>
                </a:ext>
              </a:extLst>
            </p:cNvPr>
            <p:cNvSpPr/>
            <p:nvPr/>
          </p:nvSpPr>
          <p:spPr>
            <a:xfrm rot="8716295">
              <a:off x="389006" y="2883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6" name="Forme libre : forme 385">
              <a:extLst>
                <a:ext uri="{FF2B5EF4-FFF2-40B4-BE49-F238E27FC236}">
                  <a16:creationId xmlns:a16="http://schemas.microsoft.com/office/drawing/2014/main" id="{C9BA88DB-9441-45DF-A22F-E12869EF8794}"/>
                </a:ext>
              </a:extLst>
            </p:cNvPr>
            <p:cNvSpPr/>
            <p:nvPr/>
          </p:nvSpPr>
          <p:spPr>
            <a:xfrm rot="8716295">
              <a:off x="264104" y="267474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7" name="Forme libre : forme 386">
              <a:extLst>
                <a:ext uri="{FF2B5EF4-FFF2-40B4-BE49-F238E27FC236}">
                  <a16:creationId xmlns:a16="http://schemas.microsoft.com/office/drawing/2014/main" id="{BBD785FB-255F-47D4-869B-DA2427044735}"/>
                </a:ext>
              </a:extLst>
            </p:cNvPr>
            <p:cNvSpPr/>
            <p:nvPr/>
          </p:nvSpPr>
          <p:spPr>
            <a:xfrm rot="8716295">
              <a:off x="479184" y="292437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8" name="Forme libre : forme 387">
              <a:extLst>
                <a:ext uri="{FF2B5EF4-FFF2-40B4-BE49-F238E27FC236}">
                  <a16:creationId xmlns:a16="http://schemas.microsoft.com/office/drawing/2014/main" id="{04B3E6F0-D035-4122-A08C-156643A27C96}"/>
                </a:ext>
              </a:extLst>
            </p:cNvPr>
            <p:cNvSpPr/>
            <p:nvPr/>
          </p:nvSpPr>
          <p:spPr>
            <a:xfrm rot="8716295">
              <a:off x="237733" y="277477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9" name="Forme libre : forme 388">
              <a:extLst>
                <a:ext uri="{FF2B5EF4-FFF2-40B4-BE49-F238E27FC236}">
                  <a16:creationId xmlns:a16="http://schemas.microsoft.com/office/drawing/2014/main" id="{09952F73-FF5F-406A-8919-7345F484086E}"/>
                </a:ext>
              </a:extLst>
            </p:cNvPr>
            <p:cNvSpPr/>
            <p:nvPr/>
          </p:nvSpPr>
          <p:spPr>
            <a:xfrm rot="7484129">
              <a:off x="584115" y="311572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0" name="Forme libre : forme 389">
              <a:extLst>
                <a:ext uri="{FF2B5EF4-FFF2-40B4-BE49-F238E27FC236}">
                  <a16:creationId xmlns:a16="http://schemas.microsoft.com/office/drawing/2014/main" id="{09ED8664-259A-4F65-B984-54EB26583D37}"/>
                </a:ext>
              </a:extLst>
            </p:cNvPr>
            <p:cNvSpPr/>
            <p:nvPr/>
          </p:nvSpPr>
          <p:spPr>
            <a:xfrm rot="13089394">
              <a:off x="688935" y="3082257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1" name="Forme libre : forme 390">
              <a:extLst>
                <a:ext uri="{FF2B5EF4-FFF2-40B4-BE49-F238E27FC236}">
                  <a16:creationId xmlns:a16="http://schemas.microsoft.com/office/drawing/2014/main" id="{5005AA8C-EF3F-42BB-886F-BDC096F9E2C6}"/>
                </a:ext>
              </a:extLst>
            </p:cNvPr>
            <p:cNvSpPr/>
            <p:nvPr/>
          </p:nvSpPr>
          <p:spPr>
            <a:xfrm rot="8716295">
              <a:off x="874520" y="2890576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2" name="Forme libre : forme 391">
              <a:extLst>
                <a:ext uri="{FF2B5EF4-FFF2-40B4-BE49-F238E27FC236}">
                  <a16:creationId xmlns:a16="http://schemas.microsoft.com/office/drawing/2014/main" id="{F901BAD2-7BC9-4B9B-9AEE-194DC6FC05A0}"/>
                </a:ext>
              </a:extLst>
            </p:cNvPr>
            <p:cNvSpPr/>
            <p:nvPr/>
          </p:nvSpPr>
          <p:spPr>
            <a:xfrm rot="8716295">
              <a:off x="822715" y="278698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3" name="Forme libre : forme 392">
              <a:extLst>
                <a:ext uri="{FF2B5EF4-FFF2-40B4-BE49-F238E27FC236}">
                  <a16:creationId xmlns:a16="http://schemas.microsoft.com/office/drawing/2014/main" id="{9E3F70D1-21EF-4CD2-8FEB-B48B0201A2F5}"/>
                </a:ext>
              </a:extLst>
            </p:cNvPr>
            <p:cNvSpPr/>
            <p:nvPr/>
          </p:nvSpPr>
          <p:spPr>
            <a:xfrm rot="8716295">
              <a:off x="579469" y="28172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4" name="Forme libre : forme 393">
              <a:extLst>
                <a:ext uri="{FF2B5EF4-FFF2-40B4-BE49-F238E27FC236}">
                  <a16:creationId xmlns:a16="http://schemas.microsoft.com/office/drawing/2014/main" id="{EE0D830B-AE35-40E9-8728-E21F6C35586C}"/>
                </a:ext>
              </a:extLst>
            </p:cNvPr>
            <p:cNvSpPr/>
            <p:nvPr/>
          </p:nvSpPr>
          <p:spPr>
            <a:xfrm rot="8716295">
              <a:off x="756921" y="265796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5" name="Forme libre : forme 394">
              <a:extLst>
                <a:ext uri="{FF2B5EF4-FFF2-40B4-BE49-F238E27FC236}">
                  <a16:creationId xmlns:a16="http://schemas.microsoft.com/office/drawing/2014/main" id="{8FFBDF4B-90C1-4FB0-93F5-3CF9CE875883}"/>
                </a:ext>
              </a:extLst>
            </p:cNvPr>
            <p:cNvSpPr/>
            <p:nvPr/>
          </p:nvSpPr>
          <p:spPr>
            <a:xfrm rot="8716295">
              <a:off x="435308" y="370472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6" name="Forme libre : forme 395">
              <a:extLst>
                <a:ext uri="{FF2B5EF4-FFF2-40B4-BE49-F238E27FC236}">
                  <a16:creationId xmlns:a16="http://schemas.microsoft.com/office/drawing/2014/main" id="{4DB3DB14-6327-4A57-8367-203E6F4E011B}"/>
                </a:ext>
              </a:extLst>
            </p:cNvPr>
            <p:cNvSpPr/>
            <p:nvPr/>
          </p:nvSpPr>
          <p:spPr>
            <a:xfrm rot="8716295">
              <a:off x="524700" y="373396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7" name="Forme libre : forme 396">
              <a:extLst>
                <a:ext uri="{FF2B5EF4-FFF2-40B4-BE49-F238E27FC236}">
                  <a16:creationId xmlns:a16="http://schemas.microsoft.com/office/drawing/2014/main" id="{4355D30E-1756-4406-84C9-F6A8049756B3}"/>
                </a:ext>
              </a:extLst>
            </p:cNvPr>
            <p:cNvSpPr/>
            <p:nvPr/>
          </p:nvSpPr>
          <p:spPr>
            <a:xfrm rot="8716295">
              <a:off x="479850" y="3647689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8" name="Forme libre : forme 397">
              <a:extLst>
                <a:ext uri="{FF2B5EF4-FFF2-40B4-BE49-F238E27FC236}">
                  <a16:creationId xmlns:a16="http://schemas.microsoft.com/office/drawing/2014/main" id="{BA4A47C8-0B69-4C29-80A3-E8882E41243E}"/>
                </a:ext>
              </a:extLst>
            </p:cNvPr>
            <p:cNvSpPr/>
            <p:nvPr/>
          </p:nvSpPr>
          <p:spPr>
            <a:xfrm rot="8716295">
              <a:off x="323074" y="379327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9" name="Forme libre : forme 398">
              <a:extLst>
                <a:ext uri="{FF2B5EF4-FFF2-40B4-BE49-F238E27FC236}">
                  <a16:creationId xmlns:a16="http://schemas.microsoft.com/office/drawing/2014/main" id="{C7193D43-8FAD-40C8-B968-D6B7B8EE8D8F}"/>
                </a:ext>
              </a:extLst>
            </p:cNvPr>
            <p:cNvSpPr/>
            <p:nvPr/>
          </p:nvSpPr>
          <p:spPr>
            <a:xfrm rot="8716295">
              <a:off x="198171" y="358459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0" name="Forme libre : forme 399">
              <a:extLst>
                <a:ext uri="{FF2B5EF4-FFF2-40B4-BE49-F238E27FC236}">
                  <a16:creationId xmlns:a16="http://schemas.microsoft.com/office/drawing/2014/main" id="{F68A3447-0210-45C1-9F87-4B1D4BFE9738}"/>
                </a:ext>
              </a:extLst>
            </p:cNvPr>
            <p:cNvSpPr/>
            <p:nvPr/>
          </p:nvSpPr>
          <p:spPr>
            <a:xfrm rot="8716295">
              <a:off x="186119" y="344581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1" name="Forme libre : forme 400">
              <a:extLst>
                <a:ext uri="{FF2B5EF4-FFF2-40B4-BE49-F238E27FC236}">
                  <a16:creationId xmlns:a16="http://schemas.microsoft.com/office/drawing/2014/main" id="{7AF4A353-4506-4959-86A0-C8690BF59E95}"/>
                </a:ext>
              </a:extLst>
            </p:cNvPr>
            <p:cNvSpPr/>
            <p:nvPr/>
          </p:nvSpPr>
          <p:spPr>
            <a:xfrm rot="8716295">
              <a:off x="413252" y="3834223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2" name="Forme libre : forme 401">
              <a:extLst>
                <a:ext uri="{FF2B5EF4-FFF2-40B4-BE49-F238E27FC236}">
                  <a16:creationId xmlns:a16="http://schemas.microsoft.com/office/drawing/2014/main" id="{598CEB9B-8E04-469F-A771-F927470C3F4E}"/>
                </a:ext>
              </a:extLst>
            </p:cNvPr>
            <p:cNvSpPr/>
            <p:nvPr/>
          </p:nvSpPr>
          <p:spPr>
            <a:xfrm rot="8716295">
              <a:off x="724407" y="345457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3" name="Forme libre : forme 402">
              <a:extLst>
                <a:ext uri="{FF2B5EF4-FFF2-40B4-BE49-F238E27FC236}">
                  <a16:creationId xmlns:a16="http://schemas.microsoft.com/office/drawing/2014/main" id="{AB980D08-B340-4454-A274-3AD08D2A9A3A}"/>
                </a:ext>
              </a:extLst>
            </p:cNvPr>
            <p:cNvSpPr/>
            <p:nvPr/>
          </p:nvSpPr>
          <p:spPr>
            <a:xfrm rot="8716295">
              <a:off x="813799" y="348381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4" name="Forme libre : forme 403">
              <a:extLst>
                <a:ext uri="{FF2B5EF4-FFF2-40B4-BE49-F238E27FC236}">
                  <a16:creationId xmlns:a16="http://schemas.microsoft.com/office/drawing/2014/main" id="{2652DA6E-5978-4E5D-A96D-58C298CBA732}"/>
                </a:ext>
              </a:extLst>
            </p:cNvPr>
            <p:cNvSpPr/>
            <p:nvPr/>
          </p:nvSpPr>
          <p:spPr>
            <a:xfrm rot="8716295">
              <a:off x="612173" y="354311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5" name="Forme libre : forme 404">
              <a:extLst>
                <a:ext uri="{FF2B5EF4-FFF2-40B4-BE49-F238E27FC236}">
                  <a16:creationId xmlns:a16="http://schemas.microsoft.com/office/drawing/2014/main" id="{BCA796D3-CCB0-45BE-BB99-D45334DE88BA}"/>
                </a:ext>
              </a:extLst>
            </p:cNvPr>
            <p:cNvSpPr/>
            <p:nvPr/>
          </p:nvSpPr>
          <p:spPr>
            <a:xfrm rot="8716295">
              <a:off x="487271" y="333444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6" name="Forme libre : forme 405">
              <a:extLst>
                <a:ext uri="{FF2B5EF4-FFF2-40B4-BE49-F238E27FC236}">
                  <a16:creationId xmlns:a16="http://schemas.microsoft.com/office/drawing/2014/main" id="{933101B8-7867-420E-81EE-0503A80C6D03}"/>
                </a:ext>
              </a:extLst>
            </p:cNvPr>
            <p:cNvSpPr/>
            <p:nvPr/>
          </p:nvSpPr>
          <p:spPr>
            <a:xfrm rot="8716295">
              <a:off x="702351" y="3584071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7" name="Forme libre : forme 406">
              <a:extLst>
                <a:ext uri="{FF2B5EF4-FFF2-40B4-BE49-F238E27FC236}">
                  <a16:creationId xmlns:a16="http://schemas.microsoft.com/office/drawing/2014/main" id="{5B641A15-3B25-4DD3-9A6C-0FFDEC9A133C}"/>
                </a:ext>
              </a:extLst>
            </p:cNvPr>
            <p:cNvSpPr/>
            <p:nvPr/>
          </p:nvSpPr>
          <p:spPr>
            <a:xfrm rot="8716295">
              <a:off x="460900" y="343447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8" name="Forme libre : forme 407">
              <a:extLst>
                <a:ext uri="{FF2B5EF4-FFF2-40B4-BE49-F238E27FC236}">
                  <a16:creationId xmlns:a16="http://schemas.microsoft.com/office/drawing/2014/main" id="{E763D240-1B00-445A-81E2-30AFA6DA38B9}"/>
                </a:ext>
              </a:extLst>
            </p:cNvPr>
            <p:cNvSpPr/>
            <p:nvPr/>
          </p:nvSpPr>
          <p:spPr>
            <a:xfrm rot="7484129">
              <a:off x="807282" y="377542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9" name="Forme libre : forme 408">
              <a:extLst>
                <a:ext uri="{FF2B5EF4-FFF2-40B4-BE49-F238E27FC236}">
                  <a16:creationId xmlns:a16="http://schemas.microsoft.com/office/drawing/2014/main" id="{73387E34-81D2-4A73-B141-75343A132394}"/>
                </a:ext>
              </a:extLst>
            </p:cNvPr>
            <p:cNvSpPr/>
            <p:nvPr/>
          </p:nvSpPr>
          <p:spPr>
            <a:xfrm rot="13089394">
              <a:off x="912102" y="374195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0" name="Forme libre : forme 409">
              <a:extLst>
                <a:ext uri="{FF2B5EF4-FFF2-40B4-BE49-F238E27FC236}">
                  <a16:creationId xmlns:a16="http://schemas.microsoft.com/office/drawing/2014/main" id="{CCA2FEEB-CE96-44BC-8FB9-EA169A41218A}"/>
                </a:ext>
              </a:extLst>
            </p:cNvPr>
            <p:cNvSpPr/>
            <p:nvPr/>
          </p:nvSpPr>
          <p:spPr>
            <a:xfrm rot="8716295">
              <a:off x="1097687" y="355027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1" name="Forme libre : forme 410">
              <a:extLst>
                <a:ext uri="{FF2B5EF4-FFF2-40B4-BE49-F238E27FC236}">
                  <a16:creationId xmlns:a16="http://schemas.microsoft.com/office/drawing/2014/main" id="{E1A40A9E-A324-487B-A5D9-A64B315CC0DB}"/>
                </a:ext>
              </a:extLst>
            </p:cNvPr>
            <p:cNvSpPr/>
            <p:nvPr/>
          </p:nvSpPr>
          <p:spPr>
            <a:xfrm rot="8716295">
              <a:off x="1045882" y="344668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2" name="Forme libre : forme 411">
              <a:extLst>
                <a:ext uri="{FF2B5EF4-FFF2-40B4-BE49-F238E27FC236}">
                  <a16:creationId xmlns:a16="http://schemas.microsoft.com/office/drawing/2014/main" id="{A6958C47-9B80-4B26-AABB-8FF29B27BC9F}"/>
                </a:ext>
              </a:extLst>
            </p:cNvPr>
            <p:cNvSpPr/>
            <p:nvPr/>
          </p:nvSpPr>
          <p:spPr>
            <a:xfrm rot="8716295">
              <a:off x="802636" y="347690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3" name="Forme libre : forme 412">
              <a:extLst>
                <a:ext uri="{FF2B5EF4-FFF2-40B4-BE49-F238E27FC236}">
                  <a16:creationId xmlns:a16="http://schemas.microsoft.com/office/drawing/2014/main" id="{8E6D0100-AF69-44B2-A5CF-E8C0130AB7E9}"/>
                </a:ext>
              </a:extLst>
            </p:cNvPr>
            <p:cNvSpPr/>
            <p:nvPr/>
          </p:nvSpPr>
          <p:spPr>
            <a:xfrm rot="8716295">
              <a:off x="980088" y="331766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4" name="Forme libre : forme 413">
              <a:extLst>
                <a:ext uri="{FF2B5EF4-FFF2-40B4-BE49-F238E27FC236}">
                  <a16:creationId xmlns:a16="http://schemas.microsoft.com/office/drawing/2014/main" id="{DDF69E8D-616E-4B06-B6E7-5816DA160ADA}"/>
                </a:ext>
              </a:extLst>
            </p:cNvPr>
            <p:cNvSpPr/>
            <p:nvPr/>
          </p:nvSpPr>
          <p:spPr>
            <a:xfrm rot="8716295">
              <a:off x="653978" y="436312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5" name="Forme libre : forme 414">
              <a:extLst>
                <a:ext uri="{FF2B5EF4-FFF2-40B4-BE49-F238E27FC236}">
                  <a16:creationId xmlns:a16="http://schemas.microsoft.com/office/drawing/2014/main" id="{28F41443-BBE2-4975-B85B-8718620F25A2}"/>
                </a:ext>
              </a:extLst>
            </p:cNvPr>
            <p:cNvSpPr/>
            <p:nvPr/>
          </p:nvSpPr>
          <p:spPr>
            <a:xfrm rot="8716295">
              <a:off x="743370" y="439236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6" name="Forme libre : forme 415">
              <a:extLst>
                <a:ext uri="{FF2B5EF4-FFF2-40B4-BE49-F238E27FC236}">
                  <a16:creationId xmlns:a16="http://schemas.microsoft.com/office/drawing/2014/main" id="{66BEE935-162B-468C-A488-08BB53F0E96A}"/>
                </a:ext>
              </a:extLst>
            </p:cNvPr>
            <p:cNvSpPr/>
            <p:nvPr/>
          </p:nvSpPr>
          <p:spPr>
            <a:xfrm rot="8716295">
              <a:off x="698520" y="430608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7" name="Forme libre : forme 416">
              <a:extLst>
                <a:ext uri="{FF2B5EF4-FFF2-40B4-BE49-F238E27FC236}">
                  <a16:creationId xmlns:a16="http://schemas.microsoft.com/office/drawing/2014/main" id="{C6A86155-7B92-42A4-B02E-66184BF812F2}"/>
                </a:ext>
              </a:extLst>
            </p:cNvPr>
            <p:cNvSpPr/>
            <p:nvPr/>
          </p:nvSpPr>
          <p:spPr>
            <a:xfrm rot="8716295">
              <a:off x="541744" y="445166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8" name="Forme libre : forme 417">
              <a:extLst>
                <a:ext uri="{FF2B5EF4-FFF2-40B4-BE49-F238E27FC236}">
                  <a16:creationId xmlns:a16="http://schemas.microsoft.com/office/drawing/2014/main" id="{46BFD870-BFFF-4A29-A35F-C7406F7430F7}"/>
                </a:ext>
              </a:extLst>
            </p:cNvPr>
            <p:cNvSpPr/>
            <p:nvPr/>
          </p:nvSpPr>
          <p:spPr>
            <a:xfrm rot="8716295">
              <a:off x="416841" y="424299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9" name="Forme libre : forme 418">
              <a:extLst>
                <a:ext uri="{FF2B5EF4-FFF2-40B4-BE49-F238E27FC236}">
                  <a16:creationId xmlns:a16="http://schemas.microsoft.com/office/drawing/2014/main" id="{A679BEA0-D0C5-41E0-ADCB-C970608B53F5}"/>
                </a:ext>
              </a:extLst>
            </p:cNvPr>
            <p:cNvSpPr/>
            <p:nvPr/>
          </p:nvSpPr>
          <p:spPr>
            <a:xfrm rot="8716295">
              <a:off x="404789" y="410421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0" name="Forme libre : forme 419">
              <a:extLst>
                <a:ext uri="{FF2B5EF4-FFF2-40B4-BE49-F238E27FC236}">
                  <a16:creationId xmlns:a16="http://schemas.microsoft.com/office/drawing/2014/main" id="{12FE079E-BD6C-4326-BBC6-E7FED6AEB0DE}"/>
                </a:ext>
              </a:extLst>
            </p:cNvPr>
            <p:cNvSpPr/>
            <p:nvPr/>
          </p:nvSpPr>
          <p:spPr>
            <a:xfrm rot="8716295">
              <a:off x="631922" y="449261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1" name="Forme libre : forme 420">
              <a:extLst>
                <a:ext uri="{FF2B5EF4-FFF2-40B4-BE49-F238E27FC236}">
                  <a16:creationId xmlns:a16="http://schemas.microsoft.com/office/drawing/2014/main" id="{ADCC2EDC-1B28-4142-9C4B-B780064981F4}"/>
                </a:ext>
              </a:extLst>
            </p:cNvPr>
            <p:cNvSpPr/>
            <p:nvPr/>
          </p:nvSpPr>
          <p:spPr>
            <a:xfrm rot="8716295">
              <a:off x="943077" y="411297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2" name="Forme libre : forme 421">
              <a:extLst>
                <a:ext uri="{FF2B5EF4-FFF2-40B4-BE49-F238E27FC236}">
                  <a16:creationId xmlns:a16="http://schemas.microsoft.com/office/drawing/2014/main" id="{85A46BE2-B28A-4B10-A98B-E1A4C9718784}"/>
                </a:ext>
              </a:extLst>
            </p:cNvPr>
            <p:cNvSpPr/>
            <p:nvPr/>
          </p:nvSpPr>
          <p:spPr>
            <a:xfrm rot="8716295">
              <a:off x="1032469" y="414221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3" name="Forme libre : forme 422">
              <a:extLst>
                <a:ext uri="{FF2B5EF4-FFF2-40B4-BE49-F238E27FC236}">
                  <a16:creationId xmlns:a16="http://schemas.microsoft.com/office/drawing/2014/main" id="{B997AC73-4A2E-4369-A0A3-B98AEFAEB0D2}"/>
                </a:ext>
              </a:extLst>
            </p:cNvPr>
            <p:cNvSpPr/>
            <p:nvPr/>
          </p:nvSpPr>
          <p:spPr>
            <a:xfrm rot="8716295">
              <a:off x="830843" y="420151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4" name="Forme libre : forme 423">
              <a:extLst>
                <a:ext uri="{FF2B5EF4-FFF2-40B4-BE49-F238E27FC236}">
                  <a16:creationId xmlns:a16="http://schemas.microsoft.com/office/drawing/2014/main" id="{B0F441EE-58D5-406D-84C8-BF6FB45F3E10}"/>
                </a:ext>
              </a:extLst>
            </p:cNvPr>
            <p:cNvSpPr/>
            <p:nvPr/>
          </p:nvSpPr>
          <p:spPr>
            <a:xfrm rot="8716295">
              <a:off x="705941" y="399284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5" name="Forme libre : forme 424">
              <a:extLst>
                <a:ext uri="{FF2B5EF4-FFF2-40B4-BE49-F238E27FC236}">
                  <a16:creationId xmlns:a16="http://schemas.microsoft.com/office/drawing/2014/main" id="{C2116289-0ECD-487D-B988-2550AD513EBC}"/>
                </a:ext>
              </a:extLst>
            </p:cNvPr>
            <p:cNvSpPr/>
            <p:nvPr/>
          </p:nvSpPr>
          <p:spPr>
            <a:xfrm rot="8716295">
              <a:off x="921021" y="424246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6" name="Forme libre : forme 425">
              <a:extLst>
                <a:ext uri="{FF2B5EF4-FFF2-40B4-BE49-F238E27FC236}">
                  <a16:creationId xmlns:a16="http://schemas.microsoft.com/office/drawing/2014/main" id="{BB2DB617-3C2B-44C3-B229-D2E3AF1F6397}"/>
                </a:ext>
              </a:extLst>
            </p:cNvPr>
            <p:cNvSpPr/>
            <p:nvPr/>
          </p:nvSpPr>
          <p:spPr>
            <a:xfrm rot="8716295">
              <a:off x="679570" y="409286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7" name="Forme libre : forme 426">
              <a:extLst>
                <a:ext uri="{FF2B5EF4-FFF2-40B4-BE49-F238E27FC236}">
                  <a16:creationId xmlns:a16="http://schemas.microsoft.com/office/drawing/2014/main" id="{AB1A41E1-EFF1-4B46-86EA-03A5D3137ECE}"/>
                </a:ext>
              </a:extLst>
            </p:cNvPr>
            <p:cNvSpPr/>
            <p:nvPr/>
          </p:nvSpPr>
          <p:spPr>
            <a:xfrm rot="7484129">
              <a:off x="1025952" y="443381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8" name="Forme libre : forme 427">
              <a:extLst>
                <a:ext uri="{FF2B5EF4-FFF2-40B4-BE49-F238E27FC236}">
                  <a16:creationId xmlns:a16="http://schemas.microsoft.com/office/drawing/2014/main" id="{FC716ACC-6F89-47F8-ABE1-58EDBEC4B6CB}"/>
                </a:ext>
              </a:extLst>
            </p:cNvPr>
            <p:cNvSpPr/>
            <p:nvPr/>
          </p:nvSpPr>
          <p:spPr>
            <a:xfrm rot="13089394">
              <a:off x="1130772" y="440035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9" name="Forme libre : forme 428">
              <a:extLst>
                <a:ext uri="{FF2B5EF4-FFF2-40B4-BE49-F238E27FC236}">
                  <a16:creationId xmlns:a16="http://schemas.microsoft.com/office/drawing/2014/main" id="{FBEB36D4-4104-4CEA-A5D9-270F8D790AEC}"/>
                </a:ext>
              </a:extLst>
            </p:cNvPr>
            <p:cNvSpPr/>
            <p:nvPr/>
          </p:nvSpPr>
          <p:spPr>
            <a:xfrm rot="8716295">
              <a:off x="1316357" y="420867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0" name="Forme libre : forme 429">
              <a:extLst>
                <a:ext uri="{FF2B5EF4-FFF2-40B4-BE49-F238E27FC236}">
                  <a16:creationId xmlns:a16="http://schemas.microsoft.com/office/drawing/2014/main" id="{F7950902-6556-4E4C-B905-0DD59A5961CC}"/>
                </a:ext>
              </a:extLst>
            </p:cNvPr>
            <p:cNvSpPr/>
            <p:nvPr/>
          </p:nvSpPr>
          <p:spPr>
            <a:xfrm rot="8716295">
              <a:off x="1264552" y="410507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1" name="Forme libre : forme 430">
              <a:extLst>
                <a:ext uri="{FF2B5EF4-FFF2-40B4-BE49-F238E27FC236}">
                  <a16:creationId xmlns:a16="http://schemas.microsoft.com/office/drawing/2014/main" id="{4F003DDA-355E-4DAE-A8BB-3FB35F5F4EAE}"/>
                </a:ext>
              </a:extLst>
            </p:cNvPr>
            <p:cNvSpPr/>
            <p:nvPr/>
          </p:nvSpPr>
          <p:spPr>
            <a:xfrm rot="8716295">
              <a:off x="1021306" y="413529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2" name="Forme libre : forme 431">
              <a:extLst>
                <a:ext uri="{FF2B5EF4-FFF2-40B4-BE49-F238E27FC236}">
                  <a16:creationId xmlns:a16="http://schemas.microsoft.com/office/drawing/2014/main" id="{3F6E657C-3858-4D98-91AA-063146CE262A}"/>
                </a:ext>
              </a:extLst>
            </p:cNvPr>
            <p:cNvSpPr/>
            <p:nvPr/>
          </p:nvSpPr>
          <p:spPr>
            <a:xfrm rot="8716295">
              <a:off x="1198758" y="397605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3" name="Forme libre : forme 432">
              <a:extLst>
                <a:ext uri="{FF2B5EF4-FFF2-40B4-BE49-F238E27FC236}">
                  <a16:creationId xmlns:a16="http://schemas.microsoft.com/office/drawing/2014/main" id="{6881A455-FC30-4886-9181-EEE1433B5DFF}"/>
                </a:ext>
              </a:extLst>
            </p:cNvPr>
            <p:cNvSpPr/>
            <p:nvPr/>
          </p:nvSpPr>
          <p:spPr>
            <a:xfrm rot="8716295">
              <a:off x="849927" y="5056695"/>
              <a:ext cx="61059" cy="114384"/>
            </a:xfrm>
            <a:custGeom>
              <a:avLst/>
              <a:gdLst>
                <a:gd name="connsiteX0" fmla="*/ 0 w 61059"/>
                <a:gd name="connsiteY0" fmla="*/ 114384 h 114384"/>
                <a:gd name="connsiteX1" fmla="*/ 0 w 61059"/>
                <a:gd name="connsiteY1" fmla="*/ 0 h 114384"/>
                <a:gd name="connsiteX2" fmla="*/ 61059 w 61059"/>
                <a:gd name="connsiteY2" fmla="*/ 42324 h 114384"/>
                <a:gd name="connsiteX3" fmla="*/ 61059 w 61059"/>
                <a:gd name="connsiteY3" fmla="*/ 90234 h 114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059" h="114384">
                  <a:moveTo>
                    <a:pt x="0" y="114384"/>
                  </a:moveTo>
                  <a:lnTo>
                    <a:pt x="0" y="0"/>
                  </a:lnTo>
                  <a:lnTo>
                    <a:pt x="61059" y="42324"/>
                  </a:lnTo>
                  <a:lnTo>
                    <a:pt x="61059" y="902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4" name="Forme libre : forme 433">
              <a:extLst>
                <a:ext uri="{FF2B5EF4-FFF2-40B4-BE49-F238E27FC236}">
                  <a16:creationId xmlns:a16="http://schemas.microsoft.com/office/drawing/2014/main" id="{CE4C8C85-2581-4CDF-9EB4-9C8C2E2C159C}"/>
                </a:ext>
              </a:extLst>
            </p:cNvPr>
            <p:cNvSpPr/>
            <p:nvPr/>
          </p:nvSpPr>
          <p:spPr>
            <a:xfrm rot="8716295">
              <a:off x="1072880" y="5030752"/>
              <a:ext cx="60148" cy="142578"/>
            </a:xfrm>
            <a:custGeom>
              <a:avLst/>
              <a:gdLst>
                <a:gd name="connsiteX0" fmla="*/ 0 w 60148"/>
                <a:gd name="connsiteY0" fmla="*/ 142578 h 142578"/>
                <a:gd name="connsiteX1" fmla="*/ 0 w 60148"/>
                <a:gd name="connsiteY1" fmla="*/ 0 h 142578"/>
                <a:gd name="connsiteX2" fmla="*/ 60148 w 60148"/>
                <a:gd name="connsiteY2" fmla="*/ 41693 h 142578"/>
                <a:gd name="connsiteX3" fmla="*/ 60148 w 60148"/>
                <a:gd name="connsiteY3" fmla="*/ 101569 h 142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8" h="142578">
                  <a:moveTo>
                    <a:pt x="0" y="142578"/>
                  </a:moveTo>
                  <a:lnTo>
                    <a:pt x="0" y="0"/>
                  </a:lnTo>
                  <a:lnTo>
                    <a:pt x="60148" y="41693"/>
                  </a:lnTo>
                  <a:lnTo>
                    <a:pt x="60148" y="1015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5" name="Forme libre : forme 434">
              <a:extLst>
                <a:ext uri="{FF2B5EF4-FFF2-40B4-BE49-F238E27FC236}">
                  <a16:creationId xmlns:a16="http://schemas.microsoft.com/office/drawing/2014/main" id="{683CB711-80B1-4038-ABB6-5DBDA3CAB0C0}"/>
                </a:ext>
              </a:extLst>
            </p:cNvPr>
            <p:cNvSpPr/>
            <p:nvPr/>
          </p:nvSpPr>
          <p:spPr>
            <a:xfrm rot="8716295">
              <a:off x="921687" y="496578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6" name="Forme libre : forme 435">
              <a:extLst>
                <a:ext uri="{FF2B5EF4-FFF2-40B4-BE49-F238E27FC236}">
                  <a16:creationId xmlns:a16="http://schemas.microsoft.com/office/drawing/2014/main" id="{8B993DFE-EE3E-4E92-8884-9A227F7DEAD1}"/>
                </a:ext>
              </a:extLst>
            </p:cNvPr>
            <p:cNvSpPr/>
            <p:nvPr/>
          </p:nvSpPr>
          <p:spPr>
            <a:xfrm rot="8716295">
              <a:off x="762271" y="5108547"/>
              <a:ext cx="53742" cy="49705"/>
            </a:xfrm>
            <a:custGeom>
              <a:avLst/>
              <a:gdLst>
                <a:gd name="connsiteX0" fmla="*/ 8658 w 53742"/>
                <a:gd name="connsiteY0" fmla="*/ 41503 h 49705"/>
                <a:gd name="connsiteX1" fmla="*/ 0 w 53742"/>
                <a:gd name="connsiteY1" fmla="*/ 20999 h 49705"/>
                <a:gd name="connsiteX2" fmla="*/ 0 w 53742"/>
                <a:gd name="connsiteY2" fmla="*/ 20542 h 49705"/>
                <a:gd name="connsiteX3" fmla="*/ 8658 w 53742"/>
                <a:gd name="connsiteY3" fmla="*/ 38 h 49705"/>
                <a:gd name="connsiteX4" fmla="*/ 8747 w 53742"/>
                <a:gd name="connsiteY4" fmla="*/ 0 h 49705"/>
                <a:gd name="connsiteX5" fmla="*/ 53742 w 53742"/>
                <a:gd name="connsiteY5" fmla="*/ 31189 h 49705"/>
                <a:gd name="connsiteX6" fmla="*/ 49668 w 53742"/>
                <a:gd name="connsiteY6" fmla="*/ 41048 h 49705"/>
                <a:gd name="connsiteX7" fmla="*/ 29162 w 53742"/>
                <a:gd name="connsiteY7" fmla="*/ 49705 h 49705"/>
                <a:gd name="connsiteX8" fmla="*/ 8658 w 53742"/>
                <a:gd name="connsiteY8" fmla="*/ 41503 h 49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2" h="49705">
                  <a:moveTo>
                    <a:pt x="8658" y="41503"/>
                  </a:moveTo>
                  <a:cubicBezTo>
                    <a:pt x="3190" y="36035"/>
                    <a:pt x="0" y="28744"/>
                    <a:pt x="0" y="20999"/>
                  </a:cubicBezTo>
                  <a:lnTo>
                    <a:pt x="0" y="20542"/>
                  </a:lnTo>
                  <a:cubicBezTo>
                    <a:pt x="0" y="12796"/>
                    <a:pt x="3190" y="5506"/>
                    <a:pt x="8658" y="38"/>
                  </a:cubicBezTo>
                  <a:lnTo>
                    <a:pt x="8747" y="0"/>
                  </a:lnTo>
                  <a:lnTo>
                    <a:pt x="53742" y="31189"/>
                  </a:lnTo>
                  <a:lnTo>
                    <a:pt x="49668" y="41048"/>
                  </a:lnTo>
                  <a:cubicBezTo>
                    <a:pt x="44200" y="46516"/>
                    <a:pt x="36909" y="49705"/>
                    <a:pt x="29162" y="49705"/>
                  </a:cubicBezTo>
                  <a:cubicBezTo>
                    <a:pt x="21416" y="49705"/>
                    <a:pt x="14126" y="46971"/>
                    <a:pt x="8658" y="415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7" name="Forme libre : forme 436">
              <a:extLst>
                <a:ext uri="{FF2B5EF4-FFF2-40B4-BE49-F238E27FC236}">
                  <a16:creationId xmlns:a16="http://schemas.microsoft.com/office/drawing/2014/main" id="{8DF09363-6B2B-44FC-9677-ED983FC9E371}"/>
                </a:ext>
              </a:extLst>
            </p:cNvPr>
            <p:cNvSpPr/>
            <p:nvPr/>
          </p:nvSpPr>
          <p:spPr>
            <a:xfrm rot="8716295">
              <a:off x="635497" y="4902607"/>
              <a:ext cx="203847" cy="195874"/>
            </a:xfrm>
            <a:custGeom>
              <a:avLst/>
              <a:gdLst>
                <a:gd name="connsiteX0" fmla="*/ 90709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203847 w 203847"/>
                <a:gd name="connsiteY5" fmla="*/ 0 h 195874"/>
                <a:gd name="connsiteX6" fmla="*/ 203847 w 203847"/>
                <a:gd name="connsiteY6" fmla="*/ 55323 h 195874"/>
                <a:gd name="connsiteX7" fmla="*/ 139055 w 203847"/>
                <a:gd name="connsiteY7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95874">
                  <a:moveTo>
                    <a:pt x="90709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8" name="Forme libre : forme 437">
              <a:extLst>
                <a:ext uri="{FF2B5EF4-FFF2-40B4-BE49-F238E27FC236}">
                  <a16:creationId xmlns:a16="http://schemas.microsoft.com/office/drawing/2014/main" id="{532437B6-4FB3-4387-A6A2-9CA74243FC9D}"/>
                </a:ext>
              </a:extLst>
            </p:cNvPr>
            <p:cNvSpPr/>
            <p:nvPr/>
          </p:nvSpPr>
          <p:spPr>
            <a:xfrm rot="8716295">
              <a:off x="627956" y="476391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9" name="Forme libre : forme 438">
              <a:extLst>
                <a:ext uri="{FF2B5EF4-FFF2-40B4-BE49-F238E27FC236}">
                  <a16:creationId xmlns:a16="http://schemas.microsoft.com/office/drawing/2014/main" id="{DC114E70-E891-401E-9C24-8619044C69DA}"/>
                </a:ext>
              </a:extLst>
            </p:cNvPr>
            <p:cNvSpPr/>
            <p:nvPr/>
          </p:nvSpPr>
          <p:spPr>
            <a:xfrm rot="8716295">
              <a:off x="1166244" y="477267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0" name="Forme libre : forme 439">
              <a:extLst>
                <a:ext uri="{FF2B5EF4-FFF2-40B4-BE49-F238E27FC236}">
                  <a16:creationId xmlns:a16="http://schemas.microsoft.com/office/drawing/2014/main" id="{1B83E310-81D3-4935-AA0D-87EA212E2F8C}"/>
                </a:ext>
              </a:extLst>
            </p:cNvPr>
            <p:cNvSpPr/>
            <p:nvPr/>
          </p:nvSpPr>
          <p:spPr>
            <a:xfrm rot="8716295">
              <a:off x="1255636" y="480191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1" name="Forme libre : forme 440">
              <a:extLst>
                <a:ext uri="{FF2B5EF4-FFF2-40B4-BE49-F238E27FC236}">
                  <a16:creationId xmlns:a16="http://schemas.microsoft.com/office/drawing/2014/main" id="{8A0A400D-6D17-4603-B756-25D5B32DB841}"/>
                </a:ext>
              </a:extLst>
            </p:cNvPr>
            <p:cNvSpPr/>
            <p:nvPr/>
          </p:nvSpPr>
          <p:spPr>
            <a:xfrm rot="8716295">
              <a:off x="1054010" y="486121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2" name="Forme libre : forme 441">
              <a:extLst>
                <a:ext uri="{FF2B5EF4-FFF2-40B4-BE49-F238E27FC236}">
                  <a16:creationId xmlns:a16="http://schemas.microsoft.com/office/drawing/2014/main" id="{A46C9B70-DE37-4964-9FA4-17387E1BA45F}"/>
                </a:ext>
              </a:extLst>
            </p:cNvPr>
            <p:cNvSpPr/>
            <p:nvPr/>
          </p:nvSpPr>
          <p:spPr>
            <a:xfrm rot="8716295">
              <a:off x="929108" y="465254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3" name="Forme libre : forme 442">
              <a:extLst>
                <a:ext uri="{FF2B5EF4-FFF2-40B4-BE49-F238E27FC236}">
                  <a16:creationId xmlns:a16="http://schemas.microsoft.com/office/drawing/2014/main" id="{B9F4170A-6E5B-49E4-8193-4286DEBE2EC9}"/>
                </a:ext>
              </a:extLst>
            </p:cNvPr>
            <p:cNvSpPr/>
            <p:nvPr/>
          </p:nvSpPr>
          <p:spPr>
            <a:xfrm rot="8716295">
              <a:off x="1144188" y="490216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4" name="Forme libre : forme 443">
              <a:extLst>
                <a:ext uri="{FF2B5EF4-FFF2-40B4-BE49-F238E27FC236}">
                  <a16:creationId xmlns:a16="http://schemas.microsoft.com/office/drawing/2014/main" id="{9F81EDCD-5E16-426F-9754-D2A37212C8FE}"/>
                </a:ext>
              </a:extLst>
            </p:cNvPr>
            <p:cNvSpPr/>
            <p:nvPr/>
          </p:nvSpPr>
          <p:spPr>
            <a:xfrm rot="8716295">
              <a:off x="902737" y="475256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5" name="Forme libre : forme 444">
              <a:extLst>
                <a:ext uri="{FF2B5EF4-FFF2-40B4-BE49-F238E27FC236}">
                  <a16:creationId xmlns:a16="http://schemas.microsoft.com/office/drawing/2014/main" id="{179F229D-2224-4467-8649-9DF965D65362}"/>
                </a:ext>
              </a:extLst>
            </p:cNvPr>
            <p:cNvSpPr/>
            <p:nvPr/>
          </p:nvSpPr>
          <p:spPr>
            <a:xfrm rot="7484129">
              <a:off x="1313689" y="5058219"/>
              <a:ext cx="97325" cy="159603"/>
            </a:xfrm>
            <a:custGeom>
              <a:avLst/>
              <a:gdLst>
                <a:gd name="connsiteX0" fmla="*/ 0 w 97325"/>
                <a:gd name="connsiteY0" fmla="*/ 19052 h 159603"/>
                <a:gd name="connsiteX1" fmla="*/ 0 w 97325"/>
                <a:gd name="connsiteY1" fmla="*/ 0 h 159603"/>
                <a:gd name="connsiteX2" fmla="*/ 13209 w 97325"/>
                <a:gd name="connsiteY2" fmla="*/ 19052 h 159603"/>
                <a:gd name="connsiteX3" fmla="*/ 90710 w 97325"/>
                <a:gd name="connsiteY3" fmla="*/ 159603 h 159603"/>
                <a:gd name="connsiteX4" fmla="*/ 47847 w 97325"/>
                <a:gd name="connsiteY4" fmla="*/ 79858 h 159603"/>
                <a:gd name="connsiteX5" fmla="*/ 50421 w 97325"/>
                <a:gd name="connsiteY5" fmla="*/ 72721 h 159603"/>
                <a:gd name="connsiteX6" fmla="*/ 97325 w 97325"/>
                <a:gd name="connsiteY6" fmla="*/ 140370 h 159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7325" h="159603">
                  <a:moveTo>
                    <a:pt x="0" y="19052"/>
                  </a:moveTo>
                  <a:lnTo>
                    <a:pt x="0" y="0"/>
                  </a:lnTo>
                  <a:lnTo>
                    <a:pt x="13209" y="19052"/>
                  </a:lnTo>
                  <a:close/>
                  <a:moveTo>
                    <a:pt x="90710" y="159603"/>
                  </a:moveTo>
                  <a:lnTo>
                    <a:pt x="47847" y="79858"/>
                  </a:lnTo>
                  <a:lnTo>
                    <a:pt x="50421" y="72721"/>
                  </a:lnTo>
                  <a:lnTo>
                    <a:pt x="97325" y="14037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6" name="Forme libre : forme 445">
              <a:extLst>
                <a:ext uri="{FF2B5EF4-FFF2-40B4-BE49-F238E27FC236}">
                  <a16:creationId xmlns:a16="http://schemas.microsoft.com/office/drawing/2014/main" id="{0DC6D2C5-5676-4685-B6C7-B0D9124302BA}"/>
                </a:ext>
              </a:extLst>
            </p:cNvPr>
            <p:cNvSpPr/>
            <p:nvPr/>
          </p:nvSpPr>
          <p:spPr>
            <a:xfrm rot="13089394">
              <a:off x="1435176" y="5064332"/>
              <a:ext cx="213297" cy="83320"/>
            </a:xfrm>
            <a:custGeom>
              <a:avLst/>
              <a:gdLst>
                <a:gd name="connsiteX0" fmla="*/ 213297 w 213297"/>
                <a:gd name="connsiteY0" fmla="*/ 12691 h 83320"/>
                <a:gd name="connsiteX1" fmla="*/ 32310 w 213297"/>
                <a:gd name="connsiteY1" fmla="*/ 83320 h 83320"/>
                <a:gd name="connsiteX2" fmla="*/ 0 w 213297"/>
                <a:gd name="connsiteY2" fmla="*/ 77753 h 83320"/>
                <a:gd name="connsiteX3" fmla="*/ 69926 w 213297"/>
                <a:gd name="connsiteY3" fmla="*/ 22813 h 83320"/>
                <a:gd name="connsiteX4" fmla="*/ 94662 w 213297"/>
                <a:gd name="connsiteY4" fmla="*/ 36418 h 83320"/>
                <a:gd name="connsiteX5" fmla="*/ 144323 w 213297"/>
                <a:gd name="connsiteY5" fmla="*/ 27589 h 83320"/>
                <a:gd name="connsiteX6" fmla="*/ 212193 w 213297"/>
                <a:gd name="connsiteY6" fmla="*/ 0 h 83320"/>
                <a:gd name="connsiteX7" fmla="*/ 213297 w 213297"/>
                <a:gd name="connsiteY7" fmla="*/ 7173 h 83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3297" h="83320">
                  <a:moveTo>
                    <a:pt x="213297" y="12691"/>
                  </a:moveTo>
                  <a:cubicBezTo>
                    <a:pt x="154807" y="62904"/>
                    <a:pt x="78108" y="80561"/>
                    <a:pt x="32310" y="83320"/>
                  </a:cubicBezTo>
                  <a:lnTo>
                    <a:pt x="0" y="77753"/>
                  </a:lnTo>
                  <a:lnTo>
                    <a:pt x="69926" y="22813"/>
                  </a:lnTo>
                  <a:lnTo>
                    <a:pt x="94662" y="36418"/>
                  </a:lnTo>
                  <a:cubicBezTo>
                    <a:pt x="111768" y="35866"/>
                    <a:pt x="128321" y="32555"/>
                    <a:pt x="144323" y="27589"/>
                  </a:cubicBezTo>
                  <a:cubicBezTo>
                    <a:pt x="167498" y="20416"/>
                    <a:pt x="190122" y="11036"/>
                    <a:pt x="212193" y="0"/>
                  </a:cubicBezTo>
                  <a:cubicBezTo>
                    <a:pt x="212745" y="2207"/>
                    <a:pt x="213297" y="4966"/>
                    <a:pt x="213297" y="71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7" name="Forme libre : forme 446">
              <a:extLst>
                <a:ext uri="{FF2B5EF4-FFF2-40B4-BE49-F238E27FC236}">
                  <a16:creationId xmlns:a16="http://schemas.microsoft.com/office/drawing/2014/main" id="{933D0F57-4827-4379-ADFC-4E442A7AA9F5}"/>
                </a:ext>
              </a:extLst>
            </p:cNvPr>
            <p:cNvSpPr/>
            <p:nvPr/>
          </p:nvSpPr>
          <p:spPr>
            <a:xfrm rot="8716295">
              <a:off x="1539524" y="486837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8" name="Forme libre : forme 447">
              <a:extLst>
                <a:ext uri="{FF2B5EF4-FFF2-40B4-BE49-F238E27FC236}">
                  <a16:creationId xmlns:a16="http://schemas.microsoft.com/office/drawing/2014/main" id="{F2B3C0A6-3119-4AF6-9904-83AA6D24B4D4}"/>
                </a:ext>
              </a:extLst>
            </p:cNvPr>
            <p:cNvSpPr/>
            <p:nvPr/>
          </p:nvSpPr>
          <p:spPr>
            <a:xfrm rot="8716295">
              <a:off x="1487719" y="476477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9" name="Forme libre : forme 448">
              <a:extLst>
                <a:ext uri="{FF2B5EF4-FFF2-40B4-BE49-F238E27FC236}">
                  <a16:creationId xmlns:a16="http://schemas.microsoft.com/office/drawing/2014/main" id="{A101E396-638E-4D53-9DD4-DFCEEB801BC5}"/>
                </a:ext>
              </a:extLst>
            </p:cNvPr>
            <p:cNvSpPr/>
            <p:nvPr/>
          </p:nvSpPr>
          <p:spPr>
            <a:xfrm rot="8716295">
              <a:off x="1244473" y="479499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0" name="Forme libre : forme 449">
              <a:extLst>
                <a:ext uri="{FF2B5EF4-FFF2-40B4-BE49-F238E27FC236}">
                  <a16:creationId xmlns:a16="http://schemas.microsoft.com/office/drawing/2014/main" id="{67402E49-E65F-45DA-8073-25DB882ECA1B}"/>
                </a:ext>
              </a:extLst>
            </p:cNvPr>
            <p:cNvSpPr/>
            <p:nvPr/>
          </p:nvSpPr>
          <p:spPr>
            <a:xfrm rot="8716295">
              <a:off x="1421925" y="463575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1" name="Forme libre : forme 450">
              <a:extLst>
                <a:ext uri="{FF2B5EF4-FFF2-40B4-BE49-F238E27FC236}">
                  <a16:creationId xmlns:a16="http://schemas.microsoft.com/office/drawing/2014/main" id="{4AD140D5-5D83-48BA-8FB5-0AE18019D236}"/>
                </a:ext>
              </a:extLst>
            </p:cNvPr>
            <p:cNvSpPr/>
            <p:nvPr/>
          </p:nvSpPr>
          <p:spPr>
            <a:xfrm rot="8716295">
              <a:off x="-3428" y="2405990"/>
              <a:ext cx="142167" cy="208592"/>
            </a:xfrm>
            <a:custGeom>
              <a:avLst/>
              <a:gdLst>
                <a:gd name="connsiteX0" fmla="*/ 81108 w 142167"/>
                <a:gd name="connsiteY0" fmla="*/ 208592 h 208592"/>
                <a:gd name="connsiteX1" fmla="*/ 81108 w 142167"/>
                <a:gd name="connsiteY1" fmla="*/ 69717 h 208592"/>
                <a:gd name="connsiteX2" fmla="*/ 81108 w 142167"/>
                <a:gd name="connsiteY2" fmla="*/ 65615 h 208592"/>
                <a:gd name="connsiteX3" fmla="*/ 60604 w 142167"/>
                <a:gd name="connsiteY3" fmla="*/ 50123 h 208592"/>
                <a:gd name="connsiteX4" fmla="*/ 0 w 142167"/>
                <a:gd name="connsiteY4" fmla="*/ 50123 h 208592"/>
                <a:gd name="connsiteX5" fmla="*/ 0 w 142167"/>
                <a:gd name="connsiteY5" fmla="*/ 0 h 208592"/>
                <a:gd name="connsiteX6" fmla="*/ 85210 w 142167"/>
                <a:gd name="connsiteY6" fmla="*/ 0 h 208592"/>
                <a:gd name="connsiteX7" fmla="*/ 142167 w 142167"/>
                <a:gd name="connsiteY7" fmla="*/ 50123 h 208592"/>
                <a:gd name="connsiteX8" fmla="*/ 142167 w 142167"/>
                <a:gd name="connsiteY8" fmla="*/ 120504 h 20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08592">
                  <a:moveTo>
                    <a:pt x="81108" y="208592"/>
                  </a:moveTo>
                  <a:lnTo>
                    <a:pt x="81108" y="69717"/>
                  </a:lnTo>
                  <a:cubicBezTo>
                    <a:pt x="81108" y="68350"/>
                    <a:pt x="81108" y="66983"/>
                    <a:pt x="81108" y="65615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10" y="0"/>
                  </a:lnTo>
                  <a:cubicBezTo>
                    <a:pt x="122118" y="0"/>
                    <a:pt x="142167" y="15948"/>
                    <a:pt x="142167" y="50123"/>
                  </a:cubicBezTo>
                  <a:lnTo>
                    <a:pt x="142167" y="1205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2" name="Forme libre : forme 451">
              <a:extLst>
                <a:ext uri="{FF2B5EF4-FFF2-40B4-BE49-F238E27FC236}">
                  <a16:creationId xmlns:a16="http://schemas.microsoft.com/office/drawing/2014/main" id="{2BA0993E-9FAB-4AEE-B83B-4CF3D7902044}"/>
                </a:ext>
              </a:extLst>
            </p:cNvPr>
            <p:cNvSpPr/>
            <p:nvPr/>
          </p:nvSpPr>
          <p:spPr>
            <a:xfrm rot="8716295">
              <a:off x="80015" y="241329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3" name="Forme libre : forme 452">
              <a:extLst>
                <a:ext uri="{FF2B5EF4-FFF2-40B4-BE49-F238E27FC236}">
                  <a16:creationId xmlns:a16="http://schemas.microsoft.com/office/drawing/2014/main" id="{CCF3EEA8-B3F9-461B-98BC-F35553672A96}"/>
                </a:ext>
              </a:extLst>
            </p:cNvPr>
            <p:cNvSpPr/>
            <p:nvPr/>
          </p:nvSpPr>
          <p:spPr>
            <a:xfrm rot="8716295">
              <a:off x="35165" y="232701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4" name="Forme libre : forme 453">
              <a:extLst>
                <a:ext uri="{FF2B5EF4-FFF2-40B4-BE49-F238E27FC236}">
                  <a16:creationId xmlns:a16="http://schemas.microsoft.com/office/drawing/2014/main" id="{7409E8F1-7A32-4862-9918-61EE35F1B801}"/>
                </a:ext>
              </a:extLst>
            </p:cNvPr>
            <p:cNvSpPr/>
            <p:nvPr/>
          </p:nvSpPr>
          <p:spPr>
            <a:xfrm rot="8716295">
              <a:off x="-20257" y="2217087"/>
              <a:ext cx="78731" cy="180665"/>
            </a:xfrm>
            <a:custGeom>
              <a:avLst/>
              <a:gdLst>
                <a:gd name="connsiteX0" fmla="*/ 0 w 78731"/>
                <a:gd name="connsiteY0" fmla="*/ 180665 h 180665"/>
                <a:gd name="connsiteX1" fmla="*/ 0 w 78731"/>
                <a:gd name="connsiteY1" fmla="*/ 40596 h 180665"/>
                <a:gd name="connsiteX2" fmla="*/ 78250 w 78731"/>
                <a:gd name="connsiteY2" fmla="*/ 0 h 180665"/>
                <a:gd name="connsiteX3" fmla="*/ 78731 w 78731"/>
                <a:gd name="connsiteY3" fmla="*/ 67083 h 180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731" h="180665">
                  <a:moveTo>
                    <a:pt x="0" y="180665"/>
                  </a:moveTo>
                  <a:lnTo>
                    <a:pt x="0" y="40596"/>
                  </a:lnTo>
                  <a:lnTo>
                    <a:pt x="78250" y="0"/>
                  </a:lnTo>
                  <a:lnTo>
                    <a:pt x="78731" y="670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5" name="Forme libre : forme 454">
              <a:extLst>
                <a:ext uri="{FF2B5EF4-FFF2-40B4-BE49-F238E27FC236}">
                  <a16:creationId xmlns:a16="http://schemas.microsoft.com/office/drawing/2014/main" id="{D1FF2FF9-6448-4826-95B6-0FAE856B0348}"/>
                </a:ext>
              </a:extLst>
            </p:cNvPr>
            <p:cNvSpPr/>
            <p:nvPr/>
          </p:nvSpPr>
          <p:spPr>
            <a:xfrm rot="8716295">
              <a:off x="-15341" y="2575209"/>
              <a:ext cx="103435" cy="152027"/>
            </a:xfrm>
            <a:custGeom>
              <a:avLst/>
              <a:gdLst>
                <a:gd name="connsiteX0" fmla="*/ 43288 w 103435"/>
                <a:gd name="connsiteY0" fmla="*/ 152027 h 152027"/>
                <a:gd name="connsiteX1" fmla="*/ 43288 w 103435"/>
                <a:gd name="connsiteY1" fmla="*/ 16404 h 152027"/>
                <a:gd name="connsiteX2" fmla="*/ 0 w 103435"/>
                <a:gd name="connsiteY2" fmla="*/ 16404 h 152027"/>
                <a:gd name="connsiteX3" fmla="*/ 0 w 103435"/>
                <a:gd name="connsiteY3" fmla="*/ 2278 h 152027"/>
                <a:gd name="connsiteX4" fmla="*/ 103435 w 103435"/>
                <a:gd name="connsiteY4" fmla="*/ 0 h 152027"/>
                <a:gd name="connsiteX5" fmla="*/ 103435 w 103435"/>
                <a:gd name="connsiteY5" fmla="*/ 65255 h 152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152027">
                  <a:moveTo>
                    <a:pt x="43288" y="152027"/>
                  </a:move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652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6" name="Forme libre : forme 455">
              <a:extLst>
                <a:ext uri="{FF2B5EF4-FFF2-40B4-BE49-F238E27FC236}">
                  <a16:creationId xmlns:a16="http://schemas.microsoft.com/office/drawing/2014/main" id="{D4422BA3-5FC8-407B-A01D-69AD0749DDD6}"/>
                </a:ext>
              </a:extLst>
            </p:cNvPr>
            <p:cNvSpPr/>
            <p:nvPr/>
          </p:nvSpPr>
          <p:spPr>
            <a:xfrm rot="8716295">
              <a:off x="279722" y="21339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7" name="Forme libre : forme 456">
              <a:extLst>
                <a:ext uri="{FF2B5EF4-FFF2-40B4-BE49-F238E27FC236}">
                  <a16:creationId xmlns:a16="http://schemas.microsoft.com/office/drawing/2014/main" id="{D39FDC20-561D-4627-BA38-506D7FCF7089}"/>
                </a:ext>
              </a:extLst>
            </p:cNvPr>
            <p:cNvSpPr/>
            <p:nvPr/>
          </p:nvSpPr>
          <p:spPr>
            <a:xfrm rot="8716295">
              <a:off x="369114" y="21631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8" name="Forme libre : forme 457">
              <a:extLst>
                <a:ext uri="{FF2B5EF4-FFF2-40B4-BE49-F238E27FC236}">
                  <a16:creationId xmlns:a16="http://schemas.microsoft.com/office/drawing/2014/main" id="{D14C1499-CA5F-496B-8BEC-69E04E19EA0D}"/>
                </a:ext>
              </a:extLst>
            </p:cNvPr>
            <p:cNvSpPr/>
            <p:nvPr/>
          </p:nvSpPr>
          <p:spPr>
            <a:xfrm rot="8716295">
              <a:off x="167488" y="22224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9" name="Forme libre : forme 458">
              <a:extLst>
                <a:ext uri="{FF2B5EF4-FFF2-40B4-BE49-F238E27FC236}">
                  <a16:creationId xmlns:a16="http://schemas.microsoft.com/office/drawing/2014/main" id="{193174EE-CFBC-438F-B1BB-D3ADA063388E}"/>
                </a:ext>
              </a:extLst>
            </p:cNvPr>
            <p:cNvSpPr/>
            <p:nvPr/>
          </p:nvSpPr>
          <p:spPr>
            <a:xfrm rot="8716295">
              <a:off x="42586" y="20137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0" name="Forme libre : forme 459">
              <a:extLst>
                <a:ext uri="{FF2B5EF4-FFF2-40B4-BE49-F238E27FC236}">
                  <a16:creationId xmlns:a16="http://schemas.microsoft.com/office/drawing/2014/main" id="{7E2244BC-364D-47B4-8B77-1ABDEF1DBB36}"/>
                </a:ext>
              </a:extLst>
            </p:cNvPr>
            <p:cNvSpPr/>
            <p:nvPr/>
          </p:nvSpPr>
          <p:spPr>
            <a:xfrm rot="8716295">
              <a:off x="257666" y="226339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1" name="Forme libre : forme 460">
              <a:extLst>
                <a:ext uri="{FF2B5EF4-FFF2-40B4-BE49-F238E27FC236}">
                  <a16:creationId xmlns:a16="http://schemas.microsoft.com/office/drawing/2014/main" id="{88E8FCAA-5A69-41AD-9BBF-E06402368569}"/>
                </a:ext>
              </a:extLst>
            </p:cNvPr>
            <p:cNvSpPr/>
            <p:nvPr/>
          </p:nvSpPr>
          <p:spPr>
            <a:xfrm rot="8716295">
              <a:off x="16215" y="211379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2" name="Forme libre : forme 461">
              <a:extLst>
                <a:ext uri="{FF2B5EF4-FFF2-40B4-BE49-F238E27FC236}">
                  <a16:creationId xmlns:a16="http://schemas.microsoft.com/office/drawing/2014/main" id="{2C0CE443-0100-47A6-BB72-6A7BBA3B084B}"/>
                </a:ext>
              </a:extLst>
            </p:cNvPr>
            <p:cNvSpPr/>
            <p:nvPr/>
          </p:nvSpPr>
          <p:spPr>
            <a:xfrm rot="7484129">
              <a:off x="362597" y="245474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3" name="Forme libre : forme 462">
              <a:extLst>
                <a:ext uri="{FF2B5EF4-FFF2-40B4-BE49-F238E27FC236}">
                  <a16:creationId xmlns:a16="http://schemas.microsoft.com/office/drawing/2014/main" id="{AE6C94D5-06F7-4134-9BDD-8703B8C3642E}"/>
                </a:ext>
              </a:extLst>
            </p:cNvPr>
            <p:cNvSpPr/>
            <p:nvPr/>
          </p:nvSpPr>
          <p:spPr>
            <a:xfrm rot="13089394">
              <a:off x="467417" y="242128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4" name="Forme libre : forme 463">
              <a:extLst>
                <a:ext uri="{FF2B5EF4-FFF2-40B4-BE49-F238E27FC236}">
                  <a16:creationId xmlns:a16="http://schemas.microsoft.com/office/drawing/2014/main" id="{90543D7D-143B-4ADD-B896-F2C09B360BC1}"/>
                </a:ext>
              </a:extLst>
            </p:cNvPr>
            <p:cNvSpPr/>
            <p:nvPr/>
          </p:nvSpPr>
          <p:spPr>
            <a:xfrm rot="8716295">
              <a:off x="653002" y="222960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5" name="Forme libre : forme 464">
              <a:extLst>
                <a:ext uri="{FF2B5EF4-FFF2-40B4-BE49-F238E27FC236}">
                  <a16:creationId xmlns:a16="http://schemas.microsoft.com/office/drawing/2014/main" id="{0A3F3F5B-79C0-41C7-8F17-B5752CC6E817}"/>
                </a:ext>
              </a:extLst>
            </p:cNvPr>
            <p:cNvSpPr/>
            <p:nvPr/>
          </p:nvSpPr>
          <p:spPr>
            <a:xfrm rot="8716295">
              <a:off x="601197" y="21260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6" name="Forme libre : forme 465">
              <a:extLst>
                <a:ext uri="{FF2B5EF4-FFF2-40B4-BE49-F238E27FC236}">
                  <a16:creationId xmlns:a16="http://schemas.microsoft.com/office/drawing/2014/main" id="{69D0AA2C-A5BB-4B7B-BB03-432400F6F2C5}"/>
                </a:ext>
              </a:extLst>
            </p:cNvPr>
            <p:cNvSpPr/>
            <p:nvPr/>
          </p:nvSpPr>
          <p:spPr>
            <a:xfrm rot="8716295">
              <a:off x="357951" y="21562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7" name="Forme libre : forme 466">
              <a:extLst>
                <a:ext uri="{FF2B5EF4-FFF2-40B4-BE49-F238E27FC236}">
                  <a16:creationId xmlns:a16="http://schemas.microsoft.com/office/drawing/2014/main" id="{82D68D60-D905-4F9D-9F1E-9018FDA856E2}"/>
                </a:ext>
              </a:extLst>
            </p:cNvPr>
            <p:cNvSpPr/>
            <p:nvPr/>
          </p:nvSpPr>
          <p:spPr>
            <a:xfrm rot="8716295">
              <a:off x="535403" y="199698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8" name="Forme libre : forme 467">
              <a:extLst>
                <a:ext uri="{FF2B5EF4-FFF2-40B4-BE49-F238E27FC236}">
                  <a16:creationId xmlns:a16="http://schemas.microsoft.com/office/drawing/2014/main" id="{E3253363-EB34-44DB-883A-13B6DE6143A2}"/>
                </a:ext>
              </a:extLst>
            </p:cNvPr>
            <p:cNvSpPr/>
            <p:nvPr/>
          </p:nvSpPr>
          <p:spPr>
            <a:xfrm rot="8716295">
              <a:off x="-76043" y="1768178"/>
              <a:ext cx="197178" cy="215049"/>
            </a:xfrm>
            <a:custGeom>
              <a:avLst/>
              <a:gdLst>
                <a:gd name="connsiteX0" fmla="*/ 51490 w 197178"/>
                <a:gd name="connsiteY0" fmla="*/ 215049 h 215049"/>
                <a:gd name="connsiteX1" fmla="*/ 51490 w 197178"/>
                <a:gd name="connsiteY1" fmla="*/ 45624 h 215049"/>
                <a:gd name="connsiteX2" fmla="*/ 0 w 197178"/>
                <a:gd name="connsiteY2" fmla="*/ 45624 h 215049"/>
                <a:gd name="connsiteX3" fmla="*/ 0 w 197178"/>
                <a:gd name="connsiteY3" fmla="*/ 1424 h 215049"/>
                <a:gd name="connsiteX4" fmla="*/ 104803 w 197178"/>
                <a:gd name="connsiteY4" fmla="*/ 1425 h 215049"/>
                <a:gd name="connsiteX5" fmla="*/ 104803 w 197178"/>
                <a:gd name="connsiteY5" fmla="*/ 75242 h 215049"/>
                <a:gd name="connsiteX6" fmla="*/ 106169 w 197178"/>
                <a:gd name="connsiteY6" fmla="*/ 75242 h 215049"/>
                <a:gd name="connsiteX7" fmla="*/ 154014 w 197178"/>
                <a:gd name="connsiteY7" fmla="*/ 5981 h 215049"/>
                <a:gd name="connsiteX8" fmla="*/ 185455 w 197178"/>
                <a:gd name="connsiteY8" fmla="*/ 57 h 215049"/>
                <a:gd name="connsiteX9" fmla="*/ 197178 w 197178"/>
                <a:gd name="connsiteY9" fmla="*/ 4872 h 215049"/>
                <a:gd name="connsiteX10" fmla="*/ 170795 w 197178"/>
                <a:gd name="connsiteY10" fmla="*/ 42934 h 215049"/>
                <a:gd name="connsiteX11" fmla="*/ 164950 w 197178"/>
                <a:gd name="connsiteY11" fmla="*/ 40156 h 215049"/>
                <a:gd name="connsiteX12" fmla="*/ 111638 w 197178"/>
                <a:gd name="connsiteY12" fmla="*/ 127643 h 215049"/>
                <a:gd name="connsiteX13" fmla="*/ 111638 w 197178"/>
                <a:gd name="connsiteY13" fmla="*/ 128277 h 21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178" h="215049">
                  <a:moveTo>
                    <a:pt x="51490" y="215049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4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lnTo>
                    <a:pt x="197178" y="4872"/>
                  </a:lnTo>
                  <a:lnTo>
                    <a:pt x="170795" y="42934"/>
                  </a:lnTo>
                  <a:lnTo>
                    <a:pt x="164950" y="40156"/>
                  </a:ln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1282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9" name="Forme libre : forme 468">
              <a:extLst>
                <a:ext uri="{FF2B5EF4-FFF2-40B4-BE49-F238E27FC236}">
                  <a16:creationId xmlns:a16="http://schemas.microsoft.com/office/drawing/2014/main" id="{13CAFE6B-0A3E-486D-8691-4D8C7920E841}"/>
                </a:ext>
              </a:extLst>
            </p:cNvPr>
            <p:cNvSpPr/>
            <p:nvPr/>
          </p:nvSpPr>
          <p:spPr>
            <a:xfrm rot="8716295">
              <a:off x="56555" y="14742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0" name="Forme libre : forme 469">
              <a:extLst>
                <a:ext uri="{FF2B5EF4-FFF2-40B4-BE49-F238E27FC236}">
                  <a16:creationId xmlns:a16="http://schemas.microsoft.com/office/drawing/2014/main" id="{AAF44C60-8776-4956-B0ED-2BB1FFCE9812}"/>
                </a:ext>
              </a:extLst>
            </p:cNvPr>
            <p:cNvSpPr/>
            <p:nvPr/>
          </p:nvSpPr>
          <p:spPr>
            <a:xfrm rot="8716295">
              <a:off x="145947" y="15034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1" name="Forme libre : forme 470">
              <a:extLst>
                <a:ext uri="{FF2B5EF4-FFF2-40B4-BE49-F238E27FC236}">
                  <a16:creationId xmlns:a16="http://schemas.microsoft.com/office/drawing/2014/main" id="{5A27D428-CE77-42C1-B8CA-3A227D5DF411}"/>
                </a:ext>
              </a:extLst>
            </p:cNvPr>
            <p:cNvSpPr/>
            <p:nvPr/>
          </p:nvSpPr>
          <p:spPr>
            <a:xfrm rot="8716295">
              <a:off x="-21870" y="1443501"/>
              <a:ext cx="68614" cy="55323"/>
            </a:xfrm>
            <a:custGeom>
              <a:avLst/>
              <a:gdLst>
                <a:gd name="connsiteX0" fmla="*/ 0 w 68614"/>
                <a:gd name="connsiteY0" fmla="*/ 55323 h 55323"/>
                <a:gd name="connsiteX1" fmla="*/ 0 w 68614"/>
                <a:gd name="connsiteY1" fmla="*/ 0 h 55323"/>
                <a:gd name="connsiteX2" fmla="*/ 68614 w 68614"/>
                <a:gd name="connsiteY2" fmla="*/ 0 h 55323"/>
                <a:gd name="connsiteX3" fmla="*/ 30266 w 68614"/>
                <a:gd name="connsiteY3" fmla="*/ 55323 h 55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614" h="55323">
                  <a:moveTo>
                    <a:pt x="0" y="55323"/>
                  </a:moveTo>
                  <a:lnTo>
                    <a:pt x="0" y="0"/>
                  </a:lnTo>
                  <a:lnTo>
                    <a:pt x="68614" y="0"/>
                  </a:lnTo>
                  <a:lnTo>
                    <a:pt x="30266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2" name="Forme libre : forme 471">
              <a:extLst>
                <a:ext uri="{FF2B5EF4-FFF2-40B4-BE49-F238E27FC236}">
                  <a16:creationId xmlns:a16="http://schemas.microsoft.com/office/drawing/2014/main" id="{DF9A3F72-B629-4ECA-8440-27AD7A8DC93E}"/>
                </a:ext>
              </a:extLst>
            </p:cNvPr>
            <p:cNvSpPr/>
            <p:nvPr/>
          </p:nvSpPr>
          <p:spPr>
            <a:xfrm rot="8716295">
              <a:off x="35817" y="1618109"/>
              <a:ext cx="103435" cy="203897"/>
            </a:xfrm>
            <a:custGeom>
              <a:avLst/>
              <a:gdLst>
                <a:gd name="connsiteX0" fmla="*/ 87556 w 103435"/>
                <a:gd name="connsiteY0" fmla="*/ 203897 h 203897"/>
                <a:gd name="connsiteX1" fmla="*/ 43288 w 103435"/>
                <a:gd name="connsiteY1" fmla="*/ 161305 h 203897"/>
                <a:gd name="connsiteX2" fmla="*/ 43288 w 103435"/>
                <a:gd name="connsiteY2" fmla="*/ 16404 h 203897"/>
                <a:gd name="connsiteX3" fmla="*/ 0 w 103435"/>
                <a:gd name="connsiteY3" fmla="*/ 16404 h 203897"/>
                <a:gd name="connsiteX4" fmla="*/ 0 w 103435"/>
                <a:gd name="connsiteY4" fmla="*/ 2278 h 203897"/>
                <a:gd name="connsiteX5" fmla="*/ 103435 w 103435"/>
                <a:gd name="connsiteY5" fmla="*/ 0 h 203897"/>
                <a:gd name="connsiteX6" fmla="*/ 103435 w 103435"/>
                <a:gd name="connsiteY6" fmla="*/ 180989 h 203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03897">
                  <a:moveTo>
                    <a:pt x="87556" y="203897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1809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3" name="Forme libre : forme 472">
              <a:extLst>
                <a:ext uri="{FF2B5EF4-FFF2-40B4-BE49-F238E27FC236}">
                  <a16:creationId xmlns:a16="http://schemas.microsoft.com/office/drawing/2014/main" id="{8E07B202-4136-4FA5-B44B-66518FBBBBA3}"/>
                </a:ext>
              </a:extLst>
            </p:cNvPr>
            <p:cNvSpPr/>
            <p:nvPr/>
          </p:nvSpPr>
          <p:spPr>
            <a:xfrm rot="7484129">
              <a:off x="139430" y="17950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4" name="Forme libre : forme 473">
              <a:extLst>
                <a:ext uri="{FF2B5EF4-FFF2-40B4-BE49-F238E27FC236}">
                  <a16:creationId xmlns:a16="http://schemas.microsoft.com/office/drawing/2014/main" id="{34554139-A9A2-4D5D-81E5-F4C0EE65204A}"/>
                </a:ext>
              </a:extLst>
            </p:cNvPr>
            <p:cNvSpPr/>
            <p:nvPr/>
          </p:nvSpPr>
          <p:spPr>
            <a:xfrm rot="13089394">
              <a:off x="244250" y="17615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5" name="Forme libre : forme 474">
              <a:extLst>
                <a:ext uri="{FF2B5EF4-FFF2-40B4-BE49-F238E27FC236}">
                  <a16:creationId xmlns:a16="http://schemas.microsoft.com/office/drawing/2014/main" id="{AB2F70AF-AA56-4CAD-ADF4-0833FC541883}"/>
                </a:ext>
              </a:extLst>
            </p:cNvPr>
            <p:cNvSpPr/>
            <p:nvPr/>
          </p:nvSpPr>
          <p:spPr>
            <a:xfrm rot="8716295">
              <a:off x="429835" y="15699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6" name="Forme libre : forme 475">
              <a:extLst>
                <a:ext uri="{FF2B5EF4-FFF2-40B4-BE49-F238E27FC236}">
                  <a16:creationId xmlns:a16="http://schemas.microsoft.com/office/drawing/2014/main" id="{75BBDF35-8448-40A6-BE33-7EEF756160B0}"/>
                </a:ext>
              </a:extLst>
            </p:cNvPr>
            <p:cNvSpPr/>
            <p:nvPr/>
          </p:nvSpPr>
          <p:spPr>
            <a:xfrm rot="8716295">
              <a:off x="378030" y="14663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7" name="Forme libre : forme 476">
              <a:extLst>
                <a:ext uri="{FF2B5EF4-FFF2-40B4-BE49-F238E27FC236}">
                  <a16:creationId xmlns:a16="http://schemas.microsoft.com/office/drawing/2014/main" id="{423A5D9B-DC1A-419A-9AFB-176F76ADBA77}"/>
                </a:ext>
              </a:extLst>
            </p:cNvPr>
            <p:cNvSpPr/>
            <p:nvPr/>
          </p:nvSpPr>
          <p:spPr>
            <a:xfrm rot="8716295">
              <a:off x="134784" y="14965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8" name="Forme libre : forme 477">
              <a:extLst>
                <a:ext uri="{FF2B5EF4-FFF2-40B4-BE49-F238E27FC236}">
                  <a16:creationId xmlns:a16="http://schemas.microsoft.com/office/drawing/2014/main" id="{09A04993-945B-4073-A4A3-49D8F429837D}"/>
                </a:ext>
              </a:extLst>
            </p:cNvPr>
            <p:cNvSpPr/>
            <p:nvPr/>
          </p:nvSpPr>
          <p:spPr>
            <a:xfrm rot="8716295">
              <a:off x="312236" y="13372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9" name="Forme libre : forme 478">
              <a:extLst>
                <a:ext uri="{FF2B5EF4-FFF2-40B4-BE49-F238E27FC236}">
                  <a16:creationId xmlns:a16="http://schemas.microsoft.com/office/drawing/2014/main" id="{F26589E4-0AEF-428F-8239-E3EDEF00E7E4}"/>
                </a:ext>
              </a:extLst>
            </p:cNvPr>
            <p:cNvSpPr/>
            <p:nvPr/>
          </p:nvSpPr>
          <p:spPr>
            <a:xfrm rot="8716295">
              <a:off x="-17798" y="949199"/>
              <a:ext cx="39526" cy="50123"/>
            </a:xfrm>
            <a:custGeom>
              <a:avLst/>
              <a:gdLst>
                <a:gd name="connsiteX0" fmla="*/ 0 w 39526"/>
                <a:gd name="connsiteY0" fmla="*/ 50123 h 50123"/>
                <a:gd name="connsiteX1" fmla="*/ 0 w 39526"/>
                <a:gd name="connsiteY1" fmla="*/ 0 h 50123"/>
                <a:gd name="connsiteX2" fmla="*/ 39526 w 39526"/>
                <a:gd name="connsiteY2" fmla="*/ 0 h 50123"/>
                <a:gd name="connsiteX3" fmla="*/ 4782 w 39526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26" h="50123">
                  <a:moveTo>
                    <a:pt x="0" y="50123"/>
                  </a:moveTo>
                  <a:lnTo>
                    <a:pt x="0" y="0"/>
                  </a:lnTo>
                  <a:lnTo>
                    <a:pt x="39526" y="0"/>
                  </a:lnTo>
                  <a:lnTo>
                    <a:pt x="4782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0" name="Forme libre : forme 479">
              <a:extLst>
                <a:ext uri="{FF2B5EF4-FFF2-40B4-BE49-F238E27FC236}">
                  <a16:creationId xmlns:a16="http://schemas.microsoft.com/office/drawing/2014/main" id="{4C4296DE-55F9-4C4A-97B0-A63397A7DF77}"/>
                </a:ext>
              </a:extLst>
            </p:cNvPr>
            <p:cNvSpPr/>
            <p:nvPr/>
          </p:nvSpPr>
          <p:spPr>
            <a:xfrm rot="8716295">
              <a:off x="-64996" y="834728"/>
              <a:ext cx="249650" cy="254774"/>
            </a:xfrm>
            <a:custGeom>
              <a:avLst/>
              <a:gdLst>
                <a:gd name="connsiteX0" fmla="*/ 51490 w 249650"/>
                <a:gd name="connsiteY0" fmla="*/ 254774 h 254774"/>
                <a:gd name="connsiteX1" fmla="*/ 51490 w 249650"/>
                <a:gd name="connsiteY1" fmla="*/ 45624 h 254774"/>
                <a:gd name="connsiteX2" fmla="*/ 0 w 249650"/>
                <a:gd name="connsiteY2" fmla="*/ 45624 h 254774"/>
                <a:gd name="connsiteX3" fmla="*/ 0 w 249650"/>
                <a:gd name="connsiteY3" fmla="*/ 1425 h 254774"/>
                <a:gd name="connsiteX4" fmla="*/ 104803 w 249650"/>
                <a:gd name="connsiteY4" fmla="*/ 1425 h 254774"/>
                <a:gd name="connsiteX5" fmla="*/ 104803 w 249650"/>
                <a:gd name="connsiteY5" fmla="*/ 75242 h 254774"/>
                <a:gd name="connsiteX6" fmla="*/ 106169 w 249650"/>
                <a:gd name="connsiteY6" fmla="*/ 75242 h 254774"/>
                <a:gd name="connsiteX7" fmla="*/ 154014 w 249650"/>
                <a:gd name="connsiteY7" fmla="*/ 5981 h 254774"/>
                <a:gd name="connsiteX8" fmla="*/ 185455 w 249650"/>
                <a:gd name="connsiteY8" fmla="*/ 57 h 254774"/>
                <a:gd name="connsiteX9" fmla="*/ 240647 w 249650"/>
                <a:gd name="connsiteY9" fmla="*/ 22727 h 254774"/>
                <a:gd name="connsiteX10" fmla="*/ 249650 w 249650"/>
                <a:gd name="connsiteY10" fmla="*/ 52327 h 254774"/>
                <a:gd name="connsiteX11" fmla="*/ 218795 w 249650"/>
                <a:gd name="connsiteY11" fmla="*/ 96841 h 254774"/>
                <a:gd name="connsiteX12" fmla="*/ 198669 w 249650"/>
                <a:gd name="connsiteY12" fmla="*/ 98025 h 254774"/>
                <a:gd name="connsiteX13" fmla="*/ 198669 w 249650"/>
                <a:gd name="connsiteY13" fmla="*/ 81621 h 254774"/>
                <a:gd name="connsiteX14" fmla="*/ 164950 w 249650"/>
                <a:gd name="connsiteY14" fmla="*/ 40156 h 254774"/>
                <a:gd name="connsiteX15" fmla="*/ 111638 w 249650"/>
                <a:gd name="connsiteY15" fmla="*/ 127643 h 254774"/>
                <a:gd name="connsiteX16" fmla="*/ 111638 w 249650"/>
                <a:gd name="connsiteY16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9650" h="254774">
                  <a:moveTo>
                    <a:pt x="51490" y="254774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08922" y="-398"/>
                    <a:pt x="227718" y="7576"/>
                    <a:pt x="240647" y="22727"/>
                  </a:cubicBezTo>
                  <a:lnTo>
                    <a:pt x="249650" y="52327"/>
                  </a:lnTo>
                  <a:lnTo>
                    <a:pt x="218795" y="96841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1" name="Forme libre : forme 480">
              <a:extLst>
                <a:ext uri="{FF2B5EF4-FFF2-40B4-BE49-F238E27FC236}">
                  <a16:creationId xmlns:a16="http://schemas.microsoft.com/office/drawing/2014/main" id="{5A2819AD-E741-4041-ACED-C828CEF01D2A}"/>
                </a:ext>
              </a:extLst>
            </p:cNvPr>
            <p:cNvSpPr/>
            <p:nvPr/>
          </p:nvSpPr>
          <p:spPr>
            <a:xfrm rot="7484129">
              <a:off x="-63314" y="1172497"/>
              <a:ext cx="203848" cy="146395"/>
            </a:xfrm>
            <a:custGeom>
              <a:avLst/>
              <a:gdLst>
                <a:gd name="connsiteX0" fmla="*/ 0 w 203848"/>
                <a:gd name="connsiteY0" fmla="*/ 55323 h 146395"/>
                <a:gd name="connsiteX1" fmla="*/ 0 w 203848"/>
                <a:gd name="connsiteY1" fmla="*/ 0 h 146395"/>
                <a:gd name="connsiteX2" fmla="*/ 203848 w 203848"/>
                <a:gd name="connsiteY2" fmla="*/ 0 h 146395"/>
                <a:gd name="connsiteX3" fmla="*/ 203847 w 203848"/>
                <a:gd name="connsiteY3" fmla="*/ 49512 h 146395"/>
                <a:gd name="connsiteX4" fmla="*/ 195466 w 203848"/>
                <a:gd name="connsiteY4" fmla="*/ 55323 h 146395"/>
                <a:gd name="connsiteX5" fmla="*/ 139055 w 203848"/>
                <a:gd name="connsiteY5" fmla="*/ 55323 h 146395"/>
                <a:gd name="connsiteX6" fmla="*/ 121388 w 203848"/>
                <a:gd name="connsiteY6" fmla="*/ 106685 h 146395"/>
                <a:gd name="connsiteX7" fmla="*/ 64115 w 203848"/>
                <a:gd name="connsiteY7" fmla="*/ 146395 h 146395"/>
                <a:gd name="connsiteX8" fmla="*/ 47847 w 203848"/>
                <a:gd name="connsiteY8" fmla="*/ 116129 h 146395"/>
                <a:gd name="connsiteX9" fmla="*/ 69777 w 203848"/>
                <a:gd name="connsiteY9" fmla="*/ 55323 h 146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848" h="146395">
                  <a:moveTo>
                    <a:pt x="0" y="55323"/>
                  </a:moveTo>
                  <a:lnTo>
                    <a:pt x="0" y="0"/>
                  </a:lnTo>
                  <a:lnTo>
                    <a:pt x="203848" y="0"/>
                  </a:lnTo>
                  <a:lnTo>
                    <a:pt x="203847" y="49512"/>
                  </a:lnTo>
                  <a:lnTo>
                    <a:pt x="195466" y="55323"/>
                  </a:lnTo>
                  <a:lnTo>
                    <a:pt x="139055" y="55323"/>
                  </a:lnTo>
                  <a:lnTo>
                    <a:pt x="121388" y="106685"/>
                  </a:lnTo>
                  <a:lnTo>
                    <a:pt x="64115" y="146395"/>
                  </a:lnTo>
                  <a:lnTo>
                    <a:pt x="47847" y="116129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2" name="Forme libre : forme 481">
              <a:extLst>
                <a:ext uri="{FF2B5EF4-FFF2-40B4-BE49-F238E27FC236}">
                  <a16:creationId xmlns:a16="http://schemas.microsoft.com/office/drawing/2014/main" id="{BF19A776-F6DB-4B5F-AAC3-71AD58912554}"/>
                </a:ext>
              </a:extLst>
            </p:cNvPr>
            <p:cNvSpPr/>
            <p:nvPr/>
          </p:nvSpPr>
          <p:spPr>
            <a:xfrm rot="13089394">
              <a:off x="25311" y="109952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3" name="Forme libre : forme 482">
              <a:extLst>
                <a:ext uri="{FF2B5EF4-FFF2-40B4-BE49-F238E27FC236}">
                  <a16:creationId xmlns:a16="http://schemas.microsoft.com/office/drawing/2014/main" id="{1F910699-3B12-45BE-B517-E2166075FFC7}"/>
                </a:ext>
              </a:extLst>
            </p:cNvPr>
            <p:cNvSpPr/>
            <p:nvPr/>
          </p:nvSpPr>
          <p:spPr>
            <a:xfrm rot="8716295">
              <a:off x="210896" y="90784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4" name="Forme libre : forme 483">
              <a:extLst>
                <a:ext uri="{FF2B5EF4-FFF2-40B4-BE49-F238E27FC236}">
                  <a16:creationId xmlns:a16="http://schemas.microsoft.com/office/drawing/2014/main" id="{A819C2A4-F35F-43E8-9AB1-07103AECD990}"/>
                </a:ext>
              </a:extLst>
            </p:cNvPr>
            <p:cNvSpPr/>
            <p:nvPr/>
          </p:nvSpPr>
          <p:spPr>
            <a:xfrm rot="8716295">
              <a:off x="159091" y="80425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5" name="Forme libre : forme 484">
              <a:extLst>
                <a:ext uri="{FF2B5EF4-FFF2-40B4-BE49-F238E27FC236}">
                  <a16:creationId xmlns:a16="http://schemas.microsoft.com/office/drawing/2014/main" id="{F748C402-EDBB-4B63-B49E-2F4080A37ADD}"/>
                </a:ext>
              </a:extLst>
            </p:cNvPr>
            <p:cNvSpPr/>
            <p:nvPr/>
          </p:nvSpPr>
          <p:spPr>
            <a:xfrm rot="8716295">
              <a:off x="93297" y="67523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6" name="Forme libre : forme 485">
              <a:extLst>
                <a:ext uri="{FF2B5EF4-FFF2-40B4-BE49-F238E27FC236}">
                  <a16:creationId xmlns:a16="http://schemas.microsoft.com/office/drawing/2014/main" id="{73609A63-0E69-42A0-8437-604DF28699ED}"/>
                </a:ext>
              </a:extLst>
            </p:cNvPr>
            <p:cNvSpPr/>
            <p:nvPr/>
          </p:nvSpPr>
          <p:spPr>
            <a:xfrm rot="8716295">
              <a:off x="-7001" y="316701"/>
              <a:ext cx="14001" cy="20198"/>
            </a:xfrm>
            <a:custGeom>
              <a:avLst/>
              <a:gdLst>
                <a:gd name="connsiteX0" fmla="*/ 0 w 14001"/>
                <a:gd name="connsiteY0" fmla="*/ 20198 h 20198"/>
                <a:gd name="connsiteX1" fmla="*/ 0 w 14001"/>
                <a:gd name="connsiteY1" fmla="*/ 0 h 20198"/>
                <a:gd name="connsiteX2" fmla="*/ 14001 w 14001"/>
                <a:gd name="connsiteY2" fmla="*/ 0 h 2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01" h="20198">
                  <a:moveTo>
                    <a:pt x="0" y="20198"/>
                  </a:moveTo>
                  <a:lnTo>
                    <a:pt x="0" y="0"/>
                  </a:lnTo>
                  <a:lnTo>
                    <a:pt x="1400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7" name="Forme libre : forme 486">
              <a:extLst>
                <a:ext uri="{FF2B5EF4-FFF2-40B4-BE49-F238E27FC236}">
                  <a16:creationId xmlns:a16="http://schemas.microsoft.com/office/drawing/2014/main" id="{577CC5F5-15C9-4008-90A0-668217098FFB}"/>
                </a:ext>
              </a:extLst>
            </p:cNvPr>
            <p:cNvSpPr/>
            <p:nvPr/>
          </p:nvSpPr>
          <p:spPr>
            <a:xfrm rot="13089394">
              <a:off x="-81658" y="472652"/>
              <a:ext cx="173631" cy="237684"/>
            </a:xfrm>
            <a:custGeom>
              <a:avLst/>
              <a:gdLst>
                <a:gd name="connsiteX0" fmla="*/ 173631 w 173631"/>
                <a:gd name="connsiteY0" fmla="*/ 220990 h 237684"/>
                <a:gd name="connsiteX1" fmla="*/ 130972 w 173631"/>
                <a:gd name="connsiteY1" fmla="*/ 232382 h 237684"/>
                <a:gd name="connsiteX2" fmla="*/ 91597 w 173631"/>
                <a:gd name="connsiteY2" fmla="*/ 237521 h 237684"/>
                <a:gd name="connsiteX3" fmla="*/ 23727 w 173631"/>
                <a:gd name="connsiteY3" fmla="*/ 209931 h 237684"/>
                <a:gd name="connsiteX4" fmla="*/ 0 w 173631"/>
                <a:gd name="connsiteY4" fmla="*/ 115023 h 237684"/>
                <a:gd name="connsiteX5" fmla="*/ 0 w 173631"/>
                <a:gd name="connsiteY5" fmla="*/ 0 h 237684"/>
                <a:gd name="connsiteX6" fmla="*/ 76176 w 173631"/>
                <a:gd name="connsiteY6" fmla="*/ 96953 h 237684"/>
                <a:gd name="connsiteX7" fmla="*/ 76768 w 173631"/>
                <a:gd name="connsiteY7" fmla="*/ 109023 h 237684"/>
                <a:gd name="connsiteX8" fmla="*/ 87734 w 173631"/>
                <a:gd name="connsiteY8" fmla="*/ 154201 h 237684"/>
                <a:gd name="connsiteX9" fmla="*/ 111117 w 173631"/>
                <a:gd name="connsiteY9" fmla="*/ 181514 h 237684"/>
                <a:gd name="connsiteX10" fmla="*/ 148930 w 173631"/>
                <a:gd name="connsiteY10" fmla="*/ 189552 h 237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3631" h="237684">
                  <a:moveTo>
                    <a:pt x="173631" y="220990"/>
                  </a:moveTo>
                  <a:lnTo>
                    <a:pt x="130972" y="232382"/>
                  </a:lnTo>
                  <a:cubicBezTo>
                    <a:pt x="116428" y="235210"/>
                    <a:pt x="103047" y="236831"/>
                    <a:pt x="91597" y="237521"/>
                  </a:cubicBezTo>
                  <a:cubicBezTo>
                    <a:pt x="66215" y="239176"/>
                    <a:pt x="41384" y="228141"/>
                    <a:pt x="23727" y="209931"/>
                  </a:cubicBezTo>
                  <a:cubicBezTo>
                    <a:pt x="4966" y="191722"/>
                    <a:pt x="0" y="160270"/>
                    <a:pt x="0" y="115023"/>
                  </a:cubicBezTo>
                  <a:lnTo>
                    <a:pt x="0" y="0"/>
                  </a:lnTo>
                  <a:lnTo>
                    <a:pt x="76176" y="96953"/>
                  </a:lnTo>
                  <a:lnTo>
                    <a:pt x="76768" y="109023"/>
                  </a:lnTo>
                  <a:cubicBezTo>
                    <a:pt x="79044" y="124404"/>
                    <a:pt x="82768" y="139578"/>
                    <a:pt x="87734" y="154201"/>
                  </a:cubicBezTo>
                  <a:cubicBezTo>
                    <a:pt x="92149" y="166340"/>
                    <a:pt x="100012" y="175445"/>
                    <a:pt x="111117" y="181514"/>
                  </a:cubicBezTo>
                  <a:lnTo>
                    <a:pt x="148930" y="1895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8" name="Forme libre : forme 487">
              <a:extLst>
                <a:ext uri="{FF2B5EF4-FFF2-40B4-BE49-F238E27FC236}">
                  <a16:creationId xmlns:a16="http://schemas.microsoft.com/office/drawing/2014/main" id="{E64C5A14-C3CC-4B02-838F-FD1CD7D882CB}"/>
                </a:ext>
              </a:extLst>
            </p:cNvPr>
            <p:cNvSpPr/>
            <p:nvPr/>
          </p:nvSpPr>
          <p:spPr>
            <a:xfrm rot="8716295">
              <a:off x="-11774" y="24443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9" name="Forme libre : forme 488">
              <a:extLst>
                <a:ext uri="{FF2B5EF4-FFF2-40B4-BE49-F238E27FC236}">
                  <a16:creationId xmlns:a16="http://schemas.microsoft.com/office/drawing/2014/main" id="{26383EB6-3CD6-4688-B5B2-AB6D6EF7025D}"/>
                </a:ext>
              </a:extLst>
            </p:cNvPr>
            <p:cNvSpPr/>
            <p:nvPr/>
          </p:nvSpPr>
          <p:spPr>
            <a:xfrm rot="8716295">
              <a:off x="-30092" y="143486"/>
              <a:ext cx="77721" cy="97260"/>
            </a:xfrm>
            <a:custGeom>
              <a:avLst/>
              <a:gdLst>
                <a:gd name="connsiteX0" fmla="*/ 15821 w 77721"/>
                <a:gd name="connsiteY0" fmla="*/ 97260 h 97260"/>
                <a:gd name="connsiteX1" fmla="*/ 0 w 77721"/>
                <a:gd name="connsiteY1" fmla="*/ 59790 h 97260"/>
                <a:gd name="connsiteX2" fmla="*/ 0 w 77721"/>
                <a:gd name="connsiteY2" fmla="*/ 58869 h 97260"/>
                <a:gd name="connsiteX3" fmla="*/ 17477 w 77721"/>
                <a:gd name="connsiteY3" fmla="*/ 17477 h 97260"/>
                <a:gd name="connsiteX4" fmla="*/ 58869 w 77721"/>
                <a:gd name="connsiteY4" fmla="*/ 0 h 97260"/>
                <a:gd name="connsiteX5" fmla="*/ 77721 w 77721"/>
                <a:gd name="connsiteY5" fmla="*/ 7960 h 97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721" h="97260">
                  <a:moveTo>
                    <a:pt x="15821" y="97260"/>
                  </a:moveTo>
                  <a:lnTo>
                    <a:pt x="0" y="59790"/>
                  </a:ln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lnTo>
                    <a:pt x="77721" y="79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0" name="Forme libre : forme 489">
              <a:extLst>
                <a:ext uri="{FF2B5EF4-FFF2-40B4-BE49-F238E27FC236}">
                  <a16:creationId xmlns:a16="http://schemas.microsoft.com/office/drawing/2014/main" id="{6537CDA1-2216-4877-A848-A93D1F552A9D}"/>
                </a:ext>
              </a:extLst>
            </p:cNvPr>
            <p:cNvSpPr/>
            <p:nvPr/>
          </p:nvSpPr>
          <p:spPr>
            <a:xfrm rot="8716295">
              <a:off x="-17797" y="3452694"/>
              <a:ext cx="58455" cy="44199"/>
            </a:xfrm>
            <a:custGeom>
              <a:avLst/>
              <a:gdLst>
                <a:gd name="connsiteX0" fmla="*/ 0 w 58455"/>
                <a:gd name="connsiteY0" fmla="*/ 44199 h 44199"/>
                <a:gd name="connsiteX1" fmla="*/ 0 w 58455"/>
                <a:gd name="connsiteY1" fmla="*/ 0 h 44199"/>
                <a:gd name="connsiteX2" fmla="*/ 58455 w 58455"/>
                <a:gd name="connsiteY2" fmla="*/ 0 h 44199"/>
                <a:gd name="connsiteX3" fmla="*/ 27817 w 58455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55" h="44199">
                  <a:moveTo>
                    <a:pt x="0" y="44199"/>
                  </a:moveTo>
                  <a:lnTo>
                    <a:pt x="0" y="0"/>
                  </a:lnTo>
                  <a:lnTo>
                    <a:pt x="58455" y="0"/>
                  </a:lnTo>
                  <a:lnTo>
                    <a:pt x="27817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1" name="Forme libre : forme 490">
              <a:extLst>
                <a:ext uri="{FF2B5EF4-FFF2-40B4-BE49-F238E27FC236}">
                  <a16:creationId xmlns:a16="http://schemas.microsoft.com/office/drawing/2014/main" id="{215CC3B1-8089-4D43-97B0-1819B833BE19}"/>
                </a:ext>
              </a:extLst>
            </p:cNvPr>
            <p:cNvSpPr/>
            <p:nvPr/>
          </p:nvSpPr>
          <p:spPr>
            <a:xfrm rot="13089394">
              <a:off x="-91485" y="3601812"/>
              <a:ext cx="206527" cy="292654"/>
            </a:xfrm>
            <a:custGeom>
              <a:avLst/>
              <a:gdLst>
                <a:gd name="connsiteX0" fmla="*/ 206527 w 206527"/>
                <a:gd name="connsiteY0" fmla="*/ 258693 h 292654"/>
                <a:gd name="connsiteX1" fmla="*/ 177331 w 206527"/>
                <a:gd name="connsiteY1" fmla="*/ 274971 h 292654"/>
                <a:gd name="connsiteX2" fmla="*/ 91597 w 206527"/>
                <a:gd name="connsiteY2" fmla="*/ 292491 h 292654"/>
                <a:gd name="connsiteX3" fmla="*/ 23727 w 206527"/>
                <a:gd name="connsiteY3" fmla="*/ 264901 h 292654"/>
                <a:gd name="connsiteX4" fmla="*/ 0 w 206527"/>
                <a:gd name="connsiteY4" fmla="*/ 169993 h 292654"/>
                <a:gd name="connsiteX5" fmla="*/ 0 w 206527"/>
                <a:gd name="connsiteY5" fmla="*/ 1698 h 292654"/>
                <a:gd name="connsiteX6" fmla="*/ 3273 w 206527"/>
                <a:gd name="connsiteY6" fmla="*/ 0 h 292654"/>
                <a:gd name="connsiteX7" fmla="*/ 74297 w 206527"/>
                <a:gd name="connsiteY7" fmla="*/ 90396 h 292654"/>
                <a:gd name="connsiteX8" fmla="*/ 74492 w 206527"/>
                <a:gd name="connsiteY8" fmla="*/ 117574 h 292654"/>
                <a:gd name="connsiteX9" fmla="*/ 87734 w 206527"/>
                <a:gd name="connsiteY9" fmla="*/ 209171 h 292654"/>
                <a:gd name="connsiteX10" fmla="*/ 153949 w 206527"/>
                <a:gd name="connsiteY10" fmla="*/ 245589 h 292654"/>
                <a:gd name="connsiteX11" fmla="*/ 191049 w 206527"/>
                <a:gd name="connsiteY11" fmla="*/ 238993 h 292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527" h="292654">
                  <a:moveTo>
                    <a:pt x="206527" y="258693"/>
                  </a:moveTo>
                  <a:lnTo>
                    <a:pt x="177331" y="274971"/>
                  </a:lnTo>
                  <a:cubicBezTo>
                    <a:pt x="145121" y="286007"/>
                    <a:pt x="114496" y="291111"/>
                    <a:pt x="91597" y="292491"/>
                  </a:cubicBezTo>
                  <a:cubicBezTo>
                    <a:pt x="66215" y="294146"/>
                    <a:pt x="41385" y="283111"/>
                    <a:pt x="23727" y="264901"/>
                  </a:cubicBezTo>
                  <a:cubicBezTo>
                    <a:pt x="4966" y="246692"/>
                    <a:pt x="0" y="215240"/>
                    <a:pt x="0" y="169993"/>
                  </a:cubicBezTo>
                  <a:lnTo>
                    <a:pt x="0" y="1698"/>
                  </a:lnTo>
                  <a:lnTo>
                    <a:pt x="3273" y="0"/>
                  </a:lnTo>
                  <a:lnTo>
                    <a:pt x="74297" y="90396"/>
                  </a:lnTo>
                  <a:lnTo>
                    <a:pt x="74492" y="117574"/>
                  </a:lnTo>
                  <a:cubicBezTo>
                    <a:pt x="72836" y="148474"/>
                    <a:pt x="77802" y="179926"/>
                    <a:pt x="87734" y="209171"/>
                  </a:cubicBezTo>
                  <a:cubicBezTo>
                    <a:pt x="96564" y="233450"/>
                    <a:pt x="119187" y="245589"/>
                    <a:pt x="153949" y="245589"/>
                  </a:cubicBezTo>
                  <a:lnTo>
                    <a:pt x="191049" y="2389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2" name="Forme libre : forme 491">
              <a:extLst>
                <a:ext uri="{FF2B5EF4-FFF2-40B4-BE49-F238E27FC236}">
                  <a16:creationId xmlns:a16="http://schemas.microsoft.com/office/drawing/2014/main" id="{234A14C5-DCBF-4B3D-8912-C2966FB8FAA0}"/>
                </a:ext>
              </a:extLst>
            </p:cNvPr>
            <p:cNvSpPr/>
            <p:nvPr/>
          </p:nvSpPr>
          <p:spPr>
            <a:xfrm rot="8716295">
              <a:off x="24761" y="33896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3" name="Forme libre : forme 492">
              <a:extLst>
                <a:ext uri="{FF2B5EF4-FFF2-40B4-BE49-F238E27FC236}">
                  <a16:creationId xmlns:a16="http://schemas.microsoft.com/office/drawing/2014/main" id="{A8F20E36-ED7E-4DCB-8818-49A4A7E98BE7}"/>
                </a:ext>
              </a:extLst>
            </p:cNvPr>
            <p:cNvSpPr/>
            <p:nvPr/>
          </p:nvSpPr>
          <p:spPr>
            <a:xfrm rot="8716295">
              <a:off x="-24047" y="3281741"/>
              <a:ext cx="106042" cy="113733"/>
            </a:xfrm>
            <a:custGeom>
              <a:avLst/>
              <a:gdLst>
                <a:gd name="connsiteX0" fmla="*/ 17477 w 106042"/>
                <a:gd name="connsiteY0" fmla="*/ 101182 h 113733"/>
                <a:gd name="connsiteX1" fmla="*/ 0 w 106042"/>
                <a:gd name="connsiteY1" fmla="*/ 59790 h 113733"/>
                <a:gd name="connsiteX2" fmla="*/ 0 w 106042"/>
                <a:gd name="connsiteY2" fmla="*/ 58869 h 113733"/>
                <a:gd name="connsiteX3" fmla="*/ 17477 w 106042"/>
                <a:gd name="connsiteY3" fmla="*/ 17477 h 113733"/>
                <a:gd name="connsiteX4" fmla="*/ 58869 w 106042"/>
                <a:gd name="connsiteY4" fmla="*/ 0 h 113733"/>
                <a:gd name="connsiteX5" fmla="*/ 100262 w 106042"/>
                <a:gd name="connsiteY5" fmla="*/ 17477 h 113733"/>
                <a:gd name="connsiteX6" fmla="*/ 106042 w 106042"/>
                <a:gd name="connsiteY6" fmla="*/ 31234 h 113733"/>
                <a:gd name="connsiteX7" fmla="*/ 48856 w 106042"/>
                <a:gd name="connsiteY7" fmla="*/ 113733 h 11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042" h="113733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cubicBezTo>
                    <a:pt x="74507" y="0"/>
                    <a:pt x="89224" y="6439"/>
                    <a:pt x="100262" y="17477"/>
                  </a:cubicBezTo>
                  <a:lnTo>
                    <a:pt x="106042" y="31234"/>
                  </a:lnTo>
                  <a:lnTo>
                    <a:pt x="48856" y="1137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4" name="Forme libre : forme 493">
              <a:extLst>
                <a:ext uri="{FF2B5EF4-FFF2-40B4-BE49-F238E27FC236}">
                  <a16:creationId xmlns:a16="http://schemas.microsoft.com/office/drawing/2014/main" id="{521798C9-8778-477C-89ED-433CF02349E9}"/>
                </a:ext>
              </a:extLst>
            </p:cNvPr>
            <p:cNvSpPr/>
            <p:nvPr/>
          </p:nvSpPr>
          <p:spPr>
            <a:xfrm rot="8716295">
              <a:off x="-21924" y="3179872"/>
              <a:ext cx="45776" cy="62656"/>
            </a:xfrm>
            <a:custGeom>
              <a:avLst/>
              <a:gdLst>
                <a:gd name="connsiteX0" fmla="*/ 2345 w 45776"/>
                <a:gd name="connsiteY0" fmla="*/ 62656 h 62656"/>
                <a:gd name="connsiteX1" fmla="*/ 0 w 45776"/>
                <a:gd name="connsiteY1" fmla="*/ 57104 h 62656"/>
                <a:gd name="connsiteX2" fmla="*/ 0 w 45776"/>
                <a:gd name="connsiteY2" fmla="*/ 56183 h 62656"/>
                <a:gd name="connsiteX3" fmla="*/ 17477 w 45776"/>
                <a:gd name="connsiteY3" fmla="*/ 14791 h 62656"/>
                <a:gd name="connsiteX4" fmla="*/ 36449 w 45776"/>
                <a:gd name="connsiteY4" fmla="*/ 1913 h 62656"/>
                <a:gd name="connsiteX5" fmla="*/ 45776 w 45776"/>
                <a:gd name="connsiteY5" fmla="*/ 0 h 62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776" h="62656">
                  <a:moveTo>
                    <a:pt x="2345" y="62656"/>
                  </a:moveTo>
                  <a:lnTo>
                    <a:pt x="0" y="57104"/>
                  </a:lnTo>
                  <a:lnTo>
                    <a:pt x="0" y="56183"/>
                  </a:lnTo>
                  <a:cubicBezTo>
                    <a:pt x="0" y="40547"/>
                    <a:pt x="6439" y="25829"/>
                    <a:pt x="17477" y="14791"/>
                  </a:cubicBezTo>
                  <a:cubicBezTo>
                    <a:pt x="22996" y="9272"/>
                    <a:pt x="29435" y="4903"/>
                    <a:pt x="36449" y="1913"/>
                  </a:cubicBezTo>
                  <a:lnTo>
                    <a:pt x="4577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5" name="Forme libre : forme 494">
              <a:extLst>
                <a:ext uri="{FF2B5EF4-FFF2-40B4-BE49-F238E27FC236}">
                  <a16:creationId xmlns:a16="http://schemas.microsoft.com/office/drawing/2014/main" id="{BB8A2107-7C61-4B85-8EFA-ABA59720E5DB}"/>
                </a:ext>
              </a:extLst>
            </p:cNvPr>
            <p:cNvSpPr/>
            <p:nvPr/>
          </p:nvSpPr>
          <p:spPr>
            <a:xfrm rot="8716295">
              <a:off x="592036" y="5123131"/>
              <a:ext cx="56900" cy="40151"/>
            </a:xfrm>
            <a:custGeom>
              <a:avLst/>
              <a:gdLst>
                <a:gd name="connsiteX0" fmla="*/ 13826 w 56900"/>
                <a:gd name="connsiteY0" fmla="*/ 23593 h 40151"/>
                <a:gd name="connsiteX1" fmla="*/ 948 w 56900"/>
                <a:gd name="connsiteY1" fmla="*/ 4622 h 40151"/>
                <a:gd name="connsiteX2" fmla="*/ 0 w 56900"/>
                <a:gd name="connsiteY2" fmla="*/ 0 h 40151"/>
                <a:gd name="connsiteX3" fmla="*/ 56900 w 56900"/>
                <a:gd name="connsiteY3" fmla="*/ 39441 h 40151"/>
                <a:gd name="connsiteX4" fmla="*/ 55218 w 56900"/>
                <a:gd name="connsiteY4" fmla="*/ 40151 h 40151"/>
                <a:gd name="connsiteX5" fmla="*/ 13826 w 56900"/>
                <a:gd name="connsiteY5" fmla="*/ 23593 h 40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900" h="40151">
                  <a:moveTo>
                    <a:pt x="13826" y="23593"/>
                  </a:moveTo>
                  <a:cubicBezTo>
                    <a:pt x="8307" y="18074"/>
                    <a:pt x="3938" y="11636"/>
                    <a:pt x="948" y="4622"/>
                  </a:cubicBezTo>
                  <a:lnTo>
                    <a:pt x="0" y="0"/>
                  </a:lnTo>
                  <a:lnTo>
                    <a:pt x="56900" y="39441"/>
                  </a:lnTo>
                  <a:lnTo>
                    <a:pt x="55218" y="40151"/>
                  </a:lnTo>
                  <a:cubicBezTo>
                    <a:pt x="39581" y="40151"/>
                    <a:pt x="24864" y="34631"/>
                    <a:pt x="13826" y="2359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6" name="Forme libre : forme 495">
              <a:extLst>
                <a:ext uri="{FF2B5EF4-FFF2-40B4-BE49-F238E27FC236}">
                  <a16:creationId xmlns:a16="http://schemas.microsoft.com/office/drawing/2014/main" id="{7E303E9D-76C1-4789-8C9D-5012551E179C}"/>
                </a:ext>
              </a:extLst>
            </p:cNvPr>
            <p:cNvSpPr/>
            <p:nvPr/>
          </p:nvSpPr>
          <p:spPr>
            <a:xfrm rot="8716295">
              <a:off x="-21324" y="4100649"/>
              <a:ext cx="79113" cy="50123"/>
            </a:xfrm>
            <a:custGeom>
              <a:avLst/>
              <a:gdLst>
                <a:gd name="connsiteX0" fmla="*/ 0 w 79113"/>
                <a:gd name="connsiteY0" fmla="*/ 50123 h 50123"/>
                <a:gd name="connsiteX1" fmla="*/ 0 w 79113"/>
                <a:gd name="connsiteY1" fmla="*/ 0 h 50123"/>
                <a:gd name="connsiteX2" fmla="*/ 79113 w 79113"/>
                <a:gd name="connsiteY2" fmla="*/ 0 h 50123"/>
                <a:gd name="connsiteX3" fmla="*/ 44369 w 79113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113" h="50123">
                  <a:moveTo>
                    <a:pt x="0" y="50123"/>
                  </a:moveTo>
                  <a:lnTo>
                    <a:pt x="0" y="0"/>
                  </a:lnTo>
                  <a:lnTo>
                    <a:pt x="79113" y="0"/>
                  </a:lnTo>
                  <a:lnTo>
                    <a:pt x="44369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7" name="Forme libre : forme 496">
              <a:extLst>
                <a:ext uri="{FF2B5EF4-FFF2-40B4-BE49-F238E27FC236}">
                  <a16:creationId xmlns:a16="http://schemas.microsoft.com/office/drawing/2014/main" id="{02FDD4B8-F673-41A9-915D-2FF1DD6CBE6F}"/>
                </a:ext>
              </a:extLst>
            </p:cNvPr>
            <p:cNvSpPr/>
            <p:nvPr/>
          </p:nvSpPr>
          <p:spPr>
            <a:xfrm rot="8716295">
              <a:off x="-40457" y="398156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8" name="Forme libre : forme 497">
              <a:extLst>
                <a:ext uri="{FF2B5EF4-FFF2-40B4-BE49-F238E27FC236}">
                  <a16:creationId xmlns:a16="http://schemas.microsoft.com/office/drawing/2014/main" id="{DBB3B685-0513-450E-A467-E28F77542517}"/>
                </a:ext>
              </a:extLst>
            </p:cNvPr>
            <p:cNvSpPr/>
            <p:nvPr/>
          </p:nvSpPr>
          <p:spPr>
            <a:xfrm rot="7484129">
              <a:off x="-46974" y="427316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9" name="Forme libre : forme 498">
              <a:extLst>
                <a:ext uri="{FF2B5EF4-FFF2-40B4-BE49-F238E27FC236}">
                  <a16:creationId xmlns:a16="http://schemas.microsoft.com/office/drawing/2014/main" id="{C5419776-A8A1-4E3C-9093-D945DA9FAC68}"/>
                </a:ext>
              </a:extLst>
            </p:cNvPr>
            <p:cNvSpPr/>
            <p:nvPr/>
          </p:nvSpPr>
          <p:spPr>
            <a:xfrm rot="13089394">
              <a:off x="57846" y="423970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0" name="Forme libre : forme 499">
              <a:extLst>
                <a:ext uri="{FF2B5EF4-FFF2-40B4-BE49-F238E27FC236}">
                  <a16:creationId xmlns:a16="http://schemas.microsoft.com/office/drawing/2014/main" id="{F97D67FD-E4E6-48C4-AEFE-555D34A356DE}"/>
                </a:ext>
              </a:extLst>
            </p:cNvPr>
            <p:cNvSpPr/>
            <p:nvPr/>
          </p:nvSpPr>
          <p:spPr>
            <a:xfrm rot="8716295">
              <a:off x="243431" y="404801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1" name="Forme libre : forme 500">
              <a:extLst>
                <a:ext uri="{FF2B5EF4-FFF2-40B4-BE49-F238E27FC236}">
                  <a16:creationId xmlns:a16="http://schemas.microsoft.com/office/drawing/2014/main" id="{BCE94871-8BA1-45A9-8930-C2F42EF9B5F3}"/>
                </a:ext>
              </a:extLst>
            </p:cNvPr>
            <p:cNvSpPr/>
            <p:nvPr/>
          </p:nvSpPr>
          <p:spPr>
            <a:xfrm rot="8716295">
              <a:off x="191626" y="39444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2" name="Forme libre : forme 501">
              <a:extLst>
                <a:ext uri="{FF2B5EF4-FFF2-40B4-BE49-F238E27FC236}">
                  <a16:creationId xmlns:a16="http://schemas.microsoft.com/office/drawing/2014/main" id="{04CBAE1D-449E-47DE-9709-A831A36DA439}"/>
                </a:ext>
              </a:extLst>
            </p:cNvPr>
            <p:cNvSpPr/>
            <p:nvPr/>
          </p:nvSpPr>
          <p:spPr>
            <a:xfrm rot="8716295">
              <a:off x="125832" y="381540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3" name="Forme libre : forme 502">
              <a:extLst>
                <a:ext uri="{FF2B5EF4-FFF2-40B4-BE49-F238E27FC236}">
                  <a16:creationId xmlns:a16="http://schemas.microsoft.com/office/drawing/2014/main" id="{2F83938F-B075-4593-8D11-BBF0A979A7C6}"/>
                </a:ext>
              </a:extLst>
            </p:cNvPr>
            <p:cNvSpPr/>
            <p:nvPr/>
          </p:nvSpPr>
          <p:spPr>
            <a:xfrm rot="8716295">
              <a:off x="-73048" y="4876828"/>
              <a:ext cx="221382" cy="253349"/>
            </a:xfrm>
            <a:custGeom>
              <a:avLst/>
              <a:gdLst>
                <a:gd name="connsiteX0" fmla="*/ 51490 w 221382"/>
                <a:gd name="connsiteY0" fmla="*/ 253349 h 253349"/>
                <a:gd name="connsiteX1" fmla="*/ 51490 w 221382"/>
                <a:gd name="connsiteY1" fmla="*/ 44199 h 253349"/>
                <a:gd name="connsiteX2" fmla="*/ 0 w 221382"/>
                <a:gd name="connsiteY2" fmla="*/ 44199 h 253349"/>
                <a:gd name="connsiteX3" fmla="*/ 0 w 221382"/>
                <a:gd name="connsiteY3" fmla="*/ 0 h 253349"/>
                <a:gd name="connsiteX4" fmla="*/ 104803 w 221382"/>
                <a:gd name="connsiteY4" fmla="*/ 0 h 253349"/>
                <a:gd name="connsiteX5" fmla="*/ 104802 w 221382"/>
                <a:gd name="connsiteY5" fmla="*/ 73817 h 253349"/>
                <a:gd name="connsiteX6" fmla="*/ 106169 w 221382"/>
                <a:gd name="connsiteY6" fmla="*/ 73817 h 253349"/>
                <a:gd name="connsiteX7" fmla="*/ 154014 w 221382"/>
                <a:gd name="connsiteY7" fmla="*/ 4556 h 253349"/>
                <a:gd name="connsiteX8" fmla="*/ 174650 w 221382"/>
                <a:gd name="connsiteY8" fmla="*/ 668 h 253349"/>
                <a:gd name="connsiteX9" fmla="*/ 214075 w 221382"/>
                <a:gd name="connsiteY9" fmla="*/ 27996 h 253349"/>
                <a:gd name="connsiteX10" fmla="*/ 221382 w 221382"/>
                <a:gd name="connsiteY10" fmla="*/ 33060 h 253349"/>
                <a:gd name="connsiteX11" fmla="*/ 195540 w 221382"/>
                <a:gd name="connsiteY11" fmla="*/ 70341 h 253349"/>
                <a:gd name="connsiteX12" fmla="*/ 189157 w 221382"/>
                <a:gd name="connsiteY12" fmla="*/ 50236 h 253349"/>
                <a:gd name="connsiteX13" fmla="*/ 164950 w 221382"/>
                <a:gd name="connsiteY13" fmla="*/ 38731 h 253349"/>
                <a:gd name="connsiteX14" fmla="*/ 111638 w 221382"/>
                <a:gd name="connsiteY14" fmla="*/ 126218 h 253349"/>
                <a:gd name="connsiteX15" fmla="*/ 111638 w 221382"/>
                <a:gd name="connsiteY15" fmla="*/ 191383 h 253349"/>
                <a:gd name="connsiteX16" fmla="*/ 84096 w 221382"/>
                <a:gd name="connsiteY16" fmla="*/ 231117 h 253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1382" h="253349">
                  <a:moveTo>
                    <a:pt x="51490" y="253349"/>
                  </a:moveTo>
                  <a:lnTo>
                    <a:pt x="51490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104803" y="0"/>
                  </a:lnTo>
                  <a:lnTo>
                    <a:pt x="104802" y="73817"/>
                  </a:lnTo>
                  <a:lnTo>
                    <a:pt x="106169" y="73817"/>
                  </a:lnTo>
                  <a:cubicBezTo>
                    <a:pt x="120751" y="30529"/>
                    <a:pt x="132142" y="13670"/>
                    <a:pt x="154014" y="4556"/>
                  </a:cubicBezTo>
                  <a:lnTo>
                    <a:pt x="174650" y="668"/>
                  </a:lnTo>
                  <a:lnTo>
                    <a:pt x="214075" y="27996"/>
                  </a:lnTo>
                  <a:lnTo>
                    <a:pt x="221382" y="33060"/>
                  </a:lnTo>
                  <a:lnTo>
                    <a:pt x="195540" y="70341"/>
                  </a:lnTo>
                  <a:lnTo>
                    <a:pt x="189157" y="50236"/>
                  </a:lnTo>
                  <a:cubicBezTo>
                    <a:pt x="183177" y="42946"/>
                    <a:pt x="174747" y="38731"/>
                    <a:pt x="164950" y="38731"/>
                  </a:cubicBezTo>
                  <a:cubicBezTo>
                    <a:pt x="135788" y="38731"/>
                    <a:pt x="111638" y="77463"/>
                    <a:pt x="111638" y="126218"/>
                  </a:cubicBezTo>
                  <a:lnTo>
                    <a:pt x="111638" y="191383"/>
                  </a:lnTo>
                  <a:lnTo>
                    <a:pt x="84096" y="2311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4" name="Forme libre : forme 503">
              <a:extLst>
                <a:ext uri="{FF2B5EF4-FFF2-40B4-BE49-F238E27FC236}">
                  <a16:creationId xmlns:a16="http://schemas.microsoft.com/office/drawing/2014/main" id="{BCB8F26A-8D9E-4DAA-BBEC-C72C4F89205F}"/>
                </a:ext>
              </a:extLst>
            </p:cNvPr>
            <p:cNvSpPr/>
            <p:nvPr/>
          </p:nvSpPr>
          <p:spPr>
            <a:xfrm rot="8716295">
              <a:off x="93318" y="46120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5" name="Forme libre : forme 504">
              <a:extLst>
                <a:ext uri="{FF2B5EF4-FFF2-40B4-BE49-F238E27FC236}">
                  <a16:creationId xmlns:a16="http://schemas.microsoft.com/office/drawing/2014/main" id="{81732388-5ACB-454A-B491-3EF6429CC57C}"/>
                </a:ext>
              </a:extLst>
            </p:cNvPr>
            <p:cNvSpPr/>
            <p:nvPr/>
          </p:nvSpPr>
          <p:spPr>
            <a:xfrm rot="8716295">
              <a:off x="182710" y="46412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6" name="Forme libre : forme 505">
              <a:extLst>
                <a:ext uri="{FF2B5EF4-FFF2-40B4-BE49-F238E27FC236}">
                  <a16:creationId xmlns:a16="http://schemas.microsoft.com/office/drawing/2014/main" id="{7C87F3BF-43A4-45FA-839A-23BBD5B5D4BE}"/>
                </a:ext>
              </a:extLst>
            </p:cNvPr>
            <p:cNvSpPr/>
            <p:nvPr/>
          </p:nvSpPr>
          <p:spPr>
            <a:xfrm rot="8716295">
              <a:off x="-14524" y="4699631"/>
              <a:ext cx="49997" cy="54238"/>
            </a:xfrm>
            <a:custGeom>
              <a:avLst/>
              <a:gdLst>
                <a:gd name="connsiteX0" fmla="*/ 8658 w 49997"/>
                <a:gd name="connsiteY0" fmla="*/ 50123 h 54238"/>
                <a:gd name="connsiteX1" fmla="*/ 0 w 49997"/>
                <a:gd name="connsiteY1" fmla="*/ 29619 h 54238"/>
                <a:gd name="connsiteX2" fmla="*/ 0 w 49997"/>
                <a:gd name="connsiteY2" fmla="*/ 29162 h 54238"/>
                <a:gd name="connsiteX3" fmla="*/ 8658 w 49997"/>
                <a:gd name="connsiteY3" fmla="*/ 8658 h 54238"/>
                <a:gd name="connsiteX4" fmla="*/ 29163 w 49997"/>
                <a:gd name="connsiteY4" fmla="*/ 0 h 54238"/>
                <a:gd name="connsiteX5" fmla="*/ 49668 w 49997"/>
                <a:gd name="connsiteY5" fmla="*/ 8658 h 54238"/>
                <a:gd name="connsiteX6" fmla="*/ 49997 w 49997"/>
                <a:gd name="connsiteY6" fmla="*/ 9441 h 54238"/>
                <a:gd name="connsiteX7" fmla="*/ 18945 w 49997"/>
                <a:gd name="connsiteY7" fmla="*/ 54238 h 54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997" h="54238">
                  <a:moveTo>
                    <a:pt x="8658" y="50123"/>
                  </a:moveTo>
                  <a:cubicBezTo>
                    <a:pt x="3190" y="44655"/>
                    <a:pt x="0" y="37365"/>
                    <a:pt x="0" y="29619"/>
                  </a:cubicBezTo>
                  <a:lnTo>
                    <a:pt x="0" y="29162"/>
                  </a:lnTo>
                  <a:cubicBezTo>
                    <a:pt x="0" y="21417"/>
                    <a:pt x="3190" y="14126"/>
                    <a:pt x="8658" y="8658"/>
                  </a:cubicBezTo>
                  <a:cubicBezTo>
                    <a:pt x="14126" y="3190"/>
                    <a:pt x="21416" y="0"/>
                    <a:pt x="29163" y="0"/>
                  </a:cubicBezTo>
                  <a:cubicBezTo>
                    <a:pt x="36909" y="0"/>
                    <a:pt x="44200" y="3190"/>
                    <a:pt x="49668" y="8658"/>
                  </a:cubicBezTo>
                  <a:lnTo>
                    <a:pt x="49997" y="9441"/>
                  </a:lnTo>
                  <a:lnTo>
                    <a:pt x="18945" y="54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7" name="Forme libre : forme 506">
              <a:extLst>
                <a:ext uri="{FF2B5EF4-FFF2-40B4-BE49-F238E27FC236}">
                  <a16:creationId xmlns:a16="http://schemas.microsoft.com/office/drawing/2014/main" id="{462FB9FF-D95F-4684-BB21-FBBABD5DD31F}"/>
                </a:ext>
              </a:extLst>
            </p:cNvPr>
            <p:cNvSpPr/>
            <p:nvPr/>
          </p:nvSpPr>
          <p:spPr>
            <a:xfrm rot="8716295">
              <a:off x="-30327" y="4579755"/>
              <a:ext cx="113346" cy="71024"/>
            </a:xfrm>
            <a:custGeom>
              <a:avLst/>
              <a:gdLst>
                <a:gd name="connsiteX0" fmla="*/ 0 w 113346"/>
                <a:gd name="connsiteY0" fmla="*/ 55323 h 71024"/>
                <a:gd name="connsiteX1" fmla="*/ 0 w 113346"/>
                <a:gd name="connsiteY1" fmla="*/ 0 h 71024"/>
                <a:gd name="connsiteX2" fmla="*/ 113346 w 113346"/>
                <a:gd name="connsiteY2" fmla="*/ 0 h 71024"/>
                <a:gd name="connsiteX3" fmla="*/ 64114 w 113346"/>
                <a:gd name="connsiteY3" fmla="*/ 71024 h 71024"/>
                <a:gd name="connsiteX4" fmla="*/ 69777 w 113346"/>
                <a:gd name="connsiteY4" fmla="*/ 55323 h 7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346" h="71024">
                  <a:moveTo>
                    <a:pt x="0" y="55323"/>
                  </a:moveTo>
                  <a:lnTo>
                    <a:pt x="0" y="0"/>
                  </a:lnTo>
                  <a:lnTo>
                    <a:pt x="113346" y="0"/>
                  </a:lnTo>
                  <a:lnTo>
                    <a:pt x="64114" y="71024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8" name="Forme libre : forme 507">
              <a:extLst>
                <a:ext uri="{FF2B5EF4-FFF2-40B4-BE49-F238E27FC236}">
                  <a16:creationId xmlns:a16="http://schemas.microsoft.com/office/drawing/2014/main" id="{67567764-034B-4A90-A05F-295129068706}"/>
                </a:ext>
              </a:extLst>
            </p:cNvPr>
            <p:cNvSpPr/>
            <p:nvPr/>
          </p:nvSpPr>
          <p:spPr>
            <a:xfrm rot="8716295">
              <a:off x="71262" y="47415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9" name="Forme libre : forme 508">
              <a:extLst>
                <a:ext uri="{FF2B5EF4-FFF2-40B4-BE49-F238E27FC236}">
                  <a16:creationId xmlns:a16="http://schemas.microsoft.com/office/drawing/2014/main" id="{0224BB71-E49A-401D-8E10-A43693404F59}"/>
                </a:ext>
              </a:extLst>
            </p:cNvPr>
            <p:cNvSpPr/>
            <p:nvPr/>
          </p:nvSpPr>
          <p:spPr>
            <a:xfrm rot="7484129">
              <a:off x="172059" y="493353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170341 w 203847"/>
                <a:gd name="connsiteY5" fmla="*/ 0 h 195874"/>
                <a:gd name="connsiteX6" fmla="*/ 203847 w 203847"/>
                <a:gd name="connsiteY6" fmla="*/ 48325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170341" y="0"/>
                  </a:lnTo>
                  <a:lnTo>
                    <a:pt x="203847" y="48325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0" name="Forme libre : forme 509">
              <a:extLst>
                <a:ext uri="{FF2B5EF4-FFF2-40B4-BE49-F238E27FC236}">
                  <a16:creationId xmlns:a16="http://schemas.microsoft.com/office/drawing/2014/main" id="{02C7DC92-22CE-4278-8FF3-A3AB1608AA63}"/>
                </a:ext>
              </a:extLst>
            </p:cNvPr>
            <p:cNvSpPr/>
            <p:nvPr/>
          </p:nvSpPr>
          <p:spPr>
            <a:xfrm rot="13089394">
              <a:off x="313263" y="4907079"/>
              <a:ext cx="272584" cy="221720"/>
            </a:xfrm>
            <a:custGeom>
              <a:avLst/>
              <a:gdLst>
                <a:gd name="connsiteX0" fmla="*/ 272584 w 272584"/>
                <a:gd name="connsiteY0" fmla="*/ 150928 h 221720"/>
                <a:gd name="connsiteX1" fmla="*/ 91597 w 272584"/>
                <a:gd name="connsiteY1" fmla="*/ 221557 h 221720"/>
                <a:gd name="connsiteX2" fmla="*/ 23727 w 272584"/>
                <a:gd name="connsiteY2" fmla="*/ 193967 h 221720"/>
                <a:gd name="connsiteX3" fmla="*/ 0 w 272584"/>
                <a:gd name="connsiteY3" fmla="*/ 99060 h 221720"/>
                <a:gd name="connsiteX4" fmla="*/ 0 w 272584"/>
                <a:gd name="connsiteY4" fmla="*/ 58265 h 221720"/>
                <a:gd name="connsiteX5" fmla="*/ 74157 w 272584"/>
                <a:gd name="connsiteY5" fmla="*/ 0 h 221720"/>
                <a:gd name="connsiteX6" fmla="*/ 74492 w 272584"/>
                <a:gd name="connsiteY6" fmla="*/ 46640 h 221720"/>
                <a:gd name="connsiteX7" fmla="*/ 87734 w 272584"/>
                <a:gd name="connsiteY7" fmla="*/ 138237 h 221720"/>
                <a:gd name="connsiteX8" fmla="*/ 153949 w 272584"/>
                <a:gd name="connsiteY8" fmla="*/ 174655 h 221720"/>
                <a:gd name="connsiteX9" fmla="*/ 203610 w 272584"/>
                <a:gd name="connsiteY9" fmla="*/ 165826 h 221720"/>
                <a:gd name="connsiteX10" fmla="*/ 271480 w 272584"/>
                <a:gd name="connsiteY10" fmla="*/ 138237 h 221720"/>
                <a:gd name="connsiteX11" fmla="*/ 272584 w 272584"/>
                <a:gd name="connsiteY11" fmla="*/ 145410 h 22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2584" h="221720">
                  <a:moveTo>
                    <a:pt x="272584" y="150928"/>
                  </a:moveTo>
                  <a:cubicBezTo>
                    <a:pt x="214094" y="201141"/>
                    <a:pt x="137395" y="218798"/>
                    <a:pt x="91597" y="221557"/>
                  </a:cubicBezTo>
                  <a:cubicBezTo>
                    <a:pt x="66215" y="223213"/>
                    <a:pt x="41384" y="212177"/>
                    <a:pt x="23727" y="193967"/>
                  </a:cubicBezTo>
                  <a:cubicBezTo>
                    <a:pt x="4966" y="175759"/>
                    <a:pt x="0" y="144306"/>
                    <a:pt x="0" y="99060"/>
                  </a:cubicBezTo>
                  <a:lnTo>
                    <a:pt x="0" y="58265"/>
                  </a:lnTo>
                  <a:lnTo>
                    <a:pt x="74157" y="0"/>
                  </a:lnTo>
                  <a:lnTo>
                    <a:pt x="74492" y="46640"/>
                  </a:lnTo>
                  <a:cubicBezTo>
                    <a:pt x="72836" y="77540"/>
                    <a:pt x="77802" y="108992"/>
                    <a:pt x="87734" y="138237"/>
                  </a:cubicBezTo>
                  <a:cubicBezTo>
                    <a:pt x="96563" y="162515"/>
                    <a:pt x="119186" y="174655"/>
                    <a:pt x="153949" y="174655"/>
                  </a:cubicBezTo>
                  <a:cubicBezTo>
                    <a:pt x="171055" y="174103"/>
                    <a:pt x="187608" y="170792"/>
                    <a:pt x="203610" y="165826"/>
                  </a:cubicBezTo>
                  <a:cubicBezTo>
                    <a:pt x="226785" y="158653"/>
                    <a:pt x="249409" y="149273"/>
                    <a:pt x="271480" y="138237"/>
                  </a:cubicBezTo>
                  <a:cubicBezTo>
                    <a:pt x="272032" y="140444"/>
                    <a:pt x="272584" y="143203"/>
                    <a:pt x="272584" y="1454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1" name="Forme libre : forme 510">
              <a:extLst>
                <a:ext uri="{FF2B5EF4-FFF2-40B4-BE49-F238E27FC236}">
                  <a16:creationId xmlns:a16="http://schemas.microsoft.com/office/drawing/2014/main" id="{2684AFDD-CDE2-41B8-A59C-E03D9F5FB899}"/>
                </a:ext>
              </a:extLst>
            </p:cNvPr>
            <p:cNvSpPr/>
            <p:nvPr/>
          </p:nvSpPr>
          <p:spPr>
            <a:xfrm rot="8716295">
              <a:off x="466598" y="470771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2" name="Forme libre : forme 511">
              <a:extLst>
                <a:ext uri="{FF2B5EF4-FFF2-40B4-BE49-F238E27FC236}">
                  <a16:creationId xmlns:a16="http://schemas.microsoft.com/office/drawing/2014/main" id="{874191D1-5A8A-4106-89BC-E4DE3F05FDFC}"/>
                </a:ext>
              </a:extLst>
            </p:cNvPr>
            <p:cNvSpPr/>
            <p:nvPr/>
          </p:nvSpPr>
          <p:spPr>
            <a:xfrm rot="8716295">
              <a:off x="414793" y="460412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3" name="Forme libre : forme 512">
              <a:extLst>
                <a:ext uri="{FF2B5EF4-FFF2-40B4-BE49-F238E27FC236}">
                  <a16:creationId xmlns:a16="http://schemas.microsoft.com/office/drawing/2014/main" id="{8D49479A-E710-4758-BEAF-44161F8FF530}"/>
                </a:ext>
              </a:extLst>
            </p:cNvPr>
            <p:cNvSpPr/>
            <p:nvPr/>
          </p:nvSpPr>
          <p:spPr>
            <a:xfrm rot="8716295">
              <a:off x="171547" y="46343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4" name="Forme libre : forme 513">
              <a:extLst>
                <a:ext uri="{FF2B5EF4-FFF2-40B4-BE49-F238E27FC236}">
                  <a16:creationId xmlns:a16="http://schemas.microsoft.com/office/drawing/2014/main" id="{0D3E5977-ABDE-469A-8B37-82662D2EE7DA}"/>
                </a:ext>
              </a:extLst>
            </p:cNvPr>
            <p:cNvSpPr/>
            <p:nvPr/>
          </p:nvSpPr>
          <p:spPr>
            <a:xfrm rot="8716295">
              <a:off x="348999" y="44751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528" name="Espace réservé du texte 527">
            <a:extLst>
              <a:ext uri="{FF2B5EF4-FFF2-40B4-BE49-F238E27FC236}">
                <a16:creationId xmlns:a16="http://schemas.microsoft.com/office/drawing/2014/main" id="{6A8E0876-8CB4-4156-A0C1-0BC7361D1C40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429470" y="3802408"/>
            <a:ext cx="108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29" name="Espace réservé du texte 528">
            <a:extLst>
              <a:ext uri="{FF2B5EF4-FFF2-40B4-BE49-F238E27FC236}">
                <a16:creationId xmlns:a16="http://schemas.microsoft.com/office/drawing/2014/main" id="{20C5F896-3CE3-44F8-B5B2-F667F9101641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1512561" y="3802408"/>
            <a:ext cx="108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rgbClr val="3A1B0B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31" name="Espace réservé du texte 530">
            <a:extLst>
              <a:ext uri="{FF2B5EF4-FFF2-40B4-BE49-F238E27FC236}">
                <a16:creationId xmlns:a16="http://schemas.microsoft.com/office/drawing/2014/main" id="{70ADA97F-36B2-42A5-9506-18C5EA9C6E0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3993" y="482179"/>
            <a:ext cx="2495932" cy="302805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24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3pPr>
            <a:lvl4pPr marL="0" indent="0">
              <a:buNone/>
              <a:defRPr sz="1000">
                <a:solidFill>
                  <a:schemeClr val="bg1"/>
                </a:solidFill>
              </a:defRPr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Niveau 2</a:t>
            </a:r>
          </a:p>
          <a:p>
            <a:pPr lvl="2"/>
            <a:r>
              <a:rPr lang="fr-FR" dirty="0"/>
              <a:t>Niveau 3</a:t>
            </a:r>
          </a:p>
          <a:p>
            <a:pPr lvl="3"/>
            <a:r>
              <a:rPr lang="fr-FR" dirty="0"/>
              <a:t>Niveau 4</a:t>
            </a:r>
          </a:p>
        </p:txBody>
      </p:sp>
      <p:sp>
        <p:nvSpPr>
          <p:cNvPr id="534" name="Espace réservé du texte 533">
            <a:extLst>
              <a:ext uri="{FF2B5EF4-FFF2-40B4-BE49-F238E27FC236}">
                <a16:creationId xmlns:a16="http://schemas.microsoft.com/office/drawing/2014/main" id="{6A4C2977-D550-4471-9F3E-815F6F49158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11668" y="507082"/>
            <a:ext cx="5068800" cy="4129200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300"/>
              </a:spcBef>
              <a:spcAft>
                <a:spcPts val="1000"/>
              </a:spcAft>
              <a:buNone/>
              <a:defRPr sz="1400">
                <a:solidFill>
                  <a:schemeClr val="tx1"/>
                </a:solidFill>
              </a:defRPr>
            </a:lvl2pPr>
            <a:lvl3pPr marL="270000" indent="-270000" algn="l" defTabSz="457200" rtl="0" eaLnBrk="1" latinLnBrk="0" hangingPunct="1">
              <a:spcBef>
                <a:spcPts val="400"/>
              </a:spcBef>
              <a:spcAft>
                <a:spcPts val="1000"/>
              </a:spcAft>
              <a:buSzPct val="100000"/>
              <a:buFontTx/>
              <a:buBlip>
                <a:blip r:embed="rId2"/>
              </a:buBlip>
              <a:defRPr lang="fr-FR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0000" indent="-269875">
              <a:spcBef>
                <a:spcPts val="400"/>
              </a:spcBef>
              <a:spcAft>
                <a:spcPts val="1000"/>
              </a:spcAft>
              <a:buFontTx/>
              <a:buBlip>
                <a:blip r:embed="rId3"/>
              </a:buBlip>
              <a:defRPr sz="1400" b="1">
                <a:solidFill>
                  <a:schemeClr val="tx1"/>
                </a:solidFill>
              </a:defRPr>
            </a:lvl4pPr>
            <a:lvl5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4"/>
              </a:buBlip>
              <a:defRPr sz="1400" b="1">
                <a:solidFill>
                  <a:schemeClr val="tx1"/>
                </a:solidFill>
              </a:defRPr>
            </a:lvl5pPr>
            <a:lvl6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5"/>
              </a:buBlip>
              <a:defRPr sz="1400" b="1">
                <a:solidFill>
                  <a:schemeClr val="tx1"/>
                </a:solidFill>
              </a:defRPr>
            </a:lvl6pPr>
            <a:lvl7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6"/>
              </a:buBlip>
              <a:defRPr sz="1400" b="1">
                <a:solidFill>
                  <a:schemeClr val="tx1"/>
                </a:solidFill>
              </a:defRPr>
            </a:lvl7pPr>
            <a:lvl8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7"/>
              </a:buBlip>
              <a:defRPr sz="1400" b="1">
                <a:solidFill>
                  <a:schemeClr val="tx1"/>
                </a:solidFill>
              </a:defRPr>
            </a:lvl8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Puce bleu</a:t>
            </a:r>
          </a:p>
          <a:p>
            <a:pPr lvl="3"/>
            <a:r>
              <a:rPr lang="fr-FR" dirty="0"/>
              <a:t>Puce orange</a:t>
            </a:r>
          </a:p>
          <a:p>
            <a:pPr lvl="4"/>
            <a:r>
              <a:rPr lang="fr-FR" dirty="0"/>
              <a:t>Puce rouge</a:t>
            </a:r>
          </a:p>
          <a:p>
            <a:pPr lvl="5"/>
            <a:r>
              <a:rPr lang="fr-FR" dirty="0"/>
              <a:t>Puce vert d’eau</a:t>
            </a:r>
          </a:p>
          <a:p>
            <a:pPr lvl="6"/>
            <a:r>
              <a:rPr lang="fr-FR" dirty="0"/>
              <a:t>Puce verte</a:t>
            </a:r>
          </a:p>
          <a:p>
            <a:pPr lvl="7"/>
            <a:r>
              <a:rPr lang="fr-FR" dirty="0"/>
              <a:t>Puce violette</a:t>
            </a:r>
          </a:p>
        </p:txBody>
      </p:sp>
    </p:spTree>
    <p:extLst>
      <p:ext uri="{BB962C8B-B14F-4D97-AF65-F5344CB8AC3E}">
        <p14:creationId xmlns:p14="http://schemas.microsoft.com/office/powerpoint/2010/main" val="341527650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ayures / Texte + Conten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8" name="Graphique 517">
            <a:extLst>
              <a:ext uri="{FF2B5EF4-FFF2-40B4-BE49-F238E27FC236}">
                <a16:creationId xmlns:a16="http://schemas.microsoft.com/office/drawing/2014/main" id="{9DDE0F79-02B4-4C9D-B3C3-ADF18F103B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3416312" cy="5143500"/>
          </a:xfrm>
          <a:prstGeom prst="rect">
            <a:avLst/>
          </a:prstGeom>
        </p:spPr>
      </p:pic>
      <p:sp>
        <p:nvSpPr>
          <p:cNvPr id="523" name="Forme libre : forme 522">
            <a:extLst>
              <a:ext uri="{FF2B5EF4-FFF2-40B4-BE49-F238E27FC236}">
                <a16:creationId xmlns:a16="http://schemas.microsoft.com/office/drawing/2014/main" id="{C7F1D93A-4718-405C-AAEF-810045870EFB}"/>
              </a:ext>
            </a:extLst>
          </p:cNvPr>
          <p:cNvSpPr/>
          <p:nvPr userDrawn="1"/>
        </p:nvSpPr>
        <p:spPr>
          <a:xfrm>
            <a:off x="0" y="-1"/>
            <a:ext cx="9144000" cy="5143501"/>
          </a:xfrm>
          <a:custGeom>
            <a:avLst/>
            <a:gdLst>
              <a:gd name="connsiteX0" fmla="*/ 0 w 9144000"/>
              <a:gd name="connsiteY0" fmla="*/ 0 h 5143501"/>
              <a:gd name="connsiteX1" fmla="*/ 9144000 w 9144000"/>
              <a:gd name="connsiteY1" fmla="*/ 0 h 5143501"/>
              <a:gd name="connsiteX2" fmla="*/ 9144000 w 9144000"/>
              <a:gd name="connsiteY2" fmla="*/ 5143501 h 5143501"/>
              <a:gd name="connsiteX3" fmla="*/ 3567702 w 9144000"/>
              <a:gd name="connsiteY3" fmla="*/ 5143501 h 5143501"/>
              <a:gd name="connsiteX4" fmla="*/ 3246551 w 9144000"/>
              <a:gd name="connsiteY4" fmla="*/ 2811363 h 5143501"/>
              <a:gd name="connsiteX5" fmla="*/ 3485902 w 9144000"/>
              <a:gd name="connsiteY5" fmla="*/ 1 h 5143501"/>
              <a:gd name="connsiteX6" fmla="*/ 3048000 w 9144000"/>
              <a:gd name="connsiteY6" fmla="*/ 1 h 5143501"/>
              <a:gd name="connsiteX7" fmla="*/ 2859408 w 9144000"/>
              <a:gd name="connsiteY7" fmla="*/ 1 h 5143501"/>
              <a:gd name="connsiteX8" fmla="*/ 0 w 9144000"/>
              <a:gd name="connsiteY8" fmla="*/ 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4000" h="5143501">
                <a:moveTo>
                  <a:pt x="0" y="0"/>
                </a:moveTo>
                <a:lnTo>
                  <a:pt x="9144000" y="0"/>
                </a:lnTo>
                <a:lnTo>
                  <a:pt x="9144000" y="5143501"/>
                </a:lnTo>
                <a:lnTo>
                  <a:pt x="3567702" y="5143501"/>
                </a:lnTo>
                <a:lnTo>
                  <a:pt x="3246551" y="2811363"/>
                </a:lnTo>
                <a:lnTo>
                  <a:pt x="3485902" y="1"/>
                </a:lnTo>
                <a:lnTo>
                  <a:pt x="3048000" y="1"/>
                </a:lnTo>
                <a:lnTo>
                  <a:pt x="2859408" y="1"/>
                </a:lnTo>
                <a:lnTo>
                  <a:pt x="0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528" name="Espace réservé du texte 527">
            <a:extLst>
              <a:ext uri="{FF2B5EF4-FFF2-40B4-BE49-F238E27FC236}">
                <a16:creationId xmlns:a16="http://schemas.microsoft.com/office/drawing/2014/main" id="{6A8E0876-8CB4-4156-A0C1-0BC7361D1C40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429470" y="3802408"/>
            <a:ext cx="108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29" name="Espace réservé du texte 528">
            <a:extLst>
              <a:ext uri="{FF2B5EF4-FFF2-40B4-BE49-F238E27FC236}">
                <a16:creationId xmlns:a16="http://schemas.microsoft.com/office/drawing/2014/main" id="{20C5F896-3CE3-44F8-B5B2-F667F9101641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1512561" y="3802408"/>
            <a:ext cx="108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rgbClr val="3A1B0B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31" name="Espace réservé du texte 530">
            <a:extLst>
              <a:ext uri="{FF2B5EF4-FFF2-40B4-BE49-F238E27FC236}">
                <a16:creationId xmlns:a16="http://schemas.microsoft.com/office/drawing/2014/main" id="{70ADA97F-36B2-42A5-9506-18C5EA9C6E0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3993" y="482179"/>
            <a:ext cx="2495932" cy="302805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24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3pPr>
            <a:lvl4pPr marL="0" indent="0">
              <a:buNone/>
              <a:defRPr sz="1000">
                <a:solidFill>
                  <a:schemeClr val="bg1"/>
                </a:solidFill>
              </a:defRPr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Niveau 2</a:t>
            </a:r>
          </a:p>
          <a:p>
            <a:pPr lvl="2"/>
            <a:r>
              <a:rPr lang="fr-FR" dirty="0"/>
              <a:t>Niveau 3</a:t>
            </a:r>
          </a:p>
          <a:p>
            <a:pPr lvl="3"/>
            <a:r>
              <a:rPr lang="fr-FR" dirty="0"/>
              <a:t>Niveau 4</a:t>
            </a:r>
          </a:p>
        </p:txBody>
      </p:sp>
      <p:sp>
        <p:nvSpPr>
          <p:cNvPr id="534" name="Espace réservé du texte 533">
            <a:extLst>
              <a:ext uri="{FF2B5EF4-FFF2-40B4-BE49-F238E27FC236}">
                <a16:creationId xmlns:a16="http://schemas.microsoft.com/office/drawing/2014/main" id="{6A4C2977-D550-4471-9F3E-815F6F49158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11668" y="507082"/>
            <a:ext cx="5068800" cy="4129200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300"/>
              </a:spcBef>
              <a:spcAft>
                <a:spcPts val="1000"/>
              </a:spcAft>
              <a:buNone/>
              <a:defRPr sz="1400">
                <a:solidFill>
                  <a:schemeClr val="tx1"/>
                </a:solidFill>
              </a:defRPr>
            </a:lvl2pPr>
            <a:lvl3pPr marL="270000" indent="-270000" algn="l" defTabSz="457200" rtl="0" eaLnBrk="1" latinLnBrk="0" hangingPunct="1">
              <a:spcBef>
                <a:spcPts val="400"/>
              </a:spcBef>
              <a:spcAft>
                <a:spcPts val="1000"/>
              </a:spcAft>
              <a:buSzPct val="100000"/>
              <a:buFontTx/>
              <a:buBlip>
                <a:blip r:embed="rId4"/>
              </a:buBlip>
              <a:defRPr lang="fr-FR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0000" indent="-269875">
              <a:spcBef>
                <a:spcPts val="400"/>
              </a:spcBef>
              <a:spcAft>
                <a:spcPts val="1000"/>
              </a:spcAft>
              <a:buFontTx/>
              <a:buBlip>
                <a:blip r:embed="rId5"/>
              </a:buBlip>
              <a:defRPr sz="1400" b="1">
                <a:solidFill>
                  <a:schemeClr val="tx1"/>
                </a:solidFill>
              </a:defRPr>
            </a:lvl4pPr>
            <a:lvl5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6"/>
              </a:buBlip>
              <a:defRPr sz="1400" b="1">
                <a:solidFill>
                  <a:schemeClr val="tx1"/>
                </a:solidFill>
              </a:defRPr>
            </a:lvl5pPr>
            <a:lvl6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7"/>
              </a:buBlip>
              <a:defRPr sz="1400" b="1">
                <a:solidFill>
                  <a:schemeClr val="tx1"/>
                </a:solidFill>
              </a:defRPr>
            </a:lvl6pPr>
            <a:lvl7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8"/>
              </a:buBlip>
              <a:defRPr sz="1400" b="1">
                <a:solidFill>
                  <a:schemeClr val="tx1"/>
                </a:solidFill>
              </a:defRPr>
            </a:lvl7pPr>
            <a:lvl8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9"/>
              </a:buBlip>
              <a:defRPr sz="1400" b="1">
                <a:solidFill>
                  <a:schemeClr val="tx1"/>
                </a:solidFill>
              </a:defRPr>
            </a:lvl8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Puce bleu</a:t>
            </a:r>
          </a:p>
          <a:p>
            <a:pPr lvl="3"/>
            <a:r>
              <a:rPr lang="fr-FR" dirty="0"/>
              <a:t>Puce orange</a:t>
            </a:r>
          </a:p>
          <a:p>
            <a:pPr lvl="4"/>
            <a:r>
              <a:rPr lang="fr-FR" dirty="0"/>
              <a:t>Puce rouge</a:t>
            </a:r>
          </a:p>
          <a:p>
            <a:pPr lvl="5"/>
            <a:r>
              <a:rPr lang="fr-FR" dirty="0"/>
              <a:t>Puce vert d’eau</a:t>
            </a:r>
          </a:p>
          <a:p>
            <a:pPr lvl="6"/>
            <a:r>
              <a:rPr lang="fr-FR" dirty="0"/>
              <a:t>Puce verte</a:t>
            </a:r>
          </a:p>
          <a:p>
            <a:pPr lvl="7"/>
            <a:r>
              <a:rPr lang="fr-FR" dirty="0"/>
              <a:t>Puce violette</a:t>
            </a:r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14363415-6A88-4870-B059-FE46177801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48000" y="2811362"/>
            <a:ext cx="519702" cy="2332138"/>
          </a:xfrm>
          <a:custGeom>
            <a:avLst/>
            <a:gdLst>
              <a:gd name="connsiteX0" fmla="*/ 198551 w 519702"/>
              <a:gd name="connsiteY0" fmla="*/ 0 h 2332138"/>
              <a:gd name="connsiteX1" fmla="*/ 519702 w 519702"/>
              <a:gd name="connsiteY1" fmla="*/ 2332138 h 2332138"/>
              <a:gd name="connsiteX2" fmla="*/ 0 w 519702"/>
              <a:gd name="connsiteY2" fmla="*/ 2332138 h 2332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19702" h="2332138">
                <a:moveTo>
                  <a:pt x="198551" y="0"/>
                </a:moveTo>
                <a:lnTo>
                  <a:pt x="519702" y="2332138"/>
                </a:lnTo>
                <a:lnTo>
                  <a:pt x="0" y="233213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180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244032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filtre bleu + Titre + Contenu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5" name="Espace réservé pour une image  524">
            <a:extLst>
              <a:ext uri="{FF2B5EF4-FFF2-40B4-BE49-F238E27FC236}">
                <a16:creationId xmlns:a16="http://schemas.microsoft.com/office/drawing/2014/main" id="{98410260-974C-4913-B9B1-FBF4231643C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2"/>
            <a:ext cx="3567702" cy="5143499"/>
          </a:xfrm>
          <a:custGeom>
            <a:avLst/>
            <a:gdLst>
              <a:gd name="connsiteX0" fmla="*/ 0 w 3567702"/>
              <a:gd name="connsiteY0" fmla="*/ 0 h 5143499"/>
              <a:gd name="connsiteX1" fmla="*/ 2859408 w 3567702"/>
              <a:gd name="connsiteY1" fmla="*/ 0 h 5143499"/>
              <a:gd name="connsiteX2" fmla="*/ 3048000 w 3567702"/>
              <a:gd name="connsiteY2" fmla="*/ 0 h 5143499"/>
              <a:gd name="connsiteX3" fmla="*/ 3485902 w 3567702"/>
              <a:gd name="connsiteY3" fmla="*/ 0 h 5143499"/>
              <a:gd name="connsiteX4" fmla="*/ 3246551 w 3567702"/>
              <a:gd name="connsiteY4" fmla="*/ 2811361 h 5143499"/>
              <a:gd name="connsiteX5" fmla="*/ 3246551 w 3567702"/>
              <a:gd name="connsiteY5" fmla="*/ 2811360 h 5143499"/>
              <a:gd name="connsiteX6" fmla="*/ 3048000 w 3567702"/>
              <a:gd name="connsiteY6" fmla="*/ 5143498 h 5143499"/>
              <a:gd name="connsiteX7" fmla="*/ 3567702 w 3567702"/>
              <a:gd name="connsiteY7" fmla="*/ 5143498 h 5143499"/>
              <a:gd name="connsiteX8" fmla="*/ 3567702 w 3567702"/>
              <a:gd name="connsiteY8" fmla="*/ 5143499 h 5143499"/>
              <a:gd name="connsiteX9" fmla="*/ 0 w 3567702"/>
              <a:gd name="connsiteY9" fmla="*/ 5143499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67702" h="5143499">
                <a:moveTo>
                  <a:pt x="0" y="0"/>
                </a:moveTo>
                <a:lnTo>
                  <a:pt x="2859408" y="0"/>
                </a:lnTo>
                <a:lnTo>
                  <a:pt x="3048000" y="0"/>
                </a:lnTo>
                <a:lnTo>
                  <a:pt x="3485902" y="0"/>
                </a:lnTo>
                <a:lnTo>
                  <a:pt x="3246551" y="2811361"/>
                </a:lnTo>
                <a:lnTo>
                  <a:pt x="3246551" y="2811360"/>
                </a:lnTo>
                <a:lnTo>
                  <a:pt x="3048000" y="5143498"/>
                </a:lnTo>
                <a:lnTo>
                  <a:pt x="3567702" y="5143498"/>
                </a:lnTo>
                <a:lnTo>
                  <a:pt x="3567702" y="5143499"/>
                </a:lnTo>
                <a:lnTo>
                  <a:pt x="0" y="5143499"/>
                </a:ln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fr-FR" dirty="0"/>
              <a:t>Cliquez sur l’icône</a:t>
            </a:r>
            <a:br>
              <a:rPr lang="fr-FR" dirty="0"/>
            </a:br>
            <a:r>
              <a:rPr lang="fr-FR" dirty="0"/>
              <a:t>pour ajouter une image</a:t>
            </a:r>
          </a:p>
        </p:txBody>
      </p:sp>
      <p:sp>
        <p:nvSpPr>
          <p:cNvPr id="523" name="Forme libre : forme 522">
            <a:extLst>
              <a:ext uri="{FF2B5EF4-FFF2-40B4-BE49-F238E27FC236}">
                <a16:creationId xmlns:a16="http://schemas.microsoft.com/office/drawing/2014/main" id="{C7F1D93A-4718-405C-AAEF-810045870EFB}"/>
              </a:ext>
            </a:extLst>
          </p:cNvPr>
          <p:cNvSpPr/>
          <p:nvPr userDrawn="1"/>
        </p:nvSpPr>
        <p:spPr>
          <a:xfrm>
            <a:off x="3246551" y="-1"/>
            <a:ext cx="5897449" cy="5143501"/>
          </a:xfrm>
          <a:custGeom>
            <a:avLst/>
            <a:gdLst>
              <a:gd name="connsiteX0" fmla="*/ 0 w 9144000"/>
              <a:gd name="connsiteY0" fmla="*/ 0 h 5143501"/>
              <a:gd name="connsiteX1" fmla="*/ 9144000 w 9144000"/>
              <a:gd name="connsiteY1" fmla="*/ 0 h 5143501"/>
              <a:gd name="connsiteX2" fmla="*/ 9144000 w 9144000"/>
              <a:gd name="connsiteY2" fmla="*/ 5143501 h 5143501"/>
              <a:gd name="connsiteX3" fmla="*/ 3567702 w 9144000"/>
              <a:gd name="connsiteY3" fmla="*/ 5143501 h 5143501"/>
              <a:gd name="connsiteX4" fmla="*/ 3246551 w 9144000"/>
              <a:gd name="connsiteY4" fmla="*/ 2811363 h 5143501"/>
              <a:gd name="connsiteX5" fmla="*/ 3485902 w 9144000"/>
              <a:gd name="connsiteY5" fmla="*/ 1 h 5143501"/>
              <a:gd name="connsiteX6" fmla="*/ 3048000 w 9144000"/>
              <a:gd name="connsiteY6" fmla="*/ 1 h 5143501"/>
              <a:gd name="connsiteX7" fmla="*/ 2859408 w 9144000"/>
              <a:gd name="connsiteY7" fmla="*/ 1 h 5143501"/>
              <a:gd name="connsiteX8" fmla="*/ 0 w 9144000"/>
              <a:gd name="connsiteY8" fmla="*/ 1 h 5143501"/>
              <a:gd name="connsiteX0" fmla="*/ 0 w 9144000"/>
              <a:gd name="connsiteY0" fmla="*/ 1 h 5143501"/>
              <a:gd name="connsiteX1" fmla="*/ 9144000 w 9144000"/>
              <a:gd name="connsiteY1" fmla="*/ 0 h 5143501"/>
              <a:gd name="connsiteX2" fmla="*/ 9144000 w 9144000"/>
              <a:gd name="connsiteY2" fmla="*/ 5143501 h 5143501"/>
              <a:gd name="connsiteX3" fmla="*/ 3567702 w 9144000"/>
              <a:gd name="connsiteY3" fmla="*/ 5143501 h 5143501"/>
              <a:gd name="connsiteX4" fmla="*/ 3246551 w 9144000"/>
              <a:gd name="connsiteY4" fmla="*/ 2811363 h 5143501"/>
              <a:gd name="connsiteX5" fmla="*/ 3485902 w 9144000"/>
              <a:gd name="connsiteY5" fmla="*/ 1 h 5143501"/>
              <a:gd name="connsiteX6" fmla="*/ 3048000 w 9144000"/>
              <a:gd name="connsiteY6" fmla="*/ 1 h 5143501"/>
              <a:gd name="connsiteX7" fmla="*/ 2859408 w 9144000"/>
              <a:gd name="connsiteY7" fmla="*/ 1 h 5143501"/>
              <a:gd name="connsiteX8" fmla="*/ 0 w 9144000"/>
              <a:gd name="connsiteY8" fmla="*/ 1 h 5143501"/>
              <a:gd name="connsiteX0" fmla="*/ 0 w 6284592"/>
              <a:gd name="connsiteY0" fmla="*/ 1 h 5143501"/>
              <a:gd name="connsiteX1" fmla="*/ 6284592 w 6284592"/>
              <a:gd name="connsiteY1" fmla="*/ 0 h 5143501"/>
              <a:gd name="connsiteX2" fmla="*/ 6284592 w 6284592"/>
              <a:gd name="connsiteY2" fmla="*/ 5143501 h 5143501"/>
              <a:gd name="connsiteX3" fmla="*/ 708294 w 6284592"/>
              <a:gd name="connsiteY3" fmla="*/ 5143501 h 5143501"/>
              <a:gd name="connsiteX4" fmla="*/ 387143 w 6284592"/>
              <a:gd name="connsiteY4" fmla="*/ 2811363 h 5143501"/>
              <a:gd name="connsiteX5" fmla="*/ 626494 w 6284592"/>
              <a:gd name="connsiteY5" fmla="*/ 1 h 5143501"/>
              <a:gd name="connsiteX6" fmla="*/ 188592 w 6284592"/>
              <a:gd name="connsiteY6" fmla="*/ 1 h 5143501"/>
              <a:gd name="connsiteX7" fmla="*/ 0 w 6284592"/>
              <a:gd name="connsiteY7" fmla="*/ 1 h 5143501"/>
              <a:gd name="connsiteX0" fmla="*/ 0 w 6096000"/>
              <a:gd name="connsiteY0" fmla="*/ 1 h 5143501"/>
              <a:gd name="connsiteX1" fmla="*/ 6096000 w 6096000"/>
              <a:gd name="connsiteY1" fmla="*/ 0 h 5143501"/>
              <a:gd name="connsiteX2" fmla="*/ 6096000 w 6096000"/>
              <a:gd name="connsiteY2" fmla="*/ 5143501 h 5143501"/>
              <a:gd name="connsiteX3" fmla="*/ 519702 w 6096000"/>
              <a:gd name="connsiteY3" fmla="*/ 5143501 h 5143501"/>
              <a:gd name="connsiteX4" fmla="*/ 198551 w 6096000"/>
              <a:gd name="connsiteY4" fmla="*/ 2811363 h 5143501"/>
              <a:gd name="connsiteX5" fmla="*/ 437902 w 6096000"/>
              <a:gd name="connsiteY5" fmla="*/ 1 h 5143501"/>
              <a:gd name="connsiteX6" fmla="*/ 0 w 6096000"/>
              <a:gd name="connsiteY6" fmla="*/ 1 h 5143501"/>
              <a:gd name="connsiteX0" fmla="*/ 239351 w 5897449"/>
              <a:gd name="connsiteY0" fmla="*/ 1 h 5143501"/>
              <a:gd name="connsiteX1" fmla="*/ 5897449 w 5897449"/>
              <a:gd name="connsiteY1" fmla="*/ 0 h 5143501"/>
              <a:gd name="connsiteX2" fmla="*/ 5897449 w 5897449"/>
              <a:gd name="connsiteY2" fmla="*/ 5143501 h 5143501"/>
              <a:gd name="connsiteX3" fmla="*/ 321151 w 5897449"/>
              <a:gd name="connsiteY3" fmla="*/ 5143501 h 5143501"/>
              <a:gd name="connsiteX4" fmla="*/ 0 w 5897449"/>
              <a:gd name="connsiteY4" fmla="*/ 2811363 h 5143501"/>
              <a:gd name="connsiteX5" fmla="*/ 239351 w 5897449"/>
              <a:gd name="connsiteY5" fmla="*/ 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97449" h="5143501">
                <a:moveTo>
                  <a:pt x="239351" y="1"/>
                </a:moveTo>
                <a:lnTo>
                  <a:pt x="5897449" y="0"/>
                </a:lnTo>
                <a:lnTo>
                  <a:pt x="5897449" y="5143501"/>
                </a:lnTo>
                <a:lnTo>
                  <a:pt x="321151" y="5143501"/>
                </a:lnTo>
                <a:lnTo>
                  <a:pt x="0" y="2811363"/>
                </a:lnTo>
                <a:lnTo>
                  <a:pt x="239351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534" name="Espace réservé du texte 533">
            <a:extLst>
              <a:ext uri="{FF2B5EF4-FFF2-40B4-BE49-F238E27FC236}">
                <a16:creationId xmlns:a16="http://schemas.microsoft.com/office/drawing/2014/main" id="{6A4C2977-D550-4471-9F3E-815F6F49158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11668" y="507082"/>
            <a:ext cx="5068800" cy="4129200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300"/>
              </a:spcBef>
              <a:spcAft>
                <a:spcPts val="1000"/>
              </a:spcAft>
              <a:buNone/>
              <a:defRPr sz="1400">
                <a:solidFill>
                  <a:schemeClr val="tx1"/>
                </a:solidFill>
              </a:defRPr>
            </a:lvl2pPr>
            <a:lvl3pPr marL="270000" indent="-270000" algn="l" defTabSz="457200" rtl="0" eaLnBrk="1" latinLnBrk="0" hangingPunct="1">
              <a:spcBef>
                <a:spcPts val="400"/>
              </a:spcBef>
              <a:spcAft>
                <a:spcPts val="1000"/>
              </a:spcAft>
              <a:buSzPct val="100000"/>
              <a:buFontTx/>
              <a:buBlip>
                <a:blip r:embed="rId2"/>
              </a:buBlip>
              <a:defRPr lang="fr-FR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0000" indent="-269875">
              <a:spcBef>
                <a:spcPts val="400"/>
              </a:spcBef>
              <a:spcAft>
                <a:spcPts val="1000"/>
              </a:spcAft>
              <a:buFontTx/>
              <a:buBlip>
                <a:blip r:embed="rId3"/>
              </a:buBlip>
              <a:defRPr sz="1400" b="1">
                <a:solidFill>
                  <a:schemeClr val="tx1"/>
                </a:solidFill>
              </a:defRPr>
            </a:lvl4pPr>
            <a:lvl5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4"/>
              </a:buBlip>
              <a:defRPr sz="1400" b="1">
                <a:solidFill>
                  <a:schemeClr val="tx1"/>
                </a:solidFill>
              </a:defRPr>
            </a:lvl5pPr>
            <a:lvl6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5"/>
              </a:buBlip>
              <a:defRPr sz="1400" b="1">
                <a:solidFill>
                  <a:schemeClr val="tx1"/>
                </a:solidFill>
              </a:defRPr>
            </a:lvl6pPr>
            <a:lvl7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6"/>
              </a:buBlip>
              <a:defRPr sz="1400" b="1">
                <a:solidFill>
                  <a:schemeClr val="tx1"/>
                </a:solidFill>
              </a:defRPr>
            </a:lvl7pPr>
            <a:lvl8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7"/>
              </a:buBlip>
              <a:defRPr sz="1400" b="1">
                <a:solidFill>
                  <a:schemeClr val="tx1"/>
                </a:solidFill>
              </a:defRPr>
            </a:lvl8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Puce bleu</a:t>
            </a:r>
          </a:p>
          <a:p>
            <a:pPr lvl="3"/>
            <a:r>
              <a:rPr lang="fr-FR" dirty="0"/>
              <a:t>Puce orange</a:t>
            </a:r>
          </a:p>
          <a:p>
            <a:pPr lvl="4"/>
            <a:r>
              <a:rPr lang="fr-FR" dirty="0"/>
              <a:t>Puce rouge</a:t>
            </a:r>
          </a:p>
          <a:p>
            <a:pPr lvl="5"/>
            <a:r>
              <a:rPr lang="fr-FR" dirty="0"/>
              <a:t>Puce vert d’eau</a:t>
            </a:r>
          </a:p>
          <a:p>
            <a:pPr lvl="6"/>
            <a:r>
              <a:rPr lang="fr-FR" dirty="0"/>
              <a:t>Puce verte</a:t>
            </a:r>
          </a:p>
          <a:p>
            <a:pPr lvl="7"/>
            <a:r>
              <a:rPr lang="fr-FR" dirty="0"/>
              <a:t>Puce violette</a:t>
            </a:r>
          </a:p>
        </p:txBody>
      </p:sp>
      <p:sp>
        <p:nvSpPr>
          <p:cNvPr id="536" name="Espace réservé du texte 535">
            <a:extLst>
              <a:ext uri="{FF2B5EF4-FFF2-40B4-BE49-F238E27FC236}">
                <a16:creationId xmlns:a16="http://schemas.microsoft.com/office/drawing/2014/main" id="{FDBBC0BA-813C-472C-8014-D20CA63A20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-6824" y="0"/>
            <a:ext cx="3492727" cy="2565779"/>
          </a:xfrm>
          <a:custGeom>
            <a:avLst/>
            <a:gdLst>
              <a:gd name="connsiteX0" fmla="*/ 3353602 w 4086971"/>
              <a:gd name="connsiteY0" fmla="*/ 3588742 h 5143499"/>
              <a:gd name="connsiteX1" fmla="*/ 3567703 w 4086971"/>
              <a:gd name="connsiteY1" fmla="*/ 5143499 h 5143499"/>
              <a:gd name="connsiteX2" fmla="*/ 3567703 w 4086971"/>
              <a:gd name="connsiteY2" fmla="*/ 5143499 h 5143499"/>
              <a:gd name="connsiteX3" fmla="*/ 0 w 4086971"/>
              <a:gd name="connsiteY3" fmla="*/ 0 h 5143499"/>
              <a:gd name="connsiteX4" fmla="*/ 4086971 w 4086971"/>
              <a:gd name="connsiteY4" fmla="*/ 0 h 5143499"/>
              <a:gd name="connsiteX5" fmla="*/ 4086971 w 4086971"/>
              <a:gd name="connsiteY5" fmla="*/ 1 h 5143499"/>
              <a:gd name="connsiteX6" fmla="*/ 1 w 4086971"/>
              <a:gd name="connsiteY6" fmla="*/ 1 h 5143499"/>
              <a:gd name="connsiteX7" fmla="*/ 1 w 4086971"/>
              <a:gd name="connsiteY7" fmla="*/ 2 h 5143499"/>
              <a:gd name="connsiteX8" fmla="*/ 2859409 w 4086971"/>
              <a:gd name="connsiteY8" fmla="*/ 2 h 5143499"/>
              <a:gd name="connsiteX9" fmla="*/ 3048001 w 4086971"/>
              <a:gd name="connsiteY9" fmla="*/ 2 h 5143499"/>
              <a:gd name="connsiteX10" fmla="*/ 3485903 w 4086971"/>
              <a:gd name="connsiteY10" fmla="*/ 2 h 5143499"/>
              <a:gd name="connsiteX11" fmla="*/ 3246552 w 4086971"/>
              <a:gd name="connsiteY11" fmla="*/ 2811363 h 5143499"/>
              <a:gd name="connsiteX12" fmla="*/ 3246552 w 4086971"/>
              <a:gd name="connsiteY12" fmla="*/ 2811363 h 5143499"/>
              <a:gd name="connsiteX13" fmla="*/ 3048001 w 4086971"/>
              <a:gd name="connsiteY13" fmla="*/ 5143499 h 5143499"/>
              <a:gd name="connsiteX14" fmla="*/ 0 w 4086971"/>
              <a:gd name="connsiteY14" fmla="*/ 5143499 h 5143499"/>
              <a:gd name="connsiteX0" fmla="*/ 3353602 w 4086971"/>
              <a:gd name="connsiteY0" fmla="*/ 3588742 h 5143499"/>
              <a:gd name="connsiteX1" fmla="*/ 3567703 w 4086971"/>
              <a:gd name="connsiteY1" fmla="*/ 5143499 h 5143499"/>
              <a:gd name="connsiteX2" fmla="*/ 3567703 w 4086971"/>
              <a:gd name="connsiteY2" fmla="*/ 5143499 h 5143499"/>
              <a:gd name="connsiteX3" fmla="*/ 3353602 w 4086971"/>
              <a:gd name="connsiteY3" fmla="*/ 3588742 h 5143499"/>
              <a:gd name="connsiteX4" fmla="*/ 0 w 4086971"/>
              <a:gd name="connsiteY4" fmla="*/ 0 h 5143499"/>
              <a:gd name="connsiteX5" fmla="*/ 4086971 w 4086971"/>
              <a:gd name="connsiteY5" fmla="*/ 0 h 5143499"/>
              <a:gd name="connsiteX6" fmla="*/ 1 w 4086971"/>
              <a:gd name="connsiteY6" fmla="*/ 1 h 5143499"/>
              <a:gd name="connsiteX7" fmla="*/ 1 w 4086971"/>
              <a:gd name="connsiteY7" fmla="*/ 2 h 5143499"/>
              <a:gd name="connsiteX8" fmla="*/ 2859409 w 4086971"/>
              <a:gd name="connsiteY8" fmla="*/ 2 h 5143499"/>
              <a:gd name="connsiteX9" fmla="*/ 3048001 w 4086971"/>
              <a:gd name="connsiteY9" fmla="*/ 2 h 5143499"/>
              <a:gd name="connsiteX10" fmla="*/ 3485903 w 4086971"/>
              <a:gd name="connsiteY10" fmla="*/ 2 h 5143499"/>
              <a:gd name="connsiteX11" fmla="*/ 3246552 w 4086971"/>
              <a:gd name="connsiteY11" fmla="*/ 2811363 h 5143499"/>
              <a:gd name="connsiteX12" fmla="*/ 3246552 w 4086971"/>
              <a:gd name="connsiteY12" fmla="*/ 2811363 h 5143499"/>
              <a:gd name="connsiteX13" fmla="*/ 3048001 w 4086971"/>
              <a:gd name="connsiteY13" fmla="*/ 5143499 h 5143499"/>
              <a:gd name="connsiteX14" fmla="*/ 0 w 4086971"/>
              <a:gd name="connsiteY14" fmla="*/ 5143499 h 5143499"/>
              <a:gd name="connsiteX15" fmla="*/ 0 w 4086971"/>
              <a:gd name="connsiteY15" fmla="*/ 0 h 5143499"/>
              <a:gd name="connsiteX0" fmla="*/ 3353602 w 3567703"/>
              <a:gd name="connsiteY0" fmla="*/ 3588742 h 5143499"/>
              <a:gd name="connsiteX1" fmla="*/ 3567703 w 3567703"/>
              <a:gd name="connsiteY1" fmla="*/ 5143499 h 5143499"/>
              <a:gd name="connsiteX2" fmla="*/ 3567703 w 3567703"/>
              <a:gd name="connsiteY2" fmla="*/ 5143499 h 5143499"/>
              <a:gd name="connsiteX3" fmla="*/ 3353602 w 3567703"/>
              <a:gd name="connsiteY3" fmla="*/ 3588742 h 5143499"/>
              <a:gd name="connsiteX4" fmla="*/ 0 w 3567703"/>
              <a:gd name="connsiteY4" fmla="*/ 0 h 5143499"/>
              <a:gd name="connsiteX5" fmla="*/ 1 w 3567703"/>
              <a:gd name="connsiteY5" fmla="*/ 1 h 5143499"/>
              <a:gd name="connsiteX6" fmla="*/ 1 w 3567703"/>
              <a:gd name="connsiteY6" fmla="*/ 2 h 5143499"/>
              <a:gd name="connsiteX7" fmla="*/ 2859409 w 3567703"/>
              <a:gd name="connsiteY7" fmla="*/ 2 h 5143499"/>
              <a:gd name="connsiteX8" fmla="*/ 3048001 w 3567703"/>
              <a:gd name="connsiteY8" fmla="*/ 2 h 5143499"/>
              <a:gd name="connsiteX9" fmla="*/ 3485903 w 3567703"/>
              <a:gd name="connsiteY9" fmla="*/ 2 h 5143499"/>
              <a:gd name="connsiteX10" fmla="*/ 3246552 w 3567703"/>
              <a:gd name="connsiteY10" fmla="*/ 2811363 h 5143499"/>
              <a:gd name="connsiteX11" fmla="*/ 3246552 w 3567703"/>
              <a:gd name="connsiteY11" fmla="*/ 2811363 h 5143499"/>
              <a:gd name="connsiteX12" fmla="*/ 3048001 w 3567703"/>
              <a:gd name="connsiteY12" fmla="*/ 5143499 h 5143499"/>
              <a:gd name="connsiteX13" fmla="*/ 0 w 3567703"/>
              <a:gd name="connsiteY13" fmla="*/ 5143499 h 5143499"/>
              <a:gd name="connsiteX14" fmla="*/ 0 w 3567703"/>
              <a:gd name="connsiteY14" fmla="*/ 0 h 5143499"/>
              <a:gd name="connsiteX0" fmla="*/ 3353602 w 3567703"/>
              <a:gd name="connsiteY0" fmla="*/ 3588742 h 5143499"/>
              <a:gd name="connsiteX1" fmla="*/ 3567703 w 3567703"/>
              <a:gd name="connsiteY1" fmla="*/ 5143499 h 5143499"/>
              <a:gd name="connsiteX2" fmla="*/ 3353602 w 3567703"/>
              <a:gd name="connsiteY2" fmla="*/ 3588742 h 5143499"/>
              <a:gd name="connsiteX3" fmla="*/ 0 w 3567703"/>
              <a:gd name="connsiteY3" fmla="*/ 0 h 5143499"/>
              <a:gd name="connsiteX4" fmla="*/ 1 w 3567703"/>
              <a:gd name="connsiteY4" fmla="*/ 1 h 5143499"/>
              <a:gd name="connsiteX5" fmla="*/ 1 w 3567703"/>
              <a:gd name="connsiteY5" fmla="*/ 2 h 5143499"/>
              <a:gd name="connsiteX6" fmla="*/ 2859409 w 3567703"/>
              <a:gd name="connsiteY6" fmla="*/ 2 h 5143499"/>
              <a:gd name="connsiteX7" fmla="*/ 3048001 w 3567703"/>
              <a:gd name="connsiteY7" fmla="*/ 2 h 5143499"/>
              <a:gd name="connsiteX8" fmla="*/ 3485903 w 3567703"/>
              <a:gd name="connsiteY8" fmla="*/ 2 h 5143499"/>
              <a:gd name="connsiteX9" fmla="*/ 3246552 w 3567703"/>
              <a:gd name="connsiteY9" fmla="*/ 2811363 h 5143499"/>
              <a:gd name="connsiteX10" fmla="*/ 3246552 w 3567703"/>
              <a:gd name="connsiteY10" fmla="*/ 2811363 h 5143499"/>
              <a:gd name="connsiteX11" fmla="*/ 3048001 w 3567703"/>
              <a:gd name="connsiteY11" fmla="*/ 5143499 h 5143499"/>
              <a:gd name="connsiteX12" fmla="*/ 0 w 3567703"/>
              <a:gd name="connsiteY12" fmla="*/ 5143499 h 5143499"/>
              <a:gd name="connsiteX13" fmla="*/ 0 w 3567703"/>
              <a:gd name="connsiteY13" fmla="*/ 0 h 5143499"/>
              <a:gd name="connsiteX0" fmla="*/ 0 w 3485903"/>
              <a:gd name="connsiteY0" fmla="*/ 0 h 5143499"/>
              <a:gd name="connsiteX1" fmla="*/ 1 w 3485903"/>
              <a:gd name="connsiteY1" fmla="*/ 1 h 5143499"/>
              <a:gd name="connsiteX2" fmla="*/ 1 w 3485903"/>
              <a:gd name="connsiteY2" fmla="*/ 2 h 5143499"/>
              <a:gd name="connsiteX3" fmla="*/ 2859409 w 3485903"/>
              <a:gd name="connsiteY3" fmla="*/ 2 h 5143499"/>
              <a:gd name="connsiteX4" fmla="*/ 3048001 w 3485903"/>
              <a:gd name="connsiteY4" fmla="*/ 2 h 5143499"/>
              <a:gd name="connsiteX5" fmla="*/ 3485903 w 3485903"/>
              <a:gd name="connsiteY5" fmla="*/ 2 h 5143499"/>
              <a:gd name="connsiteX6" fmla="*/ 3246552 w 3485903"/>
              <a:gd name="connsiteY6" fmla="*/ 2811363 h 5143499"/>
              <a:gd name="connsiteX7" fmla="*/ 3246552 w 3485903"/>
              <a:gd name="connsiteY7" fmla="*/ 2811363 h 5143499"/>
              <a:gd name="connsiteX8" fmla="*/ 3048001 w 3485903"/>
              <a:gd name="connsiteY8" fmla="*/ 5143499 h 5143499"/>
              <a:gd name="connsiteX9" fmla="*/ 0 w 3485903"/>
              <a:gd name="connsiteY9" fmla="*/ 5143499 h 5143499"/>
              <a:gd name="connsiteX10" fmla="*/ 0 w 3485903"/>
              <a:gd name="connsiteY10" fmla="*/ 0 h 5143499"/>
              <a:gd name="connsiteX0" fmla="*/ 0 w 3485903"/>
              <a:gd name="connsiteY0" fmla="*/ 0 h 5143499"/>
              <a:gd name="connsiteX1" fmla="*/ 1 w 3485903"/>
              <a:gd name="connsiteY1" fmla="*/ 1 h 5143499"/>
              <a:gd name="connsiteX2" fmla="*/ 1 w 3485903"/>
              <a:gd name="connsiteY2" fmla="*/ 2 h 5143499"/>
              <a:gd name="connsiteX3" fmla="*/ 2859409 w 3485903"/>
              <a:gd name="connsiteY3" fmla="*/ 2 h 5143499"/>
              <a:gd name="connsiteX4" fmla="*/ 3048001 w 3485903"/>
              <a:gd name="connsiteY4" fmla="*/ 2 h 5143499"/>
              <a:gd name="connsiteX5" fmla="*/ 3485903 w 3485903"/>
              <a:gd name="connsiteY5" fmla="*/ 2 h 5143499"/>
              <a:gd name="connsiteX6" fmla="*/ 3370997 w 3485903"/>
              <a:gd name="connsiteY6" fmla="*/ 1337481 h 5143499"/>
              <a:gd name="connsiteX7" fmla="*/ 3246552 w 3485903"/>
              <a:gd name="connsiteY7" fmla="*/ 2811363 h 5143499"/>
              <a:gd name="connsiteX8" fmla="*/ 3246552 w 3485903"/>
              <a:gd name="connsiteY8" fmla="*/ 2811363 h 5143499"/>
              <a:gd name="connsiteX9" fmla="*/ 3048001 w 3485903"/>
              <a:gd name="connsiteY9" fmla="*/ 5143499 h 5143499"/>
              <a:gd name="connsiteX10" fmla="*/ 0 w 3485903"/>
              <a:gd name="connsiteY10" fmla="*/ 5143499 h 5143499"/>
              <a:gd name="connsiteX11" fmla="*/ 0 w 3485903"/>
              <a:gd name="connsiteY11" fmla="*/ 0 h 5143499"/>
              <a:gd name="connsiteX0" fmla="*/ 6824 w 3492727"/>
              <a:gd name="connsiteY0" fmla="*/ 0 h 5143499"/>
              <a:gd name="connsiteX1" fmla="*/ 6825 w 3492727"/>
              <a:gd name="connsiteY1" fmla="*/ 1 h 5143499"/>
              <a:gd name="connsiteX2" fmla="*/ 6825 w 3492727"/>
              <a:gd name="connsiteY2" fmla="*/ 2 h 5143499"/>
              <a:gd name="connsiteX3" fmla="*/ 2866233 w 3492727"/>
              <a:gd name="connsiteY3" fmla="*/ 2 h 5143499"/>
              <a:gd name="connsiteX4" fmla="*/ 3054825 w 3492727"/>
              <a:gd name="connsiteY4" fmla="*/ 2 h 5143499"/>
              <a:gd name="connsiteX5" fmla="*/ 3492727 w 3492727"/>
              <a:gd name="connsiteY5" fmla="*/ 2 h 5143499"/>
              <a:gd name="connsiteX6" fmla="*/ 3377821 w 3492727"/>
              <a:gd name="connsiteY6" fmla="*/ 1337481 h 5143499"/>
              <a:gd name="connsiteX7" fmla="*/ 3253376 w 3492727"/>
              <a:gd name="connsiteY7" fmla="*/ 2811363 h 5143499"/>
              <a:gd name="connsiteX8" fmla="*/ 3253376 w 3492727"/>
              <a:gd name="connsiteY8" fmla="*/ 2811363 h 5143499"/>
              <a:gd name="connsiteX9" fmla="*/ 3054825 w 3492727"/>
              <a:gd name="connsiteY9" fmla="*/ 5143499 h 5143499"/>
              <a:gd name="connsiteX10" fmla="*/ 6824 w 3492727"/>
              <a:gd name="connsiteY10" fmla="*/ 5143499 h 5143499"/>
              <a:gd name="connsiteX11" fmla="*/ 0 w 3492727"/>
              <a:gd name="connsiteY11" fmla="*/ 2565779 h 5143499"/>
              <a:gd name="connsiteX12" fmla="*/ 6824 w 3492727"/>
              <a:gd name="connsiteY12" fmla="*/ 0 h 5143499"/>
              <a:gd name="connsiteX0" fmla="*/ 6824 w 3492727"/>
              <a:gd name="connsiteY0" fmla="*/ 0 h 5143499"/>
              <a:gd name="connsiteX1" fmla="*/ 6825 w 3492727"/>
              <a:gd name="connsiteY1" fmla="*/ 1 h 5143499"/>
              <a:gd name="connsiteX2" fmla="*/ 6825 w 3492727"/>
              <a:gd name="connsiteY2" fmla="*/ 2 h 5143499"/>
              <a:gd name="connsiteX3" fmla="*/ 2866233 w 3492727"/>
              <a:gd name="connsiteY3" fmla="*/ 2 h 5143499"/>
              <a:gd name="connsiteX4" fmla="*/ 3054825 w 3492727"/>
              <a:gd name="connsiteY4" fmla="*/ 2 h 5143499"/>
              <a:gd name="connsiteX5" fmla="*/ 3492727 w 3492727"/>
              <a:gd name="connsiteY5" fmla="*/ 2 h 5143499"/>
              <a:gd name="connsiteX6" fmla="*/ 3377821 w 3492727"/>
              <a:gd name="connsiteY6" fmla="*/ 1337481 h 5143499"/>
              <a:gd name="connsiteX7" fmla="*/ 3253376 w 3492727"/>
              <a:gd name="connsiteY7" fmla="*/ 2811363 h 5143499"/>
              <a:gd name="connsiteX8" fmla="*/ 3253376 w 3492727"/>
              <a:gd name="connsiteY8" fmla="*/ 2811363 h 5143499"/>
              <a:gd name="connsiteX9" fmla="*/ 3054825 w 3492727"/>
              <a:gd name="connsiteY9" fmla="*/ 5143499 h 5143499"/>
              <a:gd name="connsiteX10" fmla="*/ 0 w 3492727"/>
              <a:gd name="connsiteY10" fmla="*/ 2565779 h 5143499"/>
              <a:gd name="connsiteX11" fmla="*/ 6824 w 3492727"/>
              <a:gd name="connsiteY11" fmla="*/ 0 h 5143499"/>
              <a:gd name="connsiteX0" fmla="*/ 6824 w 3492727"/>
              <a:gd name="connsiteY0" fmla="*/ 0 h 2811363"/>
              <a:gd name="connsiteX1" fmla="*/ 6825 w 3492727"/>
              <a:gd name="connsiteY1" fmla="*/ 1 h 2811363"/>
              <a:gd name="connsiteX2" fmla="*/ 6825 w 3492727"/>
              <a:gd name="connsiteY2" fmla="*/ 2 h 2811363"/>
              <a:gd name="connsiteX3" fmla="*/ 2866233 w 3492727"/>
              <a:gd name="connsiteY3" fmla="*/ 2 h 2811363"/>
              <a:gd name="connsiteX4" fmla="*/ 3054825 w 3492727"/>
              <a:gd name="connsiteY4" fmla="*/ 2 h 2811363"/>
              <a:gd name="connsiteX5" fmla="*/ 3492727 w 3492727"/>
              <a:gd name="connsiteY5" fmla="*/ 2 h 2811363"/>
              <a:gd name="connsiteX6" fmla="*/ 3377821 w 3492727"/>
              <a:gd name="connsiteY6" fmla="*/ 1337481 h 2811363"/>
              <a:gd name="connsiteX7" fmla="*/ 3253376 w 3492727"/>
              <a:gd name="connsiteY7" fmla="*/ 2811363 h 2811363"/>
              <a:gd name="connsiteX8" fmla="*/ 3253376 w 3492727"/>
              <a:gd name="connsiteY8" fmla="*/ 2811363 h 2811363"/>
              <a:gd name="connsiteX9" fmla="*/ 0 w 3492727"/>
              <a:gd name="connsiteY9" fmla="*/ 2565779 h 2811363"/>
              <a:gd name="connsiteX10" fmla="*/ 6824 w 3492727"/>
              <a:gd name="connsiteY10" fmla="*/ 0 h 2811363"/>
              <a:gd name="connsiteX0" fmla="*/ 6824 w 3492727"/>
              <a:gd name="connsiteY0" fmla="*/ 0 h 2811363"/>
              <a:gd name="connsiteX1" fmla="*/ 6825 w 3492727"/>
              <a:gd name="connsiteY1" fmla="*/ 1 h 2811363"/>
              <a:gd name="connsiteX2" fmla="*/ 6825 w 3492727"/>
              <a:gd name="connsiteY2" fmla="*/ 2 h 2811363"/>
              <a:gd name="connsiteX3" fmla="*/ 2866233 w 3492727"/>
              <a:gd name="connsiteY3" fmla="*/ 2 h 2811363"/>
              <a:gd name="connsiteX4" fmla="*/ 3054825 w 3492727"/>
              <a:gd name="connsiteY4" fmla="*/ 2 h 2811363"/>
              <a:gd name="connsiteX5" fmla="*/ 3492727 w 3492727"/>
              <a:gd name="connsiteY5" fmla="*/ 2 h 2811363"/>
              <a:gd name="connsiteX6" fmla="*/ 3377821 w 3492727"/>
              <a:gd name="connsiteY6" fmla="*/ 1337481 h 2811363"/>
              <a:gd name="connsiteX7" fmla="*/ 3253376 w 3492727"/>
              <a:gd name="connsiteY7" fmla="*/ 2811363 h 2811363"/>
              <a:gd name="connsiteX8" fmla="*/ 0 w 3492727"/>
              <a:gd name="connsiteY8" fmla="*/ 2565779 h 2811363"/>
              <a:gd name="connsiteX9" fmla="*/ 6824 w 3492727"/>
              <a:gd name="connsiteY9" fmla="*/ 0 h 2811363"/>
              <a:gd name="connsiteX0" fmla="*/ 6824 w 3492727"/>
              <a:gd name="connsiteY0" fmla="*/ 0 h 2565779"/>
              <a:gd name="connsiteX1" fmla="*/ 6825 w 3492727"/>
              <a:gd name="connsiteY1" fmla="*/ 1 h 2565779"/>
              <a:gd name="connsiteX2" fmla="*/ 6825 w 3492727"/>
              <a:gd name="connsiteY2" fmla="*/ 2 h 2565779"/>
              <a:gd name="connsiteX3" fmla="*/ 2866233 w 3492727"/>
              <a:gd name="connsiteY3" fmla="*/ 2 h 2565779"/>
              <a:gd name="connsiteX4" fmla="*/ 3054825 w 3492727"/>
              <a:gd name="connsiteY4" fmla="*/ 2 h 2565779"/>
              <a:gd name="connsiteX5" fmla="*/ 3492727 w 3492727"/>
              <a:gd name="connsiteY5" fmla="*/ 2 h 2565779"/>
              <a:gd name="connsiteX6" fmla="*/ 3377821 w 3492727"/>
              <a:gd name="connsiteY6" fmla="*/ 1337481 h 2565779"/>
              <a:gd name="connsiteX7" fmla="*/ 0 w 3492727"/>
              <a:gd name="connsiteY7" fmla="*/ 2565779 h 2565779"/>
              <a:gd name="connsiteX8" fmla="*/ 6824 w 3492727"/>
              <a:gd name="connsiteY8" fmla="*/ 0 h 2565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92727" h="2565779">
                <a:moveTo>
                  <a:pt x="6824" y="0"/>
                </a:moveTo>
                <a:lnTo>
                  <a:pt x="6825" y="1"/>
                </a:lnTo>
                <a:lnTo>
                  <a:pt x="6825" y="2"/>
                </a:lnTo>
                <a:lnTo>
                  <a:pt x="2866233" y="2"/>
                </a:lnTo>
                <a:lnTo>
                  <a:pt x="3054825" y="2"/>
                </a:lnTo>
                <a:lnTo>
                  <a:pt x="3492727" y="2"/>
                </a:lnTo>
                <a:lnTo>
                  <a:pt x="3377821" y="1337481"/>
                </a:lnTo>
                <a:lnTo>
                  <a:pt x="0" y="2565779"/>
                </a:lnTo>
                <a:cubicBezTo>
                  <a:pt x="2275" y="1710519"/>
                  <a:pt x="4549" y="855260"/>
                  <a:pt x="6824" y="0"/>
                </a:cubicBezTo>
                <a:close/>
              </a:path>
            </a:pathLst>
          </a:custGeom>
          <a:solidFill>
            <a:schemeClr val="tx2">
              <a:alpha val="80000"/>
            </a:schemeClr>
          </a:solidFill>
        </p:spPr>
        <p:txBody>
          <a:bodyPr vert="horz" wrap="square" lIns="91440" tIns="45720" rIns="91440" bIns="45720" rtlCol="0">
            <a:noAutofit/>
          </a:bodyPr>
          <a:lstStyle>
            <a:lvl1pPr>
              <a:defRPr lang="fr-FR" sz="100" dirty="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28" name="Espace réservé du texte 527">
            <a:extLst>
              <a:ext uri="{FF2B5EF4-FFF2-40B4-BE49-F238E27FC236}">
                <a16:creationId xmlns:a16="http://schemas.microsoft.com/office/drawing/2014/main" id="{6A8E0876-8CB4-4156-A0C1-0BC7361D1C40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429470" y="1194381"/>
            <a:ext cx="108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29" name="Espace réservé du texte 528">
            <a:extLst>
              <a:ext uri="{FF2B5EF4-FFF2-40B4-BE49-F238E27FC236}">
                <a16:creationId xmlns:a16="http://schemas.microsoft.com/office/drawing/2014/main" id="{20C5F896-3CE3-44F8-B5B2-F667F9101641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1512561" y="1194381"/>
            <a:ext cx="108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rgbClr val="3A1B0B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31" name="Espace réservé du texte 530">
            <a:extLst>
              <a:ext uri="{FF2B5EF4-FFF2-40B4-BE49-F238E27FC236}">
                <a16:creationId xmlns:a16="http://schemas.microsoft.com/office/drawing/2014/main" id="{70ADA97F-36B2-42A5-9506-18C5EA9C6E0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3993" y="190831"/>
            <a:ext cx="2495932" cy="92235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3pPr>
            <a:lvl4pPr marL="0" indent="0">
              <a:buNone/>
              <a:defRPr sz="1000">
                <a:solidFill>
                  <a:schemeClr val="bg1"/>
                </a:solidFill>
              </a:defRPr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F07F141A-1265-42D2-9F40-A84C5A069F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48000" y="2811362"/>
            <a:ext cx="519702" cy="2332138"/>
          </a:xfrm>
          <a:custGeom>
            <a:avLst/>
            <a:gdLst>
              <a:gd name="connsiteX0" fmla="*/ 198551 w 519702"/>
              <a:gd name="connsiteY0" fmla="*/ 0 h 2332138"/>
              <a:gd name="connsiteX1" fmla="*/ 519702 w 519702"/>
              <a:gd name="connsiteY1" fmla="*/ 2332138 h 2332138"/>
              <a:gd name="connsiteX2" fmla="*/ 0 w 519702"/>
              <a:gd name="connsiteY2" fmla="*/ 2332138 h 2332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19702" h="2332138">
                <a:moveTo>
                  <a:pt x="198551" y="0"/>
                </a:moveTo>
                <a:lnTo>
                  <a:pt x="519702" y="2332138"/>
                </a:lnTo>
                <a:lnTo>
                  <a:pt x="0" y="233213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180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304749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filtre bleu + Conten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5" name="Espace réservé pour une image  524">
            <a:extLst>
              <a:ext uri="{FF2B5EF4-FFF2-40B4-BE49-F238E27FC236}">
                <a16:creationId xmlns:a16="http://schemas.microsoft.com/office/drawing/2014/main" id="{98410260-974C-4913-B9B1-FBF4231643C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2"/>
            <a:ext cx="3567702" cy="5143499"/>
          </a:xfrm>
          <a:custGeom>
            <a:avLst/>
            <a:gdLst>
              <a:gd name="connsiteX0" fmla="*/ 0 w 3567702"/>
              <a:gd name="connsiteY0" fmla="*/ 0 h 5143499"/>
              <a:gd name="connsiteX1" fmla="*/ 2859408 w 3567702"/>
              <a:gd name="connsiteY1" fmla="*/ 0 h 5143499"/>
              <a:gd name="connsiteX2" fmla="*/ 3048000 w 3567702"/>
              <a:gd name="connsiteY2" fmla="*/ 0 h 5143499"/>
              <a:gd name="connsiteX3" fmla="*/ 3485902 w 3567702"/>
              <a:gd name="connsiteY3" fmla="*/ 0 h 5143499"/>
              <a:gd name="connsiteX4" fmla="*/ 3246551 w 3567702"/>
              <a:gd name="connsiteY4" fmla="*/ 2811361 h 5143499"/>
              <a:gd name="connsiteX5" fmla="*/ 3246551 w 3567702"/>
              <a:gd name="connsiteY5" fmla="*/ 2811360 h 5143499"/>
              <a:gd name="connsiteX6" fmla="*/ 3048000 w 3567702"/>
              <a:gd name="connsiteY6" fmla="*/ 5143498 h 5143499"/>
              <a:gd name="connsiteX7" fmla="*/ 3567702 w 3567702"/>
              <a:gd name="connsiteY7" fmla="*/ 5143498 h 5143499"/>
              <a:gd name="connsiteX8" fmla="*/ 3567702 w 3567702"/>
              <a:gd name="connsiteY8" fmla="*/ 5143499 h 5143499"/>
              <a:gd name="connsiteX9" fmla="*/ 0 w 3567702"/>
              <a:gd name="connsiteY9" fmla="*/ 5143499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67702" h="5143499">
                <a:moveTo>
                  <a:pt x="0" y="0"/>
                </a:moveTo>
                <a:lnTo>
                  <a:pt x="2859408" y="0"/>
                </a:lnTo>
                <a:lnTo>
                  <a:pt x="3048000" y="0"/>
                </a:lnTo>
                <a:lnTo>
                  <a:pt x="3485902" y="0"/>
                </a:lnTo>
                <a:lnTo>
                  <a:pt x="3246551" y="2811361"/>
                </a:lnTo>
                <a:lnTo>
                  <a:pt x="3246551" y="2811360"/>
                </a:lnTo>
                <a:lnTo>
                  <a:pt x="3048000" y="5143498"/>
                </a:lnTo>
                <a:lnTo>
                  <a:pt x="3567702" y="5143498"/>
                </a:lnTo>
                <a:lnTo>
                  <a:pt x="3567702" y="5143499"/>
                </a:lnTo>
                <a:lnTo>
                  <a:pt x="0" y="5143499"/>
                </a:ln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Cliquez sur l’icône</a:t>
            </a:r>
            <a:br>
              <a:rPr lang="fr-FR" dirty="0"/>
            </a:br>
            <a:r>
              <a:rPr lang="fr-FR" dirty="0"/>
              <a:t>pour ajouter une image</a:t>
            </a:r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5CE4A1F0-610C-4E30-853B-8F3E7CCABABE}"/>
              </a:ext>
            </a:extLst>
          </p:cNvPr>
          <p:cNvSpPr/>
          <p:nvPr userDrawn="1"/>
        </p:nvSpPr>
        <p:spPr>
          <a:xfrm>
            <a:off x="3246551" y="-3"/>
            <a:ext cx="5897449" cy="5143501"/>
          </a:xfrm>
          <a:custGeom>
            <a:avLst/>
            <a:gdLst>
              <a:gd name="connsiteX0" fmla="*/ 675524 w 5897449"/>
              <a:gd name="connsiteY0" fmla="*/ 1246049 h 5143501"/>
              <a:gd name="connsiteX1" fmla="*/ 675524 w 5897449"/>
              <a:gd name="connsiteY1" fmla="*/ 1291768 h 5143501"/>
              <a:gd name="connsiteX2" fmla="*/ 1035524 w 5897449"/>
              <a:gd name="connsiteY2" fmla="*/ 1291768 h 5143501"/>
              <a:gd name="connsiteX3" fmla="*/ 1035524 w 5897449"/>
              <a:gd name="connsiteY3" fmla="*/ 1246049 h 5143501"/>
              <a:gd name="connsiteX4" fmla="*/ 5897449 w 5897449"/>
              <a:gd name="connsiteY4" fmla="*/ 0 h 5143501"/>
              <a:gd name="connsiteX5" fmla="*/ 5897449 w 5897449"/>
              <a:gd name="connsiteY5" fmla="*/ 5143501 h 5143501"/>
              <a:gd name="connsiteX6" fmla="*/ 321151 w 5897449"/>
              <a:gd name="connsiteY6" fmla="*/ 5143501 h 5143501"/>
              <a:gd name="connsiteX7" fmla="*/ 0 w 5897449"/>
              <a:gd name="connsiteY7" fmla="*/ 2811363 h 5143501"/>
              <a:gd name="connsiteX8" fmla="*/ 239351 w 5897449"/>
              <a:gd name="connsiteY8" fmla="*/ 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97449" h="5143501">
                <a:moveTo>
                  <a:pt x="675524" y="1246049"/>
                </a:moveTo>
                <a:lnTo>
                  <a:pt x="675524" y="1291768"/>
                </a:lnTo>
                <a:lnTo>
                  <a:pt x="1035524" y="1291768"/>
                </a:lnTo>
                <a:lnTo>
                  <a:pt x="1035524" y="1246049"/>
                </a:lnTo>
                <a:close/>
                <a:moveTo>
                  <a:pt x="5897449" y="0"/>
                </a:moveTo>
                <a:lnTo>
                  <a:pt x="5897449" y="5143501"/>
                </a:lnTo>
                <a:lnTo>
                  <a:pt x="321151" y="5143501"/>
                </a:lnTo>
                <a:lnTo>
                  <a:pt x="0" y="2811363"/>
                </a:lnTo>
                <a:lnTo>
                  <a:pt x="239351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534" name="Espace réservé du texte 533">
            <a:extLst>
              <a:ext uri="{FF2B5EF4-FFF2-40B4-BE49-F238E27FC236}">
                <a16:creationId xmlns:a16="http://schemas.microsoft.com/office/drawing/2014/main" id="{6A4C2977-D550-4471-9F3E-815F6F49158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11668" y="1733384"/>
            <a:ext cx="5068800" cy="2902897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300"/>
              </a:spcBef>
              <a:spcAft>
                <a:spcPts val="1000"/>
              </a:spcAft>
              <a:buNone/>
              <a:defRPr sz="1400">
                <a:solidFill>
                  <a:schemeClr val="tx1"/>
                </a:solidFill>
              </a:defRPr>
            </a:lvl2pPr>
            <a:lvl3pPr marL="270000" indent="-270000" algn="l" defTabSz="457200" rtl="0" eaLnBrk="1" latinLnBrk="0" hangingPunct="1">
              <a:spcBef>
                <a:spcPts val="400"/>
              </a:spcBef>
              <a:spcAft>
                <a:spcPts val="1000"/>
              </a:spcAft>
              <a:buSzPct val="100000"/>
              <a:buFontTx/>
              <a:buBlip>
                <a:blip r:embed="rId2"/>
              </a:buBlip>
              <a:defRPr lang="fr-FR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0000" indent="-269875">
              <a:spcBef>
                <a:spcPts val="400"/>
              </a:spcBef>
              <a:spcAft>
                <a:spcPts val="1000"/>
              </a:spcAft>
              <a:buFontTx/>
              <a:buBlip>
                <a:blip r:embed="rId3"/>
              </a:buBlip>
              <a:defRPr sz="1400" b="1">
                <a:solidFill>
                  <a:schemeClr val="tx1"/>
                </a:solidFill>
              </a:defRPr>
            </a:lvl4pPr>
            <a:lvl5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4"/>
              </a:buBlip>
              <a:defRPr sz="1400" b="1">
                <a:solidFill>
                  <a:schemeClr val="tx1"/>
                </a:solidFill>
              </a:defRPr>
            </a:lvl5pPr>
            <a:lvl6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5"/>
              </a:buBlip>
              <a:defRPr sz="1400" b="1">
                <a:solidFill>
                  <a:schemeClr val="tx1"/>
                </a:solidFill>
              </a:defRPr>
            </a:lvl6pPr>
            <a:lvl7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6"/>
              </a:buBlip>
              <a:defRPr sz="1400" b="1">
                <a:solidFill>
                  <a:schemeClr val="tx1"/>
                </a:solidFill>
              </a:defRPr>
            </a:lvl7pPr>
            <a:lvl8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7"/>
              </a:buBlip>
              <a:defRPr sz="1400" b="1">
                <a:solidFill>
                  <a:schemeClr val="tx1"/>
                </a:solidFill>
              </a:defRPr>
            </a:lvl8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Puce bleu</a:t>
            </a:r>
          </a:p>
          <a:p>
            <a:pPr lvl="3"/>
            <a:r>
              <a:rPr lang="fr-FR" dirty="0"/>
              <a:t>Puce orange</a:t>
            </a:r>
          </a:p>
          <a:p>
            <a:pPr lvl="4"/>
            <a:r>
              <a:rPr lang="fr-FR" dirty="0"/>
              <a:t>Puce rouge</a:t>
            </a:r>
          </a:p>
          <a:p>
            <a:pPr lvl="5"/>
            <a:r>
              <a:rPr lang="fr-FR" dirty="0"/>
              <a:t>Puce vert d’eau</a:t>
            </a:r>
          </a:p>
          <a:p>
            <a:pPr lvl="6"/>
            <a:r>
              <a:rPr lang="fr-FR" dirty="0"/>
              <a:t>Puce verte</a:t>
            </a:r>
          </a:p>
          <a:p>
            <a:pPr lvl="7"/>
            <a:r>
              <a:rPr lang="fr-FR" dirty="0"/>
              <a:t>Puce violette</a:t>
            </a:r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B2156BC2-FC71-4D1F-B37F-36F71AB7D57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129050" y="0"/>
            <a:ext cx="1356852" cy="5143500"/>
          </a:xfrm>
          <a:custGeom>
            <a:avLst/>
            <a:gdLst>
              <a:gd name="connsiteX0" fmla="*/ 0 w 1508264"/>
              <a:gd name="connsiteY0" fmla="*/ 0 h 5125258"/>
              <a:gd name="connsiteX1" fmla="*/ 1508264 w 1508264"/>
              <a:gd name="connsiteY1" fmla="*/ 5160 h 5125258"/>
              <a:gd name="connsiteX2" fmla="*/ 1268913 w 1508264"/>
              <a:gd name="connsiteY2" fmla="*/ 2816519 h 5125258"/>
              <a:gd name="connsiteX3" fmla="*/ 1072354 w 1508264"/>
              <a:gd name="connsiteY3" fmla="*/ 5125258 h 5125258"/>
              <a:gd name="connsiteX4" fmla="*/ 151412 w 1508264"/>
              <a:gd name="connsiteY4" fmla="*/ 5157 h 5125258"/>
              <a:gd name="connsiteX0" fmla="*/ 0 w 1356852"/>
              <a:gd name="connsiteY0" fmla="*/ 0 h 5120101"/>
              <a:gd name="connsiteX1" fmla="*/ 1356852 w 1356852"/>
              <a:gd name="connsiteY1" fmla="*/ 3 h 5120101"/>
              <a:gd name="connsiteX2" fmla="*/ 1117501 w 1356852"/>
              <a:gd name="connsiteY2" fmla="*/ 2811362 h 5120101"/>
              <a:gd name="connsiteX3" fmla="*/ 920942 w 1356852"/>
              <a:gd name="connsiteY3" fmla="*/ 5120101 h 5120101"/>
              <a:gd name="connsiteX4" fmla="*/ 0 w 1356852"/>
              <a:gd name="connsiteY4" fmla="*/ 0 h 5120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56852" h="5120101">
                <a:moveTo>
                  <a:pt x="0" y="0"/>
                </a:moveTo>
                <a:lnTo>
                  <a:pt x="1356852" y="3"/>
                </a:lnTo>
                <a:lnTo>
                  <a:pt x="1117501" y="2811362"/>
                </a:lnTo>
                <a:lnTo>
                  <a:pt x="920942" y="5120101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alpha val="8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11" name="Titre 1">
            <a:extLst>
              <a:ext uri="{FF2B5EF4-FFF2-40B4-BE49-F238E27FC236}">
                <a16:creationId xmlns:a16="http://schemas.microsoft.com/office/drawing/2014/main" id="{77D3BAD7-91CA-45C1-8644-7B0FCB1D2E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1669" y="349390"/>
            <a:ext cx="5068800" cy="757130"/>
          </a:xfrm>
        </p:spPr>
        <p:txBody>
          <a:bodyPr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Titre de la slide</a:t>
            </a:r>
            <a:br>
              <a:rPr lang="fr-FR" dirty="0"/>
            </a:br>
            <a:r>
              <a:rPr lang="fr-FR" dirty="0"/>
              <a:t>sur deux lign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0E9C47C-828D-42F4-8D18-0AAD2F9715E8}"/>
              </a:ext>
            </a:extLst>
          </p:cNvPr>
          <p:cNvSpPr/>
          <p:nvPr userDrawn="1"/>
        </p:nvSpPr>
        <p:spPr>
          <a:xfrm>
            <a:off x="4281011" y="1246048"/>
            <a:ext cx="360000" cy="45719"/>
          </a:xfrm>
          <a:prstGeom prst="rect">
            <a:avLst/>
          </a:prstGeom>
          <a:solidFill>
            <a:srgbClr val="3A1B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71FB6C94-4C94-44CD-8E09-7270E29D7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48000" y="2811362"/>
            <a:ext cx="519702" cy="2332138"/>
          </a:xfrm>
          <a:custGeom>
            <a:avLst/>
            <a:gdLst>
              <a:gd name="connsiteX0" fmla="*/ 198551 w 519702"/>
              <a:gd name="connsiteY0" fmla="*/ 0 h 2332138"/>
              <a:gd name="connsiteX1" fmla="*/ 519702 w 519702"/>
              <a:gd name="connsiteY1" fmla="*/ 2332138 h 2332138"/>
              <a:gd name="connsiteX2" fmla="*/ 0 w 519702"/>
              <a:gd name="connsiteY2" fmla="*/ 2332138 h 2332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19702" h="2332138">
                <a:moveTo>
                  <a:pt x="198551" y="0"/>
                </a:moveTo>
                <a:lnTo>
                  <a:pt x="519702" y="2332138"/>
                </a:lnTo>
                <a:lnTo>
                  <a:pt x="0" y="233213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180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93938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1" name="Espace réservé pour une image  520">
            <a:extLst>
              <a:ext uri="{FF2B5EF4-FFF2-40B4-BE49-F238E27FC236}">
                <a16:creationId xmlns:a16="http://schemas.microsoft.com/office/drawing/2014/main" id="{B8DAB854-64EB-4DD7-A364-5485ED453A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246551" y="-1"/>
            <a:ext cx="5897449" cy="5143501"/>
          </a:xfrm>
          <a:custGeom>
            <a:avLst/>
            <a:gdLst>
              <a:gd name="connsiteX0" fmla="*/ 0 w 6088062"/>
              <a:gd name="connsiteY0" fmla="*/ 0 h 5143501"/>
              <a:gd name="connsiteX1" fmla="*/ 6088062 w 6088062"/>
              <a:gd name="connsiteY1" fmla="*/ 0 h 5143501"/>
              <a:gd name="connsiteX2" fmla="*/ 6088062 w 6088062"/>
              <a:gd name="connsiteY2" fmla="*/ 5143501 h 5143501"/>
              <a:gd name="connsiteX3" fmla="*/ 511764 w 6088062"/>
              <a:gd name="connsiteY3" fmla="*/ 5143501 h 5143501"/>
              <a:gd name="connsiteX4" fmla="*/ 190613 w 6088062"/>
              <a:gd name="connsiteY4" fmla="*/ 2811363 h 5143501"/>
              <a:gd name="connsiteX5" fmla="*/ 429964 w 6088062"/>
              <a:gd name="connsiteY5" fmla="*/ 1 h 5143501"/>
              <a:gd name="connsiteX6" fmla="*/ 0 w 6088062"/>
              <a:gd name="connsiteY6" fmla="*/ 1 h 5143501"/>
              <a:gd name="connsiteX0" fmla="*/ 0 w 6088062"/>
              <a:gd name="connsiteY0" fmla="*/ 1 h 5143501"/>
              <a:gd name="connsiteX1" fmla="*/ 6088062 w 6088062"/>
              <a:gd name="connsiteY1" fmla="*/ 0 h 5143501"/>
              <a:gd name="connsiteX2" fmla="*/ 6088062 w 6088062"/>
              <a:gd name="connsiteY2" fmla="*/ 5143501 h 5143501"/>
              <a:gd name="connsiteX3" fmla="*/ 511764 w 6088062"/>
              <a:gd name="connsiteY3" fmla="*/ 5143501 h 5143501"/>
              <a:gd name="connsiteX4" fmla="*/ 190613 w 6088062"/>
              <a:gd name="connsiteY4" fmla="*/ 2811363 h 5143501"/>
              <a:gd name="connsiteX5" fmla="*/ 429964 w 6088062"/>
              <a:gd name="connsiteY5" fmla="*/ 1 h 5143501"/>
              <a:gd name="connsiteX6" fmla="*/ 0 w 6088062"/>
              <a:gd name="connsiteY6" fmla="*/ 1 h 5143501"/>
              <a:gd name="connsiteX0" fmla="*/ 239351 w 5897449"/>
              <a:gd name="connsiteY0" fmla="*/ 1 h 5143501"/>
              <a:gd name="connsiteX1" fmla="*/ 5897449 w 5897449"/>
              <a:gd name="connsiteY1" fmla="*/ 0 h 5143501"/>
              <a:gd name="connsiteX2" fmla="*/ 5897449 w 5897449"/>
              <a:gd name="connsiteY2" fmla="*/ 5143501 h 5143501"/>
              <a:gd name="connsiteX3" fmla="*/ 321151 w 5897449"/>
              <a:gd name="connsiteY3" fmla="*/ 5143501 h 5143501"/>
              <a:gd name="connsiteX4" fmla="*/ 0 w 5897449"/>
              <a:gd name="connsiteY4" fmla="*/ 2811363 h 5143501"/>
              <a:gd name="connsiteX5" fmla="*/ 239351 w 5897449"/>
              <a:gd name="connsiteY5" fmla="*/ 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97449" h="5143501">
                <a:moveTo>
                  <a:pt x="239351" y="1"/>
                </a:moveTo>
                <a:lnTo>
                  <a:pt x="5897449" y="0"/>
                </a:lnTo>
                <a:lnTo>
                  <a:pt x="5897449" y="5143501"/>
                </a:lnTo>
                <a:lnTo>
                  <a:pt x="321151" y="5143501"/>
                </a:lnTo>
                <a:lnTo>
                  <a:pt x="0" y="2811363"/>
                </a:lnTo>
                <a:lnTo>
                  <a:pt x="239351" y="1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6CB10B59-8983-482C-BCD8-596396CF9E36}"/>
              </a:ext>
            </a:extLst>
          </p:cNvPr>
          <p:cNvGrpSpPr/>
          <p:nvPr userDrawn="1"/>
        </p:nvGrpSpPr>
        <p:grpSpPr>
          <a:xfrm>
            <a:off x="-91485" y="-107301"/>
            <a:ext cx="3580993" cy="5352842"/>
            <a:chOff x="-91485" y="-107301"/>
            <a:chExt cx="3580993" cy="5352842"/>
          </a:xfrm>
          <a:solidFill>
            <a:schemeClr val="bg2">
              <a:alpha val="5000"/>
            </a:schemeClr>
          </a:solidFill>
        </p:grpSpPr>
        <p:sp>
          <p:nvSpPr>
            <p:cNvPr id="7" name="Forme libre : forme 6">
              <a:extLst>
                <a:ext uri="{FF2B5EF4-FFF2-40B4-BE49-F238E27FC236}">
                  <a16:creationId xmlns:a16="http://schemas.microsoft.com/office/drawing/2014/main" id="{FB10E9E7-487F-4046-97FA-383A90CB2678}"/>
                </a:ext>
              </a:extLst>
            </p:cNvPr>
            <p:cNvSpPr/>
            <p:nvPr/>
          </p:nvSpPr>
          <p:spPr>
            <a:xfrm rot="8716295">
              <a:off x="3051469" y="229467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857E0B3E-CF84-4275-8769-4FA84ACE4C3B}"/>
                </a:ext>
              </a:extLst>
            </p:cNvPr>
            <p:cNvSpPr/>
            <p:nvPr/>
          </p:nvSpPr>
          <p:spPr>
            <a:xfrm rot="8716295">
              <a:off x="3141426" y="2335684"/>
              <a:ext cx="209149" cy="247728"/>
            </a:xfrm>
            <a:custGeom>
              <a:avLst/>
              <a:gdLst>
                <a:gd name="connsiteX0" fmla="*/ 147179 w 209149"/>
                <a:gd name="connsiteY0" fmla="*/ 90980 h 247728"/>
                <a:gd name="connsiteX1" fmla="*/ 147179 w 209149"/>
                <a:gd name="connsiteY1" fmla="*/ 74577 h 247728"/>
                <a:gd name="connsiteX2" fmla="*/ 137667 w 209149"/>
                <a:gd name="connsiteY2" fmla="*/ 44616 h 247728"/>
                <a:gd name="connsiteX3" fmla="*/ 132652 w 209149"/>
                <a:gd name="connsiteY3" fmla="*/ 42232 h 247728"/>
                <a:gd name="connsiteX4" fmla="*/ 167583 w 209149"/>
                <a:gd name="connsiteY4" fmla="*/ 0 h 247728"/>
                <a:gd name="connsiteX5" fmla="*/ 189157 w 209149"/>
                <a:gd name="connsiteY5" fmla="*/ 15682 h 247728"/>
                <a:gd name="connsiteX6" fmla="*/ 209149 w 209149"/>
                <a:gd name="connsiteY6" fmla="*/ 81411 h 247728"/>
                <a:gd name="connsiteX7" fmla="*/ 209149 w 209149"/>
                <a:gd name="connsiteY7" fmla="*/ 87335 h 247728"/>
                <a:gd name="connsiteX8" fmla="*/ 0 w 209149"/>
                <a:gd name="connsiteY8" fmla="*/ 247728 h 247728"/>
                <a:gd name="connsiteX9" fmla="*/ 0 w 209149"/>
                <a:gd name="connsiteY9" fmla="*/ 202611 h 247728"/>
                <a:gd name="connsiteX10" fmla="*/ 60148 w 209149"/>
                <a:gd name="connsiteY10" fmla="*/ 129891 h 247728"/>
                <a:gd name="connsiteX11" fmla="*/ 60148 w 209149"/>
                <a:gd name="connsiteY11" fmla="*/ 206719 h 24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9149" h="247728">
                  <a:moveTo>
                    <a:pt x="147179" y="90980"/>
                  </a:moveTo>
                  <a:lnTo>
                    <a:pt x="147179" y="74577"/>
                  </a:lnTo>
                  <a:cubicBezTo>
                    <a:pt x="147179" y="62273"/>
                    <a:pt x="143648" y="51907"/>
                    <a:pt x="137667" y="44616"/>
                  </a:cubicBezTo>
                  <a:lnTo>
                    <a:pt x="132652" y="42232"/>
                  </a:lnTo>
                  <a:lnTo>
                    <a:pt x="167583" y="0"/>
                  </a:lnTo>
                  <a:lnTo>
                    <a:pt x="189157" y="15682"/>
                  </a:lnTo>
                  <a:cubicBezTo>
                    <a:pt x="202086" y="30833"/>
                    <a:pt x="209149" y="53160"/>
                    <a:pt x="209149" y="81411"/>
                  </a:cubicBezTo>
                  <a:lnTo>
                    <a:pt x="209149" y="87335"/>
                  </a:lnTo>
                  <a:close/>
                  <a:moveTo>
                    <a:pt x="0" y="247728"/>
                  </a:moveTo>
                  <a:lnTo>
                    <a:pt x="0" y="202611"/>
                  </a:lnTo>
                  <a:lnTo>
                    <a:pt x="60148" y="129891"/>
                  </a:lnTo>
                  <a:lnTo>
                    <a:pt x="60148" y="20671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CA2EC427-A3CB-46EB-8802-9FA3F8105B5A}"/>
                </a:ext>
              </a:extLst>
            </p:cNvPr>
            <p:cNvSpPr/>
            <p:nvPr/>
          </p:nvSpPr>
          <p:spPr>
            <a:xfrm rot="8716295">
              <a:off x="3096011" y="2237639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474F4DDA-4FC2-4669-AB5F-02BB5506B529}"/>
                </a:ext>
              </a:extLst>
            </p:cNvPr>
            <p:cNvSpPr/>
            <p:nvPr/>
          </p:nvSpPr>
          <p:spPr>
            <a:xfrm rot="8716295">
              <a:off x="2939235" y="238322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D8FF9A2A-12F4-4D4A-838C-2EA6068FA2AB}"/>
                </a:ext>
              </a:extLst>
            </p:cNvPr>
            <p:cNvSpPr/>
            <p:nvPr/>
          </p:nvSpPr>
          <p:spPr>
            <a:xfrm rot="8716295">
              <a:off x="2814332" y="217454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56247F38-2BB4-4C4A-A842-2BBC34C00B4B}"/>
                </a:ext>
              </a:extLst>
            </p:cNvPr>
            <p:cNvSpPr/>
            <p:nvPr/>
          </p:nvSpPr>
          <p:spPr>
            <a:xfrm rot="8716295">
              <a:off x="2802280" y="203576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6B40DCDD-1ED3-48EB-9DB0-DEE21DA8FE29}"/>
                </a:ext>
              </a:extLst>
            </p:cNvPr>
            <p:cNvSpPr/>
            <p:nvPr/>
          </p:nvSpPr>
          <p:spPr>
            <a:xfrm rot="8716295">
              <a:off x="3029413" y="2424173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EEC2D8FD-062C-4F42-B8C0-F129DEB5F20C}"/>
                </a:ext>
              </a:extLst>
            </p:cNvPr>
            <p:cNvSpPr/>
            <p:nvPr/>
          </p:nvSpPr>
          <p:spPr>
            <a:xfrm rot="8716295">
              <a:off x="3300250" y="2118999"/>
              <a:ext cx="9515" cy="11504"/>
            </a:xfrm>
            <a:custGeom>
              <a:avLst/>
              <a:gdLst>
                <a:gd name="connsiteX0" fmla="*/ 0 w 9515"/>
                <a:gd name="connsiteY0" fmla="*/ 11504 h 11504"/>
                <a:gd name="connsiteX1" fmla="*/ 9515 w 9515"/>
                <a:gd name="connsiteY1" fmla="*/ 0 h 11504"/>
                <a:gd name="connsiteX2" fmla="*/ 9515 w 9515"/>
                <a:gd name="connsiteY2" fmla="*/ 7741 h 11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15" h="11504">
                  <a:moveTo>
                    <a:pt x="0" y="11504"/>
                  </a:moveTo>
                  <a:lnTo>
                    <a:pt x="9515" y="0"/>
                  </a:lnTo>
                  <a:lnTo>
                    <a:pt x="9515" y="77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15A33F8C-9B7A-4D6A-854E-3D326335591D}"/>
                </a:ext>
              </a:extLst>
            </p:cNvPr>
            <p:cNvSpPr/>
            <p:nvPr/>
          </p:nvSpPr>
          <p:spPr>
            <a:xfrm rot="8716295">
              <a:off x="3228334" y="213306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949EEDA1-3E93-4DFB-8B0F-8D57B83C540E}"/>
                </a:ext>
              </a:extLst>
            </p:cNvPr>
            <p:cNvSpPr/>
            <p:nvPr/>
          </p:nvSpPr>
          <p:spPr>
            <a:xfrm rot="8716295">
              <a:off x="3098921" y="1924310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44680 h 195874"/>
                <a:gd name="connsiteX5" fmla="*/ 36955 w 203847"/>
                <a:gd name="connsiteY5" fmla="*/ 0 h 195874"/>
                <a:gd name="connsiteX6" fmla="*/ 203847 w 203847"/>
                <a:gd name="connsiteY6" fmla="*/ 0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44680"/>
                  </a:lnTo>
                  <a:lnTo>
                    <a:pt x="36955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513E3AB2-D8F3-4D40-BC3C-53ABB60A2331}"/>
                </a:ext>
              </a:extLst>
            </p:cNvPr>
            <p:cNvSpPr/>
            <p:nvPr/>
          </p:nvSpPr>
          <p:spPr>
            <a:xfrm rot="8716295">
              <a:off x="3275349" y="2211673"/>
              <a:ext cx="24727" cy="53686"/>
            </a:xfrm>
            <a:custGeom>
              <a:avLst/>
              <a:gdLst>
                <a:gd name="connsiteX0" fmla="*/ 24727 w 24727"/>
                <a:gd name="connsiteY0" fmla="*/ 53686 h 53686"/>
                <a:gd name="connsiteX1" fmla="*/ 0 w 24727"/>
                <a:gd name="connsiteY1" fmla="*/ 29895 h 53686"/>
                <a:gd name="connsiteX2" fmla="*/ 24727 w 24727"/>
                <a:gd name="connsiteY2" fmla="*/ 0 h 53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27" h="53686">
                  <a:moveTo>
                    <a:pt x="24727" y="53686"/>
                  </a:moveTo>
                  <a:lnTo>
                    <a:pt x="0" y="29895"/>
                  </a:lnTo>
                  <a:lnTo>
                    <a:pt x="2472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69A3C0F4-2579-479E-90C6-255E973C947C}"/>
                </a:ext>
              </a:extLst>
            </p:cNvPr>
            <p:cNvSpPr/>
            <p:nvPr/>
          </p:nvSpPr>
          <p:spPr>
            <a:xfrm rot="8716295">
              <a:off x="3077061" y="202442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9022B708-F9CE-40AF-852D-9A004CAB7675}"/>
                </a:ext>
              </a:extLst>
            </p:cNvPr>
            <p:cNvSpPr/>
            <p:nvPr/>
          </p:nvSpPr>
          <p:spPr>
            <a:xfrm rot="8716295">
              <a:off x="3162402" y="30429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19F4F78B-5673-4710-BAF3-3B1975D1B861}"/>
                </a:ext>
              </a:extLst>
            </p:cNvPr>
            <p:cNvSpPr/>
            <p:nvPr/>
          </p:nvSpPr>
          <p:spPr>
            <a:xfrm rot="8716295">
              <a:off x="3033531" y="2835902"/>
              <a:ext cx="197743" cy="195873"/>
            </a:xfrm>
            <a:custGeom>
              <a:avLst/>
              <a:gdLst>
                <a:gd name="connsiteX0" fmla="*/ 84606 w 197743"/>
                <a:gd name="connsiteY0" fmla="*/ 195873 h 195873"/>
                <a:gd name="connsiteX1" fmla="*/ 41743 w 197743"/>
                <a:gd name="connsiteY1" fmla="*/ 116129 h 195873"/>
                <a:gd name="connsiteX2" fmla="*/ 63673 w 197743"/>
                <a:gd name="connsiteY2" fmla="*/ 55323 h 195873"/>
                <a:gd name="connsiteX3" fmla="*/ 0 w 197743"/>
                <a:gd name="connsiteY3" fmla="*/ 55323 h 195873"/>
                <a:gd name="connsiteX4" fmla="*/ 45759 w 197743"/>
                <a:gd name="connsiteY4" fmla="*/ 0 h 195873"/>
                <a:gd name="connsiteX5" fmla="*/ 197743 w 197743"/>
                <a:gd name="connsiteY5" fmla="*/ 0 h 195873"/>
                <a:gd name="connsiteX6" fmla="*/ 197743 w 197743"/>
                <a:gd name="connsiteY6" fmla="*/ 55323 h 195873"/>
                <a:gd name="connsiteX7" fmla="*/ 132951 w 197743"/>
                <a:gd name="connsiteY7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7743" h="195873">
                  <a:moveTo>
                    <a:pt x="84606" y="195873"/>
                  </a:moveTo>
                  <a:lnTo>
                    <a:pt x="41743" y="116129"/>
                  </a:lnTo>
                  <a:lnTo>
                    <a:pt x="63673" y="55323"/>
                  </a:lnTo>
                  <a:lnTo>
                    <a:pt x="0" y="55323"/>
                  </a:lnTo>
                  <a:lnTo>
                    <a:pt x="45759" y="0"/>
                  </a:lnTo>
                  <a:lnTo>
                    <a:pt x="197743" y="0"/>
                  </a:lnTo>
                  <a:lnTo>
                    <a:pt x="197743" y="55323"/>
                  </a:lnTo>
                  <a:lnTo>
                    <a:pt x="132951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0BB66207-2F6B-4469-9703-071564C7D57B}"/>
                </a:ext>
              </a:extLst>
            </p:cNvPr>
            <p:cNvSpPr/>
            <p:nvPr/>
          </p:nvSpPr>
          <p:spPr>
            <a:xfrm rot="8716295">
              <a:off x="2982649" y="2705505"/>
              <a:ext cx="289489" cy="211444"/>
            </a:xfrm>
            <a:custGeom>
              <a:avLst/>
              <a:gdLst>
                <a:gd name="connsiteX0" fmla="*/ 24145 w 289489"/>
                <a:gd name="connsiteY0" fmla="*/ 181853 h 211444"/>
                <a:gd name="connsiteX1" fmla="*/ 3994 w 289489"/>
                <a:gd name="connsiteY1" fmla="*/ 142066 h 211444"/>
                <a:gd name="connsiteX2" fmla="*/ 0 w 289489"/>
                <a:gd name="connsiteY2" fmla="*/ 94419 h 211444"/>
                <a:gd name="connsiteX3" fmla="*/ 78096 w 289489"/>
                <a:gd name="connsiteY3" fmla="*/ 0 h 211444"/>
                <a:gd name="connsiteX4" fmla="*/ 78273 w 289489"/>
                <a:gd name="connsiteY4" fmla="*/ 24764 h 211444"/>
                <a:gd name="connsiteX5" fmla="*/ 92393 w 289489"/>
                <a:gd name="connsiteY5" fmla="*/ 122430 h 211444"/>
                <a:gd name="connsiteX6" fmla="*/ 162994 w 289489"/>
                <a:gd name="connsiteY6" fmla="*/ 161261 h 211444"/>
                <a:gd name="connsiteX7" fmla="*/ 215946 w 289489"/>
                <a:gd name="connsiteY7" fmla="*/ 151847 h 211444"/>
                <a:gd name="connsiteX8" fmla="*/ 288313 w 289489"/>
                <a:gd name="connsiteY8" fmla="*/ 122430 h 211444"/>
                <a:gd name="connsiteX9" fmla="*/ 289489 w 289489"/>
                <a:gd name="connsiteY9" fmla="*/ 130078 h 211444"/>
                <a:gd name="connsiteX10" fmla="*/ 289489 w 289489"/>
                <a:gd name="connsiteY10" fmla="*/ 135962 h 211444"/>
                <a:gd name="connsiteX11" fmla="*/ 96512 w 289489"/>
                <a:gd name="connsiteY11" fmla="*/ 211270 h 211444"/>
                <a:gd name="connsiteX12" fmla="*/ 24145 w 289489"/>
                <a:gd name="connsiteY12" fmla="*/ 181853 h 211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9489" h="211444">
                  <a:moveTo>
                    <a:pt x="24145" y="181853"/>
                  </a:moveTo>
                  <a:cubicBezTo>
                    <a:pt x="14143" y="172145"/>
                    <a:pt x="7818" y="158907"/>
                    <a:pt x="3994" y="142066"/>
                  </a:cubicBezTo>
                  <a:lnTo>
                    <a:pt x="0" y="94419"/>
                  </a:lnTo>
                  <a:lnTo>
                    <a:pt x="78096" y="0"/>
                  </a:lnTo>
                  <a:lnTo>
                    <a:pt x="78273" y="24764"/>
                  </a:lnTo>
                  <a:cubicBezTo>
                    <a:pt x="76508" y="57712"/>
                    <a:pt x="81803" y="91247"/>
                    <a:pt x="92393" y="122430"/>
                  </a:cubicBezTo>
                  <a:cubicBezTo>
                    <a:pt x="101807" y="148317"/>
                    <a:pt x="125929" y="161261"/>
                    <a:pt x="162994" y="161261"/>
                  </a:cubicBezTo>
                  <a:cubicBezTo>
                    <a:pt x="181234" y="160672"/>
                    <a:pt x="198884" y="157142"/>
                    <a:pt x="215946" y="151847"/>
                  </a:cubicBezTo>
                  <a:cubicBezTo>
                    <a:pt x="240656" y="144198"/>
                    <a:pt x="264779" y="134197"/>
                    <a:pt x="288313" y="122430"/>
                  </a:cubicBezTo>
                  <a:cubicBezTo>
                    <a:pt x="288901" y="124783"/>
                    <a:pt x="289489" y="127725"/>
                    <a:pt x="289489" y="130078"/>
                  </a:cubicBezTo>
                  <a:lnTo>
                    <a:pt x="289489" y="135962"/>
                  </a:lnTo>
                  <a:cubicBezTo>
                    <a:pt x="227125" y="189501"/>
                    <a:pt x="145344" y="208329"/>
                    <a:pt x="96512" y="211270"/>
                  </a:cubicBezTo>
                  <a:cubicBezTo>
                    <a:pt x="69448" y="213035"/>
                    <a:pt x="42972" y="201268"/>
                    <a:pt x="24145" y="18185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4BE2CE41-0D24-49C7-BC05-1CA24F174056}"/>
                </a:ext>
              </a:extLst>
            </p:cNvPr>
            <p:cNvSpPr/>
            <p:nvPr/>
          </p:nvSpPr>
          <p:spPr>
            <a:xfrm rot="8716295">
              <a:off x="3205022" y="3125495"/>
              <a:ext cx="16424" cy="35661"/>
            </a:xfrm>
            <a:custGeom>
              <a:avLst/>
              <a:gdLst>
                <a:gd name="connsiteX0" fmla="*/ 16424 w 16424"/>
                <a:gd name="connsiteY0" fmla="*/ 35661 h 35661"/>
                <a:gd name="connsiteX1" fmla="*/ 0 w 16424"/>
                <a:gd name="connsiteY1" fmla="*/ 19858 h 35661"/>
                <a:gd name="connsiteX2" fmla="*/ 16424 w 16424"/>
                <a:gd name="connsiteY2" fmla="*/ 0 h 35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24" h="35661">
                  <a:moveTo>
                    <a:pt x="16424" y="35661"/>
                  </a:moveTo>
                  <a:lnTo>
                    <a:pt x="0" y="19858"/>
                  </a:lnTo>
                  <a:lnTo>
                    <a:pt x="16424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3C113F76-2275-4CD3-8629-730BFE6915AD}"/>
                </a:ext>
              </a:extLst>
            </p:cNvPr>
            <p:cNvSpPr/>
            <p:nvPr/>
          </p:nvSpPr>
          <p:spPr>
            <a:xfrm rot="8716295">
              <a:off x="2829951" y="16337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7B2BDFC9-A5B6-45EA-A262-AC19DCF358A2}"/>
                </a:ext>
              </a:extLst>
            </p:cNvPr>
            <p:cNvSpPr/>
            <p:nvPr/>
          </p:nvSpPr>
          <p:spPr>
            <a:xfrm rot="8716295">
              <a:off x="2919343" y="16629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2A249ED1-9FC2-465F-B1C2-CE832E06DAAB}"/>
                </a:ext>
              </a:extLst>
            </p:cNvPr>
            <p:cNvSpPr/>
            <p:nvPr/>
          </p:nvSpPr>
          <p:spPr>
            <a:xfrm rot="8716295">
              <a:off x="2874493" y="157666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D737513C-09E2-4A85-9268-7028FEA47AEC}"/>
                </a:ext>
              </a:extLst>
            </p:cNvPr>
            <p:cNvSpPr/>
            <p:nvPr/>
          </p:nvSpPr>
          <p:spPr>
            <a:xfrm rot="8716295">
              <a:off x="2717717" y="172224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B6E113ED-200A-42D1-8A9B-64F2EA6FEC37}"/>
                </a:ext>
              </a:extLst>
            </p:cNvPr>
            <p:cNvSpPr/>
            <p:nvPr/>
          </p:nvSpPr>
          <p:spPr>
            <a:xfrm rot="8716295">
              <a:off x="2592814" y="151357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C7386AEF-343D-4F67-937B-2D8AE784432C}"/>
                </a:ext>
              </a:extLst>
            </p:cNvPr>
            <p:cNvSpPr/>
            <p:nvPr/>
          </p:nvSpPr>
          <p:spPr>
            <a:xfrm rot="8716295">
              <a:off x="2580762" y="137479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D18230E6-6046-4801-9551-295B7C3DC9AE}"/>
                </a:ext>
              </a:extLst>
            </p:cNvPr>
            <p:cNvSpPr/>
            <p:nvPr/>
          </p:nvSpPr>
          <p:spPr>
            <a:xfrm rot="8716295">
              <a:off x="2807895" y="176319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AA767CF2-B25B-4F2C-8315-830DDA4419B8}"/>
                </a:ext>
              </a:extLst>
            </p:cNvPr>
            <p:cNvSpPr/>
            <p:nvPr/>
          </p:nvSpPr>
          <p:spPr>
            <a:xfrm rot="8716295">
              <a:off x="3119050" y="138355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AAABA641-3338-40FA-9C39-41C30A22033E}"/>
                </a:ext>
              </a:extLst>
            </p:cNvPr>
            <p:cNvSpPr/>
            <p:nvPr/>
          </p:nvSpPr>
          <p:spPr>
            <a:xfrm rot="8716295">
              <a:off x="3209851" y="1424295"/>
              <a:ext cx="209149" cy="250692"/>
            </a:xfrm>
            <a:custGeom>
              <a:avLst/>
              <a:gdLst>
                <a:gd name="connsiteX0" fmla="*/ 147179 w 209149"/>
                <a:gd name="connsiteY0" fmla="*/ 93944 h 250692"/>
                <a:gd name="connsiteX1" fmla="*/ 147179 w 209149"/>
                <a:gd name="connsiteY1" fmla="*/ 77540 h 250692"/>
                <a:gd name="connsiteX2" fmla="*/ 137667 w 209149"/>
                <a:gd name="connsiteY2" fmla="*/ 47580 h 250692"/>
                <a:gd name="connsiteX3" fmla="*/ 123379 w 209149"/>
                <a:gd name="connsiteY3" fmla="*/ 40789 h 250692"/>
                <a:gd name="connsiteX4" fmla="*/ 157117 w 209149"/>
                <a:gd name="connsiteY4" fmla="*/ 0 h 250692"/>
                <a:gd name="connsiteX5" fmla="*/ 165512 w 209149"/>
                <a:gd name="connsiteY5" fmla="*/ 1459 h 250692"/>
                <a:gd name="connsiteX6" fmla="*/ 209149 w 209149"/>
                <a:gd name="connsiteY6" fmla="*/ 84375 h 250692"/>
                <a:gd name="connsiteX7" fmla="*/ 209149 w 209149"/>
                <a:gd name="connsiteY7" fmla="*/ 90299 h 250692"/>
                <a:gd name="connsiteX8" fmla="*/ 0 w 209149"/>
                <a:gd name="connsiteY8" fmla="*/ 250692 h 250692"/>
                <a:gd name="connsiteX9" fmla="*/ 0 w 209149"/>
                <a:gd name="connsiteY9" fmla="*/ 189958 h 250692"/>
                <a:gd name="connsiteX10" fmla="*/ 61066 w 209149"/>
                <a:gd name="connsiteY10" fmla="*/ 116127 h 250692"/>
                <a:gd name="connsiteX11" fmla="*/ 60148 w 209149"/>
                <a:gd name="connsiteY11" fmla="*/ 123562 h 250692"/>
                <a:gd name="connsiteX12" fmla="*/ 60148 w 209149"/>
                <a:gd name="connsiteY12" fmla="*/ 209683 h 250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9149" h="250692">
                  <a:moveTo>
                    <a:pt x="147179" y="93944"/>
                  </a:moveTo>
                  <a:lnTo>
                    <a:pt x="147179" y="77540"/>
                  </a:lnTo>
                  <a:cubicBezTo>
                    <a:pt x="147179" y="65237"/>
                    <a:pt x="143648" y="54871"/>
                    <a:pt x="137667" y="47580"/>
                  </a:cubicBezTo>
                  <a:lnTo>
                    <a:pt x="123379" y="40789"/>
                  </a:lnTo>
                  <a:lnTo>
                    <a:pt x="157117" y="0"/>
                  </a:lnTo>
                  <a:lnTo>
                    <a:pt x="165512" y="1459"/>
                  </a:lnTo>
                  <a:cubicBezTo>
                    <a:pt x="193258" y="12950"/>
                    <a:pt x="209149" y="41998"/>
                    <a:pt x="209149" y="84375"/>
                  </a:cubicBezTo>
                  <a:lnTo>
                    <a:pt x="209149" y="90299"/>
                  </a:lnTo>
                  <a:close/>
                  <a:moveTo>
                    <a:pt x="0" y="250692"/>
                  </a:moveTo>
                  <a:lnTo>
                    <a:pt x="0" y="189958"/>
                  </a:lnTo>
                  <a:lnTo>
                    <a:pt x="61066" y="116127"/>
                  </a:lnTo>
                  <a:lnTo>
                    <a:pt x="60148" y="123562"/>
                  </a:lnTo>
                  <a:lnTo>
                    <a:pt x="60148" y="2096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B2896D46-0FA6-4563-B073-9C0C36686641}"/>
                </a:ext>
              </a:extLst>
            </p:cNvPr>
            <p:cNvSpPr/>
            <p:nvPr/>
          </p:nvSpPr>
          <p:spPr>
            <a:xfrm rot="8716295">
              <a:off x="3006816" y="147209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6EEB717B-FEDB-4989-BE8E-3CB6F80A9A3D}"/>
                </a:ext>
              </a:extLst>
            </p:cNvPr>
            <p:cNvSpPr/>
            <p:nvPr/>
          </p:nvSpPr>
          <p:spPr>
            <a:xfrm rot="8716295">
              <a:off x="2881914" y="126342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F9A3D111-F2E6-4EEC-BA5F-E3F48E1BC144}"/>
                </a:ext>
              </a:extLst>
            </p:cNvPr>
            <p:cNvSpPr/>
            <p:nvPr/>
          </p:nvSpPr>
          <p:spPr>
            <a:xfrm rot="8716295">
              <a:off x="3096994" y="151304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F60E79F3-84EF-445B-800D-9716EB35B924}"/>
                </a:ext>
              </a:extLst>
            </p:cNvPr>
            <p:cNvSpPr/>
            <p:nvPr/>
          </p:nvSpPr>
          <p:spPr>
            <a:xfrm rot="8716295">
              <a:off x="2855543" y="136344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FDB4A4C0-E883-499D-A6D3-A301318DCD73}"/>
                </a:ext>
              </a:extLst>
            </p:cNvPr>
            <p:cNvSpPr/>
            <p:nvPr/>
          </p:nvSpPr>
          <p:spPr>
            <a:xfrm rot="7484129">
              <a:off x="3207325" y="1725125"/>
              <a:ext cx="156001" cy="194030"/>
            </a:xfrm>
            <a:custGeom>
              <a:avLst/>
              <a:gdLst>
                <a:gd name="connsiteX0" fmla="*/ 42863 w 156001"/>
                <a:gd name="connsiteY0" fmla="*/ 194030 h 194030"/>
                <a:gd name="connsiteX1" fmla="*/ 0 w 156001"/>
                <a:gd name="connsiteY1" fmla="*/ 114286 h 194030"/>
                <a:gd name="connsiteX2" fmla="*/ 11232 w 156001"/>
                <a:gd name="connsiteY2" fmla="*/ 83143 h 194030"/>
                <a:gd name="connsiteX3" fmla="*/ 156000 w 156001"/>
                <a:gd name="connsiteY3" fmla="*/ 0 h 194030"/>
                <a:gd name="connsiteX4" fmla="*/ 156001 w 156001"/>
                <a:gd name="connsiteY4" fmla="*/ 53480 h 194030"/>
                <a:gd name="connsiteX5" fmla="*/ 91208 w 156001"/>
                <a:gd name="connsiteY5" fmla="*/ 53480 h 194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6001" h="194030">
                  <a:moveTo>
                    <a:pt x="42863" y="194030"/>
                  </a:moveTo>
                  <a:lnTo>
                    <a:pt x="0" y="114286"/>
                  </a:lnTo>
                  <a:lnTo>
                    <a:pt x="11232" y="83143"/>
                  </a:lnTo>
                  <a:lnTo>
                    <a:pt x="156000" y="0"/>
                  </a:lnTo>
                  <a:lnTo>
                    <a:pt x="156001" y="53480"/>
                  </a:lnTo>
                  <a:lnTo>
                    <a:pt x="91208" y="5348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0B787B40-9B3B-4DF6-B826-D34E59D7A748}"/>
                </a:ext>
              </a:extLst>
            </p:cNvPr>
            <p:cNvSpPr/>
            <p:nvPr/>
          </p:nvSpPr>
          <p:spPr>
            <a:xfrm rot="8716295">
              <a:off x="3197279" y="140587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0A8098AC-35DA-4C71-BDFA-C584261AED79}"/>
                </a:ext>
              </a:extLst>
            </p:cNvPr>
            <p:cNvSpPr/>
            <p:nvPr/>
          </p:nvSpPr>
          <p:spPr>
            <a:xfrm rot="8716295">
              <a:off x="3356472" y="1273070"/>
              <a:ext cx="38162" cy="46138"/>
            </a:xfrm>
            <a:custGeom>
              <a:avLst/>
              <a:gdLst>
                <a:gd name="connsiteX0" fmla="*/ 0 w 38162"/>
                <a:gd name="connsiteY0" fmla="*/ 46138 h 46138"/>
                <a:gd name="connsiteX1" fmla="*/ 38162 w 38162"/>
                <a:gd name="connsiteY1" fmla="*/ 0 h 46138"/>
                <a:gd name="connsiteX2" fmla="*/ 35645 w 38162"/>
                <a:gd name="connsiteY2" fmla="*/ 12962 h 46138"/>
                <a:gd name="connsiteX3" fmla="*/ 22710 w 38162"/>
                <a:gd name="connsiteY3" fmla="*/ 32494 h 46138"/>
                <a:gd name="connsiteX4" fmla="*/ 3739 w 38162"/>
                <a:gd name="connsiteY4" fmla="*/ 45372 h 46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62" h="46138">
                  <a:moveTo>
                    <a:pt x="0" y="46138"/>
                  </a:moveTo>
                  <a:lnTo>
                    <a:pt x="38162" y="0"/>
                  </a:lnTo>
                  <a:lnTo>
                    <a:pt x="35645" y="12962"/>
                  </a:lnTo>
                  <a:cubicBezTo>
                    <a:pt x="32771" y="20076"/>
                    <a:pt x="28459" y="26745"/>
                    <a:pt x="22710" y="32494"/>
                  </a:cubicBezTo>
                  <a:cubicBezTo>
                    <a:pt x="17191" y="38013"/>
                    <a:pt x="10753" y="42382"/>
                    <a:pt x="3739" y="4537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C5475FFB-2FE6-47F1-ADB1-3564B7362FBC}"/>
                </a:ext>
              </a:extLst>
            </p:cNvPr>
            <p:cNvSpPr/>
            <p:nvPr/>
          </p:nvSpPr>
          <p:spPr>
            <a:xfrm rot="8716295">
              <a:off x="2606784" y="97400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9DEC1430-749E-4073-9884-D3917B891663}"/>
                </a:ext>
              </a:extLst>
            </p:cNvPr>
            <p:cNvSpPr/>
            <p:nvPr/>
          </p:nvSpPr>
          <p:spPr>
            <a:xfrm rot="8716295">
              <a:off x="2696176" y="100324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626F965F-1168-4906-A312-B88FB685E6C8}"/>
                </a:ext>
              </a:extLst>
            </p:cNvPr>
            <p:cNvSpPr/>
            <p:nvPr/>
          </p:nvSpPr>
          <p:spPr>
            <a:xfrm rot="8716295">
              <a:off x="2651326" y="91696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63FEE4FF-1D87-4CAE-9FA8-9CF6A9D96EFB}"/>
                </a:ext>
              </a:extLst>
            </p:cNvPr>
            <p:cNvSpPr/>
            <p:nvPr/>
          </p:nvSpPr>
          <p:spPr>
            <a:xfrm rot="8716295">
              <a:off x="2494550" y="106254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BC11557D-3B0F-4F99-BB1C-10D4CD358771}"/>
                </a:ext>
              </a:extLst>
            </p:cNvPr>
            <p:cNvSpPr/>
            <p:nvPr/>
          </p:nvSpPr>
          <p:spPr>
            <a:xfrm rot="8716295">
              <a:off x="2369647" y="85387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1BF9B5DD-16B3-4C9A-A0CB-19167186C695}"/>
                </a:ext>
              </a:extLst>
            </p:cNvPr>
            <p:cNvSpPr/>
            <p:nvPr/>
          </p:nvSpPr>
          <p:spPr>
            <a:xfrm rot="8716295">
              <a:off x="2357595" y="71509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4BDAD41E-2E62-46D5-8972-DD9B42CE139E}"/>
                </a:ext>
              </a:extLst>
            </p:cNvPr>
            <p:cNvSpPr/>
            <p:nvPr/>
          </p:nvSpPr>
          <p:spPr>
            <a:xfrm rot="8716295">
              <a:off x="2584728" y="110350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49E7137B-1AE9-4612-BDE2-1AD75C253D82}"/>
                </a:ext>
              </a:extLst>
            </p:cNvPr>
            <p:cNvSpPr/>
            <p:nvPr/>
          </p:nvSpPr>
          <p:spPr>
            <a:xfrm rot="8716295">
              <a:off x="2895883" y="72385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FB51623D-A683-4809-B6F7-B7284C8425E7}"/>
                </a:ext>
              </a:extLst>
            </p:cNvPr>
            <p:cNvSpPr/>
            <p:nvPr/>
          </p:nvSpPr>
          <p:spPr>
            <a:xfrm rot="8716295">
              <a:off x="2985275" y="75309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281173AB-108D-4FE0-B6D3-50708833EE4A}"/>
                </a:ext>
              </a:extLst>
            </p:cNvPr>
            <p:cNvSpPr/>
            <p:nvPr/>
          </p:nvSpPr>
          <p:spPr>
            <a:xfrm rot="8716295">
              <a:off x="2783649" y="81239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BF07C4A0-5324-4C7F-B4EC-CC1184768828}"/>
                </a:ext>
              </a:extLst>
            </p:cNvPr>
            <p:cNvSpPr/>
            <p:nvPr/>
          </p:nvSpPr>
          <p:spPr>
            <a:xfrm rot="8716295">
              <a:off x="2658747" y="60372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6C1ACB1E-5691-49AE-AB29-06C5DC240D79}"/>
                </a:ext>
              </a:extLst>
            </p:cNvPr>
            <p:cNvSpPr/>
            <p:nvPr/>
          </p:nvSpPr>
          <p:spPr>
            <a:xfrm rot="8716295">
              <a:off x="2873827" y="85334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BBA32666-AB2E-4FC3-AC66-C412DC6DB6FE}"/>
                </a:ext>
              </a:extLst>
            </p:cNvPr>
            <p:cNvSpPr/>
            <p:nvPr/>
          </p:nvSpPr>
          <p:spPr>
            <a:xfrm rot="8716295">
              <a:off x="2632376" y="70374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446CB3B3-0538-4236-9A2B-B81F3C70F649}"/>
                </a:ext>
              </a:extLst>
            </p:cNvPr>
            <p:cNvSpPr/>
            <p:nvPr/>
          </p:nvSpPr>
          <p:spPr>
            <a:xfrm rot="7484129">
              <a:off x="2978758" y="10446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6FEF6605-DD46-4B6F-9434-E75F685EB3F1}"/>
                </a:ext>
              </a:extLst>
            </p:cNvPr>
            <p:cNvSpPr/>
            <p:nvPr/>
          </p:nvSpPr>
          <p:spPr>
            <a:xfrm rot="13089394">
              <a:off x="3083578" y="101123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5FAEA535-E5DC-4ECD-AC87-B4CF523A4E30}"/>
                </a:ext>
              </a:extLst>
            </p:cNvPr>
            <p:cNvSpPr/>
            <p:nvPr/>
          </p:nvSpPr>
          <p:spPr>
            <a:xfrm rot="8716295">
              <a:off x="3269163" y="81955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C4FD16EB-0DAD-4759-8354-258732BCDC6A}"/>
                </a:ext>
              </a:extLst>
            </p:cNvPr>
            <p:cNvSpPr/>
            <p:nvPr/>
          </p:nvSpPr>
          <p:spPr>
            <a:xfrm rot="8716295">
              <a:off x="3217358" y="71595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C79D5733-4C6C-4FFD-A38D-A89F64FE54C8}"/>
                </a:ext>
              </a:extLst>
            </p:cNvPr>
            <p:cNvSpPr/>
            <p:nvPr/>
          </p:nvSpPr>
          <p:spPr>
            <a:xfrm rot="8716295">
              <a:off x="2974112" y="74618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133AF81E-5F8E-4D81-87C0-011CC96E3CC9}"/>
                </a:ext>
              </a:extLst>
            </p:cNvPr>
            <p:cNvSpPr/>
            <p:nvPr/>
          </p:nvSpPr>
          <p:spPr>
            <a:xfrm rot="8716295">
              <a:off x="3151564" y="58693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F5BAA1B0-C7A6-44B2-8867-FEAE18AC26E8}"/>
                </a:ext>
              </a:extLst>
            </p:cNvPr>
            <p:cNvSpPr/>
            <p:nvPr/>
          </p:nvSpPr>
          <p:spPr>
            <a:xfrm rot="8716295">
              <a:off x="2387845" y="31194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orme libre : forme 58">
              <a:extLst>
                <a:ext uri="{FF2B5EF4-FFF2-40B4-BE49-F238E27FC236}">
                  <a16:creationId xmlns:a16="http://schemas.microsoft.com/office/drawing/2014/main" id="{B51F8FF7-DB45-4A7D-B87B-E8E0B15A9D38}"/>
                </a:ext>
              </a:extLst>
            </p:cNvPr>
            <p:cNvSpPr/>
            <p:nvPr/>
          </p:nvSpPr>
          <p:spPr>
            <a:xfrm rot="8716295">
              <a:off x="2477237" y="34118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orme libre : forme 59">
              <a:extLst>
                <a:ext uri="{FF2B5EF4-FFF2-40B4-BE49-F238E27FC236}">
                  <a16:creationId xmlns:a16="http://schemas.microsoft.com/office/drawing/2014/main" id="{1950BE25-03A0-4561-B14B-331445B0D0C3}"/>
                </a:ext>
              </a:extLst>
            </p:cNvPr>
            <p:cNvSpPr/>
            <p:nvPr/>
          </p:nvSpPr>
          <p:spPr>
            <a:xfrm rot="8716295">
              <a:off x="2432387" y="254908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orme libre : forme 60">
              <a:extLst>
                <a:ext uri="{FF2B5EF4-FFF2-40B4-BE49-F238E27FC236}">
                  <a16:creationId xmlns:a16="http://schemas.microsoft.com/office/drawing/2014/main" id="{1E041962-91AE-4D89-B179-1A31E1910CF1}"/>
                </a:ext>
              </a:extLst>
            </p:cNvPr>
            <p:cNvSpPr/>
            <p:nvPr/>
          </p:nvSpPr>
          <p:spPr>
            <a:xfrm rot="8716295">
              <a:off x="2275611" y="40049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orme libre : forme 61">
              <a:extLst>
                <a:ext uri="{FF2B5EF4-FFF2-40B4-BE49-F238E27FC236}">
                  <a16:creationId xmlns:a16="http://schemas.microsoft.com/office/drawing/2014/main" id="{376CFCCF-38DC-4A35-AA3F-E03998AD805A}"/>
                </a:ext>
              </a:extLst>
            </p:cNvPr>
            <p:cNvSpPr/>
            <p:nvPr/>
          </p:nvSpPr>
          <p:spPr>
            <a:xfrm rot="8716295">
              <a:off x="2150708" y="19181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orme libre : forme 62">
              <a:extLst>
                <a:ext uri="{FF2B5EF4-FFF2-40B4-BE49-F238E27FC236}">
                  <a16:creationId xmlns:a16="http://schemas.microsoft.com/office/drawing/2014/main" id="{68D158FE-3FEF-4222-A8A6-28BC2EB41760}"/>
                </a:ext>
              </a:extLst>
            </p:cNvPr>
            <p:cNvSpPr/>
            <p:nvPr/>
          </p:nvSpPr>
          <p:spPr>
            <a:xfrm rot="8716295">
              <a:off x="2138656" y="53037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orme libre : forme 63">
              <a:extLst>
                <a:ext uri="{FF2B5EF4-FFF2-40B4-BE49-F238E27FC236}">
                  <a16:creationId xmlns:a16="http://schemas.microsoft.com/office/drawing/2014/main" id="{DC9E9862-78FC-4213-B2E2-61DF3173636D}"/>
                </a:ext>
              </a:extLst>
            </p:cNvPr>
            <p:cNvSpPr/>
            <p:nvPr/>
          </p:nvSpPr>
          <p:spPr>
            <a:xfrm rot="8716295">
              <a:off x="2365789" y="441442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orme libre : forme 64">
              <a:extLst>
                <a:ext uri="{FF2B5EF4-FFF2-40B4-BE49-F238E27FC236}">
                  <a16:creationId xmlns:a16="http://schemas.microsoft.com/office/drawing/2014/main" id="{8722DBD7-5E81-4E3D-870A-6CD5E129D96B}"/>
                </a:ext>
              </a:extLst>
            </p:cNvPr>
            <p:cNvSpPr/>
            <p:nvPr/>
          </p:nvSpPr>
          <p:spPr>
            <a:xfrm rot="8716295">
              <a:off x="2676944" y="6179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orme libre : forme 65">
              <a:extLst>
                <a:ext uri="{FF2B5EF4-FFF2-40B4-BE49-F238E27FC236}">
                  <a16:creationId xmlns:a16="http://schemas.microsoft.com/office/drawing/2014/main" id="{43ED8C5C-290C-4E36-A603-A668764D918E}"/>
                </a:ext>
              </a:extLst>
            </p:cNvPr>
            <p:cNvSpPr/>
            <p:nvPr/>
          </p:nvSpPr>
          <p:spPr>
            <a:xfrm rot="8716295">
              <a:off x="2766336" y="9103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orme libre : forme 66">
              <a:extLst>
                <a:ext uri="{FF2B5EF4-FFF2-40B4-BE49-F238E27FC236}">
                  <a16:creationId xmlns:a16="http://schemas.microsoft.com/office/drawing/2014/main" id="{143AD9CC-AEFC-4AE6-ADAB-C03B27727981}"/>
                </a:ext>
              </a:extLst>
            </p:cNvPr>
            <p:cNvSpPr/>
            <p:nvPr/>
          </p:nvSpPr>
          <p:spPr>
            <a:xfrm rot="8716295">
              <a:off x="2564710" y="15033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03CE5A8E-699E-421E-ABA5-42929237719B}"/>
                </a:ext>
              </a:extLst>
            </p:cNvPr>
            <p:cNvSpPr/>
            <p:nvPr/>
          </p:nvSpPr>
          <p:spPr>
            <a:xfrm rot="8716295">
              <a:off x="2448552" y="-16031"/>
              <a:ext cx="203847" cy="149340"/>
            </a:xfrm>
            <a:custGeom>
              <a:avLst/>
              <a:gdLst>
                <a:gd name="connsiteX0" fmla="*/ 106716 w 203847"/>
                <a:gd name="connsiteY0" fmla="*/ 149340 h 149340"/>
                <a:gd name="connsiteX1" fmla="*/ 50038 w 203847"/>
                <a:gd name="connsiteY1" fmla="*/ 110053 h 149340"/>
                <a:gd name="connsiteX2" fmla="*/ 69777 w 203847"/>
                <a:gd name="connsiteY2" fmla="*/ 55323 h 149340"/>
                <a:gd name="connsiteX3" fmla="*/ 0 w 203847"/>
                <a:gd name="connsiteY3" fmla="*/ 55323 h 149340"/>
                <a:gd name="connsiteX4" fmla="*/ 0 w 203847"/>
                <a:gd name="connsiteY4" fmla="*/ 0 h 149340"/>
                <a:gd name="connsiteX5" fmla="*/ 203847 w 203847"/>
                <a:gd name="connsiteY5" fmla="*/ 0 h 149340"/>
                <a:gd name="connsiteX6" fmla="*/ 203847 w 203847"/>
                <a:gd name="connsiteY6" fmla="*/ 55323 h 149340"/>
                <a:gd name="connsiteX7" fmla="*/ 139055 w 203847"/>
                <a:gd name="connsiteY7" fmla="*/ 55323 h 14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49340">
                  <a:moveTo>
                    <a:pt x="106716" y="149340"/>
                  </a:moveTo>
                  <a:lnTo>
                    <a:pt x="50038" y="110053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orme libre : forme 68">
              <a:extLst>
                <a:ext uri="{FF2B5EF4-FFF2-40B4-BE49-F238E27FC236}">
                  <a16:creationId xmlns:a16="http://schemas.microsoft.com/office/drawing/2014/main" id="{4F51AFD5-9DB6-4DCA-8489-09E9C4297801}"/>
                </a:ext>
              </a:extLst>
            </p:cNvPr>
            <p:cNvSpPr/>
            <p:nvPr/>
          </p:nvSpPr>
          <p:spPr>
            <a:xfrm rot="8716295">
              <a:off x="2654888" y="191290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orme libre : forme 69">
              <a:extLst>
                <a:ext uri="{FF2B5EF4-FFF2-40B4-BE49-F238E27FC236}">
                  <a16:creationId xmlns:a16="http://schemas.microsoft.com/office/drawing/2014/main" id="{A2ECF224-799C-4DC5-AB51-FEB15AA2B828}"/>
                </a:ext>
              </a:extLst>
            </p:cNvPr>
            <p:cNvSpPr/>
            <p:nvPr/>
          </p:nvSpPr>
          <p:spPr>
            <a:xfrm rot="8716295">
              <a:off x="2413437" y="41690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orme libre : forme 70">
              <a:extLst>
                <a:ext uri="{FF2B5EF4-FFF2-40B4-BE49-F238E27FC236}">
                  <a16:creationId xmlns:a16="http://schemas.microsoft.com/office/drawing/2014/main" id="{1302BF26-B64E-4C90-894D-A7C67007EE36}"/>
                </a:ext>
              </a:extLst>
            </p:cNvPr>
            <p:cNvSpPr/>
            <p:nvPr/>
          </p:nvSpPr>
          <p:spPr>
            <a:xfrm rot="7484129">
              <a:off x="2759819" y="38264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orme libre : forme 71">
              <a:extLst>
                <a:ext uri="{FF2B5EF4-FFF2-40B4-BE49-F238E27FC236}">
                  <a16:creationId xmlns:a16="http://schemas.microsoft.com/office/drawing/2014/main" id="{170CE256-57E7-488F-BBB2-5B7F98B8FB76}"/>
                </a:ext>
              </a:extLst>
            </p:cNvPr>
            <p:cNvSpPr/>
            <p:nvPr/>
          </p:nvSpPr>
          <p:spPr>
            <a:xfrm rot="13089394">
              <a:off x="2864639" y="349175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orme libre : forme 72">
              <a:extLst>
                <a:ext uri="{FF2B5EF4-FFF2-40B4-BE49-F238E27FC236}">
                  <a16:creationId xmlns:a16="http://schemas.microsoft.com/office/drawing/2014/main" id="{5E848AEE-AD50-4EC7-B6E2-006804A78B57}"/>
                </a:ext>
              </a:extLst>
            </p:cNvPr>
            <p:cNvSpPr/>
            <p:nvPr/>
          </p:nvSpPr>
          <p:spPr>
            <a:xfrm rot="8716295">
              <a:off x="3050224" y="157494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" name="Forme libre : forme 73">
              <a:extLst>
                <a:ext uri="{FF2B5EF4-FFF2-40B4-BE49-F238E27FC236}">
                  <a16:creationId xmlns:a16="http://schemas.microsoft.com/office/drawing/2014/main" id="{BEE1CAE8-6503-4A10-B1BA-C6183C9E0E74}"/>
                </a:ext>
              </a:extLst>
            </p:cNvPr>
            <p:cNvSpPr/>
            <p:nvPr/>
          </p:nvSpPr>
          <p:spPr>
            <a:xfrm rot="8716295">
              <a:off x="2998419" y="5390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" name="Forme libre : forme 74">
              <a:extLst>
                <a:ext uri="{FF2B5EF4-FFF2-40B4-BE49-F238E27FC236}">
                  <a16:creationId xmlns:a16="http://schemas.microsoft.com/office/drawing/2014/main" id="{34A8E996-3975-4581-B536-E2CE9D88EBFE}"/>
                </a:ext>
              </a:extLst>
            </p:cNvPr>
            <p:cNvSpPr/>
            <p:nvPr/>
          </p:nvSpPr>
          <p:spPr>
            <a:xfrm rot="8716295">
              <a:off x="2755173" y="8412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" name="Forme libre : forme 75">
              <a:extLst>
                <a:ext uri="{FF2B5EF4-FFF2-40B4-BE49-F238E27FC236}">
                  <a16:creationId xmlns:a16="http://schemas.microsoft.com/office/drawing/2014/main" id="{3BE41751-0FE9-4A5C-97A5-9AF2319641D6}"/>
                </a:ext>
              </a:extLst>
            </p:cNvPr>
            <p:cNvSpPr/>
            <p:nvPr/>
          </p:nvSpPr>
          <p:spPr>
            <a:xfrm rot="8716295">
              <a:off x="2940014" y="-28690"/>
              <a:ext cx="88664" cy="70660"/>
            </a:xfrm>
            <a:custGeom>
              <a:avLst/>
              <a:gdLst>
                <a:gd name="connsiteX0" fmla="*/ 83649 w 88664"/>
                <a:gd name="connsiteY0" fmla="*/ 70660 h 70660"/>
                <a:gd name="connsiteX1" fmla="*/ 0 w 88664"/>
                <a:gd name="connsiteY1" fmla="*/ 12677 h 70660"/>
                <a:gd name="connsiteX2" fmla="*/ 30024 w 88664"/>
                <a:gd name="connsiteY2" fmla="*/ 0 h 70660"/>
                <a:gd name="connsiteX3" fmla="*/ 71417 w 88664"/>
                <a:gd name="connsiteY3" fmla="*/ 17477 h 70660"/>
                <a:gd name="connsiteX4" fmla="*/ 88664 w 88664"/>
                <a:gd name="connsiteY4" fmla="*/ 58525 h 70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664" h="70660">
                  <a:moveTo>
                    <a:pt x="83649" y="70660"/>
                  </a:moveTo>
                  <a:lnTo>
                    <a:pt x="0" y="12677"/>
                  </a:lnTo>
                  <a:lnTo>
                    <a:pt x="30024" y="0"/>
                  </a:lnTo>
                  <a:cubicBezTo>
                    <a:pt x="45662" y="0"/>
                    <a:pt x="60379" y="6439"/>
                    <a:pt x="71417" y="17477"/>
                  </a:cubicBezTo>
                  <a:cubicBezTo>
                    <a:pt x="82915" y="28515"/>
                    <a:pt x="88664" y="43462"/>
                    <a:pt x="88664" y="58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" name="Forme libre : forme 76">
              <a:extLst>
                <a:ext uri="{FF2B5EF4-FFF2-40B4-BE49-F238E27FC236}">
                  <a16:creationId xmlns:a16="http://schemas.microsoft.com/office/drawing/2014/main" id="{7C593DEA-1D52-4373-8D6B-6BD1BBF8835C}"/>
                </a:ext>
              </a:extLst>
            </p:cNvPr>
            <p:cNvSpPr/>
            <p:nvPr/>
          </p:nvSpPr>
          <p:spPr>
            <a:xfrm rot="13089394">
              <a:off x="2740820" y="-30870"/>
              <a:ext cx="73521" cy="76374"/>
            </a:xfrm>
            <a:custGeom>
              <a:avLst/>
              <a:gdLst>
                <a:gd name="connsiteX0" fmla="*/ 73521 w 73521"/>
                <a:gd name="connsiteY0" fmla="*/ 18609 h 76374"/>
                <a:gd name="connsiteX1" fmla="*/ 0 w 73521"/>
                <a:gd name="connsiteY1" fmla="*/ 76374 h 76374"/>
                <a:gd name="connsiteX2" fmla="*/ 0 w 73521"/>
                <a:gd name="connsiteY2" fmla="*/ 38074 h 76374"/>
                <a:gd name="connsiteX3" fmla="*/ 73388 w 73521"/>
                <a:gd name="connsiteY3" fmla="*/ 0 h 7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521" h="76374">
                  <a:moveTo>
                    <a:pt x="73521" y="18609"/>
                  </a:moveTo>
                  <a:lnTo>
                    <a:pt x="0" y="76374"/>
                  </a:lnTo>
                  <a:lnTo>
                    <a:pt x="0" y="38074"/>
                  </a:lnTo>
                  <a:lnTo>
                    <a:pt x="7338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" name="Forme libre : forme 77">
              <a:extLst>
                <a:ext uri="{FF2B5EF4-FFF2-40B4-BE49-F238E27FC236}">
                  <a16:creationId xmlns:a16="http://schemas.microsoft.com/office/drawing/2014/main" id="{31F42A73-BF6E-4A9E-A2F6-7111DF0FD878}"/>
                </a:ext>
              </a:extLst>
            </p:cNvPr>
            <p:cNvSpPr/>
            <p:nvPr/>
          </p:nvSpPr>
          <p:spPr>
            <a:xfrm rot="8716295">
              <a:off x="2166753" y="273158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orme libre : forme 78">
              <a:extLst>
                <a:ext uri="{FF2B5EF4-FFF2-40B4-BE49-F238E27FC236}">
                  <a16:creationId xmlns:a16="http://schemas.microsoft.com/office/drawing/2014/main" id="{863BEFD8-472A-4A82-B952-ACFEE2251E69}"/>
                </a:ext>
              </a:extLst>
            </p:cNvPr>
            <p:cNvSpPr/>
            <p:nvPr/>
          </p:nvSpPr>
          <p:spPr>
            <a:xfrm rot="8716295">
              <a:off x="2256145" y="276082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Forme libre : forme 79">
              <a:extLst>
                <a:ext uri="{FF2B5EF4-FFF2-40B4-BE49-F238E27FC236}">
                  <a16:creationId xmlns:a16="http://schemas.microsoft.com/office/drawing/2014/main" id="{9D41F395-157D-4566-AD0B-619CCA4FE6BE}"/>
                </a:ext>
              </a:extLst>
            </p:cNvPr>
            <p:cNvSpPr/>
            <p:nvPr/>
          </p:nvSpPr>
          <p:spPr>
            <a:xfrm rot="8716295">
              <a:off x="2211295" y="2674548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" name="Forme libre : forme 80">
              <a:extLst>
                <a:ext uri="{FF2B5EF4-FFF2-40B4-BE49-F238E27FC236}">
                  <a16:creationId xmlns:a16="http://schemas.microsoft.com/office/drawing/2014/main" id="{BF76F399-DC6B-4DE2-9E3A-1FFB94BB6465}"/>
                </a:ext>
              </a:extLst>
            </p:cNvPr>
            <p:cNvSpPr/>
            <p:nvPr/>
          </p:nvSpPr>
          <p:spPr>
            <a:xfrm rot="8716295">
              <a:off x="2054519" y="28201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orme libre : forme 81">
              <a:extLst>
                <a:ext uri="{FF2B5EF4-FFF2-40B4-BE49-F238E27FC236}">
                  <a16:creationId xmlns:a16="http://schemas.microsoft.com/office/drawing/2014/main" id="{3065D63F-B336-46ED-922F-641AF1B7B83C}"/>
                </a:ext>
              </a:extLst>
            </p:cNvPr>
            <p:cNvSpPr/>
            <p:nvPr/>
          </p:nvSpPr>
          <p:spPr>
            <a:xfrm rot="8716295">
              <a:off x="1929616" y="261145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Forme libre : forme 82">
              <a:extLst>
                <a:ext uri="{FF2B5EF4-FFF2-40B4-BE49-F238E27FC236}">
                  <a16:creationId xmlns:a16="http://schemas.microsoft.com/office/drawing/2014/main" id="{68BC6F5F-0186-40DD-8404-566D70BB9E99}"/>
                </a:ext>
              </a:extLst>
            </p:cNvPr>
            <p:cNvSpPr/>
            <p:nvPr/>
          </p:nvSpPr>
          <p:spPr>
            <a:xfrm rot="8716295">
              <a:off x="1917564" y="2472677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4" name="Forme libre : forme 83">
              <a:extLst>
                <a:ext uri="{FF2B5EF4-FFF2-40B4-BE49-F238E27FC236}">
                  <a16:creationId xmlns:a16="http://schemas.microsoft.com/office/drawing/2014/main" id="{E12469CC-5FF5-4C57-A661-5C5E14481CD9}"/>
                </a:ext>
              </a:extLst>
            </p:cNvPr>
            <p:cNvSpPr/>
            <p:nvPr/>
          </p:nvSpPr>
          <p:spPr>
            <a:xfrm rot="8716295">
              <a:off x="2144697" y="2861082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5" name="Forme libre : forme 84">
              <a:extLst>
                <a:ext uri="{FF2B5EF4-FFF2-40B4-BE49-F238E27FC236}">
                  <a16:creationId xmlns:a16="http://schemas.microsoft.com/office/drawing/2014/main" id="{30210F38-CF8D-4D63-B79E-43CAC77B4950}"/>
                </a:ext>
              </a:extLst>
            </p:cNvPr>
            <p:cNvSpPr/>
            <p:nvPr/>
          </p:nvSpPr>
          <p:spPr>
            <a:xfrm rot="8716295">
              <a:off x="2455852" y="248143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6" name="Forme libre : forme 85">
              <a:extLst>
                <a:ext uri="{FF2B5EF4-FFF2-40B4-BE49-F238E27FC236}">
                  <a16:creationId xmlns:a16="http://schemas.microsoft.com/office/drawing/2014/main" id="{695A233A-6503-484C-8F4F-186E71E5B99E}"/>
                </a:ext>
              </a:extLst>
            </p:cNvPr>
            <p:cNvSpPr/>
            <p:nvPr/>
          </p:nvSpPr>
          <p:spPr>
            <a:xfrm rot="8716295">
              <a:off x="2545244" y="251067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7" name="Forme libre : forme 86">
              <a:extLst>
                <a:ext uri="{FF2B5EF4-FFF2-40B4-BE49-F238E27FC236}">
                  <a16:creationId xmlns:a16="http://schemas.microsoft.com/office/drawing/2014/main" id="{C4016FC8-3862-4EDD-AD90-D27F3C486D6C}"/>
                </a:ext>
              </a:extLst>
            </p:cNvPr>
            <p:cNvSpPr/>
            <p:nvPr/>
          </p:nvSpPr>
          <p:spPr>
            <a:xfrm rot="8716295">
              <a:off x="2343618" y="256997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8" name="Forme libre : forme 87">
              <a:extLst>
                <a:ext uri="{FF2B5EF4-FFF2-40B4-BE49-F238E27FC236}">
                  <a16:creationId xmlns:a16="http://schemas.microsoft.com/office/drawing/2014/main" id="{841AD7D6-9A1D-47F3-B8D0-0F3912F8A2E1}"/>
                </a:ext>
              </a:extLst>
            </p:cNvPr>
            <p:cNvSpPr/>
            <p:nvPr/>
          </p:nvSpPr>
          <p:spPr>
            <a:xfrm rot="8716295">
              <a:off x="2218716" y="236130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9" name="Forme libre : forme 88">
              <a:extLst>
                <a:ext uri="{FF2B5EF4-FFF2-40B4-BE49-F238E27FC236}">
                  <a16:creationId xmlns:a16="http://schemas.microsoft.com/office/drawing/2014/main" id="{70BCC5A3-9952-4F01-975F-6F986E6B55DD}"/>
                </a:ext>
              </a:extLst>
            </p:cNvPr>
            <p:cNvSpPr/>
            <p:nvPr/>
          </p:nvSpPr>
          <p:spPr>
            <a:xfrm rot="8716295">
              <a:off x="2433796" y="2610930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" name="Forme libre : forme 89">
              <a:extLst>
                <a:ext uri="{FF2B5EF4-FFF2-40B4-BE49-F238E27FC236}">
                  <a16:creationId xmlns:a16="http://schemas.microsoft.com/office/drawing/2014/main" id="{48292A7A-33E9-4FF2-9525-C481018D3541}"/>
                </a:ext>
              </a:extLst>
            </p:cNvPr>
            <p:cNvSpPr/>
            <p:nvPr/>
          </p:nvSpPr>
          <p:spPr>
            <a:xfrm rot="8716295">
              <a:off x="2192345" y="2461330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" name="Forme libre : forme 90">
              <a:extLst>
                <a:ext uri="{FF2B5EF4-FFF2-40B4-BE49-F238E27FC236}">
                  <a16:creationId xmlns:a16="http://schemas.microsoft.com/office/drawing/2014/main" id="{3C5BF462-E2E4-4E2E-A187-F82081942730}"/>
                </a:ext>
              </a:extLst>
            </p:cNvPr>
            <p:cNvSpPr/>
            <p:nvPr/>
          </p:nvSpPr>
          <p:spPr>
            <a:xfrm rot="7484129">
              <a:off x="2538727" y="280228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" name="Forme libre : forme 91">
              <a:extLst>
                <a:ext uri="{FF2B5EF4-FFF2-40B4-BE49-F238E27FC236}">
                  <a16:creationId xmlns:a16="http://schemas.microsoft.com/office/drawing/2014/main" id="{53F93EE7-2FCB-4993-A211-9ABCA8AB16A1}"/>
                </a:ext>
              </a:extLst>
            </p:cNvPr>
            <p:cNvSpPr/>
            <p:nvPr/>
          </p:nvSpPr>
          <p:spPr>
            <a:xfrm rot="13089394">
              <a:off x="2643547" y="2768815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" name="Forme libre : forme 92">
              <a:extLst>
                <a:ext uri="{FF2B5EF4-FFF2-40B4-BE49-F238E27FC236}">
                  <a16:creationId xmlns:a16="http://schemas.microsoft.com/office/drawing/2014/main" id="{ACCCC6BB-9AC5-40F1-8FDF-2D7AAA4F97CC}"/>
                </a:ext>
              </a:extLst>
            </p:cNvPr>
            <p:cNvSpPr/>
            <p:nvPr/>
          </p:nvSpPr>
          <p:spPr>
            <a:xfrm rot="8716295">
              <a:off x="2829132" y="2577134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" name="Forme libre : forme 93">
              <a:extLst>
                <a:ext uri="{FF2B5EF4-FFF2-40B4-BE49-F238E27FC236}">
                  <a16:creationId xmlns:a16="http://schemas.microsoft.com/office/drawing/2014/main" id="{C83E96A9-D46F-4FBD-BA31-A3DDCAF05013}"/>
                </a:ext>
              </a:extLst>
            </p:cNvPr>
            <p:cNvSpPr/>
            <p:nvPr/>
          </p:nvSpPr>
          <p:spPr>
            <a:xfrm rot="8716295">
              <a:off x="2777327" y="247354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orme libre : forme 94">
              <a:extLst>
                <a:ext uri="{FF2B5EF4-FFF2-40B4-BE49-F238E27FC236}">
                  <a16:creationId xmlns:a16="http://schemas.microsoft.com/office/drawing/2014/main" id="{819524D5-42FD-49C2-A52C-138204093572}"/>
                </a:ext>
              </a:extLst>
            </p:cNvPr>
            <p:cNvSpPr/>
            <p:nvPr/>
          </p:nvSpPr>
          <p:spPr>
            <a:xfrm rot="8716295">
              <a:off x="2534081" y="250376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Forme libre : forme 95">
              <a:extLst>
                <a:ext uri="{FF2B5EF4-FFF2-40B4-BE49-F238E27FC236}">
                  <a16:creationId xmlns:a16="http://schemas.microsoft.com/office/drawing/2014/main" id="{D4292037-242B-4F99-8EE6-4056BF8CE17A}"/>
                </a:ext>
              </a:extLst>
            </p:cNvPr>
            <p:cNvSpPr/>
            <p:nvPr/>
          </p:nvSpPr>
          <p:spPr>
            <a:xfrm rot="8716295">
              <a:off x="2711533" y="234452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" name="Forme libre : forme 96">
              <a:extLst>
                <a:ext uri="{FF2B5EF4-FFF2-40B4-BE49-F238E27FC236}">
                  <a16:creationId xmlns:a16="http://schemas.microsoft.com/office/drawing/2014/main" id="{B300D5E8-99AD-4100-BBB0-F9335C60ABF1}"/>
                </a:ext>
              </a:extLst>
            </p:cNvPr>
            <p:cNvSpPr/>
            <p:nvPr/>
          </p:nvSpPr>
          <p:spPr>
            <a:xfrm rot="8716295">
              <a:off x="2389920" y="339128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" name="Forme libre : forme 97">
              <a:extLst>
                <a:ext uri="{FF2B5EF4-FFF2-40B4-BE49-F238E27FC236}">
                  <a16:creationId xmlns:a16="http://schemas.microsoft.com/office/drawing/2014/main" id="{050E0B4C-4868-4ECB-B52A-F4534FB3428C}"/>
                </a:ext>
              </a:extLst>
            </p:cNvPr>
            <p:cNvSpPr/>
            <p:nvPr/>
          </p:nvSpPr>
          <p:spPr>
            <a:xfrm rot="8716295">
              <a:off x="2479312" y="342052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" name="Forme libre : forme 98">
              <a:extLst>
                <a:ext uri="{FF2B5EF4-FFF2-40B4-BE49-F238E27FC236}">
                  <a16:creationId xmlns:a16="http://schemas.microsoft.com/office/drawing/2014/main" id="{2B753CAD-2E05-40BF-8117-865D3F8A49DD}"/>
                </a:ext>
              </a:extLst>
            </p:cNvPr>
            <p:cNvSpPr/>
            <p:nvPr/>
          </p:nvSpPr>
          <p:spPr>
            <a:xfrm rot="8716295">
              <a:off x="2434462" y="333424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orme libre : forme 99">
              <a:extLst>
                <a:ext uri="{FF2B5EF4-FFF2-40B4-BE49-F238E27FC236}">
                  <a16:creationId xmlns:a16="http://schemas.microsoft.com/office/drawing/2014/main" id="{5C8FF835-B7A5-4E03-BDCA-7B70EA22A6CB}"/>
                </a:ext>
              </a:extLst>
            </p:cNvPr>
            <p:cNvSpPr/>
            <p:nvPr/>
          </p:nvSpPr>
          <p:spPr>
            <a:xfrm rot="8716295">
              <a:off x="2277686" y="347982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Forme libre : forme 100">
              <a:extLst>
                <a:ext uri="{FF2B5EF4-FFF2-40B4-BE49-F238E27FC236}">
                  <a16:creationId xmlns:a16="http://schemas.microsoft.com/office/drawing/2014/main" id="{E640627F-DD46-4D4D-BFB7-C32CE4CD2C6E}"/>
                </a:ext>
              </a:extLst>
            </p:cNvPr>
            <p:cNvSpPr/>
            <p:nvPr/>
          </p:nvSpPr>
          <p:spPr>
            <a:xfrm rot="8716295">
              <a:off x="2152783" y="327115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" name="Forme libre : forme 101">
              <a:extLst>
                <a:ext uri="{FF2B5EF4-FFF2-40B4-BE49-F238E27FC236}">
                  <a16:creationId xmlns:a16="http://schemas.microsoft.com/office/drawing/2014/main" id="{D6CFC66E-117A-4E7B-A1B3-B61883DBC87C}"/>
                </a:ext>
              </a:extLst>
            </p:cNvPr>
            <p:cNvSpPr/>
            <p:nvPr/>
          </p:nvSpPr>
          <p:spPr>
            <a:xfrm rot="8716295">
              <a:off x="2140731" y="313237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" name="Forme libre : forme 102">
              <a:extLst>
                <a:ext uri="{FF2B5EF4-FFF2-40B4-BE49-F238E27FC236}">
                  <a16:creationId xmlns:a16="http://schemas.microsoft.com/office/drawing/2014/main" id="{44370D0A-70C8-47DE-B919-BD8689E5F0BD}"/>
                </a:ext>
              </a:extLst>
            </p:cNvPr>
            <p:cNvSpPr/>
            <p:nvPr/>
          </p:nvSpPr>
          <p:spPr>
            <a:xfrm rot="8716295">
              <a:off x="2367864" y="352078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" name="Forme libre : forme 103">
              <a:extLst>
                <a:ext uri="{FF2B5EF4-FFF2-40B4-BE49-F238E27FC236}">
                  <a16:creationId xmlns:a16="http://schemas.microsoft.com/office/drawing/2014/main" id="{6021BDC8-861D-486E-B439-FE7F06960030}"/>
                </a:ext>
              </a:extLst>
            </p:cNvPr>
            <p:cNvSpPr/>
            <p:nvPr/>
          </p:nvSpPr>
          <p:spPr>
            <a:xfrm rot="8716295">
              <a:off x="2679019" y="314113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" name="Forme libre : forme 104">
              <a:extLst>
                <a:ext uri="{FF2B5EF4-FFF2-40B4-BE49-F238E27FC236}">
                  <a16:creationId xmlns:a16="http://schemas.microsoft.com/office/drawing/2014/main" id="{0F608F19-E3BE-4D17-880D-C88146244ED4}"/>
                </a:ext>
              </a:extLst>
            </p:cNvPr>
            <p:cNvSpPr/>
            <p:nvPr/>
          </p:nvSpPr>
          <p:spPr>
            <a:xfrm rot="8716295">
              <a:off x="2768411" y="317037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" name="Forme libre : forme 105">
              <a:extLst>
                <a:ext uri="{FF2B5EF4-FFF2-40B4-BE49-F238E27FC236}">
                  <a16:creationId xmlns:a16="http://schemas.microsoft.com/office/drawing/2014/main" id="{64944F3B-C664-4365-A1CE-C418E167A34E}"/>
                </a:ext>
              </a:extLst>
            </p:cNvPr>
            <p:cNvSpPr/>
            <p:nvPr/>
          </p:nvSpPr>
          <p:spPr>
            <a:xfrm rot="8716295">
              <a:off x="2566785" y="322967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" name="Forme libre : forme 106">
              <a:extLst>
                <a:ext uri="{FF2B5EF4-FFF2-40B4-BE49-F238E27FC236}">
                  <a16:creationId xmlns:a16="http://schemas.microsoft.com/office/drawing/2014/main" id="{58328446-A7EA-46E8-B0B2-5078B627604C}"/>
                </a:ext>
              </a:extLst>
            </p:cNvPr>
            <p:cNvSpPr/>
            <p:nvPr/>
          </p:nvSpPr>
          <p:spPr>
            <a:xfrm rot="8716295">
              <a:off x="2441883" y="302100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" name="Forme libre : forme 107">
              <a:extLst>
                <a:ext uri="{FF2B5EF4-FFF2-40B4-BE49-F238E27FC236}">
                  <a16:creationId xmlns:a16="http://schemas.microsoft.com/office/drawing/2014/main" id="{358F3EE5-D858-432A-A907-9710D31351C8}"/>
                </a:ext>
              </a:extLst>
            </p:cNvPr>
            <p:cNvSpPr/>
            <p:nvPr/>
          </p:nvSpPr>
          <p:spPr>
            <a:xfrm rot="8716295">
              <a:off x="2656963" y="327062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" name="Forme libre : forme 108">
              <a:extLst>
                <a:ext uri="{FF2B5EF4-FFF2-40B4-BE49-F238E27FC236}">
                  <a16:creationId xmlns:a16="http://schemas.microsoft.com/office/drawing/2014/main" id="{B0966A7E-6D89-444C-8034-A9352897C897}"/>
                </a:ext>
              </a:extLst>
            </p:cNvPr>
            <p:cNvSpPr/>
            <p:nvPr/>
          </p:nvSpPr>
          <p:spPr>
            <a:xfrm rot="8716295">
              <a:off x="2415512" y="312102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" name="Forme libre : forme 109">
              <a:extLst>
                <a:ext uri="{FF2B5EF4-FFF2-40B4-BE49-F238E27FC236}">
                  <a16:creationId xmlns:a16="http://schemas.microsoft.com/office/drawing/2014/main" id="{37222F27-8DF7-4207-88C1-2429DD93BED2}"/>
                </a:ext>
              </a:extLst>
            </p:cNvPr>
            <p:cNvSpPr/>
            <p:nvPr/>
          </p:nvSpPr>
          <p:spPr>
            <a:xfrm rot="7484129">
              <a:off x="2761894" y="346198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" name="Forme libre : forme 110">
              <a:extLst>
                <a:ext uri="{FF2B5EF4-FFF2-40B4-BE49-F238E27FC236}">
                  <a16:creationId xmlns:a16="http://schemas.microsoft.com/office/drawing/2014/main" id="{993939CC-3AE4-419F-A9EE-0969EF61AE9B}"/>
                </a:ext>
              </a:extLst>
            </p:cNvPr>
            <p:cNvSpPr/>
            <p:nvPr/>
          </p:nvSpPr>
          <p:spPr>
            <a:xfrm rot="13089394">
              <a:off x="2866714" y="342851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" name="Forme libre : forme 111">
              <a:extLst>
                <a:ext uri="{FF2B5EF4-FFF2-40B4-BE49-F238E27FC236}">
                  <a16:creationId xmlns:a16="http://schemas.microsoft.com/office/drawing/2014/main" id="{A6A63E2F-4261-4DBF-8276-418D86D19210}"/>
                </a:ext>
              </a:extLst>
            </p:cNvPr>
            <p:cNvSpPr/>
            <p:nvPr/>
          </p:nvSpPr>
          <p:spPr>
            <a:xfrm rot="8716295">
              <a:off x="3052299" y="323683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" name="Forme libre : forme 112">
              <a:extLst>
                <a:ext uri="{FF2B5EF4-FFF2-40B4-BE49-F238E27FC236}">
                  <a16:creationId xmlns:a16="http://schemas.microsoft.com/office/drawing/2014/main" id="{1F2896C9-A0C7-4B2C-B1EE-DCCCD9009233}"/>
                </a:ext>
              </a:extLst>
            </p:cNvPr>
            <p:cNvSpPr/>
            <p:nvPr/>
          </p:nvSpPr>
          <p:spPr>
            <a:xfrm rot="8716295">
              <a:off x="3000494" y="313324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" name="Forme libre : forme 113">
              <a:extLst>
                <a:ext uri="{FF2B5EF4-FFF2-40B4-BE49-F238E27FC236}">
                  <a16:creationId xmlns:a16="http://schemas.microsoft.com/office/drawing/2014/main" id="{BFC2A5AA-74CC-447F-BCB7-82C53A9C1EBE}"/>
                </a:ext>
              </a:extLst>
            </p:cNvPr>
            <p:cNvSpPr/>
            <p:nvPr/>
          </p:nvSpPr>
          <p:spPr>
            <a:xfrm rot="8716295">
              <a:off x="2757248" y="316346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" name="Forme libre : forme 114">
              <a:extLst>
                <a:ext uri="{FF2B5EF4-FFF2-40B4-BE49-F238E27FC236}">
                  <a16:creationId xmlns:a16="http://schemas.microsoft.com/office/drawing/2014/main" id="{7736B671-8666-4922-9305-32A24DFDD7BC}"/>
                </a:ext>
              </a:extLst>
            </p:cNvPr>
            <p:cNvSpPr/>
            <p:nvPr/>
          </p:nvSpPr>
          <p:spPr>
            <a:xfrm rot="8716295">
              <a:off x="2934700" y="300421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" name="Forme libre : forme 115">
              <a:extLst>
                <a:ext uri="{FF2B5EF4-FFF2-40B4-BE49-F238E27FC236}">
                  <a16:creationId xmlns:a16="http://schemas.microsoft.com/office/drawing/2014/main" id="{4CF00AFF-9FDA-4C59-A1DE-7CCCB194DEA5}"/>
                </a:ext>
              </a:extLst>
            </p:cNvPr>
            <p:cNvSpPr/>
            <p:nvPr/>
          </p:nvSpPr>
          <p:spPr>
            <a:xfrm rot="8716295">
              <a:off x="2865744" y="5089178"/>
              <a:ext cx="140009" cy="103412"/>
            </a:xfrm>
            <a:custGeom>
              <a:avLst/>
              <a:gdLst>
                <a:gd name="connsiteX0" fmla="*/ 23004 w 140009"/>
                <a:gd name="connsiteY0" fmla="*/ 73821 h 103412"/>
                <a:gd name="connsiteX1" fmla="*/ 2853 w 140009"/>
                <a:gd name="connsiteY1" fmla="*/ 34034 h 103412"/>
                <a:gd name="connsiteX2" fmla="*/ 0 w 140009"/>
                <a:gd name="connsiteY2" fmla="*/ 0 h 103412"/>
                <a:gd name="connsiteX3" fmla="*/ 140009 w 140009"/>
                <a:gd name="connsiteY3" fmla="*/ 97050 h 103412"/>
                <a:gd name="connsiteX4" fmla="*/ 137354 w 140009"/>
                <a:gd name="connsiteY4" fmla="*/ 97759 h 103412"/>
                <a:gd name="connsiteX5" fmla="*/ 95370 w 140009"/>
                <a:gd name="connsiteY5" fmla="*/ 103238 h 103412"/>
                <a:gd name="connsiteX6" fmla="*/ 23004 w 140009"/>
                <a:gd name="connsiteY6" fmla="*/ 73821 h 103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0009" h="103412">
                  <a:moveTo>
                    <a:pt x="23004" y="73821"/>
                  </a:moveTo>
                  <a:cubicBezTo>
                    <a:pt x="13002" y="64113"/>
                    <a:pt x="6677" y="50875"/>
                    <a:pt x="2853" y="34034"/>
                  </a:cubicBezTo>
                  <a:lnTo>
                    <a:pt x="0" y="0"/>
                  </a:lnTo>
                  <a:lnTo>
                    <a:pt x="140009" y="97050"/>
                  </a:lnTo>
                  <a:lnTo>
                    <a:pt x="137354" y="97759"/>
                  </a:lnTo>
                  <a:cubicBezTo>
                    <a:pt x="121846" y="100775"/>
                    <a:pt x="107579" y="102502"/>
                    <a:pt x="95370" y="103238"/>
                  </a:cubicBezTo>
                  <a:cubicBezTo>
                    <a:pt x="68307" y="105003"/>
                    <a:pt x="41831" y="93236"/>
                    <a:pt x="23004" y="7382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" name="Forme libre : forme 116">
              <a:extLst>
                <a:ext uri="{FF2B5EF4-FFF2-40B4-BE49-F238E27FC236}">
                  <a16:creationId xmlns:a16="http://schemas.microsoft.com/office/drawing/2014/main" id="{7486FE8B-6DC8-400F-8B49-3D0FF59EDA59}"/>
                </a:ext>
              </a:extLst>
            </p:cNvPr>
            <p:cNvSpPr/>
            <p:nvPr/>
          </p:nvSpPr>
          <p:spPr>
            <a:xfrm rot="8716295">
              <a:off x="2608590" y="404968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" name="Forme libre : forme 117">
              <a:extLst>
                <a:ext uri="{FF2B5EF4-FFF2-40B4-BE49-F238E27FC236}">
                  <a16:creationId xmlns:a16="http://schemas.microsoft.com/office/drawing/2014/main" id="{409E4F60-3261-496F-85E7-0CED778B23AA}"/>
                </a:ext>
              </a:extLst>
            </p:cNvPr>
            <p:cNvSpPr/>
            <p:nvPr/>
          </p:nvSpPr>
          <p:spPr>
            <a:xfrm rot="8716295">
              <a:off x="2697982" y="407892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" name="Forme libre : forme 118">
              <a:extLst>
                <a:ext uri="{FF2B5EF4-FFF2-40B4-BE49-F238E27FC236}">
                  <a16:creationId xmlns:a16="http://schemas.microsoft.com/office/drawing/2014/main" id="{B4A7442C-1C02-4AB6-8CC3-22865B34D758}"/>
                </a:ext>
              </a:extLst>
            </p:cNvPr>
            <p:cNvSpPr/>
            <p:nvPr/>
          </p:nvSpPr>
          <p:spPr>
            <a:xfrm rot="8716295">
              <a:off x="2653132" y="399264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" name="Forme libre : forme 119">
              <a:extLst>
                <a:ext uri="{FF2B5EF4-FFF2-40B4-BE49-F238E27FC236}">
                  <a16:creationId xmlns:a16="http://schemas.microsoft.com/office/drawing/2014/main" id="{84547BFC-5C73-4C79-BC1E-65D2DA2F8F0F}"/>
                </a:ext>
              </a:extLst>
            </p:cNvPr>
            <p:cNvSpPr/>
            <p:nvPr/>
          </p:nvSpPr>
          <p:spPr>
            <a:xfrm rot="8716295">
              <a:off x="2496356" y="413822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" name="Forme libre : forme 120">
              <a:extLst>
                <a:ext uri="{FF2B5EF4-FFF2-40B4-BE49-F238E27FC236}">
                  <a16:creationId xmlns:a16="http://schemas.microsoft.com/office/drawing/2014/main" id="{1433A272-01C5-407E-A681-F11EFA1E77DE}"/>
                </a:ext>
              </a:extLst>
            </p:cNvPr>
            <p:cNvSpPr/>
            <p:nvPr/>
          </p:nvSpPr>
          <p:spPr>
            <a:xfrm rot="8716295">
              <a:off x="2371453" y="392955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" name="Forme libre : forme 121">
              <a:extLst>
                <a:ext uri="{FF2B5EF4-FFF2-40B4-BE49-F238E27FC236}">
                  <a16:creationId xmlns:a16="http://schemas.microsoft.com/office/drawing/2014/main" id="{B66B2FCE-B89D-4CFE-947C-F30A5386F13E}"/>
                </a:ext>
              </a:extLst>
            </p:cNvPr>
            <p:cNvSpPr/>
            <p:nvPr/>
          </p:nvSpPr>
          <p:spPr>
            <a:xfrm rot="8716295">
              <a:off x="2359401" y="379077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" name="Forme libre : forme 122">
              <a:extLst>
                <a:ext uri="{FF2B5EF4-FFF2-40B4-BE49-F238E27FC236}">
                  <a16:creationId xmlns:a16="http://schemas.microsoft.com/office/drawing/2014/main" id="{CB1F906C-3F04-489D-B712-86F36DCF301D}"/>
                </a:ext>
              </a:extLst>
            </p:cNvPr>
            <p:cNvSpPr/>
            <p:nvPr/>
          </p:nvSpPr>
          <p:spPr>
            <a:xfrm rot="8716295">
              <a:off x="2586534" y="417917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" name="Forme libre : forme 123">
              <a:extLst>
                <a:ext uri="{FF2B5EF4-FFF2-40B4-BE49-F238E27FC236}">
                  <a16:creationId xmlns:a16="http://schemas.microsoft.com/office/drawing/2014/main" id="{BA0DE2D1-2098-4B24-BF1D-8B4133E050A7}"/>
                </a:ext>
              </a:extLst>
            </p:cNvPr>
            <p:cNvSpPr/>
            <p:nvPr/>
          </p:nvSpPr>
          <p:spPr>
            <a:xfrm rot="8716295">
              <a:off x="2897689" y="379952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" name="Forme libre : forme 124">
              <a:extLst>
                <a:ext uri="{FF2B5EF4-FFF2-40B4-BE49-F238E27FC236}">
                  <a16:creationId xmlns:a16="http://schemas.microsoft.com/office/drawing/2014/main" id="{280C5645-8889-4114-AA92-3C2F280AAAB1}"/>
                </a:ext>
              </a:extLst>
            </p:cNvPr>
            <p:cNvSpPr/>
            <p:nvPr/>
          </p:nvSpPr>
          <p:spPr>
            <a:xfrm rot="8716295">
              <a:off x="2989368" y="3839999"/>
              <a:ext cx="209149" cy="253771"/>
            </a:xfrm>
            <a:custGeom>
              <a:avLst/>
              <a:gdLst>
                <a:gd name="connsiteX0" fmla="*/ 147179 w 209149"/>
                <a:gd name="connsiteY0" fmla="*/ 97023 h 253771"/>
                <a:gd name="connsiteX1" fmla="*/ 147179 w 209149"/>
                <a:gd name="connsiteY1" fmla="*/ 80620 h 253771"/>
                <a:gd name="connsiteX2" fmla="*/ 113460 w 209149"/>
                <a:gd name="connsiteY2" fmla="*/ 39154 h 253771"/>
                <a:gd name="connsiteX3" fmla="*/ 104592 w 209149"/>
                <a:gd name="connsiteY3" fmla="*/ 42082 h 253771"/>
                <a:gd name="connsiteX4" fmla="*/ 139399 w 209149"/>
                <a:gd name="connsiteY4" fmla="*/ 0 h 253771"/>
                <a:gd name="connsiteX5" fmla="*/ 165512 w 209149"/>
                <a:gd name="connsiteY5" fmla="*/ 4538 h 253771"/>
                <a:gd name="connsiteX6" fmla="*/ 209149 w 209149"/>
                <a:gd name="connsiteY6" fmla="*/ 87454 h 253771"/>
                <a:gd name="connsiteX7" fmla="*/ 209149 w 209149"/>
                <a:gd name="connsiteY7" fmla="*/ 93378 h 253771"/>
                <a:gd name="connsiteX8" fmla="*/ 0 w 209149"/>
                <a:gd name="connsiteY8" fmla="*/ 253771 h 253771"/>
                <a:gd name="connsiteX9" fmla="*/ 0 w 209149"/>
                <a:gd name="connsiteY9" fmla="*/ 168537 h 253771"/>
                <a:gd name="connsiteX10" fmla="*/ 65782 w 209149"/>
                <a:gd name="connsiteY10" fmla="*/ 89005 h 253771"/>
                <a:gd name="connsiteX11" fmla="*/ 64377 w 209149"/>
                <a:gd name="connsiteY11" fmla="*/ 92403 h 253771"/>
                <a:gd name="connsiteX12" fmla="*/ 60148 w 209149"/>
                <a:gd name="connsiteY12" fmla="*/ 126641 h 253771"/>
                <a:gd name="connsiteX13" fmla="*/ 60148 w 209149"/>
                <a:gd name="connsiteY13" fmla="*/ 212762 h 253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9149" h="253771">
                  <a:moveTo>
                    <a:pt x="147179" y="97023"/>
                  </a:moveTo>
                  <a:lnTo>
                    <a:pt x="147179" y="80620"/>
                  </a:lnTo>
                  <a:cubicBezTo>
                    <a:pt x="147179" y="56013"/>
                    <a:pt x="133054" y="39154"/>
                    <a:pt x="113460" y="39154"/>
                  </a:cubicBezTo>
                  <a:lnTo>
                    <a:pt x="104592" y="42082"/>
                  </a:lnTo>
                  <a:lnTo>
                    <a:pt x="139399" y="0"/>
                  </a:lnTo>
                  <a:lnTo>
                    <a:pt x="165512" y="4538"/>
                  </a:lnTo>
                  <a:cubicBezTo>
                    <a:pt x="193258" y="16029"/>
                    <a:pt x="209149" y="45077"/>
                    <a:pt x="209149" y="87454"/>
                  </a:cubicBezTo>
                  <a:lnTo>
                    <a:pt x="209149" y="93378"/>
                  </a:lnTo>
                  <a:close/>
                  <a:moveTo>
                    <a:pt x="0" y="253771"/>
                  </a:moveTo>
                  <a:lnTo>
                    <a:pt x="0" y="168537"/>
                  </a:lnTo>
                  <a:lnTo>
                    <a:pt x="65782" y="89005"/>
                  </a:lnTo>
                  <a:lnTo>
                    <a:pt x="64377" y="92403"/>
                  </a:lnTo>
                  <a:cubicBezTo>
                    <a:pt x="61657" y="102890"/>
                    <a:pt x="60148" y="114452"/>
                    <a:pt x="60148" y="126641"/>
                  </a:cubicBezTo>
                  <a:lnTo>
                    <a:pt x="60148" y="2127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" name="Forme libre : forme 125">
              <a:extLst>
                <a:ext uri="{FF2B5EF4-FFF2-40B4-BE49-F238E27FC236}">
                  <a16:creationId xmlns:a16="http://schemas.microsoft.com/office/drawing/2014/main" id="{12C74CA9-7295-4DD3-B257-BC02E33DC169}"/>
                </a:ext>
              </a:extLst>
            </p:cNvPr>
            <p:cNvSpPr/>
            <p:nvPr/>
          </p:nvSpPr>
          <p:spPr>
            <a:xfrm rot="8716295">
              <a:off x="2785455" y="388807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" name="Forme libre : forme 126">
              <a:extLst>
                <a:ext uri="{FF2B5EF4-FFF2-40B4-BE49-F238E27FC236}">
                  <a16:creationId xmlns:a16="http://schemas.microsoft.com/office/drawing/2014/main" id="{5EABE596-751A-434B-B681-D5C7A4015BC8}"/>
                </a:ext>
              </a:extLst>
            </p:cNvPr>
            <p:cNvSpPr/>
            <p:nvPr/>
          </p:nvSpPr>
          <p:spPr>
            <a:xfrm rot="8716295">
              <a:off x="2660553" y="367940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" name="Forme libre : forme 127">
              <a:extLst>
                <a:ext uri="{FF2B5EF4-FFF2-40B4-BE49-F238E27FC236}">
                  <a16:creationId xmlns:a16="http://schemas.microsoft.com/office/drawing/2014/main" id="{34A25BB8-E5A6-43A3-A6BE-6CBEBC3F2CD9}"/>
                </a:ext>
              </a:extLst>
            </p:cNvPr>
            <p:cNvSpPr/>
            <p:nvPr/>
          </p:nvSpPr>
          <p:spPr>
            <a:xfrm rot="8716295">
              <a:off x="2875633" y="392902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" name="Forme libre : forme 128">
              <a:extLst>
                <a:ext uri="{FF2B5EF4-FFF2-40B4-BE49-F238E27FC236}">
                  <a16:creationId xmlns:a16="http://schemas.microsoft.com/office/drawing/2014/main" id="{BC27C288-1E66-4F8B-924C-4EDB2BC25294}"/>
                </a:ext>
              </a:extLst>
            </p:cNvPr>
            <p:cNvSpPr/>
            <p:nvPr/>
          </p:nvSpPr>
          <p:spPr>
            <a:xfrm rot="8716295">
              <a:off x="2634182" y="377942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" name="Forme libre : forme 129">
              <a:extLst>
                <a:ext uri="{FF2B5EF4-FFF2-40B4-BE49-F238E27FC236}">
                  <a16:creationId xmlns:a16="http://schemas.microsoft.com/office/drawing/2014/main" id="{C22A0888-0C9E-4945-82D7-7EE608C46CC7}"/>
                </a:ext>
              </a:extLst>
            </p:cNvPr>
            <p:cNvSpPr/>
            <p:nvPr/>
          </p:nvSpPr>
          <p:spPr>
            <a:xfrm rot="7484129">
              <a:off x="2986722" y="4140706"/>
              <a:ext cx="156000" cy="195873"/>
            </a:xfrm>
            <a:custGeom>
              <a:avLst/>
              <a:gdLst>
                <a:gd name="connsiteX0" fmla="*/ 42863 w 156000"/>
                <a:gd name="connsiteY0" fmla="*/ 195873 h 195873"/>
                <a:gd name="connsiteX1" fmla="*/ 0 w 156000"/>
                <a:gd name="connsiteY1" fmla="*/ 116129 h 195873"/>
                <a:gd name="connsiteX2" fmla="*/ 19423 w 156000"/>
                <a:gd name="connsiteY2" fmla="*/ 62274 h 195873"/>
                <a:gd name="connsiteX3" fmla="*/ 127856 w 156000"/>
                <a:gd name="connsiteY3" fmla="*/ 0 h 195873"/>
                <a:gd name="connsiteX4" fmla="*/ 156000 w 156000"/>
                <a:gd name="connsiteY4" fmla="*/ 0 h 195873"/>
                <a:gd name="connsiteX5" fmla="*/ 156000 w 156000"/>
                <a:gd name="connsiteY5" fmla="*/ 55323 h 195873"/>
                <a:gd name="connsiteX6" fmla="*/ 91208 w 156000"/>
                <a:gd name="connsiteY6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000" h="195873">
                  <a:moveTo>
                    <a:pt x="42863" y="195873"/>
                  </a:moveTo>
                  <a:lnTo>
                    <a:pt x="0" y="116129"/>
                  </a:lnTo>
                  <a:lnTo>
                    <a:pt x="19423" y="62274"/>
                  </a:lnTo>
                  <a:lnTo>
                    <a:pt x="127856" y="0"/>
                  </a:lnTo>
                  <a:lnTo>
                    <a:pt x="156000" y="0"/>
                  </a:lnTo>
                  <a:lnTo>
                    <a:pt x="156000" y="55323"/>
                  </a:lnTo>
                  <a:lnTo>
                    <a:pt x="91208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" name="Forme libre : forme 130">
              <a:extLst>
                <a:ext uri="{FF2B5EF4-FFF2-40B4-BE49-F238E27FC236}">
                  <a16:creationId xmlns:a16="http://schemas.microsoft.com/office/drawing/2014/main" id="{B1E3FE16-8016-4EF3-8614-3D1D60105986}"/>
                </a:ext>
              </a:extLst>
            </p:cNvPr>
            <p:cNvSpPr/>
            <p:nvPr/>
          </p:nvSpPr>
          <p:spPr>
            <a:xfrm rot="8716295">
              <a:off x="2975918" y="382185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" name="Forme libre : forme 131">
              <a:extLst>
                <a:ext uri="{FF2B5EF4-FFF2-40B4-BE49-F238E27FC236}">
                  <a16:creationId xmlns:a16="http://schemas.microsoft.com/office/drawing/2014/main" id="{E69AE829-0E6B-4637-B9A4-FB76BF7CE509}"/>
                </a:ext>
              </a:extLst>
            </p:cNvPr>
            <p:cNvSpPr/>
            <p:nvPr/>
          </p:nvSpPr>
          <p:spPr>
            <a:xfrm rot="8716295">
              <a:off x="3136327" y="3677877"/>
              <a:ext cx="62210" cy="70771"/>
            </a:xfrm>
            <a:custGeom>
              <a:avLst/>
              <a:gdLst>
                <a:gd name="connsiteX0" fmla="*/ 0 w 62210"/>
                <a:gd name="connsiteY0" fmla="*/ 69343 h 70771"/>
                <a:gd name="connsiteX1" fmla="*/ 57354 w 62210"/>
                <a:gd name="connsiteY1" fmla="*/ 0 h 70771"/>
                <a:gd name="connsiteX2" fmla="*/ 62210 w 62210"/>
                <a:gd name="connsiteY2" fmla="*/ 11557 h 70771"/>
                <a:gd name="connsiteX3" fmla="*/ 44963 w 62210"/>
                <a:gd name="connsiteY3" fmla="*/ 53294 h 70771"/>
                <a:gd name="connsiteX4" fmla="*/ 3570 w 62210"/>
                <a:gd name="connsiteY4" fmla="*/ 70771 h 70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210" h="70771">
                  <a:moveTo>
                    <a:pt x="0" y="69343"/>
                  </a:moveTo>
                  <a:lnTo>
                    <a:pt x="57354" y="0"/>
                  </a:lnTo>
                  <a:lnTo>
                    <a:pt x="62210" y="11557"/>
                  </a:lnTo>
                  <a:cubicBezTo>
                    <a:pt x="62210" y="26619"/>
                    <a:pt x="56461" y="41796"/>
                    <a:pt x="44963" y="53294"/>
                  </a:cubicBezTo>
                  <a:cubicBezTo>
                    <a:pt x="33925" y="64332"/>
                    <a:pt x="19208" y="70771"/>
                    <a:pt x="3570" y="7077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" name="Forme libre : forme 132">
              <a:extLst>
                <a:ext uri="{FF2B5EF4-FFF2-40B4-BE49-F238E27FC236}">
                  <a16:creationId xmlns:a16="http://schemas.microsoft.com/office/drawing/2014/main" id="{D37688C2-C0A6-4E05-B609-4CB494CE709C}"/>
                </a:ext>
              </a:extLst>
            </p:cNvPr>
            <p:cNvSpPr/>
            <p:nvPr/>
          </p:nvSpPr>
          <p:spPr>
            <a:xfrm rot="8716295">
              <a:off x="2831757" y="470938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" name="Forme libre : forme 133">
              <a:extLst>
                <a:ext uri="{FF2B5EF4-FFF2-40B4-BE49-F238E27FC236}">
                  <a16:creationId xmlns:a16="http://schemas.microsoft.com/office/drawing/2014/main" id="{A3A6BF4C-1E72-4FF3-8FB3-699E9245E152}"/>
                </a:ext>
              </a:extLst>
            </p:cNvPr>
            <p:cNvSpPr/>
            <p:nvPr/>
          </p:nvSpPr>
          <p:spPr>
            <a:xfrm rot="8716295">
              <a:off x="2922791" y="4750051"/>
              <a:ext cx="209149" cy="251506"/>
            </a:xfrm>
            <a:custGeom>
              <a:avLst/>
              <a:gdLst>
                <a:gd name="connsiteX0" fmla="*/ 147179 w 209149"/>
                <a:gd name="connsiteY0" fmla="*/ 94758 h 251506"/>
                <a:gd name="connsiteX1" fmla="*/ 147179 w 209149"/>
                <a:gd name="connsiteY1" fmla="*/ 78354 h 251506"/>
                <a:gd name="connsiteX2" fmla="*/ 137667 w 209149"/>
                <a:gd name="connsiteY2" fmla="*/ 48394 h 251506"/>
                <a:gd name="connsiteX3" fmla="*/ 119535 w 209149"/>
                <a:gd name="connsiteY3" fmla="*/ 39776 h 251506"/>
                <a:gd name="connsiteX4" fmla="*/ 152434 w 209149"/>
                <a:gd name="connsiteY4" fmla="*/ 0 h 251506"/>
                <a:gd name="connsiteX5" fmla="*/ 165512 w 209149"/>
                <a:gd name="connsiteY5" fmla="*/ 2273 h 251506"/>
                <a:gd name="connsiteX6" fmla="*/ 209149 w 209149"/>
                <a:gd name="connsiteY6" fmla="*/ 85189 h 251506"/>
                <a:gd name="connsiteX7" fmla="*/ 209149 w 209149"/>
                <a:gd name="connsiteY7" fmla="*/ 91113 h 251506"/>
                <a:gd name="connsiteX8" fmla="*/ 0 w 209149"/>
                <a:gd name="connsiteY8" fmla="*/ 251506 h 251506"/>
                <a:gd name="connsiteX9" fmla="*/ 0 w 209149"/>
                <a:gd name="connsiteY9" fmla="*/ 184297 h 251506"/>
                <a:gd name="connsiteX10" fmla="*/ 62006 w 209149"/>
                <a:gd name="connsiteY10" fmla="*/ 109330 h 251506"/>
                <a:gd name="connsiteX11" fmla="*/ 60148 w 209149"/>
                <a:gd name="connsiteY11" fmla="*/ 124376 h 251506"/>
                <a:gd name="connsiteX12" fmla="*/ 60148 w 209149"/>
                <a:gd name="connsiteY12" fmla="*/ 210497 h 251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9149" h="251506">
                  <a:moveTo>
                    <a:pt x="147179" y="94758"/>
                  </a:moveTo>
                  <a:lnTo>
                    <a:pt x="147179" y="78354"/>
                  </a:lnTo>
                  <a:cubicBezTo>
                    <a:pt x="147179" y="66051"/>
                    <a:pt x="143648" y="55685"/>
                    <a:pt x="137667" y="48394"/>
                  </a:cubicBezTo>
                  <a:lnTo>
                    <a:pt x="119535" y="39776"/>
                  </a:lnTo>
                  <a:lnTo>
                    <a:pt x="152434" y="0"/>
                  </a:lnTo>
                  <a:lnTo>
                    <a:pt x="165512" y="2273"/>
                  </a:lnTo>
                  <a:cubicBezTo>
                    <a:pt x="193258" y="13764"/>
                    <a:pt x="209149" y="42812"/>
                    <a:pt x="209149" y="85189"/>
                  </a:cubicBezTo>
                  <a:lnTo>
                    <a:pt x="209149" y="91113"/>
                  </a:lnTo>
                  <a:close/>
                  <a:moveTo>
                    <a:pt x="0" y="251506"/>
                  </a:moveTo>
                  <a:lnTo>
                    <a:pt x="0" y="184297"/>
                  </a:lnTo>
                  <a:lnTo>
                    <a:pt x="62006" y="109330"/>
                  </a:lnTo>
                  <a:lnTo>
                    <a:pt x="60148" y="124376"/>
                  </a:lnTo>
                  <a:lnTo>
                    <a:pt x="60148" y="21049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" name="Forme libre : forme 134">
              <a:extLst>
                <a:ext uri="{FF2B5EF4-FFF2-40B4-BE49-F238E27FC236}">
                  <a16:creationId xmlns:a16="http://schemas.microsoft.com/office/drawing/2014/main" id="{5140B893-7827-4D80-AD77-FD3E70DDBAED}"/>
                </a:ext>
              </a:extLst>
            </p:cNvPr>
            <p:cNvSpPr/>
            <p:nvPr/>
          </p:nvSpPr>
          <p:spPr>
            <a:xfrm rot="8716295">
              <a:off x="2876299" y="465234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" name="Forme libre : forme 135">
              <a:extLst>
                <a:ext uri="{FF2B5EF4-FFF2-40B4-BE49-F238E27FC236}">
                  <a16:creationId xmlns:a16="http://schemas.microsoft.com/office/drawing/2014/main" id="{CEF19F0C-E18C-48D8-9AB5-6885668C7FC0}"/>
                </a:ext>
              </a:extLst>
            </p:cNvPr>
            <p:cNvSpPr/>
            <p:nvPr/>
          </p:nvSpPr>
          <p:spPr>
            <a:xfrm rot="8716295">
              <a:off x="2719523" y="479792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" name="Forme libre : forme 136">
              <a:extLst>
                <a:ext uri="{FF2B5EF4-FFF2-40B4-BE49-F238E27FC236}">
                  <a16:creationId xmlns:a16="http://schemas.microsoft.com/office/drawing/2014/main" id="{0BB22A70-3803-482F-84FC-984B6EC6C374}"/>
                </a:ext>
              </a:extLst>
            </p:cNvPr>
            <p:cNvSpPr/>
            <p:nvPr/>
          </p:nvSpPr>
          <p:spPr>
            <a:xfrm rot="8716295">
              <a:off x="2594620" y="458925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" name="Forme libre : forme 137">
              <a:extLst>
                <a:ext uri="{FF2B5EF4-FFF2-40B4-BE49-F238E27FC236}">
                  <a16:creationId xmlns:a16="http://schemas.microsoft.com/office/drawing/2014/main" id="{BB66996B-CABF-4C18-97CF-8361430CCC5E}"/>
                </a:ext>
              </a:extLst>
            </p:cNvPr>
            <p:cNvSpPr/>
            <p:nvPr/>
          </p:nvSpPr>
          <p:spPr>
            <a:xfrm rot="8716295">
              <a:off x="2582568" y="4450471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" name="Forme libre : forme 138">
              <a:extLst>
                <a:ext uri="{FF2B5EF4-FFF2-40B4-BE49-F238E27FC236}">
                  <a16:creationId xmlns:a16="http://schemas.microsoft.com/office/drawing/2014/main" id="{EE47147C-71F2-4045-A9A2-5EC38820966E}"/>
                </a:ext>
              </a:extLst>
            </p:cNvPr>
            <p:cNvSpPr/>
            <p:nvPr/>
          </p:nvSpPr>
          <p:spPr>
            <a:xfrm rot="8716295">
              <a:off x="2809701" y="483887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" name="Forme libre : forme 139">
              <a:extLst>
                <a:ext uri="{FF2B5EF4-FFF2-40B4-BE49-F238E27FC236}">
                  <a16:creationId xmlns:a16="http://schemas.microsoft.com/office/drawing/2014/main" id="{89BAF661-43F0-4B4A-A23C-BA7CE46BDD71}"/>
                </a:ext>
              </a:extLst>
            </p:cNvPr>
            <p:cNvSpPr/>
            <p:nvPr/>
          </p:nvSpPr>
          <p:spPr>
            <a:xfrm rot="8716295">
              <a:off x="3081353" y="4514214"/>
              <a:ext cx="36672" cy="44337"/>
            </a:xfrm>
            <a:custGeom>
              <a:avLst/>
              <a:gdLst>
                <a:gd name="connsiteX0" fmla="*/ 0 w 36672"/>
                <a:gd name="connsiteY0" fmla="*/ 44337 h 44337"/>
                <a:gd name="connsiteX1" fmla="*/ 36672 w 36672"/>
                <a:gd name="connsiteY1" fmla="*/ 0 h 44337"/>
                <a:gd name="connsiteX2" fmla="*/ 36672 w 36672"/>
                <a:gd name="connsiteY2" fmla="*/ 29833 h 44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672" h="44337">
                  <a:moveTo>
                    <a:pt x="0" y="44337"/>
                  </a:moveTo>
                  <a:lnTo>
                    <a:pt x="36672" y="0"/>
                  </a:lnTo>
                  <a:lnTo>
                    <a:pt x="36672" y="298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" name="Forme libre : forme 140">
              <a:extLst>
                <a:ext uri="{FF2B5EF4-FFF2-40B4-BE49-F238E27FC236}">
                  <a16:creationId xmlns:a16="http://schemas.microsoft.com/office/drawing/2014/main" id="{63A651C5-5D05-4459-83FE-EB640DC8F382}"/>
                </a:ext>
              </a:extLst>
            </p:cNvPr>
            <p:cNvSpPr/>
            <p:nvPr/>
          </p:nvSpPr>
          <p:spPr>
            <a:xfrm rot="8716295">
              <a:off x="3008622" y="45477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" name="Forme libre : forme 141">
              <a:extLst>
                <a:ext uri="{FF2B5EF4-FFF2-40B4-BE49-F238E27FC236}">
                  <a16:creationId xmlns:a16="http://schemas.microsoft.com/office/drawing/2014/main" id="{092AE7DF-4653-4199-BFAC-73916EFC860A}"/>
                </a:ext>
              </a:extLst>
            </p:cNvPr>
            <p:cNvSpPr/>
            <p:nvPr/>
          </p:nvSpPr>
          <p:spPr>
            <a:xfrm rot="8716295">
              <a:off x="2879209" y="433901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22587 h 195874"/>
                <a:gd name="connsiteX5" fmla="*/ 18682 w 203847"/>
                <a:gd name="connsiteY5" fmla="*/ 0 h 195874"/>
                <a:gd name="connsiteX6" fmla="*/ 203847 w 203847"/>
                <a:gd name="connsiteY6" fmla="*/ 0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22587"/>
                  </a:lnTo>
                  <a:lnTo>
                    <a:pt x="18682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" name="Forme libre : forme 142">
              <a:extLst>
                <a:ext uri="{FF2B5EF4-FFF2-40B4-BE49-F238E27FC236}">
                  <a16:creationId xmlns:a16="http://schemas.microsoft.com/office/drawing/2014/main" id="{D41ED30F-3026-421E-ABA6-358575487EBA}"/>
                </a:ext>
              </a:extLst>
            </p:cNvPr>
            <p:cNvSpPr/>
            <p:nvPr/>
          </p:nvSpPr>
          <p:spPr>
            <a:xfrm rot="8716295">
              <a:off x="3061023" y="4621511"/>
              <a:ext cx="34902" cy="75779"/>
            </a:xfrm>
            <a:custGeom>
              <a:avLst/>
              <a:gdLst>
                <a:gd name="connsiteX0" fmla="*/ 34902 w 34902"/>
                <a:gd name="connsiteY0" fmla="*/ 75779 h 75779"/>
                <a:gd name="connsiteX1" fmla="*/ 0 w 34902"/>
                <a:gd name="connsiteY1" fmla="*/ 42198 h 75779"/>
                <a:gd name="connsiteX2" fmla="*/ 34902 w 34902"/>
                <a:gd name="connsiteY2" fmla="*/ 0 h 75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902" h="75779">
                  <a:moveTo>
                    <a:pt x="34902" y="75779"/>
                  </a:moveTo>
                  <a:lnTo>
                    <a:pt x="0" y="42198"/>
                  </a:lnTo>
                  <a:lnTo>
                    <a:pt x="3490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4" name="Forme libre : forme 143">
              <a:extLst>
                <a:ext uri="{FF2B5EF4-FFF2-40B4-BE49-F238E27FC236}">
                  <a16:creationId xmlns:a16="http://schemas.microsoft.com/office/drawing/2014/main" id="{3F91EA7A-2760-47AB-B973-A377384BFCEB}"/>
                </a:ext>
              </a:extLst>
            </p:cNvPr>
            <p:cNvSpPr/>
            <p:nvPr/>
          </p:nvSpPr>
          <p:spPr>
            <a:xfrm rot="8716295">
              <a:off x="2857349" y="443912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5" name="Forme libre : forme 144">
              <a:extLst>
                <a:ext uri="{FF2B5EF4-FFF2-40B4-BE49-F238E27FC236}">
                  <a16:creationId xmlns:a16="http://schemas.microsoft.com/office/drawing/2014/main" id="{41EE0DAC-E1CD-4DF6-B038-DF99C017AF47}"/>
                </a:ext>
              </a:extLst>
            </p:cNvPr>
            <p:cNvSpPr/>
            <p:nvPr/>
          </p:nvSpPr>
          <p:spPr>
            <a:xfrm rot="8716295">
              <a:off x="1945235" y="207061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6" name="Forme libre : forme 145">
              <a:extLst>
                <a:ext uri="{FF2B5EF4-FFF2-40B4-BE49-F238E27FC236}">
                  <a16:creationId xmlns:a16="http://schemas.microsoft.com/office/drawing/2014/main" id="{280B0FCB-6B6E-4C11-92C1-4D7A5EC1D4AD}"/>
                </a:ext>
              </a:extLst>
            </p:cNvPr>
            <p:cNvSpPr/>
            <p:nvPr/>
          </p:nvSpPr>
          <p:spPr>
            <a:xfrm rot="8716295">
              <a:off x="2034627" y="209985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7" name="Forme libre : forme 146">
              <a:extLst>
                <a:ext uri="{FF2B5EF4-FFF2-40B4-BE49-F238E27FC236}">
                  <a16:creationId xmlns:a16="http://schemas.microsoft.com/office/drawing/2014/main" id="{9891BA28-484A-4733-8CF3-53CE88879C65}"/>
                </a:ext>
              </a:extLst>
            </p:cNvPr>
            <p:cNvSpPr/>
            <p:nvPr/>
          </p:nvSpPr>
          <p:spPr>
            <a:xfrm rot="8716295">
              <a:off x="1989777" y="201357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8" name="Forme libre : forme 147">
              <a:extLst>
                <a:ext uri="{FF2B5EF4-FFF2-40B4-BE49-F238E27FC236}">
                  <a16:creationId xmlns:a16="http://schemas.microsoft.com/office/drawing/2014/main" id="{9E43636F-0BE6-4C9B-B96D-D3D316F85163}"/>
                </a:ext>
              </a:extLst>
            </p:cNvPr>
            <p:cNvSpPr/>
            <p:nvPr/>
          </p:nvSpPr>
          <p:spPr>
            <a:xfrm rot="8716295">
              <a:off x="1833001" y="215915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9" name="Forme libre : forme 148">
              <a:extLst>
                <a:ext uri="{FF2B5EF4-FFF2-40B4-BE49-F238E27FC236}">
                  <a16:creationId xmlns:a16="http://schemas.microsoft.com/office/drawing/2014/main" id="{E5C5D07F-1F3F-49A7-9D1F-45F1F92DDF33}"/>
                </a:ext>
              </a:extLst>
            </p:cNvPr>
            <p:cNvSpPr/>
            <p:nvPr/>
          </p:nvSpPr>
          <p:spPr>
            <a:xfrm rot="8716295">
              <a:off x="1708098" y="195048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0" name="Forme libre : forme 149">
              <a:extLst>
                <a:ext uri="{FF2B5EF4-FFF2-40B4-BE49-F238E27FC236}">
                  <a16:creationId xmlns:a16="http://schemas.microsoft.com/office/drawing/2014/main" id="{207E57C6-B2AE-4BC9-A0BC-164A405D607B}"/>
                </a:ext>
              </a:extLst>
            </p:cNvPr>
            <p:cNvSpPr/>
            <p:nvPr/>
          </p:nvSpPr>
          <p:spPr>
            <a:xfrm rot="8716295">
              <a:off x="1696046" y="181170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1" name="Forme libre : forme 150">
              <a:extLst>
                <a:ext uri="{FF2B5EF4-FFF2-40B4-BE49-F238E27FC236}">
                  <a16:creationId xmlns:a16="http://schemas.microsoft.com/office/drawing/2014/main" id="{FD7783C5-00B3-479F-9977-DAF07693A1CC}"/>
                </a:ext>
              </a:extLst>
            </p:cNvPr>
            <p:cNvSpPr/>
            <p:nvPr/>
          </p:nvSpPr>
          <p:spPr>
            <a:xfrm rot="8716295">
              <a:off x="1923179" y="220010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2" name="Forme libre : forme 151">
              <a:extLst>
                <a:ext uri="{FF2B5EF4-FFF2-40B4-BE49-F238E27FC236}">
                  <a16:creationId xmlns:a16="http://schemas.microsoft.com/office/drawing/2014/main" id="{DEFBD7BA-14F9-43E3-A392-63B2C3EB3D89}"/>
                </a:ext>
              </a:extLst>
            </p:cNvPr>
            <p:cNvSpPr/>
            <p:nvPr/>
          </p:nvSpPr>
          <p:spPr>
            <a:xfrm rot="8716295">
              <a:off x="2234334" y="182046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3" name="Forme libre : forme 152">
              <a:extLst>
                <a:ext uri="{FF2B5EF4-FFF2-40B4-BE49-F238E27FC236}">
                  <a16:creationId xmlns:a16="http://schemas.microsoft.com/office/drawing/2014/main" id="{FA5B5BF3-F8F8-4C26-90BE-9AB63A9858C0}"/>
                </a:ext>
              </a:extLst>
            </p:cNvPr>
            <p:cNvSpPr/>
            <p:nvPr/>
          </p:nvSpPr>
          <p:spPr>
            <a:xfrm rot="8716295">
              <a:off x="2323726" y="184970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4" name="Forme libre : forme 153">
              <a:extLst>
                <a:ext uri="{FF2B5EF4-FFF2-40B4-BE49-F238E27FC236}">
                  <a16:creationId xmlns:a16="http://schemas.microsoft.com/office/drawing/2014/main" id="{7D4A76DD-C0C6-4680-9B5E-C0F67CFE2306}"/>
                </a:ext>
              </a:extLst>
            </p:cNvPr>
            <p:cNvSpPr/>
            <p:nvPr/>
          </p:nvSpPr>
          <p:spPr>
            <a:xfrm rot="8716295">
              <a:off x="2122100" y="19090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5" name="Forme libre : forme 154">
              <a:extLst>
                <a:ext uri="{FF2B5EF4-FFF2-40B4-BE49-F238E27FC236}">
                  <a16:creationId xmlns:a16="http://schemas.microsoft.com/office/drawing/2014/main" id="{6F20D922-BA49-4338-8552-0E24349BE40F}"/>
                </a:ext>
              </a:extLst>
            </p:cNvPr>
            <p:cNvSpPr/>
            <p:nvPr/>
          </p:nvSpPr>
          <p:spPr>
            <a:xfrm rot="8716295">
              <a:off x="1997198" y="170033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6" name="Forme libre : forme 155">
              <a:extLst>
                <a:ext uri="{FF2B5EF4-FFF2-40B4-BE49-F238E27FC236}">
                  <a16:creationId xmlns:a16="http://schemas.microsoft.com/office/drawing/2014/main" id="{C49CE272-F4B5-48DE-8F4E-72BDDD64982A}"/>
                </a:ext>
              </a:extLst>
            </p:cNvPr>
            <p:cNvSpPr/>
            <p:nvPr/>
          </p:nvSpPr>
          <p:spPr>
            <a:xfrm rot="8716295">
              <a:off x="2212278" y="194995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7" name="Forme libre : forme 156">
              <a:extLst>
                <a:ext uri="{FF2B5EF4-FFF2-40B4-BE49-F238E27FC236}">
                  <a16:creationId xmlns:a16="http://schemas.microsoft.com/office/drawing/2014/main" id="{89A0B9F3-EFEE-493B-B0C9-5CE4EF3AC015}"/>
                </a:ext>
              </a:extLst>
            </p:cNvPr>
            <p:cNvSpPr/>
            <p:nvPr/>
          </p:nvSpPr>
          <p:spPr>
            <a:xfrm rot="8716295">
              <a:off x="1970827" y="180035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8" name="Forme libre : forme 157">
              <a:extLst>
                <a:ext uri="{FF2B5EF4-FFF2-40B4-BE49-F238E27FC236}">
                  <a16:creationId xmlns:a16="http://schemas.microsoft.com/office/drawing/2014/main" id="{381186EF-923B-4BA3-A64F-0BC643A96F05}"/>
                </a:ext>
              </a:extLst>
            </p:cNvPr>
            <p:cNvSpPr/>
            <p:nvPr/>
          </p:nvSpPr>
          <p:spPr>
            <a:xfrm rot="7484129">
              <a:off x="2317209" y="214130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9" name="Forme libre : forme 158">
              <a:extLst>
                <a:ext uri="{FF2B5EF4-FFF2-40B4-BE49-F238E27FC236}">
                  <a16:creationId xmlns:a16="http://schemas.microsoft.com/office/drawing/2014/main" id="{788393C8-C36C-4E12-8713-6D9894A034E5}"/>
                </a:ext>
              </a:extLst>
            </p:cNvPr>
            <p:cNvSpPr/>
            <p:nvPr/>
          </p:nvSpPr>
          <p:spPr>
            <a:xfrm rot="13089394">
              <a:off x="2422029" y="2107841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0" name="Forme libre : forme 159">
              <a:extLst>
                <a:ext uri="{FF2B5EF4-FFF2-40B4-BE49-F238E27FC236}">
                  <a16:creationId xmlns:a16="http://schemas.microsoft.com/office/drawing/2014/main" id="{C4FA5850-C1BD-4E2E-921F-011D1E41FA44}"/>
                </a:ext>
              </a:extLst>
            </p:cNvPr>
            <p:cNvSpPr/>
            <p:nvPr/>
          </p:nvSpPr>
          <p:spPr>
            <a:xfrm rot="8716295">
              <a:off x="2607614" y="191616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1" name="Forme libre : forme 160">
              <a:extLst>
                <a:ext uri="{FF2B5EF4-FFF2-40B4-BE49-F238E27FC236}">
                  <a16:creationId xmlns:a16="http://schemas.microsoft.com/office/drawing/2014/main" id="{D19371A5-FFF2-4505-BA78-FDBD81E756C8}"/>
                </a:ext>
              </a:extLst>
            </p:cNvPr>
            <p:cNvSpPr/>
            <p:nvPr/>
          </p:nvSpPr>
          <p:spPr>
            <a:xfrm rot="8716295">
              <a:off x="2555809" y="181256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2" name="Forme libre : forme 161">
              <a:extLst>
                <a:ext uri="{FF2B5EF4-FFF2-40B4-BE49-F238E27FC236}">
                  <a16:creationId xmlns:a16="http://schemas.microsoft.com/office/drawing/2014/main" id="{A15BB5DD-2D34-4EE6-A86F-363F8D953409}"/>
                </a:ext>
              </a:extLst>
            </p:cNvPr>
            <p:cNvSpPr/>
            <p:nvPr/>
          </p:nvSpPr>
          <p:spPr>
            <a:xfrm rot="8716295">
              <a:off x="2312563" y="184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3" name="Forme libre : forme 162">
              <a:extLst>
                <a:ext uri="{FF2B5EF4-FFF2-40B4-BE49-F238E27FC236}">
                  <a16:creationId xmlns:a16="http://schemas.microsoft.com/office/drawing/2014/main" id="{EA840678-0C4C-427E-B930-90E4B3D4F4F5}"/>
                </a:ext>
              </a:extLst>
            </p:cNvPr>
            <p:cNvSpPr/>
            <p:nvPr/>
          </p:nvSpPr>
          <p:spPr>
            <a:xfrm rot="8716295">
              <a:off x="2490015" y="168354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4" name="Forme libre : forme 163">
              <a:extLst>
                <a:ext uri="{FF2B5EF4-FFF2-40B4-BE49-F238E27FC236}">
                  <a16:creationId xmlns:a16="http://schemas.microsoft.com/office/drawing/2014/main" id="{D24A7F84-D7C5-48B5-A2D9-046539552BF1}"/>
                </a:ext>
              </a:extLst>
            </p:cNvPr>
            <p:cNvSpPr/>
            <p:nvPr/>
          </p:nvSpPr>
          <p:spPr>
            <a:xfrm rot="8716295">
              <a:off x="1722068" y="141091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5" name="Forme libre : forme 164">
              <a:extLst>
                <a:ext uri="{FF2B5EF4-FFF2-40B4-BE49-F238E27FC236}">
                  <a16:creationId xmlns:a16="http://schemas.microsoft.com/office/drawing/2014/main" id="{5057A8E5-18E1-48A6-876F-42538393E91C}"/>
                </a:ext>
              </a:extLst>
            </p:cNvPr>
            <p:cNvSpPr/>
            <p:nvPr/>
          </p:nvSpPr>
          <p:spPr>
            <a:xfrm rot="8716295">
              <a:off x="1811460" y="144015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6" name="Forme libre : forme 165">
              <a:extLst>
                <a:ext uri="{FF2B5EF4-FFF2-40B4-BE49-F238E27FC236}">
                  <a16:creationId xmlns:a16="http://schemas.microsoft.com/office/drawing/2014/main" id="{F17BAF41-442E-4918-95C6-E19EEA6D7525}"/>
                </a:ext>
              </a:extLst>
            </p:cNvPr>
            <p:cNvSpPr/>
            <p:nvPr/>
          </p:nvSpPr>
          <p:spPr>
            <a:xfrm rot="8716295">
              <a:off x="1766610" y="135387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7" name="Forme libre : forme 166">
              <a:extLst>
                <a:ext uri="{FF2B5EF4-FFF2-40B4-BE49-F238E27FC236}">
                  <a16:creationId xmlns:a16="http://schemas.microsoft.com/office/drawing/2014/main" id="{62988CCC-AFDA-4601-89EC-2DCFE47EF1C9}"/>
                </a:ext>
              </a:extLst>
            </p:cNvPr>
            <p:cNvSpPr/>
            <p:nvPr/>
          </p:nvSpPr>
          <p:spPr>
            <a:xfrm rot="8716295">
              <a:off x="1609834" y="149945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8" name="Forme libre : forme 167">
              <a:extLst>
                <a:ext uri="{FF2B5EF4-FFF2-40B4-BE49-F238E27FC236}">
                  <a16:creationId xmlns:a16="http://schemas.microsoft.com/office/drawing/2014/main" id="{5054FA74-E8B8-46F3-A02A-768107F93576}"/>
                </a:ext>
              </a:extLst>
            </p:cNvPr>
            <p:cNvSpPr/>
            <p:nvPr/>
          </p:nvSpPr>
          <p:spPr>
            <a:xfrm rot="8716295">
              <a:off x="1484931" y="129078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9" name="Forme libre : forme 168">
              <a:extLst>
                <a:ext uri="{FF2B5EF4-FFF2-40B4-BE49-F238E27FC236}">
                  <a16:creationId xmlns:a16="http://schemas.microsoft.com/office/drawing/2014/main" id="{A04E0DF6-BDC7-4FC4-B1B7-F62238D08C5B}"/>
                </a:ext>
              </a:extLst>
            </p:cNvPr>
            <p:cNvSpPr/>
            <p:nvPr/>
          </p:nvSpPr>
          <p:spPr>
            <a:xfrm rot="8716295">
              <a:off x="1472879" y="115200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0" name="Forme libre : forme 169">
              <a:extLst>
                <a:ext uri="{FF2B5EF4-FFF2-40B4-BE49-F238E27FC236}">
                  <a16:creationId xmlns:a16="http://schemas.microsoft.com/office/drawing/2014/main" id="{57389608-4676-4687-8ECB-4D71B8133D4F}"/>
                </a:ext>
              </a:extLst>
            </p:cNvPr>
            <p:cNvSpPr/>
            <p:nvPr/>
          </p:nvSpPr>
          <p:spPr>
            <a:xfrm rot="8716295">
              <a:off x="1700012" y="154040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1" name="Forme libre : forme 170">
              <a:extLst>
                <a:ext uri="{FF2B5EF4-FFF2-40B4-BE49-F238E27FC236}">
                  <a16:creationId xmlns:a16="http://schemas.microsoft.com/office/drawing/2014/main" id="{B4719429-3450-446C-9492-3B4DE807655B}"/>
                </a:ext>
              </a:extLst>
            </p:cNvPr>
            <p:cNvSpPr/>
            <p:nvPr/>
          </p:nvSpPr>
          <p:spPr>
            <a:xfrm rot="8716295">
              <a:off x="2011167" y="116076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2" name="Forme libre : forme 171">
              <a:extLst>
                <a:ext uri="{FF2B5EF4-FFF2-40B4-BE49-F238E27FC236}">
                  <a16:creationId xmlns:a16="http://schemas.microsoft.com/office/drawing/2014/main" id="{1BD21CA5-EDB3-4B1C-9DA6-85A17C61C7E0}"/>
                </a:ext>
              </a:extLst>
            </p:cNvPr>
            <p:cNvSpPr/>
            <p:nvPr/>
          </p:nvSpPr>
          <p:spPr>
            <a:xfrm rot="8716295">
              <a:off x="2100559" y="119000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3" name="Forme libre : forme 172">
              <a:extLst>
                <a:ext uri="{FF2B5EF4-FFF2-40B4-BE49-F238E27FC236}">
                  <a16:creationId xmlns:a16="http://schemas.microsoft.com/office/drawing/2014/main" id="{7CA91DF5-20FD-481D-801E-1A30383F35AF}"/>
                </a:ext>
              </a:extLst>
            </p:cNvPr>
            <p:cNvSpPr/>
            <p:nvPr/>
          </p:nvSpPr>
          <p:spPr>
            <a:xfrm rot="8716295">
              <a:off x="1898933" y="124930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4" name="Forme libre : forme 173">
              <a:extLst>
                <a:ext uri="{FF2B5EF4-FFF2-40B4-BE49-F238E27FC236}">
                  <a16:creationId xmlns:a16="http://schemas.microsoft.com/office/drawing/2014/main" id="{14C3D20C-5774-494C-8893-5288670D0889}"/>
                </a:ext>
              </a:extLst>
            </p:cNvPr>
            <p:cNvSpPr/>
            <p:nvPr/>
          </p:nvSpPr>
          <p:spPr>
            <a:xfrm rot="8716295">
              <a:off x="1774031" y="104063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5" name="Forme libre : forme 174">
              <a:extLst>
                <a:ext uri="{FF2B5EF4-FFF2-40B4-BE49-F238E27FC236}">
                  <a16:creationId xmlns:a16="http://schemas.microsoft.com/office/drawing/2014/main" id="{921096A6-36F4-49A7-A062-8CA8DFB2FA2B}"/>
                </a:ext>
              </a:extLst>
            </p:cNvPr>
            <p:cNvSpPr/>
            <p:nvPr/>
          </p:nvSpPr>
          <p:spPr>
            <a:xfrm rot="8716295">
              <a:off x="1989111" y="129025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6" name="Forme libre : forme 175">
              <a:extLst>
                <a:ext uri="{FF2B5EF4-FFF2-40B4-BE49-F238E27FC236}">
                  <a16:creationId xmlns:a16="http://schemas.microsoft.com/office/drawing/2014/main" id="{B0920127-DB05-4341-ACD2-55A82DB831D0}"/>
                </a:ext>
              </a:extLst>
            </p:cNvPr>
            <p:cNvSpPr/>
            <p:nvPr/>
          </p:nvSpPr>
          <p:spPr>
            <a:xfrm rot="8716295">
              <a:off x="1747660" y="114065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7" name="Forme libre : forme 176">
              <a:extLst>
                <a:ext uri="{FF2B5EF4-FFF2-40B4-BE49-F238E27FC236}">
                  <a16:creationId xmlns:a16="http://schemas.microsoft.com/office/drawing/2014/main" id="{247E137A-2962-45C6-854D-3C335B97D942}"/>
                </a:ext>
              </a:extLst>
            </p:cNvPr>
            <p:cNvSpPr/>
            <p:nvPr/>
          </p:nvSpPr>
          <p:spPr>
            <a:xfrm rot="7484129">
              <a:off x="2094042" y="148160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8" name="Forme libre : forme 177">
              <a:extLst>
                <a:ext uri="{FF2B5EF4-FFF2-40B4-BE49-F238E27FC236}">
                  <a16:creationId xmlns:a16="http://schemas.microsoft.com/office/drawing/2014/main" id="{AF26B0FA-FC69-4100-A938-0778F8E044BC}"/>
                </a:ext>
              </a:extLst>
            </p:cNvPr>
            <p:cNvSpPr/>
            <p:nvPr/>
          </p:nvSpPr>
          <p:spPr>
            <a:xfrm rot="13089394">
              <a:off x="2198862" y="144814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9" name="Forme libre : forme 178">
              <a:extLst>
                <a:ext uri="{FF2B5EF4-FFF2-40B4-BE49-F238E27FC236}">
                  <a16:creationId xmlns:a16="http://schemas.microsoft.com/office/drawing/2014/main" id="{39EC1976-14A4-4281-9016-8D042C84E539}"/>
                </a:ext>
              </a:extLst>
            </p:cNvPr>
            <p:cNvSpPr/>
            <p:nvPr/>
          </p:nvSpPr>
          <p:spPr>
            <a:xfrm rot="8716295">
              <a:off x="2384447" y="125646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0" name="Forme libre : forme 179">
              <a:extLst>
                <a:ext uri="{FF2B5EF4-FFF2-40B4-BE49-F238E27FC236}">
                  <a16:creationId xmlns:a16="http://schemas.microsoft.com/office/drawing/2014/main" id="{C3D1445E-47EC-4B9A-86DA-68830C5A9003}"/>
                </a:ext>
              </a:extLst>
            </p:cNvPr>
            <p:cNvSpPr/>
            <p:nvPr/>
          </p:nvSpPr>
          <p:spPr>
            <a:xfrm rot="8716295">
              <a:off x="2332642" y="115286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" name="Forme libre : forme 180">
              <a:extLst>
                <a:ext uri="{FF2B5EF4-FFF2-40B4-BE49-F238E27FC236}">
                  <a16:creationId xmlns:a16="http://schemas.microsoft.com/office/drawing/2014/main" id="{6D64B041-AA03-4C2C-B195-E69DDAF61BCF}"/>
                </a:ext>
              </a:extLst>
            </p:cNvPr>
            <p:cNvSpPr/>
            <p:nvPr/>
          </p:nvSpPr>
          <p:spPr>
            <a:xfrm rot="8716295">
              <a:off x="2089396" y="118308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" name="Forme libre : forme 181">
              <a:extLst>
                <a:ext uri="{FF2B5EF4-FFF2-40B4-BE49-F238E27FC236}">
                  <a16:creationId xmlns:a16="http://schemas.microsoft.com/office/drawing/2014/main" id="{6929DCAA-A61B-45A7-8707-91162650FFF3}"/>
                </a:ext>
              </a:extLst>
            </p:cNvPr>
            <p:cNvSpPr/>
            <p:nvPr/>
          </p:nvSpPr>
          <p:spPr>
            <a:xfrm rot="8716295">
              <a:off x="2266848" y="102384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" name="Forme libre : forme 182">
              <a:extLst>
                <a:ext uri="{FF2B5EF4-FFF2-40B4-BE49-F238E27FC236}">
                  <a16:creationId xmlns:a16="http://schemas.microsoft.com/office/drawing/2014/main" id="{606C2101-E652-4D30-867F-39388545E11E}"/>
                </a:ext>
              </a:extLst>
            </p:cNvPr>
            <p:cNvSpPr/>
            <p:nvPr/>
          </p:nvSpPr>
          <p:spPr>
            <a:xfrm rot="8716295">
              <a:off x="1503129" y="74885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" name="Forme libre : forme 183">
              <a:extLst>
                <a:ext uri="{FF2B5EF4-FFF2-40B4-BE49-F238E27FC236}">
                  <a16:creationId xmlns:a16="http://schemas.microsoft.com/office/drawing/2014/main" id="{BCCF4C0A-B226-447A-AED6-6E411077F313}"/>
                </a:ext>
              </a:extLst>
            </p:cNvPr>
            <p:cNvSpPr/>
            <p:nvPr/>
          </p:nvSpPr>
          <p:spPr>
            <a:xfrm rot="8716295">
              <a:off x="1592521" y="77809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" name="Forme libre : forme 184">
              <a:extLst>
                <a:ext uri="{FF2B5EF4-FFF2-40B4-BE49-F238E27FC236}">
                  <a16:creationId xmlns:a16="http://schemas.microsoft.com/office/drawing/2014/main" id="{1047FAEE-E0A8-4DC0-AF81-D0262E51D58E}"/>
                </a:ext>
              </a:extLst>
            </p:cNvPr>
            <p:cNvSpPr/>
            <p:nvPr/>
          </p:nvSpPr>
          <p:spPr>
            <a:xfrm rot="8716295">
              <a:off x="1547671" y="69181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" name="Forme libre : forme 185">
              <a:extLst>
                <a:ext uri="{FF2B5EF4-FFF2-40B4-BE49-F238E27FC236}">
                  <a16:creationId xmlns:a16="http://schemas.microsoft.com/office/drawing/2014/main" id="{30E94405-5131-4E4F-8725-C67590E30DB2}"/>
                </a:ext>
              </a:extLst>
            </p:cNvPr>
            <p:cNvSpPr/>
            <p:nvPr/>
          </p:nvSpPr>
          <p:spPr>
            <a:xfrm rot="8716295">
              <a:off x="1390895" y="83739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" name="Forme libre : forme 186">
              <a:extLst>
                <a:ext uri="{FF2B5EF4-FFF2-40B4-BE49-F238E27FC236}">
                  <a16:creationId xmlns:a16="http://schemas.microsoft.com/office/drawing/2014/main" id="{3592B2BF-462B-42D1-B159-935FE013A746}"/>
                </a:ext>
              </a:extLst>
            </p:cNvPr>
            <p:cNvSpPr/>
            <p:nvPr/>
          </p:nvSpPr>
          <p:spPr>
            <a:xfrm rot="8716295">
              <a:off x="1265992" y="62872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" name="Forme libre : forme 187">
              <a:extLst>
                <a:ext uri="{FF2B5EF4-FFF2-40B4-BE49-F238E27FC236}">
                  <a16:creationId xmlns:a16="http://schemas.microsoft.com/office/drawing/2014/main" id="{1E56EF9D-6FEF-4D8D-A155-3A26210B9301}"/>
                </a:ext>
              </a:extLst>
            </p:cNvPr>
            <p:cNvSpPr/>
            <p:nvPr/>
          </p:nvSpPr>
          <p:spPr>
            <a:xfrm rot="8716295">
              <a:off x="1253940" y="48994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" name="Forme libre : forme 188">
              <a:extLst>
                <a:ext uri="{FF2B5EF4-FFF2-40B4-BE49-F238E27FC236}">
                  <a16:creationId xmlns:a16="http://schemas.microsoft.com/office/drawing/2014/main" id="{ABF55A8B-11D0-49F1-BB9C-9578891D6FAC}"/>
                </a:ext>
              </a:extLst>
            </p:cNvPr>
            <p:cNvSpPr/>
            <p:nvPr/>
          </p:nvSpPr>
          <p:spPr>
            <a:xfrm rot="8716295">
              <a:off x="1481073" y="87835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" name="Forme libre : forme 189">
              <a:extLst>
                <a:ext uri="{FF2B5EF4-FFF2-40B4-BE49-F238E27FC236}">
                  <a16:creationId xmlns:a16="http://schemas.microsoft.com/office/drawing/2014/main" id="{946D037D-9BA1-48DA-87EF-5EF5B831A0E1}"/>
                </a:ext>
              </a:extLst>
            </p:cNvPr>
            <p:cNvSpPr/>
            <p:nvPr/>
          </p:nvSpPr>
          <p:spPr>
            <a:xfrm rot="8716295">
              <a:off x="1792228" y="4987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" name="Forme libre : forme 190">
              <a:extLst>
                <a:ext uri="{FF2B5EF4-FFF2-40B4-BE49-F238E27FC236}">
                  <a16:creationId xmlns:a16="http://schemas.microsoft.com/office/drawing/2014/main" id="{27B82C76-9BEA-43A1-96FA-84295CCF0AA5}"/>
                </a:ext>
              </a:extLst>
            </p:cNvPr>
            <p:cNvSpPr/>
            <p:nvPr/>
          </p:nvSpPr>
          <p:spPr>
            <a:xfrm rot="8716295">
              <a:off x="1881620" y="5279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" name="Forme libre : forme 191">
              <a:extLst>
                <a:ext uri="{FF2B5EF4-FFF2-40B4-BE49-F238E27FC236}">
                  <a16:creationId xmlns:a16="http://schemas.microsoft.com/office/drawing/2014/main" id="{C9AF6FC6-301E-4498-93BF-1A9EB1439FE6}"/>
                </a:ext>
              </a:extLst>
            </p:cNvPr>
            <p:cNvSpPr/>
            <p:nvPr/>
          </p:nvSpPr>
          <p:spPr>
            <a:xfrm rot="8716295">
              <a:off x="1679994" y="58724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" name="Forme libre : forme 192">
              <a:extLst>
                <a:ext uri="{FF2B5EF4-FFF2-40B4-BE49-F238E27FC236}">
                  <a16:creationId xmlns:a16="http://schemas.microsoft.com/office/drawing/2014/main" id="{988C10D0-6B50-41AB-B9B5-23D20681103E}"/>
                </a:ext>
              </a:extLst>
            </p:cNvPr>
            <p:cNvSpPr/>
            <p:nvPr/>
          </p:nvSpPr>
          <p:spPr>
            <a:xfrm rot="8716295">
              <a:off x="1555092" y="37857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" name="Forme libre : forme 193">
              <a:extLst>
                <a:ext uri="{FF2B5EF4-FFF2-40B4-BE49-F238E27FC236}">
                  <a16:creationId xmlns:a16="http://schemas.microsoft.com/office/drawing/2014/main" id="{BA88EE97-63F0-4D28-BDD9-E175569D56C8}"/>
                </a:ext>
              </a:extLst>
            </p:cNvPr>
            <p:cNvSpPr/>
            <p:nvPr/>
          </p:nvSpPr>
          <p:spPr>
            <a:xfrm rot="8716295">
              <a:off x="1770172" y="62819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" name="Forme libre : forme 194">
              <a:extLst>
                <a:ext uri="{FF2B5EF4-FFF2-40B4-BE49-F238E27FC236}">
                  <a16:creationId xmlns:a16="http://schemas.microsoft.com/office/drawing/2014/main" id="{7DB936D3-752D-4426-96C6-451097B40A6E}"/>
                </a:ext>
              </a:extLst>
            </p:cNvPr>
            <p:cNvSpPr/>
            <p:nvPr/>
          </p:nvSpPr>
          <p:spPr>
            <a:xfrm rot="8716295">
              <a:off x="1528721" y="47859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" name="Forme libre : forme 195">
              <a:extLst>
                <a:ext uri="{FF2B5EF4-FFF2-40B4-BE49-F238E27FC236}">
                  <a16:creationId xmlns:a16="http://schemas.microsoft.com/office/drawing/2014/main" id="{6E95CB13-89AC-4C2B-9D9A-140661272E61}"/>
                </a:ext>
              </a:extLst>
            </p:cNvPr>
            <p:cNvSpPr/>
            <p:nvPr/>
          </p:nvSpPr>
          <p:spPr>
            <a:xfrm rot="7484129">
              <a:off x="1875103" y="8195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" name="Forme libre : forme 196">
              <a:extLst>
                <a:ext uri="{FF2B5EF4-FFF2-40B4-BE49-F238E27FC236}">
                  <a16:creationId xmlns:a16="http://schemas.microsoft.com/office/drawing/2014/main" id="{E94CA442-8190-4409-8D0E-996A3C13C977}"/>
                </a:ext>
              </a:extLst>
            </p:cNvPr>
            <p:cNvSpPr/>
            <p:nvPr/>
          </p:nvSpPr>
          <p:spPr>
            <a:xfrm rot="13089394">
              <a:off x="1979923" y="7860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" name="Forme libre : forme 197">
              <a:extLst>
                <a:ext uri="{FF2B5EF4-FFF2-40B4-BE49-F238E27FC236}">
                  <a16:creationId xmlns:a16="http://schemas.microsoft.com/office/drawing/2014/main" id="{52184F7E-FD35-4373-B77A-668CA5FF6983}"/>
                </a:ext>
              </a:extLst>
            </p:cNvPr>
            <p:cNvSpPr/>
            <p:nvPr/>
          </p:nvSpPr>
          <p:spPr>
            <a:xfrm rot="8716295">
              <a:off x="2165508" y="5944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" name="Forme libre : forme 198">
              <a:extLst>
                <a:ext uri="{FF2B5EF4-FFF2-40B4-BE49-F238E27FC236}">
                  <a16:creationId xmlns:a16="http://schemas.microsoft.com/office/drawing/2014/main" id="{203E9F12-3C6B-465D-9FDE-0F57C68E6794}"/>
                </a:ext>
              </a:extLst>
            </p:cNvPr>
            <p:cNvSpPr/>
            <p:nvPr/>
          </p:nvSpPr>
          <p:spPr>
            <a:xfrm rot="8716295">
              <a:off x="2113703" y="4908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" name="Forme libre : forme 199">
              <a:extLst>
                <a:ext uri="{FF2B5EF4-FFF2-40B4-BE49-F238E27FC236}">
                  <a16:creationId xmlns:a16="http://schemas.microsoft.com/office/drawing/2014/main" id="{3A4792DF-206D-4745-96BF-57BE9528DC29}"/>
                </a:ext>
              </a:extLst>
            </p:cNvPr>
            <p:cNvSpPr/>
            <p:nvPr/>
          </p:nvSpPr>
          <p:spPr>
            <a:xfrm rot="8716295">
              <a:off x="1870457" y="5210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" name="Forme libre : forme 200">
              <a:extLst>
                <a:ext uri="{FF2B5EF4-FFF2-40B4-BE49-F238E27FC236}">
                  <a16:creationId xmlns:a16="http://schemas.microsoft.com/office/drawing/2014/main" id="{D95C5BFF-0992-4FE2-933F-F0F5A8B60014}"/>
                </a:ext>
              </a:extLst>
            </p:cNvPr>
            <p:cNvSpPr/>
            <p:nvPr/>
          </p:nvSpPr>
          <p:spPr>
            <a:xfrm rot="8716295">
              <a:off x="2047909" y="3617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" name="Forme libre : forme 201">
              <a:extLst>
                <a:ext uri="{FF2B5EF4-FFF2-40B4-BE49-F238E27FC236}">
                  <a16:creationId xmlns:a16="http://schemas.microsoft.com/office/drawing/2014/main" id="{20C3FF4D-8F7D-4FCE-A8F6-F7C60C54B616}"/>
                </a:ext>
              </a:extLst>
            </p:cNvPr>
            <p:cNvSpPr/>
            <p:nvPr/>
          </p:nvSpPr>
          <p:spPr>
            <a:xfrm rot="8716295">
              <a:off x="1280459" y="8544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" name="Forme libre : forme 202">
              <a:extLst>
                <a:ext uri="{FF2B5EF4-FFF2-40B4-BE49-F238E27FC236}">
                  <a16:creationId xmlns:a16="http://schemas.microsoft.com/office/drawing/2014/main" id="{4A2EE2E0-D7CF-43D6-ACB3-BE33DBCC49BB}"/>
                </a:ext>
              </a:extLst>
            </p:cNvPr>
            <p:cNvSpPr/>
            <p:nvPr/>
          </p:nvSpPr>
          <p:spPr>
            <a:xfrm rot="8716295">
              <a:off x="1369851" y="11468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" name="Forme libre : forme 203">
              <a:extLst>
                <a:ext uri="{FF2B5EF4-FFF2-40B4-BE49-F238E27FC236}">
                  <a16:creationId xmlns:a16="http://schemas.microsoft.com/office/drawing/2014/main" id="{ADCFE50E-B4B9-4301-A613-96CD6C8E76F5}"/>
                </a:ext>
              </a:extLst>
            </p:cNvPr>
            <p:cNvSpPr/>
            <p:nvPr/>
          </p:nvSpPr>
          <p:spPr>
            <a:xfrm rot="8716295">
              <a:off x="1325001" y="2840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" name="Forme libre : forme 204">
              <a:extLst>
                <a:ext uri="{FF2B5EF4-FFF2-40B4-BE49-F238E27FC236}">
                  <a16:creationId xmlns:a16="http://schemas.microsoft.com/office/drawing/2014/main" id="{1C78DD3D-BA43-491E-A425-4F726ABF99F2}"/>
                </a:ext>
              </a:extLst>
            </p:cNvPr>
            <p:cNvSpPr/>
            <p:nvPr/>
          </p:nvSpPr>
          <p:spPr>
            <a:xfrm rot="8716295">
              <a:off x="1168225" y="17398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" name="Forme libre : forme 205">
              <a:extLst>
                <a:ext uri="{FF2B5EF4-FFF2-40B4-BE49-F238E27FC236}">
                  <a16:creationId xmlns:a16="http://schemas.microsoft.com/office/drawing/2014/main" id="{58A93461-0B09-4176-BDF3-87683487BEBD}"/>
                </a:ext>
              </a:extLst>
            </p:cNvPr>
            <p:cNvSpPr/>
            <p:nvPr/>
          </p:nvSpPr>
          <p:spPr>
            <a:xfrm rot="8716295">
              <a:off x="1045449" y="-13548"/>
              <a:ext cx="203847" cy="172572"/>
            </a:xfrm>
            <a:custGeom>
              <a:avLst/>
              <a:gdLst>
                <a:gd name="connsiteX0" fmla="*/ 98725 w 203847"/>
                <a:gd name="connsiteY0" fmla="*/ 172572 h 172572"/>
                <a:gd name="connsiteX1" fmla="*/ 65988 w 203847"/>
                <a:gd name="connsiteY1" fmla="*/ 149880 h 172572"/>
                <a:gd name="connsiteX2" fmla="*/ 47847 w 203847"/>
                <a:gd name="connsiteY2" fmla="*/ 116129 h 172572"/>
                <a:gd name="connsiteX3" fmla="*/ 69777 w 203847"/>
                <a:gd name="connsiteY3" fmla="*/ 55323 h 172572"/>
                <a:gd name="connsiteX4" fmla="*/ 0 w 203847"/>
                <a:gd name="connsiteY4" fmla="*/ 55323 h 172572"/>
                <a:gd name="connsiteX5" fmla="*/ 0 w 203847"/>
                <a:gd name="connsiteY5" fmla="*/ 0 h 172572"/>
                <a:gd name="connsiteX6" fmla="*/ 203847 w 203847"/>
                <a:gd name="connsiteY6" fmla="*/ 0 h 172572"/>
                <a:gd name="connsiteX7" fmla="*/ 203847 w 203847"/>
                <a:gd name="connsiteY7" fmla="*/ 55323 h 172572"/>
                <a:gd name="connsiteX8" fmla="*/ 139055 w 203847"/>
                <a:gd name="connsiteY8" fmla="*/ 55323 h 172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72572">
                  <a:moveTo>
                    <a:pt x="98725" y="172572"/>
                  </a:moveTo>
                  <a:lnTo>
                    <a:pt x="65988" y="149880"/>
                  </a:ln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" name="Forme libre : forme 206">
              <a:extLst>
                <a:ext uri="{FF2B5EF4-FFF2-40B4-BE49-F238E27FC236}">
                  <a16:creationId xmlns:a16="http://schemas.microsoft.com/office/drawing/2014/main" id="{F6E141F6-F3D7-4382-A5A9-B9DC46311949}"/>
                </a:ext>
              </a:extLst>
            </p:cNvPr>
            <p:cNvSpPr/>
            <p:nvPr/>
          </p:nvSpPr>
          <p:spPr>
            <a:xfrm rot="8716295">
              <a:off x="1049608" y="-107301"/>
              <a:ext cx="290643" cy="275223"/>
            </a:xfrm>
            <a:custGeom>
              <a:avLst/>
              <a:gdLst>
                <a:gd name="connsiteX0" fmla="*/ 79172 w 290643"/>
                <a:gd name="connsiteY0" fmla="*/ 128638 h 275223"/>
                <a:gd name="connsiteX1" fmla="*/ 0 w 290643"/>
                <a:gd name="connsiteY1" fmla="*/ 73758 h 275223"/>
                <a:gd name="connsiteX2" fmla="*/ 0 w 290643"/>
                <a:gd name="connsiteY2" fmla="*/ 40596 h 275223"/>
                <a:gd name="connsiteX3" fmla="*/ 78250 w 290643"/>
                <a:gd name="connsiteY3" fmla="*/ 0 h 275223"/>
                <a:gd name="connsiteX4" fmla="*/ 290643 w 290643"/>
                <a:gd name="connsiteY4" fmla="*/ 275223 h 275223"/>
                <a:gd name="connsiteX5" fmla="*/ 278016 w 290643"/>
                <a:gd name="connsiteY5" fmla="*/ 266470 h 275223"/>
                <a:gd name="connsiteX6" fmla="*/ 289467 w 290643"/>
                <a:gd name="connsiteY6" fmla="*/ 261815 h 275223"/>
                <a:gd name="connsiteX7" fmla="*/ 290643 w 290643"/>
                <a:gd name="connsiteY7" fmla="*/ 269463 h 27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0643" h="275223">
                  <a:moveTo>
                    <a:pt x="79172" y="128638"/>
                  </a:moveTo>
                  <a:lnTo>
                    <a:pt x="0" y="73758"/>
                  </a:lnTo>
                  <a:lnTo>
                    <a:pt x="0" y="40596"/>
                  </a:lnTo>
                  <a:lnTo>
                    <a:pt x="78250" y="0"/>
                  </a:lnTo>
                  <a:close/>
                  <a:moveTo>
                    <a:pt x="290643" y="275223"/>
                  </a:moveTo>
                  <a:lnTo>
                    <a:pt x="278016" y="266470"/>
                  </a:lnTo>
                  <a:lnTo>
                    <a:pt x="289467" y="261815"/>
                  </a:lnTo>
                  <a:cubicBezTo>
                    <a:pt x="290055" y="264168"/>
                    <a:pt x="290643" y="267110"/>
                    <a:pt x="290643" y="2694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" name="Forme libre : forme 207">
              <a:extLst>
                <a:ext uri="{FF2B5EF4-FFF2-40B4-BE49-F238E27FC236}">
                  <a16:creationId xmlns:a16="http://schemas.microsoft.com/office/drawing/2014/main" id="{4C5F5C19-6F05-476E-8B4C-2E1271E3709B}"/>
                </a:ext>
              </a:extLst>
            </p:cNvPr>
            <p:cNvSpPr/>
            <p:nvPr/>
          </p:nvSpPr>
          <p:spPr>
            <a:xfrm rot="8716295">
              <a:off x="1258403" y="21493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" name="Forme libre : forme 208">
              <a:extLst>
                <a:ext uri="{FF2B5EF4-FFF2-40B4-BE49-F238E27FC236}">
                  <a16:creationId xmlns:a16="http://schemas.microsoft.com/office/drawing/2014/main" id="{99462675-4E20-4299-99A1-8C989AC1AC7A}"/>
                </a:ext>
              </a:extLst>
            </p:cNvPr>
            <p:cNvSpPr/>
            <p:nvPr/>
          </p:nvSpPr>
          <p:spPr>
            <a:xfrm rot="8716295">
              <a:off x="1604517" y="-50002"/>
              <a:ext cx="142167" cy="106747"/>
            </a:xfrm>
            <a:custGeom>
              <a:avLst/>
              <a:gdLst>
                <a:gd name="connsiteX0" fmla="*/ 142167 w 142167"/>
                <a:gd name="connsiteY0" fmla="*/ 106747 h 106747"/>
                <a:gd name="connsiteX1" fmla="*/ 79942 w 142167"/>
                <a:gd name="connsiteY1" fmla="*/ 63615 h 106747"/>
                <a:gd name="connsiteX2" fmla="*/ 74103 w 142167"/>
                <a:gd name="connsiteY2" fmla="*/ 53597 h 106747"/>
                <a:gd name="connsiteX3" fmla="*/ 60604 w 142167"/>
                <a:gd name="connsiteY3" fmla="*/ 50123 h 106747"/>
                <a:gd name="connsiteX4" fmla="*/ 60478 w 142167"/>
                <a:gd name="connsiteY4" fmla="*/ 50123 h 106747"/>
                <a:gd name="connsiteX5" fmla="*/ 0 w 142167"/>
                <a:gd name="connsiteY5" fmla="*/ 8201 h 106747"/>
                <a:gd name="connsiteX6" fmla="*/ 0 w 142167"/>
                <a:gd name="connsiteY6" fmla="*/ 0 h 106747"/>
                <a:gd name="connsiteX7" fmla="*/ 85209 w 142167"/>
                <a:gd name="connsiteY7" fmla="*/ 0 h 106747"/>
                <a:gd name="connsiteX8" fmla="*/ 142167 w 142167"/>
                <a:gd name="connsiteY8" fmla="*/ 50123 h 10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06747">
                  <a:moveTo>
                    <a:pt x="142167" y="106747"/>
                  </a:moveTo>
                  <a:lnTo>
                    <a:pt x="79942" y="63615"/>
                  </a:lnTo>
                  <a:lnTo>
                    <a:pt x="74103" y="53597"/>
                  </a:lnTo>
                  <a:cubicBezTo>
                    <a:pt x="70400" y="50806"/>
                    <a:pt x="65616" y="49439"/>
                    <a:pt x="60604" y="50123"/>
                  </a:cubicBezTo>
                  <a:lnTo>
                    <a:pt x="60478" y="50123"/>
                  </a:lnTo>
                  <a:lnTo>
                    <a:pt x="0" y="8201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" name="Forme libre : forme 209">
              <a:extLst>
                <a:ext uri="{FF2B5EF4-FFF2-40B4-BE49-F238E27FC236}">
                  <a16:creationId xmlns:a16="http://schemas.microsoft.com/office/drawing/2014/main" id="{F18E365A-DFDC-47DB-8B33-290827288FD8}"/>
                </a:ext>
              </a:extLst>
            </p:cNvPr>
            <p:cNvSpPr/>
            <p:nvPr/>
          </p:nvSpPr>
          <p:spPr>
            <a:xfrm rot="8716295">
              <a:off x="1699771" y="-2013"/>
              <a:ext cx="260639" cy="104392"/>
            </a:xfrm>
            <a:custGeom>
              <a:avLst/>
              <a:gdLst>
                <a:gd name="connsiteX0" fmla="*/ 117530 w 260639"/>
                <a:gd name="connsiteY0" fmla="*/ 104392 h 104392"/>
                <a:gd name="connsiteX1" fmla="*/ 51490 w 260639"/>
                <a:gd name="connsiteY1" fmla="*/ 58614 h 104392"/>
                <a:gd name="connsiteX2" fmla="*/ 51490 w 260639"/>
                <a:gd name="connsiteY2" fmla="*/ 45624 h 104392"/>
                <a:gd name="connsiteX3" fmla="*/ 32748 w 260639"/>
                <a:gd name="connsiteY3" fmla="*/ 45624 h 104392"/>
                <a:gd name="connsiteX4" fmla="*/ 0 w 260639"/>
                <a:gd name="connsiteY4" fmla="*/ 22924 h 104392"/>
                <a:gd name="connsiteX5" fmla="*/ 0 w 260639"/>
                <a:gd name="connsiteY5" fmla="*/ 1425 h 104392"/>
                <a:gd name="connsiteX6" fmla="*/ 104802 w 260639"/>
                <a:gd name="connsiteY6" fmla="*/ 1425 h 104392"/>
                <a:gd name="connsiteX7" fmla="*/ 104802 w 260639"/>
                <a:gd name="connsiteY7" fmla="*/ 75242 h 104392"/>
                <a:gd name="connsiteX8" fmla="*/ 106169 w 260639"/>
                <a:gd name="connsiteY8" fmla="*/ 75242 h 104392"/>
                <a:gd name="connsiteX9" fmla="*/ 154014 w 260639"/>
                <a:gd name="connsiteY9" fmla="*/ 5981 h 104392"/>
                <a:gd name="connsiteX10" fmla="*/ 185455 w 260639"/>
                <a:gd name="connsiteY10" fmla="*/ 57 h 104392"/>
                <a:gd name="connsiteX11" fmla="*/ 260639 w 260639"/>
                <a:gd name="connsiteY11" fmla="*/ 88456 h 104392"/>
                <a:gd name="connsiteX12" fmla="*/ 260639 w 260639"/>
                <a:gd name="connsiteY12" fmla="*/ 94380 h 104392"/>
                <a:gd name="connsiteX13" fmla="*/ 198669 w 260639"/>
                <a:gd name="connsiteY13" fmla="*/ 98025 h 104392"/>
                <a:gd name="connsiteX14" fmla="*/ 198669 w 260639"/>
                <a:gd name="connsiteY14" fmla="*/ 81621 h 104392"/>
                <a:gd name="connsiteX15" fmla="*/ 164950 w 260639"/>
                <a:gd name="connsiteY15" fmla="*/ 40156 h 104392"/>
                <a:gd name="connsiteX16" fmla="*/ 127358 w 260639"/>
                <a:gd name="connsiteY16" fmla="*/ 65616 h 104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60639" h="104392">
                  <a:moveTo>
                    <a:pt x="117530" y="104392"/>
                  </a:moveTo>
                  <a:lnTo>
                    <a:pt x="51490" y="58614"/>
                  </a:lnTo>
                  <a:lnTo>
                    <a:pt x="51490" y="45624"/>
                  </a:lnTo>
                  <a:lnTo>
                    <a:pt x="32748" y="45624"/>
                  </a:lnTo>
                  <a:lnTo>
                    <a:pt x="0" y="229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5"/>
                    <a:pt x="184544" y="40156"/>
                    <a:pt x="164950" y="40156"/>
                  </a:cubicBezTo>
                  <a:cubicBezTo>
                    <a:pt x="150369" y="40156"/>
                    <a:pt x="137041" y="49839"/>
                    <a:pt x="127358" y="656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" name="Forme libre : forme 210">
              <a:extLst>
                <a:ext uri="{FF2B5EF4-FFF2-40B4-BE49-F238E27FC236}">
                  <a16:creationId xmlns:a16="http://schemas.microsoft.com/office/drawing/2014/main" id="{BD9DBA5B-B938-49AE-B4FF-DC0E17DDD56F}"/>
                </a:ext>
              </a:extLst>
            </p:cNvPr>
            <p:cNvSpPr/>
            <p:nvPr/>
          </p:nvSpPr>
          <p:spPr>
            <a:xfrm rot="8716295">
              <a:off x="1547502" y="-3521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" name="Forme libre : forme 211">
              <a:extLst>
                <a:ext uri="{FF2B5EF4-FFF2-40B4-BE49-F238E27FC236}">
                  <a16:creationId xmlns:a16="http://schemas.microsoft.com/office/drawing/2014/main" id="{8C64BFA5-88D5-4B19-8DD4-8DB6B59A61D8}"/>
                </a:ext>
              </a:extLst>
            </p:cNvPr>
            <p:cNvSpPr/>
            <p:nvPr/>
          </p:nvSpPr>
          <p:spPr>
            <a:xfrm rot="7484129">
              <a:off x="1652433" y="15613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" name="Forme libre : forme 212">
              <a:extLst>
                <a:ext uri="{FF2B5EF4-FFF2-40B4-BE49-F238E27FC236}">
                  <a16:creationId xmlns:a16="http://schemas.microsoft.com/office/drawing/2014/main" id="{034CC524-D8AC-40AF-8EAB-AB1B464A30AF}"/>
                </a:ext>
              </a:extLst>
            </p:cNvPr>
            <p:cNvSpPr/>
            <p:nvPr/>
          </p:nvSpPr>
          <p:spPr>
            <a:xfrm rot="13089394">
              <a:off x="1757253" y="122669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" name="Forme libre : forme 213">
              <a:extLst>
                <a:ext uri="{FF2B5EF4-FFF2-40B4-BE49-F238E27FC236}">
                  <a16:creationId xmlns:a16="http://schemas.microsoft.com/office/drawing/2014/main" id="{D78ECCFB-E224-46B7-92F0-42F89F972C82}"/>
                </a:ext>
              </a:extLst>
            </p:cNvPr>
            <p:cNvSpPr/>
            <p:nvPr/>
          </p:nvSpPr>
          <p:spPr>
            <a:xfrm rot="8716295">
              <a:off x="1960606" y="3279"/>
              <a:ext cx="142687" cy="109177"/>
            </a:xfrm>
            <a:custGeom>
              <a:avLst/>
              <a:gdLst>
                <a:gd name="connsiteX0" fmla="*/ 48521 w 142687"/>
                <a:gd name="connsiteY0" fmla="*/ 109177 h 109177"/>
                <a:gd name="connsiteX1" fmla="*/ 0 w 142687"/>
                <a:gd name="connsiteY1" fmla="*/ 75545 h 109177"/>
                <a:gd name="connsiteX2" fmla="*/ 44875 w 142687"/>
                <a:gd name="connsiteY2" fmla="*/ 33320 h 109177"/>
                <a:gd name="connsiteX3" fmla="*/ 109367 w 142687"/>
                <a:gd name="connsiteY3" fmla="*/ 0 h 109177"/>
                <a:gd name="connsiteX4" fmla="*/ 142687 w 142687"/>
                <a:gd name="connsiteY4" fmla="*/ 39770 h 109177"/>
                <a:gd name="connsiteX5" fmla="*/ 111516 w 142687"/>
                <a:gd name="connsiteY5" fmla="*/ 81689 h 109177"/>
                <a:gd name="connsiteX6" fmla="*/ 112053 w 142687"/>
                <a:gd name="connsiteY6" fmla="*/ 81689 h 109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687" h="109177">
                  <a:moveTo>
                    <a:pt x="48521" y="109177"/>
                  </a:moveTo>
                  <a:lnTo>
                    <a:pt x="0" y="75545"/>
                  </a:lnTo>
                  <a:lnTo>
                    <a:pt x="44875" y="33320"/>
                  </a:lnTo>
                  <a:cubicBezTo>
                    <a:pt x="60998" y="14511"/>
                    <a:pt x="84107" y="2687"/>
                    <a:pt x="109367" y="0"/>
                  </a:cubicBezTo>
                  <a:cubicBezTo>
                    <a:pt x="135163" y="0"/>
                    <a:pt x="142687" y="22572"/>
                    <a:pt x="142687" y="39770"/>
                  </a:cubicBezTo>
                  <a:cubicBezTo>
                    <a:pt x="141074" y="58580"/>
                    <a:pt x="128713" y="74165"/>
                    <a:pt x="111516" y="81689"/>
                  </a:cubicBezTo>
                  <a:lnTo>
                    <a:pt x="112053" y="816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" name="Forme libre : forme 214">
              <a:extLst>
                <a:ext uri="{FF2B5EF4-FFF2-40B4-BE49-F238E27FC236}">
                  <a16:creationId xmlns:a16="http://schemas.microsoft.com/office/drawing/2014/main" id="{30980170-BFE4-4DA8-B94E-3A74F835E666}"/>
                </a:ext>
              </a:extLst>
            </p:cNvPr>
            <p:cNvSpPr/>
            <p:nvPr/>
          </p:nvSpPr>
          <p:spPr>
            <a:xfrm rot="8716295">
              <a:off x="1076398" y="254697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" name="Forme libre : forme 215">
              <a:extLst>
                <a:ext uri="{FF2B5EF4-FFF2-40B4-BE49-F238E27FC236}">
                  <a16:creationId xmlns:a16="http://schemas.microsoft.com/office/drawing/2014/main" id="{EF36344D-9704-4C2C-BC8B-34C87B25880E}"/>
                </a:ext>
              </a:extLst>
            </p:cNvPr>
            <p:cNvSpPr/>
            <p:nvPr/>
          </p:nvSpPr>
          <p:spPr>
            <a:xfrm rot="8716295">
              <a:off x="1165790" y="257621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" name="Forme libre : forme 216">
              <a:extLst>
                <a:ext uri="{FF2B5EF4-FFF2-40B4-BE49-F238E27FC236}">
                  <a16:creationId xmlns:a16="http://schemas.microsoft.com/office/drawing/2014/main" id="{58A38589-98F6-451E-A434-58B30914CF96}"/>
                </a:ext>
              </a:extLst>
            </p:cNvPr>
            <p:cNvSpPr/>
            <p:nvPr/>
          </p:nvSpPr>
          <p:spPr>
            <a:xfrm rot="8716295">
              <a:off x="1120940" y="248993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" name="Forme libre : forme 217">
              <a:extLst>
                <a:ext uri="{FF2B5EF4-FFF2-40B4-BE49-F238E27FC236}">
                  <a16:creationId xmlns:a16="http://schemas.microsoft.com/office/drawing/2014/main" id="{1BBAB649-0D47-451B-AEA7-D99D438CCB67}"/>
                </a:ext>
              </a:extLst>
            </p:cNvPr>
            <p:cNvSpPr/>
            <p:nvPr/>
          </p:nvSpPr>
          <p:spPr>
            <a:xfrm rot="8716295">
              <a:off x="964164" y="263551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" name="Forme libre : forme 218">
              <a:extLst>
                <a:ext uri="{FF2B5EF4-FFF2-40B4-BE49-F238E27FC236}">
                  <a16:creationId xmlns:a16="http://schemas.microsoft.com/office/drawing/2014/main" id="{9ABD39F9-0013-4B66-B07C-F120985F94DF}"/>
                </a:ext>
              </a:extLst>
            </p:cNvPr>
            <p:cNvSpPr/>
            <p:nvPr/>
          </p:nvSpPr>
          <p:spPr>
            <a:xfrm rot="8716295">
              <a:off x="839261" y="242684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" name="Forme libre : forme 219">
              <a:extLst>
                <a:ext uri="{FF2B5EF4-FFF2-40B4-BE49-F238E27FC236}">
                  <a16:creationId xmlns:a16="http://schemas.microsoft.com/office/drawing/2014/main" id="{4B771D9C-DFA4-430F-84AF-9AE075F83BC7}"/>
                </a:ext>
              </a:extLst>
            </p:cNvPr>
            <p:cNvSpPr/>
            <p:nvPr/>
          </p:nvSpPr>
          <p:spPr>
            <a:xfrm rot="8716295">
              <a:off x="827209" y="228806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" name="Forme libre : forme 220">
              <a:extLst>
                <a:ext uri="{FF2B5EF4-FFF2-40B4-BE49-F238E27FC236}">
                  <a16:creationId xmlns:a16="http://schemas.microsoft.com/office/drawing/2014/main" id="{7FEF96BC-C543-4B58-AE20-95C6DC72AE3F}"/>
                </a:ext>
              </a:extLst>
            </p:cNvPr>
            <p:cNvSpPr/>
            <p:nvPr/>
          </p:nvSpPr>
          <p:spPr>
            <a:xfrm rot="8716295">
              <a:off x="1054342" y="267647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" name="Forme libre : forme 221">
              <a:extLst>
                <a:ext uri="{FF2B5EF4-FFF2-40B4-BE49-F238E27FC236}">
                  <a16:creationId xmlns:a16="http://schemas.microsoft.com/office/drawing/2014/main" id="{68891634-5A93-4AAD-9989-2DE5CE062379}"/>
                </a:ext>
              </a:extLst>
            </p:cNvPr>
            <p:cNvSpPr/>
            <p:nvPr/>
          </p:nvSpPr>
          <p:spPr>
            <a:xfrm rot="8716295">
              <a:off x="1365497" y="229682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" name="Forme libre : forme 222">
              <a:extLst>
                <a:ext uri="{FF2B5EF4-FFF2-40B4-BE49-F238E27FC236}">
                  <a16:creationId xmlns:a16="http://schemas.microsoft.com/office/drawing/2014/main" id="{39D665A4-4F4E-441C-B55C-726916A4039E}"/>
                </a:ext>
              </a:extLst>
            </p:cNvPr>
            <p:cNvSpPr/>
            <p:nvPr/>
          </p:nvSpPr>
          <p:spPr>
            <a:xfrm rot="8716295">
              <a:off x="1454889" y="232606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" name="Forme libre : forme 223">
              <a:extLst>
                <a:ext uri="{FF2B5EF4-FFF2-40B4-BE49-F238E27FC236}">
                  <a16:creationId xmlns:a16="http://schemas.microsoft.com/office/drawing/2014/main" id="{8AF4C94D-DC68-46A4-BF2C-889E3D6B62EC}"/>
                </a:ext>
              </a:extLst>
            </p:cNvPr>
            <p:cNvSpPr/>
            <p:nvPr/>
          </p:nvSpPr>
          <p:spPr>
            <a:xfrm rot="8716295">
              <a:off x="1253263" y="238536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" name="Forme libre : forme 224">
              <a:extLst>
                <a:ext uri="{FF2B5EF4-FFF2-40B4-BE49-F238E27FC236}">
                  <a16:creationId xmlns:a16="http://schemas.microsoft.com/office/drawing/2014/main" id="{C1408C1D-6D03-4994-BD3B-49E299BEE8DA}"/>
                </a:ext>
              </a:extLst>
            </p:cNvPr>
            <p:cNvSpPr/>
            <p:nvPr/>
          </p:nvSpPr>
          <p:spPr>
            <a:xfrm rot="8716295">
              <a:off x="1128361" y="217669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" name="Forme libre : forme 225">
              <a:extLst>
                <a:ext uri="{FF2B5EF4-FFF2-40B4-BE49-F238E27FC236}">
                  <a16:creationId xmlns:a16="http://schemas.microsoft.com/office/drawing/2014/main" id="{EB108B47-7607-4350-BAC7-848269D45EA1}"/>
                </a:ext>
              </a:extLst>
            </p:cNvPr>
            <p:cNvSpPr/>
            <p:nvPr/>
          </p:nvSpPr>
          <p:spPr>
            <a:xfrm rot="8716295">
              <a:off x="1343441" y="242631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" name="Forme libre : forme 226">
              <a:extLst>
                <a:ext uri="{FF2B5EF4-FFF2-40B4-BE49-F238E27FC236}">
                  <a16:creationId xmlns:a16="http://schemas.microsoft.com/office/drawing/2014/main" id="{016BF330-2E65-471B-BA9A-203A297FAFCE}"/>
                </a:ext>
              </a:extLst>
            </p:cNvPr>
            <p:cNvSpPr/>
            <p:nvPr/>
          </p:nvSpPr>
          <p:spPr>
            <a:xfrm rot="8716295">
              <a:off x="1101990" y="227671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" name="Forme libre : forme 227">
              <a:extLst>
                <a:ext uri="{FF2B5EF4-FFF2-40B4-BE49-F238E27FC236}">
                  <a16:creationId xmlns:a16="http://schemas.microsoft.com/office/drawing/2014/main" id="{20DF741A-5A82-48D0-A9BB-E29A7DA079B2}"/>
                </a:ext>
              </a:extLst>
            </p:cNvPr>
            <p:cNvSpPr/>
            <p:nvPr/>
          </p:nvSpPr>
          <p:spPr>
            <a:xfrm rot="7484129">
              <a:off x="1448372" y="261767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" name="Forme libre : forme 228">
              <a:extLst>
                <a:ext uri="{FF2B5EF4-FFF2-40B4-BE49-F238E27FC236}">
                  <a16:creationId xmlns:a16="http://schemas.microsoft.com/office/drawing/2014/main" id="{FBBC9382-FE3D-4581-90F5-934825D4E890}"/>
                </a:ext>
              </a:extLst>
            </p:cNvPr>
            <p:cNvSpPr/>
            <p:nvPr/>
          </p:nvSpPr>
          <p:spPr>
            <a:xfrm rot="13089394">
              <a:off x="1553192" y="258420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" name="Forme libre : forme 229">
              <a:extLst>
                <a:ext uri="{FF2B5EF4-FFF2-40B4-BE49-F238E27FC236}">
                  <a16:creationId xmlns:a16="http://schemas.microsoft.com/office/drawing/2014/main" id="{1722850A-0379-4FB9-9C9B-E45F998A47BD}"/>
                </a:ext>
              </a:extLst>
            </p:cNvPr>
            <p:cNvSpPr/>
            <p:nvPr/>
          </p:nvSpPr>
          <p:spPr>
            <a:xfrm rot="8716295">
              <a:off x="1738777" y="23925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" name="Forme libre : forme 230">
              <a:extLst>
                <a:ext uri="{FF2B5EF4-FFF2-40B4-BE49-F238E27FC236}">
                  <a16:creationId xmlns:a16="http://schemas.microsoft.com/office/drawing/2014/main" id="{BF511EF9-A49C-4AE3-8280-5A5B1337EE62}"/>
                </a:ext>
              </a:extLst>
            </p:cNvPr>
            <p:cNvSpPr/>
            <p:nvPr/>
          </p:nvSpPr>
          <p:spPr>
            <a:xfrm rot="8716295">
              <a:off x="1686972" y="228893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" name="Forme libre : forme 231">
              <a:extLst>
                <a:ext uri="{FF2B5EF4-FFF2-40B4-BE49-F238E27FC236}">
                  <a16:creationId xmlns:a16="http://schemas.microsoft.com/office/drawing/2014/main" id="{D138BF00-ED92-4133-ADF5-E9C66056A424}"/>
                </a:ext>
              </a:extLst>
            </p:cNvPr>
            <p:cNvSpPr/>
            <p:nvPr/>
          </p:nvSpPr>
          <p:spPr>
            <a:xfrm rot="8716295">
              <a:off x="1443726" y="231915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" name="Forme libre : forme 232">
              <a:extLst>
                <a:ext uri="{FF2B5EF4-FFF2-40B4-BE49-F238E27FC236}">
                  <a16:creationId xmlns:a16="http://schemas.microsoft.com/office/drawing/2014/main" id="{8E358CEB-AF06-484E-8852-BAE0311E02CC}"/>
                </a:ext>
              </a:extLst>
            </p:cNvPr>
            <p:cNvSpPr/>
            <p:nvPr/>
          </p:nvSpPr>
          <p:spPr>
            <a:xfrm rot="8716295">
              <a:off x="1621178" y="21599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" name="Forme libre : forme 233">
              <a:extLst>
                <a:ext uri="{FF2B5EF4-FFF2-40B4-BE49-F238E27FC236}">
                  <a16:creationId xmlns:a16="http://schemas.microsoft.com/office/drawing/2014/main" id="{9EBAEBBD-0226-432C-8DB2-1DA1060129B8}"/>
                </a:ext>
              </a:extLst>
            </p:cNvPr>
            <p:cNvSpPr/>
            <p:nvPr/>
          </p:nvSpPr>
          <p:spPr>
            <a:xfrm rot="8716295">
              <a:off x="1299565" y="320667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" name="Forme libre : forme 234">
              <a:extLst>
                <a:ext uri="{FF2B5EF4-FFF2-40B4-BE49-F238E27FC236}">
                  <a16:creationId xmlns:a16="http://schemas.microsoft.com/office/drawing/2014/main" id="{B666620F-F3D0-4B5D-9685-3CAB27EBF061}"/>
                </a:ext>
              </a:extLst>
            </p:cNvPr>
            <p:cNvSpPr/>
            <p:nvPr/>
          </p:nvSpPr>
          <p:spPr>
            <a:xfrm rot="8716295">
              <a:off x="1388957" y="323591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" name="Forme libre : forme 235">
              <a:extLst>
                <a:ext uri="{FF2B5EF4-FFF2-40B4-BE49-F238E27FC236}">
                  <a16:creationId xmlns:a16="http://schemas.microsoft.com/office/drawing/2014/main" id="{88947540-8C6A-4BF5-BB71-6D60ADEAEBA1}"/>
                </a:ext>
              </a:extLst>
            </p:cNvPr>
            <p:cNvSpPr/>
            <p:nvPr/>
          </p:nvSpPr>
          <p:spPr>
            <a:xfrm rot="8716295">
              <a:off x="1344107" y="314963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" name="Forme libre : forme 236">
              <a:extLst>
                <a:ext uri="{FF2B5EF4-FFF2-40B4-BE49-F238E27FC236}">
                  <a16:creationId xmlns:a16="http://schemas.microsoft.com/office/drawing/2014/main" id="{55A70DC6-65F6-4764-AD9C-C9CC5AC38D47}"/>
                </a:ext>
              </a:extLst>
            </p:cNvPr>
            <p:cNvSpPr/>
            <p:nvPr/>
          </p:nvSpPr>
          <p:spPr>
            <a:xfrm rot="8716295">
              <a:off x="1187331" y="329521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" name="Forme libre : forme 237">
              <a:extLst>
                <a:ext uri="{FF2B5EF4-FFF2-40B4-BE49-F238E27FC236}">
                  <a16:creationId xmlns:a16="http://schemas.microsoft.com/office/drawing/2014/main" id="{BB754C94-5023-48F1-A098-74F43CE79231}"/>
                </a:ext>
              </a:extLst>
            </p:cNvPr>
            <p:cNvSpPr/>
            <p:nvPr/>
          </p:nvSpPr>
          <p:spPr>
            <a:xfrm rot="8716295">
              <a:off x="1062428" y="308654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" name="Forme libre : forme 238">
              <a:extLst>
                <a:ext uri="{FF2B5EF4-FFF2-40B4-BE49-F238E27FC236}">
                  <a16:creationId xmlns:a16="http://schemas.microsoft.com/office/drawing/2014/main" id="{76EDC7DE-4ED0-41EE-BBDC-2D4CD0BE6E51}"/>
                </a:ext>
              </a:extLst>
            </p:cNvPr>
            <p:cNvSpPr/>
            <p:nvPr/>
          </p:nvSpPr>
          <p:spPr>
            <a:xfrm rot="8716295">
              <a:off x="1050376" y="294776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" name="Forme libre : forme 239">
              <a:extLst>
                <a:ext uri="{FF2B5EF4-FFF2-40B4-BE49-F238E27FC236}">
                  <a16:creationId xmlns:a16="http://schemas.microsoft.com/office/drawing/2014/main" id="{ABABCCB1-DB29-40D3-B384-2DA707723441}"/>
                </a:ext>
              </a:extLst>
            </p:cNvPr>
            <p:cNvSpPr/>
            <p:nvPr/>
          </p:nvSpPr>
          <p:spPr>
            <a:xfrm rot="8716295">
              <a:off x="1277509" y="333617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" name="Forme libre : forme 240">
              <a:extLst>
                <a:ext uri="{FF2B5EF4-FFF2-40B4-BE49-F238E27FC236}">
                  <a16:creationId xmlns:a16="http://schemas.microsoft.com/office/drawing/2014/main" id="{D86BE233-1E89-4884-9471-90ABF15AC049}"/>
                </a:ext>
              </a:extLst>
            </p:cNvPr>
            <p:cNvSpPr/>
            <p:nvPr/>
          </p:nvSpPr>
          <p:spPr>
            <a:xfrm rot="8716295">
              <a:off x="1588664" y="295652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" name="Forme libre : forme 241">
              <a:extLst>
                <a:ext uri="{FF2B5EF4-FFF2-40B4-BE49-F238E27FC236}">
                  <a16:creationId xmlns:a16="http://schemas.microsoft.com/office/drawing/2014/main" id="{1E4464D3-58E9-4A03-BB6A-8B83E3881142}"/>
                </a:ext>
              </a:extLst>
            </p:cNvPr>
            <p:cNvSpPr/>
            <p:nvPr/>
          </p:nvSpPr>
          <p:spPr>
            <a:xfrm rot="8716295">
              <a:off x="1678056" y="298576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" name="Forme libre : forme 242">
              <a:extLst>
                <a:ext uri="{FF2B5EF4-FFF2-40B4-BE49-F238E27FC236}">
                  <a16:creationId xmlns:a16="http://schemas.microsoft.com/office/drawing/2014/main" id="{17781F1F-DB19-4442-B92A-C7711450A6C2}"/>
                </a:ext>
              </a:extLst>
            </p:cNvPr>
            <p:cNvSpPr/>
            <p:nvPr/>
          </p:nvSpPr>
          <p:spPr>
            <a:xfrm rot="8716295">
              <a:off x="1476430" y="304506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" name="Forme libre : forme 243">
              <a:extLst>
                <a:ext uri="{FF2B5EF4-FFF2-40B4-BE49-F238E27FC236}">
                  <a16:creationId xmlns:a16="http://schemas.microsoft.com/office/drawing/2014/main" id="{DBD406CA-7502-44B6-87AF-2C3CFA35CDED}"/>
                </a:ext>
              </a:extLst>
            </p:cNvPr>
            <p:cNvSpPr/>
            <p:nvPr/>
          </p:nvSpPr>
          <p:spPr>
            <a:xfrm rot="8716295">
              <a:off x="1351528" y="283639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" name="Forme libre : forme 244">
              <a:extLst>
                <a:ext uri="{FF2B5EF4-FFF2-40B4-BE49-F238E27FC236}">
                  <a16:creationId xmlns:a16="http://schemas.microsoft.com/office/drawing/2014/main" id="{1D9F6882-BBB8-4C9A-BDD7-FAB6F4D5F59D}"/>
                </a:ext>
              </a:extLst>
            </p:cNvPr>
            <p:cNvSpPr/>
            <p:nvPr/>
          </p:nvSpPr>
          <p:spPr>
            <a:xfrm rot="8716295">
              <a:off x="1566608" y="308601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" name="Forme libre : forme 245">
              <a:extLst>
                <a:ext uri="{FF2B5EF4-FFF2-40B4-BE49-F238E27FC236}">
                  <a16:creationId xmlns:a16="http://schemas.microsoft.com/office/drawing/2014/main" id="{D03B605A-3C15-4096-9741-AEE20EFC39A1}"/>
                </a:ext>
              </a:extLst>
            </p:cNvPr>
            <p:cNvSpPr/>
            <p:nvPr/>
          </p:nvSpPr>
          <p:spPr>
            <a:xfrm rot="8716295">
              <a:off x="1325157" y="293641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" name="Forme libre : forme 246">
              <a:extLst>
                <a:ext uri="{FF2B5EF4-FFF2-40B4-BE49-F238E27FC236}">
                  <a16:creationId xmlns:a16="http://schemas.microsoft.com/office/drawing/2014/main" id="{38898AE8-B829-47A3-880A-38C78C89B9DE}"/>
                </a:ext>
              </a:extLst>
            </p:cNvPr>
            <p:cNvSpPr/>
            <p:nvPr/>
          </p:nvSpPr>
          <p:spPr>
            <a:xfrm rot="7484129">
              <a:off x="1671539" y="327736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" name="Forme libre : forme 247">
              <a:extLst>
                <a:ext uri="{FF2B5EF4-FFF2-40B4-BE49-F238E27FC236}">
                  <a16:creationId xmlns:a16="http://schemas.microsoft.com/office/drawing/2014/main" id="{6C94EF82-BA2B-46A8-965C-6EF68064713F}"/>
                </a:ext>
              </a:extLst>
            </p:cNvPr>
            <p:cNvSpPr/>
            <p:nvPr/>
          </p:nvSpPr>
          <p:spPr>
            <a:xfrm rot="13089394">
              <a:off x="1776359" y="324390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" name="Forme libre : forme 248">
              <a:extLst>
                <a:ext uri="{FF2B5EF4-FFF2-40B4-BE49-F238E27FC236}">
                  <a16:creationId xmlns:a16="http://schemas.microsoft.com/office/drawing/2014/main" id="{551D5950-1E6B-4DD0-AB72-CBFF9866A44D}"/>
                </a:ext>
              </a:extLst>
            </p:cNvPr>
            <p:cNvSpPr/>
            <p:nvPr/>
          </p:nvSpPr>
          <p:spPr>
            <a:xfrm rot="8716295">
              <a:off x="1961944" y="305222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" name="Forme libre : forme 249">
              <a:extLst>
                <a:ext uri="{FF2B5EF4-FFF2-40B4-BE49-F238E27FC236}">
                  <a16:creationId xmlns:a16="http://schemas.microsoft.com/office/drawing/2014/main" id="{B6B88D31-2E44-4166-86AB-E9E6ECCAF3B0}"/>
                </a:ext>
              </a:extLst>
            </p:cNvPr>
            <p:cNvSpPr/>
            <p:nvPr/>
          </p:nvSpPr>
          <p:spPr>
            <a:xfrm rot="8716295">
              <a:off x="1910139" y="294862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" name="Forme libre : forme 250">
              <a:extLst>
                <a:ext uri="{FF2B5EF4-FFF2-40B4-BE49-F238E27FC236}">
                  <a16:creationId xmlns:a16="http://schemas.microsoft.com/office/drawing/2014/main" id="{811032A2-B40D-4E18-A5FE-1E40E940D0A3}"/>
                </a:ext>
              </a:extLst>
            </p:cNvPr>
            <p:cNvSpPr/>
            <p:nvPr/>
          </p:nvSpPr>
          <p:spPr>
            <a:xfrm rot="8716295">
              <a:off x="1666893" y="297885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" name="Forme libre : forme 251">
              <a:extLst>
                <a:ext uri="{FF2B5EF4-FFF2-40B4-BE49-F238E27FC236}">
                  <a16:creationId xmlns:a16="http://schemas.microsoft.com/office/drawing/2014/main" id="{10E9AA39-FF6D-4519-822E-A935B8BFBA5C}"/>
                </a:ext>
              </a:extLst>
            </p:cNvPr>
            <p:cNvSpPr/>
            <p:nvPr/>
          </p:nvSpPr>
          <p:spPr>
            <a:xfrm rot="8716295">
              <a:off x="1844345" y="281960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" name="Forme libre : forme 252">
              <a:extLst>
                <a:ext uri="{FF2B5EF4-FFF2-40B4-BE49-F238E27FC236}">
                  <a16:creationId xmlns:a16="http://schemas.microsoft.com/office/drawing/2014/main" id="{6C0C2891-B5CF-43D2-8AFF-62DA18792308}"/>
                </a:ext>
              </a:extLst>
            </p:cNvPr>
            <p:cNvSpPr/>
            <p:nvPr/>
          </p:nvSpPr>
          <p:spPr>
            <a:xfrm rot="8716295">
              <a:off x="2092137" y="5100860"/>
              <a:ext cx="63833" cy="43384"/>
            </a:xfrm>
            <a:custGeom>
              <a:avLst/>
              <a:gdLst>
                <a:gd name="connsiteX0" fmla="*/ 5923 w 63833"/>
                <a:gd name="connsiteY0" fmla="*/ 43384 h 43384"/>
                <a:gd name="connsiteX1" fmla="*/ 0 w 63833"/>
                <a:gd name="connsiteY1" fmla="*/ 35182 h 43384"/>
                <a:gd name="connsiteX2" fmla="*/ 37391 w 63833"/>
                <a:gd name="connsiteY2" fmla="*/ 0 h 43384"/>
                <a:gd name="connsiteX3" fmla="*/ 63833 w 63833"/>
                <a:gd name="connsiteY3" fmla="*/ 18329 h 4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833" h="43384">
                  <a:moveTo>
                    <a:pt x="5923" y="43384"/>
                  </a:moveTo>
                  <a:lnTo>
                    <a:pt x="0" y="35182"/>
                  </a:lnTo>
                  <a:lnTo>
                    <a:pt x="37391" y="0"/>
                  </a:lnTo>
                  <a:lnTo>
                    <a:pt x="63833" y="1832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" name="Forme libre : forme 253">
              <a:extLst>
                <a:ext uri="{FF2B5EF4-FFF2-40B4-BE49-F238E27FC236}">
                  <a16:creationId xmlns:a16="http://schemas.microsoft.com/office/drawing/2014/main" id="{D0590309-C5C9-415B-B4DB-187E6398C8E2}"/>
                </a:ext>
              </a:extLst>
            </p:cNvPr>
            <p:cNvSpPr/>
            <p:nvPr/>
          </p:nvSpPr>
          <p:spPr>
            <a:xfrm rot="8716295">
              <a:off x="1789040" y="5044339"/>
              <a:ext cx="113322" cy="144291"/>
            </a:xfrm>
            <a:custGeom>
              <a:avLst/>
              <a:gdLst>
                <a:gd name="connsiteX0" fmla="*/ 0 w 113322"/>
                <a:gd name="connsiteY0" fmla="*/ 3741 h 144291"/>
                <a:gd name="connsiteX1" fmla="*/ 0 w 113322"/>
                <a:gd name="connsiteY1" fmla="*/ 0 h 144291"/>
                <a:gd name="connsiteX2" fmla="*/ 5398 w 113322"/>
                <a:gd name="connsiteY2" fmla="*/ 3741 h 144291"/>
                <a:gd name="connsiteX3" fmla="*/ 90709 w 113322"/>
                <a:gd name="connsiteY3" fmla="*/ 144291 h 144291"/>
                <a:gd name="connsiteX4" fmla="*/ 47847 w 113322"/>
                <a:gd name="connsiteY4" fmla="*/ 64547 h 144291"/>
                <a:gd name="connsiteX5" fmla="*/ 56901 w 113322"/>
                <a:gd name="connsiteY5" fmla="*/ 39441 h 144291"/>
                <a:gd name="connsiteX6" fmla="*/ 113322 w 113322"/>
                <a:gd name="connsiteY6" fmla="*/ 78551 h 144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322" h="144291">
                  <a:moveTo>
                    <a:pt x="0" y="3741"/>
                  </a:moveTo>
                  <a:lnTo>
                    <a:pt x="0" y="0"/>
                  </a:lnTo>
                  <a:lnTo>
                    <a:pt x="5398" y="3741"/>
                  </a:lnTo>
                  <a:close/>
                  <a:moveTo>
                    <a:pt x="90709" y="144291"/>
                  </a:moveTo>
                  <a:lnTo>
                    <a:pt x="47847" y="64547"/>
                  </a:lnTo>
                  <a:lnTo>
                    <a:pt x="56901" y="39441"/>
                  </a:lnTo>
                  <a:lnTo>
                    <a:pt x="113322" y="7855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" name="Forme libre : forme 254">
              <a:extLst>
                <a:ext uri="{FF2B5EF4-FFF2-40B4-BE49-F238E27FC236}">
                  <a16:creationId xmlns:a16="http://schemas.microsoft.com/office/drawing/2014/main" id="{5BD5D859-B6BE-4272-BEBA-C49F2EB86FA8}"/>
                </a:ext>
              </a:extLst>
            </p:cNvPr>
            <p:cNvSpPr/>
            <p:nvPr/>
          </p:nvSpPr>
          <p:spPr>
            <a:xfrm rot="8716295">
              <a:off x="1701335" y="4927006"/>
              <a:ext cx="290643" cy="318535"/>
            </a:xfrm>
            <a:custGeom>
              <a:avLst/>
              <a:gdLst>
                <a:gd name="connsiteX0" fmla="*/ 25298 w 290643"/>
                <a:gd name="connsiteY0" fmla="*/ 288944 h 318535"/>
                <a:gd name="connsiteX1" fmla="*/ 0 w 290643"/>
                <a:gd name="connsiteY1" fmla="*/ 187748 h 318535"/>
                <a:gd name="connsiteX2" fmla="*/ 0 w 290643"/>
                <a:gd name="connsiteY2" fmla="*/ 8302 h 318535"/>
                <a:gd name="connsiteX3" fmla="*/ 16003 w 290643"/>
                <a:gd name="connsiteY3" fmla="*/ 0 h 318535"/>
                <a:gd name="connsiteX4" fmla="*/ 78793 w 290643"/>
                <a:gd name="connsiteY4" fmla="*/ 43524 h 318535"/>
                <a:gd name="connsiteX5" fmla="*/ 79427 w 290643"/>
                <a:gd name="connsiteY5" fmla="*/ 131855 h 318535"/>
                <a:gd name="connsiteX6" fmla="*/ 93547 w 290643"/>
                <a:gd name="connsiteY6" fmla="*/ 229521 h 318535"/>
                <a:gd name="connsiteX7" fmla="*/ 164149 w 290643"/>
                <a:gd name="connsiteY7" fmla="*/ 268352 h 318535"/>
                <a:gd name="connsiteX8" fmla="*/ 217100 w 290643"/>
                <a:gd name="connsiteY8" fmla="*/ 258938 h 318535"/>
                <a:gd name="connsiteX9" fmla="*/ 289467 w 290643"/>
                <a:gd name="connsiteY9" fmla="*/ 229521 h 318535"/>
                <a:gd name="connsiteX10" fmla="*/ 290643 w 290643"/>
                <a:gd name="connsiteY10" fmla="*/ 237169 h 318535"/>
                <a:gd name="connsiteX11" fmla="*/ 290643 w 290643"/>
                <a:gd name="connsiteY11" fmla="*/ 243052 h 318535"/>
                <a:gd name="connsiteX12" fmla="*/ 97665 w 290643"/>
                <a:gd name="connsiteY12" fmla="*/ 318361 h 318535"/>
                <a:gd name="connsiteX13" fmla="*/ 25298 w 290643"/>
                <a:gd name="connsiteY13" fmla="*/ 288944 h 318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90643" h="318535">
                  <a:moveTo>
                    <a:pt x="25298" y="288944"/>
                  </a:moveTo>
                  <a:cubicBezTo>
                    <a:pt x="5295" y="269528"/>
                    <a:pt x="0" y="235992"/>
                    <a:pt x="0" y="187748"/>
                  </a:cubicBezTo>
                  <a:lnTo>
                    <a:pt x="0" y="8302"/>
                  </a:lnTo>
                  <a:lnTo>
                    <a:pt x="16003" y="0"/>
                  </a:lnTo>
                  <a:lnTo>
                    <a:pt x="78793" y="43524"/>
                  </a:lnTo>
                  <a:lnTo>
                    <a:pt x="79427" y="131855"/>
                  </a:lnTo>
                  <a:cubicBezTo>
                    <a:pt x="77662" y="164803"/>
                    <a:pt x="82957" y="198338"/>
                    <a:pt x="93547" y="229521"/>
                  </a:cubicBezTo>
                  <a:cubicBezTo>
                    <a:pt x="102961" y="255408"/>
                    <a:pt x="127083" y="268352"/>
                    <a:pt x="164149" y="268352"/>
                  </a:cubicBezTo>
                  <a:cubicBezTo>
                    <a:pt x="182387" y="267763"/>
                    <a:pt x="200038" y="264233"/>
                    <a:pt x="217100" y="258938"/>
                  </a:cubicBezTo>
                  <a:cubicBezTo>
                    <a:pt x="241810" y="251290"/>
                    <a:pt x="265933" y="241288"/>
                    <a:pt x="289467" y="229521"/>
                  </a:cubicBezTo>
                  <a:cubicBezTo>
                    <a:pt x="290055" y="231874"/>
                    <a:pt x="290643" y="234816"/>
                    <a:pt x="290643" y="237169"/>
                  </a:cubicBezTo>
                  <a:lnTo>
                    <a:pt x="290643" y="243052"/>
                  </a:lnTo>
                  <a:cubicBezTo>
                    <a:pt x="228278" y="296592"/>
                    <a:pt x="146498" y="315419"/>
                    <a:pt x="97665" y="318361"/>
                  </a:cubicBezTo>
                  <a:cubicBezTo>
                    <a:pt x="70602" y="320126"/>
                    <a:pt x="44126" y="308359"/>
                    <a:pt x="25298" y="28894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" name="Forme libre : forme 255">
              <a:extLst>
                <a:ext uri="{FF2B5EF4-FFF2-40B4-BE49-F238E27FC236}">
                  <a16:creationId xmlns:a16="http://schemas.microsoft.com/office/drawing/2014/main" id="{DF6324B6-1146-4A58-A87B-58A99832DFC5}"/>
                </a:ext>
              </a:extLst>
            </p:cNvPr>
            <p:cNvSpPr/>
            <p:nvPr/>
          </p:nvSpPr>
          <p:spPr>
            <a:xfrm rot="8716295">
              <a:off x="2251190" y="4935850"/>
              <a:ext cx="142167" cy="232388"/>
            </a:xfrm>
            <a:custGeom>
              <a:avLst/>
              <a:gdLst>
                <a:gd name="connsiteX0" fmla="*/ 81108 w 142167"/>
                <a:gd name="connsiteY0" fmla="*/ 232388 h 232388"/>
                <a:gd name="connsiteX1" fmla="*/ 81108 w 142167"/>
                <a:gd name="connsiteY1" fmla="*/ 69716 h 232388"/>
                <a:gd name="connsiteX2" fmla="*/ 81108 w 142167"/>
                <a:gd name="connsiteY2" fmla="*/ 65616 h 232388"/>
                <a:gd name="connsiteX3" fmla="*/ 60604 w 142167"/>
                <a:gd name="connsiteY3" fmla="*/ 50123 h 232388"/>
                <a:gd name="connsiteX4" fmla="*/ 0 w 142167"/>
                <a:gd name="connsiteY4" fmla="*/ 50123 h 232388"/>
                <a:gd name="connsiteX5" fmla="*/ 0 w 142167"/>
                <a:gd name="connsiteY5" fmla="*/ 0 h 232388"/>
                <a:gd name="connsiteX6" fmla="*/ 63990 w 142167"/>
                <a:gd name="connsiteY6" fmla="*/ 0 h 232388"/>
                <a:gd name="connsiteX7" fmla="*/ 142167 w 142167"/>
                <a:gd name="connsiteY7" fmla="*/ 54190 h 232388"/>
                <a:gd name="connsiteX8" fmla="*/ 142167 w 142167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32388">
                  <a:moveTo>
                    <a:pt x="81108" y="232388"/>
                  </a:moveTo>
                  <a:lnTo>
                    <a:pt x="81108" y="69716"/>
                  </a:lnTo>
                  <a:cubicBezTo>
                    <a:pt x="81108" y="68350"/>
                    <a:pt x="81108" y="66983"/>
                    <a:pt x="81108" y="65616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63990" y="0"/>
                  </a:lnTo>
                  <a:lnTo>
                    <a:pt x="142167" y="54190"/>
                  </a:lnTo>
                  <a:lnTo>
                    <a:pt x="142167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" name="Forme libre : forme 256">
              <a:extLst>
                <a:ext uri="{FF2B5EF4-FFF2-40B4-BE49-F238E27FC236}">
                  <a16:creationId xmlns:a16="http://schemas.microsoft.com/office/drawing/2014/main" id="{646EF66B-E595-4EAF-98DD-AFED25A9F1D2}"/>
                </a:ext>
              </a:extLst>
            </p:cNvPr>
            <p:cNvSpPr/>
            <p:nvPr/>
          </p:nvSpPr>
          <p:spPr>
            <a:xfrm rot="8716295">
              <a:off x="2456859" y="4924575"/>
              <a:ext cx="131246" cy="253348"/>
            </a:xfrm>
            <a:custGeom>
              <a:avLst/>
              <a:gdLst>
                <a:gd name="connsiteX0" fmla="*/ 51490 w 131246"/>
                <a:gd name="connsiteY0" fmla="*/ 253348 h 253348"/>
                <a:gd name="connsiteX1" fmla="*/ 51489 w 131246"/>
                <a:gd name="connsiteY1" fmla="*/ 44199 h 253348"/>
                <a:gd name="connsiteX2" fmla="*/ 0 w 131246"/>
                <a:gd name="connsiteY2" fmla="*/ 44199 h 253348"/>
                <a:gd name="connsiteX3" fmla="*/ 0 w 131246"/>
                <a:gd name="connsiteY3" fmla="*/ 0 h 253348"/>
                <a:gd name="connsiteX4" fmla="*/ 44807 w 131246"/>
                <a:gd name="connsiteY4" fmla="*/ 0 h 253348"/>
                <a:gd name="connsiteX5" fmla="*/ 104802 w 131246"/>
                <a:gd name="connsiteY5" fmla="*/ 41587 h 253348"/>
                <a:gd name="connsiteX6" fmla="*/ 104802 w 131246"/>
                <a:gd name="connsiteY6" fmla="*/ 73817 h 253348"/>
                <a:gd name="connsiteX7" fmla="*/ 106169 w 131246"/>
                <a:gd name="connsiteY7" fmla="*/ 73817 h 253348"/>
                <a:gd name="connsiteX8" fmla="*/ 115569 w 131246"/>
                <a:gd name="connsiteY8" fmla="*/ 49050 h 253348"/>
                <a:gd name="connsiteX9" fmla="*/ 131246 w 131246"/>
                <a:gd name="connsiteY9" fmla="*/ 59916 h 253348"/>
                <a:gd name="connsiteX10" fmla="*/ 127358 w 131246"/>
                <a:gd name="connsiteY10" fmla="*/ 64191 h 253348"/>
                <a:gd name="connsiteX11" fmla="*/ 111638 w 131246"/>
                <a:gd name="connsiteY11" fmla="*/ 126218 h 253348"/>
                <a:gd name="connsiteX12" fmla="*/ 111638 w 131246"/>
                <a:gd name="connsiteY12" fmla="*/ 212339 h 253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1246" h="253348">
                  <a:moveTo>
                    <a:pt x="51490" y="253348"/>
                  </a:moveTo>
                  <a:lnTo>
                    <a:pt x="51489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44807" y="0"/>
                  </a:lnTo>
                  <a:lnTo>
                    <a:pt x="104802" y="41587"/>
                  </a:lnTo>
                  <a:lnTo>
                    <a:pt x="104802" y="73817"/>
                  </a:lnTo>
                  <a:lnTo>
                    <a:pt x="106169" y="73817"/>
                  </a:lnTo>
                  <a:lnTo>
                    <a:pt x="115569" y="49050"/>
                  </a:lnTo>
                  <a:lnTo>
                    <a:pt x="131246" y="59916"/>
                  </a:lnTo>
                  <a:lnTo>
                    <a:pt x="127358" y="64191"/>
                  </a:lnTo>
                  <a:cubicBezTo>
                    <a:pt x="117675" y="79968"/>
                    <a:pt x="111638" y="101840"/>
                    <a:pt x="111638" y="126218"/>
                  </a:cubicBezTo>
                  <a:lnTo>
                    <a:pt x="111638" y="2123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" name="Forme libre : forme 257">
              <a:extLst>
                <a:ext uri="{FF2B5EF4-FFF2-40B4-BE49-F238E27FC236}">
                  <a16:creationId xmlns:a16="http://schemas.microsoft.com/office/drawing/2014/main" id="{BBB2A0DE-B613-4103-A446-00FD5673FDA7}"/>
                </a:ext>
              </a:extLst>
            </p:cNvPr>
            <p:cNvSpPr/>
            <p:nvPr/>
          </p:nvSpPr>
          <p:spPr>
            <a:xfrm rot="8716295">
              <a:off x="2139785" y="502413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" name="Forme libre : forme 258">
              <a:extLst>
                <a:ext uri="{FF2B5EF4-FFF2-40B4-BE49-F238E27FC236}">
                  <a16:creationId xmlns:a16="http://schemas.microsoft.com/office/drawing/2014/main" id="{CE0B209D-C132-46B3-A7D3-E99A86963D83}"/>
                </a:ext>
              </a:extLst>
            </p:cNvPr>
            <p:cNvSpPr/>
            <p:nvPr/>
          </p:nvSpPr>
          <p:spPr>
            <a:xfrm rot="8716295">
              <a:off x="2014883" y="481546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" name="Forme libre : forme 259">
              <a:extLst>
                <a:ext uri="{FF2B5EF4-FFF2-40B4-BE49-F238E27FC236}">
                  <a16:creationId xmlns:a16="http://schemas.microsoft.com/office/drawing/2014/main" id="{46BBD1CB-80EF-4DD7-9CA4-1F270A6D433D}"/>
                </a:ext>
              </a:extLst>
            </p:cNvPr>
            <p:cNvSpPr/>
            <p:nvPr/>
          </p:nvSpPr>
          <p:spPr>
            <a:xfrm rot="8716295">
              <a:off x="2190257" y="5090583"/>
              <a:ext cx="60147" cy="76898"/>
            </a:xfrm>
            <a:custGeom>
              <a:avLst/>
              <a:gdLst>
                <a:gd name="connsiteX0" fmla="*/ 60147 w 60147"/>
                <a:gd name="connsiteY0" fmla="*/ 76898 h 76898"/>
                <a:gd name="connsiteX1" fmla="*/ 0 w 60147"/>
                <a:gd name="connsiteY1" fmla="*/ 19028 h 76898"/>
                <a:gd name="connsiteX2" fmla="*/ 0 w 60147"/>
                <a:gd name="connsiteY2" fmla="*/ 0 h 76898"/>
                <a:gd name="connsiteX3" fmla="*/ 60147 w 60147"/>
                <a:gd name="connsiteY3" fmla="*/ 41692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7" h="76898">
                  <a:moveTo>
                    <a:pt x="60147" y="76898"/>
                  </a:moveTo>
                  <a:lnTo>
                    <a:pt x="0" y="19028"/>
                  </a:lnTo>
                  <a:lnTo>
                    <a:pt x="0" y="0"/>
                  </a:lnTo>
                  <a:lnTo>
                    <a:pt x="60147" y="416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" name="Forme libre : forme 260">
              <a:extLst>
                <a:ext uri="{FF2B5EF4-FFF2-40B4-BE49-F238E27FC236}">
                  <a16:creationId xmlns:a16="http://schemas.microsoft.com/office/drawing/2014/main" id="{A32DFF69-92E6-43D9-A847-4B37531C0FC1}"/>
                </a:ext>
              </a:extLst>
            </p:cNvPr>
            <p:cNvSpPr/>
            <p:nvPr/>
          </p:nvSpPr>
          <p:spPr>
            <a:xfrm rot="8716295">
              <a:off x="1988512" y="491548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" name="Forme libre : forme 261">
              <a:extLst>
                <a:ext uri="{FF2B5EF4-FFF2-40B4-BE49-F238E27FC236}">
                  <a16:creationId xmlns:a16="http://schemas.microsoft.com/office/drawing/2014/main" id="{8232E004-724D-4398-A64A-AF1F94C033B6}"/>
                </a:ext>
              </a:extLst>
            </p:cNvPr>
            <p:cNvSpPr/>
            <p:nvPr/>
          </p:nvSpPr>
          <p:spPr>
            <a:xfrm rot="8716295">
              <a:off x="2650789" y="5021708"/>
              <a:ext cx="177699" cy="117559"/>
            </a:xfrm>
            <a:custGeom>
              <a:avLst/>
              <a:gdLst>
                <a:gd name="connsiteX0" fmla="*/ 6986 w 177699"/>
                <a:gd name="connsiteY0" fmla="*/ 117559 h 117559"/>
                <a:gd name="connsiteX1" fmla="*/ 0 w 177699"/>
                <a:gd name="connsiteY1" fmla="*/ 107886 h 117559"/>
                <a:gd name="connsiteX2" fmla="*/ 114658 w 177699"/>
                <a:gd name="connsiteY2" fmla="*/ 0 h 117559"/>
                <a:gd name="connsiteX3" fmla="*/ 177699 w 177699"/>
                <a:gd name="connsiteY3" fmla="*/ 43698 h 117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7699" h="117559">
                  <a:moveTo>
                    <a:pt x="6986" y="117559"/>
                  </a:moveTo>
                  <a:lnTo>
                    <a:pt x="0" y="107886"/>
                  </a:lnTo>
                  <a:lnTo>
                    <a:pt x="114658" y="0"/>
                  </a:lnTo>
                  <a:lnTo>
                    <a:pt x="177699" y="436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" name="Forme libre : forme 262">
              <a:extLst>
                <a:ext uri="{FF2B5EF4-FFF2-40B4-BE49-F238E27FC236}">
                  <a16:creationId xmlns:a16="http://schemas.microsoft.com/office/drawing/2014/main" id="{FBFBE439-377B-4FDF-9911-15B61D5AC250}"/>
                </a:ext>
              </a:extLst>
            </p:cNvPr>
            <p:cNvSpPr/>
            <p:nvPr/>
          </p:nvSpPr>
          <p:spPr>
            <a:xfrm rot="8716295">
              <a:off x="2573494" y="492769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" name="Forme libre : forme 263">
              <a:extLst>
                <a:ext uri="{FF2B5EF4-FFF2-40B4-BE49-F238E27FC236}">
                  <a16:creationId xmlns:a16="http://schemas.microsoft.com/office/drawing/2014/main" id="{8F5A7FC6-58AF-4BF6-9769-158D9D43A4A8}"/>
                </a:ext>
              </a:extLst>
            </p:cNvPr>
            <p:cNvSpPr/>
            <p:nvPr/>
          </p:nvSpPr>
          <p:spPr>
            <a:xfrm rot="8716295">
              <a:off x="2330248" y="495791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" name="Forme libre : forme 264">
              <a:extLst>
                <a:ext uri="{FF2B5EF4-FFF2-40B4-BE49-F238E27FC236}">
                  <a16:creationId xmlns:a16="http://schemas.microsoft.com/office/drawing/2014/main" id="{0B99B4B3-E447-449D-B6F2-40AFC1232903}"/>
                </a:ext>
              </a:extLst>
            </p:cNvPr>
            <p:cNvSpPr/>
            <p:nvPr/>
          </p:nvSpPr>
          <p:spPr>
            <a:xfrm rot="8716295">
              <a:off x="2507700" y="479867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" name="Forme libre : forme 265">
              <a:extLst>
                <a:ext uri="{FF2B5EF4-FFF2-40B4-BE49-F238E27FC236}">
                  <a16:creationId xmlns:a16="http://schemas.microsoft.com/office/drawing/2014/main" id="{9FDE555B-22C7-4972-A03C-9A881E9F494C}"/>
                </a:ext>
              </a:extLst>
            </p:cNvPr>
            <p:cNvSpPr/>
            <p:nvPr/>
          </p:nvSpPr>
          <p:spPr>
            <a:xfrm rot="8716295">
              <a:off x="1518235" y="386507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" name="Forme libre : forme 266">
              <a:extLst>
                <a:ext uri="{FF2B5EF4-FFF2-40B4-BE49-F238E27FC236}">
                  <a16:creationId xmlns:a16="http://schemas.microsoft.com/office/drawing/2014/main" id="{47023A4A-E9A4-4E7C-9A1F-7F050E215658}"/>
                </a:ext>
              </a:extLst>
            </p:cNvPr>
            <p:cNvSpPr/>
            <p:nvPr/>
          </p:nvSpPr>
          <p:spPr>
            <a:xfrm rot="8716295">
              <a:off x="1607627" y="389431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" name="Forme libre : forme 267">
              <a:extLst>
                <a:ext uri="{FF2B5EF4-FFF2-40B4-BE49-F238E27FC236}">
                  <a16:creationId xmlns:a16="http://schemas.microsoft.com/office/drawing/2014/main" id="{721AE192-0DE9-44CE-AFE7-60EAD2184BA9}"/>
                </a:ext>
              </a:extLst>
            </p:cNvPr>
            <p:cNvSpPr/>
            <p:nvPr/>
          </p:nvSpPr>
          <p:spPr>
            <a:xfrm rot="8716295">
              <a:off x="1562777" y="380803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" name="Forme libre : forme 268">
              <a:extLst>
                <a:ext uri="{FF2B5EF4-FFF2-40B4-BE49-F238E27FC236}">
                  <a16:creationId xmlns:a16="http://schemas.microsoft.com/office/drawing/2014/main" id="{C1003FCB-894D-4CB7-9C82-85789FE9B276}"/>
                </a:ext>
              </a:extLst>
            </p:cNvPr>
            <p:cNvSpPr/>
            <p:nvPr/>
          </p:nvSpPr>
          <p:spPr>
            <a:xfrm rot="8716295">
              <a:off x="1406001" y="395361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0" name="Forme libre : forme 269">
              <a:extLst>
                <a:ext uri="{FF2B5EF4-FFF2-40B4-BE49-F238E27FC236}">
                  <a16:creationId xmlns:a16="http://schemas.microsoft.com/office/drawing/2014/main" id="{7F48A554-D952-4BC7-8F60-7FBDCE05FE70}"/>
                </a:ext>
              </a:extLst>
            </p:cNvPr>
            <p:cNvSpPr/>
            <p:nvPr/>
          </p:nvSpPr>
          <p:spPr>
            <a:xfrm rot="8716295">
              <a:off x="1281098" y="374494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1" name="Forme libre : forme 270">
              <a:extLst>
                <a:ext uri="{FF2B5EF4-FFF2-40B4-BE49-F238E27FC236}">
                  <a16:creationId xmlns:a16="http://schemas.microsoft.com/office/drawing/2014/main" id="{B64659B2-F8CD-4B3D-8353-ED1AAF15923F}"/>
                </a:ext>
              </a:extLst>
            </p:cNvPr>
            <p:cNvSpPr/>
            <p:nvPr/>
          </p:nvSpPr>
          <p:spPr>
            <a:xfrm rot="8716295">
              <a:off x="1269046" y="3606161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2" name="Forme libre : forme 271">
              <a:extLst>
                <a:ext uri="{FF2B5EF4-FFF2-40B4-BE49-F238E27FC236}">
                  <a16:creationId xmlns:a16="http://schemas.microsoft.com/office/drawing/2014/main" id="{C1336409-0E83-4F9F-AE44-B0095CEBE127}"/>
                </a:ext>
              </a:extLst>
            </p:cNvPr>
            <p:cNvSpPr/>
            <p:nvPr/>
          </p:nvSpPr>
          <p:spPr>
            <a:xfrm rot="8716295">
              <a:off x="1496179" y="399456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3" name="Forme libre : forme 272">
              <a:extLst>
                <a:ext uri="{FF2B5EF4-FFF2-40B4-BE49-F238E27FC236}">
                  <a16:creationId xmlns:a16="http://schemas.microsoft.com/office/drawing/2014/main" id="{11163225-7511-4602-A804-B9D156B88F47}"/>
                </a:ext>
              </a:extLst>
            </p:cNvPr>
            <p:cNvSpPr/>
            <p:nvPr/>
          </p:nvSpPr>
          <p:spPr>
            <a:xfrm rot="8716295">
              <a:off x="1807334" y="36149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4" name="Forme libre : forme 273">
              <a:extLst>
                <a:ext uri="{FF2B5EF4-FFF2-40B4-BE49-F238E27FC236}">
                  <a16:creationId xmlns:a16="http://schemas.microsoft.com/office/drawing/2014/main" id="{81961769-D6FF-4365-87D3-0FF20F673A4A}"/>
                </a:ext>
              </a:extLst>
            </p:cNvPr>
            <p:cNvSpPr/>
            <p:nvPr/>
          </p:nvSpPr>
          <p:spPr>
            <a:xfrm rot="8716295">
              <a:off x="1896726" y="36441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5" name="Forme libre : forme 274">
              <a:extLst>
                <a:ext uri="{FF2B5EF4-FFF2-40B4-BE49-F238E27FC236}">
                  <a16:creationId xmlns:a16="http://schemas.microsoft.com/office/drawing/2014/main" id="{D838E7DA-A3D8-4733-90D9-56C4006640C1}"/>
                </a:ext>
              </a:extLst>
            </p:cNvPr>
            <p:cNvSpPr/>
            <p:nvPr/>
          </p:nvSpPr>
          <p:spPr>
            <a:xfrm rot="8716295">
              <a:off x="1695100" y="370346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6" name="Forme libre : forme 275">
              <a:extLst>
                <a:ext uri="{FF2B5EF4-FFF2-40B4-BE49-F238E27FC236}">
                  <a16:creationId xmlns:a16="http://schemas.microsoft.com/office/drawing/2014/main" id="{BE48505C-4A3C-41E8-805D-3F3964663DC3}"/>
                </a:ext>
              </a:extLst>
            </p:cNvPr>
            <p:cNvSpPr/>
            <p:nvPr/>
          </p:nvSpPr>
          <p:spPr>
            <a:xfrm rot="8716295">
              <a:off x="1570198" y="349478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7" name="Forme libre : forme 276">
              <a:extLst>
                <a:ext uri="{FF2B5EF4-FFF2-40B4-BE49-F238E27FC236}">
                  <a16:creationId xmlns:a16="http://schemas.microsoft.com/office/drawing/2014/main" id="{74C1AFD3-7B5D-49B6-B346-37FFDE5D01C0}"/>
                </a:ext>
              </a:extLst>
            </p:cNvPr>
            <p:cNvSpPr/>
            <p:nvPr/>
          </p:nvSpPr>
          <p:spPr>
            <a:xfrm rot="8716295">
              <a:off x="1785278" y="37444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8" name="Forme libre : forme 277">
              <a:extLst>
                <a:ext uri="{FF2B5EF4-FFF2-40B4-BE49-F238E27FC236}">
                  <a16:creationId xmlns:a16="http://schemas.microsoft.com/office/drawing/2014/main" id="{B918BF38-28D0-4E79-852B-01ED43D79B29}"/>
                </a:ext>
              </a:extLst>
            </p:cNvPr>
            <p:cNvSpPr/>
            <p:nvPr/>
          </p:nvSpPr>
          <p:spPr>
            <a:xfrm rot="8716295">
              <a:off x="1543827" y="359481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9" name="Forme libre : forme 278">
              <a:extLst>
                <a:ext uri="{FF2B5EF4-FFF2-40B4-BE49-F238E27FC236}">
                  <a16:creationId xmlns:a16="http://schemas.microsoft.com/office/drawing/2014/main" id="{9821C7DC-A0EE-43BB-82AD-2D73FD4DEC58}"/>
                </a:ext>
              </a:extLst>
            </p:cNvPr>
            <p:cNvSpPr/>
            <p:nvPr/>
          </p:nvSpPr>
          <p:spPr>
            <a:xfrm rot="7484129">
              <a:off x="1890209" y="393576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0" name="Forme libre : forme 279">
              <a:extLst>
                <a:ext uri="{FF2B5EF4-FFF2-40B4-BE49-F238E27FC236}">
                  <a16:creationId xmlns:a16="http://schemas.microsoft.com/office/drawing/2014/main" id="{CE9B832D-CDB0-4485-83A6-7D7ED44A3320}"/>
                </a:ext>
              </a:extLst>
            </p:cNvPr>
            <p:cNvSpPr/>
            <p:nvPr/>
          </p:nvSpPr>
          <p:spPr>
            <a:xfrm rot="13089394">
              <a:off x="1995029" y="3902299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1" name="Forme libre : forme 280">
              <a:extLst>
                <a:ext uri="{FF2B5EF4-FFF2-40B4-BE49-F238E27FC236}">
                  <a16:creationId xmlns:a16="http://schemas.microsoft.com/office/drawing/2014/main" id="{B39230A2-1C21-4062-B5E2-4E3B7D0C88CD}"/>
                </a:ext>
              </a:extLst>
            </p:cNvPr>
            <p:cNvSpPr/>
            <p:nvPr/>
          </p:nvSpPr>
          <p:spPr>
            <a:xfrm rot="8716295">
              <a:off x="2180614" y="371061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2" name="Forme libre : forme 281">
              <a:extLst>
                <a:ext uri="{FF2B5EF4-FFF2-40B4-BE49-F238E27FC236}">
                  <a16:creationId xmlns:a16="http://schemas.microsoft.com/office/drawing/2014/main" id="{81DCB6A5-C857-4E79-932B-EE7CD6E9E80D}"/>
                </a:ext>
              </a:extLst>
            </p:cNvPr>
            <p:cNvSpPr/>
            <p:nvPr/>
          </p:nvSpPr>
          <p:spPr>
            <a:xfrm rot="8716295">
              <a:off x="2128809" y="360702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3" name="Forme libre : forme 282">
              <a:extLst>
                <a:ext uri="{FF2B5EF4-FFF2-40B4-BE49-F238E27FC236}">
                  <a16:creationId xmlns:a16="http://schemas.microsoft.com/office/drawing/2014/main" id="{DE2E55F0-E1D2-42EF-81BE-5B9CF56A8B16}"/>
                </a:ext>
              </a:extLst>
            </p:cNvPr>
            <p:cNvSpPr/>
            <p:nvPr/>
          </p:nvSpPr>
          <p:spPr>
            <a:xfrm rot="8716295">
              <a:off x="1885563" y="36372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4" name="Forme libre : forme 283">
              <a:extLst>
                <a:ext uri="{FF2B5EF4-FFF2-40B4-BE49-F238E27FC236}">
                  <a16:creationId xmlns:a16="http://schemas.microsoft.com/office/drawing/2014/main" id="{14AD1449-9E25-4F42-B0CB-B7AB7DA137A1}"/>
                </a:ext>
              </a:extLst>
            </p:cNvPr>
            <p:cNvSpPr/>
            <p:nvPr/>
          </p:nvSpPr>
          <p:spPr>
            <a:xfrm rot="8716295">
              <a:off x="2063015" y="34780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5" name="Forme libre : forme 284">
              <a:extLst>
                <a:ext uri="{FF2B5EF4-FFF2-40B4-BE49-F238E27FC236}">
                  <a16:creationId xmlns:a16="http://schemas.microsoft.com/office/drawing/2014/main" id="{9459C257-BD83-4EA3-A67A-64F2E29D2444}"/>
                </a:ext>
              </a:extLst>
            </p:cNvPr>
            <p:cNvSpPr/>
            <p:nvPr/>
          </p:nvSpPr>
          <p:spPr>
            <a:xfrm rot="8716295">
              <a:off x="1741402" y="452476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6" name="Forme libre : forme 285">
              <a:extLst>
                <a:ext uri="{FF2B5EF4-FFF2-40B4-BE49-F238E27FC236}">
                  <a16:creationId xmlns:a16="http://schemas.microsoft.com/office/drawing/2014/main" id="{776DF04A-9E10-40B0-8F87-C3176DFB0655}"/>
                </a:ext>
              </a:extLst>
            </p:cNvPr>
            <p:cNvSpPr/>
            <p:nvPr/>
          </p:nvSpPr>
          <p:spPr>
            <a:xfrm rot="8716295">
              <a:off x="1830794" y="455401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7" name="Forme libre : forme 286">
              <a:extLst>
                <a:ext uri="{FF2B5EF4-FFF2-40B4-BE49-F238E27FC236}">
                  <a16:creationId xmlns:a16="http://schemas.microsoft.com/office/drawing/2014/main" id="{1BCF78D3-72E0-4C34-AE46-85492A03A633}"/>
                </a:ext>
              </a:extLst>
            </p:cNvPr>
            <p:cNvSpPr/>
            <p:nvPr/>
          </p:nvSpPr>
          <p:spPr>
            <a:xfrm rot="8716295">
              <a:off x="1785944" y="4467731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8" name="Forme libre : forme 287">
              <a:extLst>
                <a:ext uri="{FF2B5EF4-FFF2-40B4-BE49-F238E27FC236}">
                  <a16:creationId xmlns:a16="http://schemas.microsoft.com/office/drawing/2014/main" id="{40DD2911-8E83-41A0-92FE-163A6FA95009}"/>
                </a:ext>
              </a:extLst>
            </p:cNvPr>
            <p:cNvSpPr/>
            <p:nvPr/>
          </p:nvSpPr>
          <p:spPr>
            <a:xfrm rot="8716295">
              <a:off x="1629168" y="461331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9" name="Forme libre : forme 288">
              <a:extLst>
                <a:ext uri="{FF2B5EF4-FFF2-40B4-BE49-F238E27FC236}">
                  <a16:creationId xmlns:a16="http://schemas.microsoft.com/office/drawing/2014/main" id="{E686274E-624B-4FD1-9536-D2B4D790F806}"/>
                </a:ext>
              </a:extLst>
            </p:cNvPr>
            <p:cNvSpPr/>
            <p:nvPr/>
          </p:nvSpPr>
          <p:spPr>
            <a:xfrm rot="8716295">
              <a:off x="1504265" y="440464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0" name="Forme libre : forme 289">
              <a:extLst>
                <a:ext uri="{FF2B5EF4-FFF2-40B4-BE49-F238E27FC236}">
                  <a16:creationId xmlns:a16="http://schemas.microsoft.com/office/drawing/2014/main" id="{DA92638D-CC75-4944-B78B-61E3B22A12E3}"/>
                </a:ext>
              </a:extLst>
            </p:cNvPr>
            <p:cNvSpPr/>
            <p:nvPr/>
          </p:nvSpPr>
          <p:spPr>
            <a:xfrm rot="8716295">
              <a:off x="1492213" y="4265860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1" name="Forme libre : forme 290">
              <a:extLst>
                <a:ext uri="{FF2B5EF4-FFF2-40B4-BE49-F238E27FC236}">
                  <a16:creationId xmlns:a16="http://schemas.microsoft.com/office/drawing/2014/main" id="{17950727-3BF3-4A34-9F11-5322F5CFB8F3}"/>
                </a:ext>
              </a:extLst>
            </p:cNvPr>
            <p:cNvSpPr/>
            <p:nvPr/>
          </p:nvSpPr>
          <p:spPr>
            <a:xfrm rot="8716295">
              <a:off x="1719346" y="465426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2" name="Forme libre : forme 291">
              <a:extLst>
                <a:ext uri="{FF2B5EF4-FFF2-40B4-BE49-F238E27FC236}">
                  <a16:creationId xmlns:a16="http://schemas.microsoft.com/office/drawing/2014/main" id="{9010FFF3-701E-491D-97A1-527670851B3C}"/>
                </a:ext>
              </a:extLst>
            </p:cNvPr>
            <p:cNvSpPr/>
            <p:nvPr/>
          </p:nvSpPr>
          <p:spPr>
            <a:xfrm rot="8716295">
              <a:off x="2030501" y="427461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3" name="Forme libre : forme 292">
              <a:extLst>
                <a:ext uri="{FF2B5EF4-FFF2-40B4-BE49-F238E27FC236}">
                  <a16:creationId xmlns:a16="http://schemas.microsoft.com/office/drawing/2014/main" id="{8E50FB82-1555-41A1-B55B-D3699A1B10A3}"/>
                </a:ext>
              </a:extLst>
            </p:cNvPr>
            <p:cNvSpPr/>
            <p:nvPr/>
          </p:nvSpPr>
          <p:spPr>
            <a:xfrm rot="8716295">
              <a:off x="2119893" y="430385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4" name="Forme libre : forme 293">
              <a:extLst>
                <a:ext uri="{FF2B5EF4-FFF2-40B4-BE49-F238E27FC236}">
                  <a16:creationId xmlns:a16="http://schemas.microsoft.com/office/drawing/2014/main" id="{ECB71CB3-C9D6-4612-8036-4BC5560F17FE}"/>
                </a:ext>
              </a:extLst>
            </p:cNvPr>
            <p:cNvSpPr/>
            <p:nvPr/>
          </p:nvSpPr>
          <p:spPr>
            <a:xfrm rot="8716295">
              <a:off x="1918267" y="436316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5" name="Forme libre : forme 294">
              <a:extLst>
                <a:ext uri="{FF2B5EF4-FFF2-40B4-BE49-F238E27FC236}">
                  <a16:creationId xmlns:a16="http://schemas.microsoft.com/office/drawing/2014/main" id="{23C3947C-E5CD-4C04-A462-D000016701AE}"/>
                </a:ext>
              </a:extLst>
            </p:cNvPr>
            <p:cNvSpPr/>
            <p:nvPr/>
          </p:nvSpPr>
          <p:spPr>
            <a:xfrm rot="8716295">
              <a:off x="1793365" y="415448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6" name="Forme libre : forme 295">
              <a:extLst>
                <a:ext uri="{FF2B5EF4-FFF2-40B4-BE49-F238E27FC236}">
                  <a16:creationId xmlns:a16="http://schemas.microsoft.com/office/drawing/2014/main" id="{36960960-0C32-4C59-8462-A2186C943B16}"/>
                </a:ext>
              </a:extLst>
            </p:cNvPr>
            <p:cNvSpPr/>
            <p:nvPr/>
          </p:nvSpPr>
          <p:spPr>
            <a:xfrm rot="8716295">
              <a:off x="2008445" y="4404113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7" name="Forme libre : forme 296">
              <a:extLst>
                <a:ext uri="{FF2B5EF4-FFF2-40B4-BE49-F238E27FC236}">
                  <a16:creationId xmlns:a16="http://schemas.microsoft.com/office/drawing/2014/main" id="{A017DED6-0DF0-4954-AA17-FAF145052546}"/>
                </a:ext>
              </a:extLst>
            </p:cNvPr>
            <p:cNvSpPr/>
            <p:nvPr/>
          </p:nvSpPr>
          <p:spPr>
            <a:xfrm rot="8716295">
              <a:off x="1766994" y="4254513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8" name="Forme libre : forme 297">
              <a:extLst>
                <a:ext uri="{FF2B5EF4-FFF2-40B4-BE49-F238E27FC236}">
                  <a16:creationId xmlns:a16="http://schemas.microsoft.com/office/drawing/2014/main" id="{5CC2F812-5E9A-4217-955F-4164466B5C25}"/>
                </a:ext>
              </a:extLst>
            </p:cNvPr>
            <p:cNvSpPr/>
            <p:nvPr/>
          </p:nvSpPr>
          <p:spPr>
            <a:xfrm rot="7484129">
              <a:off x="2113376" y="459546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9" name="Forme libre : forme 298">
              <a:extLst>
                <a:ext uri="{FF2B5EF4-FFF2-40B4-BE49-F238E27FC236}">
                  <a16:creationId xmlns:a16="http://schemas.microsoft.com/office/drawing/2014/main" id="{C4DB3C3C-7923-468B-A1D6-C35736B5F055}"/>
                </a:ext>
              </a:extLst>
            </p:cNvPr>
            <p:cNvSpPr/>
            <p:nvPr/>
          </p:nvSpPr>
          <p:spPr>
            <a:xfrm rot="13089394">
              <a:off x="2218196" y="4561998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0" name="Forme libre : forme 299">
              <a:extLst>
                <a:ext uri="{FF2B5EF4-FFF2-40B4-BE49-F238E27FC236}">
                  <a16:creationId xmlns:a16="http://schemas.microsoft.com/office/drawing/2014/main" id="{4DB3A68B-6594-48A3-9ED1-B19E13D1C859}"/>
                </a:ext>
              </a:extLst>
            </p:cNvPr>
            <p:cNvSpPr/>
            <p:nvPr/>
          </p:nvSpPr>
          <p:spPr>
            <a:xfrm rot="8716295">
              <a:off x="2403781" y="4370317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1" name="Forme libre : forme 300">
              <a:extLst>
                <a:ext uri="{FF2B5EF4-FFF2-40B4-BE49-F238E27FC236}">
                  <a16:creationId xmlns:a16="http://schemas.microsoft.com/office/drawing/2014/main" id="{257847A5-8115-45F6-B365-C04D26B7A465}"/>
                </a:ext>
              </a:extLst>
            </p:cNvPr>
            <p:cNvSpPr/>
            <p:nvPr/>
          </p:nvSpPr>
          <p:spPr>
            <a:xfrm rot="8716295">
              <a:off x="2351976" y="426672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2" name="Forme libre : forme 301">
              <a:extLst>
                <a:ext uri="{FF2B5EF4-FFF2-40B4-BE49-F238E27FC236}">
                  <a16:creationId xmlns:a16="http://schemas.microsoft.com/office/drawing/2014/main" id="{8F6B8004-8361-41BA-B532-27BD701A55E8}"/>
                </a:ext>
              </a:extLst>
            </p:cNvPr>
            <p:cNvSpPr/>
            <p:nvPr/>
          </p:nvSpPr>
          <p:spPr>
            <a:xfrm rot="8716295">
              <a:off x="2108730" y="429694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3" name="Forme libre : forme 302">
              <a:extLst>
                <a:ext uri="{FF2B5EF4-FFF2-40B4-BE49-F238E27FC236}">
                  <a16:creationId xmlns:a16="http://schemas.microsoft.com/office/drawing/2014/main" id="{A2707731-9E6E-4897-BF1C-AD23EDDF33B9}"/>
                </a:ext>
              </a:extLst>
            </p:cNvPr>
            <p:cNvSpPr/>
            <p:nvPr/>
          </p:nvSpPr>
          <p:spPr>
            <a:xfrm rot="8716295">
              <a:off x="2286182" y="413770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4" name="Forme libre : forme 303">
              <a:extLst>
                <a:ext uri="{FF2B5EF4-FFF2-40B4-BE49-F238E27FC236}">
                  <a16:creationId xmlns:a16="http://schemas.microsoft.com/office/drawing/2014/main" id="{71585C5B-7ACF-4291-A3CC-77CF6C2FAF80}"/>
                </a:ext>
              </a:extLst>
            </p:cNvPr>
            <p:cNvSpPr/>
            <p:nvPr/>
          </p:nvSpPr>
          <p:spPr>
            <a:xfrm rot="8716295">
              <a:off x="854880" y="188600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5" name="Forme libre : forme 304">
              <a:extLst>
                <a:ext uri="{FF2B5EF4-FFF2-40B4-BE49-F238E27FC236}">
                  <a16:creationId xmlns:a16="http://schemas.microsoft.com/office/drawing/2014/main" id="{825A50BE-E198-461A-AE4C-E99B0DB548B8}"/>
                </a:ext>
              </a:extLst>
            </p:cNvPr>
            <p:cNvSpPr/>
            <p:nvPr/>
          </p:nvSpPr>
          <p:spPr>
            <a:xfrm rot="8716295">
              <a:off x="944272" y="191524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6" name="Forme libre : forme 305">
              <a:extLst>
                <a:ext uri="{FF2B5EF4-FFF2-40B4-BE49-F238E27FC236}">
                  <a16:creationId xmlns:a16="http://schemas.microsoft.com/office/drawing/2014/main" id="{A7FBDA8A-DF94-413D-B047-17E3CE1805C0}"/>
                </a:ext>
              </a:extLst>
            </p:cNvPr>
            <p:cNvSpPr/>
            <p:nvPr/>
          </p:nvSpPr>
          <p:spPr>
            <a:xfrm rot="8716295">
              <a:off x="899422" y="182896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7" name="Forme libre : forme 306">
              <a:extLst>
                <a:ext uri="{FF2B5EF4-FFF2-40B4-BE49-F238E27FC236}">
                  <a16:creationId xmlns:a16="http://schemas.microsoft.com/office/drawing/2014/main" id="{8DB66338-D210-4BFA-9092-FF348569CC52}"/>
                </a:ext>
              </a:extLst>
            </p:cNvPr>
            <p:cNvSpPr/>
            <p:nvPr/>
          </p:nvSpPr>
          <p:spPr>
            <a:xfrm rot="8716295">
              <a:off x="742646" y="197454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8" name="Forme libre : forme 307">
              <a:extLst>
                <a:ext uri="{FF2B5EF4-FFF2-40B4-BE49-F238E27FC236}">
                  <a16:creationId xmlns:a16="http://schemas.microsoft.com/office/drawing/2014/main" id="{74B60F54-C3F2-4334-BC7E-D49FA3ACE1ED}"/>
                </a:ext>
              </a:extLst>
            </p:cNvPr>
            <p:cNvSpPr/>
            <p:nvPr/>
          </p:nvSpPr>
          <p:spPr>
            <a:xfrm rot="8716295">
              <a:off x="617743" y="176587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9" name="Forme libre : forme 308">
              <a:extLst>
                <a:ext uri="{FF2B5EF4-FFF2-40B4-BE49-F238E27FC236}">
                  <a16:creationId xmlns:a16="http://schemas.microsoft.com/office/drawing/2014/main" id="{CA3E19C2-F96C-48A0-9D2C-698B32CA8895}"/>
                </a:ext>
              </a:extLst>
            </p:cNvPr>
            <p:cNvSpPr/>
            <p:nvPr/>
          </p:nvSpPr>
          <p:spPr>
            <a:xfrm rot="8716295">
              <a:off x="605691" y="162709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0" name="Forme libre : forme 309">
              <a:extLst>
                <a:ext uri="{FF2B5EF4-FFF2-40B4-BE49-F238E27FC236}">
                  <a16:creationId xmlns:a16="http://schemas.microsoft.com/office/drawing/2014/main" id="{9A0D5CB1-8D83-4AFE-B1BE-9F0F522C0D2B}"/>
                </a:ext>
              </a:extLst>
            </p:cNvPr>
            <p:cNvSpPr/>
            <p:nvPr/>
          </p:nvSpPr>
          <p:spPr>
            <a:xfrm rot="8716295">
              <a:off x="832824" y="201549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1" name="Forme libre : forme 310">
              <a:extLst>
                <a:ext uri="{FF2B5EF4-FFF2-40B4-BE49-F238E27FC236}">
                  <a16:creationId xmlns:a16="http://schemas.microsoft.com/office/drawing/2014/main" id="{7A50FCE7-03C8-4853-B73F-CE26795DB2CC}"/>
                </a:ext>
              </a:extLst>
            </p:cNvPr>
            <p:cNvSpPr/>
            <p:nvPr/>
          </p:nvSpPr>
          <p:spPr>
            <a:xfrm rot="8716295">
              <a:off x="1143979" y="163584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2" name="Forme libre : forme 311">
              <a:extLst>
                <a:ext uri="{FF2B5EF4-FFF2-40B4-BE49-F238E27FC236}">
                  <a16:creationId xmlns:a16="http://schemas.microsoft.com/office/drawing/2014/main" id="{457A7093-695D-4C41-85A0-782C2CD8BC44}"/>
                </a:ext>
              </a:extLst>
            </p:cNvPr>
            <p:cNvSpPr/>
            <p:nvPr/>
          </p:nvSpPr>
          <p:spPr>
            <a:xfrm rot="8716295">
              <a:off x="1233371" y="166509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3" name="Forme libre : forme 312">
              <a:extLst>
                <a:ext uri="{FF2B5EF4-FFF2-40B4-BE49-F238E27FC236}">
                  <a16:creationId xmlns:a16="http://schemas.microsoft.com/office/drawing/2014/main" id="{704E3047-55DF-4CDA-9182-C95BBA17BD9B}"/>
                </a:ext>
              </a:extLst>
            </p:cNvPr>
            <p:cNvSpPr/>
            <p:nvPr/>
          </p:nvSpPr>
          <p:spPr>
            <a:xfrm rot="8716295">
              <a:off x="1031745" y="172439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4" name="Forme libre : forme 313">
              <a:extLst>
                <a:ext uri="{FF2B5EF4-FFF2-40B4-BE49-F238E27FC236}">
                  <a16:creationId xmlns:a16="http://schemas.microsoft.com/office/drawing/2014/main" id="{75BDC6A2-BB14-4847-BB83-0C2ABA630806}"/>
                </a:ext>
              </a:extLst>
            </p:cNvPr>
            <p:cNvSpPr/>
            <p:nvPr/>
          </p:nvSpPr>
          <p:spPr>
            <a:xfrm rot="8716295">
              <a:off x="906843" y="151572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5" name="Forme libre : forme 314">
              <a:extLst>
                <a:ext uri="{FF2B5EF4-FFF2-40B4-BE49-F238E27FC236}">
                  <a16:creationId xmlns:a16="http://schemas.microsoft.com/office/drawing/2014/main" id="{7B4C3322-60E4-483D-8950-104BAFBDD71B}"/>
                </a:ext>
              </a:extLst>
            </p:cNvPr>
            <p:cNvSpPr/>
            <p:nvPr/>
          </p:nvSpPr>
          <p:spPr>
            <a:xfrm rot="8716295">
              <a:off x="1121923" y="176534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6" name="Forme libre : forme 315">
              <a:extLst>
                <a:ext uri="{FF2B5EF4-FFF2-40B4-BE49-F238E27FC236}">
                  <a16:creationId xmlns:a16="http://schemas.microsoft.com/office/drawing/2014/main" id="{2CCC10C4-A47F-46B3-9A5E-2B69B8F95724}"/>
                </a:ext>
              </a:extLst>
            </p:cNvPr>
            <p:cNvSpPr/>
            <p:nvPr/>
          </p:nvSpPr>
          <p:spPr>
            <a:xfrm rot="8716295">
              <a:off x="880472" y="161574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7" name="Forme libre : forme 316">
              <a:extLst>
                <a:ext uri="{FF2B5EF4-FFF2-40B4-BE49-F238E27FC236}">
                  <a16:creationId xmlns:a16="http://schemas.microsoft.com/office/drawing/2014/main" id="{C3F47D9C-5F75-4589-82C5-2EB76DD8C333}"/>
                </a:ext>
              </a:extLst>
            </p:cNvPr>
            <p:cNvSpPr/>
            <p:nvPr/>
          </p:nvSpPr>
          <p:spPr>
            <a:xfrm rot="7484129">
              <a:off x="1226854" y="195669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8" name="Forme libre : forme 317">
              <a:extLst>
                <a:ext uri="{FF2B5EF4-FFF2-40B4-BE49-F238E27FC236}">
                  <a16:creationId xmlns:a16="http://schemas.microsoft.com/office/drawing/2014/main" id="{06EDA617-7C34-4BCB-8273-6505201538B5}"/>
                </a:ext>
              </a:extLst>
            </p:cNvPr>
            <p:cNvSpPr/>
            <p:nvPr/>
          </p:nvSpPr>
          <p:spPr>
            <a:xfrm rot="13089394">
              <a:off x="1331674" y="192323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9" name="Forme libre : forme 318">
              <a:extLst>
                <a:ext uri="{FF2B5EF4-FFF2-40B4-BE49-F238E27FC236}">
                  <a16:creationId xmlns:a16="http://schemas.microsoft.com/office/drawing/2014/main" id="{8C00C036-C8B0-4F77-B0BC-B732FD327F08}"/>
                </a:ext>
              </a:extLst>
            </p:cNvPr>
            <p:cNvSpPr/>
            <p:nvPr/>
          </p:nvSpPr>
          <p:spPr>
            <a:xfrm rot="8716295">
              <a:off x="1517259" y="173154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0" name="Forme libre : forme 319">
              <a:extLst>
                <a:ext uri="{FF2B5EF4-FFF2-40B4-BE49-F238E27FC236}">
                  <a16:creationId xmlns:a16="http://schemas.microsoft.com/office/drawing/2014/main" id="{079E7D4D-7CBC-4E80-9ADD-66D10F53D00A}"/>
                </a:ext>
              </a:extLst>
            </p:cNvPr>
            <p:cNvSpPr/>
            <p:nvPr/>
          </p:nvSpPr>
          <p:spPr>
            <a:xfrm rot="8716295">
              <a:off x="1465454" y="162795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1" name="Forme libre : forme 320">
              <a:extLst>
                <a:ext uri="{FF2B5EF4-FFF2-40B4-BE49-F238E27FC236}">
                  <a16:creationId xmlns:a16="http://schemas.microsoft.com/office/drawing/2014/main" id="{F6CBC04A-ACBC-43B1-86C9-792F0278AE9C}"/>
                </a:ext>
              </a:extLst>
            </p:cNvPr>
            <p:cNvSpPr/>
            <p:nvPr/>
          </p:nvSpPr>
          <p:spPr>
            <a:xfrm rot="8716295">
              <a:off x="1222208" y="165817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2" name="Forme libre : forme 321">
              <a:extLst>
                <a:ext uri="{FF2B5EF4-FFF2-40B4-BE49-F238E27FC236}">
                  <a16:creationId xmlns:a16="http://schemas.microsoft.com/office/drawing/2014/main" id="{877F1B10-A111-4EDF-9C97-C64DD5E5FC2D}"/>
                </a:ext>
              </a:extLst>
            </p:cNvPr>
            <p:cNvSpPr/>
            <p:nvPr/>
          </p:nvSpPr>
          <p:spPr>
            <a:xfrm rot="8716295">
              <a:off x="1399660" y="149893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3" name="Forme libre : forme 322">
              <a:extLst>
                <a:ext uri="{FF2B5EF4-FFF2-40B4-BE49-F238E27FC236}">
                  <a16:creationId xmlns:a16="http://schemas.microsoft.com/office/drawing/2014/main" id="{247A35DD-1AE0-4F8F-91F1-39A539F5145A}"/>
                </a:ext>
              </a:extLst>
            </p:cNvPr>
            <p:cNvSpPr/>
            <p:nvPr/>
          </p:nvSpPr>
          <p:spPr>
            <a:xfrm rot="8716295">
              <a:off x="631713" y="12263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4" name="Forme libre : forme 323">
              <a:extLst>
                <a:ext uri="{FF2B5EF4-FFF2-40B4-BE49-F238E27FC236}">
                  <a16:creationId xmlns:a16="http://schemas.microsoft.com/office/drawing/2014/main" id="{B2057DA7-CDDF-43BB-8EAC-22466BE1F259}"/>
                </a:ext>
              </a:extLst>
            </p:cNvPr>
            <p:cNvSpPr/>
            <p:nvPr/>
          </p:nvSpPr>
          <p:spPr>
            <a:xfrm rot="8716295">
              <a:off x="721105" y="12555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5" name="Forme libre : forme 324">
              <a:extLst>
                <a:ext uri="{FF2B5EF4-FFF2-40B4-BE49-F238E27FC236}">
                  <a16:creationId xmlns:a16="http://schemas.microsoft.com/office/drawing/2014/main" id="{E77CA785-1459-4C27-B776-D857A8D4B013}"/>
                </a:ext>
              </a:extLst>
            </p:cNvPr>
            <p:cNvSpPr/>
            <p:nvPr/>
          </p:nvSpPr>
          <p:spPr>
            <a:xfrm rot="8716295">
              <a:off x="676255" y="116926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6" name="Forme libre : forme 325">
              <a:extLst>
                <a:ext uri="{FF2B5EF4-FFF2-40B4-BE49-F238E27FC236}">
                  <a16:creationId xmlns:a16="http://schemas.microsoft.com/office/drawing/2014/main" id="{D9BFC3E7-D875-4777-80CD-7BECEB16ED0F}"/>
                </a:ext>
              </a:extLst>
            </p:cNvPr>
            <p:cNvSpPr/>
            <p:nvPr/>
          </p:nvSpPr>
          <p:spPr>
            <a:xfrm rot="8716295">
              <a:off x="519479" y="13148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7" name="Forme libre : forme 326">
              <a:extLst>
                <a:ext uri="{FF2B5EF4-FFF2-40B4-BE49-F238E27FC236}">
                  <a16:creationId xmlns:a16="http://schemas.microsoft.com/office/drawing/2014/main" id="{E87C9BB6-CA72-4C32-8CA3-A029EC77D88B}"/>
                </a:ext>
              </a:extLst>
            </p:cNvPr>
            <p:cNvSpPr/>
            <p:nvPr/>
          </p:nvSpPr>
          <p:spPr>
            <a:xfrm rot="8716295">
              <a:off x="394576" y="11061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8" name="Forme libre : forme 327">
              <a:extLst>
                <a:ext uri="{FF2B5EF4-FFF2-40B4-BE49-F238E27FC236}">
                  <a16:creationId xmlns:a16="http://schemas.microsoft.com/office/drawing/2014/main" id="{40F6441D-9B69-4079-B1A2-720CB6BA2101}"/>
                </a:ext>
              </a:extLst>
            </p:cNvPr>
            <p:cNvSpPr/>
            <p:nvPr/>
          </p:nvSpPr>
          <p:spPr>
            <a:xfrm rot="8716295">
              <a:off x="382524" y="96739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9" name="Forme libre : forme 328">
              <a:extLst>
                <a:ext uri="{FF2B5EF4-FFF2-40B4-BE49-F238E27FC236}">
                  <a16:creationId xmlns:a16="http://schemas.microsoft.com/office/drawing/2014/main" id="{B832EB8F-3703-48E0-A315-AEFC6F1CBB35}"/>
                </a:ext>
              </a:extLst>
            </p:cNvPr>
            <p:cNvSpPr/>
            <p:nvPr/>
          </p:nvSpPr>
          <p:spPr>
            <a:xfrm rot="8716295">
              <a:off x="609657" y="135579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0" name="Forme libre : forme 329">
              <a:extLst>
                <a:ext uri="{FF2B5EF4-FFF2-40B4-BE49-F238E27FC236}">
                  <a16:creationId xmlns:a16="http://schemas.microsoft.com/office/drawing/2014/main" id="{763E69C5-E960-4417-A0EA-1ECCFB8C6C35}"/>
                </a:ext>
              </a:extLst>
            </p:cNvPr>
            <p:cNvSpPr/>
            <p:nvPr/>
          </p:nvSpPr>
          <p:spPr>
            <a:xfrm rot="8716295">
              <a:off x="920812" y="97615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1" name="Forme libre : forme 330">
              <a:extLst>
                <a:ext uri="{FF2B5EF4-FFF2-40B4-BE49-F238E27FC236}">
                  <a16:creationId xmlns:a16="http://schemas.microsoft.com/office/drawing/2014/main" id="{651DF2CF-FEA7-4A17-8C45-74CA1E1691C9}"/>
                </a:ext>
              </a:extLst>
            </p:cNvPr>
            <p:cNvSpPr/>
            <p:nvPr/>
          </p:nvSpPr>
          <p:spPr>
            <a:xfrm rot="8716295">
              <a:off x="1010204" y="100539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2" name="Forme libre : forme 331">
              <a:extLst>
                <a:ext uri="{FF2B5EF4-FFF2-40B4-BE49-F238E27FC236}">
                  <a16:creationId xmlns:a16="http://schemas.microsoft.com/office/drawing/2014/main" id="{F4BE6752-2F2B-4713-BCC2-F5A751451D2F}"/>
                </a:ext>
              </a:extLst>
            </p:cNvPr>
            <p:cNvSpPr/>
            <p:nvPr/>
          </p:nvSpPr>
          <p:spPr>
            <a:xfrm rot="8716295">
              <a:off x="808578" y="106469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3" name="Forme libre : forme 332">
              <a:extLst>
                <a:ext uri="{FF2B5EF4-FFF2-40B4-BE49-F238E27FC236}">
                  <a16:creationId xmlns:a16="http://schemas.microsoft.com/office/drawing/2014/main" id="{F0181337-48BC-4C6E-BF6A-EF75BA2ADF65}"/>
                </a:ext>
              </a:extLst>
            </p:cNvPr>
            <p:cNvSpPr/>
            <p:nvPr/>
          </p:nvSpPr>
          <p:spPr>
            <a:xfrm rot="8716295">
              <a:off x="683676" y="85602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4" name="Forme libre : forme 333">
              <a:extLst>
                <a:ext uri="{FF2B5EF4-FFF2-40B4-BE49-F238E27FC236}">
                  <a16:creationId xmlns:a16="http://schemas.microsoft.com/office/drawing/2014/main" id="{51A8FF0F-FF59-4E76-A691-2074D9AE597E}"/>
                </a:ext>
              </a:extLst>
            </p:cNvPr>
            <p:cNvSpPr/>
            <p:nvPr/>
          </p:nvSpPr>
          <p:spPr>
            <a:xfrm rot="8716295">
              <a:off x="898756" y="110564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5" name="Forme libre : forme 334">
              <a:extLst>
                <a:ext uri="{FF2B5EF4-FFF2-40B4-BE49-F238E27FC236}">
                  <a16:creationId xmlns:a16="http://schemas.microsoft.com/office/drawing/2014/main" id="{D5F2DBF7-EA5E-412E-BE60-C63CE87201BD}"/>
                </a:ext>
              </a:extLst>
            </p:cNvPr>
            <p:cNvSpPr/>
            <p:nvPr/>
          </p:nvSpPr>
          <p:spPr>
            <a:xfrm rot="8716295">
              <a:off x="657305" y="95604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6" name="Forme libre : forme 335">
              <a:extLst>
                <a:ext uri="{FF2B5EF4-FFF2-40B4-BE49-F238E27FC236}">
                  <a16:creationId xmlns:a16="http://schemas.microsoft.com/office/drawing/2014/main" id="{2B86FAAC-284E-4293-B3BE-662E153BEFE7}"/>
                </a:ext>
              </a:extLst>
            </p:cNvPr>
            <p:cNvSpPr/>
            <p:nvPr/>
          </p:nvSpPr>
          <p:spPr>
            <a:xfrm rot="7484129">
              <a:off x="1003687" y="129699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7" name="Forme libre : forme 336">
              <a:extLst>
                <a:ext uri="{FF2B5EF4-FFF2-40B4-BE49-F238E27FC236}">
                  <a16:creationId xmlns:a16="http://schemas.microsoft.com/office/drawing/2014/main" id="{F8C25AEA-BEFD-464B-AC86-4743BA580AF0}"/>
                </a:ext>
              </a:extLst>
            </p:cNvPr>
            <p:cNvSpPr/>
            <p:nvPr/>
          </p:nvSpPr>
          <p:spPr>
            <a:xfrm rot="13089394">
              <a:off x="1108507" y="1263531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8" name="Forme libre : forme 337">
              <a:extLst>
                <a:ext uri="{FF2B5EF4-FFF2-40B4-BE49-F238E27FC236}">
                  <a16:creationId xmlns:a16="http://schemas.microsoft.com/office/drawing/2014/main" id="{C5FC227C-CE0A-4B9A-BEB5-86A5822E13D2}"/>
                </a:ext>
              </a:extLst>
            </p:cNvPr>
            <p:cNvSpPr/>
            <p:nvPr/>
          </p:nvSpPr>
          <p:spPr>
            <a:xfrm rot="8716295">
              <a:off x="1294092" y="107185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9" name="Forme libre : forme 338">
              <a:extLst>
                <a:ext uri="{FF2B5EF4-FFF2-40B4-BE49-F238E27FC236}">
                  <a16:creationId xmlns:a16="http://schemas.microsoft.com/office/drawing/2014/main" id="{2AD54659-FB71-46D1-A755-0BCF081E050A}"/>
                </a:ext>
              </a:extLst>
            </p:cNvPr>
            <p:cNvSpPr/>
            <p:nvPr/>
          </p:nvSpPr>
          <p:spPr>
            <a:xfrm rot="8716295">
              <a:off x="1242287" y="96825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0" name="Forme libre : forme 339">
              <a:extLst>
                <a:ext uri="{FF2B5EF4-FFF2-40B4-BE49-F238E27FC236}">
                  <a16:creationId xmlns:a16="http://schemas.microsoft.com/office/drawing/2014/main" id="{EA0D1B29-AE82-4655-80DE-F5EADED15310}"/>
                </a:ext>
              </a:extLst>
            </p:cNvPr>
            <p:cNvSpPr/>
            <p:nvPr/>
          </p:nvSpPr>
          <p:spPr>
            <a:xfrm rot="8716295">
              <a:off x="999041" y="99847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1" name="Forme libre : forme 340">
              <a:extLst>
                <a:ext uri="{FF2B5EF4-FFF2-40B4-BE49-F238E27FC236}">
                  <a16:creationId xmlns:a16="http://schemas.microsoft.com/office/drawing/2014/main" id="{FE59AAF9-5326-4148-B75B-C59DBA653A58}"/>
                </a:ext>
              </a:extLst>
            </p:cNvPr>
            <p:cNvSpPr/>
            <p:nvPr/>
          </p:nvSpPr>
          <p:spPr>
            <a:xfrm rot="8716295">
              <a:off x="1176493" y="83923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2" name="Forme libre : forme 341">
              <a:extLst>
                <a:ext uri="{FF2B5EF4-FFF2-40B4-BE49-F238E27FC236}">
                  <a16:creationId xmlns:a16="http://schemas.microsoft.com/office/drawing/2014/main" id="{2B5ED39A-BA82-4FB9-B8D1-BFCBF5FCF8AB}"/>
                </a:ext>
              </a:extLst>
            </p:cNvPr>
            <p:cNvSpPr/>
            <p:nvPr/>
          </p:nvSpPr>
          <p:spPr>
            <a:xfrm rot="8716295">
              <a:off x="412774" y="56424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3" name="Forme libre : forme 342">
              <a:extLst>
                <a:ext uri="{FF2B5EF4-FFF2-40B4-BE49-F238E27FC236}">
                  <a16:creationId xmlns:a16="http://schemas.microsoft.com/office/drawing/2014/main" id="{EF04C128-AC77-4E99-970E-568F219D8A8C}"/>
                </a:ext>
              </a:extLst>
            </p:cNvPr>
            <p:cNvSpPr/>
            <p:nvPr/>
          </p:nvSpPr>
          <p:spPr>
            <a:xfrm rot="8716295">
              <a:off x="502166" y="59348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4" name="Forme libre : forme 343">
              <a:extLst>
                <a:ext uri="{FF2B5EF4-FFF2-40B4-BE49-F238E27FC236}">
                  <a16:creationId xmlns:a16="http://schemas.microsoft.com/office/drawing/2014/main" id="{35DEA77E-6D52-40CB-86CA-54607FDC07E9}"/>
                </a:ext>
              </a:extLst>
            </p:cNvPr>
            <p:cNvSpPr/>
            <p:nvPr/>
          </p:nvSpPr>
          <p:spPr>
            <a:xfrm rot="8716295">
              <a:off x="457316" y="50720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5" name="Forme libre : forme 344">
              <a:extLst>
                <a:ext uri="{FF2B5EF4-FFF2-40B4-BE49-F238E27FC236}">
                  <a16:creationId xmlns:a16="http://schemas.microsoft.com/office/drawing/2014/main" id="{7F83C78F-975E-4433-96C7-AC45753DC5C9}"/>
                </a:ext>
              </a:extLst>
            </p:cNvPr>
            <p:cNvSpPr/>
            <p:nvPr/>
          </p:nvSpPr>
          <p:spPr>
            <a:xfrm rot="8716295">
              <a:off x="300540" y="65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6" name="Forme libre : forme 345">
              <a:extLst>
                <a:ext uri="{FF2B5EF4-FFF2-40B4-BE49-F238E27FC236}">
                  <a16:creationId xmlns:a16="http://schemas.microsoft.com/office/drawing/2014/main" id="{FD3979A2-0F0A-4D64-B2D1-D790A7310394}"/>
                </a:ext>
              </a:extLst>
            </p:cNvPr>
            <p:cNvSpPr/>
            <p:nvPr/>
          </p:nvSpPr>
          <p:spPr>
            <a:xfrm rot="8716295">
              <a:off x="175637" y="44411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7" name="Forme libre : forme 346">
              <a:extLst>
                <a:ext uri="{FF2B5EF4-FFF2-40B4-BE49-F238E27FC236}">
                  <a16:creationId xmlns:a16="http://schemas.microsoft.com/office/drawing/2014/main" id="{AA76E107-EED2-43EE-909B-E95F465CE73B}"/>
                </a:ext>
              </a:extLst>
            </p:cNvPr>
            <p:cNvSpPr/>
            <p:nvPr/>
          </p:nvSpPr>
          <p:spPr>
            <a:xfrm rot="8716295">
              <a:off x="163585" y="30533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8" name="Forme libre : forme 347">
              <a:extLst>
                <a:ext uri="{FF2B5EF4-FFF2-40B4-BE49-F238E27FC236}">
                  <a16:creationId xmlns:a16="http://schemas.microsoft.com/office/drawing/2014/main" id="{B9BBA0BC-EEAF-493E-A940-F09587491C29}"/>
                </a:ext>
              </a:extLst>
            </p:cNvPr>
            <p:cNvSpPr/>
            <p:nvPr/>
          </p:nvSpPr>
          <p:spPr>
            <a:xfrm rot="8716295">
              <a:off x="390718" y="69374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9" name="Forme libre : forme 348">
              <a:extLst>
                <a:ext uri="{FF2B5EF4-FFF2-40B4-BE49-F238E27FC236}">
                  <a16:creationId xmlns:a16="http://schemas.microsoft.com/office/drawing/2014/main" id="{C8D30F56-4A06-4C10-B3F2-60FAA4FF4FB6}"/>
                </a:ext>
              </a:extLst>
            </p:cNvPr>
            <p:cNvSpPr/>
            <p:nvPr/>
          </p:nvSpPr>
          <p:spPr>
            <a:xfrm rot="8716295">
              <a:off x="701873" y="31409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0" name="Forme libre : forme 349">
              <a:extLst>
                <a:ext uri="{FF2B5EF4-FFF2-40B4-BE49-F238E27FC236}">
                  <a16:creationId xmlns:a16="http://schemas.microsoft.com/office/drawing/2014/main" id="{5C6936A8-9A95-4204-9D28-D9B75C140322}"/>
                </a:ext>
              </a:extLst>
            </p:cNvPr>
            <p:cNvSpPr/>
            <p:nvPr/>
          </p:nvSpPr>
          <p:spPr>
            <a:xfrm rot="8716295">
              <a:off x="791265" y="34333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1" name="Forme libre : forme 350">
              <a:extLst>
                <a:ext uri="{FF2B5EF4-FFF2-40B4-BE49-F238E27FC236}">
                  <a16:creationId xmlns:a16="http://schemas.microsoft.com/office/drawing/2014/main" id="{FFF2D367-BA47-4EF1-A7BB-098E80C21CBE}"/>
                </a:ext>
              </a:extLst>
            </p:cNvPr>
            <p:cNvSpPr/>
            <p:nvPr/>
          </p:nvSpPr>
          <p:spPr>
            <a:xfrm rot="8716295">
              <a:off x="589639" y="40263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2" name="Forme libre : forme 351">
              <a:extLst>
                <a:ext uri="{FF2B5EF4-FFF2-40B4-BE49-F238E27FC236}">
                  <a16:creationId xmlns:a16="http://schemas.microsoft.com/office/drawing/2014/main" id="{449281FC-8C05-45F5-BEE0-D74C1D2991A0}"/>
                </a:ext>
              </a:extLst>
            </p:cNvPr>
            <p:cNvSpPr/>
            <p:nvPr/>
          </p:nvSpPr>
          <p:spPr>
            <a:xfrm rot="8716295">
              <a:off x="464737" y="19396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3" name="Forme libre : forme 352">
              <a:extLst>
                <a:ext uri="{FF2B5EF4-FFF2-40B4-BE49-F238E27FC236}">
                  <a16:creationId xmlns:a16="http://schemas.microsoft.com/office/drawing/2014/main" id="{AC76B493-44A9-4110-A979-E79DA2DAD0EF}"/>
                </a:ext>
              </a:extLst>
            </p:cNvPr>
            <p:cNvSpPr/>
            <p:nvPr/>
          </p:nvSpPr>
          <p:spPr>
            <a:xfrm rot="8716295">
              <a:off x="679817" y="44358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4" name="Forme libre : forme 353">
              <a:extLst>
                <a:ext uri="{FF2B5EF4-FFF2-40B4-BE49-F238E27FC236}">
                  <a16:creationId xmlns:a16="http://schemas.microsoft.com/office/drawing/2014/main" id="{A1E49731-9881-455E-A515-C358862DEBAE}"/>
                </a:ext>
              </a:extLst>
            </p:cNvPr>
            <p:cNvSpPr/>
            <p:nvPr/>
          </p:nvSpPr>
          <p:spPr>
            <a:xfrm rot="8716295">
              <a:off x="438366" y="29398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5" name="Forme libre : forme 354">
              <a:extLst>
                <a:ext uri="{FF2B5EF4-FFF2-40B4-BE49-F238E27FC236}">
                  <a16:creationId xmlns:a16="http://schemas.microsoft.com/office/drawing/2014/main" id="{8204F475-BA32-42D6-B48D-2BEE0C6DF622}"/>
                </a:ext>
              </a:extLst>
            </p:cNvPr>
            <p:cNvSpPr/>
            <p:nvPr/>
          </p:nvSpPr>
          <p:spPr>
            <a:xfrm rot="7484129">
              <a:off x="784748" y="63493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6" name="Forme libre : forme 355">
              <a:extLst>
                <a:ext uri="{FF2B5EF4-FFF2-40B4-BE49-F238E27FC236}">
                  <a16:creationId xmlns:a16="http://schemas.microsoft.com/office/drawing/2014/main" id="{3407396E-8B17-4E89-82BB-C091E11448DB}"/>
                </a:ext>
              </a:extLst>
            </p:cNvPr>
            <p:cNvSpPr/>
            <p:nvPr/>
          </p:nvSpPr>
          <p:spPr>
            <a:xfrm rot="13089394">
              <a:off x="889568" y="60147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7" name="Forme libre : forme 356">
              <a:extLst>
                <a:ext uri="{FF2B5EF4-FFF2-40B4-BE49-F238E27FC236}">
                  <a16:creationId xmlns:a16="http://schemas.microsoft.com/office/drawing/2014/main" id="{27719725-2BB1-4B94-8AC6-F116861C62F1}"/>
                </a:ext>
              </a:extLst>
            </p:cNvPr>
            <p:cNvSpPr/>
            <p:nvPr/>
          </p:nvSpPr>
          <p:spPr>
            <a:xfrm rot="8716295">
              <a:off x="1075153" y="40979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8" name="Forme libre : forme 357">
              <a:extLst>
                <a:ext uri="{FF2B5EF4-FFF2-40B4-BE49-F238E27FC236}">
                  <a16:creationId xmlns:a16="http://schemas.microsoft.com/office/drawing/2014/main" id="{43C5E8C2-1177-4638-AAC9-C608290C6D73}"/>
                </a:ext>
              </a:extLst>
            </p:cNvPr>
            <p:cNvSpPr/>
            <p:nvPr/>
          </p:nvSpPr>
          <p:spPr>
            <a:xfrm rot="8716295">
              <a:off x="1023348" y="30619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9" name="Forme libre : forme 358">
              <a:extLst>
                <a:ext uri="{FF2B5EF4-FFF2-40B4-BE49-F238E27FC236}">
                  <a16:creationId xmlns:a16="http://schemas.microsoft.com/office/drawing/2014/main" id="{66F400C8-484F-4AA9-9E69-F9DA598D65AC}"/>
                </a:ext>
              </a:extLst>
            </p:cNvPr>
            <p:cNvSpPr/>
            <p:nvPr/>
          </p:nvSpPr>
          <p:spPr>
            <a:xfrm rot="8716295">
              <a:off x="780102" y="336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0" name="Forme libre : forme 359">
              <a:extLst>
                <a:ext uri="{FF2B5EF4-FFF2-40B4-BE49-F238E27FC236}">
                  <a16:creationId xmlns:a16="http://schemas.microsoft.com/office/drawing/2014/main" id="{FD3344B4-1783-4AD8-8B1E-198B5BC45770}"/>
                </a:ext>
              </a:extLst>
            </p:cNvPr>
            <p:cNvSpPr/>
            <p:nvPr/>
          </p:nvSpPr>
          <p:spPr>
            <a:xfrm rot="8716295">
              <a:off x="957554" y="17717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1" name="Forme libre : forme 360">
              <a:extLst>
                <a:ext uri="{FF2B5EF4-FFF2-40B4-BE49-F238E27FC236}">
                  <a16:creationId xmlns:a16="http://schemas.microsoft.com/office/drawing/2014/main" id="{B1F20E97-7F16-49D8-A491-FB12C97898BA}"/>
                </a:ext>
              </a:extLst>
            </p:cNvPr>
            <p:cNvSpPr/>
            <p:nvPr/>
          </p:nvSpPr>
          <p:spPr>
            <a:xfrm rot="8716295">
              <a:off x="202348" y="-57106"/>
              <a:ext cx="142167" cy="186494"/>
            </a:xfrm>
            <a:custGeom>
              <a:avLst/>
              <a:gdLst>
                <a:gd name="connsiteX0" fmla="*/ 142167 w 142167"/>
                <a:gd name="connsiteY0" fmla="*/ 186494 h 186494"/>
                <a:gd name="connsiteX1" fmla="*/ 81108 w 142167"/>
                <a:gd name="connsiteY1" fmla="*/ 144170 h 186494"/>
                <a:gd name="connsiteX2" fmla="*/ 81108 w 142167"/>
                <a:gd name="connsiteY2" fmla="*/ 69717 h 186494"/>
                <a:gd name="connsiteX3" fmla="*/ 81108 w 142167"/>
                <a:gd name="connsiteY3" fmla="*/ 65615 h 186494"/>
                <a:gd name="connsiteX4" fmla="*/ 60603 w 142167"/>
                <a:gd name="connsiteY4" fmla="*/ 50123 h 186494"/>
                <a:gd name="connsiteX5" fmla="*/ 0 w 142167"/>
                <a:gd name="connsiteY5" fmla="*/ 50123 h 186494"/>
                <a:gd name="connsiteX6" fmla="*/ 0 w 142167"/>
                <a:gd name="connsiteY6" fmla="*/ 0 h 186494"/>
                <a:gd name="connsiteX7" fmla="*/ 85209 w 142167"/>
                <a:gd name="connsiteY7" fmla="*/ 0 h 186494"/>
                <a:gd name="connsiteX8" fmla="*/ 142167 w 142167"/>
                <a:gd name="connsiteY8" fmla="*/ 50123 h 186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86494">
                  <a:moveTo>
                    <a:pt x="142167" y="186494"/>
                  </a:moveTo>
                  <a:lnTo>
                    <a:pt x="81108" y="144170"/>
                  </a:lnTo>
                  <a:lnTo>
                    <a:pt x="81108" y="69717"/>
                  </a:lnTo>
                  <a:cubicBezTo>
                    <a:pt x="81108" y="68349"/>
                    <a:pt x="81108" y="66983"/>
                    <a:pt x="81108" y="65615"/>
                  </a:cubicBezTo>
                  <a:cubicBezTo>
                    <a:pt x="79741" y="55591"/>
                    <a:pt x="70628" y="48756"/>
                    <a:pt x="60603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2" name="Forme libre : forme 361">
              <a:extLst>
                <a:ext uri="{FF2B5EF4-FFF2-40B4-BE49-F238E27FC236}">
                  <a16:creationId xmlns:a16="http://schemas.microsoft.com/office/drawing/2014/main" id="{627DF55A-0BF9-412B-B088-58C19C1BDCF8}"/>
                </a:ext>
              </a:extLst>
            </p:cNvPr>
            <p:cNvSpPr/>
            <p:nvPr/>
          </p:nvSpPr>
          <p:spPr>
            <a:xfrm rot="8716295">
              <a:off x="298766" y="-5395"/>
              <a:ext cx="260639" cy="180054"/>
            </a:xfrm>
            <a:custGeom>
              <a:avLst/>
              <a:gdLst>
                <a:gd name="connsiteX0" fmla="*/ 111638 w 260639"/>
                <a:gd name="connsiteY0" fmla="*/ 180054 h 180054"/>
                <a:gd name="connsiteX1" fmla="*/ 51490 w 260639"/>
                <a:gd name="connsiteY1" fmla="*/ 138362 h 180054"/>
                <a:gd name="connsiteX2" fmla="*/ 51490 w 260639"/>
                <a:gd name="connsiteY2" fmla="*/ 45624 h 180054"/>
                <a:gd name="connsiteX3" fmla="*/ 0 w 260639"/>
                <a:gd name="connsiteY3" fmla="*/ 45624 h 180054"/>
                <a:gd name="connsiteX4" fmla="*/ 0 w 260639"/>
                <a:gd name="connsiteY4" fmla="*/ 1425 h 180054"/>
                <a:gd name="connsiteX5" fmla="*/ 104802 w 260639"/>
                <a:gd name="connsiteY5" fmla="*/ 1425 h 180054"/>
                <a:gd name="connsiteX6" fmla="*/ 104802 w 260639"/>
                <a:gd name="connsiteY6" fmla="*/ 75242 h 180054"/>
                <a:gd name="connsiteX7" fmla="*/ 106169 w 260639"/>
                <a:gd name="connsiteY7" fmla="*/ 75242 h 180054"/>
                <a:gd name="connsiteX8" fmla="*/ 154014 w 260639"/>
                <a:gd name="connsiteY8" fmla="*/ 5981 h 180054"/>
                <a:gd name="connsiteX9" fmla="*/ 185455 w 260639"/>
                <a:gd name="connsiteY9" fmla="*/ 57 h 180054"/>
                <a:gd name="connsiteX10" fmla="*/ 260639 w 260639"/>
                <a:gd name="connsiteY10" fmla="*/ 88456 h 180054"/>
                <a:gd name="connsiteX11" fmla="*/ 260639 w 260639"/>
                <a:gd name="connsiteY11" fmla="*/ 94380 h 180054"/>
                <a:gd name="connsiteX12" fmla="*/ 198669 w 260639"/>
                <a:gd name="connsiteY12" fmla="*/ 98025 h 180054"/>
                <a:gd name="connsiteX13" fmla="*/ 198669 w 260639"/>
                <a:gd name="connsiteY13" fmla="*/ 81621 h 180054"/>
                <a:gd name="connsiteX14" fmla="*/ 164950 w 260639"/>
                <a:gd name="connsiteY14" fmla="*/ 40156 h 180054"/>
                <a:gd name="connsiteX15" fmla="*/ 111638 w 260639"/>
                <a:gd name="connsiteY15" fmla="*/ 127643 h 180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0639" h="180054">
                  <a:moveTo>
                    <a:pt x="111638" y="180054"/>
                  </a:moveTo>
                  <a:lnTo>
                    <a:pt x="51490" y="138362"/>
                  </a:ln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3" name="Forme libre : forme 362">
              <a:extLst>
                <a:ext uri="{FF2B5EF4-FFF2-40B4-BE49-F238E27FC236}">
                  <a16:creationId xmlns:a16="http://schemas.microsoft.com/office/drawing/2014/main" id="{B1CC1170-12B9-42E7-B048-36951089B415}"/>
                </a:ext>
              </a:extLst>
            </p:cNvPr>
            <p:cNvSpPr/>
            <p:nvPr/>
          </p:nvSpPr>
          <p:spPr>
            <a:xfrm rot="8716295">
              <a:off x="276903" y="-12823"/>
              <a:ext cx="36272" cy="27982"/>
            </a:xfrm>
            <a:custGeom>
              <a:avLst/>
              <a:gdLst>
                <a:gd name="connsiteX0" fmla="*/ 36272 w 36272"/>
                <a:gd name="connsiteY0" fmla="*/ 27982 h 27982"/>
                <a:gd name="connsiteX1" fmla="*/ 0 w 36272"/>
                <a:gd name="connsiteY1" fmla="*/ 2840 h 27982"/>
                <a:gd name="connsiteX2" fmla="*/ 9543 w 36272"/>
                <a:gd name="connsiteY2" fmla="*/ 0 h 27982"/>
                <a:gd name="connsiteX3" fmla="*/ 31871 w 36272"/>
                <a:gd name="connsiteY3" fmla="*/ 11392 h 27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272" h="27982">
                  <a:moveTo>
                    <a:pt x="36272" y="27982"/>
                  </a:moveTo>
                  <a:lnTo>
                    <a:pt x="0" y="2840"/>
                  </a:lnTo>
                  <a:lnTo>
                    <a:pt x="9543" y="0"/>
                  </a:lnTo>
                  <a:cubicBezTo>
                    <a:pt x="20479" y="0"/>
                    <a:pt x="27542" y="4784"/>
                    <a:pt x="31871" y="113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4" name="Forme libre : forme 363">
              <a:extLst>
                <a:ext uri="{FF2B5EF4-FFF2-40B4-BE49-F238E27FC236}">
                  <a16:creationId xmlns:a16="http://schemas.microsoft.com/office/drawing/2014/main" id="{E033BF19-7D8B-489E-8421-40953085A3CD}"/>
                </a:ext>
              </a:extLst>
            </p:cNvPr>
            <p:cNvSpPr/>
            <p:nvPr/>
          </p:nvSpPr>
          <p:spPr>
            <a:xfrm rot="8716295">
              <a:off x="74640" y="-9665"/>
              <a:ext cx="58068" cy="54772"/>
            </a:xfrm>
            <a:custGeom>
              <a:avLst/>
              <a:gdLst>
                <a:gd name="connsiteX0" fmla="*/ 37436 w 58068"/>
                <a:gd name="connsiteY0" fmla="*/ 54772 h 54772"/>
                <a:gd name="connsiteX1" fmla="*/ 0 w 58068"/>
                <a:gd name="connsiteY1" fmla="*/ 28823 h 54772"/>
                <a:gd name="connsiteX2" fmla="*/ 8515 w 58068"/>
                <a:gd name="connsiteY2" fmla="*/ 8658 h 54772"/>
                <a:gd name="connsiteX3" fmla="*/ 29020 w 58068"/>
                <a:gd name="connsiteY3" fmla="*/ 0 h 54772"/>
                <a:gd name="connsiteX4" fmla="*/ 49525 w 58068"/>
                <a:gd name="connsiteY4" fmla="*/ 8658 h 54772"/>
                <a:gd name="connsiteX5" fmla="*/ 49525 w 58068"/>
                <a:gd name="connsiteY5" fmla="*/ 49668 h 5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068" h="54772">
                  <a:moveTo>
                    <a:pt x="37436" y="54772"/>
                  </a:moveTo>
                  <a:lnTo>
                    <a:pt x="0" y="28823"/>
                  </a:lnTo>
                  <a:lnTo>
                    <a:pt x="8515" y="8658"/>
                  </a:lnTo>
                  <a:cubicBezTo>
                    <a:pt x="13983" y="3190"/>
                    <a:pt x="21273" y="0"/>
                    <a:pt x="29020" y="0"/>
                  </a:cubicBezTo>
                  <a:cubicBezTo>
                    <a:pt x="36766" y="0"/>
                    <a:pt x="44057" y="3190"/>
                    <a:pt x="49525" y="8658"/>
                  </a:cubicBezTo>
                  <a:cubicBezTo>
                    <a:pt x="60916" y="19594"/>
                    <a:pt x="60916" y="38276"/>
                    <a:pt x="49525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5" name="Forme libre : forme 364">
              <a:extLst>
                <a:ext uri="{FF2B5EF4-FFF2-40B4-BE49-F238E27FC236}">
                  <a16:creationId xmlns:a16="http://schemas.microsoft.com/office/drawing/2014/main" id="{CB7A744C-FCCB-4B93-9898-2A2B2B95BBB6}"/>
                </a:ext>
              </a:extLst>
            </p:cNvPr>
            <p:cNvSpPr/>
            <p:nvPr/>
          </p:nvSpPr>
          <p:spPr>
            <a:xfrm rot="8716295">
              <a:off x="13802" y="-10406"/>
              <a:ext cx="30027" cy="20814"/>
            </a:xfrm>
            <a:custGeom>
              <a:avLst/>
              <a:gdLst>
                <a:gd name="connsiteX0" fmla="*/ 30027 w 30027"/>
                <a:gd name="connsiteY0" fmla="*/ 20814 h 20814"/>
                <a:gd name="connsiteX1" fmla="*/ 0 w 30027"/>
                <a:gd name="connsiteY1" fmla="*/ 0 h 20814"/>
                <a:gd name="connsiteX2" fmla="*/ 30027 w 30027"/>
                <a:gd name="connsiteY2" fmla="*/ 0 h 20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027" h="20814">
                  <a:moveTo>
                    <a:pt x="30027" y="20814"/>
                  </a:moveTo>
                  <a:lnTo>
                    <a:pt x="0" y="0"/>
                  </a:lnTo>
                  <a:lnTo>
                    <a:pt x="3002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6" name="Forme libre : forme 365">
              <a:extLst>
                <a:ext uri="{FF2B5EF4-FFF2-40B4-BE49-F238E27FC236}">
                  <a16:creationId xmlns:a16="http://schemas.microsoft.com/office/drawing/2014/main" id="{A7508798-38A9-48C7-9AA8-5A92078CC84B}"/>
                </a:ext>
              </a:extLst>
            </p:cNvPr>
            <p:cNvSpPr/>
            <p:nvPr/>
          </p:nvSpPr>
          <p:spPr>
            <a:xfrm rot="8716295">
              <a:off x="168048" y="3032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7" name="Forme libre : forme 366">
              <a:extLst>
                <a:ext uri="{FF2B5EF4-FFF2-40B4-BE49-F238E27FC236}">
                  <a16:creationId xmlns:a16="http://schemas.microsoft.com/office/drawing/2014/main" id="{0E351C93-E018-436B-9326-CEDEA386B63D}"/>
                </a:ext>
              </a:extLst>
            </p:cNvPr>
            <p:cNvSpPr/>
            <p:nvPr/>
          </p:nvSpPr>
          <p:spPr>
            <a:xfrm rot="7484129">
              <a:off x="562078" y="-284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8" name="Forme libre : forme 367">
              <a:extLst>
                <a:ext uri="{FF2B5EF4-FFF2-40B4-BE49-F238E27FC236}">
                  <a16:creationId xmlns:a16="http://schemas.microsoft.com/office/drawing/2014/main" id="{BDEF799B-C934-4303-874D-CB44161BDCB0}"/>
                </a:ext>
              </a:extLst>
            </p:cNvPr>
            <p:cNvSpPr/>
            <p:nvPr/>
          </p:nvSpPr>
          <p:spPr>
            <a:xfrm rot="13089394">
              <a:off x="775514" y="-27038"/>
              <a:ext cx="149688" cy="328219"/>
            </a:xfrm>
            <a:custGeom>
              <a:avLst/>
              <a:gdLst>
                <a:gd name="connsiteX0" fmla="*/ 149688 w 149688"/>
                <a:gd name="connsiteY0" fmla="*/ 279622 h 328219"/>
                <a:gd name="connsiteX1" fmla="*/ 87835 w 149688"/>
                <a:gd name="connsiteY1" fmla="*/ 328219 h 328219"/>
                <a:gd name="connsiteX2" fmla="*/ 54765 w 149688"/>
                <a:gd name="connsiteY2" fmla="*/ 322521 h 328219"/>
                <a:gd name="connsiteX3" fmla="*/ 23727 w 149688"/>
                <a:gd name="connsiteY3" fmla="*/ 301277 h 328219"/>
                <a:gd name="connsiteX4" fmla="*/ 0 w 149688"/>
                <a:gd name="connsiteY4" fmla="*/ 206369 h 328219"/>
                <a:gd name="connsiteX5" fmla="*/ 0 w 149688"/>
                <a:gd name="connsiteY5" fmla="*/ 38074 h 328219"/>
                <a:gd name="connsiteX6" fmla="*/ 73388 w 149688"/>
                <a:gd name="connsiteY6" fmla="*/ 0 h 328219"/>
                <a:gd name="connsiteX7" fmla="*/ 74492 w 149688"/>
                <a:gd name="connsiteY7" fmla="*/ 153950 h 328219"/>
                <a:gd name="connsiteX8" fmla="*/ 87734 w 149688"/>
                <a:gd name="connsiteY8" fmla="*/ 245547 h 328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9688" h="328219">
                  <a:moveTo>
                    <a:pt x="149688" y="279622"/>
                  </a:moveTo>
                  <a:lnTo>
                    <a:pt x="87835" y="328219"/>
                  </a:lnTo>
                  <a:lnTo>
                    <a:pt x="54765" y="322521"/>
                  </a:lnTo>
                  <a:cubicBezTo>
                    <a:pt x="43178" y="317693"/>
                    <a:pt x="32555" y="310382"/>
                    <a:pt x="23727" y="301277"/>
                  </a:cubicBezTo>
                  <a:cubicBezTo>
                    <a:pt x="4966" y="283069"/>
                    <a:pt x="0" y="251616"/>
                    <a:pt x="0" y="206369"/>
                  </a:cubicBez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2836" y="184850"/>
                    <a:pt x="77802" y="216302"/>
                    <a:pt x="87734" y="2455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9" name="Forme libre : forme 368">
              <a:extLst>
                <a:ext uri="{FF2B5EF4-FFF2-40B4-BE49-F238E27FC236}">
                  <a16:creationId xmlns:a16="http://schemas.microsoft.com/office/drawing/2014/main" id="{85452057-F6AF-4671-A171-74C9DE20E061}"/>
                </a:ext>
              </a:extLst>
            </p:cNvPr>
            <p:cNvSpPr/>
            <p:nvPr/>
          </p:nvSpPr>
          <p:spPr>
            <a:xfrm rot="8716295">
              <a:off x="3366575" y="56973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0" name="Forme libre : forme 369">
              <a:extLst>
                <a:ext uri="{FF2B5EF4-FFF2-40B4-BE49-F238E27FC236}">
                  <a16:creationId xmlns:a16="http://schemas.microsoft.com/office/drawing/2014/main" id="{0B76C80E-592A-400D-A327-9F0390D4B3C2}"/>
                </a:ext>
              </a:extLst>
            </p:cNvPr>
            <p:cNvSpPr/>
            <p:nvPr/>
          </p:nvSpPr>
          <p:spPr>
            <a:xfrm rot="8716295">
              <a:off x="3237162" y="360980"/>
              <a:ext cx="203847" cy="195873"/>
            </a:xfrm>
            <a:custGeom>
              <a:avLst/>
              <a:gdLst>
                <a:gd name="connsiteX0" fmla="*/ 90710 w 203847"/>
                <a:gd name="connsiteY0" fmla="*/ 195873 h 195873"/>
                <a:gd name="connsiteX1" fmla="*/ 47847 w 203847"/>
                <a:gd name="connsiteY1" fmla="*/ 116129 h 195873"/>
                <a:gd name="connsiteX2" fmla="*/ 69777 w 203847"/>
                <a:gd name="connsiteY2" fmla="*/ 55323 h 195873"/>
                <a:gd name="connsiteX3" fmla="*/ 0 w 203847"/>
                <a:gd name="connsiteY3" fmla="*/ 55323 h 195873"/>
                <a:gd name="connsiteX4" fmla="*/ 0 w 203847"/>
                <a:gd name="connsiteY4" fmla="*/ 52719 h 195873"/>
                <a:gd name="connsiteX5" fmla="*/ 43605 w 203847"/>
                <a:gd name="connsiteY5" fmla="*/ 0 h 195873"/>
                <a:gd name="connsiteX6" fmla="*/ 203847 w 203847"/>
                <a:gd name="connsiteY6" fmla="*/ 0 h 195873"/>
                <a:gd name="connsiteX7" fmla="*/ 203847 w 203847"/>
                <a:gd name="connsiteY7" fmla="*/ 55323 h 195873"/>
                <a:gd name="connsiteX8" fmla="*/ 139055 w 203847"/>
                <a:gd name="connsiteY8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3">
                  <a:moveTo>
                    <a:pt x="90710" y="195873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52719"/>
                  </a:lnTo>
                  <a:lnTo>
                    <a:pt x="43605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1" name="Forme libre : forme 370">
              <a:extLst>
                <a:ext uri="{FF2B5EF4-FFF2-40B4-BE49-F238E27FC236}">
                  <a16:creationId xmlns:a16="http://schemas.microsoft.com/office/drawing/2014/main" id="{5150644E-4F20-423C-8383-236544837AE7}"/>
                </a:ext>
              </a:extLst>
            </p:cNvPr>
            <p:cNvSpPr/>
            <p:nvPr/>
          </p:nvSpPr>
          <p:spPr>
            <a:xfrm rot="8716295">
              <a:off x="3189574" y="231224"/>
              <a:ext cx="290249" cy="221342"/>
            </a:xfrm>
            <a:custGeom>
              <a:avLst/>
              <a:gdLst>
                <a:gd name="connsiteX0" fmla="*/ 24905 w 290249"/>
                <a:gd name="connsiteY0" fmla="*/ 191751 h 221342"/>
                <a:gd name="connsiteX1" fmla="*/ 4754 w 290249"/>
                <a:gd name="connsiteY1" fmla="*/ 151964 h 221342"/>
                <a:gd name="connsiteX2" fmla="*/ 0 w 290249"/>
                <a:gd name="connsiteY2" fmla="*/ 95252 h 221342"/>
                <a:gd name="connsiteX3" fmla="*/ 78785 w 290249"/>
                <a:gd name="connsiteY3" fmla="*/ 0 h 221342"/>
                <a:gd name="connsiteX4" fmla="*/ 79033 w 290249"/>
                <a:gd name="connsiteY4" fmla="*/ 34662 h 221342"/>
                <a:gd name="connsiteX5" fmla="*/ 93153 w 290249"/>
                <a:gd name="connsiteY5" fmla="*/ 132328 h 221342"/>
                <a:gd name="connsiteX6" fmla="*/ 163754 w 290249"/>
                <a:gd name="connsiteY6" fmla="*/ 171159 h 221342"/>
                <a:gd name="connsiteX7" fmla="*/ 216706 w 290249"/>
                <a:gd name="connsiteY7" fmla="*/ 161745 h 221342"/>
                <a:gd name="connsiteX8" fmla="*/ 289073 w 290249"/>
                <a:gd name="connsiteY8" fmla="*/ 132328 h 221342"/>
                <a:gd name="connsiteX9" fmla="*/ 290249 w 290249"/>
                <a:gd name="connsiteY9" fmla="*/ 139976 h 221342"/>
                <a:gd name="connsiteX10" fmla="*/ 290249 w 290249"/>
                <a:gd name="connsiteY10" fmla="*/ 145860 h 221342"/>
                <a:gd name="connsiteX11" fmla="*/ 97272 w 290249"/>
                <a:gd name="connsiteY11" fmla="*/ 221168 h 221342"/>
                <a:gd name="connsiteX12" fmla="*/ 24905 w 290249"/>
                <a:gd name="connsiteY12" fmla="*/ 191751 h 221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0249" h="221342">
                  <a:moveTo>
                    <a:pt x="24905" y="191751"/>
                  </a:moveTo>
                  <a:cubicBezTo>
                    <a:pt x="14903" y="182043"/>
                    <a:pt x="8578" y="168805"/>
                    <a:pt x="4754" y="151964"/>
                  </a:cubicBezTo>
                  <a:lnTo>
                    <a:pt x="0" y="95252"/>
                  </a:lnTo>
                  <a:lnTo>
                    <a:pt x="78785" y="0"/>
                  </a:lnTo>
                  <a:lnTo>
                    <a:pt x="79033" y="34662"/>
                  </a:lnTo>
                  <a:cubicBezTo>
                    <a:pt x="77268" y="67610"/>
                    <a:pt x="82563" y="101145"/>
                    <a:pt x="93153" y="132328"/>
                  </a:cubicBezTo>
                  <a:cubicBezTo>
                    <a:pt x="102567" y="158215"/>
                    <a:pt x="126689" y="171159"/>
                    <a:pt x="163754" y="171159"/>
                  </a:cubicBezTo>
                  <a:cubicBezTo>
                    <a:pt x="181994" y="170570"/>
                    <a:pt x="199644" y="167040"/>
                    <a:pt x="216706" y="161745"/>
                  </a:cubicBezTo>
                  <a:cubicBezTo>
                    <a:pt x="241416" y="154096"/>
                    <a:pt x="265539" y="144095"/>
                    <a:pt x="289073" y="132328"/>
                  </a:cubicBezTo>
                  <a:cubicBezTo>
                    <a:pt x="289661" y="134681"/>
                    <a:pt x="290249" y="137623"/>
                    <a:pt x="290249" y="139976"/>
                  </a:cubicBezTo>
                  <a:lnTo>
                    <a:pt x="290249" y="145860"/>
                  </a:lnTo>
                  <a:cubicBezTo>
                    <a:pt x="227885" y="199399"/>
                    <a:pt x="146104" y="218227"/>
                    <a:pt x="97272" y="221168"/>
                  </a:cubicBezTo>
                  <a:cubicBezTo>
                    <a:pt x="70208" y="222933"/>
                    <a:pt x="43732" y="211166"/>
                    <a:pt x="24905" y="19175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2" name="Forme libre : forme 371">
              <a:extLst>
                <a:ext uri="{FF2B5EF4-FFF2-40B4-BE49-F238E27FC236}">
                  <a16:creationId xmlns:a16="http://schemas.microsoft.com/office/drawing/2014/main" id="{9266C455-B545-49CA-BF30-2607C744AB8E}"/>
                </a:ext>
              </a:extLst>
            </p:cNvPr>
            <p:cNvSpPr/>
            <p:nvPr/>
          </p:nvSpPr>
          <p:spPr>
            <a:xfrm rot="8716295">
              <a:off x="3411629" y="650113"/>
              <a:ext cx="21023" cy="45645"/>
            </a:xfrm>
            <a:custGeom>
              <a:avLst/>
              <a:gdLst>
                <a:gd name="connsiteX0" fmla="*/ 21023 w 21023"/>
                <a:gd name="connsiteY0" fmla="*/ 45645 h 45645"/>
                <a:gd name="connsiteX1" fmla="*/ 0 w 21023"/>
                <a:gd name="connsiteY1" fmla="*/ 25418 h 45645"/>
                <a:gd name="connsiteX2" fmla="*/ 21023 w 21023"/>
                <a:gd name="connsiteY2" fmla="*/ 0 h 4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023" h="45645">
                  <a:moveTo>
                    <a:pt x="21023" y="45645"/>
                  </a:moveTo>
                  <a:lnTo>
                    <a:pt x="0" y="25418"/>
                  </a:lnTo>
                  <a:lnTo>
                    <a:pt x="2102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3" name="Forme libre : forme 372">
              <a:extLst>
                <a:ext uri="{FF2B5EF4-FFF2-40B4-BE49-F238E27FC236}">
                  <a16:creationId xmlns:a16="http://schemas.microsoft.com/office/drawing/2014/main" id="{8A8C4152-A6DA-4079-AA7F-C7451551470E}"/>
                </a:ext>
              </a:extLst>
            </p:cNvPr>
            <p:cNvSpPr/>
            <p:nvPr/>
          </p:nvSpPr>
          <p:spPr>
            <a:xfrm rot="8716295">
              <a:off x="3298850" y="-42720"/>
              <a:ext cx="123263" cy="85442"/>
            </a:xfrm>
            <a:custGeom>
              <a:avLst/>
              <a:gdLst>
                <a:gd name="connsiteX0" fmla="*/ 123263 w 123263"/>
                <a:gd name="connsiteY0" fmla="*/ 85442 h 85442"/>
                <a:gd name="connsiteX1" fmla="*/ 0 w 123263"/>
                <a:gd name="connsiteY1" fmla="*/ 0 h 85442"/>
                <a:gd name="connsiteX2" fmla="*/ 66305 w 123263"/>
                <a:gd name="connsiteY2" fmla="*/ 0 h 85442"/>
                <a:gd name="connsiteX3" fmla="*/ 123263 w 123263"/>
                <a:gd name="connsiteY3" fmla="*/ 50123 h 85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63" h="85442">
                  <a:moveTo>
                    <a:pt x="123263" y="85442"/>
                  </a:moveTo>
                  <a:lnTo>
                    <a:pt x="0" y="0"/>
                  </a:lnTo>
                  <a:lnTo>
                    <a:pt x="66305" y="0"/>
                  </a:lnTo>
                  <a:cubicBezTo>
                    <a:pt x="103214" y="0"/>
                    <a:pt x="123263" y="15948"/>
                    <a:pt x="123263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4" name="Forme libre : forme 373">
              <a:extLst>
                <a:ext uri="{FF2B5EF4-FFF2-40B4-BE49-F238E27FC236}">
                  <a16:creationId xmlns:a16="http://schemas.microsoft.com/office/drawing/2014/main" id="{A339289A-5EC3-49A9-9A48-D86927329ED5}"/>
                </a:ext>
              </a:extLst>
            </p:cNvPr>
            <p:cNvSpPr/>
            <p:nvPr/>
          </p:nvSpPr>
          <p:spPr>
            <a:xfrm rot="8716295">
              <a:off x="3402681" y="37518"/>
              <a:ext cx="82257" cy="93201"/>
            </a:xfrm>
            <a:custGeom>
              <a:avLst/>
              <a:gdLst>
                <a:gd name="connsiteX0" fmla="*/ 20287 w 82257"/>
                <a:gd name="connsiteY0" fmla="*/ 93201 h 93201"/>
                <a:gd name="connsiteX1" fmla="*/ 20287 w 82257"/>
                <a:gd name="connsiteY1" fmla="*/ 76797 h 93201"/>
                <a:gd name="connsiteX2" fmla="*/ 10775 w 82257"/>
                <a:gd name="connsiteY2" fmla="*/ 46837 h 93201"/>
                <a:gd name="connsiteX3" fmla="*/ 0 w 82257"/>
                <a:gd name="connsiteY3" fmla="*/ 41716 h 93201"/>
                <a:gd name="connsiteX4" fmla="*/ 34504 w 82257"/>
                <a:gd name="connsiteY4" fmla="*/ 0 h 93201"/>
                <a:gd name="connsiteX5" fmla="*/ 38620 w 82257"/>
                <a:gd name="connsiteY5" fmla="*/ 715 h 93201"/>
                <a:gd name="connsiteX6" fmla="*/ 82257 w 82257"/>
                <a:gd name="connsiteY6" fmla="*/ 83632 h 93201"/>
                <a:gd name="connsiteX7" fmla="*/ 82257 w 82257"/>
                <a:gd name="connsiteY7" fmla="*/ 89556 h 93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2257" h="93201">
                  <a:moveTo>
                    <a:pt x="20287" y="93201"/>
                  </a:moveTo>
                  <a:lnTo>
                    <a:pt x="20287" y="76797"/>
                  </a:lnTo>
                  <a:cubicBezTo>
                    <a:pt x="20287" y="64494"/>
                    <a:pt x="16756" y="54128"/>
                    <a:pt x="10775" y="46837"/>
                  </a:cubicBezTo>
                  <a:lnTo>
                    <a:pt x="0" y="41716"/>
                  </a:lnTo>
                  <a:lnTo>
                    <a:pt x="34504" y="0"/>
                  </a:lnTo>
                  <a:lnTo>
                    <a:pt x="38620" y="715"/>
                  </a:lnTo>
                  <a:cubicBezTo>
                    <a:pt x="66366" y="12207"/>
                    <a:pt x="82257" y="41255"/>
                    <a:pt x="82257" y="83632"/>
                  </a:cubicBezTo>
                  <a:lnTo>
                    <a:pt x="82257" y="8955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5" name="Forme libre : forme 374">
              <a:extLst>
                <a:ext uri="{FF2B5EF4-FFF2-40B4-BE49-F238E27FC236}">
                  <a16:creationId xmlns:a16="http://schemas.microsoft.com/office/drawing/2014/main" id="{FE84117C-0D75-44E5-BDA4-CA1CB1F335CF}"/>
                </a:ext>
              </a:extLst>
            </p:cNvPr>
            <p:cNvSpPr/>
            <p:nvPr/>
          </p:nvSpPr>
          <p:spPr>
            <a:xfrm rot="8716295">
              <a:off x="3234083" y="-5272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6" name="Forme libre : forme 375">
              <a:extLst>
                <a:ext uri="{FF2B5EF4-FFF2-40B4-BE49-F238E27FC236}">
                  <a16:creationId xmlns:a16="http://schemas.microsoft.com/office/drawing/2014/main" id="{12EEAD1F-5DD6-435B-8A93-C66CE1909363}"/>
                </a:ext>
              </a:extLst>
            </p:cNvPr>
            <p:cNvSpPr/>
            <p:nvPr/>
          </p:nvSpPr>
          <p:spPr>
            <a:xfrm rot="8716295">
              <a:off x="212141" y="304502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7" name="Forme libre : forme 376">
              <a:extLst>
                <a:ext uri="{FF2B5EF4-FFF2-40B4-BE49-F238E27FC236}">
                  <a16:creationId xmlns:a16="http://schemas.microsoft.com/office/drawing/2014/main" id="{E2B3F83B-E193-4145-A936-C1756D937D20}"/>
                </a:ext>
              </a:extLst>
            </p:cNvPr>
            <p:cNvSpPr/>
            <p:nvPr/>
          </p:nvSpPr>
          <p:spPr>
            <a:xfrm rot="8716295">
              <a:off x="301533" y="307427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8" name="Forme libre : forme 377">
              <a:extLst>
                <a:ext uri="{FF2B5EF4-FFF2-40B4-BE49-F238E27FC236}">
                  <a16:creationId xmlns:a16="http://schemas.microsoft.com/office/drawing/2014/main" id="{0EBCDD2D-96D0-40D5-832B-9D432203380A}"/>
                </a:ext>
              </a:extLst>
            </p:cNvPr>
            <p:cNvSpPr/>
            <p:nvPr/>
          </p:nvSpPr>
          <p:spPr>
            <a:xfrm rot="8716295">
              <a:off x="256683" y="298799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9" name="Forme libre : forme 378">
              <a:extLst>
                <a:ext uri="{FF2B5EF4-FFF2-40B4-BE49-F238E27FC236}">
                  <a16:creationId xmlns:a16="http://schemas.microsoft.com/office/drawing/2014/main" id="{D7B14EA1-A5A0-49C4-996C-1F9E3834E06F}"/>
                </a:ext>
              </a:extLst>
            </p:cNvPr>
            <p:cNvSpPr/>
            <p:nvPr/>
          </p:nvSpPr>
          <p:spPr>
            <a:xfrm rot="8716295">
              <a:off x="99907" y="31335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0" name="Forme libre : forme 379">
              <a:extLst>
                <a:ext uri="{FF2B5EF4-FFF2-40B4-BE49-F238E27FC236}">
                  <a16:creationId xmlns:a16="http://schemas.microsoft.com/office/drawing/2014/main" id="{736F0423-C826-490E-96A4-CDB0EDE4D27E}"/>
                </a:ext>
              </a:extLst>
            </p:cNvPr>
            <p:cNvSpPr/>
            <p:nvPr/>
          </p:nvSpPr>
          <p:spPr>
            <a:xfrm rot="8716295">
              <a:off x="-24996" y="29248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1" name="Forme libre : forme 380">
              <a:extLst>
                <a:ext uri="{FF2B5EF4-FFF2-40B4-BE49-F238E27FC236}">
                  <a16:creationId xmlns:a16="http://schemas.microsoft.com/office/drawing/2014/main" id="{75D8D9C1-45FD-4A7E-AA8D-777A228E8F1D}"/>
                </a:ext>
              </a:extLst>
            </p:cNvPr>
            <p:cNvSpPr/>
            <p:nvPr/>
          </p:nvSpPr>
          <p:spPr>
            <a:xfrm rot="8716295">
              <a:off x="51899" y="2754602"/>
              <a:ext cx="189488" cy="350829"/>
            </a:xfrm>
            <a:custGeom>
              <a:avLst/>
              <a:gdLst>
                <a:gd name="connsiteX0" fmla="*/ 25299 w 189488"/>
                <a:gd name="connsiteY0" fmla="*/ 321238 h 350829"/>
                <a:gd name="connsiteX1" fmla="*/ 0 w 189488"/>
                <a:gd name="connsiteY1" fmla="*/ 220042 h 350829"/>
                <a:gd name="connsiteX2" fmla="*/ 0 w 189488"/>
                <a:gd name="connsiteY2" fmla="*/ 40596 h 350829"/>
                <a:gd name="connsiteX3" fmla="*/ 78250 w 189488"/>
                <a:gd name="connsiteY3" fmla="*/ 0 h 350829"/>
                <a:gd name="connsiteX4" fmla="*/ 79427 w 189488"/>
                <a:gd name="connsiteY4" fmla="*/ 164149 h 350829"/>
                <a:gd name="connsiteX5" fmla="*/ 93547 w 189488"/>
                <a:gd name="connsiteY5" fmla="*/ 261815 h 350829"/>
                <a:gd name="connsiteX6" fmla="*/ 164148 w 189488"/>
                <a:gd name="connsiteY6" fmla="*/ 300646 h 350829"/>
                <a:gd name="connsiteX7" fmla="*/ 189488 w 189488"/>
                <a:gd name="connsiteY7" fmla="*/ 296141 h 350829"/>
                <a:gd name="connsiteX8" fmla="*/ 160617 w 189488"/>
                <a:gd name="connsiteY8" fmla="*/ 337791 h 350829"/>
                <a:gd name="connsiteX9" fmla="*/ 97666 w 189488"/>
                <a:gd name="connsiteY9" fmla="*/ 350655 h 350829"/>
                <a:gd name="connsiteX10" fmla="*/ 25299 w 189488"/>
                <a:gd name="connsiteY10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9488" h="350829">
                  <a:moveTo>
                    <a:pt x="25299" y="321238"/>
                  </a:moveTo>
                  <a:cubicBezTo>
                    <a:pt x="5295" y="301823"/>
                    <a:pt x="0" y="268286"/>
                    <a:pt x="0" y="220042"/>
                  </a:cubicBez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8" y="300646"/>
                  </a:cubicBezTo>
                  <a:lnTo>
                    <a:pt x="189488" y="296141"/>
                  </a:lnTo>
                  <a:lnTo>
                    <a:pt x="160617" y="337791"/>
                  </a:lnTo>
                  <a:lnTo>
                    <a:pt x="97666" y="350655"/>
                  </a:ln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2" name="Forme libre : forme 381">
              <a:extLst>
                <a:ext uri="{FF2B5EF4-FFF2-40B4-BE49-F238E27FC236}">
                  <a16:creationId xmlns:a16="http://schemas.microsoft.com/office/drawing/2014/main" id="{B4FEB9FE-AF54-49A2-BE6D-72BA7BE2EB18}"/>
                </a:ext>
              </a:extLst>
            </p:cNvPr>
            <p:cNvSpPr/>
            <p:nvPr/>
          </p:nvSpPr>
          <p:spPr>
            <a:xfrm rot="8716295">
              <a:off x="190085" y="317452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3" name="Forme libre : forme 382">
              <a:extLst>
                <a:ext uri="{FF2B5EF4-FFF2-40B4-BE49-F238E27FC236}">
                  <a16:creationId xmlns:a16="http://schemas.microsoft.com/office/drawing/2014/main" id="{8DA05A66-E883-464C-B559-6FC6B28A3E8D}"/>
                </a:ext>
              </a:extLst>
            </p:cNvPr>
            <p:cNvSpPr/>
            <p:nvPr/>
          </p:nvSpPr>
          <p:spPr>
            <a:xfrm rot="8716295">
              <a:off x="501240" y="279487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4" name="Forme libre : forme 383">
              <a:extLst>
                <a:ext uri="{FF2B5EF4-FFF2-40B4-BE49-F238E27FC236}">
                  <a16:creationId xmlns:a16="http://schemas.microsoft.com/office/drawing/2014/main" id="{70D6E3B7-3736-43CC-9D76-86B0F97A5780}"/>
                </a:ext>
              </a:extLst>
            </p:cNvPr>
            <p:cNvSpPr/>
            <p:nvPr/>
          </p:nvSpPr>
          <p:spPr>
            <a:xfrm rot="8716295">
              <a:off x="590632" y="282411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5" name="Forme libre : forme 384">
              <a:extLst>
                <a:ext uri="{FF2B5EF4-FFF2-40B4-BE49-F238E27FC236}">
                  <a16:creationId xmlns:a16="http://schemas.microsoft.com/office/drawing/2014/main" id="{FC4D3741-889D-4E54-B83F-D0BA201DC6A2}"/>
                </a:ext>
              </a:extLst>
            </p:cNvPr>
            <p:cNvSpPr/>
            <p:nvPr/>
          </p:nvSpPr>
          <p:spPr>
            <a:xfrm rot="8716295">
              <a:off x="389006" y="2883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6" name="Forme libre : forme 385">
              <a:extLst>
                <a:ext uri="{FF2B5EF4-FFF2-40B4-BE49-F238E27FC236}">
                  <a16:creationId xmlns:a16="http://schemas.microsoft.com/office/drawing/2014/main" id="{C9BA88DB-9441-45DF-A22F-E12869EF8794}"/>
                </a:ext>
              </a:extLst>
            </p:cNvPr>
            <p:cNvSpPr/>
            <p:nvPr/>
          </p:nvSpPr>
          <p:spPr>
            <a:xfrm rot="8716295">
              <a:off x="264104" y="267474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7" name="Forme libre : forme 386">
              <a:extLst>
                <a:ext uri="{FF2B5EF4-FFF2-40B4-BE49-F238E27FC236}">
                  <a16:creationId xmlns:a16="http://schemas.microsoft.com/office/drawing/2014/main" id="{BBD785FB-255F-47D4-869B-DA2427044735}"/>
                </a:ext>
              </a:extLst>
            </p:cNvPr>
            <p:cNvSpPr/>
            <p:nvPr/>
          </p:nvSpPr>
          <p:spPr>
            <a:xfrm rot="8716295">
              <a:off x="479184" y="292437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8" name="Forme libre : forme 387">
              <a:extLst>
                <a:ext uri="{FF2B5EF4-FFF2-40B4-BE49-F238E27FC236}">
                  <a16:creationId xmlns:a16="http://schemas.microsoft.com/office/drawing/2014/main" id="{04B3E6F0-D035-4122-A08C-156643A27C96}"/>
                </a:ext>
              </a:extLst>
            </p:cNvPr>
            <p:cNvSpPr/>
            <p:nvPr/>
          </p:nvSpPr>
          <p:spPr>
            <a:xfrm rot="8716295">
              <a:off x="237733" y="277477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9" name="Forme libre : forme 388">
              <a:extLst>
                <a:ext uri="{FF2B5EF4-FFF2-40B4-BE49-F238E27FC236}">
                  <a16:creationId xmlns:a16="http://schemas.microsoft.com/office/drawing/2014/main" id="{09952F73-FF5F-406A-8919-7345F484086E}"/>
                </a:ext>
              </a:extLst>
            </p:cNvPr>
            <p:cNvSpPr/>
            <p:nvPr/>
          </p:nvSpPr>
          <p:spPr>
            <a:xfrm rot="7484129">
              <a:off x="584115" y="311572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0" name="Forme libre : forme 389">
              <a:extLst>
                <a:ext uri="{FF2B5EF4-FFF2-40B4-BE49-F238E27FC236}">
                  <a16:creationId xmlns:a16="http://schemas.microsoft.com/office/drawing/2014/main" id="{09ED8664-259A-4F65-B984-54EB26583D37}"/>
                </a:ext>
              </a:extLst>
            </p:cNvPr>
            <p:cNvSpPr/>
            <p:nvPr/>
          </p:nvSpPr>
          <p:spPr>
            <a:xfrm rot="13089394">
              <a:off x="688935" y="3082257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1" name="Forme libre : forme 390">
              <a:extLst>
                <a:ext uri="{FF2B5EF4-FFF2-40B4-BE49-F238E27FC236}">
                  <a16:creationId xmlns:a16="http://schemas.microsoft.com/office/drawing/2014/main" id="{5005AA8C-EF3F-42BB-886F-BDC096F9E2C6}"/>
                </a:ext>
              </a:extLst>
            </p:cNvPr>
            <p:cNvSpPr/>
            <p:nvPr/>
          </p:nvSpPr>
          <p:spPr>
            <a:xfrm rot="8716295">
              <a:off x="874520" y="2890576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2" name="Forme libre : forme 391">
              <a:extLst>
                <a:ext uri="{FF2B5EF4-FFF2-40B4-BE49-F238E27FC236}">
                  <a16:creationId xmlns:a16="http://schemas.microsoft.com/office/drawing/2014/main" id="{F901BAD2-7BC9-4B9B-9AEE-194DC6FC05A0}"/>
                </a:ext>
              </a:extLst>
            </p:cNvPr>
            <p:cNvSpPr/>
            <p:nvPr/>
          </p:nvSpPr>
          <p:spPr>
            <a:xfrm rot="8716295">
              <a:off x="822715" y="278698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3" name="Forme libre : forme 392">
              <a:extLst>
                <a:ext uri="{FF2B5EF4-FFF2-40B4-BE49-F238E27FC236}">
                  <a16:creationId xmlns:a16="http://schemas.microsoft.com/office/drawing/2014/main" id="{9E3F70D1-21EF-4CD2-8FEB-B48B0201A2F5}"/>
                </a:ext>
              </a:extLst>
            </p:cNvPr>
            <p:cNvSpPr/>
            <p:nvPr/>
          </p:nvSpPr>
          <p:spPr>
            <a:xfrm rot="8716295">
              <a:off x="579469" y="28172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4" name="Forme libre : forme 393">
              <a:extLst>
                <a:ext uri="{FF2B5EF4-FFF2-40B4-BE49-F238E27FC236}">
                  <a16:creationId xmlns:a16="http://schemas.microsoft.com/office/drawing/2014/main" id="{EE0D830B-AE35-40E9-8728-E21F6C35586C}"/>
                </a:ext>
              </a:extLst>
            </p:cNvPr>
            <p:cNvSpPr/>
            <p:nvPr/>
          </p:nvSpPr>
          <p:spPr>
            <a:xfrm rot="8716295">
              <a:off x="756921" y="265796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5" name="Forme libre : forme 394">
              <a:extLst>
                <a:ext uri="{FF2B5EF4-FFF2-40B4-BE49-F238E27FC236}">
                  <a16:creationId xmlns:a16="http://schemas.microsoft.com/office/drawing/2014/main" id="{8FFBDF4B-90C1-4FB0-93F5-3CF9CE875883}"/>
                </a:ext>
              </a:extLst>
            </p:cNvPr>
            <p:cNvSpPr/>
            <p:nvPr/>
          </p:nvSpPr>
          <p:spPr>
            <a:xfrm rot="8716295">
              <a:off x="435308" y="370472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6" name="Forme libre : forme 395">
              <a:extLst>
                <a:ext uri="{FF2B5EF4-FFF2-40B4-BE49-F238E27FC236}">
                  <a16:creationId xmlns:a16="http://schemas.microsoft.com/office/drawing/2014/main" id="{4DB3DB14-6327-4A57-8367-203E6F4E011B}"/>
                </a:ext>
              </a:extLst>
            </p:cNvPr>
            <p:cNvSpPr/>
            <p:nvPr/>
          </p:nvSpPr>
          <p:spPr>
            <a:xfrm rot="8716295">
              <a:off x="524700" y="373396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7" name="Forme libre : forme 396">
              <a:extLst>
                <a:ext uri="{FF2B5EF4-FFF2-40B4-BE49-F238E27FC236}">
                  <a16:creationId xmlns:a16="http://schemas.microsoft.com/office/drawing/2014/main" id="{4355D30E-1756-4406-84C9-F6A8049756B3}"/>
                </a:ext>
              </a:extLst>
            </p:cNvPr>
            <p:cNvSpPr/>
            <p:nvPr/>
          </p:nvSpPr>
          <p:spPr>
            <a:xfrm rot="8716295">
              <a:off x="479850" y="3647689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8" name="Forme libre : forme 397">
              <a:extLst>
                <a:ext uri="{FF2B5EF4-FFF2-40B4-BE49-F238E27FC236}">
                  <a16:creationId xmlns:a16="http://schemas.microsoft.com/office/drawing/2014/main" id="{BA4A47C8-0B69-4C29-80A3-E8882E41243E}"/>
                </a:ext>
              </a:extLst>
            </p:cNvPr>
            <p:cNvSpPr/>
            <p:nvPr/>
          </p:nvSpPr>
          <p:spPr>
            <a:xfrm rot="8716295">
              <a:off x="323074" y="379327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9" name="Forme libre : forme 398">
              <a:extLst>
                <a:ext uri="{FF2B5EF4-FFF2-40B4-BE49-F238E27FC236}">
                  <a16:creationId xmlns:a16="http://schemas.microsoft.com/office/drawing/2014/main" id="{C7193D43-8FAD-40C8-B968-D6B7B8EE8D8F}"/>
                </a:ext>
              </a:extLst>
            </p:cNvPr>
            <p:cNvSpPr/>
            <p:nvPr/>
          </p:nvSpPr>
          <p:spPr>
            <a:xfrm rot="8716295">
              <a:off x="198171" y="358459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0" name="Forme libre : forme 399">
              <a:extLst>
                <a:ext uri="{FF2B5EF4-FFF2-40B4-BE49-F238E27FC236}">
                  <a16:creationId xmlns:a16="http://schemas.microsoft.com/office/drawing/2014/main" id="{F68A3447-0210-45C1-9F87-4B1D4BFE9738}"/>
                </a:ext>
              </a:extLst>
            </p:cNvPr>
            <p:cNvSpPr/>
            <p:nvPr/>
          </p:nvSpPr>
          <p:spPr>
            <a:xfrm rot="8716295">
              <a:off x="186119" y="344581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1" name="Forme libre : forme 400">
              <a:extLst>
                <a:ext uri="{FF2B5EF4-FFF2-40B4-BE49-F238E27FC236}">
                  <a16:creationId xmlns:a16="http://schemas.microsoft.com/office/drawing/2014/main" id="{7AF4A353-4506-4959-86A0-C8690BF59E95}"/>
                </a:ext>
              </a:extLst>
            </p:cNvPr>
            <p:cNvSpPr/>
            <p:nvPr/>
          </p:nvSpPr>
          <p:spPr>
            <a:xfrm rot="8716295">
              <a:off x="413252" y="3834223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2" name="Forme libre : forme 401">
              <a:extLst>
                <a:ext uri="{FF2B5EF4-FFF2-40B4-BE49-F238E27FC236}">
                  <a16:creationId xmlns:a16="http://schemas.microsoft.com/office/drawing/2014/main" id="{598CEB9B-8E04-469F-A771-F927470C3F4E}"/>
                </a:ext>
              </a:extLst>
            </p:cNvPr>
            <p:cNvSpPr/>
            <p:nvPr/>
          </p:nvSpPr>
          <p:spPr>
            <a:xfrm rot="8716295">
              <a:off x="724407" y="345457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3" name="Forme libre : forme 402">
              <a:extLst>
                <a:ext uri="{FF2B5EF4-FFF2-40B4-BE49-F238E27FC236}">
                  <a16:creationId xmlns:a16="http://schemas.microsoft.com/office/drawing/2014/main" id="{AB980D08-B340-4454-A274-3AD08D2A9A3A}"/>
                </a:ext>
              </a:extLst>
            </p:cNvPr>
            <p:cNvSpPr/>
            <p:nvPr/>
          </p:nvSpPr>
          <p:spPr>
            <a:xfrm rot="8716295">
              <a:off x="813799" y="348381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4" name="Forme libre : forme 403">
              <a:extLst>
                <a:ext uri="{FF2B5EF4-FFF2-40B4-BE49-F238E27FC236}">
                  <a16:creationId xmlns:a16="http://schemas.microsoft.com/office/drawing/2014/main" id="{2652DA6E-5978-4E5D-A96D-58C298CBA732}"/>
                </a:ext>
              </a:extLst>
            </p:cNvPr>
            <p:cNvSpPr/>
            <p:nvPr/>
          </p:nvSpPr>
          <p:spPr>
            <a:xfrm rot="8716295">
              <a:off x="612173" y="354311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5" name="Forme libre : forme 404">
              <a:extLst>
                <a:ext uri="{FF2B5EF4-FFF2-40B4-BE49-F238E27FC236}">
                  <a16:creationId xmlns:a16="http://schemas.microsoft.com/office/drawing/2014/main" id="{BCA796D3-CCB0-45BE-BB99-D45334DE88BA}"/>
                </a:ext>
              </a:extLst>
            </p:cNvPr>
            <p:cNvSpPr/>
            <p:nvPr/>
          </p:nvSpPr>
          <p:spPr>
            <a:xfrm rot="8716295">
              <a:off x="487271" y="333444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6" name="Forme libre : forme 405">
              <a:extLst>
                <a:ext uri="{FF2B5EF4-FFF2-40B4-BE49-F238E27FC236}">
                  <a16:creationId xmlns:a16="http://schemas.microsoft.com/office/drawing/2014/main" id="{933101B8-7867-420E-81EE-0503A80C6D03}"/>
                </a:ext>
              </a:extLst>
            </p:cNvPr>
            <p:cNvSpPr/>
            <p:nvPr/>
          </p:nvSpPr>
          <p:spPr>
            <a:xfrm rot="8716295">
              <a:off x="702351" y="3584071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7" name="Forme libre : forme 406">
              <a:extLst>
                <a:ext uri="{FF2B5EF4-FFF2-40B4-BE49-F238E27FC236}">
                  <a16:creationId xmlns:a16="http://schemas.microsoft.com/office/drawing/2014/main" id="{5B641A15-3B25-4DD3-9A6C-0FFDEC9A133C}"/>
                </a:ext>
              </a:extLst>
            </p:cNvPr>
            <p:cNvSpPr/>
            <p:nvPr/>
          </p:nvSpPr>
          <p:spPr>
            <a:xfrm rot="8716295">
              <a:off x="460900" y="343447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8" name="Forme libre : forme 407">
              <a:extLst>
                <a:ext uri="{FF2B5EF4-FFF2-40B4-BE49-F238E27FC236}">
                  <a16:creationId xmlns:a16="http://schemas.microsoft.com/office/drawing/2014/main" id="{E763D240-1B00-445A-81E2-30AFA6DA38B9}"/>
                </a:ext>
              </a:extLst>
            </p:cNvPr>
            <p:cNvSpPr/>
            <p:nvPr/>
          </p:nvSpPr>
          <p:spPr>
            <a:xfrm rot="7484129">
              <a:off x="807282" y="377542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9" name="Forme libre : forme 408">
              <a:extLst>
                <a:ext uri="{FF2B5EF4-FFF2-40B4-BE49-F238E27FC236}">
                  <a16:creationId xmlns:a16="http://schemas.microsoft.com/office/drawing/2014/main" id="{73387E34-81D2-4A73-B141-75343A132394}"/>
                </a:ext>
              </a:extLst>
            </p:cNvPr>
            <p:cNvSpPr/>
            <p:nvPr/>
          </p:nvSpPr>
          <p:spPr>
            <a:xfrm rot="13089394">
              <a:off x="912102" y="374195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0" name="Forme libre : forme 409">
              <a:extLst>
                <a:ext uri="{FF2B5EF4-FFF2-40B4-BE49-F238E27FC236}">
                  <a16:creationId xmlns:a16="http://schemas.microsoft.com/office/drawing/2014/main" id="{CCA2FEEB-CE96-44BC-8FB9-EA169A41218A}"/>
                </a:ext>
              </a:extLst>
            </p:cNvPr>
            <p:cNvSpPr/>
            <p:nvPr/>
          </p:nvSpPr>
          <p:spPr>
            <a:xfrm rot="8716295">
              <a:off x="1097687" y="355027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1" name="Forme libre : forme 410">
              <a:extLst>
                <a:ext uri="{FF2B5EF4-FFF2-40B4-BE49-F238E27FC236}">
                  <a16:creationId xmlns:a16="http://schemas.microsoft.com/office/drawing/2014/main" id="{E1A40A9E-A324-487B-A5D9-A64B315CC0DB}"/>
                </a:ext>
              </a:extLst>
            </p:cNvPr>
            <p:cNvSpPr/>
            <p:nvPr/>
          </p:nvSpPr>
          <p:spPr>
            <a:xfrm rot="8716295">
              <a:off x="1045882" y="344668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2" name="Forme libre : forme 411">
              <a:extLst>
                <a:ext uri="{FF2B5EF4-FFF2-40B4-BE49-F238E27FC236}">
                  <a16:creationId xmlns:a16="http://schemas.microsoft.com/office/drawing/2014/main" id="{A6958C47-9B80-4B26-AABB-8FF29B27BC9F}"/>
                </a:ext>
              </a:extLst>
            </p:cNvPr>
            <p:cNvSpPr/>
            <p:nvPr/>
          </p:nvSpPr>
          <p:spPr>
            <a:xfrm rot="8716295">
              <a:off x="802636" y="347690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3" name="Forme libre : forme 412">
              <a:extLst>
                <a:ext uri="{FF2B5EF4-FFF2-40B4-BE49-F238E27FC236}">
                  <a16:creationId xmlns:a16="http://schemas.microsoft.com/office/drawing/2014/main" id="{8E6D0100-AF69-44B2-A5CF-E8C0130AB7E9}"/>
                </a:ext>
              </a:extLst>
            </p:cNvPr>
            <p:cNvSpPr/>
            <p:nvPr/>
          </p:nvSpPr>
          <p:spPr>
            <a:xfrm rot="8716295">
              <a:off x="980088" y="331766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4" name="Forme libre : forme 413">
              <a:extLst>
                <a:ext uri="{FF2B5EF4-FFF2-40B4-BE49-F238E27FC236}">
                  <a16:creationId xmlns:a16="http://schemas.microsoft.com/office/drawing/2014/main" id="{DDF69E8D-616E-4B06-B6E7-5816DA160ADA}"/>
                </a:ext>
              </a:extLst>
            </p:cNvPr>
            <p:cNvSpPr/>
            <p:nvPr/>
          </p:nvSpPr>
          <p:spPr>
            <a:xfrm rot="8716295">
              <a:off x="653978" y="436312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5" name="Forme libre : forme 414">
              <a:extLst>
                <a:ext uri="{FF2B5EF4-FFF2-40B4-BE49-F238E27FC236}">
                  <a16:creationId xmlns:a16="http://schemas.microsoft.com/office/drawing/2014/main" id="{28F41443-BBE2-4975-B85B-8718620F25A2}"/>
                </a:ext>
              </a:extLst>
            </p:cNvPr>
            <p:cNvSpPr/>
            <p:nvPr/>
          </p:nvSpPr>
          <p:spPr>
            <a:xfrm rot="8716295">
              <a:off x="743370" y="439236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6" name="Forme libre : forme 415">
              <a:extLst>
                <a:ext uri="{FF2B5EF4-FFF2-40B4-BE49-F238E27FC236}">
                  <a16:creationId xmlns:a16="http://schemas.microsoft.com/office/drawing/2014/main" id="{66BEE935-162B-468C-A488-08BB53F0E96A}"/>
                </a:ext>
              </a:extLst>
            </p:cNvPr>
            <p:cNvSpPr/>
            <p:nvPr/>
          </p:nvSpPr>
          <p:spPr>
            <a:xfrm rot="8716295">
              <a:off x="698520" y="430608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7" name="Forme libre : forme 416">
              <a:extLst>
                <a:ext uri="{FF2B5EF4-FFF2-40B4-BE49-F238E27FC236}">
                  <a16:creationId xmlns:a16="http://schemas.microsoft.com/office/drawing/2014/main" id="{C6A86155-7B92-42A4-B02E-66184BF812F2}"/>
                </a:ext>
              </a:extLst>
            </p:cNvPr>
            <p:cNvSpPr/>
            <p:nvPr/>
          </p:nvSpPr>
          <p:spPr>
            <a:xfrm rot="8716295">
              <a:off x="541744" y="445166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8" name="Forme libre : forme 417">
              <a:extLst>
                <a:ext uri="{FF2B5EF4-FFF2-40B4-BE49-F238E27FC236}">
                  <a16:creationId xmlns:a16="http://schemas.microsoft.com/office/drawing/2014/main" id="{46BFD870-BFFF-4A29-A35F-C7406F7430F7}"/>
                </a:ext>
              </a:extLst>
            </p:cNvPr>
            <p:cNvSpPr/>
            <p:nvPr/>
          </p:nvSpPr>
          <p:spPr>
            <a:xfrm rot="8716295">
              <a:off x="416841" y="424299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9" name="Forme libre : forme 418">
              <a:extLst>
                <a:ext uri="{FF2B5EF4-FFF2-40B4-BE49-F238E27FC236}">
                  <a16:creationId xmlns:a16="http://schemas.microsoft.com/office/drawing/2014/main" id="{A679BEA0-D0C5-41E0-ADCB-C970608B53F5}"/>
                </a:ext>
              </a:extLst>
            </p:cNvPr>
            <p:cNvSpPr/>
            <p:nvPr/>
          </p:nvSpPr>
          <p:spPr>
            <a:xfrm rot="8716295">
              <a:off x="404789" y="410421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0" name="Forme libre : forme 419">
              <a:extLst>
                <a:ext uri="{FF2B5EF4-FFF2-40B4-BE49-F238E27FC236}">
                  <a16:creationId xmlns:a16="http://schemas.microsoft.com/office/drawing/2014/main" id="{12FE079E-BD6C-4326-BBC6-E7FED6AEB0DE}"/>
                </a:ext>
              </a:extLst>
            </p:cNvPr>
            <p:cNvSpPr/>
            <p:nvPr/>
          </p:nvSpPr>
          <p:spPr>
            <a:xfrm rot="8716295">
              <a:off x="631922" y="449261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1" name="Forme libre : forme 420">
              <a:extLst>
                <a:ext uri="{FF2B5EF4-FFF2-40B4-BE49-F238E27FC236}">
                  <a16:creationId xmlns:a16="http://schemas.microsoft.com/office/drawing/2014/main" id="{ADCC2EDC-1B28-4142-9C4B-B780064981F4}"/>
                </a:ext>
              </a:extLst>
            </p:cNvPr>
            <p:cNvSpPr/>
            <p:nvPr/>
          </p:nvSpPr>
          <p:spPr>
            <a:xfrm rot="8716295">
              <a:off x="943077" y="411297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2" name="Forme libre : forme 421">
              <a:extLst>
                <a:ext uri="{FF2B5EF4-FFF2-40B4-BE49-F238E27FC236}">
                  <a16:creationId xmlns:a16="http://schemas.microsoft.com/office/drawing/2014/main" id="{85A46BE2-B28A-4B10-A98B-E1A4C9718784}"/>
                </a:ext>
              </a:extLst>
            </p:cNvPr>
            <p:cNvSpPr/>
            <p:nvPr/>
          </p:nvSpPr>
          <p:spPr>
            <a:xfrm rot="8716295">
              <a:off x="1032469" y="414221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3" name="Forme libre : forme 422">
              <a:extLst>
                <a:ext uri="{FF2B5EF4-FFF2-40B4-BE49-F238E27FC236}">
                  <a16:creationId xmlns:a16="http://schemas.microsoft.com/office/drawing/2014/main" id="{B997AC73-4A2E-4369-A0A3-B98AEFAEB0D2}"/>
                </a:ext>
              </a:extLst>
            </p:cNvPr>
            <p:cNvSpPr/>
            <p:nvPr/>
          </p:nvSpPr>
          <p:spPr>
            <a:xfrm rot="8716295">
              <a:off x="830843" y="420151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4" name="Forme libre : forme 423">
              <a:extLst>
                <a:ext uri="{FF2B5EF4-FFF2-40B4-BE49-F238E27FC236}">
                  <a16:creationId xmlns:a16="http://schemas.microsoft.com/office/drawing/2014/main" id="{B0F441EE-58D5-406D-84C8-BF6FB45F3E10}"/>
                </a:ext>
              </a:extLst>
            </p:cNvPr>
            <p:cNvSpPr/>
            <p:nvPr/>
          </p:nvSpPr>
          <p:spPr>
            <a:xfrm rot="8716295">
              <a:off x="705941" y="399284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5" name="Forme libre : forme 424">
              <a:extLst>
                <a:ext uri="{FF2B5EF4-FFF2-40B4-BE49-F238E27FC236}">
                  <a16:creationId xmlns:a16="http://schemas.microsoft.com/office/drawing/2014/main" id="{C2116289-0ECD-487D-B988-2550AD513EBC}"/>
                </a:ext>
              </a:extLst>
            </p:cNvPr>
            <p:cNvSpPr/>
            <p:nvPr/>
          </p:nvSpPr>
          <p:spPr>
            <a:xfrm rot="8716295">
              <a:off x="921021" y="424246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6" name="Forme libre : forme 425">
              <a:extLst>
                <a:ext uri="{FF2B5EF4-FFF2-40B4-BE49-F238E27FC236}">
                  <a16:creationId xmlns:a16="http://schemas.microsoft.com/office/drawing/2014/main" id="{BB2DB617-3C2B-44C3-B229-D2E3AF1F6397}"/>
                </a:ext>
              </a:extLst>
            </p:cNvPr>
            <p:cNvSpPr/>
            <p:nvPr/>
          </p:nvSpPr>
          <p:spPr>
            <a:xfrm rot="8716295">
              <a:off x="679570" y="409286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7" name="Forme libre : forme 426">
              <a:extLst>
                <a:ext uri="{FF2B5EF4-FFF2-40B4-BE49-F238E27FC236}">
                  <a16:creationId xmlns:a16="http://schemas.microsoft.com/office/drawing/2014/main" id="{AB1A41E1-EFF1-4B46-86EA-03A5D3137ECE}"/>
                </a:ext>
              </a:extLst>
            </p:cNvPr>
            <p:cNvSpPr/>
            <p:nvPr/>
          </p:nvSpPr>
          <p:spPr>
            <a:xfrm rot="7484129">
              <a:off x="1025952" y="443381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8" name="Forme libre : forme 427">
              <a:extLst>
                <a:ext uri="{FF2B5EF4-FFF2-40B4-BE49-F238E27FC236}">
                  <a16:creationId xmlns:a16="http://schemas.microsoft.com/office/drawing/2014/main" id="{FC716ACC-6F89-47F8-ABE1-58EDBEC4B6CB}"/>
                </a:ext>
              </a:extLst>
            </p:cNvPr>
            <p:cNvSpPr/>
            <p:nvPr/>
          </p:nvSpPr>
          <p:spPr>
            <a:xfrm rot="13089394">
              <a:off x="1130772" y="440035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9" name="Forme libre : forme 428">
              <a:extLst>
                <a:ext uri="{FF2B5EF4-FFF2-40B4-BE49-F238E27FC236}">
                  <a16:creationId xmlns:a16="http://schemas.microsoft.com/office/drawing/2014/main" id="{FBEB36D4-4104-4CEA-A5D9-270F8D790AEC}"/>
                </a:ext>
              </a:extLst>
            </p:cNvPr>
            <p:cNvSpPr/>
            <p:nvPr/>
          </p:nvSpPr>
          <p:spPr>
            <a:xfrm rot="8716295">
              <a:off x="1316357" y="420867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0" name="Forme libre : forme 429">
              <a:extLst>
                <a:ext uri="{FF2B5EF4-FFF2-40B4-BE49-F238E27FC236}">
                  <a16:creationId xmlns:a16="http://schemas.microsoft.com/office/drawing/2014/main" id="{F7950902-6556-4E4C-B905-0DD59A5961CC}"/>
                </a:ext>
              </a:extLst>
            </p:cNvPr>
            <p:cNvSpPr/>
            <p:nvPr/>
          </p:nvSpPr>
          <p:spPr>
            <a:xfrm rot="8716295">
              <a:off x="1264552" y="410507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1" name="Forme libre : forme 430">
              <a:extLst>
                <a:ext uri="{FF2B5EF4-FFF2-40B4-BE49-F238E27FC236}">
                  <a16:creationId xmlns:a16="http://schemas.microsoft.com/office/drawing/2014/main" id="{4F003DDA-355E-4DAE-A8BB-3FB35F5F4EAE}"/>
                </a:ext>
              </a:extLst>
            </p:cNvPr>
            <p:cNvSpPr/>
            <p:nvPr/>
          </p:nvSpPr>
          <p:spPr>
            <a:xfrm rot="8716295">
              <a:off x="1021306" y="413529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2" name="Forme libre : forme 431">
              <a:extLst>
                <a:ext uri="{FF2B5EF4-FFF2-40B4-BE49-F238E27FC236}">
                  <a16:creationId xmlns:a16="http://schemas.microsoft.com/office/drawing/2014/main" id="{3F6E657C-3858-4D98-91AA-063146CE262A}"/>
                </a:ext>
              </a:extLst>
            </p:cNvPr>
            <p:cNvSpPr/>
            <p:nvPr/>
          </p:nvSpPr>
          <p:spPr>
            <a:xfrm rot="8716295">
              <a:off x="1198758" y="397605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3" name="Forme libre : forme 432">
              <a:extLst>
                <a:ext uri="{FF2B5EF4-FFF2-40B4-BE49-F238E27FC236}">
                  <a16:creationId xmlns:a16="http://schemas.microsoft.com/office/drawing/2014/main" id="{6881A455-FC30-4886-9181-EEE1433B5DFF}"/>
                </a:ext>
              </a:extLst>
            </p:cNvPr>
            <p:cNvSpPr/>
            <p:nvPr/>
          </p:nvSpPr>
          <p:spPr>
            <a:xfrm rot="8716295">
              <a:off x="849927" y="5056695"/>
              <a:ext cx="61059" cy="114384"/>
            </a:xfrm>
            <a:custGeom>
              <a:avLst/>
              <a:gdLst>
                <a:gd name="connsiteX0" fmla="*/ 0 w 61059"/>
                <a:gd name="connsiteY0" fmla="*/ 114384 h 114384"/>
                <a:gd name="connsiteX1" fmla="*/ 0 w 61059"/>
                <a:gd name="connsiteY1" fmla="*/ 0 h 114384"/>
                <a:gd name="connsiteX2" fmla="*/ 61059 w 61059"/>
                <a:gd name="connsiteY2" fmla="*/ 42324 h 114384"/>
                <a:gd name="connsiteX3" fmla="*/ 61059 w 61059"/>
                <a:gd name="connsiteY3" fmla="*/ 90234 h 114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059" h="114384">
                  <a:moveTo>
                    <a:pt x="0" y="114384"/>
                  </a:moveTo>
                  <a:lnTo>
                    <a:pt x="0" y="0"/>
                  </a:lnTo>
                  <a:lnTo>
                    <a:pt x="61059" y="42324"/>
                  </a:lnTo>
                  <a:lnTo>
                    <a:pt x="61059" y="902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4" name="Forme libre : forme 433">
              <a:extLst>
                <a:ext uri="{FF2B5EF4-FFF2-40B4-BE49-F238E27FC236}">
                  <a16:creationId xmlns:a16="http://schemas.microsoft.com/office/drawing/2014/main" id="{CE4C8C85-2581-4CDF-9EB4-9C8C2E2C159C}"/>
                </a:ext>
              </a:extLst>
            </p:cNvPr>
            <p:cNvSpPr/>
            <p:nvPr/>
          </p:nvSpPr>
          <p:spPr>
            <a:xfrm rot="8716295">
              <a:off x="1072880" y="5030752"/>
              <a:ext cx="60148" cy="142578"/>
            </a:xfrm>
            <a:custGeom>
              <a:avLst/>
              <a:gdLst>
                <a:gd name="connsiteX0" fmla="*/ 0 w 60148"/>
                <a:gd name="connsiteY0" fmla="*/ 142578 h 142578"/>
                <a:gd name="connsiteX1" fmla="*/ 0 w 60148"/>
                <a:gd name="connsiteY1" fmla="*/ 0 h 142578"/>
                <a:gd name="connsiteX2" fmla="*/ 60148 w 60148"/>
                <a:gd name="connsiteY2" fmla="*/ 41693 h 142578"/>
                <a:gd name="connsiteX3" fmla="*/ 60148 w 60148"/>
                <a:gd name="connsiteY3" fmla="*/ 101569 h 142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8" h="142578">
                  <a:moveTo>
                    <a:pt x="0" y="142578"/>
                  </a:moveTo>
                  <a:lnTo>
                    <a:pt x="0" y="0"/>
                  </a:lnTo>
                  <a:lnTo>
                    <a:pt x="60148" y="41693"/>
                  </a:lnTo>
                  <a:lnTo>
                    <a:pt x="60148" y="1015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5" name="Forme libre : forme 434">
              <a:extLst>
                <a:ext uri="{FF2B5EF4-FFF2-40B4-BE49-F238E27FC236}">
                  <a16:creationId xmlns:a16="http://schemas.microsoft.com/office/drawing/2014/main" id="{683CB711-80B1-4038-ABB6-5DBDA3CAB0C0}"/>
                </a:ext>
              </a:extLst>
            </p:cNvPr>
            <p:cNvSpPr/>
            <p:nvPr/>
          </p:nvSpPr>
          <p:spPr>
            <a:xfrm rot="8716295">
              <a:off x="921687" y="496578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6" name="Forme libre : forme 435">
              <a:extLst>
                <a:ext uri="{FF2B5EF4-FFF2-40B4-BE49-F238E27FC236}">
                  <a16:creationId xmlns:a16="http://schemas.microsoft.com/office/drawing/2014/main" id="{8B993DFE-EE3E-4E92-8884-9A227F7DEAD1}"/>
                </a:ext>
              </a:extLst>
            </p:cNvPr>
            <p:cNvSpPr/>
            <p:nvPr/>
          </p:nvSpPr>
          <p:spPr>
            <a:xfrm rot="8716295">
              <a:off x="762271" y="5108547"/>
              <a:ext cx="53742" cy="49705"/>
            </a:xfrm>
            <a:custGeom>
              <a:avLst/>
              <a:gdLst>
                <a:gd name="connsiteX0" fmla="*/ 8658 w 53742"/>
                <a:gd name="connsiteY0" fmla="*/ 41503 h 49705"/>
                <a:gd name="connsiteX1" fmla="*/ 0 w 53742"/>
                <a:gd name="connsiteY1" fmla="*/ 20999 h 49705"/>
                <a:gd name="connsiteX2" fmla="*/ 0 w 53742"/>
                <a:gd name="connsiteY2" fmla="*/ 20542 h 49705"/>
                <a:gd name="connsiteX3" fmla="*/ 8658 w 53742"/>
                <a:gd name="connsiteY3" fmla="*/ 38 h 49705"/>
                <a:gd name="connsiteX4" fmla="*/ 8747 w 53742"/>
                <a:gd name="connsiteY4" fmla="*/ 0 h 49705"/>
                <a:gd name="connsiteX5" fmla="*/ 53742 w 53742"/>
                <a:gd name="connsiteY5" fmla="*/ 31189 h 49705"/>
                <a:gd name="connsiteX6" fmla="*/ 49668 w 53742"/>
                <a:gd name="connsiteY6" fmla="*/ 41048 h 49705"/>
                <a:gd name="connsiteX7" fmla="*/ 29162 w 53742"/>
                <a:gd name="connsiteY7" fmla="*/ 49705 h 49705"/>
                <a:gd name="connsiteX8" fmla="*/ 8658 w 53742"/>
                <a:gd name="connsiteY8" fmla="*/ 41503 h 49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2" h="49705">
                  <a:moveTo>
                    <a:pt x="8658" y="41503"/>
                  </a:moveTo>
                  <a:cubicBezTo>
                    <a:pt x="3190" y="36035"/>
                    <a:pt x="0" y="28744"/>
                    <a:pt x="0" y="20999"/>
                  </a:cubicBezTo>
                  <a:lnTo>
                    <a:pt x="0" y="20542"/>
                  </a:lnTo>
                  <a:cubicBezTo>
                    <a:pt x="0" y="12796"/>
                    <a:pt x="3190" y="5506"/>
                    <a:pt x="8658" y="38"/>
                  </a:cubicBezTo>
                  <a:lnTo>
                    <a:pt x="8747" y="0"/>
                  </a:lnTo>
                  <a:lnTo>
                    <a:pt x="53742" y="31189"/>
                  </a:lnTo>
                  <a:lnTo>
                    <a:pt x="49668" y="41048"/>
                  </a:lnTo>
                  <a:cubicBezTo>
                    <a:pt x="44200" y="46516"/>
                    <a:pt x="36909" y="49705"/>
                    <a:pt x="29162" y="49705"/>
                  </a:cubicBezTo>
                  <a:cubicBezTo>
                    <a:pt x="21416" y="49705"/>
                    <a:pt x="14126" y="46971"/>
                    <a:pt x="8658" y="415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7" name="Forme libre : forme 436">
              <a:extLst>
                <a:ext uri="{FF2B5EF4-FFF2-40B4-BE49-F238E27FC236}">
                  <a16:creationId xmlns:a16="http://schemas.microsoft.com/office/drawing/2014/main" id="{8DF09363-6B2B-44FC-9677-ED983FC9E371}"/>
                </a:ext>
              </a:extLst>
            </p:cNvPr>
            <p:cNvSpPr/>
            <p:nvPr/>
          </p:nvSpPr>
          <p:spPr>
            <a:xfrm rot="8716295">
              <a:off x="635497" y="4902607"/>
              <a:ext cx="203847" cy="195874"/>
            </a:xfrm>
            <a:custGeom>
              <a:avLst/>
              <a:gdLst>
                <a:gd name="connsiteX0" fmla="*/ 90709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203847 w 203847"/>
                <a:gd name="connsiteY5" fmla="*/ 0 h 195874"/>
                <a:gd name="connsiteX6" fmla="*/ 203847 w 203847"/>
                <a:gd name="connsiteY6" fmla="*/ 55323 h 195874"/>
                <a:gd name="connsiteX7" fmla="*/ 139055 w 203847"/>
                <a:gd name="connsiteY7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95874">
                  <a:moveTo>
                    <a:pt x="90709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8" name="Forme libre : forme 437">
              <a:extLst>
                <a:ext uri="{FF2B5EF4-FFF2-40B4-BE49-F238E27FC236}">
                  <a16:creationId xmlns:a16="http://schemas.microsoft.com/office/drawing/2014/main" id="{532437B6-4FB3-4387-A6A2-9CA74243FC9D}"/>
                </a:ext>
              </a:extLst>
            </p:cNvPr>
            <p:cNvSpPr/>
            <p:nvPr/>
          </p:nvSpPr>
          <p:spPr>
            <a:xfrm rot="8716295">
              <a:off x="627956" y="476391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9" name="Forme libre : forme 438">
              <a:extLst>
                <a:ext uri="{FF2B5EF4-FFF2-40B4-BE49-F238E27FC236}">
                  <a16:creationId xmlns:a16="http://schemas.microsoft.com/office/drawing/2014/main" id="{DC114E70-E891-401E-9C24-8619044C69DA}"/>
                </a:ext>
              </a:extLst>
            </p:cNvPr>
            <p:cNvSpPr/>
            <p:nvPr/>
          </p:nvSpPr>
          <p:spPr>
            <a:xfrm rot="8716295">
              <a:off x="1166244" y="477267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0" name="Forme libre : forme 439">
              <a:extLst>
                <a:ext uri="{FF2B5EF4-FFF2-40B4-BE49-F238E27FC236}">
                  <a16:creationId xmlns:a16="http://schemas.microsoft.com/office/drawing/2014/main" id="{1B83E310-81D3-4935-AA0D-87EA212E2F8C}"/>
                </a:ext>
              </a:extLst>
            </p:cNvPr>
            <p:cNvSpPr/>
            <p:nvPr/>
          </p:nvSpPr>
          <p:spPr>
            <a:xfrm rot="8716295">
              <a:off x="1255636" y="480191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1" name="Forme libre : forme 440">
              <a:extLst>
                <a:ext uri="{FF2B5EF4-FFF2-40B4-BE49-F238E27FC236}">
                  <a16:creationId xmlns:a16="http://schemas.microsoft.com/office/drawing/2014/main" id="{8A0A400D-6D17-4603-B756-25D5B32DB841}"/>
                </a:ext>
              </a:extLst>
            </p:cNvPr>
            <p:cNvSpPr/>
            <p:nvPr/>
          </p:nvSpPr>
          <p:spPr>
            <a:xfrm rot="8716295">
              <a:off x="1054010" y="486121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2" name="Forme libre : forme 441">
              <a:extLst>
                <a:ext uri="{FF2B5EF4-FFF2-40B4-BE49-F238E27FC236}">
                  <a16:creationId xmlns:a16="http://schemas.microsoft.com/office/drawing/2014/main" id="{A46C9B70-DE37-4964-9FA4-17387E1BA45F}"/>
                </a:ext>
              </a:extLst>
            </p:cNvPr>
            <p:cNvSpPr/>
            <p:nvPr/>
          </p:nvSpPr>
          <p:spPr>
            <a:xfrm rot="8716295">
              <a:off x="929108" y="465254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3" name="Forme libre : forme 442">
              <a:extLst>
                <a:ext uri="{FF2B5EF4-FFF2-40B4-BE49-F238E27FC236}">
                  <a16:creationId xmlns:a16="http://schemas.microsoft.com/office/drawing/2014/main" id="{B9F4170A-6E5B-49E4-8193-4286DEBE2EC9}"/>
                </a:ext>
              </a:extLst>
            </p:cNvPr>
            <p:cNvSpPr/>
            <p:nvPr/>
          </p:nvSpPr>
          <p:spPr>
            <a:xfrm rot="8716295">
              <a:off x="1144188" y="490216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4" name="Forme libre : forme 443">
              <a:extLst>
                <a:ext uri="{FF2B5EF4-FFF2-40B4-BE49-F238E27FC236}">
                  <a16:creationId xmlns:a16="http://schemas.microsoft.com/office/drawing/2014/main" id="{9F81EDCD-5E16-426F-9754-D2A37212C8FE}"/>
                </a:ext>
              </a:extLst>
            </p:cNvPr>
            <p:cNvSpPr/>
            <p:nvPr/>
          </p:nvSpPr>
          <p:spPr>
            <a:xfrm rot="8716295">
              <a:off x="902737" y="475256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5" name="Forme libre : forme 444">
              <a:extLst>
                <a:ext uri="{FF2B5EF4-FFF2-40B4-BE49-F238E27FC236}">
                  <a16:creationId xmlns:a16="http://schemas.microsoft.com/office/drawing/2014/main" id="{179F229D-2224-4467-8649-9DF965D65362}"/>
                </a:ext>
              </a:extLst>
            </p:cNvPr>
            <p:cNvSpPr/>
            <p:nvPr/>
          </p:nvSpPr>
          <p:spPr>
            <a:xfrm rot="7484129">
              <a:off x="1313689" y="5058219"/>
              <a:ext cx="97325" cy="159603"/>
            </a:xfrm>
            <a:custGeom>
              <a:avLst/>
              <a:gdLst>
                <a:gd name="connsiteX0" fmla="*/ 0 w 97325"/>
                <a:gd name="connsiteY0" fmla="*/ 19052 h 159603"/>
                <a:gd name="connsiteX1" fmla="*/ 0 w 97325"/>
                <a:gd name="connsiteY1" fmla="*/ 0 h 159603"/>
                <a:gd name="connsiteX2" fmla="*/ 13209 w 97325"/>
                <a:gd name="connsiteY2" fmla="*/ 19052 h 159603"/>
                <a:gd name="connsiteX3" fmla="*/ 90710 w 97325"/>
                <a:gd name="connsiteY3" fmla="*/ 159603 h 159603"/>
                <a:gd name="connsiteX4" fmla="*/ 47847 w 97325"/>
                <a:gd name="connsiteY4" fmla="*/ 79858 h 159603"/>
                <a:gd name="connsiteX5" fmla="*/ 50421 w 97325"/>
                <a:gd name="connsiteY5" fmla="*/ 72721 h 159603"/>
                <a:gd name="connsiteX6" fmla="*/ 97325 w 97325"/>
                <a:gd name="connsiteY6" fmla="*/ 140370 h 159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7325" h="159603">
                  <a:moveTo>
                    <a:pt x="0" y="19052"/>
                  </a:moveTo>
                  <a:lnTo>
                    <a:pt x="0" y="0"/>
                  </a:lnTo>
                  <a:lnTo>
                    <a:pt x="13209" y="19052"/>
                  </a:lnTo>
                  <a:close/>
                  <a:moveTo>
                    <a:pt x="90710" y="159603"/>
                  </a:moveTo>
                  <a:lnTo>
                    <a:pt x="47847" y="79858"/>
                  </a:lnTo>
                  <a:lnTo>
                    <a:pt x="50421" y="72721"/>
                  </a:lnTo>
                  <a:lnTo>
                    <a:pt x="97325" y="14037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6" name="Forme libre : forme 445">
              <a:extLst>
                <a:ext uri="{FF2B5EF4-FFF2-40B4-BE49-F238E27FC236}">
                  <a16:creationId xmlns:a16="http://schemas.microsoft.com/office/drawing/2014/main" id="{0DC6D2C5-5676-4685-B6C7-B0D9124302BA}"/>
                </a:ext>
              </a:extLst>
            </p:cNvPr>
            <p:cNvSpPr/>
            <p:nvPr/>
          </p:nvSpPr>
          <p:spPr>
            <a:xfrm rot="13089394">
              <a:off x="1435176" y="5064332"/>
              <a:ext cx="213297" cy="83320"/>
            </a:xfrm>
            <a:custGeom>
              <a:avLst/>
              <a:gdLst>
                <a:gd name="connsiteX0" fmla="*/ 213297 w 213297"/>
                <a:gd name="connsiteY0" fmla="*/ 12691 h 83320"/>
                <a:gd name="connsiteX1" fmla="*/ 32310 w 213297"/>
                <a:gd name="connsiteY1" fmla="*/ 83320 h 83320"/>
                <a:gd name="connsiteX2" fmla="*/ 0 w 213297"/>
                <a:gd name="connsiteY2" fmla="*/ 77753 h 83320"/>
                <a:gd name="connsiteX3" fmla="*/ 69926 w 213297"/>
                <a:gd name="connsiteY3" fmla="*/ 22813 h 83320"/>
                <a:gd name="connsiteX4" fmla="*/ 94662 w 213297"/>
                <a:gd name="connsiteY4" fmla="*/ 36418 h 83320"/>
                <a:gd name="connsiteX5" fmla="*/ 144323 w 213297"/>
                <a:gd name="connsiteY5" fmla="*/ 27589 h 83320"/>
                <a:gd name="connsiteX6" fmla="*/ 212193 w 213297"/>
                <a:gd name="connsiteY6" fmla="*/ 0 h 83320"/>
                <a:gd name="connsiteX7" fmla="*/ 213297 w 213297"/>
                <a:gd name="connsiteY7" fmla="*/ 7173 h 83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3297" h="83320">
                  <a:moveTo>
                    <a:pt x="213297" y="12691"/>
                  </a:moveTo>
                  <a:cubicBezTo>
                    <a:pt x="154807" y="62904"/>
                    <a:pt x="78108" y="80561"/>
                    <a:pt x="32310" y="83320"/>
                  </a:cubicBezTo>
                  <a:lnTo>
                    <a:pt x="0" y="77753"/>
                  </a:lnTo>
                  <a:lnTo>
                    <a:pt x="69926" y="22813"/>
                  </a:lnTo>
                  <a:lnTo>
                    <a:pt x="94662" y="36418"/>
                  </a:lnTo>
                  <a:cubicBezTo>
                    <a:pt x="111768" y="35866"/>
                    <a:pt x="128321" y="32555"/>
                    <a:pt x="144323" y="27589"/>
                  </a:cubicBezTo>
                  <a:cubicBezTo>
                    <a:pt x="167498" y="20416"/>
                    <a:pt x="190122" y="11036"/>
                    <a:pt x="212193" y="0"/>
                  </a:cubicBezTo>
                  <a:cubicBezTo>
                    <a:pt x="212745" y="2207"/>
                    <a:pt x="213297" y="4966"/>
                    <a:pt x="213297" y="71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7" name="Forme libre : forme 446">
              <a:extLst>
                <a:ext uri="{FF2B5EF4-FFF2-40B4-BE49-F238E27FC236}">
                  <a16:creationId xmlns:a16="http://schemas.microsoft.com/office/drawing/2014/main" id="{933D0F57-4827-4379-ADFC-4E442A7AA9F5}"/>
                </a:ext>
              </a:extLst>
            </p:cNvPr>
            <p:cNvSpPr/>
            <p:nvPr/>
          </p:nvSpPr>
          <p:spPr>
            <a:xfrm rot="8716295">
              <a:off x="1539524" y="486837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8" name="Forme libre : forme 447">
              <a:extLst>
                <a:ext uri="{FF2B5EF4-FFF2-40B4-BE49-F238E27FC236}">
                  <a16:creationId xmlns:a16="http://schemas.microsoft.com/office/drawing/2014/main" id="{F2B3C0A6-3119-4AF6-9904-83AA6D24B4D4}"/>
                </a:ext>
              </a:extLst>
            </p:cNvPr>
            <p:cNvSpPr/>
            <p:nvPr/>
          </p:nvSpPr>
          <p:spPr>
            <a:xfrm rot="8716295">
              <a:off x="1487719" y="476477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9" name="Forme libre : forme 448">
              <a:extLst>
                <a:ext uri="{FF2B5EF4-FFF2-40B4-BE49-F238E27FC236}">
                  <a16:creationId xmlns:a16="http://schemas.microsoft.com/office/drawing/2014/main" id="{A101E396-638E-4D53-9DD4-DFCEEB801BC5}"/>
                </a:ext>
              </a:extLst>
            </p:cNvPr>
            <p:cNvSpPr/>
            <p:nvPr/>
          </p:nvSpPr>
          <p:spPr>
            <a:xfrm rot="8716295">
              <a:off x="1244473" y="479499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0" name="Forme libre : forme 449">
              <a:extLst>
                <a:ext uri="{FF2B5EF4-FFF2-40B4-BE49-F238E27FC236}">
                  <a16:creationId xmlns:a16="http://schemas.microsoft.com/office/drawing/2014/main" id="{67402E49-E65F-45DA-8073-25DB882ECA1B}"/>
                </a:ext>
              </a:extLst>
            </p:cNvPr>
            <p:cNvSpPr/>
            <p:nvPr/>
          </p:nvSpPr>
          <p:spPr>
            <a:xfrm rot="8716295">
              <a:off x="1421925" y="463575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1" name="Forme libre : forme 450">
              <a:extLst>
                <a:ext uri="{FF2B5EF4-FFF2-40B4-BE49-F238E27FC236}">
                  <a16:creationId xmlns:a16="http://schemas.microsoft.com/office/drawing/2014/main" id="{4AD140D5-5D83-48BA-8FB5-0AE18019D236}"/>
                </a:ext>
              </a:extLst>
            </p:cNvPr>
            <p:cNvSpPr/>
            <p:nvPr/>
          </p:nvSpPr>
          <p:spPr>
            <a:xfrm rot="8716295">
              <a:off x="-3428" y="2405990"/>
              <a:ext cx="142167" cy="208592"/>
            </a:xfrm>
            <a:custGeom>
              <a:avLst/>
              <a:gdLst>
                <a:gd name="connsiteX0" fmla="*/ 81108 w 142167"/>
                <a:gd name="connsiteY0" fmla="*/ 208592 h 208592"/>
                <a:gd name="connsiteX1" fmla="*/ 81108 w 142167"/>
                <a:gd name="connsiteY1" fmla="*/ 69717 h 208592"/>
                <a:gd name="connsiteX2" fmla="*/ 81108 w 142167"/>
                <a:gd name="connsiteY2" fmla="*/ 65615 h 208592"/>
                <a:gd name="connsiteX3" fmla="*/ 60604 w 142167"/>
                <a:gd name="connsiteY3" fmla="*/ 50123 h 208592"/>
                <a:gd name="connsiteX4" fmla="*/ 0 w 142167"/>
                <a:gd name="connsiteY4" fmla="*/ 50123 h 208592"/>
                <a:gd name="connsiteX5" fmla="*/ 0 w 142167"/>
                <a:gd name="connsiteY5" fmla="*/ 0 h 208592"/>
                <a:gd name="connsiteX6" fmla="*/ 85210 w 142167"/>
                <a:gd name="connsiteY6" fmla="*/ 0 h 208592"/>
                <a:gd name="connsiteX7" fmla="*/ 142167 w 142167"/>
                <a:gd name="connsiteY7" fmla="*/ 50123 h 208592"/>
                <a:gd name="connsiteX8" fmla="*/ 142167 w 142167"/>
                <a:gd name="connsiteY8" fmla="*/ 120504 h 20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08592">
                  <a:moveTo>
                    <a:pt x="81108" y="208592"/>
                  </a:moveTo>
                  <a:lnTo>
                    <a:pt x="81108" y="69717"/>
                  </a:lnTo>
                  <a:cubicBezTo>
                    <a:pt x="81108" y="68350"/>
                    <a:pt x="81108" y="66983"/>
                    <a:pt x="81108" y="65615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10" y="0"/>
                  </a:lnTo>
                  <a:cubicBezTo>
                    <a:pt x="122118" y="0"/>
                    <a:pt x="142167" y="15948"/>
                    <a:pt x="142167" y="50123"/>
                  </a:cubicBezTo>
                  <a:lnTo>
                    <a:pt x="142167" y="1205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2" name="Forme libre : forme 451">
              <a:extLst>
                <a:ext uri="{FF2B5EF4-FFF2-40B4-BE49-F238E27FC236}">
                  <a16:creationId xmlns:a16="http://schemas.microsoft.com/office/drawing/2014/main" id="{2BA0993E-9FAB-4AEE-B83B-4CF3D7902044}"/>
                </a:ext>
              </a:extLst>
            </p:cNvPr>
            <p:cNvSpPr/>
            <p:nvPr/>
          </p:nvSpPr>
          <p:spPr>
            <a:xfrm rot="8716295">
              <a:off x="80015" y="241329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3" name="Forme libre : forme 452">
              <a:extLst>
                <a:ext uri="{FF2B5EF4-FFF2-40B4-BE49-F238E27FC236}">
                  <a16:creationId xmlns:a16="http://schemas.microsoft.com/office/drawing/2014/main" id="{CCF3EEA8-B3F9-461B-98BC-F35553672A96}"/>
                </a:ext>
              </a:extLst>
            </p:cNvPr>
            <p:cNvSpPr/>
            <p:nvPr/>
          </p:nvSpPr>
          <p:spPr>
            <a:xfrm rot="8716295">
              <a:off x="35165" y="232701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4" name="Forme libre : forme 453">
              <a:extLst>
                <a:ext uri="{FF2B5EF4-FFF2-40B4-BE49-F238E27FC236}">
                  <a16:creationId xmlns:a16="http://schemas.microsoft.com/office/drawing/2014/main" id="{7409E8F1-7A32-4862-9918-61EE35F1B801}"/>
                </a:ext>
              </a:extLst>
            </p:cNvPr>
            <p:cNvSpPr/>
            <p:nvPr/>
          </p:nvSpPr>
          <p:spPr>
            <a:xfrm rot="8716295">
              <a:off x="-20257" y="2217087"/>
              <a:ext cx="78731" cy="180665"/>
            </a:xfrm>
            <a:custGeom>
              <a:avLst/>
              <a:gdLst>
                <a:gd name="connsiteX0" fmla="*/ 0 w 78731"/>
                <a:gd name="connsiteY0" fmla="*/ 180665 h 180665"/>
                <a:gd name="connsiteX1" fmla="*/ 0 w 78731"/>
                <a:gd name="connsiteY1" fmla="*/ 40596 h 180665"/>
                <a:gd name="connsiteX2" fmla="*/ 78250 w 78731"/>
                <a:gd name="connsiteY2" fmla="*/ 0 h 180665"/>
                <a:gd name="connsiteX3" fmla="*/ 78731 w 78731"/>
                <a:gd name="connsiteY3" fmla="*/ 67083 h 180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731" h="180665">
                  <a:moveTo>
                    <a:pt x="0" y="180665"/>
                  </a:moveTo>
                  <a:lnTo>
                    <a:pt x="0" y="40596"/>
                  </a:lnTo>
                  <a:lnTo>
                    <a:pt x="78250" y="0"/>
                  </a:lnTo>
                  <a:lnTo>
                    <a:pt x="78731" y="670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5" name="Forme libre : forme 454">
              <a:extLst>
                <a:ext uri="{FF2B5EF4-FFF2-40B4-BE49-F238E27FC236}">
                  <a16:creationId xmlns:a16="http://schemas.microsoft.com/office/drawing/2014/main" id="{D1FF2FF9-6448-4826-95B6-0FAE856B0348}"/>
                </a:ext>
              </a:extLst>
            </p:cNvPr>
            <p:cNvSpPr/>
            <p:nvPr/>
          </p:nvSpPr>
          <p:spPr>
            <a:xfrm rot="8716295">
              <a:off x="-15341" y="2575209"/>
              <a:ext cx="103435" cy="152027"/>
            </a:xfrm>
            <a:custGeom>
              <a:avLst/>
              <a:gdLst>
                <a:gd name="connsiteX0" fmla="*/ 43288 w 103435"/>
                <a:gd name="connsiteY0" fmla="*/ 152027 h 152027"/>
                <a:gd name="connsiteX1" fmla="*/ 43288 w 103435"/>
                <a:gd name="connsiteY1" fmla="*/ 16404 h 152027"/>
                <a:gd name="connsiteX2" fmla="*/ 0 w 103435"/>
                <a:gd name="connsiteY2" fmla="*/ 16404 h 152027"/>
                <a:gd name="connsiteX3" fmla="*/ 0 w 103435"/>
                <a:gd name="connsiteY3" fmla="*/ 2278 h 152027"/>
                <a:gd name="connsiteX4" fmla="*/ 103435 w 103435"/>
                <a:gd name="connsiteY4" fmla="*/ 0 h 152027"/>
                <a:gd name="connsiteX5" fmla="*/ 103435 w 103435"/>
                <a:gd name="connsiteY5" fmla="*/ 65255 h 152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152027">
                  <a:moveTo>
                    <a:pt x="43288" y="152027"/>
                  </a:move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652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6" name="Forme libre : forme 455">
              <a:extLst>
                <a:ext uri="{FF2B5EF4-FFF2-40B4-BE49-F238E27FC236}">
                  <a16:creationId xmlns:a16="http://schemas.microsoft.com/office/drawing/2014/main" id="{D4422BA3-5FC8-407B-A01D-69AD0749DDD6}"/>
                </a:ext>
              </a:extLst>
            </p:cNvPr>
            <p:cNvSpPr/>
            <p:nvPr/>
          </p:nvSpPr>
          <p:spPr>
            <a:xfrm rot="8716295">
              <a:off x="279722" y="21339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7" name="Forme libre : forme 456">
              <a:extLst>
                <a:ext uri="{FF2B5EF4-FFF2-40B4-BE49-F238E27FC236}">
                  <a16:creationId xmlns:a16="http://schemas.microsoft.com/office/drawing/2014/main" id="{D39FDC20-561D-4627-BA38-506D7FCF7089}"/>
                </a:ext>
              </a:extLst>
            </p:cNvPr>
            <p:cNvSpPr/>
            <p:nvPr/>
          </p:nvSpPr>
          <p:spPr>
            <a:xfrm rot="8716295">
              <a:off x="369114" y="21631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8" name="Forme libre : forme 457">
              <a:extLst>
                <a:ext uri="{FF2B5EF4-FFF2-40B4-BE49-F238E27FC236}">
                  <a16:creationId xmlns:a16="http://schemas.microsoft.com/office/drawing/2014/main" id="{D14C1499-CA5F-496B-8BEC-69E04E19EA0D}"/>
                </a:ext>
              </a:extLst>
            </p:cNvPr>
            <p:cNvSpPr/>
            <p:nvPr/>
          </p:nvSpPr>
          <p:spPr>
            <a:xfrm rot="8716295">
              <a:off x="167488" y="22224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9" name="Forme libre : forme 458">
              <a:extLst>
                <a:ext uri="{FF2B5EF4-FFF2-40B4-BE49-F238E27FC236}">
                  <a16:creationId xmlns:a16="http://schemas.microsoft.com/office/drawing/2014/main" id="{193174EE-CFBC-438F-B1BB-D3ADA063388E}"/>
                </a:ext>
              </a:extLst>
            </p:cNvPr>
            <p:cNvSpPr/>
            <p:nvPr/>
          </p:nvSpPr>
          <p:spPr>
            <a:xfrm rot="8716295">
              <a:off x="42586" y="20137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0" name="Forme libre : forme 459">
              <a:extLst>
                <a:ext uri="{FF2B5EF4-FFF2-40B4-BE49-F238E27FC236}">
                  <a16:creationId xmlns:a16="http://schemas.microsoft.com/office/drawing/2014/main" id="{7E2244BC-364D-47B4-8B77-1ABDEF1DBB36}"/>
                </a:ext>
              </a:extLst>
            </p:cNvPr>
            <p:cNvSpPr/>
            <p:nvPr/>
          </p:nvSpPr>
          <p:spPr>
            <a:xfrm rot="8716295">
              <a:off x="257666" y="226339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1" name="Forme libre : forme 460">
              <a:extLst>
                <a:ext uri="{FF2B5EF4-FFF2-40B4-BE49-F238E27FC236}">
                  <a16:creationId xmlns:a16="http://schemas.microsoft.com/office/drawing/2014/main" id="{88E8FCAA-5A69-41AD-9BBF-E06402368569}"/>
                </a:ext>
              </a:extLst>
            </p:cNvPr>
            <p:cNvSpPr/>
            <p:nvPr/>
          </p:nvSpPr>
          <p:spPr>
            <a:xfrm rot="8716295">
              <a:off x="16215" y="211379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2" name="Forme libre : forme 461">
              <a:extLst>
                <a:ext uri="{FF2B5EF4-FFF2-40B4-BE49-F238E27FC236}">
                  <a16:creationId xmlns:a16="http://schemas.microsoft.com/office/drawing/2014/main" id="{2C0CE443-0100-47A6-BB72-6A7BBA3B084B}"/>
                </a:ext>
              </a:extLst>
            </p:cNvPr>
            <p:cNvSpPr/>
            <p:nvPr/>
          </p:nvSpPr>
          <p:spPr>
            <a:xfrm rot="7484129">
              <a:off x="362597" y="245474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3" name="Forme libre : forme 462">
              <a:extLst>
                <a:ext uri="{FF2B5EF4-FFF2-40B4-BE49-F238E27FC236}">
                  <a16:creationId xmlns:a16="http://schemas.microsoft.com/office/drawing/2014/main" id="{AE6C94D5-06F7-4134-9BDD-8703B8C3642E}"/>
                </a:ext>
              </a:extLst>
            </p:cNvPr>
            <p:cNvSpPr/>
            <p:nvPr/>
          </p:nvSpPr>
          <p:spPr>
            <a:xfrm rot="13089394">
              <a:off x="467417" y="242128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4" name="Forme libre : forme 463">
              <a:extLst>
                <a:ext uri="{FF2B5EF4-FFF2-40B4-BE49-F238E27FC236}">
                  <a16:creationId xmlns:a16="http://schemas.microsoft.com/office/drawing/2014/main" id="{90543D7D-143B-4ADD-B896-F2C09B360BC1}"/>
                </a:ext>
              </a:extLst>
            </p:cNvPr>
            <p:cNvSpPr/>
            <p:nvPr/>
          </p:nvSpPr>
          <p:spPr>
            <a:xfrm rot="8716295">
              <a:off x="653002" y="222960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5" name="Forme libre : forme 464">
              <a:extLst>
                <a:ext uri="{FF2B5EF4-FFF2-40B4-BE49-F238E27FC236}">
                  <a16:creationId xmlns:a16="http://schemas.microsoft.com/office/drawing/2014/main" id="{0A3F3F5B-79C0-41C7-8F17-B5752CC6E817}"/>
                </a:ext>
              </a:extLst>
            </p:cNvPr>
            <p:cNvSpPr/>
            <p:nvPr/>
          </p:nvSpPr>
          <p:spPr>
            <a:xfrm rot="8716295">
              <a:off x="601197" y="21260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6" name="Forme libre : forme 465">
              <a:extLst>
                <a:ext uri="{FF2B5EF4-FFF2-40B4-BE49-F238E27FC236}">
                  <a16:creationId xmlns:a16="http://schemas.microsoft.com/office/drawing/2014/main" id="{69D0AA2C-A5BB-4B7B-BB03-432400F6F2C5}"/>
                </a:ext>
              </a:extLst>
            </p:cNvPr>
            <p:cNvSpPr/>
            <p:nvPr/>
          </p:nvSpPr>
          <p:spPr>
            <a:xfrm rot="8716295">
              <a:off x="357951" y="21562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7" name="Forme libre : forme 466">
              <a:extLst>
                <a:ext uri="{FF2B5EF4-FFF2-40B4-BE49-F238E27FC236}">
                  <a16:creationId xmlns:a16="http://schemas.microsoft.com/office/drawing/2014/main" id="{82D68D60-D905-4F9D-9F1E-9018FDA856E2}"/>
                </a:ext>
              </a:extLst>
            </p:cNvPr>
            <p:cNvSpPr/>
            <p:nvPr/>
          </p:nvSpPr>
          <p:spPr>
            <a:xfrm rot="8716295">
              <a:off x="535403" y="199698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8" name="Forme libre : forme 467">
              <a:extLst>
                <a:ext uri="{FF2B5EF4-FFF2-40B4-BE49-F238E27FC236}">
                  <a16:creationId xmlns:a16="http://schemas.microsoft.com/office/drawing/2014/main" id="{E3253363-EB34-44DB-883A-13B6DE6143A2}"/>
                </a:ext>
              </a:extLst>
            </p:cNvPr>
            <p:cNvSpPr/>
            <p:nvPr/>
          </p:nvSpPr>
          <p:spPr>
            <a:xfrm rot="8716295">
              <a:off x="-76043" y="1768178"/>
              <a:ext cx="197178" cy="215049"/>
            </a:xfrm>
            <a:custGeom>
              <a:avLst/>
              <a:gdLst>
                <a:gd name="connsiteX0" fmla="*/ 51490 w 197178"/>
                <a:gd name="connsiteY0" fmla="*/ 215049 h 215049"/>
                <a:gd name="connsiteX1" fmla="*/ 51490 w 197178"/>
                <a:gd name="connsiteY1" fmla="*/ 45624 h 215049"/>
                <a:gd name="connsiteX2" fmla="*/ 0 w 197178"/>
                <a:gd name="connsiteY2" fmla="*/ 45624 h 215049"/>
                <a:gd name="connsiteX3" fmla="*/ 0 w 197178"/>
                <a:gd name="connsiteY3" fmla="*/ 1424 h 215049"/>
                <a:gd name="connsiteX4" fmla="*/ 104803 w 197178"/>
                <a:gd name="connsiteY4" fmla="*/ 1425 h 215049"/>
                <a:gd name="connsiteX5" fmla="*/ 104803 w 197178"/>
                <a:gd name="connsiteY5" fmla="*/ 75242 h 215049"/>
                <a:gd name="connsiteX6" fmla="*/ 106169 w 197178"/>
                <a:gd name="connsiteY6" fmla="*/ 75242 h 215049"/>
                <a:gd name="connsiteX7" fmla="*/ 154014 w 197178"/>
                <a:gd name="connsiteY7" fmla="*/ 5981 h 215049"/>
                <a:gd name="connsiteX8" fmla="*/ 185455 w 197178"/>
                <a:gd name="connsiteY8" fmla="*/ 57 h 215049"/>
                <a:gd name="connsiteX9" fmla="*/ 197178 w 197178"/>
                <a:gd name="connsiteY9" fmla="*/ 4872 h 215049"/>
                <a:gd name="connsiteX10" fmla="*/ 170795 w 197178"/>
                <a:gd name="connsiteY10" fmla="*/ 42934 h 215049"/>
                <a:gd name="connsiteX11" fmla="*/ 164950 w 197178"/>
                <a:gd name="connsiteY11" fmla="*/ 40156 h 215049"/>
                <a:gd name="connsiteX12" fmla="*/ 111638 w 197178"/>
                <a:gd name="connsiteY12" fmla="*/ 127643 h 215049"/>
                <a:gd name="connsiteX13" fmla="*/ 111638 w 197178"/>
                <a:gd name="connsiteY13" fmla="*/ 128277 h 21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178" h="215049">
                  <a:moveTo>
                    <a:pt x="51490" y="215049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4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lnTo>
                    <a:pt x="197178" y="4872"/>
                  </a:lnTo>
                  <a:lnTo>
                    <a:pt x="170795" y="42934"/>
                  </a:lnTo>
                  <a:lnTo>
                    <a:pt x="164950" y="40156"/>
                  </a:ln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1282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9" name="Forme libre : forme 468">
              <a:extLst>
                <a:ext uri="{FF2B5EF4-FFF2-40B4-BE49-F238E27FC236}">
                  <a16:creationId xmlns:a16="http://schemas.microsoft.com/office/drawing/2014/main" id="{13CAFE6B-0A3E-486D-8691-4D8C7920E841}"/>
                </a:ext>
              </a:extLst>
            </p:cNvPr>
            <p:cNvSpPr/>
            <p:nvPr/>
          </p:nvSpPr>
          <p:spPr>
            <a:xfrm rot="8716295">
              <a:off x="56555" y="14742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0" name="Forme libre : forme 469">
              <a:extLst>
                <a:ext uri="{FF2B5EF4-FFF2-40B4-BE49-F238E27FC236}">
                  <a16:creationId xmlns:a16="http://schemas.microsoft.com/office/drawing/2014/main" id="{AAF44C60-8776-4956-B0ED-2BB1FFCE9812}"/>
                </a:ext>
              </a:extLst>
            </p:cNvPr>
            <p:cNvSpPr/>
            <p:nvPr/>
          </p:nvSpPr>
          <p:spPr>
            <a:xfrm rot="8716295">
              <a:off x="145947" y="15034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1" name="Forme libre : forme 470">
              <a:extLst>
                <a:ext uri="{FF2B5EF4-FFF2-40B4-BE49-F238E27FC236}">
                  <a16:creationId xmlns:a16="http://schemas.microsoft.com/office/drawing/2014/main" id="{5A27D428-CE77-42C1-B8CA-3A227D5DF411}"/>
                </a:ext>
              </a:extLst>
            </p:cNvPr>
            <p:cNvSpPr/>
            <p:nvPr/>
          </p:nvSpPr>
          <p:spPr>
            <a:xfrm rot="8716295">
              <a:off x="-21870" y="1443501"/>
              <a:ext cx="68614" cy="55323"/>
            </a:xfrm>
            <a:custGeom>
              <a:avLst/>
              <a:gdLst>
                <a:gd name="connsiteX0" fmla="*/ 0 w 68614"/>
                <a:gd name="connsiteY0" fmla="*/ 55323 h 55323"/>
                <a:gd name="connsiteX1" fmla="*/ 0 w 68614"/>
                <a:gd name="connsiteY1" fmla="*/ 0 h 55323"/>
                <a:gd name="connsiteX2" fmla="*/ 68614 w 68614"/>
                <a:gd name="connsiteY2" fmla="*/ 0 h 55323"/>
                <a:gd name="connsiteX3" fmla="*/ 30266 w 68614"/>
                <a:gd name="connsiteY3" fmla="*/ 55323 h 55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614" h="55323">
                  <a:moveTo>
                    <a:pt x="0" y="55323"/>
                  </a:moveTo>
                  <a:lnTo>
                    <a:pt x="0" y="0"/>
                  </a:lnTo>
                  <a:lnTo>
                    <a:pt x="68614" y="0"/>
                  </a:lnTo>
                  <a:lnTo>
                    <a:pt x="30266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2" name="Forme libre : forme 471">
              <a:extLst>
                <a:ext uri="{FF2B5EF4-FFF2-40B4-BE49-F238E27FC236}">
                  <a16:creationId xmlns:a16="http://schemas.microsoft.com/office/drawing/2014/main" id="{DF9A3F72-B629-4ECA-8440-27AD7A8DC93E}"/>
                </a:ext>
              </a:extLst>
            </p:cNvPr>
            <p:cNvSpPr/>
            <p:nvPr/>
          </p:nvSpPr>
          <p:spPr>
            <a:xfrm rot="8716295">
              <a:off x="35817" y="1618109"/>
              <a:ext cx="103435" cy="203897"/>
            </a:xfrm>
            <a:custGeom>
              <a:avLst/>
              <a:gdLst>
                <a:gd name="connsiteX0" fmla="*/ 87556 w 103435"/>
                <a:gd name="connsiteY0" fmla="*/ 203897 h 203897"/>
                <a:gd name="connsiteX1" fmla="*/ 43288 w 103435"/>
                <a:gd name="connsiteY1" fmla="*/ 161305 h 203897"/>
                <a:gd name="connsiteX2" fmla="*/ 43288 w 103435"/>
                <a:gd name="connsiteY2" fmla="*/ 16404 h 203897"/>
                <a:gd name="connsiteX3" fmla="*/ 0 w 103435"/>
                <a:gd name="connsiteY3" fmla="*/ 16404 h 203897"/>
                <a:gd name="connsiteX4" fmla="*/ 0 w 103435"/>
                <a:gd name="connsiteY4" fmla="*/ 2278 h 203897"/>
                <a:gd name="connsiteX5" fmla="*/ 103435 w 103435"/>
                <a:gd name="connsiteY5" fmla="*/ 0 h 203897"/>
                <a:gd name="connsiteX6" fmla="*/ 103435 w 103435"/>
                <a:gd name="connsiteY6" fmla="*/ 180989 h 203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03897">
                  <a:moveTo>
                    <a:pt x="87556" y="203897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1809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3" name="Forme libre : forme 472">
              <a:extLst>
                <a:ext uri="{FF2B5EF4-FFF2-40B4-BE49-F238E27FC236}">
                  <a16:creationId xmlns:a16="http://schemas.microsoft.com/office/drawing/2014/main" id="{8E07B202-4136-4FA5-B44B-66518FBBBBA3}"/>
                </a:ext>
              </a:extLst>
            </p:cNvPr>
            <p:cNvSpPr/>
            <p:nvPr/>
          </p:nvSpPr>
          <p:spPr>
            <a:xfrm rot="7484129">
              <a:off x="139430" y="17950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4" name="Forme libre : forme 473">
              <a:extLst>
                <a:ext uri="{FF2B5EF4-FFF2-40B4-BE49-F238E27FC236}">
                  <a16:creationId xmlns:a16="http://schemas.microsoft.com/office/drawing/2014/main" id="{34554139-A9A2-4D5D-81E5-F4C0EE65204A}"/>
                </a:ext>
              </a:extLst>
            </p:cNvPr>
            <p:cNvSpPr/>
            <p:nvPr/>
          </p:nvSpPr>
          <p:spPr>
            <a:xfrm rot="13089394">
              <a:off x="244250" y="17615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5" name="Forme libre : forme 474">
              <a:extLst>
                <a:ext uri="{FF2B5EF4-FFF2-40B4-BE49-F238E27FC236}">
                  <a16:creationId xmlns:a16="http://schemas.microsoft.com/office/drawing/2014/main" id="{AB2F70AF-AA56-4CAD-ADF4-0833FC541883}"/>
                </a:ext>
              </a:extLst>
            </p:cNvPr>
            <p:cNvSpPr/>
            <p:nvPr/>
          </p:nvSpPr>
          <p:spPr>
            <a:xfrm rot="8716295">
              <a:off x="429835" y="15699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6" name="Forme libre : forme 475">
              <a:extLst>
                <a:ext uri="{FF2B5EF4-FFF2-40B4-BE49-F238E27FC236}">
                  <a16:creationId xmlns:a16="http://schemas.microsoft.com/office/drawing/2014/main" id="{75BBDF35-8448-40A6-BE33-7EEF756160B0}"/>
                </a:ext>
              </a:extLst>
            </p:cNvPr>
            <p:cNvSpPr/>
            <p:nvPr/>
          </p:nvSpPr>
          <p:spPr>
            <a:xfrm rot="8716295">
              <a:off x="378030" y="14663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7" name="Forme libre : forme 476">
              <a:extLst>
                <a:ext uri="{FF2B5EF4-FFF2-40B4-BE49-F238E27FC236}">
                  <a16:creationId xmlns:a16="http://schemas.microsoft.com/office/drawing/2014/main" id="{423A5D9B-DC1A-419A-9AFB-176F76ADBA77}"/>
                </a:ext>
              </a:extLst>
            </p:cNvPr>
            <p:cNvSpPr/>
            <p:nvPr/>
          </p:nvSpPr>
          <p:spPr>
            <a:xfrm rot="8716295">
              <a:off x="134784" y="14965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8" name="Forme libre : forme 477">
              <a:extLst>
                <a:ext uri="{FF2B5EF4-FFF2-40B4-BE49-F238E27FC236}">
                  <a16:creationId xmlns:a16="http://schemas.microsoft.com/office/drawing/2014/main" id="{09A04993-945B-4073-A4A3-49D8F429837D}"/>
                </a:ext>
              </a:extLst>
            </p:cNvPr>
            <p:cNvSpPr/>
            <p:nvPr/>
          </p:nvSpPr>
          <p:spPr>
            <a:xfrm rot="8716295">
              <a:off x="312236" y="13372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9" name="Forme libre : forme 478">
              <a:extLst>
                <a:ext uri="{FF2B5EF4-FFF2-40B4-BE49-F238E27FC236}">
                  <a16:creationId xmlns:a16="http://schemas.microsoft.com/office/drawing/2014/main" id="{F26589E4-0AEF-428F-8239-E3EDEF00E7E4}"/>
                </a:ext>
              </a:extLst>
            </p:cNvPr>
            <p:cNvSpPr/>
            <p:nvPr/>
          </p:nvSpPr>
          <p:spPr>
            <a:xfrm rot="8716295">
              <a:off x="-17798" y="949199"/>
              <a:ext cx="39526" cy="50123"/>
            </a:xfrm>
            <a:custGeom>
              <a:avLst/>
              <a:gdLst>
                <a:gd name="connsiteX0" fmla="*/ 0 w 39526"/>
                <a:gd name="connsiteY0" fmla="*/ 50123 h 50123"/>
                <a:gd name="connsiteX1" fmla="*/ 0 w 39526"/>
                <a:gd name="connsiteY1" fmla="*/ 0 h 50123"/>
                <a:gd name="connsiteX2" fmla="*/ 39526 w 39526"/>
                <a:gd name="connsiteY2" fmla="*/ 0 h 50123"/>
                <a:gd name="connsiteX3" fmla="*/ 4782 w 39526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26" h="50123">
                  <a:moveTo>
                    <a:pt x="0" y="50123"/>
                  </a:moveTo>
                  <a:lnTo>
                    <a:pt x="0" y="0"/>
                  </a:lnTo>
                  <a:lnTo>
                    <a:pt x="39526" y="0"/>
                  </a:lnTo>
                  <a:lnTo>
                    <a:pt x="4782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0" name="Forme libre : forme 479">
              <a:extLst>
                <a:ext uri="{FF2B5EF4-FFF2-40B4-BE49-F238E27FC236}">
                  <a16:creationId xmlns:a16="http://schemas.microsoft.com/office/drawing/2014/main" id="{4C4296DE-55F9-4C4A-97B0-A63397A7DF77}"/>
                </a:ext>
              </a:extLst>
            </p:cNvPr>
            <p:cNvSpPr/>
            <p:nvPr/>
          </p:nvSpPr>
          <p:spPr>
            <a:xfrm rot="8716295">
              <a:off x="-64996" y="834728"/>
              <a:ext cx="249650" cy="254774"/>
            </a:xfrm>
            <a:custGeom>
              <a:avLst/>
              <a:gdLst>
                <a:gd name="connsiteX0" fmla="*/ 51490 w 249650"/>
                <a:gd name="connsiteY0" fmla="*/ 254774 h 254774"/>
                <a:gd name="connsiteX1" fmla="*/ 51490 w 249650"/>
                <a:gd name="connsiteY1" fmla="*/ 45624 h 254774"/>
                <a:gd name="connsiteX2" fmla="*/ 0 w 249650"/>
                <a:gd name="connsiteY2" fmla="*/ 45624 h 254774"/>
                <a:gd name="connsiteX3" fmla="*/ 0 w 249650"/>
                <a:gd name="connsiteY3" fmla="*/ 1425 h 254774"/>
                <a:gd name="connsiteX4" fmla="*/ 104803 w 249650"/>
                <a:gd name="connsiteY4" fmla="*/ 1425 h 254774"/>
                <a:gd name="connsiteX5" fmla="*/ 104803 w 249650"/>
                <a:gd name="connsiteY5" fmla="*/ 75242 h 254774"/>
                <a:gd name="connsiteX6" fmla="*/ 106169 w 249650"/>
                <a:gd name="connsiteY6" fmla="*/ 75242 h 254774"/>
                <a:gd name="connsiteX7" fmla="*/ 154014 w 249650"/>
                <a:gd name="connsiteY7" fmla="*/ 5981 h 254774"/>
                <a:gd name="connsiteX8" fmla="*/ 185455 w 249650"/>
                <a:gd name="connsiteY8" fmla="*/ 57 h 254774"/>
                <a:gd name="connsiteX9" fmla="*/ 240647 w 249650"/>
                <a:gd name="connsiteY9" fmla="*/ 22727 h 254774"/>
                <a:gd name="connsiteX10" fmla="*/ 249650 w 249650"/>
                <a:gd name="connsiteY10" fmla="*/ 52327 h 254774"/>
                <a:gd name="connsiteX11" fmla="*/ 218795 w 249650"/>
                <a:gd name="connsiteY11" fmla="*/ 96841 h 254774"/>
                <a:gd name="connsiteX12" fmla="*/ 198669 w 249650"/>
                <a:gd name="connsiteY12" fmla="*/ 98025 h 254774"/>
                <a:gd name="connsiteX13" fmla="*/ 198669 w 249650"/>
                <a:gd name="connsiteY13" fmla="*/ 81621 h 254774"/>
                <a:gd name="connsiteX14" fmla="*/ 164950 w 249650"/>
                <a:gd name="connsiteY14" fmla="*/ 40156 h 254774"/>
                <a:gd name="connsiteX15" fmla="*/ 111638 w 249650"/>
                <a:gd name="connsiteY15" fmla="*/ 127643 h 254774"/>
                <a:gd name="connsiteX16" fmla="*/ 111638 w 249650"/>
                <a:gd name="connsiteY16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9650" h="254774">
                  <a:moveTo>
                    <a:pt x="51490" y="254774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08922" y="-398"/>
                    <a:pt x="227718" y="7576"/>
                    <a:pt x="240647" y="22727"/>
                  </a:cubicBezTo>
                  <a:lnTo>
                    <a:pt x="249650" y="52327"/>
                  </a:lnTo>
                  <a:lnTo>
                    <a:pt x="218795" y="96841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1" name="Forme libre : forme 480">
              <a:extLst>
                <a:ext uri="{FF2B5EF4-FFF2-40B4-BE49-F238E27FC236}">
                  <a16:creationId xmlns:a16="http://schemas.microsoft.com/office/drawing/2014/main" id="{5A2819AD-E741-4041-ACED-C828CEF01D2A}"/>
                </a:ext>
              </a:extLst>
            </p:cNvPr>
            <p:cNvSpPr/>
            <p:nvPr/>
          </p:nvSpPr>
          <p:spPr>
            <a:xfrm rot="7484129">
              <a:off x="-63314" y="1172497"/>
              <a:ext cx="203848" cy="146395"/>
            </a:xfrm>
            <a:custGeom>
              <a:avLst/>
              <a:gdLst>
                <a:gd name="connsiteX0" fmla="*/ 0 w 203848"/>
                <a:gd name="connsiteY0" fmla="*/ 55323 h 146395"/>
                <a:gd name="connsiteX1" fmla="*/ 0 w 203848"/>
                <a:gd name="connsiteY1" fmla="*/ 0 h 146395"/>
                <a:gd name="connsiteX2" fmla="*/ 203848 w 203848"/>
                <a:gd name="connsiteY2" fmla="*/ 0 h 146395"/>
                <a:gd name="connsiteX3" fmla="*/ 203847 w 203848"/>
                <a:gd name="connsiteY3" fmla="*/ 49512 h 146395"/>
                <a:gd name="connsiteX4" fmla="*/ 195466 w 203848"/>
                <a:gd name="connsiteY4" fmla="*/ 55323 h 146395"/>
                <a:gd name="connsiteX5" fmla="*/ 139055 w 203848"/>
                <a:gd name="connsiteY5" fmla="*/ 55323 h 146395"/>
                <a:gd name="connsiteX6" fmla="*/ 121388 w 203848"/>
                <a:gd name="connsiteY6" fmla="*/ 106685 h 146395"/>
                <a:gd name="connsiteX7" fmla="*/ 64115 w 203848"/>
                <a:gd name="connsiteY7" fmla="*/ 146395 h 146395"/>
                <a:gd name="connsiteX8" fmla="*/ 47847 w 203848"/>
                <a:gd name="connsiteY8" fmla="*/ 116129 h 146395"/>
                <a:gd name="connsiteX9" fmla="*/ 69777 w 203848"/>
                <a:gd name="connsiteY9" fmla="*/ 55323 h 146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848" h="146395">
                  <a:moveTo>
                    <a:pt x="0" y="55323"/>
                  </a:moveTo>
                  <a:lnTo>
                    <a:pt x="0" y="0"/>
                  </a:lnTo>
                  <a:lnTo>
                    <a:pt x="203848" y="0"/>
                  </a:lnTo>
                  <a:lnTo>
                    <a:pt x="203847" y="49512"/>
                  </a:lnTo>
                  <a:lnTo>
                    <a:pt x="195466" y="55323"/>
                  </a:lnTo>
                  <a:lnTo>
                    <a:pt x="139055" y="55323"/>
                  </a:lnTo>
                  <a:lnTo>
                    <a:pt x="121388" y="106685"/>
                  </a:lnTo>
                  <a:lnTo>
                    <a:pt x="64115" y="146395"/>
                  </a:lnTo>
                  <a:lnTo>
                    <a:pt x="47847" y="116129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2" name="Forme libre : forme 481">
              <a:extLst>
                <a:ext uri="{FF2B5EF4-FFF2-40B4-BE49-F238E27FC236}">
                  <a16:creationId xmlns:a16="http://schemas.microsoft.com/office/drawing/2014/main" id="{BF19A776-F6DB-4B5F-AAC3-71AD58912554}"/>
                </a:ext>
              </a:extLst>
            </p:cNvPr>
            <p:cNvSpPr/>
            <p:nvPr/>
          </p:nvSpPr>
          <p:spPr>
            <a:xfrm rot="13089394">
              <a:off x="25311" y="109952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3" name="Forme libre : forme 482">
              <a:extLst>
                <a:ext uri="{FF2B5EF4-FFF2-40B4-BE49-F238E27FC236}">
                  <a16:creationId xmlns:a16="http://schemas.microsoft.com/office/drawing/2014/main" id="{1F910699-3B12-45BE-B517-E2166075FFC7}"/>
                </a:ext>
              </a:extLst>
            </p:cNvPr>
            <p:cNvSpPr/>
            <p:nvPr/>
          </p:nvSpPr>
          <p:spPr>
            <a:xfrm rot="8716295">
              <a:off x="210896" y="90784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4" name="Forme libre : forme 483">
              <a:extLst>
                <a:ext uri="{FF2B5EF4-FFF2-40B4-BE49-F238E27FC236}">
                  <a16:creationId xmlns:a16="http://schemas.microsoft.com/office/drawing/2014/main" id="{A819C2A4-F35F-43E8-9AB1-07103AECD990}"/>
                </a:ext>
              </a:extLst>
            </p:cNvPr>
            <p:cNvSpPr/>
            <p:nvPr/>
          </p:nvSpPr>
          <p:spPr>
            <a:xfrm rot="8716295">
              <a:off x="159091" y="80425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5" name="Forme libre : forme 484">
              <a:extLst>
                <a:ext uri="{FF2B5EF4-FFF2-40B4-BE49-F238E27FC236}">
                  <a16:creationId xmlns:a16="http://schemas.microsoft.com/office/drawing/2014/main" id="{F748C402-EDBB-4B63-B49E-2F4080A37ADD}"/>
                </a:ext>
              </a:extLst>
            </p:cNvPr>
            <p:cNvSpPr/>
            <p:nvPr/>
          </p:nvSpPr>
          <p:spPr>
            <a:xfrm rot="8716295">
              <a:off x="93297" y="67523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6" name="Forme libre : forme 485">
              <a:extLst>
                <a:ext uri="{FF2B5EF4-FFF2-40B4-BE49-F238E27FC236}">
                  <a16:creationId xmlns:a16="http://schemas.microsoft.com/office/drawing/2014/main" id="{73609A63-0E69-42A0-8437-604DF28699ED}"/>
                </a:ext>
              </a:extLst>
            </p:cNvPr>
            <p:cNvSpPr/>
            <p:nvPr/>
          </p:nvSpPr>
          <p:spPr>
            <a:xfrm rot="8716295">
              <a:off x="-7001" y="316701"/>
              <a:ext cx="14001" cy="20198"/>
            </a:xfrm>
            <a:custGeom>
              <a:avLst/>
              <a:gdLst>
                <a:gd name="connsiteX0" fmla="*/ 0 w 14001"/>
                <a:gd name="connsiteY0" fmla="*/ 20198 h 20198"/>
                <a:gd name="connsiteX1" fmla="*/ 0 w 14001"/>
                <a:gd name="connsiteY1" fmla="*/ 0 h 20198"/>
                <a:gd name="connsiteX2" fmla="*/ 14001 w 14001"/>
                <a:gd name="connsiteY2" fmla="*/ 0 h 2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01" h="20198">
                  <a:moveTo>
                    <a:pt x="0" y="20198"/>
                  </a:moveTo>
                  <a:lnTo>
                    <a:pt x="0" y="0"/>
                  </a:lnTo>
                  <a:lnTo>
                    <a:pt x="1400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7" name="Forme libre : forme 486">
              <a:extLst>
                <a:ext uri="{FF2B5EF4-FFF2-40B4-BE49-F238E27FC236}">
                  <a16:creationId xmlns:a16="http://schemas.microsoft.com/office/drawing/2014/main" id="{577CC5F5-15C9-4008-90A0-668217098FFB}"/>
                </a:ext>
              </a:extLst>
            </p:cNvPr>
            <p:cNvSpPr/>
            <p:nvPr/>
          </p:nvSpPr>
          <p:spPr>
            <a:xfrm rot="13089394">
              <a:off x="-81658" y="472652"/>
              <a:ext cx="173631" cy="237684"/>
            </a:xfrm>
            <a:custGeom>
              <a:avLst/>
              <a:gdLst>
                <a:gd name="connsiteX0" fmla="*/ 173631 w 173631"/>
                <a:gd name="connsiteY0" fmla="*/ 220990 h 237684"/>
                <a:gd name="connsiteX1" fmla="*/ 130972 w 173631"/>
                <a:gd name="connsiteY1" fmla="*/ 232382 h 237684"/>
                <a:gd name="connsiteX2" fmla="*/ 91597 w 173631"/>
                <a:gd name="connsiteY2" fmla="*/ 237521 h 237684"/>
                <a:gd name="connsiteX3" fmla="*/ 23727 w 173631"/>
                <a:gd name="connsiteY3" fmla="*/ 209931 h 237684"/>
                <a:gd name="connsiteX4" fmla="*/ 0 w 173631"/>
                <a:gd name="connsiteY4" fmla="*/ 115023 h 237684"/>
                <a:gd name="connsiteX5" fmla="*/ 0 w 173631"/>
                <a:gd name="connsiteY5" fmla="*/ 0 h 237684"/>
                <a:gd name="connsiteX6" fmla="*/ 76176 w 173631"/>
                <a:gd name="connsiteY6" fmla="*/ 96953 h 237684"/>
                <a:gd name="connsiteX7" fmla="*/ 76768 w 173631"/>
                <a:gd name="connsiteY7" fmla="*/ 109023 h 237684"/>
                <a:gd name="connsiteX8" fmla="*/ 87734 w 173631"/>
                <a:gd name="connsiteY8" fmla="*/ 154201 h 237684"/>
                <a:gd name="connsiteX9" fmla="*/ 111117 w 173631"/>
                <a:gd name="connsiteY9" fmla="*/ 181514 h 237684"/>
                <a:gd name="connsiteX10" fmla="*/ 148930 w 173631"/>
                <a:gd name="connsiteY10" fmla="*/ 189552 h 237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3631" h="237684">
                  <a:moveTo>
                    <a:pt x="173631" y="220990"/>
                  </a:moveTo>
                  <a:lnTo>
                    <a:pt x="130972" y="232382"/>
                  </a:lnTo>
                  <a:cubicBezTo>
                    <a:pt x="116428" y="235210"/>
                    <a:pt x="103047" y="236831"/>
                    <a:pt x="91597" y="237521"/>
                  </a:cubicBezTo>
                  <a:cubicBezTo>
                    <a:pt x="66215" y="239176"/>
                    <a:pt x="41384" y="228141"/>
                    <a:pt x="23727" y="209931"/>
                  </a:cubicBezTo>
                  <a:cubicBezTo>
                    <a:pt x="4966" y="191722"/>
                    <a:pt x="0" y="160270"/>
                    <a:pt x="0" y="115023"/>
                  </a:cubicBezTo>
                  <a:lnTo>
                    <a:pt x="0" y="0"/>
                  </a:lnTo>
                  <a:lnTo>
                    <a:pt x="76176" y="96953"/>
                  </a:lnTo>
                  <a:lnTo>
                    <a:pt x="76768" y="109023"/>
                  </a:lnTo>
                  <a:cubicBezTo>
                    <a:pt x="79044" y="124404"/>
                    <a:pt x="82768" y="139578"/>
                    <a:pt x="87734" y="154201"/>
                  </a:cubicBezTo>
                  <a:cubicBezTo>
                    <a:pt x="92149" y="166340"/>
                    <a:pt x="100012" y="175445"/>
                    <a:pt x="111117" y="181514"/>
                  </a:cubicBezTo>
                  <a:lnTo>
                    <a:pt x="148930" y="1895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8" name="Forme libre : forme 487">
              <a:extLst>
                <a:ext uri="{FF2B5EF4-FFF2-40B4-BE49-F238E27FC236}">
                  <a16:creationId xmlns:a16="http://schemas.microsoft.com/office/drawing/2014/main" id="{E64C5A14-C3CC-4B02-838F-FD1CD7D882CB}"/>
                </a:ext>
              </a:extLst>
            </p:cNvPr>
            <p:cNvSpPr/>
            <p:nvPr/>
          </p:nvSpPr>
          <p:spPr>
            <a:xfrm rot="8716295">
              <a:off x="-11774" y="24443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9" name="Forme libre : forme 488">
              <a:extLst>
                <a:ext uri="{FF2B5EF4-FFF2-40B4-BE49-F238E27FC236}">
                  <a16:creationId xmlns:a16="http://schemas.microsoft.com/office/drawing/2014/main" id="{26383EB6-3CD6-4688-B5B2-AB6D6EF7025D}"/>
                </a:ext>
              </a:extLst>
            </p:cNvPr>
            <p:cNvSpPr/>
            <p:nvPr/>
          </p:nvSpPr>
          <p:spPr>
            <a:xfrm rot="8716295">
              <a:off x="-30092" y="143486"/>
              <a:ext cx="77721" cy="97260"/>
            </a:xfrm>
            <a:custGeom>
              <a:avLst/>
              <a:gdLst>
                <a:gd name="connsiteX0" fmla="*/ 15821 w 77721"/>
                <a:gd name="connsiteY0" fmla="*/ 97260 h 97260"/>
                <a:gd name="connsiteX1" fmla="*/ 0 w 77721"/>
                <a:gd name="connsiteY1" fmla="*/ 59790 h 97260"/>
                <a:gd name="connsiteX2" fmla="*/ 0 w 77721"/>
                <a:gd name="connsiteY2" fmla="*/ 58869 h 97260"/>
                <a:gd name="connsiteX3" fmla="*/ 17477 w 77721"/>
                <a:gd name="connsiteY3" fmla="*/ 17477 h 97260"/>
                <a:gd name="connsiteX4" fmla="*/ 58869 w 77721"/>
                <a:gd name="connsiteY4" fmla="*/ 0 h 97260"/>
                <a:gd name="connsiteX5" fmla="*/ 77721 w 77721"/>
                <a:gd name="connsiteY5" fmla="*/ 7960 h 97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721" h="97260">
                  <a:moveTo>
                    <a:pt x="15821" y="97260"/>
                  </a:moveTo>
                  <a:lnTo>
                    <a:pt x="0" y="59790"/>
                  </a:ln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lnTo>
                    <a:pt x="77721" y="79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0" name="Forme libre : forme 489">
              <a:extLst>
                <a:ext uri="{FF2B5EF4-FFF2-40B4-BE49-F238E27FC236}">
                  <a16:creationId xmlns:a16="http://schemas.microsoft.com/office/drawing/2014/main" id="{6537CDA1-2216-4877-A848-A93D1F552A9D}"/>
                </a:ext>
              </a:extLst>
            </p:cNvPr>
            <p:cNvSpPr/>
            <p:nvPr/>
          </p:nvSpPr>
          <p:spPr>
            <a:xfrm rot="8716295">
              <a:off x="-17797" y="3452694"/>
              <a:ext cx="58455" cy="44199"/>
            </a:xfrm>
            <a:custGeom>
              <a:avLst/>
              <a:gdLst>
                <a:gd name="connsiteX0" fmla="*/ 0 w 58455"/>
                <a:gd name="connsiteY0" fmla="*/ 44199 h 44199"/>
                <a:gd name="connsiteX1" fmla="*/ 0 w 58455"/>
                <a:gd name="connsiteY1" fmla="*/ 0 h 44199"/>
                <a:gd name="connsiteX2" fmla="*/ 58455 w 58455"/>
                <a:gd name="connsiteY2" fmla="*/ 0 h 44199"/>
                <a:gd name="connsiteX3" fmla="*/ 27817 w 58455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55" h="44199">
                  <a:moveTo>
                    <a:pt x="0" y="44199"/>
                  </a:moveTo>
                  <a:lnTo>
                    <a:pt x="0" y="0"/>
                  </a:lnTo>
                  <a:lnTo>
                    <a:pt x="58455" y="0"/>
                  </a:lnTo>
                  <a:lnTo>
                    <a:pt x="27817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1" name="Forme libre : forme 490">
              <a:extLst>
                <a:ext uri="{FF2B5EF4-FFF2-40B4-BE49-F238E27FC236}">
                  <a16:creationId xmlns:a16="http://schemas.microsoft.com/office/drawing/2014/main" id="{215CC3B1-8089-4D43-97B0-1819B833BE19}"/>
                </a:ext>
              </a:extLst>
            </p:cNvPr>
            <p:cNvSpPr/>
            <p:nvPr/>
          </p:nvSpPr>
          <p:spPr>
            <a:xfrm rot="13089394">
              <a:off x="-91485" y="3601812"/>
              <a:ext cx="206527" cy="292654"/>
            </a:xfrm>
            <a:custGeom>
              <a:avLst/>
              <a:gdLst>
                <a:gd name="connsiteX0" fmla="*/ 206527 w 206527"/>
                <a:gd name="connsiteY0" fmla="*/ 258693 h 292654"/>
                <a:gd name="connsiteX1" fmla="*/ 177331 w 206527"/>
                <a:gd name="connsiteY1" fmla="*/ 274971 h 292654"/>
                <a:gd name="connsiteX2" fmla="*/ 91597 w 206527"/>
                <a:gd name="connsiteY2" fmla="*/ 292491 h 292654"/>
                <a:gd name="connsiteX3" fmla="*/ 23727 w 206527"/>
                <a:gd name="connsiteY3" fmla="*/ 264901 h 292654"/>
                <a:gd name="connsiteX4" fmla="*/ 0 w 206527"/>
                <a:gd name="connsiteY4" fmla="*/ 169993 h 292654"/>
                <a:gd name="connsiteX5" fmla="*/ 0 w 206527"/>
                <a:gd name="connsiteY5" fmla="*/ 1698 h 292654"/>
                <a:gd name="connsiteX6" fmla="*/ 3273 w 206527"/>
                <a:gd name="connsiteY6" fmla="*/ 0 h 292654"/>
                <a:gd name="connsiteX7" fmla="*/ 74297 w 206527"/>
                <a:gd name="connsiteY7" fmla="*/ 90396 h 292654"/>
                <a:gd name="connsiteX8" fmla="*/ 74492 w 206527"/>
                <a:gd name="connsiteY8" fmla="*/ 117574 h 292654"/>
                <a:gd name="connsiteX9" fmla="*/ 87734 w 206527"/>
                <a:gd name="connsiteY9" fmla="*/ 209171 h 292654"/>
                <a:gd name="connsiteX10" fmla="*/ 153949 w 206527"/>
                <a:gd name="connsiteY10" fmla="*/ 245589 h 292654"/>
                <a:gd name="connsiteX11" fmla="*/ 191049 w 206527"/>
                <a:gd name="connsiteY11" fmla="*/ 238993 h 292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527" h="292654">
                  <a:moveTo>
                    <a:pt x="206527" y="258693"/>
                  </a:moveTo>
                  <a:lnTo>
                    <a:pt x="177331" y="274971"/>
                  </a:lnTo>
                  <a:cubicBezTo>
                    <a:pt x="145121" y="286007"/>
                    <a:pt x="114496" y="291111"/>
                    <a:pt x="91597" y="292491"/>
                  </a:cubicBezTo>
                  <a:cubicBezTo>
                    <a:pt x="66215" y="294146"/>
                    <a:pt x="41385" y="283111"/>
                    <a:pt x="23727" y="264901"/>
                  </a:cubicBezTo>
                  <a:cubicBezTo>
                    <a:pt x="4966" y="246692"/>
                    <a:pt x="0" y="215240"/>
                    <a:pt x="0" y="169993"/>
                  </a:cubicBezTo>
                  <a:lnTo>
                    <a:pt x="0" y="1698"/>
                  </a:lnTo>
                  <a:lnTo>
                    <a:pt x="3273" y="0"/>
                  </a:lnTo>
                  <a:lnTo>
                    <a:pt x="74297" y="90396"/>
                  </a:lnTo>
                  <a:lnTo>
                    <a:pt x="74492" y="117574"/>
                  </a:lnTo>
                  <a:cubicBezTo>
                    <a:pt x="72836" y="148474"/>
                    <a:pt x="77802" y="179926"/>
                    <a:pt x="87734" y="209171"/>
                  </a:cubicBezTo>
                  <a:cubicBezTo>
                    <a:pt x="96564" y="233450"/>
                    <a:pt x="119187" y="245589"/>
                    <a:pt x="153949" y="245589"/>
                  </a:cubicBezTo>
                  <a:lnTo>
                    <a:pt x="191049" y="2389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2" name="Forme libre : forme 491">
              <a:extLst>
                <a:ext uri="{FF2B5EF4-FFF2-40B4-BE49-F238E27FC236}">
                  <a16:creationId xmlns:a16="http://schemas.microsoft.com/office/drawing/2014/main" id="{234A14C5-DCBF-4B3D-8912-C2966FB8FAA0}"/>
                </a:ext>
              </a:extLst>
            </p:cNvPr>
            <p:cNvSpPr/>
            <p:nvPr/>
          </p:nvSpPr>
          <p:spPr>
            <a:xfrm rot="8716295">
              <a:off x="24761" y="33896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3" name="Forme libre : forme 492">
              <a:extLst>
                <a:ext uri="{FF2B5EF4-FFF2-40B4-BE49-F238E27FC236}">
                  <a16:creationId xmlns:a16="http://schemas.microsoft.com/office/drawing/2014/main" id="{A8F20E36-ED7E-4DCB-8818-49A4A7E98BE7}"/>
                </a:ext>
              </a:extLst>
            </p:cNvPr>
            <p:cNvSpPr/>
            <p:nvPr/>
          </p:nvSpPr>
          <p:spPr>
            <a:xfrm rot="8716295">
              <a:off x="-24047" y="3281741"/>
              <a:ext cx="106042" cy="113733"/>
            </a:xfrm>
            <a:custGeom>
              <a:avLst/>
              <a:gdLst>
                <a:gd name="connsiteX0" fmla="*/ 17477 w 106042"/>
                <a:gd name="connsiteY0" fmla="*/ 101182 h 113733"/>
                <a:gd name="connsiteX1" fmla="*/ 0 w 106042"/>
                <a:gd name="connsiteY1" fmla="*/ 59790 h 113733"/>
                <a:gd name="connsiteX2" fmla="*/ 0 w 106042"/>
                <a:gd name="connsiteY2" fmla="*/ 58869 h 113733"/>
                <a:gd name="connsiteX3" fmla="*/ 17477 w 106042"/>
                <a:gd name="connsiteY3" fmla="*/ 17477 h 113733"/>
                <a:gd name="connsiteX4" fmla="*/ 58869 w 106042"/>
                <a:gd name="connsiteY4" fmla="*/ 0 h 113733"/>
                <a:gd name="connsiteX5" fmla="*/ 100262 w 106042"/>
                <a:gd name="connsiteY5" fmla="*/ 17477 h 113733"/>
                <a:gd name="connsiteX6" fmla="*/ 106042 w 106042"/>
                <a:gd name="connsiteY6" fmla="*/ 31234 h 113733"/>
                <a:gd name="connsiteX7" fmla="*/ 48856 w 106042"/>
                <a:gd name="connsiteY7" fmla="*/ 113733 h 11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042" h="113733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cubicBezTo>
                    <a:pt x="74507" y="0"/>
                    <a:pt x="89224" y="6439"/>
                    <a:pt x="100262" y="17477"/>
                  </a:cubicBezTo>
                  <a:lnTo>
                    <a:pt x="106042" y="31234"/>
                  </a:lnTo>
                  <a:lnTo>
                    <a:pt x="48856" y="1137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4" name="Forme libre : forme 493">
              <a:extLst>
                <a:ext uri="{FF2B5EF4-FFF2-40B4-BE49-F238E27FC236}">
                  <a16:creationId xmlns:a16="http://schemas.microsoft.com/office/drawing/2014/main" id="{521798C9-8778-477C-89ED-433CF02349E9}"/>
                </a:ext>
              </a:extLst>
            </p:cNvPr>
            <p:cNvSpPr/>
            <p:nvPr/>
          </p:nvSpPr>
          <p:spPr>
            <a:xfrm rot="8716295">
              <a:off x="-21924" y="3179872"/>
              <a:ext cx="45776" cy="62656"/>
            </a:xfrm>
            <a:custGeom>
              <a:avLst/>
              <a:gdLst>
                <a:gd name="connsiteX0" fmla="*/ 2345 w 45776"/>
                <a:gd name="connsiteY0" fmla="*/ 62656 h 62656"/>
                <a:gd name="connsiteX1" fmla="*/ 0 w 45776"/>
                <a:gd name="connsiteY1" fmla="*/ 57104 h 62656"/>
                <a:gd name="connsiteX2" fmla="*/ 0 w 45776"/>
                <a:gd name="connsiteY2" fmla="*/ 56183 h 62656"/>
                <a:gd name="connsiteX3" fmla="*/ 17477 w 45776"/>
                <a:gd name="connsiteY3" fmla="*/ 14791 h 62656"/>
                <a:gd name="connsiteX4" fmla="*/ 36449 w 45776"/>
                <a:gd name="connsiteY4" fmla="*/ 1913 h 62656"/>
                <a:gd name="connsiteX5" fmla="*/ 45776 w 45776"/>
                <a:gd name="connsiteY5" fmla="*/ 0 h 62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776" h="62656">
                  <a:moveTo>
                    <a:pt x="2345" y="62656"/>
                  </a:moveTo>
                  <a:lnTo>
                    <a:pt x="0" y="57104"/>
                  </a:lnTo>
                  <a:lnTo>
                    <a:pt x="0" y="56183"/>
                  </a:lnTo>
                  <a:cubicBezTo>
                    <a:pt x="0" y="40547"/>
                    <a:pt x="6439" y="25829"/>
                    <a:pt x="17477" y="14791"/>
                  </a:cubicBezTo>
                  <a:cubicBezTo>
                    <a:pt x="22996" y="9272"/>
                    <a:pt x="29435" y="4903"/>
                    <a:pt x="36449" y="1913"/>
                  </a:cubicBezTo>
                  <a:lnTo>
                    <a:pt x="4577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5" name="Forme libre : forme 494">
              <a:extLst>
                <a:ext uri="{FF2B5EF4-FFF2-40B4-BE49-F238E27FC236}">
                  <a16:creationId xmlns:a16="http://schemas.microsoft.com/office/drawing/2014/main" id="{BB8A2107-7C61-4B85-8EFA-ABA59720E5DB}"/>
                </a:ext>
              </a:extLst>
            </p:cNvPr>
            <p:cNvSpPr/>
            <p:nvPr/>
          </p:nvSpPr>
          <p:spPr>
            <a:xfrm rot="8716295">
              <a:off x="592036" y="5123131"/>
              <a:ext cx="56900" cy="40151"/>
            </a:xfrm>
            <a:custGeom>
              <a:avLst/>
              <a:gdLst>
                <a:gd name="connsiteX0" fmla="*/ 13826 w 56900"/>
                <a:gd name="connsiteY0" fmla="*/ 23593 h 40151"/>
                <a:gd name="connsiteX1" fmla="*/ 948 w 56900"/>
                <a:gd name="connsiteY1" fmla="*/ 4622 h 40151"/>
                <a:gd name="connsiteX2" fmla="*/ 0 w 56900"/>
                <a:gd name="connsiteY2" fmla="*/ 0 h 40151"/>
                <a:gd name="connsiteX3" fmla="*/ 56900 w 56900"/>
                <a:gd name="connsiteY3" fmla="*/ 39441 h 40151"/>
                <a:gd name="connsiteX4" fmla="*/ 55218 w 56900"/>
                <a:gd name="connsiteY4" fmla="*/ 40151 h 40151"/>
                <a:gd name="connsiteX5" fmla="*/ 13826 w 56900"/>
                <a:gd name="connsiteY5" fmla="*/ 23593 h 40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900" h="40151">
                  <a:moveTo>
                    <a:pt x="13826" y="23593"/>
                  </a:moveTo>
                  <a:cubicBezTo>
                    <a:pt x="8307" y="18074"/>
                    <a:pt x="3938" y="11636"/>
                    <a:pt x="948" y="4622"/>
                  </a:cubicBezTo>
                  <a:lnTo>
                    <a:pt x="0" y="0"/>
                  </a:lnTo>
                  <a:lnTo>
                    <a:pt x="56900" y="39441"/>
                  </a:lnTo>
                  <a:lnTo>
                    <a:pt x="55218" y="40151"/>
                  </a:lnTo>
                  <a:cubicBezTo>
                    <a:pt x="39581" y="40151"/>
                    <a:pt x="24864" y="34631"/>
                    <a:pt x="13826" y="2359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6" name="Forme libre : forme 495">
              <a:extLst>
                <a:ext uri="{FF2B5EF4-FFF2-40B4-BE49-F238E27FC236}">
                  <a16:creationId xmlns:a16="http://schemas.microsoft.com/office/drawing/2014/main" id="{7E303E9D-76C1-4789-8C9D-5012551E179C}"/>
                </a:ext>
              </a:extLst>
            </p:cNvPr>
            <p:cNvSpPr/>
            <p:nvPr/>
          </p:nvSpPr>
          <p:spPr>
            <a:xfrm rot="8716295">
              <a:off x="-21324" y="4100649"/>
              <a:ext cx="79113" cy="50123"/>
            </a:xfrm>
            <a:custGeom>
              <a:avLst/>
              <a:gdLst>
                <a:gd name="connsiteX0" fmla="*/ 0 w 79113"/>
                <a:gd name="connsiteY0" fmla="*/ 50123 h 50123"/>
                <a:gd name="connsiteX1" fmla="*/ 0 w 79113"/>
                <a:gd name="connsiteY1" fmla="*/ 0 h 50123"/>
                <a:gd name="connsiteX2" fmla="*/ 79113 w 79113"/>
                <a:gd name="connsiteY2" fmla="*/ 0 h 50123"/>
                <a:gd name="connsiteX3" fmla="*/ 44369 w 79113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113" h="50123">
                  <a:moveTo>
                    <a:pt x="0" y="50123"/>
                  </a:moveTo>
                  <a:lnTo>
                    <a:pt x="0" y="0"/>
                  </a:lnTo>
                  <a:lnTo>
                    <a:pt x="79113" y="0"/>
                  </a:lnTo>
                  <a:lnTo>
                    <a:pt x="44369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7" name="Forme libre : forme 496">
              <a:extLst>
                <a:ext uri="{FF2B5EF4-FFF2-40B4-BE49-F238E27FC236}">
                  <a16:creationId xmlns:a16="http://schemas.microsoft.com/office/drawing/2014/main" id="{02FDD4B8-F673-41A9-915D-2FF1DD6CBE6F}"/>
                </a:ext>
              </a:extLst>
            </p:cNvPr>
            <p:cNvSpPr/>
            <p:nvPr/>
          </p:nvSpPr>
          <p:spPr>
            <a:xfrm rot="8716295">
              <a:off x="-40457" y="398156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8" name="Forme libre : forme 497">
              <a:extLst>
                <a:ext uri="{FF2B5EF4-FFF2-40B4-BE49-F238E27FC236}">
                  <a16:creationId xmlns:a16="http://schemas.microsoft.com/office/drawing/2014/main" id="{DBB3B685-0513-450E-A467-E28F77542517}"/>
                </a:ext>
              </a:extLst>
            </p:cNvPr>
            <p:cNvSpPr/>
            <p:nvPr/>
          </p:nvSpPr>
          <p:spPr>
            <a:xfrm rot="7484129">
              <a:off x="-46974" y="427316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9" name="Forme libre : forme 498">
              <a:extLst>
                <a:ext uri="{FF2B5EF4-FFF2-40B4-BE49-F238E27FC236}">
                  <a16:creationId xmlns:a16="http://schemas.microsoft.com/office/drawing/2014/main" id="{C5419776-A8A1-4E3C-9093-D945DA9FAC68}"/>
                </a:ext>
              </a:extLst>
            </p:cNvPr>
            <p:cNvSpPr/>
            <p:nvPr/>
          </p:nvSpPr>
          <p:spPr>
            <a:xfrm rot="13089394">
              <a:off x="57846" y="423970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0" name="Forme libre : forme 499">
              <a:extLst>
                <a:ext uri="{FF2B5EF4-FFF2-40B4-BE49-F238E27FC236}">
                  <a16:creationId xmlns:a16="http://schemas.microsoft.com/office/drawing/2014/main" id="{F97D67FD-E4E6-48C4-AEFE-555D34A356DE}"/>
                </a:ext>
              </a:extLst>
            </p:cNvPr>
            <p:cNvSpPr/>
            <p:nvPr/>
          </p:nvSpPr>
          <p:spPr>
            <a:xfrm rot="8716295">
              <a:off x="243431" y="404801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1" name="Forme libre : forme 500">
              <a:extLst>
                <a:ext uri="{FF2B5EF4-FFF2-40B4-BE49-F238E27FC236}">
                  <a16:creationId xmlns:a16="http://schemas.microsoft.com/office/drawing/2014/main" id="{BCE94871-8BA1-45A9-8930-C2F42EF9B5F3}"/>
                </a:ext>
              </a:extLst>
            </p:cNvPr>
            <p:cNvSpPr/>
            <p:nvPr/>
          </p:nvSpPr>
          <p:spPr>
            <a:xfrm rot="8716295">
              <a:off x="191626" y="39444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2" name="Forme libre : forme 501">
              <a:extLst>
                <a:ext uri="{FF2B5EF4-FFF2-40B4-BE49-F238E27FC236}">
                  <a16:creationId xmlns:a16="http://schemas.microsoft.com/office/drawing/2014/main" id="{04CBAE1D-449E-47DE-9709-A831A36DA439}"/>
                </a:ext>
              </a:extLst>
            </p:cNvPr>
            <p:cNvSpPr/>
            <p:nvPr/>
          </p:nvSpPr>
          <p:spPr>
            <a:xfrm rot="8716295">
              <a:off x="125832" y="381540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3" name="Forme libre : forme 502">
              <a:extLst>
                <a:ext uri="{FF2B5EF4-FFF2-40B4-BE49-F238E27FC236}">
                  <a16:creationId xmlns:a16="http://schemas.microsoft.com/office/drawing/2014/main" id="{2F83938F-B075-4593-8D11-BBF0A979A7C6}"/>
                </a:ext>
              </a:extLst>
            </p:cNvPr>
            <p:cNvSpPr/>
            <p:nvPr/>
          </p:nvSpPr>
          <p:spPr>
            <a:xfrm rot="8716295">
              <a:off x="-73048" y="4876828"/>
              <a:ext cx="221382" cy="253349"/>
            </a:xfrm>
            <a:custGeom>
              <a:avLst/>
              <a:gdLst>
                <a:gd name="connsiteX0" fmla="*/ 51490 w 221382"/>
                <a:gd name="connsiteY0" fmla="*/ 253349 h 253349"/>
                <a:gd name="connsiteX1" fmla="*/ 51490 w 221382"/>
                <a:gd name="connsiteY1" fmla="*/ 44199 h 253349"/>
                <a:gd name="connsiteX2" fmla="*/ 0 w 221382"/>
                <a:gd name="connsiteY2" fmla="*/ 44199 h 253349"/>
                <a:gd name="connsiteX3" fmla="*/ 0 w 221382"/>
                <a:gd name="connsiteY3" fmla="*/ 0 h 253349"/>
                <a:gd name="connsiteX4" fmla="*/ 104803 w 221382"/>
                <a:gd name="connsiteY4" fmla="*/ 0 h 253349"/>
                <a:gd name="connsiteX5" fmla="*/ 104802 w 221382"/>
                <a:gd name="connsiteY5" fmla="*/ 73817 h 253349"/>
                <a:gd name="connsiteX6" fmla="*/ 106169 w 221382"/>
                <a:gd name="connsiteY6" fmla="*/ 73817 h 253349"/>
                <a:gd name="connsiteX7" fmla="*/ 154014 w 221382"/>
                <a:gd name="connsiteY7" fmla="*/ 4556 h 253349"/>
                <a:gd name="connsiteX8" fmla="*/ 174650 w 221382"/>
                <a:gd name="connsiteY8" fmla="*/ 668 h 253349"/>
                <a:gd name="connsiteX9" fmla="*/ 214075 w 221382"/>
                <a:gd name="connsiteY9" fmla="*/ 27996 h 253349"/>
                <a:gd name="connsiteX10" fmla="*/ 221382 w 221382"/>
                <a:gd name="connsiteY10" fmla="*/ 33060 h 253349"/>
                <a:gd name="connsiteX11" fmla="*/ 195540 w 221382"/>
                <a:gd name="connsiteY11" fmla="*/ 70341 h 253349"/>
                <a:gd name="connsiteX12" fmla="*/ 189157 w 221382"/>
                <a:gd name="connsiteY12" fmla="*/ 50236 h 253349"/>
                <a:gd name="connsiteX13" fmla="*/ 164950 w 221382"/>
                <a:gd name="connsiteY13" fmla="*/ 38731 h 253349"/>
                <a:gd name="connsiteX14" fmla="*/ 111638 w 221382"/>
                <a:gd name="connsiteY14" fmla="*/ 126218 h 253349"/>
                <a:gd name="connsiteX15" fmla="*/ 111638 w 221382"/>
                <a:gd name="connsiteY15" fmla="*/ 191383 h 253349"/>
                <a:gd name="connsiteX16" fmla="*/ 84096 w 221382"/>
                <a:gd name="connsiteY16" fmla="*/ 231117 h 253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1382" h="253349">
                  <a:moveTo>
                    <a:pt x="51490" y="253349"/>
                  </a:moveTo>
                  <a:lnTo>
                    <a:pt x="51490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104803" y="0"/>
                  </a:lnTo>
                  <a:lnTo>
                    <a:pt x="104802" y="73817"/>
                  </a:lnTo>
                  <a:lnTo>
                    <a:pt x="106169" y="73817"/>
                  </a:lnTo>
                  <a:cubicBezTo>
                    <a:pt x="120751" y="30529"/>
                    <a:pt x="132142" y="13670"/>
                    <a:pt x="154014" y="4556"/>
                  </a:cubicBezTo>
                  <a:lnTo>
                    <a:pt x="174650" y="668"/>
                  </a:lnTo>
                  <a:lnTo>
                    <a:pt x="214075" y="27996"/>
                  </a:lnTo>
                  <a:lnTo>
                    <a:pt x="221382" y="33060"/>
                  </a:lnTo>
                  <a:lnTo>
                    <a:pt x="195540" y="70341"/>
                  </a:lnTo>
                  <a:lnTo>
                    <a:pt x="189157" y="50236"/>
                  </a:lnTo>
                  <a:cubicBezTo>
                    <a:pt x="183177" y="42946"/>
                    <a:pt x="174747" y="38731"/>
                    <a:pt x="164950" y="38731"/>
                  </a:cubicBezTo>
                  <a:cubicBezTo>
                    <a:pt x="135788" y="38731"/>
                    <a:pt x="111638" y="77463"/>
                    <a:pt x="111638" y="126218"/>
                  </a:cubicBezTo>
                  <a:lnTo>
                    <a:pt x="111638" y="191383"/>
                  </a:lnTo>
                  <a:lnTo>
                    <a:pt x="84096" y="2311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4" name="Forme libre : forme 503">
              <a:extLst>
                <a:ext uri="{FF2B5EF4-FFF2-40B4-BE49-F238E27FC236}">
                  <a16:creationId xmlns:a16="http://schemas.microsoft.com/office/drawing/2014/main" id="{BCB8F26A-8D9E-4DAA-BBEC-C72C4F89205F}"/>
                </a:ext>
              </a:extLst>
            </p:cNvPr>
            <p:cNvSpPr/>
            <p:nvPr/>
          </p:nvSpPr>
          <p:spPr>
            <a:xfrm rot="8716295">
              <a:off x="93318" y="46120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5" name="Forme libre : forme 504">
              <a:extLst>
                <a:ext uri="{FF2B5EF4-FFF2-40B4-BE49-F238E27FC236}">
                  <a16:creationId xmlns:a16="http://schemas.microsoft.com/office/drawing/2014/main" id="{81732388-5ACB-454A-B491-3EF6429CC57C}"/>
                </a:ext>
              </a:extLst>
            </p:cNvPr>
            <p:cNvSpPr/>
            <p:nvPr/>
          </p:nvSpPr>
          <p:spPr>
            <a:xfrm rot="8716295">
              <a:off x="182710" y="46412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6" name="Forme libre : forme 505">
              <a:extLst>
                <a:ext uri="{FF2B5EF4-FFF2-40B4-BE49-F238E27FC236}">
                  <a16:creationId xmlns:a16="http://schemas.microsoft.com/office/drawing/2014/main" id="{7C87F3BF-43A4-45FA-839A-23BBD5B5D4BE}"/>
                </a:ext>
              </a:extLst>
            </p:cNvPr>
            <p:cNvSpPr/>
            <p:nvPr/>
          </p:nvSpPr>
          <p:spPr>
            <a:xfrm rot="8716295">
              <a:off x="-14524" y="4699631"/>
              <a:ext cx="49997" cy="54238"/>
            </a:xfrm>
            <a:custGeom>
              <a:avLst/>
              <a:gdLst>
                <a:gd name="connsiteX0" fmla="*/ 8658 w 49997"/>
                <a:gd name="connsiteY0" fmla="*/ 50123 h 54238"/>
                <a:gd name="connsiteX1" fmla="*/ 0 w 49997"/>
                <a:gd name="connsiteY1" fmla="*/ 29619 h 54238"/>
                <a:gd name="connsiteX2" fmla="*/ 0 w 49997"/>
                <a:gd name="connsiteY2" fmla="*/ 29162 h 54238"/>
                <a:gd name="connsiteX3" fmla="*/ 8658 w 49997"/>
                <a:gd name="connsiteY3" fmla="*/ 8658 h 54238"/>
                <a:gd name="connsiteX4" fmla="*/ 29163 w 49997"/>
                <a:gd name="connsiteY4" fmla="*/ 0 h 54238"/>
                <a:gd name="connsiteX5" fmla="*/ 49668 w 49997"/>
                <a:gd name="connsiteY5" fmla="*/ 8658 h 54238"/>
                <a:gd name="connsiteX6" fmla="*/ 49997 w 49997"/>
                <a:gd name="connsiteY6" fmla="*/ 9441 h 54238"/>
                <a:gd name="connsiteX7" fmla="*/ 18945 w 49997"/>
                <a:gd name="connsiteY7" fmla="*/ 54238 h 54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997" h="54238">
                  <a:moveTo>
                    <a:pt x="8658" y="50123"/>
                  </a:moveTo>
                  <a:cubicBezTo>
                    <a:pt x="3190" y="44655"/>
                    <a:pt x="0" y="37365"/>
                    <a:pt x="0" y="29619"/>
                  </a:cubicBezTo>
                  <a:lnTo>
                    <a:pt x="0" y="29162"/>
                  </a:lnTo>
                  <a:cubicBezTo>
                    <a:pt x="0" y="21417"/>
                    <a:pt x="3190" y="14126"/>
                    <a:pt x="8658" y="8658"/>
                  </a:cubicBezTo>
                  <a:cubicBezTo>
                    <a:pt x="14126" y="3190"/>
                    <a:pt x="21416" y="0"/>
                    <a:pt x="29163" y="0"/>
                  </a:cubicBezTo>
                  <a:cubicBezTo>
                    <a:pt x="36909" y="0"/>
                    <a:pt x="44200" y="3190"/>
                    <a:pt x="49668" y="8658"/>
                  </a:cubicBezTo>
                  <a:lnTo>
                    <a:pt x="49997" y="9441"/>
                  </a:lnTo>
                  <a:lnTo>
                    <a:pt x="18945" y="54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7" name="Forme libre : forme 506">
              <a:extLst>
                <a:ext uri="{FF2B5EF4-FFF2-40B4-BE49-F238E27FC236}">
                  <a16:creationId xmlns:a16="http://schemas.microsoft.com/office/drawing/2014/main" id="{462FB9FF-D95F-4684-BB21-FBBABD5DD31F}"/>
                </a:ext>
              </a:extLst>
            </p:cNvPr>
            <p:cNvSpPr/>
            <p:nvPr/>
          </p:nvSpPr>
          <p:spPr>
            <a:xfrm rot="8716295">
              <a:off x="-30327" y="4579755"/>
              <a:ext cx="113346" cy="71024"/>
            </a:xfrm>
            <a:custGeom>
              <a:avLst/>
              <a:gdLst>
                <a:gd name="connsiteX0" fmla="*/ 0 w 113346"/>
                <a:gd name="connsiteY0" fmla="*/ 55323 h 71024"/>
                <a:gd name="connsiteX1" fmla="*/ 0 w 113346"/>
                <a:gd name="connsiteY1" fmla="*/ 0 h 71024"/>
                <a:gd name="connsiteX2" fmla="*/ 113346 w 113346"/>
                <a:gd name="connsiteY2" fmla="*/ 0 h 71024"/>
                <a:gd name="connsiteX3" fmla="*/ 64114 w 113346"/>
                <a:gd name="connsiteY3" fmla="*/ 71024 h 71024"/>
                <a:gd name="connsiteX4" fmla="*/ 69777 w 113346"/>
                <a:gd name="connsiteY4" fmla="*/ 55323 h 7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346" h="71024">
                  <a:moveTo>
                    <a:pt x="0" y="55323"/>
                  </a:moveTo>
                  <a:lnTo>
                    <a:pt x="0" y="0"/>
                  </a:lnTo>
                  <a:lnTo>
                    <a:pt x="113346" y="0"/>
                  </a:lnTo>
                  <a:lnTo>
                    <a:pt x="64114" y="71024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8" name="Forme libre : forme 507">
              <a:extLst>
                <a:ext uri="{FF2B5EF4-FFF2-40B4-BE49-F238E27FC236}">
                  <a16:creationId xmlns:a16="http://schemas.microsoft.com/office/drawing/2014/main" id="{67567764-034B-4A90-A05F-295129068706}"/>
                </a:ext>
              </a:extLst>
            </p:cNvPr>
            <p:cNvSpPr/>
            <p:nvPr/>
          </p:nvSpPr>
          <p:spPr>
            <a:xfrm rot="8716295">
              <a:off x="71262" y="47415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9" name="Forme libre : forme 508">
              <a:extLst>
                <a:ext uri="{FF2B5EF4-FFF2-40B4-BE49-F238E27FC236}">
                  <a16:creationId xmlns:a16="http://schemas.microsoft.com/office/drawing/2014/main" id="{0224BB71-E49A-401D-8E10-A43693404F59}"/>
                </a:ext>
              </a:extLst>
            </p:cNvPr>
            <p:cNvSpPr/>
            <p:nvPr/>
          </p:nvSpPr>
          <p:spPr>
            <a:xfrm rot="7484129">
              <a:off x="172059" y="493353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170341 w 203847"/>
                <a:gd name="connsiteY5" fmla="*/ 0 h 195874"/>
                <a:gd name="connsiteX6" fmla="*/ 203847 w 203847"/>
                <a:gd name="connsiteY6" fmla="*/ 48325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170341" y="0"/>
                  </a:lnTo>
                  <a:lnTo>
                    <a:pt x="203847" y="48325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0" name="Forme libre : forme 509">
              <a:extLst>
                <a:ext uri="{FF2B5EF4-FFF2-40B4-BE49-F238E27FC236}">
                  <a16:creationId xmlns:a16="http://schemas.microsoft.com/office/drawing/2014/main" id="{02C7DC92-22CE-4278-8FF3-A3AB1608AA63}"/>
                </a:ext>
              </a:extLst>
            </p:cNvPr>
            <p:cNvSpPr/>
            <p:nvPr/>
          </p:nvSpPr>
          <p:spPr>
            <a:xfrm rot="13089394">
              <a:off x="313263" y="4907079"/>
              <a:ext cx="272584" cy="221720"/>
            </a:xfrm>
            <a:custGeom>
              <a:avLst/>
              <a:gdLst>
                <a:gd name="connsiteX0" fmla="*/ 272584 w 272584"/>
                <a:gd name="connsiteY0" fmla="*/ 150928 h 221720"/>
                <a:gd name="connsiteX1" fmla="*/ 91597 w 272584"/>
                <a:gd name="connsiteY1" fmla="*/ 221557 h 221720"/>
                <a:gd name="connsiteX2" fmla="*/ 23727 w 272584"/>
                <a:gd name="connsiteY2" fmla="*/ 193967 h 221720"/>
                <a:gd name="connsiteX3" fmla="*/ 0 w 272584"/>
                <a:gd name="connsiteY3" fmla="*/ 99060 h 221720"/>
                <a:gd name="connsiteX4" fmla="*/ 0 w 272584"/>
                <a:gd name="connsiteY4" fmla="*/ 58265 h 221720"/>
                <a:gd name="connsiteX5" fmla="*/ 74157 w 272584"/>
                <a:gd name="connsiteY5" fmla="*/ 0 h 221720"/>
                <a:gd name="connsiteX6" fmla="*/ 74492 w 272584"/>
                <a:gd name="connsiteY6" fmla="*/ 46640 h 221720"/>
                <a:gd name="connsiteX7" fmla="*/ 87734 w 272584"/>
                <a:gd name="connsiteY7" fmla="*/ 138237 h 221720"/>
                <a:gd name="connsiteX8" fmla="*/ 153949 w 272584"/>
                <a:gd name="connsiteY8" fmla="*/ 174655 h 221720"/>
                <a:gd name="connsiteX9" fmla="*/ 203610 w 272584"/>
                <a:gd name="connsiteY9" fmla="*/ 165826 h 221720"/>
                <a:gd name="connsiteX10" fmla="*/ 271480 w 272584"/>
                <a:gd name="connsiteY10" fmla="*/ 138237 h 221720"/>
                <a:gd name="connsiteX11" fmla="*/ 272584 w 272584"/>
                <a:gd name="connsiteY11" fmla="*/ 145410 h 22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2584" h="221720">
                  <a:moveTo>
                    <a:pt x="272584" y="150928"/>
                  </a:moveTo>
                  <a:cubicBezTo>
                    <a:pt x="214094" y="201141"/>
                    <a:pt x="137395" y="218798"/>
                    <a:pt x="91597" y="221557"/>
                  </a:cubicBezTo>
                  <a:cubicBezTo>
                    <a:pt x="66215" y="223213"/>
                    <a:pt x="41384" y="212177"/>
                    <a:pt x="23727" y="193967"/>
                  </a:cubicBezTo>
                  <a:cubicBezTo>
                    <a:pt x="4966" y="175759"/>
                    <a:pt x="0" y="144306"/>
                    <a:pt x="0" y="99060"/>
                  </a:cubicBezTo>
                  <a:lnTo>
                    <a:pt x="0" y="58265"/>
                  </a:lnTo>
                  <a:lnTo>
                    <a:pt x="74157" y="0"/>
                  </a:lnTo>
                  <a:lnTo>
                    <a:pt x="74492" y="46640"/>
                  </a:lnTo>
                  <a:cubicBezTo>
                    <a:pt x="72836" y="77540"/>
                    <a:pt x="77802" y="108992"/>
                    <a:pt x="87734" y="138237"/>
                  </a:cubicBezTo>
                  <a:cubicBezTo>
                    <a:pt x="96563" y="162515"/>
                    <a:pt x="119186" y="174655"/>
                    <a:pt x="153949" y="174655"/>
                  </a:cubicBezTo>
                  <a:cubicBezTo>
                    <a:pt x="171055" y="174103"/>
                    <a:pt x="187608" y="170792"/>
                    <a:pt x="203610" y="165826"/>
                  </a:cubicBezTo>
                  <a:cubicBezTo>
                    <a:pt x="226785" y="158653"/>
                    <a:pt x="249409" y="149273"/>
                    <a:pt x="271480" y="138237"/>
                  </a:cubicBezTo>
                  <a:cubicBezTo>
                    <a:pt x="272032" y="140444"/>
                    <a:pt x="272584" y="143203"/>
                    <a:pt x="272584" y="1454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1" name="Forme libre : forme 510">
              <a:extLst>
                <a:ext uri="{FF2B5EF4-FFF2-40B4-BE49-F238E27FC236}">
                  <a16:creationId xmlns:a16="http://schemas.microsoft.com/office/drawing/2014/main" id="{2684AFDD-CDE2-41B8-A59C-E03D9F5FB899}"/>
                </a:ext>
              </a:extLst>
            </p:cNvPr>
            <p:cNvSpPr/>
            <p:nvPr/>
          </p:nvSpPr>
          <p:spPr>
            <a:xfrm rot="8716295">
              <a:off x="466598" y="470771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2" name="Forme libre : forme 511">
              <a:extLst>
                <a:ext uri="{FF2B5EF4-FFF2-40B4-BE49-F238E27FC236}">
                  <a16:creationId xmlns:a16="http://schemas.microsoft.com/office/drawing/2014/main" id="{874191D1-5A8A-4106-89BC-E4DE3F05FDFC}"/>
                </a:ext>
              </a:extLst>
            </p:cNvPr>
            <p:cNvSpPr/>
            <p:nvPr/>
          </p:nvSpPr>
          <p:spPr>
            <a:xfrm rot="8716295">
              <a:off x="414793" y="460412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3" name="Forme libre : forme 512">
              <a:extLst>
                <a:ext uri="{FF2B5EF4-FFF2-40B4-BE49-F238E27FC236}">
                  <a16:creationId xmlns:a16="http://schemas.microsoft.com/office/drawing/2014/main" id="{8D49479A-E710-4758-BEAF-44161F8FF530}"/>
                </a:ext>
              </a:extLst>
            </p:cNvPr>
            <p:cNvSpPr/>
            <p:nvPr/>
          </p:nvSpPr>
          <p:spPr>
            <a:xfrm rot="8716295">
              <a:off x="171547" y="46343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4" name="Forme libre : forme 513">
              <a:extLst>
                <a:ext uri="{FF2B5EF4-FFF2-40B4-BE49-F238E27FC236}">
                  <a16:creationId xmlns:a16="http://schemas.microsoft.com/office/drawing/2014/main" id="{0D3E5977-ABDE-469A-8B37-82662D2EE7DA}"/>
                </a:ext>
              </a:extLst>
            </p:cNvPr>
            <p:cNvSpPr/>
            <p:nvPr/>
          </p:nvSpPr>
          <p:spPr>
            <a:xfrm rot="8716295">
              <a:off x="348999" y="44751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528" name="Espace réservé du texte 527">
            <a:extLst>
              <a:ext uri="{FF2B5EF4-FFF2-40B4-BE49-F238E27FC236}">
                <a16:creationId xmlns:a16="http://schemas.microsoft.com/office/drawing/2014/main" id="{6A8E0876-8CB4-4156-A0C1-0BC7361D1C40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429470" y="3802408"/>
            <a:ext cx="108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29" name="Espace réservé du texte 528">
            <a:extLst>
              <a:ext uri="{FF2B5EF4-FFF2-40B4-BE49-F238E27FC236}">
                <a16:creationId xmlns:a16="http://schemas.microsoft.com/office/drawing/2014/main" id="{20C5F896-3CE3-44F8-B5B2-F667F9101641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1512561" y="3802408"/>
            <a:ext cx="108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31" name="Espace réservé du texte 530">
            <a:extLst>
              <a:ext uri="{FF2B5EF4-FFF2-40B4-BE49-F238E27FC236}">
                <a16:creationId xmlns:a16="http://schemas.microsoft.com/office/drawing/2014/main" id="{70ADA97F-36B2-42A5-9506-18C5EA9C6E0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3993" y="482179"/>
            <a:ext cx="2495932" cy="302805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24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3pPr>
            <a:lvl4pPr marL="0" indent="0">
              <a:buNone/>
              <a:defRPr sz="1000">
                <a:solidFill>
                  <a:schemeClr val="bg1"/>
                </a:solidFill>
              </a:defRPr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Niveau 2</a:t>
            </a:r>
          </a:p>
          <a:p>
            <a:pPr lvl="2"/>
            <a:r>
              <a:rPr lang="fr-FR" dirty="0"/>
              <a:t>Niveau 3</a:t>
            </a:r>
          </a:p>
          <a:p>
            <a:pPr lvl="3"/>
            <a:r>
              <a:rPr lang="fr-FR" dirty="0"/>
              <a:t>Niveau 4</a:t>
            </a:r>
          </a:p>
        </p:txBody>
      </p:sp>
      <p:sp>
        <p:nvSpPr>
          <p:cNvPr id="517" name="Espace réservé du numéro de diapositive 516">
            <a:extLst>
              <a:ext uri="{FF2B5EF4-FFF2-40B4-BE49-F238E27FC236}">
                <a16:creationId xmlns:a16="http://schemas.microsoft.com/office/drawing/2014/main" id="{D493D9E0-D7BE-4D71-A32F-50FDBE8AC3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48000" y="2811362"/>
            <a:ext cx="519702" cy="2332138"/>
          </a:xfrm>
          <a:custGeom>
            <a:avLst/>
            <a:gdLst>
              <a:gd name="connsiteX0" fmla="*/ 198551 w 519702"/>
              <a:gd name="connsiteY0" fmla="*/ 0 h 2332138"/>
              <a:gd name="connsiteX1" fmla="*/ 519702 w 519702"/>
              <a:gd name="connsiteY1" fmla="*/ 2332138 h 2332138"/>
              <a:gd name="connsiteX2" fmla="*/ 0 w 519702"/>
              <a:gd name="connsiteY2" fmla="*/ 2332138 h 2332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19702" h="2332138">
                <a:moveTo>
                  <a:pt x="198551" y="0"/>
                </a:moveTo>
                <a:lnTo>
                  <a:pt x="519702" y="2332138"/>
                </a:lnTo>
                <a:lnTo>
                  <a:pt x="0" y="233213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180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37750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ayures / Texte +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que 1">
            <a:extLst>
              <a:ext uri="{FF2B5EF4-FFF2-40B4-BE49-F238E27FC236}">
                <a16:creationId xmlns:a16="http://schemas.microsoft.com/office/drawing/2014/main" id="{66D8F75D-5A38-42AF-8BDE-EAA8F19867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3416312" cy="5143500"/>
          </a:xfrm>
          <a:prstGeom prst="rect">
            <a:avLst/>
          </a:prstGeom>
        </p:spPr>
      </p:pic>
      <p:sp>
        <p:nvSpPr>
          <p:cNvPr id="521" name="Espace réservé pour une image  520">
            <a:extLst>
              <a:ext uri="{FF2B5EF4-FFF2-40B4-BE49-F238E27FC236}">
                <a16:creationId xmlns:a16="http://schemas.microsoft.com/office/drawing/2014/main" id="{B8DAB854-64EB-4DD7-A364-5485ED453A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246551" y="-1"/>
            <a:ext cx="5897449" cy="5143501"/>
          </a:xfrm>
          <a:custGeom>
            <a:avLst/>
            <a:gdLst>
              <a:gd name="connsiteX0" fmla="*/ 0 w 6088062"/>
              <a:gd name="connsiteY0" fmla="*/ 0 h 5143501"/>
              <a:gd name="connsiteX1" fmla="*/ 6088062 w 6088062"/>
              <a:gd name="connsiteY1" fmla="*/ 0 h 5143501"/>
              <a:gd name="connsiteX2" fmla="*/ 6088062 w 6088062"/>
              <a:gd name="connsiteY2" fmla="*/ 5143501 h 5143501"/>
              <a:gd name="connsiteX3" fmla="*/ 511764 w 6088062"/>
              <a:gd name="connsiteY3" fmla="*/ 5143501 h 5143501"/>
              <a:gd name="connsiteX4" fmla="*/ 190613 w 6088062"/>
              <a:gd name="connsiteY4" fmla="*/ 2811363 h 5143501"/>
              <a:gd name="connsiteX5" fmla="*/ 429964 w 6088062"/>
              <a:gd name="connsiteY5" fmla="*/ 1 h 5143501"/>
              <a:gd name="connsiteX6" fmla="*/ 0 w 6088062"/>
              <a:gd name="connsiteY6" fmla="*/ 1 h 5143501"/>
              <a:gd name="connsiteX0" fmla="*/ 0 w 6088062"/>
              <a:gd name="connsiteY0" fmla="*/ 1 h 5143501"/>
              <a:gd name="connsiteX1" fmla="*/ 6088062 w 6088062"/>
              <a:gd name="connsiteY1" fmla="*/ 0 h 5143501"/>
              <a:gd name="connsiteX2" fmla="*/ 6088062 w 6088062"/>
              <a:gd name="connsiteY2" fmla="*/ 5143501 h 5143501"/>
              <a:gd name="connsiteX3" fmla="*/ 511764 w 6088062"/>
              <a:gd name="connsiteY3" fmla="*/ 5143501 h 5143501"/>
              <a:gd name="connsiteX4" fmla="*/ 190613 w 6088062"/>
              <a:gd name="connsiteY4" fmla="*/ 2811363 h 5143501"/>
              <a:gd name="connsiteX5" fmla="*/ 429964 w 6088062"/>
              <a:gd name="connsiteY5" fmla="*/ 1 h 5143501"/>
              <a:gd name="connsiteX6" fmla="*/ 0 w 6088062"/>
              <a:gd name="connsiteY6" fmla="*/ 1 h 5143501"/>
              <a:gd name="connsiteX0" fmla="*/ 239351 w 5897449"/>
              <a:gd name="connsiteY0" fmla="*/ 1 h 5143501"/>
              <a:gd name="connsiteX1" fmla="*/ 5897449 w 5897449"/>
              <a:gd name="connsiteY1" fmla="*/ 0 h 5143501"/>
              <a:gd name="connsiteX2" fmla="*/ 5897449 w 5897449"/>
              <a:gd name="connsiteY2" fmla="*/ 5143501 h 5143501"/>
              <a:gd name="connsiteX3" fmla="*/ 321151 w 5897449"/>
              <a:gd name="connsiteY3" fmla="*/ 5143501 h 5143501"/>
              <a:gd name="connsiteX4" fmla="*/ 0 w 5897449"/>
              <a:gd name="connsiteY4" fmla="*/ 2811363 h 5143501"/>
              <a:gd name="connsiteX5" fmla="*/ 239351 w 5897449"/>
              <a:gd name="connsiteY5" fmla="*/ 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97449" h="5143501">
                <a:moveTo>
                  <a:pt x="239351" y="1"/>
                </a:moveTo>
                <a:lnTo>
                  <a:pt x="5897449" y="0"/>
                </a:lnTo>
                <a:lnTo>
                  <a:pt x="5897449" y="5143501"/>
                </a:lnTo>
                <a:lnTo>
                  <a:pt x="321151" y="5143501"/>
                </a:lnTo>
                <a:lnTo>
                  <a:pt x="0" y="2811363"/>
                </a:lnTo>
                <a:lnTo>
                  <a:pt x="239351" y="1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528" name="Espace réservé du texte 527">
            <a:extLst>
              <a:ext uri="{FF2B5EF4-FFF2-40B4-BE49-F238E27FC236}">
                <a16:creationId xmlns:a16="http://schemas.microsoft.com/office/drawing/2014/main" id="{6A8E0876-8CB4-4156-A0C1-0BC7361D1C40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429470" y="3802408"/>
            <a:ext cx="108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29" name="Espace réservé du texte 528">
            <a:extLst>
              <a:ext uri="{FF2B5EF4-FFF2-40B4-BE49-F238E27FC236}">
                <a16:creationId xmlns:a16="http://schemas.microsoft.com/office/drawing/2014/main" id="{20C5F896-3CE3-44F8-B5B2-F667F9101641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1512561" y="3802408"/>
            <a:ext cx="108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31" name="Espace réservé du texte 530">
            <a:extLst>
              <a:ext uri="{FF2B5EF4-FFF2-40B4-BE49-F238E27FC236}">
                <a16:creationId xmlns:a16="http://schemas.microsoft.com/office/drawing/2014/main" id="{70ADA97F-36B2-42A5-9506-18C5EA9C6E0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3993" y="482179"/>
            <a:ext cx="2495932" cy="302805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24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3pPr>
            <a:lvl4pPr marL="0" indent="0">
              <a:buNone/>
              <a:defRPr sz="1000">
                <a:solidFill>
                  <a:schemeClr val="bg1"/>
                </a:solidFill>
              </a:defRPr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Niveau 2</a:t>
            </a:r>
          </a:p>
          <a:p>
            <a:pPr lvl="2"/>
            <a:r>
              <a:rPr lang="fr-FR" dirty="0"/>
              <a:t>Niveau 3</a:t>
            </a:r>
          </a:p>
          <a:p>
            <a:pPr lvl="3"/>
            <a:r>
              <a:rPr lang="fr-FR" dirty="0"/>
              <a:t>Niveau 4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29405B57-1CDE-4EE7-A0BA-3013851436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48000" y="2811362"/>
            <a:ext cx="519702" cy="2332138"/>
          </a:xfrm>
          <a:custGeom>
            <a:avLst/>
            <a:gdLst>
              <a:gd name="connsiteX0" fmla="*/ 198551 w 519702"/>
              <a:gd name="connsiteY0" fmla="*/ 0 h 2332138"/>
              <a:gd name="connsiteX1" fmla="*/ 519702 w 519702"/>
              <a:gd name="connsiteY1" fmla="*/ 2332138 h 2332138"/>
              <a:gd name="connsiteX2" fmla="*/ 0 w 519702"/>
              <a:gd name="connsiteY2" fmla="*/ 2332138 h 2332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19702" h="2332138">
                <a:moveTo>
                  <a:pt x="198551" y="0"/>
                </a:moveTo>
                <a:lnTo>
                  <a:pt x="519702" y="2332138"/>
                </a:lnTo>
                <a:lnTo>
                  <a:pt x="0" y="233213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180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69079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ur une ligne + Conten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Espace réservé du numéro de diapositive 129">
            <a:extLst>
              <a:ext uri="{FF2B5EF4-FFF2-40B4-BE49-F238E27FC236}">
                <a16:creationId xmlns:a16="http://schemas.microsoft.com/office/drawing/2014/main" id="{62EE913C-626B-433C-BC1F-844371E1C2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9681" y="3148262"/>
            <a:ext cx="444626" cy="1995238"/>
          </a:xfrm>
          <a:custGeom>
            <a:avLst/>
            <a:gdLst>
              <a:gd name="connsiteX0" fmla="*/ 169868 w 444626"/>
              <a:gd name="connsiteY0" fmla="*/ 0 h 1995238"/>
              <a:gd name="connsiteX1" fmla="*/ 444626 w 444626"/>
              <a:gd name="connsiteY1" fmla="*/ 1995238 h 1995238"/>
              <a:gd name="connsiteX2" fmla="*/ 0 w 444626"/>
              <a:gd name="connsiteY2" fmla="*/ 1995238 h 1995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4626" h="1995238">
                <a:moveTo>
                  <a:pt x="169868" y="0"/>
                </a:moveTo>
                <a:lnTo>
                  <a:pt x="444626" y="1995238"/>
                </a:lnTo>
                <a:lnTo>
                  <a:pt x="0" y="199523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180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38" name="Forme libre : forme 137">
            <a:extLst>
              <a:ext uri="{FF2B5EF4-FFF2-40B4-BE49-F238E27FC236}">
                <a16:creationId xmlns:a16="http://schemas.microsoft.com/office/drawing/2014/main" id="{0FDE4FE4-FDFC-41B3-BDA4-CE918EEAE71E}"/>
              </a:ext>
            </a:extLst>
          </p:cNvPr>
          <p:cNvSpPr/>
          <p:nvPr userDrawn="1"/>
        </p:nvSpPr>
        <p:spPr>
          <a:xfrm>
            <a:off x="629550" y="0"/>
            <a:ext cx="8514451" cy="5143499"/>
          </a:xfrm>
          <a:custGeom>
            <a:avLst/>
            <a:gdLst>
              <a:gd name="connsiteX0" fmla="*/ 689595 w 8514451"/>
              <a:gd name="connsiteY0" fmla="*/ 884098 h 5143499"/>
              <a:gd name="connsiteX1" fmla="*/ 689595 w 8514451"/>
              <a:gd name="connsiteY1" fmla="*/ 929817 h 5143499"/>
              <a:gd name="connsiteX2" fmla="*/ 1049595 w 8514451"/>
              <a:gd name="connsiteY2" fmla="*/ 929817 h 5143499"/>
              <a:gd name="connsiteX3" fmla="*/ 1049595 w 8514451"/>
              <a:gd name="connsiteY3" fmla="*/ 884098 h 5143499"/>
              <a:gd name="connsiteX4" fmla="*/ 268034 w 8514451"/>
              <a:gd name="connsiteY4" fmla="*/ 0 h 5143499"/>
              <a:gd name="connsiteX5" fmla="*/ 8514451 w 8514451"/>
              <a:gd name="connsiteY5" fmla="*/ 0 h 5143499"/>
              <a:gd name="connsiteX6" fmla="*/ 8514451 w 8514451"/>
              <a:gd name="connsiteY6" fmla="*/ 5143499 h 5143499"/>
              <a:gd name="connsiteX7" fmla="*/ 274758 w 8514451"/>
              <a:gd name="connsiteY7" fmla="*/ 5143499 h 5143499"/>
              <a:gd name="connsiteX8" fmla="*/ 0 w 8514451"/>
              <a:gd name="connsiteY8" fmla="*/ 3148262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514451" h="5143499">
                <a:moveTo>
                  <a:pt x="689595" y="884098"/>
                </a:moveTo>
                <a:lnTo>
                  <a:pt x="689595" y="929817"/>
                </a:lnTo>
                <a:lnTo>
                  <a:pt x="1049595" y="929817"/>
                </a:lnTo>
                <a:lnTo>
                  <a:pt x="1049595" y="884098"/>
                </a:lnTo>
                <a:close/>
                <a:moveTo>
                  <a:pt x="268034" y="0"/>
                </a:moveTo>
                <a:lnTo>
                  <a:pt x="8514451" y="0"/>
                </a:lnTo>
                <a:lnTo>
                  <a:pt x="8514451" y="5143499"/>
                </a:lnTo>
                <a:lnTo>
                  <a:pt x="274758" y="5143499"/>
                </a:lnTo>
                <a:lnTo>
                  <a:pt x="0" y="31482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48DF42C1-5220-478C-ABAC-92E468D673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Titre de la slide sur une ligne</a:t>
            </a:r>
          </a:p>
        </p:txBody>
      </p:sp>
      <p:sp>
        <p:nvSpPr>
          <p:cNvPr id="9" name="Forme libre : forme 8">
            <a:extLst>
              <a:ext uri="{FF2B5EF4-FFF2-40B4-BE49-F238E27FC236}">
                <a16:creationId xmlns:a16="http://schemas.microsoft.com/office/drawing/2014/main" id="{4100D4C0-1B0B-4813-97B4-727B3F07A2B3}"/>
              </a:ext>
            </a:extLst>
          </p:cNvPr>
          <p:cNvSpPr/>
          <p:nvPr/>
        </p:nvSpPr>
        <p:spPr>
          <a:xfrm rot="8716295">
            <a:off x="617786" y="1780350"/>
            <a:ext cx="152726" cy="195873"/>
          </a:xfrm>
          <a:custGeom>
            <a:avLst/>
            <a:gdLst>
              <a:gd name="connsiteX0" fmla="*/ 39589 w 152726"/>
              <a:gd name="connsiteY0" fmla="*/ 195873 h 195873"/>
              <a:gd name="connsiteX1" fmla="*/ 0 w 152726"/>
              <a:gd name="connsiteY1" fmla="*/ 122219 h 195873"/>
              <a:gd name="connsiteX2" fmla="*/ 101089 w 152726"/>
              <a:gd name="connsiteY2" fmla="*/ 0 h 195873"/>
              <a:gd name="connsiteX3" fmla="*/ 152726 w 152726"/>
              <a:gd name="connsiteY3" fmla="*/ 0 h 195873"/>
              <a:gd name="connsiteX4" fmla="*/ 152726 w 152726"/>
              <a:gd name="connsiteY4" fmla="*/ 55323 h 195873"/>
              <a:gd name="connsiteX5" fmla="*/ 87934 w 152726"/>
              <a:gd name="connsiteY5" fmla="*/ 55323 h 195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2726" h="195873">
                <a:moveTo>
                  <a:pt x="39589" y="195873"/>
                </a:moveTo>
                <a:lnTo>
                  <a:pt x="0" y="122219"/>
                </a:lnTo>
                <a:lnTo>
                  <a:pt x="101089" y="0"/>
                </a:lnTo>
                <a:lnTo>
                  <a:pt x="152726" y="0"/>
                </a:lnTo>
                <a:lnTo>
                  <a:pt x="152726" y="55323"/>
                </a:lnTo>
                <a:lnTo>
                  <a:pt x="87934" y="5532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" name="Forme libre : forme 9">
            <a:extLst>
              <a:ext uri="{FF2B5EF4-FFF2-40B4-BE49-F238E27FC236}">
                <a16:creationId xmlns:a16="http://schemas.microsoft.com/office/drawing/2014/main" id="{CB9A2237-374C-411A-AB62-0191ED80FFE2}"/>
              </a:ext>
            </a:extLst>
          </p:cNvPr>
          <p:cNvSpPr/>
          <p:nvPr/>
        </p:nvSpPr>
        <p:spPr>
          <a:xfrm rot="8716295">
            <a:off x="534441" y="1654353"/>
            <a:ext cx="262864" cy="103234"/>
          </a:xfrm>
          <a:custGeom>
            <a:avLst/>
            <a:gdLst>
              <a:gd name="connsiteX0" fmla="*/ 0 w 262864"/>
              <a:gd name="connsiteY0" fmla="*/ 75341 h 103234"/>
              <a:gd name="connsiteX1" fmla="*/ 62316 w 262864"/>
              <a:gd name="connsiteY1" fmla="*/ 0 h 103234"/>
              <a:gd name="connsiteX2" fmla="*/ 65768 w 262864"/>
              <a:gd name="connsiteY2" fmla="*/ 14220 h 103234"/>
              <a:gd name="connsiteX3" fmla="*/ 136369 w 262864"/>
              <a:gd name="connsiteY3" fmla="*/ 53051 h 103234"/>
              <a:gd name="connsiteX4" fmla="*/ 189321 w 262864"/>
              <a:gd name="connsiteY4" fmla="*/ 43637 h 103234"/>
              <a:gd name="connsiteX5" fmla="*/ 261688 w 262864"/>
              <a:gd name="connsiteY5" fmla="*/ 14220 h 103234"/>
              <a:gd name="connsiteX6" fmla="*/ 262864 w 262864"/>
              <a:gd name="connsiteY6" fmla="*/ 21868 h 103234"/>
              <a:gd name="connsiteX7" fmla="*/ 262864 w 262864"/>
              <a:gd name="connsiteY7" fmla="*/ 27752 h 103234"/>
              <a:gd name="connsiteX8" fmla="*/ 69887 w 262864"/>
              <a:gd name="connsiteY8" fmla="*/ 103060 h 103234"/>
              <a:gd name="connsiteX9" fmla="*/ 30615 w 262864"/>
              <a:gd name="connsiteY9" fmla="*/ 96294 h 1032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2864" h="103234">
                <a:moveTo>
                  <a:pt x="0" y="75341"/>
                </a:moveTo>
                <a:lnTo>
                  <a:pt x="62316" y="0"/>
                </a:lnTo>
                <a:lnTo>
                  <a:pt x="65768" y="14220"/>
                </a:lnTo>
                <a:cubicBezTo>
                  <a:pt x="75182" y="40107"/>
                  <a:pt x="99304" y="53051"/>
                  <a:pt x="136369" y="53051"/>
                </a:cubicBezTo>
                <a:cubicBezTo>
                  <a:pt x="154609" y="52462"/>
                  <a:pt x="172259" y="48932"/>
                  <a:pt x="189321" y="43637"/>
                </a:cubicBezTo>
                <a:cubicBezTo>
                  <a:pt x="214031" y="35988"/>
                  <a:pt x="238154" y="25987"/>
                  <a:pt x="261688" y="14220"/>
                </a:cubicBezTo>
                <a:cubicBezTo>
                  <a:pt x="262276" y="16573"/>
                  <a:pt x="262864" y="19515"/>
                  <a:pt x="262864" y="21868"/>
                </a:cubicBezTo>
                <a:lnTo>
                  <a:pt x="262864" y="27752"/>
                </a:lnTo>
                <a:cubicBezTo>
                  <a:pt x="200500" y="81291"/>
                  <a:pt x="118719" y="100119"/>
                  <a:pt x="69887" y="103060"/>
                </a:cubicBezTo>
                <a:cubicBezTo>
                  <a:pt x="56355" y="103943"/>
                  <a:pt x="42970" y="101442"/>
                  <a:pt x="30615" y="96294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" name="Forme libre : forme 10">
            <a:extLst>
              <a:ext uri="{FF2B5EF4-FFF2-40B4-BE49-F238E27FC236}">
                <a16:creationId xmlns:a16="http://schemas.microsoft.com/office/drawing/2014/main" id="{8F8A3734-3F77-44C7-9A38-570198540CBC}"/>
              </a:ext>
            </a:extLst>
          </p:cNvPr>
          <p:cNvSpPr/>
          <p:nvPr/>
        </p:nvSpPr>
        <p:spPr>
          <a:xfrm rot="8716295">
            <a:off x="632719" y="1232432"/>
            <a:ext cx="121558" cy="232388"/>
          </a:xfrm>
          <a:custGeom>
            <a:avLst/>
            <a:gdLst>
              <a:gd name="connsiteX0" fmla="*/ 60499 w 121558"/>
              <a:gd name="connsiteY0" fmla="*/ 232388 h 232388"/>
              <a:gd name="connsiteX1" fmla="*/ 60499 w 121558"/>
              <a:gd name="connsiteY1" fmla="*/ 69717 h 232388"/>
              <a:gd name="connsiteX2" fmla="*/ 60499 w 121558"/>
              <a:gd name="connsiteY2" fmla="*/ 65615 h 232388"/>
              <a:gd name="connsiteX3" fmla="*/ 39995 w 121558"/>
              <a:gd name="connsiteY3" fmla="*/ 50123 h 232388"/>
              <a:gd name="connsiteX4" fmla="*/ 0 w 121558"/>
              <a:gd name="connsiteY4" fmla="*/ 50123 h 232388"/>
              <a:gd name="connsiteX5" fmla="*/ 41457 w 121558"/>
              <a:gd name="connsiteY5" fmla="*/ 0 h 232388"/>
              <a:gd name="connsiteX6" fmla="*/ 64601 w 121558"/>
              <a:gd name="connsiteY6" fmla="*/ 0 h 232388"/>
              <a:gd name="connsiteX7" fmla="*/ 121558 w 121558"/>
              <a:gd name="connsiteY7" fmla="*/ 50123 h 232388"/>
              <a:gd name="connsiteX8" fmla="*/ 121558 w 121558"/>
              <a:gd name="connsiteY8" fmla="*/ 208238 h 232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558" h="232388">
                <a:moveTo>
                  <a:pt x="60499" y="232388"/>
                </a:moveTo>
                <a:lnTo>
                  <a:pt x="60499" y="69717"/>
                </a:lnTo>
                <a:cubicBezTo>
                  <a:pt x="60499" y="68349"/>
                  <a:pt x="60499" y="66983"/>
                  <a:pt x="60499" y="65615"/>
                </a:cubicBezTo>
                <a:cubicBezTo>
                  <a:pt x="59133" y="55591"/>
                  <a:pt x="50019" y="48756"/>
                  <a:pt x="39995" y="50123"/>
                </a:cubicBezTo>
                <a:lnTo>
                  <a:pt x="0" y="50123"/>
                </a:lnTo>
                <a:lnTo>
                  <a:pt x="41457" y="0"/>
                </a:lnTo>
                <a:lnTo>
                  <a:pt x="64601" y="0"/>
                </a:lnTo>
                <a:cubicBezTo>
                  <a:pt x="101509" y="0"/>
                  <a:pt x="121558" y="15948"/>
                  <a:pt x="121558" y="50123"/>
                </a:cubicBezTo>
                <a:lnTo>
                  <a:pt x="121558" y="208238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" name="Forme libre : forme 11">
            <a:extLst>
              <a:ext uri="{FF2B5EF4-FFF2-40B4-BE49-F238E27FC236}">
                <a16:creationId xmlns:a16="http://schemas.microsoft.com/office/drawing/2014/main" id="{70856B7B-717B-4AEA-95A4-A1E79A999538}"/>
              </a:ext>
            </a:extLst>
          </p:cNvPr>
          <p:cNvSpPr/>
          <p:nvPr/>
        </p:nvSpPr>
        <p:spPr>
          <a:xfrm rot="8716295">
            <a:off x="763454" y="1474783"/>
            <a:ext cx="14143" cy="14319"/>
          </a:xfrm>
          <a:custGeom>
            <a:avLst/>
            <a:gdLst>
              <a:gd name="connsiteX0" fmla="*/ 0 w 14143"/>
              <a:gd name="connsiteY0" fmla="*/ 14319 h 14319"/>
              <a:gd name="connsiteX1" fmla="*/ 11843 w 14143"/>
              <a:gd name="connsiteY1" fmla="*/ 0 h 14319"/>
              <a:gd name="connsiteX2" fmla="*/ 14143 w 14143"/>
              <a:gd name="connsiteY2" fmla="*/ 7563 h 14319"/>
              <a:gd name="connsiteX3" fmla="*/ 14143 w 14143"/>
              <a:gd name="connsiteY3" fmla="*/ 13487 h 143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143" h="14319">
                <a:moveTo>
                  <a:pt x="0" y="14319"/>
                </a:moveTo>
                <a:lnTo>
                  <a:pt x="11843" y="0"/>
                </a:lnTo>
                <a:lnTo>
                  <a:pt x="14143" y="7563"/>
                </a:lnTo>
                <a:lnTo>
                  <a:pt x="14143" y="13487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3E264A51-6081-4342-94AB-E5098D8BEE47}"/>
              </a:ext>
            </a:extLst>
          </p:cNvPr>
          <p:cNvSpPr/>
          <p:nvPr/>
        </p:nvSpPr>
        <p:spPr>
          <a:xfrm rot="8716295">
            <a:off x="672878" y="1171577"/>
            <a:ext cx="183964" cy="137618"/>
          </a:xfrm>
          <a:custGeom>
            <a:avLst/>
            <a:gdLst>
              <a:gd name="connsiteX0" fmla="*/ 0 w 183964"/>
              <a:gd name="connsiteY0" fmla="*/ 137618 h 137618"/>
              <a:gd name="connsiteX1" fmla="*/ 53346 w 183964"/>
              <a:gd name="connsiteY1" fmla="*/ 73121 h 137618"/>
              <a:gd name="connsiteX2" fmla="*/ 101034 w 183964"/>
              <a:gd name="connsiteY2" fmla="*/ 28251 h 137618"/>
              <a:gd name="connsiteX3" fmla="*/ 155713 w 183964"/>
              <a:gd name="connsiteY3" fmla="*/ 0 h 137618"/>
              <a:gd name="connsiteX4" fmla="*/ 183964 w 183964"/>
              <a:gd name="connsiteY4" fmla="*/ 33719 h 137618"/>
              <a:gd name="connsiteX5" fmla="*/ 157536 w 183964"/>
              <a:gd name="connsiteY5" fmla="*/ 69261 h 137618"/>
              <a:gd name="connsiteX6" fmla="*/ 157991 w 183964"/>
              <a:gd name="connsiteY6" fmla="*/ 69261 h 137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3964" h="137618">
                <a:moveTo>
                  <a:pt x="0" y="137618"/>
                </a:moveTo>
                <a:lnTo>
                  <a:pt x="53346" y="73121"/>
                </a:lnTo>
                <a:lnTo>
                  <a:pt x="101034" y="28251"/>
                </a:lnTo>
                <a:cubicBezTo>
                  <a:pt x="114703" y="12303"/>
                  <a:pt x="134297" y="2278"/>
                  <a:pt x="155713" y="0"/>
                </a:cubicBezTo>
                <a:cubicBezTo>
                  <a:pt x="177585" y="0"/>
                  <a:pt x="183964" y="19138"/>
                  <a:pt x="183964" y="33719"/>
                </a:cubicBezTo>
                <a:cubicBezTo>
                  <a:pt x="182597" y="49667"/>
                  <a:pt x="172117" y="62881"/>
                  <a:pt x="157536" y="69261"/>
                </a:cubicBezTo>
                <a:lnTo>
                  <a:pt x="157991" y="69261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03D4C536-74A8-424A-B4F4-647CD66813A6}"/>
              </a:ext>
            </a:extLst>
          </p:cNvPr>
          <p:cNvSpPr/>
          <p:nvPr/>
        </p:nvSpPr>
        <p:spPr>
          <a:xfrm rot="8716295">
            <a:off x="519479" y="1314846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5" name="Forme libre : forme 14">
            <a:extLst>
              <a:ext uri="{FF2B5EF4-FFF2-40B4-BE49-F238E27FC236}">
                <a16:creationId xmlns:a16="http://schemas.microsoft.com/office/drawing/2014/main" id="{6C726A65-5764-428F-B78B-B207E19CC8A7}"/>
              </a:ext>
            </a:extLst>
          </p:cNvPr>
          <p:cNvSpPr/>
          <p:nvPr/>
        </p:nvSpPr>
        <p:spPr>
          <a:xfrm rot="8716295">
            <a:off x="394576" y="1106173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6" name="Forme libre : forme 15">
            <a:extLst>
              <a:ext uri="{FF2B5EF4-FFF2-40B4-BE49-F238E27FC236}">
                <a16:creationId xmlns:a16="http://schemas.microsoft.com/office/drawing/2014/main" id="{B057F75B-3923-494B-B65B-A96E682E21D4}"/>
              </a:ext>
            </a:extLst>
          </p:cNvPr>
          <p:cNvSpPr/>
          <p:nvPr/>
        </p:nvSpPr>
        <p:spPr>
          <a:xfrm rot="8716295">
            <a:off x="382524" y="967393"/>
            <a:ext cx="288290" cy="347125"/>
          </a:xfrm>
          <a:custGeom>
            <a:avLst/>
            <a:gdLst>
              <a:gd name="connsiteX0" fmla="*/ 470535 w 466725"/>
              <a:gd name="connsiteY0" fmla="*/ 436245 h 561975"/>
              <a:gd name="connsiteX1" fmla="*/ 470535 w 466725"/>
              <a:gd name="connsiteY1" fmla="*/ 445770 h 561975"/>
              <a:gd name="connsiteX2" fmla="*/ 158115 w 466725"/>
              <a:gd name="connsiteY2" fmla="*/ 567690 h 561975"/>
              <a:gd name="connsiteX3" fmla="*/ 40957 w 466725"/>
              <a:gd name="connsiteY3" fmla="*/ 520065 h 561975"/>
              <a:gd name="connsiteX4" fmla="*/ 0 w 466725"/>
              <a:gd name="connsiteY4" fmla="*/ 356235 h 561975"/>
              <a:gd name="connsiteX5" fmla="*/ 0 w 466725"/>
              <a:gd name="connsiteY5" fmla="*/ 65723 h 561975"/>
              <a:gd name="connsiteX6" fmla="*/ 126682 w 466725"/>
              <a:gd name="connsiteY6" fmla="*/ 0 h 561975"/>
              <a:gd name="connsiteX7" fmla="*/ 128588 w 466725"/>
              <a:gd name="connsiteY7" fmla="*/ 265748 h 561975"/>
              <a:gd name="connsiteX8" fmla="*/ 151447 w 466725"/>
              <a:gd name="connsiteY8" fmla="*/ 423863 h 561975"/>
              <a:gd name="connsiteX9" fmla="*/ 265747 w 466725"/>
              <a:gd name="connsiteY9" fmla="*/ 486728 h 561975"/>
              <a:gd name="connsiteX10" fmla="*/ 351472 w 466725"/>
              <a:gd name="connsiteY10" fmla="*/ 471488 h 561975"/>
              <a:gd name="connsiteX11" fmla="*/ 468630 w 466725"/>
              <a:gd name="connsiteY11" fmla="*/ 423863 h 561975"/>
              <a:gd name="connsiteX12" fmla="*/ 470535 w 466725"/>
              <a:gd name="connsiteY12" fmla="*/ 436245 h 56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6725" h="561975">
                <a:moveTo>
                  <a:pt x="470535" y="436245"/>
                </a:moveTo>
                <a:lnTo>
                  <a:pt x="470535" y="445770"/>
                </a:lnTo>
                <a:cubicBezTo>
                  <a:pt x="369570" y="532448"/>
                  <a:pt x="237172" y="562928"/>
                  <a:pt x="158115" y="567690"/>
                </a:cubicBezTo>
                <a:cubicBezTo>
                  <a:pt x="114300" y="570548"/>
                  <a:pt x="71438" y="551498"/>
                  <a:pt x="40957" y="520065"/>
                </a:cubicBezTo>
                <a:cubicBezTo>
                  <a:pt x="8572" y="488633"/>
                  <a:pt x="0" y="434340"/>
                  <a:pt x="0" y="356235"/>
                </a:cubicBezTo>
                <a:lnTo>
                  <a:pt x="0" y="65723"/>
                </a:lnTo>
                <a:lnTo>
                  <a:pt x="126682" y="0"/>
                </a:lnTo>
                <a:lnTo>
                  <a:pt x="128588" y="265748"/>
                </a:lnTo>
                <a:cubicBezTo>
                  <a:pt x="125730" y="319088"/>
                  <a:pt x="134302" y="373380"/>
                  <a:pt x="151447" y="423863"/>
                </a:cubicBezTo>
                <a:cubicBezTo>
                  <a:pt x="166688" y="465773"/>
                  <a:pt x="205740" y="486728"/>
                  <a:pt x="265747" y="486728"/>
                </a:cubicBezTo>
                <a:cubicBezTo>
                  <a:pt x="295275" y="485775"/>
                  <a:pt x="323850" y="480060"/>
                  <a:pt x="351472" y="471488"/>
                </a:cubicBezTo>
                <a:cubicBezTo>
                  <a:pt x="391477" y="459105"/>
                  <a:pt x="430530" y="442913"/>
                  <a:pt x="468630" y="423863"/>
                </a:cubicBezTo>
                <a:cubicBezTo>
                  <a:pt x="469582" y="427673"/>
                  <a:pt x="470535" y="432435"/>
                  <a:pt x="470535" y="43624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7" name="Forme libre : forme 16">
            <a:extLst>
              <a:ext uri="{FF2B5EF4-FFF2-40B4-BE49-F238E27FC236}">
                <a16:creationId xmlns:a16="http://schemas.microsoft.com/office/drawing/2014/main" id="{B57FA1DB-CF40-4C3B-8603-B0C589DE9032}"/>
              </a:ext>
            </a:extLst>
          </p:cNvPr>
          <p:cNvSpPr/>
          <p:nvPr/>
        </p:nvSpPr>
        <p:spPr>
          <a:xfrm rot="8716295">
            <a:off x="609657" y="1355798"/>
            <a:ext cx="100246" cy="218718"/>
          </a:xfrm>
          <a:custGeom>
            <a:avLst/>
            <a:gdLst>
              <a:gd name="connsiteX0" fmla="*/ 216217 w 209550"/>
              <a:gd name="connsiteY0" fmla="*/ 0 h 457200"/>
              <a:gd name="connsiteX1" fmla="*/ 216217 w 209550"/>
              <a:gd name="connsiteY1" fmla="*/ 458153 h 457200"/>
              <a:gd name="connsiteX2" fmla="*/ 90488 w 209550"/>
              <a:gd name="connsiteY2" fmla="*/ 337185 h 457200"/>
              <a:gd name="connsiteX3" fmla="*/ 90488 w 209550"/>
              <a:gd name="connsiteY3" fmla="*/ 34290 h 457200"/>
              <a:gd name="connsiteX4" fmla="*/ 0 w 209550"/>
              <a:gd name="connsiteY4" fmla="*/ 34290 h 457200"/>
              <a:gd name="connsiteX5" fmla="*/ 0 w 209550"/>
              <a:gd name="connsiteY5" fmla="*/ 4763 h 457200"/>
              <a:gd name="connsiteX6" fmla="*/ 216217 w 209550"/>
              <a:gd name="connsiteY6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9550" h="457200">
                <a:moveTo>
                  <a:pt x="216217" y="0"/>
                </a:moveTo>
                <a:lnTo>
                  <a:pt x="216217" y="458153"/>
                </a:lnTo>
                <a:lnTo>
                  <a:pt x="90488" y="337185"/>
                </a:lnTo>
                <a:lnTo>
                  <a:pt x="90488" y="34290"/>
                </a:lnTo>
                <a:lnTo>
                  <a:pt x="0" y="34290"/>
                </a:lnTo>
                <a:lnTo>
                  <a:pt x="0" y="4763"/>
                </a:lnTo>
                <a:cubicBezTo>
                  <a:pt x="68580" y="7620"/>
                  <a:pt x="140017" y="1905"/>
                  <a:pt x="216217" y="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8" name="Forme libre : forme 17">
            <a:extLst>
              <a:ext uri="{FF2B5EF4-FFF2-40B4-BE49-F238E27FC236}">
                <a16:creationId xmlns:a16="http://schemas.microsoft.com/office/drawing/2014/main" id="{8AA6873E-3CFC-4928-9C0D-5E1C199A6A43}"/>
              </a:ext>
            </a:extLst>
          </p:cNvPr>
          <p:cNvSpPr/>
          <p:nvPr/>
        </p:nvSpPr>
        <p:spPr>
          <a:xfrm rot="8716295">
            <a:off x="683426" y="869567"/>
            <a:ext cx="156000" cy="195873"/>
          </a:xfrm>
          <a:custGeom>
            <a:avLst/>
            <a:gdLst>
              <a:gd name="connsiteX0" fmla="*/ 42863 w 156000"/>
              <a:gd name="connsiteY0" fmla="*/ 195873 h 195873"/>
              <a:gd name="connsiteX1" fmla="*/ 0 w 156000"/>
              <a:gd name="connsiteY1" fmla="*/ 116129 h 195873"/>
              <a:gd name="connsiteX2" fmla="*/ 5100 w 156000"/>
              <a:gd name="connsiteY2" fmla="*/ 101988 h 195873"/>
              <a:gd name="connsiteX3" fmla="*/ 89456 w 156000"/>
              <a:gd name="connsiteY3" fmla="*/ 0 h 195873"/>
              <a:gd name="connsiteX4" fmla="*/ 156000 w 156000"/>
              <a:gd name="connsiteY4" fmla="*/ 0 h 195873"/>
              <a:gd name="connsiteX5" fmla="*/ 156000 w 156000"/>
              <a:gd name="connsiteY5" fmla="*/ 55323 h 195873"/>
              <a:gd name="connsiteX6" fmla="*/ 91208 w 156000"/>
              <a:gd name="connsiteY6" fmla="*/ 55323 h 195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6000" h="195873">
                <a:moveTo>
                  <a:pt x="42863" y="195873"/>
                </a:moveTo>
                <a:lnTo>
                  <a:pt x="0" y="116129"/>
                </a:lnTo>
                <a:lnTo>
                  <a:pt x="5100" y="101988"/>
                </a:lnTo>
                <a:lnTo>
                  <a:pt x="89456" y="0"/>
                </a:lnTo>
                <a:lnTo>
                  <a:pt x="156000" y="0"/>
                </a:lnTo>
                <a:lnTo>
                  <a:pt x="156000" y="55323"/>
                </a:lnTo>
                <a:lnTo>
                  <a:pt x="91208" y="5532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9" name="Forme libre : forme 18">
            <a:extLst>
              <a:ext uri="{FF2B5EF4-FFF2-40B4-BE49-F238E27FC236}">
                <a16:creationId xmlns:a16="http://schemas.microsoft.com/office/drawing/2014/main" id="{0609DC7B-52A5-4494-9388-1386F1B7ECA0}"/>
              </a:ext>
            </a:extLst>
          </p:cNvPr>
          <p:cNvSpPr/>
          <p:nvPr/>
        </p:nvSpPr>
        <p:spPr>
          <a:xfrm rot="8716295">
            <a:off x="657305" y="956046"/>
            <a:ext cx="72447" cy="72447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0" name="Forme libre : forme 19">
            <a:extLst>
              <a:ext uri="{FF2B5EF4-FFF2-40B4-BE49-F238E27FC236}">
                <a16:creationId xmlns:a16="http://schemas.microsoft.com/office/drawing/2014/main" id="{FA9B5438-F371-4C5C-851A-CA35F035D933}"/>
              </a:ext>
            </a:extLst>
          </p:cNvPr>
          <p:cNvSpPr/>
          <p:nvPr/>
        </p:nvSpPr>
        <p:spPr>
          <a:xfrm rot="8716295">
            <a:off x="412774" y="564244"/>
            <a:ext cx="141256" cy="232388"/>
          </a:xfrm>
          <a:custGeom>
            <a:avLst/>
            <a:gdLst>
              <a:gd name="connsiteX0" fmla="*/ 297180 w 295275"/>
              <a:gd name="connsiteY0" fmla="*/ 104775 h 485775"/>
              <a:gd name="connsiteX1" fmla="*/ 297180 w 295275"/>
              <a:gd name="connsiteY1" fmla="*/ 435293 h 485775"/>
              <a:gd name="connsiteX2" fmla="*/ 169545 w 295275"/>
              <a:gd name="connsiteY2" fmla="*/ 485775 h 485775"/>
              <a:gd name="connsiteX3" fmla="*/ 169545 w 295275"/>
              <a:gd name="connsiteY3" fmla="*/ 145733 h 485775"/>
              <a:gd name="connsiteX4" fmla="*/ 169545 w 295275"/>
              <a:gd name="connsiteY4" fmla="*/ 137160 h 485775"/>
              <a:gd name="connsiteX5" fmla="*/ 126683 w 295275"/>
              <a:gd name="connsiteY5" fmla="*/ 104775 h 485775"/>
              <a:gd name="connsiteX6" fmla="*/ 0 w 295275"/>
              <a:gd name="connsiteY6" fmla="*/ 104775 h 485775"/>
              <a:gd name="connsiteX7" fmla="*/ 0 w 295275"/>
              <a:gd name="connsiteY7" fmla="*/ 0 h 485775"/>
              <a:gd name="connsiteX8" fmla="*/ 178118 w 295275"/>
              <a:gd name="connsiteY8" fmla="*/ 0 h 485775"/>
              <a:gd name="connsiteX9" fmla="*/ 297180 w 295275"/>
              <a:gd name="connsiteY9" fmla="*/ 104775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95275" h="485775">
                <a:moveTo>
                  <a:pt x="297180" y="104775"/>
                </a:moveTo>
                <a:lnTo>
                  <a:pt x="297180" y="435293"/>
                </a:lnTo>
                <a:lnTo>
                  <a:pt x="169545" y="485775"/>
                </a:lnTo>
                <a:lnTo>
                  <a:pt x="169545" y="145733"/>
                </a:lnTo>
                <a:cubicBezTo>
                  <a:pt x="169545" y="142875"/>
                  <a:pt x="169545" y="140018"/>
                  <a:pt x="169545" y="137160"/>
                </a:cubicBezTo>
                <a:cubicBezTo>
                  <a:pt x="166688" y="116205"/>
                  <a:pt x="147638" y="101918"/>
                  <a:pt x="126683" y="104775"/>
                </a:cubicBezTo>
                <a:lnTo>
                  <a:pt x="0" y="104775"/>
                </a:lnTo>
                <a:lnTo>
                  <a:pt x="0" y="0"/>
                </a:lnTo>
                <a:lnTo>
                  <a:pt x="178118" y="0"/>
                </a:lnTo>
                <a:cubicBezTo>
                  <a:pt x="255270" y="0"/>
                  <a:pt x="297180" y="33338"/>
                  <a:pt x="297180" y="10477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1" name="Forme libre : forme 20">
            <a:extLst>
              <a:ext uri="{FF2B5EF4-FFF2-40B4-BE49-F238E27FC236}">
                <a16:creationId xmlns:a16="http://schemas.microsoft.com/office/drawing/2014/main" id="{ED2997EF-2C09-4DA3-BB88-8DA5032A40C8}"/>
              </a:ext>
            </a:extLst>
          </p:cNvPr>
          <p:cNvSpPr/>
          <p:nvPr/>
        </p:nvSpPr>
        <p:spPr>
          <a:xfrm rot="8716295">
            <a:off x="502166" y="593486"/>
            <a:ext cx="259728" cy="250615"/>
          </a:xfrm>
          <a:custGeom>
            <a:avLst/>
            <a:gdLst>
              <a:gd name="connsiteX0" fmla="*/ 544830 w 542925"/>
              <a:gd name="connsiteY0" fmla="*/ 184905 h 523875"/>
              <a:gd name="connsiteX1" fmla="*/ 544830 w 542925"/>
              <a:gd name="connsiteY1" fmla="*/ 197288 h 523875"/>
              <a:gd name="connsiteX2" fmla="*/ 415290 w 542925"/>
              <a:gd name="connsiteY2" fmla="*/ 204908 h 523875"/>
              <a:gd name="connsiteX3" fmla="*/ 415290 w 542925"/>
              <a:gd name="connsiteY3" fmla="*/ 170618 h 523875"/>
              <a:gd name="connsiteX4" fmla="*/ 344805 w 542925"/>
              <a:gd name="connsiteY4" fmla="*/ 83940 h 523875"/>
              <a:gd name="connsiteX5" fmla="*/ 233363 w 542925"/>
              <a:gd name="connsiteY5" fmla="*/ 266820 h 523875"/>
              <a:gd name="connsiteX6" fmla="*/ 233363 w 542925"/>
              <a:gd name="connsiteY6" fmla="*/ 446843 h 523875"/>
              <a:gd name="connsiteX7" fmla="*/ 107632 w 542925"/>
              <a:gd name="connsiteY7" fmla="*/ 532568 h 523875"/>
              <a:gd name="connsiteX8" fmla="*/ 107632 w 542925"/>
              <a:gd name="connsiteY8" fmla="*/ 95370 h 523875"/>
              <a:gd name="connsiteX9" fmla="*/ 0 w 542925"/>
              <a:gd name="connsiteY9" fmla="*/ 95370 h 523875"/>
              <a:gd name="connsiteX10" fmla="*/ 0 w 542925"/>
              <a:gd name="connsiteY10" fmla="*/ 2978 h 523875"/>
              <a:gd name="connsiteX11" fmla="*/ 219075 w 542925"/>
              <a:gd name="connsiteY11" fmla="*/ 2978 h 523875"/>
              <a:gd name="connsiteX12" fmla="*/ 219075 w 542925"/>
              <a:gd name="connsiteY12" fmla="*/ 157283 h 523875"/>
              <a:gd name="connsiteX13" fmla="*/ 221932 w 542925"/>
              <a:gd name="connsiteY13" fmla="*/ 157283 h 523875"/>
              <a:gd name="connsiteX14" fmla="*/ 321945 w 542925"/>
              <a:gd name="connsiteY14" fmla="*/ 12503 h 523875"/>
              <a:gd name="connsiteX15" fmla="*/ 387667 w 542925"/>
              <a:gd name="connsiteY15" fmla="*/ 120 h 523875"/>
              <a:gd name="connsiteX16" fmla="*/ 544830 w 542925"/>
              <a:gd name="connsiteY16" fmla="*/ 18490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42925" h="523875">
                <a:moveTo>
                  <a:pt x="544830" y="184905"/>
                </a:moveTo>
                <a:lnTo>
                  <a:pt x="544830" y="197288"/>
                </a:lnTo>
                <a:lnTo>
                  <a:pt x="415290" y="204908"/>
                </a:lnTo>
                <a:lnTo>
                  <a:pt x="415290" y="170618"/>
                </a:lnTo>
                <a:cubicBezTo>
                  <a:pt x="415290" y="119183"/>
                  <a:pt x="385763" y="83940"/>
                  <a:pt x="344805" y="83940"/>
                </a:cubicBezTo>
                <a:cubicBezTo>
                  <a:pt x="283845" y="83940"/>
                  <a:pt x="233363" y="164903"/>
                  <a:pt x="233363" y="266820"/>
                </a:cubicBezTo>
                <a:lnTo>
                  <a:pt x="233363" y="446843"/>
                </a:lnTo>
                <a:lnTo>
                  <a:pt x="107632" y="532568"/>
                </a:lnTo>
                <a:lnTo>
                  <a:pt x="107632" y="95370"/>
                </a:lnTo>
                <a:lnTo>
                  <a:pt x="0" y="95370"/>
                </a:lnTo>
                <a:lnTo>
                  <a:pt x="0" y="2978"/>
                </a:lnTo>
                <a:lnTo>
                  <a:pt x="219075" y="2978"/>
                </a:lnTo>
                <a:lnTo>
                  <a:pt x="219075" y="157283"/>
                </a:lnTo>
                <a:lnTo>
                  <a:pt x="221932" y="157283"/>
                </a:lnTo>
                <a:cubicBezTo>
                  <a:pt x="252413" y="66795"/>
                  <a:pt x="276225" y="31553"/>
                  <a:pt x="321945" y="12503"/>
                </a:cubicBezTo>
                <a:cubicBezTo>
                  <a:pt x="342900" y="3930"/>
                  <a:pt x="364807" y="-832"/>
                  <a:pt x="387667" y="120"/>
                </a:cubicBezTo>
                <a:cubicBezTo>
                  <a:pt x="485775" y="-1785"/>
                  <a:pt x="544830" y="66795"/>
                  <a:pt x="544830" y="18490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2" name="Forme libre : forme 21">
            <a:extLst>
              <a:ext uri="{FF2B5EF4-FFF2-40B4-BE49-F238E27FC236}">
                <a16:creationId xmlns:a16="http://schemas.microsoft.com/office/drawing/2014/main" id="{DBD136C4-820E-4184-B91F-ED5B5690DC24}"/>
              </a:ext>
            </a:extLst>
          </p:cNvPr>
          <p:cNvSpPr/>
          <p:nvPr/>
        </p:nvSpPr>
        <p:spPr>
          <a:xfrm rot="8716295">
            <a:off x="457316" y="507206"/>
            <a:ext cx="186822" cy="136699"/>
          </a:xfrm>
          <a:custGeom>
            <a:avLst/>
            <a:gdLst>
              <a:gd name="connsiteX0" fmla="*/ 343853 w 390525"/>
              <a:gd name="connsiteY0" fmla="*/ 144780 h 285750"/>
              <a:gd name="connsiteX1" fmla="*/ 344805 w 390525"/>
              <a:gd name="connsiteY1" fmla="*/ 144780 h 285750"/>
              <a:gd name="connsiteX2" fmla="*/ 12382 w 390525"/>
              <a:gd name="connsiteY2" fmla="*/ 288608 h 285750"/>
              <a:gd name="connsiteX3" fmla="*/ 0 w 390525"/>
              <a:gd name="connsiteY3" fmla="*/ 271463 h 285750"/>
              <a:gd name="connsiteX4" fmla="*/ 225743 w 390525"/>
              <a:gd name="connsiteY4" fmla="*/ 59055 h 285750"/>
              <a:gd name="connsiteX5" fmla="*/ 340043 w 390525"/>
              <a:gd name="connsiteY5" fmla="*/ 0 h 285750"/>
              <a:gd name="connsiteX6" fmla="*/ 399098 w 390525"/>
              <a:gd name="connsiteY6" fmla="*/ 70485 h 285750"/>
              <a:gd name="connsiteX7" fmla="*/ 343853 w 390525"/>
              <a:gd name="connsiteY7" fmla="*/ 14478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0525" h="285750">
                <a:moveTo>
                  <a:pt x="343853" y="144780"/>
                </a:moveTo>
                <a:lnTo>
                  <a:pt x="344805" y="144780"/>
                </a:lnTo>
                <a:lnTo>
                  <a:pt x="12382" y="288608"/>
                </a:lnTo>
                <a:lnTo>
                  <a:pt x="0" y="271463"/>
                </a:lnTo>
                <a:lnTo>
                  <a:pt x="225743" y="59055"/>
                </a:lnTo>
                <a:cubicBezTo>
                  <a:pt x="254318" y="25718"/>
                  <a:pt x="295275" y="4763"/>
                  <a:pt x="340043" y="0"/>
                </a:cubicBezTo>
                <a:cubicBezTo>
                  <a:pt x="385763" y="0"/>
                  <a:pt x="399098" y="40005"/>
                  <a:pt x="399098" y="70485"/>
                </a:cubicBezTo>
                <a:cubicBezTo>
                  <a:pt x="396240" y="103823"/>
                  <a:pt x="374332" y="131445"/>
                  <a:pt x="343853" y="14478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3" name="Forme libre : forme 22">
            <a:extLst>
              <a:ext uri="{FF2B5EF4-FFF2-40B4-BE49-F238E27FC236}">
                <a16:creationId xmlns:a16="http://schemas.microsoft.com/office/drawing/2014/main" id="{8BD8CCA9-A2C8-4634-B0CF-620A635CE67A}"/>
              </a:ext>
            </a:extLst>
          </p:cNvPr>
          <p:cNvSpPr/>
          <p:nvPr/>
        </p:nvSpPr>
        <p:spPr>
          <a:xfrm rot="8716295">
            <a:off x="300540" y="652788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4" name="Forme libre : forme 23">
            <a:extLst>
              <a:ext uri="{FF2B5EF4-FFF2-40B4-BE49-F238E27FC236}">
                <a16:creationId xmlns:a16="http://schemas.microsoft.com/office/drawing/2014/main" id="{33B24AF7-29F7-4408-AE25-97A38660E784}"/>
              </a:ext>
            </a:extLst>
          </p:cNvPr>
          <p:cNvSpPr/>
          <p:nvPr/>
        </p:nvSpPr>
        <p:spPr>
          <a:xfrm rot="8716295">
            <a:off x="175637" y="444115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5" name="Forme libre : forme 24">
            <a:extLst>
              <a:ext uri="{FF2B5EF4-FFF2-40B4-BE49-F238E27FC236}">
                <a16:creationId xmlns:a16="http://schemas.microsoft.com/office/drawing/2014/main" id="{506A4C62-4148-4841-838F-A205F53AD573}"/>
              </a:ext>
            </a:extLst>
          </p:cNvPr>
          <p:cNvSpPr/>
          <p:nvPr/>
        </p:nvSpPr>
        <p:spPr>
          <a:xfrm rot="8716295">
            <a:off x="163585" y="305335"/>
            <a:ext cx="288290" cy="347125"/>
          </a:xfrm>
          <a:custGeom>
            <a:avLst/>
            <a:gdLst>
              <a:gd name="connsiteX0" fmla="*/ 470535 w 466725"/>
              <a:gd name="connsiteY0" fmla="*/ 436245 h 561975"/>
              <a:gd name="connsiteX1" fmla="*/ 470535 w 466725"/>
              <a:gd name="connsiteY1" fmla="*/ 445770 h 561975"/>
              <a:gd name="connsiteX2" fmla="*/ 158115 w 466725"/>
              <a:gd name="connsiteY2" fmla="*/ 567690 h 561975"/>
              <a:gd name="connsiteX3" fmla="*/ 40957 w 466725"/>
              <a:gd name="connsiteY3" fmla="*/ 520065 h 561975"/>
              <a:gd name="connsiteX4" fmla="*/ 0 w 466725"/>
              <a:gd name="connsiteY4" fmla="*/ 356235 h 561975"/>
              <a:gd name="connsiteX5" fmla="*/ 0 w 466725"/>
              <a:gd name="connsiteY5" fmla="*/ 65723 h 561975"/>
              <a:gd name="connsiteX6" fmla="*/ 126682 w 466725"/>
              <a:gd name="connsiteY6" fmla="*/ 0 h 561975"/>
              <a:gd name="connsiteX7" fmla="*/ 128588 w 466725"/>
              <a:gd name="connsiteY7" fmla="*/ 265748 h 561975"/>
              <a:gd name="connsiteX8" fmla="*/ 151447 w 466725"/>
              <a:gd name="connsiteY8" fmla="*/ 423863 h 561975"/>
              <a:gd name="connsiteX9" fmla="*/ 265747 w 466725"/>
              <a:gd name="connsiteY9" fmla="*/ 486728 h 561975"/>
              <a:gd name="connsiteX10" fmla="*/ 351472 w 466725"/>
              <a:gd name="connsiteY10" fmla="*/ 471488 h 561975"/>
              <a:gd name="connsiteX11" fmla="*/ 468630 w 466725"/>
              <a:gd name="connsiteY11" fmla="*/ 423863 h 561975"/>
              <a:gd name="connsiteX12" fmla="*/ 470535 w 466725"/>
              <a:gd name="connsiteY12" fmla="*/ 436245 h 56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6725" h="561975">
                <a:moveTo>
                  <a:pt x="470535" y="436245"/>
                </a:moveTo>
                <a:lnTo>
                  <a:pt x="470535" y="445770"/>
                </a:lnTo>
                <a:cubicBezTo>
                  <a:pt x="369570" y="532448"/>
                  <a:pt x="237172" y="562928"/>
                  <a:pt x="158115" y="567690"/>
                </a:cubicBezTo>
                <a:cubicBezTo>
                  <a:pt x="114300" y="570548"/>
                  <a:pt x="71438" y="551498"/>
                  <a:pt x="40957" y="520065"/>
                </a:cubicBezTo>
                <a:cubicBezTo>
                  <a:pt x="8572" y="488633"/>
                  <a:pt x="0" y="434340"/>
                  <a:pt x="0" y="356235"/>
                </a:cubicBezTo>
                <a:lnTo>
                  <a:pt x="0" y="65723"/>
                </a:lnTo>
                <a:lnTo>
                  <a:pt x="126682" y="0"/>
                </a:lnTo>
                <a:lnTo>
                  <a:pt x="128588" y="265748"/>
                </a:lnTo>
                <a:cubicBezTo>
                  <a:pt x="125730" y="319088"/>
                  <a:pt x="134302" y="373380"/>
                  <a:pt x="151447" y="423863"/>
                </a:cubicBezTo>
                <a:cubicBezTo>
                  <a:pt x="166688" y="465773"/>
                  <a:pt x="205740" y="486728"/>
                  <a:pt x="265747" y="486728"/>
                </a:cubicBezTo>
                <a:cubicBezTo>
                  <a:pt x="295275" y="485775"/>
                  <a:pt x="323850" y="480060"/>
                  <a:pt x="351472" y="471488"/>
                </a:cubicBezTo>
                <a:cubicBezTo>
                  <a:pt x="391477" y="459105"/>
                  <a:pt x="430530" y="442913"/>
                  <a:pt x="468630" y="423863"/>
                </a:cubicBezTo>
                <a:cubicBezTo>
                  <a:pt x="469582" y="427673"/>
                  <a:pt x="470535" y="432435"/>
                  <a:pt x="470535" y="43624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6" name="Forme libre : forme 25">
            <a:extLst>
              <a:ext uri="{FF2B5EF4-FFF2-40B4-BE49-F238E27FC236}">
                <a16:creationId xmlns:a16="http://schemas.microsoft.com/office/drawing/2014/main" id="{1C1A41D0-65C3-44E5-8A29-ECCEBE983C62}"/>
              </a:ext>
            </a:extLst>
          </p:cNvPr>
          <p:cNvSpPr/>
          <p:nvPr/>
        </p:nvSpPr>
        <p:spPr>
          <a:xfrm rot="8716295">
            <a:off x="390718" y="693740"/>
            <a:ext cx="100246" cy="218718"/>
          </a:xfrm>
          <a:custGeom>
            <a:avLst/>
            <a:gdLst>
              <a:gd name="connsiteX0" fmla="*/ 216217 w 209550"/>
              <a:gd name="connsiteY0" fmla="*/ 0 h 457200"/>
              <a:gd name="connsiteX1" fmla="*/ 216217 w 209550"/>
              <a:gd name="connsiteY1" fmla="*/ 458153 h 457200"/>
              <a:gd name="connsiteX2" fmla="*/ 90488 w 209550"/>
              <a:gd name="connsiteY2" fmla="*/ 337185 h 457200"/>
              <a:gd name="connsiteX3" fmla="*/ 90488 w 209550"/>
              <a:gd name="connsiteY3" fmla="*/ 34290 h 457200"/>
              <a:gd name="connsiteX4" fmla="*/ 0 w 209550"/>
              <a:gd name="connsiteY4" fmla="*/ 34290 h 457200"/>
              <a:gd name="connsiteX5" fmla="*/ 0 w 209550"/>
              <a:gd name="connsiteY5" fmla="*/ 4763 h 457200"/>
              <a:gd name="connsiteX6" fmla="*/ 216217 w 209550"/>
              <a:gd name="connsiteY6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9550" h="457200">
                <a:moveTo>
                  <a:pt x="216217" y="0"/>
                </a:moveTo>
                <a:lnTo>
                  <a:pt x="216217" y="458153"/>
                </a:lnTo>
                <a:lnTo>
                  <a:pt x="90488" y="337185"/>
                </a:lnTo>
                <a:lnTo>
                  <a:pt x="90488" y="34290"/>
                </a:lnTo>
                <a:lnTo>
                  <a:pt x="0" y="34290"/>
                </a:lnTo>
                <a:lnTo>
                  <a:pt x="0" y="4763"/>
                </a:lnTo>
                <a:cubicBezTo>
                  <a:pt x="68580" y="7620"/>
                  <a:pt x="140017" y="1905"/>
                  <a:pt x="216217" y="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7" name="Forme libre : forme 26">
            <a:extLst>
              <a:ext uri="{FF2B5EF4-FFF2-40B4-BE49-F238E27FC236}">
                <a16:creationId xmlns:a16="http://schemas.microsoft.com/office/drawing/2014/main" id="{A93B008E-5902-4D55-9E1E-85F07149CD35}"/>
              </a:ext>
            </a:extLst>
          </p:cNvPr>
          <p:cNvSpPr/>
          <p:nvPr/>
        </p:nvSpPr>
        <p:spPr>
          <a:xfrm rot="8716295">
            <a:off x="702015" y="317459"/>
            <a:ext cx="131260" cy="232388"/>
          </a:xfrm>
          <a:custGeom>
            <a:avLst/>
            <a:gdLst>
              <a:gd name="connsiteX0" fmla="*/ 70201 w 131260"/>
              <a:gd name="connsiteY0" fmla="*/ 232388 h 232388"/>
              <a:gd name="connsiteX1" fmla="*/ 70201 w 131260"/>
              <a:gd name="connsiteY1" fmla="*/ 69717 h 232388"/>
              <a:gd name="connsiteX2" fmla="*/ 70201 w 131260"/>
              <a:gd name="connsiteY2" fmla="*/ 65615 h 232388"/>
              <a:gd name="connsiteX3" fmla="*/ 49697 w 131260"/>
              <a:gd name="connsiteY3" fmla="*/ 50123 h 232388"/>
              <a:gd name="connsiteX4" fmla="*/ 0 w 131260"/>
              <a:gd name="connsiteY4" fmla="*/ 50123 h 232388"/>
              <a:gd name="connsiteX5" fmla="*/ 41457 w 131260"/>
              <a:gd name="connsiteY5" fmla="*/ 0 h 232388"/>
              <a:gd name="connsiteX6" fmla="*/ 74303 w 131260"/>
              <a:gd name="connsiteY6" fmla="*/ 0 h 232388"/>
              <a:gd name="connsiteX7" fmla="*/ 131260 w 131260"/>
              <a:gd name="connsiteY7" fmla="*/ 50123 h 232388"/>
              <a:gd name="connsiteX8" fmla="*/ 131260 w 131260"/>
              <a:gd name="connsiteY8" fmla="*/ 208238 h 232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1260" h="232388">
                <a:moveTo>
                  <a:pt x="70201" y="232388"/>
                </a:moveTo>
                <a:lnTo>
                  <a:pt x="70201" y="69717"/>
                </a:lnTo>
                <a:cubicBezTo>
                  <a:pt x="70201" y="68349"/>
                  <a:pt x="70201" y="66983"/>
                  <a:pt x="70201" y="65615"/>
                </a:cubicBezTo>
                <a:cubicBezTo>
                  <a:pt x="68835" y="55591"/>
                  <a:pt x="59721" y="48756"/>
                  <a:pt x="49697" y="50123"/>
                </a:cubicBezTo>
                <a:lnTo>
                  <a:pt x="0" y="50123"/>
                </a:lnTo>
                <a:lnTo>
                  <a:pt x="41457" y="0"/>
                </a:lnTo>
                <a:lnTo>
                  <a:pt x="74303" y="0"/>
                </a:lnTo>
                <a:cubicBezTo>
                  <a:pt x="111211" y="0"/>
                  <a:pt x="131260" y="15948"/>
                  <a:pt x="131260" y="50123"/>
                </a:cubicBezTo>
                <a:lnTo>
                  <a:pt x="131260" y="208238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8" name="Forme libre : forme 27">
            <a:extLst>
              <a:ext uri="{FF2B5EF4-FFF2-40B4-BE49-F238E27FC236}">
                <a16:creationId xmlns:a16="http://schemas.microsoft.com/office/drawing/2014/main" id="{8AA688E0-8B68-432D-AC4C-16B34E3E659F}"/>
              </a:ext>
            </a:extLst>
          </p:cNvPr>
          <p:cNvSpPr/>
          <p:nvPr/>
        </p:nvSpPr>
        <p:spPr>
          <a:xfrm rot="8716295">
            <a:off x="834978" y="558357"/>
            <a:ext cx="24341" cy="23495"/>
          </a:xfrm>
          <a:custGeom>
            <a:avLst/>
            <a:gdLst>
              <a:gd name="connsiteX0" fmla="*/ 0 w 24341"/>
              <a:gd name="connsiteY0" fmla="*/ 23495 h 23495"/>
              <a:gd name="connsiteX1" fmla="*/ 19433 w 24341"/>
              <a:gd name="connsiteY1" fmla="*/ 0 h 23495"/>
              <a:gd name="connsiteX2" fmla="*/ 24341 w 24341"/>
              <a:gd name="connsiteY2" fmla="*/ 16139 h 23495"/>
              <a:gd name="connsiteX3" fmla="*/ 24341 w 24341"/>
              <a:gd name="connsiteY3" fmla="*/ 22063 h 23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341" h="23495">
                <a:moveTo>
                  <a:pt x="0" y="23495"/>
                </a:moveTo>
                <a:lnTo>
                  <a:pt x="19433" y="0"/>
                </a:lnTo>
                <a:lnTo>
                  <a:pt x="24341" y="16139"/>
                </a:lnTo>
                <a:lnTo>
                  <a:pt x="24341" y="2206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672AA540-A579-4E8F-A234-CD30C1FF0A89}"/>
              </a:ext>
            </a:extLst>
          </p:cNvPr>
          <p:cNvSpPr/>
          <p:nvPr/>
        </p:nvSpPr>
        <p:spPr>
          <a:xfrm rot="8716295">
            <a:off x="589639" y="402636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0" name="Forme libre : forme 29">
            <a:extLst>
              <a:ext uri="{FF2B5EF4-FFF2-40B4-BE49-F238E27FC236}">
                <a16:creationId xmlns:a16="http://schemas.microsoft.com/office/drawing/2014/main" id="{C0BAD361-E55B-42F0-893F-014DB3986A10}"/>
              </a:ext>
            </a:extLst>
          </p:cNvPr>
          <p:cNvSpPr/>
          <p:nvPr/>
        </p:nvSpPr>
        <p:spPr>
          <a:xfrm rot="8716295">
            <a:off x="464737" y="193963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7776BC0-23C7-4489-8F09-E129A530C0CC}"/>
              </a:ext>
            </a:extLst>
          </p:cNvPr>
          <p:cNvSpPr/>
          <p:nvPr/>
        </p:nvSpPr>
        <p:spPr>
          <a:xfrm rot="8716295">
            <a:off x="679817" y="443588"/>
            <a:ext cx="100246" cy="218719"/>
          </a:xfrm>
          <a:custGeom>
            <a:avLst/>
            <a:gdLst>
              <a:gd name="connsiteX0" fmla="*/ 216217 w 209550"/>
              <a:gd name="connsiteY0" fmla="*/ 0 h 457200"/>
              <a:gd name="connsiteX1" fmla="*/ 216217 w 209550"/>
              <a:gd name="connsiteY1" fmla="*/ 458153 h 457200"/>
              <a:gd name="connsiteX2" fmla="*/ 90488 w 209550"/>
              <a:gd name="connsiteY2" fmla="*/ 337185 h 457200"/>
              <a:gd name="connsiteX3" fmla="*/ 90488 w 209550"/>
              <a:gd name="connsiteY3" fmla="*/ 34290 h 457200"/>
              <a:gd name="connsiteX4" fmla="*/ 0 w 209550"/>
              <a:gd name="connsiteY4" fmla="*/ 34290 h 457200"/>
              <a:gd name="connsiteX5" fmla="*/ 0 w 209550"/>
              <a:gd name="connsiteY5" fmla="*/ 4763 h 457200"/>
              <a:gd name="connsiteX6" fmla="*/ 216217 w 209550"/>
              <a:gd name="connsiteY6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9550" h="457200">
                <a:moveTo>
                  <a:pt x="216217" y="0"/>
                </a:moveTo>
                <a:lnTo>
                  <a:pt x="216217" y="458153"/>
                </a:lnTo>
                <a:lnTo>
                  <a:pt x="90488" y="337185"/>
                </a:lnTo>
                <a:lnTo>
                  <a:pt x="90488" y="34290"/>
                </a:lnTo>
                <a:lnTo>
                  <a:pt x="0" y="34290"/>
                </a:lnTo>
                <a:lnTo>
                  <a:pt x="0" y="4763"/>
                </a:lnTo>
                <a:cubicBezTo>
                  <a:pt x="68580" y="7620"/>
                  <a:pt x="140017" y="1905"/>
                  <a:pt x="216217" y="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2" name="Forme libre : forme 31">
            <a:extLst>
              <a:ext uri="{FF2B5EF4-FFF2-40B4-BE49-F238E27FC236}">
                <a16:creationId xmlns:a16="http://schemas.microsoft.com/office/drawing/2014/main" id="{6EC00833-27CA-42E8-A3F4-264B72DC896E}"/>
              </a:ext>
            </a:extLst>
          </p:cNvPr>
          <p:cNvSpPr/>
          <p:nvPr/>
        </p:nvSpPr>
        <p:spPr>
          <a:xfrm rot="8716295">
            <a:off x="438366" y="293988"/>
            <a:ext cx="72447" cy="72447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3" name="Forme libre : forme 32">
            <a:extLst>
              <a:ext uri="{FF2B5EF4-FFF2-40B4-BE49-F238E27FC236}">
                <a16:creationId xmlns:a16="http://schemas.microsoft.com/office/drawing/2014/main" id="{1FD6DD85-FCBC-4AED-9D6D-4125AB918B1C}"/>
              </a:ext>
            </a:extLst>
          </p:cNvPr>
          <p:cNvSpPr/>
          <p:nvPr/>
        </p:nvSpPr>
        <p:spPr>
          <a:xfrm rot="7484129">
            <a:off x="811674" y="658874"/>
            <a:ext cx="31078" cy="46141"/>
          </a:xfrm>
          <a:custGeom>
            <a:avLst/>
            <a:gdLst>
              <a:gd name="connsiteX0" fmla="*/ 15207 w 31078"/>
              <a:gd name="connsiteY0" fmla="*/ 46141 h 46141"/>
              <a:gd name="connsiteX1" fmla="*/ 0 w 31078"/>
              <a:gd name="connsiteY1" fmla="*/ 17849 h 46141"/>
              <a:gd name="connsiteX2" fmla="*/ 31078 w 31078"/>
              <a:gd name="connsiteY2" fmla="*/ 0 h 461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078" h="46141">
                <a:moveTo>
                  <a:pt x="15207" y="46141"/>
                </a:moveTo>
                <a:lnTo>
                  <a:pt x="0" y="17849"/>
                </a:lnTo>
                <a:lnTo>
                  <a:pt x="31078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4" name="Forme libre : forme 33">
            <a:extLst>
              <a:ext uri="{FF2B5EF4-FFF2-40B4-BE49-F238E27FC236}">
                <a16:creationId xmlns:a16="http://schemas.microsoft.com/office/drawing/2014/main" id="{ED8E04A5-1CCB-474C-BB14-6861F24B92EE}"/>
              </a:ext>
            </a:extLst>
          </p:cNvPr>
          <p:cNvSpPr/>
          <p:nvPr/>
        </p:nvSpPr>
        <p:spPr>
          <a:xfrm rot="8716295">
            <a:off x="780102" y="336420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5" name="Forme libre : forme 34">
            <a:extLst>
              <a:ext uri="{FF2B5EF4-FFF2-40B4-BE49-F238E27FC236}">
                <a16:creationId xmlns:a16="http://schemas.microsoft.com/office/drawing/2014/main" id="{D2589E01-70DB-4980-9D5E-15028C3BF442}"/>
              </a:ext>
            </a:extLst>
          </p:cNvPr>
          <p:cNvSpPr/>
          <p:nvPr/>
        </p:nvSpPr>
        <p:spPr>
          <a:xfrm rot="8716295">
            <a:off x="202348" y="-57106"/>
            <a:ext cx="142167" cy="186494"/>
          </a:xfrm>
          <a:custGeom>
            <a:avLst/>
            <a:gdLst>
              <a:gd name="connsiteX0" fmla="*/ 142167 w 142167"/>
              <a:gd name="connsiteY0" fmla="*/ 186494 h 186494"/>
              <a:gd name="connsiteX1" fmla="*/ 81108 w 142167"/>
              <a:gd name="connsiteY1" fmla="*/ 144170 h 186494"/>
              <a:gd name="connsiteX2" fmla="*/ 81108 w 142167"/>
              <a:gd name="connsiteY2" fmla="*/ 69717 h 186494"/>
              <a:gd name="connsiteX3" fmla="*/ 81108 w 142167"/>
              <a:gd name="connsiteY3" fmla="*/ 65615 h 186494"/>
              <a:gd name="connsiteX4" fmla="*/ 60603 w 142167"/>
              <a:gd name="connsiteY4" fmla="*/ 50123 h 186494"/>
              <a:gd name="connsiteX5" fmla="*/ 0 w 142167"/>
              <a:gd name="connsiteY5" fmla="*/ 50123 h 186494"/>
              <a:gd name="connsiteX6" fmla="*/ 0 w 142167"/>
              <a:gd name="connsiteY6" fmla="*/ 0 h 186494"/>
              <a:gd name="connsiteX7" fmla="*/ 85209 w 142167"/>
              <a:gd name="connsiteY7" fmla="*/ 0 h 186494"/>
              <a:gd name="connsiteX8" fmla="*/ 142167 w 142167"/>
              <a:gd name="connsiteY8" fmla="*/ 50123 h 186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2167" h="186494">
                <a:moveTo>
                  <a:pt x="142167" y="186494"/>
                </a:moveTo>
                <a:lnTo>
                  <a:pt x="81108" y="144170"/>
                </a:lnTo>
                <a:lnTo>
                  <a:pt x="81108" y="69717"/>
                </a:lnTo>
                <a:cubicBezTo>
                  <a:pt x="81108" y="68349"/>
                  <a:pt x="81108" y="66983"/>
                  <a:pt x="81108" y="65615"/>
                </a:cubicBezTo>
                <a:cubicBezTo>
                  <a:pt x="79741" y="55591"/>
                  <a:pt x="70628" y="48756"/>
                  <a:pt x="60603" y="50123"/>
                </a:cubicBezTo>
                <a:lnTo>
                  <a:pt x="0" y="50123"/>
                </a:lnTo>
                <a:lnTo>
                  <a:pt x="0" y="0"/>
                </a:lnTo>
                <a:lnTo>
                  <a:pt x="85209" y="0"/>
                </a:lnTo>
                <a:cubicBezTo>
                  <a:pt x="122118" y="0"/>
                  <a:pt x="142167" y="15948"/>
                  <a:pt x="142167" y="501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6" name="Forme libre : forme 35">
            <a:extLst>
              <a:ext uri="{FF2B5EF4-FFF2-40B4-BE49-F238E27FC236}">
                <a16:creationId xmlns:a16="http://schemas.microsoft.com/office/drawing/2014/main" id="{2AEF8F7A-52DD-4323-9058-8F5D8BF7C257}"/>
              </a:ext>
            </a:extLst>
          </p:cNvPr>
          <p:cNvSpPr/>
          <p:nvPr/>
        </p:nvSpPr>
        <p:spPr>
          <a:xfrm rot="8716295">
            <a:off x="298766" y="-5395"/>
            <a:ext cx="260639" cy="180054"/>
          </a:xfrm>
          <a:custGeom>
            <a:avLst/>
            <a:gdLst>
              <a:gd name="connsiteX0" fmla="*/ 111638 w 260639"/>
              <a:gd name="connsiteY0" fmla="*/ 180054 h 180054"/>
              <a:gd name="connsiteX1" fmla="*/ 51490 w 260639"/>
              <a:gd name="connsiteY1" fmla="*/ 138362 h 180054"/>
              <a:gd name="connsiteX2" fmla="*/ 51490 w 260639"/>
              <a:gd name="connsiteY2" fmla="*/ 45624 h 180054"/>
              <a:gd name="connsiteX3" fmla="*/ 0 w 260639"/>
              <a:gd name="connsiteY3" fmla="*/ 45624 h 180054"/>
              <a:gd name="connsiteX4" fmla="*/ 0 w 260639"/>
              <a:gd name="connsiteY4" fmla="*/ 1425 h 180054"/>
              <a:gd name="connsiteX5" fmla="*/ 104802 w 260639"/>
              <a:gd name="connsiteY5" fmla="*/ 1425 h 180054"/>
              <a:gd name="connsiteX6" fmla="*/ 104802 w 260639"/>
              <a:gd name="connsiteY6" fmla="*/ 75242 h 180054"/>
              <a:gd name="connsiteX7" fmla="*/ 106169 w 260639"/>
              <a:gd name="connsiteY7" fmla="*/ 75242 h 180054"/>
              <a:gd name="connsiteX8" fmla="*/ 154014 w 260639"/>
              <a:gd name="connsiteY8" fmla="*/ 5981 h 180054"/>
              <a:gd name="connsiteX9" fmla="*/ 185455 w 260639"/>
              <a:gd name="connsiteY9" fmla="*/ 57 h 180054"/>
              <a:gd name="connsiteX10" fmla="*/ 260639 w 260639"/>
              <a:gd name="connsiteY10" fmla="*/ 88456 h 180054"/>
              <a:gd name="connsiteX11" fmla="*/ 260639 w 260639"/>
              <a:gd name="connsiteY11" fmla="*/ 94380 h 180054"/>
              <a:gd name="connsiteX12" fmla="*/ 198669 w 260639"/>
              <a:gd name="connsiteY12" fmla="*/ 98025 h 180054"/>
              <a:gd name="connsiteX13" fmla="*/ 198669 w 260639"/>
              <a:gd name="connsiteY13" fmla="*/ 81621 h 180054"/>
              <a:gd name="connsiteX14" fmla="*/ 164950 w 260639"/>
              <a:gd name="connsiteY14" fmla="*/ 40156 h 180054"/>
              <a:gd name="connsiteX15" fmla="*/ 111638 w 260639"/>
              <a:gd name="connsiteY15" fmla="*/ 127643 h 180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60639" h="180054">
                <a:moveTo>
                  <a:pt x="111638" y="180054"/>
                </a:moveTo>
                <a:lnTo>
                  <a:pt x="51490" y="138362"/>
                </a:lnTo>
                <a:lnTo>
                  <a:pt x="51490" y="45624"/>
                </a:lnTo>
                <a:lnTo>
                  <a:pt x="0" y="45624"/>
                </a:lnTo>
                <a:lnTo>
                  <a:pt x="0" y="1425"/>
                </a:lnTo>
                <a:lnTo>
                  <a:pt x="104802" y="1425"/>
                </a:lnTo>
                <a:lnTo>
                  <a:pt x="104802" y="75242"/>
                </a:lnTo>
                <a:lnTo>
                  <a:pt x="106169" y="75242"/>
                </a:lnTo>
                <a:cubicBezTo>
                  <a:pt x="120751" y="31954"/>
                  <a:pt x="132142" y="15094"/>
                  <a:pt x="154014" y="5981"/>
                </a:cubicBezTo>
                <a:cubicBezTo>
                  <a:pt x="164039" y="1880"/>
                  <a:pt x="174519" y="-398"/>
                  <a:pt x="185455" y="57"/>
                </a:cubicBezTo>
                <a:cubicBezTo>
                  <a:pt x="232388" y="-854"/>
                  <a:pt x="260639" y="31954"/>
                  <a:pt x="260639" y="88456"/>
                </a:cubicBezTo>
                <a:lnTo>
                  <a:pt x="260639" y="94380"/>
                </a:lnTo>
                <a:lnTo>
                  <a:pt x="198669" y="98025"/>
                </a:lnTo>
                <a:lnTo>
                  <a:pt x="198669" y="81621"/>
                </a:lnTo>
                <a:cubicBezTo>
                  <a:pt x="198669" y="57016"/>
                  <a:pt x="184544" y="40156"/>
                  <a:pt x="164950" y="40156"/>
                </a:cubicBezTo>
                <a:cubicBezTo>
                  <a:pt x="135788" y="40156"/>
                  <a:pt x="111638" y="78887"/>
                  <a:pt x="111638" y="12764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7" name="Forme libre : forme 36">
            <a:extLst>
              <a:ext uri="{FF2B5EF4-FFF2-40B4-BE49-F238E27FC236}">
                <a16:creationId xmlns:a16="http://schemas.microsoft.com/office/drawing/2014/main" id="{4EA5F182-B436-49C8-8170-C1AD6D2F32D5}"/>
              </a:ext>
            </a:extLst>
          </p:cNvPr>
          <p:cNvSpPr/>
          <p:nvPr/>
        </p:nvSpPr>
        <p:spPr>
          <a:xfrm rot="8716295">
            <a:off x="276903" y="-12823"/>
            <a:ext cx="36272" cy="27982"/>
          </a:xfrm>
          <a:custGeom>
            <a:avLst/>
            <a:gdLst>
              <a:gd name="connsiteX0" fmla="*/ 36272 w 36272"/>
              <a:gd name="connsiteY0" fmla="*/ 27982 h 27982"/>
              <a:gd name="connsiteX1" fmla="*/ 0 w 36272"/>
              <a:gd name="connsiteY1" fmla="*/ 2840 h 27982"/>
              <a:gd name="connsiteX2" fmla="*/ 9543 w 36272"/>
              <a:gd name="connsiteY2" fmla="*/ 0 h 27982"/>
              <a:gd name="connsiteX3" fmla="*/ 31871 w 36272"/>
              <a:gd name="connsiteY3" fmla="*/ 11392 h 27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272" h="27982">
                <a:moveTo>
                  <a:pt x="36272" y="27982"/>
                </a:moveTo>
                <a:lnTo>
                  <a:pt x="0" y="2840"/>
                </a:lnTo>
                <a:lnTo>
                  <a:pt x="9543" y="0"/>
                </a:lnTo>
                <a:cubicBezTo>
                  <a:pt x="20479" y="0"/>
                  <a:pt x="27542" y="4784"/>
                  <a:pt x="31871" y="11392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8" name="Forme libre : forme 37">
            <a:extLst>
              <a:ext uri="{FF2B5EF4-FFF2-40B4-BE49-F238E27FC236}">
                <a16:creationId xmlns:a16="http://schemas.microsoft.com/office/drawing/2014/main" id="{F421218E-0235-4F72-A3A0-C0DE2686EE65}"/>
              </a:ext>
            </a:extLst>
          </p:cNvPr>
          <p:cNvSpPr/>
          <p:nvPr/>
        </p:nvSpPr>
        <p:spPr>
          <a:xfrm rot="8716295">
            <a:off x="74640" y="-9665"/>
            <a:ext cx="58068" cy="54772"/>
          </a:xfrm>
          <a:custGeom>
            <a:avLst/>
            <a:gdLst>
              <a:gd name="connsiteX0" fmla="*/ 37436 w 58068"/>
              <a:gd name="connsiteY0" fmla="*/ 54772 h 54772"/>
              <a:gd name="connsiteX1" fmla="*/ 0 w 58068"/>
              <a:gd name="connsiteY1" fmla="*/ 28823 h 54772"/>
              <a:gd name="connsiteX2" fmla="*/ 8515 w 58068"/>
              <a:gd name="connsiteY2" fmla="*/ 8658 h 54772"/>
              <a:gd name="connsiteX3" fmla="*/ 29020 w 58068"/>
              <a:gd name="connsiteY3" fmla="*/ 0 h 54772"/>
              <a:gd name="connsiteX4" fmla="*/ 49525 w 58068"/>
              <a:gd name="connsiteY4" fmla="*/ 8658 h 54772"/>
              <a:gd name="connsiteX5" fmla="*/ 49525 w 58068"/>
              <a:gd name="connsiteY5" fmla="*/ 49668 h 54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068" h="54772">
                <a:moveTo>
                  <a:pt x="37436" y="54772"/>
                </a:moveTo>
                <a:lnTo>
                  <a:pt x="0" y="28823"/>
                </a:lnTo>
                <a:lnTo>
                  <a:pt x="8515" y="8658"/>
                </a:lnTo>
                <a:cubicBezTo>
                  <a:pt x="13983" y="3190"/>
                  <a:pt x="21273" y="0"/>
                  <a:pt x="29020" y="0"/>
                </a:cubicBezTo>
                <a:cubicBezTo>
                  <a:pt x="36766" y="0"/>
                  <a:pt x="44057" y="3190"/>
                  <a:pt x="49525" y="8658"/>
                </a:cubicBezTo>
                <a:cubicBezTo>
                  <a:pt x="60916" y="19594"/>
                  <a:pt x="60916" y="38276"/>
                  <a:pt x="49525" y="49668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9" name="Forme libre : forme 38">
            <a:extLst>
              <a:ext uri="{FF2B5EF4-FFF2-40B4-BE49-F238E27FC236}">
                <a16:creationId xmlns:a16="http://schemas.microsoft.com/office/drawing/2014/main" id="{CE77A4A5-0ECD-4D80-A03D-A10DC965EA39}"/>
              </a:ext>
            </a:extLst>
          </p:cNvPr>
          <p:cNvSpPr/>
          <p:nvPr/>
        </p:nvSpPr>
        <p:spPr>
          <a:xfrm rot="8716295">
            <a:off x="13802" y="-10406"/>
            <a:ext cx="30027" cy="20814"/>
          </a:xfrm>
          <a:custGeom>
            <a:avLst/>
            <a:gdLst>
              <a:gd name="connsiteX0" fmla="*/ 30027 w 30027"/>
              <a:gd name="connsiteY0" fmla="*/ 20814 h 20814"/>
              <a:gd name="connsiteX1" fmla="*/ 0 w 30027"/>
              <a:gd name="connsiteY1" fmla="*/ 0 h 20814"/>
              <a:gd name="connsiteX2" fmla="*/ 30027 w 30027"/>
              <a:gd name="connsiteY2" fmla="*/ 0 h 20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027" h="20814">
                <a:moveTo>
                  <a:pt x="30027" y="20814"/>
                </a:moveTo>
                <a:lnTo>
                  <a:pt x="0" y="0"/>
                </a:lnTo>
                <a:lnTo>
                  <a:pt x="30027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0" name="Forme libre : forme 39">
            <a:extLst>
              <a:ext uri="{FF2B5EF4-FFF2-40B4-BE49-F238E27FC236}">
                <a16:creationId xmlns:a16="http://schemas.microsoft.com/office/drawing/2014/main" id="{403799C4-A408-4325-A92C-9E809B8BB4D4}"/>
              </a:ext>
            </a:extLst>
          </p:cNvPr>
          <p:cNvSpPr/>
          <p:nvPr/>
        </p:nvSpPr>
        <p:spPr>
          <a:xfrm rot="8716295">
            <a:off x="168048" y="30325"/>
            <a:ext cx="100246" cy="218718"/>
          </a:xfrm>
          <a:custGeom>
            <a:avLst/>
            <a:gdLst>
              <a:gd name="connsiteX0" fmla="*/ 216217 w 209550"/>
              <a:gd name="connsiteY0" fmla="*/ 0 h 457200"/>
              <a:gd name="connsiteX1" fmla="*/ 216217 w 209550"/>
              <a:gd name="connsiteY1" fmla="*/ 458153 h 457200"/>
              <a:gd name="connsiteX2" fmla="*/ 90488 w 209550"/>
              <a:gd name="connsiteY2" fmla="*/ 337185 h 457200"/>
              <a:gd name="connsiteX3" fmla="*/ 90488 w 209550"/>
              <a:gd name="connsiteY3" fmla="*/ 34290 h 457200"/>
              <a:gd name="connsiteX4" fmla="*/ 0 w 209550"/>
              <a:gd name="connsiteY4" fmla="*/ 34290 h 457200"/>
              <a:gd name="connsiteX5" fmla="*/ 0 w 209550"/>
              <a:gd name="connsiteY5" fmla="*/ 4763 h 457200"/>
              <a:gd name="connsiteX6" fmla="*/ 216217 w 209550"/>
              <a:gd name="connsiteY6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9550" h="457200">
                <a:moveTo>
                  <a:pt x="216217" y="0"/>
                </a:moveTo>
                <a:lnTo>
                  <a:pt x="216217" y="458153"/>
                </a:lnTo>
                <a:lnTo>
                  <a:pt x="90488" y="337185"/>
                </a:lnTo>
                <a:lnTo>
                  <a:pt x="90488" y="34290"/>
                </a:lnTo>
                <a:lnTo>
                  <a:pt x="0" y="34290"/>
                </a:lnTo>
                <a:lnTo>
                  <a:pt x="0" y="4763"/>
                </a:lnTo>
                <a:cubicBezTo>
                  <a:pt x="68580" y="7620"/>
                  <a:pt x="140017" y="1905"/>
                  <a:pt x="216217" y="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1" name="Forme libre : forme 40">
            <a:extLst>
              <a:ext uri="{FF2B5EF4-FFF2-40B4-BE49-F238E27FC236}">
                <a16:creationId xmlns:a16="http://schemas.microsoft.com/office/drawing/2014/main" id="{01FB23B7-9B20-4D2E-83CD-6A7A68C9BDC4}"/>
              </a:ext>
            </a:extLst>
          </p:cNvPr>
          <p:cNvSpPr/>
          <p:nvPr/>
        </p:nvSpPr>
        <p:spPr>
          <a:xfrm rot="7484129">
            <a:off x="562078" y="-28476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2" name="Forme libre : forme 41">
            <a:extLst>
              <a:ext uri="{FF2B5EF4-FFF2-40B4-BE49-F238E27FC236}">
                <a16:creationId xmlns:a16="http://schemas.microsoft.com/office/drawing/2014/main" id="{ACF32F9A-0344-4E5B-A601-5E2A5DCEE676}"/>
              </a:ext>
            </a:extLst>
          </p:cNvPr>
          <p:cNvSpPr/>
          <p:nvPr/>
        </p:nvSpPr>
        <p:spPr>
          <a:xfrm rot="13089394">
            <a:off x="767127" y="-2787"/>
            <a:ext cx="149688" cy="301067"/>
          </a:xfrm>
          <a:custGeom>
            <a:avLst/>
            <a:gdLst>
              <a:gd name="connsiteX0" fmla="*/ 149688 w 149688"/>
              <a:gd name="connsiteY0" fmla="*/ 279622 h 301067"/>
              <a:gd name="connsiteX1" fmla="*/ 122393 w 149688"/>
              <a:gd name="connsiteY1" fmla="*/ 301067 h 301067"/>
              <a:gd name="connsiteX2" fmla="*/ 0 w 149688"/>
              <a:gd name="connsiteY2" fmla="*/ 114672 h 301067"/>
              <a:gd name="connsiteX3" fmla="*/ 0 w 149688"/>
              <a:gd name="connsiteY3" fmla="*/ 38074 h 301067"/>
              <a:gd name="connsiteX4" fmla="*/ 73388 w 149688"/>
              <a:gd name="connsiteY4" fmla="*/ 0 h 301067"/>
              <a:gd name="connsiteX5" fmla="*/ 74492 w 149688"/>
              <a:gd name="connsiteY5" fmla="*/ 153950 h 301067"/>
              <a:gd name="connsiteX6" fmla="*/ 87734 w 149688"/>
              <a:gd name="connsiteY6" fmla="*/ 245547 h 301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9688" h="301067">
                <a:moveTo>
                  <a:pt x="149688" y="279622"/>
                </a:moveTo>
                <a:lnTo>
                  <a:pt x="122393" y="301067"/>
                </a:lnTo>
                <a:lnTo>
                  <a:pt x="0" y="114672"/>
                </a:lnTo>
                <a:lnTo>
                  <a:pt x="0" y="38074"/>
                </a:lnTo>
                <a:lnTo>
                  <a:pt x="73388" y="0"/>
                </a:lnTo>
                <a:lnTo>
                  <a:pt x="74492" y="153950"/>
                </a:lnTo>
                <a:cubicBezTo>
                  <a:pt x="72836" y="184850"/>
                  <a:pt x="77802" y="216302"/>
                  <a:pt x="87734" y="245547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9B540A9C-752F-4966-AE11-E0DA13D5676A}"/>
              </a:ext>
            </a:extLst>
          </p:cNvPr>
          <p:cNvSpPr/>
          <p:nvPr/>
        </p:nvSpPr>
        <p:spPr>
          <a:xfrm rot="8716295">
            <a:off x="212141" y="3045028"/>
            <a:ext cx="141256" cy="232388"/>
          </a:xfrm>
          <a:custGeom>
            <a:avLst/>
            <a:gdLst>
              <a:gd name="connsiteX0" fmla="*/ 297180 w 295275"/>
              <a:gd name="connsiteY0" fmla="*/ 104775 h 485775"/>
              <a:gd name="connsiteX1" fmla="*/ 297180 w 295275"/>
              <a:gd name="connsiteY1" fmla="*/ 435293 h 485775"/>
              <a:gd name="connsiteX2" fmla="*/ 169545 w 295275"/>
              <a:gd name="connsiteY2" fmla="*/ 485775 h 485775"/>
              <a:gd name="connsiteX3" fmla="*/ 169545 w 295275"/>
              <a:gd name="connsiteY3" fmla="*/ 145733 h 485775"/>
              <a:gd name="connsiteX4" fmla="*/ 169545 w 295275"/>
              <a:gd name="connsiteY4" fmla="*/ 137160 h 485775"/>
              <a:gd name="connsiteX5" fmla="*/ 126683 w 295275"/>
              <a:gd name="connsiteY5" fmla="*/ 104775 h 485775"/>
              <a:gd name="connsiteX6" fmla="*/ 0 w 295275"/>
              <a:gd name="connsiteY6" fmla="*/ 104775 h 485775"/>
              <a:gd name="connsiteX7" fmla="*/ 0 w 295275"/>
              <a:gd name="connsiteY7" fmla="*/ 0 h 485775"/>
              <a:gd name="connsiteX8" fmla="*/ 178118 w 295275"/>
              <a:gd name="connsiteY8" fmla="*/ 0 h 485775"/>
              <a:gd name="connsiteX9" fmla="*/ 297180 w 295275"/>
              <a:gd name="connsiteY9" fmla="*/ 104775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95275" h="485775">
                <a:moveTo>
                  <a:pt x="297180" y="104775"/>
                </a:moveTo>
                <a:lnTo>
                  <a:pt x="297180" y="435293"/>
                </a:lnTo>
                <a:lnTo>
                  <a:pt x="169545" y="485775"/>
                </a:lnTo>
                <a:lnTo>
                  <a:pt x="169545" y="145733"/>
                </a:lnTo>
                <a:cubicBezTo>
                  <a:pt x="169545" y="142875"/>
                  <a:pt x="169545" y="140018"/>
                  <a:pt x="169545" y="137160"/>
                </a:cubicBezTo>
                <a:cubicBezTo>
                  <a:pt x="166688" y="116205"/>
                  <a:pt x="147638" y="101918"/>
                  <a:pt x="126683" y="104775"/>
                </a:cubicBezTo>
                <a:lnTo>
                  <a:pt x="0" y="104775"/>
                </a:lnTo>
                <a:lnTo>
                  <a:pt x="0" y="0"/>
                </a:lnTo>
                <a:lnTo>
                  <a:pt x="178118" y="0"/>
                </a:lnTo>
                <a:cubicBezTo>
                  <a:pt x="255270" y="0"/>
                  <a:pt x="297180" y="33338"/>
                  <a:pt x="297180" y="10477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4" name="Forme libre : forme 43">
            <a:extLst>
              <a:ext uri="{FF2B5EF4-FFF2-40B4-BE49-F238E27FC236}">
                <a16:creationId xmlns:a16="http://schemas.microsoft.com/office/drawing/2014/main" id="{27352092-3B53-44B3-ABC2-E6A268F28524}"/>
              </a:ext>
            </a:extLst>
          </p:cNvPr>
          <p:cNvSpPr/>
          <p:nvPr/>
        </p:nvSpPr>
        <p:spPr>
          <a:xfrm rot="8716295">
            <a:off x="301533" y="3074270"/>
            <a:ext cx="259728" cy="250615"/>
          </a:xfrm>
          <a:custGeom>
            <a:avLst/>
            <a:gdLst>
              <a:gd name="connsiteX0" fmla="*/ 544830 w 542925"/>
              <a:gd name="connsiteY0" fmla="*/ 184905 h 523875"/>
              <a:gd name="connsiteX1" fmla="*/ 544830 w 542925"/>
              <a:gd name="connsiteY1" fmla="*/ 197288 h 523875"/>
              <a:gd name="connsiteX2" fmla="*/ 415290 w 542925"/>
              <a:gd name="connsiteY2" fmla="*/ 204908 h 523875"/>
              <a:gd name="connsiteX3" fmla="*/ 415290 w 542925"/>
              <a:gd name="connsiteY3" fmla="*/ 170618 h 523875"/>
              <a:gd name="connsiteX4" fmla="*/ 344805 w 542925"/>
              <a:gd name="connsiteY4" fmla="*/ 83940 h 523875"/>
              <a:gd name="connsiteX5" fmla="*/ 233363 w 542925"/>
              <a:gd name="connsiteY5" fmla="*/ 266820 h 523875"/>
              <a:gd name="connsiteX6" fmla="*/ 233363 w 542925"/>
              <a:gd name="connsiteY6" fmla="*/ 446843 h 523875"/>
              <a:gd name="connsiteX7" fmla="*/ 107632 w 542925"/>
              <a:gd name="connsiteY7" fmla="*/ 532568 h 523875"/>
              <a:gd name="connsiteX8" fmla="*/ 107632 w 542925"/>
              <a:gd name="connsiteY8" fmla="*/ 95370 h 523875"/>
              <a:gd name="connsiteX9" fmla="*/ 0 w 542925"/>
              <a:gd name="connsiteY9" fmla="*/ 95370 h 523875"/>
              <a:gd name="connsiteX10" fmla="*/ 0 w 542925"/>
              <a:gd name="connsiteY10" fmla="*/ 2978 h 523875"/>
              <a:gd name="connsiteX11" fmla="*/ 219075 w 542925"/>
              <a:gd name="connsiteY11" fmla="*/ 2978 h 523875"/>
              <a:gd name="connsiteX12" fmla="*/ 219075 w 542925"/>
              <a:gd name="connsiteY12" fmla="*/ 157283 h 523875"/>
              <a:gd name="connsiteX13" fmla="*/ 221932 w 542925"/>
              <a:gd name="connsiteY13" fmla="*/ 157283 h 523875"/>
              <a:gd name="connsiteX14" fmla="*/ 321945 w 542925"/>
              <a:gd name="connsiteY14" fmla="*/ 12503 h 523875"/>
              <a:gd name="connsiteX15" fmla="*/ 387667 w 542925"/>
              <a:gd name="connsiteY15" fmla="*/ 120 h 523875"/>
              <a:gd name="connsiteX16" fmla="*/ 544830 w 542925"/>
              <a:gd name="connsiteY16" fmla="*/ 18490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42925" h="523875">
                <a:moveTo>
                  <a:pt x="544830" y="184905"/>
                </a:moveTo>
                <a:lnTo>
                  <a:pt x="544830" y="197288"/>
                </a:lnTo>
                <a:lnTo>
                  <a:pt x="415290" y="204908"/>
                </a:lnTo>
                <a:lnTo>
                  <a:pt x="415290" y="170618"/>
                </a:lnTo>
                <a:cubicBezTo>
                  <a:pt x="415290" y="119183"/>
                  <a:pt x="385763" y="83940"/>
                  <a:pt x="344805" y="83940"/>
                </a:cubicBezTo>
                <a:cubicBezTo>
                  <a:pt x="283845" y="83940"/>
                  <a:pt x="233363" y="164903"/>
                  <a:pt x="233363" y="266820"/>
                </a:cubicBezTo>
                <a:lnTo>
                  <a:pt x="233363" y="446843"/>
                </a:lnTo>
                <a:lnTo>
                  <a:pt x="107632" y="532568"/>
                </a:lnTo>
                <a:lnTo>
                  <a:pt x="107632" y="95370"/>
                </a:lnTo>
                <a:lnTo>
                  <a:pt x="0" y="95370"/>
                </a:lnTo>
                <a:lnTo>
                  <a:pt x="0" y="2978"/>
                </a:lnTo>
                <a:lnTo>
                  <a:pt x="219075" y="2978"/>
                </a:lnTo>
                <a:lnTo>
                  <a:pt x="219075" y="157283"/>
                </a:lnTo>
                <a:lnTo>
                  <a:pt x="221932" y="157283"/>
                </a:lnTo>
                <a:cubicBezTo>
                  <a:pt x="252413" y="66795"/>
                  <a:pt x="276225" y="31553"/>
                  <a:pt x="321945" y="12503"/>
                </a:cubicBezTo>
                <a:cubicBezTo>
                  <a:pt x="342900" y="3930"/>
                  <a:pt x="364807" y="-832"/>
                  <a:pt x="387667" y="120"/>
                </a:cubicBezTo>
                <a:cubicBezTo>
                  <a:pt x="485775" y="-1785"/>
                  <a:pt x="544830" y="66795"/>
                  <a:pt x="544830" y="18490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5" name="Forme libre : forme 44">
            <a:extLst>
              <a:ext uri="{FF2B5EF4-FFF2-40B4-BE49-F238E27FC236}">
                <a16:creationId xmlns:a16="http://schemas.microsoft.com/office/drawing/2014/main" id="{1A1EEC7B-8896-4B95-9A1A-B0F21E6748C1}"/>
              </a:ext>
            </a:extLst>
          </p:cNvPr>
          <p:cNvSpPr/>
          <p:nvPr/>
        </p:nvSpPr>
        <p:spPr>
          <a:xfrm rot="8716295">
            <a:off x="256683" y="2987990"/>
            <a:ext cx="186822" cy="136699"/>
          </a:xfrm>
          <a:custGeom>
            <a:avLst/>
            <a:gdLst>
              <a:gd name="connsiteX0" fmla="*/ 343853 w 390525"/>
              <a:gd name="connsiteY0" fmla="*/ 144780 h 285750"/>
              <a:gd name="connsiteX1" fmla="*/ 344805 w 390525"/>
              <a:gd name="connsiteY1" fmla="*/ 144780 h 285750"/>
              <a:gd name="connsiteX2" fmla="*/ 12382 w 390525"/>
              <a:gd name="connsiteY2" fmla="*/ 288608 h 285750"/>
              <a:gd name="connsiteX3" fmla="*/ 0 w 390525"/>
              <a:gd name="connsiteY3" fmla="*/ 271463 h 285750"/>
              <a:gd name="connsiteX4" fmla="*/ 225743 w 390525"/>
              <a:gd name="connsiteY4" fmla="*/ 59055 h 285750"/>
              <a:gd name="connsiteX5" fmla="*/ 340043 w 390525"/>
              <a:gd name="connsiteY5" fmla="*/ 0 h 285750"/>
              <a:gd name="connsiteX6" fmla="*/ 399098 w 390525"/>
              <a:gd name="connsiteY6" fmla="*/ 70485 h 285750"/>
              <a:gd name="connsiteX7" fmla="*/ 343853 w 390525"/>
              <a:gd name="connsiteY7" fmla="*/ 14478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0525" h="285750">
                <a:moveTo>
                  <a:pt x="343853" y="144780"/>
                </a:moveTo>
                <a:lnTo>
                  <a:pt x="344805" y="144780"/>
                </a:lnTo>
                <a:lnTo>
                  <a:pt x="12382" y="288608"/>
                </a:lnTo>
                <a:lnTo>
                  <a:pt x="0" y="271463"/>
                </a:lnTo>
                <a:lnTo>
                  <a:pt x="225743" y="59055"/>
                </a:lnTo>
                <a:cubicBezTo>
                  <a:pt x="254318" y="25718"/>
                  <a:pt x="295275" y="4763"/>
                  <a:pt x="340043" y="0"/>
                </a:cubicBezTo>
                <a:cubicBezTo>
                  <a:pt x="385763" y="0"/>
                  <a:pt x="399098" y="40005"/>
                  <a:pt x="399098" y="70485"/>
                </a:cubicBezTo>
                <a:cubicBezTo>
                  <a:pt x="396240" y="103823"/>
                  <a:pt x="374332" y="131445"/>
                  <a:pt x="343853" y="14478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6" name="Forme libre : forme 45">
            <a:extLst>
              <a:ext uri="{FF2B5EF4-FFF2-40B4-BE49-F238E27FC236}">
                <a16:creationId xmlns:a16="http://schemas.microsoft.com/office/drawing/2014/main" id="{4FA7D1EC-A217-4326-8F37-649F5ADE83EB}"/>
              </a:ext>
            </a:extLst>
          </p:cNvPr>
          <p:cNvSpPr/>
          <p:nvPr/>
        </p:nvSpPr>
        <p:spPr>
          <a:xfrm rot="8716295">
            <a:off x="99907" y="3133572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7" name="Forme libre : forme 46">
            <a:extLst>
              <a:ext uri="{FF2B5EF4-FFF2-40B4-BE49-F238E27FC236}">
                <a16:creationId xmlns:a16="http://schemas.microsoft.com/office/drawing/2014/main" id="{33C99497-0B48-43C7-BD1A-0279E44CA612}"/>
              </a:ext>
            </a:extLst>
          </p:cNvPr>
          <p:cNvSpPr/>
          <p:nvPr/>
        </p:nvSpPr>
        <p:spPr>
          <a:xfrm rot="8716295">
            <a:off x="-24996" y="2924899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8" name="Forme libre : forme 47">
            <a:extLst>
              <a:ext uri="{FF2B5EF4-FFF2-40B4-BE49-F238E27FC236}">
                <a16:creationId xmlns:a16="http://schemas.microsoft.com/office/drawing/2014/main" id="{A93858F0-0010-48FE-BF9C-AFE6080030D7}"/>
              </a:ext>
            </a:extLst>
          </p:cNvPr>
          <p:cNvSpPr/>
          <p:nvPr/>
        </p:nvSpPr>
        <p:spPr>
          <a:xfrm rot="8716295">
            <a:off x="51899" y="2754602"/>
            <a:ext cx="189488" cy="350829"/>
          </a:xfrm>
          <a:custGeom>
            <a:avLst/>
            <a:gdLst>
              <a:gd name="connsiteX0" fmla="*/ 25299 w 189488"/>
              <a:gd name="connsiteY0" fmla="*/ 321238 h 350829"/>
              <a:gd name="connsiteX1" fmla="*/ 0 w 189488"/>
              <a:gd name="connsiteY1" fmla="*/ 220042 h 350829"/>
              <a:gd name="connsiteX2" fmla="*/ 0 w 189488"/>
              <a:gd name="connsiteY2" fmla="*/ 40596 h 350829"/>
              <a:gd name="connsiteX3" fmla="*/ 78250 w 189488"/>
              <a:gd name="connsiteY3" fmla="*/ 0 h 350829"/>
              <a:gd name="connsiteX4" fmla="*/ 79427 w 189488"/>
              <a:gd name="connsiteY4" fmla="*/ 164149 h 350829"/>
              <a:gd name="connsiteX5" fmla="*/ 93547 w 189488"/>
              <a:gd name="connsiteY5" fmla="*/ 261815 h 350829"/>
              <a:gd name="connsiteX6" fmla="*/ 164148 w 189488"/>
              <a:gd name="connsiteY6" fmla="*/ 300646 h 350829"/>
              <a:gd name="connsiteX7" fmla="*/ 189488 w 189488"/>
              <a:gd name="connsiteY7" fmla="*/ 296141 h 350829"/>
              <a:gd name="connsiteX8" fmla="*/ 160617 w 189488"/>
              <a:gd name="connsiteY8" fmla="*/ 337791 h 350829"/>
              <a:gd name="connsiteX9" fmla="*/ 97666 w 189488"/>
              <a:gd name="connsiteY9" fmla="*/ 350655 h 350829"/>
              <a:gd name="connsiteX10" fmla="*/ 25299 w 189488"/>
              <a:gd name="connsiteY10" fmla="*/ 321238 h 350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9488" h="350829">
                <a:moveTo>
                  <a:pt x="25299" y="321238"/>
                </a:moveTo>
                <a:cubicBezTo>
                  <a:pt x="5295" y="301823"/>
                  <a:pt x="0" y="268286"/>
                  <a:pt x="0" y="220042"/>
                </a:cubicBezTo>
                <a:lnTo>
                  <a:pt x="0" y="40596"/>
                </a:lnTo>
                <a:lnTo>
                  <a:pt x="78250" y="0"/>
                </a:lnTo>
                <a:lnTo>
                  <a:pt x="79427" y="164149"/>
                </a:lnTo>
                <a:cubicBezTo>
                  <a:pt x="77662" y="197097"/>
                  <a:pt x="82957" y="230632"/>
                  <a:pt x="93547" y="261815"/>
                </a:cubicBezTo>
                <a:cubicBezTo>
                  <a:pt x="102961" y="287702"/>
                  <a:pt x="127083" y="300646"/>
                  <a:pt x="164148" y="300646"/>
                </a:cubicBezTo>
                <a:lnTo>
                  <a:pt x="189488" y="296141"/>
                </a:lnTo>
                <a:lnTo>
                  <a:pt x="160617" y="337791"/>
                </a:lnTo>
                <a:lnTo>
                  <a:pt x="97666" y="350655"/>
                </a:lnTo>
                <a:cubicBezTo>
                  <a:pt x="70602" y="352420"/>
                  <a:pt x="44126" y="340653"/>
                  <a:pt x="25299" y="321238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9" name="Forme libre : forme 48">
            <a:extLst>
              <a:ext uri="{FF2B5EF4-FFF2-40B4-BE49-F238E27FC236}">
                <a16:creationId xmlns:a16="http://schemas.microsoft.com/office/drawing/2014/main" id="{CAFD1C73-118C-42A8-A6D1-F7527C0F98CE}"/>
              </a:ext>
            </a:extLst>
          </p:cNvPr>
          <p:cNvSpPr/>
          <p:nvPr/>
        </p:nvSpPr>
        <p:spPr>
          <a:xfrm rot="8716295">
            <a:off x="190085" y="3174524"/>
            <a:ext cx="100246" cy="218718"/>
          </a:xfrm>
          <a:custGeom>
            <a:avLst/>
            <a:gdLst>
              <a:gd name="connsiteX0" fmla="*/ 216217 w 209550"/>
              <a:gd name="connsiteY0" fmla="*/ 0 h 457200"/>
              <a:gd name="connsiteX1" fmla="*/ 216217 w 209550"/>
              <a:gd name="connsiteY1" fmla="*/ 458153 h 457200"/>
              <a:gd name="connsiteX2" fmla="*/ 90488 w 209550"/>
              <a:gd name="connsiteY2" fmla="*/ 337185 h 457200"/>
              <a:gd name="connsiteX3" fmla="*/ 90488 w 209550"/>
              <a:gd name="connsiteY3" fmla="*/ 34290 h 457200"/>
              <a:gd name="connsiteX4" fmla="*/ 0 w 209550"/>
              <a:gd name="connsiteY4" fmla="*/ 34290 h 457200"/>
              <a:gd name="connsiteX5" fmla="*/ 0 w 209550"/>
              <a:gd name="connsiteY5" fmla="*/ 4763 h 457200"/>
              <a:gd name="connsiteX6" fmla="*/ 216217 w 209550"/>
              <a:gd name="connsiteY6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9550" h="457200">
                <a:moveTo>
                  <a:pt x="216217" y="0"/>
                </a:moveTo>
                <a:lnTo>
                  <a:pt x="216217" y="458153"/>
                </a:lnTo>
                <a:lnTo>
                  <a:pt x="90488" y="337185"/>
                </a:lnTo>
                <a:lnTo>
                  <a:pt x="90488" y="34290"/>
                </a:lnTo>
                <a:lnTo>
                  <a:pt x="0" y="34290"/>
                </a:lnTo>
                <a:lnTo>
                  <a:pt x="0" y="4763"/>
                </a:lnTo>
                <a:cubicBezTo>
                  <a:pt x="68580" y="7620"/>
                  <a:pt x="140017" y="1905"/>
                  <a:pt x="216217" y="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0" name="Forme libre : forme 49">
            <a:extLst>
              <a:ext uri="{FF2B5EF4-FFF2-40B4-BE49-F238E27FC236}">
                <a16:creationId xmlns:a16="http://schemas.microsoft.com/office/drawing/2014/main" id="{E7F4D18B-0BB2-451B-AA77-2B268E142A91}"/>
              </a:ext>
            </a:extLst>
          </p:cNvPr>
          <p:cNvSpPr/>
          <p:nvPr/>
        </p:nvSpPr>
        <p:spPr>
          <a:xfrm rot="8716295">
            <a:off x="502599" y="2802136"/>
            <a:ext cx="117588" cy="232388"/>
          </a:xfrm>
          <a:custGeom>
            <a:avLst/>
            <a:gdLst>
              <a:gd name="connsiteX0" fmla="*/ 56529 w 117588"/>
              <a:gd name="connsiteY0" fmla="*/ 232388 h 232388"/>
              <a:gd name="connsiteX1" fmla="*/ 56529 w 117588"/>
              <a:gd name="connsiteY1" fmla="*/ 69717 h 232388"/>
              <a:gd name="connsiteX2" fmla="*/ 56529 w 117588"/>
              <a:gd name="connsiteY2" fmla="*/ 65615 h 232388"/>
              <a:gd name="connsiteX3" fmla="*/ 36025 w 117588"/>
              <a:gd name="connsiteY3" fmla="*/ 50123 h 232388"/>
              <a:gd name="connsiteX4" fmla="*/ 0 w 117588"/>
              <a:gd name="connsiteY4" fmla="*/ 50123 h 232388"/>
              <a:gd name="connsiteX5" fmla="*/ 41458 w 117588"/>
              <a:gd name="connsiteY5" fmla="*/ 0 h 232388"/>
              <a:gd name="connsiteX6" fmla="*/ 60630 w 117588"/>
              <a:gd name="connsiteY6" fmla="*/ 0 h 232388"/>
              <a:gd name="connsiteX7" fmla="*/ 117588 w 117588"/>
              <a:gd name="connsiteY7" fmla="*/ 50123 h 232388"/>
              <a:gd name="connsiteX8" fmla="*/ 117588 w 117588"/>
              <a:gd name="connsiteY8" fmla="*/ 208238 h 232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588" h="232388">
                <a:moveTo>
                  <a:pt x="56529" y="232388"/>
                </a:moveTo>
                <a:lnTo>
                  <a:pt x="56529" y="69717"/>
                </a:lnTo>
                <a:cubicBezTo>
                  <a:pt x="56529" y="68349"/>
                  <a:pt x="56529" y="66983"/>
                  <a:pt x="56529" y="65615"/>
                </a:cubicBezTo>
                <a:cubicBezTo>
                  <a:pt x="55163" y="55591"/>
                  <a:pt x="46049" y="48756"/>
                  <a:pt x="36025" y="50123"/>
                </a:cubicBezTo>
                <a:lnTo>
                  <a:pt x="0" y="50123"/>
                </a:lnTo>
                <a:lnTo>
                  <a:pt x="41458" y="0"/>
                </a:lnTo>
                <a:lnTo>
                  <a:pt x="60630" y="0"/>
                </a:lnTo>
                <a:cubicBezTo>
                  <a:pt x="97539" y="0"/>
                  <a:pt x="117588" y="15948"/>
                  <a:pt x="117588" y="50123"/>
                </a:cubicBezTo>
                <a:lnTo>
                  <a:pt x="117588" y="208238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1" name="Forme libre : forme 50">
            <a:extLst>
              <a:ext uri="{FF2B5EF4-FFF2-40B4-BE49-F238E27FC236}">
                <a16:creationId xmlns:a16="http://schemas.microsoft.com/office/drawing/2014/main" id="{6F67DBA9-AD6C-4780-AA17-98BCE9381DC5}"/>
              </a:ext>
            </a:extLst>
          </p:cNvPr>
          <p:cNvSpPr/>
          <p:nvPr/>
        </p:nvSpPr>
        <p:spPr>
          <a:xfrm rot="8716295">
            <a:off x="389006" y="2883420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2" name="Forme libre : forme 51">
            <a:extLst>
              <a:ext uri="{FF2B5EF4-FFF2-40B4-BE49-F238E27FC236}">
                <a16:creationId xmlns:a16="http://schemas.microsoft.com/office/drawing/2014/main" id="{60CE2A9A-219E-42C9-9F53-FED763C7A971}"/>
              </a:ext>
            </a:extLst>
          </p:cNvPr>
          <p:cNvSpPr/>
          <p:nvPr/>
        </p:nvSpPr>
        <p:spPr>
          <a:xfrm rot="8716295">
            <a:off x="264104" y="2674747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3" name="Forme libre : forme 52">
            <a:extLst>
              <a:ext uri="{FF2B5EF4-FFF2-40B4-BE49-F238E27FC236}">
                <a16:creationId xmlns:a16="http://schemas.microsoft.com/office/drawing/2014/main" id="{5F47A361-80F1-4C02-906B-845AB367B960}"/>
              </a:ext>
            </a:extLst>
          </p:cNvPr>
          <p:cNvSpPr/>
          <p:nvPr/>
        </p:nvSpPr>
        <p:spPr>
          <a:xfrm rot="8716295">
            <a:off x="479184" y="2924372"/>
            <a:ext cx="100246" cy="218719"/>
          </a:xfrm>
          <a:custGeom>
            <a:avLst/>
            <a:gdLst>
              <a:gd name="connsiteX0" fmla="*/ 216217 w 209550"/>
              <a:gd name="connsiteY0" fmla="*/ 0 h 457200"/>
              <a:gd name="connsiteX1" fmla="*/ 216217 w 209550"/>
              <a:gd name="connsiteY1" fmla="*/ 458153 h 457200"/>
              <a:gd name="connsiteX2" fmla="*/ 90488 w 209550"/>
              <a:gd name="connsiteY2" fmla="*/ 337185 h 457200"/>
              <a:gd name="connsiteX3" fmla="*/ 90488 w 209550"/>
              <a:gd name="connsiteY3" fmla="*/ 34290 h 457200"/>
              <a:gd name="connsiteX4" fmla="*/ 0 w 209550"/>
              <a:gd name="connsiteY4" fmla="*/ 34290 h 457200"/>
              <a:gd name="connsiteX5" fmla="*/ 0 w 209550"/>
              <a:gd name="connsiteY5" fmla="*/ 4763 h 457200"/>
              <a:gd name="connsiteX6" fmla="*/ 216217 w 209550"/>
              <a:gd name="connsiteY6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9550" h="457200">
                <a:moveTo>
                  <a:pt x="216217" y="0"/>
                </a:moveTo>
                <a:lnTo>
                  <a:pt x="216217" y="458153"/>
                </a:lnTo>
                <a:lnTo>
                  <a:pt x="90488" y="337185"/>
                </a:lnTo>
                <a:lnTo>
                  <a:pt x="90488" y="34290"/>
                </a:lnTo>
                <a:lnTo>
                  <a:pt x="0" y="34290"/>
                </a:lnTo>
                <a:lnTo>
                  <a:pt x="0" y="4763"/>
                </a:lnTo>
                <a:cubicBezTo>
                  <a:pt x="68580" y="7620"/>
                  <a:pt x="140017" y="1905"/>
                  <a:pt x="216217" y="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4" name="Forme libre : forme 53">
            <a:extLst>
              <a:ext uri="{FF2B5EF4-FFF2-40B4-BE49-F238E27FC236}">
                <a16:creationId xmlns:a16="http://schemas.microsoft.com/office/drawing/2014/main" id="{2CC40EA3-7663-4B10-9112-24251EC60BEA}"/>
              </a:ext>
            </a:extLst>
          </p:cNvPr>
          <p:cNvSpPr/>
          <p:nvPr/>
        </p:nvSpPr>
        <p:spPr>
          <a:xfrm rot="8716295">
            <a:off x="237733" y="2774772"/>
            <a:ext cx="72447" cy="72447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5" name="Forme libre : forme 54">
            <a:extLst>
              <a:ext uri="{FF2B5EF4-FFF2-40B4-BE49-F238E27FC236}">
                <a16:creationId xmlns:a16="http://schemas.microsoft.com/office/drawing/2014/main" id="{96946020-930E-406D-ABEE-7096E7CB1426}"/>
              </a:ext>
            </a:extLst>
          </p:cNvPr>
          <p:cNvSpPr/>
          <p:nvPr/>
        </p:nvSpPr>
        <p:spPr>
          <a:xfrm rot="7484129">
            <a:off x="609980" y="3142825"/>
            <a:ext cx="20881" cy="31001"/>
          </a:xfrm>
          <a:custGeom>
            <a:avLst/>
            <a:gdLst>
              <a:gd name="connsiteX0" fmla="*/ 10218 w 20881"/>
              <a:gd name="connsiteY0" fmla="*/ 31001 h 31001"/>
              <a:gd name="connsiteX1" fmla="*/ 0 w 20881"/>
              <a:gd name="connsiteY1" fmla="*/ 11992 h 31001"/>
              <a:gd name="connsiteX2" fmla="*/ 20881 w 20881"/>
              <a:gd name="connsiteY2" fmla="*/ 0 h 31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881" h="31001">
                <a:moveTo>
                  <a:pt x="10218" y="31001"/>
                </a:moveTo>
                <a:lnTo>
                  <a:pt x="0" y="11992"/>
                </a:lnTo>
                <a:lnTo>
                  <a:pt x="20881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6" name="Forme libre : forme 55">
            <a:extLst>
              <a:ext uri="{FF2B5EF4-FFF2-40B4-BE49-F238E27FC236}">
                <a16:creationId xmlns:a16="http://schemas.microsoft.com/office/drawing/2014/main" id="{9709EEED-4F73-41F3-A069-C965126CECA4}"/>
              </a:ext>
            </a:extLst>
          </p:cNvPr>
          <p:cNvSpPr/>
          <p:nvPr/>
        </p:nvSpPr>
        <p:spPr>
          <a:xfrm rot="8716295">
            <a:off x="579469" y="2817204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7" name="Forme libre : forme 56">
            <a:extLst>
              <a:ext uri="{FF2B5EF4-FFF2-40B4-BE49-F238E27FC236}">
                <a16:creationId xmlns:a16="http://schemas.microsoft.com/office/drawing/2014/main" id="{AB7C8B58-13F0-4FCC-99DC-3B3AAD65E69B}"/>
              </a:ext>
            </a:extLst>
          </p:cNvPr>
          <p:cNvSpPr/>
          <p:nvPr/>
        </p:nvSpPr>
        <p:spPr>
          <a:xfrm rot="8716295">
            <a:off x="437995" y="3716235"/>
            <a:ext cx="102679" cy="232388"/>
          </a:xfrm>
          <a:custGeom>
            <a:avLst/>
            <a:gdLst>
              <a:gd name="connsiteX0" fmla="*/ 41620 w 102679"/>
              <a:gd name="connsiteY0" fmla="*/ 232388 h 232388"/>
              <a:gd name="connsiteX1" fmla="*/ 41620 w 102679"/>
              <a:gd name="connsiteY1" fmla="*/ 69717 h 232388"/>
              <a:gd name="connsiteX2" fmla="*/ 41620 w 102679"/>
              <a:gd name="connsiteY2" fmla="*/ 65615 h 232388"/>
              <a:gd name="connsiteX3" fmla="*/ 21116 w 102679"/>
              <a:gd name="connsiteY3" fmla="*/ 50123 h 232388"/>
              <a:gd name="connsiteX4" fmla="*/ 0 w 102679"/>
              <a:gd name="connsiteY4" fmla="*/ 50123 h 232388"/>
              <a:gd name="connsiteX5" fmla="*/ 41457 w 102679"/>
              <a:gd name="connsiteY5" fmla="*/ 0 h 232388"/>
              <a:gd name="connsiteX6" fmla="*/ 45721 w 102679"/>
              <a:gd name="connsiteY6" fmla="*/ 0 h 232388"/>
              <a:gd name="connsiteX7" fmla="*/ 102679 w 102679"/>
              <a:gd name="connsiteY7" fmla="*/ 50123 h 232388"/>
              <a:gd name="connsiteX8" fmla="*/ 102679 w 102679"/>
              <a:gd name="connsiteY8" fmla="*/ 208238 h 232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2679" h="232388">
                <a:moveTo>
                  <a:pt x="41620" y="232388"/>
                </a:moveTo>
                <a:lnTo>
                  <a:pt x="41620" y="69717"/>
                </a:lnTo>
                <a:cubicBezTo>
                  <a:pt x="41620" y="68349"/>
                  <a:pt x="41620" y="66983"/>
                  <a:pt x="41620" y="65615"/>
                </a:cubicBezTo>
                <a:cubicBezTo>
                  <a:pt x="40254" y="55591"/>
                  <a:pt x="31140" y="48756"/>
                  <a:pt x="21116" y="50123"/>
                </a:cubicBezTo>
                <a:lnTo>
                  <a:pt x="0" y="50123"/>
                </a:lnTo>
                <a:lnTo>
                  <a:pt x="41457" y="0"/>
                </a:lnTo>
                <a:lnTo>
                  <a:pt x="45721" y="0"/>
                </a:lnTo>
                <a:cubicBezTo>
                  <a:pt x="82630" y="0"/>
                  <a:pt x="102679" y="15948"/>
                  <a:pt x="102679" y="50123"/>
                </a:cubicBezTo>
                <a:lnTo>
                  <a:pt x="102679" y="208238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8" name="Forme libre : forme 57">
            <a:extLst>
              <a:ext uri="{FF2B5EF4-FFF2-40B4-BE49-F238E27FC236}">
                <a16:creationId xmlns:a16="http://schemas.microsoft.com/office/drawing/2014/main" id="{9C4DC6CC-AFAA-4414-8BA6-D58CC891D657}"/>
              </a:ext>
            </a:extLst>
          </p:cNvPr>
          <p:cNvSpPr/>
          <p:nvPr/>
        </p:nvSpPr>
        <p:spPr>
          <a:xfrm rot="8716295">
            <a:off x="482715" y="3669965"/>
            <a:ext cx="154563" cy="124897"/>
          </a:xfrm>
          <a:custGeom>
            <a:avLst/>
            <a:gdLst>
              <a:gd name="connsiteX0" fmla="*/ 0 w 154563"/>
              <a:gd name="connsiteY0" fmla="*/ 124897 h 124897"/>
              <a:gd name="connsiteX1" fmla="*/ 95474 w 154563"/>
              <a:gd name="connsiteY1" fmla="*/ 9467 h 124897"/>
              <a:gd name="connsiteX2" fmla="*/ 96067 w 154563"/>
              <a:gd name="connsiteY2" fmla="*/ 9000 h 124897"/>
              <a:gd name="connsiteX3" fmla="*/ 126312 w 154563"/>
              <a:gd name="connsiteY3" fmla="*/ 0 h 124897"/>
              <a:gd name="connsiteX4" fmla="*/ 154563 w 154563"/>
              <a:gd name="connsiteY4" fmla="*/ 33719 h 124897"/>
              <a:gd name="connsiteX5" fmla="*/ 128135 w 154563"/>
              <a:gd name="connsiteY5" fmla="*/ 69261 h 124897"/>
              <a:gd name="connsiteX6" fmla="*/ 128590 w 154563"/>
              <a:gd name="connsiteY6" fmla="*/ 69261 h 124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4563" h="124897">
                <a:moveTo>
                  <a:pt x="0" y="124897"/>
                </a:moveTo>
                <a:lnTo>
                  <a:pt x="95474" y="9467"/>
                </a:lnTo>
                <a:lnTo>
                  <a:pt x="96067" y="9000"/>
                </a:lnTo>
                <a:cubicBezTo>
                  <a:pt x="105351" y="4215"/>
                  <a:pt x="115604" y="1139"/>
                  <a:pt x="126312" y="0"/>
                </a:cubicBezTo>
                <a:cubicBezTo>
                  <a:pt x="148184" y="0"/>
                  <a:pt x="154563" y="19138"/>
                  <a:pt x="154563" y="33719"/>
                </a:cubicBezTo>
                <a:cubicBezTo>
                  <a:pt x="153196" y="49668"/>
                  <a:pt x="142715" y="62882"/>
                  <a:pt x="128135" y="69261"/>
                </a:cubicBezTo>
                <a:lnTo>
                  <a:pt x="128590" y="69261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9" name="Forme libre : forme 58">
            <a:extLst>
              <a:ext uri="{FF2B5EF4-FFF2-40B4-BE49-F238E27FC236}">
                <a16:creationId xmlns:a16="http://schemas.microsoft.com/office/drawing/2014/main" id="{4EE0C0AC-519B-4FC6-8231-6D03F18E647C}"/>
              </a:ext>
            </a:extLst>
          </p:cNvPr>
          <p:cNvSpPr/>
          <p:nvPr/>
        </p:nvSpPr>
        <p:spPr>
          <a:xfrm rot="8716295">
            <a:off x="323074" y="3793271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0" name="Forme libre : forme 59">
            <a:extLst>
              <a:ext uri="{FF2B5EF4-FFF2-40B4-BE49-F238E27FC236}">
                <a16:creationId xmlns:a16="http://schemas.microsoft.com/office/drawing/2014/main" id="{D6F59EA5-8316-4C20-AADC-7D706ECCBE6F}"/>
              </a:ext>
            </a:extLst>
          </p:cNvPr>
          <p:cNvSpPr/>
          <p:nvPr/>
        </p:nvSpPr>
        <p:spPr>
          <a:xfrm rot="8716295">
            <a:off x="198171" y="3584598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1" name="Forme libre : forme 60">
            <a:extLst>
              <a:ext uri="{FF2B5EF4-FFF2-40B4-BE49-F238E27FC236}">
                <a16:creationId xmlns:a16="http://schemas.microsoft.com/office/drawing/2014/main" id="{B0440107-C1DF-4CF9-A961-BF836C4847FA}"/>
              </a:ext>
            </a:extLst>
          </p:cNvPr>
          <p:cNvSpPr/>
          <p:nvPr/>
        </p:nvSpPr>
        <p:spPr>
          <a:xfrm rot="8716295">
            <a:off x="186119" y="3445818"/>
            <a:ext cx="288290" cy="347125"/>
          </a:xfrm>
          <a:custGeom>
            <a:avLst/>
            <a:gdLst>
              <a:gd name="connsiteX0" fmla="*/ 470535 w 466725"/>
              <a:gd name="connsiteY0" fmla="*/ 436245 h 561975"/>
              <a:gd name="connsiteX1" fmla="*/ 470535 w 466725"/>
              <a:gd name="connsiteY1" fmla="*/ 445770 h 561975"/>
              <a:gd name="connsiteX2" fmla="*/ 158115 w 466725"/>
              <a:gd name="connsiteY2" fmla="*/ 567690 h 561975"/>
              <a:gd name="connsiteX3" fmla="*/ 40957 w 466725"/>
              <a:gd name="connsiteY3" fmla="*/ 520065 h 561975"/>
              <a:gd name="connsiteX4" fmla="*/ 0 w 466725"/>
              <a:gd name="connsiteY4" fmla="*/ 356235 h 561975"/>
              <a:gd name="connsiteX5" fmla="*/ 0 w 466725"/>
              <a:gd name="connsiteY5" fmla="*/ 65723 h 561975"/>
              <a:gd name="connsiteX6" fmla="*/ 126682 w 466725"/>
              <a:gd name="connsiteY6" fmla="*/ 0 h 561975"/>
              <a:gd name="connsiteX7" fmla="*/ 128588 w 466725"/>
              <a:gd name="connsiteY7" fmla="*/ 265748 h 561975"/>
              <a:gd name="connsiteX8" fmla="*/ 151447 w 466725"/>
              <a:gd name="connsiteY8" fmla="*/ 423863 h 561975"/>
              <a:gd name="connsiteX9" fmla="*/ 265747 w 466725"/>
              <a:gd name="connsiteY9" fmla="*/ 486728 h 561975"/>
              <a:gd name="connsiteX10" fmla="*/ 351472 w 466725"/>
              <a:gd name="connsiteY10" fmla="*/ 471488 h 561975"/>
              <a:gd name="connsiteX11" fmla="*/ 468630 w 466725"/>
              <a:gd name="connsiteY11" fmla="*/ 423863 h 561975"/>
              <a:gd name="connsiteX12" fmla="*/ 470535 w 466725"/>
              <a:gd name="connsiteY12" fmla="*/ 436245 h 56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6725" h="561975">
                <a:moveTo>
                  <a:pt x="470535" y="436245"/>
                </a:moveTo>
                <a:lnTo>
                  <a:pt x="470535" y="445770"/>
                </a:lnTo>
                <a:cubicBezTo>
                  <a:pt x="369570" y="532448"/>
                  <a:pt x="237172" y="562928"/>
                  <a:pt x="158115" y="567690"/>
                </a:cubicBezTo>
                <a:cubicBezTo>
                  <a:pt x="114300" y="570548"/>
                  <a:pt x="71438" y="551498"/>
                  <a:pt x="40957" y="520065"/>
                </a:cubicBezTo>
                <a:cubicBezTo>
                  <a:pt x="8572" y="488633"/>
                  <a:pt x="0" y="434340"/>
                  <a:pt x="0" y="356235"/>
                </a:cubicBezTo>
                <a:lnTo>
                  <a:pt x="0" y="65723"/>
                </a:lnTo>
                <a:lnTo>
                  <a:pt x="126682" y="0"/>
                </a:lnTo>
                <a:lnTo>
                  <a:pt x="128588" y="265748"/>
                </a:lnTo>
                <a:cubicBezTo>
                  <a:pt x="125730" y="319088"/>
                  <a:pt x="134302" y="373380"/>
                  <a:pt x="151447" y="423863"/>
                </a:cubicBezTo>
                <a:cubicBezTo>
                  <a:pt x="166688" y="465773"/>
                  <a:pt x="205740" y="486728"/>
                  <a:pt x="265747" y="486728"/>
                </a:cubicBezTo>
                <a:cubicBezTo>
                  <a:pt x="295275" y="485775"/>
                  <a:pt x="323850" y="480060"/>
                  <a:pt x="351472" y="471488"/>
                </a:cubicBezTo>
                <a:cubicBezTo>
                  <a:pt x="391477" y="459105"/>
                  <a:pt x="430530" y="442913"/>
                  <a:pt x="468630" y="423863"/>
                </a:cubicBezTo>
                <a:cubicBezTo>
                  <a:pt x="469582" y="427673"/>
                  <a:pt x="470535" y="432435"/>
                  <a:pt x="470535" y="43624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2" name="Forme libre : forme 61">
            <a:extLst>
              <a:ext uri="{FF2B5EF4-FFF2-40B4-BE49-F238E27FC236}">
                <a16:creationId xmlns:a16="http://schemas.microsoft.com/office/drawing/2014/main" id="{FAD20847-20DA-4661-A963-D2C01E523D8E}"/>
              </a:ext>
            </a:extLst>
          </p:cNvPr>
          <p:cNvSpPr/>
          <p:nvPr/>
        </p:nvSpPr>
        <p:spPr>
          <a:xfrm rot="8716295">
            <a:off x="410218" y="3834716"/>
            <a:ext cx="103435" cy="219174"/>
          </a:xfrm>
          <a:custGeom>
            <a:avLst/>
            <a:gdLst>
              <a:gd name="connsiteX0" fmla="*/ 103435 w 103435"/>
              <a:gd name="connsiteY0" fmla="*/ 219174 h 219174"/>
              <a:gd name="connsiteX1" fmla="*/ 43288 w 103435"/>
              <a:gd name="connsiteY1" fmla="*/ 161305 h 219174"/>
              <a:gd name="connsiteX2" fmla="*/ 43288 w 103435"/>
              <a:gd name="connsiteY2" fmla="*/ 16404 h 219174"/>
              <a:gd name="connsiteX3" fmla="*/ 0 w 103435"/>
              <a:gd name="connsiteY3" fmla="*/ 16404 h 219174"/>
              <a:gd name="connsiteX4" fmla="*/ 0 w 103435"/>
              <a:gd name="connsiteY4" fmla="*/ 16028 h 219174"/>
              <a:gd name="connsiteX5" fmla="*/ 11583 w 103435"/>
              <a:gd name="connsiteY5" fmla="*/ 2023 h 219174"/>
              <a:gd name="connsiteX6" fmla="*/ 103435 w 103435"/>
              <a:gd name="connsiteY6" fmla="*/ 0 h 2191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3435" h="219174">
                <a:moveTo>
                  <a:pt x="103435" y="219174"/>
                </a:moveTo>
                <a:lnTo>
                  <a:pt x="43288" y="161305"/>
                </a:lnTo>
                <a:lnTo>
                  <a:pt x="43288" y="16404"/>
                </a:lnTo>
                <a:lnTo>
                  <a:pt x="0" y="16404"/>
                </a:lnTo>
                <a:lnTo>
                  <a:pt x="0" y="16028"/>
                </a:lnTo>
                <a:lnTo>
                  <a:pt x="11583" y="2023"/>
                </a:lnTo>
                <a:lnTo>
                  <a:pt x="103435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3" name="Forme libre : forme 62">
            <a:extLst>
              <a:ext uri="{FF2B5EF4-FFF2-40B4-BE49-F238E27FC236}">
                <a16:creationId xmlns:a16="http://schemas.microsoft.com/office/drawing/2014/main" id="{28D4D932-7CCD-4A1C-82BE-BDC6C863C34D}"/>
              </a:ext>
            </a:extLst>
          </p:cNvPr>
          <p:cNvSpPr/>
          <p:nvPr/>
        </p:nvSpPr>
        <p:spPr>
          <a:xfrm rot="8716295">
            <a:off x="487452" y="3349370"/>
            <a:ext cx="151162" cy="195873"/>
          </a:xfrm>
          <a:custGeom>
            <a:avLst/>
            <a:gdLst>
              <a:gd name="connsiteX0" fmla="*/ 38025 w 151162"/>
              <a:gd name="connsiteY0" fmla="*/ 195873 h 195873"/>
              <a:gd name="connsiteX1" fmla="*/ 0 w 151162"/>
              <a:gd name="connsiteY1" fmla="*/ 125130 h 195873"/>
              <a:gd name="connsiteX2" fmla="*/ 103497 w 151162"/>
              <a:gd name="connsiteY2" fmla="*/ 0 h 195873"/>
              <a:gd name="connsiteX3" fmla="*/ 151162 w 151162"/>
              <a:gd name="connsiteY3" fmla="*/ 0 h 195873"/>
              <a:gd name="connsiteX4" fmla="*/ 151162 w 151162"/>
              <a:gd name="connsiteY4" fmla="*/ 55323 h 195873"/>
              <a:gd name="connsiteX5" fmla="*/ 86370 w 151162"/>
              <a:gd name="connsiteY5" fmla="*/ 55323 h 195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1162" h="195873">
                <a:moveTo>
                  <a:pt x="38025" y="195873"/>
                </a:moveTo>
                <a:lnTo>
                  <a:pt x="0" y="125130"/>
                </a:lnTo>
                <a:lnTo>
                  <a:pt x="103497" y="0"/>
                </a:lnTo>
                <a:lnTo>
                  <a:pt x="151162" y="0"/>
                </a:lnTo>
                <a:lnTo>
                  <a:pt x="151162" y="55323"/>
                </a:lnTo>
                <a:lnTo>
                  <a:pt x="86370" y="5532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4" name="Forme libre : forme 63">
            <a:extLst>
              <a:ext uri="{FF2B5EF4-FFF2-40B4-BE49-F238E27FC236}">
                <a16:creationId xmlns:a16="http://schemas.microsoft.com/office/drawing/2014/main" id="{CC6BD8CB-3AAF-4232-9DAB-6067219DB083}"/>
              </a:ext>
            </a:extLst>
          </p:cNvPr>
          <p:cNvSpPr/>
          <p:nvPr/>
        </p:nvSpPr>
        <p:spPr>
          <a:xfrm rot="8716295">
            <a:off x="460900" y="3434471"/>
            <a:ext cx="72447" cy="72447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5" name="Forme libre : forme 64">
            <a:extLst>
              <a:ext uri="{FF2B5EF4-FFF2-40B4-BE49-F238E27FC236}">
                <a16:creationId xmlns:a16="http://schemas.microsoft.com/office/drawing/2014/main" id="{C4402BE5-EFA1-455E-87AA-2CF0F2131AB9}"/>
              </a:ext>
            </a:extLst>
          </p:cNvPr>
          <p:cNvSpPr/>
          <p:nvPr/>
        </p:nvSpPr>
        <p:spPr>
          <a:xfrm rot="8716295">
            <a:off x="417336" y="4258920"/>
            <a:ext cx="147637" cy="195874"/>
          </a:xfrm>
          <a:custGeom>
            <a:avLst/>
            <a:gdLst>
              <a:gd name="connsiteX0" fmla="*/ 34500 w 147637"/>
              <a:gd name="connsiteY0" fmla="*/ 195874 h 195874"/>
              <a:gd name="connsiteX1" fmla="*/ 0 w 147637"/>
              <a:gd name="connsiteY1" fmla="*/ 131688 h 195874"/>
              <a:gd name="connsiteX2" fmla="*/ 108921 w 147637"/>
              <a:gd name="connsiteY2" fmla="*/ 0 h 195874"/>
              <a:gd name="connsiteX3" fmla="*/ 147637 w 147637"/>
              <a:gd name="connsiteY3" fmla="*/ 0 h 195874"/>
              <a:gd name="connsiteX4" fmla="*/ 147637 w 147637"/>
              <a:gd name="connsiteY4" fmla="*/ 55323 h 195874"/>
              <a:gd name="connsiteX5" fmla="*/ 82845 w 147637"/>
              <a:gd name="connsiteY5" fmla="*/ 55323 h 195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7637" h="195874">
                <a:moveTo>
                  <a:pt x="34500" y="195874"/>
                </a:moveTo>
                <a:lnTo>
                  <a:pt x="0" y="131688"/>
                </a:lnTo>
                <a:lnTo>
                  <a:pt x="108921" y="0"/>
                </a:lnTo>
                <a:lnTo>
                  <a:pt x="147637" y="0"/>
                </a:lnTo>
                <a:lnTo>
                  <a:pt x="147637" y="55323"/>
                </a:lnTo>
                <a:lnTo>
                  <a:pt x="82845" y="5532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6" name="Forme libre : forme 65">
            <a:extLst>
              <a:ext uri="{FF2B5EF4-FFF2-40B4-BE49-F238E27FC236}">
                <a16:creationId xmlns:a16="http://schemas.microsoft.com/office/drawing/2014/main" id="{61A670F2-3CC6-425A-A67F-3F30EE51B04A}"/>
              </a:ext>
            </a:extLst>
          </p:cNvPr>
          <p:cNvSpPr/>
          <p:nvPr/>
        </p:nvSpPr>
        <p:spPr>
          <a:xfrm rot="8716295">
            <a:off x="330834" y="4134902"/>
            <a:ext cx="254613" cy="91157"/>
          </a:xfrm>
          <a:custGeom>
            <a:avLst/>
            <a:gdLst>
              <a:gd name="connsiteX0" fmla="*/ 0 w 254613"/>
              <a:gd name="connsiteY0" fmla="*/ 68911 h 91157"/>
              <a:gd name="connsiteX1" fmla="*/ 56997 w 254613"/>
              <a:gd name="connsiteY1" fmla="*/ 0 h 91157"/>
              <a:gd name="connsiteX2" fmla="*/ 57517 w 254613"/>
              <a:gd name="connsiteY2" fmla="*/ 2143 h 91157"/>
              <a:gd name="connsiteX3" fmla="*/ 128118 w 254613"/>
              <a:gd name="connsiteY3" fmla="*/ 40974 h 91157"/>
              <a:gd name="connsiteX4" fmla="*/ 181070 w 254613"/>
              <a:gd name="connsiteY4" fmla="*/ 31560 h 91157"/>
              <a:gd name="connsiteX5" fmla="*/ 253437 w 254613"/>
              <a:gd name="connsiteY5" fmla="*/ 2143 h 91157"/>
              <a:gd name="connsiteX6" fmla="*/ 254613 w 254613"/>
              <a:gd name="connsiteY6" fmla="*/ 9791 h 91157"/>
              <a:gd name="connsiteX7" fmla="*/ 254613 w 254613"/>
              <a:gd name="connsiteY7" fmla="*/ 15674 h 91157"/>
              <a:gd name="connsiteX8" fmla="*/ 61636 w 254613"/>
              <a:gd name="connsiteY8" fmla="*/ 90983 h 91157"/>
              <a:gd name="connsiteX9" fmla="*/ 22363 w 254613"/>
              <a:gd name="connsiteY9" fmla="*/ 84217 h 91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54613" h="91157">
                <a:moveTo>
                  <a:pt x="0" y="68911"/>
                </a:moveTo>
                <a:lnTo>
                  <a:pt x="56997" y="0"/>
                </a:lnTo>
                <a:lnTo>
                  <a:pt x="57517" y="2143"/>
                </a:lnTo>
                <a:cubicBezTo>
                  <a:pt x="66931" y="28030"/>
                  <a:pt x="91053" y="40974"/>
                  <a:pt x="128118" y="40974"/>
                </a:cubicBezTo>
                <a:cubicBezTo>
                  <a:pt x="146357" y="40385"/>
                  <a:pt x="164008" y="36855"/>
                  <a:pt x="181070" y="31560"/>
                </a:cubicBezTo>
                <a:cubicBezTo>
                  <a:pt x="205780" y="23912"/>
                  <a:pt x="229903" y="13910"/>
                  <a:pt x="253437" y="2143"/>
                </a:cubicBezTo>
                <a:cubicBezTo>
                  <a:pt x="254025" y="4496"/>
                  <a:pt x="254613" y="7438"/>
                  <a:pt x="254613" y="9791"/>
                </a:cubicBezTo>
                <a:lnTo>
                  <a:pt x="254613" y="15674"/>
                </a:lnTo>
                <a:cubicBezTo>
                  <a:pt x="192249" y="69215"/>
                  <a:pt x="110468" y="88042"/>
                  <a:pt x="61636" y="90983"/>
                </a:cubicBezTo>
                <a:cubicBezTo>
                  <a:pt x="48104" y="91866"/>
                  <a:pt x="34719" y="89365"/>
                  <a:pt x="22363" y="84217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7" name="Forme libre : forme 66">
            <a:extLst>
              <a:ext uri="{FF2B5EF4-FFF2-40B4-BE49-F238E27FC236}">
                <a16:creationId xmlns:a16="http://schemas.microsoft.com/office/drawing/2014/main" id="{8311F45B-46D1-4E93-B5FB-C96A0B131FB3}"/>
              </a:ext>
            </a:extLst>
          </p:cNvPr>
          <p:cNvSpPr/>
          <p:nvPr/>
        </p:nvSpPr>
        <p:spPr>
          <a:xfrm rot="8716295">
            <a:off x="-3428" y="2405990"/>
            <a:ext cx="142167" cy="208592"/>
          </a:xfrm>
          <a:custGeom>
            <a:avLst/>
            <a:gdLst>
              <a:gd name="connsiteX0" fmla="*/ 81108 w 142167"/>
              <a:gd name="connsiteY0" fmla="*/ 208592 h 208592"/>
              <a:gd name="connsiteX1" fmla="*/ 81108 w 142167"/>
              <a:gd name="connsiteY1" fmla="*/ 69717 h 208592"/>
              <a:gd name="connsiteX2" fmla="*/ 81108 w 142167"/>
              <a:gd name="connsiteY2" fmla="*/ 65615 h 208592"/>
              <a:gd name="connsiteX3" fmla="*/ 60604 w 142167"/>
              <a:gd name="connsiteY3" fmla="*/ 50123 h 208592"/>
              <a:gd name="connsiteX4" fmla="*/ 0 w 142167"/>
              <a:gd name="connsiteY4" fmla="*/ 50123 h 208592"/>
              <a:gd name="connsiteX5" fmla="*/ 0 w 142167"/>
              <a:gd name="connsiteY5" fmla="*/ 0 h 208592"/>
              <a:gd name="connsiteX6" fmla="*/ 85210 w 142167"/>
              <a:gd name="connsiteY6" fmla="*/ 0 h 208592"/>
              <a:gd name="connsiteX7" fmla="*/ 142167 w 142167"/>
              <a:gd name="connsiteY7" fmla="*/ 50123 h 208592"/>
              <a:gd name="connsiteX8" fmla="*/ 142167 w 142167"/>
              <a:gd name="connsiteY8" fmla="*/ 120504 h 208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2167" h="208592">
                <a:moveTo>
                  <a:pt x="81108" y="208592"/>
                </a:moveTo>
                <a:lnTo>
                  <a:pt x="81108" y="69717"/>
                </a:lnTo>
                <a:cubicBezTo>
                  <a:pt x="81108" y="68350"/>
                  <a:pt x="81108" y="66983"/>
                  <a:pt x="81108" y="65615"/>
                </a:cubicBezTo>
                <a:cubicBezTo>
                  <a:pt x="79742" y="55591"/>
                  <a:pt x="70628" y="48756"/>
                  <a:pt x="60604" y="50123"/>
                </a:cubicBezTo>
                <a:lnTo>
                  <a:pt x="0" y="50123"/>
                </a:lnTo>
                <a:lnTo>
                  <a:pt x="0" y="0"/>
                </a:lnTo>
                <a:lnTo>
                  <a:pt x="85210" y="0"/>
                </a:lnTo>
                <a:cubicBezTo>
                  <a:pt x="122118" y="0"/>
                  <a:pt x="142167" y="15948"/>
                  <a:pt x="142167" y="50123"/>
                </a:cubicBezTo>
                <a:lnTo>
                  <a:pt x="142167" y="120504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8" name="Forme libre : forme 67">
            <a:extLst>
              <a:ext uri="{FF2B5EF4-FFF2-40B4-BE49-F238E27FC236}">
                <a16:creationId xmlns:a16="http://schemas.microsoft.com/office/drawing/2014/main" id="{FBB49843-79D6-49E9-8512-3ED8074BAF49}"/>
              </a:ext>
            </a:extLst>
          </p:cNvPr>
          <p:cNvSpPr/>
          <p:nvPr/>
        </p:nvSpPr>
        <p:spPr>
          <a:xfrm rot="8716295">
            <a:off x="80015" y="2413296"/>
            <a:ext cx="259728" cy="250615"/>
          </a:xfrm>
          <a:custGeom>
            <a:avLst/>
            <a:gdLst>
              <a:gd name="connsiteX0" fmla="*/ 544830 w 542925"/>
              <a:gd name="connsiteY0" fmla="*/ 184905 h 523875"/>
              <a:gd name="connsiteX1" fmla="*/ 544830 w 542925"/>
              <a:gd name="connsiteY1" fmla="*/ 197288 h 523875"/>
              <a:gd name="connsiteX2" fmla="*/ 415290 w 542925"/>
              <a:gd name="connsiteY2" fmla="*/ 204908 h 523875"/>
              <a:gd name="connsiteX3" fmla="*/ 415290 w 542925"/>
              <a:gd name="connsiteY3" fmla="*/ 170618 h 523875"/>
              <a:gd name="connsiteX4" fmla="*/ 344805 w 542925"/>
              <a:gd name="connsiteY4" fmla="*/ 83940 h 523875"/>
              <a:gd name="connsiteX5" fmla="*/ 233363 w 542925"/>
              <a:gd name="connsiteY5" fmla="*/ 266820 h 523875"/>
              <a:gd name="connsiteX6" fmla="*/ 233363 w 542925"/>
              <a:gd name="connsiteY6" fmla="*/ 446843 h 523875"/>
              <a:gd name="connsiteX7" fmla="*/ 107632 w 542925"/>
              <a:gd name="connsiteY7" fmla="*/ 532568 h 523875"/>
              <a:gd name="connsiteX8" fmla="*/ 107632 w 542925"/>
              <a:gd name="connsiteY8" fmla="*/ 95370 h 523875"/>
              <a:gd name="connsiteX9" fmla="*/ 0 w 542925"/>
              <a:gd name="connsiteY9" fmla="*/ 95370 h 523875"/>
              <a:gd name="connsiteX10" fmla="*/ 0 w 542925"/>
              <a:gd name="connsiteY10" fmla="*/ 2978 h 523875"/>
              <a:gd name="connsiteX11" fmla="*/ 219075 w 542925"/>
              <a:gd name="connsiteY11" fmla="*/ 2978 h 523875"/>
              <a:gd name="connsiteX12" fmla="*/ 219075 w 542925"/>
              <a:gd name="connsiteY12" fmla="*/ 157283 h 523875"/>
              <a:gd name="connsiteX13" fmla="*/ 221932 w 542925"/>
              <a:gd name="connsiteY13" fmla="*/ 157283 h 523875"/>
              <a:gd name="connsiteX14" fmla="*/ 321945 w 542925"/>
              <a:gd name="connsiteY14" fmla="*/ 12503 h 523875"/>
              <a:gd name="connsiteX15" fmla="*/ 387667 w 542925"/>
              <a:gd name="connsiteY15" fmla="*/ 120 h 523875"/>
              <a:gd name="connsiteX16" fmla="*/ 544830 w 542925"/>
              <a:gd name="connsiteY16" fmla="*/ 18490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42925" h="523875">
                <a:moveTo>
                  <a:pt x="544830" y="184905"/>
                </a:moveTo>
                <a:lnTo>
                  <a:pt x="544830" y="197288"/>
                </a:lnTo>
                <a:lnTo>
                  <a:pt x="415290" y="204908"/>
                </a:lnTo>
                <a:lnTo>
                  <a:pt x="415290" y="170618"/>
                </a:lnTo>
                <a:cubicBezTo>
                  <a:pt x="415290" y="119183"/>
                  <a:pt x="385763" y="83940"/>
                  <a:pt x="344805" y="83940"/>
                </a:cubicBezTo>
                <a:cubicBezTo>
                  <a:pt x="283845" y="83940"/>
                  <a:pt x="233363" y="164903"/>
                  <a:pt x="233363" y="266820"/>
                </a:cubicBezTo>
                <a:lnTo>
                  <a:pt x="233363" y="446843"/>
                </a:lnTo>
                <a:lnTo>
                  <a:pt x="107632" y="532568"/>
                </a:lnTo>
                <a:lnTo>
                  <a:pt x="107632" y="95370"/>
                </a:lnTo>
                <a:lnTo>
                  <a:pt x="0" y="95370"/>
                </a:lnTo>
                <a:lnTo>
                  <a:pt x="0" y="2978"/>
                </a:lnTo>
                <a:lnTo>
                  <a:pt x="219075" y="2978"/>
                </a:lnTo>
                <a:lnTo>
                  <a:pt x="219075" y="157283"/>
                </a:lnTo>
                <a:lnTo>
                  <a:pt x="221932" y="157283"/>
                </a:lnTo>
                <a:cubicBezTo>
                  <a:pt x="252413" y="66795"/>
                  <a:pt x="276225" y="31553"/>
                  <a:pt x="321945" y="12503"/>
                </a:cubicBezTo>
                <a:cubicBezTo>
                  <a:pt x="342900" y="3930"/>
                  <a:pt x="364807" y="-832"/>
                  <a:pt x="387667" y="120"/>
                </a:cubicBezTo>
                <a:cubicBezTo>
                  <a:pt x="485775" y="-1785"/>
                  <a:pt x="544830" y="66795"/>
                  <a:pt x="544830" y="18490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9" name="Forme libre : forme 68">
            <a:extLst>
              <a:ext uri="{FF2B5EF4-FFF2-40B4-BE49-F238E27FC236}">
                <a16:creationId xmlns:a16="http://schemas.microsoft.com/office/drawing/2014/main" id="{2588E0D5-81C5-4973-87D7-DBF7607FAFF4}"/>
              </a:ext>
            </a:extLst>
          </p:cNvPr>
          <p:cNvSpPr/>
          <p:nvPr/>
        </p:nvSpPr>
        <p:spPr>
          <a:xfrm rot="8716295">
            <a:off x="35165" y="2327016"/>
            <a:ext cx="186822" cy="136699"/>
          </a:xfrm>
          <a:custGeom>
            <a:avLst/>
            <a:gdLst>
              <a:gd name="connsiteX0" fmla="*/ 343853 w 390525"/>
              <a:gd name="connsiteY0" fmla="*/ 144780 h 285750"/>
              <a:gd name="connsiteX1" fmla="*/ 344805 w 390525"/>
              <a:gd name="connsiteY1" fmla="*/ 144780 h 285750"/>
              <a:gd name="connsiteX2" fmla="*/ 12382 w 390525"/>
              <a:gd name="connsiteY2" fmla="*/ 288608 h 285750"/>
              <a:gd name="connsiteX3" fmla="*/ 0 w 390525"/>
              <a:gd name="connsiteY3" fmla="*/ 271463 h 285750"/>
              <a:gd name="connsiteX4" fmla="*/ 225743 w 390525"/>
              <a:gd name="connsiteY4" fmla="*/ 59055 h 285750"/>
              <a:gd name="connsiteX5" fmla="*/ 340043 w 390525"/>
              <a:gd name="connsiteY5" fmla="*/ 0 h 285750"/>
              <a:gd name="connsiteX6" fmla="*/ 399098 w 390525"/>
              <a:gd name="connsiteY6" fmla="*/ 70485 h 285750"/>
              <a:gd name="connsiteX7" fmla="*/ 343853 w 390525"/>
              <a:gd name="connsiteY7" fmla="*/ 14478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0525" h="285750">
                <a:moveTo>
                  <a:pt x="343853" y="144780"/>
                </a:moveTo>
                <a:lnTo>
                  <a:pt x="344805" y="144780"/>
                </a:lnTo>
                <a:lnTo>
                  <a:pt x="12382" y="288608"/>
                </a:lnTo>
                <a:lnTo>
                  <a:pt x="0" y="271463"/>
                </a:lnTo>
                <a:lnTo>
                  <a:pt x="225743" y="59055"/>
                </a:lnTo>
                <a:cubicBezTo>
                  <a:pt x="254318" y="25718"/>
                  <a:pt x="295275" y="4763"/>
                  <a:pt x="340043" y="0"/>
                </a:cubicBezTo>
                <a:cubicBezTo>
                  <a:pt x="385763" y="0"/>
                  <a:pt x="399098" y="40005"/>
                  <a:pt x="399098" y="70485"/>
                </a:cubicBezTo>
                <a:cubicBezTo>
                  <a:pt x="396240" y="103823"/>
                  <a:pt x="374332" y="131445"/>
                  <a:pt x="343853" y="14478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0" name="Forme libre : forme 69">
            <a:extLst>
              <a:ext uri="{FF2B5EF4-FFF2-40B4-BE49-F238E27FC236}">
                <a16:creationId xmlns:a16="http://schemas.microsoft.com/office/drawing/2014/main" id="{4C19B60F-0DA9-4BC3-BAAD-2E7DE57F5376}"/>
              </a:ext>
            </a:extLst>
          </p:cNvPr>
          <p:cNvSpPr/>
          <p:nvPr/>
        </p:nvSpPr>
        <p:spPr>
          <a:xfrm rot="8716295">
            <a:off x="-20257" y="2217087"/>
            <a:ext cx="78731" cy="180665"/>
          </a:xfrm>
          <a:custGeom>
            <a:avLst/>
            <a:gdLst>
              <a:gd name="connsiteX0" fmla="*/ 0 w 78731"/>
              <a:gd name="connsiteY0" fmla="*/ 180665 h 180665"/>
              <a:gd name="connsiteX1" fmla="*/ 0 w 78731"/>
              <a:gd name="connsiteY1" fmla="*/ 40596 h 180665"/>
              <a:gd name="connsiteX2" fmla="*/ 78250 w 78731"/>
              <a:gd name="connsiteY2" fmla="*/ 0 h 180665"/>
              <a:gd name="connsiteX3" fmla="*/ 78731 w 78731"/>
              <a:gd name="connsiteY3" fmla="*/ 67083 h 180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8731" h="180665">
                <a:moveTo>
                  <a:pt x="0" y="180665"/>
                </a:moveTo>
                <a:lnTo>
                  <a:pt x="0" y="40596"/>
                </a:lnTo>
                <a:lnTo>
                  <a:pt x="78250" y="0"/>
                </a:lnTo>
                <a:lnTo>
                  <a:pt x="78731" y="6708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1" name="Forme libre : forme 70">
            <a:extLst>
              <a:ext uri="{FF2B5EF4-FFF2-40B4-BE49-F238E27FC236}">
                <a16:creationId xmlns:a16="http://schemas.microsoft.com/office/drawing/2014/main" id="{6EC16758-5536-44AA-B18E-D5428BFF36DA}"/>
              </a:ext>
            </a:extLst>
          </p:cNvPr>
          <p:cNvSpPr/>
          <p:nvPr/>
        </p:nvSpPr>
        <p:spPr>
          <a:xfrm rot="8716295">
            <a:off x="-15341" y="2575209"/>
            <a:ext cx="103435" cy="152027"/>
          </a:xfrm>
          <a:custGeom>
            <a:avLst/>
            <a:gdLst>
              <a:gd name="connsiteX0" fmla="*/ 43288 w 103435"/>
              <a:gd name="connsiteY0" fmla="*/ 152027 h 152027"/>
              <a:gd name="connsiteX1" fmla="*/ 43288 w 103435"/>
              <a:gd name="connsiteY1" fmla="*/ 16404 h 152027"/>
              <a:gd name="connsiteX2" fmla="*/ 0 w 103435"/>
              <a:gd name="connsiteY2" fmla="*/ 16404 h 152027"/>
              <a:gd name="connsiteX3" fmla="*/ 0 w 103435"/>
              <a:gd name="connsiteY3" fmla="*/ 2278 h 152027"/>
              <a:gd name="connsiteX4" fmla="*/ 103435 w 103435"/>
              <a:gd name="connsiteY4" fmla="*/ 0 h 152027"/>
              <a:gd name="connsiteX5" fmla="*/ 103435 w 103435"/>
              <a:gd name="connsiteY5" fmla="*/ 65255 h 152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3435" h="152027">
                <a:moveTo>
                  <a:pt x="43288" y="152027"/>
                </a:moveTo>
                <a:lnTo>
                  <a:pt x="43288" y="16404"/>
                </a:lnTo>
                <a:lnTo>
                  <a:pt x="0" y="16404"/>
                </a:lnTo>
                <a:lnTo>
                  <a:pt x="0" y="2278"/>
                </a:lnTo>
                <a:cubicBezTo>
                  <a:pt x="32808" y="3645"/>
                  <a:pt x="66982" y="911"/>
                  <a:pt x="103435" y="0"/>
                </a:cubicBezTo>
                <a:lnTo>
                  <a:pt x="103435" y="65255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2" name="Forme libre : forme 71">
            <a:extLst>
              <a:ext uri="{FF2B5EF4-FFF2-40B4-BE49-F238E27FC236}">
                <a16:creationId xmlns:a16="http://schemas.microsoft.com/office/drawing/2014/main" id="{F8CD2FD6-8E29-4A7B-A6E7-A08269AC0224}"/>
              </a:ext>
            </a:extLst>
          </p:cNvPr>
          <p:cNvSpPr/>
          <p:nvPr/>
        </p:nvSpPr>
        <p:spPr>
          <a:xfrm rot="8716295">
            <a:off x="279722" y="2133902"/>
            <a:ext cx="141256" cy="232388"/>
          </a:xfrm>
          <a:custGeom>
            <a:avLst/>
            <a:gdLst>
              <a:gd name="connsiteX0" fmla="*/ 297180 w 295275"/>
              <a:gd name="connsiteY0" fmla="*/ 104775 h 485775"/>
              <a:gd name="connsiteX1" fmla="*/ 297180 w 295275"/>
              <a:gd name="connsiteY1" fmla="*/ 435293 h 485775"/>
              <a:gd name="connsiteX2" fmla="*/ 169545 w 295275"/>
              <a:gd name="connsiteY2" fmla="*/ 485775 h 485775"/>
              <a:gd name="connsiteX3" fmla="*/ 169545 w 295275"/>
              <a:gd name="connsiteY3" fmla="*/ 145733 h 485775"/>
              <a:gd name="connsiteX4" fmla="*/ 169545 w 295275"/>
              <a:gd name="connsiteY4" fmla="*/ 137160 h 485775"/>
              <a:gd name="connsiteX5" fmla="*/ 126683 w 295275"/>
              <a:gd name="connsiteY5" fmla="*/ 104775 h 485775"/>
              <a:gd name="connsiteX6" fmla="*/ 0 w 295275"/>
              <a:gd name="connsiteY6" fmla="*/ 104775 h 485775"/>
              <a:gd name="connsiteX7" fmla="*/ 0 w 295275"/>
              <a:gd name="connsiteY7" fmla="*/ 0 h 485775"/>
              <a:gd name="connsiteX8" fmla="*/ 178118 w 295275"/>
              <a:gd name="connsiteY8" fmla="*/ 0 h 485775"/>
              <a:gd name="connsiteX9" fmla="*/ 297180 w 295275"/>
              <a:gd name="connsiteY9" fmla="*/ 104775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95275" h="485775">
                <a:moveTo>
                  <a:pt x="297180" y="104775"/>
                </a:moveTo>
                <a:lnTo>
                  <a:pt x="297180" y="435293"/>
                </a:lnTo>
                <a:lnTo>
                  <a:pt x="169545" y="485775"/>
                </a:lnTo>
                <a:lnTo>
                  <a:pt x="169545" y="145733"/>
                </a:lnTo>
                <a:cubicBezTo>
                  <a:pt x="169545" y="142875"/>
                  <a:pt x="169545" y="140018"/>
                  <a:pt x="169545" y="137160"/>
                </a:cubicBezTo>
                <a:cubicBezTo>
                  <a:pt x="166688" y="116205"/>
                  <a:pt x="147638" y="101918"/>
                  <a:pt x="126683" y="104775"/>
                </a:cubicBezTo>
                <a:lnTo>
                  <a:pt x="0" y="104775"/>
                </a:lnTo>
                <a:lnTo>
                  <a:pt x="0" y="0"/>
                </a:lnTo>
                <a:lnTo>
                  <a:pt x="178118" y="0"/>
                </a:lnTo>
                <a:cubicBezTo>
                  <a:pt x="255270" y="0"/>
                  <a:pt x="297180" y="33338"/>
                  <a:pt x="297180" y="10477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3" name="Forme libre : forme 72">
            <a:extLst>
              <a:ext uri="{FF2B5EF4-FFF2-40B4-BE49-F238E27FC236}">
                <a16:creationId xmlns:a16="http://schemas.microsoft.com/office/drawing/2014/main" id="{B8E4BE1C-C619-4E1A-8472-B00AFC43BA29}"/>
              </a:ext>
            </a:extLst>
          </p:cNvPr>
          <p:cNvSpPr/>
          <p:nvPr/>
        </p:nvSpPr>
        <p:spPr>
          <a:xfrm rot="8716295">
            <a:off x="369114" y="2163144"/>
            <a:ext cx="259728" cy="250615"/>
          </a:xfrm>
          <a:custGeom>
            <a:avLst/>
            <a:gdLst>
              <a:gd name="connsiteX0" fmla="*/ 544830 w 542925"/>
              <a:gd name="connsiteY0" fmla="*/ 184905 h 523875"/>
              <a:gd name="connsiteX1" fmla="*/ 544830 w 542925"/>
              <a:gd name="connsiteY1" fmla="*/ 197288 h 523875"/>
              <a:gd name="connsiteX2" fmla="*/ 415290 w 542925"/>
              <a:gd name="connsiteY2" fmla="*/ 204908 h 523875"/>
              <a:gd name="connsiteX3" fmla="*/ 415290 w 542925"/>
              <a:gd name="connsiteY3" fmla="*/ 170618 h 523875"/>
              <a:gd name="connsiteX4" fmla="*/ 344805 w 542925"/>
              <a:gd name="connsiteY4" fmla="*/ 83940 h 523875"/>
              <a:gd name="connsiteX5" fmla="*/ 233363 w 542925"/>
              <a:gd name="connsiteY5" fmla="*/ 266820 h 523875"/>
              <a:gd name="connsiteX6" fmla="*/ 233363 w 542925"/>
              <a:gd name="connsiteY6" fmla="*/ 446843 h 523875"/>
              <a:gd name="connsiteX7" fmla="*/ 107632 w 542925"/>
              <a:gd name="connsiteY7" fmla="*/ 532568 h 523875"/>
              <a:gd name="connsiteX8" fmla="*/ 107632 w 542925"/>
              <a:gd name="connsiteY8" fmla="*/ 95370 h 523875"/>
              <a:gd name="connsiteX9" fmla="*/ 0 w 542925"/>
              <a:gd name="connsiteY9" fmla="*/ 95370 h 523875"/>
              <a:gd name="connsiteX10" fmla="*/ 0 w 542925"/>
              <a:gd name="connsiteY10" fmla="*/ 2978 h 523875"/>
              <a:gd name="connsiteX11" fmla="*/ 219075 w 542925"/>
              <a:gd name="connsiteY11" fmla="*/ 2978 h 523875"/>
              <a:gd name="connsiteX12" fmla="*/ 219075 w 542925"/>
              <a:gd name="connsiteY12" fmla="*/ 157283 h 523875"/>
              <a:gd name="connsiteX13" fmla="*/ 221932 w 542925"/>
              <a:gd name="connsiteY13" fmla="*/ 157283 h 523875"/>
              <a:gd name="connsiteX14" fmla="*/ 321945 w 542925"/>
              <a:gd name="connsiteY14" fmla="*/ 12503 h 523875"/>
              <a:gd name="connsiteX15" fmla="*/ 387667 w 542925"/>
              <a:gd name="connsiteY15" fmla="*/ 120 h 523875"/>
              <a:gd name="connsiteX16" fmla="*/ 544830 w 542925"/>
              <a:gd name="connsiteY16" fmla="*/ 18490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42925" h="523875">
                <a:moveTo>
                  <a:pt x="544830" y="184905"/>
                </a:moveTo>
                <a:lnTo>
                  <a:pt x="544830" y="197288"/>
                </a:lnTo>
                <a:lnTo>
                  <a:pt x="415290" y="204908"/>
                </a:lnTo>
                <a:lnTo>
                  <a:pt x="415290" y="170618"/>
                </a:lnTo>
                <a:cubicBezTo>
                  <a:pt x="415290" y="119183"/>
                  <a:pt x="385763" y="83940"/>
                  <a:pt x="344805" y="83940"/>
                </a:cubicBezTo>
                <a:cubicBezTo>
                  <a:pt x="283845" y="83940"/>
                  <a:pt x="233363" y="164903"/>
                  <a:pt x="233363" y="266820"/>
                </a:cubicBezTo>
                <a:lnTo>
                  <a:pt x="233363" y="446843"/>
                </a:lnTo>
                <a:lnTo>
                  <a:pt x="107632" y="532568"/>
                </a:lnTo>
                <a:lnTo>
                  <a:pt x="107632" y="95370"/>
                </a:lnTo>
                <a:lnTo>
                  <a:pt x="0" y="95370"/>
                </a:lnTo>
                <a:lnTo>
                  <a:pt x="0" y="2978"/>
                </a:lnTo>
                <a:lnTo>
                  <a:pt x="219075" y="2978"/>
                </a:lnTo>
                <a:lnTo>
                  <a:pt x="219075" y="157283"/>
                </a:lnTo>
                <a:lnTo>
                  <a:pt x="221932" y="157283"/>
                </a:lnTo>
                <a:cubicBezTo>
                  <a:pt x="252413" y="66795"/>
                  <a:pt x="276225" y="31553"/>
                  <a:pt x="321945" y="12503"/>
                </a:cubicBezTo>
                <a:cubicBezTo>
                  <a:pt x="342900" y="3930"/>
                  <a:pt x="364807" y="-832"/>
                  <a:pt x="387667" y="120"/>
                </a:cubicBezTo>
                <a:cubicBezTo>
                  <a:pt x="485775" y="-1785"/>
                  <a:pt x="544830" y="66795"/>
                  <a:pt x="544830" y="18490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4" name="Forme libre : forme 73">
            <a:extLst>
              <a:ext uri="{FF2B5EF4-FFF2-40B4-BE49-F238E27FC236}">
                <a16:creationId xmlns:a16="http://schemas.microsoft.com/office/drawing/2014/main" id="{E00D5309-AD7C-43C7-8A0B-B7211B97E879}"/>
              </a:ext>
            </a:extLst>
          </p:cNvPr>
          <p:cNvSpPr/>
          <p:nvPr/>
        </p:nvSpPr>
        <p:spPr>
          <a:xfrm rot="8716295">
            <a:off x="167488" y="2222446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5" name="Forme libre : forme 74">
            <a:extLst>
              <a:ext uri="{FF2B5EF4-FFF2-40B4-BE49-F238E27FC236}">
                <a16:creationId xmlns:a16="http://schemas.microsoft.com/office/drawing/2014/main" id="{569B59A1-12B4-4886-9F85-B0AFCE236D87}"/>
              </a:ext>
            </a:extLst>
          </p:cNvPr>
          <p:cNvSpPr/>
          <p:nvPr/>
        </p:nvSpPr>
        <p:spPr>
          <a:xfrm rot="8716295">
            <a:off x="42586" y="2013773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6" name="Forme libre : forme 75">
            <a:extLst>
              <a:ext uri="{FF2B5EF4-FFF2-40B4-BE49-F238E27FC236}">
                <a16:creationId xmlns:a16="http://schemas.microsoft.com/office/drawing/2014/main" id="{F564295A-16CC-45A5-86A1-4CEC6CD90425}"/>
              </a:ext>
            </a:extLst>
          </p:cNvPr>
          <p:cNvSpPr/>
          <p:nvPr/>
        </p:nvSpPr>
        <p:spPr>
          <a:xfrm rot="8716295">
            <a:off x="257666" y="2263398"/>
            <a:ext cx="100246" cy="218719"/>
          </a:xfrm>
          <a:custGeom>
            <a:avLst/>
            <a:gdLst>
              <a:gd name="connsiteX0" fmla="*/ 216217 w 209550"/>
              <a:gd name="connsiteY0" fmla="*/ 0 h 457200"/>
              <a:gd name="connsiteX1" fmla="*/ 216217 w 209550"/>
              <a:gd name="connsiteY1" fmla="*/ 458153 h 457200"/>
              <a:gd name="connsiteX2" fmla="*/ 90488 w 209550"/>
              <a:gd name="connsiteY2" fmla="*/ 337185 h 457200"/>
              <a:gd name="connsiteX3" fmla="*/ 90488 w 209550"/>
              <a:gd name="connsiteY3" fmla="*/ 34290 h 457200"/>
              <a:gd name="connsiteX4" fmla="*/ 0 w 209550"/>
              <a:gd name="connsiteY4" fmla="*/ 34290 h 457200"/>
              <a:gd name="connsiteX5" fmla="*/ 0 w 209550"/>
              <a:gd name="connsiteY5" fmla="*/ 4763 h 457200"/>
              <a:gd name="connsiteX6" fmla="*/ 216217 w 209550"/>
              <a:gd name="connsiteY6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9550" h="457200">
                <a:moveTo>
                  <a:pt x="216217" y="0"/>
                </a:moveTo>
                <a:lnTo>
                  <a:pt x="216217" y="458153"/>
                </a:lnTo>
                <a:lnTo>
                  <a:pt x="90488" y="337185"/>
                </a:lnTo>
                <a:lnTo>
                  <a:pt x="90488" y="34290"/>
                </a:lnTo>
                <a:lnTo>
                  <a:pt x="0" y="34290"/>
                </a:lnTo>
                <a:lnTo>
                  <a:pt x="0" y="4763"/>
                </a:lnTo>
                <a:cubicBezTo>
                  <a:pt x="68580" y="7620"/>
                  <a:pt x="140017" y="1905"/>
                  <a:pt x="216217" y="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7" name="Forme libre : forme 76">
            <a:extLst>
              <a:ext uri="{FF2B5EF4-FFF2-40B4-BE49-F238E27FC236}">
                <a16:creationId xmlns:a16="http://schemas.microsoft.com/office/drawing/2014/main" id="{2384700C-00D8-4B4D-ABDF-BE0456A14505}"/>
              </a:ext>
            </a:extLst>
          </p:cNvPr>
          <p:cNvSpPr/>
          <p:nvPr/>
        </p:nvSpPr>
        <p:spPr>
          <a:xfrm rot="8716295">
            <a:off x="16215" y="2113798"/>
            <a:ext cx="72447" cy="72447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8" name="Forme libre : forme 77">
            <a:extLst>
              <a:ext uri="{FF2B5EF4-FFF2-40B4-BE49-F238E27FC236}">
                <a16:creationId xmlns:a16="http://schemas.microsoft.com/office/drawing/2014/main" id="{D8BA4606-ED26-402C-93D7-D77E55C056EF}"/>
              </a:ext>
            </a:extLst>
          </p:cNvPr>
          <p:cNvSpPr/>
          <p:nvPr/>
        </p:nvSpPr>
        <p:spPr>
          <a:xfrm rot="7484129">
            <a:off x="362597" y="2454749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9" name="Forme libre : forme 78">
            <a:extLst>
              <a:ext uri="{FF2B5EF4-FFF2-40B4-BE49-F238E27FC236}">
                <a16:creationId xmlns:a16="http://schemas.microsoft.com/office/drawing/2014/main" id="{3CCE9711-ABFF-417D-B3E6-0BDB1263FCD1}"/>
              </a:ext>
            </a:extLst>
          </p:cNvPr>
          <p:cNvSpPr/>
          <p:nvPr/>
        </p:nvSpPr>
        <p:spPr>
          <a:xfrm rot="13089394">
            <a:off x="463440" y="2426400"/>
            <a:ext cx="272584" cy="319064"/>
          </a:xfrm>
          <a:custGeom>
            <a:avLst/>
            <a:gdLst>
              <a:gd name="connsiteX0" fmla="*/ 80445 w 272584"/>
              <a:gd name="connsiteY0" fmla="*/ 215518 h 319064"/>
              <a:gd name="connsiteX1" fmla="*/ 0 w 272584"/>
              <a:gd name="connsiteY1" fmla="*/ 93007 h 319064"/>
              <a:gd name="connsiteX2" fmla="*/ 0 w 272584"/>
              <a:gd name="connsiteY2" fmla="*/ 38074 h 319064"/>
              <a:gd name="connsiteX3" fmla="*/ 73388 w 272584"/>
              <a:gd name="connsiteY3" fmla="*/ 0 h 319064"/>
              <a:gd name="connsiteX4" fmla="*/ 74492 w 272584"/>
              <a:gd name="connsiteY4" fmla="*/ 153950 h 319064"/>
              <a:gd name="connsiteX5" fmla="*/ 76768 w 272584"/>
              <a:gd name="connsiteY5" fmla="*/ 200369 h 319064"/>
              <a:gd name="connsiteX6" fmla="*/ 272584 w 272584"/>
              <a:gd name="connsiteY6" fmla="*/ 258238 h 319064"/>
              <a:gd name="connsiteX7" fmla="*/ 177331 w 272584"/>
              <a:gd name="connsiteY7" fmla="*/ 311347 h 319064"/>
              <a:gd name="connsiteX8" fmla="*/ 148437 w 272584"/>
              <a:gd name="connsiteY8" fmla="*/ 319064 h 319064"/>
              <a:gd name="connsiteX9" fmla="*/ 119231 w 272584"/>
              <a:gd name="connsiteY9" fmla="*/ 274585 h 319064"/>
              <a:gd name="connsiteX10" fmla="*/ 153949 w 272584"/>
              <a:gd name="connsiteY10" fmla="*/ 281965 h 319064"/>
              <a:gd name="connsiteX11" fmla="*/ 203610 w 272584"/>
              <a:gd name="connsiteY11" fmla="*/ 273136 h 319064"/>
              <a:gd name="connsiteX12" fmla="*/ 271481 w 272584"/>
              <a:gd name="connsiteY12" fmla="*/ 245547 h 319064"/>
              <a:gd name="connsiteX13" fmla="*/ 272584 w 272584"/>
              <a:gd name="connsiteY13" fmla="*/ 252720 h 319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72584" h="319064">
                <a:moveTo>
                  <a:pt x="80445" y="215518"/>
                </a:moveTo>
                <a:lnTo>
                  <a:pt x="0" y="93007"/>
                </a:lnTo>
                <a:lnTo>
                  <a:pt x="0" y="38074"/>
                </a:lnTo>
                <a:lnTo>
                  <a:pt x="73388" y="0"/>
                </a:lnTo>
                <a:lnTo>
                  <a:pt x="74492" y="153950"/>
                </a:lnTo>
                <a:cubicBezTo>
                  <a:pt x="73664" y="169400"/>
                  <a:pt x="74492" y="184988"/>
                  <a:pt x="76768" y="200369"/>
                </a:cubicBezTo>
                <a:close/>
                <a:moveTo>
                  <a:pt x="272584" y="258238"/>
                </a:moveTo>
                <a:cubicBezTo>
                  <a:pt x="243339" y="283344"/>
                  <a:pt x="209542" y="300312"/>
                  <a:pt x="177331" y="311347"/>
                </a:cubicBezTo>
                <a:lnTo>
                  <a:pt x="148437" y="319064"/>
                </a:lnTo>
                <a:lnTo>
                  <a:pt x="119231" y="274585"/>
                </a:lnTo>
                <a:lnTo>
                  <a:pt x="153949" y="281965"/>
                </a:lnTo>
                <a:cubicBezTo>
                  <a:pt x="171055" y="281413"/>
                  <a:pt x="187609" y="278102"/>
                  <a:pt x="203610" y="273136"/>
                </a:cubicBezTo>
                <a:cubicBezTo>
                  <a:pt x="226785" y="265963"/>
                  <a:pt x="249409" y="256583"/>
                  <a:pt x="271481" y="245547"/>
                </a:cubicBezTo>
                <a:cubicBezTo>
                  <a:pt x="272032" y="247754"/>
                  <a:pt x="272584" y="250513"/>
                  <a:pt x="272584" y="25272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0" name="Forme libre : forme 79">
            <a:extLst>
              <a:ext uri="{FF2B5EF4-FFF2-40B4-BE49-F238E27FC236}">
                <a16:creationId xmlns:a16="http://schemas.microsoft.com/office/drawing/2014/main" id="{6E12610B-6A34-4C00-8EC5-09F9F5AEEEF0}"/>
              </a:ext>
            </a:extLst>
          </p:cNvPr>
          <p:cNvSpPr/>
          <p:nvPr/>
        </p:nvSpPr>
        <p:spPr>
          <a:xfrm rot="8716295">
            <a:off x="675867" y="2357327"/>
            <a:ext cx="38012" cy="45752"/>
          </a:xfrm>
          <a:custGeom>
            <a:avLst/>
            <a:gdLst>
              <a:gd name="connsiteX0" fmla="*/ 0 w 38012"/>
              <a:gd name="connsiteY0" fmla="*/ 45752 h 45752"/>
              <a:gd name="connsiteX1" fmla="*/ 37842 w 38012"/>
              <a:gd name="connsiteY1" fmla="*/ 0 h 45752"/>
              <a:gd name="connsiteX2" fmla="*/ 38012 w 38012"/>
              <a:gd name="connsiteY2" fmla="*/ 641 h 45752"/>
              <a:gd name="connsiteX3" fmla="*/ 6841 w 38012"/>
              <a:gd name="connsiteY3" fmla="*/ 42560 h 45752"/>
              <a:gd name="connsiteX4" fmla="*/ 7378 w 38012"/>
              <a:gd name="connsiteY4" fmla="*/ 42560 h 45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012" h="45752">
                <a:moveTo>
                  <a:pt x="0" y="45752"/>
                </a:moveTo>
                <a:lnTo>
                  <a:pt x="37842" y="0"/>
                </a:lnTo>
                <a:lnTo>
                  <a:pt x="38012" y="641"/>
                </a:lnTo>
                <a:cubicBezTo>
                  <a:pt x="36400" y="19451"/>
                  <a:pt x="24039" y="35036"/>
                  <a:pt x="6841" y="42560"/>
                </a:cubicBezTo>
                <a:lnTo>
                  <a:pt x="7378" y="4256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1" name="Forme libre : forme 80">
            <a:extLst>
              <a:ext uri="{FF2B5EF4-FFF2-40B4-BE49-F238E27FC236}">
                <a16:creationId xmlns:a16="http://schemas.microsoft.com/office/drawing/2014/main" id="{04C60C27-7F84-4DDC-864F-602B18A26BC5}"/>
              </a:ext>
            </a:extLst>
          </p:cNvPr>
          <p:cNvSpPr/>
          <p:nvPr/>
        </p:nvSpPr>
        <p:spPr>
          <a:xfrm rot="8716295">
            <a:off x="601197" y="2126009"/>
            <a:ext cx="110380" cy="1103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2" name="Forme libre : forme 81">
            <a:extLst>
              <a:ext uri="{FF2B5EF4-FFF2-40B4-BE49-F238E27FC236}">
                <a16:creationId xmlns:a16="http://schemas.microsoft.com/office/drawing/2014/main" id="{603BCEF5-66FB-4B3A-9672-2C4F09A114FA}"/>
              </a:ext>
            </a:extLst>
          </p:cNvPr>
          <p:cNvSpPr/>
          <p:nvPr/>
        </p:nvSpPr>
        <p:spPr>
          <a:xfrm rot="8716295">
            <a:off x="357951" y="2156230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3" name="Forme libre : forme 82">
            <a:extLst>
              <a:ext uri="{FF2B5EF4-FFF2-40B4-BE49-F238E27FC236}">
                <a16:creationId xmlns:a16="http://schemas.microsoft.com/office/drawing/2014/main" id="{47C10671-5456-47FF-825A-4447688D4139}"/>
              </a:ext>
            </a:extLst>
          </p:cNvPr>
          <p:cNvSpPr/>
          <p:nvPr/>
        </p:nvSpPr>
        <p:spPr>
          <a:xfrm rot="8716295">
            <a:off x="535403" y="1996988"/>
            <a:ext cx="110380" cy="1103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4" name="Forme libre : forme 83">
            <a:extLst>
              <a:ext uri="{FF2B5EF4-FFF2-40B4-BE49-F238E27FC236}">
                <a16:creationId xmlns:a16="http://schemas.microsoft.com/office/drawing/2014/main" id="{DB34C374-02D3-4583-9890-9C27CA821837}"/>
              </a:ext>
            </a:extLst>
          </p:cNvPr>
          <p:cNvSpPr/>
          <p:nvPr/>
        </p:nvSpPr>
        <p:spPr>
          <a:xfrm rot="8716295">
            <a:off x="-76043" y="1768178"/>
            <a:ext cx="197178" cy="215049"/>
          </a:xfrm>
          <a:custGeom>
            <a:avLst/>
            <a:gdLst>
              <a:gd name="connsiteX0" fmla="*/ 51490 w 197178"/>
              <a:gd name="connsiteY0" fmla="*/ 215049 h 215049"/>
              <a:gd name="connsiteX1" fmla="*/ 51490 w 197178"/>
              <a:gd name="connsiteY1" fmla="*/ 45624 h 215049"/>
              <a:gd name="connsiteX2" fmla="*/ 0 w 197178"/>
              <a:gd name="connsiteY2" fmla="*/ 45624 h 215049"/>
              <a:gd name="connsiteX3" fmla="*/ 0 w 197178"/>
              <a:gd name="connsiteY3" fmla="*/ 1424 h 215049"/>
              <a:gd name="connsiteX4" fmla="*/ 104803 w 197178"/>
              <a:gd name="connsiteY4" fmla="*/ 1425 h 215049"/>
              <a:gd name="connsiteX5" fmla="*/ 104803 w 197178"/>
              <a:gd name="connsiteY5" fmla="*/ 75242 h 215049"/>
              <a:gd name="connsiteX6" fmla="*/ 106169 w 197178"/>
              <a:gd name="connsiteY6" fmla="*/ 75242 h 215049"/>
              <a:gd name="connsiteX7" fmla="*/ 154014 w 197178"/>
              <a:gd name="connsiteY7" fmla="*/ 5981 h 215049"/>
              <a:gd name="connsiteX8" fmla="*/ 185455 w 197178"/>
              <a:gd name="connsiteY8" fmla="*/ 57 h 215049"/>
              <a:gd name="connsiteX9" fmla="*/ 197178 w 197178"/>
              <a:gd name="connsiteY9" fmla="*/ 4872 h 215049"/>
              <a:gd name="connsiteX10" fmla="*/ 170795 w 197178"/>
              <a:gd name="connsiteY10" fmla="*/ 42934 h 215049"/>
              <a:gd name="connsiteX11" fmla="*/ 164950 w 197178"/>
              <a:gd name="connsiteY11" fmla="*/ 40156 h 215049"/>
              <a:gd name="connsiteX12" fmla="*/ 111638 w 197178"/>
              <a:gd name="connsiteY12" fmla="*/ 127643 h 215049"/>
              <a:gd name="connsiteX13" fmla="*/ 111638 w 197178"/>
              <a:gd name="connsiteY13" fmla="*/ 128277 h 215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97178" h="215049">
                <a:moveTo>
                  <a:pt x="51490" y="215049"/>
                </a:moveTo>
                <a:lnTo>
                  <a:pt x="51490" y="45624"/>
                </a:lnTo>
                <a:lnTo>
                  <a:pt x="0" y="45624"/>
                </a:lnTo>
                <a:lnTo>
                  <a:pt x="0" y="1424"/>
                </a:lnTo>
                <a:lnTo>
                  <a:pt x="104803" y="1425"/>
                </a:lnTo>
                <a:lnTo>
                  <a:pt x="104803" y="75242"/>
                </a:lnTo>
                <a:lnTo>
                  <a:pt x="106169" y="75242"/>
                </a:lnTo>
                <a:cubicBezTo>
                  <a:pt x="120751" y="31954"/>
                  <a:pt x="132142" y="15094"/>
                  <a:pt x="154014" y="5981"/>
                </a:cubicBezTo>
                <a:cubicBezTo>
                  <a:pt x="164039" y="1880"/>
                  <a:pt x="174519" y="-398"/>
                  <a:pt x="185455" y="57"/>
                </a:cubicBezTo>
                <a:lnTo>
                  <a:pt x="197178" y="4872"/>
                </a:lnTo>
                <a:lnTo>
                  <a:pt x="170795" y="42934"/>
                </a:lnTo>
                <a:lnTo>
                  <a:pt x="164950" y="40156"/>
                </a:lnTo>
                <a:cubicBezTo>
                  <a:pt x="135788" y="40156"/>
                  <a:pt x="111638" y="78887"/>
                  <a:pt x="111638" y="127643"/>
                </a:cubicBezTo>
                <a:lnTo>
                  <a:pt x="111638" y="128277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5" name="Forme libre : forme 84">
            <a:extLst>
              <a:ext uri="{FF2B5EF4-FFF2-40B4-BE49-F238E27FC236}">
                <a16:creationId xmlns:a16="http://schemas.microsoft.com/office/drawing/2014/main" id="{F27A5053-248B-4729-A180-CFD83FBA8C7D}"/>
              </a:ext>
            </a:extLst>
          </p:cNvPr>
          <p:cNvSpPr/>
          <p:nvPr/>
        </p:nvSpPr>
        <p:spPr>
          <a:xfrm rot="8716295">
            <a:off x="56555" y="1474203"/>
            <a:ext cx="141256" cy="232388"/>
          </a:xfrm>
          <a:custGeom>
            <a:avLst/>
            <a:gdLst>
              <a:gd name="connsiteX0" fmla="*/ 297180 w 295275"/>
              <a:gd name="connsiteY0" fmla="*/ 104775 h 485775"/>
              <a:gd name="connsiteX1" fmla="*/ 297180 w 295275"/>
              <a:gd name="connsiteY1" fmla="*/ 435293 h 485775"/>
              <a:gd name="connsiteX2" fmla="*/ 169545 w 295275"/>
              <a:gd name="connsiteY2" fmla="*/ 485775 h 485775"/>
              <a:gd name="connsiteX3" fmla="*/ 169545 w 295275"/>
              <a:gd name="connsiteY3" fmla="*/ 145733 h 485775"/>
              <a:gd name="connsiteX4" fmla="*/ 169545 w 295275"/>
              <a:gd name="connsiteY4" fmla="*/ 137160 h 485775"/>
              <a:gd name="connsiteX5" fmla="*/ 126683 w 295275"/>
              <a:gd name="connsiteY5" fmla="*/ 104775 h 485775"/>
              <a:gd name="connsiteX6" fmla="*/ 0 w 295275"/>
              <a:gd name="connsiteY6" fmla="*/ 104775 h 485775"/>
              <a:gd name="connsiteX7" fmla="*/ 0 w 295275"/>
              <a:gd name="connsiteY7" fmla="*/ 0 h 485775"/>
              <a:gd name="connsiteX8" fmla="*/ 178118 w 295275"/>
              <a:gd name="connsiteY8" fmla="*/ 0 h 485775"/>
              <a:gd name="connsiteX9" fmla="*/ 297180 w 295275"/>
              <a:gd name="connsiteY9" fmla="*/ 104775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95275" h="485775">
                <a:moveTo>
                  <a:pt x="297180" y="104775"/>
                </a:moveTo>
                <a:lnTo>
                  <a:pt x="297180" y="435293"/>
                </a:lnTo>
                <a:lnTo>
                  <a:pt x="169545" y="485775"/>
                </a:lnTo>
                <a:lnTo>
                  <a:pt x="169545" y="145733"/>
                </a:lnTo>
                <a:cubicBezTo>
                  <a:pt x="169545" y="142875"/>
                  <a:pt x="169545" y="140018"/>
                  <a:pt x="169545" y="137160"/>
                </a:cubicBezTo>
                <a:cubicBezTo>
                  <a:pt x="166688" y="116205"/>
                  <a:pt x="147638" y="101918"/>
                  <a:pt x="126683" y="104775"/>
                </a:cubicBezTo>
                <a:lnTo>
                  <a:pt x="0" y="104775"/>
                </a:lnTo>
                <a:lnTo>
                  <a:pt x="0" y="0"/>
                </a:lnTo>
                <a:lnTo>
                  <a:pt x="178118" y="0"/>
                </a:lnTo>
                <a:cubicBezTo>
                  <a:pt x="255270" y="0"/>
                  <a:pt x="297180" y="33338"/>
                  <a:pt x="297180" y="10477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6" name="Forme libre : forme 85">
            <a:extLst>
              <a:ext uri="{FF2B5EF4-FFF2-40B4-BE49-F238E27FC236}">
                <a16:creationId xmlns:a16="http://schemas.microsoft.com/office/drawing/2014/main" id="{9918622A-7E96-4EC8-A35B-CBCD19A79AE2}"/>
              </a:ext>
            </a:extLst>
          </p:cNvPr>
          <p:cNvSpPr/>
          <p:nvPr/>
        </p:nvSpPr>
        <p:spPr>
          <a:xfrm rot="8716295">
            <a:off x="145947" y="1503445"/>
            <a:ext cx="259728" cy="250615"/>
          </a:xfrm>
          <a:custGeom>
            <a:avLst/>
            <a:gdLst>
              <a:gd name="connsiteX0" fmla="*/ 544830 w 542925"/>
              <a:gd name="connsiteY0" fmla="*/ 184905 h 523875"/>
              <a:gd name="connsiteX1" fmla="*/ 544830 w 542925"/>
              <a:gd name="connsiteY1" fmla="*/ 197288 h 523875"/>
              <a:gd name="connsiteX2" fmla="*/ 415290 w 542925"/>
              <a:gd name="connsiteY2" fmla="*/ 204908 h 523875"/>
              <a:gd name="connsiteX3" fmla="*/ 415290 w 542925"/>
              <a:gd name="connsiteY3" fmla="*/ 170618 h 523875"/>
              <a:gd name="connsiteX4" fmla="*/ 344805 w 542925"/>
              <a:gd name="connsiteY4" fmla="*/ 83940 h 523875"/>
              <a:gd name="connsiteX5" fmla="*/ 233363 w 542925"/>
              <a:gd name="connsiteY5" fmla="*/ 266820 h 523875"/>
              <a:gd name="connsiteX6" fmla="*/ 233363 w 542925"/>
              <a:gd name="connsiteY6" fmla="*/ 446843 h 523875"/>
              <a:gd name="connsiteX7" fmla="*/ 107632 w 542925"/>
              <a:gd name="connsiteY7" fmla="*/ 532568 h 523875"/>
              <a:gd name="connsiteX8" fmla="*/ 107632 w 542925"/>
              <a:gd name="connsiteY8" fmla="*/ 95370 h 523875"/>
              <a:gd name="connsiteX9" fmla="*/ 0 w 542925"/>
              <a:gd name="connsiteY9" fmla="*/ 95370 h 523875"/>
              <a:gd name="connsiteX10" fmla="*/ 0 w 542925"/>
              <a:gd name="connsiteY10" fmla="*/ 2978 h 523875"/>
              <a:gd name="connsiteX11" fmla="*/ 219075 w 542925"/>
              <a:gd name="connsiteY11" fmla="*/ 2978 h 523875"/>
              <a:gd name="connsiteX12" fmla="*/ 219075 w 542925"/>
              <a:gd name="connsiteY12" fmla="*/ 157283 h 523875"/>
              <a:gd name="connsiteX13" fmla="*/ 221932 w 542925"/>
              <a:gd name="connsiteY13" fmla="*/ 157283 h 523875"/>
              <a:gd name="connsiteX14" fmla="*/ 321945 w 542925"/>
              <a:gd name="connsiteY14" fmla="*/ 12503 h 523875"/>
              <a:gd name="connsiteX15" fmla="*/ 387667 w 542925"/>
              <a:gd name="connsiteY15" fmla="*/ 120 h 523875"/>
              <a:gd name="connsiteX16" fmla="*/ 544830 w 542925"/>
              <a:gd name="connsiteY16" fmla="*/ 18490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42925" h="523875">
                <a:moveTo>
                  <a:pt x="544830" y="184905"/>
                </a:moveTo>
                <a:lnTo>
                  <a:pt x="544830" y="197288"/>
                </a:lnTo>
                <a:lnTo>
                  <a:pt x="415290" y="204908"/>
                </a:lnTo>
                <a:lnTo>
                  <a:pt x="415290" y="170618"/>
                </a:lnTo>
                <a:cubicBezTo>
                  <a:pt x="415290" y="119183"/>
                  <a:pt x="385763" y="83940"/>
                  <a:pt x="344805" y="83940"/>
                </a:cubicBezTo>
                <a:cubicBezTo>
                  <a:pt x="283845" y="83940"/>
                  <a:pt x="233363" y="164903"/>
                  <a:pt x="233363" y="266820"/>
                </a:cubicBezTo>
                <a:lnTo>
                  <a:pt x="233363" y="446843"/>
                </a:lnTo>
                <a:lnTo>
                  <a:pt x="107632" y="532568"/>
                </a:lnTo>
                <a:lnTo>
                  <a:pt x="107632" y="95370"/>
                </a:lnTo>
                <a:lnTo>
                  <a:pt x="0" y="95370"/>
                </a:lnTo>
                <a:lnTo>
                  <a:pt x="0" y="2978"/>
                </a:lnTo>
                <a:lnTo>
                  <a:pt x="219075" y="2978"/>
                </a:lnTo>
                <a:lnTo>
                  <a:pt x="219075" y="157283"/>
                </a:lnTo>
                <a:lnTo>
                  <a:pt x="221932" y="157283"/>
                </a:lnTo>
                <a:cubicBezTo>
                  <a:pt x="252413" y="66795"/>
                  <a:pt x="276225" y="31553"/>
                  <a:pt x="321945" y="12503"/>
                </a:cubicBezTo>
                <a:cubicBezTo>
                  <a:pt x="342900" y="3930"/>
                  <a:pt x="364807" y="-832"/>
                  <a:pt x="387667" y="120"/>
                </a:cubicBezTo>
                <a:cubicBezTo>
                  <a:pt x="485775" y="-1785"/>
                  <a:pt x="544830" y="66795"/>
                  <a:pt x="544830" y="18490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7" name="Forme libre : forme 86">
            <a:extLst>
              <a:ext uri="{FF2B5EF4-FFF2-40B4-BE49-F238E27FC236}">
                <a16:creationId xmlns:a16="http://schemas.microsoft.com/office/drawing/2014/main" id="{0ECD9757-2AFD-4623-9C3D-24E52F11F047}"/>
              </a:ext>
            </a:extLst>
          </p:cNvPr>
          <p:cNvSpPr/>
          <p:nvPr/>
        </p:nvSpPr>
        <p:spPr>
          <a:xfrm rot="8716295">
            <a:off x="-21870" y="1443501"/>
            <a:ext cx="68614" cy="55323"/>
          </a:xfrm>
          <a:custGeom>
            <a:avLst/>
            <a:gdLst>
              <a:gd name="connsiteX0" fmla="*/ 0 w 68614"/>
              <a:gd name="connsiteY0" fmla="*/ 55323 h 55323"/>
              <a:gd name="connsiteX1" fmla="*/ 0 w 68614"/>
              <a:gd name="connsiteY1" fmla="*/ 0 h 55323"/>
              <a:gd name="connsiteX2" fmla="*/ 68614 w 68614"/>
              <a:gd name="connsiteY2" fmla="*/ 0 h 55323"/>
              <a:gd name="connsiteX3" fmla="*/ 30266 w 68614"/>
              <a:gd name="connsiteY3" fmla="*/ 55323 h 553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614" h="55323">
                <a:moveTo>
                  <a:pt x="0" y="55323"/>
                </a:moveTo>
                <a:lnTo>
                  <a:pt x="0" y="0"/>
                </a:lnTo>
                <a:lnTo>
                  <a:pt x="68614" y="0"/>
                </a:lnTo>
                <a:lnTo>
                  <a:pt x="30266" y="5532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8" name="Forme libre : forme 87">
            <a:extLst>
              <a:ext uri="{FF2B5EF4-FFF2-40B4-BE49-F238E27FC236}">
                <a16:creationId xmlns:a16="http://schemas.microsoft.com/office/drawing/2014/main" id="{661ED1FA-7FC0-427E-9226-6E31215700D9}"/>
              </a:ext>
            </a:extLst>
          </p:cNvPr>
          <p:cNvSpPr/>
          <p:nvPr/>
        </p:nvSpPr>
        <p:spPr>
          <a:xfrm rot="8716295">
            <a:off x="35817" y="1618109"/>
            <a:ext cx="103435" cy="203897"/>
          </a:xfrm>
          <a:custGeom>
            <a:avLst/>
            <a:gdLst>
              <a:gd name="connsiteX0" fmla="*/ 87556 w 103435"/>
              <a:gd name="connsiteY0" fmla="*/ 203897 h 203897"/>
              <a:gd name="connsiteX1" fmla="*/ 43288 w 103435"/>
              <a:gd name="connsiteY1" fmla="*/ 161305 h 203897"/>
              <a:gd name="connsiteX2" fmla="*/ 43288 w 103435"/>
              <a:gd name="connsiteY2" fmla="*/ 16404 h 203897"/>
              <a:gd name="connsiteX3" fmla="*/ 0 w 103435"/>
              <a:gd name="connsiteY3" fmla="*/ 16404 h 203897"/>
              <a:gd name="connsiteX4" fmla="*/ 0 w 103435"/>
              <a:gd name="connsiteY4" fmla="*/ 2278 h 203897"/>
              <a:gd name="connsiteX5" fmla="*/ 103435 w 103435"/>
              <a:gd name="connsiteY5" fmla="*/ 0 h 203897"/>
              <a:gd name="connsiteX6" fmla="*/ 103435 w 103435"/>
              <a:gd name="connsiteY6" fmla="*/ 180989 h 203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3435" h="203897">
                <a:moveTo>
                  <a:pt x="87556" y="203897"/>
                </a:moveTo>
                <a:lnTo>
                  <a:pt x="43288" y="161305"/>
                </a:lnTo>
                <a:lnTo>
                  <a:pt x="43288" y="16404"/>
                </a:lnTo>
                <a:lnTo>
                  <a:pt x="0" y="16404"/>
                </a:lnTo>
                <a:lnTo>
                  <a:pt x="0" y="2278"/>
                </a:lnTo>
                <a:cubicBezTo>
                  <a:pt x="32808" y="3645"/>
                  <a:pt x="66982" y="911"/>
                  <a:pt x="103435" y="0"/>
                </a:cubicBezTo>
                <a:lnTo>
                  <a:pt x="103435" y="180989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9" name="Forme libre : forme 88">
            <a:extLst>
              <a:ext uri="{FF2B5EF4-FFF2-40B4-BE49-F238E27FC236}">
                <a16:creationId xmlns:a16="http://schemas.microsoft.com/office/drawing/2014/main" id="{A1295F39-BDBB-432C-B32B-C5B551977FC2}"/>
              </a:ext>
            </a:extLst>
          </p:cNvPr>
          <p:cNvSpPr/>
          <p:nvPr/>
        </p:nvSpPr>
        <p:spPr>
          <a:xfrm rot="7484129">
            <a:off x="139430" y="1795050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0" name="Forme libre : forme 89">
            <a:extLst>
              <a:ext uri="{FF2B5EF4-FFF2-40B4-BE49-F238E27FC236}">
                <a16:creationId xmlns:a16="http://schemas.microsoft.com/office/drawing/2014/main" id="{F2E91B5E-C359-4716-9781-DAEDAFFE884C}"/>
              </a:ext>
            </a:extLst>
          </p:cNvPr>
          <p:cNvSpPr/>
          <p:nvPr/>
        </p:nvSpPr>
        <p:spPr>
          <a:xfrm rot="13089394">
            <a:off x="244250" y="1761584"/>
            <a:ext cx="270377" cy="325556"/>
          </a:xfrm>
          <a:custGeom>
            <a:avLst/>
            <a:gdLst>
              <a:gd name="connsiteX0" fmla="*/ 470535 w 466725"/>
              <a:gd name="connsiteY0" fmla="*/ 436245 h 561975"/>
              <a:gd name="connsiteX1" fmla="*/ 470535 w 466725"/>
              <a:gd name="connsiteY1" fmla="*/ 445770 h 561975"/>
              <a:gd name="connsiteX2" fmla="*/ 158115 w 466725"/>
              <a:gd name="connsiteY2" fmla="*/ 567690 h 561975"/>
              <a:gd name="connsiteX3" fmla="*/ 40957 w 466725"/>
              <a:gd name="connsiteY3" fmla="*/ 520065 h 561975"/>
              <a:gd name="connsiteX4" fmla="*/ 0 w 466725"/>
              <a:gd name="connsiteY4" fmla="*/ 356235 h 561975"/>
              <a:gd name="connsiteX5" fmla="*/ 0 w 466725"/>
              <a:gd name="connsiteY5" fmla="*/ 65723 h 561975"/>
              <a:gd name="connsiteX6" fmla="*/ 126682 w 466725"/>
              <a:gd name="connsiteY6" fmla="*/ 0 h 561975"/>
              <a:gd name="connsiteX7" fmla="*/ 128588 w 466725"/>
              <a:gd name="connsiteY7" fmla="*/ 265748 h 561975"/>
              <a:gd name="connsiteX8" fmla="*/ 151447 w 466725"/>
              <a:gd name="connsiteY8" fmla="*/ 423863 h 561975"/>
              <a:gd name="connsiteX9" fmla="*/ 265747 w 466725"/>
              <a:gd name="connsiteY9" fmla="*/ 486728 h 561975"/>
              <a:gd name="connsiteX10" fmla="*/ 351472 w 466725"/>
              <a:gd name="connsiteY10" fmla="*/ 471488 h 561975"/>
              <a:gd name="connsiteX11" fmla="*/ 468630 w 466725"/>
              <a:gd name="connsiteY11" fmla="*/ 423863 h 561975"/>
              <a:gd name="connsiteX12" fmla="*/ 470535 w 466725"/>
              <a:gd name="connsiteY12" fmla="*/ 436245 h 56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6725" h="561975">
                <a:moveTo>
                  <a:pt x="470535" y="436245"/>
                </a:moveTo>
                <a:lnTo>
                  <a:pt x="470535" y="445770"/>
                </a:lnTo>
                <a:cubicBezTo>
                  <a:pt x="369570" y="532448"/>
                  <a:pt x="237172" y="562928"/>
                  <a:pt x="158115" y="567690"/>
                </a:cubicBezTo>
                <a:cubicBezTo>
                  <a:pt x="114300" y="570548"/>
                  <a:pt x="71438" y="551498"/>
                  <a:pt x="40957" y="520065"/>
                </a:cubicBezTo>
                <a:cubicBezTo>
                  <a:pt x="8572" y="488633"/>
                  <a:pt x="0" y="434340"/>
                  <a:pt x="0" y="356235"/>
                </a:cubicBezTo>
                <a:lnTo>
                  <a:pt x="0" y="65723"/>
                </a:lnTo>
                <a:lnTo>
                  <a:pt x="126682" y="0"/>
                </a:lnTo>
                <a:lnTo>
                  <a:pt x="128588" y="265748"/>
                </a:lnTo>
                <a:cubicBezTo>
                  <a:pt x="125730" y="319088"/>
                  <a:pt x="134302" y="373380"/>
                  <a:pt x="151447" y="423863"/>
                </a:cubicBezTo>
                <a:cubicBezTo>
                  <a:pt x="166688" y="465773"/>
                  <a:pt x="205740" y="486728"/>
                  <a:pt x="265747" y="486728"/>
                </a:cubicBezTo>
                <a:cubicBezTo>
                  <a:pt x="295275" y="485775"/>
                  <a:pt x="323850" y="480060"/>
                  <a:pt x="351472" y="471488"/>
                </a:cubicBezTo>
                <a:cubicBezTo>
                  <a:pt x="391477" y="459105"/>
                  <a:pt x="430530" y="442913"/>
                  <a:pt x="468630" y="423863"/>
                </a:cubicBezTo>
                <a:cubicBezTo>
                  <a:pt x="469582" y="427673"/>
                  <a:pt x="470535" y="432435"/>
                  <a:pt x="470535" y="43624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1" name="Forme libre : forme 90">
            <a:extLst>
              <a:ext uri="{FF2B5EF4-FFF2-40B4-BE49-F238E27FC236}">
                <a16:creationId xmlns:a16="http://schemas.microsoft.com/office/drawing/2014/main" id="{4C9CCC26-5417-41E7-B753-3B7D59038FBD}"/>
              </a:ext>
            </a:extLst>
          </p:cNvPr>
          <p:cNvSpPr/>
          <p:nvPr/>
        </p:nvSpPr>
        <p:spPr>
          <a:xfrm rot="8716295">
            <a:off x="429835" y="1569903"/>
            <a:ext cx="220345" cy="161228"/>
          </a:xfrm>
          <a:custGeom>
            <a:avLst/>
            <a:gdLst>
              <a:gd name="connsiteX0" fmla="*/ 343853 w 390525"/>
              <a:gd name="connsiteY0" fmla="*/ 144780 h 285750"/>
              <a:gd name="connsiteX1" fmla="*/ 344805 w 390525"/>
              <a:gd name="connsiteY1" fmla="*/ 144780 h 285750"/>
              <a:gd name="connsiteX2" fmla="*/ 12382 w 390525"/>
              <a:gd name="connsiteY2" fmla="*/ 288608 h 285750"/>
              <a:gd name="connsiteX3" fmla="*/ 0 w 390525"/>
              <a:gd name="connsiteY3" fmla="*/ 271463 h 285750"/>
              <a:gd name="connsiteX4" fmla="*/ 225743 w 390525"/>
              <a:gd name="connsiteY4" fmla="*/ 59055 h 285750"/>
              <a:gd name="connsiteX5" fmla="*/ 340043 w 390525"/>
              <a:gd name="connsiteY5" fmla="*/ 0 h 285750"/>
              <a:gd name="connsiteX6" fmla="*/ 399098 w 390525"/>
              <a:gd name="connsiteY6" fmla="*/ 70485 h 285750"/>
              <a:gd name="connsiteX7" fmla="*/ 343853 w 390525"/>
              <a:gd name="connsiteY7" fmla="*/ 14478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0525" h="285750">
                <a:moveTo>
                  <a:pt x="343853" y="144780"/>
                </a:moveTo>
                <a:lnTo>
                  <a:pt x="344805" y="144780"/>
                </a:lnTo>
                <a:lnTo>
                  <a:pt x="12382" y="288608"/>
                </a:lnTo>
                <a:lnTo>
                  <a:pt x="0" y="271463"/>
                </a:lnTo>
                <a:lnTo>
                  <a:pt x="225743" y="59055"/>
                </a:lnTo>
                <a:cubicBezTo>
                  <a:pt x="254318" y="25718"/>
                  <a:pt x="295275" y="4763"/>
                  <a:pt x="340043" y="0"/>
                </a:cubicBezTo>
                <a:cubicBezTo>
                  <a:pt x="385763" y="0"/>
                  <a:pt x="399098" y="40005"/>
                  <a:pt x="399098" y="70485"/>
                </a:cubicBezTo>
                <a:cubicBezTo>
                  <a:pt x="396240" y="103823"/>
                  <a:pt x="374332" y="131445"/>
                  <a:pt x="343853" y="14478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2" name="Forme libre : forme 91">
            <a:extLst>
              <a:ext uri="{FF2B5EF4-FFF2-40B4-BE49-F238E27FC236}">
                <a16:creationId xmlns:a16="http://schemas.microsoft.com/office/drawing/2014/main" id="{D6712892-AD9E-4694-AEF5-3D17C5AEEE1D}"/>
              </a:ext>
            </a:extLst>
          </p:cNvPr>
          <p:cNvSpPr/>
          <p:nvPr/>
        </p:nvSpPr>
        <p:spPr>
          <a:xfrm rot="8716295">
            <a:off x="378030" y="1466310"/>
            <a:ext cx="110380" cy="1103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3" name="Forme libre : forme 92">
            <a:extLst>
              <a:ext uri="{FF2B5EF4-FFF2-40B4-BE49-F238E27FC236}">
                <a16:creationId xmlns:a16="http://schemas.microsoft.com/office/drawing/2014/main" id="{8DA7EFED-D0A6-45D4-A875-2F1DCEFC57C8}"/>
              </a:ext>
            </a:extLst>
          </p:cNvPr>
          <p:cNvSpPr/>
          <p:nvPr/>
        </p:nvSpPr>
        <p:spPr>
          <a:xfrm rot="8716295">
            <a:off x="134784" y="1496531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4" name="Forme libre : forme 93">
            <a:extLst>
              <a:ext uri="{FF2B5EF4-FFF2-40B4-BE49-F238E27FC236}">
                <a16:creationId xmlns:a16="http://schemas.microsoft.com/office/drawing/2014/main" id="{32971A81-1820-4964-A66E-2FD721A16F56}"/>
              </a:ext>
            </a:extLst>
          </p:cNvPr>
          <p:cNvSpPr/>
          <p:nvPr/>
        </p:nvSpPr>
        <p:spPr>
          <a:xfrm rot="8716295">
            <a:off x="312236" y="1337289"/>
            <a:ext cx="110380" cy="1103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5" name="Forme libre : forme 94">
            <a:extLst>
              <a:ext uri="{FF2B5EF4-FFF2-40B4-BE49-F238E27FC236}">
                <a16:creationId xmlns:a16="http://schemas.microsoft.com/office/drawing/2014/main" id="{BC42F9C8-99E7-4F04-B258-C142D2DE142F}"/>
              </a:ext>
            </a:extLst>
          </p:cNvPr>
          <p:cNvSpPr/>
          <p:nvPr/>
        </p:nvSpPr>
        <p:spPr>
          <a:xfrm rot="8716295">
            <a:off x="-17798" y="949199"/>
            <a:ext cx="39526" cy="50123"/>
          </a:xfrm>
          <a:custGeom>
            <a:avLst/>
            <a:gdLst>
              <a:gd name="connsiteX0" fmla="*/ 0 w 39526"/>
              <a:gd name="connsiteY0" fmla="*/ 50123 h 50123"/>
              <a:gd name="connsiteX1" fmla="*/ 0 w 39526"/>
              <a:gd name="connsiteY1" fmla="*/ 0 h 50123"/>
              <a:gd name="connsiteX2" fmla="*/ 39526 w 39526"/>
              <a:gd name="connsiteY2" fmla="*/ 0 h 50123"/>
              <a:gd name="connsiteX3" fmla="*/ 4782 w 39526"/>
              <a:gd name="connsiteY3" fmla="*/ 50123 h 50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526" h="50123">
                <a:moveTo>
                  <a:pt x="0" y="50123"/>
                </a:moveTo>
                <a:lnTo>
                  <a:pt x="0" y="0"/>
                </a:lnTo>
                <a:lnTo>
                  <a:pt x="39526" y="0"/>
                </a:lnTo>
                <a:lnTo>
                  <a:pt x="4782" y="5012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6" name="Forme libre : forme 95">
            <a:extLst>
              <a:ext uri="{FF2B5EF4-FFF2-40B4-BE49-F238E27FC236}">
                <a16:creationId xmlns:a16="http://schemas.microsoft.com/office/drawing/2014/main" id="{D29A62DB-0DC5-407D-A1DF-C8A39BAC784A}"/>
              </a:ext>
            </a:extLst>
          </p:cNvPr>
          <p:cNvSpPr/>
          <p:nvPr/>
        </p:nvSpPr>
        <p:spPr>
          <a:xfrm rot="8716295">
            <a:off x="-64996" y="834728"/>
            <a:ext cx="249650" cy="254774"/>
          </a:xfrm>
          <a:custGeom>
            <a:avLst/>
            <a:gdLst>
              <a:gd name="connsiteX0" fmla="*/ 51490 w 249650"/>
              <a:gd name="connsiteY0" fmla="*/ 254774 h 254774"/>
              <a:gd name="connsiteX1" fmla="*/ 51490 w 249650"/>
              <a:gd name="connsiteY1" fmla="*/ 45624 h 254774"/>
              <a:gd name="connsiteX2" fmla="*/ 0 w 249650"/>
              <a:gd name="connsiteY2" fmla="*/ 45624 h 254774"/>
              <a:gd name="connsiteX3" fmla="*/ 0 w 249650"/>
              <a:gd name="connsiteY3" fmla="*/ 1425 h 254774"/>
              <a:gd name="connsiteX4" fmla="*/ 104803 w 249650"/>
              <a:gd name="connsiteY4" fmla="*/ 1425 h 254774"/>
              <a:gd name="connsiteX5" fmla="*/ 104803 w 249650"/>
              <a:gd name="connsiteY5" fmla="*/ 75242 h 254774"/>
              <a:gd name="connsiteX6" fmla="*/ 106169 w 249650"/>
              <a:gd name="connsiteY6" fmla="*/ 75242 h 254774"/>
              <a:gd name="connsiteX7" fmla="*/ 154014 w 249650"/>
              <a:gd name="connsiteY7" fmla="*/ 5981 h 254774"/>
              <a:gd name="connsiteX8" fmla="*/ 185455 w 249650"/>
              <a:gd name="connsiteY8" fmla="*/ 57 h 254774"/>
              <a:gd name="connsiteX9" fmla="*/ 240647 w 249650"/>
              <a:gd name="connsiteY9" fmla="*/ 22727 h 254774"/>
              <a:gd name="connsiteX10" fmla="*/ 249650 w 249650"/>
              <a:gd name="connsiteY10" fmla="*/ 52327 h 254774"/>
              <a:gd name="connsiteX11" fmla="*/ 218795 w 249650"/>
              <a:gd name="connsiteY11" fmla="*/ 96841 h 254774"/>
              <a:gd name="connsiteX12" fmla="*/ 198669 w 249650"/>
              <a:gd name="connsiteY12" fmla="*/ 98025 h 254774"/>
              <a:gd name="connsiteX13" fmla="*/ 198669 w 249650"/>
              <a:gd name="connsiteY13" fmla="*/ 81621 h 254774"/>
              <a:gd name="connsiteX14" fmla="*/ 164950 w 249650"/>
              <a:gd name="connsiteY14" fmla="*/ 40156 h 254774"/>
              <a:gd name="connsiteX15" fmla="*/ 111638 w 249650"/>
              <a:gd name="connsiteY15" fmla="*/ 127643 h 254774"/>
              <a:gd name="connsiteX16" fmla="*/ 111638 w 249650"/>
              <a:gd name="connsiteY16" fmla="*/ 213764 h 254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49650" h="254774">
                <a:moveTo>
                  <a:pt x="51490" y="254774"/>
                </a:moveTo>
                <a:lnTo>
                  <a:pt x="51490" y="45624"/>
                </a:lnTo>
                <a:lnTo>
                  <a:pt x="0" y="45624"/>
                </a:lnTo>
                <a:lnTo>
                  <a:pt x="0" y="1425"/>
                </a:lnTo>
                <a:lnTo>
                  <a:pt x="104803" y="1425"/>
                </a:lnTo>
                <a:lnTo>
                  <a:pt x="104803" y="75242"/>
                </a:lnTo>
                <a:lnTo>
                  <a:pt x="106169" y="75242"/>
                </a:lnTo>
                <a:cubicBezTo>
                  <a:pt x="120751" y="31954"/>
                  <a:pt x="132142" y="15094"/>
                  <a:pt x="154014" y="5981"/>
                </a:cubicBezTo>
                <a:cubicBezTo>
                  <a:pt x="164039" y="1880"/>
                  <a:pt x="174519" y="-398"/>
                  <a:pt x="185455" y="57"/>
                </a:cubicBezTo>
                <a:cubicBezTo>
                  <a:pt x="208922" y="-398"/>
                  <a:pt x="227718" y="7576"/>
                  <a:pt x="240647" y="22727"/>
                </a:cubicBezTo>
                <a:lnTo>
                  <a:pt x="249650" y="52327"/>
                </a:lnTo>
                <a:lnTo>
                  <a:pt x="218795" y="96841"/>
                </a:lnTo>
                <a:lnTo>
                  <a:pt x="198669" y="98025"/>
                </a:lnTo>
                <a:lnTo>
                  <a:pt x="198669" y="81621"/>
                </a:lnTo>
                <a:cubicBezTo>
                  <a:pt x="198669" y="57016"/>
                  <a:pt x="184544" y="40156"/>
                  <a:pt x="164950" y="40156"/>
                </a:cubicBezTo>
                <a:cubicBezTo>
                  <a:pt x="135788" y="40156"/>
                  <a:pt x="111638" y="78887"/>
                  <a:pt x="111638" y="127643"/>
                </a:cubicBezTo>
                <a:lnTo>
                  <a:pt x="111638" y="213764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7" name="Forme libre : forme 96">
            <a:extLst>
              <a:ext uri="{FF2B5EF4-FFF2-40B4-BE49-F238E27FC236}">
                <a16:creationId xmlns:a16="http://schemas.microsoft.com/office/drawing/2014/main" id="{4160A2B5-61C4-44D3-8FA4-49A1FCD41A0C}"/>
              </a:ext>
            </a:extLst>
          </p:cNvPr>
          <p:cNvSpPr/>
          <p:nvPr/>
        </p:nvSpPr>
        <p:spPr>
          <a:xfrm rot="7484129">
            <a:off x="-63314" y="1172497"/>
            <a:ext cx="203848" cy="146395"/>
          </a:xfrm>
          <a:custGeom>
            <a:avLst/>
            <a:gdLst>
              <a:gd name="connsiteX0" fmla="*/ 0 w 203848"/>
              <a:gd name="connsiteY0" fmla="*/ 55323 h 146395"/>
              <a:gd name="connsiteX1" fmla="*/ 0 w 203848"/>
              <a:gd name="connsiteY1" fmla="*/ 0 h 146395"/>
              <a:gd name="connsiteX2" fmla="*/ 203848 w 203848"/>
              <a:gd name="connsiteY2" fmla="*/ 0 h 146395"/>
              <a:gd name="connsiteX3" fmla="*/ 203847 w 203848"/>
              <a:gd name="connsiteY3" fmla="*/ 49512 h 146395"/>
              <a:gd name="connsiteX4" fmla="*/ 195466 w 203848"/>
              <a:gd name="connsiteY4" fmla="*/ 55323 h 146395"/>
              <a:gd name="connsiteX5" fmla="*/ 139055 w 203848"/>
              <a:gd name="connsiteY5" fmla="*/ 55323 h 146395"/>
              <a:gd name="connsiteX6" fmla="*/ 121388 w 203848"/>
              <a:gd name="connsiteY6" fmla="*/ 106685 h 146395"/>
              <a:gd name="connsiteX7" fmla="*/ 64115 w 203848"/>
              <a:gd name="connsiteY7" fmla="*/ 146395 h 146395"/>
              <a:gd name="connsiteX8" fmla="*/ 47847 w 203848"/>
              <a:gd name="connsiteY8" fmla="*/ 116129 h 146395"/>
              <a:gd name="connsiteX9" fmla="*/ 69777 w 203848"/>
              <a:gd name="connsiteY9" fmla="*/ 55323 h 146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3848" h="146395">
                <a:moveTo>
                  <a:pt x="0" y="55323"/>
                </a:moveTo>
                <a:lnTo>
                  <a:pt x="0" y="0"/>
                </a:lnTo>
                <a:lnTo>
                  <a:pt x="203848" y="0"/>
                </a:lnTo>
                <a:lnTo>
                  <a:pt x="203847" y="49512"/>
                </a:lnTo>
                <a:lnTo>
                  <a:pt x="195466" y="55323"/>
                </a:lnTo>
                <a:lnTo>
                  <a:pt x="139055" y="55323"/>
                </a:lnTo>
                <a:lnTo>
                  <a:pt x="121388" y="106685"/>
                </a:lnTo>
                <a:lnTo>
                  <a:pt x="64115" y="146395"/>
                </a:lnTo>
                <a:lnTo>
                  <a:pt x="47847" y="116129"/>
                </a:lnTo>
                <a:lnTo>
                  <a:pt x="69777" y="5532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8" name="Forme libre : forme 97">
            <a:extLst>
              <a:ext uri="{FF2B5EF4-FFF2-40B4-BE49-F238E27FC236}">
                <a16:creationId xmlns:a16="http://schemas.microsoft.com/office/drawing/2014/main" id="{0F651F8F-312F-4D1A-9E4B-A79B81999918}"/>
              </a:ext>
            </a:extLst>
          </p:cNvPr>
          <p:cNvSpPr/>
          <p:nvPr/>
        </p:nvSpPr>
        <p:spPr>
          <a:xfrm rot="13089394">
            <a:off x="25311" y="1099526"/>
            <a:ext cx="270377" cy="325556"/>
          </a:xfrm>
          <a:custGeom>
            <a:avLst/>
            <a:gdLst>
              <a:gd name="connsiteX0" fmla="*/ 470535 w 466725"/>
              <a:gd name="connsiteY0" fmla="*/ 436245 h 561975"/>
              <a:gd name="connsiteX1" fmla="*/ 470535 w 466725"/>
              <a:gd name="connsiteY1" fmla="*/ 445770 h 561975"/>
              <a:gd name="connsiteX2" fmla="*/ 158115 w 466725"/>
              <a:gd name="connsiteY2" fmla="*/ 567690 h 561975"/>
              <a:gd name="connsiteX3" fmla="*/ 40957 w 466725"/>
              <a:gd name="connsiteY3" fmla="*/ 520065 h 561975"/>
              <a:gd name="connsiteX4" fmla="*/ 0 w 466725"/>
              <a:gd name="connsiteY4" fmla="*/ 356235 h 561975"/>
              <a:gd name="connsiteX5" fmla="*/ 0 w 466725"/>
              <a:gd name="connsiteY5" fmla="*/ 65723 h 561975"/>
              <a:gd name="connsiteX6" fmla="*/ 126682 w 466725"/>
              <a:gd name="connsiteY6" fmla="*/ 0 h 561975"/>
              <a:gd name="connsiteX7" fmla="*/ 128588 w 466725"/>
              <a:gd name="connsiteY7" fmla="*/ 265748 h 561975"/>
              <a:gd name="connsiteX8" fmla="*/ 151447 w 466725"/>
              <a:gd name="connsiteY8" fmla="*/ 423863 h 561975"/>
              <a:gd name="connsiteX9" fmla="*/ 265747 w 466725"/>
              <a:gd name="connsiteY9" fmla="*/ 486728 h 561975"/>
              <a:gd name="connsiteX10" fmla="*/ 351472 w 466725"/>
              <a:gd name="connsiteY10" fmla="*/ 471488 h 561975"/>
              <a:gd name="connsiteX11" fmla="*/ 468630 w 466725"/>
              <a:gd name="connsiteY11" fmla="*/ 423863 h 561975"/>
              <a:gd name="connsiteX12" fmla="*/ 470535 w 466725"/>
              <a:gd name="connsiteY12" fmla="*/ 436245 h 56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6725" h="561975">
                <a:moveTo>
                  <a:pt x="470535" y="436245"/>
                </a:moveTo>
                <a:lnTo>
                  <a:pt x="470535" y="445770"/>
                </a:lnTo>
                <a:cubicBezTo>
                  <a:pt x="369570" y="532448"/>
                  <a:pt x="237172" y="562928"/>
                  <a:pt x="158115" y="567690"/>
                </a:cubicBezTo>
                <a:cubicBezTo>
                  <a:pt x="114300" y="570548"/>
                  <a:pt x="71438" y="551498"/>
                  <a:pt x="40957" y="520065"/>
                </a:cubicBezTo>
                <a:cubicBezTo>
                  <a:pt x="8572" y="488633"/>
                  <a:pt x="0" y="434340"/>
                  <a:pt x="0" y="356235"/>
                </a:cubicBezTo>
                <a:lnTo>
                  <a:pt x="0" y="65723"/>
                </a:lnTo>
                <a:lnTo>
                  <a:pt x="126682" y="0"/>
                </a:lnTo>
                <a:lnTo>
                  <a:pt x="128588" y="265748"/>
                </a:lnTo>
                <a:cubicBezTo>
                  <a:pt x="125730" y="319088"/>
                  <a:pt x="134302" y="373380"/>
                  <a:pt x="151447" y="423863"/>
                </a:cubicBezTo>
                <a:cubicBezTo>
                  <a:pt x="166688" y="465773"/>
                  <a:pt x="205740" y="486728"/>
                  <a:pt x="265747" y="486728"/>
                </a:cubicBezTo>
                <a:cubicBezTo>
                  <a:pt x="295275" y="485775"/>
                  <a:pt x="323850" y="480060"/>
                  <a:pt x="351472" y="471488"/>
                </a:cubicBezTo>
                <a:cubicBezTo>
                  <a:pt x="391477" y="459105"/>
                  <a:pt x="430530" y="442913"/>
                  <a:pt x="468630" y="423863"/>
                </a:cubicBezTo>
                <a:cubicBezTo>
                  <a:pt x="469582" y="427673"/>
                  <a:pt x="470535" y="432435"/>
                  <a:pt x="470535" y="43624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9" name="Forme libre : forme 98">
            <a:extLst>
              <a:ext uri="{FF2B5EF4-FFF2-40B4-BE49-F238E27FC236}">
                <a16:creationId xmlns:a16="http://schemas.microsoft.com/office/drawing/2014/main" id="{12E33E54-ECAF-462B-B069-F233780DF121}"/>
              </a:ext>
            </a:extLst>
          </p:cNvPr>
          <p:cNvSpPr/>
          <p:nvPr/>
        </p:nvSpPr>
        <p:spPr>
          <a:xfrm rot="8716295">
            <a:off x="210896" y="907845"/>
            <a:ext cx="220345" cy="161228"/>
          </a:xfrm>
          <a:custGeom>
            <a:avLst/>
            <a:gdLst>
              <a:gd name="connsiteX0" fmla="*/ 343853 w 390525"/>
              <a:gd name="connsiteY0" fmla="*/ 144780 h 285750"/>
              <a:gd name="connsiteX1" fmla="*/ 344805 w 390525"/>
              <a:gd name="connsiteY1" fmla="*/ 144780 h 285750"/>
              <a:gd name="connsiteX2" fmla="*/ 12382 w 390525"/>
              <a:gd name="connsiteY2" fmla="*/ 288608 h 285750"/>
              <a:gd name="connsiteX3" fmla="*/ 0 w 390525"/>
              <a:gd name="connsiteY3" fmla="*/ 271463 h 285750"/>
              <a:gd name="connsiteX4" fmla="*/ 225743 w 390525"/>
              <a:gd name="connsiteY4" fmla="*/ 59055 h 285750"/>
              <a:gd name="connsiteX5" fmla="*/ 340043 w 390525"/>
              <a:gd name="connsiteY5" fmla="*/ 0 h 285750"/>
              <a:gd name="connsiteX6" fmla="*/ 399098 w 390525"/>
              <a:gd name="connsiteY6" fmla="*/ 70485 h 285750"/>
              <a:gd name="connsiteX7" fmla="*/ 343853 w 390525"/>
              <a:gd name="connsiteY7" fmla="*/ 14478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0525" h="285750">
                <a:moveTo>
                  <a:pt x="343853" y="144780"/>
                </a:moveTo>
                <a:lnTo>
                  <a:pt x="344805" y="144780"/>
                </a:lnTo>
                <a:lnTo>
                  <a:pt x="12382" y="288608"/>
                </a:lnTo>
                <a:lnTo>
                  <a:pt x="0" y="271463"/>
                </a:lnTo>
                <a:lnTo>
                  <a:pt x="225743" y="59055"/>
                </a:lnTo>
                <a:cubicBezTo>
                  <a:pt x="254318" y="25718"/>
                  <a:pt x="295275" y="4763"/>
                  <a:pt x="340043" y="0"/>
                </a:cubicBezTo>
                <a:cubicBezTo>
                  <a:pt x="385763" y="0"/>
                  <a:pt x="399098" y="40005"/>
                  <a:pt x="399098" y="70485"/>
                </a:cubicBezTo>
                <a:cubicBezTo>
                  <a:pt x="396240" y="103823"/>
                  <a:pt x="374332" y="131445"/>
                  <a:pt x="343853" y="14478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0" name="Forme libre : forme 99">
            <a:extLst>
              <a:ext uri="{FF2B5EF4-FFF2-40B4-BE49-F238E27FC236}">
                <a16:creationId xmlns:a16="http://schemas.microsoft.com/office/drawing/2014/main" id="{42ACC1F1-A8E1-420C-B7DE-55FFEE501260}"/>
              </a:ext>
            </a:extLst>
          </p:cNvPr>
          <p:cNvSpPr/>
          <p:nvPr/>
        </p:nvSpPr>
        <p:spPr>
          <a:xfrm rot="8716295">
            <a:off x="159091" y="804252"/>
            <a:ext cx="110380" cy="1103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1" name="Forme libre : forme 100">
            <a:extLst>
              <a:ext uri="{FF2B5EF4-FFF2-40B4-BE49-F238E27FC236}">
                <a16:creationId xmlns:a16="http://schemas.microsoft.com/office/drawing/2014/main" id="{B902C445-D42B-4D0E-8897-FDE236E78375}"/>
              </a:ext>
            </a:extLst>
          </p:cNvPr>
          <p:cNvSpPr/>
          <p:nvPr/>
        </p:nvSpPr>
        <p:spPr>
          <a:xfrm rot="8716295">
            <a:off x="93297" y="675231"/>
            <a:ext cx="110380" cy="1103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2" name="Forme libre : forme 101">
            <a:extLst>
              <a:ext uri="{FF2B5EF4-FFF2-40B4-BE49-F238E27FC236}">
                <a16:creationId xmlns:a16="http://schemas.microsoft.com/office/drawing/2014/main" id="{4EDB9DFE-AA44-492B-9D2C-70F199FD6162}"/>
              </a:ext>
            </a:extLst>
          </p:cNvPr>
          <p:cNvSpPr/>
          <p:nvPr/>
        </p:nvSpPr>
        <p:spPr>
          <a:xfrm rot="8716295">
            <a:off x="-7001" y="316701"/>
            <a:ext cx="14001" cy="20198"/>
          </a:xfrm>
          <a:custGeom>
            <a:avLst/>
            <a:gdLst>
              <a:gd name="connsiteX0" fmla="*/ 0 w 14001"/>
              <a:gd name="connsiteY0" fmla="*/ 20198 h 20198"/>
              <a:gd name="connsiteX1" fmla="*/ 0 w 14001"/>
              <a:gd name="connsiteY1" fmla="*/ 0 h 20198"/>
              <a:gd name="connsiteX2" fmla="*/ 14001 w 14001"/>
              <a:gd name="connsiteY2" fmla="*/ 0 h 20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001" h="20198">
                <a:moveTo>
                  <a:pt x="0" y="20198"/>
                </a:moveTo>
                <a:lnTo>
                  <a:pt x="0" y="0"/>
                </a:lnTo>
                <a:lnTo>
                  <a:pt x="14001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3" name="Forme libre : forme 102">
            <a:extLst>
              <a:ext uri="{FF2B5EF4-FFF2-40B4-BE49-F238E27FC236}">
                <a16:creationId xmlns:a16="http://schemas.microsoft.com/office/drawing/2014/main" id="{9B8E4668-5129-4061-833F-DDB8DC144C55}"/>
              </a:ext>
            </a:extLst>
          </p:cNvPr>
          <p:cNvSpPr/>
          <p:nvPr/>
        </p:nvSpPr>
        <p:spPr>
          <a:xfrm rot="13089394">
            <a:off x="-81658" y="472652"/>
            <a:ext cx="173631" cy="237684"/>
          </a:xfrm>
          <a:custGeom>
            <a:avLst/>
            <a:gdLst>
              <a:gd name="connsiteX0" fmla="*/ 173631 w 173631"/>
              <a:gd name="connsiteY0" fmla="*/ 220990 h 237684"/>
              <a:gd name="connsiteX1" fmla="*/ 130972 w 173631"/>
              <a:gd name="connsiteY1" fmla="*/ 232382 h 237684"/>
              <a:gd name="connsiteX2" fmla="*/ 91597 w 173631"/>
              <a:gd name="connsiteY2" fmla="*/ 237521 h 237684"/>
              <a:gd name="connsiteX3" fmla="*/ 23727 w 173631"/>
              <a:gd name="connsiteY3" fmla="*/ 209931 h 237684"/>
              <a:gd name="connsiteX4" fmla="*/ 0 w 173631"/>
              <a:gd name="connsiteY4" fmla="*/ 115023 h 237684"/>
              <a:gd name="connsiteX5" fmla="*/ 0 w 173631"/>
              <a:gd name="connsiteY5" fmla="*/ 0 h 237684"/>
              <a:gd name="connsiteX6" fmla="*/ 76176 w 173631"/>
              <a:gd name="connsiteY6" fmla="*/ 96953 h 237684"/>
              <a:gd name="connsiteX7" fmla="*/ 76768 w 173631"/>
              <a:gd name="connsiteY7" fmla="*/ 109023 h 237684"/>
              <a:gd name="connsiteX8" fmla="*/ 87734 w 173631"/>
              <a:gd name="connsiteY8" fmla="*/ 154201 h 237684"/>
              <a:gd name="connsiteX9" fmla="*/ 111117 w 173631"/>
              <a:gd name="connsiteY9" fmla="*/ 181514 h 237684"/>
              <a:gd name="connsiteX10" fmla="*/ 148930 w 173631"/>
              <a:gd name="connsiteY10" fmla="*/ 189552 h 237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73631" h="237684">
                <a:moveTo>
                  <a:pt x="173631" y="220990"/>
                </a:moveTo>
                <a:lnTo>
                  <a:pt x="130972" y="232382"/>
                </a:lnTo>
                <a:cubicBezTo>
                  <a:pt x="116428" y="235210"/>
                  <a:pt x="103047" y="236831"/>
                  <a:pt x="91597" y="237521"/>
                </a:cubicBezTo>
                <a:cubicBezTo>
                  <a:pt x="66215" y="239176"/>
                  <a:pt x="41384" y="228141"/>
                  <a:pt x="23727" y="209931"/>
                </a:cubicBezTo>
                <a:cubicBezTo>
                  <a:pt x="4966" y="191722"/>
                  <a:pt x="0" y="160270"/>
                  <a:pt x="0" y="115023"/>
                </a:cubicBezTo>
                <a:lnTo>
                  <a:pt x="0" y="0"/>
                </a:lnTo>
                <a:lnTo>
                  <a:pt x="76176" y="96953"/>
                </a:lnTo>
                <a:lnTo>
                  <a:pt x="76768" y="109023"/>
                </a:lnTo>
                <a:cubicBezTo>
                  <a:pt x="79044" y="124404"/>
                  <a:pt x="82768" y="139578"/>
                  <a:pt x="87734" y="154201"/>
                </a:cubicBezTo>
                <a:cubicBezTo>
                  <a:pt x="92149" y="166340"/>
                  <a:pt x="100012" y="175445"/>
                  <a:pt x="111117" y="181514"/>
                </a:cubicBezTo>
                <a:lnTo>
                  <a:pt x="148930" y="189552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4" name="Forme libre : forme 103">
            <a:extLst>
              <a:ext uri="{FF2B5EF4-FFF2-40B4-BE49-F238E27FC236}">
                <a16:creationId xmlns:a16="http://schemas.microsoft.com/office/drawing/2014/main" id="{99FF5E45-909E-4FF2-B754-B344F6F11F69}"/>
              </a:ext>
            </a:extLst>
          </p:cNvPr>
          <p:cNvSpPr/>
          <p:nvPr/>
        </p:nvSpPr>
        <p:spPr>
          <a:xfrm rot="8716295">
            <a:off x="-11774" y="244430"/>
            <a:ext cx="220345" cy="161228"/>
          </a:xfrm>
          <a:custGeom>
            <a:avLst/>
            <a:gdLst>
              <a:gd name="connsiteX0" fmla="*/ 343853 w 390525"/>
              <a:gd name="connsiteY0" fmla="*/ 144780 h 285750"/>
              <a:gd name="connsiteX1" fmla="*/ 344805 w 390525"/>
              <a:gd name="connsiteY1" fmla="*/ 144780 h 285750"/>
              <a:gd name="connsiteX2" fmla="*/ 12382 w 390525"/>
              <a:gd name="connsiteY2" fmla="*/ 288608 h 285750"/>
              <a:gd name="connsiteX3" fmla="*/ 0 w 390525"/>
              <a:gd name="connsiteY3" fmla="*/ 271463 h 285750"/>
              <a:gd name="connsiteX4" fmla="*/ 225743 w 390525"/>
              <a:gd name="connsiteY4" fmla="*/ 59055 h 285750"/>
              <a:gd name="connsiteX5" fmla="*/ 340043 w 390525"/>
              <a:gd name="connsiteY5" fmla="*/ 0 h 285750"/>
              <a:gd name="connsiteX6" fmla="*/ 399098 w 390525"/>
              <a:gd name="connsiteY6" fmla="*/ 70485 h 285750"/>
              <a:gd name="connsiteX7" fmla="*/ 343853 w 390525"/>
              <a:gd name="connsiteY7" fmla="*/ 14478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0525" h="285750">
                <a:moveTo>
                  <a:pt x="343853" y="144780"/>
                </a:moveTo>
                <a:lnTo>
                  <a:pt x="344805" y="144780"/>
                </a:lnTo>
                <a:lnTo>
                  <a:pt x="12382" y="288608"/>
                </a:lnTo>
                <a:lnTo>
                  <a:pt x="0" y="271463"/>
                </a:lnTo>
                <a:lnTo>
                  <a:pt x="225743" y="59055"/>
                </a:lnTo>
                <a:cubicBezTo>
                  <a:pt x="254318" y="25718"/>
                  <a:pt x="295275" y="4763"/>
                  <a:pt x="340043" y="0"/>
                </a:cubicBezTo>
                <a:cubicBezTo>
                  <a:pt x="385763" y="0"/>
                  <a:pt x="399098" y="40005"/>
                  <a:pt x="399098" y="70485"/>
                </a:cubicBezTo>
                <a:cubicBezTo>
                  <a:pt x="396240" y="103823"/>
                  <a:pt x="374332" y="131445"/>
                  <a:pt x="343853" y="14478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5" name="Forme libre : forme 104">
            <a:extLst>
              <a:ext uri="{FF2B5EF4-FFF2-40B4-BE49-F238E27FC236}">
                <a16:creationId xmlns:a16="http://schemas.microsoft.com/office/drawing/2014/main" id="{EB79107E-889E-47A5-A1AB-E4F4B49C7BFA}"/>
              </a:ext>
            </a:extLst>
          </p:cNvPr>
          <p:cNvSpPr/>
          <p:nvPr/>
        </p:nvSpPr>
        <p:spPr>
          <a:xfrm rot="8716295">
            <a:off x="-30092" y="143486"/>
            <a:ext cx="77721" cy="97260"/>
          </a:xfrm>
          <a:custGeom>
            <a:avLst/>
            <a:gdLst>
              <a:gd name="connsiteX0" fmla="*/ 15821 w 77721"/>
              <a:gd name="connsiteY0" fmla="*/ 97260 h 97260"/>
              <a:gd name="connsiteX1" fmla="*/ 0 w 77721"/>
              <a:gd name="connsiteY1" fmla="*/ 59790 h 97260"/>
              <a:gd name="connsiteX2" fmla="*/ 0 w 77721"/>
              <a:gd name="connsiteY2" fmla="*/ 58869 h 97260"/>
              <a:gd name="connsiteX3" fmla="*/ 17477 w 77721"/>
              <a:gd name="connsiteY3" fmla="*/ 17477 h 97260"/>
              <a:gd name="connsiteX4" fmla="*/ 58869 w 77721"/>
              <a:gd name="connsiteY4" fmla="*/ 0 h 97260"/>
              <a:gd name="connsiteX5" fmla="*/ 77721 w 77721"/>
              <a:gd name="connsiteY5" fmla="*/ 7960 h 97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7721" h="97260">
                <a:moveTo>
                  <a:pt x="15821" y="97260"/>
                </a:moveTo>
                <a:lnTo>
                  <a:pt x="0" y="59790"/>
                </a:lnTo>
                <a:lnTo>
                  <a:pt x="0" y="58869"/>
                </a:lnTo>
                <a:cubicBezTo>
                  <a:pt x="0" y="43233"/>
                  <a:pt x="6439" y="28515"/>
                  <a:pt x="17477" y="17477"/>
                </a:cubicBezTo>
                <a:cubicBezTo>
                  <a:pt x="28515" y="6439"/>
                  <a:pt x="43233" y="0"/>
                  <a:pt x="58869" y="0"/>
                </a:cubicBezTo>
                <a:lnTo>
                  <a:pt x="77721" y="796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6" name="Forme libre : forme 105">
            <a:extLst>
              <a:ext uri="{FF2B5EF4-FFF2-40B4-BE49-F238E27FC236}">
                <a16:creationId xmlns:a16="http://schemas.microsoft.com/office/drawing/2014/main" id="{D8EC7674-F8C4-4C98-B223-FB48E7028D2B}"/>
              </a:ext>
            </a:extLst>
          </p:cNvPr>
          <p:cNvSpPr/>
          <p:nvPr/>
        </p:nvSpPr>
        <p:spPr>
          <a:xfrm rot="8716295">
            <a:off x="-17797" y="3452694"/>
            <a:ext cx="58455" cy="44199"/>
          </a:xfrm>
          <a:custGeom>
            <a:avLst/>
            <a:gdLst>
              <a:gd name="connsiteX0" fmla="*/ 0 w 58455"/>
              <a:gd name="connsiteY0" fmla="*/ 44199 h 44199"/>
              <a:gd name="connsiteX1" fmla="*/ 0 w 58455"/>
              <a:gd name="connsiteY1" fmla="*/ 0 h 44199"/>
              <a:gd name="connsiteX2" fmla="*/ 58455 w 58455"/>
              <a:gd name="connsiteY2" fmla="*/ 0 h 44199"/>
              <a:gd name="connsiteX3" fmla="*/ 27817 w 58455"/>
              <a:gd name="connsiteY3" fmla="*/ 44199 h 44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455" h="44199">
                <a:moveTo>
                  <a:pt x="0" y="44199"/>
                </a:moveTo>
                <a:lnTo>
                  <a:pt x="0" y="0"/>
                </a:lnTo>
                <a:lnTo>
                  <a:pt x="58455" y="0"/>
                </a:lnTo>
                <a:lnTo>
                  <a:pt x="27817" y="44199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7" name="Forme libre : forme 106">
            <a:extLst>
              <a:ext uri="{FF2B5EF4-FFF2-40B4-BE49-F238E27FC236}">
                <a16:creationId xmlns:a16="http://schemas.microsoft.com/office/drawing/2014/main" id="{4367C4D5-414D-49AB-A590-D84D23E38E78}"/>
              </a:ext>
            </a:extLst>
          </p:cNvPr>
          <p:cNvSpPr/>
          <p:nvPr/>
        </p:nvSpPr>
        <p:spPr>
          <a:xfrm rot="13089394">
            <a:off x="-91485" y="3601812"/>
            <a:ext cx="206527" cy="292654"/>
          </a:xfrm>
          <a:custGeom>
            <a:avLst/>
            <a:gdLst>
              <a:gd name="connsiteX0" fmla="*/ 206527 w 206527"/>
              <a:gd name="connsiteY0" fmla="*/ 258693 h 292654"/>
              <a:gd name="connsiteX1" fmla="*/ 177331 w 206527"/>
              <a:gd name="connsiteY1" fmla="*/ 274971 h 292654"/>
              <a:gd name="connsiteX2" fmla="*/ 91597 w 206527"/>
              <a:gd name="connsiteY2" fmla="*/ 292491 h 292654"/>
              <a:gd name="connsiteX3" fmla="*/ 23727 w 206527"/>
              <a:gd name="connsiteY3" fmla="*/ 264901 h 292654"/>
              <a:gd name="connsiteX4" fmla="*/ 0 w 206527"/>
              <a:gd name="connsiteY4" fmla="*/ 169993 h 292654"/>
              <a:gd name="connsiteX5" fmla="*/ 0 w 206527"/>
              <a:gd name="connsiteY5" fmla="*/ 1698 h 292654"/>
              <a:gd name="connsiteX6" fmla="*/ 3273 w 206527"/>
              <a:gd name="connsiteY6" fmla="*/ 0 h 292654"/>
              <a:gd name="connsiteX7" fmla="*/ 74297 w 206527"/>
              <a:gd name="connsiteY7" fmla="*/ 90396 h 292654"/>
              <a:gd name="connsiteX8" fmla="*/ 74492 w 206527"/>
              <a:gd name="connsiteY8" fmla="*/ 117574 h 292654"/>
              <a:gd name="connsiteX9" fmla="*/ 87734 w 206527"/>
              <a:gd name="connsiteY9" fmla="*/ 209171 h 292654"/>
              <a:gd name="connsiteX10" fmla="*/ 153949 w 206527"/>
              <a:gd name="connsiteY10" fmla="*/ 245589 h 292654"/>
              <a:gd name="connsiteX11" fmla="*/ 191049 w 206527"/>
              <a:gd name="connsiteY11" fmla="*/ 238993 h 2926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06527" h="292654">
                <a:moveTo>
                  <a:pt x="206527" y="258693"/>
                </a:moveTo>
                <a:lnTo>
                  <a:pt x="177331" y="274971"/>
                </a:lnTo>
                <a:cubicBezTo>
                  <a:pt x="145121" y="286007"/>
                  <a:pt x="114496" y="291111"/>
                  <a:pt x="91597" y="292491"/>
                </a:cubicBezTo>
                <a:cubicBezTo>
                  <a:pt x="66215" y="294146"/>
                  <a:pt x="41385" y="283111"/>
                  <a:pt x="23727" y="264901"/>
                </a:cubicBezTo>
                <a:cubicBezTo>
                  <a:pt x="4966" y="246692"/>
                  <a:pt x="0" y="215240"/>
                  <a:pt x="0" y="169993"/>
                </a:cubicBezTo>
                <a:lnTo>
                  <a:pt x="0" y="1698"/>
                </a:lnTo>
                <a:lnTo>
                  <a:pt x="3273" y="0"/>
                </a:lnTo>
                <a:lnTo>
                  <a:pt x="74297" y="90396"/>
                </a:lnTo>
                <a:lnTo>
                  <a:pt x="74492" y="117574"/>
                </a:lnTo>
                <a:cubicBezTo>
                  <a:pt x="72836" y="148474"/>
                  <a:pt x="77802" y="179926"/>
                  <a:pt x="87734" y="209171"/>
                </a:cubicBezTo>
                <a:cubicBezTo>
                  <a:pt x="96564" y="233450"/>
                  <a:pt x="119187" y="245589"/>
                  <a:pt x="153949" y="245589"/>
                </a:cubicBezTo>
                <a:lnTo>
                  <a:pt x="191049" y="23899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8" name="Forme libre : forme 107">
            <a:extLst>
              <a:ext uri="{FF2B5EF4-FFF2-40B4-BE49-F238E27FC236}">
                <a16:creationId xmlns:a16="http://schemas.microsoft.com/office/drawing/2014/main" id="{C0F2930B-1B76-4127-88A5-3C45B984D36E}"/>
              </a:ext>
            </a:extLst>
          </p:cNvPr>
          <p:cNvSpPr/>
          <p:nvPr/>
        </p:nvSpPr>
        <p:spPr>
          <a:xfrm rot="8716295">
            <a:off x="24761" y="3389623"/>
            <a:ext cx="220345" cy="161228"/>
          </a:xfrm>
          <a:custGeom>
            <a:avLst/>
            <a:gdLst>
              <a:gd name="connsiteX0" fmla="*/ 343853 w 390525"/>
              <a:gd name="connsiteY0" fmla="*/ 144780 h 285750"/>
              <a:gd name="connsiteX1" fmla="*/ 344805 w 390525"/>
              <a:gd name="connsiteY1" fmla="*/ 144780 h 285750"/>
              <a:gd name="connsiteX2" fmla="*/ 12382 w 390525"/>
              <a:gd name="connsiteY2" fmla="*/ 288608 h 285750"/>
              <a:gd name="connsiteX3" fmla="*/ 0 w 390525"/>
              <a:gd name="connsiteY3" fmla="*/ 271463 h 285750"/>
              <a:gd name="connsiteX4" fmla="*/ 225743 w 390525"/>
              <a:gd name="connsiteY4" fmla="*/ 59055 h 285750"/>
              <a:gd name="connsiteX5" fmla="*/ 340043 w 390525"/>
              <a:gd name="connsiteY5" fmla="*/ 0 h 285750"/>
              <a:gd name="connsiteX6" fmla="*/ 399098 w 390525"/>
              <a:gd name="connsiteY6" fmla="*/ 70485 h 285750"/>
              <a:gd name="connsiteX7" fmla="*/ 343853 w 390525"/>
              <a:gd name="connsiteY7" fmla="*/ 14478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0525" h="285750">
                <a:moveTo>
                  <a:pt x="343853" y="144780"/>
                </a:moveTo>
                <a:lnTo>
                  <a:pt x="344805" y="144780"/>
                </a:lnTo>
                <a:lnTo>
                  <a:pt x="12382" y="288608"/>
                </a:lnTo>
                <a:lnTo>
                  <a:pt x="0" y="271463"/>
                </a:lnTo>
                <a:lnTo>
                  <a:pt x="225743" y="59055"/>
                </a:lnTo>
                <a:cubicBezTo>
                  <a:pt x="254318" y="25718"/>
                  <a:pt x="295275" y="4763"/>
                  <a:pt x="340043" y="0"/>
                </a:cubicBezTo>
                <a:cubicBezTo>
                  <a:pt x="385763" y="0"/>
                  <a:pt x="399098" y="40005"/>
                  <a:pt x="399098" y="70485"/>
                </a:cubicBezTo>
                <a:cubicBezTo>
                  <a:pt x="396240" y="103823"/>
                  <a:pt x="374332" y="131445"/>
                  <a:pt x="343853" y="14478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9" name="Forme libre : forme 108">
            <a:extLst>
              <a:ext uri="{FF2B5EF4-FFF2-40B4-BE49-F238E27FC236}">
                <a16:creationId xmlns:a16="http://schemas.microsoft.com/office/drawing/2014/main" id="{5D516E03-78DF-4FFF-8FB2-A397635DD48F}"/>
              </a:ext>
            </a:extLst>
          </p:cNvPr>
          <p:cNvSpPr/>
          <p:nvPr/>
        </p:nvSpPr>
        <p:spPr>
          <a:xfrm rot="8716295">
            <a:off x="-24047" y="3281741"/>
            <a:ext cx="106042" cy="113733"/>
          </a:xfrm>
          <a:custGeom>
            <a:avLst/>
            <a:gdLst>
              <a:gd name="connsiteX0" fmla="*/ 17477 w 106042"/>
              <a:gd name="connsiteY0" fmla="*/ 101182 h 113733"/>
              <a:gd name="connsiteX1" fmla="*/ 0 w 106042"/>
              <a:gd name="connsiteY1" fmla="*/ 59790 h 113733"/>
              <a:gd name="connsiteX2" fmla="*/ 0 w 106042"/>
              <a:gd name="connsiteY2" fmla="*/ 58869 h 113733"/>
              <a:gd name="connsiteX3" fmla="*/ 17477 w 106042"/>
              <a:gd name="connsiteY3" fmla="*/ 17477 h 113733"/>
              <a:gd name="connsiteX4" fmla="*/ 58869 w 106042"/>
              <a:gd name="connsiteY4" fmla="*/ 0 h 113733"/>
              <a:gd name="connsiteX5" fmla="*/ 100262 w 106042"/>
              <a:gd name="connsiteY5" fmla="*/ 17477 h 113733"/>
              <a:gd name="connsiteX6" fmla="*/ 106042 w 106042"/>
              <a:gd name="connsiteY6" fmla="*/ 31234 h 113733"/>
              <a:gd name="connsiteX7" fmla="*/ 48856 w 106042"/>
              <a:gd name="connsiteY7" fmla="*/ 113733 h 1137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6042" h="113733">
                <a:moveTo>
                  <a:pt x="17477" y="101182"/>
                </a:moveTo>
                <a:cubicBezTo>
                  <a:pt x="6439" y="90144"/>
                  <a:pt x="0" y="75426"/>
                  <a:pt x="0" y="59790"/>
                </a:cubicBezTo>
                <a:lnTo>
                  <a:pt x="0" y="58869"/>
                </a:lnTo>
                <a:cubicBezTo>
                  <a:pt x="0" y="43233"/>
                  <a:pt x="6439" y="28515"/>
                  <a:pt x="17477" y="17477"/>
                </a:cubicBezTo>
                <a:cubicBezTo>
                  <a:pt x="28515" y="6439"/>
                  <a:pt x="43233" y="0"/>
                  <a:pt x="58869" y="0"/>
                </a:cubicBezTo>
                <a:cubicBezTo>
                  <a:pt x="74507" y="0"/>
                  <a:pt x="89224" y="6439"/>
                  <a:pt x="100262" y="17477"/>
                </a:cubicBezTo>
                <a:lnTo>
                  <a:pt x="106042" y="31234"/>
                </a:lnTo>
                <a:lnTo>
                  <a:pt x="48856" y="11373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0" name="Forme libre : forme 109">
            <a:extLst>
              <a:ext uri="{FF2B5EF4-FFF2-40B4-BE49-F238E27FC236}">
                <a16:creationId xmlns:a16="http://schemas.microsoft.com/office/drawing/2014/main" id="{4709179C-E348-4A89-8150-2CCBA6DE45C5}"/>
              </a:ext>
            </a:extLst>
          </p:cNvPr>
          <p:cNvSpPr/>
          <p:nvPr/>
        </p:nvSpPr>
        <p:spPr>
          <a:xfrm rot="8716295">
            <a:off x="-21924" y="3179872"/>
            <a:ext cx="45776" cy="62656"/>
          </a:xfrm>
          <a:custGeom>
            <a:avLst/>
            <a:gdLst>
              <a:gd name="connsiteX0" fmla="*/ 2345 w 45776"/>
              <a:gd name="connsiteY0" fmla="*/ 62656 h 62656"/>
              <a:gd name="connsiteX1" fmla="*/ 0 w 45776"/>
              <a:gd name="connsiteY1" fmla="*/ 57104 h 62656"/>
              <a:gd name="connsiteX2" fmla="*/ 0 w 45776"/>
              <a:gd name="connsiteY2" fmla="*/ 56183 h 62656"/>
              <a:gd name="connsiteX3" fmla="*/ 17477 w 45776"/>
              <a:gd name="connsiteY3" fmla="*/ 14791 h 62656"/>
              <a:gd name="connsiteX4" fmla="*/ 36449 w 45776"/>
              <a:gd name="connsiteY4" fmla="*/ 1913 h 62656"/>
              <a:gd name="connsiteX5" fmla="*/ 45776 w 45776"/>
              <a:gd name="connsiteY5" fmla="*/ 0 h 626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776" h="62656">
                <a:moveTo>
                  <a:pt x="2345" y="62656"/>
                </a:moveTo>
                <a:lnTo>
                  <a:pt x="0" y="57104"/>
                </a:lnTo>
                <a:lnTo>
                  <a:pt x="0" y="56183"/>
                </a:lnTo>
                <a:cubicBezTo>
                  <a:pt x="0" y="40547"/>
                  <a:pt x="6439" y="25829"/>
                  <a:pt x="17477" y="14791"/>
                </a:cubicBezTo>
                <a:cubicBezTo>
                  <a:pt x="22996" y="9272"/>
                  <a:pt x="29435" y="4903"/>
                  <a:pt x="36449" y="1913"/>
                </a:cubicBezTo>
                <a:lnTo>
                  <a:pt x="45776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1" name="Forme libre : forme 110">
            <a:extLst>
              <a:ext uri="{FF2B5EF4-FFF2-40B4-BE49-F238E27FC236}">
                <a16:creationId xmlns:a16="http://schemas.microsoft.com/office/drawing/2014/main" id="{E216B864-0116-44B5-A0E9-8D6C9FB4451C}"/>
              </a:ext>
            </a:extLst>
          </p:cNvPr>
          <p:cNvSpPr/>
          <p:nvPr/>
        </p:nvSpPr>
        <p:spPr>
          <a:xfrm rot="8716295">
            <a:off x="-21324" y="4100649"/>
            <a:ext cx="79113" cy="50123"/>
          </a:xfrm>
          <a:custGeom>
            <a:avLst/>
            <a:gdLst>
              <a:gd name="connsiteX0" fmla="*/ 0 w 79113"/>
              <a:gd name="connsiteY0" fmla="*/ 50123 h 50123"/>
              <a:gd name="connsiteX1" fmla="*/ 0 w 79113"/>
              <a:gd name="connsiteY1" fmla="*/ 0 h 50123"/>
              <a:gd name="connsiteX2" fmla="*/ 79113 w 79113"/>
              <a:gd name="connsiteY2" fmla="*/ 0 h 50123"/>
              <a:gd name="connsiteX3" fmla="*/ 44369 w 79113"/>
              <a:gd name="connsiteY3" fmla="*/ 50123 h 50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9113" h="50123">
                <a:moveTo>
                  <a:pt x="0" y="50123"/>
                </a:moveTo>
                <a:lnTo>
                  <a:pt x="0" y="0"/>
                </a:lnTo>
                <a:lnTo>
                  <a:pt x="79113" y="0"/>
                </a:lnTo>
                <a:lnTo>
                  <a:pt x="44369" y="5012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2" name="Forme libre : forme 111">
            <a:extLst>
              <a:ext uri="{FF2B5EF4-FFF2-40B4-BE49-F238E27FC236}">
                <a16:creationId xmlns:a16="http://schemas.microsoft.com/office/drawing/2014/main" id="{E81DDFAA-1A06-4A18-8287-C68132D6876A}"/>
              </a:ext>
            </a:extLst>
          </p:cNvPr>
          <p:cNvSpPr/>
          <p:nvPr/>
        </p:nvSpPr>
        <p:spPr>
          <a:xfrm rot="8716295">
            <a:off x="-40457" y="3981561"/>
            <a:ext cx="259728" cy="250615"/>
          </a:xfrm>
          <a:custGeom>
            <a:avLst/>
            <a:gdLst>
              <a:gd name="connsiteX0" fmla="*/ 544830 w 542925"/>
              <a:gd name="connsiteY0" fmla="*/ 184905 h 523875"/>
              <a:gd name="connsiteX1" fmla="*/ 544830 w 542925"/>
              <a:gd name="connsiteY1" fmla="*/ 197288 h 523875"/>
              <a:gd name="connsiteX2" fmla="*/ 415290 w 542925"/>
              <a:gd name="connsiteY2" fmla="*/ 204908 h 523875"/>
              <a:gd name="connsiteX3" fmla="*/ 415290 w 542925"/>
              <a:gd name="connsiteY3" fmla="*/ 170618 h 523875"/>
              <a:gd name="connsiteX4" fmla="*/ 344805 w 542925"/>
              <a:gd name="connsiteY4" fmla="*/ 83940 h 523875"/>
              <a:gd name="connsiteX5" fmla="*/ 233363 w 542925"/>
              <a:gd name="connsiteY5" fmla="*/ 266820 h 523875"/>
              <a:gd name="connsiteX6" fmla="*/ 233363 w 542925"/>
              <a:gd name="connsiteY6" fmla="*/ 446843 h 523875"/>
              <a:gd name="connsiteX7" fmla="*/ 107632 w 542925"/>
              <a:gd name="connsiteY7" fmla="*/ 532568 h 523875"/>
              <a:gd name="connsiteX8" fmla="*/ 107632 w 542925"/>
              <a:gd name="connsiteY8" fmla="*/ 95370 h 523875"/>
              <a:gd name="connsiteX9" fmla="*/ 0 w 542925"/>
              <a:gd name="connsiteY9" fmla="*/ 95370 h 523875"/>
              <a:gd name="connsiteX10" fmla="*/ 0 w 542925"/>
              <a:gd name="connsiteY10" fmla="*/ 2978 h 523875"/>
              <a:gd name="connsiteX11" fmla="*/ 219075 w 542925"/>
              <a:gd name="connsiteY11" fmla="*/ 2978 h 523875"/>
              <a:gd name="connsiteX12" fmla="*/ 219075 w 542925"/>
              <a:gd name="connsiteY12" fmla="*/ 157283 h 523875"/>
              <a:gd name="connsiteX13" fmla="*/ 221932 w 542925"/>
              <a:gd name="connsiteY13" fmla="*/ 157283 h 523875"/>
              <a:gd name="connsiteX14" fmla="*/ 321945 w 542925"/>
              <a:gd name="connsiteY14" fmla="*/ 12503 h 523875"/>
              <a:gd name="connsiteX15" fmla="*/ 387667 w 542925"/>
              <a:gd name="connsiteY15" fmla="*/ 120 h 523875"/>
              <a:gd name="connsiteX16" fmla="*/ 544830 w 542925"/>
              <a:gd name="connsiteY16" fmla="*/ 18490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42925" h="523875">
                <a:moveTo>
                  <a:pt x="544830" y="184905"/>
                </a:moveTo>
                <a:lnTo>
                  <a:pt x="544830" y="197288"/>
                </a:lnTo>
                <a:lnTo>
                  <a:pt x="415290" y="204908"/>
                </a:lnTo>
                <a:lnTo>
                  <a:pt x="415290" y="170618"/>
                </a:lnTo>
                <a:cubicBezTo>
                  <a:pt x="415290" y="119183"/>
                  <a:pt x="385763" y="83940"/>
                  <a:pt x="344805" y="83940"/>
                </a:cubicBezTo>
                <a:cubicBezTo>
                  <a:pt x="283845" y="83940"/>
                  <a:pt x="233363" y="164903"/>
                  <a:pt x="233363" y="266820"/>
                </a:cubicBezTo>
                <a:lnTo>
                  <a:pt x="233363" y="446843"/>
                </a:lnTo>
                <a:lnTo>
                  <a:pt x="107632" y="532568"/>
                </a:lnTo>
                <a:lnTo>
                  <a:pt x="107632" y="95370"/>
                </a:lnTo>
                <a:lnTo>
                  <a:pt x="0" y="95370"/>
                </a:lnTo>
                <a:lnTo>
                  <a:pt x="0" y="2978"/>
                </a:lnTo>
                <a:lnTo>
                  <a:pt x="219075" y="2978"/>
                </a:lnTo>
                <a:lnTo>
                  <a:pt x="219075" y="157283"/>
                </a:lnTo>
                <a:lnTo>
                  <a:pt x="221932" y="157283"/>
                </a:lnTo>
                <a:cubicBezTo>
                  <a:pt x="252413" y="66795"/>
                  <a:pt x="276225" y="31553"/>
                  <a:pt x="321945" y="12503"/>
                </a:cubicBezTo>
                <a:cubicBezTo>
                  <a:pt x="342900" y="3930"/>
                  <a:pt x="364807" y="-832"/>
                  <a:pt x="387667" y="120"/>
                </a:cubicBezTo>
                <a:cubicBezTo>
                  <a:pt x="485775" y="-1785"/>
                  <a:pt x="544830" y="66795"/>
                  <a:pt x="544830" y="18490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3" name="Forme libre : forme 112">
            <a:extLst>
              <a:ext uri="{FF2B5EF4-FFF2-40B4-BE49-F238E27FC236}">
                <a16:creationId xmlns:a16="http://schemas.microsoft.com/office/drawing/2014/main" id="{1D567C73-1317-457C-BAF4-E866C8E84479}"/>
              </a:ext>
            </a:extLst>
          </p:cNvPr>
          <p:cNvSpPr/>
          <p:nvPr/>
        </p:nvSpPr>
        <p:spPr>
          <a:xfrm rot="7484129">
            <a:off x="-46974" y="4273166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4" name="Forme libre : forme 113">
            <a:extLst>
              <a:ext uri="{FF2B5EF4-FFF2-40B4-BE49-F238E27FC236}">
                <a16:creationId xmlns:a16="http://schemas.microsoft.com/office/drawing/2014/main" id="{4B07308E-D0A0-4D3E-9DEB-C235BB5B8299}"/>
              </a:ext>
            </a:extLst>
          </p:cNvPr>
          <p:cNvSpPr/>
          <p:nvPr/>
        </p:nvSpPr>
        <p:spPr>
          <a:xfrm rot="13089394">
            <a:off x="57846" y="4239700"/>
            <a:ext cx="270377" cy="325556"/>
          </a:xfrm>
          <a:custGeom>
            <a:avLst/>
            <a:gdLst>
              <a:gd name="connsiteX0" fmla="*/ 470535 w 466725"/>
              <a:gd name="connsiteY0" fmla="*/ 436245 h 561975"/>
              <a:gd name="connsiteX1" fmla="*/ 470535 w 466725"/>
              <a:gd name="connsiteY1" fmla="*/ 445770 h 561975"/>
              <a:gd name="connsiteX2" fmla="*/ 158115 w 466725"/>
              <a:gd name="connsiteY2" fmla="*/ 567690 h 561975"/>
              <a:gd name="connsiteX3" fmla="*/ 40957 w 466725"/>
              <a:gd name="connsiteY3" fmla="*/ 520065 h 561975"/>
              <a:gd name="connsiteX4" fmla="*/ 0 w 466725"/>
              <a:gd name="connsiteY4" fmla="*/ 356235 h 561975"/>
              <a:gd name="connsiteX5" fmla="*/ 0 w 466725"/>
              <a:gd name="connsiteY5" fmla="*/ 65723 h 561975"/>
              <a:gd name="connsiteX6" fmla="*/ 126682 w 466725"/>
              <a:gd name="connsiteY6" fmla="*/ 0 h 561975"/>
              <a:gd name="connsiteX7" fmla="*/ 128588 w 466725"/>
              <a:gd name="connsiteY7" fmla="*/ 265748 h 561975"/>
              <a:gd name="connsiteX8" fmla="*/ 151447 w 466725"/>
              <a:gd name="connsiteY8" fmla="*/ 423863 h 561975"/>
              <a:gd name="connsiteX9" fmla="*/ 265747 w 466725"/>
              <a:gd name="connsiteY9" fmla="*/ 486728 h 561975"/>
              <a:gd name="connsiteX10" fmla="*/ 351472 w 466725"/>
              <a:gd name="connsiteY10" fmla="*/ 471488 h 561975"/>
              <a:gd name="connsiteX11" fmla="*/ 468630 w 466725"/>
              <a:gd name="connsiteY11" fmla="*/ 423863 h 561975"/>
              <a:gd name="connsiteX12" fmla="*/ 470535 w 466725"/>
              <a:gd name="connsiteY12" fmla="*/ 436245 h 56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6725" h="561975">
                <a:moveTo>
                  <a:pt x="470535" y="436245"/>
                </a:moveTo>
                <a:lnTo>
                  <a:pt x="470535" y="445770"/>
                </a:lnTo>
                <a:cubicBezTo>
                  <a:pt x="369570" y="532448"/>
                  <a:pt x="237172" y="562928"/>
                  <a:pt x="158115" y="567690"/>
                </a:cubicBezTo>
                <a:cubicBezTo>
                  <a:pt x="114300" y="570548"/>
                  <a:pt x="71438" y="551498"/>
                  <a:pt x="40957" y="520065"/>
                </a:cubicBezTo>
                <a:cubicBezTo>
                  <a:pt x="8572" y="488633"/>
                  <a:pt x="0" y="434340"/>
                  <a:pt x="0" y="356235"/>
                </a:cubicBezTo>
                <a:lnTo>
                  <a:pt x="0" y="65723"/>
                </a:lnTo>
                <a:lnTo>
                  <a:pt x="126682" y="0"/>
                </a:lnTo>
                <a:lnTo>
                  <a:pt x="128588" y="265748"/>
                </a:lnTo>
                <a:cubicBezTo>
                  <a:pt x="125730" y="319088"/>
                  <a:pt x="134302" y="373380"/>
                  <a:pt x="151447" y="423863"/>
                </a:cubicBezTo>
                <a:cubicBezTo>
                  <a:pt x="166688" y="465773"/>
                  <a:pt x="205740" y="486728"/>
                  <a:pt x="265747" y="486728"/>
                </a:cubicBezTo>
                <a:cubicBezTo>
                  <a:pt x="295275" y="485775"/>
                  <a:pt x="323850" y="480060"/>
                  <a:pt x="351472" y="471488"/>
                </a:cubicBezTo>
                <a:cubicBezTo>
                  <a:pt x="391477" y="459105"/>
                  <a:pt x="430530" y="442913"/>
                  <a:pt x="468630" y="423863"/>
                </a:cubicBezTo>
                <a:cubicBezTo>
                  <a:pt x="469582" y="427673"/>
                  <a:pt x="470535" y="432435"/>
                  <a:pt x="470535" y="43624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5" name="Forme libre : forme 114">
            <a:extLst>
              <a:ext uri="{FF2B5EF4-FFF2-40B4-BE49-F238E27FC236}">
                <a16:creationId xmlns:a16="http://schemas.microsoft.com/office/drawing/2014/main" id="{B3D02E0E-617A-4DDE-855C-BECF0834C305}"/>
              </a:ext>
            </a:extLst>
          </p:cNvPr>
          <p:cNvSpPr/>
          <p:nvPr/>
        </p:nvSpPr>
        <p:spPr>
          <a:xfrm rot="8716295">
            <a:off x="243431" y="4048019"/>
            <a:ext cx="220345" cy="161228"/>
          </a:xfrm>
          <a:custGeom>
            <a:avLst/>
            <a:gdLst>
              <a:gd name="connsiteX0" fmla="*/ 343853 w 390525"/>
              <a:gd name="connsiteY0" fmla="*/ 144780 h 285750"/>
              <a:gd name="connsiteX1" fmla="*/ 344805 w 390525"/>
              <a:gd name="connsiteY1" fmla="*/ 144780 h 285750"/>
              <a:gd name="connsiteX2" fmla="*/ 12382 w 390525"/>
              <a:gd name="connsiteY2" fmla="*/ 288608 h 285750"/>
              <a:gd name="connsiteX3" fmla="*/ 0 w 390525"/>
              <a:gd name="connsiteY3" fmla="*/ 271463 h 285750"/>
              <a:gd name="connsiteX4" fmla="*/ 225743 w 390525"/>
              <a:gd name="connsiteY4" fmla="*/ 59055 h 285750"/>
              <a:gd name="connsiteX5" fmla="*/ 340043 w 390525"/>
              <a:gd name="connsiteY5" fmla="*/ 0 h 285750"/>
              <a:gd name="connsiteX6" fmla="*/ 399098 w 390525"/>
              <a:gd name="connsiteY6" fmla="*/ 70485 h 285750"/>
              <a:gd name="connsiteX7" fmla="*/ 343853 w 390525"/>
              <a:gd name="connsiteY7" fmla="*/ 14478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0525" h="285750">
                <a:moveTo>
                  <a:pt x="343853" y="144780"/>
                </a:moveTo>
                <a:lnTo>
                  <a:pt x="344805" y="144780"/>
                </a:lnTo>
                <a:lnTo>
                  <a:pt x="12382" y="288608"/>
                </a:lnTo>
                <a:lnTo>
                  <a:pt x="0" y="271463"/>
                </a:lnTo>
                <a:lnTo>
                  <a:pt x="225743" y="59055"/>
                </a:lnTo>
                <a:cubicBezTo>
                  <a:pt x="254318" y="25718"/>
                  <a:pt x="295275" y="4763"/>
                  <a:pt x="340043" y="0"/>
                </a:cubicBezTo>
                <a:cubicBezTo>
                  <a:pt x="385763" y="0"/>
                  <a:pt x="399098" y="40005"/>
                  <a:pt x="399098" y="70485"/>
                </a:cubicBezTo>
                <a:cubicBezTo>
                  <a:pt x="396240" y="103823"/>
                  <a:pt x="374332" y="131445"/>
                  <a:pt x="343853" y="14478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6" name="Forme libre : forme 115">
            <a:extLst>
              <a:ext uri="{FF2B5EF4-FFF2-40B4-BE49-F238E27FC236}">
                <a16:creationId xmlns:a16="http://schemas.microsoft.com/office/drawing/2014/main" id="{FCFFBDC4-0942-4E6E-9EF4-22477617D5C9}"/>
              </a:ext>
            </a:extLst>
          </p:cNvPr>
          <p:cNvSpPr/>
          <p:nvPr/>
        </p:nvSpPr>
        <p:spPr>
          <a:xfrm rot="8716295">
            <a:off x="191626" y="3944426"/>
            <a:ext cx="110380" cy="1103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7" name="Forme libre : forme 116">
            <a:extLst>
              <a:ext uri="{FF2B5EF4-FFF2-40B4-BE49-F238E27FC236}">
                <a16:creationId xmlns:a16="http://schemas.microsoft.com/office/drawing/2014/main" id="{6779D405-E211-4D4D-B286-FEED219E73DF}"/>
              </a:ext>
            </a:extLst>
          </p:cNvPr>
          <p:cNvSpPr/>
          <p:nvPr/>
        </p:nvSpPr>
        <p:spPr>
          <a:xfrm rot="8716295">
            <a:off x="125832" y="3815405"/>
            <a:ext cx="110380" cy="1103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8" name="Forme libre : forme 117">
            <a:extLst>
              <a:ext uri="{FF2B5EF4-FFF2-40B4-BE49-F238E27FC236}">
                <a16:creationId xmlns:a16="http://schemas.microsoft.com/office/drawing/2014/main" id="{1B98413D-C7CC-484D-AF71-C6706295A09F}"/>
              </a:ext>
            </a:extLst>
          </p:cNvPr>
          <p:cNvSpPr/>
          <p:nvPr/>
        </p:nvSpPr>
        <p:spPr>
          <a:xfrm rot="8716295">
            <a:off x="-73048" y="4876828"/>
            <a:ext cx="221382" cy="253349"/>
          </a:xfrm>
          <a:custGeom>
            <a:avLst/>
            <a:gdLst>
              <a:gd name="connsiteX0" fmla="*/ 51490 w 221382"/>
              <a:gd name="connsiteY0" fmla="*/ 253349 h 253349"/>
              <a:gd name="connsiteX1" fmla="*/ 51490 w 221382"/>
              <a:gd name="connsiteY1" fmla="*/ 44199 h 253349"/>
              <a:gd name="connsiteX2" fmla="*/ 0 w 221382"/>
              <a:gd name="connsiteY2" fmla="*/ 44199 h 253349"/>
              <a:gd name="connsiteX3" fmla="*/ 0 w 221382"/>
              <a:gd name="connsiteY3" fmla="*/ 0 h 253349"/>
              <a:gd name="connsiteX4" fmla="*/ 104803 w 221382"/>
              <a:gd name="connsiteY4" fmla="*/ 0 h 253349"/>
              <a:gd name="connsiteX5" fmla="*/ 104802 w 221382"/>
              <a:gd name="connsiteY5" fmla="*/ 73817 h 253349"/>
              <a:gd name="connsiteX6" fmla="*/ 106169 w 221382"/>
              <a:gd name="connsiteY6" fmla="*/ 73817 h 253349"/>
              <a:gd name="connsiteX7" fmla="*/ 154014 w 221382"/>
              <a:gd name="connsiteY7" fmla="*/ 4556 h 253349"/>
              <a:gd name="connsiteX8" fmla="*/ 174650 w 221382"/>
              <a:gd name="connsiteY8" fmla="*/ 668 h 253349"/>
              <a:gd name="connsiteX9" fmla="*/ 214075 w 221382"/>
              <a:gd name="connsiteY9" fmla="*/ 27996 h 253349"/>
              <a:gd name="connsiteX10" fmla="*/ 221382 w 221382"/>
              <a:gd name="connsiteY10" fmla="*/ 33060 h 253349"/>
              <a:gd name="connsiteX11" fmla="*/ 195540 w 221382"/>
              <a:gd name="connsiteY11" fmla="*/ 70341 h 253349"/>
              <a:gd name="connsiteX12" fmla="*/ 189157 w 221382"/>
              <a:gd name="connsiteY12" fmla="*/ 50236 h 253349"/>
              <a:gd name="connsiteX13" fmla="*/ 164950 w 221382"/>
              <a:gd name="connsiteY13" fmla="*/ 38731 h 253349"/>
              <a:gd name="connsiteX14" fmla="*/ 111638 w 221382"/>
              <a:gd name="connsiteY14" fmla="*/ 126218 h 253349"/>
              <a:gd name="connsiteX15" fmla="*/ 111638 w 221382"/>
              <a:gd name="connsiteY15" fmla="*/ 191383 h 253349"/>
              <a:gd name="connsiteX16" fmla="*/ 84096 w 221382"/>
              <a:gd name="connsiteY16" fmla="*/ 231117 h 2533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21382" h="253349">
                <a:moveTo>
                  <a:pt x="51490" y="253349"/>
                </a:moveTo>
                <a:lnTo>
                  <a:pt x="51490" y="44199"/>
                </a:lnTo>
                <a:lnTo>
                  <a:pt x="0" y="44199"/>
                </a:lnTo>
                <a:lnTo>
                  <a:pt x="0" y="0"/>
                </a:lnTo>
                <a:lnTo>
                  <a:pt x="104803" y="0"/>
                </a:lnTo>
                <a:lnTo>
                  <a:pt x="104802" y="73817"/>
                </a:lnTo>
                <a:lnTo>
                  <a:pt x="106169" y="73817"/>
                </a:lnTo>
                <a:cubicBezTo>
                  <a:pt x="120751" y="30529"/>
                  <a:pt x="132142" y="13670"/>
                  <a:pt x="154014" y="4556"/>
                </a:cubicBezTo>
                <a:lnTo>
                  <a:pt x="174650" y="668"/>
                </a:lnTo>
                <a:lnTo>
                  <a:pt x="214075" y="27996"/>
                </a:lnTo>
                <a:lnTo>
                  <a:pt x="221382" y="33060"/>
                </a:lnTo>
                <a:lnTo>
                  <a:pt x="195540" y="70341"/>
                </a:lnTo>
                <a:lnTo>
                  <a:pt x="189157" y="50236"/>
                </a:lnTo>
                <a:cubicBezTo>
                  <a:pt x="183177" y="42946"/>
                  <a:pt x="174747" y="38731"/>
                  <a:pt x="164950" y="38731"/>
                </a:cubicBezTo>
                <a:cubicBezTo>
                  <a:pt x="135788" y="38731"/>
                  <a:pt x="111638" y="77463"/>
                  <a:pt x="111638" y="126218"/>
                </a:cubicBezTo>
                <a:lnTo>
                  <a:pt x="111638" y="191383"/>
                </a:lnTo>
                <a:lnTo>
                  <a:pt x="84096" y="231117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9" name="Forme libre : forme 118">
            <a:extLst>
              <a:ext uri="{FF2B5EF4-FFF2-40B4-BE49-F238E27FC236}">
                <a16:creationId xmlns:a16="http://schemas.microsoft.com/office/drawing/2014/main" id="{6176F84A-9766-45D5-91E9-4847B60A5CD4}"/>
              </a:ext>
            </a:extLst>
          </p:cNvPr>
          <p:cNvSpPr/>
          <p:nvPr/>
        </p:nvSpPr>
        <p:spPr>
          <a:xfrm rot="8716295">
            <a:off x="93318" y="4612018"/>
            <a:ext cx="141256" cy="232388"/>
          </a:xfrm>
          <a:custGeom>
            <a:avLst/>
            <a:gdLst>
              <a:gd name="connsiteX0" fmla="*/ 297180 w 295275"/>
              <a:gd name="connsiteY0" fmla="*/ 104775 h 485775"/>
              <a:gd name="connsiteX1" fmla="*/ 297180 w 295275"/>
              <a:gd name="connsiteY1" fmla="*/ 435293 h 485775"/>
              <a:gd name="connsiteX2" fmla="*/ 169545 w 295275"/>
              <a:gd name="connsiteY2" fmla="*/ 485775 h 485775"/>
              <a:gd name="connsiteX3" fmla="*/ 169545 w 295275"/>
              <a:gd name="connsiteY3" fmla="*/ 145733 h 485775"/>
              <a:gd name="connsiteX4" fmla="*/ 169545 w 295275"/>
              <a:gd name="connsiteY4" fmla="*/ 137160 h 485775"/>
              <a:gd name="connsiteX5" fmla="*/ 126683 w 295275"/>
              <a:gd name="connsiteY5" fmla="*/ 104775 h 485775"/>
              <a:gd name="connsiteX6" fmla="*/ 0 w 295275"/>
              <a:gd name="connsiteY6" fmla="*/ 104775 h 485775"/>
              <a:gd name="connsiteX7" fmla="*/ 0 w 295275"/>
              <a:gd name="connsiteY7" fmla="*/ 0 h 485775"/>
              <a:gd name="connsiteX8" fmla="*/ 178118 w 295275"/>
              <a:gd name="connsiteY8" fmla="*/ 0 h 485775"/>
              <a:gd name="connsiteX9" fmla="*/ 297180 w 295275"/>
              <a:gd name="connsiteY9" fmla="*/ 104775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95275" h="485775">
                <a:moveTo>
                  <a:pt x="297180" y="104775"/>
                </a:moveTo>
                <a:lnTo>
                  <a:pt x="297180" y="435293"/>
                </a:lnTo>
                <a:lnTo>
                  <a:pt x="169545" y="485775"/>
                </a:lnTo>
                <a:lnTo>
                  <a:pt x="169545" y="145733"/>
                </a:lnTo>
                <a:cubicBezTo>
                  <a:pt x="169545" y="142875"/>
                  <a:pt x="169545" y="140018"/>
                  <a:pt x="169545" y="137160"/>
                </a:cubicBezTo>
                <a:cubicBezTo>
                  <a:pt x="166688" y="116205"/>
                  <a:pt x="147638" y="101918"/>
                  <a:pt x="126683" y="104775"/>
                </a:cubicBezTo>
                <a:lnTo>
                  <a:pt x="0" y="104775"/>
                </a:lnTo>
                <a:lnTo>
                  <a:pt x="0" y="0"/>
                </a:lnTo>
                <a:lnTo>
                  <a:pt x="178118" y="0"/>
                </a:lnTo>
                <a:cubicBezTo>
                  <a:pt x="255270" y="0"/>
                  <a:pt x="297180" y="33338"/>
                  <a:pt x="297180" y="10477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0" name="Forme libre : forme 119">
            <a:extLst>
              <a:ext uri="{FF2B5EF4-FFF2-40B4-BE49-F238E27FC236}">
                <a16:creationId xmlns:a16="http://schemas.microsoft.com/office/drawing/2014/main" id="{3DA54937-5DEF-4122-B904-83A03268CA89}"/>
              </a:ext>
            </a:extLst>
          </p:cNvPr>
          <p:cNvSpPr/>
          <p:nvPr/>
        </p:nvSpPr>
        <p:spPr>
          <a:xfrm rot="8716295">
            <a:off x="182710" y="4641260"/>
            <a:ext cx="259728" cy="250615"/>
          </a:xfrm>
          <a:custGeom>
            <a:avLst/>
            <a:gdLst>
              <a:gd name="connsiteX0" fmla="*/ 544830 w 542925"/>
              <a:gd name="connsiteY0" fmla="*/ 184905 h 523875"/>
              <a:gd name="connsiteX1" fmla="*/ 544830 w 542925"/>
              <a:gd name="connsiteY1" fmla="*/ 197288 h 523875"/>
              <a:gd name="connsiteX2" fmla="*/ 415290 w 542925"/>
              <a:gd name="connsiteY2" fmla="*/ 204908 h 523875"/>
              <a:gd name="connsiteX3" fmla="*/ 415290 w 542925"/>
              <a:gd name="connsiteY3" fmla="*/ 170618 h 523875"/>
              <a:gd name="connsiteX4" fmla="*/ 344805 w 542925"/>
              <a:gd name="connsiteY4" fmla="*/ 83940 h 523875"/>
              <a:gd name="connsiteX5" fmla="*/ 233363 w 542925"/>
              <a:gd name="connsiteY5" fmla="*/ 266820 h 523875"/>
              <a:gd name="connsiteX6" fmla="*/ 233363 w 542925"/>
              <a:gd name="connsiteY6" fmla="*/ 446843 h 523875"/>
              <a:gd name="connsiteX7" fmla="*/ 107632 w 542925"/>
              <a:gd name="connsiteY7" fmla="*/ 532568 h 523875"/>
              <a:gd name="connsiteX8" fmla="*/ 107632 w 542925"/>
              <a:gd name="connsiteY8" fmla="*/ 95370 h 523875"/>
              <a:gd name="connsiteX9" fmla="*/ 0 w 542925"/>
              <a:gd name="connsiteY9" fmla="*/ 95370 h 523875"/>
              <a:gd name="connsiteX10" fmla="*/ 0 w 542925"/>
              <a:gd name="connsiteY10" fmla="*/ 2978 h 523875"/>
              <a:gd name="connsiteX11" fmla="*/ 219075 w 542925"/>
              <a:gd name="connsiteY11" fmla="*/ 2978 h 523875"/>
              <a:gd name="connsiteX12" fmla="*/ 219075 w 542925"/>
              <a:gd name="connsiteY12" fmla="*/ 157283 h 523875"/>
              <a:gd name="connsiteX13" fmla="*/ 221932 w 542925"/>
              <a:gd name="connsiteY13" fmla="*/ 157283 h 523875"/>
              <a:gd name="connsiteX14" fmla="*/ 321945 w 542925"/>
              <a:gd name="connsiteY14" fmla="*/ 12503 h 523875"/>
              <a:gd name="connsiteX15" fmla="*/ 387667 w 542925"/>
              <a:gd name="connsiteY15" fmla="*/ 120 h 523875"/>
              <a:gd name="connsiteX16" fmla="*/ 544830 w 542925"/>
              <a:gd name="connsiteY16" fmla="*/ 18490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42925" h="523875">
                <a:moveTo>
                  <a:pt x="544830" y="184905"/>
                </a:moveTo>
                <a:lnTo>
                  <a:pt x="544830" y="197288"/>
                </a:lnTo>
                <a:lnTo>
                  <a:pt x="415290" y="204908"/>
                </a:lnTo>
                <a:lnTo>
                  <a:pt x="415290" y="170618"/>
                </a:lnTo>
                <a:cubicBezTo>
                  <a:pt x="415290" y="119183"/>
                  <a:pt x="385763" y="83940"/>
                  <a:pt x="344805" y="83940"/>
                </a:cubicBezTo>
                <a:cubicBezTo>
                  <a:pt x="283845" y="83940"/>
                  <a:pt x="233363" y="164903"/>
                  <a:pt x="233363" y="266820"/>
                </a:cubicBezTo>
                <a:lnTo>
                  <a:pt x="233363" y="446843"/>
                </a:lnTo>
                <a:lnTo>
                  <a:pt x="107632" y="532568"/>
                </a:lnTo>
                <a:lnTo>
                  <a:pt x="107632" y="95370"/>
                </a:lnTo>
                <a:lnTo>
                  <a:pt x="0" y="95370"/>
                </a:lnTo>
                <a:lnTo>
                  <a:pt x="0" y="2978"/>
                </a:lnTo>
                <a:lnTo>
                  <a:pt x="219075" y="2978"/>
                </a:lnTo>
                <a:lnTo>
                  <a:pt x="219075" y="157283"/>
                </a:lnTo>
                <a:lnTo>
                  <a:pt x="221932" y="157283"/>
                </a:lnTo>
                <a:cubicBezTo>
                  <a:pt x="252413" y="66795"/>
                  <a:pt x="276225" y="31553"/>
                  <a:pt x="321945" y="12503"/>
                </a:cubicBezTo>
                <a:cubicBezTo>
                  <a:pt x="342900" y="3930"/>
                  <a:pt x="364807" y="-832"/>
                  <a:pt x="387667" y="120"/>
                </a:cubicBezTo>
                <a:cubicBezTo>
                  <a:pt x="485775" y="-1785"/>
                  <a:pt x="544830" y="66795"/>
                  <a:pt x="544830" y="18490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1" name="Forme libre : forme 120">
            <a:extLst>
              <a:ext uri="{FF2B5EF4-FFF2-40B4-BE49-F238E27FC236}">
                <a16:creationId xmlns:a16="http://schemas.microsoft.com/office/drawing/2014/main" id="{24CD3C2A-51CB-4CA4-A2B4-FE03D227C422}"/>
              </a:ext>
            </a:extLst>
          </p:cNvPr>
          <p:cNvSpPr/>
          <p:nvPr/>
        </p:nvSpPr>
        <p:spPr>
          <a:xfrm rot="8716295">
            <a:off x="-14524" y="4699631"/>
            <a:ext cx="49997" cy="54238"/>
          </a:xfrm>
          <a:custGeom>
            <a:avLst/>
            <a:gdLst>
              <a:gd name="connsiteX0" fmla="*/ 8658 w 49997"/>
              <a:gd name="connsiteY0" fmla="*/ 50123 h 54238"/>
              <a:gd name="connsiteX1" fmla="*/ 0 w 49997"/>
              <a:gd name="connsiteY1" fmla="*/ 29619 h 54238"/>
              <a:gd name="connsiteX2" fmla="*/ 0 w 49997"/>
              <a:gd name="connsiteY2" fmla="*/ 29162 h 54238"/>
              <a:gd name="connsiteX3" fmla="*/ 8658 w 49997"/>
              <a:gd name="connsiteY3" fmla="*/ 8658 h 54238"/>
              <a:gd name="connsiteX4" fmla="*/ 29163 w 49997"/>
              <a:gd name="connsiteY4" fmla="*/ 0 h 54238"/>
              <a:gd name="connsiteX5" fmla="*/ 49668 w 49997"/>
              <a:gd name="connsiteY5" fmla="*/ 8658 h 54238"/>
              <a:gd name="connsiteX6" fmla="*/ 49997 w 49997"/>
              <a:gd name="connsiteY6" fmla="*/ 9441 h 54238"/>
              <a:gd name="connsiteX7" fmla="*/ 18945 w 49997"/>
              <a:gd name="connsiteY7" fmla="*/ 54238 h 54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9997" h="54238">
                <a:moveTo>
                  <a:pt x="8658" y="50123"/>
                </a:moveTo>
                <a:cubicBezTo>
                  <a:pt x="3190" y="44655"/>
                  <a:pt x="0" y="37365"/>
                  <a:pt x="0" y="29619"/>
                </a:cubicBezTo>
                <a:lnTo>
                  <a:pt x="0" y="29162"/>
                </a:lnTo>
                <a:cubicBezTo>
                  <a:pt x="0" y="21417"/>
                  <a:pt x="3190" y="14126"/>
                  <a:pt x="8658" y="8658"/>
                </a:cubicBezTo>
                <a:cubicBezTo>
                  <a:pt x="14126" y="3190"/>
                  <a:pt x="21416" y="0"/>
                  <a:pt x="29163" y="0"/>
                </a:cubicBezTo>
                <a:cubicBezTo>
                  <a:pt x="36909" y="0"/>
                  <a:pt x="44200" y="3190"/>
                  <a:pt x="49668" y="8658"/>
                </a:cubicBezTo>
                <a:lnTo>
                  <a:pt x="49997" y="9441"/>
                </a:lnTo>
                <a:lnTo>
                  <a:pt x="18945" y="54238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2" name="Forme libre : forme 121">
            <a:extLst>
              <a:ext uri="{FF2B5EF4-FFF2-40B4-BE49-F238E27FC236}">
                <a16:creationId xmlns:a16="http://schemas.microsoft.com/office/drawing/2014/main" id="{7A46CCF0-E67A-4E1E-9549-23C0DBDB68E2}"/>
              </a:ext>
            </a:extLst>
          </p:cNvPr>
          <p:cNvSpPr/>
          <p:nvPr/>
        </p:nvSpPr>
        <p:spPr>
          <a:xfrm rot="8716295">
            <a:off x="-30327" y="4579755"/>
            <a:ext cx="113346" cy="71024"/>
          </a:xfrm>
          <a:custGeom>
            <a:avLst/>
            <a:gdLst>
              <a:gd name="connsiteX0" fmla="*/ 0 w 113346"/>
              <a:gd name="connsiteY0" fmla="*/ 55323 h 71024"/>
              <a:gd name="connsiteX1" fmla="*/ 0 w 113346"/>
              <a:gd name="connsiteY1" fmla="*/ 0 h 71024"/>
              <a:gd name="connsiteX2" fmla="*/ 113346 w 113346"/>
              <a:gd name="connsiteY2" fmla="*/ 0 h 71024"/>
              <a:gd name="connsiteX3" fmla="*/ 64114 w 113346"/>
              <a:gd name="connsiteY3" fmla="*/ 71024 h 71024"/>
              <a:gd name="connsiteX4" fmla="*/ 69777 w 113346"/>
              <a:gd name="connsiteY4" fmla="*/ 55323 h 71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346" h="71024">
                <a:moveTo>
                  <a:pt x="0" y="55323"/>
                </a:moveTo>
                <a:lnTo>
                  <a:pt x="0" y="0"/>
                </a:lnTo>
                <a:lnTo>
                  <a:pt x="113346" y="0"/>
                </a:lnTo>
                <a:lnTo>
                  <a:pt x="64114" y="71024"/>
                </a:lnTo>
                <a:lnTo>
                  <a:pt x="69777" y="5532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3" name="Forme libre : forme 122">
            <a:extLst>
              <a:ext uri="{FF2B5EF4-FFF2-40B4-BE49-F238E27FC236}">
                <a16:creationId xmlns:a16="http://schemas.microsoft.com/office/drawing/2014/main" id="{01D04BC1-282A-4CFE-BF99-5B57F855BCBC}"/>
              </a:ext>
            </a:extLst>
          </p:cNvPr>
          <p:cNvSpPr/>
          <p:nvPr/>
        </p:nvSpPr>
        <p:spPr>
          <a:xfrm rot="8716295">
            <a:off x="71262" y="4741514"/>
            <a:ext cx="100246" cy="218719"/>
          </a:xfrm>
          <a:custGeom>
            <a:avLst/>
            <a:gdLst>
              <a:gd name="connsiteX0" fmla="*/ 216217 w 209550"/>
              <a:gd name="connsiteY0" fmla="*/ 0 h 457200"/>
              <a:gd name="connsiteX1" fmla="*/ 216217 w 209550"/>
              <a:gd name="connsiteY1" fmla="*/ 458153 h 457200"/>
              <a:gd name="connsiteX2" fmla="*/ 90488 w 209550"/>
              <a:gd name="connsiteY2" fmla="*/ 337185 h 457200"/>
              <a:gd name="connsiteX3" fmla="*/ 90488 w 209550"/>
              <a:gd name="connsiteY3" fmla="*/ 34290 h 457200"/>
              <a:gd name="connsiteX4" fmla="*/ 0 w 209550"/>
              <a:gd name="connsiteY4" fmla="*/ 34290 h 457200"/>
              <a:gd name="connsiteX5" fmla="*/ 0 w 209550"/>
              <a:gd name="connsiteY5" fmla="*/ 4763 h 457200"/>
              <a:gd name="connsiteX6" fmla="*/ 216217 w 209550"/>
              <a:gd name="connsiteY6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9550" h="457200">
                <a:moveTo>
                  <a:pt x="216217" y="0"/>
                </a:moveTo>
                <a:lnTo>
                  <a:pt x="216217" y="458153"/>
                </a:lnTo>
                <a:lnTo>
                  <a:pt x="90488" y="337185"/>
                </a:lnTo>
                <a:lnTo>
                  <a:pt x="90488" y="34290"/>
                </a:lnTo>
                <a:lnTo>
                  <a:pt x="0" y="34290"/>
                </a:lnTo>
                <a:lnTo>
                  <a:pt x="0" y="4763"/>
                </a:lnTo>
                <a:cubicBezTo>
                  <a:pt x="68580" y="7620"/>
                  <a:pt x="140017" y="1905"/>
                  <a:pt x="216217" y="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4" name="Forme libre : forme 123">
            <a:extLst>
              <a:ext uri="{FF2B5EF4-FFF2-40B4-BE49-F238E27FC236}">
                <a16:creationId xmlns:a16="http://schemas.microsoft.com/office/drawing/2014/main" id="{A04953EA-5C79-45C4-9757-065EFCA47539}"/>
              </a:ext>
            </a:extLst>
          </p:cNvPr>
          <p:cNvSpPr/>
          <p:nvPr/>
        </p:nvSpPr>
        <p:spPr>
          <a:xfrm rot="7484129">
            <a:off x="172059" y="4933533"/>
            <a:ext cx="203847" cy="195874"/>
          </a:xfrm>
          <a:custGeom>
            <a:avLst/>
            <a:gdLst>
              <a:gd name="connsiteX0" fmla="*/ 90710 w 203847"/>
              <a:gd name="connsiteY0" fmla="*/ 195874 h 195874"/>
              <a:gd name="connsiteX1" fmla="*/ 47847 w 203847"/>
              <a:gd name="connsiteY1" fmla="*/ 116129 h 195874"/>
              <a:gd name="connsiteX2" fmla="*/ 69777 w 203847"/>
              <a:gd name="connsiteY2" fmla="*/ 55323 h 195874"/>
              <a:gd name="connsiteX3" fmla="*/ 0 w 203847"/>
              <a:gd name="connsiteY3" fmla="*/ 55323 h 195874"/>
              <a:gd name="connsiteX4" fmla="*/ 0 w 203847"/>
              <a:gd name="connsiteY4" fmla="*/ 0 h 195874"/>
              <a:gd name="connsiteX5" fmla="*/ 170341 w 203847"/>
              <a:gd name="connsiteY5" fmla="*/ 0 h 195874"/>
              <a:gd name="connsiteX6" fmla="*/ 203847 w 203847"/>
              <a:gd name="connsiteY6" fmla="*/ 48325 h 195874"/>
              <a:gd name="connsiteX7" fmla="*/ 203847 w 203847"/>
              <a:gd name="connsiteY7" fmla="*/ 55323 h 195874"/>
              <a:gd name="connsiteX8" fmla="*/ 139055 w 203847"/>
              <a:gd name="connsiteY8" fmla="*/ 55323 h 195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3847" h="195874">
                <a:moveTo>
                  <a:pt x="90710" y="195874"/>
                </a:moveTo>
                <a:lnTo>
                  <a:pt x="47847" y="116129"/>
                </a:lnTo>
                <a:lnTo>
                  <a:pt x="69777" y="55323"/>
                </a:lnTo>
                <a:lnTo>
                  <a:pt x="0" y="55323"/>
                </a:lnTo>
                <a:lnTo>
                  <a:pt x="0" y="0"/>
                </a:lnTo>
                <a:lnTo>
                  <a:pt x="170341" y="0"/>
                </a:lnTo>
                <a:lnTo>
                  <a:pt x="203847" y="48325"/>
                </a:lnTo>
                <a:lnTo>
                  <a:pt x="203847" y="55323"/>
                </a:lnTo>
                <a:lnTo>
                  <a:pt x="139055" y="5532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5" name="Forme libre : forme 124">
            <a:extLst>
              <a:ext uri="{FF2B5EF4-FFF2-40B4-BE49-F238E27FC236}">
                <a16:creationId xmlns:a16="http://schemas.microsoft.com/office/drawing/2014/main" id="{49CB50EA-8DFB-4219-A82A-979E56D219DC}"/>
              </a:ext>
            </a:extLst>
          </p:cNvPr>
          <p:cNvSpPr/>
          <p:nvPr/>
        </p:nvSpPr>
        <p:spPr>
          <a:xfrm rot="13089394">
            <a:off x="313551" y="4906246"/>
            <a:ext cx="221827" cy="205098"/>
          </a:xfrm>
          <a:custGeom>
            <a:avLst/>
            <a:gdLst>
              <a:gd name="connsiteX0" fmla="*/ 24153 w 221827"/>
              <a:gd name="connsiteY0" fmla="*/ 55168 h 205098"/>
              <a:gd name="connsiteX1" fmla="*/ 0 w 221827"/>
              <a:gd name="connsiteY1" fmla="*/ 18385 h 205098"/>
              <a:gd name="connsiteX2" fmla="*/ 23400 w 221827"/>
              <a:gd name="connsiteY2" fmla="*/ 0 h 205098"/>
              <a:gd name="connsiteX3" fmla="*/ 23735 w 221827"/>
              <a:gd name="connsiteY3" fmla="*/ 46640 h 205098"/>
              <a:gd name="connsiteX4" fmla="*/ 221827 w 221827"/>
              <a:gd name="connsiteY4" fmla="*/ 150928 h 205098"/>
              <a:gd name="connsiteX5" fmla="*/ 126574 w 221827"/>
              <a:gd name="connsiteY5" fmla="*/ 204038 h 205098"/>
              <a:gd name="connsiteX6" fmla="*/ 122603 w 221827"/>
              <a:gd name="connsiteY6" fmla="*/ 205098 h 205098"/>
              <a:gd name="connsiteX7" fmla="*/ 102519 w 221827"/>
              <a:gd name="connsiteY7" fmla="*/ 174512 h 205098"/>
              <a:gd name="connsiteX8" fmla="*/ 103192 w 221827"/>
              <a:gd name="connsiteY8" fmla="*/ 174655 h 205098"/>
              <a:gd name="connsiteX9" fmla="*/ 152853 w 221827"/>
              <a:gd name="connsiteY9" fmla="*/ 165826 h 205098"/>
              <a:gd name="connsiteX10" fmla="*/ 220723 w 221827"/>
              <a:gd name="connsiteY10" fmla="*/ 138237 h 205098"/>
              <a:gd name="connsiteX11" fmla="*/ 221827 w 221827"/>
              <a:gd name="connsiteY11" fmla="*/ 145410 h 205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21827" h="205098">
                <a:moveTo>
                  <a:pt x="24153" y="55168"/>
                </a:moveTo>
                <a:lnTo>
                  <a:pt x="0" y="18385"/>
                </a:lnTo>
                <a:lnTo>
                  <a:pt x="23400" y="0"/>
                </a:lnTo>
                <a:lnTo>
                  <a:pt x="23735" y="46640"/>
                </a:lnTo>
                <a:close/>
                <a:moveTo>
                  <a:pt x="221827" y="150928"/>
                </a:moveTo>
                <a:cubicBezTo>
                  <a:pt x="192582" y="176035"/>
                  <a:pt x="158785" y="193002"/>
                  <a:pt x="126574" y="204038"/>
                </a:cubicBezTo>
                <a:lnTo>
                  <a:pt x="122603" y="205098"/>
                </a:lnTo>
                <a:lnTo>
                  <a:pt x="102519" y="174512"/>
                </a:lnTo>
                <a:lnTo>
                  <a:pt x="103192" y="174655"/>
                </a:lnTo>
                <a:cubicBezTo>
                  <a:pt x="120298" y="174103"/>
                  <a:pt x="136851" y="170792"/>
                  <a:pt x="152853" y="165826"/>
                </a:cubicBezTo>
                <a:cubicBezTo>
                  <a:pt x="176028" y="158653"/>
                  <a:pt x="198652" y="149273"/>
                  <a:pt x="220723" y="138237"/>
                </a:cubicBezTo>
                <a:cubicBezTo>
                  <a:pt x="221275" y="140444"/>
                  <a:pt x="221827" y="143203"/>
                  <a:pt x="221827" y="14541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6" name="Forme libre : forme 125">
            <a:extLst>
              <a:ext uri="{FF2B5EF4-FFF2-40B4-BE49-F238E27FC236}">
                <a16:creationId xmlns:a16="http://schemas.microsoft.com/office/drawing/2014/main" id="{5146513B-5632-4832-9AF5-1E4051EECD28}"/>
              </a:ext>
            </a:extLst>
          </p:cNvPr>
          <p:cNvSpPr/>
          <p:nvPr/>
        </p:nvSpPr>
        <p:spPr>
          <a:xfrm rot="8716295">
            <a:off x="406370" y="4600606"/>
            <a:ext cx="113655" cy="117117"/>
          </a:xfrm>
          <a:custGeom>
            <a:avLst/>
            <a:gdLst>
              <a:gd name="connsiteX0" fmla="*/ 13623 w 113655"/>
              <a:gd name="connsiteY0" fmla="*/ 100559 h 117117"/>
              <a:gd name="connsiteX1" fmla="*/ 0 w 113655"/>
              <a:gd name="connsiteY1" fmla="*/ 68296 h 117117"/>
              <a:gd name="connsiteX2" fmla="*/ 56488 w 113655"/>
              <a:gd name="connsiteY2" fmla="*/ 0 h 117117"/>
              <a:gd name="connsiteX3" fmla="*/ 96408 w 113655"/>
              <a:gd name="connsiteY3" fmla="*/ 16856 h 117117"/>
              <a:gd name="connsiteX4" fmla="*/ 96408 w 113655"/>
              <a:gd name="connsiteY4" fmla="*/ 99640 h 117117"/>
              <a:gd name="connsiteX5" fmla="*/ 55015 w 113655"/>
              <a:gd name="connsiteY5" fmla="*/ 117117 h 117117"/>
              <a:gd name="connsiteX6" fmla="*/ 13623 w 113655"/>
              <a:gd name="connsiteY6" fmla="*/ 100559 h 117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3655" h="117117">
                <a:moveTo>
                  <a:pt x="13623" y="100559"/>
                </a:moveTo>
                <a:lnTo>
                  <a:pt x="0" y="68296"/>
                </a:lnTo>
                <a:lnTo>
                  <a:pt x="56488" y="0"/>
                </a:lnTo>
                <a:lnTo>
                  <a:pt x="96408" y="16856"/>
                </a:lnTo>
                <a:cubicBezTo>
                  <a:pt x="119404" y="38931"/>
                  <a:pt x="119404" y="76644"/>
                  <a:pt x="96408" y="99640"/>
                </a:cubicBezTo>
                <a:cubicBezTo>
                  <a:pt x="85370" y="110678"/>
                  <a:pt x="70653" y="117116"/>
                  <a:pt x="55015" y="117117"/>
                </a:cubicBezTo>
                <a:cubicBezTo>
                  <a:pt x="39378" y="117117"/>
                  <a:pt x="24661" y="111597"/>
                  <a:pt x="13623" y="100559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7" name="Forme libre : forme 126">
            <a:extLst>
              <a:ext uri="{FF2B5EF4-FFF2-40B4-BE49-F238E27FC236}">
                <a16:creationId xmlns:a16="http://schemas.microsoft.com/office/drawing/2014/main" id="{FE3150CC-51A0-4255-BE10-7C4DD2D82ED1}"/>
              </a:ext>
            </a:extLst>
          </p:cNvPr>
          <p:cNvSpPr/>
          <p:nvPr/>
        </p:nvSpPr>
        <p:spPr>
          <a:xfrm rot="8716295">
            <a:off x="171547" y="4634346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8" name="Forme libre : forme 127">
            <a:extLst>
              <a:ext uri="{FF2B5EF4-FFF2-40B4-BE49-F238E27FC236}">
                <a16:creationId xmlns:a16="http://schemas.microsoft.com/office/drawing/2014/main" id="{3071C62B-77D8-4A0E-86A6-83549F6B4AD6}"/>
              </a:ext>
            </a:extLst>
          </p:cNvPr>
          <p:cNvSpPr/>
          <p:nvPr/>
        </p:nvSpPr>
        <p:spPr>
          <a:xfrm rot="8716295">
            <a:off x="348999" y="4475104"/>
            <a:ext cx="110380" cy="1103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BED9834D-49E7-4AFD-BEE4-8AB20B969F92}"/>
              </a:ext>
            </a:extLst>
          </p:cNvPr>
          <p:cNvSpPr/>
          <p:nvPr/>
        </p:nvSpPr>
        <p:spPr>
          <a:xfrm>
            <a:off x="1675026" y="884098"/>
            <a:ext cx="360000" cy="457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9" name="Espace réservé du texte 533">
            <a:extLst>
              <a:ext uri="{FF2B5EF4-FFF2-40B4-BE49-F238E27FC236}">
                <a16:creationId xmlns:a16="http://schemas.microsoft.com/office/drawing/2014/main" id="{935C0E43-331D-4BB2-8807-8DF7E7628E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97959" y="1375576"/>
            <a:ext cx="7316491" cy="3260705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300"/>
              </a:spcBef>
              <a:spcAft>
                <a:spcPts val="1000"/>
              </a:spcAft>
              <a:buNone/>
              <a:defRPr sz="1100">
                <a:solidFill>
                  <a:schemeClr val="tx1"/>
                </a:solidFill>
              </a:defRPr>
            </a:lvl2pPr>
            <a:lvl3pPr marL="270000" indent="-270000" algn="l" defTabSz="457200" rtl="0" eaLnBrk="1" latinLnBrk="0" hangingPunct="1">
              <a:spcBef>
                <a:spcPts val="400"/>
              </a:spcBef>
              <a:spcAft>
                <a:spcPts val="1000"/>
              </a:spcAft>
              <a:buSzPct val="100000"/>
              <a:buFontTx/>
              <a:buBlip>
                <a:blip r:embed="rId2"/>
              </a:buBlip>
              <a:defRPr lang="fr-FR" sz="1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0000" indent="-269875">
              <a:spcBef>
                <a:spcPts val="400"/>
              </a:spcBef>
              <a:spcAft>
                <a:spcPts val="1000"/>
              </a:spcAft>
              <a:buFontTx/>
              <a:buBlip>
                <a:blip r:embed="rId3"/>
              </a:buBlip>
              <a:defRPr sz="1000" b="1">
                <a:solidFill>
                  <a:schemeClr val="tx1"/>
                </a:solidFill>
              </a:defRPr>
            </a:lvl4pPr>
            <a:lvl5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4"/>
              </a:buBlip>
              <a:defRPr sz="1000" b="1">
                <a:solidFill>
                  <a:schemeClr val="tx1"/>
                </a:solidFill>
              </a:defRPr>
            </a:lvl5pPr>
            <a:lvl6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5"/>
              </a:buBlip>
              <a:defRPr sz="1000" b="1">
                <a:solidFill>
                  <a:schemeClr val="tx1"/>
                </a:solidFill>
              </a:defRPr>
            </a:lvl6pPr>
            <a:lvl7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6"/>
              </a:buBlip>
              <a:defRPr sz="1000" b="1">
                <a:solidFill>
                  <a:schemeClr val="tx1"/>
                </a:solidFill>
              </a:defRPr>
            </a:lvl7pPr>
            <a:lvl8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7"/>
              </a:buBlip>
              <a:defRPr sz="1000" b="1">
                <a:solidFill>
                  <a:schemeClr val="tx1"/>
                </a:solidFill>
              </a:defRPr>
            </a:lvl8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Puce bleu</a:t>
            </a:r>
          </a:p>
          <a:p>
            <a:pPr lvl="3"/>
            <a:r>
              <a:rPr lang="fr-FR" dirty="0"/>
              <a:t>Puce orange</a:t>
            </a:r>
          </a:p>
          <a:p>
            <a:pPr lvl="4"/>
            <a:r>
              <a:rPr lang="fr-FR" dirty="0"/>
              <a:t>Puce rouge</a:t>
            </a:r>
          </a:p>
          <a:p>
            <a:pPr lvl="5"/>
            <a:r>
              <a:rPr lang="fr-FR" dirty="0"/>
              <a:t>Puce vert d’eau</a:t>
            </a:r>
          </a:p>
          <a:p>
            <a:pPr lvl="6"/>
            <a:r>
              <a:rPr lang="fr-FR" dirty="0"/>
              <a:t>Puce verte</a:t>
            </a:r>
          </a:p>
          <a:p>
            <a:pPr lvl="7"/>
            <a:r>
              <a:rPr lang="fr-FR" dirty="0"/>
              <a:t>Puce violette</a:t>
            </a:r>
          </a:p>
        </p:txBody>
      </p:sp>
    </p:spTree>
    <p:extLst>
      <p:ext uri="{BB962C8B-B14F-4D97-AF65-F5344CB8AC3E}">
        <p14:creationId xmlns:p14="http://schemas.microsoft.com/office/powerpoint/2010/main" val="300111861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&amp; Réseaux sociaux - Fond foncé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Rectangle 123">
            <a:hlinkClick r:id="rId2"/>
            <a:extLst>
              <a:ext uri="{FF2B5EF4-FFF2-40B4-BE49-F238E27FC236}">
                <a16:creationId xmlns:a16="http://schemas.microsoft.com/office/drawing/2014/main" id="{35F4AE06-723F-4907-A0C1-25C2A55668EF}"/>
              </a:ext>
            </a:extLst>
          </p:cNvPr>
          <p:cNvSpPr/>
          <p:nvPr userDrawn="1"/>
        </p:nvSpPr>
        <p:spPr>
          <a:xfrm>
            <a:off x="3294590" y="1121624"/>
            <a:ext cx="90922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prstClr val="white"/>
                </a:solidFill>
              </a:rPr>
              <a:t>@</a:t>
            </a:r>
            <a:r>
              <a:rPr lang="fr-FR" sz="800" dirty="0" err="1">
                <a:solidFill>
                  <a:prstClr val="white"/>
                </a:solidFill>
              </a:rPr>
              <a:t>univbordeaux</a:t>
            </a:r>
            <a:endParaRPr lang="fr-FR" sz="800" dirty="0">
              <a:solidFill>
                <a:prstClr val="white"/>
              </a:solidFill>
            </a:endParaRPr>
          </a:p>
        </p:txBody>
      </p:sp>
      <p:pic>
        <p:nvPicPr>
          <p:cNvPr id="125" name="Graphique 124">
            <a:hlinkClick r:id="rId2"/>
            <a:extLst>
              <a:ext uri="{FF2B5EF4-FFF2-40B4-BE49-F238E27FC236}">
                <a16:creationId xmlns:a16="http://schemas.microsoft.com/office/drawing/2014/main" id="{C6FD32D5-7851-419E-B042-2C17E6452CA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69202" y="702273"/>
            <a:ext cx="360000" cy="360000"/>
          </a:xfrm>
          <a:prstGeom prst="rect">
            <a:avLst/>
          </a:prstGeom>
        </p:spPr>
      </p:pic>
      <p:pic>
        <p:nvPicPr>
          <p:cNvPr id="126" name="Graphique 125">
            <a:hlinkClick r:id="rId5"/>
            <a:extLst>
              <a:ext uri="{FF2B5EF4-FFF2-40B4-BE49-F238E27FC236}">
                <a16:creationId xmlns:a16="http://schemas.microsoft.com/office/drawing/2014/main" id="{AC4BA783-078F-4C6E-BE4E-E143E9F636D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894972" y="702273"/>
            <a:ext cx="360000" cy="360000"/>
          </a:xfrm>
          <a:prstGeom prst="rect">
            <a:avLst/>
          </a:prstGeom>
        </p:spPr>
      </p:pic>
      <p:sp>
        <p:nvSpPr>
          <p:cNvPr id="127" name="Rectangle 126">
            <a:hlinkClick r:id="rId5"/>
            <a:extLst>
              <a:ext uri="{FF2B5EF4-FFF2-40B4-BE49-F238E27FC236}">
                <a16:creationId xmlns:a16="http://schemas.microsoft.com/office/drawing/2014/main" id="{0DEFADA8-A00E-42F6-AAA8-08025CB38A01}"/>
              </a:ext>
            </a:extLst>
          </p:cNvPr>
          <p:cNvSpPr/>
          <p:nvPr userDrawn="1"/>
        </p:nvSpPr>
        <p:spPr>
          <a:xfrm>
            <a:off x="6620360" y="1121624"/>
            <a:ext cx="90922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prstClr val="white"/>
                </a:solidFill>
              </a:rPr>
              <a:t>@</a:t>
            </a:r>
            <a:r>
              <a:rPr lang="fr-FR" sz="800" dirty="0" err="1">
                <a:solidFill>
                  <a:prstClr val="white"/>
                </a:solidFill>
              </a:rPr>
              <a:t>univbordeaux</a:t>
            </a:r>
            <a:endParaRPr lang="fr-FR" sz="800" dirty="0">
              <a:solidFill>
                <a:prstClr val="white"/>
              </a:solidFill>
            </a:endParaRPr>
          </a:p>
        </p:txBody>
      </p:sp>
      <p:sp>
        <p:nvSpPr>
          <p:cNvPr id="128" name="Rectangle 127">
            <a:hlinkClick r:id="rId8"/>
            <a:extLst>
              <a:ext uri="{FF2B5EF4-FFF2-40B4-BE49-F238E27FC236}">
                <a16:creationId xmlns:a16="http://schemas.microsoft.com/office/drawing/2014/main" id="{43060483-BA3F-4429-9DB5-CBA75DDBC66C}"/>
              </a:ext>
            </a:extLst>
          </p:cNvPr>
          <p:cNvSpPr/>
          <p:nvPr userDrawn="1"/>
        </p:nvSpPr>
        <p:spPr>
          <a:xfrm>
            <a:off x="2277866" y="2154670"/>
            <a:ext cx="127631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prstClr val="white"/>
                </a:solidFill>
              </a:rPr>
              <a:t>@</a:t>
            </a:r>
            <a:r>
              <a:rPr lang="fr-FR" sz="800" dirty="0" err="1">
                <a:solidFill>
                  <a:prstClr val="white"/>
                </a:solidFill>
              </a:rPr>
              <a:t>universitedebordeaux</a:t>
            </a:r>
            <a:endParaRPr lang="fr-FR" sz="800" dirty="0">
              <a:solidFill>
                <a:prstClr val="white"/>
              </a:solidFill>
            </a:endParaRPr>
          </a:p>
        </p:txBody>
      </p:sp>
      <p:pic>
        <p:nvPicPr>
          <p:cNvPr id="129" name="Graphique 128">
            <a:hlinkClick r:id="rId8"/>
            <a:extLst>
              <a:ext uri="{FF2B5EF4-FFF2-40B4-BE49-F238E27FC236}">
                <a16:creationId xmlns:a16="http://schemas.microsoft.com/office/drawing/2014/main" id="{64F997C0-D043-4AC6-968A-B1C30BBB2282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736022" y="1735319"/>
            <a:ext cx="360000" cy="360000"/>
          </a:xfrm>
          <a:prstGeom prst="rect">
            <a:avLst/>
          </a:prstGeom>
        </p:spPr>
      </p:pic>
      <p:pic>
        <p:nvPicPr>
          <p:cNvPr id="130" name="Graphique 129">
            <a:hlinkClick r:id="rId11"/>
            <a:extLst>
              <a:ext uri="{FF2B5EF4-FFF2-40B4-BE49-F238E27FC236}">
                <a16:creationId xmlns:a16="http://schemas.microsoft.com/office/drawing/2014/main" id="{83FCBC0C-46CD-4319-932E-4A574B930242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232820" y="702273"/>
            <a:ext cx="360000" cy="360000"/>
          </a:xfrm>
          <a:prstGeom prst="rect">
            <a:avLst/>
          </a:prstGeom>
        </p:spPr>
      </p:pic>
      <p:pic>
        <p:nvPicPr>
          <p:cNvPr id="131" name="Graphique 130">
            <a:hlinkClick r:id="rId14"/>
            <a:extLst>
              <a:ext uri="{FF2B5EF4-FFF2-40B4-BE49-F238E27FC236}">
                <a16:creationId xmlns:a16="http://schemas.microsoft.com/office/drawing/2014/main" id="{1819CD89-E770-4FC4-A88B-BD521AE63294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904363" y="702273"/>
            <a:ext cx="360000" cy="360000"/>
          </a:xfrm>
          <a:prstGeom prst="rect">
            <a:avLst/>
          </a:prstGeom>
        </p:spPr>
      </p:pic>
      <p:sp>
        <p:nvSpPr>
          <p:cNvPr id="132" name="Rectangle 131">
            <a:hlinkClick r:id="rId14"/>
            <a:extLst>
              <a:ext uri="{FF2B5EF4-FFF2-40B4-BE49-F238E27FC236}">
                <a16:creationId xmlns:a16="http://schemas.microsoft.com/office/drawing/2014/main" id="{FD3B5232-D5E9-44F0-9C33-33247F54B052}"/>
              </a:ext>
            </a:extLst>
          </p:cNvPr>
          <p:cNvSpPr/>
          <p:nvPr userDrawn="1"/>
        </p:nvSpPr>
        <p:spPr>
          <a:xfrm>
            <a:off x="1560019" y="1121624"/>
            <a:ext cx="104868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prstClr val="white"/>
                </a:solidFill>
              </a:rPr>
              <a:t>www.u-bordeaux.fr</a:t>
            </a:r>
          </a:p>
        </p:txBody>
      </p:sp>
      <p:pic>
        <p:nvPicPr>
          <p:cNvPr id="133" name="Graphique 132">
            <a:hlinkClick r:id="rId17"/>
            <a:extLst>
              <a:ext uri="{FF2B5EF4-FFF2-40B4-BE49-F238E27FC236}">
                <a16:creationId xmlns:a16="http://schemas.microsoft.com/office/drawing/2014/main" id="{5E1444FE-01A7-45A1-BCDA-AF5DE3864777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060942" y="1735319"/>
            <a:ext cx="360000" cy="360000"/>
          </a:xfrm>
          <a:prstGeom prst="rect">
            <a:avLst/>
          </a:prstGeom>
        </p:spPr>
      </p:pic>
      <p:pic>
        <p:nvPicPr>
          <p:cNvPr id="134" name="Graphique 133">
            <a:extLst>
              <a:ext uri="{FF2B5EF4-FFF2-40B4-BE49-F238E27FC236}">
                <a16:creationId xmlns:a16="http://schemas.microsoft.com/office/drawing/2014/main" id="{AE8061E4-BB31-415B-8A63-EE72EEB79D9C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4400221" y="1735319"/>
            <a:ext cx="360000" cy="360000"/>
          </a:xfrm>
          <a:prstGeom prst="rect">
            <a:avLst/>
          </a:prstGeom>
        </p:spPr>
      </p:pic>
      <p:sp>
        <p:nvSpPr>
          <p:cNvPr id="135" name="Rectangle 134">
            <a:extLst>
              <a:ext uri="{FF2B5EF4-FFF2-40B4-BE49-F238E27FC236}">
                <a16:creationId xmlns:a16="http://schemas.microsoft.com/office/drawing/2014/main" id="{C8AD63C4-784A-4776-9B5D-FA8BD25ACF8C}"/>
              </a:ext>
            </a:extLst>
          </p:cNvPr>
          <p:cNvSpPr/>
          <p:nvPr userDrawn="1"/>
        </p:nvSpPr>
        <p:spPr>
          <a:xfrm>
            <a:off x="4029281" y="2154670"/>
            <a:ext cx="108876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prstClr val="white"/>
                </a:solidFill>
              </a:rPr>
              <a:t>Appli mobile </a:t>
            </a:r>
            <a:r>
              <a:rPr lang="fr-FR" sz="800" dirty="0" err="1">
                <a:solidFill>
                  <a:prstClr val="white"/>
                </a:solidFill>
              </a:rPr>
              <a:t>U&amp;me</a:t>
            </a:r>
            <a:endParaRPr lang="fr-FR" sz="800" dirty="0">
              <a:solidFill>
                <a:prstClr val="white"/>
              </a:solidFill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26C582E0-BC44-4452-B431-ACC02FF3B9A7}"/>
              </a:ext>
            </a:extLst>
          </p:cNvPr>
          <p:cNvSpPr/>
          <p:nvPr userDrawn="1"/>
        </p:nvSpPr>
        <p:spPr>
          <a:xfrm>
            <a:off x="5780492" y="2154670"/>
            <a:ext cx="90922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prstClr val="white"/>
                </a:solidFill>
              </a:rPr>
              <a:t>@</a:t>
            </a:r>
            <a:r>
              <a:rPr lang="fr-FR" sz="800" dirty="0" err="1">
                <a:solidFill>
                  <a:prstClr val="white"/>
                </a:solidFill>
              </a:rPr>
              <a:t>univbordeaux</a:t>
            </a:r>
            <a:endParaRPr lang="fr-FR" sz="800" dirty="0">
              <a:solidFill>
                <a:prstClr val="white"/>
              </a:solidFill>
            </a:endParaRPr>
          </a:p>
        </p:txBody>
      </p:sp>
      <p:sp>
        <p:nvSpPr>
          <p:cNvPr id="137" name="Rectangle 136">
            <a:hlinkClick r:id="rId11"/>
            <a:extLst>
              <a:ext uri="{FF2B5EF4-FFF2-40B4-BE49-F238E27FC236}">
                <a16:creationId xmlns:a16="http://schemas.microsoft.com/office/drawing/2014/main" id="{191CC0A6-AEB3-4CFD-B3D3-4BB18C95F655}"/>
              </a:ext>
            </a:extLst>
          </p:cNvPr>
          <p:cNvSpPr/>
          <p:nvPr userDrawn="1"/>
        </p:nvSpPr>
        <p:spPr>
          <a:xfrm>
            <a:off x="4774665" y="1121624"/>
            <a:ext cx="127631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prstClr val="white"/>
                </a:solidFill>
              </a:rPr>
              <a:t>@</a:t>
            </a:r>
            <a:r>
              <a:rPr lang="fr-FR" sz="800" dirty="0" err="1">
                <a:solidFill>
                  <a:prstClr val="white"/>
                </a:solidFill>
              </a:rPr>
              <a:t>universitedebordeaux</a:t>
            </a:r>
            <a:endParaRPr lang="fr-FR" sz="800" dirty="0">
              <a:solidFill>
                <a:prstClr val="white"/>
              </a:solidFill>
            </a:endParaRPr>
          </a:p>
        </p:txBody>
      </p:sp>
      <p:pic>
        <p:nvPicPr>
          <p:cNvPr id="139" name="Graphique 138">
            <a:extLst>
              <a:ext uri="{FF2B5EF4-FFF2-40B4-BE49-F238E27FC236}">
                <a16:creationId xmlns:a16="http://schemas.microsoft.com/office/drawing/2014/main" id="{79773E20-FDC7-4245-9634-08A0DCC6FE2D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3242261" y="3601712"/>
            <a:ext cx="2659479" cy="793651"/>
          </a:xfrm>
          <a:prstGeom prst="rect">
            <a:avLst/>
          </a:prstGeom>
        </p:spPr>
      </p:pic>
      <p:sp>
        <p:nvSpPr>
          <p:cNvPr id="141" name="Espace réservé du texte 140">
            <a:extLst>
              <a:ext uri="{FF2B5EF4-FFF2-40B4-BE49-F238E27FC236}">
                <a16:creationId xmlns:a16="http://schemas.microsoft.com/office/drawing/2014/main" id="{EE880427-05D3-40E0-A2B2-744B3528ADE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4417" y="2973427"/>
            <a:ext cx="5915166" cy="31393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algn="ctr" defTabSz="457200">
              <a:buNone/>
              <a:defRPr lang="fr-FR" sz="1600" b="1" dirty="0" smtClean="0">
                <a:solidFill>
                  <a:schemeClr val="bg1"/>
                </a:solidFill>
              </a:defRPr>
            </a:lvl1pPr>
          </a:lstStyle>
          <a:p>
            <a:pPr marL="0" lvl="0" algn="ctr" defTabSz="457200"/>
            <a:r>
              <a:rPr lang="fr-FR" dirty="0"/>
              <a:t>Message / remerciement</a:t>
            </a:r>
          </a:p>
        </p:txBody>
      </p:sp>
      <p:sp>
        <p:nvSpPr>
          <p:cNvPr id="144" name="Espace réservé du texte 143">
            <a:extLst>
              <a:ext uri="{FF2B5EF4-FFF2-40B4-BE49-F238E27FC236}">
                <a16:creationId xmlns:a16="http://schemas.microsoft.com/office/drawing/2014/main" id="{C20905A2-6F02-47AA-AF2E-63158D48679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5689" y="1"/>
            <a:ext cx="457523" cy="2017735"/>
          </a:xfrm>
          <a:custGeom>
            <a:avLst/>
            <a:gdLst>
              <a:gd name="connsiteX0" fmla="*/ 0 w 457523"/>
              <a:gd name="connsiteY0" fmla="*/ 0 h 2017735"/>
              <a:gd name="connsiteX1" fmla="*/ 275802 w 457523"/>
              <a:gd name="connsiteY1" fmla="*/ 0 h 2017735"/>
              <a:gd name="connsiteX2" fmla="*/ 457523 w 457523"/>
              <a:gd name="connsiteY2" fmla="*/ 0 h 2017735"/>
              <a:gd name="connsiteX3" fmla="*/ 179667 w 457523"/>
              <a:gd name="connsiteY3" fmla="*/ 2017735 h 2017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7523" h="2017735">
                <a:moveTo>
                  <a:pt x="0" y="0"/>
                </a:moveTo>
                <a:lnTo>
                  <a:pt x="275802" y="0"/>
                </a:lnTo>
                <a:lnTo>
                  <a:pt x="457523" y="0"/>
                </a:lnTo>
                <a:lnTo>
                  <a:pt x="179667" y="2017735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grpSp>
        <p:nvGrpSpPr>
          <p:cNvPr id="267" name="Groupe 266">
            <a:extLst>
              <a:ext uri="{FF2B5EF4-FFF2-40B4-BE49-F238E27FC236}">
                <a16:creationId xmlns:a16="http://schemas.microsoft.com/office/drawing/2014/main" id="{5E1891F2-FAFB-45B7-ADB0-B4532A71DEC4}"/>
              </a:ext>
            </a:extLst>
          </p:cNvPr>
          <p:cNvGrpSpPr/>
          <p:nvPr userDrawn="1"/>
        </p:nvGrpSpPr>
        <p:grpSpPr>
          <a:xfrm flipV="1">
            <a:off x="-91485" y="12467"/>
            <a:ext cx="1008300" cy="5190499"/>
            <a:chOff x="-91485" y="-57106"/>
            <a:chExt cx="1008300" cy="5190499"/>
          </a:xfrm>
          <a:solidFill>
            <a:schemeClr val="bg2">
              <a:alpha val="10000"/>
            </a:schemeClr>
          </a:solidFill>
        </p:grpSpPr>
        <p:sp>
          <p:nvSpPr>
            <p:cNvPr id="268" name="Forme libre : forme 267">
              <a:extLst>
                <a:ext uri="{FF2B5EF4-FFF2-40B4-BE49-F238E27FC236}">
                  <a16:creationId xmlns:a16="http://schemas.microsoft.com/office/drawing/2014/main" id="{73F747AB-BDD9-4153-8A0F-81B6FADAE149}"/>
                </a:ext>
              </a:extLst>
            </p:cNvPr>
            <p:cNvSpPr/>
            <p:nvPr/>
          </p:nvSpPr>
          <p:spPr>
            <a:xfrm rot="8716295">
              <a:off x="617786" y="1780350"/>
              <a:ext cx="152726" cy="195873"/>
            </a:xfrm>
            <a:custGeom>
              <a:avLst/>
              <a:gdLst>
                <a:gd name="connsiteX0" fmla="*/ 39589 w 152726"/>
                <a:gd name="connsiteY0" fmla="*/ 195873 h 195873"/>
                <a:gd name="connsiteX1" fmla="*/ 0 w 152726"/>
                <a:gd name="connsiteY1" fmla="*/ 122219 h 195873"/>
                <a:gd name="connsiteX2" fmla="*/ 101089 w 152726"/>
                <a:gd name="connsiteY2" fmla="*/ 0 h 195873"/>
                <a:gd name="connsiteX3" fmla="*/ 152726 w 152726"/>
                <a:gd name="connsiteY3" fmla="*/ 0 h 195873"/>
                <a:gd name="connsiteX4" fmla="*/ 152726 w 152726"/>
                <a:gd name="connsiteY4" fmla="*/ 55323 h 195873"/>
                <a:gd name="connsiteX5" fmla="*/ 87934 w 152726"/>
                <a:gd name="connsiteY5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726" h="195873">
                  <a:moveTo>
                    <a:pt x="39589" y="195873"/>
                  </a:moveTo>
                  <a:lnTo>
                    <a:pt x="0" y="122219"/>
                  </a:lnTo>
                  <a:lnTo>
                    <a:pt x="101089" y="0"/>
                  </a:lnTo>
                  <a:lnTo>
                    <a:pt x="152726" y="0"/>
                  </a:lnTo>
                  <a:lnTo>
                    <a:pt x="152726" y="55323"/>
                  </a:lnTo>
                  <a:lnTo>
                    <a:pt x="87934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" name="Forme libre : forme 268">
              <a:extLst>
                <a:ext uri="{FF2B5EF4-FFF2-40B4-BE49-F238E27FC236}">
                  <a16:creationId xmlns:a16="http://schemas.microsoft.com/office/drawing/2014/main" id="{ABB68B3A-64E8-421E-A122-56A45C711E07}"/>
                </a:ext>
              </a:extLst>
            </p:cNvPr>
            <p:cNvSpPr/>
            <p:nvPr/>
          </p:nvSpPr>
          <p:spPr>
            <a:xfrm rot="8716295">
              <a:off x="534441" y="1654353"/>
              <a:ext cx="262864" cy="103234"/>
            </a:xfrm>
            <a:custGeom>
              <a:avLst/>
              <a:gdLst>
                <a:gd name="connsiteX0" fmla="*/ 0 w 262864"/>
                <a:gd name="connsiteY0" fmla="*/ 75341 h 103234"/>
                <a:gd name="connsiteX1" fmla="*/ 62316 w 262864"/>
                <a:gd name="connsiteY1" fmla="*/ 0 h 103234"/>
                <a:gd name="connsiteX2" fmla="*/ 65768 w 262864"/>
                <a:gd name="connsiteY2" fmla="*/ 14220 h 103234"/>
                <a:gd name="connsiteX3" fmla="*/ 136369 w 262864"/>
                <a:gd name="connsiteY3" fmla="*/ 53051 h 103234"/>
                <a:gd name="connsiteX4" fmla="*/ 189321 w 262864"/>
                <a:gd name="connsiteY4" fmla="*/ 43637 h 103234"/>
                <a:gd name="connsiteX5" fmla="*/ 261688 w 262864"/>
                <a:gd name="connsiteY5" fmla="*/ 14220 h 103234"/>
                <a:gd name="connsiteX6" fmla="*/ 262864 w 262864"/>
                <a:gd name="connsiteY6" fmla="*/ 21868 h 103234"/>
                <a:gd name="connsiteX7" fmla="*/ 262864 w 262864"/>
                <a:gd name="connsiteY7" fmla="*/ 27752 h 103234"/>
                <a:gd name="connsiteX8" fmla="*/ 69887 w 262864"/>
                <a:gd name="connsiteY8" fmla="*/ 103060 h 103234"/>
                <a:gd name="connsiteX9" fmla="*/ 30615 w 262864"/>
                <a:gd name="connsiteY9" fmla="*/ 96294 h 103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2864" h="103234">
                  <a:moveTo>
                    <a:pt x="0" y="75341"/>
                  </a:moveTo>
                  <a:lnTo>
                    <a:pt x="62316" y="0"/>
                  </a:lnTo>
                  <a:lnTo>
                    <a:pt x="65768" y="14220"/>
                  </a:lnTo>
                  <a:cubicBezTo>
                    <a:pt x="75182" y="40107"/>
                    <a:pt x="99304" y="53051"/>
                    <a:pt x="136369" y="53051"/>
                  </a:cubicBezTo>
                  <a:cubicBezTo>
                    <a:pt x="154609" y="52462"/>
                    <a:pt x="172259" y="48932"/>
                    <a:pt x="189321" y="43637"/>
                  </a:cubicBezTo>
                  <a:cubicBezTo>
                    <a:pt x="214031" y="35988"/>
                    <a:pt x="238154" y="25987"/>
                    <a:pt x="261688" y="14220"/>
                  </a:cubicBezTo>
                  <a:cubicBezTo>
                    <a:pt x="262276" y="16573"/>
                    <a:pt x="262864" y="19515"/>
                    <a:pt x="262864" y="21868"/>
                  </a:cubicBezTo>
                  <a:lnTo>
                    <a:pt x="262864" y="27752"/>
                  </a:lnTo>
                  <a:cubicBezTo>
                    <a:pt x="200500" y="81291"/>
                    <a:pt x="118719" y="100119"/>
                    <a:pt x="69887" y="103060"/>
                  </a:cubicBezTo>
                  <a:cubicBezTo>
                    <a:pt x="56355" y="103943"/>
                    <a:pt x="42970" y="101442"/>
                    <a:pt x="30615" y="9629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0" name="Forme libre : forme 269">
              <a:extLst>
                <a:ext uri="{FF2B5EF4-FFF2-40B4-BE49-F238E27FC236}">
                  <a16:creationId xmlns:a16="http://schemas.microsoft.com/office/drawing/2014/main" id="{053D4FF2-A9EA-4185-9507-77A0BB17DB0B}"/>
                </a:ext>
              </a:extLst>
            </p:cNvPr>
            <p:cNvSpPr/>
            <p:nvPr/>
          </p:nvSpPr>
          <p:spPr>
            <a:xfrm rot="8716295">
              <a:off x="632719" y="1232432"/>
              <a:ext cx="121558" cy="232388"/>
            </a:xfrm>
            <a:custGeom>
              <a:avLst/>
              <a:gdLst>
                <a:gd name="connsiteX0" fmla="*/ 60499 w 121558"/>
                <a:gd name="connsiteY0" fmla="*/ 232388 h 232388"/>
                <a:gd name="connsiteX1" fmla="*/ 60499 w 121558"/>
                <a:gd name="connsiteY1" fmla="*/ 69717 h 232388"/>
                <a:gd name="connsiteX2" fmla="*/ 60499 w 121558"/>
                <a:gd name="connsiteY2" fmla="*/ 65615 h 232388"/>
                <a:gd name="connsiteX3" fmla="*/ 39995 w 121558"/>
                <a:gd name="connsiteY3" fmla="*/ 50123 h 232388"/>
                <a:gd name="connsiteX4" fmla="*/ 0 w 121558"/>
                <a:gd name="connsiteY4" fmla="*/ 50123 h 232388"/>
                <a:gd name="connsiteX5" fmla="*/ 41457 w 121558"/>
                <a:gd name="connsiteY5" fmla="*/ 0 h 232388"/>
                <a:gd name="connsiteX6" fmla="*/ 64601 w 121558"/>
                <a:gd name="connsiteY6" fmla="*/ 0 h 232388"/>
                <a:gd name="connsiteX7" fmla="*/ 121558 w 121558"/>
                <a:gd name="connsiteY7" fmla="*/ 50123 h 232388"/>
                <a:gd name="connsiteX8" fmla="*/ 121558 w 121558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558" h="232388">
                  <a:moveTo>
                    <a:pt x="60499" y="232388"/>
                  </a:moveTo>
                  <a:lnTo>
                    <a:pt x="60499" y="69717"/>
                  </a:lnTo>
                  <a:cubicBezTo>
                    <a:pt x="60499" y="68349"/>
                    <a:pt x="60499" y="66983"/>
                    <a:pt x="60499" y="65615"/>
                  </a:cubicBezTo>
                  <a:cubicBezTo>
                    <a:pt x="59133" y="55591"/>
                    <a:pt x="50019" y="48756"/>
                    <a:pt x="39995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64601" y="0"/>
                  </a:lnTo>
                  <a:cubicBezTo>
                    <a:pt x="101509" y="0"/>
                    <a:pt x="121558" y="15948"/>
                    <a:pt x="121558" y="50123"/>
                  </a:cubicBezTo>
                  <a:lnTo>
                    <a:pt x="121558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1" name="Forme libre : forme 270">
              <a:extLst>
                <a:ext uri="{FF2B5EF4-FFF2-40B4-BE49-F238E27FC236}">
                  <a16:creationId xmlns:a16="http://schemas.microsoft.com/office/drawing/2014/main" id="{79A1F7C8-13AC-4C12-A1FD-013BA48F78A7}"/>
                </a:ext>
              </a:extLst>
            </p:cNvPr>
            <p:cNvSpPr/>
            <p:nvPr/>
          </p:nvSpPr>
          <p:spPr>
            <a:xfrm rot="8716295">
              <a:off x="763454" y="1474783"/>
              <a:ext cx="14143" cy="14319"/>
            </a:xfrm>
            <a:custGeom>
              <a:avLst/>
              <a:gdLst>
                <a:gd name="connsiteX0" fmla="*/ 0 w 14143"/>
                <a:gd name="connsiteY0" fmla="*/ 14319 h 14319"/>
                <a:gd name="connsiteX1" fmla="*/ 11843 w 14143"/>
                <a:gd name="connsiteY1" fmla="*/ 0 h 14319"/>
                <a:gd name="connsiteX2" fmla="*/ 14143 w 14143"/>
                <a:gd name="connsiteY2" fmla="*/ 7563 h 14319"/>
                <a:gd name="connsiteX3" fmla="*/ 14143 w 14143"/>
                <a:gd name="connsiteY3" fmla="*/ 13487 h 1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43" h="14319">
                  <a:moveTo>
                    <a:pt x="0" y="14319"/>
                  </a:moveTo>
                  <a:lnTo>
                    <a:pt x="11843" y="0"/>
                  </a:lnTo>
                  <a:lnTo>
                    <a:pt x="14143" y="7563"/>
                  </a:lnTo>
                  <a:lnTo>
                    <a:pt x="14143" y="1348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2" name="Forme libre : forme 271">
              <a:extLst>
                <a:ext uri="{FF2B5EF4-FFF2-40B4-BE49-F238E27FC236}">
                  <a16:creationId xmlns:a16="http://schemas.microsoft.com/office/drawing/2014/main" id="{C3E454D8-15B4-4672-8FB0-B86B805165E6}"/>
                </a:ext>
              </a:extLst>
            </p:cNvPr>
            <p:cNvSpPr/>
            <p:nvPr/>
          </p:nvSpPr>
          <p:spPr>
            <a:xfrm rot="8716295">
              <a:off x="672878" y="1171577"/>
              <a:ext cx="183964" cy="137618"/>
            </a:xfrm>
            <a:custGeom>
              <a:avLst/>
              <a:gdLst>
                <a:gd name="connsiteX0" fmla="*/ 0 w 183964"/>
                <a:gd name="connsiteY0" fmla="*/ 137618 h 137618"/>
                <a:gd name="connsiteX1" fmla="*/ 53346 w 183964"/>
                <a:gd name="connsiteY1" fmla="*/ 73121 h 137618"/>
                <a:gd name="connsiteX2" fmla="*/ 101034 w 183964"/>
                <a:gd name="connsiteY2" fmla="*/ 28251 h 137618"/>
                <a:gd name="connsiteX3" fmla="*/ 155713 w 183964"/>
                <a:gd name="connsiteY3" fmla="*/ 0 h 137618"/>
                <a:gd name="connsiteX4" fmla="*/ 183964 w 183964"/>
                <a:gd name="connsiteY4" fmla="*/ 33719 h 137618"/>
                <a:gd name="connsiteX5" fmla="*/ 157536 w 183964"/>
                <a:gd name="connsiteY5" fmla="*/ 69261 h 137618"/>
                <a:gd name="connsiteX6" fmla="*/ 157991 w 183964"/>
                <a:gd name="connsiteY6" fmla="*/ 69261 h 137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3964" h="137618">
                  <a:moveTo>
                    <a:pt x="0" y="137618"/>
                  </a:moveTo>
                  <a:lnTo>
                    <a:pt x="53346" y="73121"/>
                  </a:lnTo>
                  <a:lnTo>
                    <a:pt x="101034" y="28251"/>
                  </a:lnTo>
                  <a:cubicBezTo>
                    <a:pt x="114703" y="12303"/>
                    <a:pt x="134297" y="2278"/>
                    <a:pt x="155713" y="0"/>
                  </a:cubicBezTo>
                  <a:cubicBezTo>
                    <a:pt x="177585" y="0"/>
                    <a:pt x="183964" y="19138"/>
                    <a:pt x="183964" y="33719"/>
                  </a:cubicBezTo>
                  <a:cubicBezTo>
                    <a:pt x="182597" y="49667"/>
                    <a:pt x="172117" y="62881"/>
                    <a:pt x="157536" y="69261"/>
                  </a:cubicBezTo>
                  <a:lnTo>
                    <a:pt x="157991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3" name="Forme libre : forme 272">
              <a:extLst>
                <a:ext uri="{FF2B5EF4-FFF2-40B4-BE49-F238E27FC236}">
                  <a16:creationId xmlns:a16="http://schemas.microsoft.com/office/drawing/2014/main" id="{9C05EADF-BE0D-49AA-B420-B1EB4831C5FE}"/>
                </a:ext>
              </a:extLst>
            </p:cNvPr>
            <p:cNvSpPr/>
            <p:nvPr/>
          </p:nvSpPr>
          <p:spPr>
            <a:xfrm rot="8716295">
              <a:off x="519479" y="13148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4" name="Forme libre : forme 273">
              <a:extLst>
                <a:ext uri="{FF2B5EF4-FFF2-40B4-BE49-F238E27FC236}">
                  <a16:creationId xmlns:a16="http://schemas.microsoft.com/office/drawing/2014/main" id="{AB241E56-80DB-4C03-BDCB-013736737321}"/>
                </a:ext>
              </a:extLst>
            </p:cNvPr>
            <p:cNvSpPr/>
            <p:nvPr/>
          </p:nvSpPr>
          <p:spPr>
            <a:xfrm rot="8716295">
              <a:off x="394576" y="11061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5" name="Forme libre : forme 274">
              <a:extLst>
                <a:ext uri="{FF2B5EF4-FFF2-40B4-BE49-F238E27FC236}">
                  <a16:creationId xmlns:a16="http://schemas.microsoft.com/office/drawing/2014/main" id="{E447AC23-F520-414E-AA97-1E8F359564D9}"/>
                </a:ext>
              </a:extLst>
            </p:cNvPr>
            <p:cNvSpPr/>
            <p:nvPr/>
          </p:nvSpPr>
          <p:spPr>
            <a:xfrm rot="8716295">
              <a:off x="382524" y="96739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6" name="Forme libre : forme 275">
              <a:extLst>
                <a:ext uri="{FF2B5EF4-FFF2-40B4-BE49-F238E27FC236}">
                  <a16:creationId xmlns:a16="http://schemas.microsoft.com/office/drawing/2014/main" id="{64C6C88C-FD82-456D-9665-DF0FCE0E4C47}"/>
                </a:ext>
              </a:extLst>
            </p:cNvPr>
            <p:cNvSpPr/>
            <p:nvPr/>
          </p:nvSpPr>
          <p:spPr>
            <a:xfrm rot="8716295">
              <a:off x="609657" y="135579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7" name="Forme libre : forme 276">
              <a:extLst>
                <a:ext uri="{FF2B5EF4-FFF2-40B4-BE49-F238E27FC236}">
                  <a16:creationId xmlns:a16="http://schemas.microsoft.com/office/drawing/2014/main" id="{0A77A193-F583-4928-97AF-E64E8FF6DEAD}"/>
                </a:ext>
              </a:extLst>
            </p:cNvPr>
            <p:cNvSpPr/>
            <p:nvPr/>
          </p:nvSpPr>
          <p:spPr>
            <a:xfrm rot="8716295">
              <a:off x="683426" y="869567"/>
              <a:ext cx="156000" cy="195873"/>
            </a:xfrm>
            <a:custGeom>
              <a:avLst/>
              <a:gdLst>
                <a:gd name="connsiteX0" fmla="*/ 42863 w 156000"/>
                <a:gd name="connsiteY0" fmla="*/ 195873 h 195873"/>
                <a:gd name="connsiteX1" fmla="*/ 0 w 156000"/>
                <a:gd name="connsiteY1" fmla="*/ 116129 h 195873"/>
                <a:gd name="connsiteX2" fmla="*/ 5100 w 156000"/>
                <a:gd name="connsiteY2" fmla="*/ 101988 h 195873"/>
                <a:gd name="connsiteX3" fmla="*/ 89456 w 156000"/>
                <a:gd name="connsiteY3" fmla="*/ 0 h 195873"/>
                <a:gd name="connsiteX4" fmla="*/ 156000 w 156000"/>
                <a:gd name="connsiteY4" fmla="*/ 0 h 195873"/>
                <a:gd name="connsiteX5" fmla="*/ 156000 w 156000"/>
                <a:gd name="connsiteY5" fmla="*/ 55323 h 195873"/>
                <a:gd name="connsiteX6" fmla="*/ 91208 w 156000"/>
                <a:gd name="connsiteY6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000" h="195873">
                  <a:moveTo>
                    <a:pt x="42863" y="195873"/>
                  </a:moveTo>
                  <a:lnTo>
                    <a:pt x="0" y="116129"/>
                  </a:lnTo>
                  <a:lnTo>
                    <a:pt x="5100" y="101988"/>
                  </a:lnTo>
                  <a:lnTo>
                    <a:pt x="89456" y="0"/>
                  </a:lnTo>
                  <a:lnTo>
                    <a:pt x="156000" y="0"/>
                  </a:lnTo>
                  <a:lnTo>
                    <a:pt x="156000" y="55323"/>
                  </a:lnTo>
                  <a:lnTo>
                    <a:pt x="91208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8" name="Forme libre : forme 277">
              <a:extLst>
                <a:ext uri="{FF2B5EF4-FFF2-40B4-BE49-F238E27FC236}">
                  <a16:creationId xmlns:a16="http://schemas.microsoft.com/office/drawing/2014/main" id="{CF3F0AFD-D31B-4029-B3F3-E13BB8216AB9}"/>
                </a:ext>
              </a:extLst>
            </p:cNvPr>
            <p:cNvSpPr/>
            <p:nvPr/>
          </p:nvSpPr>
          <p:spPr>
            <a:xfrm rot="8716295">
              <a:off x="657305" y="95604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9" name="Forme libre : forme 278">
              <a:extLst>
                <a:ext uri="{FF2B5EF4-FFF2-40B4-BE49-F238E27FC236}">
                  <a16:creationId xmlns:a16="http://schemas.microsoft.com/office/drawing/2014/main" id="{4E0EA875-3BAB-4BDB-A5B0-808C38082217}"/>
                </a:ext>
              </a:extLst>
            </p:cNvPr>
            <p:cNvSpPr/>
            <p:nvPr/>
          </p:nvSpPr>
          <p:spPr>
            <a:xfrm rot="8716295">
              <a:off x="412774" y="56424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0" name="Forme libre : forme 279">
              <a:extLst>
                <a:ext uri="{FF2B5EF4-FFF2-40B4-BE49-F238E27FC236}">
                  <a16:creationId xmlns:a16="http://schemas.microsoft.com/office/drawing/2014/main" id="{842C3D6E-95C4-425C-8B38-D0EBD8DBD5E5}"/>
                </a:ext>
              </a:extLst>
            </p:cNvPr>
            <p:cNvSpPr/>
            <p:nvPr/>
          </p:nvSpPr>
          <p:spPr>
            <a:xfrm rot="8716295">
              <a:off x="502166" y="59348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1" name="Forme libre : forme 280">
              <a:extLst>
                <a:ext uri="{FF2B5EF4-FFF2-40B4-BE49-F238E27FC236}">
                  <a16:creationId xmlns:a16="http://schemas.microsoft.com/office/drawing/2014/main" id="{A75BA1B9-497A-4874-9158-409D833D072A}"/>
                </a:ext>
              </a:extLst>
            </p:cNvPr>
            <p:cNvSpPr/>
            <p:nvPr/>
          </p:nvSpPr>
          <p:spPr>
            <a:xfrm rot="8716295">
              <a:off x="457316" y="50720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2" name="Forme libre : forme 281">
              <a:extLst>
                <a:ext uri="{FF2B5EF4-FFF2-40B4-BE49-F238E27FC236}">
                  <a16:creationId xmlns:a16="http://schemas.microsoft.com/office/drawing/2014/main" id="{205B75CA-6160-44CB-AE0D-8B52A04FF9B7}"/>
                </a:ext>
              </a:extLst>
            </p:cNvPr>
            <p:cNvSpPr/>
            <p:nvPr/>
          </p:nvSpPr>
          <p:spPr>
            <a:xfrm rot="8716295">
              <a:off x="300540" y="65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3" name="Forme libre : forme 282">
              <a:extLst>
                <a:ext uri="{FF2B5EF4-FFF2-40B4-BE49-F238E27FC236}">
                  <a16:creationId xmlns:a16="http://schemas.microsoft.com/office/drawing/2014/main" id="{91186326-55D6-4548-B33F-3511BC925FE8}"/>
                </a:ext>
              </a:extLst>
            </p:cNvPr>
            <p:cNvSpPr/>
            <p:nvPr/>
          </p:nvSpPr>
          <p:spPr>
            <a:xfrm rot="8716295">
              <a:off x="175637" y="44411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4" name="Forme libre : forme 283">
              <a:extLst>
                <a:ext uri="{FF2B5EF4-FFF2-40B4-BE49-F238E27FC236}">
                  <a16:creationId xmlns:a16="http://schemas.microsoft.com/office/drawing/2014/main" id="{A2ED5F31-FCDD-430A-BE16-9B1EA12A7F4F}"/>
                </a:ext>
              </a:extLst>
            </p:cNvPr>
            <p:cNvSpPr/>
            <p:nvPr/>
          </p:nvSpPr>
          <p:spPr>
            <a:xfrm rot="8716295">
              <a:off x="163585" y="30533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5" name="Forme libre : forme 284">
              <a:extLst>
                <a:ext uri="{FF2B5EF4-FFF2-40B4-BE49-F238E27FC236}">
                  <a16:creationId xmlns:a16="http://schemas.microsoft.com/office/drawing/2014/main" id="{FEC22DEA-F709-420C-A439-1AC57EB74539}"/>
                </a:ext>
              </a:extLst>
            </p:cNvPr>
            <p:cNvSpPr/>
            <p:nvPr/>
          </p:nvSpPr>
          <p:spPr>
            <a:xfrm rot="8716295">
              <a:off x="390718" y="69374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6" name="Forme libre : forme 285">
              <a:extLst>
                <a:ext uri="{FF2B5EF4-FFF2-40B4-BE49-F238E27FC236}">
                  <a16:creationId xmlns:a16="http://schemas.microsoft.com/office/drawing/2014/main" id="{4DA790D9-C5B8-43BC-8AB6-4E888B07FAC5}"/>
                </a:ext>
              </a:extLst>
            </p:cNvPr>
            <p:cNvSpPr/>
            <p:nvPr/>
          </p:nvSpPr>
          <p:spPr>
            <a:xfrm rot="8716295">
              <a:off x="702015" y="317459"/>
              <a:ext cx="131260" cy="232388"/>
            </a:xfrm>
            <a:custGeom>
              <a:avLst/>
              <a:gdLst>
                <a:gd name="connsiteX0" fmla="*/ 70201 w 131260"/>
                <a:gd name="connsiteY0" fmla="*/ 232388 h 232388"/>
                <a:gd name="connsiteX1" fmla="*/ 70201 w 131260"/>
                <a:gd name="connsiteY1" fmla="*/ 69717 h 232388"/>
                <a:gd name="connsiteX2" fmla="*/ 70201 w 131260"/>
                <a:gd name="connsiteY2" fmla="*/ 65615 h 232388"/>
                <a:gd name="connsiteX3" fmla="*/ 49697 w 131260"/>
                <a:gd name="connsiteY3" fmla="*/ 50123 h 232388"/>
                <a:gd name="connsiteX4" fmla="*/ 0 w 131260"/>
                <a:gd name="connsiteY4" fmla="*/ 50123 h 232388"/>
                <a:gd name="connsiteX5" fmla="*/ 41457 w 131260"/>
                <a:gd name="connsiteY5" fmla="*/ 0 h 232388"/>
                <a:gd name="connsiteX6" fmla="*/ 74303 w 131260"/>
                <a:gd name="connsiteY6" fmla="*/ 0 h 232388"/>
                <a:gd name="connsiteX7" fmla="*/ 131260 w 131260"/>
                <a:gd name="connsiteY7" fmla="*/ 50123 h 232388"/>
                <a:gd name="connsiteX8" fmla="*/ 131260 w 131260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1260" h="232388">
                  <a:moveTo>
                    <a:pt x="70201" y="232388"/>
                  </a:moveTo>
                  <a:lnTo>
                    <a:pt x="70201" y="69717"/>
                  </a:lnTo>
                  <a:cubicBezTo>
                    <a:pt x="70201" y="68349"/>
                    <a:pt x="70201" y="66983"/>
                    <a:pt x="70201" y="65615"/>
                  </a:cubicBezTo>
                  <a:cubicBezTo>
                    <a:pt x="68835" y="55591"/>
                    <a:pt x="59721" y="48756"/>
                    <a:pt x="49697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74303" y="0"/>
                  </a:lnTo>
                  <a:cubicBezTo>
                    <a:pt x="111211" y="0"/>
                    <a:pt x="131260" y="15948"/>
                    <a:pt x="131260" y="50123"/>
                  </a:cubicBezTo>
                  <a:lnTo>
                    <a:pt x="131260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7" name="Forme libre : forme 286">
              <a:extLst>
                <a:ext uri="{FF2B5EF4-FFF2-40B4-BE49-F238E27FC236}">
                  <a16:creationId xmlns:a16="http://schemas.microsoft.com/office/drawing/2014/main" id="{091E5F9C-73C6-4CAB-93E5-EFA60788C51C}"/>
                </a:ext>
              </a:extLst>
            </p:cNvPr>
            <p:cNvSpPr/>
            <p:nvPr/>
          </p:nvSpPr>
          <p:spPr>
            <a:xfrm rot="8716295">
              <a:off x="834978" y="558357"/>
              <a:ext cx="24341" cy="23495"/>
            </a:xfrm>
            <a:custGeom>
              <a:avLst/>
              <a:gdLst>
                <a:gd name="connsiteX0" fmla="*/ 0 w 24341"/>
                <a:gd name="connsiteY0" fmla="*/ 23495 h 23495"/>
                <a:gd name="connsiteX1" fmla="*/ 19433 w 24341"/>
                <a:gd name="connsiteY1" fmla="*/ 0 h 23495"/>
                <a:gd name="connsiteX2" fmla="*/ 24341 w 24341"/>
                <a:gd name="connsiteY2" fmla="*/ 16139 h 23495"/>
                <a:gd name="connsiteX3" fmla="*/ 24341 w 24341"/>
                <a:gd name="connsiteY3" fmla="*/ 22063 h 23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41" h="23495">
                  <a:moveTo>
                    <a:pt x="0" y="23495"/>
                  </a:moveTo>
                  <a:lnTo>
                    <a:pt x="19433" y="0"/>
                  </a:lnTo>
                  <a:lnTo>
                    <a:pt x="24341" y="16139"/>
                  </a:lnTo>
                  <a:lnTo>
                    <a:pt x="24341" y="220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8" name="Forme libre : forme 287">
              <a:extLst>
                <a:ext uri="{FF2B5EF4-FFF2-40B4-BE49-F238E27FC236}">
                  <a16:creationId xmlns:a16="http://schemas.microsoft.com/office/drawing/2014/main" id="{93F3A654-B74E-499B-8487-8A2B2CC5A0EA}"/>
                </a:ext>
              </a:extLst>
            </p:cNvPr>
            <p:cNvSpPr/>
            <p:nvPr/>
          </p:nvSpPr>
          <p:spPr>
            <a:xfrm rot="8716295">
              <a:off x="589639" y="40263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9" name="Forme libre : forme 288">
              <a:extLst>
                <a:ext uri="{FF2B5EF4-FFF2-40B4-BE49-F238E27FC236}">
                  <a16:creationId xmlns:a16="http://schemas.microsoft.com/office/drawing/2014/main" id="{D0AE4335-4774-4A5C-9D6E-6AA33670DF96}"/>
                </a:ext>
              </a:extLst>
            </p:cNvPr>
            <p:cNvSpPr/>
            <p:nvPr/>
          </p:nvSpPr>
          <p:spPr>
            <a:xfrm rot="8716295">
              <a:off x="464737" y="19396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0" name="Forme libre : forme 289">
              <a:extLst>
                <a:ext uri="{FF2B5EF4-FFF2-40B4-BE49-F238E27FC236}">
                  <a16:creationId xmlns:a16="http://schemas.microsoft.com/office/drawing/2014/main" id="{2305D91E-CF26-4028-92DC-E2D20BB482D6}"/>
                </a:ext>
              </a:extLst>
            </p:cNvPr>
            <p:cNvSpPr/>
            <p:nvPr/>
          </p:nvSpPr>
          <p:spPr>
            <a:xfrm rot="8716295">
              <a:off x="679817" y="44358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1" name="Forme libre : forme 290">
              <a:extLst>
                <a:ext uri="{FF2B5EF4-FFF2-40B4-BE49-F238E27FC236}">
                  <a16:creationId xmlns:a16="http://schemas.microsoft.com/office/drawing/2014/main" id="{DF9C8202-D29B-450E-90FF-E46CAC2E7FA2}"/>
                </a:ext>
              </a:extLst>
            </p:cNvPr>
            <p:cNvSpPr/>
            <p:nvPr/>
          </p:nvSpPr>
          <p:spPr>
            <a:xfrm rot="8716295">
              <a:off x="438366" y="29398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2" name="Forme libre : forme 291">
              <a:extLst>
                <a:ext uri="{FF2B5EF4-FFF2-40B4-BE49-F238E27FC236}">
                  <a16:creationId xmlns:a16="http://schemas.microsoft.com/office/drawing/2014/main" id="{28FFA2F5-C74D-4918-B35E-56FAFD44D7DC}"/>
                </a:ext>
              </a:extLst>
            </p:cNvPr>
            <p:cNvSpPr/>
            <p:nvPr/>
          </p:nvSpPr>
          <p:spPr>
            <a:xfrm rot="7484129">
              <a:off x="811674" y="658874"/>
              <a:ext cx="31078" cy="46141"/>
            </a:xfrm>
            <a:custGeom>
              <a:avLst/>
              <a:gdLst>
                <a:gd name="connsiteX0" fmla="*/ 15207 w 31078"/>
                <a:gd name="connsiteY0" fmla="*/ 46141 h 46141"/>
                <a:gd name="connsiteX1" fmla="*/ 0 w 31078"/>
                <a:gd name="connsiteY1" fmla="*/ 17849 h 46141"/>
                <a:gd name="connsiteX2" fmla="*/ 31078 w 31078"/>
                <a:gd name="connsiteY2" fmla="*/ 0 h 46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078" h="46141">
                  <a:moveTo>
                    <a:pt x="15207" y="46141"/>
                  </a:moveTo>
                  <a:lnTo>
                    <a:pt x="0" y="17849"/>
                  </a:lnTo>
                  <a:lnTo>
                    <a:pt x="3107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3" name="Forme libre : forme 292">
              <a:extLst>
                <a:ext uri="{FF2B5EF4-FFF2-40B4-BE49-F238E27FC236}">
                  <a16:creationId xmlns:a16="http://schemas.microsoft.com/office/drawing/2014/main" id="{F7F1B592-6665-4DA1-B454-1D5C767BA63B}"/>
                </a:ext>
              </a:extLst>
            </p:cNvPr>
            <p:cNvSpPr/>
            <p:nvPr/>
          </p:nvSpPr>
          <p:spPr>
            <a:xfrm rot="8716295">
              <a:off x="780102" y="336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4" name="Forme libre : forme 293">
              <a:extLst>
                <a:ext uri="{FF2B5EF4-FFF2-40B4-BE49-F238E27FC236}">
                  <a16:creationId xmlns:a16="http://schemas.microsoft.com/office/drawing/2014/main" id="{33626504-CACB-4364-8AA4-F28F086A7B6A}"/>
                </a:ext>
              </a:extLst>
            </p:cNvPr>
            <p:cNvSpPr/>
            <p:nvPr/>
          </p:nvSpPr>
          <p:spPr>
            <a:xfrm rot="8716295">
              <a:off x="202348" y="-57106"/>
              <a:ext cx="142167" cy="186494"/>
            </a:xfrm>
            <a:custGeom>
              <a:avLst/>
              <a:gdLst>
                <a:gd name="connsiteX0" fmla="*/ 142167 w 142167"/>
                <a:gd name="connsiteY0" fmla="*/ 186494 h 186494"/>
                <a:gd name="connsiteX1" fmla="*/ 81108 w 142167"/>
                <a:gd name="connsiteY1" fmla="*/ 144170 h 186494"/>
                <a:gd name="connsiteX2" fmla="*/ 81108 w 142167"/>
                <a:gd name="connsiteY2" fmla="*/ 69717 h 186494"/>
                <a:gd name="connsiteX3" fmla="*/ 81108 w 142167"/>
                <a:gd name="connsiteY3" fmla="*/ 65615 h 186494"/>
                <a:gd name="connsiteX4" fmla="*/ 60603 w 142167"/>
                <a:gd name="connsiteY4" fmla="*/ 50123 h 186494"/>
                <a:gd name="connsiteX5" fmla="*/ 0 w 142167"/>
                <a:gd name="connsiteY5" fmla="*/ 50123 h 186494"/>
                <a:gd name="connsiteX6" fmla="*/ 0 w 142167"/>
                <a:gd name="connsiteY6" fmla="*/ 0 h 186494"/>
                <a:gd name="connsiteX7" fmla="*/ 85209 w 142167"/>
                <a:gd name="connsiteY7" fmla="*/ 0 h 186494"/>
                <a:gd name="connsiteX8" fmla="*/ 142167 w 142167"/>
                <a:gd name="connsiteY8" fmla="*/ 50123 h 186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86494">
                  <a:moveTo>
                    <a:pt x="142167" y="186494"/>
                  </a:moveTo>
                  <a:lnTo>
                    <a:pt x="81108" y="144170"/>
                  </a:lnTo>
                  <a:lnTo>
                    <a:pt x="81108" y="69717"/>
                  </a:lnTo>
                  <a:cubicBezTo>
                    <a:pt x="81108" y="68349"/>
                    <a:pt x="81108" y="66983"/>
                    <a:pt x="81108" y="65615"/>
                  </a:cubicBezTo>
                  <a:cubicBezTo>
                    <a:pt x="79741" y="55591"/>
                    <a:pt x="70628" y="48756"/>
                    <a:pt x="60603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5" name="Forme libre : forme 294">
              <a:extLst>
                <a:ext uri="{FF2B5EF4-FFF2-40B4-BE49-F238E27FC236}">
                  <a16:creationId xmlns:a16="http://schemas.microsoft.com/office/drawing/2014/main" id="{8B9EE4C0-9C2E-42BB-B294-381EB8F6C5DA}"/>
                </a:ext>
              </a:extLst>
            </p:cNvPr>
            <p:cNvSpPr/>
            <p:nvPr/>
          </p:nvSpPr>
          <p:spPr>
            <a:xfrm rot="8716295">
              <a:off x="298766" y="-5395"/>
              <a:ext cx="260639" cy="180054"/>
            </a:xfrm>
            <a:custGeom>
              <a:avLst/>
              <a:gdLst>
                <a:gd name="connsiteX0" fmla="*/ 111638 w 260639"/>
                <a:gd name="connsiteY0" fmla="*/ 180054 h 180054"/>
                <a:gd name="connsiteX1" fmla="*/ 51490 w 260639"/>
                <a:gd name="connsiteY1" fmla="*/ 138362 h 180054"/>
                <a:gd name="connsiteX2" fmla="*/ 51490 w 260639"/>
                <a:gd name="connsiteY2" fmla="*/ 45624 h 180054"/>
                <a:gd name="connsiteX3" fmla="*/ 0 w 260639"/>
                <a:gd name="connsiteY3" fmla="*/ 45624 h 180054"/>
                <a:gd name="connsiteX4" fmla="*/ 0 w 260639"/>
                <a:gd name="connsiteY4" fmla="*/ 1425 h 180054"/>
                <a:gd name="connsiteX5" fmla="*/ 104802 w 260639"/>
                <a:gd name="connsiteY5" fmla="*/ 1425 h 180054"/>
                <a:gd name="connsiteX6" fmla="*/ 104802 w 260639"/>
                <a:gd name="connsiteY6" fmla="*/ 75242 h 180054"/>
                <a:gd name="connsiteX7" fmla="*/ 106169 w 260639"/>
                <a:gd name="connsiteY7" fmla="*/ 75242 h 180054"/>
                <a:gd name="connsiteX8" fmla="*/ 154014 w 260639"/>
                <a:gd name="connsiteY8" fmla="*/ 5981 h 180054"/>
                <a:gd name="connsiteX9" fmla="*/ 185455 w 260639"/>
                <a:gd name="connsiteY9" fmla="*/ 57 h 180054"/>
                <a:gd name="connsiteX10" fmla="*/ 260639 w 260639"/>
                <a:gd name="connsiteY10" fmla="*/ 88456 h 180054"/>
                <a:gd name="connsiteX11" fmla="*/ 260639 w 260639"/>
                <a:gd name="connsiteY11" fmla="*/ 94380 h 180054"/>
                <a:gd name="connsiteX12" fmla="*/ 198669 w 260639"/>
                <a:gd name="connsiteY12" fmla="*/ 98025 h 180054"/>
                <a:gd name="connsiteX13" fmla="*/ 198669 w 260639"/>
                <a:gd name="connsiteY13" fmla="*/ 81621 h 180054"/>
                <a:gd name="connsiteX14" fmla="*/ 164950 w 260639"/>
                <a:gd name="connsiteY14" fmla="*/ 40156 h 180054"/>
                <a:gd name="connsiteX15" fmla="*/ 111638 w 260639"/>
                <a:gd name="connsiteY15" fmla="*/ 127643 h 180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0639" h="180054">
                  <a:moveTo>
                    <a:pt x="111638" y="180054"/>
                  </a:moveTo>
                  <a:lnTo>
                    <a:pt x="51490" y="138362"/>
                  </a:ln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6" name="Forme libre : forme 295">
              <a:extLst>
                <a:ext uri="{FF2B5EF4-FFF2-40B4-BE49-F238E27FC236}">
                  <a16:creationId xmlns:a16="http://schemas.microsoft.com/office/drawing/2014/main" id="{426417CD-8FE4-43C3-B84F-A51A46F7C7B1}"/>
                </a:ext>
              </a:extLst>
            </p:cNvPr>
            <p:cNvSpPr/>
            <p:nvPr/>
          </p:nvSpPr>
          <p:spPr>
            <a:xfrm rot="8716295">
              <a:off x="276903" y="-12823"/>
              <a:ext cx="36272" cy="27982"/>
            </a:xfrm>
            <a:custGeom>
              <a:avLst/>
              <a:gdLst>
                <a:gd name="connsiteX0" fmla="*/ 36272 w 36272"/>
                <a:gd name="connsiteY0" fmla="*/ 27982 h 27982"/>
                <a:gd name="connsiteX1" fmla="*/ 0 w 36272"/>
                <a:gd name="connsiteY1" fmla="*/ 2840 h 27982"/>
                <a:gd name="connsiteX2" fmla="*/ 9543 w 36272"/>
                <a:gd name="connsiteY2" fmla="*/ 0 h 27982"/>
                <a:gd name="connsiteX3" fmla="*/ 31871 w 36272"/>
                <a:gd name="connsiteY3" fmla="*/ 11392 h 27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272" h="27982">
                  <a:moveTo>
                    <a:pt x="36272" y="27982"/>
                  </a:moveTo>
                  <a:lnTo>
                    <a:pt x="0" y="2840"/>
                  </a:lnTo>
                  <a:lnTo>
                    <a:pt x="9543" y="0"/>
                  </a:lnTo>
                  <a:cubicBezTo>
                    <a:pt x="20479" y="0"/>
                    <a:pt x="27542" y="4784"/>
                    <a:pt x="31871" y="113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7" name="Forme libre : forme 296">
              <a:extLst>
                <a:ext uri="{FF2B5EF4-FFF2-40B4-BE49-F238E27FC236}">
                  <a16:creationId xmlns:a16="http://schemas.microsoft.com/office/drawing/2014/main" id="{2194BB82-FA83-4BF9-8EBD-D8D0328F9BDF}"/>
                </a:ext>
              </a:extLst>
            </p:cNvPr>
            <p:cNvSpPr/>
            <p:nvPr/>
          </p:nvSpPr>
          <p:spPr>
            <a:xfrm rot="8716295">
              <a:off x="74640" y="-9665"/>
              <a:ext cx="58068" cy="54772"/>
            </a:xfrm>
            <a:custGeom>
              <a:avLst/>
              <a:gdLst>
                <a:gd name="connsiteX0" fmla="*/ 37436 w 58068"/>
                <a:gd name="connsiteY0" fmla="*/ 54772 h 54772"/>
                <a:gd name="connsiteX1" fmla="*/ 0 w 58068"/>
                <a:gd name="connsiteY1" fmla="*/ 28823 h 54772"/>
                <a:gd name="connsiteX2" fmla="*/ 8515 w 58068"/>
                <a:gd name="connsiteY2" fmla="*/ 8658 h 54772"/>
                <a:gd name="connsiteX3" fmla="*/ 29020 w 58068"/>
                <a:gd name="connsiteY3" fmla="*/ 0 h 54772"/>
                <a:gd name="connsiteX4" fmla="*/ 49525 w 58068"/>
                <a:gd name="connsiteY4" fmla="*/ 8658 h 54772"/>
                <a:gd name="connsiteX5" fmla="*/ 49525 w 58068"/>
                <a:gd name="connsiteY5" fmla="*/ 49668 h 5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068" h="54772">
                  <a:moveTo>
                    <a:pt x="37436" y="54772"/>
                  </a:moveTo>
                  <a:lnTo>
                    <a:pt x="0" y="28823"/>
                  </a:lnTo>
                  <a:lnTo>
                    <a:pt x="8515" y="8658"/>
                  </a:lnTo>
                  <a:cubicBezTo>
                    <a:pt x="13983" y="3190"/>
                    <a:pt x="21273" y="0"/>
                    <a:pt x="29020" y="0"/>
                  </a:cubicBezTo>
                  <a:cubicBezTo>
                    <a:pt x="36766" y="0"/>
                    <a:pt x="44057" y="3190"/>
                    <a:pt x="49525" y="8658"/>
                  </a:cubicBezTo>
                  <a:cubicBezTo>
                    <a:pt x="60916" y="19594"/>
                    <a:pt x="60916" y="38276"/>
                    <a:pt x="49525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8" name="Forme libre : forme 297">
              <a:extLst>
                <a:ext uri="{FF2B5EF4-FFF2-40B4-BE49-F238E27FC236}">
                  <a16:creationId xmlns:a16="http://schemas.microsoft.com/office/drawing/2014/main" id="{1E2DA60E-6B88-4273-B8B8-20DC571CA2F9}"/>
                </a:ext>
              </a:extLst>
            </p:cNvPr>
            <p:cNvSpPr/>
            <p:nvPr/>
          </p:nvSpPr>
          <p:spPr>
            <a:xfrm rot="8716295">
              <a:off x="13802" y="-10406"/>
              <a:ext cx="30027" cy="20814"/>
            </a:xfrm>
            <a:custGeom>
              <a:avLst/>
              <a:gdLst>
                <a:gd name="connsiteX0" fmla="*/ 30027 w 30027"/>
                <a:gd name="connsiteY0" fmla="*/ 20814 h 20814"/>
                <a:gd name="connsiteX1" fmla="*/ 0 w 30027"/>
                <a:gd name="connsiteY1" fmla="*/ 0 h 20814"/>
                <a:gd name="connsiteX2" fmla="*/ 30027 w 30027"/>
                <a:gd name="connsiteY2" fmla="*/ 0 h 20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027" h="20814">
                  <a:moveTo>
                    <a:pt x="30027" y="20814"/>
                  </a:moveTo>
                  <a:lnTo>
                    <a:pt x="0" y="0"/>
                  </a:lnTo>
                  <a:lnTo>
                    <a:pt x="3002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9" name="Forme libre : forme 298">
              <a:extLst>
                <a:ext uri="{FF2B5EF4-FFF2-40B4-BE49-F238E27FC236}">
                  <a16:creationId xmlns:a16="http://schemas.microsoft.com/office/drawing/2014/main" id="{0B53881C-9CFA-4C7A-B7BB-D045B9F708A3}"/>
                </a:ext>
              </a:extLst>
            </p:cNvPr>
            <p:cNvSpPr/>
            <p:nvPr/>
          </p:nvSpPr>
          <p:spPr>
            <a:xfrm rot="8716295">
              <a:off x="168048" y="3032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0" name="Forme libre : forme 299">
              <a:extLst>
                <a:ext uri="{FF2B5EF4-FFF2-40B4-BE49-F238E27FC236}">
                  <a16:creationId xmlns:a16="http://schemas.microsoft.com/office/drawing/2014/main" id="{07B92E1C-0CE7-4A26-8278-C39DA02570AC}"/>
                </a:ext>
              </a:extLst>
            </p:cNvPr>
            <p:cNvSpPr/>
            <p:nvPr/>
          </p:nvSpPr>
          <p:spPr>
            <a:xfrm rot="7484129">
              <a:off x="562078" y="-284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1" name="Forme libre : forme 300">
              <a:extLst>
                <a:ext uri="{FF2B5EF4-FFF2-40B4-BE49-F238E27FC236}">
                  <a16:creationId xmlns:a16="http://schemas.microsoft.com/office/drawing/2014/main" id="{CAE7423C-0BBB-4D40-8F55-D1ED03A3FDDA}"/>
                </a:ext>
              </a:extLst>
            </p:cNvPr>
            <p:cNvSpPr/>
            <p:nvPr/>
          </p:nvSpPr>
          <p:spPr>
            <a:xfrm rot="13089394">
              <a:off x="767127" y="-2787"/>
              <a:ext cx="149688" cy="301067"/>
            </a:xfrm>
            <a:custGeom>
              <a:avLst/>
              <a:gdLst>
                <a:gd name="connsiteX0" fmla="*/ 149688 w 149688"/>
                <a:gd name="connsiteY0" fmla="*/ 279622 h 301067"/>
                <a:gd name="connsiteX1" fmla="*/ 122393 w 149688"/>
                <a:gd name="connsiteY1" fmla="*/ 301067 h 301067"/>
                <a:gd name="connsiteX2" fmla="*/ 0 w 149688"/>
                <a:gd name="connsiteY2" fmla="*/ 114672 h 301067"/>
                <a:gd name="connsiteX3" fmla="*/ 0 w 149688"/>
                <a:gd name="connsiteY3" fmla="*/ 38074 h 301067"/>
                <a:gd name="connsiteX4" fmla="*/ 73388 w 149688"/>
                <a:gd name="connsiteY4" fmla="*/ 0 h 301067"/>
                <a:gd name="connsiteX5" fmla="*/ 74492 w 149688"/>
                <a:gd name="connsiteY5" fmla="*/ 153950 h 301067"/>
                <a:gd name="connsiteX6" fmla="*/ 87734 w 149688"/>
                <a:gd name="connsiteY6" fmla="*/ 245547 h 301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9688" h="301067">
                  <a:moveTo>
                    <a:pt x="149688" y="279622"/>
                  </a:moveTo>
                  <a:lnTo>
                    <a:pt x="122393" y="301067"/>
                  </a:lnTo>
                  <a:lnTo>
                    <a:pt x="0" y="114672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2836" y="184850"/>
                    <a:pt x="77802" y="216302"/>
                    <a:pt x="87734" y="2455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2" name="Forme libre : forme 301">
              <a:extLst>
                <a:ext uri="{FF2B5EF4-FFF2-40B4-BE49-F238E27FC236}">
                  <a16:creationId xmlns:a16="http://schemas.microsoft.com/office/drawing/2014/main" id="{DE7F88C3-F95A-48EB-BC5C-94F46E2332ED}"/>
                </a:ext>
              </a:extLst>
            </p:cNvPr>
            <p:cNvSpPr/>
            <p:nvPr/>
          </p:nvSpPr>
          <p:spPr>
            <a:xfrm rot="8716295">
              <a:off x="212141" y="304502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3" name="Forme libre : forme 302">
              <a:extLst>
                <a:ext uri="{FF2B5EF4-FFF2-40B4-BE49-F238E27FC236}">
                  <a16:creationId xmlns:a16="http://schemas.microsoft.com/office/drawing/2014/main" id="{D55BD2D7-C439-4F43-96D6-CC4EB9C9A2CD}"/>
                </a:ext>
              </a:extLst>
            </p:cNvPr>
            <p:cNvSpPr/>
            <p:nvPr/>
          </p:nvSpPr>
          <p:spPr>
            <a:xfrm rot="8716295">
              <a:off x="301533" y="307427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4" name="Forme libre : forme 303">
              <a:extLst>
                <a:ext uri="{FF2B5EF4-FFF2-40B4-BE49-F238E27FC236}">
                  <a16:creationId xmlns:a16="http://schemas.microsoft.com/office/drawing/2014/main" id="{98520A64-DC7D-4391-9310-C02770ED1A94}"/>
                </a:ext>
              </a:extLst>
            </p:cNvPr>
            <p:cNvSpPr/>
            <p:nvPr/>
          </p:nvSpPr>
          <p:spPr>
            <a:xfrm rot="8716295">
              <a:off x="256683" y="298799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5" name="Forme libre : forme 304">
              <a:extLst>
                <a:ext uri="{FF2B5EF4-FFF2-40B4-BE49-F238E27FC236}">
                  <a16:creationId xmlns:a16="http://schemas.microsoft.com/office/drawing/2014/main" id="{F4D8F56B-62F1-42CF-A7A2-650DB4131292}"/>
                </a:ext>
              </a:extLst>
            </p:cNvPr>
            <p:cNvSpPr/>
            <p:nvPr/>
          </p:nvSpPr>
          <p:spPr>
            <a:xfrm rot="8716295">
              <a:off x="99907" y="31335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6" name="Forme libre : forme 305">
              <a:extLst>
                <a:ext uri="{FF2B5EF4-FFF2-40B4-BE49-F238E27FC236}">
                  <a16:creationId xmlns:a16="http://schemas.microsoft.com/office/drawing/2014/main" id="{0D43E076-CB6A-4FEE-A459-C1DE20E99E2F}"/>
                </a:ext>
              </a:extLst>
            </p:cNvPr>
            <p:cNvSpPr/>
            <p:nvPr/>
          </p:nvSpPr>
          <p:spPr>
            <a:xfrm rot="8716295">
              <a:off x="-24996" y="29248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7" name="Forme libre : forme 306">
              <a:extLst>
                <a:ext uri="{FF2B5EF4-FFF2-40B4-BE49-F238E27FC236}">
                  <a16:creationId xmlns:a16="http://schemas.microsoft.com/office/drawing/2014/main" id="{CA2035BC-118E-49FD-BF84-9E105EEC437B}"/>
                </a:ext>
              </a:extLst>
            </p:cNvPr>
            <p:cNvSpPr/>
            <p:nvPr/>
          </p:nvSpPr>
          <p:spPr>
            <a:xfrm rot="8716295">
              <a:off x="51899" y="2754602"/>
              <a:ext cx="189488" cy="350829"/>
            </a:xfrm>
            <a:custGeom>
              <a:avLst/>
              <a:gdLst>
                <a:gd name="connsiteX0" fmla="*/ 25299 w 189488"/>
                <a:gd name="connsiteY0" fmla="*/ 321238 h 350829"/>
                <a:gd name="connsiteX1" fmla="*/ 0 w 189488"/>
                <a:gd name="connsiteY1" fmla="*/ 220042 h 350829"/>
                <a:gd name="connsiteX2" fmla="*/ 0 w 189488"/>
                <a:gd name="connsiteY2" fmla="*/ 40596 h 350829"/>
                <a:gd name="connsiteX3" fmla="*/ 78250 w 189488"/>
                <a:gd name="connsiteY3" fmla="*/ 0 h 350829"/>
                <a:gd name="connsiteX4" fmla="*/ 79427 w 189488"/>
                <a:gd name="connsiteY4" fmla="*/ 164149 h 350829"/>
                <a:gd name="connsiteX5" fmla="*/ 93547 w 189488"/>
                <a:gd name="connsiteY5" fmla="*/ 261815 h 350829"/>
                <a:gd name="connsiteX6" fmla="*/ 164148 w 189488"/>
                <a:gd name="connsiteY6" fmla="*/ 300646 h 350829"/>
                <a:gd name="connsiteX7" fmla="*/ 189488 w 189488"/>
                <a:gd name="connsiteY7" fmla="*/ 296141 h 350829"/>
                <a:gd name="connsiteX8" fmla="*/ 160617 w 189488"/>
                <a:gd name="connsiteY8" fmla="*/ 337791 h 350829"/>
                <a:gd name="connsiteX9" fmla="*/ 97666 w 189488"/>
                <a:gd name="connsiteY9" fmla="*/ 350655 h 350829"/>
                <a:gd name="connsiteX10" fmla="*/ 25299 w 189488"/>
                <a:gd name="connsiteY10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9488" h="350829">
                  <a:moveTo>
                    <a:pt x="25299" y="321238"/>
                  </a:moveTo>
                  <a:cubicBezTo>
                    <a:pt x="5295" y="301823"/>
                    <a:pt x="0" y="268286"/>
                    <a:pt x="0" y="220042"/>
                  </a:cubicBez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8" y="300646"/>
                  </a:cubicBezTo>
                  <a:lnTo>
                    <a:pt x="189488" y="296141"/>
                  </a:lnTo>
                  <a:lnTo>
                    <a:pt x="160617" y="337791"/>
                  </a:lnTo>
                  <a:lnTo>
                    <a:pt x="97666" y="350655"/>
                  </a:ln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8" name="Forme libre : forme 307">
              <a:extLst>
                <a:ext uri="{FF2B5EF4-FFF2-40B4-BE49-F238E27FC236}">
                  <a16:creationId xmlns:a16="http://schemas.microsoft.com/office/drawing/2014/main" id="{E8F898AD-C8B7-4665-871C-0DD08867FE33}"/>
                </a:ext>
              </a:extLst>
            </p:cNvPr>
            <p:cNvSpPr/>
            <p:nvPr/>
          </p:nvSpPr>
          <p:spPr>
            <a:xfrm rot="8716295">
              <a:off x="190085" y="317452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9" name="Forme libre : forme 308">
              <a:extLst>
                <a:ext uri="{FF2B5EF4-FFF2-40B4-BE49-F238E27FC236}">
                  <a16:creationId xmlns:a16="http://schemas.microsoft.com/office/drawing/2014/main" id="{21447FE1-A29B-45A2-85C9-8C8BA929308B}"/>
                </a:ext>
              </a:extLst>
            </p:cNvPr>
            <p:cNvSpPr/>
            <p:nvPr/>
          </p:nvSpPr>
          <p:spPr>
            <a:xfrm rot="8716295">
              <a:off x="502599" y="2802136"/>
              <a:ext cx="117588" cy="232388"/>
            </a:xfrm>
            <a:custGeom>
              <a:avLst/>
              <a:gdLst>
                <a:gd name="connsiteX0" fmla="*/ 56529 w 117588"/>
                <a:gd name="connsiteY0" fmla="*/ 232388 h 232388"/>
                <a:gd name="connsiteX1" fmla="*/ 56529 w 117588"/>
                <a:gd name="connsiteY1" fmla="*/ 69717 h 232388"/>
                <a:gd name="connsiteX2" fmla="*/ 56529 w 117588"/>
                <a:gd name="connsiteY2" fmla="*/ 65615 h 232388"/>
                <a:gd name="connsiteX3" fmla="*/ 36025 w 117588"/>
                <a:gd name="connsiteY3" fmla="*/ 50123 h 232388"/>
                <a:gd name="connsiteX4" fmla="*/ 0 w 117588"/>
                <a:gd name="connsiteY4" fmla="*/ 50123 h 232388"/>
                <a:gd name="connsiteX5" fmla="*/ 41458 w 117588"/>
                <a:gd name="connsiteY5" fmla="*/ 0 h 232388"/>
                <a:gd name="connsiteX6" fmla="*/ 60630 w 117588"/>
                <a:gd name="connsiteY6" fmla="*/ 0 h 232388"/>
                <a:gd name="connsiteX7" fmla="*/ 117588 w 117588"/>
                <a:gd name="connsiteY7" fmla="*/ 50123 h 232388"/>
                <a:gd name="connsiteX8" fmla="*/ 117588 w 117588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7588" h="232388">
                  <a:moveTo>
                    <a:pt x="56529" y="232388"/>
                  </a:moveTo>
                  <a:lnTo>
                    <a:pt x="56529" y="69717"/>
                  </a:lnTo>
                  <a:cubicBezTo>
                    <a:pt x="56529" y="68349"/>
                    <a:pt x="56529" y="66983"/>
                    <a:pt x="56529" y="65615"/>
                  </a:cubicBezTo>
                  <a:cubicBezTo>
                    <a:pt x="55163" y="55591"/>
                    <a:pt x="46049" y="48756"/>
                    <a:pt x="36025" y="50123"/>
                  </a:cubicBezTo>
                  <a:lnTo>
                    <a:pt x="0" y="50123"/>
                  </a:lnTo>
                  <a:lnTo>
                    <a:pt x="41458" y="0"/>
                  </a:lnTo>
                  <a:lnTo>
                    <a:pt x="60630" y="0"/>
                  </a:lnTo>
                  <a:cubicBezTo>
                    <a:pt x="97539" y="0"/>
                    <a:pt x="117588" y="15948"/>
                    <a:pt x="117588" y="50123"/>
                  </a:cubicBezTo>
                  <a:lnTo>
                    <a:pt x="117588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0" name="Forme libre : forme 309">
              <a:extLst>
                <a:ext uri="{FF2B5EF4-FFF2-40B4-BE49-F238E27FC236}">
                  <a16:creationId xmlns:a16="http://schemas.microsoft.com/office/drawing/2014/main" id="{DC5CD014-032B-4188-8129-1BA9EDEB5E1C}"/>
                </a:ext>
              </a:extLst>
            </p:cNvPr>
            <p:cNvSpPr/>
            <p:nvPr/>
          </p:nvSpPr>
          <p:spPr>
            <a:xfrm rot="8716295">
              <a:off x="389006" y="2883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1" name="Forme libre : forme 310">
              <a:extLst>
                <a:ext uri="{FF2B5EF4-FFF2-40B4-BE49-F238E27FC236}">
                  <a16:creationId xmlns:a16="http://schemas.microsoft.com/office/drawing/2014/main" id="{4BFA54F9-8E75-4357-98AE-7842173849BD}"/>
                </a:ext>
              </a:extLst>
            </p:cNvPr>
            <p:cNvSpPr/>
            <p:nvPr/>
          </p:nvSpPr>
          <p:spPr>
            <a:xfrm rot="8716295">
              <a:off x="264104" y="267474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2" name="Forme libre : forme 311">
              <a:extLst>
                <a:ext uri="{FF2B5EF4-FFF2-40B4-BE49-F238E27FC236}">
                  <a16:creationId xmlns:a16="http://schemas.microsoft.com/office/drawing/2014/main" id="{D627B6F1-7278-4938-8513-4523BF111D7A}"/>
                </a:ext>
              </a:extLst>
            </p:cNvPr>
            <p:cNvSpPr/>
            <p:nvPr/>
          </p:nvSpPr>
          <p:spPr>
            <a:xfrm rot="8716295">
              <a:off x="479184" y="292437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3" name="Forme libre : forme 312">
              <a:extLst>
                <a:ext uri="{FF2B5EF4-FFF2-40B4-BE49-F238E27FC236}">
                  <a16:creationId xmlns:a16="http://schemas.microsoft.com/office/drawing/2014/main" id="{44A8C608-76B9-49F0-B8EA-9C07C31A92DA}"/>
                </a:ext>
              </a:extLst>
            </p:cNvPr>
            <p:cNvSpPr/>
            <p:nvPr/>
          </p:nvSpPr>
          <p:spPr>
            <a:xfrm rot="8716295">
              <a:off x="237733" y="277477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4" name="Forme libre : forme 313">
              <a:extLst>
                <a:ext uri="{FF2B5EF4-FFF2-40B4-BE49-F238E27FC236}">
                  <a16:creationId xmlns:a16="http://schemas.microsoft.com/office/drawing/2014/main" id="{31723CE5-0F31-4468-8030-5F9773A83A08}"/>
                </a:ext>
              </a:extLst>
            </p:cNvPr>
            <p:cNvSpPr/>
            <p:nvPr/>
          </p:nvSpPr>
          <p:spPr>
            <a:xfrm rot="7484129">
              <a:off x="609980" y="3142825"/>
              <a:ext cx="20881" cy="31001"/>
            </a:xfrm>
            <a:custGeom>
              <a:avLst/>
              <a:gdLst>
                <a:gd name="connsiteX0" fmla="*/ 10218 w 20881"/>
                <a:gd name="connsiteY0" fmla="*/ 31001 h 31001"/>
                <a:gd name="connsiteX1" fmla="*/ 0 w 20881"/>
                <a:gd name="connsiteY1" fmla="*/ 11992 h 31001"/>
                <a:gd name="connsiteX2" fmla="*/ 20881 w 20881"/>
                <a:gd name="connsiteY2" fmla="*/ 0 h 31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881" h="31001">
                  <a:moveTo>
                    <a:pt x="10218" y="31001"/>
                  </a:moveTo>
                  <a:lnTo>
                    <a:pt x="0" y="11992"/>
                  </a:lnTo>
                  <a:lnTo>
                    <a:pt x="2088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5" name="Forme libre : forme 314">
              <a:extLst>
                <a:ext uri="{FF2B5EF4-FFF2-40B4-BE49-F238E27FC236}">
                  <a16:creationId xmlns:a16="http://schemas.microsoft.com/office/drawing/2014/main" id="{0A1A01CF-9944-4EC3-883D-948C509B42CD}"/>
                </a:ext>
              </a:extLst>
            </p:cNvPr>
            <p:cNvSpPr/>
            <p:nvPr/>
          </p:nvSpPr>
          <p:spPr>
            <a:xfrm rot="8716295">
              <a:off x="579469" y="28172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6" name="Forme libre : forme 315">
              <a:extLst>
                <a:ext uri="{FF2B5EF4-FFF2-40B4-BE49-F238E27FC236}">
                  <a16:creationId xmlns:a16="http://schemas.microsoft.com/office/drawing/2014/main" id="{71717ABE-8C5B-4E08-B642-252D74033C89}"/>
                </a:ext>
              </a:extLst>
            </p:cNvPr>
            <p:cNvSpPr/>
            <p:nvPr/>
          </p:nvSpPr>
          <p:spPr>
            <a:xfrm rot="8716295">
              <a:off x="437995" y="3716235"/>
              <a:ext cx="102679" cy="232388"/>
            </a:xfrm>
            <a:custGeom>
              <a:avLst/>
              <a:gdLst>
                <a:gd name="connsiteX0" fmla="*/ 41620 w 102679"/>
                <a:gd name="connsiteY0" fmla="*/ 232388 h 232388"/>
                <a:gd name="connsiteX1" fmla="*/ 41620 w 102679"/>
                <a:gd name="connsiteY1" fmla="*/ 69717 h 232388"/>
                <a:gd name="connsiteX2" fmla="*/ 41620 w 102679"/>
                <a:gd name="connsiteY2" fmla="*/ 65615 h 232388"/>
                <a:gd name="connsiteX3" fmla="*/ 21116 w 102679"/>
                <a:gd name="connsiteY3" fmla="*/ 50123 h 232388"/>
                <a:gd name="connsiteX4" fmla="*/ 0 w 102679"/>
                <a:gd name="connsiteY4" fmla="*/ 50123 h 232388"/>
                <a:gd name="connsiteX5" fmla="*/ 41457 w 102679"/>
                <a:gd name="connsiteY5" fmla="*/ 0 h 232388"/>
                <a:gd name="connsiteX6" fmla="*/ 45721 w 102679"/>
                <a:gd name="connsiteY6" fmla="*/ 0 h 232388"/>
                <a:gd name="connsiteX7" fmla="*/ 102679 w 102679"/>
                <a:gd name="connsiteY7" fmla="*/ 50123 h 232388"/>
                <a:gd name="connsiteX8" fmla="*/ 102679 w 102679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2679" h="232388">
                  <a:moveTo>
                    <a:pt x="41620" y="232388"/>
                  </a:moveTo>
                  <a:lnTo>
                    <a:pt x="41620" y="69717"/>
                  </a:lnTo>
                  <a:cubicBezTo>
                    <a:pt x="41620" y="68349"/>
                    <a:pt x="41620" y="66983"/>
                    <a:pt x="41620" y="65615"/>
                  </a:cubicBezTo>
                  <a:cubicBezTo>
                    <a:pt x="40254" y="55591"/>
                    <a:pt x="31140" y="48756"/>
                    <a:pt x="21116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45721" y="0"/>
                  </a:lnTo>
                  <a:cubicBezTo>
                    <a:pt x="82630" y="0"/>
                    <a:pt x="102679" y="15948"/>
                    <a:pt x="102679" y="50123"/>
                  </a:cubicBezTo>
                  <a:lnTo>
                    <a:pt x="102679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7" name="Forme libre : forme 316">
              <a:extLst>
                <a:ext uri="{FF2B5EF4-FFF2-40B4-BE49-F238E27FC236}">
                  <a16:creationId xmlns:a16="http://schemas.microsoft.com/office/drawing/2014/main" id="{57F9E802-91E2-4CB8-8036-748B1071E3AB}"/>
                </a:ext>
              </a:extLst>
            </p:cNvPr>
            <p:cNvSpPr/>
            <p:nvPr/>
          </p:nvSpPr>
          <p:spPr>
            <a:xfrm rot="8716295">
              <a:off x="482715" y="3669965"/>
              <a:ext cx="154563" cy="124897"/>
            </a:xfrm>
            <a:custGeom>
              <a:avLst/>
              <a:gdLst>
                <a:gd name="connsiteX0" fmla="*/ 0 w 154563"/>
                <a:gd name="connsiteY0" fmla="*/ 124897 h 124897"/>
                <a:gd name="connsiteX1" fmla="*/ 95474 w 154563"/>
                <a:gd name="connsiteY1" fmla="*/ 9467 h 124897"/>
                <a:gd name="connsiteX2" fmla="*/ 96067 w 154563"/>
                <a:gd name="connsiteY2" fmla="*/ 9000 h 124897"/>
                <a:gd name="connsiteX3" fmla="*/ 126312 w 154563"/>
                <a:gd name="connsiteY3" fmla="*/ 0 h 124897"/>
                <a:gd name="connsiteX4" fmla="*/ 154563 w 154563"/>
                <a:gd name="connsiteY4" fmla="*/ 33719 h 124897"/>
                <a:gd name="connsiteX5" fmla="*/ 128135 w 154563"/>
                <a:gd name="connsiteY5" fmla="*/ 69261 h 124897"/>
                <a:gd name="connsiteX6" fmla="*/ 128590 w 154563"/>
                <a:gd name="connsiteY6" fmla="*/ 69261 h 12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4563" h="124897">
                  <a:moveTo>
                    <a:pt x="0" y="124897"/>
                  </a:moveTo>
                  <a:lnTo>
                    <a:pt x="95474" y="9467"/>
                  </a:lnTo>
                  <a:lnTo>
                    <a:pt x="96067" y="9000"/>
                  </a:lnTo>
                  <a:cubicBezTo>
                    <a:pt x="105351" y="4215"/>
                    <a:pt x="115604" y="1139"/>
                    <a:pt x="126312" y="0"/>
                  </a:cubicBezTo>
                  <a:cubicBezTo>
                    <a:pt x="148184" y="0"/>
                    <a:pt x="154563" y="19138"/>
                    <a:pt x="154563" y="33719"/>
                  </a:cubicBezTo>
                  <a:cubicBezTo>
                    <a:pt x="153196" y="49668"/>
                    <a:pt x="142715" y="62882"/>
                    <a:pt x="128135" y="69261"/>
                  </a:cubicBezTo>
                  <a:lnTo>
                    <a:pt x="128590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8" name="Forme libre : forme 317">
              <a:extLst>
                <a:ext uri="{FF2B5EF4-FFF2-40B4-BE49-F238E27FC236}">
                  <a16:creationId xmlns:a16="http://schemas.microsoft.com/office/drawing/2014/main" id="{844BD3AC-808C-49B6-9585-45AED27044D8}"/>
                </a:ext>
              </a:extLst>
            </p:cNvPr>
            <p:cNvSpPr/>
            <p:nvPr/>
          </p:nvSpPr>
          <p:spPr>
            <a:xfrm rot="8716295">
              <a:off x="323074" y="379327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9" name="Forme libre : forme 318">
              <a:extLst>
                <a:ext uri="{FF2B5EF4-FFF2-40B4-BE49-F238E27FC236}">
                  <a16:creationId xmlns:a16="http://schemas.microsoft.com/office/drawing/2014/main" id="{6610930E-080F-4669-B332-C11A7EDE2E69}"/>
                </a:ext>
              </a:extLst>
            </p:cNvPr>
            <p:cNvSpPr/>
            <p:nvPr/>
          </p:nvSpPr>
          <p:spPr>
            <a:xfrm rot="8716295">
              <a:off x="198171" y="358459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0" name="Forme libre : forme 319">
              <a:extLst>
                <a:ext uri="{FF2B5EF4-FFF2-40B4-BE49-F238E27FC236}">
                  <a16:creationId xmlns:a16="http://schemas.microsoft.com/office/drawing/2014/main" id="{BB6AE4FF-01F3-4791-9797-82B71A71685F}"/>
                </a:ext>
              </a:extLst>
            </p:cNvPr>
            <p:cNvSpPr/>
            <p:nvPr/>
          </p:nvSpPr>
          <p:spPr>
            <a:xfrm rot="8716295">
              <a:off x="186119" y="344581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1" name="Forme libre : forme 320">
              <a:extLst>
                <a:ext uri="{FF2B5EF4-FFF2-40B4-BE49-F238E27FC236}">
                  <a16:creationId xmlns:a16="http://schemas.microsoft.com/office/drawing/2014/main" id="{B2FBA9B1-476F-454A-86CF-CB8E10185C59}"/>
                </a:ext>
              </a:extLst>
            </p:cNvPr>
            <p:cNvSpPr/>
            <p:nvPr/>
          </p:nvSpPr>
          <p:spPr>
            <a:xfrm rot="8716295">
              <a:off x="410218" y="3834716"/>
              <a:ext cx="103435" cy="219174"/>
            </a:xfrm>
            <a:custGeom>
              <a:avLst/>
              <a:gdLst>
                <a:gd name="connsiteX0" fmla="*/ 103435 w 103435"/>
                <a:gd name="connsiteY0" fmla="*/ 219174 h 219174"/>
                <a:gd name="connsiteX1" fmla="*/ 43288 w 103435"/>
                <a:gd name="connsiteY1" fmla="*/ 161305 h 219174"/>
                <a:gd name="connsiteX2" fmla="*/ 43288 w 103435"/>
                <a:gd name="connsiteY2" fmla="*/ 16404 h 219174"/>
                <a:gd name="connsiteX3" fmla="*/ 0 w 103435"/>
                <a:gd name="connsiteY3" fmla="*/ 16404 h 219174"/>
                <a:gd name="connsiteX4" fmla="*/ 0 w 103435"/>
                <a:gd name="connsiteY4" fmla="*/ 16028 h 219174"/>
                <a:gd name="connsiteX5" fmla="*/ 11583 w 103435"/>
                <a:gd name="connsiteY5" fmla="*/ 2023 h 219174"/>
                <a:gd name="connsiteX6" fmla="*/ 103435 w 103435"/>
                <a:gd name="connsiteY6" fmla="*/ 0 h 219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19174">
                  <a:moveTo>
                    <a:pt x="103435" y="219174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16028"/>
                  </a:lnTo>
                  <a:lnTo>
                    <a:pt x="11583" y="2023"/>
                  </a:lnTo>
                  <a:lnTo>
                    <a:pt x="10343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2" name="Forme libre : forme 321">
              <a:extLst>
                <a:ext uri="{FF2B5EF4-FFF2-40B4-BE49-F238E27FC236}">
                  <a16:creationId xmlns:a16="http://schemas.microsoft.com/office/drawing/2014/main" id="{FC54D21D-2562-49FC-BEBE-B5E2AB5AF4EE}"/>
                </a:ext>
              </a:extLst>
            </p:cNvPr>
            <p:cNvSpPr/>
            <p:nvPr/>
          </p:nvSpPr>
          <p:spPr>
            <a:xfrm rot="8716295">
              <a:off x="487452" y="3349370"/>
              <a:ext cx="151162" cy="195873"/>
            </a:xfrm>
            <a:custGeom>
              <a:avLst/>
              <a:gdLst>
                <a:gd name="connsiteX0" fmla="*/ 38025 w 151162"/>
                <a:gd name="connsiteY0" fmla="*/ 195873 h 195873"/>
                <a:gd name="connsiteX1" fmla="*/ 0 w 151162"/>
                <a:gd name="connsiteY1" fmla="*/ 125130 h 195873"/>
                <a:gd name="connsiteX2" fmla="*/ 103497 w 151162"/>
                <a:gd name="connsiteY2" fmla="*/ 0 h 195873"/>
                <a:gd name="connsiteX3" fmla="*/ 151162 w 151162"/>
                <a:gd name="connsiteY3" fmla="*/ 0 h 195873"/>
                <a:gd name="connsiteX4" fmla="*/ 151162 w 151162"/>
                <a:gd name="connsiteY4" fmla="*/ 55323 h 195873"/>
                <a:gd name="connsiteX5" fmla="*/ 86370 w 151162"/>
                <a:gd name="connsiteY5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1162" h="195873">
                  <a:moveTo>
                    <a:pt x="38025" y="195873"/>
                  </a:moveTo>
                  <a:lnTo>
                    <a:pt x="0" y="125130"/>
                  </a:lnTo>
                  <a:lnTo>
                    <a:pt x="103497" y="0"/>
                  </a:lnTo>
                  <a:lnTo>
                    <a:pt x="151162" y="0"/>
                  </a:lnTo>
                  <a:lnTo>
                    <a:pt x="151162" y="55323"/>
                  </a:lnTo>
                  <a:lnTo>
                    <a:pt x="86370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3" name="Forme libre : forme 322">
              <a:extLst>
                <a:ext uri="{FF2B5EF4-FFF2-40B4-BE49-F238E27FC236}">
                  <a16:creationId xmlns:a16="http://schemas.microsoft.com/office/drawing/2014/main" id="{1800C2CB-54A6-4240-B3ED-11D6043BB03F}"/>
                </a:ext>
              </a:extLst>
            </p:cNvPr>
            <p:cNvSpPr/>
            <p:nvPr/>
          </p:nvSpPr>
          <p:spPr>
            <a:xfrm rot="8716295">
              <a:off x="460900" y="343447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4" name="Forme libre : forme 323">
              <a:extLst>
                <a:ext uri="{FF2B5EF4-FFF2-40B4-BE49-F238E27FC236}">
                  <a16:creationId xmlns:a16="http://schemas.microsoft.com/office/drawing/2014/main" id="{3EBD1C82-1557-40AF-96AD-1C870F5CE8D7}"/>
                </a:ext>
              </a:extLst>
            </p:cNvPr>
            <p:cNvSpPr/>
            <p:nvPr/>
          </p:nvSpPr>
          <p:spPr>
            <a:xfrm rot="8716295">
              <a:off x="417336" y="4258920"/>
              <a:ext cx="147637" cy="195874"/>
            </a:xfrm>
            <a:custGeom>
              <a:avLst/>
              <a:gdLst>
                <a:gd name="connsiteX0" fmla="*/ 34500 w 147637"/>
                <a:gd name="connsiteY0" fmla="*/ 195874 h 195874"/>
                <a:gd name="connsiteX1" fmla="*/ 0 w 147637"/>
                <a:gd name="connsiteY1" fmla="*/ 131688 h 195874"/>
                <a:gd name="connsiteX2" fmla="*/ 108921 w 147637"/>
                <a:gd name="connsiteY2" fmla="*/ 0 h 195874"/>
                <a:gd name="connsiteX3" fmla="*/ 147637 w 147637"/>
                <a:gd name="connsiteY3" fmla="*/ 0 h 195874"/>
                <a:gd name="connsiteX4" fmla="*/ 147637 w 147637"/>
                <a:gd name="connsiteY4" fmla="*/ 55323 h 195874"/>
                <a:gd name="connsiteX5" fmla="*/ 82845 w 147637"/>
                <a:gd name="connsiteY5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7637" h="195874">
                  <a:moveTo>
                    <a:pt x="34500" y="195874"/>
                  </a:moveTo>
                  <a:lnTo>
                    <a:pt x="0" y="131688"/>
                  </a:lnTo>
                  <a:lnTo>
                    <a:pt x="108921" y="0"/>
                  </a:lnTo>
                  <a:lnTo>
                    <a:pt x="147637" y="0"/>
                  </a:lnTo>
                  <a:lnTo>
                    <a:pt x="147637" y="55323"/>
                  </a:lnTo>
                  <a:lnTo>
                    <a:pt x="8284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5" name="Forme libre : forme 324">
              <a:extLst>
                <a:ext uri="{FF2B5EF4-FFF2-40B4-BE49-F238E27FC236}">
                  <a16:creationId xmlns:a16="http://schemas.microsoft.com/office/drawing/2014/main" id="{50FA5920-2CA1-4B57-AFE9-708172C7151C}"/>
                </a:ext>
              </a:extLst>
            </p:cNvPr>
            <p:cNvSpPr/>
            <p:nvPr/>
          </p:nvSpPr>
          <p:spPr>
            <a:xfrm rot="8716295">
              <a:off x="330834" y="4134902"/>
              <a:ext cx="254613" cy="91157"/>
            </a:xfrm>
            <a:custGeom>
              <a:avLst/>
              <a:gdLst>
                <a:gd name="connsiteX0" fmla="*/ 0 w 254613"/>
                <a:gd name="connsiteY0" fmla="*/ 68911 h 91157"/>
                <a:gd name="connsiteX1" fmla="*/ 56997 w 254613"/>
                <a:gd name="connsiteY1" fmla="*/ 0 h 91157"/>
                <a:gd name="connsiteX2" fmla="*/ 57517 w 254613"/>
                <a:gd name="connsiteY2" fmla="*/ 2143 h 91157"/>
                <a:gd name="connsiteX3" fmla="*/ 128118 w 254613"/>
                <a:gd name="connsiteY3" fmla="*/ 40974 h 91157"/>
                <a:gd name="connsiteX4" fmla="*/ 181070 w 254613"/>
                <a:gd name="connsiteY4" fmla="*/ 31560 h 91157"/>
                <a:gd name="connsiteX5" fmla="*/ 253437 w 254613"/>
                <a:gd name="connsiteY5" fmla="*/ 2143 h 91157"/>
                <a:gd name="connsiteX6" fmla="*/ 254613 w 254613"/>
                <a:gd name="connsiteY6" fmla="*/ 9791 h 91157"/>
                <a:gd name="connsiteX7" fmla="*/ 254613 w 254613"/>
                <a:gd name="connsiteY7" fmla="*/ 15674 h 91157"/>
                <a:gd name="connsiteX8" fmla="*/ 61636 w 254613"/>
                <a:gd name="connsiteY8" fmla="*/ 90983 h 91157"/>
                <a:gd name="connsiteX9" fmla="*/ 22363 w 254613"/>
                <a:gd name="connsiteY9" fmla="*/ 84217 h 91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4613" h="91157">
                  <a:moveTo>
                    <a:pt x="0" y="68911"/>
                  </a:moveTo>
                  <a:lnTo>
                    <a:pt x="56997" y="0"/>
                  </a:lnTo>
                  <a:lnTo>
                    <a:pt x="57517" y="2143"/>
                  </a:lnTo>
                  <a:cubicBezTo>
                    <a:pt x="66931" y="28030"/>
                    <a:pt x="91053" y="40974"/>
                    <a:pt x="128118" y="40974"/>
                  </a:cubicBezTo>
                  <a:cubicBezTo>
                    <a:pt x="146357" y="40385"/>
                    <a:pt x="164008" y="36855"/>
                    <a:pt x="181070" y="31560"/>
                  </a:cubicBezTo>
                  <a:cubicBezTo>
                    <a:pt x="205780" y="23912"/>
                    <a:pt x="229903" y="13910"/>
                    <a:pt x="253437" y="2143"/>
                  </a:cubicBezTo>
                  <a:cubicBezTo>
                    <a:pt x="254025" y="4496"/>
                    <a:pt x="254613" y="7438"/>
                    <a:pt x="254613" y="9791"/>
                  </a:cubicBezTo>
                  <a:lnTo>
                    <a:pt x="254613" y="15674"/>
                  </a:lnTo>
                  <a:cubicBezTo>
                    <a:pt x="192249" y="69215"/>
                    <a:pt x="110468" y="88042"/>
                    <a:pt x="61636" y="90983"/>
                  </a:cubicBezTo>
                  <a:cubicBezTo>
                    <a:pt x="48104" y="91866"/>
                    <a:pt x="34719" y="89365"/>
                    <a:pt x="22363" y="842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6" name="Forme libre : forme 325">
              <a:extLst>
                <a:ext uri="{FF2B5EF4-FFF2-40B4-BE49-F238E27FC236}">
                  <a16:creationId xmlns:a16="http://schemas.microsoft.com/office/drawing/2014/main" id="{E3EDD39B-7171-468B-A877-2CE2BD07726B}"/>
                </a:ext>
              </a:extLst>
            </p:cNvPr>
            <p:cNvSpPr/>
            <p:nvPr/>
          </p:nvSpPr>
          <p:spPr>
            <a:xfrm rot="8716295">
              <a:off x="-3428" y="2405990"/>
              <a:ext cx="142167" cy="208592"/>
            </a:xfrm>
            <a:custGeom>
              <a:avLst/>
              <a:gdLst>
                <a:gd name="connsiteX0" fmla="*/ 81108 w 142167"/>
                <a:gd name="connsiteY0" fmla="*/ 208592 h 208592"/>
                <a:gd name="connsiteX1" fmla="*/ 81108 w 142167"/>
                <a:gd name="connsiteY1" fmla="*/ 69717 h 208592"/>
                <a:gd name="connsiteX2" fmla="*/ 81108 w 142167"/>
                <a:gd name="connsiteY2" fmla="*/ 65615 h 208592"/>
                <a:gd name="connsiteX3" fmla="*/ 60604 w 142167"/>
                <a:gd name="connsiteY3" fmla="*/ 50123 h 208592"/>
                <a:gd name="connsiteX4" fmla="*/ 0 w 142167"/>
                <a:gd name="connsiteY4" fmla="*/ 50123 h 208592"/>
                <a:gd name="connsiteX5" fmla="*/ 0 w 142167"/>
                <a:gd name="connsiteY5" fmla="*/ 0 h 208592"/>
                <a:gd name="connsiteX6" fmla="*/ 85210 w 142167"/>
                <a:gd name="connsiteY6" fmla="*/ 0 h 208592"/>
                <a:gd name="connsiteX7" fmla="*/ 142167 w 142167"/>
                <a:gd name="connsiteY7" fmla="*/ 50123 h 208592"/>
                <a:gd name="connsiteX8" fmla="*/ 142167 w 142167"/>
                <a:gd name="connsiteY8" fmla="*/ 120504 h 20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08592">
                  <a:moveTo>
                    <a:pt x="81108" y="208592"/>
                  </a:moveTo>
                  <a:lnTo>
                    <a:pt x="81108" y="69717"/>
                  </a:lnTo>
                  <a:cubicBezTo>
                    <a:pt x="81108" y="68350"/>
                    <a:pt x="81108" y="66983"/>
                    <a:pt x="81108" y="65615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10" y="0"/>
                  </a:lnTo>
                  <a:cubicBezTo>
                    <a:pt x="122118" y="0"/>
                    <a:pt x="142167" y="15948"/>
                    <a:pt x="142167" y="50123"/>
                  </a:cubicBezTo>
                  <a:lnTo>
                    <a:pt x="142167" y="1205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7" name="Forme libre : forme 326">
              <a:extLst>
                <a:ext uri="{FF2B5EF4-FFF2-40B4-BE49-F238E27FC236}">
                  <a16:creationId xmlns:a16="http://schemas.microsoft.com/office/drawing/2014/main" id="{23F7EF39-C8FF-4CA7-9DED-AF0E47CA9C7E}"/>
                </a:ext>
              </a:extLst>
            </p:cNvPr>
            <p:cNvSpPr/>
            <p:nvPr/>
          </p:nvSpPr>
          <p:spPr>
            <a:xfrm rot="8716295">
              <a:off x="80015" y="241329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8" name="Forme libre : forme 327">
              <a:extLst>
                <a:ext uri="{FF2B5EF4-FFF2-40B4-BE49-F238E27FC236}">
                  <a16:creationId xmlns:a16="http://schemas.microsoft.com/office/drawing/2014/main" id="{FBC44AA7-6291-474B-9C67-ED7522250EEB}"/>
                </a:ext>
              </a:extLst>
            </p:cNvPr>
            <p:cNvSpPr/>
            <p:nvPr/>
          </p:nvSpPr>
          <p:spPr>
            <a:xfrm rot="8716295">
              <a:off x="35165" y="232701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9" name="Forme libre : forme 328">
              <a:extLst>
                <a:ext uri="{FF2B5EF4-FFF2-40B4-BE49-F238E27FC236}">
                  <a16:creationId xmlns:a16="http://schemas.microsoft.com/office/drawing/2014/main" id="{5EA7A5E2-9C29-45B6-9267-972B0EFC92AD}"/>
                </a:ext>
              </a:extLst>
            </p:cNvPr>
            <p:cNvSpPr/>
            <p:nvPr/>
          </p:nvSpPr>
          <p:spPr>
            <a:xfrm rot="8716295">
              <a:off x="-20257" y="2217087"/>
              <a:ext cx="78731" cy="180665"/>
            </a:xfrm>
            <a:custGeom>
              <a:avLst/>
              <a:gdLst>
                <a:gd name="connsiteX0" fmla="*/ 0 w 78731"/>
                <a:gd name="connsiteY0" fmla="*/ 180665 h 180665"/>
                <a:gd name="connsiteX1" fmla="*/ 0 w 78731"/>
                <a:gd name="connsiteY1" fmla="*/ 40596 h 180665"/>
                <a:gd name="connsiteX2" fmla="*/ 78250 w 78731"/>
                <a:gd name="connsiteY2" fmla="*/ 0 h 180665"/>
                <a:gd name="connsiteX3" fmla="*/ 78731 w 78731"/>
                <a:gd name="connsiteY3" fmla="*/ 67083 h 180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731" h="180665">
                  <a:moveTo>
                    <a:pt x="0" y="180665"/>
                  </a:moveTo>
                  <a:lnTo>
                    <a:pt x="0" y="40596"/>
                  </a:lnTo>
                  <a:lnTo>
                    <a:pt x="78250" y="0"/>
                  </a:lnTo>
                  <a:lnTo>
                    <a:pt x="78731" y="670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0" name="Forme libre : forme 329">
              <a:extLst>
                <a:ext uri="{FF2B5EF4-FFF2-40B4-BE49-F238E27FC236}">
                  <a16:creationId xmlns:a16="http://schemas.microsoft.com/office/drawing/2014/main" id="{29FF2476-3E2D-4E1C-AC58-09A8EA6AE16D}"/>
                </a:ext>
              </a:extLst>
            </p:cNvPr>
            <p:cNvSpPr/>
            <p:nvPr/>
          </p:nvSpPr>
          <p:spPr>
            <a:xfrm rot="8716295">
              <a:off x="-15341" y="2575209"/>
              <a:ext cx="103435" cy="152027"/>
            </a:xfrm>
            <a:custGeom>
              <a:avLst/>
              <a:gdLst>
                <a:gd name="connsiteX0" fmla="*/ 43288 w 103435"/>
                <a:gd name="connsiteY0" fmla="*/ 152027 h 152027"/>
                <a:gd name="connsiteX1" fmla="*/ 43288 w 103435"/>
                <a:gd name="connsiteY1" fmla="*/ 16404 h 152027"/>
                <a:gd name="connsiteX2" fmla="*/ 0 w 103435"/>
                <a:gd name="connsiteY2" fmla="*/ 16404 h 152027"/>
                <a:gd name="connsiteX3" fmla="*/ 0 w 103435"/>
                <a:gd name="connsiteY3" fmla="*/ 2278 h 152027"/>
                <a:gd name="connsiteX4" fmla="*/ 103435 w 103435"/>
                <a:gd name="connsiteY4" fmla="*/ 0 h 152027"/>
                <a:gd name="connsiteX5" fmla="*/ 103435 w 103435"/>
                <a:gd name="connsiteY5" fmla="*/ 65255 h 152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152027">
                  <a:moveTo>
                    <a:pt x="43288" y="152027"/>
                  </a:move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652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1" name="Forme libre : forme 330">
              <a:extLst>
                <a:ext uri="{FF2B5EF4-FFF2-40B4-BE49-F238E27FC236}">
                  <a16:creationId xmlns:a16="http://schemas.microsoft.com/office/drawing/2014/main" id="{75F88328-D448-4AA5-9E75-FE8115368C6C}"/>
                </a:ext>
              </a:extLst>
            </p:cNvPr>
            <p:cNvSpPr/>
            <p:nvPr/>
          </p:nvSpPr>
          <p:spPr>
            <a:xfrm rot="8716295">
              <a:off x="279722" y="21339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2" name="Forme libre : forme 331">
              <a:extLst>
                <a:ext uri="{FF2B5EF4-FFF2-40B4-BE49-F238E27FC236}">
                  <a16:creationId xmlns:a16="http://schemas.microsoft.com/office/drawing/2014/main" id="{426E2A9F-197F-4F75-8782-ED9A68D4D6C8}"/>
                </a:ext>
              </a:extLst>
            </p:cNvPr>
            <p:cNvSpPr/>
            <p:nvPr/>
          </p:nvSpPr>
          <p:spPr>
            <a:xfrm rot="8716295">
              <a:off x="369114" y="21631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3" name="Forme libre : forme 332">
              <a:extLst>
                <a:ext uri="{FF2B5EF4-FFF2-40B4-BE49-F238E27FC236}">
                  <a16:creationId xmlns:a16="http://schemas.microsoft.com/office/drawing/2014/main" id="{94DB51E7-8EDB-4900-9675-0F9A6F5C490B}"/>
                </a:ext>
              </a:extLst>
            </p:cNvPr>
            <p:cNvSpPr/>
            <p:nvPr/>
          </p:nvSpPr>
          <p:spPr>
            <a:xfrm rot="8716295">
              <a:off x="167488" y="22224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4" name="Forme libre : forme 333">
              <a:extLst>
                <a:ext uri="{FF2B5EF4-FFF2-40B4-BE49-F238E27FC236}">
                  <a16:creationId xmlns:a16="http://schemas.microsoft.com/office/drawing/2014/main" id="{2E5B2022-399F-4450-9579-1B2308763857}"/>
                </a:ext>
              </a:extLst>
            </p:cNvPr>
            <p:cNvSpPr/>
            <p:nvPr/>
          </p:nvSpPr>
          <p:spPr>
            <a:xfrm rot="8716295">
              <a:off x="42586" y="20137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5" name="Forme libre : forme 334">
              <a:extLst>
                <a:ext uri="{FF2B5EF4-FFF2-40B4-BE49-F238E27FC236}">
                  <a16:creationId xmlns:a16="http://schemas.microsoft.com/office/drawing/2014/main" id="{2929CE2C-2256-40A5-A8F3-3829812FC41F}"/>
                </a:ext>
              </a:extLst>
            </p:cNvPr>
            <p:cNvSpPr/>
            <p:nvPr/>
          </p:nvSpPr>
          <p:spPr>
            <a:xfrm rot="8716295">
              <a:off x="257666" y="226339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6" name="Forme libre : forme 335">
              <a:extLst>
                <a:ext uri="{FF2B5EF4-FFF2-40B4-BE49-F238E27FC236}">
                  <a16:creationId xmlns:a16="http://schemas.microsoft.com/office/drawing/2014/main" id="{5B080DE2-EB07-4251-8225-D8F835BCC870}"/>
                </a:ext>
              </a:extLst>
            </p:cNvPr>
            <p:cNvSpPr/>
            <p:nvPr/>
          </p:nvSpPr>
          <p:spPr>
            <a:xfrm rot="8716295">
              <a:off x="16215" y="211379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7" name="Forme libre : forme 336">
              <a:extLst>
                <a:ext uri="{FF2B5EF4-FFF2-40B4-BE49-F238E27FC236}">
                  <a16:creationId xmlns:a16="http://schemas.microsoft.com/office/drawing/2014/main" id="{CE30ADAD-6662-46CB-9F1B-B1109F31D2A1}"/>
                </a:ext>
              </a:extLst>
            </p:cNvPr>
            <p:cNvSpPr/>
            <p:nvPr/>
          </p:nvSpPr>
          <p:spPr>
            <a:xfrm rot="7484129">
              <a:off x="362597" y="245474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8" name="Forme libre : forme 337">
              <a:extLst>
                <a:ext uri="{FF2B5EF4-FFF2-40B4-BE49-F238E27FC236}">
                  <a16:creationId xmlns:a16="http://schemas.microsoft.com/office/drawing/2014/main" id="{E0EC12C4-DE16-425E-A187-948925CA8B78}"/>
                </a:ext>
              </a:extLst>
            </p:cNvPr>
            <p:cNvSpPr/>
            <p:nvPr/>
          </p:nvSpPr>
          <p:spPr>
            <a:xfrm rot="13089394">
              <a:off x="463440" y="2426400"/>
              <a:ext cx="272584" cy="319064"/>
            </a:xfrm>
            <a:custGeom>
              <a:avLst/>
              <a:gdLst>
                <a:gd name="connsiteX0" fmla="*/ 80445 w 272584"/>
                <a:gd name="connsiteY0" fmla="*/ 215518 h 319064"/>
                <a:gd name="connsiteX1" fmla="*/ 0 w 272584"/>
                <a:gd name="connsiteY1" fmla="*/ 93007 h 319064"/>
                <a:gd name="connsiteX2" fmla="*/ 0 w 272584"/>
                <a:gd name="connsiteY2" fmla="*/ 38074 h 319064"/>
                <a:gd name="connsiteX3" fmla="*/ 73388 w 272584"/>
                <a:gd name="connsiteY3" fmla="*/ 0 h 319064"/>
                <a:gd name="connsiteX4" fmla="*/ 74492 w 272584"/>
                <a:gd name="connsiteY4" fmla="*/ 153950 h 319064"/>
                <a:gd name="connsiteX5" fmla="*/ 76768 w 272584"/>
                <a:gd name="connsiteY5" fmla="*/ 200369 h 319064"/>
                <a:gd name="connsiteX6" fmla="*/ 272584 w 272584"/>
                <a:gd name="connsiteY6" fmla="*/ 258238 h 319064"/>
                <a:gd name="connsiteX7" fmla="*/ 177331 w 272584"/>
                <a:gd name="connsiteY7" fmla="*/ 311347 h 319064"/>
                <a:gd name="connsiteX8" fmla="*/ 148437 w 272584"/>
                <a:gd name="connsiteY8" fmla="*/ 319064 h 319064"/>
                <a:gd name="connsiteX9" fmla="*/ 119231 w 272584"/>
                <a:gd name="connsiteY9" fmla="*/ 274585 h 319064"/>
                <a:gd name="connsiteX10" fmla="*/ 153949 w 272584"/>
                <a:gd name="connsiteY10" fmla="*/ 281965 h 319064"/>
                <a:gd name="connsiteX11" fmla="*/ 203610 w 272584"/>
                <a:gd name="connsiteY11" fmla="*/ 273136 h 319064"/>
                <a:gd name="connsiteX12" fmla="*/ 271481 w 272584"/>
                <a:gd name="connsiteY12" fmla="*/ 245547 h 319064"/>
                <a:gd name="connsiteX13" fmla="*/ 272584 w 272584"/>
                <a:gd name="connsiteY13" fmla="*/ 252720 h 319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2584" h="319064">
                  <a:moveTo>
                    <a:pt x="80445" y="215518"/>
                  </a:moveTo>
                  <a:lnTo>
                    <a:pt x="0" y="93007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3664" y="169400"/>
                    <a:pt x="74492" y="184988"/>
                    <a:pt x="76768" y="200369"/>
                  </a:cubicBezTo>
                  <a:close/>
                  <a:moveTo>
                    <a:pt x="272584" y="258238"/>
                  </a:moveTo>
                  <a:cubicBezTo>
                    <a:pt x="243339" y="283344"/>
                    <a:pt x="209542" y="300312"/>
                    <a:pt x="177331" y="311347"/>
                  </a:cubicBezTo>
                  <a:lnTo>
                    <a:pt x="148437" y="319064"/>
                  </a:lnTo>
                  <a:lnTo>
                    <a:pt x="119231" y="274585"/>
                  </a:lnTo>
                  <a:lnTo>
                    <a:pt x="153949" y="281965"/>
                  </a:lnTo>
                  <a:cubicBezTo>
                    <a:pt x="171055" y="281413"/>
                    <a:pt x="187609" y="278102"/>
                    <a:pt x="203610" y="273136"/>
                  </a:cubicBezTo>
                  <a:cubicBezTo>
                    <a:pt x="226785" y="265963"/>
                    <a:pt x="249409" y="256583"/>
                    <a:pt x="271481" y="245547"/>
                  </a:cubicBezTo>
                  <a:cubicBezTo>
                    <a:pt x="272032" y="247754"/>
                    <a:pt x="272584" y="250513"/>
                    <a:pt x="272584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9" name="Forme libre : forme 338">
              <a:extLst>
                <a:ext uri="{FF2B5EF4-FFF2-40B4-BE49-F238E27FC236}">
                  <a16:creationId xmlns:a16="http://schemas.microsoft.com/office/drawing/2014/main" id="{0EBB3BF6-5F1A-4179-B16F-FF1F99B6BEAC}"/>
                </a:ext>
              </a:extLst>
            </p:cNvPr>
            <p:cNvSpPr/>
            <p:nvPr/>
          </p:nvSpPr>
          <p:spPr>
            <a:xfrm rot="8716295">
              <a:off x="675867" y="2357327"/>
              <a:ext cx="38012" cy="45752"/>
            </a:xfrm>
            <a:custGeom>
              <a:avLst/>
              <a:gdLst>
                <a:gd name="connsiteX0" fmla="*/ 0 w 38012"/>
                <a:gd name="connsiteY0" fmla="*/ 45752 h 45752"/>
                <a:gd name="connsiteX1" fmla="*/ 37842 w 38012"/>
                <a:gd name="connsiteY1" fmla="*/ 0 h 45752"/>
                <a:gd name="connsiteX2" fmla="*/ 38012 w 38012"/>
                <a:gd name="connsiteY2" fmla="*/ 641 h 45752"/>
                <a:gd name="connsiteX3" fmla="*/ 6841 w 38012"/>
                <a:gd name="connsiteY3" fmla="*/ 42560 h 45752"/>
                <a:gd name="connsiteX4" fmla="*/ 7378 w 38012"/>
                <a:gd name="connsiteY4" fmla="*/ 42560 h 45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012" h="45752">
                  <a:moveTo>
                    <a:pt x="0" y="45752"/>
                  </a:moveTo>
                  <a:lnTo>
                    <a:pt x="37842" y="0"/>
                  </a:lnTo>
                  <a:lnTo>
                    <a:pt x="38012" y="641"/>
                  </a:lnTo>
                  <a:cubicBezTo>
                    <a:pt x="36400" y="19451"/>
                    <a:pt x="24039" y="35036"/>
                    <a:pt x="6841" y="42560"/>
                  </a:cubicBezTo>
                  <a:lnTo>
                    <a:pt x="7378" y="425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0" name="Forme libre : forme 339">
              <a:extLst>
                <a:ext uri="{FF2B5EF4-FFF2-40B4-BE49-F238E27FC236}">
                  <a16:creationId xmlns:a16="http://schemas.microsoft.com/office/drawing/2014/main" id="{40BD2394-2E6A-43B3-8282-5AF2A68AFB55}"/>
                </a:ext>
              </a:extLst>
            </p:cNvPr>
            <p:cNvSpPr/>
            <p:nvPr/>
          </p:nvSpPr>
          <p:spPr>
            <a:xfrm rot="8716295">
              <a:off x="601197" y="21260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1" name="Forme libre : forme 340">
              <a:extLst>
                <a:ext uri="{FF2B5EF4-FFF2-40B4-BE49-F238E27FC236}">
                  <a16:creationId xmlns:a16="http://schemas.microsoft.com/office/drawing/2014/main" id="{98C4AC75-3010-49F3-9D48-1212A4D988F1}"/>
                </a:ext>
              </a:extLst>
            </p:cNvPr>
            <p:cNvSpPr/>
            <p:nvPr/>
          </p:nvSpPr>
          <p:spPr>
            <a:xfrm rot="8716295">
              <a:off x="357951" y="21562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2" name="Forme libre : forme 341">
              <a:extLst>
                <a:ext uri="{FF2B5EF4-FFF2-40B4-BE49-F238E27FC236}">
                  <a16:creationId xmlns:a16="http://schemas.microsoft.com/office/drawing/2014/main" id="{F44EFD0C-26D8-44AF-B8B7-34925D1881F3}"/>
                </a:ext>
              </a:extLst>
            </p:cNvPr>
            <p:cNvSpPr/>
            <p:nvPr/>
          </p:nvSpPr>
          <p:spPr>
            <a:xfrm rot="8716295">
              <a:off x="535403" y="199698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3" name="Forme libre : forme 342">
              <a:extLst>
                <a:ext uri="{FF2B5EF4-FFF2-40B4-BE49-F238E27FC236}">
                  <a16:creationId xmlns:a16="http://schemas.microsoft.com/office/drawing/2014/main" id="{1A320605-AC28-4E7D-BF63-1E3FD62FB21F}"/>
                </a:ext>
              </a:extLst>
            </p:cNvPr>
            <p:cNvSpPr/>
            <p:nvPr/>
          </p:nvSpPr>
          <p:spPr>
            <a:xfrm rot="8716295">
              <a:off x="-76043" y="1768178"/>
              <a:ext cx="197178" cy="215049"/>
            </a:xfrm>
            <a:custGeom>
              <a:avLst/>
              <a:gdLst>
                <a:gd name="connsiteX0" fmla="*/ 51490 w 197178"/>
                <a:gd name="connsiteY0" fmla="*/ 215049 h 215049"/>
                <a:gd name="connsiteX1" fmla="*/ 51490 w 197178"/>
                <a:gd name="connsiteY1" fmla="*/ 45624 h 215049"/>
                <a:gd name="connsiteX2" fmla="*/ 0 w 197178"/>
                <a:gd name="connsiteY2" fmla="*/ 45624 h 215049"/>
                <a:gd name="connsiteX3" fmla="*/ 0 w 197178"/>
                <a:gd name="connsiteY3" fmla="*/ 1424 h 215049"/>
                <a:gd name="connsiteX4" fmla="*/ 104803 w 197178"/>
                <a:gd name="connsiteY4" fmla="*/ 1425 h 215049"/>
                <a:gd name="connsiteX5" fmla="*/ 104803 w 197178"/>
                <a:gd name="connsiteY5" fmla="*/ 75242 h 215049"/>
                <a:gd name="connsiteX6" fmla="*/ 106169 w 197178"/>
                <a:gd name="connsiteY6" fmla="*/ 75242 h 215049"/>
                <a:gd name="connsiteX7" fmla="*/ 154014 w 197178"/>
                <a:gd name="connsiteY7" fmla="*/ 5981 h 215049"/>
                <a:gd name="connsiteX8" fmla="*/ 185455 w 197178"/>
                <a:gd name="connsiteY8" fmla="*/ 57 h 215049"/>
                <a:gd name="connsiteX9" fmla="*/ 197178 w 197178"/>
                <a:gd name="connsiteY9" fmla="*/ 4872 h 215049"/>
                <a:gd name="connsiteX10" fmla="*/ 170795 w 197178"/>
                <a:gd name="connsiteY10" fmla="*/ 42934 h 215049"/>
                <a:gd name="connsiteX11" fmla="*/ 164950 w 197178"/>
                <a:gd name="connsiteY11" fmla="*/ 40156 h 215049"/>
                <a:gd name="connsiteX12" fmla="*/ 111638 w 197178"/>
                <a:gd name="connsiteY12" fmla="*/ 127643 h 215049"/>
                <a:gd name="connsiteX13" fmla="*/ 111638 w 197178"/>
                <a:gd name="connsiteY13" fmla="*/ 128277 h 21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178" h="215049">
                  <a:moveTo>
                    <a:pt x="51490" y="215049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4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lnTo>
                    <a:pt x="197178" y="4872"/>
                  </a:lnTo>
                  <a:lnTo>
                    <a:pt x="170795" y="42934"/>
                  </a:lnTo>
                  <a:lnTo>
                    <a:pt x="164950" y="40156"/>
                  </a:ln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1282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4" name="Forme libre : forme 343">
              <a:extLst>
                <a:ext uri="{FF2B5EF4-FFF2-40B4-BE49-F238E27FC236}">
                  <a16:creationId xmlns:a16="http://schemas.microsoft.com/office/drawing/2014/main" id="{79B4D19B-E848-47AB-BAFE-59EBF555A6F5}"/>
                </a:ext>
              </a:extLst>
            </p:cNvPr>
            <p:cNvSpPr/>
            <p:nvPr/>
          </p:nvSpPr>
          <p:spPr>
            <a:xfrm rot="8716295">
              <a:off x="56555" y="14742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5" name="Forme libre : forme 344">
              <a:extLst>
                <a:ext uri="{FF2B5EF4-FFF2-40B4-BE49-F238E27FC236}">
                  <a16:creationId xmlns:a16="http://schemas.microsoft.com/office/drawing/2014/main" id="{0496B299-828A-4BBC-966F-5FA47083E3CE}"/>
                </a:ext>
              </a:extLst>
            </p:cNvPr>
            <p:cNvSpPr/>
            <p:nvPr/>
          </p:nvSpPr>
          <p:spPr>
            <a:xfrm rot="8716295">
              <a:off x="145947" y="15034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6" name="Forme libre : forme 345">
              <a:extLst>
                <a:ext uri="{FF2B5EF4-FFF2-40B4-BE49-F238E27FC236}">
                  <a16:creationId xmlns:a16="http://schemas.microsoft.com/office/drawing/2014/main" id="{47AF6C7D-4B3B-4997-9D6C-9505A068BCE6}"/>
                </a:ext>
              </a:extLst>
            </p:cNvPr>
            <p:cNvSpPr/>
            <p:nvPr/>
          </p:nvSpPr>
          <p:spPr>
            <a:xfrm rot="8716295">
              <a:off x="-21870" y="1443501"/>
              <a:ext cx="68614" cy="55323"/>
            </a:xfrm>
            <a:custGeom>
              <a:avLst/>
              <a:gdLst>
                <a:gd name="connsiteX0" fmla="*/ 0 w 68614"/>
                <a:gd name="connsiteY0" fmla="*/ 55323 h 55323"/>
                <a:gd name="connsiteX1" fmla="*/ 0 w 68614"/>
                <a:gd name="connsiteY1" fmla="*/ 0 h 55323"/>
                <a:gd name="connsiteX2" fmla="*/ 68614 w 68614"/>
                <a:gd name="connsiteY2" fmla="*/ 0 h 55323"/>
                <a:gd name="connsiteX3" fmla="*/ 30266 w 68614"/>
                <a:gd name="connsiteY3" fmla="*/ 55323 h 55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614" h="55323">
                  <a:moveTo>
                    <a:pt x="0" y="55323"/>
                  </a:moveTo>
                  <a:lnTo>
                    <a:pt x="0" y="0"/>
                  </a:lnTo>
                  <a:lnTo>
                    <a:pt x="68614" y="0"/>
                  </a:lnTo>
                  <a:lnTo>
                    <a:pt x="30266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7" name="Forme libre : forme 346">
              <a:extLst>
                <a:ext uri="{FF2B5EF4-FFF2-40B4-BE49-F238E27FC236}">
                  <a16:creationId xmlns:a16="http://schemas.microsoft.com/office/drawing/2014/main" id="{6A925E12-2BFF-4625-A0A6-B147409EE83D}"/>
                </a:ext>
              </a:extLst>
            </p:cNvPr>
            <p:cNvSpPr/>
            <p:nvPr/>
          </p:nvSpPr>
          <p:spPr>
            <a:xfrm rot="8716295">
              <a:off x="35817" y="1618109"/>
              <a:ext cx="103435" cy="203897"/>
            </a:xfrm>
            <a:custGeom>
              <a:avLst/>
              <a:gdLst>
                <a:gd name="connsiteX0" fmla="*/ 87556 w 103435"/>
                <a:gd name="connsiteY0" fmla="*/ 203897 h 203897"/>
                <a:gd name="connsiteX1" fmla="*/ 43288 w 103435"/>
                <a:gd name="connsiteY1" fmla="*/ 161305 h 203897"/>
                <a:gd name="connsiteX2" fmla="*/ 43288 w 103435"/>
                <a:gd name="connsiteY2" fmla="*/ 16404 h 203897"/>
                <a:gd name="connsiteX3" fmla="*/ 0 w 103435"/>
                <a:gd name="connsiteY3" fmla="*/ 16404 h 203897"/>
                <a:gd name="connsiteX4" fmla="*/ 0 w 103435"/>
                <a:gd name="connsiteY4" fmla="*/ 2278 h 203897"/>
                <a:gd name="connsiteX5" fmla="*/ 103435 w 103435"/>
                <a:gd name="connsiteY5" fmla="*/ 0 h 203897"/>
                <a:gd name="connsiteX6" fmla="*/ 103435 w 103435"/>
                <a:gd name="connsiteY6" fmla="*/ 180989 h 203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03897">
                  <a:moveTo>
                    <a:pt x="87556" y="203897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1809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8" name="Forme libre : forme 347">
              <a:extLst>
                <a:ext uri="{FF2B5EF4-FFF2-40B4-BE49-F238E27FC236}">
                  <a16:creationId xmlns:a16="http://schemas.microsoft.com/office/drawing/2014/main" id="{8F161AAD-ABF3-4F08-A5E7-178FA67C468C}"/>
                </a:ext>
              </a:extLst>
            </p:cNvPr>
            <p:cNvSpPr/>
            <p:nvPr/>
          </p:nvSpPr>
          <p:spPr>
            <a:xfrm rot="7484129">
              <a:off x="139430" y="17950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9" name="Forme libre : forme 348">
              <a:extLst>
                <a:ext uri="{FF2B5EF4-FFF2-40B4-BE49-F238E27FC236}">
                  <a16:creationId xmlns:a16="http://schemas.microsoft.com/office/drawing/2014/main" id="{2B2677AB-A960-4EDE-895B-90B39923E929}"/>
                </a:ext>
              </a:extLst>
            </p:cNvPr>
            <p:cNvSpPr/>
            <p:nvPr/>
          </p:nvSpPr>
          <p:spPr>
            <a:xfrm rot="13089394">
              <a:off x="244250" y="17615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0" name="Forme libre : forme 349">
              <a:extLst>
                <a:ext uri="{FF2B5EF4-FFF2-40B4-BE49-F238E27FC236}">
                  <a16:creationId xmlns:a16="http://schemas.microsoft.com/office/drawing/2014/main" id="{57CCAF2A-AD40-4587-8C0B-9AD3AA1B47B2}"/>
                </a:ext>
              </a:extLst>
            </p:cNvPr>
            <p:cNvSpPr/>
            <p:nvPr/>
          </p:nvSpPr>
          <p:spPr>
            <a:xfrm rot="8716295">
              <a:off x="429835" y="15699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1" name="Forme libre : forme 350">
              <a:extLst>
                <a:ext uri="{FF2B5EF4-FFF2-40B4-BE49-F238E27FC236}">
                  <a16:creationId xmlns:a16="http://schemas.microsoft.com/office/drawing/2014/main" id="{1CD46395-0105-4DB9-A258-02757ED2970C}"/>
                </a:ext>
              </a:extLst>
            </p:cNvPr>
            <p:cNvSpPr/>
            <p:nvPr/>
          </p:nvSpPr>
          <p:spPr>
            <a:xfrm rot="8716295">
              <a:off x="378030" y="14663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2" name="Forme libre : forme 351">
              <a:extLst>
                <a:ext uri="{FF2B5EF4-FFF2-40B4-BE49-F238E27FC236}">
                  <a16:creationId xmlns:a16="http://schemas.microsoft.com/office/drawing/2014/main" id="{792A22ED-7042-473B-B5F0-A8F38B0EAB40}"/>
                </a:ext>
              </a:extLst>
            </p:cNvPr>
            <p:cNvSpPr/>
            <p:nvPr/>
          </p:nvSpPr>
          <p:spPr>
            <a:xfrm rot="8716295">
              <a:off x="134784" y="14965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3" name="Forme libre : forme 352">
              <a:extLst>
                <a:ext uri="{FF2B5EF4-FFF2-40B4-BE49-F238E27FC236}">
                  <a16:creationId xmlns:a16="http://schemas.microsoft.com/office/drawing/2014/main" id="{F026E106-3ED5-479C-A7E5-1D0CF59276FB}"/>
                </a:ext>
              </a:extLst>
            </p:cNvPr>
            <p:cNvSpPr/>
            <p:nvPr/>
          </p:nvSpPr>
          <p:spPr>
            <a:xfrm rot="8716295">
              <a:off x="312236" y="13372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4" name="Forme libre : forme 353">
              <a:extLst>
                <a:ext uri="{FF2B5EF4-FFF2-40B4-BE49-F238E27FC236}">
                  <a16:creationId xmlns:a16="http://schemas.microsoft.com/office/drawing/2014/main" id="{A652AA44-0788-418A-BCB7-7692D06F9F9C}"/>
                </a:ext>
              </a:extLst>
            </p:cNvPr>
            <p:cNvSpPr/>
            <p:nvPr/>
          </p:nvSpPr>
          <p:spPr>
            <a:xfrm rot="8716295">
              <a:off x="-17798" y="949199"/>
              <a:ext cx="39526" cy="50123"/>
            </a:xfrm>
            <a:custGeom>
              <a:avLst/>
              <a:gdLst>
                <a:gd name="connsiteX0" fmla="*/ 0 w 39526"/>
                <a:gd name="connsiteY0" fmla="*/ 50123 h 50123"/>
                <a:gd name="connsiteX1" fmla="*/ 0 w 39526"/>
                <a:gd name="connsiteY1" fmla="*/ 0 h 50123"/>
                <a:gd name="connsiteX2" fmla="*/ 39526 w 39526"/>
                <a:gd name="connsiteY2" fmla="*/ 0 h 50123"/>
                <a:gd name="connsiteX3" fmla="*/ 4782 w 39526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26" h="50123">
                  <a:moveTo>
                    <a:pt x="0" y="50123"/>
                  </a:moveTo>
                  <a:lnTo>
                    <a:pt x="0" y="0"/>
                  </a:lnTo>
                  <a:lnTo>
                    <a:pt x="39526" y="0"/>
                  </a:lnTo>
                  <a:lnTo>
                    <a:pt x="4782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5" name="Forme libre : forme 354">
              <a:extLst>
                <a:ext uri="{FF2B5EF4-FFF2-40B4-BE49-F238E27FC236}">
                  <a16:creationId xmlns:a16="http://schemas.microsoft.com/office/drawing/2014/main" id="{CC7F2B2F-A9EF-4436-92EE-F187A921B5A2}"/>
                </a:ext>
              </a:extLst>
            </p:cNvPr>
            <p:cNvSpPr/>
            <p:nvPr/>
          </p:nvSpPr>
          <p:spPr>
            <a:xfrm rot="8716295">
              <a:off x="-64996" y="834728"/>
              <a:ext cx="249650" cy="254774"/>
            </a:xfrm>
            <a:custGeom>
              <a:avLst/>
              <a:gdLst>
                <a:gd name="connsiteX0" fmla="*/ 51490 w 249650"/>
                <a:gd name="connsiteY0" fmla="*/ 254774 h 254774"/>
                <a:gd name="connsiteX1" fmla="*/ 51490 w 249650"/>
                <a:gd name="connsiteY1" fmla="*/ 45624 h 254774"/>
                <a:gd name="connsiteX2" fmla="*/ 0 w 249650"/>
                <a:gd name="connsiteY2" fmla="*/ 45624 h 254774"/>
                <a:gd name="connsiteX3" fmla="*/ 0 w 249650"/>
                <a:gd name="connsiteY3" fmla="*/ 1425 h 254774"/>
                <a:gd name="connsiteX4" fmla="*/ 104803 w 249650"/>
                <a:gd name="connsiteY4" fmla="*/ 1425 h 254774"/>
                <a:gd name="connsiteX5" fmla="*/ 104803 w 249650"/>
                <a:gd name="connsiteY5" fmla="*/ 75242 h 254774"/>
                <a:gd name="connsiteX6" fmla="*/ 106169 w 249650"/>
                <a:gd name="connsiteY6" fmla="*/ 75242 h 254774"/>
                <a:gd name="connsiteX7" fmla="*/ 154014 w 249650"/>
                <a:gd name="connsiteY7" fmla="*/ 5981 h 254774"/>
                <a:gd name="connsiteX8" fmla="*/ 185455 w 249650"/>
                <a:gd name="connsiteY8" fmla="*/ 57 h 254774"/>
                <a:gd name="connsiteX9" fmla="*/ 240647 w 249650"/>
                <a:gd name="connsiteY9" fmla="*/ 22727 h 254774"/>
                <a:gd name="connsiteX10" fmla="*/ 249650 w 249650"/>
                <a:gd name="connsiteY10" fmla="*/ 52327 h 254774"/>
                <a:gd name="connsiteX11" fmla="*/ 218795 w 249650"/>
                <a:gd name="connsiteY11" fmla="*/ 96841 h 254774"/>
                <a:gd name="connsiteX12" fmla="*/ 198669 w 249650"/>
                <a:gd name="connsiteY12" fmla="*/ 98025 h 254774"/>
                <a:gd name="connsiteX13" fmla="*/ 198669 w 249650"/>
                <a:gd name="connsiteY13" fmla="*/ 81621 h 254774"/>
                <a:gd name="connsiteX14" fmla="*/ 164950 w 249650"/>
                <a:gd name="connsiteY14" fmla="*/ 40156 h 254774"/>
                <a:gd name="connsiteX15" fmla="*/ 111638 w 249650"/>
                <a:gd name="connsiteY15" fmla="*/ 127643 h 254774"/>
                <a:gd name="connsiteX16" fmla="*/ 111638 w 249650"/>
                <a:gd name="connsiteY16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9650" h="254774">
                  <a:moveTo>
                    <a:pt x="51490" y="254774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08922" y="-398"/>
                    <a:pt x="227718" y="7576"/>
                    <a:pt x="240647" y="22727"/>
                  </a:cubicBezTo>
                  <a:lnTo>
                    <a:pt x="249650" y="52327"/>
                  </a:lnTo>
                  <a:lnTo>
                    <a:pt x="218795" y="96841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6" name="Forme libre : forme 355">
              <a:extLst>
                <a:ext uri="{FF2B5EF4-FFF2-40B4-BE49-F238E27FC236}">
                  <a16:creationId xmlns:a16="http://schemas.microsoft.com/office/drawing/2014/main" id="{B491F0AE-2B60-457D-9F7E-DF3C2D622FF0}"/>
                </a:ext>
              </a:extLst>
            </p:cNvPr>
            <p:cNvSpPr/>
            <p:nvPr/>
          </p:nvSpPr>
          <p:spPr>
            <a:xfrm rot="7484129">
              <a:off x="-63314" y="1172497"/>
              <a:ext cx="203848" cy="146395"/>
            </a:xfrm>
            <a:custGeom>
              <a:avLst/>
              <a:gdLst>
                <a:gd name="connsiteX0" fmla="*/ 0 w 203848"/>
                <a:gd name="connsiteY0" fmla="*/ 55323 h 146395"/>
                <a:gd name="connsiteX1" fmla="*/ 0 w 203848"/>
                <a:gd name="connsiteY1" fmla="*/ 0 h 146395"/>
                <a:gd name="connsiteX2" fmla="*/ 203848 w 203848"/>
                <a:gd name="connsiteY2" fmla="*/ 0 h 146395"/>
                <a:gd name="connsiteX3" fmla="*/ 203847 w 203848"/>
                <a:gd name="connsiteY3" fmla="*/ 49512 h 146395"/>
                <a:gd name="connsiteX4" fmla="*/ 195466 w 203848"/>
                <a:gd name="connsiteY4" fmla="*/ 55323 h 146395"/>
                <a:gd name="connsiteX5" fmla="*/ 139055 w 203848"/>
                <a:gd name="connsiteY5" fmla="*/ 55323 h 146395"/>
                <a:gd name="connsiteX6" fmla="*/ 121388 w 203848"/>
                <a:gd name="connsiteY6" fmla="*/ 106685 h 146395"/>
                <a:gd name="connsiteX7" fmla="*/ 64115 w 203848"/>
                <a:gd name="connsiteY7" fmla="*/ 146395 h 146395"/>
                <a:gd name="connsiteX8" fmla="*/ 47847 w 203848"/>
                <a:gd name="connsiteY8" fmla="*/ 116129 h 146395"/>
                <a:gd name="connsiteX9" fmla="*/ 69777 w 203848"/>
                <a:gd name="connsiteY9" fmla="*/ 55323 h 146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848" h="146395">
                  <a:moveTo>
                    <a:pt x="0" y="55323"/>
                  </a:moveTo>
                  <a:lnTo>
                    <a:pt x="0" y="0"/>
                  </a:lnTo>
                  <a:lnTo>
                    <a:pt x="203848" y="0"/>
                  </a:lnTo>
                  <a:lnTo>
                    <a:pt x="203847" y="49512"/>
                  </a:lnTo>
                  <a:lnTo>
                    <a:pt x="195466" y="55323"/>
                  </a:lnTo>
                  <a:lnTo>
                    <a:pt x="139055" y="55323"/>
                  </a:lnTo>
                  <a:lnTo>
                    <a:pt x="121388" y="106685"/>
                  </a:lnTo>
                  <a:lnTo>
                    <a:pt x="64115" y="146395"/>
                  </a:lnTo>
                  <a:lnTo>
                    <a:pt x="47847" y="116129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7" name="Forme libre : forme 356">
              <a:extLst>
                <a:ext uri="{FF2B5EF4-FFF2-40B4-BE49-F238E27FC236}">
                  <a16:creationId xmlns:a16="http://schemas.microsoft.com/office/drawing/2014/main" id="{566B0F1B-76F2-42A3-83ED-13519BAD8E0C}"/>
                </a:ext>
              </a:extLst>
            </p:cNvPr>
            <p:cNvSpPr/>
            <p:nvPr/>
          </p:nvSpPr>
          <p:spPr>
            <a:xfrm rot="13089394">
              <a:off x="25311" y="109952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8" name="Forme libre : forme 357">
              <a:extLst>
                <a:ext uri="{FF2B5EF4-FFF2-40B4-BE49-F238E27FC236}">
                  <a16:creationId xmlns:a16="http://schemas.microsoft.com/office/drawing/2014/main" id="{6ACA7109-A9A0-4CC8-B8F0-2B22C7DA70BF}"/>
                </a:ext>
              </a:extLst>
            </p:cNvPr>
            <p:cNvSpPr/>
            <p:nvPr/>
          </p:nvSpPr>
          <p:spPr>
            <a:xfrm rot="8716295">
              <a:off x="210896" y="90784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9" name="Forme libre : forme 358">
              <a:extLst>
                <a:ext uri="{FF2B5EF4-FFF2-40B4-BE49-F238E27FC236}">
                  <a16:creationId xmlns:a16="http://schemas.microsoft.com/office/drawing/2014/main" id="{452ADC31-6E2B-47AB-819B-06E9BDE7841B}"/>
                </a:ext>
              </a:extLst>
            </p:cNvPr>
            <p:cNvSpPr/>
            <p:nvPr/>
          </p:nvSpPr>
          <p:spPr>
            <a:xfrm rot="8716295">
              <a:off x="159091" y="80425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0" name="Forme libre : forme 359">
              <a:extLst>
                <a:ext uri="{FF2B5EF4-FFF2-40B4-BE49-F238E27FC236}">
                  <a16:creationId xmlns:a16="http://schemas.microsoft.com/office/drawing/2014/main" id="{BCEE9B8C-AA03-4719-891E-01DB914C78AC}"/>
                </a:ext>
              </a:extLst>
            </p:cNvPr>
            <p:cNvSpPr/>
            <p:nvPr/>
          </p:nvSpPr>
          <p:spPr>
            <a:xfrm rot="8716295">
              <a:off x="93297" y="67523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1" name="Forme libre : forme 360">
              <a:extLst>
                <a:ext uri="{FF2B5EF4-FFF2-40B4-BE49-F238E27FC236}">
                  <a16:creationId xmlns:a16="http://schemas.microsoft.com/office/drawing/2014/main" id="{F9DD0D80-4138-4478-988E-136F3B8038CE}"/>
                </a:ext>
              </a:extLst>
            </p:cNvPr>
            <p:cNvSpPr/>
            <p:nvPr/>
          </p:nvSpPr>
          <p:spPr>
            <a:xfrm rot="8716295">
              <a:off x="-7001" y="316701"/>
              <a:ext cx="14001" cy="20198"/>
            </a:xfrm>
            <a:custGeom>
              <a:avLst/>
              <a:gdLst>
                <a:gd name="connsiteX0" fmla="*/ 0 w 14001"/>
                <a:gd name="connsiteY0" fmla="*/ 20198 h 20198"/>
                <a:gd name="connsiteX1" fmla="*/ 0 w 14001"/>
                <a:gd name="connsiteY1" fmla="*/ 0 h 20198"/>
                <a:gd name="connsiteX2" fmla="*/ 14001 w 14001"/>
                <a:gd name="connsiteY2" fmla="*/ 0 h 2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01" h="20198">
                  <a:moveTo>
                    <a:pt x="0" y="20198"/>
                  </a:moveTo>
                  <a:lnTo>
                    <a:pt x="0" y="0"/>
                  </a:lnTo>
                  <a:lnTo>
                    <a:pt x="1400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2" name="Forme libre : forme 361">
              <a:extLst>
                <a:ext uri="{FF2B5EF4-FFF2-40B4-BE49-F238E27FC236}">
                  <a16:creationId xmlns:a16="http://schemas.microsoft.com/office/drawing/2014/main" id="{DF35AC08-7EAC-4D88-B60D-06D59DB2131D}"/>
                </a:ext>
              </a:extLst>
            </p:cNvPr>
            <p:cNvSpPr/>
            <p:nvPr/>
          </p:nvSpPr>
          <p:spPr>
            <a:xfrm rot="13089394">
              <a:off x="-81658" y="472652"/>
              <a:ext cx="173631" cy="237684"/>
            </a:xfrm>
            <a:custGeom>
              <a:avLst/>
              <a:gdLst>
                <a:gd name="connsiteX0" fmla="*/ 173631 w 173631"/>
                <a:gd name="connsiteY0" fmla="*/ 220990 h 237684"/>
                <a:gd name="connsiteX1" fmla="*/ 130972 w 173631"/>
                <a:gd name="connsiteY1" fmla="*/ 232382 h 237684"/>
                <a:gd name="connsiteX2" fmla="*/ 91597 w 173631"/>
                <a:gd name="connsiteY2" fmla="*/ 237521 h 237684"/>
                <a:gd name="connsiteX3" fmla="*/ 23727 w 173631"/>
                <a:gd name="connsiteY3" fmla="*/ 209931 h 237684"/>
                <a:gd name="connsiteX4" fmla="*/ 0 w 173631"/>
                <a:gd name="connsiteY4" fmla="*/ 115023 h 237684"/>
                <a:gd name="connsiteX5" fmla="*/ 0 w 173631"/>
                <a:gd name="connsiteY5" fmla="*/ 0 h 237684"/>
                <a:gd name="connsiteX6" fmla="*/ 76176 w 173631"/>
                <a:gd name="connsiteY6" fmla="*/ 96953 h 237684"/>
                <a:gd name="connsiteX7" fmla="*/ 76768 w 173631"/>
                <a:gd name="connsiteY7" fmla="*/ 109023 h 237684"/>
                <a:gd name="connsiteX8" fmla="*/ 87734 w 173631"/>
                <a:gd name="connsiteY8" fmla="*/ 154201 h 237684"/>
                <a:gd name="connsiteX9" fmla="*/ 111117 w 173631"/>
                <a:gd name="connsiteY9" fmla="*/ 181514 h 237684"/>
                <a:gd name="connsiteX10" fmla="*/ 148930 w 173631"/>
                <a:gd name="connsiteY10" fmla="*/ 189552 h 237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3631" h="237684">
                  <a:moveTo>
                    <a:pt x="173631" y="220990"/>
                  </a:moveTo>
                  <a:lnTo>
                    <a:pt x="130972" y="232382"/>
                  </a:lnTo>
                  <a:cubicBezTo>
                    <a:pt x="116428" y="235210"/>
                    <a:pt x="103047" y="236831"/>
                    <a:pt x="91597" y="237521"/>
                  </a:cubicBezTo>
                  <a:cubicBezTo>
                    <a:pt x="66215" y="239176"/>
                    <a:pt x="41384" y="228141"/>
                    <a:pt x="23727" y="209931"/>
                  </a:cubicBezTo>
                  <a:cubicBezTo>
                    <a:pt x="4966" y="191722"/>
                    <a:pt x="0" y="160270"/>
                    <a:pt x="0" y="115023"/>
                  </a:cubicBezTo>
                  <a:lnTo>
                    <a:pt x="0" y="0"/>
                  </a:lnTo>
                  <a:lnTo>
                    <a:pt x="76176" y="96953"/>
                  </a:lnTo>
                  <a:lnTo>
                    <a:pt x="76768" y="109023"/>
                  </a:lnTo>
                  <a:cubicBezTo>
                    <a:pt x="79044" y="124404"/>
                    <a:pt x="82768" y="139578"/>
                    <a:pt x="87734" y="154201"/>
                  </a:cubicBezTo>
                  <a:cubicBezTo>
                    <a:pt x="92149" y="166340"/>
                    <a:pt x="100012" y="175445"/>
                    <a:pt x="111117" y="181514"/>
                  </a:cubicBezTo>
                  <a:lnTo>
                    <a:pt x="148930" y="1895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3" name="Forme libre : forme 362">
              <a:extLst>
                <a:ext uri="{FF2B5EF4-FFF2-40B4-BE49-F238E27FC236}">
                  <a16:creationId xmlns:a16="http://schemas.microsoft.com/office/drawing/2014/main" id="{9AFF3E46-2559-4C6F-8BF3-7DBBEBA30E07}"/>
                </a:ext>
              </a:extLst>
            </p:cNvPr>
            <p:cNvSpPr/>
            <p:nvPr/>
          </p:nvSpPr>
          <p:spPr>
            <a:xfrm rot="8716295">
              <a:off x="-11774" y="24443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4" name="Forme libre : forme 363">
              <a:extLst>
                <a:ext uri="{FF2B5EF4-FFF2-40B4-BE49-F238E27FC236}">
                  <a16:creationId xmlns:a16="http://schemas.microsoft.com/office/drawing/2014/main" id="{97E07195-EA95-4E14-9CB9-A69F34AE04C5}"/>
                </a:ext>
              </a:extLst>
            </p:cNvPr>
            <p:cNvSpPr/>
            <p:nvPr/>
          </p:nvSpPr>
          <p:spPr>
            <a:xfrm rot="8716295">
              <a:off x="-30092" y="143486"/>
              <a:ext cx="77721" cy="97260"/>
            </a:xfrm>
            <a:custGeom>
              <a:avLst/>
              <a:gdLst>
                <a:gd name="connsiteX0" fmla="*/ 15821 w 77721"/>
                <a:gd name="connsiteY0" fmla="*/ 97260 h 97260"/>
                <a:gd name="connsiteX1" fmla="*/ 0 w 77721"/>
                <a:gd name="connsiteY1" fmla="*/ 59790 h 97260"/>
                <a:gd name="connsiteX2" fmla="*/ 0 w 77721"/>
                <a:gd name="connsiteY2" fmla="*/ 58869 h 97260"/>
                <a:gd name="connsiteX3" fmla="*/ 17477 w 77721"/>
                <a:gd name="connsiteY3" fmla="*/ 17477 h 97260"/>
                <a:gd name="connsiteX4" fmla="*/ 58869 w 77721"/>
                <a:gd name="connsiteY4" fmla="*/ 0 h 97260"/>
                <a:gd name="connsiteX5" fmla="*/ 77721 w 77721"/>
                <a:gd name="connsiteY5" fmla="*/ 7960 h 97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721" h="97260">
                  <a:moveTo>
                    <a:pt x="15821" y="97260"/>
                  </a:moveTo>
                  <a:lnTo>
                    <a:pt x="0" y="59790"/>
                  </a:ln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lnTo>
                    <a:pt x="77721" y="79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5" name="Forme libre : forme 364">
              <a:extLst>
                <a:ext uri="{FF2B5EF4-FFF2-40B4-BE49-F238E27FC236}">
                  <a16:creationId xmlns:a16="http://schemas.microsoft.com/office/drawing/2014/main" id="{F46DA911-E7B0-4E9F-BFB6-93C98E7208E7}"/>
                </a:ext>
              </a:extLst>
            </p:cNvPr>
            <p:cNvSpPr/>
            <p:nvPr/>
          </p:nvSpPr>
          <p:spPr>
            <a:xfrm rot="8716295">
              <a:off x="-17797" y="3452694"/>
              <a:ext cx="58455" cy="44199"/>
            </a:xfrm>
            <a:custGeom>
              <a:avLst/>
              <a:gdLst>
                <a:gd name="connsiteX0" fmla="*/ 0 w 58455"/>
                <a:gd name="connsiteY0" fmla="*/ 44199 h 44199"/>
                <a:gd name="connsiteX1" fmla="*/ 0 w 58455"/>
                <a:gd name="connsiteY1" fmla="*/ 0 h 44199"/>
                <a:gd name="connsiteX2" fmla="*/ 58455 w 58455"/>
                <a:gd name="connsiteY2" fmla="*/ 0 h 44199"/>
                <a:gd name="connsiteX3" fmla="*/ 27817 w 58455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55" h="44199">
                  <a:moveTo>
                    <a:pt x="0" y="44199"/>
                  </a:moveTo>
                  <a:lnTo>
                    <a:pt x="0" y="0"/>
                  </a:lnTo>
                  <a:lnTo>
                    <a:pt x="58455" y="0"/>
                  </a:lnTo>
                  <a:lnTo>
                    <a:pt x="27817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6" name="Forme libre : forme 365">
              <a:extLst>
                <a:ext uri="{FF2B5EF4-FFF2-40B4-BE49-F238E27FC236}">
                  <a16:creationId xmlns:a16="http://schemas.microsoft.com/office/drawing/2014/main" id="{C1D02749-F8C1-46C8-BEE0-16746055E93D}"/>
                </a:ext>
              </a:extLst>
            </p:cNvPr>
            <p:cNvSpPr/>
            <p:nvPr/>
          </p:nvSpPr>
          <p:spPr>
            <a:xfrm rot="13089394">
              <a:off x="-91485" y="3601812"/>
              <a:ext cx="206527" cy="292654"/>
            </a:xfrm>
            <a:custGeom>
              <a:avLst/>
              <a:gdLst>
                <a:gd name="connsiteX0" fmla="*/ 206527 w 206527"/>
                <a:gd name="connsiteY0" fmla="*/ 258693 h 292654"/>
                <a:gd name="connsiteX1" fmla="*/ 177331 w 206527"/>
                <a:gd name="connsiteY1" fmla="*/ 274971 h 292654"/>
                <a:gd name="connsiteX2" fmla="*/ 91597 w 206527"/>
                <a:gd name="connsiteY2" fmla="*/ 292491 h 292654"/>
                <a:gd name="connsiteX3" fmla="*/ 23727 w 206527"/>
                <a:gd name="connsiteY3" fmla="*/ 264901 h 292654"/>
                <a:gd name="connsiteX4" fmla="*/ 0 w 206527"/>
                <a:gd name="connsiteY4" fmla="*/ 169993 h 292654"/>
                <a:gd name="connsiteX5" fmla="*/ 0 w 206527"/>
                <a:gd name="connsiteY5" fmla="*/ 1698 h 292654"/>
                <a:gd name="connsiteX6" fmla="*/ 3273 w 206527"/>
                <a:gd name="connsiteY6" fmla="*/ 0 h 292654"/>
                <a:gd name="connsiteX7" fmla="*/ 74297 w 206527"/>
                <a:gd name="connsiteY7" fmla="*/ 90396 h 292654"/>
                <a:gd name="connsiteX8" fmla="*/ 74492 w 206527"/>
                <a:gd name="connsiteY8" fmla="*/ 117574 h 292654"/>
                <a:gd name="connsiteX9" fmla="*/ 87734 w 206527"/>
                <a:gd name="connsiteY9" fmla="*/ 209171 h 292654"/>
                <a:gd name="connsiteX10" fmla="*/ 153949 w 206527"/>
                <a:gd name="connsiteY10" fmla="*/ 245589 h 292654"/>
                <a:gd name="connsiteX11" fmla="*/ 191049 w 206527"/>
                <a:gd name="connsiteY11" fmla="*/ 238993 h 292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527" h="292654">
                  <a:moveTo>
                    <a:pt x="206527" y="258693"/>
                  </a:moveTo>
                  <a:lnTo>
                    <a:pt x="177331" y="274971"/>
                  </a:lnTo>
                  <a:cubicBezTo>
                    <a:pt x="145121" y="286007"/>
                    <a:pt x="114496" y="291111"/>
                    <a:pt x="91597" y="292491"/>
                  </a:cubicBezTo>
                  <a:cubicBezTo>
                    <a:pt x="66215" y="294146"/>
                    <a:pt x="41385" y="283111"/>
                    <a:pt x="23727" y="264901"/>
                  </a:cubicBezTo>
                  <a:cubicBezTo>
                    <a:pt x="4966" y="246692"/>
                    <a:pt x="0" y="215240"/>
                    <a:pt x="0" y="169993"/>
                  </a:cubicBezTo>
                  <a:lnTo>
                    <a:pt x="0" y="1698"/>
                  </a:lnTo>
                  <a:lnTo>
                    <a:pt x="3273" y="0"/>
                  </a:lnTo>
                  <a:lnTo>
                    <a:pt x="74297" y="90396"/>
                  </a:lnTo>
                  <a:lnTo>
                    <a:pt x="74492" y="117574"/>
                  </a:lnTo>
                  <a:cubicBezTo>
                    <a:pt x="72836" y="148474"/>
                    <a:pt x="77802" y="179926"/>
                    <a:pt x="87734" y="209171"/>
                  </a:cubicBezTo>
                  <a:cubicBezTo>
                    <a:pt x="96564" y="233450"/>
                    <a:pt x="119187" y="245589"/>
                    <a:pt x="153949" y="245589"/>
                  </a:cubicBezTo>
                  <a:lnTo>
                    <a:pt x="191049" y="2389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7" name="Forme libre : forme 366">
              <a:extLst>
                <a:ext uri="{FF2B5EF4-FFF2-40B4-BE49-F238E27FC236}">
                  <a16:creationId xmlns:a16="http://schemas.microsoft.com/office/drawing/2014/main" id="{DE83541C-6C64-4EFA-96DA-32677B2F8AB7}"/>
                </a:ext>
              </a:extLst>
            </p:cNvPr>
            <p:cNvSpPr/>
            <p:nvPr/>
          </p:nvSpPr>
          <p:spPr>
            <a:xfrm rot="8716295">
              <a:off x="24761" y="33896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8" name="Forme libre : forme 367">
              <a:extLst>
                <a:ext uri="{FF2B5EF4-FFF2-40B4-BE49-F238E27FC236}">
                  <a16:creationId xmlns:a16="http://schemas.microsoft.com/office/drawing/2014/main" id="{97641E82-A92B-4DDB-9997-4330C2FFFC03}"/>
                </a:ext>
              </a:extLst>
            </p:cNvPr>
            <p:cNvSpPr/>
            <p:nvPr/>
          </p:nvSpPr>
          <p:spPr>
            <a:xfrm rot="8716295">
              <a:off x="-24047" y="3281741"/>
              <a:ext cx="106042" cy="113733"/>
            </a:xfrm>
            <a:custGeom>
              <a:avLst/>
              <a:gdLst>
                <a:gd name="connsiteX0" fmla="*/ 17477 w 106042"/>
                <a:gd name="connsiteY0" fmla="*/ 101182 h 113733"/>
                <a:gd name="connsiteX1" fmla="*/ 0 w 106042"/>
                <a:gd name="connsiteY1" fmla="*/ 59790 h 113733"/>
                <a:gd name="connsiteX2" fmla="*/ 0 w 106042"/>
                <a:gd name="connsiteY2" fmla="*/ 58869 h 113733"/>
                <a:gd name="connsiteX3" fmla="*/ 17477 w 106042"/>
                <a:gd name="connsiteY3" fmla="*/ 17477 h 113733"/>
                <a:gd name="connsiteX4" fmla="*/ 58869 w 106042"/>
                <a:gd name="connsiteY4" fmla="*/ 0 h 113733"/>
                <a:gd name="connsiteX5" fmla="*/ 100262 w 106042"/>
                <a:gd name="connsiteY5" fmla="*/ 17477 h 113733"/>
                <a:gd name="connsiteX6" fmla="*/ 106042 w 106042"/>
                <a:gd name="connsiteY6" fmla="*/ 31234 h 113733"/>
                <a:gd name="connsiteX7" fmla="*/ 48856 w 106042"/>
                <a:gd name="connsiteY7" fmla="*/ 113733 h 11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042" h="113733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cubicBezTo>
                    <a:pt x="74507" y="0"/>
                    <a:pt x="89224" y="6439"/>
                    <a:pt x="100262" y="17477"/>
                  </a:cubicBezTo>
                  <a:lnTo>
                    <a:pt x="106042" y="31234"/>
                  </a:lnTo>
                  <a:lnTo>
                    <a:pt x="48856" y="1137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9" name="Forme libre : forme 368">
              <a:extLst>
                <a:ext uri="{FF2B5EF4-FFF2-40B4-BE49-F238E27FC236}">
                  <a16:creationId xmlns:a16="http://schemas.microsoft.com/office/drawing/2014/main" id="{CA7B7E86-E158-4CCC-9F30-35FD45AC52DC}"/>
                </a:ext>
              </a:extLst>
            </p:cNvPr>
            <p:cNvSpPr/>
            <p:nvPr/>
          </p:nvSpPr>
          <p:spPr>
            <a:xfrm rot="8716295">
              <a:off x="-21924" y="3179872"/>
              <a:ext cx="45776" cy="62656"/>
            </a:xfrm>
            <a:custGeom>
              <a:avLst/>
              <a:gdLst>
                <a:gd name="connsiteX0" fmla="*/ 2345 w 45776"/>
                <a:gd name="connsiteY0" fmla="*/ 62656 h 62656"/>
                <a:gd name="connsiteX1" fmla="*/ 0 w 45776"/>
                <a:gd name="connsiteY1" fmla="*/ 57104 h 62656"/>
                <a:gd name="connsiteX2" fmla="*/ 0 w 45776"/>
                <a:gd name="connsiteY2" fmla="*/ 56183 h 62656"/>
                <a:gd name="connsiteX3" fmla="*/ 17477 w 45776"/>
                <a:gd name="connsiteY3" fmla="*/ 14791 h 62656"/>
                <a:gd name="connsiteX4" fmla="*/ 36449 w 45776"/>
                <a:gd name="connsiteY4" fmla="*/ 1913 h 62656"/>
                <a:gd name="connsiteX5" fmla="*/ 45776 w 45776"/>
                <a:gd name="connsiteY5" fmla="*/ 0 h 62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776" h="62656">
                  <a:moveTo>
                    <a:pt x="2345" y="62656"/>
                  </a:moveTo>
                  <a:lnTo>
                    <a:pt x="0" y="57104"/>
                  </a:lnTo>
                  <a:lnTo>
                    <a:pt x="0" y="56183"/>
                  </a:lnTo>
                  <a:cubicBezTo>
                    <a:pt x="0" y="40547"/>
                    <a:pt x="6439" y="25829"/>
                    <a:pt x="17477" y="14791"/>
                  </a:cubicBezTo>
                  <a:cubicBezTo>
                    <a:pt x="22996" y="9272"/>
                    <a:pt x="29435" y="4903"/>
                    <a:pt x="36449" y="1913"/>
                  </a:cubicBezTo>
                  <a:lnTo>
                    <a:pt x="4577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0" name="Forme libre : forme 369">
              <a:extLst>
                <a:ext uri="{FF2B5EF4-FFF2-40B4-BE49-F238E27FC236}">
                  <a16:creationId xmlns:a16="http://schemas.microsoft.com/office/drawing/2014/main" id="{B95921A2-46DE-49F9-9F14-5364CEEC2044}"/>
                </a:ext>
              </a:extLst>
            </p:cNvPr>
            <p:cNvSpPr/>
            <p:nvPr/>
          </p:nvSpPr>
          <p:spPr>
            <a:xfrm rot="8716295">
              <a:off x="-21324" y="4100649"/>
              <a:ext cx="79113" cy="50123"/>
            </a:xfrm>
            <a:custGeom>
              <a:avLst/>
              <a:gdLst>
                <a:gd name="connsiteX0" fmla="*/ 0 w 79113"/>
                <a:gd name="connsiteY0" fmla="*/ 50123 h 50123"/>
                <a:gd name="connsiteX1" fmla="*/ 0 w 79113"/>
                <a:gd name="connsiteY1" fmla="*/ 0 h 50123"/>
                <a:gd name="connsiteX2" fmla="*/ 79113 w 79113"/>
                <a:gd name="connsiteY2" fmla="*/ 0 h 50123"/>
                <a:gd name="connsiteX3" fmla="*/ 44369 w 79113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113" h="50123">
                  <a:moveTo>
                    <a:pt x="0" y="50123"/>
                  </a:moveTo>
                  <a:lnTo>
                    <a:pt x="0" y="0"/>
                  </a:lnTo>
                  <a:lnTo>
                    <a:pt x="79113" y="0"/>
                  </a:lnTo>
                  <a:lnTo>
                    <a:pt x="44369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1" name="Forme libre : forme 370">
              <a:extLst>
                <a:ext uri="{FF2B5EF4-FFF2-40B4-BE49-F238E27FC236}">
                  <a16:creationId xmlns:a16="http://schemas.microsoft.com/office/drawing/2014/main" id="{84FEE941-A7A7-41F0-870B-FF2E21B132E9}"/>
                </a:ext>
              </a:extLst>
            </p:cNvPr>
            <p:cNvSpPr/>
            <p:nvPr/>
          </p:nvSpPr>
          <p:spPr>
            <a:xfrm rot="8716295">
              <a:off x="-40457" y="398156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2" name="Forme libre : forme 371">
              <a:extLst>
                <a:ext uri="{FF2B5EF4-FFF2-40B4-BE49-F238E27FC236}">
                  <a16:creationId xmlns:a16="http://schemas.microsoft.com/office/drawing/2014/main" id="{ED05E8E5-B04C-426F-A5B3-FDFECB7FA8BB}"/>
                </a:ext>
              </a:extLst>
            </p:cNvPr>
            <p:cNvSpPr/>
            <p:nvPr/>
          </p:nvSpPr>
          <p:spPr>
            <a:xfrm rot="7484129">
              <a:off x="-46974" y="427316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3" name="Forme libre : forme 372">
              <a:extLst>
                <a:ext uri="{FF2B5EF4-FFF2-40B4-BE49-F238E27FC236}">
                  <a16:creationId xmlns:a16="http://schemas.microsoft.com/office/drawing/2014/main" id="{2455BBCE-F26C-4AF6-86DC-09C81861FE56}"/>
                </a:ext>
              </a:extLst>
            </p:cNvPr>
            <p:cNvSpPr/>
            <p:nvPr/>
          </p:nvSpPr>
          <p:spPr>
            <a:xfrm rot="13089394">
              <a:off x="57846" y="423970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4" name="Forme libre : forme 373">
              <a:extLst>
                <a:ext uri="{FF2B5EF4-FFF2-40B4-BE49-F238E27FC236}">
                  <a16:creationId xmlns:a16="http://schemas.microsoft.com/office/drawing/2014/main" id="{51373B92-194C-42B9-B764-40EA297AE7F9}"/>
                </a:ext>
              </a:extLst>
            </p:cNvPr>
            <p:cNvSpPr/>
            <p:nvPr/>
          </p:nvSpPr>
          <p:spPr>
            <a:xfrm rot="8716295">
              <a:off x="243431" y="404801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5" name="Forme libre : forme 374">
              <a:extLst>
                <a:ext uri="{FF2B5EF4-FFF2-40B4-BE49-F238E27FC236}">
                  <a16:creationId xmlns:a16="http://schemas.microsoft.com/office/drawing/2014/main" id="{F38EDEED-C414-448B-8D37-E62E6FF38F3A}"/>
                </a:ext>
              </a:extLst>
            </p:cNvPr>
            <p:cNvSpPr/>
            <p:nvPr/>
          </p:nvSpPr>
          <p:spPr>
            <a:xfrm rot="8716295">
              <a:off x="191626" y="39444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6" name="Forme libre : forme 375">
              <a:extLst>
                <a:ext uri="{FF2B5EF4-FFF2-40B4-BE49-F238E27FC236}">
                  <a16:creationId xmlns:a16="http://schemas.microsoft.com/office/drawing/2014/main" id="{1E970937-55EB-4E1D-94ED-92F0499DC22F}"/>
                </a:ext>
              </a:extLst>
            </p:cNvPr>
            <p:cNvSpPr/>
            <p:nvPr/>
          </p:nvSpPr>
          <p:spPr>
            <a:xfrm rot="8716295">
              <a:off x="125832" y="381540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7" name="Forme libre : forme 376">
              <a:extLst>
                <a:ext uri="{FF2B5EF4-FFF2-40B4-BE49-F238E27FC236}">
                  <a16:creationId xmlns:a16="http://schemas.microsoft.com/office/drawing/2014/main" id="{9890EDE8-10DA-45ED-AA77-40989F9FB014}"/>
                </a:ext>
              </a:extLst>
            </p:cNvPr>
            <p:cNvSpPr/>
            <p:nvPr/>
          </p:nvSpPr>
          <p:spPr>
            <a:xfrm rot="8716295">
              <a:off x="-73048" y="4876828"/>
              <a:ext cx="221382" cy="253349"/>
            </a:xfrm>
            <a:custGeom>
              <a:avLst/>
              <a:gdLst>
                <a:gd name="connsiteX0" fmla="*/ 51490 w 221382"/>
                <a:gd name="connsiteY0" fmla="*/ 253349 h 253349"/>
                <a:gd name="connsiteX1" fmla="*/ 51490 w 221382"/>
                <a:gd name="connsiteY1" fmla="*/ 44199 h 253349"/>
                <a:gd name="connsiteX2" fmla="*/ 0 w 221382"/>
                <a:gd name="connsiteY2" fmla="*/ 44199 h 253349"/>
                <a:gd name="connsiteX3" fmla="*/ 0 w 221382"/>
                <a:gd name="connsiteY3" fmla="*/ 0 h 253349"/>
                <a:gd name="connsiteX4" fmla="*/ 104803 w 221382"/>
                <a:gd name="connsiteY4" fmla="*/ 0 h 253349"/>
                <a:gd name="connsiteX5" fmla="*/ 104802 w 221382"/>
                <a:gd name="connsiteY5" fmla="*/ 73817 h 253349"/>
                <a:gd name="connsiteX6" fmla="*/ 106169 w 221382"/>
                <a:gd name="connsiteY6" fmla="*/ 73817 h 253349"/>
                <a:gd name="connsiteX7" fmla="*/ 154014 w 221382"/>
                <a:gd name="connsiteY7" fmla="*/ 4556 h 253349"/>
                <a:gd name="connsiteX8" fmla="*/ 174650 w 221382"/>
                <a:gd name="connsiteY8" fmla="*/ 668 h 253349"/>
                <a:gd name="connsiteX9" fmla="*/ 214075 w 221382"/>
                <a:gd name="connsiteY9" fmla="*/ 27996 h 253349"/>
                <a:gd name="connsiteX10" fmla="*/ 221382 w 221382"/>
                <a:gd name="connsiteY10" fmla="*/ 33060 h 253349"/>
                <a:gd name="connsiteX11" fmla="*/ 195540 w 221382"/>
                <a:gd name="connsiteY11" fmla="*/ 70341 h 253349"/>
                <a:gd name="connsiteX12" fmla="*/ 189157 w 221382"/>
                <a:gd name="connsiteY12" fmla="*/ 50236 h 253349"/>
                <a:gd name="connsiteX13" fmla="*/ 164950 w 221382"/>
                <a:gd name="connsiteY13" fmla="*/ 38731 h 253349"/>
                <a:gd name="connsiteX14" fmla="*/ 111638 w 221382"/>
                <a:gd name="connsiteY14" fmla="*/ 126218 h 253349"/>
                <a:gd name="connsiteX15" fmla="*/ 111638 w 221382"/>
                <a:gd name="connsiteY15" fmla="*/ 191383 h 253349"/>
                <a:gd name="connsiteX16" fmla="*/ 84096 w 221382"/>
                <a:gd name="connsiteY16" fmla="*/ 231117 h 253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1382" h="253349">
                  <a:moveTo>
                    <a:pt x="51490" y="253349"/>
                  </a:moveTo>
                  <a:lnTo>
                    <a:pt x="51490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104803" y="0"/>
                  </a:lnTo>
                  <a:lnTo>
                    <a:pt x="104802" y="73817"/>
                  </a:lnTo>
                  <a:lnTo>
                    <a:pt x="106169" y="73817"/>
                  </a:lnTo>
                  <a:cubicBezTo>
                    <a:pt x="120751" y="30529"/>
                    <a:pt x="132142" y="13670"/>
                    <a:pt x="154014" y="4556"/>
                  </a:cubicBezTo>
                  <a:lnTo>
                    <a:pt x="174650" y="668"/>
                  </a:lnTo>
                  <a:lnTo>
                    <a:pt x="214075" y="27996"/>
                  </a:lnTo>
                  <a:lnTo>
                    <a:pt x="221382" y="33060"/>
                  </a:lnTo>
                  <a:lnTo>
                    <a:pt x="195540" y="70341"/>
                  </a:lnTo>
                  <a:lnTo>
                    <a:pt x="189157" y="50236"/>
                  </a:lnTo>
                  <a:cubicBezTo>
                    <a:pt x="183177" y="42946"/>
                    <a:pt x="174747" y="38731"/>
                    <a:pt x="164950" y="38731"/>
                  </a:cubicBezTo>
                  <a:cubicBezTo>
                    <a:pt x="135788" y="38731"/>
                    <a:pt x="111638" y="77463"/>
                    <a:pt x="111638" y="126218"/>
                  </a:cubicBezTo>
                  <a:lnTo>
                    <a:pt x="111638" y="191383"/>
                  </a:lnTo>
                  <a:lnTo>
                    <a:pt x="84096" y="2311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8" name="Forme libre : forme 377">
              <a:extLst>
                <a:ext uri="{FF2B5EF4-FFF2-40B4-BE49-F238E27FC236}">
                  <a16:creationId xmlns:a16="http://schemas.microsoft.com/office/drawing/2014/main" id="{D89764C9-6568-42FB-A4A1-D9595395AB12}"/>
                </a:ext>
              </a:extLst>
            </p:cNvPr>
            <p:cNvSpPr/>
            <p:nvPr/>
          </p:nvSpPr>
          <p:spPr>
            <a:xfrm rot="8716295">
              <a:off x="93318" y="46120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9" name="Forme libre : forme 378">
              <a:extLst>
                <a:ext uri="{FF2B5EF4-FFF2-40B4-BE49-F238E27FC236}">
                  <a16:creationId xmlns:a16="http://schemas.microsoft.com/office/drawing/2014/main" id="{B3A51367-1D00-45C2-8806-45DE56D1374A}"/>
                </a:ext>
              </a:extLst>
            </p:cNvPr>
            <p:cNvSpPr/>
            <p:nvPr/>
          </p:nvSpPr>
          <p:spPr>
            <a:xfrm rot="8716295">
              <a:off x="182710" y="46412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0" name="Forme libre : forme 379">
              <a:extLst>
                <a:ext uri="{FF2B5EF4-FFF2-40B4-BE49-F238E27FC236}">
                  <a16:creationId xmlns:a16="http://schemas.microsoft.com/office/drawing/2014/main" id="{5796D538-9FA1-4B69-9ECE-72D45F20B58A}"/>
                </a:ext>
              </a:extLst>
            </p:cNvPr>
            <p:cNvSpPr/>
            <p:nvPr/>
          </p:nvSpPr>
          <p:spPr>
            <a:xfrm rot="8716295">
              <a:off x="-14524" y="4699631"/>
              <a:ext cx="49997" cy="54238"/>
            </a:xfrm>
            <a:custGeom>
              <a:avLst/>
              <a:gdLst>
                <a:gd name="connsiteX0" fmla="*/ 8658 w 49997"/>
                <a:gd name="connsiteY0" fmla="*/ 50123 h 54238"/>
                <a:gd name="connsiteX1" fmla="*/ 0 w 49997"/>
                <a:gd name="connsiteY1" fmla="*/ 29619 h 54238"/>
                <a:gd name="connsiteX2" fmla="*/ 0 w 49997"/>
                <a:gd name="connsiteY2" fmla="*/ 29162 h 54238"/>
                <a:gd name="connsiteX3" fmla="*/ 8658 w 49997"/>
                <a:gd name="connsiteY3" fmla="*/ 8658 h 54238"/>
                <a:gd name="connsiteX4" fmla="*/ 29163 w 49997"/>
                <a:gd name="connsiteY4" fmla="*/ 0 h 54238"/>
                <a:gd name="connsiteX5" fmla="*/ 49668 w 49997"/>
                <a:gd name="connsiteY5" fmla="*/ 8658 h 54238"/>
                <a:gd name="connsiteX6" fmla="*/ 49997 w 49997"/>
                <a:gd name="connsiteY6" fmla="*/ 9441 h 54238"/>
                <a:gd name="connsiteX7" fmla="*/ 18945 w 49997"/>
                <a:gd name="connsiteY7" fmla="*/ 54238 h 54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997" h="54238">
                  <a:moveTo>
                    <a:pt x="8658" y="50123"/>
                  </a:moveTo>
                  <a:cubicBezTo>
                    <a:pt x="3190" y="44655"/>
                    <a:pt x="0" y="37365"/>
                    <a:pt x="0" y="29619"/>
                  </a:cubicBezTo>
                  <a:lnTo>
                    <a:pt x="0" y="29162"/>
                  </a:lnTo>
                  <a:cubicBezTo>
                    <a:pt x="0" y="21417"/>
                    <a:pt x="3190" y="14126"/>
                    <a:pt x="8658" y="8658"/>
                  </a:cubicBezTo>
                  <a:cubicBezTo>
                    <a:pt x="14126" y="3190"/>
                    <a:pt x="21416" y="0"/>
                    <a:pt x="29163" y="0"/>
                  </a:cubicBezTo>
                  <a:cubicBezTo>
                    <a:pt x="36909" y="0"/>
                    <a:pt x="44200" y="3190"/>
                    <a:pt x="49668" y="8658"/>
                  </a:cubicBezTo>
                  <a:lnTo>
                    <a:pt x="49997" y="9441"/>
                  </a:lnTo>
                  <a:lnTo>
                    <a:pt x="18945" y="54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1" name="Forme libre : forme 380">
              <a:extLst>
                <a:ext uri="{FF2B5EF4-FFF2-40B4-BE49-F238E27FC236}">
                  <a16:creationId xmlns:a16="http://schemas.microsoft.com/office/drawing/2014/main" id="{0A8DEA12-3B5F-4B33-B7D9-E32E7E70ED9F}"/>
                </a:ext>
              </a:extLst>
            </p:cNvPr>
            <p:cNvSpPr/>
            <p:nvPr/>
          </p:nvSpPr>
          <p:spPr>
            <a:xfrm rot="8716295">
              <a:off x="-30327" y="4579755"/>
              <a:ext cx="113346" cy="71024"/>
            </a:xfrm>
            <a:custGeom>
              <a:avLst/>
              <a:gdLst>
                <a:gd name="connsiteX0" fmla="*/ 0 w 113346"/>
                <a:gd name="connsiteY0" fmla="*/ 55323 h 71024"/>
                <a:gd name="connsiteX1" fmla="*/ 0 w 113346"/>
                <a:gd name="connsiteY1" fmla="*/ 0 h 71024"/>
                <a:gd name="connsiteX2" fmla="*/ 113346 w 113346"/>
                <a:gd name="connsiteY2" fmla="*/ 0 h 71024"/>
                <a:gd name="connsiteX3" fmla="*/ 64114 w 113346"/>
                <a:gd name="connsiteY3" fmla="*/ 71024 h 71024"/>
                <a:gd name="connsiteX4" fmla="*/ 69777 w 113346"/>
                <a:gd name="connsiteY4" fmla="*/ 55323 h 7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346" h="71024">
                  <a:moveTo>
                    <a:pt x="0" y="55323"/>
                  </a:moveTo>
                  <a:lnTo>
                    <a:pt x="0" y="0"/>
                  </a:lnTo>
                  <a:lnTo>
                    <a:pt x="113346" y="0"/>
                  </a:lnTo>
                  <a:lnTo>
                    <a:pt x="64114" y="71024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2" name="Forme libre : forme 381">
              <a:extLst>
                <a:ext uri="{FF2B5EF4-FFF2-40B4-BE49-F238E27FC236}">
                  <a16:creationId xmlns:a16="http://schemas.microsoft.com/office/drawing/2014/main" id="{B639F843-6BAF-4B67-80B8-3D30C09BF5FB}"/>
                </a:ext>
              </a:extLst>
            </p:cNvPr>
            <p:cNvSpPr/>
            <p:nvPr/>
          </p:nvSpPr>
          <p:spPr>
            <a:xfrm rot="8716295">
              <a:off x="71262" y="47415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3" name="Forme libre : forme 382">
              <a:extLst>
                <a:ext uri="{FF2B5EF4-FFF2-40B4-BE49-F238E27FC236}">
                  <a16:creationId xmlns:a16="http://schemas.microsoft.com/office/drawing/2014/main" id="{D52BFECF-759E-4683-BE94-173DD8657338}"/>
                </a:ext>
              </a:extLst>
            </p:cNvPr>
            <p:cNvSpPr/>
            <p:nvPr/>
          </p:nvSpPr>
          <p:spPr>
            <a:xfrm rot="7484129">
              <a:off x="172059" y="493353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170341 w 203847"/>
                <a:gd name="connsiteY5" fmla="*/ 0 h 195874"/>
                <a:gd name="connsiteX6" fmla="*/ 203847 w 203847"/>
                <a:gd name="connsiteY6" fmla="*/ 48325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170341" y="0"/>
                  </a:lnTo>
                  <a:lnTo>
                    <a:pt x="203847" y="48325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4" name="Forme libre : forme 383">
              <a:extLst>
                <a:ext uri="{FF2B5EF4-FFF2-40B4-BE49-F238E27FC236}">
                  <a16:creationId xmlns:a16="http://schemas.microsoft.com/office/drawing/2014/main" id="{25A08FAE-A75C-4B2E-B0C7-527DE2D9E508}"/>
                </a:ext>
              </a:extLst>
            </p:cNvPr>
            <p:cNvSpPr/>
            <p:nvPr/>
          </p:nvSpPr>
          <p:spPr>
            <a:xfrm rot="13089394">
              <a:off x="313551" y="4906246"/>
              <a:ext cx="221827" cy="205098"/>
            </a:xfrm>
            <a:custGeom>
              <a:avLst/>
              <a:gdLst>
                <a:gd name="connsiteX0" fmla="*/ 24153 w 221827"/>
                <a:gd name="connsiteY0" fmla="*/ 55168 h 205098"/>
                <a:gd name="connsiteX1" fmla="*/ 0 w 221827"/>
                <a:gd name="connsiteY1" fmla="*/ 18385 h 205098"/>
                <a:gd name="connsiteX2" fmla="*/ 23400 w 221827"/>
                <a:gd name="connsiteY2" fmla="*/ 0 h 205098"/>
                <a:gd name="connsiteX3" fmla="*/ 23735 w 221827"/>
                <a:gd name="connsiteY3" fmla="*/ 46640 h 205098"/>
                <a:gd name="connsiteX4" fmla="*/ 221827 w 221827"/>
                <a:gd name="connsiteY4" fmla="*/ 150928 h 205098"/>
                <a:gd name="connsiteX5" fmla="*/ 126574 w 221827"/>
                <a:gd name="connsiteY5" fmla="*/ 204038 h 205098"/>
                <a:gd name="connsiteX6" fmla="*/ 122603 w 221827"/>
                <a:gd name="connsiteY6" fmla="*/ 205098 h 205098"/>
                <a:gd name="connsiteX7" fmla="*/ 102519 w 221827"/>
                <a:gd name="connsiteY7" fmla="*/ 174512 h 205098"/>
                <a:gd name="connsiteX8" fmla="*/ 103192 w 221827"/>
                <a:gd name="connsiteY8" fmla="*/ 174655 h 205098"/>
                <a:gd name="connsiteX9" fmla="*/ 152853 w 221827"/>
                <a:gd name="connsiteY9" fmla="*/ 165826 h 205098"/>
                <a:gd name="connsiteX10" fmla="*/ 220723 w 221827"/>
                <a:gd name="connsiteY10" fmla="*/ 138237 h 205098"/>
                <a:gd name="connsiteX11" fmla="*/ 221827 w 221827"/>
                <a:gd name="connsiteY11" fmla="*/ 145410 h 205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1827" h="205098">
                  <a:moveTo>
                    <a:pt x="24153" y="55168"/>
                  </a:moveTo>
                  <a:lnTo>
                    <a:pt x="0" y="18385"/>
                  </a:lnTo>
                  <a:lnTo>
                    <a:pt x="23400" y="0"/>
                  </a:lnTo>
                  <a:lnTo>
                    <a:pt x="23735" y="46640"/>
                  </a:lnTo>
                  <a:close/>
                  <a:moveTo>
                    <a:pt x="221827" y="150928"/>
                  </a:moveTo>
                  <a:cubicBezTo>
                    <a:pt x="192582" y="176035"/>
                    <a:pt x="158785" y="193002"/>
                    <a:pt x="126574" y="204038"/>
                  </a:cubicBezTo>
                  <a:lnTo>
                    <a:pt x="122603" y="205098"/>
                  </a:lnTo>
                  <a:lnTo>
                    <a:pt x="102519" y="174512"/>
                  </a:lnTo>
                  <a:lnTo>
                    <a:pt x="103192" y="174655"/>
                  </a:lnTo>
                  <a:cubicBezTo>
                    <a:pt x="120298" y="174103"/>
                    <a:pt x="136851" y="170792"/>
                    <a:pt x="152853" y="165826"/>
                  </a:cubicBezTo>
                  <a:cubicBezTo>
                    <a:pt x="176028" y="158653"/>
                    <a:pt x="198652" y="149273"/>
                    <a:pt x="220723" y="138237"/>
                  </a:cubicBezTo>
                  <a:cubicBezTo>
                    <a:pt x="221275" y="140444"/>
                    <a:pt x="221827" y="143203"/>
                    <a:pt x="221827" y="1454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5" name="Forme libre : forme 384">
              <a:extLst>
                <a:ext uri="{FF2B5EF4-FFF2-40B4-BE49-F238E27FC236}">
                  <a16:creationId xmlns:a16="http://schemas.microsoft.com/office/drawing/2014/main" id="{6B1D4FCF-4868-4FA7-803E-D1D00595788E}"/>
                </a:ext>
              </a:extLst>
            </p:cNvPr>
            <p:cNvSpPr/>
            <p:nvPr/>
          </p:nvSpPr>
          <p:spPr>
            <a:xfrm rot="8716295">
              <a:off x="406370" y="4600606"/>
              <a:ext cx="113655" cy="117117"/>
            </a:xfrm>
            <a:custGeom>
              <a:avLst/>
              <a:gdLst>
                <a:gd name="connsiteX0" fmla="*/ 13623 w 113655"/>
                <a:gd name="connsiteY0" fmla="*/ 100559 h 117117"/>
                <a:gd name="connsiteX1" fmla="*/ 0 w 113655"/>
                <a:gd name="connsiteY1" fmla="*/ 68296 h 117117"/>
                <a:gd name="connsiteX2" fmla="*/ 56488 w 113655"/>
                <a:gd name="connsiteY2" fmla="*/ 0 h 117117"/>
                <a:gd name="connsiteX3" fmla="*/ 96408 w 113655"/>
                <a:gd name="connsiteY3" fmla="*/ 16856 h 117117"/>
                <a:gd name="connsiteX4" fmla="*/ 96408 w 113655"/>
                <a:gd name="connsiteY4" fmla="*/ 99640 h 117117"/>
                <a:gd name="connsiteX5" fmla="*/ 55015 w 113655"/>
                <a:gd name="connsiteY5" fmla="*/ 117117 h 117117"/>
                <a:gd name="connsiteX6" fmla="*/ 13623 w 113655"/>
                <a:gd name="connsiteY6" fmla="*/ 100559 h 117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655" h="117117">
                  <a:moveTo>
                    <a:pt x="13623" y="100559"/>
                  </a:moveTo>
                  <a:lnTo>
                    <a:pt x="0" y="68296"/>
                  </a:lnTo>
                  <a:lnTo>
                    <a:pt x="56488" y="0"/>
                  </a:lnTo>
                  <a:lnTo>
                    <a:pt x="96408" y="16856"/>
                  </a:lnTo>
                  <a:cubicBezTo>
                    <a:pt x="119404" y="38931"/>
                    <a:pt x="119404" y="76644"/>
                    <a:pt x="96408" y="99640"/>
                  </a:cubicBezTo>
                  <a:cubicBezTo>
                    <a:pt x="85370" y="110678"/>
                    <a:pt x="70653" y="117116"/>
                    <a:pt x="55015" y="117117"/>
                  </a:cubicBezTo>
                  <a:cubicBezTo>
                    <a:pt x="39378" y="117117"/>
                    <a:pt x="24661" y="111597"/>
                    <a:pt x="13623" y="10055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6" name="Forme libre : forme 385">
              <a:extLst>
                <a:ext uri="{FF2B5EF4-FFF2-40B4-BE49-F238E27FC236}">
                  <a16:creationId xmlns:a16="http://schemas.microsoft.com/office/drawing/2014/main" id="{A521D2F6-3CA4-443B-AE06-E761EA9F7456}"/>
                </a:ext>
              </a:extLst>
            </p:cNvPr>
            <p:cNvSpPr/>
            <p:nvPr/>
          </p:nvSpPr>
          <p:spPr>
            <a:xfrm rot="8716295">
              <a:off x="171547" y="46343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7" name="Forme libre : forme 386">
              <a:extLst>
                <a:ext uri="{FF2B5EF4-FFF2-40B4-BE49-F238E27FC236}">
                  <a16:creationId xmlns:a16="http://schemas.microsoft.com/office/drawing/2014/main" id="{830F38CE-6CA7-4EBA-A5A4-58CB35926CD3}"/>
                </a:ext>
              </a:extLst>
            </p:cNvPr>
            <p:cNvSpPr/>
            <p:nvPr/>
          </p:nvSpPr>
          <p:spPr>
            <a:xfrm rot="8716295">
              <a:off x="348999" y="44751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7236756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&amp; Réseaux sociaux - Fond clair">
    <p:bg>
      <p:bgPr>
        <a:solidFill>
          <a:srgbClr val="3A1B0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Forme libre : forme 139">
            <a:extLst>
              <a:ext uri="{FF2B5EF4-FFF2-40B4-BE49-F238E27FC236}">
                <a16:creationId xmlns:a16="http://schemas.microsoft.com/office/drawing/2014/main" id="{9BAF1841-A5A7-4A72-BE89-09D329878A6E}"/>
              </a:ext>
            </a:extLst>
          </p:cNvPr>
          <p:cNvSpPr/>
          <p:nvPr userDrawn="1"/>
        </p:nvSpPr>
        <p:spPr>
          <a:xfrm>
            <a:off x="448701" y="0"/>
            <a:ext cx="8695299" cy="5143500"/>
          </a:xfrm>
          <a:custGeom>
            <a:avLst/>
            <a:gdLst>
              <a:gd name="connsiteX0" fmla="*/ 0 w 8695299"/>
              <a:gd name="connsiteY0" fmla="*/ 0 h 5143500"/>
              <a:gd name="connsiteX1" fmla="*/ 8695299 w 8695299"/>
              <a:gd name="connsiteY1" fmla="*/ 0 h 5143500"/>
              <a:gd name="connsiteX2" fmla="*/ 8695299 w 8695299"/>
              <a:gd name="connsiteY2" fmla="*/ 5143500 h 5143500"/>
              <a:gd name="connsiteX3" fmla="*/ 444304 w 8695299"/>
              <a:gd name="connsiteY3" fmla="*/ 5143500 h 5143500"/>
              <a:gd name="connsiteX4" fmla="*/ 171091 w 8695299"/>
              <a:gd name="connsiteY4" fmla="*/ 1980633 h 5143500"/>
              <a:gd name="connsiteX5" fmla="*/ 443837 w 8695299"/>
              <a:gd name="connsiteY5" fmla="*/ 1 h 5143500"/>
              <a:gd name="connsiteX6" fmla="*/ 262116 w 8695299"/>
              <a:gd name="connsiteY6" fmla="*/ 1 h 5143500"/>
              <a:gd name="connsiteX7" fmla="*/ 0 w 8695299"/>
              <a:gd name="connsiteY7" fmla="*/ 1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95299" h="5143500">
                <a:moveTo>
                  <a:pt x="0" y="0"/>
                </a:moveTo>
                <a:lnTo>
                  <a:pt x="8695299" y="0"/>
                </a:lnTo>
                <a:lnTo>
                  <a:pt x="8695299" y="5143500"/>
                </a:lnTo>
                <a:lnTo>
                  <a:pt x="444304" y="5143500"/>
                </a:lnTo>
                <a:lnTo>
                  <a:pt x="171091" y="1980633"/>
                </a:lnTo>
                <a:lnTo>
                  <a:pt x="443837" y="1"/>
                </a:lnTo>
                <a:lnTo>
                  <a:pt x="262116" y="1"/>
                </a:lnTo>
                <a:lnTo>
                  <a:pt x="0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grpSp>
        <p:nvGrpSpPr>
          <p:cNvPr id="192" name="Graphique 27">
            <a:extLst>
              <a:ext uri="{FF2B5EF4-FFF2-40B4-BE49-F238E27FC236}">
                <a16:creationId xmlns:a16="http://schemas.microsoft.com/office/drawing/2014/main" id="{B9396CB4-323C-4697-9B57-F626DEC3F247}"/>
              </a:ext>
            </a:extLst>
          </p:cNvPr>
          <p:cNvGrpSpPr/>
          <p:nvPr userDrawn="1"/>
        </p:nvGrpSpPr>
        <p:grpSpPr>
          <a:xfrm>
            <a:off x="3242261" y="3601712"/>
            <a:ext cx="2666014" cy="795600"/>
            <a:chOff x="5898130" y="3867908"/>
            <a:chExt cx="2666014" cy="795600"/>
          </a:xfrm>
        </p:grpSpPr>
        <p:sp>
          <p:nvSpPr>
            <p:cNvPr id="193" name="Forme libre : forme 192">
              <a:extLst>
                <a:ext uri="{FF2B5EF4-FFF2-40B4-BE49-F238E27FC236}">
                  <a16:creationId xmlns:a16="http://schemas.microsoft.com/office/drawing/2014/main" id="{86566BF4-64A3-4C33-AC64-E4183CC9F62F}"/>
                </a:ext>
              </a:extLst>
            </p:cNvPr>
            <p:cNvSpPr/>
            <p:nvPr/>
          </p:nvSpPr>
          <p:spPr>
            <a:xfrm>
              <a:off x="5898130" y="4006913"/>
              <a:ext cx="93070" cy="153115"/>
            </a:xfrm>
            <a:custGeom>
              <a:avLst/>
              <a:gdLst>
                <a:gd name="connsiteX0" fmla="*/ 93671 w 93070"/>
                <a:gd name="connsiteY0" fmla="*/ 33025 h 153115"/>
                <a:gd name="connsiteX1" fmla="*/ 93671 w 93070"/>
                <a:gd name="connsiteY1" fmla="*/ 137203 h 153115"/>
                <a:gd name="connsiteX2" fmla="*/ 53440 w 93070"/>
                <a:gd name="connsiteY2" fmla="*/ 153115 h 153115"/>
                <a:gd name="connsiteX3" fmla="*/ 53440 w 93070"/>
                <a:gd name="connsiteY3" fmla="*/ 45935 h 153115"/>
                <a:gd name="connsiteX4" fmla="*/ 53440 w 93070"/>
                <a:gd name="connsiteY4" fmla="*/ 43233 h 153115"/>
                <a:gd name="connsiteX5" fmla="*/ 39930 w 93070"/>
                <a:gd name="connsiteY5" fmla="*/ 33025 h 153115"/>
                <a:gd name="connsiteX6" fmla="*/ 0 w 93070"/>
                <a:gd name="connsiteY6" fmla="*/ 33025 h 153115"/>
                <a:gd name="connsiteX7" fmla="*/ 0 w 93070"/>
                <a:gd name="connsiteY7" fmla="*/ 0 h 153115"/>
                <a:gd name="connsiteX8" fmla="*/ 56142 w 93070"/>
                <a:gd name="connsiteY8" fmla="*/ 0 h 153115"/>
                <a:gd name="connsiteX9" fmla="*/ 93671 w 93070"/>
                <a:gd name="connsiteY9" fmla="*/ 33025 h 153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3070" h="153115">
                  <a:moveTo>
                    <a:pt x="93671" y="33025"/>
                  </a:moveTo>
                  <a:lnTo>
                    <a:pt x="93671" y="137203"/>
                  </a:lnTo>
                  <a:lnTo>
                    <a:pt x="53440" y="153115"/>
                  </a:lnTo>
                  <a:lnTo>
                    <a:pt x="53440" y="45935"/>
                  </a:lnTo>
                  <a:cubicBezTo>
                    <a:pt x="53440" y="45034"/>
                    <a:pt x="53440" y="44133"/>
                    <a:pt x="53440" y="43233"/>
                  </a:cubicBezTo>
                  <a:cubicBezTo>
                    <a:pt x="52540" y="36628"/>
                    <a:pt x="46535" y="32124"/>
                    <a:pt x="39930" y="33025"/>
                  </a:cubicBezTo>
                  <a:lnTo>
                    <a:pt x="0" y="33025"/>
                  </a:lnTo>
                  <a:lnTo>
                    <a:pt x="0" y="0"/>
                  </a:lnTo>
                  <a:lnTo>
                    <a:pt x="56142" y="0"/>
                  </a:lnTo>
                  <a:cubicBezTo>
                    <a:pt x="80461" y="0"/>
                    <a:pt x="93671" y="10508"/>
                    <a:pt x="93671" y="33025"/>
                  </a:cubicBezTo>
                  <a:close/>
                </a:path>
              </a:pathLst>
            </a:custGeom>
            <a:solidFill>
              <a:srgbClr val="009FE3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194" name="Forme libre : forme 193">
              <a:extLst>
                <a:ext uri="{FF2B5EF4-FFF2-40B4-BE49-F238E27FC236}">
                  <a16:creationId xmlns:a16="http://schemas.microsoft.com/office/drawing/2014/main" id="{FB082CB6-7B26-4E70-967B-98773BCFF4EE}"/>
                </a:ext>
              </a:extLst>
            </p:cNvPr>
            <p:cNvSpPr/>
            <p:nvPr/>
          </p:nvSpPr>
          <p:spPr>
            <a:xfrm>
              <a:off x="7134164" y="4001471"/>
              <a:ext cx="171129" cy="165125"/>
            </a:xfrm>
            <a:custGeom>
              <a:avLst/>
              <a:gdLst>
                <a:gd name="connsiteX0" fmla="*/ 171730 w 171129"/>
                <a:gd name="connsiteY0" fmla="*/ 58282 h 165124"/>
                <a:gd name="connsiteX1" fmla="*/ 171730 w 171129"/>
                <a:gd name="connsiteY1" fmla="*/ 62185 h 165124"/>
                <a:gd name="connsiteX2" fmla="*/ 130899 w 171129"/>
                <a:gd name="connsiteY2" fmla="*/ 64587 h 165124"/>
                <a:gd name="connsiteX3" fmla="*/ 130899 w 171129"/>
                <a:gd name="connsiteY3" fmla="*/ 53778 h 165124"/>
                <a:gd name="connsiteX4" fmla="*/ 108682 w 171129"/>
                <a:gd name="connsiteY4" fmla="*/ 26458 h 165124"/>
                <a:gd name="connsiteX5" fmla="*/ 73556 w 171129"/>
                <a:gd name="connsiteY5" fmla="*/ 84101 h 165124"/>
                <a:gd name="connsiteX6" fmla="*/ 73556 w 171129"/>
                <a:gd name="connsiteY6" fmla="*/ 140844 h 165124"/>
                <a:gd name="connsiteX7" fmla="*/ 33926 w 171129"/>
                <a:gd name="connsiteY7" fmla="*/ 167864 h 165124"/>
                <a:gd name="connsiteX8" fmla="*/ 33926 w 171129"/>
                <a:gd name="connsiteY8" fmla="*/ 30061 h 165124"/>
                <a:gd name="connsiteX9" fmla="*/ 0 w 171129"/>
                <a:gd name="connsiteY9" fmla="*/ 30061 h 165124"/>
                <a:gd name="connsiteX10" fmla="*/ 0 w 171129"/>
                <a:gd name="connsiteY10" fmla="*/ 939 h 165124"/>
                <a:gd name="connsiteX11" fmla="*/ 69052 w 171129"/>
                <a:gd name="connsiteY11" fmla="*/ 939 h 165124"/>
                <a:gd name="connsiteX12" fmla="*/ 69052 w 171129"/>
                <a:gd name="connsiteY12" fmla="*/ 49575 h 165124"/>
                <a:gd name="connsiteX13" fmla="*/ 69953 w 171129"/>
                <a:gd name="connsiteY13" fmla="*/ 49575 h 165124"/>
                <a:gd name="connsiteX14" fmla="*/ 101477 w 171129"/>
                <a:gd name="connsiteY14" fmla="*/ 3941 h 165124"/>
                <a:gd name="connsiteX15" fmla="*/ 122192 w 171129"/>
                <a:gd name="connsiteY15" fmla="*/ 38 h 165124"/>
                <a:gd name="connsiteX16" fmla="*/ 171730 w 171129"/>
                <a:gd name="connsiteY16" fmla="*/ 58282 h 165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71129" h="165124">
                  <a:moveTo>
                    <a:pt x="171730" y="58282"/>
                  </a:moveTo>
                  <a:lnTo>
                    <a:pt x="171730" y="62185"/>
                  </a:lnTo>
                  <a:lnTo>
                    <a:pt x="130899" y="64587"/>
                  </a:lnTo>
                  <a:lnTo>
                    <a:pt x="130899" y="53778"/>
                  </a:lnTo>
                  <a:cubicBezTo>
                    <a:pt x="130899" y="37566"/>
                    <a:pt x="121592" y="26458"/>
                    <a:pt x="108682" y="26458"/>
                  </a:cubicBezTo>
                  <a:cubicBezTo>
                    <a:pt x="89468" y="26458"/>
                    <a:pt x="73556" y="51977"/>
                    <a:pt x="73556" y="84101"/>
                  </a:cubicBezTo>
                  <a:lnTo>
                    <a:pt x="73556" y="140844"/>
                  </a:lnTo>
                  <a:lnTo>
                    <a:pt x="33926" y="167864"/>
                  </a:lnTo>
                  <a:lnTo>
                    <a:pt x="33926" y="30061"/>
                  </a:lnTo>
                  <a:lnTo>
                    <a:pt x="0" y="30061"/>
                  </a:lnTo>
                  <a:lnTo>
                    <a:pt x="0" y="939"/>
                  </a:lnTo>
                  <a:lnTo>
                    <a:pt x="69052" y="939"/>
                  </a:lnTo>
                  <a:lnTo>
                    <a:pt x="69052" y="49575"/>
                  </a:lnTo>
                  <a:lnTo>
                    <a:pt x="69953" y="49575"/>
                  </a:lnTo>
                  <a:cubicBezTo>
                    <a:pt x="79560" y="21054"/>
                    <a:pt x="87066" y="9945"/>
                    <a:pt x="101477" y="3941"/>
                  </a:cubicBezTo>
                  <a:cubicBezTo>
                    <a:pt x="108082" y="1239"/>
                    <a:pt x="114987" y="-262"/>
                    <a:pt x="122192" y="38"/>
                  </a:cubicBezTo>
                  <a:cubicBezTo>
                    <a:pt x="153116" y="-563"/>
                    <a:pt x="171730" y="21054"/>
                    <a:pt x="171730" y="58282"/>
                  </a:cubicBezTo>
                  <a:close/>
                </a:path>
              </a:pathLst>
            </a:custGeom>
            <a:solidFill>
              <a:srgbClr val="009FE3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195" name="Forme libre : forme 194">
              <a:extLst>
                <a:ext uri="{FF2B5EF4-FFF2-40B4-BE49-F238E27FC236}">
                  <a16:creationId xmlns:a16="http://schemas.microsoft.com/office/drawing/2014/main" id="{219ACDB1-34C9-4C32-A093-48E50867E42A}"/>
                </a:ext>
              </a:extLst>
            </p:cNvPr>
            <p:cNvSpPr/>
            <p:nvPr/>
          </p:nvSpPr>
          <p:spPr>
            <a:xfrm>
              <a:off x="7993113" y="3867608"/>
              <a:ext cx="123093" cy="90068"/>
            </a:xfrm>
            <a:custGeom>
              <a:avLst/>
              <a:gdLst>
                <a:gd name="connsiteX0" fmla="*/ 108382 w 123092"/>
                <a:gd name="connsiteY0" fmla="*/ 45634 h 90067"/>
                <a:gd name="connsiteX1" fmla="*/ 108682 w 123092"/>
                <a:gd name="connsiteY1" fmla="*/ 45634 h 90067"/>
                <a:gd name="connsiteX2" fmla="*/ 3903 w 123092"/>
                <a:gd name="connsiteY2" fmla="*/ 90969 h 90067"/>
                <a:gd name="connsiteX3" fmla="*/ 0 w 123092"/>
                <a:gd name="connsiteY3" fmla="*/ 85565 h 90067"/>
                <a:gd name="connsiteX4" fmla="*/ 71154 w 123092"/>
                <a:gd name="connsiteY4" fmla="*/ 18614 h 90067"/>
                <a:gd name="connsiteX5" fmla="*/ 107181 w 123092"/>
                <a:gd name="connsiteY5" fmla="*/ 0 h 90067"/>
                <a:gd name="connsiteX6" fmla="*/ 125795 w 123092"/>
                <a:gd name="connsiteY6" fmla="*/ 22217 h 90067"/>
                <a:gd name="connsiteX7" fmla="*/ 108382 w 123092"/>
                <a:gd name="connsiteY7" fmla="*/ 45634 h 90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3092" h="90067">
                  <a:moveTo>
                    <a:pt x="108382" y="45634"/>
                  </a:moveTo>
                  <a:lnTo>
                    <a:pt x="108682" y="45634"/>
                  </a:lnTo>
                  <a:lnTo>
                    <a:pt x="3903" y="90969"/>
                  </a:lnTo>
                  <a:lnTo>
                    <a:pt x="0" y="85565"/>
                  </a:lnTo>
                  <a:lnTo>
                    <a:pt x="71154" y="18614"/>
                  </a:lnTo>
                  <a:cubicBezTo>
                    <a:pt x="80161" y="8106"/>
                    <a:pt x="93070" y="1501"/>
                    <a:pt x="107181" y="0"/>
                  </a:cubicBezTo>
                  <a:cubicBezTo>
                    <a:pt x="121592" y="0"/>
                    <a:pt x="125795" y="12610"/>
                    <a:pt x="125795" y="22217"/>
                  </a:cubicBezTo>
                  <a:cubicBezTo>
                    <a:pt x="124894" y="32725"/>
                    <a:pt x="117989" y="41431"/>
                    <a:pt x="108382" y="45634"/>
                  </a:cubicBezTo>
                  <a:close/>
                </a:path>
              </a:pathLst>
            </a:custGeom>
            <a:solidFill>
              <a:srgbClr val="009FE3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196" name="Forme libre : forme 195">
              <a:extLst>
                <a:ext uri="{FF2B5EF4-FFF2-40B4-BE49-F238E27FC236}">
                  <a16:creationId xmlns:a16="http://schemas.microsoft.com/office/drawing/2014/main" id="{7A36B1D3-0BC9-43D3-A545-42A2378B84A2}"/>
                </a:ext>
              </a:extLst>
            </p:cNvPr>
            <p:cNvSpPr/>
            <p:nvPr/>
          </p:nvSpPr>
          <p:spPr>
            <a:xfrm>
              <a:off x="6523803" y="3918346"/>
              <a:ext cx="36027" cy="36027"/>
            </a:xfrm>
            <a:custGeom>
              <a:avLst/>
              <a:gdLst>
                <a:gd name="connsiteX0" fmla="*/ 32725 w 36027"/>
                <a:gd name="connsiteY0" fmla="*/ 32725 h 36027"/>
                <a:gd name="connsiteX1" fmla="*/ 19215 w 36027"/>
                <a:gd name="connsiteY1" fmla="*/ 38429 h 36027"/>
                <a:gd name="connsiteX2" fmla="*/ 5704 w 36027"/>
                <a:gd name="connsiteY2" fmla="*/ 33025 h 36027"/>
                <a:gd name="connsiteX3" fmla="*/ 0 w 36027"/>
                <a:gd name="connsiteY3" fmla="*/ 19515 h 36027"/>
                <a:gd name="connsiteX4" fmla="*/ 0 w 36027"/>
                <a:gd name="connsiteY4" fmla="*/ 19214 h 36027"/>
                <a:gd name="connsiteX5" fmla="*/ 5704 w 36027"/>
                <a:gd name="connsiteY5" fmla="*/ 5704 h 36027"/>
                <a:gd name="connsiteX6" fmla="*/ 19215 w 36027"/>
                <a:gd name="connsiteY6" fmla="*/ 0 h 36027"/>
                <a:gd name="connsiteX7" fmla="*/ 32725 w 36027"/>
                <a:gd name="connsiteY7" fmla="*/ 5704 h 36027"/>
                <a:gd name="connsiteX8" fmla="*/ 32725 w 36027"/>
                <a:gd name="connsiteY8" fmla="*/ 32725 h 36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027" h="36027">
                  <a:moveTo>
                    <a:pt x="32725" y="32725"/>
                  </a:moveTo>
                  <a:cubicBezTo>
                    <a:pt x="29122" y="36327"/>
                    <a:pt x="24318" y="38429"/>
                    <a:pt x="19215" y="38429"/>
                  </a:cubicBezTo>
                  <a:cubicBezTo>
                    <a:pt x="14111" y="38429"/>
                    <a:pt x="9307" y="36628"/>
                    <a:pt x="5704" y="33025"/>
                  </a:cubicBezTo>
                  <a:cubicBezTo>
                    <a:pt x="2102" y="29422"/>
                    <a:pt x="0" y="24619"/>
                    <a:pt x="0" y="19515"/>
                  </a:cubicBezTo>
                  <a:lnTo>
                    <a:pt x="0" y="19214"/>
                  </a:lnTo>
                  <a:cubicBezTo>
                    <a:pt x="0" y="14111"/>
                    <a:pt x="2102" y="9307"/>
                    <a:pt x="5704" y="5704"/>
                  </a:cubicBezTo>
                  <a:cubicBezTo>
                    <a:pt x="9307" y="2102"/>
                    <a:pt x="14111" y="0"/>
                    <a:pt x="19215" y="0"/>
                  </a:cubicBezTo>
                  <a:cubicBezTo>
                    <a:pt x="24318" y="0"/>
                    <a:pt x="29122" y="2102"/>
                    <a:pt x="32725" y="5704"/>
                  </a:cubicBezTo>
                  <a:cubicBezTo>
                    <a:pt x="40230" y="12910"/>
                    <a:pt x="40230" y="25219"/>
                    <a:pt x="32725" y="32725"/>
                  </a:cubicBezTo>
                  <a:close/>
                </a:path>
              </a:pathLst>
            </a:custGeom>
            <a:solidFill>
              <a:srgbClr val="009FE3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197" name="Forme libre : forme 196">
              <a:extLst>
                <a:ext uri="{FF2B5EF4-FFF2-40B4-BE49-F238E27FC236}">
                  <a16:creationId xmlns:a16="http://schemas.microsoft.com/office/drawing/2014/main" id="{BA76AE2F-0D7D-44B2-A262-EA419C215EA0}"/>
                </a:ext>
              </a:extLst>
            </p:cNvPr>
            <p:cNvSpPr/>
            <p:nvPr/>
          </p:nvSpPr>
          <p:spPr>
            <a:xfrm>
              <a:off x="6763083" y="4006913"/>
              <a:ext cx="120091" cy="117088"/>
            </a:xfrm>
            <a:custGeom>
              <a:avLst/>
              <a:gdLst>
                <a:gd name="connsiteX0" fmla="*/ 122793 w 120090"/>
                <a:gd name="connsiteY0" fmla="*/ 0 h 117088"/>
                <a:gd name="connsiteX1" fmla="*/ 122793 w 120090"/>
                <a:gd name="connsiteY1" fmla="*/ 33325 h 117088"/>
                <a:gd name="connsiteX2" fmla="*/ 83763 w 120090"/>
                <a:gd name="connsiteY2" fmla="*/ 33325 h 117088"/>
                <a:gd name="connsiteX3" fmla="*/ 54641 w 120090"/>
                <a:gd name="connsiteY3" fmla="*/ 117989 h 117088"/>
                <a:gd name="connsiteX4" fmla="*/ 28822 w 120090"/>
                <a:gd name="connsiteY4" fmla="*/ 69953 h 117088"/>
                <a:gd name="connsiteX5" fmla="*/ 42032 w 120090"/>
                <a:gd name="connsiteY5" fmla="*/ 33325 h 117088"/>
                <a:gd name="connsiteX6" fmla="*/ 0 w 120090"/>
                <a:gd name="connsiteY6" fmla="*/ 33325 h 117088"/>
                <a:gd name="connsiteX7" fmla="*/ 0 w 120090"/>
                <a:gd name="connsiteY7" fmla="*/ 0 h 117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0090" h="117088">
                  <a:moveTo>
                    <a:pt x="122793" y="0"/>
                  </a:moveTo>
                  <a:lnTo>
                    <a:pt x="122793" y="33325"/>
                  </a:lnTo>
                  <a:lnTo>
                    <a:pt x="83763" y="33325"/>
                  </a:lnTo>
                  <a:lnTo>
                    <a:pt x="54641" y="117989"/>
                  </a:lnTo>
                  <a:lnTo>
                    <a:pt x="28822" y="69953"/>
                  </a:lnTo>
                  <a:lnTo>
                    <a:pt x="42032" y="33325"/>
                  </a:lnTo>
                  <a:lnTo>
                    <a:pt x="0" y="333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FE3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198" name="Forme libre : forme 197">
              <a:extLst>
                <a:ext uri="{FF2B5EF4-FFF2-40B4-BE49-F238E27FC236}">
                  <a16:creationId xmlns:a16="http://schemas.microsoft.com/office/drawing/2014/main" id="{DBDE1595-6A35-4309-8304-C024038B286C}"/>
                </a:ext>
              </a:extLst>
            </p:cNvPr>
            <p:cNvSpPr/>
            <p:nvPr/>
          </p:nvSpPr>
          <p:spPr>
            <a:xfrm>
              <a:off x="7314421" y="4184121"/>
              <a:ext cx="120091" cy="114086"/>
            </a:xfrm>
            <a:custGeom>
              <a:avLst/>
              <a:gdLst>
                <a:gd name="connsiteX0" fmla="*/ 121170 w 120090"/>
                <a:gd name="connsiteY0" fmla="*/ 114311 h 114086"/>
                <a:gd name="connsiteX1" fmla="*/ 118168 w 120090"/>
                <a:gd name="connsiteY1" fmla="*/ 114311 h 114086"/>
                <a:gd name="connsiteX2" fmla="*/ 179 w 120090"/>
                <a:gd name="connsiteY2" fmla="*/ 33250 h 114086"/>
                <a:gd name="connsiteX3" fmla="*/ 26899 w 120090"/>
                <a:gd name="connsiteY3" fmla="*/ 225 h 114086"/>
                <a:gd name="connsiteX4" fmla="*/ 32603 w 120090"/>
                <a:gd name="connsiteY4" fmla="*/ 225 h 114086"/>
                <a:gd name="connsiteX5" fmla="*/ 59324 w 120090"/>
                <a:gd name="connsiteY5" fmla="*/ 25144 h 114086"/>
                <a:gd name="connsiteX6" fmla="*/ 39208 w 120090"/>
                <a:gd name="connsiteY6" fmla="*/ 52164 h 114086"/>
                <a:gd name="connsiteX7" fmla="*/ 121170 w 120090"/>
                <a:gd name="connsiteY7" fmla="*/ 114311 h 114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0090" h="114086">
                  <a:moveTo>
                    <a:pt x="121170" y="114311"/>
                  </a:moveTo>
                  <a:lnTo>
                    <a:pt x="118168" y="114311"/>
                  </a:lnTo>
                  <a:cubicBezTo>
                    <a:pt x="46114" y="114311"/>
                    <a:pt x="179" y="65675"/>
                    <a:pt x="179" y="33250"/>
                  </a:cubicBezTo>
                  <a:cubicBezTo>
                    <a:pt x="-1622" y="16738"/>
                    <a:pt x="10387" y="2027"/>
                    <a:pt x="26899" y="225"/>
                  </a:cubicBezTo>
                  <a:cubicBezTo>
                    <a:pt x="28700" y="-75"/>
                    <a:pt x="30802" y="-75"/>
                    <a:pt x="32603" y="225"/>
                  </a:cubicBezTo>
                  <a:cubicBezTo>
                    <a:pt x="46414" y="1426"/>
                    <a:pt x="57222" y="11934"/>
                    <a:pt x="59324" y="25144"/>
                  </a:cubicBezTo>
                  <a:cubicBezTo>
                    <a:pt x="59924" y="37753"/>
                    <a:pt x="51518" y="48862"/>
                    <a:pt x="39208" y="52164"/>
                  </a:cubicBezTo>
                  <a:lnTo>
                    <a:pt x="121170" y="114311"/>
                  </a:lnTo>
                  <a:close/>
                </a:path>
              </a:pathLst>
            </a:custGeom>
            <a:solidFill>
              <a:srgbClr val="009FE3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199" name="Forme libre : forme 198">
              <a:extLst>
                <a:ext uri="{FF2B5EF4-FFF2-40B4-BE49-F238E27FC236}">
                  <a16:creationId xmlns:a16="http://schemas.microsoft.com/office/drawing/2014/main" id="{4F0E7013-B703-4393-B5A7-8BAFE8A06CD7}"/>
                </a:ext>
              </a:extLst>
            </p:cNvPr>
            <p:cNvSpPr/>
            <p:nvPr/>
          </p:nvSpPr>
          <p:spPr>
            <a:xfrm>
              <a:off x="7744225" y="4120699"/>
              <a:ext cx="147111" cy="177134"/>
            </a:xfrm>
            <a:custGeom>
              <a:avLst/>
              <a:gdLst>
                <a:gd name="connsiteX0" fmla="*/ 148312 w 147111"/>
                <a:gd name="connsiteY0" fmla="*/ 137504 h 177133"/>
                <a:gd name="connsiteX1" fmla="*/ 148312 w 147111"/>
                <a:gd name="connsiteY1" fmla="*/ 140506 h 177133"/>
                <a:gd name="connsiteX2" fmla="*/ 49838 w 147111"/>
                <a:gd name="connsiteY2" fmla="*/ 178935 h 177133"/>
                <a:gd name="connsiteX3" fmla="*/ 12910 w 147111"/>
                <a:gd name="connsiteY3" fmla="*/ 163924 h 177133"/>
                <a:gd name="connsiteX4" fmla="*/ 0 w 147111"/>
                <a:gd name="connsiteY4" fmla="*/ 112285 h 177133"/>
                <a:gd name="connsiteX5" fmla="*/ 0 w 147111"/>
                <a:gd name="connsiteY5" fmla="*/ 20716 h 177133"/>
                <a:gd name="connsiteX6" fmla="*/ 39930 w 147111"/>
                <a:gd name="connsiteY6" fmla="*/ 0 h 177133"/>
                <a:gd name="connsiteX7" fmla="*/ 40531 w 147111"/>
                <a:gd name="connsiteY7" fmla="*/ 83763 h 177133"/>
                <a:gd name="connsiteX8" fmla="*/ 47736 w 147111"/>
                <a:gd name="connsiteY8" fmla="*/ 133601 h 177133"/>
                <a:gd name="connsiteX9" fmla="*/ 83763 w 147111"/>
                <a:gd name="connsiteY9" fmla="*/ 153416 h 177133"/>
                <a:gd name="connsiteX10" fmla="*/ 110784 w 147111"/>
                <a:gd name="connsiteY10" fmla="*/ 148612 h 177133"/>
                <a:gd name="connsiteX11" fmla="*/ 147711 w 147111"/>
                <a:gd name="connsiteY11" fmla="*/ 133601 h 177133"/>
                <a:gd name="connsiteX12" fmla="*/ 148312 w 147111"/>
                <a:gd name="connsiteY12" fmla="*/ 137504 h 177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7111" h="177133">
                  <a:moveTo>
                    <a:pt x="148312" y="137504"/>
                  </a:moveTo>
                  <a:lnTo>
                    <a:pt x="148312" y="140506"/>
                  </a:lnTo>
                  <a:cubicBezTo>
                    <a:pt x="116488" y="167827"/>
                    <a:pt x="74756" y="177434"/>
                    <a:pt x="49838" y="178935"/>
                  </a:cubicBezTo>
                  <a:cubicBezTo>
                    <a:pt x="36027" y="179836"/>
                    <a:pt x="22517" y="173831"/>
                    <a:pt x="12910" y="163924"/>
                  </a:cubicBezTo>
                  <a:cubicBezTo>
                    <a:pt x="2702" y="154016"/>
                    <a:pt x="0" y="136903"/>
                    <a:pt x="0" y="112285"/>
                  </a:cubicBezTo>
                  <a:lnTo>
                    <a:pt x="0" y="20716"/>
                  </a:lnTo>
                  <a:lnTo>
                    <a:pt x="39930" y="0"/>
                  </a:lnTo>
                  <a:lnTo>
                    <a:pt x="40531" y="83763"/>
                  </a:lnTo>
                  <a:cubicBezTo>
                    <a:pt x="39630" y="100576"/>
                    <a:pt x="42332" y="117689"/>
                    <a:pt x="47736" y="133601"/>
                  </a:cubicBezTo>
                  <a:cubicBezTo>
                    <a:pt x="52540" y="146811"/>
                    <a:pt x="64849" y="153416"/>
                    <a:pt x="83763" y="153416"/>
                  </a:cubicBezTo>
                  <a:cubicBezTo>
                    <a:pt x="93070" y="153115"/>
                    <a:pt x="102077" y="151314"/>
                    <a:pt x="110784" y="148612"/>
                  </a:cubicBezTo>
                  <a:cubicBezTo>
                    <a:pt x="123393" y="144709"/>
                    <a:pt x="135702" y="139605"/>
                    <a:pt x="147711" y="133601"/>
                  </a:cubicBezTo>
                  <a:cubicBezTo>
                    <a:pt x="148012" y="134802"/>
                    <a:pt x="148312" y="136303"/>
                    <a:pt x="148312" y="137504"/>
                  </a:cubicBezTo>
                  <a:close/>
                </a:path>
              </a:pathLst>
            </a:custGeom>
            <a:solidFill>
              <a:srgbClr val="009FE3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00" name="Forme libre : forme 199">
              <a:extLst>
                <a:ext uri="{FF2B5EF4-FFF2-40B4-BE49-F238E27FC236}">
                  <a16:creationId xmlns:a16="http://schemas.microsoft.com/office/drawing/2014/main" id="{BDC1994B-B6C4-40B0-8835-9B69BC78513D}"/>
                </a:ext>
              </a:extLst>
            </p:cNvPr>
            <p:cNvSpPr/>
            <p:nvPr/>
          </p:nvSpPr>
          <p:spPr>
            <a:xfrm>
              <a:off x="5951546" y="4012317"/>
              <a:ext cx="195147" cy="288217"/>
            </a:xfrm>
            <a:custGeom>
              <a:avLst/>
              <a:gdLst>
                <a:gd name="connsiteX0" fmla="*/ 190368 w 195147"/>
                <a:gd name="connsiteY0" fmla="*/ 0 h 288217"/>
                <a:gd name="connsiteX1" fmla="*/ 161847 w 195147"/>
                <a:gd name="connsiteY1" fmla="*/ 0 h 288217"/>
                <a:gd name="connsiteX2" fmla="*/ 156443 w 195147"/>
                <a:gd name="connsiteY2" fmla="*/ 5404 h 288217"/>
                <a:gd name="connsiteX3" fmla="*/ 156443 w 195147"/>
                <a:gd name="connsiteY3" fmla="*/ 190344 h 288217"/>
                <a:gd name="connsiteX4" fmla="*/ 138729 w 195147"/>
                <a:gd name="connsiteY4" fmla="*/ 231775 h 288217"/>
                <a:gd name="connsiteX5" fmla="*/ 98199 w 195147"/>
                <a:gd name="connsiteY5" fmla="*/ 248888 h 288217"/>
                <a:gd name="connsiteX6" fmla="*/ 57067 w 195147"/>
                <a:gd name="connsiteY6" fmla="*/ 231775 h 288217"/>
                <a:gd name="connsiteX7" fmla="*/ 39955 w 195147"/>
                <a:gd name="connsiteY7" fmla="*/ 190344 h 288217"/>
                <a:gd name="connsiteX8" fmla="*/ 39955 w 195147"/>
                <a:gd name="connsiteY8" fmla="*/ 131499 h 288217"/>
                <a:gd name="connsiteX9" fmla="*/ 24 w 195147"/>
                <a:gd name="connsiteY9" fmla="*/ 147711 h 288217"/>
                <a:gd name="connsiteX10" fmla="*/ 24 w 195147"/>
                <a:gd name="connsiteY10" fmla="*/ 190644 h 288217"/>
                <a:gd name="connsiteX11" fmla="*/ 28546 w 195147"/>
                <a:gd name="connsiteY11" fmla="*/ 260597 h 288217"/>
                <a:gd name="connsiteX12" fmla="*/ 98199 w 195147"/>
                <a:gd name="connsiteY12" fmla="*/ 290019 h 288217"/>
                <a:gd name="connsiteX13" fmla="*/ 167251 w 195147"/>
                <a:gd name="connsiteY13" fmla="*/ 260296 h 288217"/>
                <a:gd name="connsiteX14" fmla="*/ 196373 w 195147"/>
                <a:gd name="connsiteY14" fmla="*/ 190344 h 288217"/>
                <a:gd name="connsiteX15" fmla="*/ 196373 w 195147"/>
                <a:gd name="connsiteY15" fmla="*/ 5404 h 288217"/>
                <a:gd name="connsiteX16" fmla="*/ 190368 w 195147"/>
                <a:gd name="connsiteY16" fmla="*/ 0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147" h="288217">
                  <a:moveTo>
                    <a:pt x="190368" y="0"/>
                  </a:moveTo>
                  <a:lnTo>
                    <a:pt x="161847" y="0"/>
                  </a:lnTo>
                  <a:cubicBezTo>
                    <a:pt x="157944" y="0"/>
                    <a:pt x="156443" y="1501"/>
                    <a:pt x="156443" y="5404"/>
                  </a:cubicBezTo>
                  <a:lnTo>
                    <a:pt x="156443" y="190344"/>
                  </a:lnTo>
                  <a:cubicBezTo>
                    <a:pt x="156443" y="205955"/>
                    <a:pt x="150138" y="220967"/>
                    <a:pt x="138729" y="231775"/>
                  </a:cubicBezTo>
                  <a:cubicBezTo>
                    <a:pt x="128221" y="243183"/>
                    <a:pt x="113510" y="249188"/>
                    <a:pt x="98199" y="248888"/>
                  </a:cubicBezTo>
                  <a:cubicBezTo>
                    <a:pt x="82587" y="249188"/>
                    <a:pt x="67575" y="243183"/>
                    <a:pt x="57067" y="231775"/>
                  </a:cubicBezTo>
                  <a:cubicBezTo>
                    <a:pt x="45959" y="220967"/>
                    <a:pt x="39654" y="205955"/>
                    <a:pt x="39955" y="190344"/>
                  </a:cubicBezTo>
                  <a:lnTo>
                    <a:pt x="39955" y="131499"/>
                  </a:lnTo>
                  <a:lnTo>
                    <a:pt x="24" y="147711"/>
                  </a:lnTo>
                  <a:lnTo>
                    <a:pt x="24" y="190644"/>
                  </a:lnTo>
                  <a:cubicBezTo>
                    <a:pt x="-576" y="216763"/>
                    <a:pt x="9932" y="241982"/>
                    <a:pt x="28546" y="260597"/>
                  </a:cubicBezTo>
                  <a:cubicBezTo>
                    <a:pt x="46860" y="279511"/>
                    <a:pt x="71779" y="290019"/>
                    <a:pt x="98199" y="290019"/>
                  </a:cubicBezTo>
                  <a:cubicBezTo>
                    <a:pt x="124318" y="290019"/>
                    <a:pt x="149237" y="279511"/>
                    <a:pt x="167251" y="260296"/>
                  </a:cubicBezTo>
                  <a:cubicBezTo>
                    <a:pt x="186165" y="241982"/>
                    <a:pt x="196673" y="216763"/>
                    <a:pt x="196373" y="190344"/>
                  </a:cubicBezTo>
                  <a:lnTo>
                    <a:pt x="196373" y="5404"/>
                  </a:lnTo>
                  <a:cubicBezTo>
                    <a:pt x="196073" y="1501"/>
                    <a:pt x="193971" y="0"/>
                    <a:pt x="190368" y="0"/>
                  </a:cubicBez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01" name="Forme libre : forme 200">
              <a:extLst>
                <a:ext uri="{FF2B5EF4-FFF2-40B4-BE49-F238E27FC236}">
                  <a16:creationId xmlns:a16="http://schemas.microsoft.com/office/drawing/2014/main" id="{B4F8EAE4-67FF-448A-AB11-8701CF2DDB42}"/>
                </a:ext>
              </a:extLst>
            </p:cNvPr>
            <p:cNvSpPr/>
            <p:nvPr/>
          </p:nvSpPr>
          <p:spPr>
            <a:xfrm>
              <a:off x="6234678" y="3999143"/>
              <a:ext cx="198150" cy="288217"/>
            </a:xfrm>
            <a:custGeom>
              <a:avLst/>
              <a:gdLst>
                <a:gd name="connsiteX0" fmla="*/ 192452 w 198149"/>
                <a:gd name="connsiteY0" fmla="*/ 289382 h 288217"/>
                <a:gd name="connsiteX1" fmla="*/ 164230 w 198149"/>
                <a:gd name="connsiteY1" fmla="*/ 289382 h 288217"/>
                <a:gd name="connsiteX2" fmla="*/ 158226 w 198149"/>
                <a:gd name="connsiteY2" fmla="*/ 284578 h 288217"/>
                <a:gd name="connsiteX3" fmla="*/ 158226 w 198149"/>
                <a:gd name="connsiteY3" fmla="*/ 283377 h 288217"/>
                <a:gd name="connsiteX4" fmla="*/ 158226 w 198149"/>
                <a:gd name="connsiteY4" fmla="*/ 98438 h 288217"/>
                <a:gd name="connsiteX5" fmla="*/ 140813 w 198149"/>
                <a:gd name="connsiteY5" fmla="*/ 57307 h 288217"/>
                <a:gd name="connsiteX6" fmla="*/ 57950 w 198149"/>
                <a:gd name="connsiteY6" fmla="*/ 57006 h 288217"/>
                <a:gd name="connsiteX7" fmla="*/ 57650 w 198149"/>
                <a:gd name="connsiteY7" fmla="*/ 57307 h 288217"/>
                <a:gd name="connsiteX8" fmla="*/ 41137 w 198149"/>
                <a:gd name="connsiteY8" fmla="*/ 98438 h 288217"/>
                <a:gd name="connsiteX9" fmla="*/ 41137 w 198149"/>
                <a:gd name="connsiteY9" fmla="*/ 283377 h 288217"/>
                <a:gd name="connsiteX10" fmla="*/ 36634 w 198149"/>
                <a:gd name="connsiteY10" fmla="*/ 289382 h 288217"/>
                <a:gd name="connsiteX11" fmla="*/ 34833 w 198149"/>
                <a:gd name="connsiteY11" fmla="*/ 289382 h 288217"/>
                <a:gd name="connsiteX12" fmla="*/ 6011 w 198149"/>
                <a:gd name="connsiteY12" fmla="*/ 289382 h 288217"/>
                <a:gd name="connsiteX13" fmla="*/ 6 w 198149"/>
                <a:gd name="connsiteY13" fmla="*/ 284578 h 288217"/>
                <a:gd name="connsiteX14" fmla="*/ 6 w 198149"/>
                <a:gd name="connsiteY14" fmla="*/ 283377 h 288217"/>
                <a:gd name="connsiteX15" fmla="*/ 6 w 198149"/>
                <a:gd name="connsiteY15" fmla="*/ 98438 h 288217"/>
                <a:gd name="connsiteX16" fmla="*/ 29428 w 198149"/>
                <a:gd name="connsiteY16" fmla="*/ 28785 h 288217"/>
                <a:gd name="connsiteX17" fmla="*/ 168734 w 198149"/>
                <a:gd name="connsiteY17" fmla="*/ 28185 h 288217"/>
                <a:gd name="connsiteX18" fmla="*/ 169334 w 198149"/>
                <a:gd name="connsiteY18" fmla="*/ 28785 h 288217"/>
                <a:gd name="connsiteX19" fmla="*/ 198456 w 198149"/>
                <a:gd name="connsiteY19" fmla="*/ 98438 h 288217"/>
                <a:gd name="connsiteX20" fmla="*/ 198456 w 198149"/>
                <a:gd name="connsiteY20" fmla="*/ 283377 h 288217"/>
                <a:gd name="connsiteX21" fmla="*/ 193352 w 198149"/>
                <a:gd name="connsiteY21" fmla="*/ 289382 h 288217"/>
                <a:gd name="connsiteX22" fmla="*/ 192452 w 198149"/>
                <a:gd name="connsiteY22" fmla="*/ 289382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8149" h="288217">
                  <a:moveTo>
                    <a:pt x="192452" y="289382"/>
                  </a:moveTo>
                  <a:lnTo>
                    <a:pt x="164230" y="289382"/>
                  </a:lnTo>
                  <a:cubicBezTo>
                    <a:pt x="161228" y="289682"/>
                    <a:pt x="158526" y="287580"/>
                    <a:pt x="158226" y="284578"/>
                  </a:cubicBezTo>
                  <a:cubicBezTo>
                    <a:pt x="158226" y="284278"/>
                    <a:pt x="158226" y="283677"/>
                    <a:pt x="158226" y="283377"/>
                  </a:cubicBezTo>
                  <a:lnTo>
                    <a:pt x="158226" y="98438"/>
                  </a:lnTo>
                  <a:cubicBezTo>
                    <a:pt x="158526" y="82826"/>
                    <a:pt x="152221" y="68115"/>
                    <a:pt x="140813" y="57307"/>
                  </a:cubicBezTo>
                  <a:cubicBezTo>
                    <a:pt x="117995" y="34490"/>
                    <a:pt x="80767" y="34490"/>
                    <a:pt x="57950" y="57006"/>
                  </a:cubicBezTo>
                  <a:cubicBezTo>
                    <a:pt x="57950" y="57006"/>
                    <a:pt x="57650" y="57307"/>
                    <a:pt x="57650" y="57307"/>
                  </a:cubicBezTo>
                  <a:cubicBezTo>
                    <a:pt x="46842" y="68115"/>
                    <a:pt x="40837" y="83126"/>
                    <a:pt x="41137" y="98438"/>
                  </a:cubicBezTo>
                  <a:lnTo>
                    <a:pt x="41137" y="283377"/>
                  </a:lnTo>
                  <a:cubicBezTo>
                    <a:pt x="41738" y="286380"/>
                    <a:pt x="39636" y="289082"/>
                    <a:pt x="36634" y="289382"/>
                  </a:cubicBezTo>
                  <a:cubicBezTo>
                    <a:pt x="36033" y="289382"/>
                    <a:pt x="35433" y="289382"/>
                    <a:pt x="34833" y="289382"/>
                  </a:cubicBezTo>
                  <a:lnTo>
                    <a:pt x="6011" y="289382"/>
                  </a:lnTo>
                  <a:cubicBezTo>
                    <a:pt x="3009" y="289682"/>
                    <a:pt x="306" y="287580"/>
                    <a:pt x="6" y="284578"/>
                  </a:cubicBezTo>
                  <a:cubicBezTo>
                    <a:pt x="6" y="284278"/>
                    <a:pt x="6" y="283677"/>
                    <a:pt x="6" y="283377"/>
                  </a:cubicBezTo>
                  <a:lnTo>
                    <a:pt x="6" y="98438"/>
                  </a:lnTo>
                  <a:cubicBezTo>
                    <a:pt x="-294" y="72318"/>
                    <a:pt x="10214" y="47099"/>
                    <a:pt x="29428" y="28785"/>
                  </a:cubicBezTo>
                  <a:cubicBezTo>
                    <a:pt x="67858" y="-9344"/>
                    <a:pt x="130004" y="-9644"/>
                    <a:pt x="168734" y="28185"/>
                  </a:cubicBezTo>
                  <a:cubicBezTo>
                    <a:pt x="169034" y="28485"/>
                    <a:pt x="169034" y="28485"/>
                    <a:pt x="169334" y="28785"/>
                  </a:cubicBezTo>
                  <a:cubicBezTo>
                    <a:pt x="188248" y="47099"/>
                    <a:pt x="198756" y="72318"/>
                    <a:pt x="198456" y="98438"/>
                  </a:cubicBezTo>
                  <a:lnTo>
                    <a:pt x="198456" y="283377"/>
                  </a:lnTo>
                  <a:cubicBezTo>
                    <a:pt x="198756" y="286380"/>
                    <a:pt x="196355" y="289082"/>
                    <a:pt x="193352" y="289382"/>
                  </a:cubicBezTo>
                  <a:cubicBezTo>
                    <a:pt x="193052" y="289382"/>
                    <a:pt x="192752" y="289382"/>
                    <a:pt x="192452" y="289382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02" name="Forme libre : forme 201">
              <a:extLst>
                <a:ext uri="{FF2B5EF4-FFF2-40B4-BE49-F238E27FC236}">
                  <a16:creationId xmlns:a16="http://schemas.microsoft.com/office/drawing/2014/main" id="{A1B3C744-062F-46CB-AC7C-FDEF3C0084B5}"/>
                </a:ext>
              </a:extLst>
            </p:cNvPr>
            <p:cNvSpPr/>
            <p:nvPr/>
          </p:nvSpPr>
          <p:spPr>
            <a:xfrm>
              <a:off x="6523803" y="4111091"/>
              <a:ext cx="39029" cy="177134"/>
            </a:xfrm>
            <a:custGeom>
              <a:avLst/>
              <a:gdLst>
                <a:gd name="connsiteX0" fmla="*/ 39930 w 39029"/>
                <a:gd name="connsiteY0" fmla="*/ 37528 h 177133"/>
                <a:gd name="connsiteX1" fmla="*/ 39930 w 39029"/>
                <a:gd name="connsiteY1" fmla="*/ 173231 h 177133"/>
                <a:gd name="connsiteX2" fmla="*/ 34826 w 39029"/>
                <a:gd name="connsiteY2" fmla="*/ 179235 h 177133"/>
                <a:gd name="connsiteX3" fmla="*/ 33625 w 39029"/>
                <a:gd name="connsiteY3" fmla="*/ 179235 h 177133"/>
                <a:gd name="connsiteX4" fmla="*/ 6005 w 39029"/>
                <a:gd name="connsiteY4" fmla="*/ 179235 h 177133"/>
                <a:gd name="connsiteX5" fmla="*/ 0 w 39029"/>
                <a:gd name="connsiteY5" fmla="*/ 174732 h 177133"/>
                <a:gd name="connsiteX6" fmla="*/ 0 w 39029"/>
                <a:gd name="connsiteY6" fmla="*/ 172930 h 177133"/>
                <a:gd name="connsiteX7" fmla="*/ 0 w 39029"/>
                <a:gd name="connsiteY7" fmla="*/ 0 h 177133"/>
                <a:gd name="connsiteX8" fmla="*/ 39930 w 39029"/>
                <a:gd name="connsiteY8" fmla="*/ 37528 h 177133"/>
                <a:gd name="connsiteX9" fmla="*/ 39930 w 39029"/>
                <a:gd name="connsiteY9" fmla="*/ 37528 h 177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029" h="177133">
                  <a:moveTo>
                    <a:pt x="39930" y="37528"/>
                  </a:moveTo>
                  <a:lnTo>
                    <a:pt x="39930" y="173231"/>
                  </a:lnTo>
                  <a:cubicBezTo>
                    <a:pt x="40230" y="176233"/>
                    <a:pt x="38129" y="178935"/>
                    <a:pt x="34826" y="179235"/>
                  </a:cubicBezTo>
                  <a:cubicBezTo>
                    <a:pt x="34526" y="179235"/>
                    <a:pt x="34226" y="179235"/>
                    <a:pt x="33625" y="179235"/>
                  </a:cubicBezTo>
                  <a:lnTo>
                    <a:pt x="6005" y="179235"/>
                  </a:lnTo>
                  <a:cubicBezTo>
                    <a:pt x="3002" y="179836"/>
                    <a:pt x="300" y="177734"/>
                    <a:pt x="0" y="174732"/>
                  </a:cubicBezTo>
                  <a:cubicBezTo>
                    <a:pt x="0" y="174131"/>
                    <a:pt x="0" y="173531"/>
                    <a:pt x="0" y="172930"/>
                  </a:cubicBezTo>
                  <a:lnTo>
                    <a:pt x="0" y="0"/>
                  </a:lnTo>
                  <a:lnTo>
                    <a:pt x="39930" y="37528"/>
                  </a:lnTo>
                  <a:lnTo>
                    <a:pt x="39930" y="37528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03" name="Forme libre : forme 202">
              <a:extLst>
                <a:ext uri="{FF2B5EF4-FFF2-40B4-BE49-F238E27FC236}">
                  <a16:creationId xmlns:a16="http://schemas.microsoft.com/office/drawing/2014/main" id="{58089071-1C8F-4922-ABDA-D07A5EBBEBB5}"/>
                </a:ext>
              </a:extLst>
            </p:cNvPr>
            <p:cNvSpPr/>
            <p:nvPr/>
          </p:nvSpPr>
          <p:spPr>
            <a:xfrm>
              <a:off x="6624477" y="4006913"/>
              <a:ext cx="192145" cy="282213"/>
            </a:xfrm>
            <a:custGeom>
              <a:avLst/>
              <a:gdLst>
                <a:gd name="connsiteX0" fmla="*/ 193248 w 192145"/>
                <a:gd name="connsiteY0" fmla="*/ 117989 h 282212"/>
                <a:gd name="connsiteX1" fmla="*/ 135004 w 192145"/>
                <a:gd name="connsiteY1" fmla="*/ 277709 h 282212"/>
                <a:gd name="connsiteX2" fmla="*/ 128699 w 192145"/>
                <a:gd name="connsiteY2" fmla="*/ 282813 h 282212"/>
                <a:gd name="connsiteX3" fmla="*/ 105882 w 192145"/>
                <a:gd name="connsiteY3" fmla="*/ 282813 h 282212"/>
                <a:gd name="connsiteX4" fmla="*/ 99577 w 192145"/>
                <a:gd name="connsiteY4" fmla="*/ 277709 h 282212"/>
                <a:gd name="connsiteX5" fmla="*/ 803 w 192145"/>
                <a:gd name="connsiteY5" fmla="*/ 8406 h 282212"/>
                <a:gd name="connsiteX6" fmla="*/ 6207 w 192145"/>
                <a:gd name="connsiteY6" fmla="*/ 0 h 282212"/>
                <a:gd name="connsiteX7" fmla="*/ 36230 w 192145"/>
                <a:gd name="connsiteY7" fmla="*/ 0 h 282212"/>
                <a:gd name="connsiteX8" fmla="*/ 43435 w 192145"/>
                <a:gd name="connsiteY8" fmla="*/ 5704 h 282212"/>
                <a:gd name="connsiteX9" fmla="*/ 112787 w 192145"/>
                <a:gd name="connsiteY9" fmla="*/ 195447 h 282212"/>
                <a:gd name="connsiteX10" fmla="*/ 116690 w 192145"/>
                <a:gd name="connsiteY10" fmla="*/ 198149 h 282212"/>
                <a:gd name="connsiteX11" fmla="*/ 121194 w 192145"/>
                <a:gd name="connsiteY11" fmla="*/ 195447 h 282212"/>
                <a:gd name="connsiteX12" fmla="*/ 167128 w 192145"/>
                <a:gd name="connsiteY12" fmla="*/ 69953 h 282212"/>
                <a:gd name="connsiteX13" fmla="*/ 193248 w 192145"/>
                <a:gd name="connsiteY13" fmla="*/ 117989 h 282212"/>
                <a:gd name="connsiteX14" fmla="*/ 193248 w 192145"/>
                <a:gd name="connsiteY14" fmla="*/ 117989 h 282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2145" h="282212">
                  <a:moveTo>
                    <a:pt x="193248" y="117989"/>
                  </a:moveTo>
                  <a:lnTo>
                    <a:pt x="135004" y="277709"/>
                  </a:lnTo>
                  <a:cubicBezTo>
                    <a:pt x="134404" y="280712"/>
                    <a:pt x="131702" y="282813"/>
                    <a:pt x="128699" y="282813"/>
                  </a:cubicBezTo>
                  <a:lnTo>
                    <a:pt x="105882" y="282813"/>
                  </a:lnTo>
                  <a:cubicBezTo>
                    <a:pt x="102580" y="282813"/>
                    <a:pt x="100778" y="281012"/>
                    <a:pt x="99577" y="277709"/>
                  </a:cubicBezTo>
                  <a:lnTo>
                    <a:pt x="803" y="8406"/>
                  </a:lnTo>
                  <a:cubicBezTo>
                    <a:pt x="-1299" y="3002"/>
                    <a:pt x="803" y="0"/>
                    <a:pt x="6207" y="0"/>
                  </a:cubicBezTo>
                  <a:lnTo>
                    <a:pt x="36230" y="0"/>
                  </a:lnTo>
                  <a:cubicBezTo>
                    <a:pt x="39832" y="0"/>
                    <a:pt x="42835" y="2402"/>
                    <a:pt x="43435" y="5704"/>
                  </a:cubicBezTo>
                  <a:lnTo>
                    <a:pt x="112787" y="195447"/>
                  </a:lnTo>
                  <a:cubicBezTo>
                    <a:pt x="113088" y="197249"/>
                    <a:pt x="114889" y="198450"/>
                    <a:pt x="116690" y="198149"/>
                  </a:cubicBezTo>
                  <a:cubicBezTo>
                    <a:pt x="118792" y="198450"/>
                    <a:pt x="120593" y="197249"/>
                    <a:pt x="121194" y="195447"/>
                  </a:cubicBezTo>
                  <a:lnTo>
                    <a:pt x="167128" y="69953"/>
                  </a:lnTo>
                  <a:lnTo>
                    <a:pt x="193248" y="117989"/>
                  </a:lnTo>
                  <a:lnTo>
                    <a:pt x="193248" y="117989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04" name="Forme libre : forme 203">
              <a:extLst>
                <a:ext uri="{FF2B5EF4-FFF2-40B4-BE49-F238E27FC236}">
                  <a16:creationId xmlns:a16="http://schemas.microsoft.com/office/drawing/2014/main" id="{A0AFE0DB-2EC9-4B2F-A13D-5028AA80C759}"/>
                </a:ext>
              </a:extLst>
            </p:cNvPr>
            <p:cNvSpPr/>
            <p:nvPr/>
          </p:nvSpPr>
          <p:spPr>
            <a:xfrm>
              <a:off x="6902066" y="3999101"/>
              <a:ext cx="201152" cy="297224"/>
            </a:xfrm>
            <a:custGeom>
              <a:avLst/>
              <a:gdLst>
                <a:gd name="connsiteX0" fmla="*/ 197872 w 201151"/>
                <a:gd name="connsiteY0" fmla="*/ 166632 h 297224"/>
                <a:gd name="connsiteX1" fmla="*/ 47158 w 201151"/>
                <a:gd name="connsiteY1" fmla="*/ 166632 h 297224"/>
                <a:gd name="connsiteX2" fmla="*/ 40853 w 201151"/>
                <a:gd name="connsiteY2" fmla="*/ 171736 h 297224"/>
                <a:gd name="connsiteX3" fmla="*/ 40853 w 201151"/>
                <a:gd name="connsiteY3" fmla="*/ 172937 h 297224"/>
                <a:gd name="connsiteX4" fmla="*/ 40853 w 201151"/>
                <a:gd name="connsiteY4" fmla="*/ 190049 h 297224"/>
                <a:gd name="connsiteX5" fmla="*/ 60368 w 201151"/>
                <a:gd name="connsiteY5" fmla="*/ 237185 h 297224"/>
                <a:gd name="connsiteX6" fmla="*/ 106903 w 201151"/>
                <a:gd name="connsiteY6" fmla="*/ 257000 h 297224"/>
                <a:gd name="connsiteX7" fmla="*/ 170251 w 201151"/>
                <a:gd name="connsiteY7" fmla="*/ 237185 h 297224"/>
                <a:gd name="connsiteX8" fmla="*/ 177156 w 201151"/>
                <a:gd name="connsiteY8" fmla="*/ 237185 h 297224"/>
                <a:gd name="connsiteX9" fmla="*/ 178057 w 201151"/>
                <a:gd name="connsiteY9" fmla="*/ 238386 h 297224"/>
                <a:gd name="connsiteX10" fmla="*/ 194570 w 201151"/>
                <a:gd name="connsiteY10" fmla="*/ 262404 h 297224"/>
                <a:gd name="connsiteX11" fmla="*/ 194269 w 201151"/>
                <a:gd name="connsiteY11" fmla="*/ 269609 h 297224"/>
                <a:gd name="connsiteX12" fmla="*/ 193068 w 201151"/>
                <a:gd name="connsiteY12" fmla="*/ 270510 h 297224"/>
                <a:gd name="connsiteX13" fmla="*/ 107204 w 201151"/>
                <a:gd name="connsiteY13" fmla="*/ 298131 h 297224"/>
                <a:gd name="connsiteX14" fmla="*/ 31546 w 201151"/>
                <a:gd name="connsiteY14" fmla="*/ 266607 h 297224"/>
                <a:gd name="connsiteX15" fmla="*/ 23 w 201151"/>
                <a:gd name="connsiteY15" fmla="*/ 190950 h 297224"/>
                <a:gd name="connsiteX16" fmla="*/ 23 w 201151"/>
                <a:gd name="connsiteY16" fmla="*/ 101483 h 297224"/>
                <a:gd name="connsiteX17" fmla="*/ 101499 w 201151"/>
                <a:gd name="connsiteY17" fmla="*/ 6 h 297224"/>
                <a:gd name="connsiteX18" fmla="*/ 173554 w 201151"/>
                <a:gd name="connsiteY18" fmla="*/ 30029 h 297224"/>
                <a:gd name="connsiteX19" fmla="*/ 202976 w 201151"/>
                <a:gd name="connsiteY19" fmla="*/ 101483 h 297224"/>
                <a:gd name="connsiteX20" fmla="*/ 202976 w 201151"/>
                <a:gd name="connsiteY20" fmla="*/ 160627 h 297224"/>
                <a:gd name="connsiteX21" fmla="*/ 197272 w 201151"/>
                <a:gd name="connsiteY21" fmla="*/ 166632 h 297224"/>
                <a:gd name="connsiteX22" fmla="*/ 162445 w 201151"/>
                <a:gd name="connsiteY22" fmla="*/ 101783 h 297224"/>
                <a:gd name="connsiteX23" fmla="*/ 102400 w 201151"/>
                <a:gd name="connsiteY23" fmla="*/ 40837 h 297224"/>
                <a:gd name="connsiteX24" fmla="*/ 101499 w 201151"/>
                <a:gd name="connsiteY24" fmla="*/ 40837 h 297224"/>
                <a:gd name="connsiteX25" fmla="*/ 58867 w 201151"/>
                <a:gd name="connsiteY25" fmla="*/ 58550 h 297224"/>
                <a:gd name="connsiteX26" fmla="*/ 41454 w 201151"/>
                <a:gd name="connsiteY26" fmla="*/ 101483 h 297224"/>
                <a:gd name="connsiteX27" fmla="*/ 41454 w 201151"/>
                <a:gd name="connsiteY27" fmla="*/ 120397 h 297224"/>
                <a:gd name="connsiteX28" fmla="*/ 46558 w 201151"/>
                <a:gd name="connsiteY28" fmla="*/ 126401 h 297224"/>
                <a:gd name="connsiteX29" fmla="*/ 47759 w 201151"/>
                <a:gd name="connsiteY29" fmla="*/ 126401 h 297224"/>
                <a:gd name="connsiteX30" fmla="*/ 157942 w 201151"/>
                <a:gd name="connsiteY30" fmla="*/ 126401 h 297224"/>
                <a:gd name="connsiteX31" fmla="*/ 163346 w 201151"/>
                <a:gd name="connsiteY31" fmla="*/ 120397 h 297224"/>
                <a:gd name="connsiteX32" fmla="*/ 162445 w 201151"/>
                <a:gd name="connsiteY32" fmla="*/ 101783 h 297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1151" h="297224">
                  <a:moveTo>
                    <a:pt x="197872" y="166632"/>
                  </a:moveTo>
                  <a:lnTo>
                    <a:pt x="47158" y="166632"/>
                  </a:lnTo>
                  <a:cubicBezTo>
                    <a:pt x="44156" y="166332"/>
                    <a:pt x="41154" y="168433"/>
                    <a:pt x="40853" y="171736"/>
                  </a:cubicBezTo>
                  <a:cubicBezTo>
                    <a:pt x="40853" y="172036"/>
                    <a:pt x="40853" y="172336"/>
                    <a:pt x="40853" y="172937"/>
                  </a:cubicBezTo>
                  <a:lnTo>
                    <a:pt x="40853" y="190049"/>
                  </a:lnTo>
                  <a:cubicBezTo>
                    <a:pt x="40553" y="207763"/>
                    <a:pt x="47458" y="224876"/>
                    <a:pt x="60368" y="237185"/>
                  </a:cubicBezTo>
                  <a:cubicBezTo>
                    <a:pt x="72377" y="249794"/>
                    <a:pt x="89490" y="257000"/>
                    <a:pt x="106903" y="257000"/>
                  </a:cubicBezTo>
                  <a:cubicBezTo>
                    <a:pt x="129420" y="257300"/>
                    <a:pt x="151637" y="250095"/>
                    <a:pt x="170251" y="237185"/>
                  </a:cubicBezTo>
                  <a:cubicBezTo>
                    <a:pt x="172053" y="235384"/>
                    <a:pt x="175055" y="235384"/>
                    <a:pt x="177156" y="237185"/>
                  </a:cubicBezTo>
                  <a:cubicBezTo>
                    <a:pt x="177457" y="237485"/>
                    <a:pt x="177757" y="237785"/>
                    <a:pt x="178057" y="238386"/>
                  </a:cubicBezTo>
                  <a:lnTo>
                    <a:pt x="194570" y="262404"/>
                  </a:lnTo>
                  <a:cubicBezTo>
                    <a:pt x="196671" y="264506"/>
                    <a:pt x="196371" y="267808"/>
                    <a:pt x="194269" y="269609"/>
                  </a:cubicBezTo>
                  <a:cubicBezTo>
                    <a:pt x="193969" y="269910"/>
                    <a:pt x="193369" y="270210"/>
                    <a:pt x="193068" y="270510"/>
                  </a:cubicBezTo>
                  <a:cubicBezTo>
                    <a:pt x="168150" y="288824"/>
                    <a:pt x="138127" y="298431"/>
                    <a:pt x="107204" y="298131"/>
                  </a:cubicBezTo>
                  <a:cubicBezTo>
                    <a:pt x="78682" y="298431"/>
                    <a:pt x="51361" y="287023"/>
                    <a:pt x="31546" y="266607"/>
                  </a:cubicBezTo>
                  <a:cubicBezTo>
                    <a:pt x="10831" y="246792"/>
                    <a:pt x="-578" y="219171"/>
                    <a:pt x="23" y="190950"/>
                  </a:cubicBezTo>
                  <a:lnTo>
                    <a:pt x="23" y="101483"/>
                  </a:lnTo>
                  <a:cubicBezTo>
                    <a:pt x="-278" y="45641"/>
                    <a:pt x="45357" y="306"/>
                    <a:pt x="101499" y="6"/>
                  </a:cubicBezTo>
                  <a:cubicBezTo>
                    <a:pt x="128820" y="-294"/>
                    <a:pt x="154940" y="10514"/>
                    <a:pt x="173554" y="30029"/>
                  </a:cubicBezTo>
                  <a:cubicBezTo>
                    <a:pt x="193068" y="48643"/>
                    <a:pt x="203576" y="74462"/>
                    <a:pt x="202976" y="101483"/>
                  </a:cubicBezTo>
                  <a:lnTo>
                    <a:pt x="202976" y="160627"/>
                  </a:lnTo>
                  <a:cubicBezTo>
                    <a:pt x="202976" y="164530"/>
                    <a:pt x="201175" y="166632"/>
                    <a:pt x="197272" y="166632"/>
                  </a:cubicBezTo>
                  <a:moveTo>
                    <a:pt x="162445" y="101783"/>
                  </a:moveTo>
                  <a:cubicBezTo>
                    <a:pt x="162746" y="68458"/>
                    <a:pt x="135725" y="41137"/>
                    <a:pt x="102400" y="40837"/>
                  </a:cubicBezTo>
                  <a:cubicBezTo>
                    <a:pt x="102100" y="40837"/>
                    <a:pt x="101799" y="40837"/>
                    <a:pt x="101499" y="40837"/>
                  </a:cubicBezTo>
                  <a:cubicBezTo>
                    <a:pt x="85287" y="40537"/>
                    <a:pt x="69975" y="46841"/>
                    <a:pt x="58867" y="58550"/>
                  </a:cubicBezTo>
                  <a:cubicBezTo>
                    <a:pt x="47458" y="69959"/>
                    <a:pt x="41154" y="85270"/>
                    <a:pt x="41454" y="101483"/>
                  </a:cubicBezTo>
                  <a:lnTo>
                    <a:pt x="41454" y="120397"/>
                  </a:lnTo>
                  <a:cubicBezTo>
                    <a:pt x="41154" y="123399"/>
                    <a:pt x="43555" y="126101"/>
                    <a:pt x="46558" y="126401"/>
                  </a:cubicBezTo>
                  <a:cubicBezTo>
                    <a:pt x="46858" y="126401"/>
                    <a:pt x="47158" y="126401"/>
                    <a:pt x="47759" y="126401"/>
                  </a:cubicBezTo>
                  <a:lnTo>
                    <a:pt x="157942" y="126401"/>
                  </a:lnTo>
                  <a:cubicBezTo>
                    <a:pt x="161845" y="126401"/>
                    <a:pt x="163346" y="124300"/>
                    <a:pt x="163346" y="120397"/>
                  </a:cubicBezTo>
                  <a:lnTo>
                    <a:pt x="162445" y="101783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05" name="Forme libre : forme 204">
              <a:extLst>
                <a:ext uri="{FF2B5EF4-FFF2-40B4-BE49-F238E27FC236}">
                  <a16:creationId xmlns:a16="http://schemas.microsoft.com/office/drawing/2014/main" id="{A1DF73B0-2C05-4133-A9E5-3F81FF2C473A}"/>
                </a:ext>
              </a:extLst>
            </p:cNvPr>
            <p:cNvSpPr/>
            <p:nvPr/>
          </p:nvSpPr>
          <p:spPr>
            <a:xfrm>
              <a:off x="7168089" y="4142015"/>
              <a:ext cx="39029" cy="147111"/>
            </a:xfrm>
            <a:custGeom>
              <a:avLst/>
              <a:gdLst>
                <a:gd name="connsiteX0" fmla="*/ 39630 w 39029"/>
                <a:gd name="connsiteY0" fmla="*/ 0 h 147110"/>
                <a:gd name="connsiteX1" fmla="*/ 39630 w 39029"/>
                <a:gd name="connsiteY1" fmla="*/ 143808 h 147110"/>
                <a:gd name="connsiteX2" fmla="*/ 34826 w 39029"/>
                <a:gd name="connsiteY2" fmla="*/ 149813 h 147110"/>
                <a:gd name="connsiteX3" fmla="*/ 33625 w 39029"/>
                <a:gd name="connsiteY3" fmla="*/ 149813 h 147110"/>
                <a:gd name="connsiteX4" fmla="*/ 6005 w 39029"/>
                <a:gd name="connsiteY4" fmla="*/ 149813 h 147110"/>
                <a:gd name="connsiteX5" fmla="*/ 0 w 39029"/>
                <a:gd name="connsiteY5" fmla="*/ 144709 h 147110"/>
                <a:gd name="connsiteX6" fmla="*/ 0 w 39029"/>
                <a:gd name="connsiteY6" fmla="*/ 143508 h 147110"/>
                <a:gd name="connsiteX7" fmla="*/ 0 w 39029"/>
                <a:gd name="connsiteY7" fmla="*/ 26720 h 147110"/>
                <a:gd name="connsiteX8" fmla="*/ 39630 w 39029"/>
                <a:gd name="connsiteY8" fmla="*/ 0 h 147110"/>
                <a:gd name="connsiteX9" fmla="*/ 39630 w 39029"/>
                <a:gd name="connsiteY9" fmla="*/ 0 h 147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029" h="147110">
                  <a:moveTo>
                    <a:pt x="39630" y="0"/>
                  </a:moveTo>
                  <a:lnTo>
                    <a:pt x="39630" y="143808"/>
                  </a:lnTo>
                  <a:cubicBezTo>
                    <a:pt x="39930" y="146811"/>
                    <a:pt x="37829" y="149513"/>
                    <a:pt x="34826" y="149813"/>
                  </a:cubicBezTo>
                  <a:cubicBezTo>
                    <a:pt x="34526" y="149813"/>
                    <a:pt x="33926" y="149813"/>
                    <a:pt x="33625" y="149813"/>
                  </a:cubicBezTo>
                  <a:lnTo>
                    <a:pt x="6005" y="149813"/>
                  </a:lnTo>
                  <a:cubicBezTo>
                    <a:pt x="3002" y="150113"/>
                    <a:pt x="300" y="148012"/>
                    <a:pt x="0" y="144709"/>
                  </a:cubicBezTo>
                  <a:cubicBezTo>
                    <a:pt x="0" y="144409"/>
                    <a:pt x="0" y="144109"/>
                    <a:pt x="0" y="143508"/>
                  </a:cubicBezTo>
                  <a:lnTo>
                    <a:pt x="0" y="26720"/>
                  </a:lnTo>
                  <a:lnTo>
                    <a:pt x="39630" y="0"/>
                  </a:lnTo>
                  <a:lnTo>
                    <a:pt x="39630" y="0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06" name="Forme libre : forme 205">
              <a:extLst>
                <a:ext uri="{FF2B5EF4-FFF2-40B4-BE49-F238E27FC236}">
                  <a16:creationId xmlns:a16="http://schemas.microsoft.com/office/drawing/2014/main" id="{92CBA666-3616-4119-91AC-4F9C32BE24DB}"/>
                </a:ext>
              </a:extLst>
            </p:cNvPr>
            <p:cNvSpPr/>
            <p:nvPr/>
          </p:nvSpPr>
          <p:spPr>
            <a:xfrm>
              <a:off x="7592289" y="3898809"/>
              <a:ext cx="51039" cy="390294"/>
            </a:xfrm>
            <a:custGeom>
              <a:avLst/>
              <a:gdLst>
                <a:gd name="connsiteX0" fmla="*/ 44454 w 51038"/>
                <a:gd name="connsiteY0" fmla="*/ 46558 h 390294"/>
                <a:gd name="connsiteX1" fmla="*/ 25840 w 51038"/>
                <a:gd name="connsiteY1" fmla="*/ 54964 h 390294"/>
                <a:gd name="connsiteX2" fmla="*/ 7827 w 51038"/>
                <a:gd name="connsiteY2" fmla="*/ 46558 h 390294"/>
                <a:gd name="connsiteX3" fmla="*/ 21 w 51038"/>
                <a:gd name="connsiteY3" fmla="*/ 27343 h 390294"/>
                <a:gd name="connsiteX4" fmla="*/ 7827 w 51038"/>
                <a:gd name="connsiteY4" fmla="*/ 7828 h 390294"/>
                <a:gd name="connsiteX5" fmla="*/ 25840 w 51038"/>
                <a:gd name="connsiteY5" fmla="*/ 23 h 390294"/>
                <a:gd name="connsiteX6" fmla="*/ 44454 w 51038"/>
                <a:gd name="connsiteY6" fmla="*/ 7828 h 390294"/>
                <a:gd name="connsiteX7" fmla="*/ 52560 w 51038"/>
                <a:gd name="connsiteY7" fmla="*/ 27343 h 390294"/>
                <a:gd name="connsiteX8" fmla="*/ 44454 w 51038"/>
                <a:gd name="connsiteY8" fmla="*/ 46558 h 390294"/>
                <a:gd name="connsiteX9" fmla="*/ 39651 w 51038"/>
                <a:gd name="connsiteY9" fmla="*/ 392719 h 390294"/>
                <a:gd name="connsiteX10" fmla="*/ 12630 w 51038"/>
                <a:gd name="connsiteY10" fmla="*/ 392719 h 390294"/>
                <a:gd name="connsiteX11" fmla="*/ 6926 w 51038"/>
                <a:gd name="connsiteY11" fmla="*/ 386714 h 390294"/>
                <a:gd name="connsiteX12" fmla="*/ 6926 w 51038"/>
                <a:gd name="connsiteY12" fmla="*/ 112307 h 390294"/>
                <a:gd name="connsiteX13" fmla="*/ 12630 w 51038"/>
                <a:gd name="connsiteY13" fmla="*/ 106603 h 390294"/>
                <a:gd name="connsiteX14" fmla="*/ 39651 w 51038"/>
                <a:gd name="connsiteY14" fmla="*/ 106603 h 390294"/>
                <a:gd name="connsiteX15" fmla="*/ 45655 w 51038"/>
                <a:gd name="connsiteY15" fmla="*/ 112307 h 390294"/>
                <a:gd name="connsiteX16" fmla="*/ 45655 w 51038"/>
                <a:gd name="connsiteY16" fmla="*/ 386414 h 390294"/>
                <a:gd name="connsiteX17" fmla="*/ 40852 w 51038"/>
                <a:gd name="connsiteY17" fmla="*/ 392418 h 390294"/>
                <a:gd name="connsiteX18" fmla="*/ 39651 w 51038"/>
                <a:gd name="connsiteY18" fmla="*/ 392719 h 390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1038" h="390294">
                  <a:moveTo>
                    <a:pt x="44454" y="46558"/>
                  </a:moveTo>
                  <a:cubicBezTo>
                    <a:pt x="39651" y="51962"/>
                    <a:pt x="33046" y="55264"/>
                    <a:pt x="25840" y="54964"/>
                  </a:cubicBezTo>
                  <a:cubicBezTo>
                    <a:pt x="18935" y="54964"/>
                    <a:pt x="12330" y="51962"/>
                    <a:pt x="7827" y="46558"/>
                  </a:cubicBezTo>
                  <a:cubicBezTo>
                    <a:pt x="2723" y="41754"/>
                    <a:pt x="-280" y="34849"/>
                    <a:pt x="21" y="27343"/>
                  </a:cubicBezTo>
                  <a:cubicBezTo>
                    <a:pt x="-280" y="19837"/>
                    <a:pt x="2723" y="12632"/>
                    <a:pt x="7827" y="7828"/>
                  </a:cubicBezTo>
                  <a:cubicBezTo>
                    <a:pt x="12330" y="2424"/>
                    <a:pt x="18935" y="-278"/>
                    <a:pt x="25840" y="23"/>
                  </a:cubicBezTo>
                  <a:cubicBezTo>
                    <a:pt x="32745" y="-278"/>
                    <a:pt x="39651" y="2424"/>
                    <a:pt x="44454" y="7828"/>
                  </a:cubicBezTo>
                  <a:cubicBezTo>
                    <a:pt x="49858" y="12932"/>
                    <a:pt x="52560" y="20138"/>
                    <a:pt x="52560" y="27343"/>
                  </a:cubicBezTo>
                  <a:cubicBezTo>
                    <a:pt x="52260" y="34849"/>
                    <a:pt x="49558" y="41754"/>
                    <a:pt x="44454" y="46558"/>
                  </a:cubicBezTo>
                  <a:moveTo>
                    <a:pt x="39651" y="392719"/>
                  </a:moveTo>
                  <a:lnTo>
                    <a:pt x="12630" y="392719"/>
                  </a:lnTo>
                  <a:cubicBezTo>
                    <a:pt x="8427" y="392719"/>
                    <a:pt x="6926" y="390617"/>
                    <a:pt x="6926" y="386714"/>
                  </a:cubicBezTo>
                  <a:lnTo>
                    <a:pt x="6926" y="112307"/>
                  </a:lnTo>
                  <a:cubicBezTo>
                    <a:pt x="6926" y="108404"/>
                    <a:pt x="8427" y="106603"/>
                    <a:pt x="12630" y="106603"/>
                  </a:cubicBezTo>
                  <a:lnTo>
                    <a:pt x="39651" y="106603"/>
                  </a:lnTo>
                  <a:cubicBezTo>
                    <a:pt x="43553" y="106603"/>
                    <a:pt x="45655" y="108404"/>
                    <a:pt x="45655" y="112307"/>
                  </a:cubicBezTo>
                  <a:lnTo>
                    <a:pt x="45655" y="386414"/>
                  </a:lnTo>
                  <a:cubicBezTo>
                    <a:pt x="45955" y="389416"/>
                    <a:pt x="43854" y="392118"/>
                    <a:pt x="40852" y="392418"/>
                  </a:cubicBezTo>
                  <a:cubicBezTo>
                    <a:pt x="40551" y="392719"/>
                    <a:pt x="39951" y="392719"/>
                    <a:pt x="39651" y="392719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07" name="Forme libre : forme 206">
              <a:extLst>
                <a:ext uri="{FF2B5EF4-FFF2-40B4-BE49-F238E27FC236}">
                  <a16:creationId xmlns:a16="http://schemas.microsoft.com/office/drawing/2014/main" id="{BB992EE4-2318-4911-A533-A578440EECF0}"/>
                </a:ext>
              </a:extLst>
            </p:cNvPr>
            <p:cNvSpPr/>
            <p:nvPr/>
          </p:nvSpPr>
          <p:spPr>
            <a:xfrm>
              <a:off x="7927941" y="3999084"/>
              <a:ext cx="201152" cy="297224"/>
            </a:xfrm>
            <a:custGeom>
              <a:avLst/>
              <a:gdLst>
                <a:gd name="connsiteX0" fmla="*/ 197872 w 201151"/>
                <a:gd name="connsiteY0" fmla="*/ 166649 h 297224"/>
                <a:gd name="connsiteX1" fmla="*/ 46858 w 201151"/>
                <a:gd name="connsiteY1" fmla="*/ 166649 h 297224"/>
                <a:gd name="connsiteX2" fmla="*/ 40854 w 201151"/>
                <a:gd name="connsiteY2" fmla="*/ 171452 h 297224"/>
                <a:gd name="connsiteX3" fmla="*/ 40854 w 201151"/>
                <a:gd name="connsiteY3" fmla="*/ 172653 h 297224"/>
                <a:gd name="connsiteX4" fmla="*/ 40854 w 201151"/>
                <a:gd name="connsiteY4" fmla="*/ 189766 h 297224"/>
                <a:gd name="connsiteX5" fmla="*/ 60368 w 201151"/>
                <a:gd name="connsiteY5" fmla="*/ 236902 h 297224"/>
                <a:gd name="connsiteX6" fmla="*/ 107504 w 201151"/>
                <a:gd name="connsiteY6" fmla="*/ 256717 h 297224"/>
                <a:gd name="connsiteX7" fmla="*/ 170852 w 201151"/>
                <a:gd name="connsiteY7" fmla="*/ 236902 h 297224"/>
                <a:gd name="connsiteX8" fmla="*/ 177757 w 201151"/>
                <a:gd name="connsiteY8" fmla="*/ 236902 h 297224"/>
                <a:gd name="connsiteX9" fmla="*/ 178357 w 201151"/>
                <a:gd name="connsiteY9" fmla="*/ 237802 h 297224"/>
                <a:gd name="connsiteX10" fmla="*/ 194870 w 201151"/>
                <a:gd name="connsiteY10" fmla="*/ 261821 h 297224"/>
                <a:gd name="connsiteX11" fmla="*/ 194570 w 201151"/>
                <a:gd name="connsiteY11" fmla="*/ 269026 h 297224"/>
                <a:gd name="connsiteX12" fmla="*/ 193369 w 201151"/>
                <a:gd name="connsiteY12" fmla="*/ 269927 h 297224"/>
                <a:gd name="connsiteX13" fmla="*/ 107504 w 201151"/>
                <a:gd name="connsiteY13" fmla="*/ 297247 h 297224"/>
                <a:gd name="connsiteX14" fmla="*/ 31546 w 201151"/>
                <a:gd name="connsiteY14" fmla="*/ 265724 h 297224"/>
                <a:gd name="connsiteX15" fmla="*/ 23 w 201151"/>
                <a:gd name="connsiteY15" fmla="*/ 190066 h 297224"/>
                <a:gd name="connsiteX16" fmla="*/ 23 w 201151"/>
                <a:gd name="connsiteY16" fmla="*/ 101199 h 297224"/>
                <a:gd name="connsiteX17" fmla="*/ 101499 w 201151"/>
                <a:gd name="connsiteY17" fmla="*/ 23 h 297224"/>
                <a:gd name="connsiteX18" fmla="*/ 101499 w 201151"/>
                <a:gd name="connsiteY18" fmla="*/ 23 h 297224"/>
                <a:gd name="connsiteX19" fmla="*/ 173554 w 201151"/>
                <a:gd name="connsiteY19" fmla="*/ 29746 h 297224"/>
                <a:gd name="connsiteX20" fmla="*/ 202976 w 201151"/>
                <a:gd name="connsiteY20" fmla="*/ 101199 h 297224"/>
                <a:gd name="connsiteX21" fmla="*/ 202976 w 201151"/>
                <a:gd name="connsiteY21" fmla="*/ 160344 h 297224"/>
                <a:gd name="connsiteX22" fmla="*/ 197272 w 201151"/>
                <a:gd name="connsiteY22" fmla="*/ 166349 h 297224"/>
                <a:gd name="connsiteX23" fmla="*/ 162445 w 201151"/>
                <a:gd name="connsiteY23" fmla="*/ 101800 h 297224"/>
                <a:gd name="connsiteX24" fmla="*/ 144732 w 201151"/>
                <a:gd name="connsiteY24" fmla="*/ 58567 h 297224"/>
                <a:gd name="connsiteX25" fmla="*/ 101499 w 201151"/>
                <a:gd name="connsiteY25" fmla="*/ 40854 h 297224"/>
                <a:gd name="connsiteX26" fmla="*/ 58867 w 201151"/>
                <a:gd name="connsiteY26" fmla="*/ 58567 h 297224"/>
                <a:gd name="connsiteX27" fmla="*/ 40553 w 201151"/>
                <a:gd name="connsiteY27" fmla="*/ 101800 h 297224"/>
                <a:gd name="connsiteX28" fmla="*/ 40553 w 201151"/>
                <a:gd name="connsiteY28" fmla="*/ 120714 h 297224"/>
                <a:gd name="connsiteX29" fmla="*/ 45357 w 201151"/>
                <a:gd name="connsiteY29" fmla="*/ 126719 h 297224"/>
                <a:gd name="connsiteX30" fmla="*/ 46558 w 201151"/>
                <a:gd name="connsiteY30" fmla="*/ 126719 h 297224"/>
                <a:gd name="connsiteX31" fmla="*/ 157041 w 201151"/>
                <a:gd name="connsiteY31" fmla="*/ 126719 h 297224"/>
                <a:gd name="connsiteX32" fmla="*/ 162746 w 201151"/>
                <a:gd name="connsiteY32" fmla="*/ 120714 h 297224"/>
                <a:gd name="connsiteX33" fmla="*/ 162746 w 201151"/>
                <a:gd name="connsiteY33" fmla="*/ 101800 h 297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01151" h="297224">
                  <a:moveTo>
                    <a:pt x="197872" y="166649"/>
                  </a:moveTo>
                  <a:lnTo>
                    <a:pt x="46858" y="166649"/>
                  </a:lnTo>
                  <a:cubicBezTo>
                    <a:pt x="43856" y="166349"/>
                    <a:pt x="41154" y="168450"/>
                    <a:pt x="40854" y="171452"/>
                  </a:cubicBezTo>
                  <a:cubicBezTo>
                    <a:pt x="40854" y="171753"/>
                    <a:pt x="40854" y="172353"/>
                    <a:pt x="40854" y="172653"/>
                  </a:cubicBezTo>
                  <a:lnTo>
                    <a:pt x="40854" y="189766"/>
                  </a:lnTo>
                  <a:cubicBezTo>
                    <a:pt x="40553" y="207480"/>
                    <a:pt x="47459" y="224593"/>
                    <a:pt x="60368" y="236902"/>
                  </a:cubicBezTo>
                  <a:cubicBezTo>
                    <a:pt x="72677" y="249812"/>
                    <a:pt x="89790" y="257017"/>
                    <a:pt x="107504" y="256717"/>
                  </a:cubicBezTo>
                  <a:cubicBezTo>
                    <a:pt x="130021" y="257017"/>
                    <a:pt x="152238" y="249812"/>
                    <a:pt x="170852" y="236902"/>
                  </a:cubicBezTo>
                  <a:cubicBezTo>
                    <a:pt x="172953" y="235100"/>
                    <a:pt x="175956" y="235100"/>
                    <a:pt x="177757" y="236902"/>
                  </a:cubicBezTo>
                  <a:cubicBezTo>
                    <a:pt x="178057" y="237202"/>
                    <a:pt x="178357" y="237502"/>
                    <a:pt x="178357" y="237802"/>
                  </a:cubicBezTo>
                  <a:lnTo>
                    <a:pt x="194870" y="261821"/>
                  </a:lnTo>
                  <a:cubicBezTo>
                    <a:pt x="196671" y="263922"/>
                    <a:pt x="196671" y="267225"/>
                    <a:pt x="194570" y="269026"/>
                  </a:cubicBezTo>
                  <a:cubicBezTo>
                    <a:pt x="194269" y="269326"/>
                    <a:pt x="193669" y="269626"/>
                    <a:pt x="193369" y="269927"/>
                  </a:cubicBezTo>
                  <a:cubicBezTo>
                    <a:pt x="168450" y="288241"/>
                    <a:pt x="138427" y="297548"/>
                    <a:pt x="107504" y="297247"/>
                  </a:cubicBezTo>
                  <a:cubicBezTo>
                    <a:pt x="78682" y="297848"/>
                    <a:pt x="51061" y="286139"/>
                    <a:pt x="31546" y="265724"/>
                  </a:cubicBezTo>
                  <a:cubicBezTo>
                    <a:pt x="10831" y="245909"/>
                    <a:pt x="-578" y="218288"/>
                    <a:pt x="23" y="190066"/>
                  </a:cubicBezTo>
                  <a:lnTo>
                    <a:pt x="23" y="101199"/>
                  </a:lnTo>
                  <a:cubicBezTo>
                    <a:pt x="-278" y="45357"/>
                    <a:pt x="45357" y="323"/>
                    <a:pt x="101499" y="23"/>
                  </a:cubicBezTo>
                  <a:lnTo>
                    <a:pt x="101499" y="23"/>
                  </a:lnTo>
                  <a:cubicBezTo>
                    <a:pt x="128820" y="-577"/>
                    <a:pt x="154940" y="10531"/>
                    <a:pt x="173554" y="29746"/>
                  </a:cubicBezTo>
                  <a:cubicBezTo>
                    <a:pt x="193069" y="48360"/>
                    <a:pt x="203576" y="74179"/>
                    <a:pt x="202976" y="101199"/>
                  </a:cubicBezTo>
                  <a:lnTo>
                    <a:pt x="202976" y="160344"/>
                  </a:lnTo>
                  <a:cubicBezTo>
                    <a:pt x="202976" y="164247"/>
                    <a:pt x="201175" y="166349"/>
                    <a:pt x="197272" y="166349"/>
                  </a:cubicBezTo>
                  <a:moveTo>
                    <a:pt x="162445" y="101800"/>
                  </a:moveTo>
                  <a:cubicBezTo>
                    <a:pt x="162746" y="85588"/>
                    <a:pt x="156441" y="69976"/>
                    <a:pt x="144732" y="58567"/>
                  </a:cubicBezTo>
                  <a:cubicBezTo>
                    <a:pt x="133323" y="46858"/>
                    <a:pt x="117711" y="40554"/>
                    <a:pt x="101499" y="40854"/>
                  </a:cubicBezTo>
                  <a:cubicBezTo>
                    <a:pt x="85287" y="40554"/>
                    <a:pt x="69976" y="46858"/>
                    <a:pt x="58867" y="58567"/>
                  </a:cubicBezTo>
                  <a:cubicBezTo>
                    <a:pt x="46858" y="69976"/>
                    <a:pt x="40253" y="85588"/>
                    <a:pt x="40553" y="101800"/>
                  </a:cubicBezTo>
                  <a:lnTo>
                    <a:pt x="40553" y="120714"/>
                  </a:lnTo>
                  <a:cubicBezTo>
                    <a:pt x="40253" y="123716"/>
                    <a:pt x="42355" y="126418"/>
                    <a:pt x="45357" y="126719"/>
                  </a:cubicBezTo>
                  <a:cubicBezTo>
                    <a:pt x="45657" y="126719"/>
                    <a:pt x="46258" y="126719"/>
                    <a:pt x="46558" y="126719"/>
                  </a:cubicBezTo>
                  <a:lnTo>
                    <a:pt x="157041" y="126719"/>
                  </a:lnTo>
                  <a:cubicBezTo>
                    <a:pt x="160944" y="126719"/>
                    <a:pt x="162746" y="124617"/>
                    <a:pt x="162746" y="120714"/>
                  </a:cubicBezTo>
                  <a:lnTo>
                    <a:pt x="162746" y="101800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08" name="Forme libre : forme 207">
              <a:extLst>
                <a:ext uri="{FF2B5EF4-FFF2-40B4-BE49-F238E27FC236}">
                  <a16:creationId xmlns:a16="http://schemas.microsoft.com/office/drawing/2014/main" id="{E94D4579-F05D-43F4-A5DA-EFC27D932E05}"/>
                </a:ext>
              </a:extLst>
            </p:cNvPr>
            <p:cNvSpPr/>
            <p:nvPr/>
          </p:nvSpPr>
          <p:spPr>
            <a:xfrm>
              <a:off x="7334113" y="3998799"/>
              <a:ext cx="189143" cy="297224"/>
            </a:xfrm>
            <a:custGeom>
              <a:avLst/>
              <a:gdLst>
                <a:gd name="connsiteX0" fmla="*/ 18016 w 189142"/>
                <a:gd name="connsiteY0" fmla="*/ 238687 h 297224"/>
                <a:gd name="connsiteX1" fmla="*/ 102079 w 189142"/>
                <a:gd name="connsiteY1" fmla="*/ 260003 h 297224"/>
                <a:gd name="connsiteX2" fmla="*/ 135705 w 189142"/>
                <a:gd name="connsiteY2" fmla="*/ 245893 h 297224"/>
                <a:gd name="connsiteX3" fmla="*/ 149815 w 189142"/>
                <a:gd name="connsiteY3" fmla="*/ 212267 h 297224"/>
                <a:gd name="connsiteX4" fmla="*/ 140208 w 189142"/>
                <a:gd name="connsiteY4" fmla="*/ 185847 h 297224"/>
                <a:gd name="connsiteX5" fmla="*/ 116790 w 189142"/>
                <a:gd name="connsiteY5" fmla="*/ 169935 h 297224"/>
                <a:gd name="connsiteX6" fmla="*/ 57646 w 189142"/>
                <a:gd name="connsiteY6" fmla="*/ 153723 h 297224"/>
                <a:gd name="connsiteX7" fmla="*/ 2 w 189142"/>
                <a:gd name="connsiteY7" fmla="*/ 78967 h 297224"/>
                <a:gd name="connsiteX8" fmla="*/ 77761 w 189142"/>
                <a:gd name="connsiteY8" fmla="*/ 7 h 297224"/>
                <a:gd name="connsiteX9" fmla="*/ 79262 w 189142"/>
                <a:gd name="connsiteY9" fmla="*/ 7 h 297224"/>
                <a:gd name="connsiteX10" fmla="*/ 177136 w 189142"/>
                <a:gd name="connsiteY10" fmla="*/ 26427 h 297224"/>
                <a:gd name="connsiteX11" fmla="*/ 179538 w 189142"/>
                <a:gd name="connsiteY11" fmla="*/ 33633 h 297224"/>
                <a:gd name="connsiteX12" fmla="*/ 178637 w 189142"/>
                <a:gd name="connsiteY12" fmla="*/ 34834 h 297224"/>
                <a:gd name="connsiteX13" fmla="*/ 164226 w 189142"/>
                <a:gd name="connsiteY13" fmla="*/ 58852 h 297224"/>
                <a:gd name="connsiteX14" fmla="*/ 156420 w 189142"/>
                <a:gd name="connsiteY14" fmla="*/ 61554 h 297224"/>
                <a:gd name="connsiteX15" fmla="*/ 78361 w 189142"/>
                <a:gd name="connsiteY15" fmla="*/ 39637 h 297224"/>
                <a:gd name="connsiteX16" fmla="*/ 50740 w 189142"/>
                <a:gd name="connsiteY16" fmla="*/ 51046 h 297224"/>
                <a:gd name="connsiteX17" fmla="*/ 40232 w 189142"/>
                <a:gd name="connsiteY17" fmla="*/ 77466 h 297224"/>
                <a:gd name="connsiteX18" fmla="*/ 67553 w 189142"/>
                <a:gd name="connsiteY18" fmla="*/ 112892 h 297224"/>
                <a:gd name="connsiteX19" fmla="*/ 126398 w 189142"/>
                <a:gd name="connsiteY19" fmla="*/ 128504 h 297224"/>
                <a:gd name="connsiteX20" fmla="*/ 172933 w 189142"/>
                <a:gd name="connsiteY20" fmla="*/ 159427 h 297224"/>
                <a:gd name="connsiteX21" fmla="*/ 153418 w 189142"/>
                <a:gd name="connsiteY21" fmla="*/ 282821 h 297224"/>
                <a:gd name="connsiteX22" fmla="*/ 101779 w 189142"/>
                <a:gd name="connsiteY22" fmla="*/ 299633 h 297224"/>
                <a:gd name="connsiteX23" fmla="*/ 101779 w 189142"/>
                <a:gd name="connsiteY23" fmla="*/ 299633 h 297224"/>
                <a:gd name="connsiteX24" fmla="*/ 18016 w 189142"/>
                <a:gd name="connsiteY24" fmla="*/ 238687 h 297224"/>
                <a:gd name="connsiteX25" fmla="*/ 18016 w 189142"/>
                <a:gd name="connsiteY25" fmla="*/ 238687 h 297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9142" h="297224">
                  <a:moveTo>
                    <a:pt x="18016" y="238687"/>
                  </a:moveTo>
                  <a:cubicBezTo>
                    <a:pt x="43835" y="252498"/>
                    <a:pt x="72657" y="259703"/>
                    <a:pt x="102079" y="260003"/>
                  </a:cubicBezTo>
                  <a:cubicBezTo>
                    <a:pt x="114689" y="260304"/>
                    <a:pt x="126998" y="255200"/>
                    <a:pt x="135705" y="245893"/>
                  </a:cubicBezTo>
                  <a:cubicBezTo>
                    <a:pt x="144711" y="237186"/>
                    <a:pt x="149815" y="224877"/>
                    <a:pt x="149815" y="212267"/>
                  </a:cubicBezTo>
                  <a:cubicBezTo>
                    <a:pt x="149515" y="202660"/>
                    <a:pt x="146212" y="193353"/>
                    <a:pt x="140208" y="185847"/>
                  </a:cubicBezTo>
                  <a:cubicBezTo>
                    <a:pt x="134504" y="178042"/>
                    <a:pt x="126097" y="172637"/>
                    <a:pt x="116790" y="169935"/>
                  </a:cubicBezTo>
                  <a:lnTo>
                    <a:pt x="57646" y="153723"/>
                  </a:lnTo>
                  <a:cubicBezTo>
                    <a:pt x="23720" y="144716"/>
                    <a:pt x="2" y="114093"/>
                    <a:pt x="2" y="78967"/>
                  </a:cubicBezTo>
                  <a:cubicBezTo>
                    <a:pt x="-298" y="35734"/>
                    <a:pt x="34228" y="608"/>
                    <a:pt x="77761" y="7"/>
                  </a:cubicBezTo>
                  <a:cubicBezTo>
                    <a:pt x="78361" y="7"/>
                    <a:pt x="78962" y="7"/>
                    <a:pt x="79262" y="7"/>
                  </a:cubicBezTo>
                  <a:cubicBezTo>
                    <a:pt x="113788" y="-293"/>
                    <a:pt x="147413" y="8714"/>
                    <a:pt x="177136" y="26427"/>
                  </a:cubicBezTo>
                  <a:cubicBezTo>
                    <a:pt x="179838" y="27628"/>
                    <a:pt x="181039" y="30931"/>
                    <a:pt x="179538" y="33633"/>
                  </a:cubicBezTo>
                  <a:cubicBezTo>
                    <a:pt x="179237" y="33933"/>
                    <a:pt x="178937" y="34533"/>
                    <a:pt x="178637" y="34834"/>
                  </a:cubicBezTo>
                  <a:lnTo>
                    <a:pt x="164226" y="58852"/>
                  </a:lnTo>
                  <a:cubicBezTo>
                    <a:pt x="162124" y="62755"/>
                    <a:pt x="159122" y="63355"/>
                    <a:pt x="156420" y="61554"/>
                  </a:cubicBezTo>
                  <a:cubicBezTo>
                    <a:pt x="133002" y="47143"/>
                    <a:pt x="105982" y="39637"/>
                    <a:pt x="78361" y="39637"/>
                  </a:cubicBezTo>
                  <a:cubicBezTo>
                    <a:pt x="67853" y="39337"/>
                    <a:pt x="57946" y="43540"/>
                    <a:pt x="50740" y="51046"/>
                  </a:cubicBezTo>
                  <a:cubicBezTo>
                    <a:pt x="43835" y="57951"/>
                    <a:pt x="39932" y="67558"/>
                    <a:pt x="40232" y="77466"/>
                  </a:cubicBezTo>
                  <a:cubicBezTo>
                    <a:pt x="39031" y="94579"/>
                    <a:pt x="50740" y="109890"/>
                    <a:pt x="67553" y="112892"/>
                  </a:cubicBezTo>
                  <a:lnTo>
                    <a:pt x="126398" y="128504"/>
                  </a:lnTo>
                  <a:cubicBezTo>
                    <a:pt x="145011" y="133308"/>
                    <a:pt x="161524" y="144116"/>
                    <a:pt x="172933" y="159427"/>
                  </a:cubicBezTo>
                  <a:cubicBezTo>
                    <a:pt x="201754" y="198757"/>
                    <a:pt x="193048" y="253999"/>
                    <a:pt x="153418" y="282821"/>
                  </a:cubicBezTo>
                  <a:cubicBezTo>
                    <a:pt x="138407" y="293629"/>
                    <a:pt x="120393" y="299633"/>
                    <a:pt x="101779" y="299633"/>
                  </a:cubicBezTo>
                  <a:lnTo>
                    <a:pt x="101779" y="299633"/>
                  </a:lnTo>
                  <a:lnTo>
                    <a:pt x="18016" y="238687"/>
                  </a:lnTo>
                  <a:lnTo>
                    <a:pt x="18016" y="238687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09" name="Forme libre : forme 208">
              <a:extLst>
                <a:ext uri="{FF2B5EF4-FFF2-40B4-BE49-F238E27FC236}">
                  <a16:creationId xmlns:a16="http://schemas.microsoft.com/office/drawing/2014/main" id="{42A87569-3468-487F-B04D-E409BD79854C}"/>
                </a:ext>
              </a:extLst>
            </p:cNvPr>
            <p:cNvSpPr/>
            <p:nvPr/>
          </p:nvSpPr>
          <p:spPr>
            <a:xfrm>
              <a:off x="7700091" y="3921920"/>
              <a:ext cx="180136" cy="219165"/>
            </a:xfrm>
            <a:custGeom>
              <a:avLst/>
              <a:gdLst>
                <a:gd name="connsiteX0" fmla="*/ 44133 w 180136"/>
                <a:gd name="connsiteY0" fmla="*/ 219494 h 219165"/>
                <a:gd name="connsiteX1" fmla="*/ 44133 w 180136"/>
                <a:gd name="connsiteY1" fmla="*/ 132128 h 219165"/>
                <a:gd name="connsiteX2" fmla="*/ 38129 w 180136"/>
                <a:gd name="connsiteY2" fmla="*/ 126424 h 219165"/>
                <a:gd name="connsiteX3" fmla="*/ 6005 w 180136"/>
                <a:gd name="connsiteY3" fmla="*/ 126424 h 219165"/>
                <a:gd name="connsiteX4" fmla="*/ 0 w 180136"/>
                <a:gd name="connsiteY4" fmla="*/ 120419 h 219165"/>
                <a:gd name="connsiteX5" fmla="*/ 0 w 180136"/>
                <a:gd name="connsiteY5" fmla="*/ 91598 h 219165"/>
                <a:gd name="connsiteX6" fmla="*/ 6005 w 180136"/>
                <a:gd name="connsiteY6" fmla="*/ 86193 h 219165"/>
                <a:gd name="connsiteX7" fmla="*/ 37829 w 180136"/>
                <a:gd name="connsiteY7" fmla="*/ 86193 h 219165"/>
                <a:gd name="connsiteX8" fmla="*/ 43833 w 180136"/>
                <a:gd name="connsiteY8" fmla="*/ 81390 h 219165"/>
                <a:gd name="connsiteX9" fmla="*/ 43833 w 180136"/>
                <a:gd name="connsiteY9" fmla="*/ 80189 h 219165"/>
                <a:gd name="connsiteX10" fmla="*/ 43833 w 180136"/>
                <a:gd name="connsiteY10" fmla="*/ 6033 h 219165"/>
                <a:gd name="connsiteX11" fmla="*/ 48937 w 180136"/>
                <a:gd name="connsiteY11" fmla="*/ 28 h 219165"/>
                <a:gd name="connsiteX12" fmla="*/ 50138 w 180136"/>
                <a:gd name="connsiteY12" fmla="*/ 28 h 219165"/>
                <a:gd name="connsiteX13" fmla="*/ 78059 w 180136"/>
                <a:gd name="connsiteY13" fmla="*/ 28 h 219165"/>
                <a:gd name="connsiteX14" fmla="*/ 84064 w 180136"/>
                <a:gd name="connsiteY14" fmla="*/ 5132 h 219165"/>
                <a:gd name="connsiteX15" fmla="*/ 84064 w 180136"/>
                <a:gd name="connsiteY15" fmla="*/ 6333 h 219165"/>
                <a:gd name="connsiteX16" fmla="*/ 84064 w 180136"/>
                <a:gd name="connsiteY16" fmla="*/ 80189 h 219165"/>
                <a:gd name="connsiteX17" fmla="*/ 89167 w 180136"/>
                <a:gd name="connsiteY17" fmla="*/ 86193 h 219165"/>
                <a:gd name="connsiteX18" fmla="*/ 90368 w 180136"/>
                <a:gd name="connsiteY18" fmla="*/ 86193 h 219165"/>
                <a:gd name="connsiteX19" fmla="*/ 174732 w 180136"/>
                <a:gd name="connsiteY19" fmla="*/ 86193 h 219165"/>
                <a:gd name="connsiteX20" fmla="*/ 180737 w 180136"/>
                <a:gd name="connsiteY20" fmla="*/ 91598 h 219165"/>
                <a:gd name="connsiteX21" fmla="*/ 180737 w 180136"/>
                <a:gd name="connsiteY21" fmla="*/ 120419 h 219165"/>
                <a:gd name="connsiteX22" fmla="*/ 174732 w 180136"/>
                <a:gd name="connsiteY22" fmla="*/ 126424 h 219165"/>
                <a:gd name="connsiteX23" fmla="*/ 90068 w 180136"/>
                <a:gd name="connsiteY23" fmla="*/ 126424 h 219165"/>
                <a:gd name="connsiteX24" fmla="*/ 84064 w 180136"/>
                <a:gd name="connsiteY24" fmla="*/ 132128 h 219165"/>
                <a:gd name="connsiteX25" fmla="*/ 84064 w 180136"/>
                <a:gd name="connsiteY25" fmla="*/ 198778 h 219165"/>
                <a:gd name="connsiteX26" fmla="*/ 44133 w 180136"/>
                <a:gd name="connsiteY26" fmla="*/ 219494 h 219165"/>
                <a:gd name="connsiteX27" fmla="*/ 44133 w 180136"/>
                <a:gd name="connsiteY27" fmla="*/ 219494 h 219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80136" h="219165">
                  <a:moveTo>
                    <a:pt x="44133" y="219494"/>
                  </a:moveTo>
                  <a:lnTo>
                    <a:pt x="44133" y="132128"/>
                  </a:lnTo>
                  <a:cubicBezTo>
                    <a:pt x="44133" y="128225"/>
                    <a:pt x="42032" y="126424"/>
                    <a:pt x="38129" y="126424"/>
                  </a:cubicBezTo>
                  <a:lnTo>
                    <a:pt x="6005" y="126424"/>
                  </a:lnTo>
                  <a:cubicBezTo>
                    <a:pt x="1501" y="126424"/>
                    <a:pt x="0" y="124322"/>
                    <a:pt x="0" y="120419"/>
                  </a:cubicBezTo>
                  <a:lnTo>
                    <a:pt x="0" y="91598"/>
                  </a:lnTo>
                  <a:cubicBezTo>
                    <a:pt x="0" y="87695"/>
                    <a:pt x="1501" y="86193"/>
                    <a:pt x="6005" y="86193"/>
                  </a:cubicBezTo>
                  <a:lnTo>
                    <a:pt x="37829" y="86193"/>
                  </a:lnTo>
                  <a:cubicBezTo>
                    <a:pt x="40831" y="86494"/>
                    <a:pt x="43533" y="84392"/>
                    <a:pt x="43833" y="81390"/>
                  </a:cubicBezTo>
                  <a:cubicBezTo>
                    <a:pt x="43833" y="81090"/>
                    <a:pt x="43833" y="80489"/>
                    <a:pt x="43833" y="80189"/>
                  </a:cubicBezTo>
                  <a:lnTo>
                    <a:pt x="43833" y="6033"/>
                  </a:lnTo>
                  <a:cubicBezTo>
                    <a:pt x="43533" y="3031"/>
                    <a:pt x="45935" y="329"/>
                    <a:pt x="48937" y="28"/>
                  </a:cubicBezTo>
                  <a:cubicBezTo>
                    <a:pt x="49237" y="28"/>
                    <a:pt x="49537" y="28"/>
                    <a:pt x="50138" y="28"/>
                  </a:cubicBezTo>
                  <a:lnTo>
                    <a:pt x="78059" y="28"/>
                  </a:lnTo>
                  <a:cubicBezTo>
                    <a:pt x="81061" y="-272"/>
                    <a:pt x="83763" y="1830"/>
                    <a:pt x="84064" y="5132"/>
                  </a:cubicBezTo>
                  <a:cubicBezTo>
                    <a:pt x="84064" y="5433"/>
                    <a:pt x="84064" y="5733"/>
                    <a:pt x="84064" y="6333"/>
                  </a:cubicBezTo>
                  <a:lnTo>
                    <a:pt x="84064" y="80189"/>
                  </a:lnTo>
                  <a:cubicBezTo>
                    <a:pt x="83763" y="83191"/>
                    <a:pt x="86165" y="85893"/>
                    <a:pt x="89167" y="86193"/>
                  </a:cubicBezTo>
                  <a:cubicBezTo>
                    <a:pt x="89468" y="86193"/>
                    <a:pt x="89768" y="86193"/>
                    <a:pt x="90368" y="86193"/>
                  </a:cubicBezTo>
                  <a:lnTo>
                    <a:pt x="174732" y="86193"/>
                  </a:lnTo>
                  <a:cubicBezTo>
                    <a:pt x="179235" y="86193"/>
                    <a:pt x="180737" y="87695"/>
                    <a:pt x="180737" y="91598"/>
                  </a:cubicBezTo>
                  <a:lnTo>
                    <a:pt x="180737" y="120419"/>
                  </a:lnTo>
                  <a:cubicBezTo>
                    <a:pt x="180737" y="124322"/>
                    <a:pt x="179235" y="126424"/>
                    <a:pt x="174732" y="126424"/>
                  </a:cubicBezTo>
                  <a:lnTo>
                    <a:pt x="90068" y="126424"/>
                  </a:lnTo>
                  <a:cubicBezTo>
                    <a:pt x="86165" y="126424"/>
                    <a:pt x="84064" y="128225"/>
                    <a:pt x="84064" y="132128"/>
                  </a:cubicBezTo>
                  <a:lnTo>
                    <a:pt x="84064" y="198778"/>
                  </a:lnTo>
                  <a:lnTo>
                    <a:pt x="44133" y="219494"/>
                  </a:lnTo>
                  <a:lnTo>
                    <a:pt x="44133" y="219494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10" name="Forme libre : forme 209">
              <a:extLst>
                <a:ext uri="{FF2B5EF4-FFF2-40B4-BE49-F238E27FC236}">
                  <a16:creationId xmlns:a16="http://schemas.microsoft.com/office/drawing/2014/main" id="{8A480203-3BAE-4FB3-AFEF-BBBDA1B8A5D3}"/>
                </a:ext>
              </a:extLst>
            </p:cNvPr>
            <p:cNvSpPr/>
            <p:nvPr/>
          </p:nvSpPr>
          <p:spPr>
            <a:xfrm>
              <a:off x="6709034" y="4369579"/>
              <a:ext cx="183138" cy="288217"/>
            </a:xfrm>
            <a:custGeom>
              <a:avLst/>
              <a:gdLst>
                <a:gd name="connsiteX0" fmla="*/ 156127 w 183138"/>
                <a:gd name="connsiteY0" fmla="*/ 130306 h 288217"/>
                <a:gd name="connsiteX1" fmla="*/ 172039 w 183138"/>
                <a:gd name="connsiteY1" fmla="*/ 79568 h 288217"/>
                <a:gd name="connsiteX2" fmla="*/ 149221 w 183138"/>
                <a:gd name="connsiteY2" fmla="*/ 23425 h 288217"/>
                <a:gd name="connsiteX3" fmla="*/ 93980 w 183138"/>
                <a:gd name="connsiteY3" fmla="*/ 8 h 288217"/>
                <a:gd name="connsiteX4" fmla="*/ 17722 w 183138"/>
                <a:gd name="connsiteY4" fmla="*/ 8 h 288217"/>
                <a:gd name="connsiteX5" fmla="*/ 9 w 183138"/>
                <a:gd name="connsiteY5" fmla="*/ 17721 h 288217"/>
                <a:gd name="connsiteX6" fmla="*/ 9 w 183138"/>
                <a:gd name="connsiteY6" fmla="*/ 19222 h 288217"/>
                <a:gd name="connsiteX7" fmla="*/ 9 w 183138"/>
                <a:gd name="connsiteY7" fmla="*/ 271713 h 288217"/>
                <a:gd name="connsiteX8" fmla="*/ 16821 w 183138"/>
                <a:gd name="connsiteY8" fmla="*/ 290327 h 288217"/>
                <a:gd name="connsiteX9" fmla="*/ 18022 w 183138"/>
                <a:gd name="connsiteY9" fmla="*/ 290327 h 288217"/>
                <a:gd name="connsiteX10" fmla="*/ 103587 w 183138"/>
                <a:gd name="connsiteY10" fmla="*/ 290327 h 288217"/>
                <a:gd name="connsiteX11" fmla="*/ 160930 w 183138"/>
                <a:gd name="connsiteY11" fmla="*/ 266008 h 288217"/>
                <a:gd name="connsiteX12" fmla="*/ 185249 w 183138"/>
                <a:gd name="connsiteY12" fmla="*/ 207164 h 288217"/>
                <a:gd name="connsiteX13" fmla="*/ 185249 w 183138"/>
                <a:gd name="connsiteY13" fmla="*/ 195455 h 288217"/>
                <a:gd name="connsiteX14" fmla="*/ 172339 w 183138"/>
                <a:gd name="connsiteY14" fmla="*/ 148920 h 288217"/>
                <a:gd name="connsiteX15" fmla="*/ 157027 w 183138"/>
                <a:gd name="connsiteY15" fmla="*/ 130006 h 288217"/>
                <a:gd name="connsiteX16" fmla="*/ 111093 w 183138"/>
                <a:gd name="connsiteY16" fmla="*/ 100283 h 288217"/>
                <a:gd name="connsiteX17" fmla="*/ 90977 w 183138"/>
                <a:gd name="connsiteY17" fmla="*/ 107789 h 288217"/>
                <a:gd name="connsiteX18" fmla="*/ 53749 w 183138"/>
                <a:gd name="connsiteY18" fmla="*/ 107789 h 288217"/>
                <a:gd name="connsiteX19" fmla="*/ 53749 w 183138"/>
                <a:gd name="connsiteY19" fmla="*/ 55249 h 288217"/>
                <a:gd name="connsiteX20" fmla="*/ 93980 w 183138"/>
                <a:gd name="connsiteY20" fmla="*/ 55249 h 288217"/>
                <a:gd name="connsiteX21" fmla="*/ 110792 w 183138"/>
                <a:gd name="connsiteY21" fmla="*/ 61854 h 288217"/>
                <a:gd name="connsiteX22" fmla="*/ 117698 w 183138"/>
                <a:gd name="connsiteY22" fmla="*/ 78967 h 288217"/>
                <a:gd name="connsiteX23" fmla="*/ 110192 w 183138"/>
                <a:gd name="connsiteY23" fmla="*/ 99683 h 288217"/>
                <a:gd name="connsiteX24" fmla="*/ 53749 w 183138"/>
                <a:gd name="connsiteY24" fmla="*/ 163931 h 288217"/>
                <a:gd name="connsiteX25" fmla="*/ 99384 w 183138"/>
                <a:gd name="connsiteY25" fmla="*/ 163931 h 288217"/>
                <a:gd name="connsiteX26" fmla="*/ 121000 w 183138"/>
                <a:gd name="connsiteY26" fmla="*/ 173238 h 288217"/>
                <a:gd name="connsiteX27" fmla="*/ 130307 w 183138"/>
                <a:gd name="connsiteY27" fmla="*/ 195755 h 288217"/>
                <a:gd name="connsiteX28" fmla="*/ 130307 w 183138"/>
                <a:gd name="connsiteY28" fmla="*/ 206864 h 288217"/>
                <a:gd name="connsiteX29" fmla="*/ 122201 w 183138"/>
                <a:gd name="connsiteY29" fmla="*/ 226078 h 288217"/>
                <a:gd name="connsiteX30" fmla="*/ 102986 w 183138"/>
                <a:gd name="connsiteY30" fmla="*/ 234485 h 288217"/>
                <a:gd name="connsiteX31" fmla="*/ 53749 w 183138"/>
                <a:gd name="connsiteY31" fmla="*/ 234485 h 288217"/>
                <a:gd name="connsiteX32" fmla="*/ 53749 w 183138"/>
                <a:gd name="connsiteY32" fmla="*/ 163931 h 288217"/>
                <a:gd name="connsiteX33" fmla="*/ 53749 w 183138"/>
                <a:gd name="connsiteY33" fmla="*/ 163931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83138" h="288217">
                  <a:moveTo>
                    <a:pt x="156127" y="130306"/>
                  </a:moveTo>
                  <a:cubicBezTo>
                    <a:pt x="166935" y="115595"/>
                    <a:pt x="172639" y="97882"/>
                    <a:pt x="172039" y="79568"/>
                  </a:cubicBezTo>
                  <a:cubicBezTo>
                    <a:pt x="172339" y="58552"/>
                    <a:pt x="163933" y="38137"/>
                    <a:pt x="149221" y="23425"/>
                  </a:cubicBezTo>
                  <a:cubicBezTo>
                    <a:pt x="134811" y="8114"/>
                    <a:pt x="114996" y="-292"/>
                    <a:pt x="93980" y="8"/>
                  </a:cubicBezTo>
                  <a:lnTo>
                    <a:pt x="17722" y="8"/>
                  </a:lnTo>
                  <a:cubicBezTo>
                    <a:pt x="8115" y="8"/>
                    <a:pt x="309" y="7814"/>
                    <a:pt x="9" y="17721"/>
                  </a:cubicBezTo>
                  <a:cubicBezTo>
                    <a:pt x="9" y="18322"/>
                    <a:pt x="9" y="18922"/>
                    <a:pt x="9" y="19222"/>
                  </a:cubicBezTo>
                  <a:lnTo>
                    <a:pt x="9" y="271713"/>
                  </a:lnTo>
                  <a:cubicBezTo>
                    <a:pt x="-292" y="281620"/>
                    <a:pt x="7214" y="290027"/>
                    <a:pt x="16821" y="290327"/>
                  </a:cubicBezTo>
                  <a:cubicBezTo>
                    <a:pt x="17122" y="290327"/>
                    <a:pt x="17722" y="290327"/>
                    <a:pt x="18022" y="290327"/>
                  </a:cubicBezTo>
                  <a:lnTo>
                    <a:pt x="103587" y="290327"/>
                  </a:lnTo>
                  <a:cubicBezTo>
                    <a:pt x="125203" y="290627"/>
                    <a:pt x="145919" y="281920"/>
                    <a:pt x="160930" y="266008"/>
                  </a:cubicBezTo>
                  <a:cubicBezTo>
                    <a:pt x="176542" y="250697"/>
                    <a:pt x="185249" y="229381"/>
                    <a:pt x="185249" y="207164"/>
                  </a:cubicBezTo>
                  <a:lnTo>
                    <a:pt x="185249" y="195455"/>
                  </a:lnTo>
                  <a:cubicBezTo>
                    <a:pt x="185249" y="178943"/>
                    <a:pt x="180745" y="163031"/>
                    <a:pt x="172339" y="148920"/>
                  </a:cubicBezTo>
                  <a:cubicBezTo>
                    <a:pt x="168136" y="142015"/>
                    <a:pt x="163032" y="135410"/>
                    <a:pt x="157027" y="130006"/>
                  </a:cubicBezTo>
                  <a:moveTo>
                    <a:pt x="111093" y="100283"/>
                  </a:moveTo>
                  <a:cubicBezTo>
                    <a:pt x="105688" y="105687"/>
                    <a:pt x="98483" y="108389"/>
                    <a:pt x="90977" y="107789"/>
                  </a:cubicBezTo>
                  <a:lnTo>
                    <a:pt x="53749" y="107789"/>
                  </a:lnTo>
                  <a:lnTo>
                    <a:pt x="53749" y="55249"/>
                  </a:lnTo>
                  <a:lnTo>
                    <a:pt x="93980" y="55249"/>
                  </a:lnTo>
                  <a:cubicBezTo>
                    <a:pt x="100284" y="54949"/>
                    <a:pt x="106289" y="57351"/>
                    <a:pt x="110792" y="61854"/>
                  </a:cubicBezTo>
                  <a:cubicBezTo>
                    <a:pt x="115596" y="66358"/>
                    <a:pt x="117998" y="72663"/>
                    <a:pt x="117698" y="78967"/>
                  </a:cubicBezTo>
                  <a:cubicBezTo>
                    <a:pt x="117998" y="86773"/>
                    <a:pt x="115296" y="94279"/>
                    <a:pt x="110192" y="99683"/>
                  </a:cubicBezTo>
                  <a:moveTo>
                    <a:pt x="53749" y="163931"/>
                  </a:moveTo>
                  <a:lnTo>
                    <a:pt x="99384" y="163931"/>
                  </a:lnTo>
                  <a:cubicBezTo>
                    <a:pt x="107490" y="163931"/>
                    <a:pt x="115596" y="167234"/>
                    <a:pt x="121000" y="173238"/>
                  </a:cubicBezTo>
                  <a:cubicBezTo>
                    <a:pt x="127005" y="179243"/>
                    <a:pt x="130607" y="187349"/>
                    <a:pt x="130307" y="195755"/>
                  </a:cubicBezTo>
                  <a:lnTo>
                    <a:pt x="130307" y="206864"/>
                  </a:lnTo>
                  <a:cubicBezTo>
                    <a:pt x="130307" y="214069"/>
                    <a:pt x="127305" y="221275"/>
                    <a:pt x="122201" y="226078"/>
                  </a:cubicBezTo>
                  <a:cubicBezTo>
                    <a:pt x="117097" y="231482"/>
                    <a:pt x="110192" y="234485"/>
                    <a:pt x="102986" y="234485"/>
                  </a:cubicBezTo>
                  <a:lnTo>
                    <a:pt x="53749" y="234485"/>
                  </a:lnTo>
                  <a:lnTo>
                    <a:pt x="53749" y="163931"/>
                  </a:lnTo>
                  <a:lnTo>
                    <a:pt x="53749" y="163931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11" name="Forme libre : forme 210">
              <a:extLst>
                <a:ext uri="{FF2B5EF4-FFF2-40B4-BE49-F238E27FC236}">
                  <a16:creationId xmlns:a16="http://schemas.microsoft.com/office/drawing/2014/main" id="{2802A1C5-F8B8-472F-BA61-4CA64A6C5347}"/>
                </a:ext>
              </a:extLst>
            </p:cNvPr>
            <p:cNvSpPr/>
            <p:nvPr/>
          </p:nvSpPr>
          <p:spPr>
            <a:xfrm>
              <a:off x="6940511" y="4365677"/>
              <a:ext cx="189143" cy="297224"/>
            </a:xfrm>
            <a:custGeom>
              <a:avLst/>
              <a:gdLst>
                <a:gd name="connsiteX0" fmla="*/ 95479 w 189142"/>
                <a:gd name="connsiteY0" fmla="*/ 6 h 297224"/>
                <a:gd name="connsiteX1" fmla="*/ 27928 w 189142"/>
                <a:gd name="connsiteY1" fmla="*/ 28828 h 297224"/>
                <a:gd name="connsiteX2" fmla="*/ 7 w 189142"/>
                <a:gd name="connsiteY2" fmla="*/ 97880 h 297224"/>
                <a:gd name="connsiteX3" fmla="*/ 7 w 189142"/>
                <a:gd name="connsiteY3" fmla="*/ 200858 h 297224"/>
                <a:gd name="connsiteX4" fmla="*/ 27928 w 189142"/>
                <a:gd name="connsiteY4" fmla="*/ 269910 h 297224"/>
                <a:gd name="connsiteX5" fmla="*/ 162429 w 189142"/>
                <a:gd name="connsiteY5" fmla="*/ 270811 h 297224"/>
                <a:gd name="connsiteX6" fmla="*/ 163330 w 189142"/>
                <a:gd name="connsiteY6" fmla="*/ 269910 h 297224"/>
                <a:gd name="connsiteX7" fmla="*/ 191551 w 189142"/>
                <a:gd name="connsiteY7" fmla="*/ 200858 h 297224"/>
                <a:gd name="connsiteX8" fmla="*/ 191551 w 189142"/>
                <a:gd name="connsiteY8" fmla="*/ 97880 h 297224"/>
                <a:gd name="connsiteX9" fmla="*/ 163330 w 189142"/>
                <a:gd name="connsiteY9" fmla="*/ 28828 h 297224"/>
                <a:gd name="connsiteX10" fmla="*/ 95479 w 189142"/>
                <a:gd name="connsiteY10" fmla="*/ 6 h 297224"/>
                <a:gd name="connsiteX11" fmla="*/ 54348 w 189142"/>
                <a:gd name="connsiteY11" fmla="*/ 97880 h 297224"/>
                <a:gd name="connsiteX12" fmla="*/ 67257 w 189142"/>
                <a:gd name="connsiteY12" fmla="*/ 67858 h 297224"/>
                <a:gd name="connsiteX13" fmla="*/ 125501 w 189142"/>
                <a:gd name="connsiteY13" fmla="*/ 67858 h 297224"/>
                <a:gd name="connsiteX14" fmla="*/ 138411 w 189142"/>
                <a:gd name="connsiteY14" fmla="*/ 97880 h 297224"/>
                <a:gd name="connsiteX15" fmla="*/ 138411 w 189142"/>
                <a:gd name="connsiteY15" fmla="*/ 200858 h 297224"/>
                <a:gd name="connsiteX16" fmla="*/ 125501 w 189142"/>
                <a:gd name="connsiteY16" fmla="*/ 230580 h 297224"/>
                <a:gd name="connsiteX17" fmla="*/ 68458 w 189142"/>
                <a:gd name="connsiteY17" fmla="*/ 232081 h 297224"/>
                <a:gd name="connsiteX18" fmla="*/ 67257 w 189142"/>
                <a:gd name="connsiteY18" fmla="*/ 230580 h 297224"/>
                <a:gd name="connsiteX19" fmla="*/ 54948 w 189142"/>
                <a:gd name="connsiteY19" fmla="*/ 200858 h 297224"/>
                <a:gd name="connsiteX20" fmla="*/ 54348 w 189142"/>
                <a:gd name="connsiteY20" fmla="*/ 97880 h 297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9142" h="297224">
                  <a:moveTo>
                    <a:pt x="95479" y="6"/>
                  </a:moveTo>
                  <a:cubicBezTo>
                    <a:pt x="69959" y="-294"/>
                    <a:pt x="45641" y="9914"/>
                    <a:pt x="27928" y="28828"/>
                  </a:cubicBezTo>
                  <a:cubicBezTo>
                    <a:pt x="9614" y="47142"/>
                    <a:pt x="-294" y="72061"/>
                    <a:pt x="7" y="97880"/>
                  </a:cubicBezTo>
                  <a:lnTo>
                    <a:pt x="7" y="200858"/>
                  </a:lnTo>
                  <a:cubicBezTo>
                    <a:pt x="-294" y="226677"/>
                    <a:pt x="9914" y="251896"/>
                    <a:pt x="27928" y="269910"/>
                  </a:cubicBezTo>
                  <a:cubicBezTo>
                    <a:pt x="64856" y="307738"/>
                    <a:pt x="124901" y="308039"/>
                    <a:pt x="162429" y="270811"/>
                  </a:cubicBezTo>
                  <a:cubicBezTo>
                    <a:pt x="162730" y="270510"/>
                    <a:pt x="163030" y="270210"/>
                    <a:pt x="163330" y="269910"/>
                  </a:cubicBezTo>
                  <a:cubicBezTo>
                    <a:pt x="181644" y="251596"/>
                    <a:pt x="191852" y="226677"/>
                    <a:pt x="191551" y="200858"/>
                  </a:cubicBezTo>
                  <a:lnTo>
                    <a:pt x="191551" y="97880"/>
                  </a:lnTo>
                  <a:cubicBezTo>
                    <a:pt x="191852" y="71761"/>
                    <a:pt x="181644" y="46842"/>
                    <a:pt x="163330" y="28828"/>
                  </a:cubicBezTo>
                  <a:cubicBezTo>
                    <a:pt x="145617" y="9914"/>
                    <a:pt x="120998" y="-294"/>
                    <a:pt x="95479" y="6"/>
                  </a:cubicBezTo>
                  <a:moveTo>
                    <a:pt x="54348" y="97880"/>
                  </a:moveTo>
                  <a:cubicBezTo>
                    <a:pt x="54348" y="86472"/>
                    <a:pt x="58851" y="75363"/>
                    <a:pt x="67257" y="67858"/>
                  </a:cubicBezTo>
                  <a:cubicBezTo>
                    <a:pt x="83470" y="51645"/>
                    <a:pt x="109289" y="51645"/>
                    <a:pt x="125501" y="67858"/>
                  </a:cubicBezTo>
                  <a:cubicBezTo>
                    <a:pt x="133908" y="75663"/>
                    <a:pt x="138411" y="86472"/>
                    <a:pt x="138411" y="97880"/>
                  </a:cubicBezTo>
                  <a:lnTo>
                    <a:pt x="138411" y="200858"/>
                  </a:lnTo>
                  <a:cubicBezTo>
                    <a:pt x="138711" y="212267"/>
                    <a:pt x="133908" y="223075"/>
                    <a:pt x="125501" y="230580"/>
                  </a:cubicBezTo>
                  <a:cubicBezTo>
                    <a:pt x="110190" y="246793"/>
                    <a:pt x="84671" y="247393"/>
                    <a:pt x="68458" y="232081"/>
                  </a:cubicBezTo>
                  <a:cubicBezTo>
                    <a:pt x="67858" y="231781"/>
                    <a:pt x="67558" y="231181"/>
                    <a:pt x="67257" y="230580"/>
                  </a:cubicBezTo>
                  <a:cubicBezTo>
                    <a:pt x="59151" y="222774"/>
                    <a:pt x="54948" y="212267"/>
                    <a:pt x="54948" y="200858"/>
                  </a:cubicBezTo>
                  <a:lnTo>
                    <a:pt x="54348" y="97880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12" name="Forme libre : forme 211">
              <a:extLst>
                <a:ext uri="{FF2B5EF4-FFF2-40B4-BE49-F238E27FC236}">
                  <a16:creationId xmlns:a16="http://schemas.microsoft.com/office/drawing/2014/main" id="{352CA0BD-A178-47B9-AE2F-C156F1943F08}"/>
                </a:ext>
              </a:extLst>
            </p:cNvPr>
            <p:cNvSpPr/>
            <p:nvPr/>
          </p:nvSpPr>
          <p:spPr>
            <a:xfrm>
              <a:off x="7438285" y="4369280"/>
              <a:ext cx="183138" cy="288217"/>
            </a:xfrm>
            <a:custGeom>
              <a:avLst/>
              <a:gdLst>
                <a:gd name="connsiteX0" fmla="*/ 81070 w 183138"/>
                <a:gd name="connsiteY0" fmla="*/ 306 h 288217"/>
                <a:gd name="connsiteX1" fmla="*/ 18923 w 183138"/>
                <a:gd name="connsiteY1" fmla="*/ 306 h 288217"/>
                <a:gd name="connsiteX2" fmla="*/ 8 w 183138"/>
                <a:gd name="connsiteY2" fmla="*/ 16819 h 288217"/>
                <a:gd name="connsiteX3" fmla="*/ 8 w 183138"/>
                <a:gd name="connsiteY3" fmla="*/ 19521 h 288217"/>
                <a:gd name="connsiteX4" fmla="*/ 8 w 183138"/>
                <a:gd name="connsiteY4" fmla="*/ 272011 h 288217"/>
                <a:gd name="connsiteX5" fmla="*/ 17421 w 183138"/>
                <a:gd name="connsiteY5" fmla="*/ 290625 h 288217"/>
                <a:gd name="connsiteX6" fmla="*/ 18622 w 183138"/>
                <a:gd name="connsiteY6" fmla="*/ 290625 h 288217"/>
                <a:gd name="connsiteX7" fmla="*/ 90377 w 183138"/>
                <a:gd name="connsiteY7" fmla="*/ 290625 h 288217"/>
                <a:gd name="connsiteX8" fmla="*/ 157627 w 183138"/>
                <a:gd name="connsiteY8" fmla="*/ 262704 h 288217"/>
                <a:gd name="connsiteX9" fmla="*/ 185248 w 183138"/>
                <a:gd name="connsiteY9" fmla="*/ 194553 h 288217"/>
                <a:gd name="connsiteX10" fmla="*/ 185248 w 183138"/>
                <a:gd name="connsiteY10" fmla="*/ 104485 h 288217"/>
                <a:gd name="connsiteX11" fmla="*/ 154625 w 183138"/>
                <a:gd name="connsiteY11" fmla="*/ 30629 h 288217"/>
                <a:gd name="connsiteX12" fmla="*/ 80769 w 183138"/>
                <a:gd name="connsiteY12" fmla="*/ 6 h 288217"/>
                <a:gd name="connsiteX13" fmla="*/ 89776 w 183138"/>
                <a:gd name="connsiteY13" fmla="*/ 234483 h 288217"/>
                <a:gd name="connsiteX14" fmla="*/ 54950 w 183138"/>
                <a:gd name="connsiteY14" fmla="*/ 234483 h 288217"/>
                <a:gd name="connsiteX15" fmla="*/ 54950 w 183138"/>
                <a:gd name="connsiteY15" fmla="*/ 55848 h 288217"/>
                <a:gd name="connsiteX16" fmla="*/ 80469 w 183138"/>
                <a:gd name="connsiteY16" fmla="*/ 55848 h 288217"/>
                <a:gd name="connsiteX17" fmla="*/ 114995 w 183138"/>
                <a:gd name="connsiteY17" fmla="*/ 70259 h 288217"/>
                <a:gd name="connsiteX18" fmla="*/ 129706 w 183138"/>
                <a:gd name="connsiteY18" fmla="*/ 104485 h 288217"/>
                <a:gd name="connsiteX19" fmla="*/ 129706 w 183138"/>
                <a:gd name="connsiteY19" fmla="*/ 194553 h 288217"/>
                <a:gd name="connsiteX20" fmla="*/ 90076 w 183138"/>
                <a:gd name="connsiteY20" fmla="*/ 233882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3138" h="288217">
                  <a:moveTo>
                    <a:pt x="81070" y="306"/>
                  </a:moveTo>
                  <a:lnTo>
                    <a:pt x="18923" y="306"/>
                  </a:lnTo>
                  <a:cubicBezTo>
                    <a:pt x="9015" y="-294"/>
                    <a:pt x="609" y="7211"/>
                    <a:pt x="8" y="16819"/>
                  </a:cubicBezTo>
                  <a:cubicBezTo>
                    <a:pt x="8" y="17719"/>
                    <a:pt x="8" y="18620"/>
                    <a:pt x="8" y="19521"/>
                  </a:cubicBezTo>
                  <a:lnTo>
                    <a:pt x="8" y="272011"/>
                  </a:lnTo>
                  <a:cubicBezTo>
                    <a:pt x="-292" y="281919"/>
                    <a:pt x="7514" y="290325"/>
                    <a:pt x="17421" y="290625"/>
                  </a:cubicBezTo>
                  <a:cubicBezTo>
                    <a:pt x="17722" y="290625"/>
                    <a:pt x="18322" y="290625"/>
                    <a:pt x="18622" y="290625"/>
                  </a:cubicBezTo>
                  <a:lnTo>
                    <a:pt x="90377" y="290625"/>
                  </a:lnTo>
                  <a:cubicBezTo>
                    <a:pt x="115596" y="290925"/>
                    <a:pt x="139914" y="280718"/>
                    <a:pt x="157627" y="262704"/>
                  </a:cubicBezTo>
                  <a:cubicBezTo>
                    <a:pt x="175941" y="244690"/>
                    <a:pt x="185849" y="220072"/>
                    <a:pt x="185248" y="194553"/>
                  </a:cubicBezTo>
                  <a:lnTo>
                    <a:pt x="185248" y="104485"/>
                  </a:lnTo>
                  <a:cubicBezTo>
                    <a:pt x="185549" y="76864"/>
                    <a:pt x="174440" y="50144"/>
                    <a:pt x="154625" y="30629"/>
                  </a:cubicBezTo>
                  <a:cubicBezTo>
                    <a:pt x="135411" y="10814"/>
                    <a:pt x="108691" y="-294"/>
                    <a:pt x="80769" y="6"/>
                  </a:cubicBezTo>
                  <a:moveTo>
                    <a:pt x="89776" y="234483"/>
                  </a:moveTo>
                  <a:lnTo>
                    <a:pt x="54950" y="234483"/>
                  </a:lnTo>
                  <a:lnTo>
                    <a:pt x="54950" y="55848"/>
                  </a:lnTo>
                  <a:lnTo>
                    <a:pt x="80469" y="55848"/>
                  </a:lnTo>
                  <a:cubicBezTo>
                    <a:pt x="93379" y="55548"/>
                    <a:pt x="105988" y="60952"/>
                    <a:pt x="114995" y="70259"/>
                  </a:cubicBezTo>
                  <a:cubicBezTo>
                    <a:pt x="124603" y="79266"/>
                    <a:pt x="129706" y="91575"/>
                    <a:pt x="129706" y="104485"/>
                  </a:cubicBezTo>
                  <a:lnTo>
                    <a:pt x="129706" y="194553"/>
                  </a:lnTo>
                  <a:cubicBezTo>
                    <a:pt x="129406" y="216169"/>
                    <a:pt x="111693" y="233582"/>
                    <a:pt x="90076" y="233882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13" name="Forme libre : forme 212">
              <a:extLst>
                <a:ext uri="{FF2B5EF4-FFF2-40B4-BE49-F238E27FC236}">
                  <a16:creationId xmlns:a16="http://schemas.microsoft.com/office/drawing/2014/main" id="{DEED5057-310C-4699-BC49-F273FA789151}"/>
                </a:ext>
              </a:extLst>
            </p:cNvPr>
            <p:cNvSpPr/>
            <p:nvPr/>
          </p:nvSpPr>
          <p:spPr>
            <a:xfrm>
              <a:off x="7680868" y="4369878"/>
              <a:ext cx="159120" cy="288217"/>
            </a:xfrm>
            <a:custGeom>
              <a:avLst/>
              <a:gdLst>
                <a:gd name="connsiteX0" fmla="*/ 143517 w 159120"/>
                <a:gd name="connsiteY0" fmla="*/ 233584 h 288217"/>
                <a:gd name="connsiteX1" fmla="*/ 53449 w 159120"/>
                <a:gd name="connsiteY1" fmla="*/ 233584 h 288217"/>
                <a:gd name="connsiteX2" fmla="*/ 53449 w 159120"/>
                <a:gd name="connsiteY2" fmla="*/ 163331 h 288217"/>
                <a:gd name="connsiteX3" fmla="*/ 127905 w 159120"/>
                <a:gd name="connsiteY3" fmla="*/ 163331 h 288217"/>
                <a:gd name="connsiteX4" fmla="*/ 145619 w 159120"/>
                <a:gd name="connsiteY4" fmla="*/ 145318 h 288217"/>
                <a:gd name="connsiteX5" fmla="*/ 145619 w 159120"/>
                <a:gd name="connsiteY5" fmla="*/ 144417 h 288217"/>
                <a:gd name="connsiteX6" fmla="*/ 145619 w 159120"/>
                <a:gd name="connsiteY6" fmla="*/ 125503 h 288217"/>
                <a:gd name="connsiteX7" fmla="*/ 129707 w 159120"/>
                <a:gd name="connsiteY7" fmla="*/ 106889 h 288217"/>
                <a:gd name="connsiteX8" fmla="*/ 127905 w 159120"/>
                <a:gd name="connsiteY8" fmla="*/ 106889 h 288217"/>
                <a:gd name="connsiteX9" fmla="*/ 53449 w 159120"/>
                <a:gd name="connsiteY9" fmla="*/ 106889 h 288217"/>
                <a:gd name="connsiteX10" fmla="*/ 53449 w 159120"/>
                <a:gd name="connsiteY10" fmla="*/ 54349 h 288217"/>
                <a:gd name="connsiteX11" fmla="*/ 140515 w 159120"/>
                <a:gd name="connsiteY11" fmla="*/ 54349 h 288217"/>
                <a:gd name="connsiteX12" fmla="*/ 158528 w 159120"/>
                <a:gd name="connsiteY12" fmla="*/ 36636 h 288217"/>
                <a:gd name="connsiteX13" fmla="*/ 158528 w 159120"/>
                <a:gd name="connsiteY13" fmla="*/ 35735 h 288217"/>
                <a:gd name="connsiteX14" fmla="*/ 158528 w 159120"/>
                <a:gd name="connsiteY14" fmla="*/ 18622 h 288217"/>
                <a:gd name="connsiteX15" fmla="*/ 141716 w 159120"/>
                <a:gd name="connsiteY15" fmla="*/ 8 h 288217"/>
                <a:gd name="connsiteX16" fmla="*/ 140515 w 159120"/>
                <a:gd name="connsiteY16" fmla="*/ 8 h 288217"/>
                <a:gd name="connsiteX17" fmla="*/ 17722 w 159120"/>
                <a:gd name="connsiteY17" fmla="*/ 8 h 288217"/>
                <a:gd name="connsiteX18" fmla="*/ 9 w 159120"/>
                <a:gd name="connsiteY18" fmla="*/ 17421 h 288217"/>
                <a:gd name="connsiteX19" fmla="*/ 9 w 159120"/>
                <a:gd name="connsiteY19" fmla="*/ 18622 h 288217"/>
                <a:gd name="connsiteX20" fmla="*/ 9 w 159120"/>
                <a:gd name="connsiteY20" fmla="*/ 271113 h 288217"/>
                <a:gd name="connsiteX21" fmla="*/ 16822 w 159120"/>
                <a:gd name="connsiteY21" fmla="*/ 289727 h 288217"/>
                <a:gd name="connsiteX22" fmla="*/ 18022 w 159120"/>
                <a:gd name="connsiteY22" fmla="*/ 289727 h 288217"/>
                <a:gd name="connsiteX23" fmla="*/ 143217 w 159120"/>
                <a:gd name="connsiteY23" fmla="*/ 289727 h 288217"/>
                <a:gd name="connsiteX24" fmla="*/ 161231 w 159120"/>
                <a:gd name="connsiteY24" fmla="*/ 272313 h 288217"/>
                <a:gd name="connsiteX25" fmla="*/ 161231 w 159120"/>
                <a:gd name="connsiteY25" fmla="*/ 271113 h 288217"/>
                <a:gd name="connsiteX26" fmla="*/ 161231 w 159120"/>
                <a:gd name="connsiteY26" fmla="*/ 252799 h 288217"/>
                <a:gd name="connsiteX27" fmla="*/ 144418 w 159120"/>
                <a:gd name="connsiteY27" fmla="*/ 234185 h 288217"/>
                <a:gd name="connsiteX28" fmla="*/ 143217 w 159120"/>
                <a:gd name="connsiteY28" fmla="*/ 234185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9120" h="288217">
                  <a:moveTo>
                    <a:pt x="143517" y="233584"/>
                  </a:moveTo>
                  <a:lnTo>
                    <a:pt x="53449" y="233584"/>
                  </a:lnTo>
                  <a:lnTo>
                    <a:pt x="53449" y="163331"/>
                  </a:lnTo>
                  <a:lnTo>
                    <a:pt x="127905" y="163331"/>
                  </a:lnTo>
                  <a:cubicBezTo>
                    <a:pt x="137513" y="163331"/>
                    <a:pt x="145619" y="155525"/>
                    <a:pt x="145619" y="145318"/>
                  </a:cubicBezTo>
                  <a:cubicBezTo>
                    <a:pt x="145619" y="145017"/>
                    <a:pt x="145619" y="144717"/>
                    <a:pt x="145619" y="144417"/>
                  </a:cubicBezTo>
                  <a:lnTo>
                    <a:pt x="145619" y="125503"/>
                  </a:lnTo>
                  <a:cubicBezTo>
                    <a:pt x="146219" y="115895"/>
                    <a:pt x="139014" y="107489"/>
                    <a:pt x="129707" y="106889"/>
                  </a:cubicBezTo>
                  <a:cubicBezTo>
                    <a:pt x="129106" y="106889"/>
                    <a:pt x="128506" y="106889"/>
                    <a:pt x="127905" y="106889"/>
                  </a:cubicBezTo>
                  <a:lnTo>
                    <a:pt x="53449" y="106889"/>
                  </a:lnTo>
                  <a:lnTo>
                    <a:pt x="53449" y="54349"/>
                  </a:lnTo>
                  <a:lnTo>
                    <a:pt x="140515" y="54349"/>
                  </a:lnTo>
                  <a:cubicBezTo>
                    <a:pt x="150422" y="54649"/>
                    <a:pt x="158528" y="46543"/>
                    <a:pt x="158528" y="36636"/>
                  </a:cubicBezTo>
                  <a:cubicBezTo>
                    <a:pt x="158528" y="36335"/>
                    <a:pt x="158528" y="36035"/>
                    <a:pt x="158528" y="35735"/>
                  </a:cubicBezTo>
                  <a:lnTo>
                    <a:pt x="158528" y="18622"/>
                  </a:lnTo>
                  <a:cubicBezTo>
                    <a:pt x="158829" y="8715"/>
                    <a:pt x="151323" y="308"/>
                    <a:pt x="141716" y="8"/>
                  </a:cubicBezTo>
                  <a:cubicBezTo>
                    <a:pt x="141416" y="8"/>
                    <a:pt x="140815" y="8"/>
                    <a:pt x="140515" y="8"/>
                  </a:cubicBezTo>
                  <a:lnTo>
                    <a:pt x="17722" y="8"/>
                  </a:lnTo>
                  <a:cubicBezTo>
                    <a:pt x="8115" y="-292"/>
                    <a:pt x="309" y="7814"/>
                    <a:pt x="9" y="17421"/>
                  </a:cubicBezTo>
                  <a:cubicBezTo>
                    <a:pt x="9" y="17721"/>
                    <a:pt x="9" y="18322"/>
                    <a:pt x="9" y="18622"/>
                  </a:cubicBezTo>
                  <a:lnTo>
                    <a:pt x="9" y="271113"/>
                  </a:lnTo>
                  <a:cubicBezTo>
                    <a:pt x="-291" y="281020"/>
                    <a:pt x="7214" y="289426"/>
                    <a:pt x="16822" y="289727"/>
                  </a:cubicBezTo>
                  <a:cubicBezTo>
                    <a:pt x="17122" y="289727"/>
                    <a:pt x="17722" y="289727"/>
                    <a:pt x="18022" y="289727"/>
                  </a:cubicBezTo>
                  <a:lnTo>
                    <a:pt x="143217" y="289727"/>
                  </a:lnTo>
                  <a:cubicBezTo>
                    <a:pt x="152824" y="290027"/>
                    <a:pt x="160930" y="282221"/>
                    <a:pt x="161231" y="272313"/>
                  </a:cubicBezTo>
                  <a:cubicBezTo>
                    <a:pt x="161231" y="272013"/>
                    <a:pt x="161231" y="271413"/>
                    <a:pt x="161231" y="271113"/>
                  </a:cubicBezTo>
                  <a:lnTo>
                    <a:pt x="161231" y="252799"/>
                  </a:lnTo>
                  <a:cubicBezTo>
                    <a:pt x="161531" y="242891"/>
                    <a:pt x="154025" y="234485"/>
                    <a:pt x="144418" y="234185"/>
                  </a:cubicBezTo>
                  <a:cubicBezTo>
                    <a:pt x="144118" y="234185"/>
                    <a:pt x="143517" y="234185"/>
                    <a:pt x="143217" y="234185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14" name="Forme libre : forme 213">
              <a:extLst>
                <a:ext uri="{FF2B5EF4-FFF2-40B4-BE49-F238E27FC236}">
                  <a16:creationId xmlns:a16="http://schemas.microsoft.com/office/drawing/2014/main" id="{9512A7EE-B270-4EAC-A2BB-03EECA786568}"/>
                </a:ext>
              </a:extLst>
            </p:cNvPr>
            <p:cNvSpPr/>
            <p:nvPr/>
          </p:nvSpPr>
          <p:spPr>
            <a:xfrm>
              <a:off x="7885323" y="4369575"/>
              <a:ext cx="219166" cy="288217"/>
            </a:xfrm>
            <a:custGeom>
              <a:avLst/>
              <a:gdLst>
                <a:gd name="connsiteX0" fmla="*/ 144418 w 219165"/>
                <a:gd name="connsiteY0" fmla="*/ 13221 h 288217"/>
                <a:gd name="connsiteX1" fmla="*/ 127305 w 219165"/>
                <a:gd name="connsiteY1" fmla="*/ 11 h 288217"/>
                <a:gd name="connsiteX2" fmla="*/ 94280 w 219165"/>
                <a:gd name="connsiteY2" fmla="*/ 11 h 288217"/>
                <a:gd name="connsiteX3" fmla="*/ 76867 w 219165"/>
                <a:gd name="connsiteY3" fmla="*/ 13221 h 288217"/>
                <a:gd name="connsiteX4" fmla="*/ 1510 w 219165"/>
                <a:gd name="connsiteY4" fmla="*/ 264211 h 288217"/>
                <a:gd name="connsiteX5" fmla="*/ 9 w 219165"/>
                <a:gd name="connsiteY5" fmla="*/ 271716 h 288217"/>
                <a:gd name="connsiteX6" fmla="*/ 17121 w 219165"/>
                <a:gd name="connsiteY6" fmla="*/ 290330 h 288217"/>
                <a:gd name="connsiteX7" fmla="*/ 18322 w 219165"/>
                <a:gd name="connsiteY7" fmla="*/ 290330 h 288217"/>
                <a:gd name="connsiteX8" fmla="*/ 36636 w 219165"/>
                <a:gd name="connsiteY8" fmla="*/ 290330 h 288217"/>
                <a:gd name="connsiteX9" fmla="*/ 54050 w 219165"/>
                <a:gd name="connsiteY9" fmla="*/ 277120 h 288217"/>
                <a:gd name="connsiteX10" fmla="*/ 76266 w 219165"/>
                <a:gd name="connsiteY10" fmla="*/ 203565 h 288217"/>
                <a:gd name="connsiteX11" fmla="*/ 144118 w 219165"/>
                <a:gd name="connsiteY11" fmla="*/ 203565 h 288217"/>
                <a:gd name="connsiteX12" fmla="*/ 166635 w 219165"/>
                <a:gd name="connsiteY12" fmla="*/ 277721 h 288217"/>
                <a:gd name="connsiteX13" fmla="*/ 166635 w 219165"/>
                <a:gd name="connsiteY13" fmla="*/ 278922 h 288217"/>
                <a:gd name="connsiteX14" fmla="*/ 183747 w 219165"/>
                <a:gd name="connsiteY14" fmla="*/ 290630 h 288217"/>
                <a:gd name="connsiteX15" fmla="*/ 202361 w 219165"/>
                <a:gd name="connsiteY15" fmla="*/ 290630 h 288217"/>
                <a:gd name="connsiteX16" fmla="*/ 220675 w 219165"/>
                <a:gd name="connsiteY16" fmla="*/ 272617 h 288217"/>
                <a:gd name="connsiteX17" fmla="*/ 220675 w 219165"/>
                <a:gd name="connsiteY17" fmla="*/ 272016 h 288217"/>
                <a:gd name="connsiteX18" fmla="*/ 219474 w 219165"/>
                <a:gd name="connsiteY18" fmla="*/ 265111 h 288217"/>
                <a:gd name="connsiteX19" fmla="*/ 144418 w 219165"/>
                <a:gd name="connsiteY19" fmla="*/ 13221 h 288217"/>
                <a:gd name="connsiteX20" fmla="*/ 131208 w 219165"/>
                <a:gd name="connsiteY20" fmla="*/ 147723 h 288217"/>
                <a:gd name="connsiteX21" fmla="*/ 90677 w 219165"/>
                <a:gd name="connsiteY21" fmla="*/ 147723 h 288217"/>
                <a:gd name="connsiteX22" fmla="*/ 110792 w 219165"/>
                <a:gd name="connsiteY22" fmla="*/ 78370 h 288217"/>
                <a:gd name="connsiteX23" fmla="*/ 131208 w 219165"/>
                <a:gd name="connsiteY23" fmla="*/ 147723 h 288217"/>
                <a:gd name="connsiteX24" fmla="*/ 131208 w 219165"/>
                <a:gd name="connsiteY24" fmla="*/ 147723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19165" h="288217">
                  <a:moveTo>
                    <a:pt x="144418" y="13221"/>
                  </a:moveTo>
                  <a:cubicBezTo>
                    <a:pt x="142316" y="5415"/>
                    <a:pt x="135111" y="11"/>
                    <a:pt x="127305" y="11"/>
                  </a:cubicBezTo>
                  <a:lnTo>
                    <a:pt x="94280" y="11"/>
                  </a:lnTo>
                  <a:cubicBezTo>
                    <a:pt x="86174" y="-289"/>
                    <a:pt x="78968" y="5415"/>
                    <a:pt x="76867" y="13221"/>
                  </a:cubicBezTo>
                  <a:lnTo>
                    <a:pt x="1510" y="264211"/>
                  </a:lnTo>
                  <a:cubicBezTo>
                    <a:pt x="309" y="266612"/>
                    <a:pt x="9" y="269014"/>
                    <a:pt x="9" y="271716"/>
                  </a:cubicBezTo>
                  <a:cubicBezTo>
                    <a:pt x="-292" y="281624"/>
                    <a:pt x="7214" y="290030"/>
                    <a:pt x="17121" y="290330"/>
                  </a:cubicBezTo>
                  <a:cubicBezTo>
                    <a:pt x="17422" y="290330"/>
                    <a:pt x="18022" y="290330"/>
                    <a:pt x="18322" y="290330"/>
                  </a:cubicBezTo>
                  <a:lnTo>
                    <a:pt x="36636" y="290330"/>
                  </a:lnTo>
                  <a:cubicBezTo>
                    <a:pt x="44742" y="290630"/>
                    <a:pt x="51948" y="285226"/>
                    <a:pt x="54050" y="277120"/>
                  </a:cubicBezTo>
                  <a:lnTo>
                    <a:pt x="76266" y="203565"/>
                  </a:lnTo>
                  <a:lnTo>
                    <a:pt x="144118" y="203565"/>
                  </a:lnTo>
                  <a:lnTo>
                    <a:pt x="166635" y="277721"/>
                  </a:lnTo>
                  <a:lnTo>
                    <a:pt x="166635" y="278922"/>
                  </a:lnTo>
                  <a:cubicBezTo>
                    <a:pt x="169337" y="286127"/>
                    <a:pt x="176242" y="290931"/>
                    <a:pt x="183747" y="290630"/>
                  </a:cubicBezTo>
                  <a:lnTo>
                    <a:pt x="202361" y="290630"/>
                  </a:lnTo>
                  <a:cubicBezTo>
                    <a:pt x="212269" y="290630"/>
                    <a:pt x="220375" y="282825"/>
                    <a:pt x="220675" y="272617"/>
                  </a:cubicBezTo>
                  <a:cubicBezTo>
                    <a:pt x="220675" y="272317"/>
                    <a:pt x="220675" y="272317"/>
                    <a:pt x="220675" y="272016"/>
                  </a:cubicBezTo>
                  <a:cubicBezTo>
                    <a:pt x="220675" y="269615"/>
                    <a:pt x="220375" y="267213"/>
                    <a:pt x="219474" y="265111"/>
                  </a:cubicBezTo>
                  <a:lnTo>
                    <a:pt x="144418" y="13221"/>
                  </a:lnTo>
                  <a:close/>
                  <a:moveTo>
                    <a:pt x="131208" y="147723"/>
                  </a:moveTo>
                  <a:lnTo>
                    <a:pt x="90677" y="147723"/>
                  </a:lnTo>
                  <a:lnTo>
                    <a:pt x="110792" y="78370"/>
                  </a:lnTo>
                  <a:lnTo>
                    <a:pt x="131208" y="147723"/>
                  </a:lnTo>
                  <a:lnTo>
                    <a:pt x="131208" y="147723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15" name="Forme libre : forme 214">
              <a:extLst>
                <a:ext uri="{FF2B5EF4-FFF2-40B4-BE49-F238E27FC236}">
                  <a16:creationId xmlns:a16="http://schemas.microsoft.com/office/drawing/2014/main" id="{C8657F07-6965-4D50-B54E-9456798336BC}"/>
                </a:ext>
              </a:extLst>
            </p:cNvPr>
            <p:cNvSpPr/>
            <p:nvPr/>
          </p:nvSpPr>
          <p:spPr>
            <a:xfrm>
              <a:off x="8147703" y="4369554"/>
              <a:ext cx="180136" cy="294222"/>
            </a:xfrm>
            <a:custGeom>
              <a:avLst/>
              <a:gdLst>
                <a:gd name="connsiteX0" fmla="*/ 161849 w 180136"/>
                <a:gd name="connsiteY0" fmla="*/ 32 h 294221"/>
                <a:gd name="connsiteX1" fmla="*/ 143835 w 180136"/>
                <a:gd name="connsiteY1" fmla="*/ 32 h 294221"/>
                <a:gd name="connsiteX2" fmla="*/ 125221 w 180136"/>
                <a:gd name="connsiteY2" fmla="*/ 17145 h 294221"/>
                <a:gd name="connsiteX3" fmla="*/ 125221 w 180136"/>
                <a:gd name="connsiteY3" fmla="*/ 19247 h 294221"/>
                <a:gd name="connsiteX4" fmla="*/ 125221 w 180136"/>
                <a:gd name="connsiteY4" fmla="*/ 203286 h 294221"/>
                <a:gd name="connsiteX5" fmla="*/ 115013 w 180136"/>
                <a:gd name="connsiteY5" fmla="*/ 228805 h 294221"/>
                <a:gd name="connsiteX6" fmla="*/ 64575 w 180136"/>
                <a:gd name="connsiteY6" fmla="*/ 227904 h 294221"/>
                <a:gd name="connsiteX7" fmla="*/ 54668 w 180136"/>
                <a:gd name="connsiteY7" fmla="*/ 203286 h 294221"/>
                <a:gd name="connsiteX8" fmla="*/ 54668 w 180136"/>
                <a:gd name="connsiteY8" fmla="*/ 19247 h 294221"/>
                <a:gd name="connsiteX9" fmla="*/ 38155 w 180136"/>
                <a:gd name="connsiteY9" fmla="*/ 633 h 294221"/>
                <a:gd name="connsiteX10" fmla="*/ 36354 w 180136"/>
                <a:gd name="connsiteY10" fmla="*/ 633 h 294221"/>
                <a:gd name="connsiteX11" fmla="*/ 18341 w 180136"/>
                <a:gd name="connsiteY11" fmla="*/ 633 h 294221"/>
                <a:gd name="connsiteX12" fmla="*/ 27 w 180136"/>
                <a:gd name="connsiteY12" fmla="*/ 18046 h 294221"/>
                <a:gd name="connsiteX13" fmla="*/ 27 w 180136"/>
                <a:gd name="connsiteY13" fmla="*/ 19247 h 294221"/>
                <a:gd name="connsiteX14" fmla="*/ 27 w 180136"/>
                <a:gd name="connsiteY14" fmla="*/ 203286 h 294221"/>
                <a:gd name="connsiteX15" fmla="*/ 26146 w 180136"/>
                <a:gd name="connsiteY15" fmla="*/ 268135 h 294221"/>
                <a:gd name="connsiteX16" fmla="*/ 153443 w 180136"/>
                <a:gd name="connsiteY16" fmla="*/ 268735 h 294221"/>
                <a:gd name="connsiteX17" fmla="*/ 154043 w 180136"/>
                <a:gd name="connsiteY17" fmla="*/ 268135 h 294221"/>
                <a:gd name="connsiteX18" fmla="*/ 180163 w 180136"/>
                <a:gd name="connsiteY18" fmla="*/ 203286 h 294221"/>
                <a:gd name="connsiteX19" fmla="*/ 180163 w 180136"/>
                <a:gd name="connsiteY19" fmla="*/ 18947 h 294221"/>
                <a:gd name="connsiteX20" fmla="*/ 163350 w 180136"/>
                <a:gd name="connsiteY20" fmla="*/ 333 h 294221"/>
                <a:gd name="connsiteX21" fmla="*/ 161549 w 180136"/>
                <a:gd name="connsiteY21" fmla="*/ 333 h 294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80136" h="294221">
                  <a:moveTo>
                    <a:pt x="161849" y="32"/>
                  </a:moveTo>
                  <a:lnTo>
                    <a:pt x="143835" y="32"/>
                  </a:lnTo>
                  <a:cubicBezTo>
                    <a:pt x="133928" y="-568"/>
                    <a:pt x="125521" y="7238"/>
                    <a:pt x="125221" y="17145"/>
                  </a:cubicBezTo>
                  <a:cubicBezTo>
                    <a:pt x="125221" y="17746"/>
                    <a:pt x="125221" y="18646"/>
                    <a:pt x="125221" y="19247"/>
                  </a:cubicBezTo>
                  <a:lnTo>
                    <a:pt x="125221" y="203286"/>
                  </a:lnTo>
                  <a:cubicBezTo>
                    <a:pt x="125521" y="212893"/>
                    <a:pt x="121919" y="222200"/>
                    <a:pt x="115013" y="228805"/>
                  </a:cubicBezTo>
                  <a:cubicBezTo>
                    <a:pt x="100903" y="242615"/>
                    <a:pt x="78086" y="242315"/>
                    <a:pt x="64575" y="227904"/>
                  </a:cubicBezTo>
                  <a:cubicBezTo>
                    <a:pt x="58271" y="221299"/>
                    <a:pt x="54668" y="212593"/>
                    <a:pt x="54668" y="203286"/>
                  </a:cubicBezTo>
                  <a:lnTo>
                    <a:pt x="54668" y="19247"/>
                  </a:lnTo>
                  <a:cubicBezTo>
                    <a:pt x="55268" y="9640"/>
                    <a:pt x="48063" y="1233"/>
                    <a:pt x="38155" y="633"/>
                  </a:cubicBezTo>
                  <a:cubicBezTo>
                    <a:pt x="37555" y="633"/>
                    <a:pt x="36954" y="633"/>
                    <a:pt x="36354" y="633"/>
                  </a:cubicBezTo>
                  <a:lnTo>
                    <a:pt x="18341" y="633"/>
                  </a:lnTo>
                  <a:cubicBezTo>
                    <a:pt x="8433" y="333"/>
                    <a:pt x="327" y="8139"/>
                    <a:pt x="27" y="18046"/>
                  </a:cubicBezTo>
                  <a:cubicBezTo>
                    <a:pt x="27" y="18346"/>
                    <a:pt x="27" y="18947"/>
                    <a:pt x="27" y="19247"/>
                  </a:cubicBezTo>
                  <a:lnTo>
                    <a:pt x="27" y="203286"/>
                  </a:lnTo>
                  <a:cubicBezTo>
                    <a:pt x="-574" y="227604"/>
                    <a:pt x="9033" y="251022"/>
                    <a:pt x="26146" y="268135"/>
                  </a:cubicBezTo>
                  <a:cubicBezTo>
                    <a:pt x="60973" y="303862"/>
                    <a:pt x="118016" y="304162"/>
                    <a:pt x="153443" y="268735"/>
                  </a:cubicBezTo>
                  <a:cubicBezTo>
                    <a:pt x="153743" y="268435"/>
                    <a:pt x="154043" y="268135"/>
                    <a:pt x="154043" y="268135"/>
                  </a:cubicBezTo>
                  <a:cubicBezTo>
                    <a:pt x="171156" y="251022"/>
                    <a:pt x="180463" y="227604"/>
                    <a:pt x="180163" y="203286"/>
                  </a:cubicBezTo>
                  <a:lnTo>
                    <a:pt x="180163" y="18947"/>
                  </a:lnTo>
                  <a:cubicBezTo>
                    <a:pt x="180763" y="9039"/>
                    <a:pt x="173257" y="933"/>
                    <a:pt x="163350" y="333"/>
                  </a:cubicBezTo>
                  <a:cubicBezTo>
                    <a:pt x="162750" y="333"/>
                    <a:pt x="162149" y="333"/>
                    <a:pt x="161549" y="333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16" name="Forme libre : forme 215">
              <a:extLst>
                <a:ext uri="{FF2B5EF4-FFF2-40B4-BE49-F238E27FC236}">
                  <a16:creationId xmlns:a16="http://schemas.microsoft.com/office/drawing/2014/main" id="{60216A88-A3CF-47E8-9E0D-9C03722A156E}"/>
                </a:ext>
              </a:extLst>
            </p:cNvPr>
            <p:cNvSpPr/>
            <p:nvPr/>
          </p:nvSpPr>
          <p:spPr>
            <a:xfrm>
              <a:off x="8374774" y="4369858"/>
              <a:ext cx="189143" cy="285215"/>
            </a:xfrm>
            <a:custGeom>
              <a:avLst/>
              <a:gdLst>
                <a:gd name="connsiteX0" fmla="*/ 124821 w 189142"/>
                <a:gd name="connsiteY0" fmla="*/ 143236 h 285215"/>
                <a:gd name="connsiteX1" fmla="*/ 187869 w 189142"/>
                <a:gd name="connsiteY1" fmla="*/ 25848 h 285215"/>
                <a:gd name="connsiteX2" fmla="*/ 189070 w 189142"/>
                <a:gd name="connsiteY2" fmla="*/ 22545 h 285215"/>
                <a:gd name="connsiteX3" fmla="*/ 185767 w 189142"/>
                <a:gd name="connsiteY3" fmla="*/ 6633 h 285215"/>
                <a:gd name="connsiteX4" fmla="*/ 171657 w 189142"/>
                <a:gd name="connsiteY4" fmla="*/ 28 h 285215"/>
                <a:gd name="connsiteX5" fmla="*/ 153343 w 189142"/>
                <a:gd name="connsiteY5" fmla="*/ 28 h 285215"/>
                <a:gd name="connsiteX6" fmla="*/ 137131 w 189142"/>
                <a:gd name="connsiteY6" fmla="*/ 10536 h 285215"/>
                <a:gd name="connsiteX7" fmla="*/ 94799 w 189142"/>
                <a:gd name="connsiteY7" fmla="*/ 88895 h 285215"/>
                <a:gd name="connsiteX8" fmla="*/ 52767 w 189142"/>
                <a:gd name="connsiteY8" fmla="*/ 11137 h 285215"/>
                <a:gd name="connsiteX9" fmla="*/ 36254 w 189142"/>
                <a:gd name="connsiteY9" fmla="*/ 28 h 285215"/>
                <a:gd name="connsiteX10" fmla="*/ 18241 w 189142"/>
                <a:gd name="connsiteY10" fmla="*/ 28 h 285215"/>
                <a:gd name="connsiteX11" fmla="*/ 3830 w 189142"/>
                <a:gd name="connsiteY11" fmla="*/ 6033 h 285215"/>
                <a:gd name="connsiteX12" fmla="*/ 828 w 189142"/>
                <a:gd name="connsiteY12" fmla="*/ 22545 h 285215"/>
                <a:gd name="connsiteX13" fmla="*/ 2028 w 189142"/>
                <a:gd name="connsiteY13" fmla="*/ 25848 h 285215"/>
                <a:gd name="connsiteX14" fmla="*/ 65076 w 189142"/>
                <a:gd name="connsiteY14" fmla="*/ 143236 h 285215"/>
                <a:gd name="connsiteX15" fmla="*/ 2028 w 189142"/>
                <a:gd name="connsiteY15" fmla="*/ 259724 h 285215"/>
                <a:gd name="connsiteX16" fmla="*/ 1128 w 189142"/>
                <a:gd name="connsiteY16" fmla="*/ 262126 h 285215"/>
                <a:gd name="connsiteX17" fmla="*/ 3530 w 189142"/>
                <a:gd name="connsiteY17" fmla="*/ 278939 h 285215"/>
                <a:gd name="connsiteX18" fmla="*/ 18541 w 189142"/>
                <a:gd name="connsiteY18" fmla="*/ 286144 h 285215"/>
                <a:gd name="connsiteX19" fmla="*/ 37155 w 189142"/>
                <a:gd name="connsiteY19" fmla="*/ 286144 h 285215"/>
                <a:gd name="connsiteX20" fmla="*/ 53367 w 189142"/>
                <a:gd name="connsiteY20" fmla="*/ 275036 h 285215"/>
                <a:gd name="connsiteX21" fmla="*/ 94799 w 189142"/>
                <a:gd name="connsiteY21" fmla="*/ 197877 h 285215"/>
                <a:gd name="connsiteX22" fmla="*/ 136230 w 189142"/>
                <a:gd name="connsiteY22" fmla="*/ 274735 h 285215"/>
                <a:gd name="connsiteX23" fmla="*/ 152742 w 189142"/>
                <a:gd name="connsiteY23" fmla="*/ 285844 h 285215"/>
                <a:gd name="connsiteX24" fmla="*/ 171356 w 189142"/>
                <a:gd name="connsiteY24" fmla="*/ 285844 h 285215"/>
                <a:gd name="connsiteX25" fmla="*/ 186068 w 189142"/>
                <a:gd name="connsiteY25" fmla="*/ 278638 h 285215"/>
                <a:gd name="connsiteX26" fmla="*/ 188469 w 189142"/>
                <a:gd name="connsiteY26" fmla="*/ 261225 h 285215"/>
                <a:gd name="connsiteX27" fmla="*/ 124821 w 189142"/>
                <a:gd name="connsiteY27" fmla="*/ 143236 h 285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89142" h="285215">
                  <a:moveTo>
                    <a:pt x="124821" y="143236"/>
                  </a:moveTo>
                  <a:lnTo>
                    <a:pt x="187869" y="25848"/>
                  </a:lnTo>
                  <a:lnTo>
                    <a:pt x="189070" y="22545"/>
                  </a:lnTo>
                  <a:cubicBezTo>
                    <a:pt x="190571" y="16841"/>
                    <a:pt x="189370" y="11137"/>
                    <a:pt x="185767" y="6633"/>
                  </a:cubicBezTo>
                  <a:cubicBezTo>
                    <a:pt x="182465" y="2430"/>
                    <a:pt x="177061" y="-272"/>
                    <a:pt x="171657" y="28"/>
                  </a:cubicBezTo>
                  <a:lnTo>
                    <a:pt x="153343" y="28"/>
                  </a:lnTo>
                  <a:cubicBezTo>
                    <a:pt x="146137" y="-272"/>
                    <a:pt x="139833" y="3931"/>
                    <a:pt x="137131" y="10536"/>
                  </a:cubicBezTo>
                  <a:lnTo>
                    <a:pt x="94799" y="88895"/>
                  </a:lnTo>
                  <a:lnTo>
                    <a:pt x="52767" y="11137"/>
                  </a:lnTo>
                  <a:cubicBezTo>
                    <a:pt x="50065" y="4231"/>
                    <a:pt x="43460" y="28"/>
                    <a:pt x="36254" y="28"/>
                  </a:cubicBezTo>
                  <a:lnTo>
                    <a:pt x="18241" y="28"/>
                  </a:lnTo>
                  <a:cubicBezTo>
                    <a:pt x="12837" y="-272"/>
                    <a:pt x="7433" y="1830"/>
                    <a:pt x="3830" y="6033"/>
                  </a:cubicBezTo>
                  <a:cubicBezTo>
                    <a:pt x="227" y="10836"/>
                    <a:pt x="-974" y="16841"/>
                    <a:pt x="828" y="22545"/>
                  </a:cubicBezTo>
                  <a:lnTo>
                    <a:pt x="2028" y="25848"/>
                  </a:lnTo>
                  <a:lnTo>
                    <a:pt x="65076" y="143236"/>
                  </a:lnTo>
                  <a:lnTo>
                    <a:pt x="2028" y="259724"/>
                  </a:lnTo>
                  <a:lnTo>
                    <a:pt x="1128" y="262126"/>
                  </a:lnTo>
                  <a:cubicBezTo>
                    <a:pt x="-673" y="267830"/>
                    <a:pt x="227" y="274135"/>
                    <a:pt x="3530" y="278939"/>
                  </a:cubicBezTo>
                  <a:cubicBezTo>
                    <a:pt x="7132" y="283742"/>
                    <a:pt x="12536" y="286144"/>
                    <a:pt x="18541" y="286144"/>
                  </a:cubicBezTo>
                  <a:lnTo>
                    <a:pt x="37155" y="286144"/>
                  </a:lnTo>
                  <a:cubicBezTo>
                    <a:pt x="44361" y="286144"/>
                    <a:pt x="50665" y="281941"/>
                    <a:pt x="53367" y="275036"/>
                  </a:cubicBezTo>
                  <a:lnTo>
                    <a:pt x="94799" y="197877"/>
                  </a:lnTo>
                  <a:lnTo>
                    <a:pt x="136230" y="274735"/>
                  </a:lnTo>
                  <a:cubicBezTo>
                    <a:pt x="138932" y="281641"/>
                    <a:pt x="145537" y="285844"/>
                    <a:pt x="152742" y="285844"/>
                  </a:cubicBezTo>
                  <a:lnTo>
                    <a:pt x="171356" y="285844"/>
                  </a:lnTo>
                  <a:cubicBezTo>
                    <a:pt x="177061" y="286144"/>
                    <a:pt x="182765" y="283442"/>
                    <a:pt x="186068" y="278638"/>
                  </a:cubicBezTo>
                  <a:cubicBezTo>
                    <a:pt x="189670" y="273534"/>
                    <a:pt x="190571" y="267230"/>
                    <a:pt x="188469" y="261225"/>
                  </a:cubicBezTo>
                  <a:lnTo>
                    <a:pt x="124821" y="143236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17" name="Forme libre : forme 216">
              <a:extLst>
                <a:ext uri="{FF2B5EF4-FFF2-40B4-BE49-F238E27FC236}">
                  <a16:creationId xmlns:a16="http://schemas.microsoft.com/office/drawing/2014/main" id="{1BBBC77A-F437-4C7C-8E02-4997379CE2FA}"/>
                </a:ext>
              </a:extLst>
            </p:cNvPr>
            <p:cNvSpPr/>
            <p:nvPr/>
          </p:nvSpPr>
          <p:spPr>
            <a:xfrm>
              <a:off x="7191198" y="4369210"/>
              <a:ext cx="186141" cy="288217"/>
            </a:xfrm>
            <a:custGeom>
              <a:avLst/>
              <a:gdLst>
                <a:gd name="connsiteX0" fmla="*/ 186149 w 186140"/>
                <a:gd name="connsiteY0" fmla="*/ 264275 h 288217"/>
                <a:gd name="connsiteX1" fmla="*/ 136612 w 186140"/>
                <a:gd name="connsiteY1" fmla="*/ 167903 h 288217"/>
                <a:gd name="connsiteX2" fmla="*/ 154025 w 186140"/>
                <a:gd name="connsiteY2" fmla="*/ 154693 h 288217"/>
                <a:gd name="connsiteX3" fmla="*/ 177443 w 186140"/>
                <a:gd name="connsiteY3" fmla="*/ 97049 h 288217"/>
                <a:gd name="connsiteX4" fmla="*/ 177443 w 186140"/>
                <a:gd name="connsiteY4" fmla="*/ 82038 h 288217"/>
                <a:gd name="connsiteX5" fmla="*/ 154626 w 186140"/>
                <a:gd name="connsiteY5" fmla="*/ 23794 h 288217"/>
                <a:gd name="connsiteX6" fmla="*/ 98183 w 186140"/>
                <a:gd name="connsiteY6" fmla="*/ 76 h 288217"/>
                <a:gd name="connsiteX7" fmla="*/ 18923 w 186140"/>
                <a:gd name="connsiteY7" fmla="*/ 76 h 288217"/>
                <a:gd name="connsiteX8" fmla="*/ 9 w 186140"/>
                <a:gd name="connsiteY8" fmla="*/ 16288 h 288217"/>
                <a:gd name="connsiteX9" fmla="*/ 9 w 186140"/>
                <a:gd name="connsiteY9" fmla="*/ 19290 h 288217"/>
                <a:gd name="connsiteX10" fmla="*/ 9 w 186140"/>
                <a:gd name="connsiteY10" fmla="*/ 271781 h 288217"/>
                <a:gd name="connsiteX11" fmla="*/ 16821 w 186140"/>
                <a:gd name="connsiteY11" fmla="*/ 290395 h 288217"/>
                <a:gd name="connsiteX12" fmla="*/ 18022 w 186140"/>
                <a:gd name="connsiteY12" fmla="*/ 290395 h 288217"/>
                <a:gd name="connsiteX13" fmla="*/ 36036 w 186140"/>
                <a:gd name="connsiteY13" fmla="*/ 290395 h 288217"/>
                <a:gd name="connsiteX14" fmla="*/ 54050 w 186140"/>
                <a:gd name="connsiteY14" fmla="*/ 272381 h 288217"/>
                <a:gd name="connsiteX15" fmla="*/ 54050 w 186140"/>
                <a:gd name="connsiteY15" fmla="*/ 271781 h 288217"/>
                <a:gd name="connsiteX16" fmla="*/ 54050 w 186140"/>
                <a:gd name="connsiteY16" fmla="*/ 178410 h 288217"/>
                <a:gd name="connsiteX17" fmla="*/ 83171 w 186140"/>
                <a:gd name="connsiteY17" fmla="*/ 178410 h 288217"/>
                <a:gd name="connsiteX18" fmla="*/ 133910 w 186140"/>
                <a:gd name="connsiteY18" fmla="*/ 278086 h 288217"/>
                <a:gd name="connsiteX19" fmla="*/ 150422 w 186140"/>
                <a:gd name="connsiteY19" fmla="*/ 289494 h 288217"/>
                <a:gd name="connsiteX20" fmla="*/ 169036 w 186140"/>
                <a:gd name="connsiteY20" fmla="*/ 289494 h 288217"/>
                <a:gd name="connsiteX21" fmla="*/ 183747 w 186140"/>
                <a:gd name="connsiteY21" fmla="*/ 282289 h 288217"/>
                <a:gd name="connsiteX22" fmla="*/ 186149 w 186140"/>
                <a:gd name="connsiteY22" fmla="*/ 265176 h 288217"/>
                <a:gd name="connsiteX23" fmla="*/ 186149 w 186140"/>
                <a:gd name="connsiteY23" fmla="*/ 265176 h 288217"/>
                <a:gd name="connsiteX24" fmla="*/ 123402 w 186140"/>
                <a:gd name="connsiteY24" fmla="*/ 83539 h 288217"/>
                <a:gd name="connsiteX25" fmla="*/ 123402 w 186140"/>
                <a:gd name="connsiteY25" fmla="*/ 97950 h 288217"/>
                <a:gd name="connsiteX26" fmla="*/ 97582 w 186140"/>
                <a:gd name="connsiteY26" fmla="*/ 124370 h 288217"/>
                <a:gd name="connsiteX27" fmla="*/ 54050 w 186140"/>
                <a:gd name="connsiteY27" fmla="*/ 124370 h 288217"/>
                <a:gd name="connsiteX28" fmla="*/ 54050 w 186140"/>
                <a:gd name="connsiteY28" fmla="*/ 56218 h 288217"/>
                <a:gd name="connsiteX29" fmla="*/ 97582 w 186140"/>
                <a:gd name="connsiteY29" fmla="*/ 56218 h 288217"/>
                <a:gd name="connsiteX30" fmla="*/ 115296 w 186140"/>
                <a:gd name="connsiteY30" fmla="*/ 63424 h 288217"/>
                <a:gd name="connsiteX31" fmla="*/ 123102 w 186140"/>
                <a:gd name="connsiteY31" fmla="*/ 82338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86140" h="288217">
                  <a:moveTo>
                    <a:pt x="186149" y="264275"/>
                  </a:moveTo>
                  <a:lnTo>
                    <a:pt x="136612" y="167903"/>
                  </a:lnTo>
                  <a:cubicBezTo>
                    <a:pt x="142917" y="164300"/>
                    <a:pt x="148621" y="159796"/>
                    <a:pt x="154025" y="154693"/>
                  </a:cubicBezTo>
                  <a:cubicBezTo>
                    <a:pt x="169337" y="139681"/>
                    <a:pt x="177743" y="118665"/>
                    <a:pt x="177443" y="97049"/>
                  </a:cubicBezTo>
                  <a:lnTo>
                    <a:pt x="177443" y="82038"/>
                  </a:lnTo>
                  <a:cubicBezTo>
                    <a:pt x="178043" y="60422"/>
                    <a:pt x="169637" y="39105"/>
                    <a:pt x="154626" y="23794"/>
                  </a:cubicBezTo>
                  <a:cubicBezTo>
                    <a:pt x="139914" y="8182"/>
                    <a:pt x="119499" y="-224"/>
                    <a:pt x="98183" y="76"/>
                  </a:cubicBezTo>
                  <a:lnTo>
                    <a:pt x="18923" y="76"/>
                  </a:lnTo>
                  <a:cubicBezTo>
                    <a:pt x="9316" y="-825"/>
                    <a:pt x="909" y="6381"/>
                    <a:pt x="9" y="16288"/>
                  </a:cubicBezTo>
                  <a:cubicBezTo>
                    <a:pt x="9" y="17189"/>
                    <a:pt x="9" y="18390"/>
                    <a:pt x="9" y="19290"/>
                  </a:cubicBezTo>
                  <a:lnTo>
                    <a:pt x="9" y="271781"/>
                  </a:lnTo>
                  <a:cubicBezTo>
                    <a:pt x="-292" y="281688"/>
                    <a:pt x="7214" y="290095"/>
                    <a:pt x="16821" y="290395"/>
                  </a:cubicBezTo>
                  <a:cubicBezTo>
                    <a:pt x="17122" y="290395"/>
                    <a:pt x="17722" y="290395"/>
                    <a:pt x="18022" y="290395"/>
                  </a:cubicBezTo>
                  <a:lnTo>
                    <a:pt x="36036" y="290395"/>
                  </a:lnTo>
                  <a:cubicBezTo>
                    <a:pt x="45943" y="290395"/>
                    <a:pt x="54050" y="282589"/>
                    <a:pt x="54050" y="272381"/>
                  </a:cubicBezTo>
                  <a:cubicBezTo>
                    <a:pt x="54050" y="272081"/>
                    <a:pt x="54050" y="272081"/>
                    <a:pt x="54050" y="271781"/>
                  </a:cubicBezTo>
                  <a:lnTo>
                    <a:pt x="54050" y="178410"/>
                  </a:lnTo>
                  <a:lnTo>
                    <a:pt x="83171" y="178410"/>
                  </a:lnTo>
                  <a:lnTo>
                    <a:pt x="133910" y="278086"/>
                  </a:lnTo>
                  <a:cubicBezTo>
                    <a:pt x="136612" y="284991"/>
                    <a:pt x="143217" y="289494"/>
                    <a:pt x="150422" y="289494"/>
                  </a:cubicBezTo>
                  <a:lnTo>
                    <a:pt x="169036" y="289494"/>
                  </a:lnTo>
                  <a:cubicBezTo>
                    <a:pt x="174741" y="289795"/>
                    <a:pt x="180445" y="287092"/>
                    <a:pt x="183747" y="282289"/>
                  </a:cubicBezTo>
                  <a:cubicBezTo>
                    <a:pt x="187350" y="277185"/>
                    <a:pt x="188251" y="270880"/>
                    <a:pt x="186149" y="265176"/>
                  </a:cubicBezTo>
                  <a:lnTo>
                    <a:pt x="186149" y="265176"/>
                  </a:lnTo>
                  <a:moveTo>
                    <a:pt x="123402" y="83539"/>
                  </a:moveTo>
                  <a:lnTo>
                    <a:pt x="123402" y="97950"/>
                  </a:lnTo>
                  <a:cubicBezTo>
                    <a:pt x="123402" y="112361"/>
                    <a:pt x="111693" y="124370"/>
                    <a:pt x="97582" y="124370"/>
                  </a:cubicBezTo>
                  <a:lnTo>
                    <a:pt x="54050" y="124370"/>
                  </a:lnTo>
                  <a:lnTo>
                    <a:pt x="54050" y="56218"/>
                  </a:lnTo>
                  <a:lnTo>
                    <a:pt x="97582" y="56218"/>
                  </a:lnTo>
                  <a:cubicBezTo>
                    <a:pt x="104187" y="55918"/>
                    <a:pt x="110492" y="58620"/>
                    <a:pt x="115296" y="63424"/>
                  </a:cubicBezTo>
                  <a:cubicBezTo>
                    <a:pt x="120400" y="68227"/>
                    <a:pt x="123402" y="75133"/>
                    <a:pt x="123102" y="82338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18" name="Forme libre : forme 217">
              <a:extLst>
                <a:ext uri="{FF2B5EF4-FFF2-40B4-BE49-F238E27FC236}">
                  <a16:creationId xmlns:a16="http://schemas.microsoft.com/office/drawing/2014/main" id="{3F1EC6FE-FFB0-464B-9BD6-8962B8DD5036}"/>
                </a:ext>
              </a:extLst>
            </p:cNvPr>
            <p:cNvSpPr/>
            <p:nvPr/>
          </p:nvSpPr>
          <p:spPr>
            <a:xfrm>
              <a:off x="6485374" y="4373489"/>
              <a:ext cx="60045" cy="120091"/>
            </a:xfrm>
            <a:custGeom>
              <a:avLst/>
              <a:gdLst>
                <a:gd name="connsiteX0" fmla="*/ 60045 w 60045"/>
                <a:gd name="connsiteY0" fmla="*/ 120391 h 120090"/>
                <a:gd name="connsiteX1" fmla="*/ 54641 w 60045"/>
                <a:gd name="connsiteY1" fmla="*/ 120391 h 120090"/>
                <a:gd name="connsiteX2" fmla="*/ 52840 w 60045"/>
                <a:gd name="connsiteY2" fmla="*/ 118589 h 120090"/>
                <a:gd name="connsiteX3" fmla="*/ 52840 w 60045"/>
                <a:gd name="connsiteY3" fmla="*/ 117088 h 120090"/>
                <a:gd name="connsiteX4" fmla="*/ 51039 w 60045"/>
                <a:gd name="connsiteY4" fmla="*/ 115287 h 120090"/>
                <a:gd name="connsiteX5" fmla="*/ 50138 w 60045"/>
                <a:gd name="connsiteY5" fmla="*/ 115287 h 120090"/>
                <a:gd name="connsiteX6" fmla="*/ 6605 w 60045"/>
                <a:gd name="connsiteY6" fmla="*/ 109583 h 120090"/>
                <a:gd name="connsiteX7" fmla="*/ 0 w 60045"/>
                <a:gd name="connsiteY7" fmla="*/ 90368 h 120090"/>
                <a:gd name="connsiteX8" fmla="*/ 0 w 60045"/>
                <a:gd name="connsiteY8" fmla="*/ 64549 h 120090"/>
                <a:gd name="connsiteX9" fmla="*/ 9007 w 60045"/>
                <a:gd name="connsiteY9" fmla="*/ 43233 h 120090"/>
                <a:gd name="connsiteX10" fmla="*/ 30923 w 60045"/>
                <a:gd name="connsiteY10" fmla="*/ 33926 h 120090"/>
                <a:gd name="connsiteX11" fmla="*/ 47136 w 60045"/>
                <a:gd name="connsiteY11" fmla="*/ 38729 h 120090"/>
                <a:gd name="connsiteX12" fmla="*/ 48336 w 60045"/>
                <a:gd name="connsiteY12" fmla="*/ 38729 h 120090"/>
                <a:gd name="connsiteX13" fmla="*/ 49838 w 60045"/>
                <a:gd name="connsiteY13" fmla="*/ 37228 h 120090"/>
                <a:gd name="connsiteX14" fmla="*/ 49838 w 60045"/>
                <a:gd name="connsiteY14" fmla="*/ 1801 h 120090"/>
                <a:gd name="connsiteX15" fmla="*/ 51039 w 60045"/>
                <a:gd name="connsiteY15" fmla="*/ 0 h 120090"/>
                <a:gd name="connsiteX16" fmla="*/ 51639 w 60045"/>
                <a:gd name="connsiteY16" fmla="*/ 0 h 120090"/>
                <a:gd name="connsiteX17" fmla="*/ 60045 w 60045"/>
                <a:gd name="connsiteY17" fmla="*/ 0 h 120090"/>
                <a:gd name="connsiteX18" fmla="*/ 61546 w 60045"/>
                <a:gd name="connsiteY18" fmla="*/ 1801 h 120090"/>
                <a:gd name="connsiteX19" fmla="*/ 61546 w 60045"/>
                <a:gd name="connsiteY19" fmla="*/ 118589 h 120090"/>
                <a:gd name="connsiteX20" fmla="*/ 60045 w 60045"/>
                <a:gd name="connsiteY20" fmla="*/ 120391 h 120090"/>
                <a:gd name="connsiteX21" fmla="*/ 49838 w 60045"/>
                <a:gd name="connsiteY21" fmla="*/ 65449 h 120090"/>
                <a:gd name="connsiteX22" fmla="*/ 44133 w 60045"/>
                <a:gd name="connsiteY22" fmla="*/ 51639 h 120090"/>
                <a:gd name="connsiteX23" fmla="*/ 17113 w 60045"/>
                <a:gd name="connsiteY23" fmla="*/ 51639 h 120090"/>
                <a:gd name="connsiteX24" fmla="*/ 11409 w 60045"/>
                <a:gd name="connsiteY24" fmla="*/ 65449 h 120090"/>
                <a:gd name="connsiteX25" fmla="*/ 11409 w 60045"/>
                <a:gd name="connsiteY25" fmla="*/ 91269 h 120090"/>
                <a:gd name="connsiteX26" fmla="*/ 16813 w 60045"/>
                <a:gd name="connsiteY26" fmla="*/ 105379 h 120090"/>
                <a:gd name="connsiteX27" fmla="*/ 30623 w 60045"/>
                <a:gd name="connsiteY27" fmla="*/ 111084 h 120090"/>
                <a:gd name="connsiteX28" fmla="*/ 44133 w 60045"/>
                <a:gd name="connsiteY28" fmla="*/ 105379 h 120090"/>
                <a:gd name="connsiteX29" fmla="*/ 49838 w 60045"/>
                <a:gd name="connsiteY29" fmla="*/ 91269 h 120090"/>
                <a:gd name="connsiteX30" fmla="*/ 49838 w 60045"/>
                <a:gd name="connsiteY30" fmla="*/ 65449 h 120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60045" h="120090">
                  <a:moveTo>
                    <a:pt x="60045" y="120391"/>
                  </a:moveTo>
                  <a:lnTo>
                    <a:pt x="54641" y="120391"/>
                  </a:lnTo>
                  <a:cubicBezTo>
                    <a:pt x="53440" y="120391"/>
                    <a:pt x="52840" y="119490"/>
                    <a:pt x="52840" y="118589"/>
                  </a:cubicBezTo>
                  <a:lnTo>
                    <a:pt x="52840" y="117088"/>
                  </a:lnTo>
                  <a:cubicBezTo>
                    <a:pt x="52840" y="115587"/>
                    <a:pt x="52239" y="115287"/>
                    <a:pt x="51039" y="115287"/>
                  </a:cubicBezTo>
                  <a:cubicBezTo>
                    <a:pt x="49838" y="115287"/>
                    <a:pt x="50138" y="115287"/>
                    <a:pt x="50138" y="115287"/>
                  </a:cubicBezTo>
                  <a:cubicBezTo>
                    <a:pt x="36628" y="126095"/>
                    <a:pt x="17113" y="123693"/>
                    <a:pt x="6605" y="109583"/>
                  </a:cubicBezTo>
                  <a:cubicBezTo>
                    <a:pt x="2402" y="104179"/>
                    <a:pt x="0" y="97273"/>
                    <a:pt x="0" y="90368"/>
                  </a:cubicBezTo>
                  <a:lnTo>
                    <a:pt x="0" y="64549"/>
                  </a:lnTo>
                  <a:cubicBezTo>
                    <a:pt x="0" y="56443"/>
                    <a:pt x="3302" y="48937"/>
                    <a:pt x="9007" y="43233"/>
                  </a:cubicBezTo>
                  <a:cubicBezTo>
                    <a:pt x="14711" y="36928"/>
                    <a:pt x="22517" y="33625"/>
                    <a:pt x="30923" y="33926"/>
                  </a:cubicBezTo>
                  <a:cubicBezTo>
                    <a:pt x="36628" y="33926"/>
                    <a:pt x="42332" y="35427"/>
                    <a:pt x="47136" y="38729"/>
                  </a:cubicBezTo>
                  <a:lnTo>
                    <a:pt x="48336" y="38729"/>
                  </a:lnTo>
                  <a:cubicBezTo>
                    <a:pt x="49537" y="38729"/>
                    <a:pt x="49838" y="38729"/>
                    <a:pt x="49838" y="37228"/>
                  </a:cubicBezTo>
                  <a:lnTo>
                    <a:pt x="49838" y="1801"/>
                  </a:lnTo>
                  <a:cubicBezTo>
                    <a:pt x="49537" y="901"/>
                    <a:pt x="50138" y="300"/>
                    <a:pt x="51039" y="0"/>
                  </a:cubicBezTo>
                  <a:cubicBezTo>
                    <a:pt x="51339" y="0"/>
                    <a:pt x="51339" y="0"/>
                    <a:pt x="51639" y="0"/>
                  </a:cubicBezTo>
                  <a:lnTo>
                    <a:pt x="60045" y="0"/>
                  </a:lnTo>
                  <a:cubicBezTo>
                    <a:pt x="61246" y="0"/>
                    <a:pt x="61546" y="0"/>
                    <a:pt x="61546" y="1801"/>
                  </a:cubicBezTo>
                  <a:lnTo>
                    <a:pt x="61546" y="118589"/>
                  </a:lnTo>
                  <a:cubicBezTo>
                    <a:pt x="61546" y="119790"/>
                    <a:pt x="61546" y="120691"/>
                    <a:pt x="60045" y="120391"/>
                  </a:cubicBezTo>
                  <a:moveTo>
                    <a:pt x="49838" y="65449"/>
                  </a:moveTo>
                  <a:cubicBezTo>
                    <a:pt x="50138" y="60346"/>
                    <a:pt x="48036" y="55242"/>
                    <a:pt x="44133" y="51639"/>
                  </a:cubicBezTo>
                  <a:cubicBezTo>
                    <a:pt x="36628" y="43833"/>
                    <a:pt x="24619" y="44133"/>
                    <a:pt x="17113" y="51639"/>
                  </a:cubicBezTo>
                  <a:cubicBezTo>
                    <a:pt x="13510" y="55242"/>
                    <a:pt x="11409" y="60346"/>
                    <a:pt x="11409" y="65449"/>
                  </a:cubicBezTo>
                  <a:lnTo>
                    <a:pt x="11409" y="91269"/>
                  </a:lnTo>
                  <a:cubicBezTo>
                    <a:pt x="11409" y="96673"/>
                    <a:pt x="13210" y="101777"/>
                    <a:pt x="16813" y="105379"/>
                  </a:cubicBezTo>
                  <a:cubicBezTo>
                    <a:pt x="20415" y="109282"/>
                    <a:pt x="25219" y="111084"/>
                    <a:pt x="30623" y="111084"/>
                  </a:cubicBezTo>
                  <a:cubicBezTo>
                    <a:pt x="35727" y="111084"/>
                    <a:pt x="40531" y="108982"/>
                    <a:pt x="44133" y="105379"/>
                  </a:cubicBezTo>
                  <a:cubicBezTo>
                    <a:pt x="47736" y="101777"/>
                    <a:pt x="49838" y="96673"/>
                    <a:pt x="49838" y="91269"/>
                  </a:cubicBezTo>
                  <a:lnTo>
                    <a:pt x="49838" y="65449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19" name="Forme libre : forme 218">
              <a:extLst>
                <a:ext uri="{FF2B5EF4-FFF2-40B4-BE49-F238E27FC236}">
                  <a16:creationId xmlns:a16="http://schemas.microsoft.com/office/drawing/2014/main" id="{C68CE9AA-6FB7-44DB-BE11-BD8AF474D231}"/>
                </a:ext>
              </a:extLst>
            </p:cNvPr>
            <p:cNvSpPr/>
            <p:nvPr/>
          </p:nvSpPr>
          <p:spPr>
            <a:xfrm>
              <a:off x="6570319" y="4403924"/>
              <a:ext cx="57043" cy="93070"/>
            </a:xfrm>
            <a:custGeom>
              <a:avLst/>
              <a:gdLst>
                <a:gd name="connsiteX0" fmla="*/ 56762 w 57043"/>
                <a:gd name="connsiteY0" fmla="*/ 52728 h 93070"/>
                <a:gd name="connsiteX1" fmla="*/ 12929 w 57043"/>
                <a:gd name="connsiteY1" fmla="*/ 52728 h 93070"/>
                <a:gd name="connsiteX2" fmla="*/ 11127 w 57043"/>
                <a:gd name="connsiteY2" fmla="*/ 54229 h 93070"/>
                <a:gd name="connsiteX3" fmla="*/ 11127 w 57043"/>
                <a:gd name="connsiteY3" fmla="*/ 54529 h 93070"/>
                <a:gd name="connsiteX4" fmla="*/ 11127 w 57043"/>
                <a:gd name="connsiteY4" fmla="*/ 59933 h 93070"/>
                <a:gd name="connsiteX5" fmla="*/ 16832 w 57043"/>
                <a:gd name="connsiteY5" fmla="*/ 74644 h 93070"/>
                <a:gd name="connsiteX6" fmla="*/ 30642 w 57043"/>
                <a:gd name="connsiteY6" fmla="*/ 80949 h 93070"/>
                <a:gd name="connsiteX7" fmla="*/ 48956 w 57043"/>
                <a:gd name="connsiteY7" fmla="*/ 74644 h 93070"/>
                <a:gd name="connsiteX8" fmla="*/ 51057 w 57043"/>
                <a:gd name="connsiteY8" fmla="*/ 74644 h 93070"/>
                <a:gd name="connsiteX9" fmla="*/ 51057 w 57043"/>
                <a:gd name="connsiteY9" fmla="*/ 74644 h 93070"/>
                <a:gd name="connsiteX10" fmla="*/ 55861 w 57043"/>
                <a:gd name="connsiteY10" fmla="*/ 82150 h 93070"/>
                <a:gd name="connsiteX11" fmla="*/ 56161 w 57043"/>
                <a:gd name="connsiteY11" fmla="*/ 84552 h 93070"/>
                <a:gd name="connsiteX12" fmla="*/ 55861 w 57043"/>
                <a:gd name="connsiteY12" fmla="*/ 84852 h 93070"/>
                <a:gd name="connsiteX13" fmla="*/ 30942 w 57043"/>
                <a:gd name="connsiteY13" fmla="*/ 93558 h 93070"/>
                <a:gd name="connsiteX14" fmla="*/ 9026 w 57043"/>
                <a:gd name="connsiteY14" fmla="*/ 83651 h 93070"/>
                <a:gd name="connsiteX15" fmla="*/ 19 w 57043"/>
                <a:gd name="connsiteY15" fmla="*/ 59633 h 93070"/>
                <a:gd name="connsiteX16" fmla="*/ 19 w 57043"/>
                <a:gd name="connsiteY16" fmla="*/ 32012 h 93070"/>
                <a:gd name="connsiteX17" fmla="*/ 8725 w 57043"/>
                <a:gd name="connsiteY17" fmla="*/ 9195 h 93070"/>
                <a:gd name="connsiteX18" fmla="*/ 50457 w 57043"/>
                <a:gd name="connsiteY18" fmla="*/ 9495 h 93070"/>
                <a:gd name="connsiteX19" fmla="*/ 58863 w 57043"/>
                <a:gd name="connsiteY19" fmla="*/ 32012 h 93070"/>
                <a:gd name="connsiteX20" fmla="*/ 58863 w 57043"/>
                <a:gd name="connsiteY20" fmla="*/ 50626 h 93070"/>
                <a:gd name="connsiteX21" fmla="*/ 56762 w 57043"/>
                <a:gd name="connsiteY21" fmla="*/ 52728 h 93070"/>
                <a:gd name="connsiteX22" fmla="*/ 46854 w 57043"/>
                <a:gd name="connsiteY22" fmla="*/ 32312 h 93070"/>
                <a:gd name="connsiteX23" fmla="*/ 41750 w 57043"/>
                <a:gd name="connsiteY23" fmla="*/ 18802 h 93070"/>
                <a:gd name="connsiteX24" fmla="*/ 29141 w 57043"/>
                <a:gd name="connsiteY24" fmla="*/ 13398 h 93070"/>
                <a:gd name="connsiteX25" fmla="*/ 16531 w 57043"/>
                <a:gd name="connsiteY25" fmla="*/ 18802 h 93070"/>
                <a:gd name="connsiteX26" fmla="*/ 11127 w 57043"/>
                <a:gd name="connsiteY26" fmla="*/ 32312 h 93070"/>
                <a:gd name="connsiteX27" fmla="*/ 11127 w 57043"/>
                <a:gd name="connsiteY27" fmla="*/ 38017 h 93070"/>
                <a:gd name="connsiteX28" fmla="*/ 12328 w 57043"/>
                <a:gd name="connsiteY28" fmla="*/ 40118 h 93070"/>
                <a:gd name="connsiteX29" fmla="*/ 12628 w 57043"/>
                <a:gd name="connsiteY29" fmla="*/ 40118 h 93070"/>
                <a:gd name="connsiteX30" fmla="*/ 44452 w 57043"/>
                <a:gd name="connsiteY30" fmla="*/ 40118 h 93070"/>
                <a:gd name="connsiteX31" fmla="*/ 45954 w 57043"/>
                <a:gd name="connsiteY31" fmla="*/ 38017 h 93070"/>
                <a:gd name="connsiteX32" fmla="*/ 46854 w 57043"/>
                <a:gd name="connsiteY32" fmla="*/ 32312 h 93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57043" h="93070">
                  <a:moveTo>
                    <a:pt x="56762" y="52728"/>
                  </a:moveTo>
                  <a:lnTo>
                    <a:pt x="12929" y="52728"/>
                  </a:lnTo>
                  <a:cubicBezTo>
                    <a:pt x="12028" y="52728"/>
                    <a:pt x="11127" y="53328"/>
                    <a:pt x="11127" y="54229"/>
                  </a:cubicBezTo>
                  <a:cubicBezTo>
                    <a:pt x="11127" y="54229"/>
                    <a:pt x="11127" y="54529"/>
                    <a:pt x="11127" y="54529"/>
                  </a:cubicBezTo>
                  <a:lnTo>
                    <a:pt x="11127" y="59933"/>
                  </a:lnTo>
                  <a:cubicBezTo>
                    <a:pt x="11127" y="65637"/>
                    <a:pt x="13229" y="70741"/>
                    <a:pt x="16832" y="74644"/>
                  </a:cubicBezTo>
                  <a:cubicBezTo>
                    <a:pt x="20434" y="78547"/>
                    <a:pt x="25238" y="80949"/>
                    <a:pt x="30642" y="80949"/>
                  </a:cubicBezTo>
                  <a:cubicBezTo>
                    <a:pt x="37247" y="80949"/>
                    <a:pt x="43552" y="78847"/>
                    <a:pt x="48956" y="74644"/>
                  </a:cubicBezTo>
                  <a:cubicBezTo>
                    <a:pt x="49556" y="74044"/>
                    <a:pt x="50457" y="74044"/>
                    <a:pt x="51057" y="74644"/>
                  </a:cubicBezTo>
                  <a:cubicBezTo>
                    <a:pt x="51057" y="74644"/>
                    <a:pt x="51057" y="74644"/>
                    <a:pt x="51057" y="74644"/>
                  </a:cubicBezTo>
                  <a:lnTo>
                    <a:pt x="55861" y="82150"/>
                  </a:lnTo>
                  <a:cubicBezTo>
                    <a:pt x="56461" y="82750"/>
                    <a:pt x="56762" y="83651"/>
                    <a:pt x="56161" y="84552"/>
                  </a:cubicBezTo>
                  <a:cubicBezTo>
                    <a:pt x="56161" y="84552"/>
                    <a:pt x="55861" y="84852"/>
                    <a:pt x="55861" y="84852"/>
                  </a:cubicBezTo>
                  <a:cubicBezTo>
                    <a:pt x="48656" y="90556"/>
                    <a:pt x="39949" y="93558"/>
                    <a:pt x="30942" y="93558"/>
                  </a:cubicBezTo>
                  <a:cubicBezTo>
                    <a:pt x="22836" y="93558"/>
                    <a:pt x="14730" y="89956"/>
                    <a:pt x="9026" y="83651"/>
                  </a:cubicBezTo>
                  <a:cubicBezTo>
                    <a:pt x="3021" y="77346"/>
                    <a:pt x="-281" y="68640"/>
                    <a:pt x="19" y="59633"/>
                  </a:cubicBezTo>
                  <a:lnTo>
                    <a:pt x="19" y="32012"/>
                  </a:lnTo>
                  <a:cubicBezTo>
                    <a:pt x="19" y="23606"/>
                    <a:pt x="3021" y="15199"/>
                    <a:pt x="8725" y="9195"/>
                  </a:cubicBezTo>
                  <a:cubicBezTo>
                    <a:pt x="20434" y="-3115"/>
                    <a:pt x="39048" y="-3115"/>
                    <a:pt x="50457" y="9495"/>
                  </a:cubicBezTo>
                  <a:cubicBezTo>
                    <a:pt x="55861" y="15500"/>
                    <a:pt x="58863" y="23606"/>
                    <a:pt x="58863" y="32012"/>
                  </a:cubicBezTo>
                  <a:lnTo>
                    <a:pt x="58863" y="50626"/>
                  </a:lnTo>
                  <a:cubicBezTo>
                    <a:pt x="58863" y="52127"/>
                    <a:pt x="58863" y="52728"/>
                    <a:pt x="56762" y="52728"/>
                  </a:cubicBezTo>
                  <a:moveTo>
                    <a:pt x="46854" y="32312"/>
                  </a:moveTo>
                  <a:cubicBezTo>
                    <a:pt x="46854" y="27208"/>
                    <a:pt x="45053" y="22405"/>
                    <a:pt x="41750" y="18802"/>
                  </a:cubicBezTo>
                  <a:cubicBezTo>
                    <a:pt x="38448" y="15199"/>
                    <a:pt x="33944" y="13098"/>
                    <a:pt x="29141" y="13398"/>
                  </a:cubicBezTo>
                  <a:cubicBezTo>
                    <a:pt x="24337" y="13098"/>
                    <a:pt x="19834" y="15199"/>
                    <a:pt x="16531" y="18802"/>
                  </a:cubicBezTo>
                  <a:cubicBezTo>
                    <a:pt x="12929" y="22405"/>
                    <a:pt x="11127" y="27208"/>
                    <a:pt x="11127" y="32312"/>
                  </a:cubicBezTo>
                  <a:lnTo>
                    <a:pt x="11127" y="38017"/>
                  </a:lnTo>
                  <a:cubicBezTo>
                    <a:pt x="11127" y="38917"/>
                    <a:pt x="11728" y="39818"/>
                    <a:pt x="12328" y="40118"/>
                  </a:cubicBezTo>
                  <a:cubicBezTo>
                    <a:pt x="12328" y="40118"/>
                    <a:pt x="12628" y="40118"/>
                    <a:pt x="12628" y="40118"/>
                  </a:cubicBezTo>
                  <a:lnTo>
                    <a:pt x="44452" y="40118"/>
                  </a:lnTo>
                  <a:cubicBezTo>
                    <a:pt x="45653" y="40118"/>
                    <a:pt x="45954" y="39217"/>
                    <a:pt x="45954" y="38017"/>
                  </a:cubicBezTo>
                  <a:lnTo>
                    <a:pt x="46854" y="32312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20" name="Forme libre : forme 219">
              <a:extLst>
                <a:ext uri="{FF2B5EF4-FFF2-40B4-BE49-F238E27FC236}">
                  <a16:creationId xmlns:a16="http://schemas.microsoft.com/office/drawing/2014/main" id="{E6D00E63-D41E-4543-A013-A2A8C6E88E13}"/>
                </a:ext>
              </a:extLst>
            </p:cNvPr>
            <p:cNvSpPr/>
            <p:nvPr/>
          </p:nvSpPr>
          <p:spPr>
            <a:xfrm>
              <a:off x="5951546" y="4012317"/>
              <a:ext cx="195147" cy="288217"/>
            </a:xfrm>
            <a:custGeom>
              <a:avLst/>
              <a:gdLst>
                <a:gd name="connsiteX0" fmla="*/ 190368 w 195147"/>
                <a:gd name="connsiteY0" fmla="*/ 0 h 288217"/>
                <a:gd name="connsiteX1" fmla="*/ 161847 w 195147"/>
                <a:gd name="connsiteY1" fmla="*/ 0 h 288217"/>
                <a:gd name="connsiteX2" fmla="*/ 156443 w 195147"/>
                <a:gd name="connsiteY2" fmla="*/ 5404 h 288217"/>
                <a:gd name="connsiteX3" fmla="*/ 156443 w 195147"/>
                <a:gd name="connsiteY3" fmla="*/ 190344 h 288217"/>
                <a:gd name="connsiteX4" fmla="*/ 138729 w 195147"/>
                <a:gd name="connsiteY4" fmla="*/ 231775 h 288217"/>
                <a:gd name="connsiteX5" fmla="*/ 98199 w 195147"/>
                <a:gd name="connsiteY5" fmla="*/ 248888 h 288217"/>
                <a:gd name="connsiteX6" fmla="*/ 57067 w 195147"/>
                <a:gd name="connsiteY6" fmla="*/ 231775 h 288217"/>
                <a:gd name="connsiteX7" fmla="*/ 39955 w 195147"/>
                <a:gd name="connsiteY7" fmla="*/ 190344 h 288217"/>
                <a:gd name="connsiteX8" fmla="*/ 39955 w 195147"/>
                <a:gd name="connsiteY8" fmla="*/ 131499 h 288217"/>
                <a:gd name="connsiteX9" fmla="*/ 24 w 195147"/>
                <a:gd name="connsiteY9" fmla="*/ 147711 h 288217"/>
                <a:gd name="connsiteX10" fmla="*/ 24 w 195147"/>
                <a:gd name="connsiteY10" fmla="*/ 190644 h 288217"/>
                <a:gd name="connsiteX11" fmla="*/ 28546 w 195147"/>
                <a:gd name="connsiteY11" fmla="*/ 260597 h 288217"/>
                <a:gd name="connsiteX12" fmla="*/ 98199 w 195147"/>
                <a:gd name="connsiteY12" fmla="*/ 290019 h 288217"/>
                <a:gd name="connsiteX13" fmla="*/ 167251 w 195147"/>
                <a:gd name="connsiteY13" fmla="*/ 260296 h 288217"/>
                <a:gd name="connsiteX14" fmla="*/ 196373 w 195147"/>
                <a:gd name="connsiteY14" fmla="*/ 190344 h 288217"/>
                <a:gd name="connsiteX15" fmla="*/ 196373 w 195147"/>
                <a:gd name="connsiteY15" fmla="*/ 5404 h 288217"/>
                <a:gd name="connsiteX16" fmla="*/ 190368 w 195147"/>
                <a:gd name="connsiteY16" fmla="*/ 0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147" h="288217">
                  <a:moveTo>
                    <a:pt x="190368" y="0"/>
                  </a:moveTo>
                  <a:lnTo>
                    <a:pt x="161847" y="0"/>
                  </a:lnTo>
                  <a:cubicBezTo>
                    <a:pt x="157944" y="0"/>
                    <a:pt x="156443" y="1501"/>
                    <a:pt x="156443" y="5404"/>
                  </a:cubicBezTo>
                  <a:lnTo>
                    <a:pt x="156443" y="190344"/>
                  </a:lnTo>
                  <a:cubicBezTo>
                    <a:pt x="156443" y="205955"/>
                    <a:pt x="150138" y="220967"/>
                    <a:pt x="138729" y="231775"/>
                  </a:cubicBezTo>
                  <a:cubicBezTo>
                    <a:pt x="128221" y="243183"/>
                    <a:pt x="113510" y="249188"/>
                    <a:pt x="98199" y="248888"/>
                  </a:cubicBezTo>
                  <a:cubicBezTo>
                    <a:pt x="82587" y="249188"/>
                    <a:pt x="67575" y="243183"/>
                    <a:pt x="57067" y="231775"/>
                  </a:cubicBezTo>
                  <a:cubicBezTo>
                    <a:pt x="45959" y="220967"/>
                    <a:pt x="39654" y="205955"/>
                    <a:pt x="39955" y="190344"/>
                  </a:cubicBezTo>
                  <a:lnTo>
                    <a:pt x="39955" y="131499"/>
                  </a:lnTo>
                  <a:lnTo>
                    <a:pt x="24" y="147711"/>
                  </a:lnTo>
                  <a:lnTo>
                    <a:pt x="24" y="190644"/>
                  </a:lnTo>
                  <a:cubicBezTo>
                    <a:pt x="-576" y="216763"/>
                    <a:pt x="9932" y="241982"/>
                    <a:pt x="28546" y="260597"/>
                  </a:cubicBezTo>
                  <a:cubicBezTo>
                    <a:pt x="46860" y="279511"/>
                    <a:pt x="71779" y="290019"/>
                    <a:pt x="98199" y="290019"/>
                  </a:cubicBezTo>
                  <a:cubicBezTo>
                    <a:pt x="124318" y="290019"/>
                    <a:pt x="149237" y="279511"/>
                    <a:pt x="167251" y="260296"/>
                  </a:cubicBezTo>
                  <a:cubicBezTo>
                    <a:pt x="186165" y="241982"/>
                    <a:pt x="196673" y="216763"/>
                    <a:pt x="196373" y="190344"/>
                  </a:cubicBezTo>
                  <a:lnTo>
                    <a:pt x="196373" y="5404"/>
                  </a:lnTo>
                  <a:cubicBezTo>
                    <a:pt x="196073" y="1501"/>
                    <a:pt x="193971" y="0"/>
                    <a:pt x="190368" y="0"/>
                  </a:cubicBez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21" name="Forme libre : forme 220">
              <a:extLst>
                <a:ext uri="{FF2B5EF4-FFF2-40B4-BE49-F238E27FC236}">
                  <a16:creationId xmlns:a16="http://schemas.microsoft.com/office/drawing/2014/main" id="{C2474F43-3D6B-46AC-B182-F0307C87AE93}"/>
                </a:ext>
              </a:extLst>
            </p:cNvPr>
            <p:cNvSpPr/>
            <p:nvPr/>
          </p:nvSpPr>
          <p:spPr>
            <a:xfrm>
              <a:off x="6234678" y="3999143"/>
              <a:ext cx="198150" cy="288217"/>
            </a:xfrm>
            <a:custGeom>
              <a:avLst/>
              <a:gdLst>
                <a:gd name="connsiteX0" fmla="*/ 192452 w 198149"/>
                <a:gd name="connsiteY0" fmla="*/ 289382 h 288217"/>
                <a:gd name="connsiteX1" fmla="*/ 164230 w 198149"/>
                <a:gd name="connsiteY1" fmla="*/ 289382 h 288217"/>
                <a:gd name="connsiteX2" fmla="*/ 158226 w 198149"/>
                <a:gd name="connsiteY2" fmla="*/ 284578 h 288217"/>
                <a:gd name="connsiteX3" fmla="*/ 158226 w 198149"/>
                <a:gd name="connsiteY3" fmla="*/ 283377 h 288217"/>
                <a:gd name="connsiteX4" fmla="*/ 158226 w 198149"/>
                <a:gd name="connsiteY4" fmla="*/ 98438 h 288217"/>
                <a:gd name="connsiteX5" fmla="*/ 140813 w 198149"/>
                <a:gd name="connsiteY5" fmla="*/ 57307 h 288217"/>
                <a:gd name="connsiteX6" fmla="*/ 57950 w 198149"/>
                <a:gd name="connsiteY6" fmla="*/ 57006 h 288217"/>
                <a:gd name="connsiteX7" fmla="*/ 57650 w 198149"/>
                <a:gd name="connsiteY7" fmla="*/ 57307 h 288217"/>
                <a:gd name="connsiteX8" fmla="*/ 41137 w 198149"/>
                <a:gd name="connsiteY8" fmla="*/ 98438 h 288217"/>
                <a:gd name="connsiteX9" fmla="*/ 41137 w 198149"/>
                <a:gd name="connsiteY9" fmla="*/ 283377 h 288217"/>
                <a:gd name="connsiteX10" fmla="*/ 36634 w 198149"/>
                <a:gd name="connsiteY10" fmla="*/ 289382 h 288217"/>
                <a:gd name="connsiteX11" fmla="*/ 34833 w 198149"/>
                <a:gd name="connsiteY11" fmla="*/ 289382 h 288217"/>
                <a:gd name="connsiteX12" fmla="*/ 6011 w 198149"/>
                <a:gd name="connsiteY12" fmla="*/ 289382 h 288217"/>
                <a:gd name="connsiteX13" fmla="*/ 6 w 198149"/>
                <a:gd name="connsiteY13" fmla="*/ 284578 h 288217"/>
                <a:gd name="connsiteX14" fmla="*/ 6 w 198149"/>
                <a:gd name="connsiteY14" fmla="*/ 283377 h 288217"/>
                <a:gd name="connsiteX15" fmla="*/ 6 w 198149"/>
                <a:gd name="connsiteY15" fmla="*/ 98438 h 288217"/>
                <a:gd name="connsiteX16" fmla="*/ 29428 w 198149"/>
                <a:gd name="connsiteY16" fmla="*/ 28785 h 288217"/>
                <a:gd name="connsiteX17" fmla="*/ 168734 w 198149"/>
                <a:gd name="connsiteY17" fmla="*/ 28185 h 288217"/>
                <a:gd name="connsiteX18" fmla="*/ 169334 w 198149"/>
                <a:gd name="connsiteY18" fmla="*/ 28785 h 288217"/>
                <a:gd name="connsiteX19" fmla="*/ 198456 w 198149"/>
                <a:gd name="connsiteY19" fmla="*/ 98438 h 288217"/>
                <a:gd name="connsiteX20" fmla="*/ 198456 w 198149"/>
                <a:gd name="connsiteY20" fmla="*/ 283377 h 288217"/>
                <a:gd name="connsiteX21" fmla="*/ 193352 w 198149"/>
                <a:gd name="connsiteY21" fmla="*/ 289382 h 288217"/>
                <a:gd name="connsiteX22" fmla="*/ 192452 w 198149"/>
                <a:gd name="connsiteY22" fmla="*/ 289382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8149" h="288217">
                  <a:moveTo>
                    <a:pt x="192452" y="289382"/>
                  </a:moveTo>
                  <a:lnTo>
                    <a:pt x="164230" y="289382"/>
                  </a:lnTo>
                  <a:cubicBezTo>
                    <a:pt x="161228" y="289682"/>
                    <a:pt x="158526" y="287580"/>
                    <a:pt x="158226" y="284578"/>
                  </a:cubicBezTo>
                  <a:cubicBezTo>
                    <a:pt x="158226" y="284278"/>
                    <a:pt x="158226" y="283677"/>
                    <a:pt x="158226" y="283377"/>
                  </a:cubicBezTo>
                  <a:lnTo>
                    <a:pt x="158226" y="98438"/>
                  </a:lnTo>
                  <a:cubicBezTo>
                    <a:pt x="158526" y="82826"/>
                    <a:pt x="152221" y="68115"/>
                    <a:pt x="140813" y="57307"/>
                  </a:cubicBezTo>
                  <a:cubicBezTo>
                    <a:pt x="117995" y="34490"/>
                    <a:pt x="80767" y="34490"/>
                    <a:pt x="57950" y="57006"/>
                  </a:cubicBezTo>
                  <a:cubicBezTo>
                    <a:pt x="57950" y="57006"/>
                    <a:pt x="57650" y="57307"/>
                    <a:pt x="57650" y="57307"/>
                  </a:cubicBezTo>
                  <a:cubicBezTo>
                    <a:pt x="46842" y="68115"/>
                    <a:pt x="40837" y="83126"/>
                    <a:pt x="41137" y="98438"/>
                  </a:cubicBezTo>
                  <a:lnTo>
                    <a:pt x="41137" y="283377"/>
                  </a:lnTo>
                  <a:cubicBezTo>
                    <a:pt x="41738" y="286380"/>
                    <a:pt x="39636" y="289082"/>
                    <a:pt x="36634" y="289382"/>
                  </a:cubicBezTo>
                  <a:cubicBezTo>
                    <a:pt x="36033" y="289382"/>
                    <a:pt x="35433" y="289382"/>
                    <a:pt x="34833" y="289382"/>
                  </a:cubicBezTo>
                  <a:lnTo>
                    <a:pt x="6011" y="289382"/>
                  </a:lnTo>
                  <a:cubicBezTo>
                    <a:pt x="3009" y="289682"/>
                    <a:pt x="306" y="287580"/>
                    <a:pt x="6" y="284578"/>
                  </a:cubicBezTo>
                  <a:cubicBezTo>
                    <a:pt x="6" y="284278"/>
                    <a:pt x="6" y="283677"/>
                    <a:pt x="6" y="283377"/>
                  </a:cubicBezTo>
                  <a:lnTo>
                    <a:pt x="6" y="98438"/>
                  </a:lnTo>
                  <a:cubicBezTo>
                    <a:pt x="-294" y="72318"/>
                    <a:pt x="10214" y="47099"/>
                    <a:pt x="29428" y="28785"/>
                  </a:cubicBezTo>
                  <a:cubicBezTo>
                    <a:pt x="67858" y="-9344"/>
                    <a:pt x="130004" y="-9644"/>
                    <a:pt x="168734" y="28185"/>
                  </a:cubicBezTo>
                  <a:cubicBezTo>
                    <a:pt x="169034" y="28485"/>
                    <a:pt x="169034" y="28485"/>
                    <a:pt x="169334" y="28785"/>
                  </a:cubicBezTo>
                  <a:cubicBezTo>
                    <a:pt x="188248" y="47099"/>
                    <a:pt x="198756" y="72318"/>
                    <a:pt x="198456" y="98438"/>
                  </a:cubicBezTo>
                  <a:lnTo>
                    <a:pt x="198456" y="283377"/>
                  </a:lnTo>
                  <a:cubicBezTo>
                    <a:pt x="198756" y="286380"/>
                    <a:pt x="196355" y="289082"/>
                    <a:pt x="193352" y="289382"/>
                  </a:cubicBezTo>
                  <a:cubicBezTo>
                    <a:pt x="193052" y="289382"/>
                    <a:pt x="192752" y="289382"/>
                    <a:pt x="192452" y="289382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22" name="Forme libre : forme 221">
              <a:extLst>
                <a:ext uri="{FF2B5EF4-FFF2-40B4-BE49-F238E27FC236}">
                  <a16:creationId xmlns:a16="http://schemas.microsoft.com/office/drawing/2014/main" id="{14932DF6-990E-43CA-A33B-4AC8AB12DE70}"/>
                </a:ext>
              </a:extLst>
            </p:cNvPr>
            <p:cNvSpPr/>
            <p:nvPr/>
          </p:nvSpPr>
          <p:spPr>
            <a:xfrm>
              <a:off x="6523803" y="4111091"/>
              <a:ext cx="39029" cy="177134"/>
            </a:xfrm>
            <a:custGeom>
              <a:avLst/>
              <a:gdLst>
                <a:gd name="connsiteX0" fmla="*/ 39930 w 39029"/>
                <a:gd name="connsiteY0" fmla="*/ 37528 h 177133"/>
                <a:gd name="connsiteX1" fmla="*/ 39930 w 39029"/>
                <a:gd name="connsiteY1" fmla="*/ 173231 h 177133"/>
                <a:gd name="connsiteX2" fmla="*/ 34826 w 39029"/>
                <a:gd name="connsiteY2" fmla="*/ 179235 h 177133"/>
                <a:gd name="connsiteX3" fmla="*/ 33625 w 39029"/>
                <a:gd name="connsiteY3" fmla="*/ 179235 h 177133"/>
                <a:gd name="connsiteX4" fmla="*/ 6005 w 39029"/>
                <a:gd name="connsiteY4" fmla="*/ 179235 h 177133"/>
                <a:gd name="connsiteX5" fmla="*/ 0 w 39029"/>
                <a:gd name="connsiteY5" fmla="*/ 174732 h 177133"/>
                <a:gd name="connsiteX6" fmla="*/ 0 w 39029"/>
                <a:gd name="connsiteY6" fmla="*/ 172930 h 177133"/>
                <a:gd name="connsiteX7" fmla="*/ 0 w 39029"/>
                <a:gd name="connsiteY7" fmla="*/ 0 h 177133"/>
                <a:gd name="connsiteX8" fmla="*/ 39930 w 39029"/>
                <a:gd name="connsiteY8" fmla="*/ 37528 h 177133"/>
                <a:gd name="connsiteX9" fmla="*/ 39930 w 39029"/>
                <a:gd name="connsiteY9" fmla="*/ 37528 h 177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029" h="177133">
                  <a:moveTo>
                    <a:pt x="39930" y="37528"/>
                  </a:moveTo>
                  <a:lnTo>
                    <a:pt x="39930" y="173231"/>
                  </a:lnTo>
                  <a:cubicBezTo>
                    <a:pt x="40230" y="176233"/>
                    <a:pt x="38129" y="178935"/>
                    <a:pt x="34826" y="179235"/>
                  </a:cubicBezTo>
                  <a:cubicBezTo>
                    <a:pt x="34526" y="179235"/>
                    <a:pt x="34226" y="179235"/>
                    <a:pt x="33625" y="179235"/>
                  </a:cubicBezTo>
                  <a:lnTo>
                    <a:pt x="6005" y="179235"/>
                  </a:lnTo>
                  <a:cubicBezTo>
                    <a:pt x="3002" y="179836"/>
                    <a:pt x="300" y="177734"/>
                    <a:pt x="0" y="174732"/>
                  </a:cubicBezTo>
                  <a:cubicBezTo>
                    <a:pt x="0" y="174131"/>
                    <a:pt x="0" y="173531"/>
                    <a:pt x="0" y="172930"/>
                  </a:cubicBezTo>
                  <a:lnTo>
                    <a:pt x="0" y="0"/>
                  </a:lnTo>
                  <a:lnTo>
                    <a:pt x="39930" y="37528"/>
                  </a:lnTo>
                  <a:lnTo>
                    <a:pt x="39930" y="37528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23" name="Forme libre : forme 222">
              <a:extLst>
                <a:ext uri="{FF2B5EF4-FFF2-40B4-BE49-F238E27FC236}">
                  <a16:creationId xmlns:a16="http://schemas.microsoft.com/office/drawing/2014/main" id="{6CD20DC9-0C34-4C92-8BE4-482DC8087033}"/>
                </a:ext>
              </a:extLst>
            </p:cNvPr>
            <p:cNvSpPr/>
            <p:nvPr/>
          </p:nvSpPr>
          <p:spPr>
            <a:xfrm>
              <a:off x="6624477" y="4006913"/>
              <a:ext cx="192145" cy="282213"/>
            </a:xfrm>
            <a:custGeom>
              <a:avLst/>
              <a:gdLst>
                <a:gd name="connsiteX0" fmla="*/ 193248 w 192145"/>
                <a:gd name="connsiteY0" fmla="*/ 117989 h 282212"/>
                <a:gd name="connsiteX1" fmla="*/ 135004 w 192145"/>
                <a:gd name="connsiteY1" fmla="*/ 277709 h 282212"/>
                <a:gd name="connsiteX2" fmla="*/ 128699 w 192145"/>
                <a:gd name="connsiteY2" fmla="*/ 282813 h 282212"/>
                <a:gd name="connsiteX3" fmla="*/ 105882 w 192145"/>
                <a:gd name="connsiteY3" fmla="*/ 282813 h 282212"/>
                <a:gd name="connsiteX4" fmla="*/ 99577 w 192145"/>
                <a:gd name="connsiteY4" fmla="*/ 277709 h 282212"/>
                <a:gd name="connsiteX5" fmla="*/ 803 w 192145"/>
                <a:gd name="connsiteY5" fmla="*/ 8406 h 282212"/>
                <a:gd name="connsiteX6" fmla="*/ 6207 w 192145"/>
                <a:gd name="connsiteY6" fmla="*/ 0 h 282212"/>
                <a:gd name="connsiteX7" fmla="*/ 36230 w 192145"/>
                <a:gd name="connsiteY7" fmla="*/ 0 h 282212"/>
                <a:gd name="connsiteX8" fmla="*/ 43435 w 192145"/>
                <a:gd name="connsiteY8" fmla="*/ 5704 h 282212"/>
                <a:gd name="connsiteX9" fmla="*/ 112787 w 192145"/>
                <a:gd name="connsiteY9" fmla="*/ 195447 h 282212"/>
                <a:gd name="connsiteX10" fmla="*/ 116690 w 192145"/>
                <a:gd name="connsiteY10" fmla="*/ 198149 h 282212"/>
                <a:gd name="connsiteX11" fmla="*/ 121194 w 192145"/>
                <a:gd name="connsiteY11" fmla="*/ 195447 h 282212"/>
                <a:gd name="connsiteX12" fmla="*/ 167128 w 192145"/>
                <a:gd name="connsiteY12" fmla="*/ 69953 h 282212"/>
                <a:gd name="connsiteX13" fmla="*/ 193248 w 192145"/>
                <a:gd name="connsiteY13" fmla="*/ 117989 h 282212"/>
                <a:gd name="connsiteX14" fmla="*/ 193248 w 192145"/>
                <a:gd name="connsiteY14" fmla="*/ 117989 h 282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2145" h="282212">
                  <a:moveTo>
                    <a:pt x="193248" y="117989"/>
                  </a:moveTo>
                  <a:lnTo>
                    <a:pt x="135004" y="277709"/>
                  </a:lnTo>
                  <a:cubicBezTo>
                    <a:pt x="134404" y="280712"/>
                    <a:pt x="131702" y="282813"/>
                    <a:pt x="128699" y="282813"/>
                  </a:cubicBezTo>
                  <a:lnTo>
                    <a:pt x="105882" y="282813"/>
                  </a:lnTo>
                  <a:cubicBezTo>
                    <a:pt x="102580" y="282813"/>
                    <a:pt x="100778" y="281012"/>
                    <a:pt x="99577" y="277709"/>
                  </a:cubicBezTo>
                  <a:lnTo>
                    <a:pt x="803" y="8406"/>
                  </a:lnTo>
                  <a:cubicBezTo>
                    <a:pt x="-1299" y="3002"/>
                    <a:pt x="803" y="0"/>
                    <a:pt x="6207" y="0"/>
                  </a:cubicBezTo>
                  <a:lnTo>
                    <a:pt x="36230" y="0"/>
                  </a:lnTo>
                  <a:cubicBezTo>
                    <a:pt x="39832" y="0"/>
                    <a:pt x="42835" y="2402"/>
                    <a:pt x="43435" y="5704"/>
                  </a:cubicBezTo>
                  <a:lnTo>
                    <a:pt x="112787" y="195447"/>
                  </a:lnTo>
                  <a:cubicBezTo>
                    <a:pt x="113088" y="197249"/>
                    <a:pt x="114889" y="198450"/>
                    <a:pt x="116690" y="198149"/>
                  </a:cubicBezTo>
                  <a:cubicBezTo>
                    <a:pt x="118792" y="198450"/>
                    <a:pt x="120593" y="197249"/>
                    <a:pt x="121194" y="195447"/>
                  </a:cubicBezTo>
                  <a:lnTo>
                    <a:pt x="167128" y="69953"/>
                  </a:lnTo>
                  <a:lnTo>
                    <a:pt x="193248" y="117989"/>
                  </a:lnTo>
                  <a:lnTo>
                    <a:pt x="193248" y="117989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24" name="Forme libre : forme 223">
              <a:extLst>
                <a:ext uri="{FF2B5EF4-FFF2-40B4-BE49-F238E27FC236}">
                  <a16:creationId xmlns:a16="http://schemas.microsoft.com/office/drawing/2014/main" id="{94C7CC29-813D-4EE1-848B-FE490AB95F14}"/>
                </a:ext>
              </a:extLst>
            </p:cNvPr>
            <p:cNvSpPr/>
            <p:nvPr/>
          </p:nvSpPr>
          <p:spPr>
            <a:xfrm>
              <a:off x="6902066" y="3999101"/>
              <a:ext cx="201152" cy="297224"/>
            </a:xfrm>
            <a:custGeom>
              <a:avLst/>
              <a:gdLst>
                <a:gd name="connsiteX0" fmla="*/ 197872 w 201151"/>
                <a:gd name="connsiteY0" fmla="*/ 166632 h 297224"/>
                <a:gd name="connsiteX1" fmla="*/ 47158 w 201151"/>
                <a:gd name="connsiteY1" fmla="*/ 166632 h 297224"/>
                <a:gd name="connsiteX2" fmla="*/ 40853 w 201151"/>
                <a:gd name="connsiteY2" fmla="*/ 171736 h 297224"/>
                <a:gd name="connsiteX3" fmla="*/ 40853 w 201151"/>
                <a:gd name="connsiteY3" fmla="*/ 172937 h 297224"/>
                <a:gd name="connsiteX4" fmla="*/ 40853 w 201151"/>
                <a:gd name="connsiteY4" fmla="*/ 190049 h 297224"/>
                <a:gd name="connsiteX5" fmla="*/ 60368 w 201151"/>
                <a:gd name="connsiteY5" fmla="*/ 237185 h 297224"/>
                <a:gd name="connsiteX6" fmla="*/ 106903 w 201151"/>
                <a:gd name="connsiteY6" fmla="*/ 257000 h 297224"/>
                <a:gd name="connsiteX7" fmla="*/ 170251 w 201151"/>
                <a:gd name="connsiteY7" fmla="*/ 237185 h 297224"/>
                <a:gd name="connsiteX8" fmla="*/ 177156 w 201151"/>
                <a:gd name="connsiteY8" fmla="*/ 237185 h 297224"/>
                <a:gd name="connsiteX9" fmla="*/ 178057 w 201151"/>
                <a:gd name="connsiteY9" fmla="*/ 238386 h 297224"/>
                <a:gd name="connsiteX10" fmla="*/ 194570 w 201151"/>
                <a:gd name="connsiteY10" fmla="*/ 262404 h 297224"/>
                <a:gd name="connsiteX11" fmla="*/ 194269 w 201151"/>
                <a:gd name="connsiteY11" fmla="*/ 269609 h 297224"/>
                <a:gd name="connsiteX12" fmla="*/ 193068 w 201151"/>
                <a:gd name="connsiteY12" fmla="*/ 270510 h 297224"/>
                <a:gd name="connsiteX13" fmla="*/ 107204 w 201151"/>
                <a:gd name="connsiteY13" fmla="*/ 298131 h 297224"/>
                <a:gd name="connsiteX14" fmla="*/ 31546 w 201151"/>
                <a:gd name="connsiteY14" fmla="*/ 266607 h 297224"/>
                <a:gd name="connsiteX15" fmla="*/ 23 w 201151"/>
                <a:gd name="connsiteY15" fmla="*/ 190950 h 297224"/>
                <a:gd name="connsiteX16" fmla="*/ 23 w 201151"/>
                <a:gd name="connsiteY16" fmla="*/ 101483 h 297224"/>
                <a:gd name="connsiteX17" fmla="*/ 101499 w 201151"/>
                <a:gd name="connsiteY17" fmla="*/ 6 h 297224"/>
                <a:gd name="connsiteX18" fmla="*/ 173554 w 201151"/>
                <a:gd name="connsiteY18" fmla="*/ 30029 h 297224"/>
                <a:gd name="connsiteX19" fmla="*/ 202976 w 201151"/>
                <a:gd name="connsiteY19" fmla="*/ 101483 h 297224"/>
                <a:gd name="connsiteX20" fmla="*/ 202976 w 201151"/>
                <a:gd name="connsiteY20" fmla="*/ 160627 h 297224"/>
                <a:gd name="connsiteX21" fmla="*/ 197272 w 201151"/>
                <a:gd name="connsiteY21" fmla="*/ 166632 h 297224"/>
                <a:gd name="connsiteX22" fmla="*/ 162445 w 201151"/>
                <a:gd name="connsiteY22" fmla="*/ 101783 h 297224"/>
                <a:gd name="connsiteX23" fmla="*/ 102400 w 201151"/>
                <a:gd name="connsiteY23" fmla="*/ 40837 h 297224"/>
                <a:gd name="connsiteX24" fmla="*/ 101499 w 201151"/>
                <a:gd name="connsiteY24" fmla="*/ 40837 h 297224"/>
                <a:gd name="connsiteX25" fmla="*/ 58867 w 201151"/>
                <a:gd name="connsiteY25" fmla="*/ 58550 h 297224"/>
                <a:gd name="connsiteX26" fmla="*/ 41454 w 201151"/>
                <a:gd name="connsiteY26" fmla="*/ 101483 h 297224"/>
                <a:gd name="connsiteX27" fmla="*/ 41454 w 201151"/>
                <a:gd name="connsiteY27" fmla="*/ 120397 h 297224"/>
                <a:gd name="connsiteX28" fmla="*/ 46558 w 201151"/>
                <a:gd name="connsiteY28" fmla="*/ 126401 h 297224"/>
                <a:gd name="connsiteX29" fmla="*/ 47759 w 201151"/>
                <a:gd name="connsiteY29" fmla="*/ 126401 h 297224"/>
                <a:gd name="connsiteX30" fmla="*/ 157942 w 201151"/>
                <a:gd name="connsiteY30" fmla="*/ 126401 h 297224"/>
                <a:gd name="connsiteX31" fmla="*/ 163346 w 201151"/>
                <a:gd name="connsiteY31" fmla="*/ 120397 h 297224"/>
                <a:gd name="connsiteX32" fmla="*/ 162445 w 201151"/>
                <a:gd name="connsiteY32" fmla="*/ 101783 h 297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1151" h="297224">
                  <a:moveTo>
                    <a:pt x="197872" y="166632"/>
                  </a:moveTo>
                  <a:lnTo>
                    <a:pt x="47158" y="166632"/>
                  </a:lnTo>
                  <a:cubicBezTo>
                    <a:pt x="44156" y="166332"/>
                    <a:pt x="41154" y="168433"/>
                    <a:pt x="40853" y="171736"/>
                  </a:cubicBezTo>
                  <a:cubicBezTo>
                    <a:pt x="40853" y="172036"/>
                    <a:pt x="40853" y="172336"/>
                    <a:pt x="40853" y="172937"/>
                  </a:cubicBezTo>
                  <a:lnTo>
                    <a:pt x="40853" y="190049"/>
                  </a:lnTo>
                  <a:cubicBezTo>
                    <a:pt x="40553" y="207763"/>
                    <a:pt x="47458" y="224876"/>
                    <a:pt x="60368" y="237185"/>
                  </a:cubicBezTo>
                  <a:cubicBezTo>
                    <a:pt x="72377" y="249794"/>
                    <a:pt x="89490" y="257000"/>
                    <a:pt x="106903" y="257000"/>
                  </a:cubicBezTo>
                  <a:cubicBezTo>
                    <a:pt x="129420" y="257300"/>
                    <a:pt x="151637" y="250095"/>
                    <a:pt x="170251" y="237185"/>
                  </a:cubicBezTo>
                  <a:cubicBezTo>
                    <a:pt x="172053" y="235384"/>
                    <a:pt x="175055" y="235384"/>
                    <a:pt x="177156" y="237185"/>
                  </a:cubicBezTo>
                  <a:cubicBezTo>
                    <a:pt x="177457" y="237485"/>
                    <a:pt x="177757" y="237785"/>
                    <a:pt x="178057" y="238386"/>
                  </a:cubicBezTo>
                  <a:lnTo>
                    <a:pt x="194570" y="262404"/>
                  </a:lnTo>
                  <a:cubicBezTo>
                    <a:pt x="196671" y="264506"/>
                    <a:pt x="196371" y="267808"/>
                    <a:pt x="194269" y="269609"/>
                  </a:cubicBezTo>
                  <a:cubicBezTo>
                    <a:pt x="193969" y="269910"/>
                    <a:pt x="193369" y="270210"/>
                    <a:pt x="193068" y="270510"/>
                  </a:cubicBezTo>
                  <a:cubicBezTo>
                    <a:pt x="168150" y="288824"/>
                    <a:pt x="138127" y="298431"/>
                    <a:pt x="107204" y="298131"/>
                  </a:cubicBezTo>
                  <a:cubicBezTo>
                    <a:pt x="78682" y="298431"/>
                    <a:pt x="51361" y="287023"/>
                    <a:pt x="31546" y="266607"/>
                  </a:cubicBezTo>
                  <a:cubicBezTo>
                    <a:pt x="10831" y="246792"/>
                    <a:pt x="-578" y="219171"/>
                    <a:pt x="23" y="190950"/>
                  </a:cubicBezTo>
                  <a:lnTo>
                    <a:pt x="23" y="101483"/>
                  </a:lnTo>
                  <a:cubicBezTo>
                    <a:pt x="-278" y="45641"/>
                    <a:pt x="45357" y="306"/>
                    <a:pt x="101499" y="6"/>
                  </a:cubicBezTo>
                  <a:cubicBezTo>
                    <a:pt x="128820" y="-294"/>
                    <a:pt x="154940" y="10514"/>
                    <a:pt x="173554" y="30029"/>
                  </a:cubicBezTo>
                  <a:cubicBezTo>
                    <a:pt x="193068" y="48643"/>
                    <a:pt x="203576" y="74462"/>
                    <a:pt x="202976" y="101483"/>
                  </a:cubicBezTo>
                  <a:lnTo>
                    <a:pt x="202976" y="160627"/>
                  </a:lnTo>
                  <a:cubicBezTo>
                    <a:pt x="202976" y="164530"/>
                    <a:pt x="201175" y="166632"/>
                    <a:pt x="197272" y="166632"/>
                  </a:cubicBezTo>
                  <a:moveTo>
                    <a:pt x="162445" y="101783"/>
                  </a:moveTo>
                  <a:cubicBezTo>
                    <a:pt x="162746" y="68458"/>
                    <a:pt x="135725" y="41137"/>
                    <a:pt x="102400" y="40837"/>
                  </a:cubicBezTo>
                  <a:cubicBezTo>
                    <a:pt x="102100" y="40837"/>
                    <a:pt x="101799" y="40837"/>
                    <a:pt x="101499" y="40837"/>
                  </a:cubicBezTo>
                  <a:cubicBezTo>
                    <a:pt x="85287" y="40537"/>
                    <a:pt x="69975" y="46841"/>
                    <a:pt x="58867" y="58550"/>
                  </a:cubicBezTo>
                  <a:cubicBezTo>
                    <a:pt x="47458" y="69959"/>
                    <a:pt x="41154" y="85270"/>
                    <a:pt x="41454" y="101483"/>
                  </a:cubicBezTo>
                  <a:lnTo>
                    <a:pt x="41454" y="120397"/>
                  </a:lnTo>
                  <a:cubicBezTo>
                    <a:pt x="41154" y="123399"/>
                    <a:pt x="43555" y="126101"/>
                    <a:pt x="46558" y="126401"/>
                  </a:cubicBezTo>
                  <a:cubicBezTo>
                    <a:pt x="46858" y="126401"/>
                    <a:pt x="47158" y="126401"/>
                    <a:pt x="47759" y="126401"/>
                  </a:cubicBezTo>
                  <a:lnTo>
                    <a:pt x="157942" y="126401"/>
                  </a:lnTo>
                  <a:cubicBezTo>
                    <a:pt x="161845" y="126401"/>
                    <a:pt x="163346" y="124300"/>
                    <a:pt x="163346" y="120397"/>
                  </a:cubicBezTo>
                  <a:lnTo>
                    <a:pt x="162445" y="101783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25" name="Forme libre : forme 224">
              <a:extLst>
                <a:ext uri="{FF2B5EF4-FFF2-40B4-BE49-F238E27FC236}">
                  <a16:creationId xmlns:a16="http://schemas.microsoft.com/office/drawing/2014/main" id="{356AA647-C707-493E-97F9-A4C75EC09045}"/>
                </a:ext>
              </a:extLst>
            </p:cNvPr>
            <p:cNvSpPr/>
            <p:nvPr/>
          </p:nvSpPr>
          <p:spPr>
            <a:xfrm>
              <a:off x="7168089" y="4142015"/>
              <a:ext cx="39029" cy="147111"/>
            </a:xfrm>
            <a:custGeom>
              <a:avLst/>
              <a:gdLst>
                <a:gd name="connsiteX0" fmla="*/ 39630 w 39029"/>
                <a:gd name="connsiteY0" fmla="*/ 0 h 147110"/>
                <a:gd name="connsiteX1" fmla="*/ 39630 w 39029"/>
                <a:gd name="connsiteY1" fmla="*/ 143808 h 147110"/>
                <a:gd name="connsiteX2" fmla="*/ 34826 w 39029"/>
                <a:gd name="connsiteY2" fmla="*/ 149813 h 147110"/>
                <a:gd name="connsiteX3" fmla="*/ 33625 w 39029"/>
                <a:gd name="connsiteY3" fmla="*/ 149813 h 147110"/>
                <a:gd name="connsiteX4" fmla="*/ 6005 w 39029"/>
                <a:gd name="connsiteY4" fmla="*/ 149813 h 147110"/>
                <a:gd name="connsiteX5" fmla="*/ 0 w 39029"/>
                <a:gd name="connsiteY5" fmla="*/ 144709 h 147110"/>
                <a:gd name="connsiteX6" fmla="*/ 0 w 39029"/>
                <a:gd name="connsiteY6" fmla="*/ 143508 h 147110"/>
                <a:gd name="connsiteX7" fmla="*/ 0 w 39029"/>
                <a:gd name="connsiteY7" fmla="*/ 26720 h 147110"/>
                <a:gd name="connsiteX8" fmla="*/ 39630 w 39029"/>
                <a:gd name="connsiteY8" fmla="*/ 0 h 147110"/>
                <a:gd name="connsiteX9" fmla="*/ 39630 w 39029"/>
                <a:gd name="connsiteY9" fmla="*/ 0 h 147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029" h="147110">
                  <a:moveTo>
                    <a:pt x="39630" y="0"/>
                  </a:moveTo>
                  <a:lnTo>
                    <a:pt x="39630" y="143808"/>
                  </a:lnTo>
                  <a:cubicBezTo>
                    <a:pt x="39930" y="146811"/>
                    <a:pt x="37829" y="149513"/>
                    <a:pt x="34826" y="149813"/>
                  </a:cubicBezTo>
                  <a:cubicBezTo>
                    <a:pt x="34526" y="149813"/>
                    <a:pt x="33926" y="149813"/>
                    <a:pt x="33625" y="149813"/>
                  </a:cubicBezTo>
                  <a:lnTo>
                    <a:pt x="6005" y="149813"/>
                  </a:lnTo>
                  <a:cubicBezTo>
                    <a:pt x="3002" y="150113"/>
                    <a:pt x="300" y="148012"/>
                    <a:pt x="0" y="144709"/>
                  </a:cubicBezTo>
                  <a:cubicBezTo>
                    <a:pt x="0" y="144409"/>
                    <a:pt x="0" y="144109"/>
                    <a:pt x="0" y="143508"/>
                  </a:cubicBezTo>
                  <a:lnTo>
                    <a:pt x="0" y="26720"/>
                  </a:lnTo>
                  <a:lnTo>
                    <a:pt x="39630" y="0"/>
                  </a:lnTo>
                  <a:lnTo>
                    <a:pt x="39630" y="0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26" name="Forme libre : forme 225">
              <a:extLst>
                <a:ext uri="{FF2B5EF4-FFF2-40B4-BE49-F238E27FC236}">
                  <a16:creationId xmlns:a16="http://schemas.microsoft.com/office/drawing/2014/main" id="{64C7EBFB-4BF0-4855-A0C0-E1B5F1B9A32D}"/>
                </a:ext>
              </a:extLst>
            </p:cNvPr>
            <p:cNvSpPr/>
            <p:nvPr/>
          </p:nvSpPr>
          <p:spPr>
            <a:xfrm>
              <a:off x="7592289" y="3898809"/>
              <a:ext cx="51039" cy="390294"/>
            </a:xfrm>
            <a:custGeom>
              <a:avLst/>
              <a:gdLst>
                <a:gd name="connsiteX0" fmla="*/ 44454 w 51038"/>
                <a:gd name="connsiteY0" fmla="*/ 46558 h 390294"/>
                <a:gd name="connsiteX1" fmla="*/ 25840 w 51038"/>
                <a:gd name="connsiteY1" fmla="*/ 54964 h 390294"/>
                <a:gd name="connsiteX2" fmla="*/ 7827 w 51038"/>
                <a:gd name="connsiteY2" fmla="*/ 46558 h 390294"/>
                <a:gd name="connsiteX3" fmla="*/ 21 w 51038"/>
                <a:gd name="connsiteY3" fmla="*/ 27343 h 390294"/>
                <a:gd name="connsiteX4" fmla="*/ 7827 w 51038"/>
                <a:gd name="connsiteY4" fmla="*/ 7828 h 390294"/>
                <a:gd name="connsiteX5" fmla="*/ 25840 w 51038"/>
                <a:gd name="connsiteY5" fmla="*/ 23 h 390294"/>
                <a:gd name="connsiteX6" fmla="*/ 44454 w 51038"/>
                <a:gd name="connsiteY6" fmla="*/ 7828 h 390294"/>
                <a:gd name="connsiteX7" fmla="*/ 52560 w 51038"/>
                <a:gd name="connsiteY7" fmla="*/ 27343 h 390294"/>
                <a:gd name="connsiteX8" fmla="*/ 44454 w 51038"/>
                <a:gd name="connsiteY8" fmla="*/ 46558 h 390294"/>
                <a:gd name="connsiteX9" fmla="*/ 39651 w 51038"/>
                <a:gd name="connsiteY9" fmla="*/ 392719 h 390294"/>
                <a:gd name="connsiteX10" fmla="*/ 12630 w 51038"/>
                <a:gd name="connsiteY10" fmla="*/ 392719 h 390294"/>
                <a:gd name="connsiteX11" fmla="*/ 6926 w 51038"/>
                <a:gd name="connsiteY11" fmla="*/ 386714 h 390294"/>
                <a:gd name="connsiteX12" fmla="*/ 6926 w 51038"/>
                <a:gd name="connsiteY12" fmla="*/ 112307 h 390294"/>
                <a:gd name="connsiteX13" fmla="*/ 12630 w 51038"/>
                <a:gd name="connsiteY13" fmla="*/ 106603 h 390294"/>
                <a:gd name="connsiteX14" fmla="*/ 39651 w 51038"/>
                <a:gd name="connsiteY14" fmla="*/ 106603 h 390294"/>
                <a:gd name="connsiteX15" fmla="*/ 45655 w 51038"/>
                <a:gd name="connsiteY15" fmla="*/ 112307 h 390294"/>
                <a:gd name="connsiteX16" fmla="*/ 45655 w 51038"/>
                <a:gd name="connsiteY16" fmla="*/ 386414 h 390294"/>
                <a:gd name="connsiteX17" fmla="*/ 40852 w 51038"/>
                <a:gd name="connsiteY17" fmla="*/ 392418 h 390294"/>
                <a:gd name="connsiteX18" fmla="*/ 39651 w 51038"/>
                <a:gd name="connsiteY18" fmla="*/ 392719 h 390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1038" h="390294">
                  <a:moveTo>
                    <a:pt x="44454" y="46558"/>
                  </a:moveTo>
                  <a:cubicBezTo>
                    <a:pt x="39651" y="51962"/>
                    <a:pt x="33046" y="55264"/>
                    <a:pt x="25840" y="54964"/>
                  </a:cubicBezTo>
                  <a:cubicBezTo>
                    <a:pt x="18935" y="54964"/>
                    <a:pt x="12330" y="51962"/>
                    <a:pt x="7827" y="46558"/>
                  </a:cubicBezTo>
                  <a:cubicBezTo>
                    <a:pt x="2723" y="41754"/>
                    <a:pt x="-280" y="34849"/>
                    <a:pt x="21" y="27343"/>
                  </a:cubicBezTo>
                  <a:cubicBezTo>
                    <a:pt x="-280" y="19837"/>
                    <a:pt x="2723" y="12632"/>
                    <a:pt x="7827" y="7828"/>
                  </a:cubicBezTo>
                  <a:cubicBezTo>
                    <a:pt x="12330" y="2424"/>
                    <a:pt x="18935" y="-278"/>
                    <a:pt x="25840" y="23"/>
                  </a:cubicBezTo>
                  <a:cubicBezTo>
                    <a:pt x="32745" y="-278"/>
                    <a:pt x="39651" y="2424"/>
                    <a:pt x="44454" y="7828"/>
                  </a:cubicBezTo>
                  <a:cubicBezTo>
                    <a:pt x="49858" y="12932"/>
                    <a:pt x="52560" y="20138"/>
                    <a:pt x="52560" y="27343"/>
                  </a:cubicBezTo>
                  <a:cubicBezTo>
                    <a:pt x="52260" y="34849"/>
                    <a:pt x="49558" y="41754"/>
                    <a:pt x="44454" y="46558"/>
                  </a:cubicBezTo>
                  <a:moveTo>
                    <a:pt x="39651" y="392719"/>
                  </a:moveTo>
                  <a:lnTo>
                    <a:pt x="12630" y="392719"/>
                  </a:lnTo>
                  <a:cubicBezTo>
                    <a:pt x="8427" y="392719"/>
                    <a:pt x="6926" y="390617"/>
                    <a:pt x="6926" y="386714"/>
                  </a:cubicBezTo>
                  <a:lnTo>
                    <a:pt x="6926" y="112307"/>
                  </a:lnTo>
                  <a:cubicBezTo>
                    <a:pt x="6926" y="108404"/>
                    <a:pt x="8427" y="106603"/>
                    <a:pt x="12630" y="106603"/>
                  </a:cubicBezTo>
                  <a:lnTo>
                    <a:pt x="39651" y="106603"/>
                  </a:lnTo>
                  <a:cubicBezTo>
                    <a:pt x="43553" y="106603"/>
                    <a:pt x="45655" y="108404"/>
                    <a:pt x="45655" y="112307"/>
                  </a:cubicBezTo>
                  <a:lnTo>
                    <a:pt x="45655" y="386414"/>
                  </a:lnTo>
                  <a:cubicBezTo>
                    <a:pt x="45955" y="389416"/>
                    <a:pt x="43854" y="392118"/>
                    <a:pt x="40852" y="392418"/>
                  </a:cubicBezTo>
                  <a:cubicBezTo>
                    <a:pt x="40551" y="392719"/>
                    <a:pt x="39951" y="392719"/>
                    <a:pt x="39651" y="392719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27" name="Forme libre : forme 226">
              <a:extLst>
                <a:ext uri="{FF2B5EF4-FFF2-40B4-BE49-F238E27FC236}">
                  <a16:creationId xmlns:a16="http://schemas.microsoft.com/office/drawing/2014/main" id="{95681AFE-72CC-41F5-82EB-2958FCBCC1CB}"/>
                </a:ext>
              </a:extLst>
            </p:cNvPr>
            <p:cNvSpPr/>
            <p:nvPr/>
          </p:nvSpPr>
          <p:spPr>
            <a:xfrm>
              <a:off x="7927941" y="3999084"/>
              <a:ext cx="201152" cy="297224"/>
            </a:xfrm>
            <a:custGeom>
              <a:avLst/>
              <a:gdLst>
                <a:gd name="connsiteX0" fmla="*/ 197872 w 201151"/>
                <a:gd name="connsiteY0" fmla="*/ 166649 h 297224"/>
                <a:gd name="connsiteX1" fmla="*/ 46858 w 201151"/>
                <a:gd name="connsiteY1" fmla="*/ 166649 h 297224"/>
                <a:gd name="connsiteX2" fmla="*/ 40854 w 201151"/>
                <a:gd name="connsiteY2" fmla="*/ 171452 h 297224"/>
                <a:gd name="connsiteX3" fmla="*/ 40854 w 201151"/>
                <a:gd name="connsiteY3" fmla="*/ 172653 h 297224"/>
                <a:gd name="connsiteX4" fmla="*/ 40854 w 201151"/>
                <a:gd name="connsiteY4" fmla="*/ 189766 h 297224"/>
                <a:gd name="connsiteX5" fmla="*/ 60368 w 201151"/>
                <a:gd name="connsiteY5" fmla="*/ 236902 h 297224"/>
                <a:gd name="connsiteX6" fmla="*/ 107504 w 201151"/>
                <a:gd name="connsiteY6" fmla="*/ 256717 h 297224"/>
                <a:gd name="connsiteX7" fmla="*/ 170852 w 201151"/>
                <a:gd name="connsiteY7" fmla="*/ 236902 h 297224"/>
                <a:gd name="connsiteX8" fmla="*/ 177757 w 201151"/>
                <a:gd name="connsiteY8" fmla="*/ 236902 h 297224"/>
                <a:gd name="connsiteX9" fmla="*/ 178357 w 201151"/>
                <a:gd name="connsiteY9" fmla="*/ 237802 h 297224"/>
                <a:gd name="connsiteX10" fmla="*/ 194870 w 201151"/>
                <a:gd name="connsiteY10" fmla="*/ 261821 h 297224"/>
                <a:gd name="connsiteX11" fmla="*/ 194570 w 201151"/>
                <a:gd name="connsiteY11" fmla="*/ 269026 h 297224"/>
                <a:gd name="connsiteX12" fmla="*/ 193369 w 201151"/>
                <a:gd name="connsiteY12" fmla="*/ 269927 h 297224"/>
                <a:gd name="connsiteX13" fmla="*/ 107504 w 201151"/>
                <a:gd name="connsiteY13" fmla="*/ 297247 h 297224"/>
                <a:gd name="connsiteX14" fmla="*/ 31546 w 201151"/>
                <a:gd name="connsiteY14" fmla="*/ 265724 h 297224"/>
                <a:gd name="connsiteX15" fmla="*/ 23 w 201151"/>
                <a:gd name="connsiteY15" fmla="*/ 190066 h 297224"/>
                <a:gd name="connsiteX16" fmla="*/ 23 w 201151"/>
                <a:gd name="connsiteY16" fmla="*/ 101199 h 297224"/>
                <a:gd name="connsiteX17" fmla="*/ 101499 w 201151"/>
                <a:gd name="connsiteY17" fmla="*/ 23 h 297224"/>
                <a:gd name="connsiteX18" fmla="*/ 101499 w 201151"/>
                <a:gd name="connsiteY18" fmla="*/ 23 h 297224"/>
                <a:gd name="connsiteX19" fmla="*/ 173554 w 201151"/>
                <a:gd name="connsiteY19" fmla="*/ 29746 h 297224"/>
                <a:gd name="connsiteX20" fmla="*/ 202976 w 201151"/>
                <a:gd name="connsiteY20" fmla="*/ 101199 h 297224"/>
                <a:gd name="connsiteX21" fmla="*/ 202976 w 201151"/>
                <a:gd name="connsiteY21" fmla="*/ 160344 h 297224"/>
                <a:gd name="connsiteX22" fmla="*/ 197272 w 201151"/>
                <a:gd name="connsiteY22" fmla="*/ 166349 h 297224"/>
                <a:gd name="connsiteX23" fmla="*/ 162445 w 201151"/>
                <a:gd name="connsiteY23" fmla="*/ 101800 h 297224"/>
                <a:gd name="connsiteX24" fmla="*/ 144732 w 201151"/>
                <a:gd name="connsiteY24" fmla="*/ 58567 h 297224"/>
                <a:gd name="connsiteX25" fmla="*/ 101499 w 201151"/>
                <a:gd name="connsiteY25" fmla="*/ 40854 h 297224"/>
                <a:gd name="connsiteX26" fmla="*/ 58867 w 201151"/>
                <a:gd name="connsiteY26" fmla="*/ 58567 h 297224"/>
                <a:gd name="connsiteX27" fmla="*/ 40553 w 201151"/>
                <a:gd name="connsiteY27" fmla="*/ 101800 h 297224"/>
                <a:gd name="connsiteX28" fmla="*/ 40553 w 201151"/>
                <a:gd name="connsiteY28" fmla="*/ 120714 h 297224"/>
                <a:gd name="connsiteX29" fmla="*/ 45357 w 201151"/>
                <a:gd name="connsiteY29" fmla="*/ 126719 h 297224"/>
                <a:gd name="connsiteX30" fmla="*/ 46558 w 201151"/>
                <a:gd name="connsiteY30" fmla="*/ 126719 h 297224"/>
                <a:gd name="connsiteX31" fmla="*/ 157041 w 201151"/>
                <a:gd name="connsiteY31" fmla="*/ 126719 h 297224"/>
                <a:gd name="connsiteX32" fmla="*/ 162746 w 201151"/>
                <a:gd name="connsiteY32" fmla="*/ 120714 h 297224"/>
                <a:gd name="connsiteX33" fmla="*/ 162746 w 201151"/>
                <a:gd name="connsiteY33" fmla="*/ 101800 h 297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01151" h="297224">
                  <a:moveTo>
                    <a:pt x="197872" y="166649"/>
                  </a:moveTo>
                  <a:lnTo>
                    <a:pt x="46858" y="166649"/>
                  </a:lnTo>
                  <a:cubicBezTo>
                    <a:pt x="43856" y="166349"/>
                    <a:pt x="41154" y="168450"/>
                    <a:pt x="40854" y="171452"/>
                  </a:cubicBezTo>
                  <a:cubicBezTo>
                    <a:pt x="40854" y="171753"/>
                    <a:pt x="40854" y="172353"/>
                    <a:pt x="40854" y="172653"/>
                  </a:cubicBezTo>
                  <a:lnTo>
                    <a:pt x="40854" y="189766"/>
                  </a:lnTo>
                  <a:cubicBezTo>
                    <a:pt x="40553" y="207480"/>
                    <a:pt x="47459" y="224593"/>
                    <a:pt x="60368" y="236902"/>
                  </a:cubicBezTo>
                  <a:cubicBezTo>
                    <a:pt x="72677" y="249812"/>
                    <a:pt x="89790" y="257017"/>
                    <a:pt x="107504" y="256717"/>
                  </a:cubicBezTo>
                  <a:cubicBezTo>
                    <a:pt x="130021" y="257017"/>
                    <a:pt x="152238" y="249812"/>
                    <a:pt x="170852" y="236902"/>
                  </a:cubicBezTo>
                  <a:cubicBezTo>
                    <a:pt x="172953" y="235100"/>
                    <a:pt x="175956" y="235100"/>
                    <a:pt x="177757" y="236902"/>
                  </a:cubicBezTo>
                  <a:cubicBezTo>
                    <a:pt x="178057" y="237202"/>
                    <a:pt x="178357" y="237502"/>
                    <a:pt x="178357" y="237802"/>
                  </a:cubicBezTo>
                  <a:lnTo>
                    <a:pt x="194870" y="261821"/>
                  </a:lnTo>
                  <a:cubicBezTo>
                    <a:pt x="196671" y="263922"/>
                    <a:pt x="196671" y="267225"/>
                    <a:pt x="194570" y="269026"/>
                  </a:cubicBezTo>
                  <a:cubicBezTo>
                    <a:pt x="194269" y="269326"/>
                    <a:pt x="193669" y="269626"/>
                    <a:pt x="193369" y="269927"/>
                  </a:cubicBezTo>
                  <a:cubicBezTo>
                    <a:pt x="168450" y="288241"/>
                    <a:pt x="138427" y="297548"/>
                    <a:pt x="107504" y="297247"/>
                  </a:cubicBezTo>
                  <a:cubicBezTo>
                    <a:pt x="78682" y="297848"/>
                    <a:pt x="51061" y="286139"/>
                    <a:pt x="31546" y="265724"/>
                  </a:cubicBezTo>
                  <a:cubicBezTo>
                    <a:pt x="10831" y="245909"/>
                    <a:pt x="-578" y="218288"/>
                    <a:pt x="23" y="190066"/>
                  </a:cubicBezTo>
                  <a:lnTo>
                    <a:pt x="23" y="101199"/>
                  </a:lnTo>
                  <a:cubicBezTo>
                    <a:pt x="-278" y="45357"/>
                    <a:pt x="45357" y="323"/>
                    <a:pt x="101499" y="23"/>
                  </a:cubicBezTo>
                  <a:lnTo>
                    <a:pt x="101499" y="23"/>
                  </a:lnTo>
                  <a:cubicBezTo>
                    <a:pt x="128820" y="-577"/>
                    <a:pt x="154940" y="10531"/>
                    <a:pt x="173554" y="29746"/>
                  </a:cubicBezTo>
                  <a:cubicBezTo>
                    <a:pt x="193069" y="48360"/>
                    <a:pt x="203576" y="74179"/>
                    <a:pt x="202976" y="101199"/>
                  </a:cubicBezTo>
                  <a:lnTo>
                    <a:pt x="202976" y="160344"/>
                  </a:lnTo>
                  <a:cubicBezTo>
                    <a:pt x="202976" y="164247"/>
                    <a:pt x="201175" y="166349"/>
                    <a:pt x="197272" y="166349"/>
                  </a:cubicBezTo>
                  <a:moveTo>
                    <a:pt x="162445" y="101800"/>
                  </a:moveTo>
                  <a:cubicBezTo>
                    <a:pt x="162746" y="85588"/>
                    <a:pt x="156441" y="69976"/>
                    <a:pt x="144732" y="58567"/>
                  </a:cubicBezTo>
                  <a:cubicBezTo>
                    <a:pt x="133323" y="46858"/>
                    <a:pt x="117711" y="40554"/>
                    <a:pt x="101499" y="40854"/>
                  </a:cubicBezTo>
                  <a:cubicBezTo>
                    <a:pt x="85287" y="40554"/>
                    <a:pt x="69976" y="46858"/>
                    <a:pt x="58867" y="58567"/>
                  </a:cubicBezTo>
                  <a:cubicBezTo>
                    <a:pt x="46858" y="69976"/>
                    <a:pt x="40253" y="85588"/>
                    <a:pt x="40553" y="101800"/>
                  </a:cubicBezTo>
                  <a:lnTo>
                    <a:pt x="40553" y="120714"/>
                  </a:lnTo>
                  <a:cubicBezTo>
                    <a:pt x="40253" y="123716"/>
                    <a:pt x="42355" y="126418"/>
                    <a:pt x="45357" y="126719"/>
                  </a:cubicBezTo>
                  <a:cubicBezTo>
                    <a:pt x="45657" y="126719"/>
                    <a:pt x="46258" y="126719"/>
                    <a:pt x="46558" y="126719"/>
                  </a:cubicBezTo>
                  <a:lnTo>
                    <a:pt x="157041" y="126719"/>
                  </a:lnTo>
                  <a:cubicBezTo>
                    <a:pt x="160944" y="126719"/>
                    <a:pt x="162746" y="124617"/>
                    <a:pt x="162746" y="120714"/>
                  </a:cubicBezTo>
                  <a:lnTo>
                    <a:pt x="162746" y="101800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28" name="Forme libre : forme 227">
              <a:extLst>
                <a:ext uri="{FF2B5EF4-FFF2-40B4-BE49-F238E27FC236}">
                  <a16:creationId xmlns:a16="http://schemas.microsoft.com/office/drawing/2014/main" id="{783B00F1-95A1-4A69-98A5-6B6648439E4A}"/>
                </a:ext>
              </a:extLst>
            </p:cNvPr>
            <p:cNvSpPr/>
            <p:nvPr/>
          </p:nvSpPr>
          <p:spPr>
            <a:xfrm>
              <a:off x="7334113" y="3998799"/>
              <a:ext cx="189143" cy="297224"/>
            </a:xfrm>
            <a:custGeom>
              <a:avLst/>
              <a:gdLst>
                <a:gd name="connsiteX0" fmla="*/ 18016 w 189142"/>
                <a:gd name="connsiteY0" fmla="*/ 238687 h 297224"/>
                <a:gd name="connsiteX1" fmla="*/ 102079 w 189142"/>
                <a:gd name="connsiteY1" fmla="*/ 260003 h 297224"/>
                <a:gd name="connsiteX2" fmla="*/ 135705 w 189142"/>
                <a:gd name="connsiteY2" fmla="*/ 245893 h 297224"/>
                <a:gd name="connsiteX3" fmla="*/ 149815 w 189142"/>
                <a:gd name="connsiteY3" fmla="*/ 212267 h 297224"/>
                <a:gd name="connsiteX4" fmla="*/ 140208 w 189142"/>
                <a:gd name="connsiteY4" fmla="*/ 185847 h 297224"/>
                <a:gd name="connsiteX5" fmla="*/ 116790 w 189142"/>
                <a:gd name="connsiteY5" fmla="*/ 169935 h 297224"/>
                <a:gd name="connsiteX6" fmla="*/ 57646 w 189142"/>
                <a:gd name="connsiteY6" fmla="*/ 153723 h 297224"/>
                <a:gd name="connsiteX7" fmla="*/ 2 w 189142"/>
                <a:gd name="connsiteY7" fmla="*/ 78967 h 297224"/>
                <a:gd name="connsiteX8" fmla="*/ 77761 w 189142"/>
                <a:gd name="connsiteY8" fmla="*/ 7 h 297224"/>
                <a:gd name="connsiteX9" fmla="*/ 79262 w 189142"/>
                <a:gd name="connsiteY9" fmla="*/ 7 h 297224"/>
                <a:gd name="connsiteX10" fmla="*/ 177136 w 189142"/>
                <a:gd name="connsiteY10" fmla="*/ 26427 h 297224"/>
                <a:gd name="connsiteX11" fmla="*/ 179538 w 189142"/>
                <a:gd name="connsiteY11" fmla="*/ 33633 h 297224"/>
                <a:gd name="connsiteX12" fmla="*/ 178637 w 189142"/>
                <a:gd name="connsiteY12" fmla="*/ 34834 h 297224"/>
                <a:gd name="connsiteX13" fmla="*/ 164226 w 189142"/>
                <a:gd name="connsiteY13" fmla="*/ 58852 h 297224"/>
                <a:gd name="connsiteX14" fmla="*/ 156420 w 189142"/>
                <a:gd name="connsiteY14" fmla="*/ 61554 h 297224"/>
                <a:gd name="connsiteX15" fmla="*/ 78361 w 189142"/>
                <a:gd name="connsiteY15" fmla="*/ 39637 h 297224"/>
                <a:gd name="connsiteX16" fmla="*/ 50740 w 189142"/>
                <a:gd name="connsiteY16" fmla="*/ 51046 h 297224"/>
                <a:gd name="connsiteX17" fmla="*/ 40232 w 189142"/>
                <a:gd name="connsiteY17" fmla="*/ 77466 h 297224"/>
                <a:gd name="connsiteX18" fmla="*/ 67553 w 189142"/>
                <a:gd name="connsiteY18" fmla="*/ 112892 h 297224"/>
                <a:gd name="connsiteX19" fmla="*/ 126398 w 189142"/>
                <a:gd name="connsiteY19" fmla="*/ 128504 h 297224"/>
                <a:gd name="connsiteX20" fmla="*/ 172933 w 189142"/>
                <a:gd name="connsiteY20" fmla="*/ 159427 h 297224"/>
                <a:gd name="connsiteX21" fmla="*/ 153418 w 189142"/>
                <a:gd name="connsiteY21" fmla="*/ 282821 h 297224"/>
                <a:gd name="connsiteX22" fmla="*/ 101779 w 189142"/>
                <a:gd name="connsiteY22" fmla="*/ 299633 h 297224"/>
                <a:gd name="connsiteX23" fmla="*/ 101779 w 189142"/>
                <a:gd name="connsiteY23" fmla="*/ 299633 h 297224"/>
                <a:gd name="connsiteX24" fmla="*/ 18016 w 189142"/>
                <a:gd name="connsiteY24" fmla="*/ 238687 h 297224"/>
                <a:gd name="connsiteX25" fmla="*/ 18016 w 189142"/>
                <a:gd name="connsiteY25" fmla="*/ 238687 h 297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9142" h="297224">
                  <a:moveTo>
                    <a:pt x="18016" y="238687"/>
                  </a:moveTo>
                  <a:cubicBezTo>
                    <a:pt x="43835" y="252498"/>
                    <a:pt x="72657" y="259703"/>
                    <a:pt x="102079" y="260003"/>
                  </a:cubicBezTo>
                  <a:cubicBezTo>
                    <a:pt x="114689" y="260304"/>
                    <a:pt x="126998" y="255200"/>
                    <a:pt x="135705" y="245893"/>
                  </a:cubicBezTo>
                  <a:cubicBezTo>
                    <a:pt x="144711" y="237186"/>
                    <a:pt x="149815" y="224877"/>
                    <a:pt x="149815" y="212267"/>
                  </a:cubicBezTo>
                  <a:cubicBezTo>
                    <a:pt x="149515" y="202660"/>
                    <a:pt x="146212" y="193353"/>
                    <a:pt x="140208" y="185847"/>
                  </a:cubicBezTo>
                  <a:cubicBezTo>
                    <a:pt x="134504" y="178042"/>
                    <a:pt x="126097" y="172637"/>
                    <a:pt x="116790" y="169935"/>
                  </a:cubicBezTo>
                  <a:lnTo>
                    <a:pt x="57646" y="153723"/>
                  </a:lnTo>
                  <a:cubicBezTo>
                    <a:pt x="23720" y="144716"/>
                    <a:pt x="2" y="114093"/>
                    <a:pt x="2" y="78967"/>
                  </a:cubicBezTo>
                  <a:cubicBezTo>
                    <a:pt x="-298" y="35734"/>
                    <a:pt x="34228" y="608"/>
                    <a:pt x="77761" y="7"/>
                  </a:cubicBezTo>
                  <a:cubicBezTo>
                    <a:pt x="78361" y="7"/>
                    <a:pt x="78962" y="7"/>
                    <a:pt x="79262" y="7"/>
                  </a:cubicBezTo>
                  <a:cubicBezTo>
                    <a:pt x="113788" y="-293"/>
                    <a:pt x="147413" y="8714"/>
                    <a:pt x="177136" y="26427"/>
                  </a:cubicBezTo>
                  <a:cubicBezTo>
                    <a:pt x="179838" y="27628"/>
                    <a:pt x="181039" y="30931"/>
                    <a:pt x="179538" y="33633"/>
                  </a:cubicBezTo>
                  <a:cubicBezTo>
                    <a:pt x="179237" y="33933"/>
                    <a:pt x="178937" y="34533"/>
                    <a:pt x="178637" y="34834"/>
                  </a:cubicBezTo>
                  <a:lnTo>
                    <a:pt x="164226" y="58852"/>
                  </a:lnTo>
                  <a:cubicBezTo>
                    <a:pt x="162124" y="62755"/>
                    <a:pt x="159122" y="63355"/>
                    <a:pt x="156420" y="61554"/>
                  </a:cubicBezTo>
                  <a:cubicBezTo>
                    <a:pt x="133002" y="47143"/>
                    <a:pt x="105982" y="39637"/>
                    <a:pt x="78361" y="39637"/>
                  </a:cubicBezTo>
                  <a:cubicBezTo>
                    <a:pt x="67853" y="39337"/>
                    <a:pt x="57946" y="43540"/>
                    <a:pt x="50740" y="51046"/>
                  </a:cubicBezTo>
                  <a:cubicBezTo>
                    <a:pt x="43835" y="57951"/>
                    <a:pt x="39932" y="67558"/>
                    <a:pt x="40232" y="77466"/>
                  </a:cubicBezTo>
                  <a:cubicBezTo>
                    <a:pt x="39031" y="94579"/>
                    <a:pt x="50740" y="109890"/>
                    <a:pt x="67553" y="112892"/>
                  </a:cubicBezTo>
                  <a:lnTo>
                    <a:pt x="126398" y="128504"/>
                  </a:lnTo>
                  <a:cubicBezTo>
                    <a:pt x="145011" y="133308"/>
                    <a:pt x="161524" y="144116"/>
                    <a:pt x="172933" y="159427"/>
                  </a:cubicBezTo>
                  <a:cubicBezTo>
                    <a:pt x="201754" y="198757"/>
                    <a:pt x="193048" y="253999"/>
                    <a:pt x="153418" y="282821"/>
                  </a:cubicBezTo>
                  <a:cubicBezTo>
                    <a:pt x="138407" y="293629"/>
                    <a:pt x="120393" y="299633"/>
                    <a:pt x="101779" y="299633"/>
                  </a:cubicBezTo>
                  <a:lnTo>
                    <a:pt x="101779" y="299633"/>
                  </a:lnTo>
                  <a:lnTo>
                    <a:pt x="18016" y="238687"/>
                  </a:lnTo>
                  <a:lnTo>
                    <a:pt x="18016" y="238687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29" name="Forme libre : forme 228">
              <a:extLst>
                <a:ext uri="{FF2B5EF4-FFF2-40B4-BE49-F238E27FC236}">
                  <a16:creationId xmlns:a16="http://schemas.microsoft.com/office/drawing/2014/main" id="{794B9F09-C0B7-401F-8070-8C173E17DB69}"/>
                </a:ext>
              </a:extLst>
            </p:cNvPr>
            <p:cNvSpPr/>
            <p:nvPr/>
          </p:nvSpPr>
          <p:spPr>
            <a:xfrm>
              <a:off x="7700091" y="3921920"/>
              <a:ext cx="180136" cy="219165"/>
            </a:xfrm>
            <a:custGeom>
              <a:avLst/>
              <a:gdLst>
                <a:gd name="connsiteX0" fmla="*/ 44133 w 180136"/>
                <a:gd name="connsiteY0" fmla="*/ 219494 h 219165"/>
                <a:gd name="connsiteX1" fmla="*/ 44133 w 180136"/>
                <a:gd name="connsiteY1" fmla="*/ 132128 h 219165"/>
                <a:gd name="connsiteX2" fmla="*/ 38129 w 180136"/>
                <a:gd name="connsiteY2" fmla="*/ 126424 h 219165"/>
                <a:gd name="connsiteX3" fmla="*/ 6005 w 180136"/>
                <a:gd name="connsiteY3" fmla="*/ 126424 h 219165"/>
                <a:gd name="connsiteX4" fmla="*/ 0 w 180136"/>
                <a:gd name="connsiteY4" fmla="*/ 120419 h 219165"/>
                <a:gd name="connsiteX5" fmla="*/ 0 w 180136"/>
                <a:gd name="connsiteY5" fmla="*/ 91598 h 219165"/>
                <a:gd name="connsiteX6" fmla="*/ 6005 w 180136"/>
                <a:gd name="connsiteY6" fmla="*/ 86193 h 219165"/>
                <a:gd name="connsiteX7" fmla="*/ 37829 w 180136"/>
                <a:gd name="connsiteY7" fmla="*/ 86193 h 219165"/>
                <a:gd name="connsiteX8" fmla="*/ 43833 w 180136"/>
                <a:gd name="connsiteY8" fmla="*/ 81390 h 219165"/>
                <a:gd name="connsiteX9" fmla="*/ 43833 w 180136"/>
                <a:gd name="connsiteY9" fmla="*/ 80189 h 219165"/>
                <a:gd name="connsiteX10" fmla="*/ 43833 w 180136"/>
                <a:gd name="connsiteY10" fmla="*/ 6033 h 219165"/>
                <a:gd name="connsiteX11" fmla="*/ 48937 w 180136"/>
                <a:gd name="connsiteY11" fmla="*/ 28 h 219165"/>
                <a:gd name="connsiteX12" fmla="*/ 50138 w 180136"/>
                <a:gd name="connsiteY12" fmla="*/ 28 h 219165"/>
                <a:gd name="connsiteX13" fmla="*/ 78059 w 180136"/>
                <a:gd name="connsiteY13" fmla="*/ 28 h 219165"/>
                <a:gd name="connsiteX14" fmla="*/ 84064 w 180136"/>
                <a:gd name="connsiteY14" fmla="*/ 5132 h 219165"/>
                <a:gd name="connsiteX15" fmla="*/ 84064 w 180136"/>
                <a:gd name="connsiteY15" fmla="*/ 6333 h 219165"/>
                <a:gd name="connsiteX16" fmla="*/ 84064 w 180136"/>
                <a:gd name="connsiteY16" fmla="*/ 80189 h 219165"/>
                <a:gd name="connsiteX17" fmla="*/ 89167 w 180136"/>
                <a:gd name="connsiteY17" fmla="*/ 86193 h 219165"/>
                <a:gd name="connsiteX18" fmla="*/ 90368 w 180136"/>
                <a:gd name="connsiteY18" fmla="*/ 86193 h 219165"/>
                <a:gd name="connsiteX19" fmla="*/ 174732 w 180136"/>
                <a:gd name="connsiteY19" fmla="*/ 86193 h 219165"/>
                <a:gd name="connsiteX20" fmla="*/ 180737 w 180136"/>
                <a:gd name="connsiteY20" fmla="*/ 91598 h 219165"/>
                <a:gd name="connsiteX21" fmla="*/ 180737 w 180136"/>
                <a:gd name="connsiteY21" fmla="*/ 120419 h 219165"/>
                <a:gd name="connsiteX22" fmla="*/ 174732 w 180136"/>
                <a:gd name="connsiteY22" fmla="*/ 126424 h 219165"/>
                <a:gd name="connsiteX23" fmla="*/ 90068 w 180136"/>
                <a:gd name="connsiteY23" fmla="*/ 126424 h 219165"/>
                <a:gd name="connsiteX24" fmla="*/ 84064 w 180136"/>
                <a:gd name="connsiteY24" fmla="*/ 132128 h 219165"/>
                <a:gd name="connsiteX25" fmla="*/ 84064 w 180136"/>
                <a:gd name="connsiteY25" fmla="*/ 198778 h 219165"/>
                <a:gd name="connsiteX26" fmla="*/ 44133 w 180136"/>
                <a:gd name="connsiteY26" fmla="*/ 219494 h 219165"/>
                <a:gd name="connsiteX27" fmla="*/ 44133 w 180136"/>
                <a:gd name="connsiteY27" fmla="*/ 219494 h 219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80136" h="219165">
                  <a:moveTo>
                    <a:pt x="44133" y="219494"/>
                  </a:moveTo>
                  <a:lnTo>
                    <a:pt x="44133" y="132128"/>
                  </a:lnTo>
                  <a:cubicBezTo>
                    <a:pt x="44133" y="128225"/>
                    <a:pt x="42032" y="126424"/>
                    <a:pt x="38129" y="126424"/>
                  </a:cubicBezTo>
                  <a:lnTo>
                    <a:pt x="6005" y="126424"/>
                  </a:lnTo>
                  <a:cubicBezTo>
                    <a:pt x="1501" y="126424"/>
                    <a:pt x="0" y="124322"/>
                    <a:pt x="0" y="120419"/>
                  </a:cubicBezTo>
                  <a:lnTo>
                    <a:pt x="0" y="91598"/>
                  </a:lnTo>
                  <a:cubicBezTo>
                    <a:pt x="0" y="87695"/>
                    <a:pt x="1501" y="86193"/>
                    <a:pt x="6005" y="86193"/>
                  </a:cubicBezTo>
                  <a:lnTo>
                    <a:pt x="37829" y="86193"/>
                  </a:lnTo>
                  <a:cubicBezTo>
                    <a:pt x="40831" y="86494"/>
                    <a:pt x="43533" y="84392"/>
                    <a:pt x="43833" y="81390"/>
                  </a:cubicBezTo>
                  <a:cubicBezTo>
                    <a:pt x="43833" y="81090"/>
                    <a:pt x="43833" y="80489"/>
                    <a:pt x="43833" y="80189"/>
                  </a:cubicBezTo>
                  <a:lnTo>
                    <a:pt x="43833" y="6033"/>
                  </a:lnTo>
                  <a:cubicBezTo>
                    <a:pt x="43533" y="3031"/>
                    <a:pt x="45935" y="329"/>
                    <a:pt x="48937" y="28"/>
                  </a:cubicBezTo>
                  <a:cubicBezTo>
                    <a:pt x="49237" y="28"/>
                    <a:pt x="49537" y="28"/>
                    <a:pt x="50138" y="28"/>
                  </a:cubicBezTo>
                  <a:lnTo>
                    <a:pt x="78059" y="28"/>
                  </a:lnTo>
                  <a:cubicBezTo>
                    <a:pt x="81061" y="-272"/>
                    <a:pt x="83763" y="1830"/>
                    <a:pt x="84064" y="5132"/>
                  </a:cubicBezTo>
                  <a:cubicBezTo>
                    <a:pt x="84064" y="5433"/>
                    <a:pt x="84064" y="5733"/>
                    <a:pt x="84064" y="6333"/>
                  </a:cubicBezTo>
                  <a:lnTo>
                    <a:pt x="84064" y="80189"/>
                  </a:lnTo>
                  <a:cubicBezTo>
                    <a:pt x="83763" y="83191"/>
                    <a:pt x="86165" y="85893"/>
                    <a:pt x="89167" y="86193"/>
                  </a:cubicBezTo>
                  <a:cubicBezTo>
                    <a:pt x="89468" y="86193"/>
                    <a:pt x="89768" y="86193"/>
                    <a:pt x="90368" y="86193"/>
                  </a:cubicBezTo>
                  <a:lnTo>
                    <a:pt x="174732" y="86193"/>
                  </a:lnTo>
                  <a:cubicBezTo>
                    <a:pt x="179235" y="86193"/>
                    <a:pt x="180737" y="87695"/>
                    <a:pt x="180737" y="91598"/>
                  </a:cubicBezTo>
                  <a:lnTo>
                    <a:pt x="180737" y="120419"/>
                  </a:lnTo>
                  <a:cubicBezTo>
                    <a:pt x="180737" y="124322"/>
                    <a:pt x="179235" y="126424"/>
                    <a:pt x="174732" y="126424"/>
                  </a:cubicBezTo>
                  <a:lnTo>
                    <a:pt x="90068" y="126424"/>
                  </a:lnTo>
                  <a:cubicBezTo>
                    <a:pt x="86165" y="126424"/>
                    <a:pt x="84064" y="128225"/>
                    <a:pt x="84064" y="132128"/>
                  </a:cubicBezTo>
                  <a:lnTo>
                    <a:pt x="84064" y="198778"/>
                  </a:lnTo>
                  <a:lnTo>
                    <a:pt x="44133" y="219494"/>
                  </a:lnTo>
                  <a:lnTo>
                    <a:pt x="44133" y="219494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30" name="Forme libre : forme 229">
              <a:extLst>
                <a:ext uri="{FF2B5EF4-FFF2-40B4-BE49-F238E27FC236}">
                  <a16:creationId xmlns:a16="http://schemas.microsoft.com/office/drawing/2014/main" id="{6D72FB6F-B50E-4304-95C6-AC63A25682B0}"/>
                </a:ext>
              </a:extLst>
            </p:cNvPr>
            <p:cNvSpPr/>
            <p:nvPr/>
          </p:nvSpPr>
          <p:spPr>
            <a:xfrm>
              <a:off x="6709034" y="4369579"/>
              <a:ext cx="183138" cy="288217"/>
            </a:xfrm>
            <a:custGeom>
              <a:avLst/>
              <a:gdLst>
                <a:gd name="connsiteX0" fmla="*/ 156127 w 183138"/>
                <a:gd name="connsiteY0" fmla="*/ 130306 h 288217"/>
                <a:gd name="connsiteX1" fmla="*/ 172039 w 183138"/>
                <a:gd name="connsiteY1" fmla="*/ 79568 h 288217"/>
                <a:gd name="connsiteX2" fmla="*/ 149221 w 183138"/>
                <a:gd name="connsiteY2" fmla="*/ 23425 h 288217"/>
                <a:gd name="connsiteX3" fmla="*/ 93980 w 183138"/>
                <a:gd name="connsiteY3" fmla="*/ 8 h 288217"/>
                <a:gd name="connsiteX4" fmla="*/ 17722 w 183138"/>
                <a:gd name="connsiteY4" fmla="*/ 8 h 288217"/>
                <a:gd name="connsiteX5" fmla="*/ 9 w 183138"/>
                <a:gd name="connsiteY5" fmla="*/ 17721 h 288217"/>
                <a:gd name="connsiteX6" fmla="*/ 9 w 183138"/>
                <a:gd name="connsiteY6" fmla="*/ 19222 h 288217"/>
                <a:gd name="connsiteX7" fmla="*/ 9 w 183138"/>
                <a:gd name="connsiteY7" fmla="*/ 271713 h 288217"/>
                <a:gd name="connsiteX8" fmla="*/ 16821 w 183138"/>
                <a:gd name="connsiteY8" fmla="*/ 290327 h 288217"/>
                <a:gd name="connsiteX9" fmla="*/ 18022 w 183138"/>
                <a:gd name="connsiteY9" fmla="*/ 290327 h 288217"/>
                <a:gd name="connsiteX10" fmla="*/ 103587 w 183138"/>
                <a:gd name="connsiteY10" fmla="*/ 290327 h 288217"/>
                <a:gd name="connsiteX11" fmla="*/ 160930 w 183138"/>
                <a:gd name="connsiteY11" fmla="*/ 266008 h 288217"/>
                <a:gd name="connsiteX12" fmla="*/ 185249 w 183138"/>
                <a:gd name="connsiteY12" fmla="*/ 207164 h 288217"/>
                <a:gd name="connsiteX13" fmla="*/ 185249 w 183138"/>
                <a:gd name="connsiteY13" fmla="*/ 195455 h 288217"/>
                <a:gd name="connsiteX14" fmla="*/ 172339 w 183138"/>
                <a:gd name="connsiteY14" fmla="*/ 148920 h 288217"/>
                <a:gd name="connsiteX15" fmla="*/ 157027 w 183138"/>
                <a:gd name="connsiteY15" fmla="*/ 130006 h 288217"/>
                <a:gd name="connsiteX16" fmla="*/ 111093 w 183138"/>
                <a:gd name="connsiteY16" fmla="*/ 100283 h 288217"/>
                <a:gd name="connsiteX17" fmla="*/ 90977 w 183138"/>
                <a:gd name="connsiteY17" fmla="*/ 107789 h 288217"/>
                <a:gd name="connsiteX18" fmla="*/ 53749 w 183138"/>
                <a:gd name="connsiteY18" fmla="*/ 107789 h 288217"/>
                <a:gd name="connsiteX19" fmla="*/ 53749 w 183138"/>
                <a:gd name="connsiteY19" fmla="*/ 55249 h 288217"/>
                <a:gd name="connsiteX20" fmla="*/ 93980 w 183138"/>
                <a:gd name="connsiteY20" fmla="*/ 55249 h 288217"/>
                <a:gd name="connsiteX21" fmla="*/ 110792 w 183138"/>
                <a:gd name="connsiteY21" fmla="*/ 61854 h 288217"/>
                <a:gd name="connsiteX22" fmla="*/ 117698 w 183138"/>
                <a:gd name="connsiteY22" fmla="*/ 78967 h 288217"/>
                <a:gd name="connsiteX23" fmla="*/ 110192 w 183138"/>
                <a:gd name="connsiteY23" fmla="*/ 99683 h 288217"/>
                <a:gd name="connsiteX24" fmla="*/ 53749 w 183138"/>
                <a:gd name="connsiteY24" fmla="*/ 163931 h 288217"/>
                <a:gd name="connsiteX25" fmla="*/ 99384 w 183138"/>
                <a:gd name="connsiteY25" fmla="*/ 163931 h 288217"/>
                <a:gd name="connsiteX26" fmla="*/ 121000 w 183138"/>
                <a:gd name="connsiteY26" fmla="*/ 173238 h 288217"/>
                <a:gd name="connsiteX27" fmla="*/ 130307 w 183138"/>
                <a:gd name="connsiteY27" fmla="*/ 195755 h 288217"/>
                <a:gd name="connsiteX28" fmla="*/ 130307 w 183138"/>
                <a:gd name="connsiteY28" fmla="*/ 206864 h 288217"/>
                <a:gd name="connsiteX29" fmla="*/ 122201 w 183138"/>
                <a:gd name="connsiteY29" fmla="*/ 226078 h 288217"/>
                <a:gd name="connsiteX30" fmla="*/ 102986 w 183138"/>
                <a:gd name="connsiteY30" fmla="*/ 234485 h 288217"/>
                <a:gd name="connsiteX31" fmla="*/ 53749 w 183138"/>
                <a:gd name="connsiteY31" fmla="*/ 234485 h 288217"/>
                <a:gd name="connsiteX32" fmla="*/ 53749 w 183138"/>
                <a:gd name="connsiteY32" fmla="*/ 163931 h 288217"/>
                <a:gd name="connsiteX33" fmla="*/ 53749 w 183138"/>
                <a:gd name="connsiteY33" fmla="*/ 163931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83138" h="288217">
                  <a:moveTo>
                    <a:pt x="156127" y="130306"/>
                  </a:moveTo>
                  <a:cubicBezTo>
                    <a:pt x="166935" y="115595"/>
                    <a:pt x="172639" y="97882"/>
                    <a:pt x="172039" y="79568"/>
                  </a:cubicBezTo>
                  <a:cubicBezTo>
                    <a:pt x="172339" y="58552"/>
                    <a:pt x="163933" y="38137"/>
                    <a:pt x="149221" y="23425"/>
                  </a:cubicBezTo>
                  <a:cubicBezTo>
                    <a:pt x="134811" y="8114"/>
                    <a:pt x="114996" y="-292"/>
                    <a:pt x="93980" y="8"/>
                  </a:cubicBezTo>
                  <a:lnTo>
                    <a:pt x="17722" y="8"/>
                  </a:lnTo>
                  <a:cubicBezTo>
                    <a:pt x="8115" y="8"/>
                    <a:pt x="309" y="7814"/>
                    <a:pt x="9" y="17721"/>
                  </a:cubicBezTo>
                  <a:cubicBezTo>
                    <a:pt x="9" y="18322"/>
                    <a:pt x="9" y="18922"/>
                    <a:pt x="9" y="19222"/>
                  </a:cubicBezTo>
                  <a:lnTo>
                    <a:pt x="9" y="271713"/>
                  </a:lnTo>
                  <a:cubicBezTo>
                    <a:pt x="-292" y="281620"/>
                    <a:pt x="7214" y="290027"/>
                    <a:pt x="16821" y="290327"/>
                  </a:cubicBezTo>
                  <a:cubicBezTo>
                    <a:pt x="17122" y="290327"/>
                    <a:pt x="17722" y="290327"/>
                    <a:pt x="18022" y="290327"/>
                  </a:cubicBezTo>
                  <a:lnTo>
                    <a:pt x="103587" y="290327"/>
                  </a:lnTo>
                  <a:cubicBezTo>
                    <a:pt x="125203" y="290627"/>
                    <a:pt x="145919" y="281920"/>
                    <a:pt x="160930" y="266008"/>
                  </a:cubicBezTo>
                  <a:cubicBezTo>
                    <a:pt x="176542" y="250697"/>
                    <a:pt x="185249" y="229381"/>
                    <a:pt x="185249" y="207164"/>
                  </a:cubicBezTo>
                  <a:lnTo>
                    <a:pt x="185249" y="195455"/>
                  </a:lnTo>
                  <a:cubicBezTo>
                    <a:pt x="185249" y="178943"/>
                    <a:pt x="180745" y="163031"/>
                    <a:pt x="172339" y="148920"/>
                  </a:cubicBezTo>
                  <a:cubicBezTo>
                    <a:pt x="168136" y="142015"/>
                    <a:pt x="163032" y="135410"/>
                    <a:pt x="157027" y="130006"/>
                  </a:cubicBezTo>
                  <a:moveTo>
                    <a:pt x="111093" y="100283"/>
                  </a:moveTo>
                  <a:cubicBezTo>
                    <a:pt x="105688" y="105687"/>
                    <a:pt x="98483" y="108389"/>
                    <a:pt x="90977" y="107789"/>
                  </a:cubicBezTo>
                  <a:lnTo>
                    <a:pt x="53749" y="107789"/>
                  </a:lnTo>
                  <a:lnTo>
                    <a:pt x="53749" y="55249"/>
                  </a:lnTo>
                  <a:lnTo>
                    <a:pt x="93980" y="55249"/>
                  </a:lnTo>
                  <a:cubicBezTo>
                    <a:pt x="100284" y="54949"/>
                    <a:pt x="106289" y="57351"/>
                    <a:pt x="110792" y="61854"/>
                  </a:cubicBezTo>
                  <a:cubicBezTo>
                    <a:pt x="115596" y="66358"/>
                    <a:pt x="117998" y="72663"/>
                    <a:pt x="117698" y="78967"/>
                  </a:cubicBezTo>
                  <a:cubicBezTo>
                    <a:pt x="117998" y="86773"/>
                    <a:pt x="115296" y="94279"/>
                    <a:pt x="110192" y="99683"/>
                  </a:cubicBezTo>
                  <a:moveTo>
                    <a:pt x="53749" y="163931"/>
                  </a:moveTo>
                  <a:lnTo>
                    <a:pt x="99384" y="163931"/>
                  </a:lnTo>
                  <a:cubicBezTo>
                    <a:pt x="107490" y="163931"/>
                    <a:pt x="115596" y="167234"/>
                    <a:pt x="121000" y="173238"/>
                  </a:cubicBezTo>
                  <a:cubicBezTo>
                    <a:pt x="127005" y="179243"/>
                    <a:pt x="130607" y="187349"/>
                    <a:pt x="130307" y="195755"/>
                  </a:cubicBezTo>
                  <a:lnTo>
                    <a:pt x="130307" y="206864"/>
                  </a:lnTo>
                  <a:cubicBezTo>
                    <a:pt x="130307" y="214069"/>
                    <a:pt x="127305" y="221275"/>
                    <a:pt x="122201" y="226078"/>
                  </a:cubicBezTo>
                  <a:cubicBezTo>
                    <a:pt x="117097" y="231482"/>
                    <a:pt x="110192" y="234485"/>
                    <a:pt x="102986" y="234485"/>
                  </a:cubicBezTo>
                  <a:lnTo>
                    <a:pt x="53749" y="234485"/>
                  </a:lnTo>
                  <a:lnTo>
                    <a:pt x="53749" y="163931"/>
                  </a:lnTo>
                  <a:lnTo>
                    <a:pt x="53749" y="163931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31" name="Forme libre : forme 230">
              <a:extLst>
                <a:ext uri="{FF2B5EF4-FFF2-40B4-BE49-F238E27FC236}">
                  <a16:creationId xmlns:a16="http://schemas.microsoft.com/office/drawing/2014/main" id="{657E3F82-8F6D-4B3C-9CA0-B9A015FFE96A}"/>
                </a:ext>
              </a:extLst>
            </p:cNvPr>
            <p:cNvSpPr/>
            <p:nvPr/>
          </p:nvSpPr>
          <p:spPr>
            <a:xfrm>
              <a:off x="6940511" y="4365677"/>
              <a:ext cx="189143" cy="297224"/>
            </a:xfrm>
            <a:custGeom>
              <a:avLst/>
              <a:gdLst>
                <a:gd name="connsiteX0" fmla="*/ 95479 w 189142"/>
                <a:gd name="connsiteY0" fmla="*/ 6 h 297224"/>
                <a:gd name="connsiteX1" fmla="*/ 27928 w 189142"/>
                <a:gd name="connsiteY1" fmla="*/ 28828 h 297224"/>
                <a:gd name="connsiteX2" fmla="*/ 7 w 189142"/>
                <a:gd name="connsiteY2" fmla="*/ 97880 h 297224"/>
                <a:gd name="connsiteX3" fmla="*/ 7 w 189142"/>
                <a:gd name="connsiteY3" fmla="*/ 200858 h 297224"/>
                <a:gd name="connsiteX4" fmla="*/ 27928 w 189142"/>
                <a:gd name="connsiteY4" fmla="*/ 269910 h 297224"/>
                <a:gd name="connsiteX5" fmla="*/ 162429 w 189142"/>
                <a:gd name="connsiteY5" fmla="*/ 270811 h 297224"/>
                <a:gd name="connsiteX6" fmla="*/ 163330 w 189142"/>
                <a:gd name="connsiteY6" fmla="*/ 269910 h 297224"/>
                <a:gd name="connsiteX7" fmla="*/ 191551 w 189142"/>
                <a:gd name="connsiteY7" fmla="*/ 200858 h 297224"/>
                <a:gd name="connsiteX8" fmla="*/ 191551 w 189142"/>
                <a:gd name="connsiteY8" fmla="*/ 97880 h 297224"/>
                <a:gd name="connsiteX9" fmla="*/ 163330 w 189142"/>
                <a:gd name="connsiteY9" fmla="*/ 28828 h 297224"/>
                <a:gd name="connsiteX10" fmla="*/ 95479 w 189142"/>
                <a:gd name="connsiteY10" fmla="*/ 6 h 297224"/>
                <a:gd name="connsiteX11" fmla="*/ 54348 w 189142"/>
                <a:gd name="connsiteY11" fmla="*/ 97880 h 297224"/>
                <a:gd name="connsiteX12" fmla="*/ 67257 w 189142"/>
                <a:gd name="connsiteY12" fmla="*/ 67858 h 297224"/>
                <a:gd name="connsiteX13" fmla="*/ 125501 w 189142"/>
                <a:gd name="connsiteY13" fmla="*/ 67858 h 297224"/>
                <a:gd name="connsiteX14" fmla="*/ 138411 w 189142"/>
                <a:gd name="connsiteY14" fmla="*/ 97880 h 297224"/>
                <a:gd name="connsiteX15" fmla="*/ 138411 w 189142"/>
                <a:gd name="connsiteY15" fmla="*/ 200858 h 297224"/>
                <a:gd name="connsiteX16" fmla="*/ 125501 w 189142"/>
                <a:gd name="connsiteY16" fmla="*/ 230580 h 297224"/>
                <a:gd name="connsiteX17" fmla="*/ 68458 w 189142"/>
                <a:gd name="connsiteY17" fmla="*/ 232081 h 297224"/>
                <a:gd name="connsiteX18" fmla="*/ 67257 w 189142"/>
                <a:gd name="connsiteY18" fmla="*/ 230580 h 297224"/>
                <a:gd name="connsiteX19" fmla="*/ 54948 w 189142"/>
                <a:gd name="connsiteY19" fmla="*/ 200858 h 297224"/>
                <a:gd name="connsiteX20" fmla="*/ 54348 w 189142"/>
                <a:gd name="connsiteY20" fmla="*/ 97880 h 297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9142" h="297224">
                  <a:moveTo>
                    <a:pt x="95479" y="6"/>
                  </a:moveTo>
                  <a:cubicBezTo>
                    <a:pt x="69959" y="-294"/>
                    <a:pt x="45641" y="9914"/>
                    <a:pt x="27928" y="28828"/>
                  </a:cubicBezTo>
                  <a:cubicBezTo>
                    <a:pt x="9614" y="47142"/>
                    <a:pt x="-294" y="72061"/>
                    <a:pt x="7" y="97880"/>
                  </a:cubicBezTo>
                  <a:lnTo>
                    <a:pt x="7" y="200858"/>
                  </a:lnTo>
                  <a:cubicBezTo>
                    <a:pt x="-294" y="226677"/>
                    <a:pt x="9914" y="251896"/>
                    <a:pt x="27928" y="269910"/>
                  </a:cubicBezTo>
                  <a:cubicBezTo>
                    <a:pt x="64856" y="307738"/>
                    <a:pt x="124901" y="308039"/>
                    <a:pt x="162429" y="270811"/>
                  </a:cubicBezTo>
                  <a:cubicBezTo>
                    <a:pt x="162730" y="270510"/>
                    <a:pt x="163030" y="270210"/>
                    <a:pt x="163330" y="269910"/>
                  </a:cubicBezTo>
                  <a:cubicBezTo>
                    <a:pt x="181644" y="251596"/>
                    <a:pt x="191852" y="226677"/>
                    <a:pt x="191551" y="200858"/>
                  </a:cubicBezTo>
                  <a:lnTo>
                    <a:pt x="191551" y="97880"/>
                  </a:lnTo>
                  <a:cubicBezTo>
                    <a:pt x="191852" y="71761"/>
                    <a:pt x="181644" y="46842"/>
                    <a:pt x="163330" y="28828"/>
                  </a:cubicBezTo>
                  <a:cubicBezTo>
                    <a:pt x="145617" y="9914"/>
                    <a:pt x="120998" y="-294"/>
                    <a:pt x="95479" y="6"/>
                  </a:cubicBezTo>
                  <a:moveTo>
                    <a:pt x="54348" y="97880"/>
                  </a:moveTo>
                  <a:cubicBezTo>
                    <a:pt x="54348" y="86472"/>
                    <a:pt x="58851" y="75363"/>
                    <a:pt x="67257" y="67858"/>
                  </a:cubicBezTo>
                  <a:cubicBezTo>
                    <a:pt x="83470" y="51645"/>
                    <a:pt x="109289" y="51645"/>
                    <a:pt x="125501" y="67858"/>
                  </a:cubicBezTo>
                  <a:cubicBezTo>
                    <a:pt x="133908" y="75663"/>
                    <a:pt x="138411" y="86472"/>
                    <a:pt x="138411" y="97880"/>
                  </a:cubicBezTo>
                  <a:lnTo>
                    <a:pt x="138411" y="200858"/>
                  </a:lnTo>
                  <a:cubicBezTo>
                    <a:pt x="138711" y="212267"/>
                    <a:pt x="133908" y="223075"/>
                    <a:pt x="125501" y="230580"/>
                  </a:cubicBezTo>
                  <a:cubicBezTo>
                    <a:pt x="110190" y="246793"/>
                    <a:pt x="84671" y="247393"/>
                    <a:pt x="68458" y="232081"/>
                  </a:cubicBezTo>
                  <a:cubicBezTo>
                    <a:pt x="67858" y="231781"/>
                    <a:pt x="67558" y="231181"/>
                    <a:pt x="67257" y="230580"/>
                  </a:cubicBezTo>
                  <a:cubicBezTo>
                    <a:pt x="59151" y="222774"/>
                    <a:pt x="54948" y="212267"/>
                    <a:pt x="54948" y="200858"/>
                  </a:cubicBezTo>
                  <a:lnTo>
                    <a:pt x="54348" y="97880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32" name="Forme libre : forme 231">
              <a:extLst>
                <a:ext uri="{FF2B5EF4-FFF2-40B4-BE49-F238E27FC236}">
                  <a16:creationId xmlns:a16="http://schemas.microsoft.com/office/drawing/2014/main" id="{69A7FC27-F494-4135-A2FB-A1B28CFE8C5D}"/>
                </a:ext>
              </a:extLst>
            </p:cNvPr>
            <p:cNvSpPr/>
            <p:nvPr/>
          </p:nvSpPr>
          <p:spPr>
            <a:xfrm>
              <a:off x="7438285" y="4369280"/>
              <a:ext cx="183138" cy="288217"/>
            </a:xfrm>
            <a:custGeom>
              <a:avLst/>
              <a:gdLst>
                <a:gd name="connsiteX0" fmla="*/ 81070 w 183138"/>
                <a:gd name="connsiteY0" fmla="*/ 306 h 288217"/>
                <a:gd name="connsiteX1" fmla="*/ 18923 w 183138"/>
                <a:gd name="connsiteY1" fmla="*/ 306 h 288217"/>
                <a:gd name="connsiteX2" fmla="*/ 8 w 183138"/>
                <a:gd name="connsiteY2" fmla="*/ 16819 h 288217"/>
                <a:gd name="connsiteX3" fmla="*/ 8 w 183138"/>
                <a:gd name="connsiteY3" fmla="*/ 19521 h 288217"/>
                <a:gd name="connsiteX4" fmla="*/ 8 w 183138"/>
                <a:gd name="connsiteY4" fmla="*/ 272011 h 288217"/>
                <a:gd name="connsiteX5" fmla="*/ 17421 w 183138"/>
                <a:gd name="connsiteY5" fmla="*/ 290625 h 288217"/>
                <a:gd name="connsiteX6" fmla="*/ 18622 w 183138"/>
                <a:gd name="connsiteY6" fmla="*/ 290625 h 288217"/>
                <a:gd name="connsiteX7" fmla="*/ 90377 w 183138"/>
                <a:gd name="connsiteY7" fmla="*/ 290625 h 288217"/>
                <a:gd name="connsiteX8" fmla="*/ 157627 w 183138"/>
                <a:gd name="connsiteY8" fmla="*/ 262704 h 288217"/>
                <a:gd name="connsiteX9" fmla="*/ 185248 w 183138"/>
                <a:gd name="connsiteY9" fmla="*/ 194553 h 288217"/>
                <a:gd name="connsiteX10" fmla="*/ 185248 w 183138"/>
                <a:gd name="connsiteY10" fmla="*/ 104485 h 288217"/>
                <a:gd name="connsiteX11" fmla="*/ 154625 w 183138"/>
                <a:gd name="connsiteY11" fmla="*/ 30629 h 288217"/>
                <a:gd name="connsiteX12" fmla="*/ 80769 w 183138"/>
                <a:gd name="connsiteY12" fmla="*/ 6 h 288217"/>
                <a:gd name="connsiteX13" fmla="*/ 89776 w 183138"/>
                <a:gd name="connsiteY13" fmla="*/ 234483 h 288217"/>
                <a:gd name="connsiteX14" fmla="*/ 54950 w 183138"/>
                <a:gd name="connsiteY14" fmla="*/ 234483 h 288217"/>
                <a:gd name="connsiteX15" fmla="*/ 54950 w 183138"/>
                <a:gd name="connsiteY15" fmla="*/ 55848 h 288217"/>
                <a:gd name="connsiteX16" fmla="*/ 80469 w 183138"/>
                <a:gd name="connsiteY16" fmla="*/ 55848 h 288217"/>
                <a:gd name="connsiteX17" fmla="*/ 114995 w 183138"/>
                <a:gd name="connsiteY17" fmla="*/ 70259 h 288217"/>
                <a:gd name="connsiteX18" fmla="*/ 129706 w 183138"/>
                <a:gd name="connsiteY18" fmla="*/ 104485 h 288217"/>
                <a:gd name="connsiteX19" fmla="*/ 129706 w 183138"/>
                <a:gd name="connsiteY19" fmla="*/ 194553 h 288217"/>
                <a:gd name="connsiteX20" fmla="*/ 90076 w 183138"/>
                <a:gd name="connsiteY20" fmla="*/ 233882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3138" h="288217">
                  <a:moveTo>
                    <a:pt x="81070" y="306"/>
                  </a:moveTo>
                  <a:lnTo>
                    <a:pt x="18923" y="306"/>
                  </a:lnTo>
                  <a:cubicBezTo>
                    <a:pt x="9015" y="-294"/>
                    <a:pt x="609" y="7211"/>
                    <a:pt x="8" y="16819"/>
                  </a:cubicBezTo>
                  <a:cubicBezTo>
                    <a:pt x="8" y="17719"/>
                    <a:pt x="8" y="18620"/>
                    <a:pt x="8" y="19521"/>
                  </a:cubicBezTo>
                  <a:lnTo>
                    <a:pt x="8" y="272011"/>
                  </a:lnTo>
                  <a:cubicBezTo>
                    <a:pt x="-292" y="281919"/>
                    <a:pt x="7514" y="290325"/>
                    <a:pt x="17421" y="290625"/>
                  </a:cubicBezTo>
                  <a:cubicBezTo>
                    <a:pt x="17722" y="290625"/>
                    <a:pt x="18322" y="290625"/>
                    <a:pt x="18622" y="290625"/>
                  </a:cubicBezTo>
                  <a:lnTo>
                    <a:pt x="90377" y="290625"/>
                  </a:lnTo>
                  <a:cubicBezTo>
                    <a:pt x="115596" y="290925"/>
                    <a:pt x="139914" y="280718"/>
                    <a:pt x="157627" y="262704"/>
                  </a:cubicBezTo>
                  <a:cubicBezTo>
                    <a:pt x="175941" y="244690"/>
                    <a:pt x="185849" y="220072"/>
                    <a:pt x="185248" y="194553"/>
                  </a:cubicBezTo>
                  <a:lnTo>
                    <a:pt x="185248" y="104485"/>
                  </a:lnTo>
                  <a:cubicBezTo>
                    <a:pt x="185549" y="76864"/>
                    <a:pt x="174440" y="50144"/>
                    <a:pt x="154625" y="30629"/>
                  </a:cubicBezTo>
                  <a:cubicBezTo>
                    <a:pt x="135411" y="10814"/>
                    <a:pt x="108691" y="-294"/>
                    <a:pt x="80769" y="6"/>
                  </a:cubicBezTo>
                  <a:moveTo>
                    <a:pt x="89776" y="234483"/>
                  </a:moveTo>
                  <a:lnTo>
                    <a:pt x="54950" y="234483"/>
                  </a:lnTo>
                  <a:lnTo>
                    <a:pt x="54950" y="55848"/>
                  </a:lnTo>
                  <a:lnTo>
                    <a:pt x="80469" y="55848"/>
                  </a:lnTo>
                  <a:cubicBezTo>
                    <a:pt x="93379" y="55548"/>
                    <a:pt x="105988" y="60952"/>
                    <a:pt x="114995" y="70259"/>
                  </a:cubicBezTo>
                  <a:cubicBezTo>
                    <a:pt x="124603" y="79266"/>
                    <a:pt x="129706" y="91575"/>
                    <a:pt x="129706" y="104485"/>
                  </a:cubicBezTo>
                  <a:lnTo>
                    <a:pt x="129706" y="194553"/>
                  </a:lnTo>
                  <a:cubicBezTo>
                    <a:pt x="129406" y="216169"/>
                    <a:pt x="111693" y="233582"/>
                    <a:pt x="90076" y="233882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33" name="Forme libre : forme 232">
              <a:extLst>
                <a:ext uri="{FF2B5EF4-FFF2-40B4-BE49-F238E27FC236}">
                  <a16:creationId xmlns:a16="http://schemas.microsoft.com/office/drawing/2014/main" id="{AA9F809A-5225-465E-8789-C294D13B4FAC}"/>
                </a:ext>
              </a:extLst>
            </p:cNvPr>
            <p:cNvSpPr/>
            <p:nvPr/>
          </p:nvSpPr>
          <p:spPr>
            <a:xfrm>
              <a:off x="7680868" y="4369878"/>
              <a:ext cx="159120" cy="288217"/>
            </a:xfrm>
            <a:custGeom>
              <a:avLst/>
              <a:gdLst>
                <a:gd name="connsiteX0" fmla="*/ 143517 w 159120"/>
                <a:gd name="connsiteY0" fmla="*/ 233584 h 288217"/>
                <a:gd name="connsiteX1" fmla="*/ 53449 w 159120"/>
                <a:gd name="connsiteY1" fmla="*/ 233584 h 288217"/>
                <a:gd name="connsiteX2" fmla="*/ 53449 w 159120"/>
                <a:gd name="connsiteY2" fmla="*/ 163331 h 288217"/>
                <a:gd name="connsiteX3" fmla="*/ 127905 w 159120"/>
                <a:gd name="connsiteY3" fmla="*/ 163331 h 288217"/>
                <a:gd name="connsiteX4" fmla="*/ 145619 w 159120"/>
                <a:gd name="connsiteY4" fmla="*/ 145318 h 288217"/>
                <a:gd name="connsiteX5" fmla="*/ 145619 w 159120"/>
                <a:gd name="connsiteY5" fmla="*/ 144417 h 288217"/>
                <a:gd name="connsiteX6" fmla="*/ 145619 w 159120"/>
                <a:gd name="connsiteY6" fmla="*/ 125503 h 288217"/>
                <a:gd name="connsiteX7" fmla="*/ 129707 w 159120"/>
                <a:gd name="connsiteY7" fmla="*/ 106889 h 288217"/>
                <a:gd name="connsiteX8" fmla="*/ 127905 w 159120"/>
                <a:gd name="connsiteY8" fmla="*/ 106889 h 288217"/>
                <a:gd name="connsiteX9" fmla="*/ 53449 w 159120"/>
                <a:gd name="connsiteY9" fmla="*/ 106889 h 288217"/>
                <a:gd name="connsiteX10" fmla="*/ 53449 w 159120"/>
                <a:gd name="connsiteY10" fmla="*/ 54349 h 288217"/>
                <a:gd name="connsiteX11" fmla="*/ 140515 w 159120"/>
                <a:gd name="connsiteY11" fmla="*/ 54349 h 288217"/>
                <a:gd name="connsiteX12" fmla="*/ 158528 w 159120"/>
                <a:gd name="connsiteY12" fmla="*/ 36636 h 288217"/>
                <a:gd name="connsiteX13" fmla="*/ 158528 w 159120"/>
                <a:gd name="connsiteY13" fmla="*/ 35735 h 288217"/>
                <a:gd name="connsiteX14" fmla="*/ 158528 w 159120"/>
                <a:gd name="connsiteY14" fmla="*/ 18622 h 288217"/>
                <a:gd name="connsiteX15" fmla="*/ 141716 w 159120"/>
                <a:gd name="connsiteY15" fmla="*/ 8 h 288217"/>
                <a:gd name="connsiteX16" fmla="*/ 140515 w 159120"/>
                <a:gd name="connsiteY16" fmla="*/ 8 h 288217"/>
                <a:gd name="connsiteX17" fmla="*/ 17722 w 159120"/>
                <a:gd name="connsiteY17" fmla="*/ 8 h 288217"/>
                <a:gd name="connsiteX18" fmla="*/ 9 w 159120"/>
                <a:gd name="connsiteY18" fmla="*/ 17421 h 288217"/>
                <a:gd name="connsiteX19" fmla="*/ 9 w 159120"/>
                <a:gd name="connsiteY19" fmla="*/ 18622 h 288217"/>
                <a:gd name="connsiteX20" fmla="*/ 9 w 159120"/>
                <a:gd name="connsiteY20" fmla="*/ 271113 h 288217"/>
                <a:gd name="connsiteX21" fmla="*/ 16822 w 159120"/>
                <a:gd name="connsiteY21" fmla="*/ 289727 h 288217"/>
                <a:gd name="connsiteX22" fmla="*/ 18022 w 159120"/>
                <a:gd name="connsiteY22" fmla="*/ 289727 h 288217"/>
                <a:gd name="connsiteX23" fmla="*/ 143217 w 159120"/>
                <a:gd name="connsiteY23" fmla="*/ 289727 h 288217"/>
                <a:gd name="connsiteX24" fmla="*/ 161231 w 159120"/>
                <a:gd name="connsiteY24" fmla="*/ 272313 h 288217"/>
                <a:gd name="connsiteX25" fmla="*/ 161231 w 159120"/>
                <a:gd name="connsiteY25" fmla="*/ 271113 h 288217"/>
                <a:gd name="connsiteX26" fmla="*/ 161231 w 159120"/>
                <a:gd name="connsiteY26" fmla="*/ 252799 h 288217"/>
                <a:gd name="connsiteX27" fmla="*/ 144418 w 159120"/>
                <a:gd name="connsiteY27" fmla="*/ 234185 h 288217"/>
                <a:gd name="connsiteX28" fmla="*/ 143217 w 159120"/>
                <a:gd name="connsiteY28" fmla="*/ 234185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9120" h="288217">
                  <a:moveTo>
                    <a:pt x="143517" y="233584"/>
                  </a:moveTo>
                  <a:lnTo>
                    <a:pt x="53449" y="233584"/>
                  </a:lnTo>
                  <a:lnTo>
                    <a:pt x="53449" y="163331"/>
                  </a:lnTo>
                  <a:lnTo>
                    <a:pt x="127905" y="163331"/>
                  </a:lnTo>
                  <a:cubicBezTo>
                    <a:pt x="137513" y="163331"/>
                    <a:pt x="145619" y="155525"/>
                    <a:pt x="145619" y="145318"/>
                  </a:cubicBezTo>
                  <a:cubicBezTo>
                    <a:pt x="145619" y="145017"/>
                    <a:pt x="145619" y="144717"/>
                    <a:pt x="145619" y="144417"/>
                  </a:cubicBezTo>
                  <a:lnTo>
                    <a:pt x="145619" y="125503"/>
                  </a:lnTo>
                  <a:cubicBezTo>
                    <a:pt x="146219" y="115895"/>
                    <a:pt x="139014" y="107489"/>
                    <a:pt x="129707" y="106889"/>
                  </a:cubicBezTo>
                  <a:cubicBezTo>
                    <a:pt x="129106" y="106889"/>
                    <a:pt x="128506" y="106889"/>
                    <a:pt x="127905" y="106889"/>
                  </a:cubicBezTo>
                  <a:lnTo>
                    <a:pt x="53449" y="106889"/>
                  </a:lnTo>
                  <a:lnTo>
                    <a:pt x="53449" y="54349"/>
                  </a:lnTo>
                  <a:lnTo>
                    <a:pt x="140515" y="54349"/>
                  </a:lnTo>
                  <a:cubicBezTo>
                    <a:pt x="150422" y="54649"/>
                    <a:pt x="158528" y="46543"/>
                    <a:pt x="158528" y="36636"/>
                  </a:cubicBezTo>
                  <a:cubicBezTo>
                    <a:pt x="158528" y="36335"/>
                    <a:pt x="158528" y="36035"/>
                    <a:pt x="158528" y="35735"/>
                  </a:cubicBezTo>
                  <a:lnTo>
                    <a:pt x="158528" y="18622"/>
                  </a:lnTo>
                  <a:cubicBezTo>
                    <a:pt x="158829" y="8715"/>
                    <a:pt x="151323" y="308"/>
                    <a:pt x="141716" y="8"/>
                  </a:cubicBezTo>
                  <a:cubicBezTo>
                    <a:pt x="141416" y="8"/>
                    <a:pt x="140815" y="8"/>
                    <a:pt x="140515" y="8"/>
                  </a:cubicBezTo>
                  <a:lnTo>
                    <a:pt x="17722" y="8"/>
                  </a:lnTo>
                  <a:cubicBezTo>
                    <a:pt x="8115" y="-292"/>
                    <a:pt x="309" y="7814"/>
                    <a:pt x="9" y="17421"/>
                  </a:cubicBezTo>
                  <a:cubicBezTo>
                    <a:pt x="9" y="17721"/>
                    <a:pt x="9" y="18322"/>
                    <a:pt x="9" y="18622"/>
                  </a:cubicBezTo>
                  <a:lnTo>
                    <a:pt x="9" y="271113"/>
                  </a:lnTo>
                  <a:cubicBezTo>
                    <a:pt x="-291" y="281020"/>
                    <a:pt x="7214" y="289426"/>
                    <a:pt x="16822" y="289727"/>
                  </a:cubicBezTo>
                  <a:cubicBezTo>
                    <a:pt x="17122" y="289727"/>
                    <a:pt x="17722" y="289727"/>
                    <a:pt x="18022" y="289727"/>
                  </a:cubicBezTo>
                  <a:lnTo>
                    <a:pt x="143217" y="289727"/>
                  </a:lnTo>
                  <a:cubicBezTo>
                    <a:pt x="152824" y="290027"/>
                    <a:pt x="160930" y="282221"/>
                    <a:pt x="161231" y="272313"/>
                  </a:cubicBezTo>
                  <a:cubicBezTo>
                    <a:pt x="161231" y="272013"/>
                    <a:pt x="161231" y="271413"/>
                    <a:pt x="161231" y="271113"/>
                  </a:cubicBezTo>
                  <a:lnTo>
                    <a:pt x="161231" y="252799"/>
                  </a:lnTo>
                  <a:cubicBezTo>
                    <a:pt x="161531" y="242891"/>
                    <a:pt x="154025" y="234485"/>
                    <a:pt x="144418" y="234185"/>
                  </a:cubicBezTo>
                  <a:cubicBezTo>
                    <a:pt x="144118" y="234185"/>
                    <a:pt x="143517" y="234185"/>
                    <a:pt x="143217" y="234185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34" name="Forme libre : forme 233">
              <a:extLst>
                <a:ext uri="{FF2B5EF4-FFF2-40B4-BE49-F238E27FC236}">
                  <a16:creationId xmlns:a16="http://schemas.microsoft.com/office/drawing/2014/main" id="{0863FA8E-322B-45F9-9009-6AE9E6FA673B}"/>
                </a:ext>
              </a:extLst>
            </p:cNvPr>
            <p:cNvSpPr/>
            <p:nvPr/>
          </p:nvSpPr>
          <p:spPr>
            <a:xfrm>
              <a:off x="7885323" y="4369575"/>
              <a:ext cx="219166" cy="288217"/>
            </a:xfrm>
            <a:custGeom>
              <a:avLst/>
              <a:gdLst>
                <a:gd name="connsiteX0" fmla="*/ 144418 w 219165"/>
                <a:gd name="connsiteY0" fmla="*/ 13221 h 288217"/>
                <a:gd name="connsiteX1" fmla="*/ 127305 w 219165"/>
                <a:gd name="connsiteY1" fmla="*/ 11 h 288217"/>
                <a:gd name="connsiteX2" fmla="*/ 94280 w 219165"/>
                <a:gd name="connsiteY2" fmla="*/ 11 h 288217"/>
                <a:gd name="connsiteX3" fmla="*/ 76867 w 219165"/>
                <a:gd name="connsiteY3" fmla="*/ 13221 h 288217"/>
                <a:gd name="connsiteX4" fmla="*/ 1510 w 219165"/>
                <a:gd name="connsiteY4" fmla="*/ 264211 h 288217"/>
                <a:gd name="connsiteX5" fmla="*/ 9 w 219165"/>
                <a:gd name="connsiteY5" fmla="*/ 271716 h 288217"/>
                <a:gd name="connsiteX6" fmla="*/ 17121 w 219165"/>
                <a:gd name="connsiteY6" fmla="*/ 290330 h 288217"/>
                <a:gd name="connsiteX7" fmla="*/ 18322 w 219165"/>
                <a:gd name="connsiteY7" fmla="*/ 290330 h 288217"/>
                <a:gd name="connsiteX8" fmla="*/ 36636 w 219165"/>
                <a:gd name="connsiteY8" fmla="*/ 290330 h 288217"/>
                <a:gd name="connsiteX9" fmla="*/ 54050 w 219165"/>
                <a:gd name="connsiteY9" fmla="*/ 277120 h 288217"/>
                <a:gd name="connsiteX10" fmla="*/ 76266 w 219165"/>
                <a:gd name="connsiteY10" fmla="*/ 203565 h 288217"/>
                <a:gd name="connsiteX11" fmla="*/ 144118 w 219165"/>
                <a:gd name="connsiteY11" fmla="*/ 203565 h 288217"/>
                <a:gd name="connsiteX12" fmla="*/ 166635 w 219165"/>
                <a:gd name="connsiteY12" fmla="*/ 277721 h 288217"/>
                <a:gd name="connsiteX13" fmla="*/ 166635 w 219165"/>
                <a:gd name="connsiteY13" fmla="*/ 278922 h 288217"/>
                <a:gd name="connsiteX14" fmla="*/ 183747 w 219165"/>
                <a:gd name="connsiteY14" fmla="*/ 290630 h 288217"/>
                <a:gd name="connsiteX15" fmla="*/ 202361 w 219165"/>
                <a:gd name="connsiteY15" fmla="*/ 290630 h 288217"/>
                <a:gd name="connsiteX16" fmla="*/ 220675 w 219165"/>
                <a:gd name="connsiteY16" fmla="*/ 272617 h 288217"/>
                <a:gd name="connsiteX17" fmla="*/ 220675 w 219165"/>
                <a:gd name="connsiteY17" fmla="*/ 272016 h 288217"/>
                <a:gd name="connsiteX18" fmla="*/ 219474 w 219165"/>
                <a:gd name="connsiteY18" fmla="*/ 265111 h 288217"/>
                <a:gd name="connsiteX19" fmla="*/ 144418 w 219165"/>
                <a:gd name="connsiteY19" fmla="*/ 13221 h 288217"/>
                <a:gd name="connsiteX20" fmla="*/ 131208 w 219165"/>
                <a:gd name="connsiteY20" fmla="*/ 147723 h 288217"/>
                <a:gd name="connsiteX21" fmla="*/ 90677 w 219165"/>
                <a:gd name="connsiteY21" fmla="*/ 147723 h 288217"/>
                <a:gd name="connsiteX22" fmla="*/ 110792 w 219165"/>
                <a:gd name="connsiteY22" fmla="*/ 78370 h 288217"/>
                <a:gd name="connsiteX23" fmla="*/ 131208 w 219165"/>
                <a:gd name="connsiteY23" fmla="*/ 147723 h 288217"/>
                <a:gd name="connsiteX24" fmla="*/ 131208 w 219165"/>
                <a:gd name="connsiteY24" fmla="*/ 147723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19165" h="288217">
                  <a:moveTo>
                    <a:pt x="144418" y="13221"/>
                  </a:moveTo>
                  <a:cubicBezTo>
                    <a:pt x="142316" y="5415"/>
                    <a:pt x="135111" y="11"/>
                    <a:pt x="127305" y="11"/>
                  </a:cubicBezTo>
                  <a:lnTo>
                    <a:pt x="94280" y="11"/>
                  </a:lnTo>
                  <a:cubicBezTo>
                    <a:pt x="86174" y="-289"/>
                    <a:pt x="78968" y="5415"/>
                    <a:pt x="76867" y="13221"/>
                  </a:cubicBezTo>
                  <a:lnTo>
                    <a:pt x="1510" y="264211"/>
                  </a:lnTo>
                  <a:cubicBezTo>
                    <a:pt x="309" y="266612"/>
                    <a:pt x="9" y="269014"/>
                    <a:pt x="9" y="271716"/>
                  </a:cubicBezTo>
                  <a:cubicBezTo>
                    <a:pt x="-292" y="281624"/>
                    <a:pt x="7214" y="290030"/>
                    <a:pt x="17121" y="290330"/>
                  </a:cubicBezTo>
                  <a:cubicBezTo>
                    <a:pt x="17422" y="290330"/>
                    <a:pt x="18022" y="290330"/>
                    <a:pt x="18322" y="290330"/>
                  </a:cubicBezTo>
                  <a:lnTo>
                    <a:pt x="36636" y="290330"/>
                  </a:lnTo>
                  <a:cubicBezTo>
                    <a:pt x="44742" y="290630"/>
                    <a:pt x="51948" y="285226"/>
                    <a:pt x="54050" y="277120"/>
                  </a:cubicBezTo>
                  <a:lnTo>
                    <a:pt x="76266" y="203565"/>
                  </a:lnTo>
                  <a:lnTo>
                    <a:pt x="144118" y="203565"/>
                  </a:lnTo>
                  <a:lnTo>
                    <a:pt x="166635" y="277721"/>
                  </a:lnTo>
                  <a:lnTo>
                    <a:pt x="166635" y="278922"/>
                  </a:lnTo>
                  <a:cubicBezTo>
                    <a:pt x="169337" y="286127"/>
                    <a:pt x="176242" y="290931"/>
                    <a:pt x="183747" y="290630"/>
                  </a:cubicBezTo>
                  <a:lnTo>
                    <a:pt x="202361" y="290630"/>
                  </a:lnTo>
                  <a:cubicBezTo>
                    <a:pt x="212269" y="290630"/>
                    <a:pt x="220375" y="282825"/>
                    <a:pt x="220675" y="272617"/>
                  </a:cubicBezTo>
                  <a:cubicBezTo>
                    <a:pt x="220675" y="272317"/>
                    <a:pt x="220675" y="272317"/>
                    <a:pt x="220675" y="272016"/>
                  </a:cubicBezTo>
                  <a:cubicBezTo>
                    <a:pt x="220675" y="269615"/>
                    <a:pt x="220375" y="267213"/>
                    <a:pt x="219474" y="265111"/>
                  </a:cubicBezTo>
                  <a:lnTo>
                    <a:pt x="144418" y="13221"/>
                  </a:lnTo>
                  <a:close/>
                  <a:moveTo>
                    <a:pt x="131208" y="147723"/>
                  </a:moveTo>
                  <a:lnTo>
                    <a:pt x="90677" y="147723"/>
                  </a:lnTo>
                  <a:lnTo>
                    <a:pt x="110792" y="78370"/>
                  </a:lnTo>
                  <a:lnTo>
                    <a:pt x="131208" y="147723"/>
                  </a:lnTo>
                  <a:lnTo>
                    <a:pt x="131208" y="147723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35" name="Forme libre : forme 234">
              <a:extLst>
                <a:ext uri="{FF2B5EF4-FFF2-40B4-BE49-F238E27FC236}">
                  <a16:creationId xmlns:a16="http://schemas.microsoft.com/office/drawing/2014/main" id="{C227BB27-36AF-449B-A0FB-A7E648520D15}"/>
                </a:ext>
              </a:extLst>
            </p:cNvPr>
            <p:cNvSpPr/>
            <p:nvPr/>
          </p:nvSpPr>
          <p:spPr>
            <a:xfrm>
              <a:off x="8147703" y="4369554"/>
              <a:ext cx="180136" cy="294222"/>
            </a:xfrm>
            <a:custGeom>
              <a:avLst/>
              <a:gdLst>
                <a:gd name="connsiteX0" fmla="*/ 161849 w 180136"/>
                <a:gd name="connsiteY0" fmla="*/ 32 h 294221"/>
                <a:gd name="connsiteX1" fmla="*/ 143835 w 180136"/>
                <a:gd name="connsiteY1" fmla="*/ 32 h 294221"/>
                <a:gd name="connsiteX2" fmla="*/ 125221 w 180136"/>
                <a:gd name="connsiteY2" fmla="*/ 17145 h 294221"/>
                <a:gd name="connsiteX3" fmla="*/ 125221 w 180136"/>
                <a:gd name="connsiteY3" fmla="*/ 19247 h 294221"/>
                <a:gd name="connsiteX4" fmla="*/ 125221 w 180136"/>
                <a:gd name="connsiteY4" fmla="*/ 203286 h 294221"/>
                <a:gd name="connsiteX5" fmla="*/ 115013 w 180136"/>
                <a:gd name="connsiteY5" fmla="*/ 228805 h 294221"/>
                <a:gd name="connsiteX6" fmla="*/ 64575 w 180136"/>
                <a:gd name="connsiteY6" fmla="*/ 227904 h 294221"/>
                <a:gd name="connsiteX7" fmla="*/ 54668 w 180136"/>
                <a:gd name="connsiteY7" fmla="*/ 203286 h 294221"/>
                <a:gd name="connsiteX8" fmla="*/ 54668 w 180136"/>
                <a:gd name="connsiteY8" fmla="*/ 19247 h 294221"/>
                <a:gd name="connsiteX9" fmla="*/ 38155 w 180136"/>
                <a:gd name="connsiteY9" fmla="*/ 633 h 294221"/>
                <a:gd name="connsiteX10" fmla="*/ 36354 w 180136"/>
                <a:gd name="connsiteY10" fmla="*/ 633 h 294221"/>
                <a:gd name="connsiteX11" fmla="*/ 18341 w 180136"/>
                <a:gd name="connsiteY11" fmla="*/ 633 h 294221"/>
                <a:gd name="connsiteX12" fmla="*/ 27 w 180136"/>
                <a:gd name="connsiteY12" fmla="*/ 18046 h 294221"/>
                <a:gd name="connsiteX13" fmla="*/ 27 w 180136"/>
                <a:gd name="connsiteY13" fmla="*/ 19247 h 294221"/>
                <a:gd name="connsiteX14" fmla="*/ 27 w 180136"/>
                <a:gd name="connsiteY14" fmla="*/ 203286 h 294221"/>
                <a:gd name="connsiteX15" fmla="*/ 26146 w 180136"/>
                <a:gd name="connsiteY15" fmla="*/ 268135 h 294221"/>
                <a:gd name="connsiteX16" fmla="*/ 153443 w 180136"/>
                <a:gd name="connsiteY16" fmla="*/ 268735 h 294221"/>
                <a:gd name="connsiteX17" fmla="*/ 154043 w 180136"/>
                <a:gd name="connsiteY17" fmla="*/ 268135 h 294221"/>
                <a:gd name="connsiteX18" fmla="*/ 180163 w 180136"/>
                <a:gd name="connsiteY18" fmla="*/ 203286 h 294221"/>
                <a:gd name="connsiteX19" fmla="*/ 180163 w 180136"/>
                <a:gd name="connsiteY19" fmla="*/ 18947 h 294221"/>
                <a:gd name="connsiteX20" fmla="*/ 163350 w 180136"/>
                <a:gd name="connsiteY20" fmla="*/ 333 h 294221"/>
                <a:gd name="connsiteX21" fmla="*/ 161549 w 180136"/>
                <a:gd name="connsiteY21" fmla="*/ 333 h 294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80136" h="294221">
                  <a:moveTo>
                    <a:pt x="161849" y="32"/>
                  </a:moveTo>
                  <a:lnTo>
                    <a:pt x="143835" y="32"/>
                  </a:lnTo>
                  <a:cubicBezTo>
                    <a:pt x="133928" y="-568"/>
                    <a:pt x="125521" y="7238"/>
                    <a:pt x="125221" y="17145"/>
                  </a:cubicBezTo>
                  <a:cubicBezTo>
                    <a:pt x="125221" y="17746"/>
                    <a:pt x="125221" y="18646"/>
                    <a:pt x="125221" y="19247"/>
                  </a:cubicBezTo>
                  <a:lnTo>
                    <a:pt x="125221" y="203286"/>
                  </a:lnTo>
                  <a:cubicBezTo>
                    <a:pt x="125521" y="212893"/>
                    <a:pt x="121919" y="222200"/>
                    <a:pt x="115013" y="228805"/>
                  </a:cubicBezTo>
                  <a:cubicBezTo>
                    <a:pt x="100903" y="242615"/>
                    <a:pt x="78086" y="242315"/>
                    <a:pt x="64575" y="227904"/>
                  </a:cubicBezTo>
                  <a:cubicBezTo>
                    <a:pt x="58271" y="221299"/>
                    <a:pt x="54668" y="212593"/>
                    <a:pt x="54668" y="203286"/>
                  </a:cubicBezTo>
                  <a:lnTo>
                    <a:pt x="54668" y="19247"/>
                  </a:lnTo>
                  <a:cubicBezTo>
                    <a:pt x="55268" y="9640"/>
                    <a:pt x="48063" y="1233"/>
                    <a:pt x="38155" y="633"/>
                  </a:cubicBezTo>
                  <a:cubicBezTo>
                    <a:pt x="37555" y="633"/>
                    <a:pt x="36954" y="633"/>
                    <a:pt x="36354" y="633"/>
                  </a:cubicBezTo>
                  <a:lnTo>
                    <a:pt x="18341" y="633"/>
                  </a:lnTo>
                  <a:cubicBezTo>
                    <a:pt x="8433" y="333"/>
                    <a:pt x="327" y="8139"/>
                    <a:pt x="27" y="18046"/>
                  </a:cubicBezTo>
                  <a:cubicBezTo>
                    <a:pt x="27" y="18346"/>
                    <a:pt x="27" y="18947"/>
                    <a:pt x="27" y="19247"/>
                  </a:cubicBezTo>
                  <a:lnTo>
                    <a:pt x="27" y="203286"/>
                  </a:lnTo>
                  <a:cubicBezTo>
                    <a:pt x="-574" y="227604"/>
                    <a:pt x="9033" y="251022"/>
                    <a:pt x="26146" y="268135"/>
                  </a:cubicBezTo>
                  <a:cubicBezTo>
                    <a:pt x="60973" y="303862"/>
                    <a:pt x="118016" y="304162"/>
                    <a:pt x="153443" y="268735"/>
                  </a:cubicBezTo>
                  <a:cubicBezTo>
                    <a:pt x="153743" y="268435"/>
                    <a:pt x="154043" y="268135"/>
                    <a:pt x="154043" y="268135"/>
                  </a:cubicBezTo>
                  <a:cubicBezTo>
                    <a:pt x="171156" y="251022"/>
                    <a:pt x="180463" y="227604"/>
                    <a:pt x="180163" y="203286"/>
                  </a:cubicBezTo>
                  <a:lnTo>
                    <a:pt x="180163" y="18947"/>
                  </a:lnTo>
                  <a:cubicBezTo>
                    <a:pt x="180763" y="9039"/>
                    <a:pt x="173257" y="933"/>
                    <a:pt x="163350" y="333"/>
                  </a:cubicBezTo>
                  <a:cubicBezTo>
                    <a:pt x="162750" y="333"/>
                    <a:pt x="162149" y="333"/>
                    <a:pt x="161549" y="333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36" name="Forme libre : forme 235">
              <a:extLst>
                <a:ext uri="{FF2B5EF4-FFF2-40B4-BE49-F238E27FC236}">
                  <a16:creationId xmlns:a16="http://schemas.microsoft.com/office/drawing/2014/main" id="{E6A5DC08-05CA-466A-93F5-CF62315640AF}"/>
                </a:ext>
              </a:extLst>
            </p:cNvPr>
            <p:cNvSpPr/>
            <p:nvPr/>
          </p:nvSpPr>
          <p:spPr>
            <a:xfrm>
              <a:off x="8374774" y="4369858"/>
              <a:ext cx="189143" cy="285215"/>
            </a:xfrm>
            <a:custGeom>
              <a:avLst/>
              <a:gdLst>
                <a:gd name="connsiteX0" fmla="*/ 124821 w 189142"/>
                <a:gd name="connsiteY0" fmla="*/ 143236 h 285215"/>
                <a:gd name="connsiteX1" fmla="*/ 187869 w 189142"/>
                <a:gd name="connsiteY1" fmla="*/ 25848 h 285215"/>
                <a:gd name="connsiteX2" fmla="*/ 189070 w 189142"/>
                <a:gd name="connsiteY2" fmla="*/ 22545 h 285215"/>
                <a:gd name="connsiteX3" fmla="*/ 185767 w 189142"/>
                <a:gd name="connsiteY3" fmla="*/ 6633 h 285215"/>
                <a:gd name="connsiteX4" fmla="*/ 171657 w 189142"/>
                <a:gd name="connsiteY4" fmla="*/ 28 h 285215"/>
                <a:gd name="connsiteX5" fmla="*/ 153343 w 189142"/>
                <a:gd name="connsiteY5" fmla="*/ 28 h 285215"/>
                <a:gd name="connsiteX6" fmla="*/ 137131 w 189142"/>
                <a:gd name="connsiteY6" fmla="*/ 10536 h 285215"/>
                <a:gd name="connsiteX7" fmla="*/ 94799 w 189142"/>
                <a:gd name="connsiteY7" fmla="*/ 88895 h 285215"/>
                <a:gd name="connsiteX8" fmla="*/ 52767 w 189142"/>
                <a:gd name="connsiteY8" fmla="*/ 11137 h 285215"/>
                <a:gd name="connsiteX9" fmla="*/ 36254 w 189142"/>
                <a:gd name="connsiteY9" fmla="*/ 28 h 285215"/>
                <a:gd name="connsiteX10" fmla="*/ 18241 w 189142"/>
                <a:gd name="connsiteY10" fmla="*/ 28 h 285215"/>
                <a:gd name="connsiteX11" fmla="*/ 3830 w 189142"/>
                <a:gd name="connsiteY11" fmla="*/ 6033 h 285215"/>
                <a:gd name="connsiteX12" fmla="*/ 828 w 189142"/>
                <a:gd name="connsiteY12" fmla="*/ 22545 h 285215"/>
                <a:gd name="connsiteX13" fmla="*/ 2028 w 189142"/>
                <a:gd name="connsiteY13" fmla="*/ 25848 h 285215"/>
                <a:gd name="connsiteX14" fmla="*/ 65076 w 189142"/>
                <a:gd name="connsiteY14" fmla="*/ 143236 h 285215"/>
                <a:gd name="connsiteX15" fmla="*/ 2028 w 189142"/>
                <a:gd name="connsiteY15" fmla="*/ 259724 h 285215"/>
                <a:gd name="connsiteX16" fmla="*/ 1128 w 189142"/>
                <a:gd name="connsiteY16" fmla="*/ 262126 h 285215"/>
                <a:gd name="connsiteX17" fmla="*/ 3530 w 189142"/>
                <a:gd name="connsiteY17" fmla="*/ 278939 h 285215"/>
                <a:gd name="connsiteX18" fmla="*/ 18541 w 189142"/>
                <a:gd name="connsiteY18" fmla="*/ 286144 h 285215"/>
                <a:gd name="connsiteX19" fmla="*/ 37155 w 189142"/>
                <a:gd name="connsiteY19" fmla="*/ 286144 h 285215"/>
                <a:gd name="connsiteX20" fmla="*/ 53367 w 189142"/>
                <a:gd name="connsiteY20" fmla="*/ 275036 h 285215"/>
                <a:gd name="connsiteX21" fmla="*/ 94799 w 189142"/>
                <a:gd name="connsiteY21" fmla="*/ 197877 h 285215"/>
                <a:gd name="connsiteX22" fmla="*/ 136230 w 189142"/>
                <a:gd name="connsiteY22" fmla="*/ 274735 h 285215"/>
                <a:gd name="connsiteX23" fmla="*/ 152742 w 189142"/>
                <a:gd name="connsiteY23" fmla="*/ 285844 h 285215"/>
                <a:gd name="connsiteX24" fmla="*/ 171356 w 189142"/>
                <a:gd name="connsiteY24" fmla="*/ 285844 h 285215"/>
                <a:gd name="connsiteX25" fmla="*/ 186068 w 189142"/>
                <a:gd name="connsiteY25" fmla="*/ 278638 h 285215"/>
                <a:gd name="connsiteX26" fmla="*/ 188469 w 189142"/>
                <a:gd name="connsiteY26" fmla="*/ 261225 h 285215"/>
                <a:gd name="connsiteX27" fmla="*/ 124821 w 189142"/>
                <a:gd name="connsiteY27" fmla="*/ 143236 h 285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89142" h="285215">
                  <a:moveTo>
                    <a:pt x="124821" y="143236"/>
                  </a:moveTo>
                  <a:lnTo>
                    <a:pt x="187869" y="25848"/>
                  </a:lnTo>
                  <a:lnTo>
                    <a:pt x="189070" y="22545"/>
                  </a:lnTo>
                  <a:cubicBezTo>
                    <a:pt x="190571" y="16841"/>
                    <a:pt x="189370" y="11137"/>
                    <a:pt x="185767" y="6633"/>
                  </a:cubicBezTo>
                  <a:cubicBezTo>
                    <a:pt x="182465" y="2430"/>
                    <a:pt x="177061" y="-272"/>
                    <a:pt x="171657" y="28"/>
                  </a:cubicBezTo>
                  <a:lnTo>
                    <a:pt x="153343" y="28"/>
                  </a:lnTo>
                  <a:cubicBezTo>
                    <a:pt x="146137" y="-272"/>
                    <a:pt x="139833" y="3931"/>
                    <a:pt x="137131" y="10536"/>
                  </a:cubicBezTo>
                  <a:lnTo>
                    <a:pt x="94799" y="88895"/>
                  </a:lnTo>
                  <a:lnTo>
                    <a:pt x="52767" y="11137"/>
                  </a:lnTo>
                  <a:cubicBezTo>
                    <a:pt x="50065" y="4231"/>
                    <a:pt x="43460" y="28"/>
                    <a:pt x="36254" y="28"/>
                  </a:cubicBezTo>
                  <a:lnTo>
                    <a:pt x="18241" y="28"/>
                  </a:lnTo>
                  <a:cubicBezTo>
                    <a:pt x="12837" y="-272"/>
                    <a:pt x="7433" y="1830"/>
                    <a:pt x="3830" y="6033"/>
                  </a:cubicBezTo>
                  <a:cubicBezTo>
                    <a:pt x="227" y="10836"/>
                    <a:pt x="-974" y="16841"/>
                    <a:pt x="828" y="22545"/>
                  </a:cubicBezTo>
                  <a:lnTo>
                    <a:pt x="2028" y="25848"/>
                  </a:lnTo>
                  <a:lnTo>
                    <a:pt x="65076" y="143236"/>
                  </a:lnTo>
                  <a:lnTo>
                    <a:pt x="2028" y="259724"/>
                  </a:lnTo>
                  <a:lnTo>
                    <a:pt x="1128" y="262126"/>
                  </a:lnTo>
                  <a:cubicBezTo>
                    <a:pt x="-673" y="267830"/>
                    <a:pt x="227" y="274135"/>
                    <a:pt x="3530" y="278939"/>
                  </a:cubicBezTo>
                  <a:cubicBezTo>
                    <a:pt x="7132" y="283742"/>
                    <a:pt x="12536" y="286144"/>
                    <a:pt x="18541" y="286144"/>
                  </a:cubicBezTo>
                  <a:lnTo>
                    <a:pt x="37155" y="286144"/>
                  </a:lnTo>
                  <a:cubicBezTo>
                    <a:pt x="44361" y="286144"/>
                    <a:pt x="50665" y="281941"/>
                    <a:pt x="53367" y="275036"/>
                  </a:cubicBezTo>
                  <a:lnTo>
                    <a:pt x="94799" y="197877"/>
                  </a:lnTo>
                  <a:lnTo>
                    <a:pt x="136230" y="274735"/>
                  </a:lnTo>
                  <a:cubicBezTo>
                    <a:pt x="138932" y="281641"/>
                    <a:pt x="145537" y="285844"/>
                    <a:pt x="152742" y="285844"/>
                  </a:cubicBezTo>
                  <a:lnTo>
                    <a:pt x="171356" y="285844"/>
                  </a:lnTo>
                  <a:cubicBezTo>
                    <a:pt x="177061" y="286144"/>
                    <a:pt x="182765" y="283442"/>
                    <a:pt x="186068" y="278638"/>
                  </a:cubicBezTo>
                  <a:cubicBezTo>
                    <a:pt x="189670" y="273534"/>
                    <a:pt x="190571" y="267230"/>
                    <a:pt x="188469" y="261225"/>
                  </a:cubicBezTo>
                  <a:lnTo>
                    <a:pt x="124821" y="143236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37" name="Forme libre : forme 236">
              <a:extLst>
                <a:ext uri="{FF2B5EF4-FFF2-40B4-BE49-F238E27FC236}">
                  <a16:creationId xmlns:a16="http://schemas.microsoft.com/office/drawing/2014/main" id="{327DF8B0-8D2F-43F4-8A40-25C724D49306}"/>
                </a:ext>
              </a:extLst>
            </p:cNvPr>
            <p:cNvSpPr/>
            <p:nvPr/>
          </p:nvSpPr>
          <p:spPr>
            <a:xfrm>
              <a:off x="7191198" y="4369210"/>
              <a:ext cx="186141" cy="288217"/>
            </a:xfrm>
            <a:custGeom>
              <a:avLst/>
              <a:gdLst>
                <a:gd name="connsiteX0" fmla="*/ 186149 w 186140"/>
                <a:gd name="connsiteY0" fmla="*/ 264275 h 288217"/>
                <a:gd name="connsiteX1" fmla="*/ 136612 w 186140"/>
                <a:gd name="connsiteY1" fmla="*/ 167903 h 288217"/>
                <a:gd name="connsiteX2" fmla="*/ 154025 w 186140"/>
                <a:gd name="connsiteY2" fmla="*/ 154693 h 288217"/>
                <a:gd name="connsiteX3" fmla="*/ 177443 w 186140"/>
                <a:gd name="connsiteY3" fmla="*/ 97049 h 288217"/>
                <a:gd name="connsiteX4" fmla="*/ 177443 w 186140"/>
                <a:gd name="connsiteY4" fmla="*/ 82038 h 288217"/>
                <a:gd name="connsiteX5" fmla="*/ 154626 w 186140"/>
                <a:gd name="connsiteY5" fmla="*/ 23794 h 288217"/>
                <a:gd name="connsiteX6" fmla="*/ 98183 w 186140"/>
                <a:gd name="connsiteY6" fmla="*/ 76 h 288217"/>
                <a:gd name="connsiteX7" fmla="*/ 18923 w 186140"/>
                <a:gd name="connsiteY7" fmla="*/ 76 h 288217"/>
                <a:gd name="connsiteX8" fmla="*/ 9 w 186140"/>
                <a:gd name="connsiteY8" fmla="*/ 16288 h 288217"/>
                <a:gd name="connsiteX9" fmla="*/ 9 w 186140"/>
                <a:gd name="connsiteY9" fmla="*/ 19290 h 288217"/>
                <a:gd name="connsiteX10" fmla="*/ 9 w 186140"/>
                <a:gd name="connsiteY10" fmla="*/ 271781 h 288217"/>
                <a:gd name="connsiteX11" fmla="*/ 16821 w 186140"/>
                <a:gd name="connsiteY11" fmla="*/ 290395 h 288217"/>
                <a:gd name="connsiteX12" fmla="*/ 18022 w 186140"/>
                <a:gd name="connsiteY12" fmla="*/ 290395 h 288217"/>
                <a:gd name="connsiteX13" fmla="*/ 36036 w 186140"/>
                <a:gd name="connsiteY13" fmla="*/ 290395 h 288217"/>
                <a:gd name="connsiteX14" fmla="*/ 54050 w 186140"/>
                <a:gd name="connsiteY14" fmla="*/ 272381 h 288217"/>
                <a:gd name="connsiteX15" fmla="*/ 54050 w 186140"/>
                <a:gd name="connsiteY15" fmla="*/ 271781 h 288217"/>
                <a:gd name="connsiteX16" fmla="*/ 54050 w 186140"/>
                <a:gd name="connsiteY16" fmla="*/ 178410 h 288217"/>
                <a:gd name="connsiteX17" fmla="*/ 83171 w 186140"/>
                <a:gd name="connsiteY17" fmla="*/ 178410 h 288217"/>
                <a:gd name="connsiteX18" fmla="*/ 133910 w 186140"/>
                <a:gd name="connsiteY18" fmla="*/ 278086 h 288217"/>
                <a:gd name="connsiteX19" fmla="*/ 150422 w 186140"/>
                <a:gd name="connsiteY19" fmla="*/ 289494 h 288217"/>
                <a:gd name="connsiteX20" fmla="*/ 169036 w 186140"/>
                <a:gd name="connsiteY20" fmla="*/ 289494 h 288217"/>
                <a:gd name="connsiteX21" fmla="*/ 183747 w 186140"/>
                <a:gd name="connsiteY21" fmla="*/ 282289 h 288217"/>
                <a:gd name="connsiteX22" fmla="*/ 186149 w 186140"/>
                <a:gd name="connsiteY22" fmla="*/ 265176 h 288217"/>
                <a:gd name="connsiteX23" fmla="*/ 186149 w 186140"/>
                <a:gd name="connsiteY23" fmla="*/ 265176 h 288217"/>
                <a:gd name="connsiteX24" fmla="*/ 123402 w 186140"/>
                <a:gd name="connsiteY24" fmla="*/ 83539 h 288217"/>
                <a:gd name="connsiteX25" fmla="*/ 123402 w 186140"/>
                <a:gd name="connsiteY25" fmla="*/ 97950 h 288217"/>
                <a:gd name="connsiteX26" fmla="*/ 97582 w 186140"/>
                <a:gd name="connsiteY26" fmla="*/ 124370 h 288217"/>
                <a:gd name="connsiteX27" fmla="*/ 54050 w 186140"/>
                <a:gd name="connsiteY27" fmla="*/ 124370 h 288217"/>
                <a:gd name="connsiteX28" fmla="*/ 54050 w 186140"/>
                <a:gd name="connsiteY28" fmla="*/ 56218 h 288217"/>
                <a:gd name="connsiteX29" fmla="*/ 97582 w 186140"/>
                <a:gd name="connsiteY29" fmla="*/ 56218 h 288217"/>
                <a:gd name="connsiteX30" fmla="*/ 115296 w 186140"/>
                <a:gd name="connsiteY30" fmla="*/ 63424 h 288217"/>
                <a:gd name="connsiteX31" fmla="*/ 123102 w 186140"/>
                <a:gd name="connsiteY31" fmla="*/ 82338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86140" h="288217">
                  <a:moveTo>
                    <a:pt x="186149" y="264275"/>
                  </a:moveTo>
                  <a:lnTo>
                    <a:pt x="136612" y="167903"/>
                  </a:lnTo>
                  <a:cubicBezTo>
                    <a:pt x="142917" y="164300"/>
                    <a:pt x="148621" y="159796"/>
                    <a:pt x="154025" y="154693"/>
                  </a:cubicBezTo>
                  <a:cubicBezTo>
                    <a:pt x="169337" y="139681"/>
                    <a:pt x="177743" y="118665"/>
                    <a:pt x="177443" y="97049"/>
                  </a:cubicBezTo>
                  <a:lnTo>
                    <a:pt x="177443" y="82038"/>
                  </a:lnTo>
                  <a:cubicBezTo>
                    <a:pt x="178043" y="60422"/>
                    <a:pt x="169637" y="39105"/>
                    <a:pt x="154626" y="23794"/>
                  </a:cubicBezTo>
                  <a:cubicBezTo>
                    <a:pt x="139914" y="8182"/>
                    <a:pt x="119499" y="-224"/>
                    <a:pt x="98183" y="76"/>
                  </a:cubicBezTo>
                  <a:lnTo>
                    <a:pt x="18923" y="76"/>
                  </a:lnTo>
                  <a:cubicBezTo>
                    <a:pt x="9316" y="-825"/>
                    <a:pt x="909" y="6381"/>
                    <a:pt x="9" y="16288"/>
                  </a:cubicBezTo>
                  <a:cubicBezTo>
                    <a:pt x="9" y="17189"/>
                    <a:pt x="9" y="18390"/>
                    <a:pt x="9" y="19290"/>
                  </a:cubicBezTo>
                  <a:lnTo>
                    <a:pt x="9" y="271781"/>
                  </a:lnTo>
                  <a:cubicBezTo>
                    <a:pt x="-292" y="281688"/>
                    <a:pt x="7214" y="290095"/>
                    <a:pt x="16821" y="290395"/>
                  </a:cubicBezTo>
                  <a:cubicBezTo>
                    <a:pt x="17122" y="290395"/>
                    <a:pt x="17722" y="290395"/>
                    <a:pt x="18022" y="290395"/>
                  </a:cubicBezTo>
                  <a:lnTo>
                    <a:pt x="36036" y="290395"/>
                  </a:lnTo>
                  <a:cubicBezTo>
                    <a:pt x="45943" y="290395"/>
                    <a:pt x="54050" y="282589"/>
                    <a:pt x="54050" y="272381"/>
                  </a:cubicBezTo>
                  <a:cubicBezTo>
                    <a:pt x="54050" y="272081"/>
                    <a:pt x="54050" y="272081"/>
                    <a:pt x="54050" y="271781"/>
                  </a:cubicBezTo>
                  <a:lnTo>
                    <a:pt x="54050" y="178410"/>
                  </a:lnTo>
                  <a:lnTo>
                    <a:pt x="83171" y="178410"/>
                  </a:lnTo>
                  <a:lnTo>
                    <a:pt x="133910" y="278086"/>
                  </a:lnTo>
                  <a:cubicBezTo>
                    <a:pt x="136612" y="284991"/>
                    <a:pt x="143217" y="289494"/>
                    <a:pt x="150422" y="289494"/>
                  </a:cubicBezTo>
                  <a:lnTo>
                    <a:pt x="169036" y="289494"/>
                  </a:lnTo>
                  <a:cubicBezTo>
                    <a:pt x="174741" y="289795"/>
                    <a:pt x="180445" y="287092"/>
                    <a:pt x="183747" y="282289"/>
                  </a:cubicBezTo>
                  <a:cubicBezTo>
                    <a:pt x="187350" y="277185"/>
                    <a:pt x="188251" y="270880"/>
                    <a:pt x="186149" y="265176"/>
                  </a:cubicBezTo>
                  <a:lnTo>
                    <a:pt x="186149" y="265176"/>
                  </a:lnTo>
                  <a:moveTo>
                    <a:pt x="123402" y="83539"/>
                  </a:moveTo>
                  <a:lnTo>
                    <a:pt x="123402" y="97950"/>
                  </a:lnTo>
                  <a:cubicBezTo>
                    <a:pt x="123402" y="112361"/>
                    <a:pt x="111693" y="124370"/>
                    <a:pt x="97582" y="124370"/>
                  </a:cubicBezTo>
                  <a:lnTo>
                    <a:pt x="54050" y="124370"/>
                  </a:lnTo>
                  <a:lnTo>
                    <a:pt x="54050" y="56218"/>
                  </a:lnTo>
                  <a:lnTo>
                    <a:pt x="97582" y="56218"/>
                  </a:lnTo>
                  <a:cubicBezTo>
                    <a:pt x="104187" y="55918"/>
                    <a:pt x="110492" y="58620"/>
                    <a:pt x="115296" y="63424"/>
                  </a:cubicBezTo>
                  <a:cubicBezTo>
                    <a:pt x="120400" y="68227"/>
                    <a:pt x="123402" y="75133"/>
                    <a:pt x="123102" y="82338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38" name="Forme libre : forme 237">
              <a:extLst>
                <a:ext uri="{FF2B5EF4-FFF2-40B4-BE49-F238E27FC236}">
                  <a16:creationId xmlns:a16="http://schemas.microsoft.com/office/drawing/2014/main" id="{EE1A81AD-847E-4805-B99F-AB281DC9C67A}"/>
                </a:ext>
              </a:extLst>
            </p:cNvPr>
            <p:cNvSpPr/>
            <p:nvPr/>
          </p:nvSpPr>
          <p:spPr>
            <a:xfrm>
              <a:off x="6485374" y="4373489"/>
              <a:ext cx="60045" cy="120091"/>
            </a:xfrm>
            <a:custGeom>
              <a:avLst/>
              <a:gdLst>
                <a:gd name="connsiteX0" fmla="*/ 60045 w 60045"/>
                <a:gd name="connsiteY0" fmla="*/ 120391 h 120090"/>
                <a:gd name="connsiteX1" fmla="*/ 54641 w 60045"/>
                <a:gd name="connsiteY1" fmla="*/ 120391 h 120090"/>
                <a:gd name="connsiteX2" fmla="*/ 52840 w 60045"/>
                <a:gd name="connsiteY2" fmla="*/ 118589 h 120090"/>
                <a:gd name="connsiteX3" fmla="*/ 52840 w 60045"/>
                <a:gd name="connsiteY3" fmla="*/ 117088 h 120090"/>
                <a:gd name="connsiteX4" fmla="*/ 51039 w 60045"/>
                <a:gd name="connsiteY4" fmla="*/ 115287 h 120090"/>
                <a:gd name="connsiteX5" fmla="*/ 50138 w 60045"/>
                <a:gd name="connsiteY5" fmla="*/ 115287 h 120090"/>
                <a:gd name="connsiteX6" fmla="*/ 6605 w 60045"/>
                <a:gd name="connsiteY6" fmla="*/ 109583 h 120090"/>
                <a:gd name="connsiteX7" fmla="*/ 0 w 60045"/>
                <a:gd name="connsiteY7" fmla="*/ 90368 h 120090"/>
                <a:gd name="connsiteX8" fmla="*/ 0 w 60045"/>
                <a:gd name="connsiteY8" fmla="*/ 64549 h 120090"/>
                <a:gd name="connsiteX9" fmla="*/ 9007 w 60045"/>
                <a:gd name="connsiteY9" fmla="*/ 43233 h 120090"/>
                <a:gd name="connsiteX10" fmla="*/ 30923 w 60045"/>
                <a:gd name="connsiteY10" fmla="*/ 33926 h 120090"/>
                <a:gd name="connsiteX11" fmla="*/ 47136 w 60045"/>
                <a:gd name="connsiteY11" fmla="*/ 38729 h 120090"/>
                <a:gd name="connsiteX12" fmla="*/ 48336 w 60045"/>
                <a:gd name="connsiteY12" fmla="*/ 38729 h 120090"/>
                <a:gd name="connsiteX13" fmla="*/ 49838 w 60045"/>
                <a:gd name="connsiteY13" fmla="*/ 37228 h 120090"/>
                <a:gd name="connsiteX14" fmla="*/ 49838 w 60045"/>
                <a:gd name="connsiteY14" fmla="*/ 1801 h 120090"/>
                <a:gd name="connsiteX15" fmla="*/ 51039 w 60045"/>
                <a:gd name="connsiteY15" fmla="*/ 0 h 120090"/>
                <a:gd name="connsiteX16" fmla="*/ 51639 w 60045"/>
                <a:gd name="connsiteY16" fmla="*/ 0 h 120090"/>
                <a:gd name="connsiteX17" fmla="*/ 60045 w 60045"/>
                <a:gd name="connsiteY17" fmla="*/ 0 h 120090"/>
                <a:gd name="connsiteX18" fmla="*/ 61546 w 60045"/>
                <a:gd name="connsiteY18" fmla="*/ 1801 h 120090"/>
                <a:gd name="connsiteX19" fmla="*/ 61546 w 60045"/>
                <a:gd name="connsiteY19" fmla="*/ 118589 h 120090"/>
                <a:gd name="connsiteX20" fmla="*/ 60045 w 60045"/>
                <a:gd name="connsiteY20" fmla="*/ 120391 h 120090"/>
                <a:gd name="connsiteX21" fmla="*/ 49838 w 60045"/>
                <a:gd name="connsiteY21" fmla="*/ 65449 h 120090"/>
                <a:gd name="connsiteX22" fmla="*/ 44133 w 60045"/>
                <a:gd name="connsiteY22" fmla="*/ 51639 h 120090"/>
                <a:gd name="connsiteX23" fmla="*/ 17113 w 60045"/>
                <a:gd name="connsiteY23" fmla="*/ 51639 h 120090"/>
                <a:gd name="connsiteX24" fmla="*/ 11409 w 60045"/>
                <a:gd name="connsiteY24" fmla="*/ 65449 h 120090"/>
                <a:gd name="connsiteX25" fmla="*/ 11409 w 60045"/>
                <a:gd name="connsiteY25" fmla="*/ 91269 h 120090"/>
                <a:gd name="connsiteX26" fmla="*/ 16813 w 60045"/>
                <a:gd name="connsiteY26" fmla="*/ 105379 h 120090"/>
                <a:gd name="connsiteX27" fmla="*/ 30623 w 60045"/>
                <a:gd name="connsiteY27" fmla="*/ 111084 h 120090"/>
                <a:gd name="connsiteX28" fmla="*/ 44133 w 60045"/>
                <a:gd name="connsiteY28" fmla="*/ 105379 h 120090"/>
                <a:gd name="connsiteX29" fmla="*/ 49838 w 60045"/>
                <a:gd name="connsiteY29" fmla="*/ 91269 h 120090"/>
                <a:gd name="connsiteX30" fmla="*/ 49838 w 60045"/>
                <a:gd name="connsiteY30" fmla="*/ 65449 h 120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60045" h="120090">
                  <a:moveTo>
                    <a:pt x="60045" y="120391"/>
                  </a:moveTo>
                  <a:lnTo>
                    <a:pt x="54641" y="120391"/>
                  </a:lnTo>
                  <a:cubicBezTo>
                    <a:pt x="53440" y="120391"/>
                    <a:pt x="52840" y="119490"/>
                    <a:pt x="52840" y="118589"/>
                  </a:cubicBezTo>
                  <a:lnTo>
                    <a:pt x="52840" y="117088"/>
                  </a:lnTo>
                  <a:cubicBezTo>
                    <a:pt x="52840" y="115587"/>
                    <a:pt x="52239" y="115287"/>
                    <a:pt x="51039" y="115287"/>
                  </a:cubicBezTo>
                  <a:cubicBezTo>
                    <a:pt x="49838" y="115287"/>
                    <a:pt x="50138" y="115287"/>
                    <a:pt x="50138" y="115287"/>
                  </a:cubicBezTo>
                  <a:cubicBezTo>
                    <a:pt x="36628" y="126095"/>
                    <a:pt x="17113" y="123693"/>
                    <a:pt x="6605" y="109583"/>
                  </a:cubicBezTo>
                  <a:cubicBezTo>
                    <a:pt x="2402" y="104179"/>
                    <a:pt x="0" y="97273"/>
                    <a:pt x="0" y="90368"/>
                  </a:cubicBezTo>
                  <a:lnTo>
                    <a:pt x="0" y="64549"/>
                  </a:lnTo>
                  <a:cubicBezTo>
                    <a:pt x="0" y="56443"/>
                    <a:pt x="3302" y="48937"/>
                    <a:pt x="9007" y="43233"/>
                  </a:cubicBezTo>
                  <a:cubicBezTo>
                    <a:pt x="14711" y="36928"/>
                    <a:pt x="22517" y="33625"/>
                    <a:pt x="30923" y="33926"/>
                  </a:cubicBezTo>
                  <a:cubicBezTo>
                    <a:pt x="36628" y="33926"/>
                    <a:pt x="42332" y="35427"/>
                    <a:pt x="47136" y="38729"/>
                  </a:cubicBezTo>
                  <a:lnTo>
                    <a:pt x="48336" y="38729"/>
                  </a:lnTo>
                  <a:cubicBezTo>
                    <a:pt x="49537" y="38729"/>
                    <a:pt x="49838" y="38729"/>
                    <a:pt x="49838" y="37228"/>
                  </a:cubicBezTo>
                  <a:lnTo>
                    <a:pt x="49838" y="1801"/>
                  </a:lnTo>
                  <a:cubicBezTo>
                    <a:pt x="49537" y="901"/>
                    <a:pt x="50138" y="300"/>
                    <a:pt x="51039" y="0"/>
                  </a:cubicBezTo>
                  <a:cubicBezTo>
                    <a:pt x="51339" y="0"/>
                    <a:pt x="51339" y="0"/>
                    <a:pt x="51639" y="0"/>
                  </a:cubicBezTo>
                  <a:lnTo>
                    <a:pt x="60045" y="0"/>
                  </a:lnTo>
                  <a:cubicBezTo>
                    <a:pt x="61246" y="0"/>
                    <a:pt x="61546" y="0"/>
                    <a:pt x="61546" y="1801"/>
                  </a:cubicBezTo>
                  <a:lnTo>
                    <a:pt x="61546" y="118589"/>
                  </a:lnTo>
                  <a:cubicBezTo>
                    <a:pt x="61546" y="119790"/>
                    <a:pt x="61546" y="120691"/>
                    <a:pt x="60045" y="120391"/>
                  </a:cubicBezTo>
                  <a:moveTo>
                    <a:pt x="49838" y="65449"/>
                  </a:moveTo>
                  <a:cubicBezTo>
                    <a:pt x="50138" y="60346"/>
                    <a:pt x="48036" y="55242"/>
                    <a:pt x="44133" y="51639"/>
                  </a:cubicBezTo>
                  <a:cubicBezTo>
                    <a:pt x="36628" y="43833"/>
                    <a:pt x="24619" y="44133"/>
                    <a:pt x="17113" y="51639"/>
                  </a:cubicBezTo>
                  <a:cubicBezTo>
                    <a:pt x="13510" y="55242"/>
                    <a:pt x="11409" y="60346"/>
                    <a:pt x="11409" y="65449"/>
                  </a:cubicBezTo>
                  <a:lnTo>
                    <a:pt x="11409" y="91269"/>
                  </a:lnTo>
                  <a:cubicBezTo>
                    <a:pt x="11409" y="96673"/>
                    <a:pt x="13210" y="101777"/>
                    <a:pt x="16813" y="105379"/>
                  </a:cubicBezTo>
                  <a:cubicBezTo>
                    <a:pt x="20415" y="109282"/>
                    <a:pt x="25219" y="111084"/>
                    <a:pt x="30623" y="111084"/>
                  </a:cubicBezTo>
                  <a:cubicBezTo>
                    <a:pt x="35727" y="111084"/>
                    <a:pt x="40531" y="108982"/>
                    <a:pt x="44133" y="105379"/>
                  </a:cubicBezTo>
                  <a:cubicBezTo>
                    <a:pt x="47736" y="101777"/>
                    <a:pt x="49838" y="96673"/>
                    <a:pt x="49838" y="91269"/>
                  </a:cubicBezTo>
                  <a:lnTo>
                    <a:pt x="49838" y="65449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39" name="Forme libre : forme 238">
              <a:extLst>
                <a:ext uri="{FF2B5EF4-FFF2-40B4-BE49-F238E27FC236}">
                  <a16:creationId xmlns:a16="http://schemas.microsoft.com/office/drawing/2014/main" id="{5FEDD632-ED9C-4751-8335-351F78E28A7C}"/>
                </a:ext>
              </a:extLst>
            </p:cNvPr>
            <p:cNvSpPr/>
            <p:nvPr/>
          </p:nvSpPr>
          <p:spPr>
            <a:xfrm>
              <a:off x="6570319" y="4403924"/>
              <a:ext cx="57043" cy="93070"/>
            </a:xfrm>
            <a:custGeom>
              <a:avLst/>
              <a:gdLst>
                <a:gd name="connsiteX0" fmla="*/ 56762 w 57043"/>
                <a:gd name="connsiteY0" fmla="*/ 52728 h 93070"/>
                <a:gd name="connsiteX1" fmla="*/ 12929 w 57043"/>
                <a:gd name="connsiteY1" fmla="*/ 52728 h 93070"/>
                <a:gd name="connsiteX2" fmla="*/ 11127 w 57043"/>
                <a:gd name="connsiteY2" fmla="*/ 54229 h 93070"/>
                <a:gd name="connsiteX3" fmla="*/ 11127 w 57043"/>
                <a:gd name="connsiteY3" fmla="*/ 54529 h 93070"/>
                <a:gd name="connsiteX4" fmla="*/ 11127 w 57043"/>
                <a:gd name="connsiteY4" fmla="*/ 59933 h 93070"/>
                <a:gd name="connsiteX5" fmla="*/ 16832 w 57043"/>
                <a:gd name="connsiteY5" fmla="*/ 74644 h 93070"/>
                <a:gd name="connsiteX6" fmla="*/ 30642 w 57043"/>
                <a:gd name="connsiteY6" fmla="*/ 80949 h 93070"/>
                <a:gd name="connsiteX7" fmla="*/ 48956 w 57043"/>
                <a:gd name="connsiteY7" fmla="*/ 74644 h 93070"/>
                <a:gd name="connsiteX8" fmla="*/ 51057 w 57043"/>
                <a:gd name="connsiteY8" fmla="*/ 74644 h 93070"/>
                <a:gd name="connsiteX9" fmla="*/ 51057 w 57043"/>
                <a:gd name="connsiteY9" fmla="*/ 74644 h 93070"/>
                <a:gd name="connsiteX10" fmla="*/ 55861 w 57043"/>
                <a:gd name="connsiteY10" fmla="*/ 82150 h 93070"/>
                <a:gd name="connsiteX11" fmla="*/ 56161 w 57043"/>
                <a:gd name="connsiteY11" fmla="*/ 84552 h 93070"/>
                <a:gd name="connsiteX12" fmla="*/ 55861 w 57043"/>
                <a:gd name="connsiteY12" fmla="*/ 84852 h 93070"/>
                <a:gd name="connsiteX13" fmla="*/ 30942 w 57043"/>
                <a:gd name="connsiteY13" fmla="*/ 93558 h 93070"/>
                <a:gd name="connsiteX14" fmla="*/ 9026 w 57043"/>
                <a:gd name="connsiteY14" fmla="*/ 83651 h 93070"/>
                <a:gd name="connsiteX15" fmla="*/ 19 w 57043"/>
                <a:gd name="connsiteY15" fmla="*/ 59633 h 93070"/>
                <a:gd name="connsiteX16" fmla="*/ 19 w 57043"/>
                <a:gd name="connsiteY16" fmla="*/ 32012 h 93070"/>
                <a:gd name="connsiteX17" fmla="*/ 8725 w 57043"/>
                <a:gd name="connsiteY17" fmla="*/ 9195 h 93070"/>
                <a:gd name="connsiteX18" fmla="*/ 50457 w 57043"/>
                <a:gd name="connsiteY18" fmla="*/ 9495 h 93070"/>
                <a:gd name="connsiteX19" fmla="*/ 58863 w 57043"/>
                <a:gd name="connsiteY19" fmla="*/ 32012 h 93070"/>
                <a:gd name="connsiteX20" fmla="*/ 58863 w 57043"/>
                <a:gd name="connsiteY20" fmla="*/ 50626 h 93070"/>
                <a:gd name="connsiteX21" fmla="*/ 56762 w 57043"/>
                <a:gd name="connsiteY21" fmla="*/ 52728 h 93070"/>
                <a:gd name="connsiteX22" fmla="*/ 46854 w 57043"/>
                <a:gd name="connsiteY22" fmla="*/ 32312 h 93070"/>
                <a:gd name="connsiteX23" fmla="*/ 41750 w 57043"/>
                <a:gd name="connsiteY23" fmla="*/ 18802 h 93070"/>
                <a:gd name="connsiteX24" fmla="*/ 29141 w 57043"/>
                <a:gd name="connsiteY24" fmla="*/ 13398 h 93070"/>
                <a:gd name="connsiteX25" fmla="*/ 16531 w 57043"/>
                <a:gd name="connsiteY25" fmla="*/ 18802 h 93070"/>
                <a:gd name="connsiteX26" fmla="*/ 11127 w 57043"/>
                <a:gd name="connsiteY26" fmla="*/ 32312 h 93070"/>
                <a:gd name="connsiteX27" fmla="*/ 11127 w 57043"/>
                <a:gd name="connsiteY27" fmla="*/ 38017 h 93070"/>
                <a:gd name="connsiteX28" fmla="*/ 12328 w 57043"/>
                <a:gd name="connsiteY28" fmla="*/ 40118 h 93070"/>
                <a:gd name="connsiteX29" fmla="*/ 12628 w 57043"/>
                <a:gd name="connsiteY29" fmla="*/ 40118 h 93070"/>
                <a:gd name="connsiteX30" fmla="*/ 44452 w 57043"/>
                <a:gd name="connsiteY30" fmla="*/ 40118 h 93070"/>
                <a:gd name="connsiteX31" fmla="*/ 45954 w 57043"/>
                <a:gd name="connsiteY31" fmla="*/ 38017 h 93070"/>
                <a:gd name="connsiteX32" fmla="*/ 46854 w 57043"/>
                <a:gd name="connsiteY32" fmla="*/ 32312 h 93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57043" h="93070">
                  <a:moveTo>
                    <a:pt x="56762" y="52728"/>
                  </a:moveTo>
                  <a:lnTo>
                    <a:pt x="12929" y="52728"/>
                  </a:lnTo>
                  <a:cubicBezTo>
                    <a:pt x="12028" y="52728"/>
                    <a:pt x="11127" y="53328"/>
                    <a:pt x="11127" y="54229"/>
                  </a:cubicBezTo>
                  <a:cubicBezTo>
                    <a:pt x="11127" y="54229"/>
                    <a:pt x="11127" y="54529"/>
                    <a:pt x="11127" y="54529"/>
                  </a:cubicBezTo>
                  <a:lnTo>
                    <a:pt x="11127" y="59933"/>
                  </a:lnTo>
                  <a:cubicBezTo>
                    <a:pt x="11127" y="65637"/>
                    <a:pt x="13229" y="70741"/>
                    <a:pt x="16832" y="74644"/>
                  </a:cubicBezTo>
                  <a:cubicBezTo>
                    <a:pt x="20434" y="78547"/>
                    <a:pt x="25238" y="80949"/>
                    <a:pt x="30642" y="80949"/>
                  </a:cubicBezTo>
                  <a:cubicBezTo>
                    <a:pt x="37247" y="80949"/>
                    <a:pt x="43552" y="78847"/>
                    <a:pt x="48956" y="74644"/>
                  </a:cubicBezTo>
                  <a:cubicBezTo>
                    <a:pt x="49556" y="74044"/>
                    <a:pt x="50457" y="74044"/>
                    <a:pt x="51057" y="74644"/>
                  </a:cubicBezTo>
                  <a:cubicBezTo>
                    <a:pt x="51057" y="74644"/>
                    <a:pt x="51057" y="74644"/>
                    <a:pt x="51057" y="74644"/>
                  </a:cubicBezTo>
                  <a:lnTo>
                    <a:pt x="55861" y="82150"/>
                  </a:lnTo>
                  <a:cubicBezTo>
                    <a:pt x="56461" y="82750"/>
                    <a:pt x="56762" y="83651"/>
                    <a:pt x="56161" y="84552"/>
                  </a:cubicBezTo>
                  <a:cubicBezTo>
                    <a:pt x="56161" y="84552"/>
                    <a:pt x="55861" y="84852"/>
                    <a:pt x="55861" y="84852"/>
                  </a:cubicBezTo>
                  <a:cubicBezTo>
                    <a:pt x="48656" y="90556"/>
                    <a:pt x="39949" y="93558"/>
                    <a:pt x="30942" y="93558"/>
                  </a:cubicBezTo>
                  <a:cubicBezTo>
                    <a:pt x="22836" y="93558"/>
                    <a:pt x="14730" y="89956"/>
                    <a:pt x="9026" y="83651"/>
                  </a:cubicBezTo>
                  <a:cubicBezTo>
                    <a:pt x="3021" y="77346"/>
                    <a:pt x="-281" y="68640"/>
                    <a:pt x="19" y="59633"/>
                  </a:cubicBezTo>
                  <a:lnTo>
                    <a:pt x="19" y="32012"/>
                  </a:lnTo>
                  <a:cubicBezTo>
                    <a:pt x="19" y="23606"/>
                    <a:pt x="3021" y="15199"/>
                    <a:pt x="8725" y="9195"/>
                  </a:cubicBezTo>
                  <a:cubicBezTo>
                    <a:pt x="20434" y="-3115"/>
                    <a:pt x="39048" y="-3115"/>
                    <a:pt x="50457" y="9495"/>
                  </a:cubicBezTo>
                  <a:cubicBezTo>
                    <a:pt x="55861" y="15500"/>
                    <a:pt x="58863" y="23606"/>
                    <a:pt x="58863" y="32012"/>
                  </a:cubicBezTo>
                  <a:lnTo>
                    <a:pt x="58863" y="50626"/>
                  </a:lnTo>
                  <a:cubicBezTo>
                    <a:pt x="58863" y="52127"/>
                    <a:pt x="58863" y="52728"/>
                    <a:pt x="56762" y="52728"/>
                  </a:cubicBezTo>
                  <a:moveTo>
                    <a:pt x="46854" y="32312"/>
                  </a:moveTo>
                  <a:cubicBezTo>
                    <a:pt x="46854" y="27208"/>
                    <a:pt x="45053" y="22405"/>
                    <a:pt x="41750" y="18802"/>
                  </a:cubicBezTo>
                  <a:cubicBezTo>
                    <a:pt x="38448" y="15199"/>
                    <a:pt x="33944" y="13098"/>
                    <a:pt x="29141" y="13398"/>
                  </a:cubicBezTo>
                  <a:cubicBezTo>
                    <a:pt x="24337" y="13098"/>
                    <a:pt x="19834" y="15199"/>
                    <a:pt x="16531" y="18802"/>
                  </a:cubicBezTo>
                  <a:cubicBezTo>
                    <a:pt x="12929" y="22405"/>
                    <a:pt x="11127" y="27208"/>
                    <a:pt x="11127" y="32312"/>
                  </a:cubicBezTo>
                  <a:lnTo>
                    <a:pt x="11127" y="38017"/>
                  </a:lnTo>
                  <a:cubicBezTo>
                    <a:pt x="11127" y="38917"/>
                    <a:pt x="11728" y="39818"/>
                    <a:pt x="12328" y="40118"/>
                  </a:cubicBezTo>
                  <a:cubicBezTo>
                    <a:pt x="12328" y="40118"/>
                    <a:pt x="12628" y="40118"/>
                    <a:pt x="12628" y="40118"/>
                  </a:cubicBezTo>
                  <a:lnTo>
                    <a:pt x="44452" y="40118"/>
                  </a:lnTo>
                  <a:cubicBezTo>
                    <a:pt x="45653" y="40118"/>
                    <a:pt x="45954" y="39217"/>
                    <a:pt x="45954" y="38017"/>
                  </a:cubicBezTo>
                  <a:lnTo>
                    <a:pt x="46854" y="32312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40" name="Forme libre : forme 239">
              <a:extLst>
                <a:ext uri="{FF2B5EF4-FFF2-40B4-BE49-F238E27FC236}">
                  <a16:creationId xmlns:a16="http://schemas.microsoft.com/office/drawing/2014/main" id="{9F2B949D-579B-4C02-9CB9-20D20ABC55B6}"/>
                </a:ext>
              </a:extLst>
            </p:cNvPr>
            <p:cNvSpPr/>
            <p:nvPr/>
          </p:nvSpPr>
          <p:spPr>
            <a:xfrm>
              <a:off x="6495581" y="4006913"/>
              <a:ext cx="66050" cy="144109"/>
            </a:xfrm>
            <a:custGeom>
              <a:avLst/>
              <a:gdLst>
                <a:gd name="connsiteX0" fmla="*/ 68151 w 66049"/>
                <a:gd name="connsiteY0" fmla="*/ 0 h 144108"/>
                <a:gd name="connsiteX1" fmla="*/ 68151 w 66049"/>
                <a:gd name="connsiteY1" fmla="*/ 144409 h 144108"/>
                <a:gd name="connsiteX2" fmla="*/ 28522 w 66049"/>
                <a:gd name="connsiteY2" fmla="*/ 106280 h 144108"/>
                <a:gd name="connsiteX3" fmla="*/ 28522 w 66049"/>
                <a:gd name="connsiteY3" fmla="*/ 10808 h 144108"/>
                <a:gd name="connsiteX4" fmla="*/ 0 w 66049"/>
                <a:gd name="connsiteY4" fmla="*/ 10808 h 144108"/>
                <a:gd name="connsiteX5" fmla="*/ 0 w 66049"/>
                <a:gd name="connsiteY5" fmla="*/ 1501 h 144108"/>
                <a:gd name="connsiteX6" fmla="*/ 68151 w 66049"/>
                <a:gd name="connsiteY6" fmla="*/ 0 h 144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049" h="144108">
                  <a:moveTo>
                    <a:pt x="68151" y="0"/>
                  </a:moveTo>
                  <a:lnTo>
                    <a:pt x="68151" y="144409"/>
                  </a:lnTo>
                  <a:lnTo>
                    <a:pt x="28522" y="106280"/>
                  </a:lnTo>
                  <a:lnTo>
                    <a:pt x="28522" y="10808"/>
                  </a:lnTo>
                  <a:lnTo>
                    <a:pt x="0" y="10808"/>
                  </a:lnTo>
                  <a:lnTo>
                    <a:pt x="0" y="1501"/>
                  </a:lnTo>
                  <a:cubicBezTo>
                    <a:pt x="21616" y="2402"/>
                    <a:pt x="44133" y="600"/>
                    <a:pt x="68151" y="0"/>
                  </a:cubicBezTo>
                  <a:close/>
                </a:path>
              </a:pathLst>
            </a:custGeom>
            <a:solidFill>
              <a:srgbClr val="009FE3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</p:grpSp>
      <p:sp>
        <p:nvSpPr>
          <p:cNvPr id="124" name="Rectangle 123">
            <a:hlinkClick r:id="rId2"/>
            <a:extLst>
              <a:ext uri="{FF2B5EF4-FFF2-40B4-BE49-F238E27FC236}">
                <a16:creationId xmlns:a16="http://schemas.microsoft.com/office/drawing/2014/main" id="{35F4AE06-723F-4907-A0C1-25C2A55668EF}"/>
              </a:ext>
            </a:extLst>
          </p:cNvPr>
          <p:cNvSpPr/>
          <p:nvPr userDrawn="1"/>
        </p:nvSpPr>
        <p:spPr>
          <a:xfrm>
            <a:off x="3294590" y="1121624"/>
            <a:ext cx="90922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srgbClr val="3A1B0B"/>
                </a:solidFill>
              </a:rPr>
              <a:t>@</a:t>
            </a:r>
            <a:r>
              <a:rPr lang="fr-FR" sz="800" dirty="0" err="1">
                <a:solidFill>
                  <a:srgbClr val="3A1B0B"/>
                </a:solidFill>
              </a:rPr>
              <a:t>univbordeaux</a:t>
            </a:r>
            <a:endParaRPr lang="fr-FR" sz="800" dirty="0">
              <a:solidFill>
                <a:srgbClr val="3A1B0B"/>
              </a:solidFill>
            </a:endParaRPr>
          </a:p>
        </p:txBody>
      </p:sp>
      <p:pic>
        <p:nvPicPr>
          <p:cNvPr id="125" name="Graphique 124">
            <a:hlinkClick r:id="rId2"/>
            <a:extLst>
              <a:ext uri="{FF2B5EF4-FFF2-40B4-BE49-F238E27FC236}">
                <a16:creationId xmlns:a16="http://schemas.microsoft.com/office/drawing/2014/main" id="{C6FD32D5-7851-419E-B042-2C17E6452CA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69202" y="702273"/>
            <a:ext cx="360000" cy="360000"/>
          </a:xfrm>
          <a:prstGeom prst="rect">
            <a:avLst/>
          </a:prstGeom>
        </p:spPr>
      </p:pic>
      <p:pic>
        <p:nvPicPr>
          <p:cNvPr id="126" name="Graphique 125">
            <a:hlinkClick r:id="rId5"/>
            <a:extLst>
              <a:ext uri="{FF2B5EF4-FFF2-40B4-BE49-F238E27FC236}">
                <a16:creationId xmlns:a16="http://schemas.microsoft.com/office/drawing/2014/main" id="{AC4BA783-078F-4C6E-BE4E-E143E9F636D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894972" y="702273"/>
            <a:ext cx="360000" cy="360000"/>
          </a:xfrm>
          <a:prstGeom prst="rect">
            <a:avLst/>
          </a:prstGeom>
        </p:spPr>
      </p:pic>
      <p:sp>
        <p:nvSpPr>
          <p:cNvPr id="127" name="Rectangle 126">
            <a:hlinkClick r:id="rId5"/>
            <a:extLst>
              <a:ext uri="{FF2B5EF4-FFF2-40B4-BE49-F238E27FC236}">
                <a16:creationId xmlns:a16="http://schemas.microsoft.com/office/drawing/2014/main" id="{0DEFADA8-A00E-42F6-AAA8-08025CB38A01}"/>
              </a:ext>
            </a:extLst>
          </p:cNvPr>
          <p:cNvSpPr/>
          <p:nvPr userDrawn="1"/>
        </p:nvSpPr>
        <p:spPr>
          <a:xfrm>
            <a:off x="6620360" y="1121624"/>
            <a:ext cx="90922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srgbClr val="3A1B0B"/>
                </a:solidFill>
              </a:rPr>
              <a:t>@</a:t>
            </a:r>
            <a:r>
              <a:rPr lang="fr-FR" sz="800" dirty="0" err="1">
                <a:solidFill>
                  <a:srgbClr val="3A1B0B"/>
                </a:solidFill>
              </a:rPr>
              <a:t>univbordeaux</a:t>
            </a:r>
            <a:endParaRPr lang="fr-FR" sz="800" dirty="0">
              <a:solidFill>
                <a:srgbClr val="3A1B0B"/>
              </a:solidFill>
            </a:endParaRPr>
          </a:p>
        </p:txBody>
      </p:sp>
      <p:sp>
        <p:nvSpPr>
          <p:cNvPr id="128" name="Rectangle 127">
            <a:hlinkClick r:id="rId8"/>
            <a:extLst>
              <a:ext uri="{FF2B5EF4-FFF2-40B4-BE49-F238E27FC236}">
                <a16:creationId xmlns:a16="http://schemas.microsoft.com/office/drawing/2014/main" id="{43060483-BA3F-4429-9DB5-CBA75DDBC66C}"/>
              </a:ext>
            </a:extLst>
          </p:cNvPr>
          <p:cNvSpPr/>
          <p:nvPr userDrawn="1"/>
        </p:nvSpPr>
        <p:spPr>
          <a:xfrm>
            <a:off x="2277866" y="2154670"/>
            <a:ext cx="127631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srgbClr val="3A1B0B"/>
                </a:solidFill>
              </a:rPr>
              <a:t>@</a:t>
            </a:r>
            <a:r>
              <a:rPr lang="fr-FR" sz="800" dirty="0" err="1">
                <a:solidFill>
                  <a:srgbClr val="3A1B0B"/>
                </a:solidFill>
              </a:rPr>
              <a:t>universitedebordeaux</a:t>
            </a:r>
            <a:endParaRPr lang="fr-FR" sz="800" dirty="0">
              <a:solidFill>
                <a:srgbClr val="3A1B0B"/>
              </a:solidFill>
            </a:endParaRPr>
          </a:p>
        </p:txBody>
      </p:sp>
      <p:pic>
        <p:nvPicPr>
          <p:cNvPr id="129" name="Graphique 128">
            <a:hlinkClick r:id="rId8"/>
            <a:extLst>
              <a:ext uri="{FF2B5EF4-FFF2-40B4-BE49-F238E27FC236}">
                <a16:creationId xmlns:a16="http://schemas.microsoft.com/office/drawing/2014/main" id="{64F997C0-D043-4AC6-968A-B1C30BBB2282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736022" y="1735319"/>
            <a:ext cx="360000" cy="360000"/>
          </a:xfrm>
          <a:prstGeom prst="rect">
            <a:avLst/>
          </a:prstGeom>
        </p:spPr>
      </p:pic>
      <p:pic>
        <p:nvPicPr>
          <p:cNvPr id="130" name="Graphique 129">
            <a:hlinkClick r:id="rId11"/>
            <a:extLst>
              <a:ext uri="{FF2B5EF4-FFF2-40B4-BE49-F238E27FC236}">
                <a16:creationId xmlns:a16="http://schemas.microsoft.com/office/drawing/2014/main" id="{83FCBC0C-46CD-4319-932E-4A574B930242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232820" y="702273"/>
            <a:ext cx="360000" cy="360000"/>
          </a:xfrm>
          <a:prstGeom prst="rect">
            <a:avLst/>
          </a:prstGeom>
        </p:spPr>
      </p:pic>
      <p:pic>
        <p:nvPicPr>
          <p:cNvPr id="131" name="Graphique 130">
            <a:hlinkClick r:id="rId14"/>
            <a:extLst>
              <a:ext uri="{FF2B5EF4-FFF2-40B4-BE49-F238E27FC236}">
                <a16:creationId xmlns:a16="http://schemas.microsoft.com/office/drawing/2014/main" id="{1819CD89-E770-4FC4-A88B-BD521AE63294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904363" y="702273"/>
            <a:ext cx="360000" cy="360000"/>
          </a:xfrm>
          <a:prstGeom prst="rect">
            <a:avLst/>
          </a:prstGeom>
        </p:spPr>
      </p:pic>
      <p:sp>
        <p:nvSpPr>
          <p:cNvPr id="132" name="Rectangle 131">
            <a:hlinkClick r:id="rId14"/>
            <a:extLst>
              <a:ext uri="{FF2B5EF4-FFF2-40B4-BE49-F238E27FC236}">
                <a16:creationId xmlns:a16="http://schemas.microsoft.com/office/drawing/2014/main" id="{FD3B5232-D5E9-44F0-9C33-33247F54B052}"/>
              </a:ext>
            </a:extLst>
          </p:cNvPr>
          <p:cNvSpPr/>
          <p:nvPr userDrawn="1"/>
        </p:nvSpPr>
        <p:spPr>
          <a:xfrm>
            <a:off x="1560019" y="1121624"/>
            <a:ext cx="104868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srgbClr val="3A1B0B"/>
                </a:solidFill>
              </a:rPr>
              <a:t>www.u-bordeaux.fr</a:t>
            </a:r>
          </a:p>
        </p:txBody>
      </p:sp>
      <p:pic>
        <p:nvPicPr>
          <p:cNvPr id="133" name="Graphique 132">
            <a:hlinkClick r:id="rId17"/>
            <a:extLst>
              <a:ext uri="{FF2B5EF4-FFF2-40B4-BE49-F238E27FC236}">
                <a16:creationId xmlns:a16="http://schemas.microsoft.com/office/drawing/2014/main" id="{5E1444FE-01A7-45A1-BCDA-AF5DE3864777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060942" y="1735319"/>
            <a:ext cx="360000" cy="360000"/>
          </a:xfrm>
          <a:prstGeom prst="rect">
            <a:avLst/>
          </a:prstGeom>
        </p:spPr>
      </p:pic>
      <p:pic>
        <p:nvPicPr>
          <p:cNvPr id="134" name="Graphique 133">
            <a:extLst>
              <a:ext uri="{FF2B5EF4-FFF2-40B4-BE49-F238E27FC236}">
                <a16:creationId xmlns:a16="http://schemas.microsoft.com/office/drawing/2014/main" id="{AE8061E4-BB31-415B-8A63-EE72EEB79D9C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4400221" y="1735319"/>
            <a:ext cx="360000" cy="360000"/>
          </a:xfrm>
          <a:prstGeom prst="rect">
            <a:avLst/>
          </a:prstGeom>
        </p:spPr>
      </p:pic>
      <p:sp>
        <p:nvSpPr>
          <p:cNvPr id="135" name="Rectangle 134">
            <a:extLst>
              <a:ext uri="{FF2B5EF4-FFF2-40B4-BE49-F238E27FC236}">
                <a16:creationId xmlns:a16="http://schemas.microsoft.com/office/drawing/2014/main" id="{C8AD63C4-784A-4776-9B5D-FA8BD25ACF8C}"/>
              </a:ext>
            </a:extLst>
          </p:cNvPr>
          <p:cNvSpPr/>
          <p:nvPr userDrawn="1"/>
        </p:nvSpPr>
        <p:spPr>
          <a:xfrm>
            <a:off x="4029281" y="2154670"/>
            <a:ext cx="108876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srgbClr val="3A1B0B"/>
                </a:solidFill>
              </a:rPr>
              <a:t>Appli mobile </a:t>
            </a:r>
            <a:r>
              <a:rPr lang="fr-FR" sz="800" dirty="0" err="1">
                <a:solidFill>
                  <a:srgbClr val="3A1B0B"/>
                </a:solidFill>
              </a:rPr>
              <a:t>U&amp;me</a:t>
            </a:r>
            <a:endParaRPr lang="fr-FR" sz="800" dirty="0">
              <a:solidFill>
                <a:srgbClr val="3A1B0B"/>
              </a:solidFill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26C582E0-BC44-4452-B431-ACC02FF3B9A7}"/>
              </a:ext>
            </a:extLst>
          </p:cNvPr>
          <p:cNvSpPr/>
          <p:nvPr userDrawn="1"/>
        </p:nvSpPr>
        <p:spPr>
          <a:xfrm>
            <a:off x="5780492" y="2154670"/>
            <a:ext cx="90922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srgbClr val="3A1B0B"/>
                </a:solidFill>
              </a:rPr>
              <a:t>@</a:t>
            </a:r>
            <a:r>
              <a:rPr lang="fr-FR" sz="800" dirty="0" err="1">
                <a:solidFill>
                  <a:srgbClr val="3A1B0B"/>
                </a:solidFill>
              </a:rPr>
              <a:t>univbordeaux</a:t>
            </a:r>
            <a:endParaRPr lang="fr-FR" sz="800" dirty="0">
              <a:solidFill>
                <a:srgbClr val="3A1B0B"/>
              </a:solidFill>
            </a:endParaRPr>
          </a:p>
        </p:txBody>
      </p:sp>
      <p:sp>
        <p:nvSpPr>
          <p:cNvPr id="137" name="Rectangle 136">
            <a:hlinkClick r:id="rId11"/>
            <a:extLst>
              <a:ext uri="{FF2B5EF4-FFF2-40B4-BE49-F238E27FC236}">
                <a16:creationId xmlns:a16="http://schemas.microsoft.com/office/drawing/2014/main" id="{191CC0A6-AEB3-4CFD-B3D3-4BB18C95F655}"/>
              </a:ext>
            </a:extLst>
          </p:cNvPr>
          <p:cNvSpPr/>
          <p:nvPr userDrawn="1"/>
        </p:nvSpPr>
        <p:spPr>
          <a:xfrm>
            <a:off x="4774665" y="1121624"/>
            <a:ext cx="127631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srgbClr val="3A1B0B"/>
                </a:solidFill>
              </a:rPr>
              <a:t>@</a:t>
            </a:r>
            <a:r>
              <a:rPr lang="fr-FR" sz="800" dirty="0" err="1">
                <a:solidFill>
                  <a:srgbClr val="3A1B0B"/>
                </a:solidFill>
              </a:rPr>
              <a:t>universitedebordeaux</a:t>
            </a:r>
            <a:endParaRPr lang="fr-FR" sz="800" dirty="0">
              <a:solidFill>
                <a:srgbClr val="3A1B0B"/>
              </a:solidFill>
            </a:endParaRPr>
          </a:p>
        </p:txBody>
      </p:sp>
      <p:sp>
        <p:nvSpPr>
          <p:cNvPr id="141" name="Espace réservé du texte 140">
            <a:extLst>
              <a:ext uri="{FF2B5EF4-FFF2-40B4-BE49-F238E27FC236}">
                <a16:creationId xmlns:a16="http://schemas.microsoft.com/office/drawing/2014/main" id="{EE880427-05D3-40E0-A2B2-744B3528ADE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4417" y="2973427"/>
            <a:ext cx="5915166" cy="31393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algn="ctr" defTabSz="457200">
              <a:buNone/>
              <a:tabLst>
                <a:tab pos="2066925" algn="l"/>
              </a:tabLst>
              <a:defRPr lang="fr-FR" sz="1600" b="1" dirty="0" smtClean="0">
                <a:solidFill>
                  <a:schemeClr val="tx1"/>
                </a:solidFill>
              </a:defRPr>
            </a:lvl1pPr>
          </a:lstStyle>
          <a:p>
            <a:pPr marL="0" lvl="0" algn="ctr" defTabSz="457200"/>
            <a:r>
              <a:rPr lang="fr-FR" dirty="0"/>
              <a:t>Message / remerciement</a:t>
            </a:r>
          </a:p>
        </p:txBody>
      </p:sp>
      <p:sp>
        <p:nvSpPr>
          <p:cNvPr id="144" name="Espace réservé du texte 143">
            <a:extLst>
              <a:ext uri="{FF2B5EF4-FFF2-40B4-BE49-F238E27FC236}">
                <a16:creationId xmlns:a16="http://schemas.microsoft.com/office/drawing/2014/main" id="{C20905A2-6F02-47AA-AF2E-63158D48679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5689" y="1"/>
            <a:ext cx="457523" cy="2017735"/>
          </a:xfrm>
          <a:custGeom>
            <a:avLst/>
            <a:gdLst>
              <a:gd name="connsiteX0" fmla="*/ 0 w 457523"/>
              <a:gd name="connsiteY0" fmla="*/ 0 h 2017735"/>
              <a:gd name="connsiteX1" fmla="*/ 275802 w 457523"/>
              <a:gd name="connsiteY1" fmla="*/ 0 h 2017735"/>
              <a:gd name="connsiteX2" fmla="*/ 457523 w 457523"/>
              <a:gd name="connsiteY2" fmla="*/ 0 h 2017735"/>
              <a:gd name="connsiteX3" fmla="*/ 179667 w 457523"/>
              <a:gd name="connsiteY3" fmla="*/ 2017735 h 2017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7523" h="2017735">
                <a:moveTo>
                  <a:pt x="0" y="0"/>
                </a:moveTo>
                <a:lnTo>
                  <a:pt x="275802" y="0"/>
                </a:lnTo>
                <a:lnTo>
                  <a:pt x="457523" y="0"/>
                </a:lnTo>
                <a:lnTo>
                  <a:pt x="179667" y="2017735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grpSp>
        <p:nvGrpSpPr>
          <p:cNvPr id="267" name="Groupe 266">
            <a:extLst>
              <a:ext uri="{FF2B5EF4-FFF2-40B4-BE49-F238E27FC236}">
                <a16:creationId xmlns:a16="http://schemas.microsoft.com/office/drawing/2014/main" id="{5E1891F2-FAFB-45B7-ADB0-B4532A71DEC4}"/>
              </a:ext>
            </a:extLst>
          </p:cNvPr>
          <p:cNvGrpSpPr/>
          <p:nvPr userDrawn="1"/>
        </p:nvGrpSpPr>
        <p:grpSpPr>
          <a:xfrm flipV="1">
            <a:off x="-91485" y="12467"/>
            <a:ext cx="1008300" cy="5190499"/>
            <a:chOff x="-91485" y="-57106"/>
            <a:chExt cx="1008300" cy="5190499"/>
          </a:xfrm>
          <a:solidFill>
            <a:schemeClr val="bg2">
              <a:alpha val="10000"/>
            </a:schemeClr>
          </a:solidFill>
        </p:grpSpPr>
        <p:sp>
          <p:nvSpPr>
            <p:cNvPr id="268" name="Forme libre : forme 267">
              <a:extLst>
                <a:ext uri="{FF2B5EF4-FFF2-40B4-BE49-F238E27FC236}">
                  <a16:creationId xmlns:a16="http://schemas.microsoft.com/office/drawing/2014/main" id="{73F747AB-BDD9-4153-8A0F-81B6FADAE149}"/>
                </a:ext>
              </a:extLst>
            </p:cNvPr>
            <p:cNvSpPr/>
            <p:nvPr/>
          </p:nvSpPr>
          <p:spPr>
            <a:xfrm rot="8716295">
              <a:off x="617786" y="1780350"/>
              <a:ext cx="152726" cy="195873"/>
            </a:xfrm>
            <a:custGeom>
              <a:avLst/>
              <a:gdLst>
                <a:gd name="connsiteX0" fmla="*/ 39589 w 152726"/>
                <a:gd name="connsiteY0" fmla="*/ 195873 h 195873"/>
                <a:gd name="connsiteX1" fmla="*/ 0 w 152726"/>
                <a:gd name="connsiteY1" fmla="*/ 122219 h 195873"/>
                <a:gd name="connsiteX2" fmla="*/ 101089 w 152726"/>
                <a:gd name="connsiteY2" fmla="*/ 0 h 195873"/>
                <a:gd name="connsiteX3" fmla="*/ 152726 w 152726"/>
                <a:gd name="connsiteY3" fmla="*/ 0 h 195873"/>
                <a:gd name="connsiteX4" fmla="*/ 152726 w 152726"/>
                <a:gd name="connsiteY4" fmla="*/ 55323 h 195873"/>
                <a:gd name="connsiteX5" fmla="*/ 87934 w 152726"/>
                <a:gd name="connsiteY5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726" h="195873">
                  <a:moveTo>
                    <a:pt x="39589" y="195873"/>
                  </a:moveTo>
                  <a:lnTo>
                    <a:pt x="0" y="122219"/>
                  </a:lnTo>
                  <a:lnTo>
                    <a:pt x="101089" y="0"/>
                  </a:lnTo>
                  <a:lnTo>
                    <a:pt x="152726" y="0"/>
                  </a:lnTo>
                  <a:lnTo>
                    <a:pt x="152726" y="55323"/>
                  </a:lnTo>
                  <a:lnTo>
                    <a:pt x="87934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" name="Forme libre : forme 268">
              <a:extLst>
                <a:ext uri="{FF2B5EF4-FFF2-40B4-BE49-F238E27FC236}">
                  <a16:creationId xmlns:a16="http://schemas.microsoft.com/office/drawing/2014/main" id="{ABB68B3A-64E8-421E-A122-56A45C711E07}"/>
                </a:ext>
              </a:extLst>
            </p:cNvPr>
            <p:cNvSpPr/>
            <p:nvPr/>
          </p:nvSpPr>
          <p:spPr>
            <a:xfrm rot="8716295">
              <a:off x="534441" y="1654353"/>
              <a:ext cx="262864" cy="103234"/>
            </a:xfrm>
            <a:custGeom>
              <a:avLst/>
              <a:gdLst>
                <a:gd name="connsiteX0" fmla="*/ 0 w 262864"/>
                <a:gd name="connsiteY0" fmla="*/ 75341 h 103234"/>
                <a:gd name="connsiteX1" fmla="*/ 62316 w 262864"/>
                <a:gd name="connsiteY1" fmla="*/ 0 h 103234"/>
                <a:gd name="connsiteX2" fmla="*/ 65768 w 262864"/>
                <a:gd name="connsiteY2" fmla="*/ 14220 h 103234"/>
                <a:gd name="connsiteX3" fmla="*/ 136369 w 262864"/>
                <a:gd name="connsiteY3" fmla="*/ 53051 h 103234"/>
                <a:gd name="connsiteX4" fmla="*/ 189321 w 262864"/>
                <a:gd name="connsiteY4" fmla="*/ 43637 h 103234"/>
                <a:gd name="connsiteX5" fmla="*/ 261688 w 262864"/>
                <a:gd name="connsiteY5" fmla="*/ 14220 h 103234"/>
                <a:gd name="connsiteX6" fmla="*/ 262864 w 262864"/>
                <a:gd name="connsiteY6" fmla="*/ 21868 h 103234"/>
                <a:gd name="connsiteX7" fmla="*/ 262864 w 262864"/>
                <a:gd name="connsiteY7" fmla="*/ 27752 h 103234"/>
                <a:gd name="connsiteX8" fmla="*/ 69887 w 262864"/>
                <a:gd name="connsiteY8" fmla="*/ 103060 h 103234"/>
                <a:gd name="connsiteX9" fmla="*/ 30615 w 262864"/>
                <a:gd name="connsiteY9" fmla="*/ 96294 h 103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2864" h="103234">
                  <a:moveTo>
                    <a:pt x="0" y="75341"/>
                  </a:moveTo>
                  <a:lnTo>
                    <a:pt x="62316" y="0"/>
                  </a:lnTo>
                  <a:lnTo>
                    <a:pt x="65768" y="14220"/>
                  </a:lnTo>
                  <a:cubicBezTo>
                    <a:pt x="75182" y="40107"/>
                    <a:pt x="99304" y="53051"/>
                    <a:pt x="136369" y="53051"/>
                  </a:cubicBezTo>
                  <a:cubicBezTo>
                    <a:pt x="154609" y="52462"/>
                    <a:pt x="172259" y="48932"/>
                    <a:pt x="189321" y="43637"/>
                  </a:cubicBezTo>
                  <a:cubicBezTo>
                    <a:pt x="214031" y="35988"/>
                    <a:pt x="238154" y="25987"/>
                    <a:pt x="261688" y="14220"/>
                  </a:cubicBezTo>
                  <a:cubicBezTo>
                    <a:pt x="262276" y="16573"/>
                    <a:pt x="262864" y="19515"/>
                    <a:pt x="262864" y="21868"/>
                  </a:cubicBezTo>
                  <a:lnTo>
                    <a:pt x="262864" y="27752"/>
                  </a:lnTo>
                  <a:cubicBezTo>
                    <a:pt x="200500" y="81291"/>
                    <a:pt x="118719" y="100119"/>
                    <a:pt x="69887" y="103060"/>
                  </a:cubicBezTo>
                  <a:cubicBezTo>
                    <a:pt x="56355" y="103943"/>
                    <a:pt x="42970" y="101442"/>
                    <a:pt x="30615" y="9629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0" name="Forme libre : forme 269">
              <a:extLst>
                <a:ext uri="{FF2B5EF4-FFF2-40B4-BE49-F238E27FC236}">
                  <a16:creationId xmlns:a16="http://schemas.microsoft.com/office/drawing/2014/main" id="{053D4FF2-A9EA-4185-9507-77A0BB17DB0B}"/>
                </a:ext>
              </a:extLst>
            </p:cNvPr>
            <p:cNvSpPr/>
            <p:nvPr/>
          </p:nvSpPr>
          <p:spPr>
            <a:xfrm rot="8716295">
              <a:off x="632719" y="1232432"/>
              <a:ext cx="121558" cy="232388"/>
            </a:xfrm>
            <a:custGeom>
              <a:avLst/>
              <a:gdLst>
                <a:gd name="connsiteX0" fmla="*/ 60499 w 121558"/>
                <a:gd name="connsiteY0" fmla="*/ 232388 h 232388"/>
                <a:gd name="connsiteX1" fmla="*/ 60499 w 121558"/>
                <a:gd name="connsiteY1" fmla="*/ 69717 h 232388"/>
                <a:gd name="connsiteX2" fmla="*/ 60499 w 121558"/>
                <a:gd name="connsiteY2" fmla="*/ 65615 h 232388"/>
                <a:gd name="connsiteX3" fmla="*/ 39995 w 121558"/>
                <a:gd name="connsiteY3" fmla="*/ 50123 h 232388"/>
                <a:gd name="connsiteX4" fmla="*/ 0 w 121558"/>
                <a:gd name="connsiteY4" fmla="*/ 50123 h 232388"/>
                <a:gd name="connsiteX5" fmla="*/ 41457 w 121558"/>
                <a:gd name="connsiteY5" fmla="*/ 0 h 232388"/>
                <a:gd name="connsiteX6" fmla="*/ 64601 w 121558"/>
                <a:gd name="connsiteY6" fmla="*/ 0 h 232388"/>
                <a:gd name="connsiteX7" fmla="*/ 121558 w 121558"/>
                <a:gd name="connsiteY7" fmla="*/ 50123 h 232388"/>
                <a:gd name="connsiteX8" fmla="*/ 121558 w 121558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558" h="232388">
                  <a:moveTo>
                    <a:pt x="60499" y="232388"/>
                  </a:moveTo>
                  <a:lnTo>
                    <a:pt x="60499" y="69717"/>
                  </a:lnTo>
                  <a:cubicBezTo>
                    <a:pt x="60499" y="68349"/>
                    <a:pt x="60499" y="66983"/>
                    <a:pt x="60499" y="65615"/>
                  </a:cubicBezTo>
                  <a:cubicBezTo>
                    <a:pt x="59133" y="55591"/>
                    <a:pt x="50019" y="48756"/>
                    <a:pt x="39995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64601" y="0"/>
                  </a:lnTo>
                  <a:cubicBezTo>
                    <a:pt x="101509" y="0"/>
                    <a:pt x="121558" y="15948"/>
                    <a:pt x="121558" y="50123"/>
                  </a:cubicBezTo>
                  <a:lnTo>
                    <a:pt x="121558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1" name="Forme libre : forme 270">
              <a:extLst>
                <a:ext uri="{FF2B5EF4-FFF2-40B4-BE49-F238E27FC236}">
                  <a16:creationId xmlns:a16="http://schemas.microsoft.com/office/drawing/2014/main" id="{79A1F7C8-13AC-4C12-A1FD-013BA48F78A7}"/>
                </a:ext>
              </a:extLst>
            </p:cNvPr>
            <p:cNvSpPr/>
            <p:nvPr/>
          </p:nvSpPr>
          <p:spPr>
            <a:xfrm rot="8716295">
              <a:off x="763454" y="1474783"/>
              <a:ext cx="14143" cy="14319"/>
            </a:xfrm>
            <a:custGeom>
              <a:avLst/>
              <a:gdLst>
                <a:gd name="connsiteX0" fmla="*/ 0 w 14143"/>
                <a:gd name="connsiteY0" fmla="*/ 14319 h 14319"/>
                <a:gd name="connsiteX1" fmla="*/ 11843 w 14143"/>
                <a:gd name="connsiteY1" fmla="*/ 0 h 14319"/>
                <a:gd name="connsiteX2" fmla="*/ 14143 w 14143"/>
                <a:gd name="connsiteY2" fmla="*/ 7563 h 14319"/>
                <a:gd name="connsiteX3" fmla="*/ 14143 w 14143"/>
                <a:gd name="connsiteY3" fmla="*/ 13487 h 1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43" h="14319">
                  <a:moveTo>
                    <a:pt x="0" y="14319"/>
                  </a:moveTo>
                  <a:lnTo>
                    <a:pt x="11843" y="0"/>
                  </a:lnTo>
                  <a:lnTo>
                    <a:pt x="14143" y="7563"/>
                  </a:lnTo>
                  <a:lnTo>
                    <a:pt x="14143" y="1348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2" name="Forme libre : forme 271">
              <a:extLst>
                <a:ext uri="{FF2B5EF4-FFF2-40B4-BE49-F238E27FC236}">
                  <a16:creationId xmlns:a16="http://schemas.microsoft.com/office/drawing/2014/main" id="{C3E454D8-15B4-4672-8FB0-B86B805165E6}"/>
                </a:ext>
              </a:extLst>
            </p:cNvPr>
            <p:cNvSpPr/>
            <p:nvPr/>
          </p:nvSpPr>
          <p:spPr>
            <a:xfrm rot="8716295">
              <a:off x="672878" y="1171577"/>
              <a:ext cx="183964" cy="137618"/>
            </a:xfrm>
            <a:custGeom>
              <a:avLst/>
              <a:gdLst>
                <a:gd name="connsiteX0" fmla="*/ 0 w 183964"/>
                <a:gd name="connsiteY0" fmla="*/ 137618 h 137618"/>
                <a:gd name="connsiteX1" fmla="*/ 53346 w 183964"/>
                <a:gd name="connsiteY1" fmla="*/ 73121 h 137618"/>
                <a:gd name="connsiteX2" fmla="*/ 101034 w 183964"/>
                <a:gd name="connsiteY2" fmla="*/ 28251 h 137618"/>
                <a:gd name="connsiteX3" fmla="*/ 155713 w 183964"/>
                <a:gd name="connsiteY3" fmla="*/ 0 h 137618"/>
                <a:gd name="connsiteX4" fmla="*/ 183964 w 183964"/>
                <a:gd name="connsiteY4" fmla="*/ 33719 h 137618"/>
                <a:gd name="connsiteX5" fmla="*/ 157536 w 183964"/>
                <a:gd name="connsiteY5" fmla="*/ 69261 h 137618"/>
                <a:gd name="connsiteX6" fmla="*/ 157991 w 183964"/>
                <a:gd name="connsiteY6" fmla="*/ 69261 h 137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3964" h="137618">
                  <a:moveTo>
                    <a:pt x="0" y="137618"/>
                  </a:moveTo>
                  <a:lnTo>
                    <a:pt x="53346" y="73121"/>
                  </a:lnTo>
                  <a:lnTo>
                    <a:pt x="101034" y="28251"/>
                  </a:lnTo>
                  <a:cubicBezTo>
                    <a:pt x="114703" y="12303"/>
                    <a:pt x="134297" y="2278"/>
                    <a:pt x="155713" y="0"/>
                  </a:cubicBezTo>
                  <a:cubicBezTo>
                    <a:pt x="177585" y="0"/>
                    <a:pt x="183964" y="19138"/>
                    <a:pt x="183964" y="33719"/>
                  </a:cubicBezTo>
                  <a:cubicBezTo>
                    <a:pt x="182597" y="49667"/>
                    <a:pt x="172117" y="62881"/>
                    <a:pt x="157536" y="69261"/>
                  </a:cubicBezTo>
                  <a:lnTo>
                    <a:pt x="157991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3" name="Forme libre : forme 272">
              <a:extLst>
                <a:ext uri="{FF2B5EF4-FFF2-40B4-BE49-F238E27FC236}">
                  <a16:creationId xmlns:a16="http://schemas.microsoft.com/office/drawing/2014/main" id="{9C05EADF-BE0D-49AA-B420-B1EB4831C5FE}"/>
                </a:ext>
              </a:extLst>
            </p:cNvPr>
            <p:cNvSpPr/>
            <p:nvPr/>
          </p:nvSpPr>
          <p:spPr>
            <a:xfrm rot="8716295">
              <a:off x="519479" y="13148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4" name="Forme libre : forme 273">
              <a:extLst>
                <a:ext uri="{FF2B5EF4-FFF2-40B4-BE49-F238E27FC236}">
                  <a16:creationId xmlns:a16="http://schemas.microsoft.com/office/drawing/2014/main" id="{AB241E56-80DB-4C03-BDCB-013736737321}"/>
                </a:ext>
              </a:extLst>
            </p:cNvPr>
            <p:cNvSpPr/>
            <p:nvPr/>
          </p:nvSpPr>
          <p:spPr>
            <a:xfrm rot="8716295">
              <a:off x="394576" y="11061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5" name="Forme libre : forme 274">
              <a:extLst>
                <a:ext uri="{FF2B5EF4-FFF2-40B4-BE49-F238E27FC236}">
                  <a16:creationId xmlns:a16="http://schemas.microsoft.com/office/drawing/2014/main" id="{E447AC23-F520-414E-AA97-1E8F359564D9}"/>
                </a:ext>
              </a:extLst>
            </p:cNvPr>
            <p:cNvSpPr/>
            <p:nvPr/>
          </p:nvSpPr>
          <p:spPr>
            <a:xfrm rot="8716295">
              <a:off x="382524" y="96739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6" name="Forme libre : forme 275">
              <a:extLst>
                <a:ext uri="{FF2B5EF4-FFF2-40B4-BE49-F238E27FC236}">
                  <a16:creationId xmlns:a16="http://schemas.microsoft.com/office/drawing/2014/main" id="{64C6C88C-FD82-456D-9665-DF0FCE0E4C47}"/>
                </a:ext>
              </a:extLst>
            </p:cNvPr>
            <p:cNvSpPr/>
            <p:nvPr/>
          </p:nvSpPr>
          <p:spPr>
            <a:xfrm rot="8716295">
              <a:off x="609657" y="135579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7" name="Forme libre : forme 276">
              <a:extLst>
                <a:ext uri="{FF2B5EF4-FFF2-40B4-BE49-F238E27FC236}">
                  <a16:creationId xmlns:a16="http://schemas.microsoft.com/office/drawing/2014/main" id="{0A77A193-F583-4928-97AF-E64E8FF6DEAD}"/>
                </a:ext>
              </a:extLst>
            </p:cNvPr>
            <p:cNvSpPr/>
            <p:nvPr/>
          </p:nvSpPr>
          <p:spPr>
            <a:xfrm rot="8716295">
              <a:off x="683426" y="869567"/>
              <a:ext cx="156000" cy="195873"/>
            </a:xfrm>
            <a:custGeom>
              <a:avLst/>
              <a:gdLst>
                <a:gd name="connsiteX0" fmla="*/ 42863 w 156000"/>
                <a:gd name="connsiteY0" fmla="*/ 195873 h 195873"/>
                <a:gd name="connsiteX1" fmla="*/ 0 w 156000"/>
                <a:gd name="connsiteY1" fmla="*/ 116129 h 195873"/>
                <a:gd name="connsiteX2" fmla="*/ 5100 w 156000"/>
                <a:gd name="connsiteY2" fmla="*/ 101988 h 195873"/>
                <a:gd name="connsiteX3" fmla="*/ 89456 w 156000"/>
                <a:gd name="connsiteY3" fmla="*/ 0 h 195873"/>
                <a:gd name="connsiteX4" fmla="*/ 156000 w 156000"/>
                <a:gd name="connsiteY4" fmla="*/ 0 h 195873"/>
                <a:gd name="connsiteX5" fmla="*/ 156000 w 156000"/>
                <a:gd name="connsiteY5" fmla="*/ 55323 h 195873"/>
                <a:gd name="connsiteX6" fmla="*/ 91208 w 156000"/>
                <a:gd name="connsiteY6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000" h="195873">
                  <a:moveTo>
                    <a:pt x="42863" y="195873"/>
                  </a:moveTo>
                  <a:lnTo>
                    <a:pt x="0" y="116129"/>
                  </a:lnTo>
                  <a:lnTo>
                    <a:pt x="5100" y="101988"/>
                  </a:lnTo>
                  <a:lnTo>
                    <a:pt x="89456" y="0"/>
                  </a:lnTo>
                  <a:lnTo>
                    <a:pt x="156000" y="0"/>
                  </a:lnTo>
                  <a:lnTo>
                    <a:pt x="156000" y="55323"/>
                  </a:lnTo>
                  <a:lnTo>
                    <a:pt x="91208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8" name="Forme libre : forme 277">
              <a:extLst>
                <a:ext uri="{FF2B5EF4-FFF2-40B4-BE49-F238E27FC236}">
                  <a16:creationId xmlns:a16="http://schemas.microsoft.com/office/drawing/2014/main" id="{CF3F0AFD-D31B-4029-B3F3-E13BB8216AB9}"/>
                </a:ext>
              </a:extLst>
            </p:cNvPr>
            <p:cNvSpPr/>
            <p:nvPr/>
          </p:nvSpPr>
          <p:spPr>
            <a:xfrm rot="8716295">
              <a:off x="657305" y="95604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9" name="Forme libre : forme 278">
              <a:extLst>
                <a:ext uri="{FF2B5EF4-FFF2-40B4-BE49-F238E27FC236}">
                  <a16:creationId xmlns:a16="http://schemas.microsoft.com/office/drawing/2014/main" id="{4E0EA875-3BAB-4BDB-A5B0-808C38082217}"/>
                </a:ext>
              </a:extLst>
            </p:cNvPr>
            <p:cNvSpPr/>
            <p:nvPr/>
          </p:nvSpPr>
          <p:spPr>
            <a:xfrm rot="8716295">
              <a:off x="412774" y="56424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0" name="Forme libre : forme 279">
              <a:extLst>
                <a:ext uri="{FF2B5EF4-FFF2-40B4-BE49-F238E27FC236}">
                  <a16:creationId xmlns:a16="http://schemas.microsoft.com/office/drawing/2014/main" id="{842C3D6E-95C4-425C-8B38-D0EBD8DBD5E5}"/>
                </a:ext>
              </a:extLst>
            </p:cNvPr>
            <p:cNvSpPr/>
            <p:nvPr/>
          </p:nvSpPr>
          <p:spPr>
            <a:xfrm rot="8716295">
              <a:off x="502166" y="59348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1" name="Forme libre : forme 280">
              <a:extLst>
                <a:ext uri="{FF2B5EF4-FFF2-40B4-BE49-F238E27FC236}">
                  <a16:creationId xmlns:a16="http://schemas.microsoft.com/office/drawing/2014/main" id="{A75BA1B9-497A-4874-9158-409D833D072A}"/>
                </a:ext>
              </a:extLst>
            </p:cNvPr>
            <p:cNvSpPr/>
            <p:nvPr/>
          </p:nvSpPr>
          <p:spPr>
            <a:xfrm rot="8716295">
              <a:off x="457316" y="50720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2" name="Forme libre : forme 281">
              <a:extLst>
                <a:ext uri="{FF2B5EF4-FFF2-40B4-BE49-F238E27FC236}">
                  <a16:creationId xmlns:a16="http://schemas.microsoft.com/office/drawing/2014/main" id="{205B75CA-6160-44CB-AE0D-8B52A04FF9B7}"/>
                </a:ext>
              </a:extLst>
            </p:cNvPr>
            <p:cNvSpPr/>
            <p:nvPr/>
          </p:nvSpPr>
          <p:spPr>
            <a:xfrm rot="8716295">
              <a:off x="300540" y="65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3" name="Forme libre : forme 282">
              <a:extLst>
                <a:ext uri="{FF2B5EF4-FFF2-40B4-BE49-F238E27FC236}">
                  <a16:creationId xmlns:a16="http://schemas.microsoft.com/office/drawing/2014/main" id="{91186326-55D6-4548-B33F-3511BC925FE8}"/>
                </a:ext>
              </a:extLst>
            </p:cNvPr>
            <p:cNvSpPr/>
            <p:nvPr/>
          </p:nvSpPr>
          <p:spPr>
            <a:xfrm rot="8716295">
              <a:off x="175637" y="44411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4" name="Forme libre : forme 283">
              <a:extLst>
                <a:ext uri="{FF2B5EF4-FFF2-40B4-BE49-F238E27FC236}">
                  <a16:creationId xmlns:a16="http://schemas.microsoft.com/office/drawing/2014/main" id="{A2ED5F31-FCDD-430A-BE16-9B1EA12A7F4F}"/>
                </a:ext>
              </a:extLst>
            </p:cNvPr>
            <p:cNvSpPr/>
            <p:nvPr/>
          </p:nvSpPr>
          <p:spPr>
            <a:xfrm rot="8716295">
              <a:off x="163585" y="30533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5" name="Forme libre : forme 284">
              <a:extLst>
                <a:ext uri="{FF2B5EF4-FFF2-40B4-BE49-F238E27FC236}">
                  <a16:creationId xmlns:a16="http://schemas.microsoft.com/office/drawing/2014/main" id="{FEC22DEA-F709-420C-A439-1AC57EB74539}"/>
                </a:ext>
              </a:extLst>
            </p:cNvPr>
            <p:cNvSpPr/>
            <p:nvPr/>
          </p:nvSpPr>
          <p:spPr>
            <a:xfrm rot="8716295">
              <a:off x="390718" y="69374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6" name="Forme libre : forme 285">
              <a:extLst>
                <a:ext uri="{FF2B5EF4-FFF2-40B4-BE49-F238E27FC236}">
                  <a16:creationId xmlns:a16="http://schemas.microsoft.com/office/drawing/2014/main" id="{4DA790D9-C5B8-43BC-8AB6-4E888B07FAC5}"/>
                </a:ext>
              </a:extLst>
            </p:cNvPr>
            <p:cNvSpPr/>
            <p:nvPr/>
          </p:nvSpPr>
          <p:spPr>
            <a:xfrm rot="8716295">
              <a:off x="702015" y="317459"/>
              <a:ext cx="131260" cy="232388"/>
            </a:xfrm>
            <a:custGeom>
              <a:avLst/>
              <a:gdLst>
                <a:gd name="connsiteX0" fmla="*/ 70201 w 131260"/>
                <a:gd name="connsiteY0" fmla="*/ 232388 h 232388"/>
                <a:gd name="connsiteX1" fmla="*/ 70201 w 131260"/>
                <a:gd name="connsiteY1" fmla="*/ 69717 h 232388"/>
                <a:gd name="connsiteX2" fmla="*/ 70201 w 131260"/>
                <a:gd name="connsiteY2" fmla="*/ 65615 h 232388"/>
                <a:gd name="connsiteX3" fmla="*/ 49697 w 131260"/>
                <a:gd name="connsiteY3" fmla="*/ 50123 h 232388"/>
                <a:gd name="connsiteX4" fmla="*/ 0 w 131260"/>
                <a:gd name="connsiteY4" fmla="*/ 50123 h 232388"/>
                <a:gd name="connsiteX5" fmla="*/ 41457 w 131260"/>
                <a:gd name="connsiteY5" fmla="*/ 0 h 232388"/>
                <a:gd name="connsiteX6" fmla="*/ 74303 w 131260"/>
                <a:gd name="connsiteY6" fmla="*/ 0 h 232388"/>
                <a:gd name="connsiteX7" fmla="*/ 131260 w 131260"/>
                <a:gd name="connsiteY7" fmla="*/ 50123 h 232388"/>
                <a:gd name="connsiteX8" fmla="*/ 131260 w 131260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1260" h="232388">
                  <a:moveTo>
                    <a:pt x="70201" y="232388"/>
                  </a:moveTo>
                  <a:lnTo>
                    <a:pt x="70201" y="69717"/>
                  </a:lnTo>
                  <a:cubicBezTo>
                    <a:pt x="70201" y="68349"/>
                    <a:pt x="70201" y="66983"/>
                    <a:pt x="70201" y="65615"/>
                  </a:cubicBezTo>
                  <a:cubicBezTo>
                    <a:pt x="68835" y="55591"/>
                    <a:pt x="59721" y="48756"/>
                    <a:pt x="49697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74303" y="0"/>
                  </a:lnTo>
                  <a:cubicBezTo>
                    <a:pt x="111211" y="0"/>
                    <a:pt x="131260" y="15948"/>
                    <a:pt x="131260" y="50123"/>
                  </a:cubicBezTo>
                  <a:lnTo>
                    <a:pt x="131260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7" name="Forme libre : forme 286">
              <a:extLst>
                <a:ext uri="{FF2B5EF4-FFF2-40B4-BE49-F238E27FC236}">
                  <a16:creationId xmlns:a16="http://schemas.microsoft.com/office/drawing/2014/main" id="{091E5F9C-73C6-4CAB-93E5-EFA60788C51C}"/>
                </a:ext>
              </a:extLst>
            </p:cNvPr>
            <p:cNvSpPr/>
            <p:nvPr/>
          </p:nvSpPr>
          <p:spPr>
            <a:xfrm rot="8716295">
              <a:off x="834978" y="558357"/>
              <a:ext cx="24341" cy="23495"/>
            </a:xfrm>
            <a:custGeom>
              <a:avLst/>
              <a:gdLst>
                <a:gd name="connsiteX0" fmla="*/ 0 w 24341"/>
                <a:gd name="connsiteY0" fmla="*/ 23495 h 23495"/>
                <a:gd name="connsiteX1" fmla="*/ 19433 w 24341"/>
                <a:gd name="connsiteY1" fmla="*/ 0 h 23495"/>
                <a:gd name="connsiteX2" fmla="*/ 24341 w 24341"/>
                <a:gd name="connsiteY2" fmla="*/ 16139 h 23495"/>
                <a:gd name="connsiteX3" fmla="*/ 24341 w 24341"/>
                <a:gd name="connsiteY3" fmla="*/ 22063 h 23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41" h="23495">
                  <a:moveTo>
                    <a:pt x="0" y="23495"/>
                  </a:moveTo>
                  <a:lnTo>
                    <a:pt x="19433" y="0"/>
                  </a:lnTo>
                  <a:lnTo>
                    <a:pt x="24341" y="16139"/>
                  </a:lnTo>
                  <a:lnTo>
                    <a:pt x="24341" y="220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8" name="Forme libre : forme 287">
              <a:extLst>
                <a:ext uri="{FF2B5EF4-FFF2-40B4-BE49-F238E27FC236}">
                  <a16:creationId xmlns:a16="http://schemas.microsoft.com/office/drawing/2014/main" id="{93F3A654-B74E-499B-8487-8A2B2CC5A0EA}"/>
                </a:ext>
              </a:extLst>
            </p:cNvPr>
            <p:cNvSpPr/>
            <p:nvPr/>
          </p:nvSpPr>
          <p:spPr>
            <a:xfrm rot="8716295">
              <a:off x="589639" y="40263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9" name="Forme libre : forme 288">
              <a:extLst>
                <a:ext uri="{FF2B5EF4-FFF2-40B4-BE49-F238E27FC236}">
                  <a16:creationId xmlns:a16="http://schemas.microsoft.com/office/drawing/2014/main" id="{D0AE4335-4774-4A5C-9D6E-6AA33670DF96}"/>
                </a:ext>
              </a:extLst>
            </p:cNvPr>
            <p:cNvSpPr/>
            <p:nvPr/>
          </p:nvSpPr>
          <p:spPr>
            <a:xfrm rot="8716295">
              <a:off x="464737" y="19396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0" name="Forme libre : forme 289">
              <a:extLst>
                <a:ext uri="{FF2B5EF4-FFF2-40B4-BE49-F238E27FC236}">
                  <a16:creationId xmlns:a16="http://schemas.microsoft.com/office/drawing/2014/main" id="{2305D91E-CF26-4028-92DC-E2D20BB482D6}"/>
                </a:ext>
              </a:extLst>
            </p:cNvPr>
            <p:cNvSpPr/>
            <p:nvPr/>
          </p:nvSpPr>
          <p:spPr>
            <a:xfrm rot="8716295">
              <a:off x="679817" y="44358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1" name="Forme libre : forme 290">
              <a:extLst>
                <a:ext uri="{FF2B5EF4-FFF2-40B4-BE49-F238E27FC236}">
                  <a16:creationId xmlns:a16="http://schemas.microsoft.com/office/drawing/2014/main" id="{DF9C8202-D29B-450E-90FF-E46CAC2E7FA2}"/>
                </a:ext>
              </a:extLst>
            </p:cNvPr>
            <p:cNvSpPr/>
            <p:nvPr/>
          </p:nvSpPr>
          <p:spPr>
            <a:xfrm rot="8716295">
              <a:off x="438366" y="29398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2" name="Forme libre : forme 291">
              <a:extLst>
                <a:ext uri="{FF2B5EF4-FFF2-40B4-BE49-F238E27FC236}">
                  <a16:creationId xmlns:a16="http://schemas.microsoft.com/office/drawing/2014/main" id="{28FFA2F5-C74D-4918-B35E-56FAFD44D7DC}"/>
                </a:ext>
              </a:extLst>
            </p:cNvPr>
            <p:cNvSpPr/>
            <p:nvPr/>
          </p:nvSpPr>
          <p:spPr>
            <a:xfrm rot="7484129">
              <a:off x="811674" y="658874"/>
              <a:ext cx="31078" cy="46141"/>
            </a:xfrm>
            <a:custGeom>
              <a:avLst/>
              <a:gdLst>
                <a:gd name="connsiteX0" fmla="*/ 15207 w 31078"/>
                <a:gd name="connsiteY0" fmla="*/ 46141 h 46141"/>
                <a:gd name="connsiteX1" fmla="*/ 0 w 31078"/>
                <a:gd name="connsiteY1" fmla="*/ 17849 h 46141"/>
                <a:gd name="connsiteX2" fmla="*/ 31078 w 31078"/>
                <a:gd name="connsiteY2" fmla="*/ 0 h 46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078" h="46141">
                  <a:moveTo>
                    <a:pt x="15207" y="46141"/>
                  </a:moveTo>
                  <a:lnTo>
                    <a:pt x="0" y="17849"/>
                  </a:lnTo>
                  <a:lnTo>
                    <a:pt x="3107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3" name="Forme libre : forme 292">
              <a:extLst>
                <a:ext uri="{FF2B5EF4-FFF2-40B4-BE49-F238E27FC236}">
                  <a16:creationId xmlns:a16="http://schemas.microsoft.com/office/drawing/2014/main" id="{F7F1B592-6665-4DA1-B454-1D5C767BA63B}"/>
                </a:ext>
              </a:extLst>
            </p:cNvPr>
            <p:cNvSpPr/>
            <p:nvPr/>
          </p:nvSpPr>
          <p:spPr>
            <a:xfrm rot="8716295">
              <a:off x="780102" y="336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4" name="Forme libre : forme 293">
              <a:extLst>
                <a:ext uri="{FF2B5EF4-FFF2-40B4-BE49-F238E27FC236}">
                  <a16:creationId xmlns:a16="http://schemas.microsoft.com/office/drawing/2014/main" id="{33626504-CACB-4364-8AA4-F28F086A7B6A}"/>
                </a:ext>
              </a:extLst>
            </p:cNvPr>
            <p:cNvSpPr/>
            <p:nvPr/>
          </p:nvSpPr>
          <p:spPr>
            <a:xfrm rot="8716295">
              <a:off x="202348" y="-57106"/>
              <a:ext cx="142167" cy="186494"/>
            </a:xfrm>
            <a:custGeom>
              <a:avLst/>
              <a:gdLst>
                <a:gd name="connsiteX0" fmla="*/ 142167 w 142167"/>
                <a:gd name="connsiteY0" fmla="*/ 186494 h 186494"/>
                <a:gd name="connsiteX1" fmla="*/ 81108 w 142167"/>
                <a:gd name="connsiteY1" fmla="*/ 144170 h 186494"/>
                <a:gd name="connsiteX2" fmla="*/ 81108 w 142167"/>
                <a:gd name="connsiteY2" fmla="*/ 69717 h 186494"/>
                <a:gd name="connsiteX3" fmla="*/ 81108 w 142167"/>
                <a:gd name="connsiteY3" fmla="*/ 65615 h 186494"/>
                <a:gd name="connsiteX4" fmla="*/ 60603 w 142167"/>
                <a:gd name="connsiteY4" fmla="*/ 50123 h 186494"/>
                <a:gd name="connsiteX5" fmla="*/ 0 w 142167"/>
                <a:gd name="connsiteY5" fmla="*/ 50123 h 186494"/>
                <a:gd name="connsiteX6" fmla="*/ 0 w 142167"/>
                <a:gd name="connsiteY6" fmla="*/ 0 h 186494"/>
                <a:gd name="connsiteX7" fmla="*/ 85209 w 142167"/>
                <a:gd name="connsiteY7" fmla="*/ 0 h 186494"/>
                <a:gd name="connsiteX8" fmla="*/ 142167 w 142167"/>
                <a:gd name="connsiteY8" fmla="*/ 50123 h 186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86494">
                  <a:moveTo>
                    <a:pt x="142167" y="186494"/>
                  </a:moveTo>
                  <a:lnTo>
                    <a:pt x="81108" y="144170"/>
                  </a:lnTo>
                  <a:lnTo>
                    <a:pt x="81108" y="69717"/>
                  </a:lnTo>
                  <a:cubicBezTo>
                    <a:pt x="81108" y="68349"/>
                    <a:pt x="81108" y="66983"/>
                    <a:pt x="81108" y="65615"/>
                  </a:cubicBezTo>
                  <a:cubicBezTo>
                    <a:pt x="79741" y="55591"/>
                    <a:pt x="70628" y="48756"/>
                    <a:pt x="60603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5" name="Forme libre : forme 294">
              <a:extLst>
                <a:ext uri="{FF2B5EF4-FFF2-40B4-BE49-F238E27FC236}">
                  <a16:creationId xmlns:a16="http://schemas.microsoft.com/office/drawing/2014/main" id="{8B9EE4C0-9C2E-42BB-B294-381EB8F6C5DA}"/>
                </a:ext>
              </a:extLst>
            </p:cNvPr>
            <p:cNvSpPr/>
            <p:nvPr/>
          </p:nvSpPr>
          <p:spPr>
            <a:xfrm rot="8716295">
              <a:off x="298766" y="-5395"/>
              <a:ext cx="260639" cy="180054"/>
            </a:xfrm>
            <a:custGeom>
              <a:avLst/>
              <a:gdLst>
                <a:gd name="connsiteX0" fmla="*/ 111638 w 260639"/>
                <a:gd name="connsiteY0" fmla="*/ 180054 h 180054"/>
                <a:gd name="connsiteX1" fmla="*/ 51490 w 260639"/>
                <a:gd name="connsiteY1" fmla="*/ 138362 h 180054"/>
                <a:gd name="connsiteX2" fmla="*/ 51490 w 260639"/>
                <a:gd name="connsiteY2" fmla="*/ 45624 h 180054"/>
                <a:gd name="connsiteX3" fmla="*/ 0 w 260639"/>
                <a:gd name="connsiteY3" fmla="*/ 45624 h 180054"/>
                <a:gd name="connsiteX4" fmla="*/ 0 w 260639"/>
                <a:gd name="connsiteY4" fmla="*/ 1425 h 180054"/>
                <a:gd name="connsiteX5" fmla="*/ 104802 w 260639"/>
                <a:gd name="connsiteY5" fmla="*/ 1425 h 180054"/>
                <a:gd name="connsiteX6" fmla="*/ 104802 w 260639"/>
                <a:gd name="connsiteY6" fmla="*/ 75242 h 180054"/>
                <a:gd name="connsiteX7" fmla="*/ 106169 w 260639"/>
                <a:gd name="connsiteY7" fmla="*/ 75242 h 180054"/>
                <a:gd name="connsiteX8" fmla="*/ 154014 w 260639"/>
                <a:gd name="connsiteY8" fmla="*/ 5981 h 180054"/>
                <a:gd name="connsiteX9" fmla="*/ 185455 w 260639"/>
                <a:gd name="connsiteY9" fmla="*/ 57 h 180054"/>
                <a:gd name="connsiteX10" fmla="*/ 260639 w 260639"/>
                <a:gd name="connsiteY10" fmla="*/ 88456 h 180054"/>
                <a:gd name="connsiteX11" fmla="*/ 260639 w 260639"/>
                <a:gd name="connsiteY11" fmla="*/ 94380 h 180054"/>
                <a:gd name="connsiteX12" fmla="*/ 198669 w 260639"/>
                <a:gd name="connsiteY12" fmla="*/ 98025 h 180054"/>
                <a:gd name="connsiteX13" fmla="*/ 198669 w 260639"/>
                <a:gd name="connsiteY13" fmla="*/ 81621 h 180054"/>
                <a:gd name="connsiteX14" fmla="*/ 164950 w 260639"/>
                <a:gd name="connsiteY14" fmla="*/ 40156 h 180054"/>
                <a:gd name="connsiteX15" fmla="*/ 111638 w 260639"/>
                <a:gd name="connsiteY15" fmla="*/ 127643 h 180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0639" h="180054">
                  <a:moveTo>
                    <a:pt x="111638" y="180054"/>
                  </a:moveTo>
                  <a:lnTo>
                    <a:pt x="51490" y="138362"/>
                  </a:ln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6" name="Forme libre : forme 295">
              <a:extLst>
                <a:ext uri="{FF2B5EF4-FFF2-40B4-BE49-F238E27FC236}">
                  <a16:creationId xmlns:a16="http://schemas.microsoft.com/office/drawing/2014/main" id="{426417CD-8FE4-43C3-B84F-A51A46F7C7B1}"/>
                </a:ext>
              </a:extLst>
            </p:cNvPr>
            <p:cNvSpPr/>
            <p:nvPr/>
          </p:nvSpPr>
          <p:spPr>
            <a:xfrm rot="8716295">
              <a:off x="276903" y="-12823"/>
              <a:ext cx="36272" cy="27982"/>
            </a:xfrm>
            <a:custGeom>
              <a:avLst/>
              <a:gdLst>
                <a:gd name="connsiteX0" fmla="*/ 36272 w 36272"/>
                <a:gd name="connsiteY0" fmla="*/ 27982 h 27982"/>
                <a:gd name="connsiteX1" fmla="*/ 0 w 36272"/>
                <a:gd name="connsiteY1" fmla="*/ 2840 h 27982"/>
                <a:gd name="connsiteX2" fmla="*/ 9543 w 36272"/>
                <a:gd name="connsiteY2" fmla="*/ 0 h 27982"/>
                <a:gd name="connsiteX3" fmla="*/ 31871 w 36272"/>
                <a:gd name="connsiteY3" fmla="*/ 11392 h 27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272" h="27982">
                  <a:moveTo>
                    <a:pt x="36272" y="27982"/>
                  </a:moveTo>
                  <a:lnTo>
                    <a:pt x="0" y="2840"/>
                  </a:lnTo>
                  <a:lnTo>
                    <a:pt x="9543" y="0"/>
                  </a:lnTo>
                  <a:cubicBezTo>
                    <a:pt x="20479" y="0"/>
                    <a:pt x="27542" y="4784"/>
                    <a:pt x="31871" y="113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7" name="Forme libre : forme 296">
              <a:extLst>
                <a:ext uri="{FF2B5EF4-FFF2-40B4-BE49-F238E27FC236}">
                  <a16:creationId xmlns:a16="http://schemas.microsoft.com/office/drawing/2014/main" id="{2194BB82-FA83-4BF9-8EBD-D8D0328F9BDF}"/>
                </a:ext>
              </a:extLst>
            </p:cNvPr>
            <p:cNvSpPr/>
            <p:nvPr/>
          </p:nvSpPr>
          <p:spPr>
            <a:xfrm rot="8716295">
              <a:off x="74640" y="-9665"/>
              <a:ext cx="58068" cy="54772"/>
            </a:xfrm>
            <a:custGeom>
              <a:avLst/>
              <a:gdLst>
                <a:gd name="connsiteX0" fmla="*/ 37436 w 58068"/>
                <a:gd name="connsiteY0" fmla="*/ 54772 h 54772"/>
                <a:gd name="connsiteX1" fmla="*/ 0 w 58068"/>
                <a:gd name="connsiteY1" fmla="*/ 28823 h 54772"/>
                <a:gd name="connsiteX2" fmla="*/ 8515 w 58068"/>
                <a:gd name="connsiteY2" fmla="*/ 8658 h 54772"/>
                <a:gd name="connsiteX3" fmla="*/ 29020 w 58068"/>
                <a:gd name="connsiteY3" fmla="*/ 0 h 54772"/>
                <a:gd name="connsiteX4" fmla="*/ 49525 w 58068"/>
                <a:gd name="connsiteY4" fmla="*/ 8658 h 54772"/>
                <a:gd name="connsiteX5" fmla="*/ 49525 w 58068"/>
                <a:gd name="connsiteY5" fmla="*/ 49668 h 5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068" h="54772">
                  <a:moveTo>
                    <a:pt x="37436" y="54772"/>
                  </a:moveTo>
                  <a:lnTo>
                    <a:pt x="0" y="28823"/>
                  </a:lnTo>
                  <a:lnTo>
                    <a:pt x="8515" y="8658"/>
                  </a:lnTo>
                  <a:cubicBezTo>
                    <a:pt x="13983" y="3190"/>
                    <a:pt x="21273" y="0"/>
                    <a:pt x="29020" y="0"/>
                  </a:cubicBezTo>
                  <a:cubicBezTo>
                    <a:pt x="36766" y="0"/>
                    <a:pt x="44057" y="3190"/>
                    <a:pt x="49525" y="8658"/>
                  </a:cubicBezTo>
                  <a:cubicBezTo>
                    <a:pt x="60916" y="19594"/>
                    <a:pt x="60916" y="38276"/>
                    <a:pt x="49525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8" name="Forme libre : forme 297">
              <a:extLst>
                <a:ext uri="{FF2B5EF4-FFF2-40B4-BE49-F238E27FC236}">
                  <a16:creationId xmlns:a16="http://schemas.microsoft.com/office/drawing/2014/main" id="{1E2DA60E-6B88-4273-B8B8-20DC571CA2F9}"/>
                </a:ext>
              </a:extLst>
            </p:cNvPr>
            <p:cNvSpPr/>
            <p:nvPr/>
          </p:nvSpPr>
          <p:spPr>
            <a:xfrm rot="8716295">
              <a:off x="13802" y="-10406"/>
              <a:ext cx="30027" cy="20814"/>
            </a:xfrm>
            <a:custGeom>
              <a:avLst/>
              <a:gdLst>
                <a:gd name="connsiteX0" fmla="*/ 30027 w 30027"/>
                <a:gd name="connsiteY0" fmla="*/ 20814 h 20814"/>
                <a:gd name="connsiteX1" fmla="*/ 0 w 30027"/>
                <a:gd name="connsiteY1" fmla="*/ 0 h 20814"/>
                <a:gd name="connsiteX2" fmla="*/ 30027 w 30027"/>
                <a:gd name="connsiteY2" fmla="*/ 0 h 20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027" h="20814">
                  <a:moveTo>
                    <a:pt x="30027" y="20814"/>
                  </a:moveTo>
                  <a:lnTo>
                    <a:pt x="0" y="0"/>
                  </a:lnTo>
                  <a:lnTo>
                    <a:pt x="3002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9" name="Forme libre : forme 298">
              <a:extLst>
                <a:ext uri="{FF2B5EF4-FFF2-40B4-BE49-F238E27FC236}">
                  <a16:creationId xmlns:a16="http://schemas.microsoft.com/office/drawing/2014/main" id="{0B53881C-9CFA-4C7A-B7BB-D045B9F708A3}"/>
                </a:ext>
              </a:extLst>
            </p:cNvPr>
            <p:cNvSpPr/>
            <p:nvPr/>
          </p:nvSpPr>
          <p:spPr>
            <a:xfrm rot="8716295">
              <a:off x="168048" y="3032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0" name="Forme libre : forme 299">
              <a:extLst>
                <a:ext uri="{FF2B5EF4-FFF2-40B4-BE49-F238E27FC236}">
                  <a16:creationId xmlns:a16="http://schemas.microsoft.com/office/drawing/2014/main" id="{07B92E1C-0CE7-4A26-8278-C39DA02570AC}"/>
                </a:ext>
              </a:extLst>
            </p:cNvPr>
            <p:cNvSpPr/>
            <p:nvPr/>
          </p:nvSpPr>
          <p:spPr>
            <a:xfrm rot="7484129">
              <a:off x="562078" y="-284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1" name="Forme libre : forme 300">
              <a:extLst>
                <a:ext uri="{FF2B5EF4-FFF2-40B4-BE49-F238E27FC236}">
                  <a16:creationId xmlns:a16="http://schemas.microsoft.com/office/drawing/2014/main" id="{CAE7423C-0BBB-4D40-8F55-D1ED03A3FDDA}"/>
                </a:ext>
              </a:extLst>
            </p:cNvPr>
            <p:cNvSpPr/>
            <p:nvPr/>
          </p:nvSpPr>
          <p:spPr>
            <a:xfrm rot="13089394">
              <a:off x="767127" y="-2787"/>
              <a:ext cx="149688" cy="301067"/>
            </a:xfrm>
            <a:custGeom>
              <a:avLst/>
              <a:gdLst>
                <a:gd name="connsiteX0" fmla="*/ 149688 w 149688"/>
                <a:gd name="connsiteY0" fmla="*/ 279622 h 301067"/>
                <a:gd name="connsiteX1" fmla="*/ 122393 w 149688"/>
                <a:gd name="connsiteY1" fmla="*/ 301067 h 301067"/>
                <a:gd name="connsiteX2" fmla="*/ 0 w 149688"/>
                <a:gd name="connsiteY2" fmla="*/ 114672 h 301067"/>
                <a:gd name="connsiteX3" fmla="*/ 0 w 149688"/>
                <a:gd name="connsiteY3" fmla="*/ 38074 h 301067"/>
                <a:gd name="connsiteX4" fmla="*/ 73388 w 149688"/>
                <a:gd name="connsiteY4" fmla="*/ 0 h 301067"/>
                <a:gd name="connsiteX5" fmla="*/ 74492 w 149688"/>
                <a:gd name="connsiteY5" fmla="*/ 153950 h 301067"/>
                <a:gd name="connsiteX6" fmla="*/ 87734 w 149688"/>
                <a:gd name="connsiteY6" fmla="*/ 245547 h 301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9688" h="301067">
                  <a:moveTo>
                    <a:pt x="149688" y="279622"/>
                  </a:moveTo>
                  <a:lnTo>
                    <a:pt x="122393" y="301067"/>
                  </a:lnTo>
                  <a:lnTo>
                    <a:pt x="0" y="114672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2836" y="184850"/>
                    <a:pt x="77802" y="216302"/>
                    <a:pt x="87734" y="2455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2" name="Forme libre : forme 301">
              <a:extLst>
                <a:ext uri="{FF2B5EF4-FFF2-40B4-BE49-F238E27FC236}">
                  <a16:creationId xmlns:a16="http://schemas.microsoft.com/office/drawing/2014/main" id="{DE7F88C3-F95A-48EB-BC5C-94F46E2332ED}"/>
                </a:ext>
              </a:extLst>
            </p:cNvPr>
            <p:cNvSpPr/>
            <p:nvPr/>
          </p:nvSpPr>
          <p:spPr>
            <a:xfrm rot="8716295">
              <a:off x="212141" y="304502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3" name="Forme libre : forme 302">
              <a:extLst>
                <a:ext uri="{FF2B5EF4-FFF2-40B4-BE49-F238E27FC236}">
                  <a16:creationId xmlns:a16="http://schemas.microsoft.com/office/drawing/2014/main" id="{D55BD2D7-C439-4F43-96D6-CC4EB9C9A2CD}"/>
                </a:ext>
              </a:extLst>
            </p:cNvPr>
            <p:cNvSpPr/>
            <p:nvPr/>
          </p:nvSpPr>
          <p:spPr>
            <a:xfrm rot="8716295">
              <a:off x="301533" y="307427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4" name="Forme libre : forme 303">
              <a:extLst>
                <a:ext uri="{FF2B5EF4-FFF2-40B4-BE49-F238E27FC236}">
                  <a16:creationId xmlns:a16="http://schemas.microsoft.com/office/drawing/2014/main" id="{98520A64-DC7D-4391-9310-C02770ED1A94}"/>
                </a:ext>
              </a:extLst>
            </p:cNvPr>
            <p:cNvSpPr/>
            <p:nvPr/>
          </p:nvSpPr>
          <p:spPr>
            <a:xfrm rot="8716295">
              <a:off x="256683" y="298799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5" name="Forme libre : forme 304">
              <a:extLst>
                <a:ext uri="{FF2B5EF4-FFF2-40B4-BE49-F238E27FC236}">
                  <a16:creationId xmlns:a16="http://schemas.microsoft.com/office/drawing/2014/main" id="{F4D8F56B-62F1-42CF-A7A2-650DB4131292}"/>
                </a:ext>
              </a:extLst>
            </p:cNvPr>
            <p:cNvSpPr/>
            <p:nvPr/>
          </p:nvSpPr>
          <p:spPr>
            <a:xfrm rot="8716295">
              <a:off x="99907" y="31335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6" name="Forme libre : forme 305">
              <a:extLst>
                <a:ext uri="{FF2B5EF4-FFF2-40B4-BE49-F238E27FC236}">
                  <a16:creationId xmlns:a16="http://schemas.microsoft.com/office/drawing/2014/main" id="{0D43E076-CB6A-4FEE-A459-C1DE20E99E2F}"/>
                </a:ext>
              </a:extLst>
            </p:cNvPr>
            <p:cNvSpPr/>
            <p:nvPr/>
          </p:nvSpPr>
          <p:spPr>
            <a:xfrm rot="8716295">
              <a:off x="-24996" y="29248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7" name="Forme libre : forme 306">
              <a:extLst>
                <a:ext uri="{FF2B5EF4-FFF2-40B4-BE49-F238E27FC236}">
                  <a16:creationId xmlns:a16="http://schemas.microsoft.com/office/drawing/2014/main" id="{CA2035BC-118E-49FD-BF84-9E105EEC437B}"/>
                </a:ext>
              </a:extLst>
            </p:cNvPr>
            <p:cNvSpPr/>
            <p:nvPr/>
          </p:nvSpPr>
          <p:spPr>
            <a:xfrm rot="8716295">
              <a:off x="51899" y="2754602"/>
              <a:ext cx="189488" cy="350829"/>
            </a:xfrm>
            <a:custGeom>
              <a:avLst/>
              <a:gdLst>
                <a:gd name="connsiteX0" fmla="*/ 25299 w 189488"/>
                <a:gd name="connsiteY0" fmla="*/ 321238 h 350829"/>
                <a:gd name="connsiteX1" fmla="*/ 0 w 189488"/>
                <a:gd name="connsiteY1" fmla="*/ 220042 h 350829"/>
                <a:gd name="connsiteX2" fmla="*/ 0 w 189488"/>
                <a:gd name="connsiteY2" fmla="*/ 40596 h 350829"/>
                <a:gd name="connsiteX3" fmla="*/ 78250 w 189488"/>
                <a:gd name="connsiteY3" fmla="*/ 0 h 350829"/>
                <a:gd name="connsiteX4" fmla="*/ 79427 w 189488"/>
                <a:gd name="connsiteY4" fmla="*/ 164149 h 350829"/>
                <a:gd name="connsiteX5" fmla="*/ 93547 w 189488"/>
                <a:gd name="connsiteY5" fmla="*/ 261815 h 350829"/>
                <a:gd name="connsiteX6" fmla="*/ 164148 w 189488"/>
                <a:gd name="connsiteY6" fmla="*/ 300646 h 350829"/>
                <a:gd name="connsiteX7" fmla="*/ 189488 w 189488"/>
                <a:gd name="connsiteY7" fmla="*/ 296141 h 350829"/>
                <a:gd name="connsiteX8" fmla="*/ 160617 w 189488"/>
                <a:gd name="connsiteY8" fmla="*/ 337791 h 350829"/>
                <a:gd name="connsiteX9" fmla="*/ 97666 w 189488"/>
                <a:gd name="connsiteY9" fmla="*/ 350655 h 350829"/>
                <a:gd name="connsiteX10" fmla="*/ 25299 w 189488"/>
                <a:gd name="connsiteY10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9488" h="350829">
                  <a:moveTo>
                    <a:pt x="25299" y="321238"/>
                  </a:moveTo>
                  <a:cubicBezTo>
                    <a:pt x="5295" y="301823"/>
                    <a:pt x="0" y="268286"/>
                    <a:pt x="0" y="220042"/>
                  </a:cubicBez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8" y="300646"/>
                  </a:cubicBezTo>
                  <a:lnTo>
                    <a:pt x="189488" y="296141"/>
                  </a:lnTo>
                  <a:lnTo>
                    <a:pt x="160617" y="337791"/>
                  </a:lnTo>
                  <a:lnTo>
                    <a:pt x="97666" y="350655"/>
                  </a:ln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8" name="Forme libre : forme 307">
              <a:extLst>
                <a:ext uri="{FF2B5EF4-FFF2-40B4-BE49-F238E27FC236}">
                  <a16:creationId xmlns:a16="http://schemas.microsoft.com/office/drawing/2014/main" id="{E8F898AD-C8B7-4665-871C-0DD08867FE33}"/>
                </a:ext>
              </a:extLst>
            </p:cNvPr>
            <p:cNvSpPr/>
            <p:nvPr/>
          </p:nvSpPr>
          <p:spPr>
            <a:xfrm rot="8716295">
              <a:off x="190085" y="317452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9" name="Forme libre : forme 308">
              <a:extLst>
                <a:ext uri="{FF2B5EF4-FFF2-40B4-BE49-F238E27FC236}">
                  <a16:creationId xmlns:a16="http://schemas.microsoft.com/office/drawing/2014/main" id="{21447FE1-A29B-45A2-85C9-8C8BA929308B}"/>
                </a:ext>
              </a:extLst>
            </p:cNvPr>
            <p:cNvSpPr/>
            <p:nvPr/>
          </p:nvSpPr>
          <p:spPr>
            <a:xfrm rot="8716295">
              <a:off x="502599" y="2802136"/>
              <a:ext cx="117588" cy="232388"/>
            </a:xfrm>
            <a:custGeom>
              <a:avLst/>
              <a:gdLst>
                <a:gd name="connsiteX0" fmla="*/ 56529 w 117588"/>
                <a:gd name="connsiteY0" fmla="*/ 232388 h 232388"/>
                <a:gd name="connsiteX1" fmla="*/ 56529 w 117588"/>
                <a:gd name="connsiteY1" fmla="*/ 69717 h 232388"/>
                <a:gd name="connsiteX2" fmla="*/ 56529 w 117588"/>
                <a:gd name="connsiteY2" fmla="*/ 65615 h 232388"/>
                <a:gd name="connsiteX3" fmla="*/ 36025 w 117588"/>
                <a:gd name="connsiteY3" fmla="*/ 50123 h 232388"/>
                <a:gd name="connsiteX4" fmla="*/ 0 w 117588"/>
                <a:gd name="connsiteY4" fmla="*/ 50123 h 232388"/>
                <a:gd name="connsiteX5" fmla="*/ 41458 w 117588"/>
                <a:gd name="connsiteY5" fmla="*/ 0 h 232388"/>
                <a:gd name="connsiteX6" fmla="*/ 60630 w 117588"/>
                <a:gd name="connsiteY6" fmla="*/ 0 h 232388"/>
                <a:gd name="connsiteX7" fmla="*/ 117588 w 117588"/>
                <a:gd name="connsiteY7" fmla="*/ 50123 h 232388"/>
                <a:gd name="connsiteX8" fmla="*/ 117588 w 117588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7588" h="232388">
                  <a:moveTo>
                    <a:pt x="56529" y="232388"/>
                  </a:moveTo>
                  <a:lnTo>
                    <a:pt x="56529" y="69717"/>
                  </a:lnTo>
                  <a:cubicBezTo>
                    <a:pt x="56529" y="68349"/>
                    <a:pt x="56529" y="66983"/>
                    <a:pt x="56529" y="65615"/>
                  </a:cubicBezTo>
                  <a:cubicBezTo>
                    <a:pt x="55163" y="55591"/>
                    <a:pt x="46049" y="48756"/>
                    <a:pt x="36025" y="50123"/>
                  </a:cubicBezTo>
                  <a:lnTo>
                    <a:pt x="0" y="50123"/>
                  </a:lnTo>
                  <a:lnTo>
                    <a:pt x="41458" y="0"/>
                  </a:lnTo>
                  <a:lnTo>
                    <a:pt x="60630" y="0"/>
                  </a:lnTo>
                  <a:cubicBezTo>
                    <a:pt x="97539" y="0"/>
                    <a:pt x="117588" y="15948"/>
                    <a:pt x="117588" y="50123"/>
                  </a:cubicBezTo>
                  <a:lnTo>
                    <a:pt x="117588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0" name="Forme libre : forme 309">
              <a:extLst>
                <a:ext uri="{FF2B5EF4-FFF2-40B4-BE49-F238E27FC236}">
                  <a16:creationId xmlns:a16="http://schemas.microsoft.com/office/drawing/2014/main" id="{DC5CD014-032B-4188-8129-1BA9EDEB5E1C}"/>
                </a:ext>
              </a:extLst>
            </p:cNvPr>
            <p:cNvSpPr/>
            <p:nvPr/>
          </p:nvSpPr>
          <p:spPr>
            <a:xfrm rot="8716295">
              <a:off x="389006" y="2883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1" name="Forme libre : forme 310">
              <a:extLst>
                <a:ext uri="{FF2B5EF4-FFF2-40B4-BE49-F238E27FC236}">
                  <a16:creationId xmlns:a16="http://schemas.microsoft.com/office/drawing/2014/main" id="{4BFA54F9-8E75-4357-98AE-7842173849BD}"/>
                </a:ext>
              </a:extLst>
            </p:cNvPr>
            <p:cNvSpPr/>
            <p:nvPr/>
          </p:nvSpPr>
          <p:spPr>
            <a:xfrm rot="8716295">
              <a:off x="264104" y="267474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2" name="Forme libre : forme 311">
              <a:extLst>
                <a:ext uri="{FF2B5EF4-FFF2-40B4-BE49-F238E27FC236}">
                  <a16:creationId xmlns:a16="http://schemas.microsoft.com/office/drawing/2014/main" id="{D627B6F1-7278-4938-8513-4523BF111D7A}"/>
                </a:ext>
              </a:extLst>
            </p:cNvPr>
            <p:cNvSpPr/>
            <p:nvPr/>
          </p:nvSpPr>
          <p:spPr>
            <a:xfrm rot="8716295">
              <a:off x="479184" y="292437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3" name="Forme libre : forme 312">
              <a:extLst>
                <a:ext uri="{FF2B5EF4-FFF2-40B4-BE49-F238E27FC236}">
                  <a16:creationId xmlns:a16="http://schemas.microsoft.com/office/drawing/2014/main" id="{44A8C608-76B9-49F0-B8EA-9C07C31A92DA}"/>
                </a:ext>
              </a:extLst>
            </p:cNvPr>
            <p:cNvSpPr/>
            <p:nvPr/>
          </p:nvSpPr>
          <p:spPr>
            <a:xfrm rot="8716295">
              <a:off x="237733" y="277477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4" name="Forme libre : forme 313">
              <a:extLst>
                <a:ext uri="{FF2B5EF4-FFF2-40B4-BE49-F238E27FC236}">
                  <a16:creationId xmlns:a16="http://schemas.microsoft.com/office/drawing/2014/main" id="{31723CE5-0F31-4468-8030-5F9773A83A08}"/>
                </a:ext>
              </a:extLst>
            </p:cNvPr>
            <p:cNvSpPr/>
            <p:nvPr/>
          </p:nvSpPr>
          <p:spPr>
            <a:xfrm rot="7484129">
              <a:off x="609980" y="3142825"/>
              <a:ext cx="20881" cy="31001"/>
            </a:xfrm>
            <a:custGeom>
              <a:avLst/>
              <a:gdLst>
                <a:gd name="connsiteX0" fmla="*/ 10218 w 20881"/>
                <a:gd name="connsiteY0" fmla="*/ 31001 h 31001"/>
                <a:gd name="connsiteX1" fmla="*/ 0 w 20881"/>
                <a:gd name="connsiteY1" fmla="*/ 11992 h 31001"/>
                <a:gd name="connsiteX2" fmla="*/ 20881 w 20881"/>
                <a:gd name="connsiteY2" fmla="*/ 0 h 31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881" h="31001">
                  <a:moveTo>
                    <a:pt x="10218" y="31001"/>
                  </a:moveTo>
                  <a:lnTo>
                    <a:pt x="0" y="11992"/>
                  </a:lnTo>
                  <a:lnTo>
                    <a:pt x="2088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5" name="Forme libre : forme 314">
              <a:extLst>
                <a:ext uri="{FF2B5EF4-FFF2-40B4-BE49-F238E27FC236}">
                  <a16:creationId xmlns:a16="http://schemas.microsoft.com/office/drawing/2014/main" id="{0A1A01CF-9944-4EC3-883D-948C509B42CD}"/>
                </a:ext>
              </a:extLst>
            </p:cNvPr>
            <p:cNvSpPr/>
            <p:nvPr/>
          </p:nvSpPr>
          <p:spPr>
            <a:xfrm rot="8716295">
              <a:off x="579469" y="28172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6" name="Forme libre : forme 315">
              <a:extLst>
                <a:ext uri="{FF2B5EF4-FFF2-40B4-BE49-F238E27FC236}">
                  <a16:creationId xmlns:a16="http://schemas.microsoft.com/office/drawing/2014/main" id="{71717ABE-8C5B-4E08-B642-252D74033C89}"/>
                </a:ext>
              </a:extLst>
            </p:cNvPr>
            <p:cNvSpPr/>
            <p:nvPr/>
          </p:nvSpPr>
          <p:spPr>
            <a:xfrm rot="8716295">
              <a:off x="437995" y="3716235"/>
              <a:ext cx="102679" cy="232388"/>
            </a:xfrm>
            <a:custGeom>
              <a:avLst/>
              <a:gdLst>
                <a:gd name="connsiteX0" fmla="*/ 41620 w 102679"/>
                <a:gd name="connsiteY0" fmla="*/ 232388 h 232388"/>
                <a:gd name="connsiteX1" fmla="*/ 41620 w 102679"/>
                <a:gd name="connsiteY1" fmla="*/ 69717 h 232388"/>
                <a:gd name="connsiteX2" fmla="*/ 41620 w 102679"/>
                <a:gd name="connsiteY2" fmla="*/ 65615 h 232388"/>
                <a:gd name="connsiteX3" fmla="*/ 21116 w 102679"/>
                <a:gd name="connsiteY3" fmla="*/ 50123 h 232388"/>
                <a:gd name="connsiteX4" fmla="*/ 0 w 102679"/>
                <a:gd name="connsiteY4" fmla="*/ 50123 h 232388"/>
                <a:gd name="connsiteX5" fmla="*/ 41457 w 102679"/>
                <a:gd name="connsiteY5" fmla="*/ 0 h 232388"/>
                <a:gd name="connsiteX6" fmla="*/ 45721 w 102679"/>
                <a:gd name="connsiteY6" fmla="*/ 0 h 232388"/>
                <a:gd name="connsiteX7" fmla="*/ 102679 w 102679"/>
                <a:gd name="connsiteY7" fmla="*/ 50123 h 232388"/>
                <a:gd name="connsiteX8" fmla="*/ 102679 w 102679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2679" h="232388">
                  <a:moveTo>
                    <a:pt x="41620" y="232388"/>
                  </a:moveTo>
                  <a:lnTo>
                    <a:pt x="41620" y="69717"/>
                  </a:lnTo>
                  <a:cubicBezTo>
                    <a:pt x="41620" y="68349"/>
                    <a:pt x="41620" y="66983"/>
                    <a:pt x="41620" y="65615"/>
                  </a:cubicBezTo>
                  <a:cubicBezTo>
                    <a:pt x="40254" y="55591"/>
                    <a:pt x="31140" y="48756"/>
                    <a:pt x="21116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45721" y="0"/>
                  </a:lnTo>
                  <a:cubicBezTo>
                    <a:pt x="82630" y="0"/>
                    <a:pt x="102679" y="15948"/>
                    <a:pt x="102679" y="50123"/>
                  </a:cubicBezTo>
                  <a:lnTo>
                    <a:pt x="102679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7" name="Forme libre : forme 316">
              <a:extLst>
                <a:ext uri="{FF2B5EF4-FFF2-40B4-BE49-F238E27FC236}">
                  <a16:creationId xmlns:a16="http://schemas.microsoft.com/office/drawing/2014/main" id="{57F9E802-91E2-4CB8-8036-748B1071E3AB}"/>
                </a:ext>
              </a:extLst>
            </p:cNvPr>
            <p:cNvSpPr/>
            <p:nvPr/>
          </p:nvSpPr>
          <p:spPr>
            <a:xfrm rot="8716295">
              <a:off x="482715" y="3669965"/>
              <a:ext cx="154563" cy="124897"/>
            </a:xfrm>
            <a:custGeom>
              <a:avLst/>
              <a:gdLst>
                <a:gd name="connsiteX0" fmla="*/ 0 w 154563"/>
                <a:gd name="connsiteY0" fmla="*/ 124897 h 124897"/>
                <a:gd name="connsiteX1" fmla="*/ 95474 w 154563"/>
                <a:gd name="connsiteY1" fmla="*/ 9467 h 124897"/>
                <a:gd name="connsiteX2" fmla="*/ 96067 w 154563"/>
                <a:gd name="connsiteY2" fmla="*/ 9000 h 124897"/>
                <a:gd name="connsiteX3" fmla="*/ 126312 w 154563"/>
                <a:gd name="connsiteY3" fmla="*/ 0 h 124897"/>
                <a:gd name="connsiteX4" fmla="*/ 154563 w 154563"/>
                <a:gd name="connsiteY4" fmla="*/ 33719 h 124897"/>
                <a:gd name="connsiteX5" fmla="*/ 128135 w 154563"/>
                <a:gd name="connsiteY5" fmla="*/ 69261 h 124897"/>
                <a:gd name="connsiteX6" fmla="*/ 128590 w 154563"/>
                <a:gd name="connsiteY6" fmla="*/ 69261 h 12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4563" h="124897">
                  <a:moveTo>
                    <a:pt x="0" y="124897"/>
                  </a:moveTo>
                  <a:lnTo>
                    <a:pt x="95474" y="9467"/>
                  </a:lnTo>
                  <a:lnTo>
                    <a:pt x="96067" y="9000"/>
                  </a:lnTo>
                  <a:cubicBezTo>
                    <a:pt x="105351" y="4215"/>
                    <a:pt x="115604" y="1139"/>
                    <a:pt x="126312" y="0"/>
                  </a:cubicBezTo>
                  <a:cubicBezTo>
                    <a:pt x="148184" y="0"/>
                    <a:pt x="154563" y="19138"/>
                    <a:pt x="154563" y="33719"/>
                  </a:cubicBezTo>
                  <a:cubicBezTo>
                    <a:pt x="153196" y="49668"/>
                    <a:pt x="142715" y="62882"/>
                    <a:pt x="128135" y="69261"/>
                  </a:cubicBezTo>
                  <a:lnTo>
                    <a:pt x="128590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8" name="Forme libre : forme 317">
              <a:extLst>
                <a:ext uri="{FF2B5EF4-FFF2-40B4-BE49-F238E27FC236}">
                  <a16:creationId xmlns:a16="http://schemas.microsoft.com/office/drawing/2014/main" id="{844BD3AC-808C-49B6-9585-45AED27044D8}"/>
                </a:ext>
              </a:extLst>
            </p:cNvPr>
            <p:cNvSpPr/>
            <p:nvPr/>
          </p:nvSpPr>
          <p:spPr>
            <a:xfrm rot="8716295">
              <a:off x="323074" y="379327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9" name="Forme libre : forme 318">
              <a:extLst>
                <a:ext uri="{FF2B5EF4-FFF2-40B4-BE49-F238E27FC236}">
                  <a16:creationId xmlns:a16="http://schemas.microsoft.com/office/drawing/2014/main" id="{6610930E-080F-4669-B332-C11A7EDE2E69}"/>
                </a:ext>
              </a:extLst>
            </p:cNvPr>
            <p:cNvSpPr/>
            <p:nvPr/>
          </p:nvSpPr>
          <p:spPr>
            <a:xfrm rot="8716295">
              <a:off x="198171" y="358459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0" name="Forme libre : forme 319">
              <a:extLst>
                <a:ext uri="{FF2B5EF4-FFF2-40B4-BE49-F238E27FC236}">
                  <a16:creationId xmlns:a16="http://schemas.microsoft.com/office/drawing/2014/main" id="{BB6AE4FF-01F3-4791-9797-82B71A71685F}"/>
                </a:ext>
              </a:extLst>
            </p:cNvPr>
            <p:cNvSpPr/>
            <p:nvPr/>
          </p:nvSpPr>
          <p:spPr>
            <a:xfrm rot="8716295">
              <a:off x="186119" y="344581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1" name="Forme libre : forme 320">
              <a:extLst>
                <a:ext uri="{FF2B5EF4-FFF2-40B4-BE49-F238E27FC236}">
                  <a16:creationId xmlns:a16="http://schemas.microsoft.com/office/drawing/2014/main" id="{B2FBA9B1-476F-454A-86CF-CB8E10185C59}"/>
                </a:ext>
              </a:extLst>
            </p:cNvPr>
            <p:cNvSpPr/>
            <p:nvPr/>
          </p:nvSpPr>
          <p:spPr>
            <a:xfrm rot="8716295">
              <a:off x="410218" y="3834716"/>
              <a:ext cx="103435" cy="219174"/>
            </a:xfrm>
            <a:custGeom>
              <a:avLst/>
              <a:gdLst>
                <a:gd name="connsiteX0" fmla="*/ 103435 w 103435"/>
                <a:gd name="connsiteY0" fmla="*/ 219174 h 219174"/>
                <a:gd name="connsiteX1" fmla="*/ 43288 w 103435"/>
                <a:gd name="connsiteY1" fmla="*/ 161305 h 219174"/>
                <a:gd name="connsiteX2" fmla="*/ 43288 w 103435"/>
                <a:gd name="connsiteY2" fmla="*/ 16404 h 219174"/>
                <a:gd name="connsiteX3" fmla="*/ 0 w 103435"/>
                <a:gd name="connsiteY3" fmla="*/ 16404 h 219174"/>
                <a:gd name="connsiteX4" fmla="*/ 0 w 103435"/>
                <a:gd name="connsiteY4" fmla="*/ 16028 h 219174"/>
                <a:gd name="connsiteX5" fmla="*/ 11583 w 103435"/>
                <a:gd name="connsiteY5" fmla="*/ 2023 h 219174"/>
                <a:gd name="connsiteX6" fmla="*/ 103435 w 103435"/>
                <a:gd name="connsiteY6" fmla="*/ 0 h 219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19174">
                  <a:moveTo>
                    <a:pt x="103435" y="219174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16028"/>
                  </a:lnTo>
                  <a:lnTo>
                    <a:pt x="11583" y="2023"/>
                  </a:lnTo>
                  <a:lnTo>
                    <a:pt x="10343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2" name="Forme libre : forme 321">
              <a:extLst>
                <a:ext uri="{FF2B5EF4-FFF2-40B4-BE49-F238E27FC236}">
                  <a16:creationId xmlns:a16="http://schemas.microsoft.com/office/drawing/2014/main" id="{FC54D21D-2562-49FC-BEBE-B5E2AB5AF4EE}"/>
                </a:ext>
              </a:extLst>
            </p:cNvPr>
            <p:cNvSpPr/>
            <p:nvPr/>
          </p:nvSpPr>
          <p:spPr>
            <a:xfrm rot="8716295">
              <a:off x="487452" y="3349370"/>
              <a:ext cx="151162" cy="195873"/>
            </a:xfrm>
            <a:custGeom>
              <a:avLst/>
              <a:gdLst>
                <a:gd name="connsiteX0" fmla="*/ 38025 w 151162"/>
                <a:gd name="connsiteY0" fmla="*/ 195873 h 195873"/>
                <a:gd name="connsiteX1" fmla="*/ 0 w 151162"/>
                <a:gd name="connsiteY1" fmla="*/ 125130 h 195873"/>
                <a:gd name="connsiteX2" fmla="*/ 103497 w 151162"/>
                <a:gd name="connsiteY2" fmla="*/ 0 h 195873"/>
                <a:gd name="connsiteX3" fmla="*/ 151162 w 151162"/>
                <a:gd name="connsiteY3" fmla="*/ 0 h 195873"/>
                <a:gd name="connsiteX4" fmla="*/ 151162 w 151162"/>
                <a:gd name="connsiteY4" fmla="*/ 55323 h 195873"/>
                <a:gd name="connsiteX5" fmla="*/ 86370 w 151162"/>
                <a:gd name="connsiteY5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1162" h="195873">
                  <a:moveTo>
                    <a:pt x="38025" y="195873"/>
                  </a:moveTo>
                  <a:lnTo>
                    <a:pt x="0" y="125130"/>
                  </a:lnTo>
                  <a:lnTo>
                    <a:pt x="103497" y="0"/>
                  </a:lnTo>
                  <a:lnTo>
                    <a:pt x="151162" y="0"/>
                  </a:lnTo>
                  <a:lnTo>
                    <a:pt x="151162" y="55323"/>
                  </a:lnTo>
                  <a:lnTo>
                    <a:pt x="86370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3" name="Forme libre : forme 322">
              <a:extLst>
                <a:ext uri="{FF2B5EF4-FFF2-40B4-BE49-F238E27FC236}">
                  <a16:creationId xmlns:a16="http://schemas.microsoft.com/office/drawing/2014/main" id="{1800C2CB-54A6-4240-B3ED-11D6043BB03F}"/>
                </a:ext>
              </a:extLst>
            </p:cNvPr>
            <p:cNvSpPr/>
            <p:nvPr/>
          </p:nvSpPr>
          <p:spPr>
            <a:xfrm rot="8716295">
              <a:off x="460900" y="343447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4" name="Forme libre : forme 323">
              <a:extLst>
                <a:ext uri="{FF2B5EF4-FFF2-40B4-BE49-F238E27FC236}">
                  <a16:creationId xmlns:a16="http://schemas.microsoft.com/office/drawing/2014/main" id="{3EBD1C82-1557-40AF-96AD-1C870F5CE8D7}"/>
                </a:ext>
              </a:extLst>
            </p:cNvPr>
            <p:cNvSpPr/>
            <p:nvPr/>
          </p:nvSpPr>
          <p:spPr>
            <a:xfrm rot="8716295">
              <a:off x="417336" y="4258920"/>
              <a:ext cx="147637" cy="195874"/>
            </a:xfrm>
            <a:custGeom>
              <a:avLst/>
              <a:gdLst>
                <a:gd name="connsiteX0" fmla="*/ 34500 w 147637"/>
                <a:gd name="connsiteY0" fmla="*/ 195874 h 195874"/>
                <a:gd name="connsiteX1" fmla="*/ 0 w 147637"/>
                <a:gd name="connsiteY1" fmla="*/ 131688 h 195874"/>
                <a:gd name="connsiteX2" fmla="*/ 108921 w 147637"/>
                <a:gd name="connsiteY2" fmla="*/ 0 h 195874"/>
                <a:gd name="connsiteX3" fmla="*/ 147637 w 147637"/>
                <a:gd name="connsiteY3" fmla="*/ 0 h 195874"/>
                <a:gd name="connsiteX4" fmla="*/ 147637 w 147637"/>
                <a:gd name="connsiteY4" fmla="*/ 55323 h 195874"/>
                <a:gd name="connsiteX5" fmla="*/ 82845 w 147637"/>
                <a:gd name="connsiteY5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7637" h="195874">
                  <a:moveTo>
                    <a:pt x="34500" y="195874"/>
                  </a:moveTo>
                  <a:lnTo>
                    <a:pt x="0" y="131688"/>
                  </a:lnTo>
                  <a:lnTo>
                    <a:pt x="108921" y="0"/>
                  </a:lnTo>
                  <a:lnTo>
                    <a:pt x="147637" y="0"/>
                  </a:lnTo>
                  <a:lnTo>
                    <a:pt x="147637" y="55323"/>
                  </a:lnTo>
                  <a:lnTo>
                    <a:pt x="8284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5" name="Forme libre : forme 324">
              <a:extLst>
                <a:ext uri="{FF2B5EF4-FFF2-40B4-BE49-F238E27FC236}">
                  <a16:creationId xmlns:a16="http://schemas.microsoft.com/office/drawing/2014/main" id="{50FA5920-2CA1-4B57-AFE9-708172C7151C}"/>
                </a:ext>
              </a:extLst>
            </p:cNvPr>
            <p:cNvSpPr/>
            <p:nvPr/>
          </p:nvSpPr>
          <p:spPr>
            <a:xfrm rot="8716295">
              <a:off x="330834" y="4134902"/>
              <a:ext cx="254613" cy="91157"/>
            </a:xfrm>
            <a:custGeom>
              <a:avLst/>
              <a:gdLst>
                <a:gd name="connsiteX0" fmla="*/ 0 w 254613"/>
                <a:gd name="connsiteY0" fmla="*/ 68911 h 91157"/>
                <a:gd name="connsiteX1" fmla="*/ 56997 w 254613"/>
                <a:gd name="connsiteY1" fmla="*/ 0 h 91157"/>
                <a:gd name="connsiteX2" fmla="*/ 57517 w 254613"/>
                <a:gd name="connsiteY2" fmla="*/ 2143 h 91157"/>
                <a:gd name="connsiteX3" fmla="*/ 128118 w 254613"/>
                <a:gd name="connsiteY3" fmla="*/ 40974 h 91157"/>
                <a:gd name="connsiteX4" fmla="*/ 181070 w 254613"/>
                <a:gd name="connsiteY4" fmla="*/ 31560 h 91157"/>
                <a:gd name="connsiteX5" fmla="*/ 253437 w 254613"/>
                <a:gd name="connsiteY5" fmla="*/ 2143 h 91157"/>
                <a:gd name="connsiteX6" fmla="*/ 254613 w 254613"/>
                <a:gd name="connsiteY6" fmla="*/ 9791 h 91157"/>
                <a:gd name="connsiteX7" fmla="*/ 254613 w 254613"/>
                <a:gd name="connsiteY7" fmla="*/ 15674 h 91157"/>
                <a:gd name="connsiteX8" fmla="*/ 61636 w 254613"/>
                <a:gd name="connsiteY8" fmla="*/ 90983 h 91157"/>
                <a:gd name="connsiteX9" fmla="*/ 22363 w 254613"/>
                <a:gd name="connsiteY9" fmla="*/ 84217 h 91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4613" h="91157">
                  <a:moveTo>
                    <a:pt x="0" y="68911"/>
                  </a:moveTo>
                  <a:lnTo>
                    <a:pt x="56997" y="0"/>
                  </a:lnTo>
                  <a:lnTo>
                    <a:pt x="57517" y="2143"/>
                  </a:lnTo>
                  <a:cubicBezTo>
                    <a:pt x="66931" y="28030"/>
                    <a:pt x="91053" y="40974"/>
                    <a:pt x="128118" y="40974"/>
                  </a:cubicBezTo>
                  <a:cubicBezTo>
                    <a:pt x="146357" y="40385"/>
                    <a:pt x="164008" y="36855"/>
                    <a:pt x="181070" y="31560"/>
                  </a:cubicBezTo>
                  <a:cubicBezTo>
                    <a:pt x="205780" y="23912"/>
                    <a:pt x="229903" y="13910"/>
                    <a:pt x="253437" y="2143"/>
                  </a:cubicBezTo>
                  <a:cubicBezTo>
                    <a:pt x="254025" y="4496"/>
                    <a:pt x="254613" y="7438"/>
                    <a:pt x="254613" y="9791"/>
                  </a:cubicBezTo>
                  <a:lnTo>
                    <a:pt x="254613" y="15674"/>
                  </a:lnTo>
                  <a:cubicBezTo>
                    <a:pt x="192249" y="69215"/>
                    <a:pt x="110468" y="88042"/>
                    <a:pt x="61636" y="90983"/>
                  </a:cubicBezTo>
                  <a:cubicBezTo>
                    <a:pt x="48104" y="91866"/>
                    <a:pt x="34719" y="89365"/>
                    <a:pt x="22363" y="842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6" name="Forme libre : forme 325">
              <a:extLst>
                <a:ext uri="{FF2B5EF4-FFF2-40B4-BE49-F238E27FC236}">
                  <a16:creationId xmlns:a16="http://schemas.microsoft.com/office/drawing/2014/main" id="{E3EDD39B-7171-468B-A877-2CE2BD07726B}"/>
                </a:ext>
              </a:extLst>
            </p:cNvPr>
            <p:cNvSpPr/>
            <p:nvPr/>
          </p:nvSpPr>
          <p:spPr>
            <a:xfrm rot="8716295">
              <a:off x="-3428" y="2405990"/>
              <a:ext cx="142167" cy="208592"/>
            </a:xfrm>
            <a:custGeom>
              <a:avLst/>
              <a:gdLst>
                <a:gd name="connsiteX0" fmla="*/ 81108 w 142167"/>
                <a:gd name="connsiteY0" fmla="*/ 208592 h 208592"/>
                <a:gd name="connsiteX1" fmla="*/ 81108 w 142167"/>
                <a:gd name="connsiteY1" fmla="*/ 69717 h 208592"/>
                <a:gd name="connsiteX2" fmla="*/ 81108 w 142167"/>
                <a:gd name="connsiteY2" fmla="*/ 65615 h 208592"/>
                <a:gd name="connsiteX3" fmla="*/ 60604 w 142167"/>
                <a:gd name="connsiteY3" fmla="*/ 50123 h 208592"/>
                <a:gd name="connsiteX4" fmla="*/ 0 w 142167"/>
                <a:gd name="connsiteY4" fmla="*/ 50123 h 208592"/>
                <a:gd name="connsiteX5" fmla="*/ 0 w 142167"/>
                <a:gd name="connsiteY5" fmla="*/ 0 h 208592"/>
                <a:gd name="connsiteX6" fmla="*/ 85210 w 142167"/>
                <a:gd name="connsiteY6" fmla="*/ 0 h 208592"/>
                <a:gd name="connsiteX7" fmla="*/ 142167 w 142167"/>
                <a:gd name="connsiteY7" fmla="*/ 50123 h 208592"/>
                <a:gd name="connsiteX8" fmla="*/ 142167 w 142167"/>
                <a:gd name="connsiteY8" fmla="*/ 120504 h 20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08592">
                  <a:moveTo>
                    <a:pt x="81108" y="208592"/>
                  </a:moveTo>
                  <a:lnTo>
                    <a:pt x="81108" y="69717"/>
                  </a:lnTo>
                  <a:cubicBezTo>
                    <a:pt x="81108" y="68350"/>
                    <a:pt x="81108" y="66983"/>
                    <a:pt x="81108" y="65615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10" y="0"/>
                  </a:lnTo>
                  <a:cubicBezTo>
                    <a:pt x="122118" y="0"/>
                    <a:pt x="142167" y="15948"/>
                    <a:pt x="142167" y="50123"/>
                  </a:cubicBezTo>
                  <a:lnTo>
                    <a:pt x="142167" y="1205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7" name="Forme libre : forme 326">
              <a:extLst>
                <a:ext uri="{FF2B5EF4-FFF2-40B4-BE49-F238E27FC236}">
                  <a16:creationId xmlns:a16="http://schemas.microsoft.com/office/drawing/2014/main" id="{23F7EF39-C8FF-4CA7-9DED-AF0E47CA9C7E}"/>
                </a:ext>
              </a:extLst>
            </p:cNvPr>
            <p:cNvSpPr/>
            <p:nvPr/>
          </p:nvSpPr>
          <p:spPr>
            <a:xfrm rot="8716295">
              <a:off x="80015" y="241329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8" name="Forme libre : forme 327">
              <a:extLst>
                <a:ext uri="{FF2B5EF4-FFF2-40B4-BE49-F238E27FC236}">
                  <a16:creationId xmlns:a16="http://schemas.microsoft.com/office/drawing/2014/main" id="{FBC44AA7-6291-474B-9C67-ED7522250EEB}"/>
                </a:ext>
              </a:extLst>
            </p:cNvPr>
            <p:cNvSpPr/>
            <p:nvPr/>
          </p:nvSpPr>
          <p:spPr>
            <a:xfrm rot="8716295">
              <a:off x="35165" y="232701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9" name="Forme libre : forme 328">
              <a:extLst>
                <a:ext uri="{FF2B5EF4-FFF2-40B4-BE49-F238E27FC236}">
                  <a16:creationId xmlns:a16="http://schemas.microsoft.com/office/drawing/2014/main" id="{5EA7A5E2-9C29-45B6-9267-972B0EFC92AD}"/>
                </a:ext>
              </a:extLst>
            </p:cNvPr>
            <p:cNvSpPr/>
            <p:nvPr/>
          </p:nvSpPr>
          <p:spPr>
            <a:xfrm rot="8716295">
              <a:off x="-20257" y="2217087"/>
              <a:ext cx="78731" cy="180665"/>
            </a:xfrm>
            <a:custGeom>
              <a:avLst/>
              <a:gdLst>
                <a:gd name="connsiteX0" fmla="*/ 0 w 78731"/>
                <a:gd name="connsiteY0" fmla="*/ 180665 h 180665"/>
                <a:gd name="connsiteX1" fmla="*/ 0 w 78731"/>
                <a:gd name="connsiteY1" fmla="*/ 40596 h 180665"/>
                <a:gd name="connsiteX2" fmla="*/ 78250 w 78731"/>
                <a:gd name="connsiteY2" fmla="*/ 0 h 180665"/>
                <a:gd name="connsiteX3" fmla="*/ 78731 w 78731"/>
                <a:gd name="connsiteY3" fmla="*/ 67083 h 180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731" h="180665">
                  <a:moveTo>
                    <a:pt x="0" y="180665"/>
                  </a:moveTo>
                  <a:lnTo>
                    <a:pt x="0" y="40596"/>
                  </a:lnTo>
                  <a:lnTo>
                    <a:pt x="78250" y="0"/>
                  </a:lnTo>
                  <a:lnTo>
                    <a:pt x="78731" y="670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0" name="Forme libre : forme 329">
              <a:extLst>
                <a:ext uri="{FF2B5EF4-FFF2-40B4-BE49-F238E27FC236}">
                  <a16:creationId xmlns:a16="http://schemas.microsoft.com/office/drawing/2014/main" id="{29FF2476-3E2D-4E1C-AC58-09A8EA6AE16D}"/>
                </a:ext>
              </a:extLst>
            </p:cNvPr>
            <p:cNvSpPr/>
            <p:nvPr/>
          </p:nvSpPr>
          <p:spPr>
            <a:xfrm rot="8716295">
              <a:off x="-15341" y="2575209"/>
              <a:ext cx="103435" cy="152027"/>
            </a:xfrm>
            <a:custGeom>
              <a:avLst/>
              <a:gdLst>
                <a:gd name="connsiteX0" fmla="*/ 43288 w 103435"/>
                <a:gd name="connsiteY0" fmla="*/ 152027 h 152027"/>
                <a:gd name="connsiteX1" fmla="*/ 43288 w 103435"/>
                <a:gd name="connsiteY1" fmla="*/ 16404 h 152027"/>
                <a:gd name="connsiteX2" fmla="*/ 0 w 103435"/>
                <a:gd name="connsiteY2" fmla="*/ 16404 h 152027"/>
                <a:gd name="connsiteX3" fmla="*/ 0 w 103435"/>
                <a:gd name="connsiteY3" fmla="*/ 2278 h 152027"/>
                <a:gd name="connsiteX4" fmla="*/ 103435 w 103435"/>
                <a:gd name="connsiteY4" fmla="*/ 0 h 152027"/>
                <a:gd name="connsiteX5" fmla="*/ 103435 w 103435"/>
                <a:gd name="connsiteY5" fmla="*/ 65255 h 152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152027">
                  <a:moveTo>
                    <a:pt x="43288" y="152027"/>
                  </a:move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652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1" name="Forme libre : forme 330">
              <a:extLst>
                <a:ext uri="{FF2B5EF4-FFF2-40B4-BE49-F238E27FC236}">
                  <a16:creationId xmlns:a16="http://schemas.microsoft.com/office/drawing/2014/main" id="{75F88328-D448-4AA5-9E75-FE8115368C6C}"/>
                </a:ext>
              </a:extLst>
            </p:cNvPr>
            <p:cNvSpPr/>
            <p:nvPr/>
          </p:nvSpPr>
          <p:spPr>
            <a:xfrm rot="8716295">
              <a:off x="279722" y="21339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2" name="Forme libre : forme 331">
              <a:extLst>
                <a:ext uri="{FF2B5EF4-FFF2-40B4-BE49-F238E27FC236}">
                  <a16:creationId xmlns:a16="http://schemas.microsoft.com/office/drawing/2014/main" id="{426E2A9F-197F-4F75-8782-ED9A68D4D6C8}"/>
                </a:ext>
              </a:extLst>
            </p:cNvPr>
            <p:cNvSpPr/>
            <p:nvPr/>
          </p:nvSpPr>
          <p:spPr>
            <a:xfrm rot="8716295">
              <a:off x="369114" y="21631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3" name="Forme libre : forme 332">
              <a:extLst>
                <a:ext uri="{FF2B5EF4-FFF2-40B4-BE49-F238E27FC236}">
                  <a16:creationId xmlns:a16="http://schemas.microsoft.com/office/drawing/2014/main" id="{94DB51E7-8EDB-4900-9675-0F9A6F5C490B}"/>
                </a:ext>
              </a:extLst>
            </p:cNvPr>
            <p:cNvSpPr/>
            <p:nvPr/>
          </p:nvSpPr>
          <p:spPr>
            <a:xfrm rot="8716295">
              <a:off x="167488" y="22224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4" name="Forme libre : forme 333">
              <a:extLst>
                <a:ext uri="{FF2B5EF4-FFF2-40B4-BE49-F238E27FC236}">
                  <a16:creationId xmlns:a16="http://schemas.microsoft.com/office/drawing/2014/main" id="{2E5B2022-399F-4450-9579-1B2308763857}"/>
                </a:ext>
              </a:extLst>
            </p:cNvPr>
            <p:cNvSpPr/>
            <p:nvPr/>
          </p:nvSpPr>
          <p:spPr>
            <a:xfrm rot="8716295">
              <a:off x="42586" y="20137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5" name="Forme libre : forme 334">
              <a:extLst>
                <a:ext uri="{FF2B5EF4-FFF2-40B4-BE49-F238E27FC236}">
                  <a16:creationId xmlns:a16="http://schemas.microsoft.com/office/drawing/2014/main" id="{2929CE2C-2256-40A5-A8F3-3829812FC41F}"/>
                </a:ext>
              </a:extLst>
            </p:cNvPr>
            <p:cNvSpPr/>
            <p:nvPr/>
          </p:nvSpPr>
          <p:spPr>
            <a:xfrm rot="8716295">
              <a:off x="257666" y="226339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6" name="Forme libre : forme 335">
              <a:extLst>
                <a:ext uri="{FF2B5EF4-FFF2-40B4-BE49-F238E27FC236}">
                  <a16:creationId xmlns:a16="http://schemas.microsoft.com/office/drawing/2014/main" id="{5B080DE2-EB07-4251-8225-D8F835BCC870}"/>
                </a:ext>
              </a:extLst>
            </p:cNvPr>
            <p:cNvSpPr/>
            <p:nvPr/>
          </p:nvSpPr>
          <p:spPr>
            <a:xfrm rot="8716295">
              <a:off x="16215" y="211379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7" name="Forme libre : forme 336">
              <a:extLst>
                <a:ext uri="{FF2B5EF4-FFF2-40B4-BE49-F238E27FC236}">
                  <a16:creationId xmlns:a16="http://schemas.microsoft.com/office/drawing/2014/main" id="{CE30ADAD-6662-46CB-9F1B-B1109F31D2A1}"/>
                </a:ext>
              </a:extLst>
            </p:cNvPr>
            <p:cNvSpPr/>
            <p:nvPr/>
          </p:nvSpPr>
          <p:spPr>
            <a:xfrm rot="7484129">
              <a:off x="362597" y="245474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8" name="Forme libre : forme 337">
              <a:extLst>
                <a:ext uri="{FF2B5EF4-FFF2-40B4-BE49-F238E27FC236}">
                  <a16:creationId xmlns:a16="http://schemas.microsoft.com/office/drawing/2014/main" id="{E0EC12C4-DE16-425E-A187-948925CA8B78}"/>
                </a:ext>
              </a:extLst>
            </p:cNvPr>
            <p:cNvSpPr/>
            <p:nvPr/>
          </p:nvSpPr>
          <p:spPr>
            <a:xfrm rot="13089394">
              <a:off x="463440" y="2426400"/>
              <a:ext cx="272584" cy="319064"/>
            </a:xfrm>
            <a:custGeom>
              <a:avLst/>
              <a:gdLst>
                <a:gd name="connsiteX0" fmla="*/ 80445 w 272584"/>
                <a:gd name="connsiteY0" fmla="*/ 215518 h 319064"/>
                <a:gd name="connsiteX1" fmla="*/ 0 w 272584"/>
                <a:gd name="connsiteY1" fmla="*/ 93007 h 319064"/>
                <a:gd name="connsiteX2" fmla="*/ 0 w 272584"/>
                <a:gd name="connsiteY2" fmla="*/ 38074 h 319064"/>
                <a:gd name="connsiteX3" fmla="*/ 73388 w 272584"/>
                <a:gd name="connsiteY3" fmla="*/ 0 h 319064"/>
                <a:gd name="connsiteX4" fmla="*/ 74492 w 272584"/>
                <a:gd name="connsiteY4" fmla="*/ 153950 h 319064"/>
                <a:gd name="connsiteX5" fmla="*/ 76768 w 272584"/>
                <a:gd name="connsiteY5" fmla="*/ 200369 h 319064"/>
                <a:gd name="connsiteX6" fmla="*/ 272584 w 272584"/>
                <a:gd name="connsiteY6" fmla="*/ 258238 h 319064"/>
                <a:gd name="connsiteX7" fmla="*/ 177331 w 272584"/>
                <a:gd name="connsiteY7" fmla="*/ 311347 h 319064"/>
                <a:gd name="connsiteX8" fmla="*/ 148437 w 272584"/>
                <a:gd name="connsiteY8" fmla="*/ 319064 h 319064"/>
                <a:gd name="connsiteX9" fmla="*/ 119231 w 272584"/>
                <a:gd name="connsiteY9" fmla="*/ 274585 h 319064"/>
                <a:gd name="connsiteX10" fmla="*/ 153949 w 272584"/>
                <a:gd name="connsiteY10" fmla="*/ 281965 h 319064"/>
                <a:gd name="connsiteX11" fmla="*/ 203610 w 272584"/>
                <a:gd name="connsiteY11" fmla="*/ 273136 h 319064"/>
                <a:gd name="connsiteX12" fmla="*/ 271481 w 272584"/>
                <a:gd name="connsiteY12" fmla="*/ 245547 h 319064"/>
                <a:gd name="connsiteX13" fmla="*/ 272584 w 272584"/>
                <a:gd name="connsiteY13" fmla="*/ 252720 h 319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2584" h="319064">
                  <a:moveTo>
                    <a:pt x="80445" y="215518"/>
                  </a:moveTo>
                  <a:lnTo>
                    <a:pt x="0" y="93007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3664" y="169400"/>
                    <a:pt x="74492" y="184988"/>
                    <a:pt x="76768" y="200369"/>
                  </a:cubicBezTo>
                  <a:close/>
                  <a:moveTo>
                    <a:pt x="272584" y="258238"/>
                  </a:moveTo>
                  <a:cubicBezTo>
                    <a:pt x="243339" y="283344"/>
                    <a:pt x="209542" y="300312"/>
                    <a:pt x="177331" y="311347"/>
                  </a:cubicBezTo>
                  <a:lnTo>
                    <a:pt x="148437" y="319064"/>
                  </a:lnTo>
                  <a:lnTo>
                    <a:pt x="119231" y="274585"/>
                  </a:lnTo>
                  <a:lnTo>
                    <a:pt x="153949" y="281965"/>
                  </a:lnTo>
                  <a:cubicBezTo>
                    <a:pt x="171055" y="281413"/>
                    <a:pt x="187609" y="278102"/>
                    <a:pt x="203610" y="273136"/>
                  </a:cubicBezTo>
                  <a:cubicBezTo>
                    <a:pt x="226785" y="265963"/>
                    <a:pt x="249409" y="256583"/>
                    <a:pt x="271481" y="245547"/>
                  </a:cubicBezTo>
                  <a:cubicBezTo>
                    <a:pt x="272032" y="247754"/>
                    <a:pt x="272584" y="250513"/>
                    <a:pt x="272584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9" name="Forme libre : forme 338">
              <a:extLst>
                <a:ext uri="{FF2B5EF4-FFF2-40B4-BE49-F238E27FC236}">
                  <a16:creationId xmlns:a16="http://schemas.microsoft.com/office/drawing/2014/main" id="{0EBB3BF6-5F1A-4179-B16F-FF1F99B6BEAC}"/>
                </a:ext>
              </a:extLst>
            </p:cNvPr>
            <p:cNvSpPr/>
            <p:nvPr/>
          </p:nvSpPr>
          <p:spPr>
            <a:xfrm rot="8716295">
              <a:off x="675867" y="2357327"/>
              <a:ext cx="38012" cy="45752"/>
            </a:xfrm>
            <a:custGeom>
              <a:avLst/>
              <a:gdLst>
                <a:gd name="connsiteX0" fmla="*/ 0 w 38012"/>
                <a:gd name="connsiteY0" fmla="*/ 45752 h 45752"/>
                <a:gd name="connsiteX1" fmla="*/ 37842 w 38012"/>
                <a:gd name="connsiteY1" fmla="*/ 0 h 45752"/>
                <a:gd name="connsiteX2" fmla="*/ 38012 w 38012"/>
                <a:gd name="connsiteY2" fmla="*/ 641 h 45752"/>
                <a:gd name="connsiteX3" fmla="*/ 6841 w 38012"/>
                <a:gd name="connsiteY3" fmla="*/ 42560 h 45752"/>
                <a:gd name="connsiteX4" fmla="*/ 7378 w 38012"/>
                <a:gd name="connsiteY4" fmla="*/ 42560 h 45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012" h="45752">
                  <a:moveTo>
                    <a:pt x="0" y="45752"/>
                  </a:moveTo>
                  <a:lnTo>
                    <a:pt x="37842" y="0"/>
                  </a:lnTo>
                  <a:lnTo>
                    <a:pt x="38012" y="641"/>
                  </a:lnTo>
                  <a:cubicBezTo>
                    <a:pt x="36400" y="19451"/>
                    <a:pt x="24039" y="35036"/>
                    <a:pt x="6841" y="42560"/>
                  </a:cubicBezTo>
                  <a:lnTo>
                    <a:pt x="7378" y="425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0" name="Forme libre : forme 339">
              <a:extLst>
                <a:ext uri="{FF2B5EF4-FFF2-40B4-BE49-F238E27FC236}">
                  <a16:creationId xmlns:a16="http://schemas.microsoft.com/office/drawing/2014/main" id="{40BD2394-2E6A-43B3-8282-5AF2A68AFB55}"/>
                </a:ext>
              </a:extLst>
            </p:cNvPr>
            <p:cNvSpPr/>
            <p:nvPr/>
          </p:nvSpPr>
          <p:spPr>
            <a:xfrm rot="8716295">
              <a:off x="601197" y="21260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1" name="Forme libre : forme 340">
              <a:extLst>
                <a:ext uri="{FF2B5EF4-FFF2-40B4-BE49-F238E27FC236}">
                  <a16:creationId xmlns:a16="http://schemas.microsoft.com/office/drawing/2014/main" id="{98C4AC75-3010-49F3-9D48-1212A4D988F1}"/>
                </a:ext>
              </a:extLst>
            </p:cNvPr>
            <p:cNvSpPr/>
            <p:nvPr/>
          </p:nvSpPr>
          <p:spPr>
            <a:xfrm rot="8716295">
              <a:off x="357951" y="21562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2" name="Forme libre : forme 341">
              <a:extLst>
                <a:ext uri="{FF2B5EF4-FFF2-40B4-BE49-F238E27FC236}">
                  <a16:creationId xmlns:a16="http://schemas.microsoft.com/office/drawing/2014/main" id="{F44EFD0C-26D8-44AF-B8B7-34925D1881F3}"/>
                </a:ext>
              </a:extLst>
            </p:cNvPr>
            <p:cNvSpPr/>
            <p:nvPr/>
          </p:nvSpPr>
          <p:spPr>
            <a:xfrm rot="8716295">
              <a:off x="535403" y="199698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3" name="Forme libre : forme 342">
              <a:extLst>
                <a:ext uri="{FF2B5EF4-FFF2-40B4-BE49-F238E27FC236}">
                  <a16:creationId xmlns:a16="http://schemas.microsoft.com/office/drawing/2014/main" id="{1A320605-AC28-4E7D-BF63-1E3FD62FB21F}"/>
                </a:ext>
              </a:extLst>
            </p:cNvPr>
            <p:cNvSpPr/>
            <p:nvPr/>
          </p:nvSpPr>
          <p:spPr>
            <a:xfrm rot="8716295">
              <a:off x="-76043" y="1768178"/>
              <a:ext cx="197178" cy="215049"/>
            </a:xfrm>
            <a:custGeom>
              <a:avLst/>
              <a:gdLst>
                <a:gd name="connsiteX0" fmla="*/ 51490 w 197178"/>
                <a:gd name="connsiteY0" fmla="*/ 215049 h 215049"/>
                <a:gd name="connsiteX1" fmla="*/ 51490 w 197178"/>
                <a:gd name="connsiteY1" fmla="*/ 45624 h 215049"/>
                <a:gd name="connsiteX2" fmla="*/ 0 w 197178"/>
                <a:gd name="connsiteY2" fmla="*/ 45624 h 215049"/>
                <a:gd name="connsiteX3" fmla="*/ 0 w 197178"/>
                <a:gd name="connsiteY3" fmla="*/ 1424 h 215049"/>
                <a:gd name="connsiteX4" fmla="*/ 104803 w 197178"/>
                <a:gd name="connsiteY4" fmla="*/ 1425 h 215049"/>
                <a:gd name="connsiteX5" fmla="*/ 104803 w 197178"/>
                <a:gd name="connsiteY5" fmla="*/ 75242 h 215049"/>
                <a:gd name="connsiteX6" fmla="*/ 106169 w 197178"/>
                <a:gd name="connsiteY6" fmla="*/ 75242 h 215049"/>
                <a:gd name="connsiteX7" fmla="*/ 154014 w 197178"/>
                <a:gd name="connsiteY7" fmla="*/ 5981 h 215049"/>
                <a:gd name="connsiteX8" fmla="*/ 185455 w 197178"/>
                <a:gd name="connsiteY8" fmla="*/ 57 h 215049"/>
                <a:gd name="connsiteX9" fmla="*/ 197178 w 197178"/>
                <a:gd name="connsiteY9" fmla="*/ 4872 h 215049"/>
                <a:gd name="connsiteX10" fmla="*/ 170795 w 197178"/>
                <a:gd name="connsiteY10" fmla="*/ 42934 h 215049"/>
                <a:gd name="connsiteX11" fmla="*/ 164950 w 197178"/>
                <a:gd name="connsiteY11" fmla="*/ 40156 h 215049"/>
                <a:gd name="connsiteX12" fmla="*/ 111638 w 197178"/>
                <a:gd name="connsiteY12" fmla="*/ 127643 h 215049"/>
                <a:gd name="connsiteX13" fmla="*/ 111638 w 197178"/>
                <a:gd name="connsiteY13" fmla="*/ 128277 h 21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178" h="215049">
                  <a:moveTo>
                    <a:pt x="51490" y="215049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4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lnTo>
                    <a:pt x="197178" y="4872"/>
                  </a:lnTo>
                  <a:lnTo>
                    <a:pt x="170795" y="42934"/>
                  </a:lnTo>
                  <a:lnTo>
                    <a:pt x="164950" y="40156"/>
                  </a:ln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1282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4" name="Forme libre : forme 343">
              <a:extLst>
                <a:ext uri="{FF2B5EF4-FFF2-40B4-BE49-F238E27FC236}">
                  <a16:creationId xmlns:a16="http://schemas.microsoft.com/office/drawing/2014/main" id="{79B4D19B-E848-47AB-BAFE-59EBF555A6F5}"/>
                </a:ext>
              </a:extLst>
            </p:cNvPr>
            <p:cNvSpPr/>
            <p:nvPr/>
          </p:nvSpPr>
          <p:spPr>
            <a:xfrm rot="8716295">
              <a:off x="56555" y="14742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5" name="Forme libre : forme 344">
              <a:extLst>
                <a:ext uri="{FF2B5EF4-FFF2-40B4-BE49-F238E27FC236}">
                  <a16:creationId xmlns:a16="http://schemas.microsoft.com/office/drawing/2014/main" id="{0496B299-828A-4BBC-966F-5FA47083E3CE}"/>
                </a:ext>
              </a:extLst>
            </p:cNvPr>
            <p:cNvSpPr/>
            <p:nvPr/>
          </p:nvSpPr>
          <p:spPr>
            <a:xfrm rot="8716295">
              <a:off x="145947" y="15034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6" name="Forme libre : forme 345">
              <a:extLst>
                <a:ext uri="{FF2B5EF4-FFF2-40B4-BE49-F238E27FC236}">
                  <a16:creationId xmlns:a16="http://schemas.microsoft.com/office/drawing/2014/main" id="{47AF6C7D-4B3B-4997-9D6C-9505A068BCE6}"/>
                </a:ext>
              </a:extLst>
            </p:cNvPr>
            <p:cNvSpPr/>
            <p:nvPr/>
          </p:nvSpPr>
          <p:spPr>
            <a:xfrm rot="8716295">
              <a:off x="-21870" y="1443501"/>
              <a:ext cx="68614" cy="55323"/>
            </a:xfrm>
            <a:custGeom>
              <a:avLst/>
              <a:gdLst>
                <a:gd name="connsiteX0" fmla="*/ 0 w 68614"/>
                <a:gd name="connsiteY0" fmla="*/ 55323 h 55323"/>
                <a:gd name="connsiteX1" fmla="*/ 0 w 68614"/>
                <a:gd name="connsiteY1" fmla="*/ 0 h 55323"/>
                <a:gd name="connsiteX2" fmla="*/ 68614 w 68614"/>
                <a:gd name="connsiteY2" fmla="*/ 0 h 55323"/>
                <a:gd name="connsiteX3" fmla="*/ 30266 w 68614"/>
                <a:gd name="connsiteY3" fmla="*/ 55323 h 55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614" h="55323">
                  <a:moveTo>
                    <a:pt x="0" y="55323"/>
                  </a:moveTo>
                  <a:lnTo>
                    <a:pt x="0" y="0"/>
                  </a:lnTo>
                  <a:lnTo>
                    <a:pt x="68614" y="0"/>
                  </a:lnTo>
                  <a:lnTo>
                    <a:pt x="30266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7" name="Forme libre : forme 346">
              <a:extLst>
                <a:ext uri="{FF2B5EF4-FFF2-40B4-BE49-F238E27FC236}">
                  <a16:creationId xmlns:a16="http://schemas.microsoft.com/office/drawing/2014/main" id="{6A925E12-2BFF-4625-A0A6-B147409EE83D}"/>
                </a:ext>
              </a:extLst>
            </p:cNvPr>
            <p:cNvSpPr/>
            <p:nvPr/>
          </p:nvSpPr>
          <p:spPr>
            <a:xfrm rot="8716295">
              <a:off x="35817" y="1618109"/>
              <a:ext cx="103435" cy="203897"/>
            </a:xfrm>
            <a:custGeom>
              <a:avLst/>
              <a:gdLst>
                <a:gd name="connsiteX0" fmla="*/ 87556 w 103435"/>
                <a:gd name="connsiteY0" fmla="*/ 203897 h 203897"/>
                <a:gd name="connsiteX1" fmla="*/ 43288 w 103435"/>
                <a:gd name="connsiteY1" fmla="*/ 161305 h 203897"/>
                <a:gd name="connsiteX2" fmla="*/ 43288 w 103435"/>
                <a:gd name="connsiteY2" fmla="*/ 16404 h 203897"/>
                <a:gd name="connsiteX3" fmla="*/ 0 w 103435"/>
                <a:gd name="connsiteY3" fmla="*/ 16404 h 203897"/>
                <a:gd name="connsiteX4" fmla="*/ 0 w 103435"/>
                <a:gd name="connsiteY4" fmla="*/ 2278 h 203897"/>
                <a:gd name="connsiteX5" fmla="*/ 103435 w 103435"/>
                <a:gd name="connsiteY5" fmla="*/ 0 h 203897"/>
                <a:gd name="connsiteX6" fmla="*/ 103435 w 103435"/>
                <a:gd name="connsiteY6" fmla="*/ 180989 h 203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03897">
                  <a:moveTo>
                    <a:pt x="87556" y="203897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1809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8" name="Forme libre : forme 347">
              <a:extLst>
                <a:ext uri="{FF2B5EF4-FFF2-40B4-BE49-F238E27FC236}">
                  <a16:creationId xmlns:a16="http://schemas.microsoft.com/office/drawing/2014/main" id="{8F161AAD-ABF3-4F08-A5E7-178FA67C468C}"/>
                </a:ext>
              </a:extLst>
            </p:cNvPr>
            <p:cNvSpPr/>
            <p:nvPr/>
          </p:nvSpPr>
          <p:spPr>
            <a:xfrm rot="7484129">
              <a:off x="139430" y="17950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9" name="Forme libre : forme 348">
              <a:extLst>
                <a:ext uri="{FF2B5EF4-FFF2-40B4-BE49-F238E27FC236}">
                  <a16:creationId xmlns:a16="http://schemas.microsoft.com/office/drawing/2014/main" id="{2B2677AB-A960-4EDE-895B-90B39923E929}"/>
                </a:ext>
              </a:extLst>
            </p:cNvPr>
            <p:cNvSpPr/>
            <p:nvPr/>
          </p:nvSpPr>
          <p:spPr>
            <a:xfrm rot="13089394">
              <a:off x="244250" y="17615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0" name="Forme libre : forme 349">
              <a:extLst>
                <a:ext uri="{FF2B5EF4-FFF2-40B4-BE49-F238E27FC236}">
                  <a16:creationId xmlns:a16="http://schemas.microsoft.com/office/drawing/2014/main" id="{57CCAF2A-AD40-4587-8C0B-9AD3AA1B47B2}"/>
                </a:ext>
              </a:extLst>
            </p:cNvPr>
            <p:cNvSpPr/>
            <p:nvPr/>
          </p:nvSpPr>
          <p:spPr>
            <a:xfrm rot="8716295">
              <a:off x="429835" y="15699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1" name="Forme libre : forme 350">
              <a:extLst>
                <a:ext uri="{FF2B5EF4-FFF2-40B4-BE49-F238E27FC236}">
                  <a16:creationId xmlns:a16="http://schemas.microsoft.com/office/drawing/2014/main" id="{1CD46395-0105-4DB9-A258-02757ED2970C}"/>
                </a:ext>
              </a:extLst>
            </p:cNvPr>
            <p:cNvSpPr/>
            <p:nvPr/>
          </p:nvSpPr>
          <p:spPr>
            <a:xfrm rot="8716295">
              <a:off x="378030" y="14663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2" name="Forme libre : forme 351">
              <a:extLst>
                <a:ext uri="{FF2B5EF4-FFF2-40B4-BE49-F238E27FC236}">
                  <a16:creationId xmlns:a16="http://schemas.microsoft.com/office/drawing/2014/main" id="{792A22ED-7042-473B-B5F0-A8F38B0EAB40}"/>
                </a:ext>
              </a:extLst>
            </p:cNvPr>
            <p:cNvSpPr/>
            <p:nvPr/>
          </p:nvSpPr>
          <p:spPr>
            <a:xfrm rot="8716295">
              <a:off x="134784" y="14965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3" name="Forme libre : forme 352">
              <a:extLst>
                <a:ext uri="{FF2B5EF4-FFF2-40B4-BE49-F238E27FC236}">
                  <a16:creationId xmlns:a16="http://schemas.microsoft.com/office/drawing/2014/main" id="{F026E106-3ED5-479C-A7E5-1D0CF59276FB}"/>
                </a:ext>
              </a:extLst>
            </p:cNvPr>
            <p:cNvSpPr/>
            <p:nvPr/>
          </p:nvSpPr>
          <p:spPr>
            <a:xfrm rot="8716295">
              <a:off x="312236" y="13372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4" name="Forme libre : forme 353">
              <a:extLst>
                <a:ext uri="{FF2B5EF4-FFF2-40B4-BE49-F238E27FC236}">
                  <a16:creationId xmlns:a16="http://schemas.microsoft.com/office/drawing/2014/main" id="{A652AA44-0788-418A-BCB7-7692D06F9F9C}"/>
                </a:ext>
              </a:extLst>
            </p:cNvPr>
            <p:cNvSpPr/>
            <p:nvPr/>
          </p:nvSpPr>
          <p:spPr>
            <a:xfrm rot="8716295">
              <a:off x="-17798" y="949199"/>
              <a:ext cx="39526" cy="50123"/>
            </a:xfrm>
            <a:custGeom>
              <a:avLst/>
              <a:gdLst>
                <a:gd name="connsiteX0" fmla="*/ 0 w 39526"/>
                <a:gd name="connsiteY0" fmla="*/ 50123 h 50123"/>
                <a:gd name="connsiteX1" fmla="*/ 0 w 39526"/>
                <a:gd name="connsiteY1" fmla="*/ 0 h 50123"/>
                <a:gd name="connsiteX2" fmla="*/ 39526 w 39526"/>
                <a:gd name="connsiteY2" fmla="*/ 0 h 50123"/>
                <a:gd name="connsiteX3" fmla="*/ 4782 w 39526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26" h="50123">
                  <a:moveTo>
                    <a:pt x="0" y="50123"/>
                  </a:moveTo>
                  <a:lnTo>
                    <a:pt x="0" y="0"/>
                  </a:lnTo>
                  <a:lnTo>
                    <a:pt x="39526" y="0"/>
                  </a:lnTo>
                  <a:lnTo>
                    <a:pt x="4782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5" name="Forme libre : forme 354">
              <a:extLst>
                <a:ext uri="{FF2B5EF4-FFF2-40B4-BE49-F238E27FC236}">
                  <a16:creationId xmlns:a16="http://schemas.microsoft.com/office/drawing/2014/main" id="{CC7F2B2F-A9EF-4436-92EE-F187A921B5A2}"/>
                </a:ext>
              </a:extLst>
            </p:cNvPr>
            <p:cNvSpPr/>
            <p:nvPr/>
          </p:nvSpPr>
          <p:spPr>
            <a:xfrm rot="8716295">
              <a:off x="-64996" y="834728"/>
              <a:ext cx="249650" cy="254774"/>
            </a:xfrm>
            <a:custGeom>
              <a:avLst/>
              <a:gdLst>
                <a:gd name="connsiteX0" fmla="*/ 51490 w 249650"/>
                <a:gd name="connsiteY0" fmla="*/ 254774 h 254774"/>
                <a:gd name="connsiteX1" fmla="*/ 51490 w 249650"/>
                <a:gd name="connsiteY1" fmla="*/ 45624 h 254774"/>
                <a:gd name="connsiteX2" fmla="*/ 0 w 249650"/>
                <a:gd name="connsiteY2" fmla="*/ 45624 h 254774"/>
                <a:gd name="connsiteX3" fmla="*/ 0 w 249650"/>
                <a:gd name="connsiteY3" fmla="*/ 1425 h 254774"/>
                <a:gd name="connsiteX4" fmla="*/ 104803 w 249650"/>
                <a:gd name="connsiteY4" fmla="*/ 1425 h 254774"/>
                <a:gd name="connsiteX5" fmla="*/ 104803 w 249650"/>
                <a:gd name="connsiteY5" fmla="*/ 75242 h 254774"/>
                <a:gd name="connsiteX6" fmla="*/ 106169 w 249650"/>
                <a:gd name="connsiteY6" fmla="*/ 75242 h 254774"/>
                <a:gd name="connsiteX7" fmla="*/ 154014 w 249650"/>
                <a:gd name="connsiteY7" fmla="*/ 5981 h 254774"/>
                <a:gd name="connsiteX8" fmla="*/ 185455 w 249650"/>
                <a:gd name="connsiteY8" fmla="*/ 57 h 254774"/>
                <a:gd name="connsiteX9" fmla="*/ 240647 w 249650"/>
                <a:gd name="connsiteY9" fmla="*/ 22727 h 254774"/>
                <a:gd name="connsiteX10" fmla="*/ 249650 w 249650"/>
                <a:gd name="connsiteY10" fmla="*/ 52327 h 254774"/>
                <a:gd name="connsiteX11" fmla="*/ 218795 w 249650"/>
                <a:gd name="connsiteY11" fmla="*/ 96841 h 254774"/>
                <a:gd name="connsiteX12" fmla="*/ 198669 w 249650"/>
                <a:gd name="connsiteY12" fmla="*/ 98025 h 254774"/>
                <a:gd name="connsiteX13" fmla="*/ 198669 w 249650"/>
                <a:gd name="connsiteY13" fmla="*/ 81621 h 254774"/>
                <a:gd name="connsiteX14" fmla="*/ 164950 w 249650"/>
                <a:gd name="connsiteY14" fmla="*/ 40156 h 254774"/>
                <a:gd name="connsiteX15" fmla="*/ 111638 w 249650"/>
                <a:gd name="connsiteY15" fmla="*/ 127643 h 254774"/>
                <a:gd name="connsiteX16" fmla="*/ 111638 w 249650"/>
                <a:gd name="connsiteY16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9650" h="254774">
                  <a:moveTo>
                    <a:pt x="51490" y="254774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08922" y="-398"/>
                    <a:pt x="227718" y="7576"/>
                    <a:pt x="240647" y="22727"/>
                  </a:cubicBezTo>
                  <a:lnTo>
                    <a:pt x="249650" y="52327"/>
                  </a:lnTo>
                  <a:lnTo>
                    <a:pt x="218795" y="96841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6" name="Forme libre : forme 355">
              <a:extLst>
                <a:ext uri="{FF2B5EF4-FFF2-40B4-BE49-F238E27FC236}">
                  <a16:creationId xmlns:a16="http://schemas.microsoft.com/office/drawing/2014/main" id="{B491F0AE-2B60-457D-9F7E-DF3C2D622FF0}"/>
                </a:ext>
              </a:extLst>
            </p:cNvPr>
            <p:cNvSpPr/>
            <p:nvPr/>
          </p:nvSpPr>
          <p:spPr>
            <a:xfrm rot="7484129">
              <a:off x="-63314" y="1172497"/>
              <a:ext cx="203848" cy="146395"/>
            </a:xfrm>
            <a:custGeom>
              <a:avLst/>
              <a:gdLst>
                <a:gd name="connsiteX0" fmla="*/ 0 w 203848"/>
                <a:gd name="connsiteY0" fmla="*/ 55323 h 146395"/>
                <a:gd name="connsiteX1" fmla="*/ 0 w 203848"/>
                <a:gd name="connsiteY1" fmla="*/ 0 h 146395"/>
                <a:gd name="connsiteX2" fmla="*/ 203848 w 203848"/>
                <a:gd name="connsiteY2" fmla="*/ 0 h 146395"/>
                <a:gd name="connsiteX3" fmla="*/ 203847 w 203848"/>
                <a:gd name="connsiteY3" fmla="*/ 49512 h 146395"/>
                <a:gd name="connsiteX4" fmla="*/ 195466 w 203848"/>
                <a:gd name="connsiteY4" fmla="*/ 55323 h 146395"/>
                <a:gd name="connsiteX5" fmla="*/ 139055 w 203848"/>
                <a:gd name="connsiteY5" fmla="*/ 55323 h 146395"/>
                <a:gd name="connsiteX6" fmla="*/ 121388 w 203848"/>
                <a:gd name="connsiteY6" fmla="*/ 106685 h 146395"/>
                <a:gd name="connsiteX7" fmla="*/ 64115 w 203848"/>
                <a:gd name="connsiteY7" fmla="*/ 146395 h 146395"/>
                <a:gd name="connsiteX8" fmla="*/ 47847 w 203848"/>
                <a:gd name="connsiteY8" fmla="*/ 116129 h 146395"/>
                <a:gd name="connsiteX9" fmla="*/ 69777 w 203848"/>
                <a:gd name="connsiteY9" fmla="*/ 55323 h 146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848" h="146395">
                  <a:moveTo>
                    <a:pt x="0" y="55323"/>
                  </a:moveTo>
                  <a:lnTo>
                    <a:pt x="0" y="0"/>
                  </a:lnTo>
                  <a:lnTo>
                    <a:pt x="203848" y="0"/>
                  </a:lnTo>
                  <a:lnTo>
                    <a:pt x="203847" y="49512"/>
                  </a:lnTo>
                  <a:lnTo>
                    <a:pt x="195466" y="55323"/>
                  </a:lnTo>
                  <a:lnTo>
                    <a:pt x="139055" y="55323"/>
                  </a:lnTo>
                  <a:lnTo>
                    <a:pt x="121388" y="106685"/>
                  </a:lnTo>
                  <a:lnTo>
                    <a:pt x="64115" y="146395"/>
                  </a:lnTo>
                  <a:lnTo>
                    <a:pt x="47847" y="116129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7" name="Forme libre : forme 356">
              <a:extLst>
                <a:ext uri="{FF2B5EF4-FFF2-40B4-BE49-F238E27FC236}">
                  <a16:creationId xmlns:a16="http://schemas.microsoft.com/office/drawing/2014/main" id="{566B0F1B-76F2-42A3-83ED-13519BAD8E0C}"/>
                </a:ext>
              </a:extLst>
            </p:cNvPr>
            <p:cNvSpPr/>
            <p:nvPr/>
          </p:nvSpPr>
          <p:spPr>
            <a:xfrm rot="13089394">
              <a:off x="25311" y="109952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8" name="Forme libre : forme 357">
              <a:extLst>
                <a:ext uri="{FF2B5EF4-FFF2-40B4-BE49-F238E27FC236}">
                  <a16:creationId xmlns:a16="http://schemas.microsoft.com/office/drawing/2014/main" id="{6ACA7109-A9A0-4CC8-B8F0-2B22C7DA70BF}"/>
                </a:ext>
              </a:extLst>
            </p:cNvPr>
            <p:cNvSpPr/>
            <p:nvPr/>
          </p:nvSpPr>
          <p:spPr>
            <a:xfrm rot="8716295">
              <a:off x="210896" y="90784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9" name="Forme libre : forme 358">
              <a:extLst>
                <a:ext uri="{FF2B5EF4-FFF2-40B4-BE49-F238E27FC236}">
                  <a16:creationId xmlns:a16="http://schemas.microsoft.com/office/drawing/2014/main" id="{452ADC31-6E2B-47AB-819B-06E9BDE7841B}"/>
                </a:ext>
              </a:extLst>
            </p:cNvPr>
            <p:cNvSpPr/>
            <p:nvPr/>
          </p:nvSpPr>
          <p:spPr>
            <a:xfrm rot="8716295">
              <a:off x="159091" y="80425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0" name="Forme libre : forme 359">
              <a:extLst>
                <a:ext uri="{FF2B5EF4-FFF2-40B4-BE49-F238E27FC236}">
                  <a16:creationId xmlns:a16="http://schemas.microsoft.com/office/drawing/2014/main" id="{BCEE9B8C-AA03-4719-891E-01DB914C78AC}"/>
                </a:ext>
              </a:extLst>
            </p:cNvPr>
            <p:cNvSpPr/>
            <p:nvPr/>
          </p:nvSpPr>
          <p:spPr>
            <a:xfrm rot="8716295">
              <a:off x="93297" y="67523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1" name="Forme libre : forme 360">
              <a:extLst>
                <a:ext uri="{FF2B5EF4-FFF2-40B4-BE49-F238E27FC236}">
                  <a16:creationId xmlns:a16="http://schemas.microsoft.com/office/drawing/2014/main" id="{F9DD0D80-4138-4478-988E-136F3B8038CE}"/>
                </a:ext>
              </a:extLst>
            </p:cNvPr>
            <p:cNvSpPr/>
            <p:nvPr/>
          </p:nvSpPr>
          <p:spPr>
            <a:xfrm rot="8716295">
              <a:off x="-7001" y="316701"/>
              <a:ext cx="14001" cy="20198"/>
            </a:xfrm>
            <a:custGeom>
              <a:avLst/>
              <a:gdLst>
                <a:gd name="connsiteX0" fmla="*/ 0 w 14001"/>
                <a:gd name="connsiteY0" fmla="*/ 20198 h 20198"/>
                <a:gd name="connsiteX1" fmla="*/ 0 w 14001"/>
                <a:gd name="connsiteY1" fmla="*/ 0 h 20198"/>
                <a:gd name="connsiteX2" fmla="*/ 14001 w 14001"/>
                <a:gd name="connsiteY2" fmla="*/ 0 h 2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01" h="20198">
                  <a:moveTo>
                    <a:pt x="0" y="20198"/>
                  </a:moveTo>
                  <a:lnTo>
                    <a:pt x="0" y="0"/>
                  </a:lnTo>
                  <a:lnTo>
                    <a:pt x="1400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2" name="Forme libre : forme 361">
              <a:extLst>
                <a:ext uri="{FF2B5EF4-FFF2-40B4-BE49-F238E27FC236}">
                  <a16:creationId xmlns:a16="http://schemas.microsoft.com/office/drawing/2014/main" id="{DF35AC08-7EAC-4D88-B60D-06D59DB2131D}"/>
                </a:ext>
              </a:extLst>
            </p:cNvPr>
            <p:cNvSpPr/>
            <p:nvPr/>
          </p:nvSpPr>
          <p:spPr>
            <a:xfrm rot="13089394">
              <a:off x="-81658" y="472652"/>
              <a:ext cx="173631" cy="237684"/>
            </a:xfrm>
            <a:custGeom>
              <a:avLst/>
              <a:gdLst>
                <a:gd name="connsiteX0" fmla="*/ 173631 w 173631"/>
                <a:gd name="connsiteY0" fmla="*/ 220990 h 237684"/>
                <a:gd name="connsiteX1" fmla="*/ 130972 w 173631"/>
                <a:gd name="connsiteY1" fmla="*/ 232382 h 237684"/>
                <a:gd name="connsiteX2" fmla="*/ 91597 w 173631"/>
                <a:gd name="connsiteY2" fmla="*/ 237521 h 237684"/>
                <a:gd name="connsiteX3" fmla="*/ 23727 w 173631"/>
                <a:gd name="connsiteY3" fmla="*/ 209931 h 237684"/>
                <a:gd name="connsiteX4" fmla="*/ 0 w 173631"/>
                <a:gd name="connsiteY4" fmla="*/ 115023 h 237684"/>
                <a:gd name="connsiteX5" fmla="*/ 0 w 173631"/>
                <a:gd name="connsiteY5" fmla="*/ 0 h 237684"/>
                <a:gd name="connsiteX6" fmla="*/ 76176 w 173631"/>
                <a:gd name="connsiteY6" fmla="*/ 96953 h 237684"/>
                <a:gd name="connsiteX7" fmla="*/ 76768 w 173631"/>
                <a:gd name="connsiteY7" fmla="*/ 109023 h 237684"/>
                <a:gd name="connsiteX8" fmla="*/ 87734 w 173631"/>
                <a:gd name="connsiteY8" fmla="*/ 154201 h 237684"/>
                <a:gd name="connsiteX9" fmla="*/ 111117 w 173631"/>
                <a:gd name="connsiteY9" fmla="*/ 181514 h 237684"/>
                <a:gd name="connsiteX10" fmla="*/ 148930 w 173631"/>
                <a:gd name="connsiteY10" fmla="*/ 189552 h 237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3631" h="237684">
                  <a:moveTo>
                    <a:pt x="173631" y="220990"/>
                  </a:moveTo>
                  <a:lnTo>
                    <a:pt x="130972" y="232382"/>
                  </a:lnTo>
                  <a:cubicBezTo>
                    <a:pt x="116428" y="235210"/>
                    <a:pt x="103047" y="236831"/>
                    <a:pt x="91597" y="237521"/>
                  </a:cubicBezTo>
                  <a:cubicBezTo>
                    <a:pt x="66215" y="239176"/>
                    <a:pt x="41384" y="228141"/>
                    <a:pt x="23727" y="209931"/>
                  </a:cubicBezTo>
                  <a:cubicBezTo>
                    <a:pt x="4966" y="191722"/>
                    <a:pt x="0" y="160270"/>
                    <a:pt x="0" y="115023"/>
                  </a:cubicBezTo>
                  <a:lnTo>
                    <a:pt x="0" y="0"/>
                  </a:lnTo>
                  <a:lnTo>
                    <a:pt x="76176" y="96953"/>
                  </a:lnTo>
                  <a:lnTo>
                    <a:pt x="76768" y="109023"/>
                  </a:lnTo>
                  <a:cubicBezTo>
                    <a:pt x="79044" y="124404"/>
                    <a:pt x="82768" y="139578"/>
                    <a:pt x="87734" y="154201"/>
                  </a:cubicBezTo>
                  <a:cubicBezTo>
                    <a:pt x="92149" y="166340"/>
                    <a:pt x="100012" y="175445"/>
                    <a:pt x="111117" y="181514"/>
                  </a:cubicBezTo>
                  <a:lnTo>
                    <a:pt x="148930" y="1895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3" name="Forme libre : forme 362">
              <a:extLst>
                <a:ext uri="{FF2B5EF4-FFF2-40B4-BE49-F238E27FC236}">
                  <a16:creationId xmlns:a16="http://schemas.microsoft.com/office/drawing/2014/main" id="{9AFF3E46-2559-4C6F-8BF3-7DBBEBA30E07}"/>
                </a:ext>
              </a:extLst>
            </p:cNvPr>
            <p:cNvSpPr/>
            <p:nvPr/>
          </p:nvSpPr>
          <p:spPr>
            <a:xfrm rot="8716295">
              <a:off x="-11774" y="24443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4" name="Forme libre : forme 363">
              <a:extLst>
                <a:ext uri="{FF2B5EF4-FFF2-40B4-BE49-F238E27FC236}">
                  <a16:creationId xmlns:a16="http://schemas.microsoft.com/office/drawing/2014/main" id="{97E07195-EA95-4E14-9CB9-A69F34AE04C5}"/>
                </a:ext>
              </a:extLst>
            </p:cNvPr>
            <p:cNvSpPr/>
            <p:nvPr/>
          </p:nvSpPr>
          <p:spPr>
            <a:xfrm rot="8716295">
              <a:off x="-30092" y="143486"/>
              <a:ext cx="77721" cy="97260"/>
            </a:xfrm>
            <a:custGeom>
              <a:avLst/>
              <a:gdLst>
                <a:gd name="connsiteX0" fmla="*/ 15821 w 77721"/>
                <a:gd name="connsiteY0" fmla="*/ 97260 h 97260"/>
                <a:gd name="connsiteX1" fmla="*/ 0 w 77721"/>
                <a:gd name="connsiteY1" fmla="*/ 59790 h 97260"/>
                <a:gd name="connsiteX2" fmla="*/ 0 w 77721"/>
                <a:gd name="connsiteY2" fmla="*/ 58869 h 97260"/>
                <a:gd name="connsiteX3" fmla="*/ 17477 w 77721"/>
                <a:gd name="connsiteY3" fmla="*/ 17477 h 97260"/>
                <a:gd name="connsiteX4" fmla="*/ 58869 w 77721"/>
                <a:gd name="connsiteY4" fmla="*/ 0 h 97260"/>
                <a:gd name="connsiteX5" fmla="*/ 77721 w 77721"/>
                <a:gd name="connsiteY5" fmla="*/ 7960 h 97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721" h="97260">
                  <a:moveTo>
                    <a:pt x="15821" y="97260"/>
                  </a:moveTo>
                  <a:lnTo>
                    <a:pt x="0" y="59790"/>
                  </a:ln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lnTo>
                    <a:pt x="77721" y="79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5" name="Forme libre : forme 364">
              <a:extLst>
                <a:ext uri="{FF2B5EF4-FFF2-40B4-BE49-F238E27FC236}">
                  <a16:creationId xmlns:a16="http://schemas.microsoft.com/office/drawing/2014/main" id="{F46DA911-E7B0-4E9F-BFB6-93C98E7208E7}"/>
                </a:ext>
              </a:extLst>
            </p:cNvPr>
            <p:cNvSpPr/>
            <p:nvPr/>
          </p:nvSpPr>
          <p:spPr>
            <a:xfrm rot="8716295">
              <a:off x="-17797" y="3452694"/>
              <a:ext cx="58455" cy="44199"/>
            </a:xfrm>
            <a:custGeom>
              <a:avLst/>
              <a:gdLst>
                <a:gd name="connsiteX0" fmla="*/ 0 w 58455"/>
                <a:gd name="connsiteY0" fmla="*/ 44199 h 44199"/>
                <a:gd name="connsiteX1" fmla="*/ 0 w 58455"/>
                <a:gd name="connsiteY1" fmla="*/ 0 h 44199"/>
                <a:gd name="connsiteX2" fmla="*/ 58455 w 58455"/>
                <a:gd name="connsiteY2" fmla="*/ 0 h 44199"/>
                <a:gd name="connsiteX3" fmla="*/ 27817 w 58455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55" h="44199">
                  <a:moveTo>
                    <a:pt x="0" y="44199"/>
                  </a:moveTo>
                  <a:lnTo>
                    <a:pt x="0" y="0"/>
                  </a:lnTo>
                  <a:lnTo>
                    <a:pt x="58455" y="0"/>
                  </a:lnTo>
                  <a:lnTo>
                    <a:pt x="27817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6" name="Forme libre : forme 365">
              <a:extLst>
                <a:ext uri="{FF2B5EF4-FFF2-40B4-BE49-F238E27FC236}">
                  <a16:creationId xmlns:a16="http://schemas.microsoft.com/office/drawing/2014/main" id="{C1D02749-F8C1-46C8-BEE0-16746055E93D}"/>
                </a:ext>
              </a:extLst>
            </p:cNvPr>
            <p:cNvSpPr/>
            <p:nvPr/>
          </p:nvSpPr>
          <p:spPr>
            <a:xfrm rot="13089394">
              <a:off x="-91485" y="3601812"/>
              <a:ext cx="206527" cy="292654"/>
            </a:xfrm>
            <a:custGeom>
              <a:avLst/>
              <a:gdLst>
                <a:gd name="connsiteX0" fmla="*/ 206527 w 206527"/>
                <a:gd name="connsiteY0" fmla="*/ 258693 h 292654"/>
                <a:gd name="connsiteX1" fmla="*/ 177331 w 206527"/>
                <a:gd name="connsiteY1" fmla="*/ 274971 h 292654"/>
                <a:gd name="connsiteX2" fmla="*/ 91597 w 206527"/>
                <a:gd name="connsiteY2" fmla="*/ 292491 h 292654"/>
                <a:gd name="connsiteX3" fmla="*/ 23727 w 206527"/>
                <a:gd name="connsiteY3" fmla="*/ 264901 h 292654"/>
                <a:gd name="connsiteX4" fmla="*/ 0 w 206527"/>
                <a:gd name="connsiteY4" fmla="*/ 169993 h 292654"/>
                <a:gd name="connsiteX5" fmla="*/ 0 w 206527"/>
                <a:gd name="connsiteY5" fmla="*/ 1698 h 292654"/>
                <a:gd name="connsiteX6" fmla="*/ 3273 w 206527"/>
                <a:gd name="connsiteY6" fmla="*/ 0 h 292654"/>
                <a:gd name="connsiteX7" fmla="*/ 74297 w 206527"/>
                <a:gd name="connsiteY7" fmla="*/ 90396 h 292654"/>
                <a:gd name="connsiteX8" fmla="*/ 74492 w 206527"/>
                <a:gd name="connsiteY8" fmla="*/ 117574 h 292654"/>
                <a:gd name="connsiteX9" fmla="*/ 87734 w 206527"/>
                <a:gd name="connsiteY9" fmla="*/ 209171 h 292654"/>
                <a:gd name="connsiteX10" fmla="*/ 153949 w 206527"/>
                <a:gd name="connsiteY10" fmla="*/ 245589 h 292654"/>
                <a:gd name="connsiteX11" fmla="*/ 191049 w 206527"/>
                <a:gd name="connsiteY11" fmla="*/ 238993 h 292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527" h="292654">
                  <a:moveTo>
                    <a:pt x="206527" y="258693"/>
                  </a:moveTo>
                  <a:lnTo>
                    <a:pt x="177331" y="274971"/>
                  </a:lnTo>
                  <a:cubicBezTo>
                    <a:pt x="145121" y="286007"/>
                    <a:pt x="114496" y="291111"/>
                    <a:pt x="91597" y="292491"/>
                  </a:cubicBezTo>
                  <a:cubicBezTo>
                    <a:pt x="66215" y="294146"/>
                    <a:pt x="41385" y="283111"/>
                    <a:pt x="23727" y="264901"/>
                  </a:cubicBezTo>
                  <a:cubicBezTo>
                    <a:pt x="4966" y="246692"/>
                    <a:pt x="0" y="215240"/>
                    <a:pt x="0" y="169993"/>
                  </a:cubicBezTo>
                  <a:lnTo>
                    <a:pt x="0" y="1698"/>
                  </a:lnTo>
                  <a:lnTo>
                    <a:pt x="3273" y="0"/>
                  </a:lnTo>
                  <a:lnTo>
                    <a:pt x="74297" y="90396"/>
                  </a:lnTo>
                  <a:lnTo>
                    <a:pt x="74492" y="117574"/>
                  </a:lnTo>
                  <a:cubicBezTo>
                    <a:pt x="72836" y="148474"/>
                    <a:pt x="77802" y="179926"/>
                    <a:pt x="87734" y="209171"/>
                  </a:cubicBezTo>
                  <a:cubicBezTo>
                    <a:pt x="96564" y="233450"/>
                    <a:pt x="119187" y="245589"/>
                    <a:pt x="153949" y="245589"/>
                  </a:cubicBezTo>
                  <a:lnTo>
                    <a:pt x="191049" y="2389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7" name="Forme libre : forme 366">
              <a:extLst>
                <a:ext uri="{FF2B5EF4-FFF2-40B4-BE49-F238E27FC236}">
                  <a16:creationId xmlns:a16="http://schemas.microsoft.com/office/drawing/2014/main" id="{DE83541C-6C64-4EFA-96DA-32677B2F8AB7}"/>
                </a:ext>
              </a:extLst>
            </p:cNvPr>
            <p:cNvSpPr/>
            <p:nvPr/>
          </p:nvSpPr>
          <p:spPr>
            <a:xfrm rot="8716295">
              <a:off x="24761" y="33896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8" name="Forme libre : forme 367">
              <a:extLst>
                <a:ext uri="{FF2B5EF4-FFF2-40B4-BE49-F238E27FC236}">
                  <a16:creationId xmlns:a16="http://schemas.microsoft.com/office/drawing/2014/main" id="{97641E82-A92B-4DDB-9997-4330C2FFFC03}"/>
                </a:ext>
              </a:extLst>
            </p:cNvPr>
            <p:cNvSpPr/>
            <p:nvPr/>
          </p:nvSpPr>
          <p:spPr>
            <a:xfrm rot="8716295">
              <a:off x="-24047" y="3281741"/>
              <a:ext cx="106042" cy="113733"/>
            </a:xfrm>
            <a:custGeom>
              <a:avLst/>
              <a:gdLst>
                <a:gd name="connsiteX0" fmla="*/ 17477 w 106042"/>
                <a:gd name="connsiteY0" fmla="*/ 101182 h 113733"/>
                <a:gd name="connsiteX1" fmla="*/ 0 w 106042"/>
                <a:gd name="connsiteY1" fmla="*/ 59790 h 113733"/>
                <a:gd name="connsiteX2" fmla="*/ 0 w 106042"/>
                <a:gd name="connsiteY2" fmla="*/ 58869 h 113733"/>
                <a:gd name="connsiteX3" fmla="*/ 17477 w 106042"/>
                <a:gd name="connsiteY3" fmla="*/ 17477 h 113733"/>
                <a:gd name="connsiteX4" fmla="*/ 58869 w 106042"/>
                <a:gd name="connsiteY4" fmla="*/ 0 h 113733"/>
                <a:gd name="connsiteX5" fmla="*/ 100262 w 106042"/>
                <a:gd name="connsiteY5" fmla="*/ 17477 h 113733"/>
                <a:gd name="connsiteX6" fmla="*/ 106042 w 106042"/>
                <a:gd name="connsiteY6" fmla="*/ 31234 h 113733"/>
                <a:gd name="connsiteX7" fmla="*/ 48856 w 106042"/>
                <a:gd name="connsiteY7" fmla="*/ 113733 h 11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042" h="113733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cubicBezTo>
                    <a:pt x="74507" y="0"/>
                    <a:pt x="89224" y="6439"/>
                    <a:pt x="100262" y="17477"/>
                  </a:cubicBezTo>
                  <a:lnTo>
                    <a:pt x="106042" y="31234"/>
                  </a:lnTo>
                  <a:lnTo>
                    <a:pt x="48856" y="1137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9" name="Forme libre : forme 368">
              <a:extLst>
                <a:ext uri="{FF2B5EF4-FFF2-40B4-BE49-F238E27FC236}">
                  <a16:creationId xmlns:a16="http://schemas.microsoft.com/office/drawing/2014/main" id="{CA7B7E86-E158-4CCC-9F30-35FD45AC52DC}"/>
                </a:ext>
              </a:extLst>
            </p:cNvPr>
            <p:cNvSpPr/>
            <p:nvPr/>
          </p:nvSpPr>
          <p:spPr>
            <a:xfrm rot="8716295">
              <a:off x="-21924" y="3179872"/>
              <a:ext cx="45776" cy="62656"/>
            </a:xfrm>
            <a:custGeom>
              <a:avLst/>
              <a:gdLst>
                <a:gd name="connsiteX0" fmla="*/ 2345 w 45776"/>
                <a:gd name="connsiteY0" fmla="*/ 62656 h 62656"/>
                <a:gd name="connsiteX1" fmla="*/ 0 w 45776"/>
                <a:gd name="connsiteY1" fmla="*/ 57104 h 62656"/>
                <a:gd name="connsiteX2" fmla="*/ 0 w 45776"/>
                <a:gd name="connsiteY2" fmla="*/ 56183 h 62656"/>
                <a:gd name="connsiteX3" fmla="*/ 17477 w 45776"/>
                <a:gd name="connsiteY3" fmla="*/ 14791 h 62656"/>
                <a:gd name="connsiteX4" fmla="*/ 36449 w 45776"/>
                <a:gd name="connsiteY4" fmla="*/ 1913 h 62656"/>
                <a:gd name="connsiteX5" fmla="*/ 45776 w 45776"/>
                <a:gd name="connsiteY5" fmla="*/ 0 h 62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776" h="62656">
                  <a:moveTo>
                    <a:pt x="2345" y="62656"/>
                  </a:moveTo>
                  <a:lnTo>
                    <a:pt x="0" y="57104"/>
                  </a:lnTo>
                  <a:lnTo>
                    <a:pt x="0" y="56183"/>
                  </a:lnTo>
                  <a:cubicBezTo>
                    <a:pt x="0" y="40547"/>
                    <a:pt x="6439" y="25829"/>
                    <a:pt x="17477" y="14791"/>
                  </a:cubicBezTo>
                  <a:cubicBezTo>
                    <a:pt x="22996" y="9272"/>
                    <a:pt x="29435" y="4903"/>
                    <a:pt x="36449" y="1913"/>
                  </a:cubicBezTo>
                  <a:lnTo>
                    <a:pt x="4577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0" name="Forme libre : forme 369">
              <a:extLst>
                <a:ext uri="{FF2B5EF4-FFF2-40B4-BE49-F238E27FC236}">
                  <a16:creationId xmlns:a16="http://schemas.microsoft.com/office/drawing/2014/main" id="{B95921A2-46DE-49F9-9F14-5364CEEC2044}"/>
                </a:ext>
              </a:extLst>
            </p:cNvPr>
            <p:cNvSpPr/>
            <p:nvPr/>
          </p:nvSpPr>
          <p:spPr>
            <a:xfrm rot="8716295">
              <a:off x="-21324" y="4100649"/>
              <a:ext cx="79113" cy="50123"/>
            </a:xfrm>
            <a:custGeom>
              <a:avLst/>
              <a:gdLst>
                <a:gd name="connsiteX0" fmla="*/ 0 w 79113"/>
                <a:gd name="connsiteY0" fmla="*/ 50123 h 50123"/>
                <a:gd name="connsiteX1" fmla="*/ 0 w 79113"/>
                <a:gd name="connsiteY1" fmla="*/ 0 h 50123"/>
                <a:gd name="connsiteX2" fmla="*/ 79113 w 79113"/>
                <a:gd name="connsiteY2" fmla="*/ 0 h 50123"/>
                <a:gd name="connsiteX3" fmla="*/ 44369 w 79113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113" h="50123">
                  <a:moveTo>
                    <a:pt x="0" y="50123"/>
                  </a:moveTo>
                  <a:lnTo>
                    <a:pt x="0" y="0"/>
                  </a:lnTo>
                  <a:lnTo>
                    <a:pt x="79113" y="0"/>
                  </a:lnTo>
                  <a:lnTo>
                    <a:pt x="44369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1" name="Forme libre : forme 370">
              <a:extLst>
                <a:ext uri="{FF2B5EF4-FFF2-40B4-BE49-F238E27FC236}">
                  <a16:creationId xmlns:a16="http://schemas.microsoft.com/office/drawing/2014/main" id="{84FEE941-A7A7-41F0-870B-FF2E21B132E9}"/>
                </a:ext>
              </a:extLst>
            </p:cNvPr>
            <p:cNvSpPr/>
            <p:nvPr/>
          </p:nvSpPr>
          <p:spPr>
            <a:xfrm rot="8716295">
              <a:off x="-40457" y="398156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2" name="Forme libre : forme 371">
              <a:extLst>
                <a:ext uri="{FF2B5EF4-FFF2-40B4-BE49-F238E27FC236}">
                  <a16:creationId xmlns:a16="http://schemas.microsoft.com/office/drawing/2014/main" id="{ED05E8E5-B04C-426F-A5B3-FDFECB7FA8BB}"/>
                </a:ext>
              </a:extLst>
            </p:cNvPr>
            <p:cNvSpPr/>
            <p:nvPr/>
          </p:nvSpPr>
          <p:spPr>
            <a:xfrm rot="7484129">
              <a:off x="-46974" y="427316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3" name="Forme libre : forme 372">
              <a:extLst>
                <a:ext uri="{FF2B5EF4-FFF2-40B4-BE49-F238E27FC236}">
                  <a16:creationId xmlns:a16="http://schemas.microsoft.com/office/drawing/2014/main" id="{2455BBCE-F26C-4AF6-86DC-09C81861FE56}"/>
                </a:ext>
              </a:extLst>
            </p:cNvPr>
            <p:cNvSpPr/>
            <p:nvPr/>
          </p:nvSpPr>
          <p:spPr>
            <a:xfrm rot="13089394">
              <a:off x="57846" y="423970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4" name="Forme libre : forme 373">
              <a:extLst>
                <a:ext uri="{FF2B5EF4-FFF2-40B4-BE49-F238E27FC236}">
                  <a16:creationId xmlns:a16="http://schemas.microsoft.com/office/drawing/2014/main" id="{51373B92-194C-42B9-B764-40EA297AE7F9}"/>
                </a:ext>
              </a:extLst>
            </p:cNvPr>
            <p:cNvSpPr/>
            <p:nvPr/>
          </p:nvSpPr>
          <p:spPr>
            <a:xfrm rot="8716295">
              <a:off x="243431" y="404801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5" name="Forme libre : forme 374">
              <a:extLst>
                <a:ext uri="{FF2B5EF4-FFF2-40B4-BE49-F238E27FC236}">
                  <a16:creationId xmlns:a16="http://schemas.microsoft.com/office/drawing/2014/main" id="{F38EDEED-C414-448B-8D37-E62E6FF38F3A}"/>
                </a:ext>
              </a:extLst>
            </p:cNvPr>
            <p:cNvSpPr/>
            <p:nvPr/>
          </p:nvSpPr>
          <p:spPr>
            <a:xfrm rot="8716295">
              <a:off x="191626" y="39444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6" name="Forme libre : forme 375">
              <a:extLst>
                <a:ext uri="{FF2B5EF4-FFF2-40B4-BE49-F238E27FC236}">
                  <a16:creationId xmlns:a16="http://schemas.microsoft.com/office/drawing/2014/main" id="{1E970937-55EB-4E1D-94ED-92F0499DC22F}"/>
                </a:ext>
              </a:extLst>
            </p:cNvPr>
            <p:cNvSpPr/>
            <p:nvPr/>
          </p:nvSpPr>
          <p:spPr>
            <a:xfrm rot="8716295">
              <a:off x="125832" y="381540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7" name="Forme libre : forme 376">
              <a:extLst>
                <a:ext uri="{FF2B5EF4-FFF2-40B4-BE49-F238E27FC236}">
                  <a16:creationId xmlns:a16="http://schemas.microsoft.com/office/drawing/2014/main" id="{9890EDE8-10DA-45ED-AA77-40989F9FB014}"/>
                </a:ext>
              </a:extLst>
            </p:cNvPr>
            <p:cNvSpPr/>
            <p:nvPr/>
          </p:nvSpPr>
          <p:spPr>
            <a:xfrm rot="8716295">
              <a:off x="-73048" y="4876828"/>
              <a:ext cx="221382" cy="253349"/>
            </a:xfrm>
            <a:custGeom>
              <a:avLst/>
              <a:gdLst>
                <a:gd name="connsiteX0" fmla="*/ 51490 w 221382"/>
                <a:gd name="connsiteY0" fmla="*/ 253349 h 253349"/>
                <a:gd name="connsiteX1" fmla="*/ 51490 w 221382"/>
                <a:gd name="connsiteY1" fmla="*/ 44199 h 253349"/>
                <a:gd name="connsiteX2" fmla="*/ 0 w 221382"/>
                <a:gd name="connsiteY2" fmla="*/ 44199 h 253349"/>
                <a:gd name="connsiteX3" fmla="*/ 0 w 221382"/>
                <a:gd name="connsiteY3" fmla="*/ 0 h 253349"/>
                <a:gd name="connsiteX4" fmla="*/ 104803 w 221382"/>
                <a:gd name="connsiteY4" fmla="*/ 0 h 253349"/>
                <a:gd name="connsiteX5" fmla="*/ 104802 w 221382"/>
                <a:gd name="connsiteY5" fmla="*/ 73817 h 253349"/>
                <a:gd name="connsiteX6" fmla="*/ 106169 w 221382"/>
                <a:gd name="connsiteY6" fmla="*/ 73817 h 253349"/>
                <a:gd name="connsiteX7" fmla="*/ 154014 w 221382"/>
                <a:gd name="connsiteY7" fmla="*/ 4556 h 253349"/>
                <a:gd name="connsiteX8" fmla="*/ 174650 w 221382"/>
                <a:gd name="connsiteY8" fmla="*/ 668 h 253349"/>
                <a:gd name="connsiteX9" fmla="*/ 214075 w 221382"/>
                <a:gd name="connsiteY9" fmla="*/ 27996 h 253349"/>
                <a:gd name="connsiteX10" fmla="*/ 221382 w 221382"/>
                <a:gd name="connsiteY10" fmla="*/ 33060 h 253349"/>
                <a:gd name="connsiteX11" fmla="*/ 195540 w 221382"/>
                <a:gd name="connsiteY11" fmla="*/ 70341 h 253349"/>
                <a:gd name="connsiteX12" fmla="*/ 189157 w 221382"/>
                <a:gd name="connsiteY12" fmla="*/ 50236 h 253349"/>
                <a:gd name="connsiteX13" fmla="*/ 164950 w 221382"/>
                <a:gd name="connsiteY13" fmla="*/ 38731 h 253349"/>
                <a:gd name="connsiteX14" fmla="*/ 111638 w 221382"/>
                <a:gd name="connsiteY14" fmla="*/ 126218 h 253349"/>
                <a:gd name="connsiteX15" fmla="*/ 111638 w 221382"/>
                <a:gd name="connsiteY15" fmla="*/ 191383 h 253349"/>
                <a:gd name="connsiteX16" fmla="*/ 84096 w 221382"/>
                <a:gd name="connsiteY16" fmla="*/ 231117 h 253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1382" h="253349">
                  <a:moveTo>
                    <a:pt x="51490" y="253349"/>
                  </a:moveTo>
                  <a:lnTo>
                    <a:pt x="51490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104803" y="0"/>
                  </a:lnTo>
                  <a:lnTo>
                    <a:pt x="104802" y="73817"/>
                  </a:lnTo>
                  <a:lnTo>
                    <a:pt x="106169" y="73817"/>
                  </a:lnTo>
                  <a:cubicBezTo>
                    <a:pt x="120751" y="30529"/>
                    <a:pt x="132142" y="13670"/>
                    <a:pt x="154014" y="4556"/>
                  </a:cubicBezTo>
                  <a:lnTo>
                    <a:pt x="174650" y="668"/>
                  </a:lnTo>
                  <a:lnTo>
                    <a:pt x="214075" y="27996"/>
                  </a:lnTo>
                  <a:lnTo>
                    <a:pt x="221382" y="33060"/>
                  </a:lnTo>
                  <a:lnTo>
                    <a:pt x="195540" y="70341"/>
                  </a:lnTo>
                  <a:lnTo>
                    <a:pt x="189157" y="50236"/>
                  </a:lnTo>
                  <a:cubicBezTo>
                    <a:pt x="183177" y="42946"/>
                    <a:pt x="174747" y="38731"/>
                    <a:pt x="164950" y="38731"/>
                  </a:cubicBezTo>
                  <a:cubicBezTo>
                    <a:pt x="135788" y="38731"/>
                    <a:pt x="111638" y="77463"/>
                    <a:pt x="111638" y="126218"/>
                  </a:cubicBezTo>
                  <a:lnTo>
                    <a:pt x="111638" y="191383"/>
                  </a:lnTo>
                  <a:lnTo>
                    <a:pt x="84096" y="2311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8" name="Forme libre : forme 377">
              <a:extLst>
                <a:ext uri="{FF2B5EF4-FFF2-40B4-BE49-F238E27FC236}">
                  <a16:creationId xmlns:a16="http://schemas.microsoft.com/office/drawing/2014/main" id="{D89764C9-6568-42FB-A4A1-D9595395AB12}"/>
                </a:ext>
              </a:extLst>
            </p:cNvPr>
            <p:cNvSpPr/>
            <p:nvPr/>
          </p:nvSpPr>
          <p:spPr>
            <a:xfrm rot="8716295">
              <a:off x="93318" y="46120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9" name="Forme libre : forme 378">
              <a:extLst>
                <a:ext uri="{FF2B5EF4-FFF2-40B4-BE49-F238E27FC236}">
                  <a16:creationId xmlns:a16="http://schemas.microsoft.com/office/drawing/2014/main" id="{B3A51367-1D00-45C2-8806-45DE56D1374A}"/>
                </a:ext>
              </a:extLst>
            </p:cNvPr>
            <p:cNvSpPr/>
            <p:nvPr/>
          </p:nvSpPr>
          <p:spPr>
            <a:xfrm rot="8716295">
              <a:off x="182710" y="46412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0" name="Forme libre : forme 379">
              <a:extLst>
                <a:ext uri="{FF2B5EF4-FFF2-40B4-BE49-F238E27FC236}">
                  <a16:creationId xmlns:a16="http://schemas.microsoft.com/office/drawing/2014/main" id="{5796D538-9FA1-4B69-9ECE-72D45F20B58A}"/>
                </a:ext>
              </a:extLst>
            </p:cNvPr>
            <p:cNvSpPr/>
            <p:nvPr/>
          </p:nvSpPr>
          <p:spPr>
            <a:xfrm rot="8716295">
              <a:off x="-14524" y="4699631"/>
              <a:ext cx="49997" cy="54238"/>
            </a:xfrm>
            <a:custGeom>
              <a:avLst/>
              <a:gdLst>
                <a:gd name="connsiteX0" fmla="*/ 8658 w 49997"/>
                <a:gd name="connsiteY0" fmla="*/ 50123 h 54238"/>
                <a:gd name="connsiteX1" fmla="*/ 0 w 49997"/>
                <a:gd name="connsiteY1" fmla="*/ 29619 h 54238"/>
                <a:gd name="connsiteX2" fmla="*/ 0 w 49997"/>
                <a:gd name="connsiteY2" fmla="*/ 29162 h 54238"/>
                <a:gd name="connsiteX3" fmla="*/ 8658 w 49997"/>
                <a:gd name="connsiteY3" fmla="*/ 8658 h 54238"/>
                <a:gd name="connsiteX4" fmla="*/ 29163 w 49997"/>
                <a:gd name="connsiteY4" fmla="*/ 0 h 54238"/>
                <a:gd name="connsiteX5" fmla="*/ 49668 w 49997"/>
                <a:gd name="connsiteY5" fmla="*/ 8658 h 54238"/>
                <a:gd name="connsiteX6" fmla="*/ 49997 w 49997"/>
                <a:gd name="connsiteY6" fmla="*/ 9441 h 54238"/>
                <a:gd name="connsiteX7" fmla="*/ 18945 w 49997"/>
                <a:gd name="connsiteY7" fmla="*/ 54238 h 54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997" h="54238">
                  <a:moveTo>
                    <a:pt x="8658" y="50123"/>
                  </a:moveTo>
                  <a:cubicBezTo>
                    <a:pt x="3190" y="44655"/>
                    <a:pt x="0" y="37365"/>
                    <a:pt x="0" y="29619"/>
                  </a:cubicBezTo>
                  <a:lnTo>
                    <a:pt x="0" y="29162"/>
                  </a:lnTo>
                  <a:cubicBezTo>
                    <a:pt x="0" y="21417"/>
                    <a:pt x="3190" y="14126"/>
                    <a:pt x="8658" y="8658"/>
                  </a:cubicBezTo>
                  <a:cubicBezTo>
                    <a:pt x="14126" y="3190"/>
                    <a:pt x="21416" y="0"/>
                    <a:pt x="29163" y="0"/>
                  </a:cubicBezTo>
                  <a:cubicBezTo>
                    <a:pt x="36909" y="0"/>
                    <a:pt x="44200" y="3190"/>
                    <a:pt x="49668" y="8658"/>
                  </a:cubicBezTo>
                  <a:lnTo>
                    <a:pt x="49997" y="9441"/>
                  </a:lnTo>
                  <a:lnTo>
                    <a:pt x="18945" y="54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1" name="Forme libre : forme 380">
              <a:extLst>
                <a:ext uri="{FF2B5EF4-FFF2-40B4-BE49-F238E27FC236}">
                  <a16:creationId xmlns:a16="http://schemas.microsoft.com/office/drawing/2014/main" id="{0A8DEA12-3B5F-4B33-B7D9-E32E7E70ED9F}"/>
                </a:ext>
              </a:extLst>
            </p:cNvPr>
            <p:cNvSpPr/>
            <p:nvPr/>
          </p:nvSpPr>
          <p:spPr>
            <a:xfrm rot="8716295">
              <a:off x="-30327" y="4579755"/>
              <a:ext cx="113346" cy="71024"/>
            </a:xfrm>
            <a:custGeom>
              <a:avLst/>
              <a:gdLst>
                <a:gd name="connsiteX0" fmla="*/ 0 w 113346"/>
                <a:gd name="connsiteY0" fmla="*/ 55323 h 71024"/>
                <a:gd name="connsiteX1" fmla="*/ 0 w 113346"/>
                <a:gd name="connsiteY1" fmla="*/ 0 h 71024"/>
                <a:gd name="connsiteX2" fmla="*/ 113346 w 113346"/>
                <a:gd name="connsiteY2" fmla="*/ 0 h 71024"/>
                <a:gd name="connsiteX3" fmla="*/ 64114 w 113346"/>
                <a:gd name="connsiteY3" fmla="*/ 71024 h 71024"/>
                <a:gd name="connsiteX4" fmla="*/ 69777 w 113346"/>
                <a:gd name="connsiteY4" fmla="*/ 55323 h 7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346" h="71024">
                  <a:moveTo>
                    <a:pt x="0" y="55323"/>
                  </a:moveTo>
                  <a:lnTo>
                    <a:pt x="0" y="0"/>
                  </a:lnTo>
                  <a:lnTo>
                    <a:pt x="113346" y="0"/>
                  </a:lnTo>
                  <a:lnTo>
                    <a:pt x="64114" y="71024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2" name="Forme libre : forme 381">
              <a:extLst>
                <a:ext uri="{FF2B5EF4-FFF2-40B4-BE49-F238E27FC236}">
                  <a16:creationId xmlns:a16="http://schemas.microsoft.com/office/drawing/2014/main" id="{B639F843-6BAF-4B67-80B8-3D30C09BF5FB}"/>
                </a:ext>
              </a:extLst>
            </p:cNvPr>
            <p:cNvSpPr/>
            <p:nvPr/>
          </p:nvSpPr>
          <p:spPr>
            <a:xfrm rot="8716295">
              <a:off x="71262" y="47415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3" name="Forme libre : forme 382">
              <a:extLst>
                <a:ext uri="{FF2B5EF4-FFF2-40B4-BE49-F238E27FC236}">
                  <a16:creationId xmlns:a16="http://schemas.microsoft.com/office/drawing/2014/main" id="{D52BFECF-759E-4683-BE94-173DD8657338}"/>
                </a:ext>
              </a:extLst>
            </p:cNvPr>
            <p:cNvSpPr/>
            <p:nvPr/>
          </p:nvSpPr>
          <p:spPr>
            <a:xfrm rot="7484129">
              <a:off x="172059" y="493353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170341 w 203847"/>
                <a:gd name="connsiteY5" fmla="*/ 0 h 195874"/>
                <a:gd name="connsiteX6" fmla="*/ 203847 w 203847"/>
                <a:gd name="connsiteY6" fmla="*/ 48325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170341" y="0"/>
                  </a:lnTo>
                  <a:lnTo>
                    <a:pt x="203847" y="48325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4" name="Forme libre : forme 383">
              <a:extLst>
                <a:ext uri="{FF2B5EF4-FFF2-40B4-BE49-F238E27FC236}">
                  <a16:creationId xmlns:a16="http://schemas.microsoft.com/office/drawing/2014/main" id="{25A08FAE-A75C-4B2E-B0C7-527DE2D9E508}"/>
                </a:ext>
              </a:extLst>
            </p:cNvPr>
            <p:cNvSpPr/>
            <p:nvPr/>
          </p:nvSpPr>
          <p:spPr>
            <a:xfrm rot="13089394">
              <a:off x="313551" y="4906246"/>
              <a:ext cx="221827" cy="205098"/>
            </a:xfrm>
            <a:custGeom>
              <a:avLst/>
              <a:gdLst>
                <a:gd name="connsiteX0" fmla="*/ 24153 w 221827"/>
                <a:gd name="connsiteY0" fmla="*/ 55168 h 205098"/>
                <a:gd name="connsiteX1" fmla="*/ 0 w 221827"/>
                <a:gd name="connsiteY1" fmla="*/ 18385 h 205098"/>
                <a:gd name="connsiteX2" fmla="*/ 23400 w 221827"/>
                <a:gd name="connsiteY2" fmla="*/ 0 h 205098"/>
                <a:gd name="connsiteX3" fmla="*/ 23735 w 221827"/>
                <a:gd name="connsiteY3" fmla="*/ 46640 h 205098"/>
                <a:gd name="connsiteX4" fmla="*/ 221827 w 221827"/>
                <a:gd name="connsiteY4" fmla="*/ 150928 h 205098"/>
                <a:gd name="connsiteX5" fmla="*/ 126574 w 221827"/>
                <a:gd name="connsiteY5" fmla="*/ 204038 h 205098"/>
                <a:gd name="connsiteX6" fmla="*/ 122603 w 221827"/>
                <a:gd name="connsiteY6" fmla="*/ 205098 h 205098"/>
                <a:gd name="connsiteX7" fmla="*/ 102519 w 221827"/>
                <a:gd name="connsiteY7" fmla="*/ 174512 h 205098"/>
                <a:gd name="connsiteX8" fmla="*/ 103192 w 221827"/>
                <a:gd name="connsiteY8" fmla="*/ 174655 h 205098"/>
                <a:gd name="connsiteX9" fmla="*/ 152853 w 221827"/>
                <a:gd name="connsiteY9" fmla="*/ 165826 h 205098"/>
                <a:gd name="connsiteX10" fmla="*/ 220723 w 221827"/>
                <a:gd name="connsiteY10" fmla="*/ 138237 h 205098"/>
                <a:gd name="connsiteX11" fmla="*/ 221827 w 221827"/>
                <a:gd name="connsiteY11" fmla="*/ 145410 h 205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1827" h="205098">
                  <a:moveTo>
                    <a:pt x="24153" y="55168"/>
                  </a:moveTo>
                  <a:lnTo>
                    <a:pt x="0" y="18385"/>
                  </a:lnTo>
                  <a:lnTo>
                    <a:pt x="23400" y="0"/>
                  </a:lnTo>
                  <a:lnTo>
                    <a:pt x="23735" y="46640"/>
                  </a:lnTo>
                  <a:close/>
                  <a:moveTo>
                    <a:pt x="221827" y="150928"/>
                  </a:moveTo>
                  <a:cubicBezTo>
                    <a:pt x="192582" y="176035"/>
                    <a:pt x="158785" y="193002"/>
                    <a:pt x="126574" y="204038"/>
                  </a:cubicBezTo>
                  <a:lnTo>
                    <a:pt x="122603" y="205098"/>
                  </a:lnTo>
                  <a:lnTo>
                    <a:pt x="102519" y="174512"/>
                  </a:lnTo>
                  <a:lnTo>
                    <a:pt x="103192" y="174655"/>
                  </a:lnTo>
                  <a:cubicBezTo>
                    <a:pt x="120298" y="174103"/>
                    <a:pt x="136851" y="170792"/>
                    <a:pt x="152853" y="165826"/>
                  </a:cubicBezTo>
                  <a:cubicBezTo>
                    <a:pt x="176028" y="158653"/>
                    <a:pt x="198652" y="149273"/>
                    <a:pt x="220723" y="138237"/>
                  </a:cubicBezTo>
                  <a:cubicBezTo>
                    <a:pt x="221275" y="140444"/>
                    <a:pt x="221827" y="143203"/>
                    <a:pt x="221827" y="1454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5" name="Forme libre : forme 384">
              <a:extLst>
                <a:ext uri="{FF2B5EF4-FFF2-40B4-BE49-F238E27FC236}">
                  <a16:creationId xmlns:a16="http://schemas.microsoft.com/office/drawing/2014/main" id="{6B1D4FCF-4868-4FA7-803E-D1D00595788E}"/>
                </a:ext>
              </a:extLst>
            </p:cNvPr>
            <p:cNvSpPr/>
            <p:nvPr/>
          </p:nvSpPr>
          <p:spPr>
            <a:xfrm rot="8716295">
              <a:off x="406370" y="4600606"/>
              <a:ext cx="113655" cy="117117"/>
            </a:xfrm>
            <a:custGeom>
              <a:avLst/>
              <a:gdLst>
                <a:gd name="connsiteX0" fmla="*/ 13623 w 113655"/>
                <a:gd name="connsiteY0" fmla="*/ 100559 h 117117"/>
                <a:gd name="connsiteX1" fmla="*/ 0 w 113655"/>
                <a:gd name="connsiteY1" fmla="*/ 68296 h 117117"/>
                <a:gd name="connsiteX2" fmla="*/ 56488 w 113655"/>
                <a:gd name="connsiteY2" fmla="*/ 0 h 117117"/>
                <a:gd name="connsiteX3" fmla="*/ 96408 w 113655"/>
                <a:gd name="connsiteY3" fmla="*/ 16856 h 117117"/>
                <a:gd name="connsiteX4" fmla="*/ 96408 w 113655"/>
                <a:gd name="connsiteY4" fmla="*/ 99640 h 117117"/>
                <a:gd name="connsiteX5" fmla="*/ 55015 w 113655"/>
                <a:gd name="connsiteY5" fmla="*/ 117117 h 117117"/>
                <a:gd name="connsiteX6" fmla="*/ 13623 w 113655"/>
                <a:gd name="connsiteY6" fmla="*/ 100559 h 117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655" h="117117">
                  <a:moveTo>
                    <a:pt x="13623" y="100559"/>
                  </a:moveTo>
                  <a:lnTo>
                    <a:pt x="0" y="68296"/>
                  </a:lnTo>
                  <a:lnTo>
                    <a:pt x="56488" y="0"/>
                  </a:lnTo>
                  <a:lnTo>
                    <a:pt x="96408" y="16856"/>
                  </a:lnTo>
                  <a:cubicBezTo>
                    <a:pt x="119404" y="38931"/>
                    <a:pt x="119404" y="76644"/>
                    <a:pt x="96408" y="99640"/>
                  </a:cubicBezTo>
                  <a:cubicBezTo>
                    <a:pt x="85370" y="110678"/>
                    <a:pt x="70653" y="117116"/>
                    <a:pt x="55015" y="117117"/>
                  </a:cubicBezTo>
                  <a:cubicBezTo>
                    <a:pt x="39378" y="117117"/>
                    <a:pt x="24661" y="111597"/>
                    <a:pt x="13623" y="10055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6" name="Forme libre : forme 385">
              <a:extLst>
                <a:ext uri="{FF2B5EF4-FFF2-40B4-BE49-F238E27FC236}">
                  <a16:creationId xmlns:a16="http://schemas.microsoft.com/office/drawing/2014/main" id="{A521D2F6-3CA4-443B-AE06-E761EA9F7456}"/>
                </a:ext>
              </a:extLst>
            </p:cNvPr>
            <p:cNvSpPr/>
            <p:nvPr/>
          </p:nvSpPr>
          <p:spPr>
            <a:xfrm rot="8716295">
              <a:off x="171547" y="46343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7" name="Forme libre : forme 386">
              <a:extLst>
                <a:ext uri="{FF2B5EF4-FFF2-40B4-BE49-F238E27FC236}">
                  <a16:creationId xmlns:a16="http://schemas.microsoft.com/office/drawing/2014/main" id="{830F38CE-6CA7-4EBA-A5A4-58CB35926CD3}"/>
                </a:ext>
              </a:extLst>
            </p:cNvPr>
            <p:cNvSpPr/>
            <p:nvPr/>
          </p:nvSpPr>
          <p:spPr>
            <a:xfrm rot="8716295">
              <a:off x="348999" y="44751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784508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ur deux lignes + Conten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Forme libre : forme 134">
            <a:extLst>
              <a:ext uri="{FF2B5EF4-FFF2-40B4-BE49-F238E27FC236}">
                <a16:creationId xmlns:a16="http://schemas.microsoft.com/office/drawing/2014/main" id="{BCA8F2DB-0EFB-46C7-BE50-C48C3F133EFC}"/>
              </a:ext>
            </a:extLst>
          </p:cNvPr>
          <p:cNvSpPr/>
          <p:nvPr userDrawn="1"/>
        </p:nvSpPr>
        <p:spPr>
          <a:xfrm>
            <a:off x="629550" y="0"/>
            <a:ext cx="8514451" cy="5143499"/>
          </a:xfrm>
          <a:custGeom>
            <a:avLst/>
            <a:gdLst>
              <a:gd name="connsiteX0" fmla="*/ 685476 w 8514451"/>
              <a:gd name="connsiteY0" fmla="*/ 1246048 h 5143499"/>
              <a:gd name="connsiteX1" fmla="*/ 685476 w 8514451"/>
              <a:gd name="connsiteY1" fmla="*/ 1291767 h 5143499"/>
              <a:gd name="connsiteX2" fmla="*/ 1045476 w 8514451"/>
              <a:gd name="connsiteY2" fmla="*/ 1291767 h 5143499"/>
              <a:gd name="connsiteX3" fmla="*/ 1045476 w 8514451"/>
              <a:gd name="connsiteY3" fmla="*/ 1246048 h 5143499"/>
              <a:gd name="connsiteX4" fmla="*/ 268034 w 8514451"/>
              <a:gd name="connsiteY4" fmla="*/ 0 h 5143499"/>
              <a:gd name="connsiteX5" fmla="*/ 8514451 w 8514451"/>
              <a:gd name="connsiteY5" fmla="*/ 0 h 5143499"/>
              <a:gd name="connsiteX6" fmla="*/ 8514451 w 8514451"/>
              <a:gd name="connsiteY6" fmla="*/ 5143499 h 5143499"/>
              <a:gd name="connsiteX7" fmla="*/ 274758 w 8514451"/>
              <a:gd name="connsiteY7" fmla="*/ 5143499 h 5143499"/>
              <a:gd name="connsiteX8" fmla="*/ 0 w 8514451"/>
              <a:gd name="connsiteY8" fmla="*/ 3148262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514451" h="5143499">
                <a:moveTo>
                  <a:pt x="685476" y="1246048"/>
                </a:moveTo>
                <a:lnTo>
                  <a:pt x="685476" y="1291767"/>
                </a:lnTo>
                <a:lnTo>
                  <a:pt x="1045476" y="1291767"/>
                </a:lnTo>
                <a:lnTo>
                  <a:pt x="1045476" y="1246048"/>
                </a:lnTo>
                <a:close/>
                <a:moveTo>
                  <a:pt x="268034" y="0"/>
                </a:moveTo>
                <a:lnTo>
                  <a:pt x="8514451" y="0"/>
                </a:lnTo>
                <a:lnTo>
                  <a:pt x="8514451" y="5143499"/>
                </a:lnTo>
                <a:lnTo>
                  <a:pt x="274758" y="5143499"/>
                </a:lnTo>
                <a:lnTo>
                  <a:pt x="0" y="31482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48DF42C1-5220-478C-ABAC-92E468D673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8859" y="342566"/>
            <a:ext cx="7316491" cy="757130"/>
          </a:xfrm>
        </p:spPr>
        <p:txBody>
          <a:bodyPr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Titre de la slide</a:t>
            </a:r>
            <a:br>
              <a:rPr lang="fr-FR" dirty="0"/>
            </a:br>
            <a:r>
              <a:rPr lang="fr-FR" dirty="0"/>
              <a:t>sur deux lignes</a:t>
            </a:r>
          </a:p>
        </p:txBody>
      </p:sp>
      <p:grpSp>
        <p:nvGrpSpPr>
          <p:cNvPr id="4" name="Groupe 3">
            <a:extLst>
              <a:ext uri="{FF2B5EF4-FFF2-40B4-BE49-F238E27FC236}">
                <a16:creationId xmlns:a16="http://schemas.microsoft.com/office/drawing/2014/main" id="{7D4448DD-C686-4013-AFB5-FE86795F0079}"/>
              </a:ext>
            </a:extLst>
          </p:cNvPr>
          <p:cNvGrpSpPr/>
          <p:nvPr userDrawn="1"/>
        </p:nvGrpSpPr>
        <p:grpSpPr>
          <a:xfrm>
            <a:off x="-91485" y="-57106"/>
            <a:ext cx="1008300" cy="5190499"/>
            <a:chOff x="-91485" y="-57106"/>
            <a:chExt cx="1008300" cy="5190499"/>
          </a:xfrm>
          <a:solidFill>
            <a:schemeClr val="bg2">
              <a:alpha val="5000"/>
            </a:schemeClr>
          </a:solidFill>
        </p:grpSpPr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4100D4C0-1B0B-4813-97B4-727B3F07A2B3}"/>
                </a:ext>
              </a:extLst>
            </p:cNvPr>
            <p:cNvSpPr/>
            <p:nvPr/>
          </p:nvSpPr>
          <p:spPr>
            <a:xfrm rot="8716295">
              <a:off x="617786" y="1780350"/>
              <a:ext cx="152726" cy="195873"/>
            </a:xfrm>
            <a:custGeom>
              <a:avLst/>
              <a:gdLst>
                <a:gd name="connsiteX0" fmla="*/ 39589 w 152726"/>
                <a:gd name="connsiteY0" fmla="*/ 195873 h 195873"/>
                <a:gd name="connsiteX1" fmla="*/ 0 w 152726"/>
                <a:gd name="connsiteY1" fmla="*/ 122219 h 195873"/>
                <a:gd name="connsiteX2" fmla="*/ 101089 w 152726"/>
                <a:gd name="connsiteY2" fmla="*/ 0 h 195873"/>
                <a:gd name="connsiteX3" fmla="*/ 152726 w 152726"/>
                <a:gd name="connsiteY3" fmla="*/ 0 h 195873"/>
                <a:gd name="connsiteX4" fmla="*/ 152726 w 152726"/>
                <a:gd name="connsiteY4" fmla="*/ 55323 h 195873"/>
                <a:gd name="connsiteX5" fmla="*/ 87934 w 152726"/>
                <a:gd name="connsiteY5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726" h="195873">
                  <a:moveTo>
                    <a:pt x="39589" y="195873"/>
                  </a:moveTo>
                  <a:lnTo>
                    <a:pt x="0" y="122219"/>
                  </a:lnTo>
                  <a:lnTo>
                    <a:pt x="101089" y="0"/>
                  </a:lnTo>
                  <a:lnTo>
                    <a:pt x="152726" y="0"/>
                  </a:lnTo>
                  <a:lnTo>
                    <a:pt x="152726" y="55323"/>
                  </a:lnTo>
                  <a:lnTo>
                    <a:pt x="87934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CB9A2237-374C-411A-AB62-0191ED80FFE2}"/>
                </a:ext>
              </a:extLst>
            </p:cNvPr>
            <p:cNvSpPr/>
            <p:nvPr/>
          </p:nvSpPr>
          <p:spPr>
            <a:xfrm rot="8716295">
              <a:off x="534441" y="1654353"/>
              <a:ext cx="262864" cy="103234"/>
            </a:xfrm>
            <a:custGeom>
              <a:avLst/>
              <a:gdLst>
                <a:gd name="connsiteX0" fmla="*/ 0 w 262864"/>
                <a:gd name="connsiteY0" fmla="*/ 75341 h 103234"/>
                <a:gd name="connsiteX1" fmla="*/ 62316 w 262864"/>
                <a:gd name="connsiteY1" fmla="*/ 0 h 103234"/>
                <a:gd name="connsiteX2" fmla="*/ 65768 w 262864"/>
                <a:gd name="connsiteY2" fmla="*/ 14220 h 103234"/>
                <a:gd name="connsiteX3" fmla="*/ 136369 w 262864"/>
                <a:gd name="connsiteY3" fmla="*/ 53051 h 103234"/>
                <a:gd name="connsiteX4" fmla="*/ 189321 w 262864"/>
                <a:gd name="connsiteY4" fmla="*/ 43637 h 103234"/>
                <a:gd name="connsiteX5" fmla="*/ 261688 w 262864"/>
                <a:gd name="connsiteY5" fmla="*/ 14220 h 103234"/>
                <a:gd name="connsiteX6" fmla="*/ 262864 w 262864"/>
                <a:gd name="connsiteY6" fmla="*/ 21868 h 103234"/>
                <a:gd name="connsiteX7" fmla="*/ 262864 w 262864"/>
                <a:gd name="connsiteY7" fmla="*/ 27752 h 103234"/>
                <a:gd name="connsiteX8" fmla="*/ 69887 w 262864"/>
                <a:gd name="connsiteY8" fmla="*/ 103060 h 103234"/>
                <a:gd name="connsiteX9" fmla="*/ 30615 w 262864"/>
                <a:gd name="connsiteY9" fmla="*/ 96294 h 103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2864" h="103234">
                  <a:moveTo>
                    <a:pt x="0" y="75341"/>
                  </a:moveTo>
                  <a:lnTo>
                    <a:pt x="62316" y="0"/>
                  </a:lnTo>
                  <a:lnTo>
                    <a:pt x="65768" y="14220"/>
                  </a:lnTo>
                  <a:cubicBezTo>
                    <a:pt x="75182" y="40107"/>
                    <a:pt x="99304" y="53051"/>
                    <a:pt x="136369" y="53051"/>
                  </a:cubicBezTo>
                  <a:cubicBezTo>
                    <a:pt x="154609" y="52462"/>
                    <a:pt x="172259" y="48932"/>
                    <a:pt x="189321" y="43637"/>
                  </a:cubicBezTo>
                  <a:cubicBezTo>
                    <a:pt x="214031" y="35988"/>
                    <a:pt x="238154" y="25987"/>
                    <a:pt x="261688" y="14220"/>
                  </a:cubicBezTo>
                  <a:cubicBezTo>
                    <a:pt x="262276" y="16573"/>
                    <a:pt x="262864" y="19515"/>
                    <a:pt x="262864" y="21868"/>
                  </a:cubicBezTo>
                  <a:lnTo>
                    <a:pt x="262864" y="27752"/>
                  </a:lnTo>
                  <a:cubicBezTo>
                    <a:pt x="200500" y="81291"/>
                    <a:pt x="118719" y="100119"/>
                    <a:pt x="69887" y="103060"/>
                  </a:cubicBezTo>
                  <a:cubicBezTo>
                    <a:pt x="56355" y="103943"/>
                    <a:pt x="42970" y="101442"/>
                    <a:pt x="30615" y="9629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8F8A3734-3F77-44C7-9A38-570198540CBC}"/>
                </a:ext>
              </a:extLst>
            </p:cNvPr>
            <p:cNvSpPr/>
            <p:nvPr/>
          </p:nvSpPr>
          <p:spPr>
            <a:xfrm rot="8716295">
              <a:off x="632719" y="1232432"/>
              <a:ext cx="121558" cy="232388"/>
            </a:xfrm>
            <a:custGeom>
              <a:avLst/>
              <a:gdLst>
                <a:gd name="connsiteX0" fmla="*/ 60499 w 121558"/>
                <a:gd name="connsiteY0" fmla="*/ 232388 h 232388"/>
                <a:gd name="connsiteX1" fmla="*/ 60499 w 121558"/>
                <a:gd name="connsiteY1" fmla="*/ 69717 h 232388"/>
                <a:gd name="connsiteX2" fmla="*/ 60499 w 121558"/>
                <a:gd name="connsiteY2" fmla="*/ 65615 h 232388"/>
                <a:gd name="connsiteX3" fmla="*/ 39995 w 121558"/>
                <a:gd name="connsiteY3" fmla="*/ 50123 h 232388"/>
                <a:gd name="connsiteX4" fmla="*/ 0 w 121558"/>
                <a:gd name="connsiteY4" fmla="*/ 50123 h 232388"/>
                <a:gd name="connsiteX5" fmla="*/ 41457 w 121558"/>
                <a:gd name="connsiteY5" fmla="*/ 0 h 232388"/>
                <a:gd name="connsiteX6" fmla="*/ 64601 w 121558"/>
                <a:gd name="connsiteY6" fmla="*/ 0 h 232388"/>
                <a:gd name="connsiteX7" fmla="*/ 121558 w 121558"/>
                <a:gd name="connsiteY7" fmla="*/ 50123 h 232388"/>
                <a:gd name="connsiteX8" fmla="*/ 121558 w 121558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558" h="232388">
                  <a:moveTo>
                    <a:pt x="60499" y="232388"/>
                  </a:moveTo>
                  <a:lnTo>
                    <a:pt x="60499" y="69717"/>
                  </a:lnTo>
                  <a:cubicBezTo>
                    <a:pt x="60499" y="68349"/>
                    <a:pt x="60499" y="66983"/>
                    <a:pt x="60499" y="65615"/>
                  </a:cubicBezTo>
                  <a:cubicBezTo>
                    <a:pt x="59133" y="55591"/>
                    <a:pt x="50019" y="48756"/>
                    <a:pt x="39995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64601" y="0"/>
                  </a:lnTo>
                  <a:cubicBezTo>
                    <a:pt x="101509" y="0"/>
                    <a:pt x="121558" y="15948"/>
                    <a:pt x="121558" y="50123"/>
                  </a:cubicBezTo>
                  <a:lnTo>
                    <a:pt x="121558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70856B7B-717B-4AEA-95A4-A1E79A999538}"/>
                </a:ext>
              </a:extLst>
            </p:cNvPr>
            <p:cNvSpPr/>
            <p:nvPr/>
          </p:nvSpPr>
          <p:spPr>
            <a:xfrm rot="8716295">
              <a:off x="763454" y="1474783"/>
              <a:ext cx="14143" cy="14319"/>
            </a:xfrm>
            <a:custGeom>
              <a:avLst/>
              <a:gdLst>
                <a:gd name="connsiteX0" fmla="*/ 0 w 14143"/>
                <a:gd name="connsiteY0" fmla="*/ 14319 h 14319"/>
                <a:gd name="connsiteX1" fmla="*/ 11843 w 14143"/>
                <a:gd name="connsiteY1" fmla="*/ 0 h 14319"/>
                <a:gd name="connsiteX2" fmla="*/ 14143 w 14143"/>
                <a:gd name="connsiteY2" fmla="*/ 7563 h 14319"/>
                <a:gd name="connsiteX3" fmla="*/ 14143 w 14143"/>
                <a:gd name="connsiteY3" fmla="*/ 13487 h 1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43" h="14319">
                  <a:moveTo>
                    <a:pt x="0" y="14319"/>
                  </a:moveTo>
                  <a:lnTo>
                    <a:pt x="11843" y="0"/>
                  </a:lnTo>
                  <a:lnTo>
                    <a:pt x="14143" y="7563"/>
                  </a:lnTo>
                  <a:lnTo>
                    <a:pt x="14143" y="1348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3E264A51-6081-4342-94AB-E5098D8BEE47}"/>
                </a:ext>
              </a:extLst>
            </p:cNvPr>
            <p:cNvSpPr/>
            <p:nvPr/>
          </p:nvSpPr>
          <p:spPr>
            <a:xfrm rot="8716295">
              <a:off x="672878" y="1171577"/>
              <a:ext cx="183964" cy="137618"/>
            </a:xfrm>
            <a:custGeom>
              <a:avLst/>
              <a:gdLst>
                <a:gd name="connsiteX0" fmla="*/ 0 w 183964"/>
                <a:gd name="connsiteY0" fmla="*/ 137618 h 137618"/>
                <a:gd name="connsiteX1" fmla="*/ 53346 w 183964"/>
                <a:gd name="connsiteY1" fmla="*/ 73121 h 137618"/>
                <a:gd name="connsiteX2" fmla="*/ 101034 w 183964"/>
                <a:gd name="connsiteY2" fmla="*/ 28251 h 137618"/>
                <a:gd name="connsiteX3" fmla="*/ 155713 w 183964"/>
                <a:gd name="connsiteY3" fmla="*/ 0 h 137618"/>
                <a:gd name="connsiteX4" fmla="*/ 183964 w 183964"/>
                <a:gd name="connsiteY4" fmla="*/ 33719 h 137618"/>
                <a:gd name="connsiteX5" fmla="*/ 157536 w 183964"/>
                <a:gd name="connsiteY5" fmla="*/ 69261 h 137618"/>
                <a:gd name="connsiteX6" fmla="*/ 157991 w 183964"/>
                <a:gd name="connsiteY6" fmla="*/ 69261 h 137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3964" h="137618">
                  <a:moveTo>
                    <a:pt x="0" y="137618"/>
                  </a:moveTo>
                  <a:lnTo>
                    <a:pt x="53346" y="73121"/>
                  </a:lnTo>
                  <a:lnTo>
                    <a:pt x="101034" y="28251"/>
                  </a:lnTo>
                  <a:cubicBezTo>
                    <a:pt x="114703" y="12303"/>
                    <a:pt x="134297" y="2278"/>
                    <a:pt x="155713" y="0"/>
                  </a:cubicBezTo>
                  <a:cubicBezTo>
                    <a:pt x="177585" y="0"/>
                    <a:pt x="183964" y="19138"/>
                    <a:pt x="183964" y="33719"/>
                  </a:cubicBezTo>
                  <a:cubicBezTo>
                    <a:pt x="182597" y="49667"/>
                    <a:pt x="172117" y="62881"/>
                    <a:pt x="157536" y="69261"/>
                  </a:cubicBezTo>
                  <a:lnTo>
                    <a:pt x="157991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03D4C536-74A8-424A-B4F4-647CD66813A6}"/>
                </a:ext>
              </a:extLst>
            </p:cNvPr>
            <p:cNvSpPr/>
            <p:nvPr/>
          </p:nvSpPr>
          <p:spPr>
            <a:xfrm rot="8716295">
              <a:off x="519479" y="13148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6C726A65-5764-428F-B78B-B207E19CC8A7}"/>
                </a:ext>
              </a:extLst>
            </p:cNvPr>
            <p:cNvSpPr/>
            <p:nvPr/>
          </p:nvSpPr>
          <p:spPr>
            <a:xfrm rot="8716295">
              <a:off x="394576" y="11061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B057F75B-3923-494B-B65B-A96E682E21D4}"/>
                </a:ext>
              </a:extLst>
            </p:cNvPr>
            <p:cNvSpPr/>
            <p:nvPr/>
          </p:nvSpPr>
          <p:spPr>
            <a:xfrm rot="8716295">
              <a:off x="382524" y="96739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B57FA1DB-CF40-4C3B-8603-B0C589DE9032}"/>
                </a:ext>
              </a:extLst>
            </p:cNvPr>
            <p:cNvSpPr/>
            <p:nvPr/>
          </p:nvSpPr>
          <p:spPr>
            <a:xfrm rot="8716295">
              <a:off x="609657" y="135579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8AA6873E-3CFC-4928-9C0D-5E1C199A6A43}"/>
                </a:ext>
              </a:extLst>
            </p:cNvPr>
            <p:cNvSpPr/>
            <p:nvPr/>
          </p:nvSpPr>
          <p:spPr>
            <a:xfrm rot="8716295">
              <a:off x="683426" y="869567"/>
              <a:ext cx="156000" cy="195873"/>
            </a:xfrm>
            <a:custGeom>
              <a:avLst/>
              <a:gdLst>
                <a:gd name="connsiteX0" fmla="*/ 42863 w 156000"/>
                <a:gd name="connsiteY0" fmla="*/ 195873 h 195873"/>
                <a:gd name="connsiteX1" fmla="*/ 0 w 156000"/>
                <a:gd name="connsiteY1" fmla="*/ 116129 h 195873"/>
                <a:gd name="connsiteX2" fmla="*/ 5100 w 156000"/>
                <a:gd name="connsiteY2" fmla="*/ 101988 h 195873"/>
                <a:gd name="connsiteX3" fmla="*/ 89456 w 156000"/>
                <a:gd name="connsiteY3" fmla="*/ 0 h 195873"/>
                <a:gd name="connsiteX4" fmla="*/ 156000 w 156000"/>
                <a:gd name="connsiteY4" fmla="*/ 0 h 195873"/>
                <a:gd name="connsiteX5" fmla="*/ 156000 w 156000"/>
                <a:gd name="connsiteY5" fmla="*/ 55323 h 195873"/>
                <a:gd name="connsiteX6" fmla="*/ 91208 w 156000"/>
                <a:gd name="connsiteY6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000" h="195873">
                  <a:moveTo>
                    <a:pt x="42863" y="195873"/>
                  </a:moveTo>
                  <a:lnTo>
                    <a:pt x="0" y="116129"/>
                  </a:lnTo>
                  <a:lnTo>
                    <a:pt x="5100" y="101988"/>
                  </a:lnTo>
                  <a:lnTo>
                    <a:pt x="89456" y="0"/>
                  </a:lnTo>
                  <a:lnTo>
                    <a:pt x="156000" y="0"/>
                  </a:lnTo>
                  <a:lnTo>
                    <a:pt x="156000" y="55323"/>
                  </a:lnTo>
                  <a:lnTo>
                    <a:pt x="91208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0609DC7B-52A5-4494-9388-1386F1B7ECA0}"/>
                </a:ext>
              </a:extLst>
            </p:cNvPr>
            <p:cNvSpPr/>
            <p:nvPr/>
          </p:nvSpPr>
          <p:spPr>
            <a:xfrm rot="8716295">
              <a:off x="657305" y="95604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FA9B5438-F371-4C5C-851A-CA35F035D933}"/>
                </a:ext>
              </a:extLst>
            </p:cNvPr>
            <p:cNvSpPr/>
            <p:nvPr/>
          </p:nvSpPr>
          <p:spPr>
            <a:xfrm rot="8716295">
              <a:off x="412774" y="56424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ED2997EF-2C09-4DA3-BB88-8DA5032A40C8}"/>
                </a:ext>
              </a:extLst>
            </p:cNvPr>
            <p:cNvSpPr/>
            <p:nvPr/>
          </p:nvSpPr>
          <p:spPr>
            <a:xfrm rot="8716295">
              <a:off x="502166" y="59348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DBD136C4-820E-4184-B91F-ED5B5690DC24}"/>
                </a:ext>
              </a:extLst>
            </p:cNvPr>
            <p:cNvSpPr/>
            <p:nvPr/>
          </p:nvSpPr>
          <p:spPr>
            <a:xfrm rot="8716295">
              <a:off x="457316" y="50720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8BD8CCA9-A2C8-4634-B0CF-620A635CE67A}"/>
                </a:ext>
              </a:extLst>
            </p:cNvPr>
            <p:cNvSpPr/>
            <p:nvPr/>
          </p:nvSpPr>
          <p:spPr>
            <a:xfrm rot="8716295">
              <a:off x="300540" y="65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33B24AF7-29F7-4408-AE25-97A38660E784}"/>
                </a:ext>
              </a:extLst>
            </p:cNvPr>
            <p:cNvSpPr/>
            <p:nvPr/>
          </p:nvSpPr>
          <p:spPr>
            <a:xfrm rot="8716295">
              <a:off x="175637" y="44411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506A4C62-4148-4841-838F-A205F53AD573}"/>
                </a:ext>
              </a:extLst>
            </p:cNvPr>
            <p:cNvSpPr/>
            <p:nvPr/>
          </p:nvSpPr>
          <p:spPr>
            <a:xfrm rot="8716295">
              <a:off x="163585" y="30533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1C1A41D0-65C3-44E5-8A29-ECCEBE983C62}"/>
                </a:ext>
              </a:extLst>
            </p:cNvPr>
            <p:cNvSpPr/>
            <p:nvPr/>
          </p:nvSpPr>
          <p:spPr>
            <a:xfrm rot="8716295">
              <a:off x="390718" y="69374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A93B008E-5902-4D55-9E1E-85F07149CD35}"/>
                </a:ext>
              </a:extLst>
            </p:cNvPr>
            <p:cNvSpPr/>
            <p:nvPr/>
          </p:nvSpPr>
          <p:spPr>
            <a:xfrm rot="8716295">
              <a:off x="702015" y="317459"/>
              <a:ext cx="131260" cy="232388"/>
            </a:xfrm>
            <a:custGeom>
              <a:avLst/>
              <a:gdLst>
                <a:gd name="connsiteX0" fmla="*/ 70201 w 131260"/>
                <a:gd name="connsiteY0" fmla="*/ 232388 h 232388"/>
                <a:gd name="connsiteX1" fmla="*/ 70201 w 131260"/>
                <a:gd name="connsiteY1" fmla="*/ 69717 h 232388"/>
                <a:gd name="connsiteX2" fmla="*/ 70201 w 131260"/>
                <a:gd name="connsiteY2" fmla="*/ 65615 h 232388"/>
                <a:gd name="connsiteX3" fmla="*/ 49697 w 131260"/>
                <a:gd name="connsiteY3" fmla="*/ 50123 h 232388"/>
                <a:gd name="connsiteX4" fmla="*/ 0 w 131260"/>
                <a:gd name="connsiteY4" fmla="*/ 50123 h 232388"/>
                <a:gd name="connsiteX5" fmla="*/ 41457 w 131260"/>
                <a:gd name="connsiteY5" fmla="*/ 0 h 232388"/>
                <a:gd name="connsiteX6" fmla="*/ 74303 w 131260"/>
                <a:gd name="connsiteY6" fmla="*/ 0 h 232388"/>
                <a:gd name="connsiteX7" fmla="*/ 131260 w 131260"/>
                <a:gd name="connsiteY7" fmla="*/ 50123 h 232388"/>
                <a:gd name="connsiteX8" fmla="*/ 131260 w 131260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1260" h="232388">
                  <a:moveTo>
                    <a:pt x="70201" y="232388"/>
                  </a:moveTo>
                  <a:lnTo>
                    <a:pt x="70201" y="69717"/>
                  </a:lnTo>
                  <a:cubicBezTo>
                    <a:pt x="70201" y="68349"/>
                    <a:pt x="70201" y="66983"/>
                    <a:pt x="70201" y="65615"/>
                  </a:cubicBezTo>
                  <a:cubicBezTo>
                    <a:pt x="68835" y="55591"/>
                    <a:pt x="59721" y="48756"/>
                    <a:pt x="49697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74303" y="0"/>
                  </a:lnTo>
                  <a:cubicBezTo>
                    <a:pt x="111211" y="0"/>
                    <a:pt x="131260" y="15948"/>
                    <a:pt x="131260" y="50123"/>
                  </a:cubicBezTo>
                  <a:lnTo>
                    <a:pt x="131260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8AA688E0-8B68-432D-AC4C-16B34E3E659F}"/>
                </a:ext>
              </a:extLst>
            </p:cNvPr>
            <p:cNvSpPr/>
            <p:nvPr/>
          </p:nvSpPr>
          <p:spPr>
            <a:xfrm rot="8716295">
              <a:off x="834978" y="558357"/>
              <a:ext cx="24341" cy="23495"/>
            </a:xfrm>
            <a:custGeom>
              <a:avLst/>
              <a:gdLst>
                <a:gd name="connsiteX0" fmla="*/ 0 w 24341"/>
                <a:gd name="connsiteY0" fmla="*/ 23495 h 23495"/>
                <a:gd name="connsiteX1" fmla="*/ 19433 w 24341"/>
                <a:gd name="connsiteY1" fmla="*/ 0 h 23495"/>
                <a:gd name="connsiteX2" fmla="*/ 24341 w 24341"/>
                <a:gd name="connsiteY2" fmla="*/ 16139 h 23495"/>
                <a:gd name="connsiteX3" fmla="*/ 24341 w 24341"/>
                <a:gd name="connsiteY3" fmla="*/ 22063 h 23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41" h="23495">
                  <a:moveTo>
                    <a:pt x="0" y="23495"/>
                  </a:moveTo>
                  <a:lnTo>
                    <a:pt x="19433" y="0"/>
                  </a:lnTo>
                  <a:lnTo>
                    <a:pt x="24341" y="16139"/>
                  </a:lnTo>
                  <a:lnTo>
                    <a:pt x="24341" y="220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672AA540-A579-4E8F-A234-CD30C1FF0A89}"/>
                </a:ext>
              </a:extLst>
            </p:cNvPr>
            <p:cNvSpPr/>
            <p:nvPr/>
          </p:nvSpPr>
          <p:spPr>
            <a:xfrm rot="8716295">
              <a:off x="589639" y="40263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C0BAD361-E55B-42F0-893F-014DB3986A10}"/>
                </a:ext>
              </a:extLst>
            </p:cNvPr>
            <p:cNvSpPr/>
            <p:nvPr/>
          </p:nvSpPr>
          <p:spPr>
            <a:xfrm rot="8716295">
              <a:off x="464737" y="19396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C7776BC0-23C7-4489-8F09-E129A530C0CC}"/>
                </a:ext>
              </a:extLst>
            </p:cNvPr>
            <p:cNvSpPr/>
            <p:nvPr/>
          </p:nvSpPr>
          <p:spPr>
            <a:xfrm rot="8716295">
              <a:off x="679817" y="44358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6EC00833-27CA-42E8-A3F4-264B72DC896E}"/>
                </a:ext>
              </a:extLst>
            </p:cNvPr>
            <p:cNvSpPr/>
            <p:nvPr/>
          </p:nvSpPr>
          <p:spPr>
            <a:xfrm rot="8716295">
              <a:off x="438366" y="29398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1FD6DD85-FCBC-4AED-9D6D-4125AB918B1C}"/>
                </a:ext>
              </a:extLst>
            </p:cNvPr>
            <p:cNvSpPr/>
            <p:nvPr/>
          </p:nvSpPr>
          <p:spPr>
            <a:xfrm rot="7484129">
              <a:off x="811674" y="658874"/>
              <a:ext cx="31078" cy="46141"/>
            </a:xfrm>
            <a:custGeom>
              <a:avLst/>
              <a:gdLst>
                <a:gd name="connsiteX0" fmla="*/ 15207 w 31078"/>
                <a:gd name="connsiteY0" fmla="*/ 46141 h 46141"/>
                <a:gd name="connsiteX1" fmla="*/ 0 w 31078"/>
                <a:gd name="connsiteY1" fmla="*/ 17849 h 46141"/>
                <a:gd name="connsiteX2" fmla="*/ 31078 w 31078"/>
                <a:gd name="connsiteY2" fmla="*/ 0 h 46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078" h="46141">
                  <a:moveTo>
                    <a:pt x="15207" y="46141"/>
                  </a:moveTo>
                  <a:lnTo>
                    <a:pt x="0" y="17849"/>
                  </a:lnTo>
                  <a:lnTo>
                    <a:pt x="3107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ED8E04A5-1CCB-474C-BB14-6861F24B92EE}"/>
                </a:ext>
              </a:extLst>
            </p:cNvPr>
            <p:cNvSpPr/>
            <p:nvPr/>
          </p:nvSpPr>
          <p:spPr>
            <a:xfrm rot="8716295">
              <a:off x="780102" y="336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D2589E01-70DB-4980-9D5E-15028C3BF442}"/>
                </a:ext>
              </a:extLst>
            </p:cNvPr>
            <p:cNvSpPr/>
            <p:nvPr/>
          </p:nvSpPr>
          <p:spPr>
            <a:xfrm rot="8716295">
              <a:off x="202348" y="-57106"/>
              <a:ext cx="142167" cy="186494"/>
            </a:xfrm>
            <a:custGeom>
              <a:avLst/>
              <a:gdLst>
                <a:gd name="connsiteX0" fmla="*/ 142167 w 142167"/>
                <a:gd name="connsiteY0" fmla="*/ 186494 h 186494"/>
                <a:gd name="connsiteX1" fmla="*/ 81108 w 142167"/>
                <a:gd name="connsiteY1" fmla="*/ 144170 h 186494"/>
                <a:gd name="connsiteX2" fmla="*/ 81108 w 142167"/>
                <a:gd name="connsiteY2" fmla="*/ 69717 h 186494"/>
                <a:gd name="connsiteX3" fmla="*/ 81108 w 142167"/>
                <a:gd name="connsiteY3" fmla="*/ 65615 h 186494"/>
                <a:gd name="connsiteX4" fmla="*/ 60603 w 142167"/>
                <a:gd name="connsiteY4" fmla="*/ 50123 h 186494"/>
                <a:gd name="connsiteX5" fmla="*/ 0 w 142167"/>
                <a:gd name="connsiteY5" fmla="*/ 50123 h 186494"/>
                <a:gd name="connsiteX6" fmla="*/ 0 w 142167"/>
                <a:gd name="connsiteY6" fmla="*/ 0 h 186494"/>
                <a:gd name="connsiteX7" fmla="*/ 85209 w 142167"/>
                <a:gd name="connsiteY7" fmla="*/ 0 h 186494"/>
                <a:gd name="connsiteX8" fmla="*/ 142167 w 142167"/>
                <a:gd name="connsiteY8" fmla="*/ 50123 h 186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86494">
                  <a:moveTo>
                    <a:pt x="142167" y="186494"/>
                  </a:moveTo>
                  <a:lnTo>
                    <a:pt x="81108" y="144170"/>
                  </a:lnTo>
                  <a:lnTo>
                    <a:pt x="81108" y="69717"/>
                  </a:lnTo>
                  <a:cubicBezTo>
                    <a:pt x="81108" y="68349"/>
                    <a:pt x="81108" y="66983"/>
                    <a:pt x="81108" y="65615"/>
                  </a:cubicBezTo>
                  <a:cubicBezTo>
                    <a:pt x="79741" y="55591"/>
                    <a:pt x="70628" y="48756"/>
                    <a:pt x="60603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2AEF8F7A-52DD-4323-9058-8F5D8BF7C257}"/>
                </a:ext>
              </a:extLst>
            </p:cNvPr>
            <p:cNvSpPr/>
            <p:nvPr/>
          </p:nvSpPr>
          <p:spPr>
            <a:xfrm rot="8716295">
              <a:off x="298766" y="-5395"/>
              <a:ext cx="260639" cy="180054"/>
            </a:xfrm>
            <a:custGeom>
              <a:avLst/>
              <a:gdLst>
                <a:gd name="connsiteX0" fmla="*/ 111638 w 260639"/>
                <a:gd name="connsiteY0" fmla="*/ 180054 h 180054"/>
                <a:gd name="connsiteX1" fmla="*/ 51490 w 260639"/>
                <a:gd name="connsiteY1" fmla="*/ 138362 h 180054"/>
                <a:gd name="connsiteX2" fmla="*/ 51490 w 260639"/>
                <a:gd name="connsiteY2" fmla="*/ 45624 h 180054"/>
                <a:gd name="connsiteX3" fmla="*/ 0 w 260639"/>
                <a:gd name="connsiteY3" fmla="*/ 45624 h 180054"/>
                <a:gd name="connsiteX4" fmla="*/ 0 w 260639"/>
                <a:gd name="connsiteY4" fmla="*/ 1425 h 180054"/>
                <a:gd name="connsiteX5" fmla="*/ 104802 w 260639"/>
                <a:gd name="connsiteY5" fmla="*/ 1425 h 180054"/>
                <a:gd name="connsiteX6" fmla="*/ 104802 w 260639"/>
                <a:gd name="connsiteY6" fmla="*/ 75242 h 180054"/>
                <a:gd name="connsiteX7" fmla="*/ 106169 w 260639"/>
                <a:gd name="connsiteY7" fmla="*/ 75242 h 180054"/>
                <a:gd name="connsiteX8" fmla="*/ 154014 w 260639"/>
                <a:gd name="connsiteY8" fmla="*/ 5981 h 180054"/>
                <a:gd name="connsiteX9" fmla="*/ 185455 w 260639"/>
                <a:gd name="connsiteY9" fmla="*/ 57 h 180054"/>
                <a:gd name="connsiteX10" fmla="*/ 260639 w 260639"/>
                <a:gd name="connsiteY10" fmla="*/ 88456 h 180054"/>
                <a:gd name="connsiteX11" fmla="*/ 260639 w 260639"/>
                <a:gd name="connsiteY11" fmla="*/ 94380 h 180054"/>
                <a:gd name="connsiteX12" fmla="*/ 198669 w 260639"/>
                <a:gd name="connsiteY12" fmla="*/ 98025 h 180054"/>
                <a:gd name="connsiteX13" fmla="*/ 198669 w 260639"/>
                <a:gd name="connsiteY13" fmla="*/ 81621 h 180054"/>
                <a:gd name="connsiteX14" fmla="*/ 164950 w 260639"/>
                <a:gd name="connsiteY14" fmla="*/ 40156 h 180054"/>
                <a:gd name="connsiteX15" fmla="*/ 111638 w 260639"/>
                <a:gd name="connsiteY15" fmla="*/ 127643 h 180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0639" h="180054">
                  <a:moveTo>
                    <a:pt x="111638" y="180054"/>
                  </a:moveTo>
                  <a:lnTo>
                    <a:pt x="51490" y="138362"/>
                  </a:ln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4EA5F182-B436-49C8-8170-C1AD6D2F32D5}"/>
                </a:ext>
              </a:extLst>
            </p:cNvPr>
            <p:cNvSpPr/>
            <p:nvPr/>
          </p:nvSpPr>
          <p:spPr>
            <a:xfrm rot="8716295">
              <a:off x="276903" y="-12823"/>
              <a:ext cx="36272" cy="27982"/>
            </a:xfrm>
            <a:custGeom>
              <a:avLst/>
              <a:gdLst>
                <a:gd name="connsiteX0" fmla="*/ 36272 w 36272"/>
                <a:gd name="connsiteY0" fmla="*/ 27982 h 27982"/>
                <a:gd name="connsiteX1" fmla="*/ 0 w 36272"/>
                <a:gd name="connsiteY1" fmla="*/ 2840 h 27982"/>
                <a:gd name="connsiteX2" fmla="*/ 9543 w 36272"/>
                <a:gd name="connsiteY2" fmla="*/ 0 h 27982"/>
                <a:gd name="connsiteX3" fmla="*/ 31871 w 36272"/>
                <a:gd name="connsiteY3" fmla="*/ 11392 h 27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272" h="27982">
                  <a:moveTo>
                    <a:pt x="36272" y="27982"/>
                  </a:moveTo>
                  <a:lnTo>
                    <a:pt x="0" y="2840"/>
                  </a:lnTo>
                  <a:lnTo>
                    <a:pt x="9543" y="0"/>
                  </a:lnTo>
                  <a:cubicBezTo>
                    <a:pt x="20479" y="0"/>
                    <a:pt x="27542" y="4784"/>
                    <a:pt x="31871" y="113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F421218E-0235-4F72-A3A0-C0DE2686EE65}"/>
                </a:ext>
              </a:extLst>
            </p:cNvPr>
            <p:cNvSpPr/>
            <p:nvPr/>
          </p:nvSpPr>
          <p:spPr>
            <a:xfrm rot="8716295">
              <a:off x="74640" y="-9665"/>
              <a:ext cx="58068" cy="54772"/>
            </a:xfrm>
            <a:custGeom>
              <a:avLst/>
              <a:gdLst>
                <a:gd name="connsiteX0" fmla="*/ 37436 w 58068"/>
                <a:gd name="connsiteY0" fmla="*/ 54772 h 54772"/>
                <a:gd name="connsiteX1" fmla="*/ 0 w 58068"/>
                <a:gd name="connsiteY1" fmla="*/ 28823 h 54772"/>
                <a:gd name="connsiteX2" fmla="*/ 8515 w 58068"/>
                <a:gd name="connsiteY2" fmla="*/ 8658 h 54772"/>
                <a:gd name="connsiteX3" fmla="*/ 29020 w 58068"/>
                <a:gd name="connsiteY3" fmla="*/ 0 h 54772"/>
                <a:gd name="connsiteX4" fmla="*/ 49525 w 58068"/>
                <a:gd name="connsiteY4" fmla="*/ 8658 h 54772"/>
                <a:gd name="connsiteX5" fmla="*/ 49525 w 58068"/>
                <a:gd name="connsiteY5" fmla="*/ 49668 h 5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068" h="54772">
                  <a:moveTo>
                    <a:pt x="37436" y="54772"/>
                  </a:moveTo>
                  <a:lnTo>
                    <a:pt x="0" y="28823"/>
                  </a:lnTo>
                  <a:lnTo>
                    <a:pt x="8515" y="8658"/>
                  </a:lnTo>
                  <a:cubicBezTo>
                    <a:pt x="13983" y="3190"/>
                    <a:pt x="21273" y="0"/>
                    <a:pt x="29020" y="0"/>
                  </a:cubicBezTo>
                  <a:cubicBezTo>
                    <a:pt x="36766" y="0"/>
                    <a:pt x="44057" y="3190"/>
                    <a:pt x="49525" y="8658"/>
                  </a:cubicBezTo>
                  <a:cubicBezTo>
                    <a:pt x="60916" y="19594"/>
                    <a:pt x="60916" y="38276"/>
                    <a:pt x="49525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CE77A4A5-0ECD-4D80-A03D-A10DC965EA39}"/>
                </a:ext>
              </a:extLst>
            </p:cNvPr>
            <p:cNvSpPr/>
            <p:nvPr/>
          </p:nvSpPr>
          <p:spPr>
            <a:xfrm rot="8716295">
              <a:off x="13802" y="-10406"/>
              <a:ext cx="30027" cy="20814"/>
            </a:xfrm>
            <a:custGeom>
              <a:avLst/>
              <a:gdLst>
                <a:gd name="connsiteX0" fmla="*/ 30027 w 30027"/>
                <a:gd name="connsiteY0" fmla="*/ 20814 h 20814"/>
                <a:gd name="connsiteX1" fmla="*/ 0 w 30027"/>
                <a:gd name="connsiteY1" fmla="*/ 0 h 20814"/>
                <a:gd name="connsiteX2" fmla="*/ 30027 w 30027"/>
                <a:gd name="connsiteY2" fmla="*/ 0 h 20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027" h="20814">
                  <a:moveTo>
                    <a:pt x="30027" y="20814"/>
                  </a:moveTo>
                  <a:lnTo>
                    <a:pt x="0" y="0"/>
                  </a:lnTo>
                  <a:lnTo>
                    <a:pt x="3002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403799C4-A408-4325-A92C-9E809B8BB4D4}"/>
                </a:ext>
              </a:extLst>
            </p:cNvPr>
            <p:cNvSpPr/>
            <p:nvPr/>
          </p:nvSpPr>
          <p:spPr>
            <a:xfrm rot="8716295">
              <a:off x="168048" y="3032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01FB23B7-9B20-4D2E-83CD-6A7A68C9BDC4}"/>
                </a:ext>
              </a:extLst>
            </p:cNvPr>
            <p:cNvSpPr/>
            <p:nvPr/>
          </p:nvSpPr>
          <p:spPr>
            <a:xfrm rot="7484129">
              <a:off x="562078" y="-284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ACF32F9A-0344-4E5B-A601-5E2A5DCEE676}"/>
                </a:ext>
              </a:extLst>
            </p:cNvPr>
            <p:cNvSpPr/>
            <p:nvPr/>
          </p:nvSpPr>
          <p:spPr>
            <a:xfrm rot="13089394">
              <a:off x="767127" y="-2787"/>
              <a:ext cx="149688" cy="301067"/>
            </a:xfrm>
            <a:custGeom>
              <a:avLst/>
              <a:gdLst>
                <a:gd name="connsiteX0" fmla="*/ 149688 w 149688"/>
                <a:gd name="connsiteY0" fmla="*/ 279622 h 301067"/>
                <a:gd name="connsiteX1" fmla="*/ 122393 w 149688"/>
                <a:gd name="connsiteY1" fmla="*/ 301067 h 301067"/>
                <a:gd name="connsiteX2" fmla="*/ 0 w 149688"/>
                <a:gd name="connsiteY2" fmla="*/ 114672 h 301067"/>
                <a:gd name="connsiteX3" fmla="*/ 0 w 149688"/>
                <a:gd name="connsiteY3" fmla="*/ 38074 h 301067"/>
                <a:gd name="connsiteX4" fmla="*/ 73388 w 149688"/>
                <a:gd name="connsiteY4" fmla="*/ 0 h 301067"/>
                <a:gd name="connsiteX5" fmla="*/ 74492 w 149688"/>
                <a:gd name="connsiteY5" fmla="*/ 153950 h 301067"/>
                <a:gd name="connsiteX6" fmla="*/ 87734 w 149688"/>
                <a:gd name="connsiteY6" fmla="*/ 245547 h 301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9688" h="301067">
                  <a:moveTo>
                    <a:pt x="149688" y="279622"/>
                  </a:moveTo>
                  <a:lnTo>
                    <a:pt x="122393" y="301067"/>
                  </a:lnTo>
                  <a:lnTo>
                    <a:pt x="0" y="114672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2836" y="184850"/>
                    <a:pt x="77802" y="216302"/>
                    <a:pt x="87734" y="2455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9B540A9C-752F-4966-AE11-E0DA13D5676A}"/>
                </a:ext>
              </a:extLst>
            </p:cNvPr>
            <p:cNvSpPr/>
            <p:nvPr/>
          </p:nvSpPr>
          <p:spPr>
            <a:xfrm rot="8716295">
              <a:off x="212141" y="304502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27352092-3B53-44B3-ABC2-E6A268F28524}"/>
                </a:ext>
              </a:extLst>
            </p:cNvPr>
            <p:cNvSpPr/>
            <p:nvPr/>
          </p:nvSpPr>
          <p:spPr>
            <a:xfrm rot="8716295">
              <a:off x="301533" y="307427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1A1EEC7B-8896-4B95-9A1A-B0F21E6748C1}"/>
                </a:ext>
              </a:extLst>
            </p:cNvPr>
            <p:cNvSpPr/>
            <p:nvPr/>
          </p:nvSpPr>
          <p:spPr>
            <a:xfrm rot="8716295">
              <a:off x="256683" y="298799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4FA7D1EC-A217-4326-8F37-649F5ADE83EB}"/>
                </a:ext>
              </a:extLst>
            </p:cNvPr>
            <p:cNvSpPr/>
            <p:nvPr/>
          </p:nvSpPr>
          <p:spPr>
            <a:xfrm rot="8716295">
              <a:off x="99907" y="31335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33C99497-0B48-43C7-BD1A-0279E44CA612}"/>
                </a:ext>
              </a:extLst>
            </p:cNvPr>
            <p:cNvSpPr/>
            <p:nvPr/>
          </p:nvSpPr>
          <p:spPr>
            <a:xfrm rot="8716295">
              <a:off x="-24996" y="29248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A93858F0-0010-48FE-BF9C-AFE6080030D7}"/>
                </a:ext>
              </a:extLst>
            </p:cNvPr>
            <p:cNvSpPr/>
            <p:nvPr/>
          </p:nvSpPr>
          <p:spPr>
            <a:xfrm rot="8716295">
              <a:off x="51899" y="2754602"/>
              <a:ext cx="189488" cy="350829"/>
            </a:xfrm>
            <a:custGeom>
              <a:avLst/>
              <a:gdLst>
                <a:gd name="connsiteX0" fmla="*/ 25299 w 189488"/>
                <a:gd name="connsiteY0" fmla="*/ 321238 h 350829"/>
                <a:gd name="connsiteX1" fmla="*/ 0 w 189488"/>
                <a:gd name="connsiteY1" fmla="*/ 220042 h 350829"/>
                <a:gd name="connsiteX2" fmla="*/ 0 w 189488"/>
                <a:gd name="connsiteY2" fmla="*/ 40596 h 350829"/>
                <a:gd name="connsiteX3" fmla="*/ 78250 w 189488"/>
                <a:gd name="connsiteY3" fmla="*/ 0 h 350829"/>
                <a:gd name="connsiteX4" fmla="*/ 79427 w 189488"/>
                <a:gd name="connsiteY4" fmla="*/ 164149 h 350829"/>
                <a:gd name="connsiteX5" fmla="*/ 93547 w 189488"/>
                <a:gd name="connsiteY5" fmla="*/ 261815 h 350829"/>
                <a:gd name="connsiteX6" fmla="*/ 164148 w 189488"/>
                <a:gd name="connsiteY6" fmla="*/ 300646 h 350829"/>
                <a:gd name="connsiteX7" fmla="*/ 189488 w 189488"/>
                <a:gd name="connsiteY7" fmla="*/ 296141 h 350829"/>
                <a:gd name="connsiteX8" fmla="*/ 160617 w 189488"/>
                <a:gd name="connsiteY8" fmla="*/ 337791 h 350829"/>
                <a:gd name="connsiteX9" fmla="*/ 97666 w 189488"/>
                <a:gd name="connsiteY9" fmla="*/ 350655 h 350829"/>
                <a:gd name="connsiteX10" fmla="*/ 25299 w 189488"/>
                <a:gd name="connsiteY10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9488" h="350829">
                  <a:moveTo>
                    <a:pt x="25299" y="321238"/>
                  </a:moveTo>
                  <a:cubicBezTo>
                    <a:pt x="5295" y="301823"/>
                    <a:pt x="0" y="268286"/>
                    <a:pt x="0" y="220042"/>
                  </a:cubicBez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8" y="300646"/>
                  </a:cubicBezTo>
                  <a:lnTo>
                    <a:pt x="189488" y="296141"/>
                  </a:lnTo>
                  <a:lnTo>
                    <a:pt x="160617" y="337791"/>
                  </a:lnTo>
                  <a:lnTo>
                    <a:pt x="97666" y="350655"/>
                  </a:ln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CAFD1C73-118C-42A8-A6D1-F7527C0F98CE}"/>
                </a:ext>
              </a:extLst>
            </p:cNvPr>
            <p:cNvSpPr/>
            <p:nvPr/>
          </p:nvSpPr>
          <p:spPr>
            <a:xfrm rot="8716295">
              <a:off x="190085" y="317452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E7F4D18B-0BB2-451B-AA77-2B268E142A91}"/>
                </a:ext>
              </a:extLst>
            </p:cNvPr>
            <p:cNvSpPr/>
            <p:nvPr/>
          </p:nvSpPr>
          <p:spPr>
            <a:xfrm rot="8716295">
              <a:off x="502599" y="2802136"/>
              <a:ext cx="117588" cy="232388"/>
            </a:xfrm>
            <a:custGeom>
              <a:avLst/>
              <a:gdLst>
                <a:gd name="connsiteX0" fmla="*/ 56529 w 117588"/>
                <a:gd name="connsiteY0" fmla="*/ 232388 h 232388"/>
                <a:gd name="connsiteX1" fmla="*/ 56529 w 117588"/>
                <a:gd name="connsiteY1" fmla="*/ 69717 h 232388"/>
                <a:gd name="connsiteX2" fmla="*/ 56529 w 117588"/>
                <a:gd name="connsiteY2" fmla="*/ 65615 h 232388"/>
                <a:gd name="connsiteX3" fmla="*/ 36025 w 117588"/>
                <a:gd name="connsiteY3" fmla="*/ 50123 h 232388"/>
                <a:gd name="connsiteX4" fmla="*/ 0 w 117588"/>
                <a:gd name="connsiteY4" fmla="*/ 50123 h 232388"/>
                <a:gd name="connsiteX5" fmla="*/ 41458 w 117588"/>
                <a:gd name="connsiteY5" fmla="*/ 0 h 232388"/>
                <a:gd name="connsiteX6" fmla="*/ 60630 w 117588"/>
                <a:gd name="connsiteY6" fmla="*/ 0 h 232388"/>
                <a:gd name="connsiteX7" fmla="*/ 117588 w 117588"/>
                <a:gd name="connsiteY7" fmla="*/ 50123 h 232388"/>
                <a:gd name="connsiteX8" fmla="*/ 117588 w 117588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7588" h="232388">
                  <a:moveTo>
                    <a:pt x="56529" y="232388"/>
                  </a:moveTo>
                  <a:lnTo>
                    <a:pt x="56529" y="69717"/>
                  </a:lnTo>
                  <a:cubicBezTo>
                    <a:pt x="56529" y="68349"/>
                    <a:pt x="56529" y="66983"/>
                    <a:pt x="56529" y="65615"/>
                  </a:cubicBezTo>
                  <a:cubicBezTo>
                    <a:pt x="55163" y="55591"/>
                    <a:pt x="46049" y="48756"/>
                    <a:pt x="36025" y="50123"/>
                  </a:cubicBezTo>
                  <a:lnTo>
                    <a:pt x="0" y="50123"/>
                  </a:lnTo>
                  <a:lnTo>
                    <a:pt x="41458" y="0"/>
                  </a:lnTo>
                  <a:lnTo>
                    <a:pt x="60630" y="0"/>
                  </a:lnTo>
                  <a:cubicBezTo>
                    <a:pt x="97539" y="0"/>
                    <a:pt x="117588" y="15948"/>
                    <a:pt x="117588" y="50123"/>
                  </a:cubicBezTo>
                  <a:lnTo>
                    <a:pt x="117588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6F67DBA9-AD6C-4780-AA17-98BCE9381DC5}"/>
                </a:ext>
              </a:extLst>
            </p:cNvPr>
            <p:cNvSpPr/>
            <p:nvPr/>
          </p:nvSpPr>
          <p:spPr>
            <a:xfrm rot="8716295">
              <a:off x="389006" y="2883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60CE2A9A-219E-42C9-9F53-FED763C7A971}"/>
                </a:ext>
              </a:extLst>
            </p:cNvPr>
            <p:cNvSpPr/>
            <p:nvPr/>
          </p:nvSpPr>
          <p:spPr>
            <a:xfrm rot="8716295">
              <a:off x="264104" y="267474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5F47A361-80F1-4C02-906B-845AB367B960}"/>
                </a:ext>
              </a:extLst>
            </p:cNvPr>
            <p:cNvSpPr/>
            <p:nvPr/>
          </p:nvSpPr>
          <p:spPr>
            <a:xfrm rot="8716295">
              <a:off x="479184" y="292437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2CC40EA3-7663-4B10-9112-24251EC60BEA}"/>
                </a:ext>
              </a:extLst>
            </p:cNvPr>
            <p:cNvSpPr/>
            <p:nvPr/>
          </p:nvSpPr>
          <p:spPr>
            <a:xfrm rot="8716295">
              <a:off x="237733" y="277477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96946020-930E-406D-ABEE-7096E7CB1426}"/>
                </a:ext>
              </a:extLst>
            </p:cNvPr>
            <p:cNvSpPr/>
            <p:nvPr/>
          </p:nvSpPr>
          <p:spPr>
            <a:xfrm rot="7484129">
              <a:off x="609980" y="3142825"/>
              <a:ext cx="20881" cy="31001"/>
            </a:xfrm>
            <a:custGeom>
              <a:avLst/>
              <a:gdLst>
                <a:gd name="connsiteX0" fmla="*/ 10218 w 20881"/>
                <a:gd name="connsiteY0" fmla="*/ 31001 h 31001"/>
                <a:gd name="connsiteX1" fmla="*/ 0 w 20881"/>
                <a:gd name="connsiteY1" fmla="*/ 11992 h 31001"/>
                <a:gd name="connsiteX2" fmla="*/ 20881 w 20881"/>
                <a:gd name="connsiteY2" fmla="*/ 0 h 31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881" h="31001">
                  <a:moveTo>
                    <a:pt x="10218" y="31001"/>
                  </a:moveTo>
                  <a:lnTo>
                    <a:pt x="0" y="11992"/>
                  </a:lnTo>
                  <a:lnTo>
                    <a:pt x="2088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9709EEED-4F73-41F3-A069-C965126CECA4}"/>
                </a:ext>
              </a:extLst>
            </p:cNvPr>
            <p:cNvSpPr/>
            <p:nvPr/>
          </p:nvSpPr>
          <p:spPr>
            <a:xfrm rot="8716295">
              <a:off x="579469" y="28172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AB7C8B58-13F0-4FCC-99DC-3B3AAD65E69B}"/>
                </a:ext>
              </a:extLst>
            </p:cNvPr>
            <p:cNvSpPr/>
            <p:nvPr/>
          </p:nvSpPr>
          <p:spPr>
            <a:xfrm rot="8716295">
              <a:off x="437995" y="3716235"/>
              <a:ext cx="102679" cy="232388"/>
            </a:xfrm>
            <a:custGeom>
              <a:avLst/>
              <a:gdLst>
                <a:gd name="connsiteX0" fmla="*/ 41620 w 102679"/>
                <a:gd name="connsiteY0" fmla="*/ 232388 h 232388"/>
                <a:gd name="connsiteX1" fmla="*/ 41620 w 102679"/>
                <a:gd name="connsiteY1" fmla="*/ 69717 h 232388"/>
                <a:gd name="connsiteX2" fmla="*/ 41620 w 102679"/>
                <a:gd name="connsiteY2" fmla="*/ 65615 h 232388"/>
                <a:gd name="connsiteX3" fmla="*/ 21116 w 102679"/>
                <a:gd name="connsiteY3" fmla="*/ 50123 h 232388"/>
                <a:gd name="connsiteX4" fmla="*/ 0 w 102679"/>
                <a:gd name="connsiteY4" fmla="*/ 50123 h 232388"/>
                <a:gd name="connsiteX5" fmla="*/ 41457 w 102679"/>
                <a:gd name="connsiteY5" fmla="*/ 0 h 232388"/>
                <a:gd name="connsiteX6" fmla="*/ 45721 w 102679"/>
                <a:gd name="connsiteY6" fmla="*/ 0 h 232388"/>
                <a:gd name="connsiteX7" fmla="*/ 102679 w 102679"/>
                <a:gd name="connsiteY7" fmla="*/ 50123 h 232388"/>
                <a:gd name="connsiteX8" fmla="*/ 102679 w 102679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2679" h="232388">
                  <a:moveTo>
                    <a:pt x="41620" y="232388"/>
                  </a:moveTo>
                  <a:lnTo>
                    <a:pt x="41620" y="69717"/>
                  </a:lnTo>
                  <a:cubicBezTo>
                    <a:pt x="41620" y="68349"/>
                    <a:pt x="41620" y="66983"/>
                    <a:pt x="41620" y="65615"/>
                  </a:cubicBezTo>
                  <a:cubicBezTo>
                    <a:pt x="40254" y="55591"/>
                    <a:pt x="31140" y="48756"/>
                    <a:pt x="21116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45721" y="0"/>
                  </a:lnTo>
                  <a:cubicBezTo>
                    <a:pt x="82630" y="0"/>
                    <a:pt x="102679" y="15948"/>
                    <a:pt x="102679" y="50123"/>
                  </a:cubicBezTo>
                  <a:lnTo>
                    <a:pt x="102679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9C4DC6CC-AFAA-4414-8BA6-D58CC891D657}"/>
                </a:ext>
              </a:extLst>
            </p:cNvPr>
            <p:cNvSpPr/>
            <p:nvPr/>
          </p:nvSpPr>
          <p:spPr>
            <a:xfrm rot="8716295">
              <a:off x="482715" y="3669965"/>
              <a:ext cx="154563" cy="124897"/>
            </a:xfrm>
            <a:custGeom>
              <a:avLst/>
              <a:gdLst>
                <a:gd name="connsiteX0" fmla="*/ 0 w 154563"/>
                <a:gd name="connsiteY0" fmla="*/ 124897 h 124897"/>
                <a:gd name="connsiteX1" fmla="*/ 95474 w 154563"/>
                <a:gd name="connsiteY1" fmla="*/ 9467 h 124897"/>
                <a:gd name="connsiteX2" fmla="*/ 96067 w 154563"/>
                <a:gd name="connsiteY2" fmla="*/ 9000 h 124897"/>
                <a:gd name="connsiteX3" fmla="*/ 126312 w 154563"/>
                <a:gd name="connsiteY3" fmla="*/ 0 h 124897"/>
                <a:gd name="connsiteX4" fmla="*/ 154563 w 154563"/>
                <a:gd name="connsiteY4" fmla="*/ 33719 h 124897"/>
                <a:gd name="connsiteX5" fmla="*/ 128135 w 154563"/>
                <a:gd name="connsiteY5" fmla="*/ 69261 h 124897"/>
                <a:gd name="connsiteX6" fmla="*/ 128590 w 154563"/>
                <a:gd name="connsiteY6" fmla="*/ 69261 h 12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4563" h="124897">
                  <a:moveTo>
                    <a:pt x="0" y="124897"/>
                  </a:moveTo>
                  <a:lnTo>
                    <a:pt x="95474" y="9467"/>
                  </a:lnTo>
                  <a:lnTo>
                    <a:pt x="96067" y="9000"/>
                  </a:lnTo>
                  <a:cubicBezTo>
                    <a:pt x="105351" y="4215"/>
                    <a:pt x="115604" y="1139"/>
                    <a:pt x="126312" y="0"/>
                  </a:cubicBezTo>
                  <a:cubicBezTo>
                    <a:pt x="148184" y="0"/>
                    <a:pt x="154563" y="19138"/>
                    <a:pt x="154563" y="33719"/>
                  </a:cubicBezTo>
                  <a:cubicBezTo>
                    <a:pt x="153196" y="49668"/>
                    <a:pt x="142715" y="62882"/>
                    <a:pt x="128135" y="69261"/>
                  </a:cubicBezTo>
                  <a:lnTo>
                    <a:pt x="128590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orme libre : forme 58">
              <a:extLst>
                <a:ext uri="{FF2B5EF4-FFF2-40B4-BE49-F238E27FC236}">
                  <a16:creationId xmlns:a16="http://schemas.microsoft.com/office/drawing/2014/main" id="{4EE0C0AC-519B-4FC6-8231-6D03F18E647C}"/>
                </a:ext>
              </a:extLst>
            </p:cNvPr>
            <p:cNvSpPr/>
            <p:nvPr/>
          </p:nvSpPr>
          <p:spPr>
            <a:xfrm rot="8716295">
              <a:off x="323074" y="379327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orme libre : forme 59">
              <a:extLst>
                <a:ext uri="{FF2B5EF4-FFF2-40B4-BE49-F238E27FC236}">
                  <a16:creationId xmlns:a16="http://schemas.microsoft.com/office/drawing/2014/main" id="{D6F59EA5-8316-4C20-AADC-7D706ECCBE6F}"/>
                </a:ext>
              </a:extLst>
            </p:cNvPr>
            <p:cNvSpPr/>
            <p:nvPr/>
          </p:nvSpPr>
          <p:spPr>
            <a:xfrm rot="8716295">
              <a:off x="198171" y="358459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orme libre : forme 60">
              <a:extLst>
                <a:ext uri="{FF2B5EF4-FFF2-40B4-BE49-F238E27FC236}">
                  <a16:creationId xmlns:a16="http://schemas.microsoft.com/office/drawing/2014/main" id="{B0440107-C1DF-4CF9-A961-BF836C4847FA}"/>
                </a:ext>
              </a:extLst>
            </p:cNvPr>
            <p:cNvSpPr/>
            <p:nvPr/>
          </p:nvSpPr>
          <p:spPr>
            <a:xfrm rot="8716295">
              <a:off x="186119" y="344581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orme libre : forme 61">
              <a:extLst>
                <a:ext uri="{FF2B5EF4-FFF2-40B4-BE49-F238E27FC236}">
                  <a16:creationId xmlns:a16="http://schemas.microsoft.com/office/drawing/2014/main" id="{FAD20847-20DA-4661-A963-D2C01E523D8E}"/>
                </a:ext>
              </a:extLst>
            </p:cNvPr>
            <p:cNvSpPr/>
            <p:nvPr/>
          </p:nvSpPr>
          <p:spPr>
            <a:xfrm rot="8716295">
              <a:off x="410218" y="3834716"/>
              <a:ext cx="103435" cy="219174"/>
            </a:xfrm>
            <a:custGeom>
              <a:avLst/>
              <a:gdLst>
                <a:gd name="connsiteX0" fmla="*/ 103435 w 103435"/>
                <a:gd name="connsiteY0" fmla="*/ 219174 h 219174"/>
                <a:gd name="connsiteX1" fmla="*/ 43288 w 103435"/>
                <a:gd name="connsiteY1" fmla="*/ 161305 h 219174"/>
                <a:gd name="connsiteX2" fmla="*/ 43288 w 103435"/>
                <a:gd name="connsiteY2" fmla="*/ 16404 h 219174"/>
                <a:gd name="connsiteX3" fmla="*/ 0 w 103435"/>
                <a:gd name="connsiteY3" fmla="*/ 16404 h 219174"/>
                <a:gd name="connsiteX4" fmla="*/ 0 w 103435"/>
                <a:gd name="connsiteY4" fmla="*/ 16028 h 219174"/>
                <a:gd name="connsiteX5" fmla="*/ 11583 w 103435"/>
                <a:gd name="connsiteY5" fmla="*/ 2023 h 219174"/>
                <a:gd name="connsiteX6" fmla="*/ 103435 w 103435"/>
                <a:gd name="connsiteY6" fmla="*/ 0 h 219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19174">
                  <a:moveTo>
                    <a:pt x="103435" y="219174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16028"/>
                  </a:lnTo>
                  <a:lnTo>
                    <a:pt x="11583" y="2023"/>
                  </a:lnTo>
                  <a:lnTo>
                    <a:pt x="10343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orme libre : forme 62">
              <a:extLst>
                <a:ext uri="{FF2B5EF4-FFF2-40B4-BE49-F238E27FC236}">
                  <a16:creationId xmlns:a16="http://schemas.microsoft.com/office/drawing/2014/main" id="{28D4D932-7CCD-4A1C-82BE-BDC6C863C34D}"/>
                </a:ext>
              </a:extLst>
            </p:cNvPr>
            <p:cNvSpPr/>
            <p:nvPr/>
          </p:nvSpPr>
          <p:spPr>
            <a:xfrm rot="8716295">
              <a:off x="487452" y="3349370"/>
              <a:ext cx="151162" cy="195873"/>
            </a:xfrm>
            <a:custGeom>
              <a:avLst/>
              <a:gdLst>
                <a:gd name="connsiteX0" fmla="*/ 38025 w 151162"/>
                <a:gd name="connsiteY0" fmla="*/ 195873 h 195873"/>
                <a:gd name="connsiteX1" fmla="*/ 0 w 151162"/>
                <a:gd name="connsiteY1" fmla="*/ 125130 h 195873"/>
                <a:gd name="connsiteX2" fmla="*/ 103497 w 151162"/>
                <a:gd name="connsiteY2" fmla="*/ 0 h 195873"/>
                <a:gd name="connsiteX3" fmla="*/ 151162 w 151162"/>
                <a:gd name="connsiteY3" fmla="*/ 0 h 195873"/>
                <a:gd name="connsiteX4" fmla="*/ 151162 w 151162"/>
                <a:gd name="connsiteY4" fmla="*/ 55323 h 195873"/>
                <a:gd name="connsiteX5" fmla="*/ 86370 w 151162"/>
                <a:gd name="connsiteY5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1162" h="195873">
                  <a:moveTo>
                    <a:pt x="38025" y="195873"/>
                  </a:moveTo>
                  <a:lnTo>
                    <a:pt x="0" y="125130"/>
                  </a:lnTo>
                  <a:lnTo>
                    <a:pt x="103497" y="0"/>
                  </a:lnTo>
                  <a:lnTo>
                    <a:pt x="151162" y="0"/>
                  </a:lnTo>
                  <a:lnTo>
                    <a:pt x="151162" y="55323"/>
                  </a:lnTo>
                  <a:lnTo>
                    <a:pt x="86370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orme libre : forme 63">
              <a:extLst>
                <a:ext uri="{FF2B5EF4-FFF2-40B4-BE49-F238E27FC236}">
                  <a16:creationId xmlns:a16="http://schemas.microsoft.com/office/drawing/2014/main" id="{CC6BD8CB-3AAF-4232-9DAB-6067219DB083}"/>
                </a:ext>
              </a:extLst>
            </p:cNvPr>
            <p:cNvSpPr/>
            <p:nvPr/>
          </p:nvSpPr>
          <p:spPr>
            <a:xfrm rot="8716295">
              <a:off x="460900" y="343447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orme libre : forme 64">
              <a:extLst>
                <a:ext uri="{FF2B5EF4-FFF2-40B4-BE49-F238E27FC236}">
                  <a16:creationId xmlns:a16="http://schemas.microsoft.com/office/drawing/2014/main" id="{C4402BE5-EFA1-455E-87AA-2CF0F2131AB9}"/>
                </a:ext>
              </a:extLst>
            </p:cNvPr>
            <p:cNvSpPr/>
            <p:nvPr/>
          </p:nvSpPr>
          <p:spPr>
            <a:xfrm rot="8716295">
              <a:off x="417336" y="4258920"/>
              <a:ext cx="147637" cy="195874"/>
            </a:xfrm>
            <a:custGeom>
              <a:avLst/>
              <a:gdLst>
                <a:gd name="connsiteX0" fmla="*/ 34500 w 147637"/>
                <a:gd name="connsiteY0" fmla="*/ 195874 h 195874"/>
                <a:gd name="connsiteX1" fmla="*/ 0 w 147637"/>
                <a:gd name="connsiteY1" fmla="*/ 131688 h 195874"/>
                <a:gd name="connsiteX2" fmla="*/ 108921 w 147637"/>
                <a:gd name="connsiteY2" fmla="*/ 0 h 195874"/>
                <a:gd name="connsiteX3" fmla="*/ 147637 w 147637"/>
                <a:gd name="connsiteY3" fmla="*/ 0 h 195874"/>
                <a:gd name="connsiteX4" fmla="*/ 147637 w 147637"/>
                <a:gd name="connsiteY4" fmla="*/ 55323 h 195874"/>
                <a:gd name="connsiteX5" fmla="*/ 82845 w 147637"/>
                <a:gd name="connsiteY5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7637" h="195874">
                  <a:moveTo>
                    <a:pt x="34500" y="195874"/>
                  </a:moveTo>
                  <a:lnTo>
                    <a:pt x="0" y="131688"/>
                  </a:lnTo>
                  <a:lnTo>
                    <a:pt x="108921" y="0"/>
                  </a:lnTo>
                  <a:lnTo>
                    <a:pt x="147637" y="0"/>
                  </a:lnTo>
                  <a:lnTo>
                    <a:pt x="147637" y="55323"/>
                  </a:lnTo>
                  <a:lnTo>
                    <a:pt x="8284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orme libre : forme 65">
              <a:extLst>
                <a:ext uri="{FF2B5EF4-FFF2-40B4-BE49-F238E27FC236}">
                  <a16:creationId xmlns:a16="http://schemas.microsoft.com/office/drawing/2014/main" id="{61A670F2-3CC6-425A-A67F-3F30EE51B04A}"/>
                </a:ext>
              </a:extLst>
            </p:cNvPr>
            <p:cNvSpPr/>
            <p:nvPr/>
          </p:nvSpPr>
          <p:spPr>
            <a:xfrm rot="8716295">
              <a:off x="330834" y="4134902"/>
              <a:ext cx="254613" cy="91157"/>
            </a:xfrm>
            <a:custGeom>
              <a:avLst/>
              <a:gdLst>
                <a:gd name="connsiteX0" fmla="*/ 0 w 254613"/>
                <a:gd name="connsiteY0" fmla="*/ 68911 h 91157"/>
                <a:gd name="connsiteX1" fmla="*/ 56997 w 254613"/>
                <a:gd name="connsiteY1" fmla="*/ 0 h 91157"/>
                <a:gd name="connsiteX2" fmla="*/ 57517 w 254613"/>
                <a:gd name="connsiteY2" fmla="*/ 2143 h 91157"/>
                <a:gd name="connsiteX3" fmla="*/ 128118 w 254613"/>
                <a:gd name="connsiteY3" fmla="*/ 40974 h 91157"/>
                <a:gd name="connsiteX4" fmla="*/ 181070 w 254613"/>
                <a:gd name="connsiteY4" fmla="*/ 31560 h 91157"/>
                <a:gd name="connsiteX5" fmla="*/ 253437 w 254613"/>
                <a:gd name="connsiteY5" fmla="*/ 2143 h 91157"/>
                <a:gd name="connsiteX6" fmla="*/ 254613 w 254613"/>
                <a:gd name="connsiteY6" fmla="*/ 9791 h 91157"/>
                <a:gd name="connsiteX7" fmla="*/ 254613 w 254613"/>
                <a:gd name="connsiteY7" fmla="*/ 15674 h 91157"/>
                <a:gd name="connsiteX8" fmla="*/ 61636 w 254613"/>
                <a:gd name="connsiteY8" fmla="*/ 90983 h 91157"/>
                <a:gd name="connsiteX9" fmla="*/ 22363 w 254613"/>
                <a:gd name="connsiteY9" fmla="*/ 84217 h 91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4613" h="91157">
                  <a:moveTo>
                    <a:pt x="0" y="68911"/>
                  </a:moveTo>
                  <a:lnTo>
                    <a:pt x="56997" y="0"/>
                  </a:lnTo>
                  <a:lnTo>
                    <a:pt x="57517" y="2143"/>
                  </a:lnTo>
                  <a:cubicBezTo>
                    <a:pt x="66931" y="28030"/>
                    <a:pt x="91053" y="40974"/>
                    <a:pt x="128118" y="40974"/>
                  </a:cubicBezTo>
                  <a:cubicBezTo>
                    <a:pt x="146357" y="40385"/>
                    <a:pt x="164008" y="36855"/>
                    <a:pt x="181070" y="31560"/>
                  </a:cubicBezTo>
                  <a:cubicBezTo>
                    <a:pt x="205780" y="23912"/>
                    <a:pt x="229903" y="13910"/>
                    <a:pt x="253437" y="2143"/>
                  </a:cubicBezTo>
                  <a:cubicBezTo>
                    <a:pt x="254025" y="4496"/>
                    <a:pt x="254613" y="7438"/>
                    <a:pt x="254613" y="9791"/>
                  </a:cubicBezTo>
                  <a:lnTo>
                    <a:pt x="254613" y="15674"/>
                  </a:lnTo>
                  <a:cubicBezTo>
                    <a:pt x="192249" y="69215"/>
                    <a:pt x="110468" y="88042"/>
                    <a:pt x="61636" y="90983"/>
                  </a:cubicBezTo>
                  <a:cubicBezTo>
                    <a:pt x="48104" y="91866"/>
                    <a:pt x="34719" y="89365"/>
                    <a:pt x="22363" y="842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orme libre : forme 66">
              <a:extLst>
                <a:ext uri="{FF2B5EF4-FFF2-40B4-BE49-F238E27FC236}">
                  <a16:creationId xmlns:a16="http://schemas.microsoft.com/office/drawing/2014/main" id="{8311F45B-46D1-4E93-B5FB-C96A0B131FB3}"/>
                </a:ext>
              </a:extLst>
            </p:cNvPr>
            <p:cNvSpPr/>
            <p:nvPr/>
          </p:nvSpPr>
          <p:spPr>
            <a:xfrm rot="8716295">
              <a:off x="-3428" y="2405990"/>
              <a:ext cx="142167" cy="208592"/>
            </a:xfrm>
            <a:custGeom>
              <a:avLst/>
              <a:gdLst>
                <a:gd name="connsiteX0" fmla="*/ 81108 w 142167"/>
                <a:gd name="connsiteY0" fmla="*/ 208592 h 208592"/>
                <a:gd name="connsiteX1" fmla="*/ 81108 w 142167"/>
                <a:gd name="connsiteY1" fmla="*/ 69717 h 208592"/>
                <a:gd name="connsiteX2" fmla="*/ 81108 w 142167"/>
                <a:gd name="connsiteY2" fmla="*/ 65615 h 208592"/>
                <a:gd name="connsiteX3" fmla="*/ 60604 w 142167"/>
                <a:gd name="connsiteY3" fmla="*/ 50123 h 208592"/>
                <a:gd name="connsiteX4" fmla="*/ 0 w 142167"/>
                <a:gd name="connsiteY4" fmla="*/ 50123 h 208592"/>
                <a:gd name="connsiteX5" fmla="*/ 0 w 142167"/>
                <a:gd name="connsiteY5" fmla="*/ 0 h 208592"/>
                <a:gd name="connsiteX6" fmla="*/ 85210 w 142167"/>
                <a:gd name="connsiteY6" fmla="*/ 0 h 208592"/>
                <a:gd name="connsiteX7" fmla="*/ 142167 w 142167"/>
                <a:gd name="connsiteY7" fmla="*/ 50123 h 208592"/>
                <a:gd name="connsiteX8" fmla="*/ 142167 w 142167"/>
                <a:gd name="connsiteY8" fmla="*/ 120504 h 20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08592">
                  <a:moveTo>
                    <a:pt x="81108" y="208592"/>
                  </a:moveTo>
                  <a:lnTo>
                    <a:pt x="81108" y="69717"/>
                  </a:lnTo>
                  <a:cubicBezTo>
                    <a:pt x="81108" y="68350"/>
                    <a:pt x="81108" y="66983"/>
                    <a:pt x="81108" y="65615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10" y="0"/>
                  </a:lnTo>
                  <a:cubicBezTo>
                    <a:pt x="122118" y="0"/>
                    <a:pt x="142167" y="15948"/>
                    <a:pt x="142167" y="50123"/>
                  </a:cubicBezTo>
                  <a:lnTo>
                    <a:pt x="142167" y="1205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FBB49843-79D6-49E9-8512-3ED8074BAF49}"/>
                </a:ext>
              </a:extLst>
            </p:cNvPr>
            <p:cNvSpPr/>
            <p:nvPr/>
          </p:nvSpPr>
          <p:spPr>
            <a:xfrm rot="8716295">
              <a:off x="80015" y="241329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orme libre : forme 68">
              <a:extLst>
                <a:ext uri="{FF2B5EF4-FFF2-40B4-BE49-F238E27FC236}">
                  <a16:creationId xmlns:a16="http://schemas.microsoft.com/office/drawing/2014/main" id="{2588E0D5-81C5-4973-87D7-DBF7607FAFF4}"/>
                </a:ext>
              </a:extLst>
            </p:cNvPr>
            <p:cNvSpPr/>
            <p:nvPr/>
          </p:nvSpPr>
          <p:spPr>
            <a:xfrm rot="8716295">
              <a:off x="35165" y="232701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orme libre : forme 69">
              <a:extLst>
                <a:ext uri="{FF2B5EF4-FFF2-40B4-BE49-F238E27FC236}">
                  <a16:creationId xmlns:a16="http://schemas.microsoft.com/office/drawing/2014/main" id="{4C19B60F-0DA9-4BC3-BAAD-2E7DE57F5376}"/>
                </a:ext>
              </a:extLst>
            </p:cNvPr>
            <p:cNvSpPr/>
            <p:nvPr/>
          </p:nvSpPr>
          <p:spPr>
            <a:xfrm rot="8716295">
              <a:off x="-20257" y="2217087"/>
              <a:ext cx="78731" cy="180665"/>
            </a:xfrm>
            <a:custGeom>
              <a:avLst/>
              <a:gdLst>
                <a:gd name="connsiteX0" fmla="*/ 0 w 78731"/>
                <a:gd name="connsiteY0" fmla="*/ 180665 h 180665"/>
                <a:gd name="connsiteX1" fmla="*/ 0 w 78731"/>
                <a:gd name="connsiteY1" fmla="*/ 40596 h 180665"/>
                <a:gd name="connsiteX2" fmla="*/ 78250 w 78731"/>
                <a:gd name="connsiteY2" fmla="*/ 0 h 180665"/>
                <a:gd name="connsiteX3" fmla="*/ 78731 w 78731"/>
                <a:gd name="connsiteY3" fmla="*/ 67083 h 180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731" h="180665">
                  <a:moveTo>
                    <a:pt x="0" y="180665"/>
                  </a:moveTo>
                  <a:lnTo>
                    <a:pt x="0" y="40596"/>
                  </a:lnTo>
                  <a:lnTo>
                    <a:pt x="78250" y="0"/>
                  </a:lnTo>
                  <a:lnTo>
                    <a:pt x="78731" y="670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orme libre : forme 70">
              <a:extLst>
                <a:ext uri="{FF2B5EF4-FFF2-40B4-BE49-F238E27FC236}">
                  <a16:creationId xmlns:a16="http://schemas.microsoft.com/office/drawing/2014/main" id="{6EC16758-5536-44AA-B18E-D5428BFF36DA}"/>
                </a:ext>
              </a:extLst>
            </p:cNvPr>
            <p:cNvSpPr/>
            <p:nvPr/>
          </p:nvSpPr>
          <p:spPr>
            <a:xfrm rot="8716295">
              <a:off x="-15341" y="2575209"/>
              <a:ext cx="103435" cy="152027"/>
            </a:xfrm>
            <a:custGeom>
              <a:avLst/>
              <a:gdLst>
                <a:gd name="connsiteX0" fmla="*/ 43288 w 103435"/>
                <a:gd name="connsiteY0" fmla="*/ 152027 h 152027"/>
                <a:gd name="connsiteX1" fmla="*/ 43288 w 103435"/>
                <a:gd name="connsiteY1" fmla="*/ 16404 h 152027"/>
                <a:gd name="connsiteX2" fmla="*/ 0 w 103435"/>
                <a:gd name="connsiteY2" fmla="*/ 16404 h 152027"/>
                <a:gd name="connsiteX3" fmla="*/ 0 w 103435"/>
                <a:gd name="connsiteY3" fmla="*/ 2278 h 152027"/>
                <a:gd name="connsiteX4" fmla="*/ 103435 w 103435"/>
                <a:gd name="connsiteY4" fmla="*/ 0 h 152027"/>
                <a:gd name="connsiteX5" fmla="*/ 103435 w 103435"/>
                <a:gd name="connsiteY5" fmla="*/ 65255 h 152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152027">
                  <a:moveTo>
                    <a:pt x="43288" y="152027"/>
                  </a:move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652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orme libre : forme 71">
              <a:extLst>
                <a:ext uri="{FF2B5EF4-FFF2-40B4-BE49-F238E27FC236}">
                  <a16:creationId xmlns:a16="http://schemas.microsoft.com/office/drawing/2014/main" id="{F8CD2FD6-8E29-4A7B-A6E7-A08269AC0224}"/>
                </a:ext>
              </a:extLst>
            </p:cNvPr>
            <p:cNvSpPr/>
            <p:nvPr/>
          </p:nvSpPr>
          <p:spPr>
            <a:xfrm rot="8716295">
              <a:off x="279722" y="21339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orme libre : forme 72">
              <a:extLst>
                <a:ext uri="{FF2B5EF4-FFF2-40B4-BE49-F238E27FC236}">
                  <a16:creationId xmlns:a16="http://schemas.microsoft.com/office/drawing/2014/main" id="{B8E4BE1C-C619-4E1A-8472-B00AFC43BA29}"/>
                </a:ext>
              </a:extLst>
            </p:cNvPr>
            <p:cNvSpPr/>
            <p:nvPr/>
          </p:nvSpPr>
          <p:spPr>
            <a:xfrm rot="8716295">
              <a:off x="369114" y="21631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" name="Forme libre : forme 73">
              <a:extLst>
                <a:ext uri="{FF2B5EF4-FFF2-40B4-BE49-F238E27FC236}">
                  <a16:creationId xmlns:a16="http://schemas.microsoft.com/office/drawing/2014/main" id="{E00D5309-AD7C-43C7-8A0B-B7211B97E879}"/>
                </a:ext>
              </a:extLst>
            </p:cNvPr>
            <p:cNvSpPr/>
            <p:nvPr/>
          </p:nvSpPr>
          <p:spPr>
            <a:xfrm rot="8716295">
              <a:off x="167488" y="22224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" name="Forme libre : forme 74">
              <a:extLst>
                <a:ext uri="{FF2B5EF4-FFF2-40B4-BE49-F238E27FC236}">
                  <a16:creationId xmlns:a16="http://schemas.microsoft.com/office/drawing/2014/main" id="{569B59A1-12B4-4886-9F85-B0AFCE236D87}"/>
                </a:ext>
              </a:extLst>
            </p:cNvPr>
            <p:cNvSpPr/>
            <p:nvPr/>
          </p:nvSpPr>
          <p:spPr>
            <a:xfrm rot="8716295">
              <a:off x="42586" y="20137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" name="Forme libre : forme 75">
              <a:extLst>
                <a:ext uri="{FF2B5EF4-FFF2-40B4-BE49-F238E27FC236}">
                  <a16:creationId xmlns:a16="http://schemas.microsoft.com/office/drawing/2014/main" id="{F564295A-16CC-45A5-86A1-4CEC6CD90425}"/>
                </a:ext>
              </a:extLst>
            </p:cNvPr>
            <p:cNvSpPr/>
            <p:nvPr/>
          </p:nvSpPr>
          <p:spPr>
            <a:xfrm rot="8716295">
              <a:off x="257666" y="226339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" name="Forme libre : forme 76">
              <a:extLst>
                <a:ext uri="{FF2B5EF4-FFF2-40B4-BE49-F238E27FC236}">
                  <a16:creationId xmlns:a16="http://schemas.microsoft.com/office/drawing/2014/main" id="{2384700C-00D8-4B4D-ABDF-BE0456A14505}"/>
                </a:ext>
              </a:extLst>
            </p:cNvPr>
            <p:cNvSpPr/>
            <p:nvPr/>
          </p:nvSpPr>
          <p:spPr>
            <a:xfrm rot="8716295">
              <a:off x="16215" y="211379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" name="Forme libre : forme 77">
              <a:extLst>
                <a:ext uri="{FF2B5EF4-FFF2-40B4-BE49-F238E27FC236}">
                  <a16:creationId xmlns:a16="http://schemas.microsoft.com/office/drawing/2014/main" id="{D8BA4606-ED26-402C-93D7-D77E55C056EF}"/>
                </a:ext>
              </a:extLst>
            </p:cNvPr>
            <p:cNvSpPr/>
            <p:nvPr/>
          </p:nvSpPr>
          <p:spPr>
            <a:xfrm rot="7484129">
              <a:off x="362597" y="245474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orme libre : forme 78">
              <a:extLst>
                <a:ext uri="{FF2B5EF4-FFF2-40B4-BE49-F238E27FC236}">
                  <a16:creationId xmlns:a16="http://schemas.microsoft.com/office/drawing/2014/main" id="{3CCE9711-ABFF-417D-B3E6-0BDB1263FCD1}"/>
                </a:ext>
              </a:extLst>
            </p:cNvPr>
            <p:cNvSpPr/>
            <p:nvPr/>
          </p:nvSpPr>
          <p:spPr>
            <a:xfrm rot="13089394">
              <a:off x="463440" y="2426400"/>
              <a:ext cx="272584" cy="319064"/>
            </a:xfrm>
            <a:custGeom>
              <a:avLst/>
              <a:gdLst>
                <a:gd name="connsiteX0" fmla="*/ 80445 w 272584"/>
                <a:gd name="connsiteY0" fmla="*/ 215518 h 319064"/>
                <a:gd name="connsiteX1" fmla="*/ 0 w 272584"/>
                <a:gd name="connsiteY1" fmla="*/ 93007 h 319064"/>
                <a:gd name="connsiteX2" fmla="*/ 0 w 272584"/>
                <a:gd name="connsiteY2" fmla="*/ 38074 h 319064"/>
                <a:gd name="connsiteX3" fmla="*/ 73388 w 272584"/>
                <a:gd name="connsiteY3" fmla="*/ 0 h 319064"/>
                <a:gd name="connsiteX4" fmla="*/ 74492 w 272584"/>
                <a:gd name="connsiteY4" fmla="*/ 153950 h 319064"/>
                <a:gd name="connsiteX5" fmla="*/ 76768 w 272584"/>
                <a:gd name="connsiteY5" fmla="*/ 200369 h 319064"/>
                <a:gd name="connsiteX6" fmla="*/ 272584 w 272584"/>
                <a:gd name="connsiteY6" fmla="*/ 258238 h 319064"/>
                <a:gd name="connsiteX7" fmla="*/ 177331 w 272584"/>
                <a:gd name="connsiteY7" fmla="*/ 311347 h 319064"/>
                <a:gd name="connsiteX8" fmla="*/ 148437 w 272584"/>
                <a:gd name="connsiteY8" fmla="*/ 319064 h 319064"/>
                <a:gd name="connsiteX9" fmla="*/ 119231 w 272584"/>
                <a:gd name="connsiteY9" fmla="*/ 274585 h 319064"/>
                <a:gd name="connsiteX10" fmla="*/ 153949 w 272584"/>
                <a:gd name="connsiteY10" fmla="*/ 281965 h 319064"/>
                <a:gd name="connsiteX11" fmla="*/ 203610 w 272584"/>
                <a:gd name="connsiteY11" fmla="*/ 273136 h 319064"/>
                <a:gd name="connsiteX12" fmla="*/ 271481 w 272584"/>
                <a:gd name="connsiteY12" fmla="*/ 245547 h 319064"/>
                <a:gd name="connsiteX13" fmla="*/ 272584 w 272584"/>
                <a:gd name="connsiteY13" fmla="*/ 252720 h 319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2584" h="319064">
                  <a:moveTo>
                    <a:pt x="80445" y="215518"/>
                  </a:moveTo>
                  <a:lnTo>
                    <a:pt x="0" y="93007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3664" y="169400"/>
                    <a:pt x="74492" y="184988"/>
                    <a:pt x="76768" y="200369"/>
                  </a:cubicBezTo>
                  <a:close/>
                  <a:moveTo>
                    <a:pt x="272584" y="258238"/>
                  </a:moveTo>
                  <a:cubicBezTo>
                    <a:pt x="243339" y="283344"/>
                    <a:pt x="209542" y="300312"/>
                    <a:pt x="177331" y="311347"/>
                  </a:cubicBezTo>
                  <a:lnTo>
                    <a:pt x="148437" y="319064"/>
                  </a:lnTo>
                  <a:lnTo>
                    <a:pt x="119231" y="274585"/>
                  </a:lnTo>
                  <a:lnTo>
                    <a:pt x="153949" y="281965"/>
                  </a:lnTo>
                  <a:cubicBezTo>
                    <a:pt x="171055" y="281413"/>
                    <a:pt x="187609" y="278102"/>
                    <a:pt x="203610" y="273136"/>
                  </a:cubicBezTo>
                  <a:cubicBezTo>
                    <a:pt x="226785" y="265963"/>
                    <a:pt x="249409" y="256583"/>
                    <a:pt x="271481" y="245547"/>
                  </a:cubicBezTo>
                  <a:cubicBezTo>
                    <a:pt x="272032" y="247754"/>
                    <a:pt x="272584" y="250513"/>
                    <a:pt x="272584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Forme libre : forme 79">
              <a:extLst>
                <a:ext uri="{FF2B5EF4-FFF2-40B4-BE49-F238E27FC236}">
                  <a16:creationId xmlns:a16="http://schemas.microsoft.com/office/drawing/2014/main" id="{6E12610B-6A34-4C00-8EC5-09F9F5AEEEF0}"/>
                </a:ext>
              </a:extLst>
            </p:cNvPr>
            <p:cNvSpPr/>
            <p:nvPr/>
          </p:nvSpPr>
          <p:spPr>
            <a:xfrm rot="8716295">
              <a:off x="675867" y="2357327"/>
              <a:ext cx="38012" cy="45752"/>
            </a:xfrm>
            <a:custGeom>
              <a:avLst/>
              <a:gdLst>
                <a:gd name="connsiteX0" fmla="*/ 0 w 38012"/>
                <a:gd name="connsiteY0" fmla="*/ 45752 h 45752"/>
                <a:gd name="connsiteX1" fmla="*/ 37842 w 38012"/>
                <a:gd name="connsiteY1" fmla="*/ 0 h 45752"/>
                <a:gd name="connsiteX2" fmla="*/ 38012 w 38012"/>
                <a:gd name="connsiteY2" fmla="*/ 641 h 45752"/>
                <a:gd name="connsiteX3" fmla="*/ 6841 w 38012"/>
                <a:gd name="connsiteY3" fmla="*/ 42560 h 45752"/>
                <a:gd name="connsiteX4" fmla="*/ 7378 w 38012"/>
                <a:gd name="connsiteY4" fmla="*/ 42560 h 45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012" h="45752">
                  <a:moveTo>
                    <a:pt x="0" y="45752"/>
                  </a:moveTo>
                  <a:lnTo>
                    <a:pt x="37842" y="0"/>
                  </a:lnTo>
                  <a:lnTo>
                    <a:pt x="38012" y="641"/>
                  </a:lnTo>
                  <a:cubicBezTo>
                    <a:pt x="36400" y="19451"/>
                    <a:pt x="24039" y="35036"/>
                    <a:pt x="6841" y="42560"/>
                  </a:cubicBezTo>
                  <a:lnTo>
                    <a:pt x="7378" y="425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" name="Forme libre : forme 80">
              <a:extLst>
                <a:ext uri="{FF2B5EF4-FFF2-40B4-BE49-F238E27FC236}">
                  <a16:creationId xmlns:a16="http://schemas.microsoft.com/office/drawing/2014/main" id="{04C60C27-7F84-4DDC-864F-602B18A26BC5}"/>
                </a:ext>
              </a:extLst>
            </p:cNvPr>
            <p:cNvSpPr/>
            <p:nvPr/>
          </p:nvSpPr>
          <p:spPr>
            <a:xfrm rot="8716295">
              <a:off x="601197" y="21260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orme libre : forme 81">
              <a:extLst>
                <a:ext uri="{FF2B5EF4-FFF2-40B4-BE49-F238E27FC236}">
                  <a16:creationId xmlns:a16="http://schemas.microsoft.com/office/drawing/2014/main" id="{603BCEF5-66FB-4B3A-9672-2C4F09A114FA}"/>
                </a:ext>
              </a:extLst>
            </p:cNvPr>
            <p:cNvSpPr/>
            <p:nvPr/>
          </p:nvSpPr>
          <p:spPr>
            <a:xfrm rot="8716295">
              <a:off x="357951" y="21562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Forme libre : forme 82">
              <a:extLst>
                <a:ext uri="{FF2B5EF4-FFF2-40B4-BE49-F238E27FC236}">
                  <a16:creationId xmlns:a16="http://schemas.microsoft.com/office/drawing/2014/main" id="{47C10671-5456-47FF-825A-4447688D4139}"/>
                </a:ext>
              </a:extLst>
            </p:cNvPr>
            <p:cNvSpPr/>
            <p:nvPr/>
          </p:nvSpPr>
          <p:spPr>
            <a:xfrm rot="8716295">
              <a:off x="535403" y="199698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4" name="Forme libre : forme 83">
              <a:extLst>
                <a:ext uri="{FF2B5EF4-FFF2-40B4-BE49-F238E27FC236}">
                  <a16:creationId xmlns:a16="http://schemas.microsoft.com/office/drawing/2014/main" id="{DB34C374-02D3-4583-9890-9C27CA821837}"/>
                </a:ext>
              </a:extLst>
            </p:cNvPr>
            <p:cNvSpPr/>
            <p:nvPr/>
          </p:nvSpPr>
          <p:spPr>
            <a:xfrm rot="8716295">
              <a:off x="-76043" y="1768178"/>
              <a:ext cx="197178" cy="215049"/>
            </a:xfrm>
            <a:custGeom>
              <a:avLst/>
              <a:gdLst>
                <a:gd name="connsiteX0" fmla="*/ 51490 w 197178"/>
                <a:gd name="connsiteY0" fmla="*/ 215049 h 215049"/>
                <a:gd name="connsiteX1" fmla="*/ 51490 w 197178"/>
                <a:gd name="connsiteY1" fmla="*/ 45624 h 215049"/>
                <a:gd name="connsiteX2" fmla="*/ 0 w 197178"/>
                <a:gd name="connsiteY2" fmla="*/ 45624 h 215049"/>
                <a:gd name="connsiteX3" fmla="*/ 0 w 197178"/>
                <a:gd name="connsiteY3" fmla="*/ 1424 h 215049"/>
                <a:gd name="connsiteX4" fmla="*/ 104803 w 197178"/>
                <a:gd name="connsiteY4" fmla="*/ 1425 h 215049"/>
                <a:gd name="connsiteX5" fmla="*/ 104803 w 197178"/>
                <a:gd name="connsiteY5" fmla="*/ 75242 h 215049"/>
                <a:gd name="connsiteX6" fmla="*/ 106169 w 197178"/>
                <a:gd name="connsiteY6" fmla="*/ 75242 h 215049"/>
                <a:gd name="connsiteX7" fmla="*/ 154014 w 197178"/>
                <a:gd name="connsiteY7" fmla="*/ 5981 h 215049"/>
                <a:gd name="connsiteX8" fmla="*/ 185455 w 197178"/>
                <a:gd name="connsiteY8" fmla="*/ 57 h 215049"/>
                <a:gd name="connsiteX9" fmla="*/ 197178 w 197178"/>
                <a:gd name="connsiteY9" fmla="*/ 4872 h 215049"/>
                <a:gd name="connsiteX10" fmla="*/ 170795 w 197178"/>
                <a:gd name="connsiteY10" fmla="*/ 42934 h 215049"/>
                <a:gd name="connsiteX11" fmla="*/ 164950 w 197178"/>
                <a:gd name="connsiteY11" fmla="*/ 40156 h 215049"/>
                <a:gd name="connsiteX12" fmla="*/ 111638 w 197178"/>
                <a:gd name="connsiteY12" fmla="*/ 127643 h 215049"/>
                <a:gd name="connsiteX13" fmla="*/ 111638 w 197178"/>
                <a:gd name="connsiteY13" fmla="*/ 128277 h 21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178" h="215049">
                  <a:moveTo>
                    <a:pt x="51490" y="215049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4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lnTo>
                    <a:pt x="197178" y="4872"/>
                  </a:lnTo>
                  <a:lnTo>
                    <a:pt x="170795" y="42934"/>
                  </a:lnTo>
                  <a:lnTo>
                    <a:pt x="164950" y="40156"/>
                  </a:ln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1282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5" name="Forme libre : forme 84">
              <a:extLst>
                <a:ext uri="{FF2B5EF4-FFF2-40B4-BE49-F238E27FC236}">
                  <a16:creationId xmlns:a16="http://schemas.microsoft.com/office/drawing/2014/main" id="{F27A5053-248B-4729-A180-CFD83FBA8C7D}"/>
                </a:ext>
              </a:extLst>
            </p:cNvPr>
            <p:cNvSpPr/>
            <p:nvPr/>
          </p:nvSpPr>
          <p:spPr>
            <a:xfrm rot="8716295">
              <a:off x="56555" y="14742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6" name="Forme libre : forme 85">
              <a:extLst>
                <a:ext uri="{FF2B5EF4-FFF2-40B4-BE49-F238E27FC236}">
                  <a16:creationId xmlns:a16="http://schemas.microsoft.com/office/drawing/2014/main" id="{9918622A-7E96-4EC8-A35B-CBCD19A79AE2}"/>
                </a:ext>
              </a:extLst>
            </p:cNvPr>
            <p:cNvSpPr/>
            <p:nvPr/>
          </p:nvSpPr>
          <p:spPr>
            <a:xfrm rot="8716295">
              <a:off x="145947" y="15034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7" name="Forme libre : forme 86">
              <a:extLst>
                <a:ext uri="{FF2B5EF4-FFF2-40B4-BE49-F238E27FC236}">
                  <a16:creationId xmlns:a16="http://schemas.microsoft.com/office/drawing/2014/main" id="{0ECD9757-2AFD-4623-9C3D-24E52F11F047}"/>
                </a:ext>
              </a:extLst>
            </p:cNvPr>
            <p:cNvSpPr/>
            <p:nvPr/>
          </p:nvSpPr>
          <p:spPr>
            <a:xfrm rot="8716295">
              <a:off x="-21870" y="1443501"/>
              <a:ext cx="68614" cy="55323"/>
            </a:xfrm>
            <a:custGeom>
              <a:avLst/>
              <a:gdLst>
                <a:gd name="connsiteX0" fmla="*/ 0 w 68614"/>
                <a:gd name="connsiteY0" fmla="*/ 55323 h 55323"/>
                <a:gd name="connsiteX1" fmla="*/ 0 w 68614"/>
                <a:gd name="connsiteY1" fmla="*/ 0 h 55323"/>
                <a:gd name="connsiteX2" fmla="*/ 68614 w 68614"/>
                <a:gd name="connsiteY2" fmla="*/ 0 h 55323"/>
                <a:gd name="connsiteX3" fmla="*/ 30266 w 68614"/>
                <a:gd name="connsiteY3" fmla="*/ 55323 h 55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614" h="55323">
                  <a:moveTo>
                    <a:pt x="0" y="55323"/>
                  </a:moveTo>
                  <a:lnTo>
                    <a:pt x="0" y="0"/>
                  </a:lnTo>
                  <a:lnTo>
                    <a:pt x="68614" y="0"/>
                  </a:lnTo>
                  <a:lnTo>
                    <a:pt x="30266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8" name="Forme libre : forme 87">
              <a:extLst>
                <a:ext uri="{FF2B5EF4-FFF2-40B4-BE49-F238E27FC236}">
                  <a16:creationId xmlns:a16="http://schemas.microsoft.com/office/drawing/2014/main" id="{661ED1FA-7FC0-427E-9226-6E31215700D9}"/>
                </a:ext>
              </a:extLst>
            </p:cNvPr>
            <p:cNvSpPr/>
            <p:nvPr/>
          </p:nvSpPr>
          <p:spPr>
            <a:xfrm rot="8716295">
              <a:off x="35817" y="1618109"/>
              <a:ext cx="103435" cy="203897"/>
            </a:xfrm>
            <a:custGeom>
              <a:avLst/>
              <a:gdLst>
                <a:gd name="connsiteX0" fmla="*/ 87556 w 103435"/>
                <a:gd name="connsiteY0" fmla="*/ 203897 h 203897"/>
                <a:gd name="connsiteX1" fmla="*/ 43288 w 103435"/>
                <a:gd name="connsiteY1" fmla="*/ 161305 h 203897"/>
                <a:gd name="connsiteX2" fmla="*/ 43288 w 103435"/>
                <a:gd name="connsiteY2" fmla="*/ 16404 h 203897"/>
                <a:gd name="connsiteX3" fmla="*/ 0 w 103435"/>
                <a:gd name="connsiteY3" fmla="*/ 16404 h 203897"/>
                <a:gd name="connsiteX4" fmla="*/ 0 w 103435"/>
                <a:gd name="connsiteY4" fmla="*/ 2278 h 203897"/>
                <a:gd name="connsiteX5" fmla="*/ 103435 w 103435"/>
                <a:gd name="connsiteY5" fmla="*/ 0 h 203897"/>
                <a:gd name="connsiteX6" fmla="*/ 103435 w 103435"/>
                <a:gd name="connsiteY6" fmla="*/ 180989 h 203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03897">
                  <a:moveTo>
                    <a:pt x="87556" y="203897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1809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9" name="Forme libre : forme 88">
              <a:extLst>
                <a:ext uri="{FF2B5EF4-FFF2-40B4-BE49-F238E27FC236}">
                  <a16:creationId xmlns:a16="http://schemas.microsoft.com/office/drawing/2014/main" id="{A1295F39-BDBB-432C-B32B-C5B551977FC2}"/>
                </a:ext>
              </a:extLst>
            </p:cNvPr>
            <p:cNvSpPr/>
            <p:nvPr/>
          </p:nvSpPr>
          <p:spPr>
            <a:xfrm rot="7484129">
              <a:off x="139430" y="17950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" name="Forme libre : forme 89">
              <a:extLst>
                <a:ext uri="{FF2B5EF4-FFF2-40B4-BE49-F238E27FC236}">
                  <a16:creationId xmlns:a16="http://schemas.microsoft.com/office/drawing/2014/main" id="{F2E91B5E-C359-4716-9781-DAEDAFFE884C}"/>
                </a:ext>
              </a:extLst>
            </p:cNvPr>
            <p:cNvSpPr/>
            <p:nvPr/>
          </p:nvSpPr>
          <p:spPr>
            <a:xfrm rot="13089394">
              <a:off x="244250" y="17615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" name="Forme libre : forme 90">
              <a:extLst>
                <a:ext uri="{FF2B5EF4-FFF2-40B4-BE49-F238E27FC236}">
                  <a16:creationId xmlns:a16="http://schemas.microsoft.com/office/drawing/2014/main" id="{4C9CCC26-5417-41E7-B753-3B7D59038FBD}"/>
                </a:ext>
              </a:extLst>
            </p:cNvPr>
            <p:cNvSpPr/>
            <p:nvPr/>
          </p:nvSpPr>
          <p:spPr>
            <a:xfrm rot="8716295">
              <a:off x="429835" y="15699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" name="Forme libre : forme 91">
              <a:extLst>
                <a:ext uri="{FF2B5EF4-FFF2-40B4-BE49-F238E27FC236}">
                  <a16:creationId xmlns:a16="http://schemas.microsoft.com/office/drawing/2014/main" id="{D6712892-AD9E-4694-AEF5-3D17C5AEEE1D}"/>
                </a:ext>
              </a:extLst>
            </p:cNvPr>
            <p:cNvSpPr/>
            <p:nvPr/>
          </p:nvSpPr>
          <p:spPr>
            <a:xfrm rot="8716295">
              <a:off x="378030" y="14663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" name="Forme libre : forme 92">
              <a:extLst>
                <a:ext uri="{FF2B5EF4-FFF2-40B4-BE49-F238E27FC236}">
                  <a16:creationId xmlns:a16="http://schemas.microsoft.com/office/drawing/2014/main" id="{8DA7EFED-D0A6-45D4-A875-2F1DCEFC57C8}"/>
                </a:ext>
              </a:extLst>
            </p:cNvPr>
            <p:cNvSpPr/>
            <p:nvPr/>
          </p:nvSpPr>
          <p:spPr>
            <a:xfrm rot="8716295">
              <a:off x="134784" y="14965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" name="Forme libre : forme 93">
              <a:extLst>
                <a:ext uri="{FF2B5EF4-FFF2-40B4-BE49-F238E27FC236}">
                  <a16:creationId xmlns:a16="http://schemas.microsoft.com/office/drawing/2014/main" id="{32971A81-1820-4964-A66E-2FD721A16F56}"/>
                </a:ext>
              </a:extLst>
            </p:cNvPr>
            <p:cNvSpPr/>
            <p:nvPr/>
          </p:nvSpPr>
          <p:spPr>
            <a:xfrm rot="8716295">
              <a:off x="312236" y="13372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orme libre : forme 94">
              <a:extLst>
                <a:ext uri="{FF2B5EF4-FFF2-40B4-BE49-F238E27FC236}">
                  <a16:creationId xmlns:a16="http://schemas.microsoft.com/office/drawing/2014/main" id="{BC42F9C8-99E7-4F04-B258-C142D2DE142F}"/>
                </a:ext>
              </a:extLst>
            </p:cNvPr>
            <p:cNvSpPr/>
            <p:nvPr/>
          </p:nvSpPr>
          <p:spPr>
            <a:xfrm rot="8716295">
              <a:off x="-17798" y="949199"/>
              <a:ext cx="39526" cy="50123"/>
            </a:xfrm>
            <a:custGeom>
              <a:avLst/>
              <a:gdLst>
                <a:gd name="connsiteX0" fmla="*/ 0 w 39526"/>
                <a:gd name="connsiteY0" fmla="*/ 50123 h 50123"/>
                <a:gd name="connsiteX1" fmla="*/ 0 w 39526"/>
                <a:gd name="connsiteY1" fmla="*/ 0 h 50123"/>
                <a:gd name="connsiteX2" fmla="*/ 39526 w 39526"/>
                <a:gd name="connsiteY2" fmla="*/ 0 h 50123"/>
                <a:gd name="connsiteX3" fmla="*/ 4782 w 39526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26" h="50123">
                  <a:moveTo>
                    <a:pt x="0" y="50123"/>
                  </a:moveTo>
                  <a:lnTo>
                    <a:pt x="0" y="0"/>
                  </a:lnTo>
                  <a:lnTo>
                    <a:pt x="39526" y="0"/>
                  </a:lnTo>
                  <a:lnTo>
                    <a:pt x="4782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Forme libre : forme 95">
              <a:extLst>
                <a:ext uri="{FF2B5EF4-FFF2-40B4-BE49-F238E27FC236}">
                  <a16:creationId xmlns:a16="http://schemas.microsoft.com/office/drawing/2014/main" id="{D29A62DB-0DC5-407D-A1DF-C8A39BAC784A}"/>
                </a:ext>
              </a:extLst>
            </p:cNvPr>
            <p:cNvSpPr/>
            <p:nvPr/>
          </p:nvSpPr>
          <p:spPr>
            <a:xfrm rot="8716295">
              <a:off x="-64996" y="834728"/>
              <a:ext cx="249650" cy="254774"/>
            </a:xfrm>
            <a:custGeom>
              <a:avLst/>
              <a:gdLst>
                <a:gd name="connsiteX0" fmla="*/ 51490 w 249650"/>
                <a:gd name="connsiteY0" fmla="*/ 254774 h 254774"/>
                <a:gd name="connsiteX1" fmla="*/ 51490 w 249650"/>
                <a:gd name="connsiteY1" fmla="*/ 45624 h 254774"/>
                <a:gd name="connsiteX2" fmla="*/ 0 w 249650"/>
                <a:gd name="connsiteY2" fmla="*/ 45624 h 254774"/>
                <a:gd name="connsiteX3" fmla="*/ 0 w 249650"/>
                <a:gd name="connsiteY3" fmla="*/ 1425 h 254774"/>
                <a:gd name="connsiteX4" fmla="*/ 104803 w 249650"/>
                <a:gd name="connsiteY4" fmla="*/ 1425 h 254774"/>
                <a:gd name="connsiteX5" fmla="*/ 104803 w 249650"/>
                <a:gd name="connsiteY5" fmla="*/ 75242 h 254774"/>
                <a:gd name="connsiteX6" fmla="*/ 106169 w 249650"/>
                <a:gd name="connsiteY6" fmla="*/ 75242 h 254774"/>
                <a:gd name="connsiteX7" fmla="*/ 154014 w 249650"/>
                <a:gd name="connsiteY7" fmla="*/ 5981 h 254774"/>
                <a:gd name="connsiteX8" fmla="*/ 185455 w 249650"/>
                <a:gd name="connsiteY8" fmla="*/ 57 h 254774"/>
                <a:gd name="connsiteX9" fmla="*/ 240647 w 249650"/>
                <a:gd name="connsiteY9" fmla="*/ 22727 h 254774"/>
                <a:gd name="connsiteX10" fmla="*/ 249650 w 249650"/>
                <a:gd name="connsiteY10" fmla="*/ 52327 h 254774"/>
                <a:gd name="connsiteX11" fmla="*/ 218795 w 249650"/>
                <a:gd name="connsiteY11" fmla="*/ 96841 h 254774"/>
                <a:gd name="connsiteX12" fmla="*/ 198669 w 249650"/>
                <a:gd name="connsiteY12" fmla="*/ 98025 h 254774"/>
                <a:gd name="connsiteX13" fmla="*/ 198669 w 249650"/>
                <a:gd name="connsiteY13" fmla="*/ 81621 h 254774"/>
                <a:gd name="connsiteX14" fmla="*/ 164950 w 249650"/>
                <a:gd name="connsiteY14" fmla="*/ 40156 h 254774"/>
                <a:gd name="connsiteX15" fmla="*/ 111638 w 249650"/>
                <a:gd name="connsiteY15" fmla="*/ 127643 h 254774"/>
                <a:gd name="connsiteX16" fmla="*/ 111638 w 249650"/>
                <a:gd name="connsiteY16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9650" h="254774">
                  <a:moveTo>
                    <a:pt x="51490" y="254774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08922" y="-398"/>
                    <a:pt x="227718" y="7576"/>
                    <a:pt x="240647" y="22727"/>
                  </a:cubicBezTo>
                  <a:lnTo>
                    <a:pt x="249650" y="52327"/>
                  </a:lnTo>
                  <a:lnTo>
                    <a:pt x="218795" y="96841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" name="Forme libre : forme 96">
              <a:extLst>
                <a:ext uri="{FF2B5EF4-FFF2-40B4-BE49-F238E27FC236}">
                  <a16:creationId xmlns:a16="http://schemas.microsoft.com/office/drawing/2014/main" id="{4160A2B5-61C4-44D3-8FA4-49A1FCD41A0C}"/>
                </a:ext>
              </a:extLst>
            </p:cNvPr>
            <p:cNvSpPr/>
            <p:nvPr/>
          </p:nvSpPr>
          <p:spPr>
            <a:xfrm rot="7484129">
              <a:off x="-63314" y="1172497"/>
              <a:ext cx="203848" cy="146395"/>
            </a:xfrm>
            <a:custGeom>
              <a:avLst/>
              <a:gdLst>
                <a:gd name="connsiteX0" fmla="*/ 0 w 203848"/>
                <a:gd name="connsiteY0" fmla="*/ 55323 h 146395"/>
                <a:gd name="connsiteX1" fmla="*/ 0 w 203848"/>
                <a:gd name="connsiteY1" fmla="*/ 0 h 146395"/>
                <a:gd name="connsiteX2" fmla="*/ 203848 w 203848"/>
                <a:gd name="connsiteY2" fmla="*/ 0 h 146395"/>
                <a:gd name="connsiteX3" fmla="*/ 203847 w 203848"/>
                <a:gd name="connsiteY3" fmla="*/ 49512 h 146395"/>
                <a:gd name="connsiteX4" fmla="*/ 195466 w 203848"/>
                <a:gd name="connsiteY4" fmla="*/ 55323 h 146395"/>
                <a:gd name="connsiteX5" fmla="*/ 139055 w 203848"/>
                <a:gd name="connsiteY5" fmla="*/ 55323 h 146395"/>
                <a:gd name="connsiteX6" fmla="*/ 121388 w 203848"/>
                <a:gd name="connsiteY6" fmla="*/ 106685 h 146395"/>
                <a:gd name="connsiteX7" fmla="*/ 64115 w 203848"/>
                <a:gd name="connsiteY7" fmla="*/ 146395 h 146395"/>
                <a:gd name="connsiteX8" fmla="*/ 47847 w 203848"/>
                <a:gd name="connsiteY8" fmla="*/ 116129 h 146395"/>
                <a:gd name="connsiteX9" fmla="*/ 69777 w 203848"/>
                <a:gd name="connsiteY9" fmla="*/ 55323 h 146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848" h="146395">
                  <a:moveTo>
                    <a:pt x="0" y="55323"/>
                  </a:moveTo>
                  <a:lnTo>
                    <a:pt x="0" y="0"/>
                  </a:lnTo>
                  <a:lnTo>
                    <a:pt x="203848" y="0"/>
                  </a:lnTo>
                  <a:lnTo>
                    <a:pt x="203847" y="49512"/>
                  </a:lnTo>
                  <a:lnTo>
                    <a:pt x="195466" y="55323"/>
                  </a:lnTo>
                  <a:lnTo>
                    <a:pt x="139055" y="55323"/>
                  </a:lnTo>
                  <a:lnTo>
                    <a:pt x="121388" y="106685"/>
                  </a:lnTo>
                  <a:lnTo>
                    <a:pt x="64115" y="146395"/>
                  </a:lnTo>
                  <a:lnTo>
                    <a:pt x="47847" y="116129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" name="Forme libre : forme 97">
              <a:extLst>
                <a:ext uri="{FF2B5EF4-FFF2-40B4-BE49-F238E27FC236}">
                  <a16:creationId xmlns:a16="http://schemas.microsoft.com/office/drawing/2014/main" id="{0F651F8F-312F-4D1A-9E4B-A79B81999918}"/>
                </a:ext>
              </a:extLst>
            </p:cNvPr>
            <p:cNvSpPr/>
            <p:nvPr/>
          </p:nvSpPr>
          <p:spPr>
            <a:xfrm rot="13089394">
              <a:off x="25311" y="109952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" name="Forme libre : forme 98">
              <a:extLst>
                <a:ext uri="{FF2B5EF4-FFF2-40B4-BE49-F238E27FC236}">
                  <a16:creationId xmlns:a16="http://schemas.microsoft.com/office/drawing/2014/main" id="{12E33E54-ECAF-462B-B069-F233780DF121}"/>
                </a:ext>
              </a:extLst>
            </p:cNvPr>
            <p:cNvSpPr/>
            <p:nvPr/>
          </p:nvSpPr>
          <p:spPr>
            <a:xfrm rot="8716295">
              <a:off x="210896" y="90784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orme libre : forme 99">
              <a:extLst>
                <a:ext uri="{FF2B5EF4-FFF2-40B4-BE49-F238E27FC236}">
                  <a16:creationId xmlns:a16="http://schemas.microsoft.com/office/drawing/2014/main" id="{42ACC1F1-A8E1-420C-B7DE-55FFEE501260}"/>
                </a:ext>
              </a:extLst>
            </p:cNvPr>
            <p:cNvSpPr/>
            <p:nvPr/>
          </p:nvSpPr>
          <p:spPr>
            <a:xfrm rot="8716295">
              <a:off x="159091" y="80425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Forme libre : forme 100">
              <a:extLst>
                <a:ext uri="{FF2B5EF4-FFF2-40B4-BE49-F238E27FC236}">
                  <a16:creationId xmlns:a16="http://schemas.microsoft.com/office/drawing/2014/main" id="{B902C445-D42B-4D0E-8897-FDE236E78375}"/>
                </a:ext>
              </a:extLst>
            </p:cNvPr>
            <p:cNvSpPr/>
            <p:nvPr/>
          </p:nvSpPr>
          <p:spPr>
            <a:xfrm rot="8716295">
              <a:off x="93297" y="67523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" name="Forme libre : forme 101">
              <a:extLst>
                <a:ext uri="{FF2B5EF4-FFF2-40B4-BE49-F238E27FC236}">
                  <a16:creationId xmlns:a16="http://schemas.microsoft.com/office/drawing/2014/main" id="{4EDB9DFE-AA44-492B-9D2C-70F199FD6162}"/>
                </a:ext>
              </a:extLst>
            </p:cNvPr>
            <p:cNvSpPr/>
            <p:nvPr/>
          </p:nvSpPr>
          <p:spPr>
            <a:xfrm rot="8716295">
              <a:off x="-7001" y="316701"/>
              <a:ext cx="14001" cy="20198"/>
            </a:xfrm>
            <a:custGeom>
              <a:avLst/>
              <a:gdLst>
                <a:gd name="connsiteX0" fmla="*/ 0 w 14001"/>
                <a:gd name="connsiteY0" fmla="*/ 20198 h 20198"/>
                <a:gd name="connsiteX1" fmla="*/ 0 w 14001"/>
                <a:gd name="connsiteY1" fmla="*/ 0 h 20198"/>
                <a:gd name="connsiteX2" fmla="*/ 14001 w 14001"/>
                <a:gd name="connsiteY2" fmla="*/ 0 h 2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01" h="20198">
                  <a:moveTo>
                    <a:pt x="0" y="20198"/>
                  </a:moveTo>
                  <a:lnTo>
                    <a:pt x="0" y="0"/>
                  </a:lnTo>
                  <a:lnTo>
                    <a:pt x="1400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" name="Forme libre : forme 102">
              <a:extLst>
                <a:ext uri="{FF2B5EF4-FFF2-40B4-BE49-F238E27FC236}">
                  <a16:creationId xmlns:a16="http://schemas.microsoft.com/office/drawing/2014/main" id="{9B8E4668-5129-4061-833F-DDB8DC144C55}"/>
                </a:ext>
              </a:extLst>
            </p:cNvPr>
            <p:cNvSpPr/>
            <p:nvPr/>
          </p:nvSpPr>
          <p:spPr>
            <a:xfrm rot="13089394">
              <a:off x="-81658" y="472652"/>
              <a:ext cx="173631" cy="237684"/>
            </a:xfrm>
            <a:custGeom>
              <a:avLst/>
              <a:gdLst>
                <a:gd name="connsiteX0" fmla="*/ 173631 w 173631"/>
                <a:gd name="connsiteY0" fmla="*/ 220990 h 237684"/>
                <a:gd name="connsiteX1" fmla="*/ 130972 w 173631"/>
                <a:gd name="connsiteY1" fmla="*/ 232382 h 237684"/>
                <a:gd name="connsiteX2" fmla="*/ 91597 w 173631"/>
                <a:gd name="connsiteY2" fmla="*/ 237521 h 237684"/>
                <a:gd name="connsiteX3" fmla="*/ 23727 w 173631"/>
                <a:gd name="connsiteY3" fmla="*/ 209931 h 237684"/>
                <a:gd name="connsiteX4" fmla="*/ 0 w 173631"/>
                <a:gd name="connsiteY4" fmla="*/ 115023 h 237684"/>
                <a:gd name="connsiteX5" fmla="*/ 0 w 173631"/>
                <a:gd name="connsiteY5" fmla="*/ 0 h 237684"/>
                <a:gd name="connsiteX6" fmla="*/ 76176 w 173631"/>
                <a:gd name="connsiteY6" fmla="*/ 96953 h 237684"/>
                <a:gd name="connsiteX7" fmla="*/ 76768 w 173631"/>
                <a:gd name="connsiteY7" fmla="*/ 109023 h 237684"/>
                <a:gd name="connsiteX8" fmla="*/ 87734 w 173631"/>
                <a:gd name="connsiteY8" fmla="*/ 154201 h 237684"/>
                <a:gd name="connsiteX9" fmla="*/ 111117 w 173631"/>
                <a:gd name="connsiteY9" fmla="*/ 181514 h 237684"/>
                <a:gd name="connsiteX10" fmla="*/ 148930 w 173631"/>
                <a:gd name="connsiteY10" fmla="*/ 189552 h 237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3631" h="237684">
                  <a:moveTo>
                    <a:pt x="173631" y="220990"/>
                  </a:moveTo>
                  <a:lnTo>
                    <a:pt x="130972" y="232382"/>
                  </a:lnTo>
                  <a:cubicBezTo>
                    <a:pt x="116428" y="235210"/>
                    <a:pt x="103047" y="236831"/>
                    <a:pt x="91597" y="237521"/>
                  </a:cubicBezTo>
                  <a:cubicBezTo>
                    <a:pt x="66215" y="239176"/>
                    <a:pt x="41384" y="228141"/>
                    <a:pt x="23727" y="209931"/>
                  </a:cubicBezTo>
                  <a:cubicBezTo>
                    <a:pt x="4966" y="191722"/>
                    <a:pt x="0" y="160270"/>
                    <a:pt x="0" y="115023"/>
                  </a:cubicBezTo>
                  <a:lnTo>
                    <a:pt x="0" y="0"/>
                  </a:lnTo>
                  <a:lnTo>
                    <a:pt x="76176" y="96953"/>
                  </a:lnTo>
                  <a:lnTo>
                    <a:pt x="76768" y="109023"/>
                  </a:lnTo>
                  <a:cubicBezTo>
                    <a:pt x="79044" y="124404"/>
                    <a:pt x="82768" y="139578"/>
                    <a:pt x="87734" y="154201"/>
                  </a:cubicBezTo>
                  <a:cubicBezTo>
                    <a:pt x="92149" y="166340"/>
                    <a:pt x="100012" y="175445"/>
                    <a:pt x="111117" y="181514"/>
                  </a:cubicBezTo>
                  <a:lnTo>
                    <a:pt x="148930" y="1895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" name="Forme libre : forme 103">
              <a:extLst>
                <a:ext uri="{FF2B5EF4-FFF2-40B4-BE49-F238E27FC236}">
                  <a16:creationId xmlns:a16="http://schemas.microsoft.com/office/drawing/2014/main" id="{99FF5E45-909E-4FF2-B754-B344F6F11F69}"/>
                </a:ext>
              </a:extLst>
            </p:cNvPr>
            <p:cNvSpPr/>
            <p:nvPr/>
          </p:nvSpPr>
          <p:spPr>
            <a:xfrm rot="8716295">
              <a:off x="-11774" y="24443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" name="Forme libre : forme 104">
              <a:extLst>
                <a:ext uri="{FF2B5EF4-FFF2-40B4-BE49-F238E27FC236}">
                  <a16:creationId xmlns:a16="http://schemas.microsoft.com/office/drawing/2014/main" id="{EB79107E-889E-47A5-A1AB-E4F4B49C7BFA}"/>
                </a:ext>
              </a:extLst>
            </p:cNvPr>
            <p:cNvSpPr/>
            <p:nvPr/>
          </p:nvSpPr>
          <p:spPr>
            <a:xfrm rot="8716295">
              <a:off x="-30092" y="143486"/>
              <a:ext cx="77721" cy="97260"/>
            </a:xfrm>
            <a:custGeom>
              <a:avLst/>
              <a:gdLst>
                <a:gd name="connsiteX0" fmla="*/ 15821 w 77721"/>
                <a:gd name="connsiteY0" fmla="*/ 97260 h 97260"/>
                <a:gd name="connsiteX1" fmla="*/ 0 w 77721"/>
                <a:gd name="connsiteY1" fmla="*/ 59790 h 97260"/>
                <a:gd name="connsiteX2" fmla="*/ 0 w 77721"/>
                <a:gd name="connsiteY2" fmla="*/ 58869 h 97260"/>
                <a:gd name="connsiteX3" fmla="*/ 17477 w 77721"/>
                <a:gd name="connsiteY3" fmla="*/ 17477 h 97260"/>
                <a:gd name="connsiteX4" fmla="*/ 58869 w 77721"/>
                <a:gd name="connsiteY4" fmla="*/ 0 h 97260"/>
                <a:gd name="connsiteX5" fmla="*/ 77721 w 77721"/>
                <a:gd name="connsiteY5" fmla="*/ 7960 h 97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721" h="97260">
                  <a:moveTo>
                    <a:pt x="15821" y="97260"/>
                  </a:moveTo>
                  <a:lnTo>
                    <a:pt x="0" y="59790"/>
                  </a:ln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lnTo>
                    <a:pt x="77721" y="79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" name="Forme libre : forme 105">
              <a:extLst>
                <a:ext uri="{FF2B5EF4-FFF2-40B4-BE49-F238E27FC236}">
                  <a16:creationId xmlns:a16="http://schemas.microsoft.com/office/drawing/2014/main" id="{D8EC7674-F8C4-4C98-B223-FB48E7028D2B}"/>
                </a:ext>
              </a:extLst>
            </p:cNvPr>
            <p:cNvSpPr/>
            <p:nvPr/>
          </p:nvSpPr>
          <p:spPr>
            <a:xfrm rot="8716295">
              <a:off x="-17797" y="3452694"/>
              <a:ext cx="58455" cy="44199"/>
            </a:xfrm>
            <a:custGeom>
              <a:avLst/>
              <a:gdLst>
                <a:gd name="connsiteX0" fmla="*/ 0 w 58455"/>
                <a:gd name="connsiteY0" fmla="*/ 44199 h 44199"/>
                <a:gd name="connsiteX1" fmla="*/ 0 w 58455"/>
                <a:gd name="connsiteY1" fmla="*/ 0 h 44199"/>
                <a:gd name="connsiteX2" fmla="*/ 58455 w 58455"/>
                <a:gd name="connsiteY2" fmla="*/ 0 h 44199"/>
                <a:gd name="connsiteX3" fmla="*/ 27817 w 58455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55" h="44199">
                  <a:moveTo>
                    <a:pt x="0" y="44199"/>
                  </a:moveTo>
                  <a:lnTo>
                    <a:pt x="0" y="0"/>
                  </a:lnTo>
                  <a:lnTo>
                    <a:pt x="58455" y="0"/>
                  </a:lnTo>
                  <a:lnTo>
                    <a:pt x="27817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" name="Forme libre : forme 106">
              <a:extLst>
                <a:ext uri="{FF2B5EF4-FFF2-40B4-BE49-F238E27FC236}">
                  <a16:creationId xmlns:a16="http://schemas.microsoft.com/office/drawing/2014/main" id="{4367C4D5-414D-49AB-A590-D84D23E38E78}"/>
                </a:ext>
              </a:extLst>
            </p:cNvPr>
            <p:cNvSpPr/>
            <p:nvPr/>
          </p:nvSpPr>
          <p:spPr>
            <a:xfrm rot="13089394">
              <a:off x="-91485" y="3601812"/>
              <a:ext cx="206527" cy="292654"/>
            </a:xfrm>
            <a:custGeom>
              <a:avLst/>
              <a:gdLst>
                <a:gd name="connsiteX0" fmla="*/ 206527 w 206527"/>
                <a:gd name="connsiteY0" fmla="*/ 258693 h 292654"/>
                <a:gd name="connsiteX1" fmla="*/ 177331 w 206527"/>
                <a:gd name="connsiteY1" fmla="*/ 274971 h 292654"/>
                <a:gd name="connsiteX2" fmla="*/ 91597 w 206527"/>
                <a:gd name="connsiteY2" fmla="*/ 292491 h 292654"/>
                <a:gd name="connsiteX3" fmla="*/ 23727 w 206527"/>
                <a:gd name="connsiteY3" fmla="*/ 264901 h 292654"/>
                <a:gd name="connsiteX4" fmla="*/ 0 w 206527"/>
                <a:gd name="connsiteY4" fmla="*/ 169993 h 292654"/>
                <a:gd name="connsiteX5" fmla="*/ 0 w 206527"/>
                <a:gd name="connsiteY5" fmla="*/ 1698 h 292654"/>
                <a:gd name="connsiteX6" fmla="*/ 3273 w 206527"/>
                <a:gd name="connsiteY6" fmla="*/ 0 h 292654"/>
                <a:gd name="connsiteX7" fmla="*/ 74297 w 206527"/>
                <a:gd name="connsiteY7" fmla="*/ 90396 h 292654"/>
                <a:gd name="connsiteX8" fmla="*/ 74492 w 206527"/>
                <a:gd name="connsiteY8" fmla="*/ 117574 h 292654"/>
                <a:gd name="connsiteX9" fmla="*/ 87734 w 206527"/>
                <a:gd name="connsiteY9" fmla="*/ 209171 h 292654"/>
                <a:gd name="connsiteX10" fmla="*/ 153949 w 206527"/>
                <a:gd name="connsiteY10" fmla="*/ 245589 h 292654"/>
                <a:gd name="connsiteX11" fmla="*/ 191049 w 206527"/>
                <a:gd name="connsiteY11" fmla="*/ 238993 h 292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527" h="292654">
                  <a:moveTo>
                    <a:pt x="206527" y="258693"/>
                  </a:moveTo>
                  <a:lnTo>
                    <a:pt x="177331" y="274971"/>
                  </a:lnTo>
                  <a:cubicBezTo>
                    <a:pt x="145121" y="286007"/>
                    <a:pt x="114496" y="291111"/>
                    <a:pt x="91597" y="292491"/>
                  </a:cubicBezTo>
                  <a:cubicBezTo>
                    <a:pt x="66215" y="294146"/>
                    <a:pt x="41385" y="283111"/>
                    <a:pt x="23727" y="264901"/>
                  </a:cubicBezTo>
                  <a:cubicBezTo>
                    <a:pt x="4966" y="246692"/>
                    <a:pt x="0" y="215240"/>
                    <a:pt x="0" y="169993"/>
                  </a:cubicBezTo>
                  <a:lnTo>
                    <a:pt x="0" y="1698"/>
                  </a:lnTo>
                  <a:lnTo>
                    <a:pt x="3273" y="0"/>
                  </a:lnTo>
                  <a:lnTo>
                    <a:pt x="74297" y="90396"/>
                  </a:lnTo>
                  <a:lnTo>
                    <a:pt x="74492" y="117574"/>
                  </a:lnTo>
                  <a:cubicBezTo>
                    <a:pt x="72836" y="148474"/>
                    <a:pt x="77802" y="179926"/>
                    <a:pt x="87734" y="209171"/>
                  </a:cubicBezTo>
                  <a:cubicBezTo>
                    <a:pt x="96564" y="233450"/>
                    <a:pt x="119187" y="245589"/>
                    <a:pt x="153949" y="245589"/>
                  </a:cubicBezTo>
                  <a:lnTo>
                    <a:pt x="191049" y="2389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" name="Forme libre : forme 107">
              <a:extLst>
                <a:ext uri="{FF2B5EF4-FFF2-40B4-BE49-F238E27FC236}">
                  <a16:creationId xmlns:a16="http://schemas.microsoft.com/office/drawing/2014/main" id="{C0F2930B-1B76-4127-88A5-3C45B984D36E}"/>
                </a:ext>
              </a:extLst>
            </p:cNvPr>
            <p:cNvSpPr/>
            <p:nvPr/>
          </p:nvSpPr>
          <p:spPr>
            <a:xfrm rot="8716295">
              <a:off x="24761" y="33896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" name="Forme libre : forme 108">
              <a:extLst>
                <a:ext uri="{FF2B5EF4-FFF2-40B4-BE49-F238E27FC236}">
                  <a16:creationId xmlns:a16="http://schemas.microsoft.com/office/drawing/2014/main" id="{5D516E03-78DF-4FFF-8FB2-A397635DD48F}"/>
                </a:ext>
              </a:extLst>
            </p:cNvPr>
            <p:cNvSpPr/>
            <p:nvPr/>
          </p:nvSpPr>
          <p:spPr>
            <a:xfrm rot="8716295">
              <a:off x="-24047" y="3281741"/>
              <a:ext cx="106042" cy="113733"/>
            </a:xfrm>
            <a:custGeom>
              <a:avLst/>
              <a:gdLst>
                <a:gd name="connsiteX0" fmla="*/ 17477 w 106042"/>
                <a:gd name="connsiteY0" fmla="*/ 101182 h 113733"/>
                <a:gd name="connsiteX1" fmla="*/ 0 w 106042"/>
                <a:gd name="connsiteY1" fmla="*/ 59790 h 113733"/>
                <a:gd name="connsiteX2" fmla="*/ 0 w 106042"/>
                <a:gd name="connsiteY2" fmla="*/ 58869 h 113733"/>
                <a:gd name="connsiteX3" fmla="*/ 17477 w 106042"/>
                <a:gd name="connsiteY3" fmla="*/ 17477 h 113733"/>
                <a:gd name="connsiteX4" fmla="*/ 58869 w 106042"/>
                <a:gd name="connsiteY4" fmla="*/ 0 h 113733"/>
                <a:gd name="connsiteX5" fmla="*/ 100262 w 106042"/>
                <a:gd name="connsiteY5" fmla="*/ 17477 h 113733"/>
                <a:gd name="connsiteX6" fmla="*/ 106042 w 106042"/>
                <a:gd name="connsiteY6" fmla="*/ 31234 h 113733"/>
                <a:gd name="connsiteX7" fmla="*/ 48856 w 106042"/>
                <a:gd name="connsiteY7" fmla="*/ 113733 h 11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042" h="113733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cubicBezTo>
                    <a:pt x="74507" y="0"/>
                    <a:pt x="89224" y="6439"/>
                    <a:pt x="100262" y="17477"/>
                  </a:cubicBezTo>
                  <a:lnTo>
                    <a:pt x="106042" y="31234"/>
                  </a:lnTo>
                  <a:lnTo>
                    <a:pt x="48856" y="1137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" name="Forme libre : forme 109">
              <a:extLst>
                <a:ext uri="{FF2B5EF4-FFF2-40B4-BE49-F238E27FC236}">
                  <a16:creationId xmlns:a16="http://schemas.microsoft.com/office/drawing/2014/main" id="{4709179C-E348-4A89-8150-2CCBA6DE45C5}"/>
                </a:ext>
              </a:extLst>
            </p:cNvPr>
            <p:cNvSpPr/>
            <p:nvPr/>
          </p:nvSpPr>
          <p:spPr>
            <a:xfrm rot="8716295">
              <a:off x="-21924" y="3179872"/>
              <a:ext cx="45776" cy="62656"/>
            </a:xfrm>
            <a:custGeom>
              <a:avLst/>
              <a:gdLst>
                <a:gd name="connsiteX0" fmla="*/ 2345 w 45776"/>
                <a:gd name="connsiteY0" fmla="*/ 62656 h 62656"/>
                <a:gd name="connsiteX1" fmla="*/ 0 w 45776"/>
                <a:gd name="connsiteY1" fmla="*/ 57104 h 62656"/>
                <a:gd name="connsiteX2" fmla="*/ 0 w 45776"/>
                <a:gd name="connsiteY2" fmla="*/ 56183 h 62656"/>
                <a:gd name="connsiteX3" fmla="*/ 17477 w 45776"/>
                <a:gd name="connsiteY3" fmla="*/ 14791 h 62656"/>
                <a:gd name="connsiteX4" fmla="*/ 36449 w 45776"/>
                <a:gd name="connsiteY4" fmla="*/ 1913 h 62656"/>
                <a:gd name="connsiteX5" fmla="*/ 45776 w 45776"/>
                <a:gd name="connsiteY5" fmla="*/ 0 h 62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776" h="62656">
                  <a:moveTo>
                    <a:pt x="2345" y="62656"/>
                  </a:moveTo>
                  <a:lnTo>
                    <a:pt x="0" y="57104"/>
                  </a:lnTo>
                  <a:lnTo>
                    <a:pt x="0" y="56183"/>
                  </a:lnTo>
                  <a:cubicBezTo>
                    <a:pt x="0" y="40547"/>
                    <a:pt x="6439" y="25829"/>
                    <a:pt x="17477" y="14791"/>
                  </a:cubicBezTo>
                  <a:cubicBezTo>
                    <a:pt x="22996" y="9272"/>
                    <a:pt x="29435" y="4903"/>
                    <a:pt x="36449" y="1913"/>
                  </a:cubicBezTo>
                  <a:lnTo>
                    <a:pt x="4577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" name="Forme libre : forme 110">
              <a:extLst>
                <a:ext uri="{FF2B5EF4-FFF2-40B4-BE49-F238E27FC236}">
                  <a16:creationId xmlns:a16="http://schemas.microsoft.com/office/drawing/2014/main" id="{E216B864-0116-44B5-A0E9-8D6C9FB4451C}"/>
                </a:ext>
              </a:extLst>
            </p:cNvPr>
            <p:cNvSpPr/>
            <p:nvPr/>
          </p:nvSpPr>
          <p:spPr>
            <a:xfrm rot="8716295">
              <a:off x="-21324" y="4100649"/>
              <a:ext cx="79113" cy="50123"/>
            </a:xfrm>
            <a:custGeom>
              <a:avLst/>
              <a:gdLst>
                <a:gd name="connsiteX0" fmla="*/ 0 w 79113"/>
                <a:gd name="connsiteY0" fmla="*/ 50123 h 50123"/>
                <a:gd name="connsiteX1" fmla="*/ 0 w 79113"/>
                <a:gd name="connsiteY1" fmla="*/ 0 h 50123"/>
                <a:gd name="connsiteX2" fmla="*/ 79113 w 79113"/>
                <a:gd name="connsiteY2" fmla="*/ 0 h 50123"/>
                <a:gd name="connsiteX3" fmla="*/ 44369 w 79113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113" h="50123">
                  <a:moveTo>
                    <a:pt x="0" y="50123"/>
                  </a:moveTo>
                  <a:lnTo>
                    <a:pt x="0" y="0"/>
                  </a:lnTo>
                  <a:lnTo>
                    <a:pt x="79113" y="0"/>
                  </a:lnTo>
                  <a:lnTo>
                    <a:pt x="44369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" name="Forme libre : forme 111">
              <a:extLst>
                <a:ext uri="{FF2B5EF4-FFF2-40B4-BE49-F238E27FC236}">
                  <a16:creationId xmlns:a16="http://schemas.microsoft.com/office/drawing/2014/main" id="{E81DDFAA-1A06-4A18-8287-C68132D6876A}"/>
                </a:ext>
              </a:extLst>
            </p:cNvPr>
            <p:cNvSpPr/>
            <p:nvPr/>
          </p:nvSpPr>
          <p:spPr>
            <a:xfrm rot="8716295">
              <a:off x="-40457" y="398156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" name="Forme libre : forme 112">
              <a:extLst>
                <a:ext uri="{FF2B5EF4-FFF2-40B4-BE49-F238E27FC236}">
                  <a16:creationId xmlns:a16="http://schemas.microsoft.com/office/drawing/2014/main" id="{1D567C73-1317-457C-BAF4-E866C8E84479}"/>
                </a:ext>
              </a:extLst>
            </p:cNvPr>
            <p:cNvSpPr/>
            <p:nvPr/>
          </p:nvSpPr>
          <p:spPr>
            <a:xfrm rot="7484129">
              <a:off x="-46974" y="427316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" name="Forme libre : forme 113">
              <a:extLst>
                <a:ext uri="{FF2B5EF4-FFF2-40B4-BE49-F238E27FC236}">
                  <a16:creationId xmlns:a16="http://schemas.microsoft.com/office/drawing/2014/main" id="{4B07308E-D0A0-4D3E-9DEB-C235BB5B8299}"/>
                </a:ext>
              </a:extLst>
            </p:cNvPr>
            <p:cNvSpPr/>
            <p:nvPr/>
          </p:nvSpPr>
          <p:spPr>
            <a:xfrm rot="13089394">
              <a:off x="57846" y="423970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" name="Forme libre : forme 114">
              <a:extLst>
                <a:ext uri="{FF2B5EF4-FFF2-40B4-BE49-F238E27FC236}">
                  <a16:creationId xmlns:a16="http://schemas.microsoft.com/office/drawing/2014/main" id="{B3D02E0E-617A-4DDE-855C-BECF0834C305}"/>
                </a:ext>
              </a:extLst>
            </p:cNvPr>
            <p:cNvSpPr/>
            <p:nvPr/>
          </p:nvSpPr>
          <p:spPr>
            <a:xfrm rot="8716295">
              <a:off x="243431" y="404801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" name="Forme libre : forme 115">
              <a:extLst>
                <a:ext uri="{FF2B5EF4-FFF2-40B4-BE49-F238E27FC236}">
                  <a16:creationId xmlns:a16="http://schemas.microsoft.com/office/drawing/2014/main" id="{FCFFBDC4-0942-4E6E-9EF4-22477617D5C9}"/>
                </a:ext>
              </a:extLst>
            </p:cNvPr>
            <p:cNvSpPr/>
            <p:nvPr/>
          </p:nvSpPr>
          <p:spPr>
            <a:xfrm rot="8716295">
              <a:off x="191626" y="39444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" name="Forme libre : forme 116">
              <a:extLst>
                <a:ext uri="{FF2B5EF4-FFF2-40B4-BE49-F238E27FC236}">
                  <a16:creationId xmlns:a16="http://schemas.microsoft.com/office/drawing/2014/main" id="{6779D405-E211-4D4D-B286-FEED219E73DF}"/>
                </a:ext>
              </a:extLst>
            </p:cNvPr>
            <p:cNvSpPr/>
            <p:nvPr/>
          </p:nvSpPr>
          <p:spPr>
            <a:xfrm rot="8716295">
              <a:off x="125832" y="381540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" name="Forme libre : forme 117">
              <a:extLst>
                <a:ext uri="{FF2B5EF4-FFF2-40B4-BE49-F238E27FC236}">
                  <a16:creationId xmlns:a16="http://schemas.microsoft.com/office/drawing/2014/main" id="{1B98413D-C7CC-484D-AF71-C6706295A09F}"/>
                </a:ext>
              </a:extLst>
            </p:cNvPr>
            <p:cNvSpPr/>
            <p:nvPr/>
          </p:nvSpPr>
          <p:spPr>
            <a:xfrm rot="8716295">
              <a:off x="-73048" y="4876828"/>
              <a:ext cx="221382" cy="253349"/>
            </a:xfrm>
            <a:custGeom>
              <a:avLst/>
              <a:gdLst>
                <a:gd name="connsiteX0" fmla="*/ 51490 w 221382"/>
                <a:gd name="connsiteY0" fmla="*/ 253349 h 253349"/>
                <a:gd name="connsiteX1" fmla="*/ 51490 w 221382"/>
                <a:gd name="connsiteY1" fmla="*/ 44199 h 253349"/>
                <a:gd name="connsiteX2" fmla="*/ 0 w 221382"/>
                <a:gd name="connsiteY2" fmla="*/ 44199 h 253349"/>
                <a:gd name="connsiteX3" fmla="*/ 0 w 221382"/>
                <a:gd name="connsiteY3" fmla="*/ 0 h 253349"/>
                <a:gd name="connsiteX4" fmla="*/ 104803 w 221382"/>
                <a:gd name="connsiteY4" fmla="*/ 0 h 253349"/>
                <a:gd name="connsiteX5" fmla="*/ 104802 w 221382"/>
                <a:gd name="connsiteY5" fmla="*/ 73817 h 253349"/>
                <a:gd name="connsiteX6" fmla="*/ 106169 w 221382"/>
                <a:gd name="connsiteY6" fmla="*/ 73817 h 253349"/>
                <a:gd name="connsiteX7" fmla="*/ 154014 w 221382"/>
                <a:gd name="connsiteY7" fmla="*/ 4556 h 253349"/>
                <a:gd name="connsiteX8" fmla="*/ 174650 w 221382"/>
                <a:gd name="connsiteY8" fmla="*/ 668 h 253349"/>
                <a:gd name="connsiteX9" fmla="*/ 214075 w 221382"/>
                <a:gd name="connsiteY9" fmla="*/ 27996 h 253349"/>
                <a:gd name="connsiteX10" fmla="*/ 221382 w 221382"/>
                <a:gd name="connsiteY10" fmla="*/ 33060 h 253349"/>
                <a:gd name="connsiteX11" fmla="*/ 195540 w 221382"/>
                <a:gd name="connsiteY11" fmla="*/ 70341 h 253349"/>
                <a:gd name="connsiteX12" fmla="*/ 189157 w 221382"/>
                <a:gd name="connsiteY12" fmla="*/ 50236 h 253349"/>
                <a:gd name="connsiteX13" fmla="*/ 164950 w 221382"/>
                <a:gd name="connsiteY13" fmla="*/ 38731 h 253349"/>
                <a:gd name="connsiteX14" fmla="*/ 111638 w 221382"/>
                <a:gd name="connsiteY14" fmla="*/ 126218 h 253349"/>
                <a:gd name="connsiteX15" fmla="*/ 111638 w 221382"/>
                <a:gd name="connsiteY15" fmla="*/ 191383 h 253349"/>
                <a:gd name="connsiteX16" fmla="*/ 84096 w 221382"/>
                <a:gd name="connsiteY16" fmla="*/ 231117 h 253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1382" h="253349">
                  <a:moveTo>
                    <a:pt x="51490" y="253349"/>
                  </a:moveTo>
                  <a:lnTo>
                    <a:pt x="51490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104803" y="0"/>
                  </a:lnTo>
                  <a:lnTo>
                    <a:pt x="104802" y="73817"/>
                  </a:lnTo>
                  <a:lnTo>
                    <a:pt x="106169" y="73817"/>
                  </a:lnTo>
                  <a:cubicBezTo>
                    <a:pt x="120751" y="30529"/>
                    <a:pt x="132142" y="13670"/>
                    <a:pt x="154014" y="4556"/>
                  </a:cubicBezTo>
                  <a:lnTo>
                    <a:pt x="174650" y="668"/>
                  </a:lnTo>
                  <a:lnTo>
                    <a:pt x="214075" y="27996"/>
                  </a:lnTo>
                  <a:lnTo>
                    <a:pt x="221382" y="33060"/>
                  </a:lnTo>
                  <a:lnTo>
                    <a:pt x="195540" y="70341"/>
                  </a:lnTo>
                  <a:lnTo>
                    <a:pt x="189157" y="50236"/>
                  </a:lnTo>
                  <a:cubicBezTo>
                    <a:pt x="183177" y="42946"/>
                    <a:pt x="174747" y="38731"/>
                    <a:pt x="164950" y="38731"/>
                  </a:cubicBezTo>
                  <a:cubicBezTo>
                    <a:pt x="135788" y="38731"/>
                    <a:pt x="111638" y="77463"/>
                    <a:pt x="111638" y="126218"/>
                  </a:cubicBezTo>
                  <a:lnTo>
                    <a:pt x="111638" y="191383"/>
                  </a:lnTo>
                  <a:lnTo>
                    <a:pt x="84096" y="2311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" name="Forme libre : forme 118">
              <a:extLst>
                <a:ext uri="{FF2B5EF4-FFF2-40B4-BE49-F238E27FC236}">
                  <a16:creationId xmlns:a16="http://schemas.microsoft.com/office/drawing/2014/main" id="{6176F84A-9766-45D5-91E9-4847B60A5CD4}"/>
                </a:ext>
              </a:extLst>
            </p:cNvPr>
            <p:cNvSpPr/>
            <p:nvPr/>
          </p:nvSpPr>
          <p:spPr>
            <a:xfrm rot="8716295">
              <a:off x="93318" y="46120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" name="Forme libre : forme 119">
              <a:extLst>
                <a:ext uri="{FF2B5EF4-FFF2-40B4-BE49-F238E27FC236}">
                  <a16:creationId xmlns:a16="http://schemas.microsoft.com/office/drawing/2014/main" id="{3DA54937-5DEF-4122-B904-83A03268CA89}"/>
                </a:ext>
              </a:extLst>
            </p:cNvPr>
            <p:cNvSpPr/>
            <p:nvPr/>
          </p:nvSpPr>
          <p:spPr>
            <a:xfrm rot="8716295">
              <a:off x="182710" y="46412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" name="Forme libre : forme 120">
              <a:extLst>
                <a:ext uri="{FF2B5EF4-FFF2-40B4-BE49-F238E27FC236}">
                  <a16:creationId xmlns:a16="http://schemas.microsoft.com/office/drawing/2014/main" id="{24CD3C2A-51CB-4CA4-A2B4-FE03D227C422}"/>
                </a:ext>
              </a:extLst>
            </p:cNvPr>
            <p:cNvSpPr/>
            <p:nvPr/>
          </p:nvSpPr>
          <p:spPr>
            <a:xfrm rot="8716295">
              <a:off x="-14524" y="4699631"/>
              <a:ext cx="49997" cy="54238"/>
            </a:xfrm>
            <a:custGeom>
              <a:avLst/>
              <a:gdLst>
                <a:gd name="connsiteX0" fmla="*/ 8658 w 49997"/>
                <a:gd name="connsiteY0" fmla="*/ 50123 h 54238"/>
                <a:gd name="connsiteX1" fmla="*/ 0 w 49997"/>
                <a:gd name="connsiteY1" fmla="*/ 29619 h 54238"/>
                <a:gd name="connsiteX2" fmla="*/ 0 w 49997"/>
                <a:gd name="connsiteY2" fmla="*/ 29162 h 54238"/>
                <a:gd name="connsiteX3" fmla="*/ 8658 w 49997"/>
                <a:gd name="connsiteY3" fmla="*/ 8658 h 54238"/>
                <a:gd name="connsiteX4" fmla="*/ 29163 w 49997"/>
                <a:gd name="connsiteY4" fmla="*/ 0 h 54238"/>
                <a:gd name="connsiteX5" fmla="*/ 49668 w 49997"/>
                <a:gd name="connsiteY5" fmla="*/ 8658 h 54238"/>
                <a:gd name="connsiteX6" fmla="*/ 49997 w 49997"/>
                <a:gd name="connsiteY6" fmla="*/ 9441 h 54238"/>
                <a:gd name="connsiteX7" fmla="*/ 18945 w 49997"/>
                <a:gd name="connsiteY7" fmla="*/ 54238 h 54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997" h="54238">
                  <a:moveTo>
                    <a:pt x="8658" y="50123"/>
                  </a:moveTo>
                  <a:cubicBezTo>
                    <a:pt x="3190" y="44655"/>
                    <a:pt x="0" y="37365"/>
                    <a:pt x="0" y="29619"/>
                  </a:cubicBezTo>
                  <a:lnTo>
                    <a:pt x="0" y="29162"/>
                  </a:lnTo>
                  <a:cubicBezTo>
                    <a:pt x="0" y="21417"/>
                    <a:pt x="3190" y="14126"/>
                    <a:pt x="8658" y="8658"/>
                  </a:cubicBezTo>
                  <a:cubicBezTo>
                    <a:pt x="14126" y="3190"/>
                    <a:pt x="21416" y="0"/>
                    <a:pt x="29163" y="0"/>
                  </a:cubicBezTo>
                  <a:cubicBezTo>
                    <a:pt x="36909" y="0"/>
                    <a:pt x="44200" y="3190"/>
                    <a:pt x="49668" y="8658"/>
                  </a:cubicBezTo>
                  <a:lnTo>
                    <a:pt x="49997" y="9441"/>
                  </a:lnTo>
                  <a:lnTo>
                    <a:pt x="18945" y="54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" name="Forme libre : forme 121">
              <a:extLst>
                <a:ext uri="{FF2B5EF4-FFF2-40B4-BE49-F238E27FC236}">
                  <a16:creationId xmlns:a16="http://schemas.microsoft.com/office/drawing/2014/main" id="{7A46CCF0-E67A-4E1E-9549-23C0DBDB68E2}"/>
                </a:ext>
              </a:extLst>
            </p:cNvPr>
            <p:cNvSpPr/>
            <p:nvPr/>
          </p:nvSpPr>
          <p:spPr>
            <a:xfrm rot="8716295">
              <a:off x="-30327" y="4579755"/>
              <a:ext cx="113346" cy="71024"/>
            </a:xfrm>
            <a:custGeom>
              <a:avLst/>
              <a:gdLst>
                <a:gd name="connsiteX0" fmla="*/ 0 w 113346"/>
                <a:gd name="connsiteY0" fmla="*/ 55323 h 71024"/>
                <a:gd name="connsiteX1" fmla="*/ 0 w 113346"/>
                <a:gd name="connsiteY1" fmla="*/ 0 h 71024"/>
                <a:gd name="connsiteX2" fmla="*/ 113346 w 113346"/>
                <a:gd name="connsiteY2" fmla="*/ 0 h 71024"/>
                <a:gd name="connsiteX3" fmla="*/ 64114 w 113346"/>
                <a:gd name="connsiteY3" fmla="*/ 71024 h 71024"/>
                <a:gd name="connsiteX4" fmla="*/ 69777 w 113346"/>
                <a:gd name="connsiteY4" fmla="*/ 55323 h 7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346" h="71024">
                  <a:moveTo>
                    <a:pt x="0" y="55323"/>
                  </a:moveTo>
                  <a:lnTo>
                    <a:pt x="0" y="0"/>
                  </a:lnTo>
                  <a:lnTo>
                    <a:pt x="113346" y="0"/>
                  </a:lnTo>
                  <a:lnTo>
                    <a:pt x="64114" y="71024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" name="Forme libre : forme 122">
              <a:extLst>
                <a:ext uri="{FF2B5EF4-FFF2-40B4-BE49-F238E27FC236}">
                  <a16:creationId xmlns:a16="http://schemas.microsoft.com/office/drawing/2014/main" id="{01D04BC1-282A-4CFE-BF99-5B57F855BCBC}"/>
                </a:ext>
              </a:extLst>
            </p:cNvPr>
            <p:cNvSpPr/>
            <p:nvPr/>
          </p:nvSpPr>
          <p:spPr>
            <a:xfrm rot="8716295">
              <a:off x="71262" y="47415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" name="Forme libre : forme 123">
              <a:extLst>
                <a:ext uri="{FF2B5EF4-FFF2-40B4-BE49-F238E27FC236}">
                  <a16:creationId xmlns:a16="http://schemas.microsoft.com/office/drawing/2014/main" id="{A04953EA-5C79-45C4-9757-065EFCA47539}"/>
                </a:ext>
              </a:extLst>
            </p:cNvPr>
            <p:cNvSpPr/>
            <p:nvPr/>
          </p:nvSpPr>
          <p:spPr>
            <a:xfrm rot="7484129">
              <a:off x="172059" y="493353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170341 w 203847"/>
                <a:gd name="connsiteY5" fmla="*/ 0 h 195874"/>
                <a:gd name="connsiteX6" fmla="*/ 203847 w 203847"/>
                <a:gd name="connsiteY6" fmla="*/ 48325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170341" y="0"/>
                  </a:lnTo>
                  <a:lnTo>
                    <a:pt x="203847" y="48325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" name="Forme libre : forme 124">
              <a:extLst>
                <a:ext uri="{FF2B5EF4-FFF2-40B4-BE49-F238E27FC236}">
                  <a16:creationId xmlns:a16="http://schemas.microsoft.com/office/drawing/2014/main" id="{49CB50EA-8DFB-4219-A82A-979E56D219DC}"/>
                </a:ext>
              </a:extLst>
            </p:cNvPr>
            <p:cNvSpPr/>
            <p:nvPr/>
          </p:nvSpPr>
          <p:spPr>
            <a:xfrm rot="13089394">
              <a:off x="313551" y="4906246"/>
              <a:ext cx="221827" cy="205098"/>
            </a:xfrm>
            <a:custGeom>
              <a:avLst/>
              <a:gdLst>
                <a:gd name="connsiteX0" fmla="*/ 24153 w 221827"/>
                <a:gd name="connsiteY0" fmla="*/ 55168 h 205098"/>
                <a:gd name="connsiteX1" fmla="*/ 0 w 221827"/>
                <a:gd name="connsiteY1" fmla="*/ 18385 h 205098"/>
                <a:gd name="connsiteX2" fmla="*/ 23400 w 221827"/>
                <a:gd name="connsiteY2" fmla="*/ 0 h 205098"/>
                <a:gd name="connsiteX3" fmla="*/ 23735 w 221827"/>
                <a:gd name="connsiteY3" fmla="*/ 46640 h 205098"/>
                <a:gd name="connsiteX4" fmla="*/ 221827 w 221827"/>
                <a:gd name="connsiteY4" fmla="*/ 150928 h 205098"/>
                <a:gd name="connsiteX5" fmla="*/ 126574 w 221827"/>
                <a:gd name="connsiteY5" fmla="*/ 204038 h 205098"/>
                <a:gd name="connsiteX6" fmla="*/ 122603 w 221827"/>
                <a:gd name="connsiteY6" fmla="*/ 205098 h 205098"/>
                <a:gd name="connsiteX7" fmla="*/ 102519 w 221827"/>
                <a:gd name="connsiteY7" fmla="*/ 174512 h 205098"/>
                <a:gd name="connsiteX8" fmla="*/ 103192 w 221827"/>
                <a:gd name="connsiteY8" fmla="*/ 174655 h 205098"/>
                <a:gd name="connsiteX9" fmla="*/ 152853 w 221827"/>
                <a:gd name="connsiteY9" fmla="*/ 165826 h 205098"/>
                <a:gd name="connsiteX10" fmla="*/ 220723 w 221827"/>
                <a:gd name="connsiteY10" fmla="*/ 138237 h 205098"/>
                <a:gd name="connsiteX11" fmla="*/ 221827 w 221827"/>
                <a:gd name="connsiteY11" fmla="*/ 145410 h 205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1827" h="205098">
                  <a:moveTo>
                    <a:pt x="24153" y="55168"/>
                  </a:moveTo>
                  <a:lnTo>
                    <a:pt x="0" y="18385"/>
                  </a:lnTo>
                  <a:lnTo>
                    <a:pt x="23400" y="0"/>
                  </a:lnTo>
                  <a:lnTo>
                    <a:pt x="23735" y="46640"/>
                  </a:lnTo>
                  <a:close/>
                  <a:moveTo>
                    <a:pt x="221827" y="150928"/>
                  </a:moveTo>
                  <a:cubicBezTo>
                    <a:pt x="192582" y="176035"/>
                    <a:pt x="158785" y="193002"/>
                    <a:pt x="126574" y="204038"/>
                  </a:cubicBezTo>
                  <a:lnTo>
                    <a:pt x="122603" y="205098"/>
                  </a:lnTo>
                  <a:lnTo>
                    <a:pt x="102519" y="174512"/>
                  </a:lnTo>
                  <a:lnTo>
                    <a:pt x="103192" y="174655"/>
                  </a:lnTo>
                  <a:cubicBezTo>
                    <a:pt x="120298" y="174103"/>
                    <a:pt x="136851" y="170792"/>
                    <a:pt x="152853" y="165826"/>
                  </a:cubicBezTo>
                  <a:cubicBezTo>
                    <a:pt x="176028" y="158653"/>
                    <a:pt x="198652" y="149273"/>
                    <a:pt x="220723" y="138237"/>
                  </a:cubicBezTo>
                  <a:cubicBezTo>
                    <a:pt x="221275" y="140444"/>
                    <a:pt x="221827" y="143203"/>
                    <a:pt x="221827" y="1454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" name="Forme libre : forme 125">
              <a:extLst>
                <a:ext uri="{FF2B5EF4-FFF2-40B4-BE49-F238E27FC236}">
                  <a16:creationId xmlns:a16="http://schemas.microsoft.com/office/drawing/2014/main" id="{5146513B-5632-4832-9AF5-1E4051EECD28}"/>
                </a:ext>
              </a:extLst>
            </p:cNvPr>
            <p:cNvSpPr/>
            <p:nvPr/>
          </p:nvSpPr>
          <p:spPr>
            <a:xfrm rot="8716295">
              <a:off x="406370" y="4600606"/>
              <a:ext cx="113655" cy="117117"/>
            </a:xfrm>
            <a:custGeom>
              <a:avLst/>
              <a:gdLst>
                <a:gd name="connsiteX0" fmla="*/ 13623 w 113655"/>
                <a:gd name="connsiteY0" fmla="*/ 100559 h 117117"/>
                <a:gd name="connsiteX1" fmla="*/ 0 w 113655"/>
                <a:gd name="connsiteY1" fmla="*/ 68296 h 117117"/>
                <a:gd name="connsiteX2" fmla="*/ 56488 w 113655"/>
                <a:gd name="connsiteY2" fmla="*/ 0 h 117117"/>
                <a:gd name="connsiteX3" fmla="*/ 96408 w 113655"/>
                <a:gd name="connsiteY3" fmla="*/ 16856 h 117117"/>
                <a:gd name="connsiteX4" fmla="*/ 96408 w 113655"/>
                <a:gd name="connsiteY4" fmla="*/ 99640 h 117117"/>
                <a:gd name="connsiteX5" fmla="*/ 55015 w 113655"/>
                <a:gd name="connsiteY5" fmla="*/ 117117 h 117117"/>
                <a:gd name="connsiteX6" fmla="*/ 13623 w 113655"/>
                <a:gd name="connsiteY6" fmla="*/ 100559 h 117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655" h="117117">
                  <a:moveTo>
                    <a:pt x="13623" y="100559"/>
                  </a:moveTo>
                  <a:lnTo>
                    <a:pt x="0" y="68296"/>
                  </a:lnTo>
                  <a:lnTo>
                    <a:pt x="56488" y="0"/>
                  </a:lnTo>
                  <a:lnTo>
                    <a:pt x="96408" y="16856"/>
                  </a:lnTo>
                  <a:cubicBezTo>
                    <a:pt x="119404" y="38931"/>
                    <a:pt x="119404" y="76644"/>
                    <a:pt x="96408" y="99640"/>
                  </a:cubicBezTo>
                  <a:cubicBezTo>
                    <a:pt x="85370" y="110678"/>
                    <a:pt x="70653" y="117116"/>
                    <a:pt x="55015" y="117117"/>
                  </a:cubicBezTo>
                  <a:cubicBezTo>
                    <a:pt x="39378" y="117117"/>
                    <a:pt x="24661" y="111597"/>
                    <a:pt x="13623" y="10055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" name="Forme libre : forme 126">
              <a:extLst>
                <a:ext uri="{FF2B5EF4-FFF2-40B4-BE49-F238E27FC236}">
                  <a16:creationId xmlns:a16="http://schemas.microsoft.com/office/drawing/2014/main" id="{FE3150CC-51A0-4255-BE10-7C4DD2D82ED1}"/>
                </a:ext>
              </a:extLst>
            </p:cNvPr>
            <p:cNvSpPr/>
            <p:nvPr/>
          </p:nvSpPr>
          <p:spPr>
            <a:xfrm rot="8716295">
              <a:off x="171547" y="46343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" name="Forme libre : forme 127">
              <a:extLst>
                <a:ext uri="{FF2B5EF4-FFF2-40B4-BE49-F238E27FC236}">
                  <a16:creationId xmlns:a16="http://schemas.microsoft.com/office/drawing/2014/main" id="{3071C62B-77D8-4A0E-86A6-83549F6B4AD6}"/>
                </a:ext>
              </a:extLst>
            </p:cNvPr>
            <p:cNvSpPr/>
            <p:nvPr/>
          </p:nvSpPr>
          <p:spPr>
            <a:xfrm rot="8716295">
              <a:off x="348999" y="44751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131" name="Rectangle 130">
            <a:extLst>
              <a:ext uri="{FF2B5EF4-FFF2-40B4-BE49-F238E27FC236}">
                <a16:creationId xmlns:a16="http://schemas.microsoft.com/office/drawing/2014/main" id="{37E36065-AEDE-402C-AFB2-AFD8D421B3D5}"/>
              </a:ext>
            </a:extLst>
          </p:cNvPr>
          <p:cNvSpPr/>
          <p:nvPr/>
        </p:nvSpPr>
        <p:spPr>
          <a:xfrm>
            <a:off x="1675026" y="1246048"/>
            <a:ext cx="360000" cy="45719"/>
          </a:xfrm>
          <a:prstGeom prst="rect">
            <a:avLst/>
          </a:prstGeom>
          <a:solidFill>
            <a:srgbClr val="3A1B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1" name="Espace réservé du texte 533">
            <a:extLst>
              <a:ext uri="{FF2B5EF4-FFF2-40B4-BE49-F238E27FC236}">
                <a16:creationId xmlns:a16="http://schemas.microsoft.com/office/drawing/2014/main" id="{9CC94730-7BAA-423F-882E-35EC64D162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97959" y="1685677"/>
            <a:ext cx="7316491" cy="295060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300"/>
              </a:spcBef>
              <a:spcAft>
                <a:spcPts val="1000"/>
              </a:spcAft>
              <a:buNone/>
              <a:defRPr sz="1100">
                <a:solidFill>
                  <a:schemeClr val="tx1"/>
                </a:solidFill>
              </a:defRPr>
            </a:lvl2pPr>
            <a:lvl3pPr marL="270000" indent="-270000" algn="l" defTabSz="457200" rtl="0" eaLnBrk="1" latinLnBrk="0" hangingPunct="1">
              <a:spcBef>
                <a:spcPts val="400"/>
              </a:spcBef>
              <a:spcAft>
                <a:spcPts val="1000"/>
              </a:spcAft>
              <a:buSzPct val="100000"/>
              <a:buFontTx/>
              <a:buBlip>
                <a:blip r:embed="rId2"/>
              </a:buBlip>
              <a:defRPr lang="fr-FR" sz="1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0000" indent="-269875">
              <a:spcBef>
                <a:spcPts val="400"/>
              </a:spcBef>
              <a:spcAft>
                <a:spcPts val="1000"/>
              </a:spcAft>
              <a:buFontTx/>
              <a:buBlip>
                <a:blip r:embed="rId3"/>
              </a:buBlip>
              <a:defRPr sz="1000" b="1">
                <a:solidFill>
                  <a:schemeClr val="tx1"/>
                </a:solidFill>
              </a:defRPr>
            </a:lvl4pPr>
            <a:lvl5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4"/>
              </a:buBlip>
              <a:defRPr sz="1000" b="1">
                <a:solidFill>
                  <a:schemeClr val="tx1"/>
                </a:solidFill>
              </a:defRPr>
            </a:lvl5pPr>
            <a:lvl6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5"/>
              </a:buBlip>
              <a:defRPr sz="1000" b="1">
                <a:solidFill>
                  <a:schemeClr val="tx1"/>
                </a:solidFill>
              </a:defRPr>
            </a:lvl6pPr>
            <a:lvl7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6"/>
              </a:buBlip>
              <a:defRPr sz="1000" b="1">
                <a:solidFill>
                  <a:schemeClr val="tx1"/>
                </a:solidFill>
              </a:defRPr>
            </a:lvl7pPr>
            <a:lvl8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7"/>
              </a:buBlip>
              <a:defRPr sz="1000" b="1">
                <a:solidFill>
                  <a:schemeClr val="tx1"/>
                </a:solidFill>
              </a:defRPr>
            </a:lvl8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Puce bleu</a:t>
            </a:r>
          </a:p>
          <a:p>
            <a:pPr lvl="3"/>
            <a:r>
              <a:rPr lang="fr-FR" dirty="0"/>
              <a:t>Puce orange</a:t>
            </a:r>
          </a:p>
          <a:p>
            <a:pPr lvl="4"/>
            <a:r>
              <a:rPr lang="fr-FR" dirty="0"/>
              <a:t>Puce rouge</a:t>
            </a:r>
          </a:p>
          <a:p>
            <a:pPr lvl="5"/>
            <a:r>
              <a:rPr lang="fr-FR" dirty="0"/>
              <a:t>Puce vert d’eau</a:t>
            </a:r>
          </a:p>
          <a:p>
            <a:pPr lvl="6"/>
            <a:r>
              <a:rPr lang="fr-FR" dirty="0"/>
              <a:t>Puce verte</a:t>
            </a:r>
          </a:p>
          <a:p>
            <a:pPr lvl="7"/>
            <a:r>
              <a:rPr lang="fr-FR" dirty="0"/>
              <a:t>Puce violette</a:t>
            </a:r>
          </a:p>
        </p:txBody>
      </p:sp>
      <p:sp>
        <p:nvSpPr>
          <p:cNvPr id="129" name="Espace réservé du numéro de diapositive 128">
            <a:extLst>
              <a:ext uri="{FF2B5EF4-FFF2-40B4-BE49-F238E27FC236}">
                <a16:creationId xmlns:a16="http://schemas.microsoft.com/office/drawing/2014/main" id="{9351D048-E652-4E14-9A68-6779614909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9681" y="3148262"/>
            <a:ext cx="444626" cy="1995238"/>
          </a:xfrm>
          <a:custGeom>
            <a:avLst/>
            <a:gdLst>
              <a:gd name="connsiteX0" fmla="*/ 169868 w 444626"/>
              <a:gd name="connsiteY0" fmla="*/ 0 h 1995238"/>
              <a:gd name="connsiteX1" fmla="*/ 444626 w 444626"/>
              <a:gd name="connsiteY1" fmla="*/ 1995238 h 1995238"/>
              <a:gd name="connsiteX2" fmla="*/ 0 w 444626"/>
              <a:gd name="connsiteY2" fmla="*/ 1995238 h 1995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4626" h="1995238">
                <a:moveTo>
                  <a:pt x="169868" y="0"/>
                </a:moveTo>
                <a:lnTo>
                  <a:pt x="444626" y="1995238"/>
                </a:lnTo>
                <a:lnTo>
                  <a:pt x="0" y="199523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180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428044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ur une lign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Forme libre : forme 137">
            <a:extLst>
              <a:ext uri="{FF2B5EF4-FFF2-40B4-BE49-F238E27FC236}">
                <a16:creationId xmlns:a16="http://schemas.microsoft.com/office/drawing/2014/main" id="{0FDE4FE4-FDFC-41B3-BDA4-CE918EEAE71E}"/>
              </a:ext>
            </a:extLst>
          </p:cNvPr>
          <p:cNvSpPr/>
          <p:nvPr userDrawn="1"/>
        </p:nvSpPr>
        <p:spPr>
          <a:xfrm>
            <a:off x="629550" y="0"/>
            <a:ext cx="8514451" cy="5143499"/>
          </a:xfrm>
          <a:custGeom>
            <a:avLst/>
            <a:gdLst>
              <a:gd name="connsiteX0" fmla="*/ 689595 w 8514451"/>
              <a:gd name="connsiteY0" fmla="*/ 884098 h 5143499"/>
              <a:gd name="connsiteX1" fmla="*/ 689595 w 8514451"/>
              <a:gd name="connsiteY1" fmla="*/ 929817 h 5143499"/>
              <a:gd name="connsiteX2" fmla="*/ 1049595 w 8514451"/>
              <a:gd name="connsiteY2" fmla="*/ 929817 h 5143499"/>
              <a:gd name="connsiteX3" fmla="*/ 1049595 w 8514451"/>
              <a:gd name="connsiteY3" fmla="*/ 884098 h 5143499"/>
              <a:gd name="connsiteX4" fmla="*/ 268034 w 8514451"/>
              <a:gd name="connsiteY4" fmla="*/ 0 h 5143499"/>
              <a:gd name="connsiteX5" fmla="*/ 8514451 w 8514451"/>
              <a:gd name="connsiteY5" fmla="*/ 0 h 5143499"/>
              <a:gd name="connsiteX6" fmla="*/ 8514451 w 8514451"/>
              <a:gd name="connsiteY6" fmla="*/ 5143499 h 5143499"/>
              <a:gd name="connsiteX7" fmla="*/ 274758 w 8514451"/>
              <a:gd name="connsiteY7" fmla="*/ 5143499 h 5143499"/>
              <a:gd name="connsiteX8" fmla="*/ 0 w 8514451"/>
              <a:gd name="connsiteY8" fmla="*/ 3148262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514451" h="5143499">
                <a:moveTo>
                  <a:pt x="689595" y="884098"/>
                </a:moveTo>
                <a:lnTo>
                  <a:pt x="689595" y="929817"/>
                </a:lnTo>
                <a:lnTo>
                  <a:pt x="1049595" y="929817"/>
                </a:lnTo>
                <a:lnTo>
                  <a:pt x="1049595" y="884098"/>
                </a:lnTo>
                <a:close/>
                <a:moveTo>
                  <a:pt x="268034" y="0"/>
                </a:moveTo>
                <a:lnTo>
                  <a:pt x="8514451" y="0"/>
                </a:lnTo>
                <a:lnTo>
                  <a:pt x="8514451" y="5143499"/>
                </a:lnTo>
                <a:lnTo>
                  <a:pt x="274758" y="5143499"/>
                </a:lnTo>
                <a:lnTo>
                  <a:pt x="0" y="31482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48DF42C1-5220-478C-ABAC-92E468D673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Titre de la slide sur une ligne</a:t>
            </a:r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EE6FDC8C-3CED-409B-A90D-CC766521C58C}"/>
              </a:ext>
            </a:extLst>
          </p:cNvPr>
          <p:cNvGrpSpPr/>
          <p:nvPr userDrawn="1"/>
        </p:nvGrpSpPr>
        <p:grpSpPr>
          <a:xfrm>
            <a:off x="-91485" y="-57106"/>
            <a:ext cx="1008300" cy="5190499"/>
            <a:chOff x="-91485" y="-57106"/>
            <a:chExt cx="1008300" cy="5190499"/>
          </a:xfrm>
        </p:grpSpPr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4100D4C0-1B0B-4813-97B4-727B3F07A2B3}"/>
                </a:ext>
              </a:extLst>
            </p:cNvPr>
            <p:cNvSpPr/>
            <p:nvPr/>
          </p:nvSpPr>
          <p:spPr>
            <a:xfrm rot="8716295">
              <a:off x="617786" y="1780350"/>
              <a:ext cx="152726" cy="195873"/>
            </a:xfrm>
            <a:custGeom>
              <a:avLst/>
              <a:gdLst>
                <a:gd name="connsiteX0" fmla="*/ 39589 w 152726"/>
                <a:gd name="connsiteY0" fmla="*/ 195873 h 195873"/>
                <a:gd name="connsiteX1" fmla="*/ 0 w 152726"/>
                <a:gd name="connsiteY1" fmla="*/ 122219 h 195873"/>
                <a:gd name="connsiteX2" fmla="*/ 101089 w 152726"/>
                <a:gd name="connsiteY2" fmla="*/ 0 h 195873"/>
                <a:gd name="connsiteX3" fmla="*/ 152726 w 152726"/>
                <a:gd name="connsiteY3" fmla="*/ 0 h 195873"/>
                <a:gd name="connsiteX4" fmla="*/ 152726 w 152726"/>
                <a:gd name="connsiteY4" fmla="*/ 55323 h 195873"/>
                <a:gd name="connsiteX5" fmla="*/ 87934 w 152726"/>
                <a:gd name="connsiteY5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726" h="195873">
                  <a:moveTo>
                    <a:pt x="39589" y="195873"/>
                  </a:moveTo>
                  <a:lnTo>
                    <a:pt x="0" y="122219"/>
                  </a:lnTo>
                  <a:lnTo>
                    <a:pt x="101089" y="0"/>
                  </a:lnTo>
                  <a:lnTo>
                    <a:pt x="152726" y="0"/>
                  </a:lnTo>
                  <a:lnTo>
                    <a:pt x="152726" y="55323"/>
                  </a:lnTo>
                  <a:lnTo>
                    <a:pt x="87934" y="5532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CB9A2237-374C-411A-AB62-0191ED80FFE2}"/>
                </a:ext>
              </a:extLst>
            </p:cNvPr>
            <p:cNvSpPr/>
            <p:nvPr/>
          </p:nvSpPr>
          <p:spPr>
            <a:xfrm rot="8716295">
              <a:off x="534441" y="1654353"/>
              <a:ext cx="262864" cy="103234"/>
            </a:xfrm>
            <a:custGeom>
              <a:avLst/>
              <a:gdLst>
                <a:gd name="connsiteX0" fmla="*/ 0 w 262864"/>
                <a:gd name="connsiteY0" fmla="*/ 75341 h 103234"/>
                <a:gd name="connsiteX1" fmla="*/ 62316 w 262864"/>
                <a:gd name="connsiteY1" fmla="*/ 0 h 103234"/>
                <a:gd name="connsiteX2" fmla="*/ 65768 w 262864"/>
                <a:gd name="connsiteY2" fmla="*/ 14220 h 103234"/>
                <a:gd name="connsiteX3" fmla="*/ 136369 w 262864"/>
                <a:gd name="connsiteY3" fmla="*/ 53051 h 103234"/>
                <a:gd name="connsiteX4" fmla="*/ 189321 w 262864"/>
                <a:gd name="connsiteY4" fmla="*/ 43637 h 103234"/>
                <a:gd name="connsiteX5" fmla="*/ 261688 w 262864"/>
                <a:gd name="connsiteY5" fmla="*/ 14220 h 103234"/>
                <a:gd name="connsiteX6" fmla="*/ 262864 w 262864"/>
                <a:gd name="connsiteY6" fmla="*/ 21868 h 103234"/>
                <a:gd name="connsiteX7" fmla="*/ 262864 w 262864"/>
                <a:gd name="connsiteY7" fmla="*/ 27752 h 103234"/>
                <a:gd name="connsiteX8" fmla="*/ 69887 w 262864"/>
                <a:gd name="connsiteY8" fmla="*/ 103060 h 103234"/>
                <a:gd name="connsiteX9" fmla="*/ 30615 w 262864"/>
                <a:gd name="connsiteY9" fmla="*/ 96294 h 103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2864" h="103234">
                  <a:moveTo>
                    <a:pt x="0" y="75341"/>
                  </a:moveTo>
                  <a:lnTo>
                    <a:pt x="62316" y="0"/>
                  </a:lnTo>
                  <a:lnTo>
                    <a:pt x="65768" y="14220"/>
                  </a:lnTo>
                  <a:cubicBezTo>
                    <a:pt x="75182" y="40107"/>
                    <a:pt x="99304" y="53051"/>
                    <a:pt x="136369" y="53051"/>
                  </a:cubicBezTo>
                  <a:cubicBezTo>
                    <a:pt x="154609" y="52462"/>
                    <a:pt x="172259" y="48932"/>
                    <a:pt x="189321" y="43637"/>
                  </a:cubicBezTo>
                  <a:cubicBezTo>
                    <a:pt x="214031" y="35988"/>
                    <a:pt x="238154" y="25987"/>
                    <a:pt x="261688" y="14220"/>
                  </a:cubicBezTo>
                  <a:cubicBezTo>
                    <a:pt x="262276" y="16573"/>
                    <a:pt x="262864" y="19515"/>
                    <a:pt x="262864" y="21868"/>
                  </a:cubicBezTo>
                  <a:lnTo>
                    <a:pt x="262864" y="27752"/>
                  </a:lnTo>
                  <a:cubicBezTo>
                    <a:pt x="200500" y="81291"/>
                    <a:pt x="118719" y="100119"/>
                    <a:pt x="69887" y="103060"/>
                  </a:cubicBezTo>
                  <a:cubicBezTo>
                    <a:pt x="56355" y="103943"/>
                    <a:pt x="42970" y="101442"/>
                    <a:pt x="30615" y="96294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8F8A3734-3F77-44C7-9A38-570198540CBC}"/>
                </a:ext>
              </a:extLst>
            </p:cNvPr>
            <p:cNvSpPr/>
            <p:nvPr/>
          </p:nvSpPr>
          <p:spPr>
            <a:xfrm rot="8716295">
              <a:off x="632719" y="1232432"/>
              <a:ext cx="121558" cy="232388"/>
            </a:xfrm>
            <a:custGeom>
              <a:avLst/>
              <a:gdLst>
                <a:gd name="connsiteX0" fmla="*/ 60499 w 121558"/>
                <a:gd name="connsiteY0" fmla="*/ 232388 h 232388"/>
                <a:gd name="connsiteX1" fmla="*/ 60499 w 121558"/>
                <a:gd name="connsiteY1" fmla="*/ 69717 h 232388"/>
                <a:gd name="connsiteX2" fmla="*/ 60499 w 121558"/>
                <a:gd name="connsiteY2" fmla="*/ 65615 h 232388"/>
                <a:gd name="connsiteX3" fmla="*/ 39995 w 121558"/>
                <a:gd name="connsiteY3" fmla="*/ 50123 h 232388"/>
                <a:gd name="connsiteX4" fmla="*/ 0 w 121558"/>
                <a:gd name="connsiteY4" fmla="*/ 50123 h 232388"/>
                <a:gd name="connsiteX5" fmla="*/ 41457 w 121558"/>
                <a:gd name="connsiteY5" fmla="*/ 0 h 232388"/>
                <a:gd name="connsiteX6" fmla="*/ 64601 w 121558"/>
                <a:gd name="connsiteY6" fmla="*/ 0 h 232388"/>
                <a:gd name="connsiteX7" fmla="*/ 121558 w 121558"/>
                <a:gd name="connsiteY7" fmla="*/ 50123 h 232388"/>
                <a:gd name="connsiteX8" fmla="*/ 121558 w 121558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558" h="232388">
                  <a:moveTo>
                    <a:pt x="60499" y="232388"/>
                  </a:moveTo>
                  <a:lnTo>
                    <a:pt x="60499" y="69717"/>
                  </a:lnTo>
                  <a:cubicBezTo>
                    <a:pt x="60499" y="68349"/>
                    <a:pt x="60499" y="66983"/>
                    <a:pt x="60499" y="65615"/>
                  </a:cubicBezTo>
                  <a:cubicBezTo>
                    <a:pt x="59133" y="55591"/>
                    <a:pt x="50019" y="48756"/>
                    <a:pt x="39995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64601" y="0"/>
                  </a:lnTo>
                  <a:cubicBezTo>
                    <a:pt x="101509" y="0"/>
                    <a:pt x="121558" y="15948"/>
                    <a:pt x="121558" y="50123"/>
                  </a:cubicBezTo>
                  <a:lnTo>
                    <a:pt x="121558" y="208238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70856B7B-717B-4AEA-95A4-A1E79A999538}"/>
                </a:ext>
              </a:extLst>
            </p:cNvPr>
            <p:cNvSpPr/>
            <p:nvPr/>
          </p:nvSpPr>
          <p:spPr>
            <a:xfrm rot="8716295">
              <a:off x="763454" y="1474783"/>
              <a:ext cx="14143" cy="14319"/>
            </a:xfrm>
            <a:custGeom>
              <a:avLst/>
              <a:gdLst>
                <a:gd name="connsiteX0" fmla="*/ 0 w 14143"/>
                <a:gd name="connsiteY0" fmla="*/ 14319 h 14319"/>
                <a:gd name="connsiteX1" fmla="*/ 11843 w 14143"/>
                <a:gd name="connsiteY1" fmla="*/ 0 h 14319"/>
                <a:gd name="connsiteX2" fmla="*/ 14143 w 14143"/>
                <a:gd name="connsiteY2" fmla="*/ 7563 h 14319"/>
                <a:gd name="connsiteX3" fmla="*/ 14143 w 14143"/>
                <a:gd name="connsiteY3" fmla="*/ 13487 h 1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43" h="14319">
                  <a:moveTo>
                    <a:pt x="0" y="14319"/>
                  </a:moveTo>
                  <a:lnTo>
                    <a:pt x="11843" y="0"/>
                  </a:lnTo>
                  <a:lnTo>
                    <a:pt x="14143" y="7563"/>
                  </a:lnTo>
                  <a:lnTo>
                    <a:pt x="14143" y="13487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3E264A51-6081-4342-94AB-E5098D8BEE47}"/>
                </a:ext>
              </a:extLst>
            </p:cNvPr>
            <p:cNvSpPr/>
            <p:nvPr/>
          </p:nvSpPr>
          <p:spPr>
            <a:xfrm rot="8716295">
              <a:off x="672878" y="1171577"/>
              <a:ext cx="183964" cy="137618"/>
            </a:xfrm>
            <a:custGeom>
              <a:avLst/>
              <a:gdLst>
                <a:gd name="connsiteX0" fmla="*/ 0 w 183964"/>
                <a:gd name="connsiteY0" fmla="*/ 137618 h 137618"/>
                <a:gd name="connsiteX1" fmla="*/ 53346 w 183964"/>
                <a:gd name="connsiteY1" fmla="*/ 73121 h 137618"/>
                <a:gd name="connsiteX2" fmla="*/ 101034 w 183964"/>
                <a:gd name="connsiteY2" fmla="*/ 28251 h 137618"/>
                <a:gd name="connsiteX3" fmla="*/ 155713 w 183964"/>
                <a:gd name="connsiteY3" fmla="*/ 0 h 137618"/>
                <a:gd name="connsiteX4" fmla="*/ 183964 w 183964"/>
                <a:gd name="connsiteY4" fmla="*/ 33719 h 137618"/>
                <a:gd name="connsiteX5" fmla="*/ 157536 w 183964"/>
                <a:gd name="connsiteY5" fmla="*/ 69261 h 137618"/>
                <a:gd name="connsiteX6" fmla="*/ 157991 w 183964"/>
                <a:gd name="connsiteY6" fmla="*/ 69261 h 137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3964" h="137618">
                  <a:moveTo>
                    <a:pt x="0" y="137618"/>
                  </a:moveTo>
                  <a:lnTo>
                    <a:pt x="53346" y="73121"/>
                  </a:lnTo>
                  <a:lnTo>
                    <a:pt x="101034" y="28251"/>
                  </a:lnTo>
                  <a:cubicBezTo>
                    <a:pt x="114703" y="12303"/>
                    <a:pt x="134297" y="2278"/>
                    <a:pt x="155713" y="0"/>
                  </a:cubicBezTo>
                  <a:cubicBezTo>
                    <a:pt x="177585" y="0"/>
                    <a:pt x="183964" y="19138"/>
                    <a:pt x="183964" y="33719"/>
                  </a:cubicBezTo>
                  <a:cubicBezTo>
                    <a:pt x="182597" y="49667"/>
                    <a:pt x="172117" y="62881"/>
                    <a:pt x="157536" y="69261"/>
                  </a:cubicBezTo>
                  <a:lnTo>
                    <a:pt x="157991" y="69261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03D4C536-74A8-424A-B4F4-647CD66813A6}"/>
                </a:ext>
              </a:extLst>
            </p:cNvPr>
            <p:cNvSpPr/>
            <p:nvPr/>
          </p:nvSpPr>
          <p:spPr>
            <a:xfrm rot="8716295">
              <a:off x="519479" y="13148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6C726A65-5764-428F-B78B-B207E19CC8A7}"/>
                </a:ext>
              </a:extLst>
            </p:cNvPr>
            <p:cNvSpPr/>
            <p:nvPr/>
          </p:nvSpPr>
          <p:spPr>
            <a:xfrm rot="8716295">
              <a:off x="394576" y="11061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B057F75B-3923-494B-B65B-A96E682E21D4}"/>
                </a:ext>
              </a:extLst>
            </p:cNvPr>
            <p:cNvSpPr/>
            <p:nvPr/>
          </p:nvSpPr>
          <p:spPr>
            <a:xfrm rot="8716295">
              <a:off x="382524" y="96739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B57FA1DB-CF40-4C3B-8603-B0C589DE9032}"/>
                </a:ext>
              </a:extLst>
            </p:cNvPr>
            <p:cNvSpPr/>
            <p:nvPr/>
          </p:nvSpPr>
          <p:spPr>
            <a:xfrm rot="8716295">
              <a:off x="609657" y="135579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8AA6873E-3CFC-4928-9C0D-5E1C199A6A43}"/>
                </a:ext>
              </a:extLst>
            </p:cNvPr>
            <p:cNvSpPr/>
            <p:nvPr/>
          </p:nvSpPr>
          <p:spPr>
            <a:xfrm rot="8716295">
              <a:off x="683426" y="869567"/>
              <a:ext cx="156000" cy="195873"/>
            </a:xfrm>
            <a:custGeom>
              <a:avLst/>
              <a:gdLst>
                <a:gd name="connsiteX0" fmla="*/ 42863 w 156000"/>
                <a:gd name="connsiteY0" fmla="*/ 195873 h 195873"/>
                <a:gd name="connsiteX1" fmla="*/ 0 w 156000"/>
                <a:gd name="connsiteY1" fmla="*/ 116129 h 195873"/>
                <a:gd name="connsiteX2" fmla="*/ 5100 w 156000"/>
                <a:gd name="connsiteY2" fmla="*/ 101988 h 195873"/>
                <a:gd name="connsiteX3" fmla="*/ 89456 w 156000"/>
                <a:gd name="connsiteY3" fmla="*/ 0 h 195873"/>
                <a:gd name="connsiteX4" fmla="*/ 156000 w 156000"/>
                <a:gd name="connsiteY4" fmla="*/ 0 h 195873"/>
                <a:gd name="connsiteX5" fmla="*/ 156000 w 156000"/>
                <a:gd name="connsiteY5" fmla="*/ 55323 h 195873"/>
                <a:gd name="connsiteX6" fmla="*/ 91208 w 156000"/>
                <a:gd name="connsiteY6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000" h="195873">
                  <a:moveTo>
                    <a:pt x="42863" y="195873"/>
                  </a:moveTo>
                  <a:lnTo>
                    <a:pt x="0" y="116129"/>
                  </a:lnTo>
                  <a:lnTo>
                    <a:pt x="5100" y="101988"/>
                  </a:lnTo>
                  <a:lnTo>
                    <a:pt x="89456" y="0"/>
                  </a:lnTo>
                  <a:lnTo>
                    <a:pt x="156000" y="0"/>
                  </a:lnTo>
                  <a:lnTo>
                    <a:pt x="156000" y="55323"/>
                  </a:lnTo>
                  <a:lnTo>
                    <a:pt x="91208" y="5532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0609DC7B-52A5-4494-9388-1386F1B7ECA0}"/>
                </a:ext>
              </a:extLst>
            </p:cNvPr>
            <p:cNvSpPr/>
            <p:nvPr/>
          </p:nvSpPr>
          <p:spPr>
            <a:xfrm rot="8716295">
              <a:off x="657305" y="95604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FA9B5438-F371-4C5C-851A-CA35F035D933}"/>
                </a:ext>
              </a:extLst>
            </p:cNvPr>
            <p:cNvSpPr/>
            <p:nvPr/>
          </p:nvSpPr>
          <p:spPr>
            <a:xfrm rot="8716295">
              <a:off x="412774" y="56424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ED2997EF-2C09-4DA3-BB88-8DA5032A40C8}"/>
                </a:ext>
              </a:extLst>
            </p:cNvPr>
            <p:cNvSpPr/>
            <p:nvPr/>
          </p:nvSpPr>
          <p:spPr>
            <a:xfrm rot="8716295">
              <a:off x="502166" y="59348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DBD136C4-820E-4184-B91F-ED5B5690DC24}"/>
                </a:ext>
              </a:extLst>
            </p:cNvPr>
            <p:cNvSpPr/>
            <p:nvPr/>
          </p:nvSpPr>
          <p:spPr>
            <a:xfrm rot="8716295">
              <a:off x="457316" y="50720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8BD8CCA9-A2C8-4634-B0CF-620A635CE67A}"/>
                </a:ext>
              </a:extLst>
            </p:cNvPr>
            <p:cNvSpPr/>
            <p:nvPr/>
          </p:nvSpPr>
          <p:spPr>
            <a:xfrm rot="8716295">
              <a:off x="300540" y="65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33B24AF7-29F7-4408-AE25-97A38660E784}"/>
                </a:ext>
              </a:extLst>
            </p:cNvPr>
            <p:cNvSpPr/>
            <p:nvPr/>
          </p:nvSpPr>
          <p:spPr>
            <a:xfrm rot="8716295">
              <a:off x="175637" y="44411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506A4C62-4148-4841-838F-A205F53AD573}"/>
                </a:ext>
              </a:extLst>
            </p:cNvPr>
            <p:cNvSpPr/>
            <p:nvPr/>
          </p:nvSpPr>
          <p:spPr>
            <a:xfrm rot="8716295">
              <a:off x="163585" y="30533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1C1A41D0-65C3-44E5-8A29-ECCEBE983C62}"/>
                </a:ext>
              </a:extLst>
            </p:cNvPr>
            <p:cNvSpPr/>
            <p:nvPr/>
          </p:nvSpPr>
          <p:spPr>
            <a:xfrm rot="8716295">
              <a:off x="390718" y="69374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A93B008E-5902-4D55-9E1E-85F07149CD35}"/>
                </a:ext>
              </a:extLst>
            </p:cNvPr>
            <p:cNvSpPr/>
            <p:nvPr/>
          </p:nvSpPr>
          <p:spPr>
            <a:xfrm rot="8716295">
              <a:off x="702015" y="317459"/>
              <a:ext cx="131260" cy="232388"/>
            </a:xfrm>
            <a:custGeom>
              <a:avLst/>
              <a:gdLst>
                <a:gd name="connsiteX0" fmla="*/ 70201 w 131260"/>
                <a:gd name="connsiteY0" fmla="*/ 232388 h 232388"/>
                <a:gd name="connsiteX1" fmla="*/ 70201 w 131260"/>
                <a:gd name="connsiteY1" fmla="*/ 69717 h 232388"/>
                <a:gd name="connsiteX2" fmla="*/ 70201 w 131260"/>
                <a:gd name="connsiteY2" fmla="*/ 65615 h 232388"/>
                <a:gd name="connsiteX3" fmla="*/ 49697 w 131260"/>
                <a:gd name="connsiteY3" fmla="*/ 50123 h 232388"/>
                <a:gd name="connsiteX4" fmla="*/ 0 w 131260"/>
                <a:gd name="connsiteY4" fmla="*/ 50123 h 232388"/>
                <a:gd name="connsiteX5" fmla="*/ 41457 w 131260"/>
                <a:gd name="connsiteY5" fmla="*/ 0 h 232388"/>
                <a:gd name="connsiteX6" fmla="*/ 74303 w 131260"/>
                <a:gd name="connsiteY6" fmla="*/ 0 h 232388"/>
                <a:gd name="connsiteX7" fmla="*/ 131260 w 131260"/>
                <a:gd name="connsiteY7" fmla="*/ 50123 h 232388"/>
                <a:gd name="connsiteX8" fmla="*/ 131260 w 131260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1260" h="232388">
                  <a:moveTo>
                    <a:pt x="70201" y="232388"/>
                  </a:moveTo>
                  <a:lnTo>
                    <a:pt x="70201" y="69717"/>
                  </a:lnTo>
                  <a:cubicBezTo>
                    <a:pt x="70201" y="68349"/>
                    <a:pt x="70201" y="66983"/>
                    <a:pt x="70201" y="65615"/>
                  </a:cubicBezTo>
                  <a:cubicBezTo>
                    <a:pt x="68835" y="55591"/>
                    <a:pt x="59721" y="48756"/>
                    <a:pt x="49697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74303" y="0"/>
                  </a:lnTo>
                  <a:cubicBezTo>
                    <a:pt x="111211" y="0"/>
                    <a:pt x="131260" y="15948"/>
                    <a:pt x="131260" y="50123"/>
                  </a:cubicBezTo>
                  <a:lnTo>
                    <a:pt x="131260" y="208238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8AA688E0-8B68-432D-AC4C-16B34E3E659F}"/>
                </a:ext>
              </a:extLst>
            </p:cNvPr>
            <p:cNvSpPr/>
            <p:nvPr/>
          </p:nvSpPr>
          <p:spPr>
            <a:xfrm rot="8716295">
              <a:off x="834978" y="558357"/>
              <a:ext cx="24341" cy="23495"/>
            </a:xfrm>
            <a:custGeom>
              <a:avLst/>
              <a:gdLst>
                <a:gd name="connsiteX0" fmla="*/ 0 w 24341"/>
                <a:gd name="connsiteY0" fmla="*/ 23495 h 23495"/>
                <a:gd name="connsiteX1" fmla="*/ 19433 w 24341"/>
                <a:gd name="connsiteY1" fmla="*/ 0 h 23495"/>
                <a:gd name="connsiteX2" fmla="*/ 24341 w 24341"/>
                <a:gd name="connsiteY2" fmla="*/ 16139 h 23495"/>
                <a:gd name="connsiteX3" fmla="*/ 24341 w 24341"/>
                <a:gd name="connsiteY3" fmla="*/ 22063 h 23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41" h="23495">
                  <a:moveTo>
                    <a:pt x="0" y="23495"/>
                  </a:moveTo>
                  <a:lnTo>
                    <a:pt x="19433" y="0"/>
                  </a:lnTo>
                  <a:lnTo>
                    <a:pt x="24341" y="16139"/>
                  </a:lnTo>
                  <a:lnTo>
                    <a:pt x="24341" y="2206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672AA540-A579-4E8F-A234-CD30C1FF0A89}"/>
                </a:ext>
              </a:extLst>
            </p:cNvPr>
            <p:cNvSpPr/>
            <p:nvPr/>
          </p:nvSpPr>
          <p:spPr>
            <a:xfrm rot="8716295">
              <a:off x="589639" y="40263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C0BAD361-E55B-42F0-893F-014DB3986A10}"/>
                </a:ext>
              </a:extLst>
            </p:cNvPr>
            <p:cNvSpPr/>
            <p:nvPr/>
          </p:nvSpPr>
          <p:spPr>
            <a:xfrm rot="8716295">
              <a:off x="464737" y="19396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C7776BC0-23C7-4489-8F09-E129A530C0CC}"/>
                </a:ext>
              </a:extLst>
            </p:cNvPr>
            <p:cNvSpPr/>
            <p:nvPr/>
          </p:nvSpPr>
          <p:spPr>
            <a:xfrm rot="8716295">
              <a:off x="679817" y="44358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6EC00833-27CA-42E8-A3F4-264B72DC896E}"/>
                </a:ext>
              </a:extLst>
            </p:cNvPr>
            <p:cNvSpPr/>
            <p:nvPr/>
          </p:nvSpPr>
          <p:spPr>
            <a:xfrm rot="8716295">
              <a:off x="438366" y="29398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1FD6DD85-FCBC-4AED-9D6D-4125AB918B1C}"/>
                </a:ext>
              </a:extLst>
            </p:cNvPr>
            <p:cNvSpPr/>
            <p:nvPr/>
          </p:nvSpPr>
          <p:spPr>
            <a:xfrm rot="7484129">
              <a:off x="811674" y="658874"/>
              <a:ext cx="31078" cy="46141"/>
            </a:xfrm>
            <a:custGeom>
              <a:avLst/>
              <a:gdLst>
                <a:gd name="connsiteX0" fmla="*/ 15207 w 31078"/>
                <a:gd name="connsiteY0" fmla="*/ 46141 h 46141"/>
                <a:gd name="connsiteX1" fmla="*/ 0 w 31078"/>
                <a:gd name="connsiteY1" fmla="*/ 17849 h 46141"/>
                <a:gd name="connsiteX2" fmla="*/ 31078 w 31078"/>
                <a:gd name="connsiteY2" fmla="*/ 0 h 46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078" h="46141">
                  <a:moveTo>
                    <a:pt x="15207" y="46141"/>
                  </a:moveTo>
                  <a:lnTo>
                    <a:pt x="0" y="17849"/>
                  </a:lnTo>
                  <a:lnTo>
                    <a:pt x="31078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ED8E04A5-1CCB-474C-BB14-6861F24B92EE}"/>
                </a:ext>
              </a:extLst>
            </p:cNvPr>
            <p:cNvSpPr/>
            <p:nvPr/>
          </p:nvSpPr>
          <p:spPr>
            <a:xfrm rot="8716295">
              <a:off x="780102" y="336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D2589E01-70DB-4980-9D5E-15028C3BF442}"/>
                </a:ext>
              </a:extLst>
            </p:cNvPr>
            <p:cNvSpPr/>
            <p:nvPr/>
          </p:nvSpPr>
          <p:spPr>
            <a:xfrm rot="8716295">
              <a:off x="202348" y="-57106"/>
              <a:ext cx="142167" cy="186494"/>
            </a:xfrm>
            <a:custGeom>
              <a:avLst/>
              <a:gdLst>
                <a:gd name="connsiteX0" fmla="*/ 142167 w 142167"/>
                <a:gd name="connsiteY0" fmla="*/ 186494 h 186494"/>
                <a:gd name="connsiteX1" fmla="*/ 81108 w 142167"/>
                <a:gd name="connsiteY1" fmla="*/ 144170 h 186494"/>
                <a:gd name="connsiteX2" fmla="*/ 81108 w 142167"/>
                <a:gd name="connsiteY2" fmla="*/ 69717 h 186494"/>
                <a:gd name="connsiteX3" fmla="*/ 81108 w 142167"/>
                <a:gd name="connsiteY3" fmla="*/ 65615 h 186494"/>
                <a:gd name="connsiteX4" fmla="*/ 60603 w 142167"/>
                <a:gd name="connsiteY4" fmla="*/ 50123 h 186494"/>
                <a:gd name="connsiteX5" fmla="*/ 0 w 142167"/>
                <a:gd name="connsiteY5" fmla="*/ 50123 h 186494"/>
                <a:gd name="connsiteX6" fmla="*/ 0 w 142167"/>
                <a:gd name="connsiteY6" fmla="*/ 0 h 186494"/>
                <a:gd name="connsiteX7" fmla="*/ 85209 w 142167"/>
                <a:gd name="connsiteY7" fmla="*/ 0 h 186494"/>
                <a:gd name="connsiteX8" fmla="*/ 142167 w 142167"/>
                <a:gd name="connsiteY8" fmla="*/ 50123 h 186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86494">
                  <a:moveTo>
                    <a:pt x="142167" y="186494"/>
                  </a:moveTo>
                  <a:lnTo>
                    <a:pt x="81108" y="144170"/>
                  </a:lnTo>
                  <a:lnTo>
                    <a:pt x="81108" y="69717"/>
                  </a:lnTo>
                  <a:cubicBezTo>
                    <a:pt x="81108" y="68349"/>
                    <a:pt x="81108" y="66983"/>
                    <a:pt x="81108" y="65615"/>
                  </a:cubicBezTo>
                  <a:cubicBezTo>
                    <a:pt x="79741" y="55591"/>
                    <a:pt x="70628" y="48756"/>
                    <a:pt x="60603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2AEF8F7A-52DD-4323-9058-8F5D8BF7C257}"/>
                </a:ext>
              </a:extLst>
            </p:cNvPr>
            <p:cNvSpPr/>
            <p:nvPr/>
          </p:nvSpPr>
          <p:spPr>
            <a:xfrm rot="8716295">
              <a:off x="298766" y="-5395"/>
              <a:ext cx="260639" cy="180054"/>
            </a:xfrm>
            <a:custGeom>
              <a:avLst/>
              <a:gdLst>
                <a:gd name="connsiteX0" fmla="*/ 111638 w 260639"/>
                <a:gd name="connsiteY0" fmla="*/ 180054 h 180054"/>
                <a:gd name="connsiteX1" fmla="*/ 51490 w 260639"/>
                <a:gd name="connsiteY1" fmla="*/ 138362 h 180054"/>
                <a:gd name="connsiteX2" fmla="*/ 51490 w 260639"/>
                <a:gd name="connsiteY2" fmla="*/ 45624 h 180054"/>
                <a:gd name="connsiteX3" fmla="*/ 0 w 260639"/>
                <a:gd name="connsiteY3" fmla="*/ 45624 h 180054"/>
                <a:gd name="connsiteX4" fmla="*/ 0 w 260639"/>
                <a:gd name="connsiteY4" fmla="*/ 1425 h 180054"/>
                <a:gd name="connsiteX5" fmla="*/ 104802 w 260639"/>
                <a:gd name="connsiteY5" fmla="*/ 1425 h 180054"/>
                <a:gd name="connsiteX6" fmla="*/ 104802 w 260639"/>
                <a:gd name="connsiteY6" fmla="*/ 75242 h 180054"/>
                <a:gd name="connsiteX7" fmla="*/ 106169 w 260639"/>
                <a:gd name="connsiteY7" fmla="*/ 75242 h 180054"/>
                <a:gd name="connsiteX8" fmla="*/ 154014 w 260639"/>
                <a:gd name="connsiteY8" fmla="*/ 5981 h 180054"/>
                <a:gd name="connsiteX9" fmla="*/ 185455 w 260639"/>
                <a:gd name="connsiteY9" fmla="*/ 57 h 180054"/>
                <a:gd name="connsiteX10" fmla="*/ 260639 w 260639"/>
                <a:gd name="connsiteY10" fmla="*/ 88456 h 180054"/>
                <a:gd name="connsiteX11" fmla="*/ 260639 w 260639"/>
                <a:gd name="connsiteY11" fmla="*/ 94380 h 180054"/>
                <a:gd name="connsiteX12" fmla="*/ 198669 w 260639"/>
                <a:gd name="connsiteY12" fmla="*/ 98025 h 180054"/>
                <a:gd name="connsiteX13" fmla="*/ 198669 w 260639"/>
                <a:gd name="connsiteY13" fmla="*/ 81621 h 180054"/>
                <a:gd name="connsiteX14" fmla="*/ 164950 w 260639"/>
                <a:gd name="connsiteY14" fmla="*/ 40156 h 180054"/>
                <a:gd name="connsiteX15" fmla="*/ 111638 w 260639"/>
                <a:gd name="connsiteY15" fmla="*/ 127643 h 180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0639" h="180054">
                  <a:moveTo>
                    <a:pt x="111638" y="180054"/>
                  </a:moveTo>
                  <a:lnTo>
                    <a:pt x="51490" y="138362"/>
                  </a:ln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4EA5F182-B436-49C8-8170-C1AD6D2F32D5}"/>
                </a:ext>
              </a:extLst>
            </p:cNvPr>
            <p:cNvSpPr/>
            <p:nvPr/>
          </p:nvSpPr>
          <p:spPr>
            <a:xfrm rot="8716295">
              <a:off x="276903" y="-12823"/>
              <a:ext cx="36272" cy="27982"/>
            </a:xfrm>
            <a:custGeom>
              <a:avLst/>
              <a:gdLst>
                <a:gd name="connsiteX0" fmla="*/ 36272 w 36272"/>
                <a:gd name="connsiteY0" fmla="*/ 27982 h 27982"/>
                <a:gd name="connsiteX1" fmla="*/ 0 w 36272"/>
                <a:gd name="connsiteY1" fmla="*/ 2840 h 27982"/>
                <a:gd name="connsiteX2" fmla="*/ 9543 w 36272"/>
                <a:gd name="connsiteY2" fmla="*/ 0 h 27982"/>
                <a:gd name="connsiteX3" fmla="*/ 31871 w 36272"/>
                <a:gd name="connsiteY3" fmla="*/ 11392 h 27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272" h="27982">
                  <a:moveTo>
                    <a:pt x="36272" y="27982"/>
                  </a:moveTo>
                  <a:lnTo>
                    <a:pt x="0" y="2840"/>
                  </a:lnTo>
                  <a:lnTo>
                    <a:pt x="9543" y="0"/>
                  </a:lnTo>
                  <a:cubicBezTo>
                    <a:pt x="20479" y="0"/>
                    <a:pt x="27542" y="4784"/>
                    <a:pt x="31871" y="11392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F421218E-0235-4F72-A3A0-C0DE2686EE65}"/>
                </a:ext>
              </a:extLst>
            </p:cNvPr>
            <p:cNvSpPr/>
            <p:nvPr/>
          </p:nvSpPr>
          <p:spPr>
            <a:xfrm rot="8716295">
              <a:off x="74640" y="-9665"/>
              <a:ext cx="58068" cy="54772"/>
            </a:xfrm>
            <a:custGeom>
              <a:avLst/>
              <a:gdLst>
                <a:gd name="connsiteX0" fmla="*/ 37436 w 58068"/>
                <a:gd name="connsiteY0" fmla="*/ 54772 h 54772"/>
                <a:gd name="connsiteX1" fmla="*/ 0 w 58068"/>
                <a:gd name="connsiteY1" fmla="*/ 28823 h 54772"/>
                <a:gd name="connsiteX2" fmla="*/ 8515 w 58068"/>
                <a:gd name="connsiteY2" fmla="*/ 8658 h 54772"/>
                <a:gd name="connsiteX3" fmla="*/ 29020 w 58068"/>
                <a:gd name="connsiteY3" fmla="*/ 0 h 54772"/>
                <a:gd name="connsiteX4" fmla="*/ 49525 w 58068"/>
                <a:gd name="connsiteY4" fmla="*/ 8658 h 54772"/>
                <a:gd name="connsiteX5" fmla="*/ 49525 w 58068"/>
                <a:gd name="connsiteY5" fmla="*/ 49668 h 5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068" h="54772">
                  <a:moveTo>
                    <a:pt x="37436" y="54772"/>
                  </a:moveTo>
                  <a:lnTo>
                    <a:pt x="0" y="28823"/>
                  </a:lnTo>
                  <a:lnTo>
                    <a:pt x="8515" y="8658"/>
                  </a:lnTo>
                  <a:cubicBezTo>
                    <a:pt x="13983" y="3190"/>
                    <a:pt x="21273" y="0"/>
                    <a:pt x="29020" y="0"/>
                  </a:cubicBezTo>
                  <a:cubicBezTo>
                    <a:pt x="36766" y="0"/>
                    <a:pt x="44057" y="3190"/>
                    <a:pt x="49525" y="8658"/>
                  </a:cubicBezTo>
                  <a:cubicBezTo>
                    <a:pt x="60916" y="19594"/>
                    <a:pt x="60916" y="38276"/>
                    <a:pt x="49525" y="49668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CE77A4A5-0ECD-4D80-A03D-A10DC965EA39}"/>
                </a:ext>
              </a:extLst>
            </p:cNvPr>
            <p:cNvSpPr/>
            <p:nvPr/>
          </p:nvSpPr>
          <p:spPr>
            <a:xfrm rot="8716295">
              <a:off x="13802" y="-10406"/>
              <a:ext cx="30027" cy="20814"/>
            </a:xfrm>
            <a:custGeom>
              <a:avLst/>
              <a:gdLst>
                <a:gd name="connsiteX0" fmla="*/ 30027 w 30027"/>
                <a:gd name="connsiteY0" fmla="*/ 20814 h 20814"/>
                <a:gd name="connsiteX1" fmla="*/ 0 w 30027"/>
                <a:gd name="connsiteY1" fmla="*/ 0 h 20814"/>
                <a:gd name="connsiteX2" fmla="*/ 30027 w 30027"/>
                <a:gd name="connsiteY2" fmla="*/ 0 h 20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027" h="20814">
                  <a:moveTo>
                    <a:pt x="30027" y="20814"/>
                  </a:moveTo>
                  <a:lnTo>
                    <a:pt x="0" y="0"/>
                  </a:lnTo>
                  <a:lnTo>
                    <a:pt x="30027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403799C4-A408-4325-A92C-9E809B8BB4D4}"/>
                </a:ext>
              </a:extLst>
            </p:cNvPr>
            <p:cNvSpPr/>
            <p:nvPr/>
          </p:nvSpPr>
          <p:spPr>
            <a:xfrm rot="8716295">
              <a:off x="168048" y="3032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01FB23B7-9B20-4D2E-83CD-6A7A68C9BDC4}"/>
                </a:ext>
              </a:extLst>
            </p:cNvPr>
            <p:cNvSpPr/>
            <p:nvPr/>
          </p:nvSpPr>
          <p:spPr>
            <a:xfrm rot="7484129">
              <a:off x="562078" y="-284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ACF32F9A-0344-4E5B-A601-5E2A5DCEE676}"/>
                </a:ext>
              </a:extLst>
            </p:cNvPr>
            <p:cNvSpPr/>
            <p:nvPr/>
          </p:nvSpPr>
          <p:spPr>
            <a:xfrm rot="13089394">
              <a:off x="767127" y="-2787"/>
              <a:ext cx="149688" cy="301067"/>
            </a:xfrm>
            <a:custGeom>
              <a:avLst/>
              <a:gdLst>
                <a:gd name="connsiteX0" fmla="*/ 149688 w 149688"/>
                <a:gd name="connsiteY0" fmla="*/ 279622 h 301067"/>
                <a:gd name="connsiteX1" fmla="*/ 122393 w 149688"/>
                <a:gd name="connsiteY1" fmla="*/ 301067 h 301067"/>
                <a:gd name="connsiteX2" fmla="*/ 0 w 149688"/>
                <a:gd name="connsiteY2" fmla="*/ 114672 h 301067"/>
                <a:gd name="connsiteX3" fmla="*/ 0 w 149688"/>
                <a:gd name="connsiteY3" fmla="*/ 38074 h 301067"/>
                <a:gd name="connsiteX4" fmla="*/ 73388 w 149688"/>
                <a:gd name="connsiteY4" fmla="*/ 0 h 301067"/>
                <a:gd name="connsiteX5" fmla="*/ 74492 w 149688"/>
                <a:gd name="connsiteY5" fmla="*/ 153950 h 301067"/>
                <a:gd name="connsiteX6" fmla="*/ 87734 w 149688"/>
                <a:gd name="connsiteY6" fmla="*/ 245547 h 301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9688" h="301067">
                  <a:moveTo>
                    <a:pt x="149688" y="279622"/>
                  </a:moveTo>
                  <a:lnTo>
                    <a:pt x="122393" y="301067"/>
                  </a:lnTo>
                  <a:lnTo>
                    <a:pt x="0" y="114672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2836" y="184850"/>
                    <a:pt x="77802" y="216302"/>
                    <a:pt x="87734" y="245547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9B540A9C-752F-4966-AE11-E0DA13D5676A}"/>
                </a:ext>
              </a:extLst>
            </p:cNvPr>
            <p:cNvSpPr/>
            <p:nvPr/>
          </p:nvSpPr>
          <p:spPr>
            <a:xfrm rot="8716295">
              <a:off x="212141" y="304502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27352092-3B53-44B3-ABC2-E6A268F28524}"/>
                </a:ext>
              </a:extLst>
            </p:cNvPr>
            <p:cNvSpPr/>
            <p:nvPr/>
          </p:nvSpPr>
          <p:spPr>
            <a:xfrm rot="8716295">
              <a:off x="301533" y="307427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1A1EEC7B-8896-4B95-9A1A-B0F21E6748C1}"/>
                </a:ext>
              </a:extLst>
            </p:cNvPr>
            <p:cNvSpPr/>
            <p:nvPr/>
          </p:nvSpPr>
          <p:spPr>
            <a:xfrm rot="8716295">
              <a:off x="256683" y="298799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4FA7D1EC-A217-4326-8F37-649F5ADE83EB}"/>
                </a:ext>
              </a:extLst>
            </p:cNvPr>
            <p:cNvSpPr/>
            <p:nvPr/>
          </p:nvSpPr>
          <p:spPr>
            <a:xfrm rot="8716295">
              <a:off x="99907" y="31335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33C99497-0B48-43C7-BD1A-0279E44CA612}"/>
                </a:ext>
              </a:extLst>
            </p:cNvPr>
            <p:cNvSpPr/>
            <p:nvPr/>
          </p:nvSpPr>
          <p:spPr>
            <a:xfrm rot="8716295">
              <a:off x="-24996" y="29248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A93858F0-0010-48FE-BF9C-AFE6080030D7}"/>
                </a:ext>
              </a:extLst>
            </p:cNvPr>
            <p:cNvSpPr/>
            <p:nvPr/>
          </p:nvSpPr>
          <p:spPr>
            <a:xfrm rot="8716295">
              <a:off x="51899" y="2754602"/>
              <a:ext cx="189488" cy="350829"/>
            </a:xfrm>
            <a:custGeom>
              <a:avLst/>
              <a:gdLst>
                <a:gd name="connsiteX0" fmla="*/ 25299 w 189488"/>
                <a:gd name="connsiteY0" fmla="*/ 321238 h 350829"/>
                <a:gd name="connsiteX1" fmla="*/ 0 w 189488"/>
                <a:gd name="connsiteY1" fmla="*/ 220042 h 350829"/>
                <a:gd name="connsiteX2" fmla="*/ 0 w 189488"/>
                <a:gd name="connsiteY2" fmla="*/ 40596 h 350829"/>
                <a:gd name="connsiteX3" fmla="*/ 78250 w 189488"/>
                <a:gd name="connsiteY3" fmla="*/ 0 h 350829"/>
                <a:gd name="connsiteX4" fmla="*/ 79427 w 189488"/>
                <a:gd name="connsiteY4" fmla="*/ 164149 h 350829"/>
                <a:gd name="connsiteX5" fmla="*/ 93547 w 189488"/>
                <a:gd name="connsiteY5" fmla="*/ 261815 h 350829"/>
                <a:gd name="connsiteX6" fmla="*/ 164148 w 189488"/>
                <a:gd name="connsiteY6" fmla="*/ 300646 h 350829"/>
                <a:gd name="connsiteX7" fmla="*/ 189488 w 189488"/>
                <a:gd name="connsiteY7" fmla="*/ 296141 h 350829"/>
                <a:gd name="connsiteX8" fmla="*/ 160617 w 189488"/>
                <a:gd name="connsiteY8" fmla="*/ 337791 h 350829"/>
                <a:gd name="connsiteX9" fmla="*/ 97666 w 189488"/>
                <a:gd name="connsiteY9" fmla="*/ 350655 h 350829"/>
                <a:gd name="connsiteX10" fmla="*/ 25299 w 189488"/>
                <a:gd name="connsiteY10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9488" h="350829">
                  <a:moveTo>
                    <a:pt x="25299" y="321238"/>
                  </a:moveTo>
                  <a:cubicBezTo>
                    <a:pt x="5295" y="301823"/>
                    <a:pt x="0" y="268286"/>
                    <a:pt x="0" y="220042"/>
                  </a:cubicBez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8" y="300646"/>
                  </a:cubicBezTo>
                  <a:lnTo>
                    <a:pt x="189488" y="296141"/>
                  </a:lnTo>
                  <a:lnTo>
                    <a:pt x="160617" y="337791"/>
                  </a:lnTo>
                  <a:lnTo>
                    <a:pt x="97666" y="350655"/>
                  </a:ln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CAFD1C73-118C-42A8-A6D1-F7527C0F98CE}"/>
                </a:ext>
              </a:extLst>
            </p:cNvPr>
            <p:cNvSpPr/>
            <p:nvPr/>
          </p:nvSpPr>
          <p:spPr>
            <a:xfrm rot="8716295">
              <a:off x="190085" y="317452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E7F4D18B-0BB2-451B-AA77-2B268E142A91}"/>
                </a:ext>
              </a:extLst>
            </p:cNvPr>
            <p:cNvSpPr/>
            <p:nvPr/>
          </p:nvSpPr>
          <p:spPr>
            <a:xfrm rot="8716295">
              <a:off x="502599" y="2802136"/>
              <a:ext cx="117588" cy="232388"/>
            </a:xfrm>
            <a:custGeom>
              <a:avLst/>
              <a:gdLst>
                <a:gd name="connsiteX0" fmla="*/ 56529 w 117588"/>
                <a:gd name="connsiteY0" fmla="*/ 232388 h 232388"/>
                <a:gd name="connsiteX1" fmla="*/ 56529 w 117588"/>
                <a:gd name="connsiteY1" fmla="*/ 69717 h 232388"/>
                <a:gd name="connsiteX2" fmla="*/ 56529 w 117588"/>
                <a:gd name="connsiteY2" fmla="*/ 65615 h 232388"/>
                <a:gd name="connsiteX3" fmla="*/ 36025 w 117588"/>
                <a:gd name="connsiteY3" fmla="*/ 50123 h 232388"/>
                <a:gd name="connsiteX4" fmla="*/ 0 w 117588"/>
                <a:gd name="connsiteY4" fmla="*/ 50123 h 232388"/>
                <a:gd name="connsiteX5" fmla="*/ 41458 w 117588"/>
                <a:gd name="connsiteY5" fmla="*/ 0 h 232388"/>
                <a:gd name="connsiteX6" fmla="*/ 60630 w 117588"/>
                <a:gd name="connsiteY6" fmla="*/ 0 h 232388"/>
                <a:gd name="connsiteX7" fmla="*/ 117588 w 117588"/>
                <a:gd name="connsiteY7" fmla="*/ 50123 h 232388"/>
                <a:gd name="connsiteX8" fmla="*/ 117588 w 117588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7588" h="232388">
                  <a:moveTo>
                    <a:pt x="56529" y="232388"/>
                  </a:moveTo>
                  <a:lnTo>
                    <a:pt x="56529" y="69717"/>
                  </a:lnTo>
                  <a:cubicBezTo>
                    <a:pt x="56529" y="68349"/>
                    <a:pt x="56529" y="66983"/>
                    <a:pt x="56529" y="65615"/>
                  </a:cubicBezTo>
                  <a:cubicBezTo>
                    <a:pt x="55163" y="55591"/>
                    <a:pt x="46049" y="48756"/>
                    <a:pt x="36025" y="50123"/>
                  </a:cubicBezTo>
                  <a:lnTo>
                    <a:pt x="0" y="50123"/>
                  </a:lnTo>
                  <a:lnTo>
                    <a:pt x="41458" y="0"/>
                  </a:lnTo>
                  <a:lnTo>
                    <a:pt x="60630" y="0"/>
                  </a:lnTo>
                  <a:cubicBezTo>
                    <a:pt x="97539" y="0"/>
                    <a:pt x="117588" y="15948"/>
                    <a:pt x="117588" y="50123"/>
                  </a:cubicBezTo>
                  <a:lnTo>
                    <a:pt x="117588" y="208238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6F67DBA9-AD6C-4780-AA17-98BCE9381DC5}"/>
                </a:ext>
              </a:extLst>
            </p:cNvPr>
            <p:cNvSpPr/>
            <p:nvPr/>
          </p:nvSpPr>
          <p:spPr>
            <a:xfrm rot="8716295">
              <a:off x="389006" y="2883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60CE2A9A-219E-42C9-9F53-FED763C7A971}"/>
                </a:ext>
              </a:extLst>
            </p:cNvPr>
            <p:cNvSpPr/>
            <p:nvPr/>
          </p:nvSpPr>
          <p:spPr>
            <a:xfrm rot="8716295">
              <a:off x="264104" y="267474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5F47A361-80F1-4C02-906B-845AB367B960}"/>
                </a:ext>
              </a:extLst>
            </p:cNvPr>
            <p:cNvSpPr/>
            <p:nvPr/>
          </p:nvSpPr>
          <p:spPr>
            <a:xfrm rot="8716295">
              <a:off x="479184" y="292437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2CC40EA3-7663-4B10-9112-24251EC60BEA}"/>
                </a:ext>
              </a:extLst>
            </p:cNvPr>
            <p:cNvSpPr/>
            <p:nvPr/>
          </p:nvSpPr>
          <p:spPr>
            <a:xfrm rot="8716295">
              <a:off x="237733" y="277477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96946020-930E-406D-ABEE-7096E7CB1426}"/>
                </a:ext>
              </a:extLst>
            </p:cNvPr>
            <p:cNvSpPr/>
            <p:nvPr/>
          </p:nvSpPr>
          <p:spPr>
            <a:xfrm rot="7484129">
              <a:off x="609980" y="3142825"/>
              <a:ext cx="20881" cy="31001"/>
            </a:xfrm>
            <a:custGeom>
              <a:avLst/>
              <a:gdLst>
                <a:gd name="connsiteX0" fmla="*/ 10218 w 20881"/>
                <a:gd name="connsiteY0" fmla="*/ 31001 h 31001"/>
                <a:gd name="connsiteX1" fmla="*/ 0 w 20881"/>
                <a:gd name="connsiteY1" fmla="*/ 11992 h 31001"/>
                <a:gd name="connsiteX2" fmla="*/ 20881 w 20881"/>
                <a:gd name="connsiteY2" fmla="*/ 0 h 31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881" h="31001">
                  <a:moveTo>
                    <a:pt x="10218" y="31001"/>
                  </a:moveTo>
                  <a:lnTo>
                    <a:pt x="0" y="11992"/>
                  </a:lnTo>
                  <a:lnTo>
                    <a:pt x="20881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9709EEED-4F73-41F3-A069-C965126CECA4}"/>
                </a:ext>
              </a:extLst>
            </p:cNvPr>
            <p:cNvSpPr/>
            <p:nvPr/>
          </p:nvSpPr>
          <p:spPr>
            <a:xfrm rot="8716295">
              <a:off x="579469" y="28172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AB7C8B58-13F0-4FCC-99DC-3B3AAD65E69B}"/>
                </a:ext>
              </a:extLst>
            </p:cNvPr>
            <p:cNvSpPr/>
            <p:nvPr/>
          </p:nvSpPr>
          <p:spPr>
            <a:xfrm rot="8716295">
              <a:off x="437995" y="3716235"/>
              <a:ext cx="102679" cy="232388"/>
            </a:xfrm>
            <a:custGeom>
              <a:avLst/>
              <a:gdLst>
                <a:gd name="connsiteX0" fmla="*/ 41620 w 102679"/>
                <a:gd name="connsiteY0" fmla="*/ 232388 h 232388"/>
                <a:gd name="connsiteX1" fmla="*/ 41620 w 102679"/>
                <a:gd name="connsiteY1" fmla="*/ 69717 h 232388"/>
                <a:gd name="connsiteX2" fmla="*/ 41620 w 102679"/>
                <a:gd name="connsiteY2" fmla="*/ 65615 h 232388"/>
                <a:gd name="connsiteX3" fmla="*/ 21116 w 102679"/>
                <a:gd name="connsiteY3" fmla="*/ 50123 h 232388"/>
                <a:gd name="connsiteX4" fmla="*/ 0 w 102679"/>
                <a:gd name="connsiteY4" fmla="*/ 50123 h 232388"/>
                <a:gd name="connsiteX5" fmla="*/ 41457 w 102679"/>
                <a:gd name="connsiteY5" fmla="*/ 0 h 232388"/>
                <a:gd name="connsiteX6" fmla="*/ 45721 w 102679"/>
                <a:gd name="connsiteY6" fmla="*/ 0 h 232388"/>
                <a:gd name="connsiteX7" fmla="*/ 102679 w 102679"/>
                <a:gd name="connsiteY7" fmla="*/ 50123 h 232388"/>
                <a:gd name="connsiteX8" fmla="*/ 102679 w 102679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2679" h="232388">
                  <a:moveTo>
                    <a:pt x="41620" y="232388"/>
                  </a:moveTo>
                  <a:lnTo>
                    <a:pt x="41620" y="69717"/>
                  </a:lnTo>
                  <a:cubicBezTo>
                    <a:pt x="41620" y="68349"/>
                    <a:pt x="41620" y="66983"/>
                    <a:pt x="41620" y="65615"/>
                  </a:cubicBezTo>
                  <a:cubicBezTo>
                    <a:pt x="40254" y="55591"/>
                    <a:pt x="31140" y="48756"/>
                    <a:pt x="21116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45721" y="0"/>
                  </a:lnTo>
                  <a:cubicBezTo>
                    <a:pt x="82630" y="0"/>
                    <a:pt x="102679" y="15948"/>
                    <a:pt x="102679" y="50123"/>
                  </a:cubicBezTo>
                  <a:lnTo>
                    <a:pt x="102679" y="208238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9C4DC6CC-AFAA-4414-8BA6-D58CC891D657}"/>
                </a:ext>
              </a:extLst>
            </p:cNvPr>
            <p:cNvSpPr/>
            <p:nvPr/>
          </p:nvSpPr>
          <p:spPr>
            <a:xfrm rot="8716295">
              <a:off x="482715" y="3669965"/>
              <a:ext cx="154563" cy="124897"/>
            </a:xfrm>
            <a:custGeom>
              <a:avLst/>
              <a:gdLst>
                <a:gd name="connsiteX0" fmla="*/ 0 w 154563"/>
                <a:gd name="connsiteY0" fmla="*/ 124897 h 124897"/>
                <a:gd name="connsiteX1" fmla="*/ 95474 w 154563"/>
                <a:gd name="connsiteY1" fmla="*/ 9467 h 124897"/>
                <a:gd name="connsiteX2" fmla="*/ 96067 w 154563"/>
                <a:gd name="connsiteY2" fmla="*/ 9000 h 124897"/>
                <a:gd name="connsiteX3" fmla="*/ 126312 w 154563"/>
                <a:gd name="connsiteY3" fmla="*/ 0 h 124897"/>
                <a:gd name="connsiteX4" fmla="*/ 154563 w 154563"/>
                <a:gd name="connsiteY4" fmla="*/ 33719 h 124897"/>
                <a:gd name="connsiteX5" fmla="*/ 128135 w 154563"/>
                <a:gd name="connsiteY5" fmla="*/ 69261 h 124897"/>
                <a:gd name="connsiteX6" fmla="*/ 128590 w 154563"/>
                <a:gd name="connsiteY6" fmla="*/ 69261 h 12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4563" h="124897">
                  <a:moveTo>
                    <a:pt x="0" y="124897"/>
                  </a:moveTo>
                  <a:lnTo>
                    <a:pt x="95474" y="9467"/>
                  </a:lnTo>
                  <a:lnTo>
                    <a:pt x="96067" y="9000"/>
                  </a:lnTo>
                  <a:cubicBezTo>
                    <a:pt x="105351" y="4215"/>
                    <a:pt x="115604" y="1139"/>
                    <a:pt x="126312" y="0"/>
                  </a:cubicBezTo>
                  <a:cubicBezTo>
                    <a:pt x="148184" y="0"/>
                    <a:pt x="154563" y="19138"/>
                    <a:pt x="154563" y="33719"/>
                  </a:cubicBezTo>
                  <a:cubicBezTo>
                    <a:pt x="153196" y="49668"/>
                    <a:pt x="142715" y="62882"/>
                    <a:pt x="128135" y="69261"/>
                  </a:cubicBezTo>
                  <a:lnTo>
                    <a:pt x="128590" y="69261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orme libre : forme 58">
              <a:extLst>
                <a:ext uri="{FF2B5EF4-FFF2-40B4-BE49-F238E27FC236}">
                  <a16:creationId xmlns:a16="http://schemas.microsoft.com/office/drawing/2014/main" id="{4EE0C0AC-519B-4FC6-8231-6D03F18E647C}"/>
                </a:ext>
              </a:extLst>
            </p:cNvPr>
            <p:cNvSpPr/>
            <p:nvPr/>
          </p:nvSpPr>
          <p:spPr>
            <a:xfrm rot="8716295">
              <a:off x="323074" y="379327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orme libre : forme 59">
              <a:extLst>
                <a:ext uri="{FF2B5EF4-FFF2-40B4-BE49-F238E27FC236}">
                  <a16:creationId xmlns:a16="http://schemas.microsoft.com/office/drawing/2014/main" id="{D6F59EA5-8316-4C20-AADC-7D706ECCBE6F}"/>
                </a:ext>
              </a:extLst>
            </p:cNvPr>
            <p:cNvSpPr/>
            <p:nvPr/>
          </p:nvSpPr>
          <p:spPr>
            <a:xfrm rot="8716295">
              <a:off x="198171" y="358459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orme libre : forme 60">
              <a:extLst>
                <a:ext uri="{FF2B5EF4-FFF2-40B4-BE49-F238E27FC236}">
                  <a16:creationId xmlns:a16="http://schemas.microsoft.com/office/drawing/2014/main" id="{B0440107-C1DF-4CF9-A961-BF836C4847FA}"/>
                </a:ext>
              </a:extLst>
            </p:cNvPr>
            <p:cNvSpPr/>
            <p:nvPr/>
          </p:nvSpPr>
          <p:spPr>
            <a:xfrm rot="8716295">
              <a:off x="186119" y="344581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orme libre : forme 61">
              <a:extLst>
                <a:ext uri="{FF2B5EF4-FFF2-40B4-BE49-F238E27FC236}">
                  <a16:creationId xmlns:a16="http://schemas.microsoft.com/office/drawing/2014/main" id="{FAD20847-20DA-4661-A963-D2C01E523D8E}"/>
                </a:ext>
              </a:extLst>
            </p:cNvPr>
            <p:cNvSpPr/>
            <p:nvPr/>
          </p:nvSpPr>
          <p:spPr>
            <a:xfrm rot="8716295">
              <a:off x="410218" y="3834716"/>
              <a:ext cx="103435" cy="219174"/>
            </a:xfrm>
            <a:custGeom>
              <a:avLst/>
              <a:gdLst>
                <a:gd name="connsiteX0" fmla="*/ 103435 w 103435"/>
                <a:gd name="connsiteY0" fmla="*/ 219174 h 219174"/>
                <a:gd name="connsiteX1" fmla="*/ 43288 w 103435"/>
                <a:gd name="connsiteY1" fmla="*/ 161305 h 219174"/>
                <a:gd name="connsiteX2" fmla="*/ 43288 w 103435"/>
                <a:gd name="connsiteY2" fmla="*/ 16404 h 219174"/>
                <a:gd name="connsiteX3" fmla="*/ 0 w 103435"/>
                <a:gd name="connsiteY3" fmla="*/ 16404 h 219174"/>
                <a:gd name="connsiteX4" fmla="*/ 0 w 103435"/>
                <a:gd name="connsiteY4" fmla="*/ 16028 h 219174"/>
                <a:gd name="connsiteX5" fmla="*/ 11583 w 103435"/>
                <a:gd name="connsiteY5" fmla="*/ 2023 h 219174"/>
                <a:gd name="connsiteX6" fmla="*/ 103435 w 103435"/>
                <a:gd name="connsiteY6" fmla="*/ 0 h 219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19174">
                  <a:moveTo>
                    <a:pt x="103435" y="219174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16028"/>
                  </a:lnTo>
                  <a:lnTo>
                    <a:pt x="11583" y="2023"/>
                  </a:lnTo>
                  <a:lnTo>
                    <a:pt x="103435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orme libre : forme 62">
              <a:extLst>
                <a:ext uri="{FF2B5EF4-FFF2-40B4-BE49-F238E27FC236}">
                  <a16:creationId xmlns:a16="http://schemas.microsoft.com/office/drawing/2014/main" id="{28D4D932-7CCD-4A1C-82BE-BDC6C863C34D}"/>
                </a:ext>
              </a:extLst>
            </p:cNvPr>
            <p:cNvSpPr/>
            <p:nvPr/>
          </p:nvSpPr>
          <p:spPr>
            <a:xfrm rot="8716295">
              <a:off x="487452" y="3349370"/>
              <a:ext cx="151162" cy="195873"/>
            </a:xfrm>
            <a:custGeom>
              <a:avLst/>
              <a:gdLst>
                <a:gd name="connsiteX0" fmla="*/ 38025 w 151162"/>
                <a:gd name="connsiteY0" fmla="*/ 195873 h 195873"/>
                <a:gd name="connsiteX1" fmla="*/ 0 w 151162"/>
                <a:gd name="connsiteY1" fmla="*/ 125130 h 195873"/>
                <a:gd name="connsiteX2" fmla="*/ 103497 w 151162"/>
                <a:gd name="connsiteY2" fmla="*/ 0 h 195873"/>
                <a:gd name="connsiteX3" fmla="*/ 151162 w 151162"/>
                <a:gd name="connsiteY3" fmla="*/ 0 h 195873"/>
                <a:gd name="connsiteX4" fmla="*/ 151162 w 151162"/>
                <a:gd name="connsiteY4" fmla="*/ 55323 h 195873"/>
                <a:gd name="connsiteX5" fmla="*/ 86370 w 151162"/>
                <a:gd name="connsiteY5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1162" h="195873">
                  <a:moveTo>
                    <a:pt x="38025" y="195873"/>
                  </a:moveTo>
                  <a:lnTo>
                    <a:pt x="0" y="125130"/>
                  </a:lnTo>
                  <a:lnTo>
                    <a:pt x="103497" y="0"/>
                  </a:lnTo>
                  <a:lnTo>
                    <a:pt x="151162" y="0"/>
                  </a:lnTo>
                  <a:lnTo>
                    <a:pt x="151162" y="55323"/>
                  </a:lnTo>
                  <a:lnTo>
                    <a:pt x="86370" y="5532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orme libre : forme 63">
              <a:extLst>
                <a:ext uri="{FF2B5EF4-FFF2-40B4-BE49-F238E27FC236}">
                  <a16:creationId xmlns:a16="http://schemas.microsoft.com/office/drawing/2014/main" id="{CC6BD8CB-3AAF-4232-9DAB-6067219DB083}"/>
                </a:ext>
              </a:extLst>
            </p:cNvPr>
            <p:cNvSpPr/>
            <p:nvPr/>
          </p:nvSpPr>
          <p:spPr>
            <a:xfrm rot="8716295">
              <a:off x="460900" y="343447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orme libre : forme 64">
              <a:extLst>
                <a:ext uri="{FF2B5EF4-FFF2-40B4-BE49-F238E27FC236}">
                  <a16:creationId xmlns:a16="http://schemas.microsoft.com/office/drawing/2014/main" id="{C4402BE5-EFA1-455E-87AA-2CF0F2131AB9}"/>
                </a:ext>
              </a:extLst>
            </p:cNvPr>
            <p:cNvSpPr/>
            <p:nvPr/>
          </p:nvSpPr>
          <p:spPr>
            <a:xfrm rot="8716295">
              <a:off x="417336" y="4258920"/>
              <a:ext cx="147637" cy="195874"/>
            </a:xfrm>
            <a:custGeom>
              <a:avLst/>
              <a:gdLst>
                <a:gd name="connsiteX0" fmla="*/ 34500 w 147637"/>
                <a:gd name="connsiteY0" fmla="*/ 195874 h 195874"/>
                <a:gd name="connsiteX1" fmla="*/ 0 w 147637"/>
                <a:gd name="connsiteY1" fmla="*/ 131688 h 195874"/>
                <a:gd name="connsiteX2" fmla="*/ 108921 w 147637"/>
                <a:gd name="connsiteY2" fmla="*/ 0 h 195874"/>
                <a:gd name="connsiteX3" fmla="*/ 147637 w 147637"/>
                <a:gd name="connsiteY3" fmla="*/ 0 h 195874"/>
                <a:gd name="connsiteX4" fmla="*/ 147637 w 147637"/>
                <a:gd name="connsiteY4" fmla="*/ 55323 h 195874"/>
                <a:gd name="connsiteX5" fmla="*/ 82845 w 147637"/>
                <a:gd name="connsiteY5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7637" h="195874">
                  <a:moveTo>
                    <a:pt x="34500" y="195874"/>
                  </a:moveTo>
                  <a:lnTo>
                    <a:pt x="0" y="131688"/>
                  </a:lnTo>
                  <a:lnTo>
                    <a:pt x="108921" y="0"/>
                  </a:lnTo>
                  <a:lnTo>
                    <a:pt x="147637" y="0"/>
                  </a:lnTo>
                  <a:lnTo>
                    <a:pt x="147637" y="55323"/>
                  </a:lnTo>
                  <a:lnTo>
                    <a:pt x="82845" y="5532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orme libre : forme 65">
              <a:extLst>
                <a:ext uri="{FF2B5EF4-FFF2-40B4-BE49-F238E27FC236}">
                  <a16:creationId xmlns:a16="http://schemas.microsoft.com/office/drawing/2014/main" id="{61A670F2-3CC6-425A-A67F-3F30EE51B04A}"/>
                </a:ext>
              </a:extLst>
            </p:cNvPr>
            <p:cNvSpPr/>
            <p:nvPr/>
          </p:nvSpPr>
          <p:spPr>
            <a:xfrm rot="8716295">
              <a:off x="330834" y="4134902"/>
              <a:ext cx="254613" cy="91157"/>
            </a:xfrm>
            <a:custGeom>
              <a:avLst/>
              <a:gdLst>
                <a:gd name="connsiteX0" fmla="*/ 0 w 254613"/>
                <a:gd name="connsiteY0" fmla="*/ 68911 h 91157"/>
                <a:gd name="connsiteX1" fmla="*/ 56997 w 254613"/>
                <a:gd name="connsiteY1" fmla="*/ 0 h 91157"/>
                <a:gd name="connsiteX2" fmla="*/ 57517 w 254613"/>
                <a:gd name="connsiteY2" fmla="*/ 2143 h 91157"/>
                <a:gd name="connsiteX3" fmla="*/ 128118 w 254613"/>
                <a:gd name="connsiteY3" fmla="*/ 40974 h 91157"/>
                <a:gd name="connsiteX4" fmla="*/ 181070 w 254613"/>
                <a:gd name="connsiteY4" fmla="*/ 31560 h 91157"/>
                <a:gd name="connsiteX5" fmla="*/ 253437 w 254613"/>
                <a:gd name="connsiteY5" fmla="*/ 2143 h 91157"/>
                <a:gd name="connsiteX6" fmla="*/ 254613 w 254613"/>
                <a:gd name="connsiteY6" fmla="*/ 9791 h 91157"/>
                <a:gd name="connsiteX7" fmla="*/ 254613 w 254613"/>
                <a:gd name="connsiteY7" fmla="*/ 15674 h 91157"/>
                <a:gd name="connsiteX8" fmla="*/ 61636 w 254613"/>
                <a:gd name="connsiteY8" fmla="*/ 90983 h 91157"/>
                <a:gd name="connsiteX9" fmla="*/ 22363 w 254613"/>
                <a:gd name="connsiteY9" fmla="*/ 84217 h 91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4613" h="91157">
                  <a:moveTo>
                    <a:pt x="0" y="68911"/>
                  </a:moveTo>
                  <a:lnTo>
                    <a:pt x="56997" y="0"/>
                  </a:lnTo>
                  <a:lnTo>
                    <a:pt x="57517" y="2143"/>
                  </a:lnTo>
                  <a:cubicBezTo>
                    <a:pt x="66931" y="28030"/>
                    <a:pt x="91053" y="40974"/>
                    <a:pt x="128118" y="40974"/>
                  </a:cubicBezTo>
                  <a:cubicBezTo>
                    <a:pt x="146357" y="40385"/>
                    <a:pt x="164008" y="36855"/>
                    <a:pt x="181070" y="31560"/>
                  </a:cubicBezTo>
                  <a:cubicBezTo>
                    <a:pt x="205780" y="23912"/>
                    <a:pt x="229903" y="13910"/>
                    <a:pt x="253437" y="2143"/>
                  </a:cubicBezTo>
                  <a:cubicBezTo>
                    <a:pt x="254025" y="4496"/>
                    <a:pt x="254613" y="7438"/>
                    <a:pt x="254613" y="9791"/>
                  </a:cubicBezTo>
                  <a:lnTo>
                    <a:pt x="254613" y="15674"/>
                  </a:lnTo>
                  <a:cubicBezTo>
                    <a:pt x="192249" y="69215"/>
                    <a:pt x="110468" y="88042"/>
                    <a:pt x="61636" y="90983"/>
                  </a:cubicBezTo>
                  <a:cubicBezTo>
                    <a:pt x="48104" y="91866"/>
                    <a:pt x="34719" y="89365"/>
                    <a:pt x="22363" y="84217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orme libre : forme 66">
              <a:extLst>
                <a:ext uri="{FF2B5EF4-FFF2-40B4-BE49-F238E27FC236}">
                  <a16:creationId xmlns:a16="http://schemas.microsoft.com/office/drawing/2014/main" id="{8311F45B-46D1-4E93-B5FB-C96A0B131FB3}"/>
                </a:ext>
              </a:extLst>
            </p:cNvPr>
            <p:cNvSpPr/>
            <p:nvPr/>
          </p:nvSpPr>
          <p:spPr>
            <a:xfrm rot="8716295">
              <a:off x="-3428" y="2405990"/>
              <a:ext cx="142167" cy="208592"/>
            </a:xfrm>
            <a:custGeom>
              <a:avLst/>
              <a:gdLst>
                <a:gd name="connsiteX0" fmla="*/ 81108 w 142167"/>
                <a:gd name="connsiteY0" fmla="*/ 208592 h 208592"/>
                <a:gd name="connsiteX1" fmla="*/ 81108 w 142167"/>
                <a:gd name="connsiteY1" fmla="*/ 69717 h 208592"/>
                <a:gd name="connsiteX2" fmla="*/ 81108 w 142167"/>
                <a:gd name="connsiteY2" fmla="*/ 65615 h 208592"/>
                <a:gd name="connsiteX3" fmla="*/ 60604 w 142167"/>
                <a:gd name="connsiteY3" fmla="*/ 50123 h 208592"/>
                <a:gd name="connsiteX4" fmla="*/ 0 w 142167"/>
                <a:gd name="connsiteY4" fmla="*/ 50123 h 208592"/>
                <a:gd name="connsiteX5" fmla="*/ 0 w 142167"/>
                <a:gd name="connsiteY5" fmla="*/ 0 h 208592"/>
                <a:gd name="connsiteX6" fmla="*/ 85210 w 142167"/>
                <a:gd name="connsiteY6" fmla="*/ 0 h 208592"/>
                <a:gd name="connsiteX7" fmla="*/ 142167 w 142167"/>
                <a:gd name="connsiteY7" fmla="*/ 50123 h 208592"/>
                <a:gd name="connsiteX8" fmla="*/ 142167 w 142167"/>
                <a:gd name="connsiteY8" fmla="*/ 120504 h 20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08592">
                  <a:moveTo>
                    <a:pt x="81108" y="208592"/>
                  </a:moveTo>
                  <a:lnTo>
                    <a:pt x="81108" y="69717"/>
                  </a:lnTo>
                  <a:cubicBezTo>
                    <a:pt x="81108" y="68350"/>
                    <a:pt x="81108" y="66983"/>
                    <a:pt x="81108" y="65615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10" y="0"/>
                  </a:lnTo>
                  <a:cubicBezTo>
                    <a:pt x="122118" y="0"/>
                    <a:pt x="142167" y="15948"/>
                    <a:pt x="142167" y="50123"/>
                  </a:cubicBezTo>
                  <a:lnTo>
                    <a:pt x="142167" y="120504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FBB49843-79D6-49E9-8512-3ED8074BAF49}"/>
                </a:ext>
              </a:extLst>
            </p:cNvPr>
            <p:cNvSpPr/>
            <p:nvPr/>
          </p:nvSpPr>
          <p:spPr>
            <a:xfrm rot="8716295">
              <a:off x="80015" y="241329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orme libre : forme 68">
              <a:extLst>
                <a:ext uri="{FF2B5EF4-FFF2-40B4-BE49-F238E27FC236}">
                  <a16:creationId xmlns:a16="http://schemas.microsoft.com/office/drawing/2014/main" id="{2588E0D5-81C5-4973-87D7-DBF7607FAFF4}"/>
                </a:ext>
              </a:extLst>
            </p:cNvPr>
            <p:cNvSpPr/>
            <p:nvPr/>
          </p:nvSpPr>
          <p:spPr>
            <a:xfrm rot="8716295">
              <a:off x="35165" y="232701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orme libre : forme 69">
              <a:extLst>
                <a:ext uri="{FF2B5EF4-FFF2-40B4-BE49-F238E27FC236}">
                  <a16:creationId xmlns:a16="http://schemas.microsoft.com/office/drawing/2014/main" id="{4C19B60F-0DA9-4BC3-BAAD-2E7DE57F5376}"/>
                </a:ext>
              </a:extLst>
            </p:cNvPr>
            <p:cNvSpPr/>
            <p:nvPr/>
          </p:nvSpPr>
          <p:spPr>
            <a:xfrm rot="8716295">
              <a:off x="-20257" y="2217087"/>
              <a:ext cx="78731" cy="180665"/>
            </a:xfrm>
            <a:custGeom>
              <a:avLst/>
              <a:gdLst>
                <a:gd name="connsiteX0" fmla="*/ 0 w 78731"/>
                <a:gd name="connsiteY0" fmla="*/ 180665 h 180665"/>
                <a:gd name="connsiteX1" fmla="*/ 0 w 78731"/>
                <a:gd name="connsiteY1" fmla="*/ 40596 h 180665"/>
                <a:gd name="connsiteX2" fmla="*/ 78250 w 78731"/>
                <a:gd name="connsiteY2" fmla="*/ 0 h 180665"/>
                <a:gd name="connsiteX3" fmla="*/ 78731 w 78731"/>
                <a:gd name="connsiteY3" fmla="*/ 67083 h 180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731" h="180665">
                  <a:moveTo>
                    <a:pt x="0" y="180665"/>
                  </a:moveTo>
                  <a:lnTo>
                    <a:pt x="0" y="40596"/>
                  </a:lnTo>
                  <a:lnTo>
                    <a:pt x="78250" y="0"/>
                  </a:lnTo>
                  <a:lnTo>
                    <a:pt x="78731" y="6708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orme libre : forme 70">
              <a:extLst>
                <a:ext uri="{FF2B5EF4-FFF2-40B4-BE49-F238E27FC236}">
                  <a16:creationId xmlns:a16="http://schemas.microsoft.com/office/drawing/2014/main" id="{6EC16758-5536-44AA-B18E-D5428BFF36DA}"/>
                </a:ext>
              </a:extLst>
            </p:cNvPr>
            <p:cNvSpPr/>
            <p:nvPr/>
          </p:nvSpPr>
          <p:spPr>
            <a:xfrm rot="8716295">
              <a:off x="-15341" y="2575209"/>
              <a:ext cx="103435" cy="152027"/>
            </a:xfrm>
            <a:custGeom>
              <a:avLst/>
              <a:gdLst>
                <a:gd name="connsiteX0" fmla="*/ 43288 w 103435"/>
                <a:gd name="connsiteY0" fmla="*/ 152027 h 152027"/>
                <a:gd name="connsiteX1" fmla="*/ 43288 w 103435"/>
                <a:gd name="connsiteY1" fmla="*/ 16404 h 152027"/>
                <a:gd name="connsiteX2" fmla="*/ 0 w 103435"/>
                <a:gd name="connsiteY2" fmla="*/ 16404 h 152027"/>
                <a:gd name="connsiteX3" fmla="*/ 0 w 103435"/>
                <a:gd name="connsiteY3" fmla="*/ 2278 h 152027"/>
                <a:gd name="connsiteX4" fmla="*/ 103435 w 103435"/>
                <a:gd name="connsiteY4" fmla="*/ 0 h 152027"/>
                <a:gd name="connsiteX5" fmla="*/ 103435 w 103435"/>
                <a:gd name="connsiteY5" fmla="*/ 65255 h 152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152027">
                  <a:moveTo>
                    <a:pt x="43288" y="152027"/>
                  </a:move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65255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orme libre : forme 71">
              <a:extLst>
                <a:ext uri="{FF2B5EF4-FFF2-40B4-BE49-F238E27FC236}">
                  <a16:creationId xmlns:a16="http://schemas.microsoft.com/office/drawing/2014/main" id="{F8CD2FD6-8E29-4A7B-A6E7-A08269AC0224}"/>
                </a:ext>
              </a:extLst>
            </p:cNvPr>
            <p:cNvSpPr/>
            <p:nvPr/>
          </p:nvSpPr>
          <p:spPr>
            <a:xfrm rot="8716295">
              <a:off x="279722" y="21339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orme libre : forme 72">
              <a:extLst>
                <a:ext uri="{FF2B5EF4-FFF2-40B4-BE49-F238E27FC236}">
                  <a16:creationId xmlns:a16="http://schemas.microsoft.com/office/drawing/2014/main" id="{B8E4BE1C-C619-4E1A-8472-B00AFC43BA29}"/>
                </a:ext>
              </a:extLst>
            </p:cNvPr>
            <p:cNvSpPr/>
            <p:nvPr/>
          </p:nvSpPr>
          <p:spPr>
            <a:xfrm rot="8716295">
              <a:off x="369114" y="21631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" name="Forme libre : forme 73">
              <a:extLst>
                <a:ext uri="{FF2B5EF4-FFF2-40B4-BE49-F238E27FC236}">
                  <a16:creationId xmlns:a16="http://schemas.microsoft.com/office/drawing/2014/main" id="{E00D5309-AD7C-43C7-8A0B-B7211B97E879}"/>
                </a:ext>
              </a:extLst>
            </p:cNvPr>
            <p:cNvSpPr/>
            <p:nvPr/>
          </p:nvSpPr>
          <p:spPr>
            <a:xfrm rot="8716295">
              <a:off x="167488" y="22224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" name="Forme libre : forme 74">
              <a:extLst>
                <a:ext uri="{FF2B5EF4-FFF2-40B4-BE49-F238E27FC236}">
                  <a16:creationId xmlns:a16="http://schemas.microsoft.com/office/drawing/2014/main" id="{569B59A1-12B4-4886-9F85-B0AFCE236D87}"/>
                </a:ext>
              </a:extLst>
            </p:cNvPr>
            <p:cNvSpPr/>
            <p:nvPr/>
          </p:nvSpPr>
          <p:spPr>
            <a:xfrm rot="8716295">
              <a:off x="42586" y="20137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" name="Forme libre : forme 75">
              <a:extLst>
                <a:ext uri="{FF2B5EF4-FFF2-40B4-BE49-F238E27FC236}">
                  <a16:creationId xmlns:a16="http://schemas.microsoft.com/office/drawing/2014/main" id="{F564295A-16CC-45A5-86A1-4CEC6CD90425}"/>
                </a:ext>
              </a:extLst>
            </p:cNvPr>
            <p:cNvSpPr/>
            <p:nvPr/>
          </p:nvSpPr>
          <p:spPr>
            <a:xfrm rot="8716295">
              <a:off x="257666" y="226339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" name="Forme libre : forme 76">
              <a:extLst>
                <a:ext uri="{FF2B5EF4-FFF2-40B4-BE49-F238E27FC236}">
                  <a16:creationId xmlns:a16="http://schemas.microsoft.com/office/drawing/2014/main" id="{2384700C-00D8-4B4D-ABDF-BE0456A14505}"/>
                </a:ext>
              </a:extLst>
            </p:cNvPr>
            <p:cNvSpPr/>
            <p:nvPr/>
          </p:nvSpPr>
          <p:spPr>
            <a:xfrm rot="8716295">
              <a:off x="16215" y="211379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" name="Forme libre : forme 77">
              <a:extLst>
                <a:ext uri="{FF2B5EF4-FFF2-40B4-BE49-F238E27FC236}">
                  <a16:creationId xmlns:a16="http://schemas.microsoft.com/office/drawing/2014/main" id="{D8BA4606-ED26-402C-93D7-D77E55C056EF}"/>
                </a:ext>
              </a:extLst>
            </p:cNvPr>
            <p:cNvSpPr/>
            <p:nvPr/>
          </p:nvSpPr>
          <p:spPr>
            <a:xfrm rot="7484129">
              <a:off x="362597" y="245474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orme libre : forme 78">
              <a:extLst>
                <a:ext uri="{FF2B5EF4-FFF2-40B4-BE49-F238E27FC236}">
                  <a16:creationId xmlns:a16="http://schemas.microsoft.com/office/drawing/2014/main" id="{3CCE9711-ABFF-417D-B3E6-0BDB1263FCD1}"/>
                </a:ext>
              </a:extLst>
            </p:cNvPr>
            <p:cNvSpPr/>
            <p:nvPr/>
          </p:nvSpPr>
          <p:spPr>
            <a:xfrm rot="13089394">
              <a:off x="463440" y="2426400"/>
              <a:ext cx="272584" cy="319064"/>
            </a:xfrm>
            <a:custGeom>
              <a:avLst/>
              <a:gdLst>
                <a:gd name="connsiteX0" fmla="*/ 80445 w 272584"/>
                <a:gd name="connsiteY0" fmla="*/ 215518 h 319064"/>
                <a:gd name="connsiteX1" fmla="*/ 0 w 272584"/>
                <a:gd name="connsiteY1" fmla="*/ 93007 h 319064"/>
                <a:gd name="connsiteX2" fmla="*/ 0 w 272584"/>
                <a:gd name="connsiteY2" fmla="*/ 38074 h 319064"/>
                <a:gd name="connsiteX3" fmla="*/ 73388 w 272584"/>
                <a:gd name="connsiteY3" fmla="*/ 0 h 319064"/>
                <a:gd name="connsiteX4" fmla="*/ 74492 w 272584"/>
                <a:gd name="connsiteY4" fmla="*/ 153950 h 319064"/>
                <a:gd name="connsiteX5" fmla="*/ 76768 w 272584"/>
                <a:gd name="connsiteY5" fmla="*/ 200369 h 319064"/>
                <a:gd name="connsiteX6" fmla="*/ 272584 w 272584"/>
                <a:gd name="connsiteY6" fmla="*/ 258238 h 319064"/>
                <a:gd name="connsiteX7" fmla="*/ 177331 w 272584"/>
                <a:gd name="connsiteY7" fmla="*/ 311347 h 319064"/>
                <a:gd name="connsiteX8" fmla="*/ 148437 w 272584"/>
                <a:gd name="connsiteY8" fmla="*/ 319064 h 319064"/>
                <a:gd name="connsiteX9" fmla="*/ 119231 w 272584"/>
                <a:gd name="connsiteY9" fmla="*/ 274585 h 319064"/>
                <a:gd name="connsiteX10" fmla="*/ 153949 w 272584"/>
                <a:gd name="connsiteY10" fmla="*/ 281965 h 319064"/>
                <a:gd name="connsiteX11" fmla="*/ 203610 w 272584"/>
                <a:gd name="connsiteY11" fmla="*/ 273136 h 319064"/>
                <a:gd name="connsiteX12" fmla="*/ 271481 w 272584"/>
                <a:gd name="connsiteY12" fmla="*/ 245547 h 319064"/>
                <a:gd name="connsiteX13" fmla="*/ 272584 w 272584"/>
                <a:gd name="connsiteY13" fmla="*/ 252720 h 319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2584" h="319064">
                  <a:moveTo>
                    <a:pt x="80445" y="215518"/>
                  </a:moveTo>
                  <a:lnTo>
                    <a:pt x="0" y="93007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3664" y="169400"/>
                    <a:pt x="74492" y="184988"/>
                    <a:pt x="76768" y="200369"/>
                  </a:cubicBezTo>
                  <a:close/>
                  <a:moveTo>
                    <a:pt x="272584" y="258238"/>
                  </a:moveTo>
                  <a:cubicBezTo>
                    <a:pt x="243339" y="283344"/>
                    <a:pt x="209542" y="300312"/>
                    <a:pt x="177331" y="311347"/>
                  </a:cubicBezTo>
                  <a:lnTo>
                    <a:pt x="148437" y="319064"/>
                  </a:lnTo>
                  <a:lnTo>
                    <a:pt x="119231" y="274585"/>
                  </a:lnTo>
                  <a:lnTo>
                    <a:pt x="153949" y="281965"/>
                  </a:lnTo>
                  <a:cubicBezTo>
                    <a:pt x="171055" y="281413"/>
                    <a:pt x="187609" y="278102"/>
                    <a:pt x="203610" y="273136"/>
                  </a:cubicBezTo>
                  <a:cubicBezTo>
                    <a:pt x="226785" y="265963"/>
                    <a:pt x="249409" y="256583"/>
                    <a:pt x="271481" y="245547"/>
                  </a:cubicBezTo>
                  <a:cubicBezTo>
                    <a:pt x="272032" y="247754"/>
                    <a:pt x="272584" y="250513"/>
                    <a:pt x="272584" y="25272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Forme libre : forme 79">
              <a:extLst>
                <a:ext uri="{FF2B5EF4-FFF2-40B4-BE49-F238E27FC236}">
                  <a16:creationId xmlns:a16="http://schemas.microsoft.com/office/drawing/2014/main" id="{6E12610B-6A34-4C00-8EC5-09F9F5AEEEF0}"/>
                </a:ext>
              </a:extLst>
            </p:cNvPr>
            <p:cNvSpPr/>
            <p:nvPr/>
          </p:nvSpPr>
          <p:spPr>
            <a:xfrm rot="8716295">
              <a:off x="675867" y="2357327"/>
              <a:ext cx="38012" cy="45752"/>
            </a:xfrm>
            <a:custGeom>
              <a:avLst/>
              <a:gdLst>
                <a:gd name="connsiteX0" fmla="*/ 0 w 38012"/>
                <a:gd name="connsiteY0" fmla="*/ 45752 h 45752"/>
                <a:gd name="connsiteX1" fmla="*/ 37842 w 38012"/>
                <a:gd name="connsiteY1" fmla="*/ 0 h 45752"/>
                <a:gd name="connsiteX2" fmla="*/ 38012 w 38012"/>
                <a:gd name="connsiteY2" fmla="*/ 641 h 45752"/>
                <a:gd name="connsiteX3" fmla="*/ 6841 w 38012"/>
                <a:gd name="connsiteY3" fmla="*/ 42560 h 45752"/>
                <a:gd name="connsiteX4" fmla="*/ 7378 w 38012"/>
                <a:gd name="connsiteY4" fmla="*/ 42560 h 45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012" h="45752">
                  <a:moveTo>
                    <a:pt x="0" y="45752"/>
                  </a:moveTo>
                  <a:lnTo>
                    <a:pt x="37842" y="0"/>
                  </a:lnTo>
                  <a:lnTo>
                    <a:pt x="38012" y="641"/>
                  </a:lnTo>
                  <a:cubicBezTo>
                    <a:pt x="36400" y="19451"/>
                    <a:pt x="24039" y="35036"/>
                    <a:pt x="6841" y="42560"/>
                  </a:cubicBezTo>
                  <a:lnTo>
                    <a:pt x="7378" y="4256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" name="Forme libre : forme 80">
              <a:extLst>
                <a:ext uri="{FF2B5EF4-FFF2-40B4-BE49-F238E27FC236}">
                  <a16:creationId xmlns:a16="http://schemas.microsoft.com/office/drawing/2014/main" id="{04C60C27-7F84-4DDC-864F-602B18A26BC5}"/>
                </a:ext>
              </a:extLst>
            </p:cNvPr>
            <p:cNvSpPr/>
            <p:nvPr/>
          </p:nvSpPr>
          <p:spPr>
            <a:xfrm rot="8716295">
              <a:off x="601197" y="21260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orme libre : forme 81">
              <a:extLst>
                <a:ext uri="{FF2B5EF4-FFF2-40B4-BE49-F238E27FC236}">
                  <a16:creationId xmlns:a16="http://schemas.microsoft.com/office/drawing/2014/main" id="{603BCEF5-66FB-4B3A-9672-2C4F09A114FA}"/>
                </a:ext>
              </a:extLst>
            </p:cNvPr>
            <p:cNvSpPr/>
            <p:nvPr/>
          </p:nvSpPr>
          <p:spPr>
            <a:xfrm rot="8716295">
              <a:off x="357951" y="21562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Forme libre : forme 82">
              <a:extLst>
                <a:ext uri="{FF2B5EF4-FFF2-40B4-BE49-F238E27FC236}">
                  <a16:creationId xmlns:a16="http://schemas.microsoft.com/office/drawing/2014/main" id="{47C10671-5456-47FF-825A-4447688D4139}"/>
                </a:ext>
              </a:extLst>
            </p:cNvPr>
            <p:cNvSpPr/>
            <p:nvPr/>
          </p:nvSpPr>
          <p:spPr>
            <a:xfrm rot="8716295">
              <a:off x="535403" y="199698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4" name="Forme libre : forme 83">
              <a:extLst>
                <a:ext uri="{FF2B5EF4-FFF2-40B4-BE49-F238E27FC236}">
                  <a16:creationId xmlns:a16="http://schemas.microsoft.com/office/drawing/2014/main" id="{DB34C374-02D3-4583-9890-9C27CA821837}"/>
                </a:ext>
              </a:extLst>
            </p:cNvPr>
            <p:cNvSpPr/>
            <p:nvPr/>
          </p:nvSpPr>
          <p:spPr>
            <a:xfrm rot="8716295">
              <a:off x="-76043" y="1768178"/>
              <a:ext cx="197178" cy="215049"/>
            </a:xfrm>
            <a:custGeom>
              <a:avLst/>
              <a:gdLst>
                <a:gd name="connsiteX0" fmla="*/ 51490 w 197178"/>
                <a:gd name="connsiteY0" fmla="*/ 215049 h 215049"/>
                <a:gd name="connsiteX1" fmla="*/ 51490 w 197178"/>
                <a:gd name="connsiteY1" fmla="*/ 45624 h 215049"/>
                <a:gd name="connsiteX2" fmla="*/ 0 w 197178"/>
                <a:gd name="connsiteY2" fmla="*/ 45624 h 215049"/>
                <a:gd name="connsiteX3" fmla="*/ 0 w 197178"/>
                <a:gd name="connsiteY3" fmla="*/ 1424 h 215049"/>
                <a:gd name="connsiteX4" fmla="*/ 104803 w 197178"/>
                <a:gd name="connsiteY4" fmla="*/ 1425 h 215049"/>
                <a:gd name="connsiteX5" fmla="*/ 104803 w 197178"/>
                <a:gd name="connsiteY5" fmla="*/ 75242 h 215049"/>
                <a:gd name="connsiteX6" fmla="*/ 106169 w 197178"/>
                <a:gd name="connsiteY6" fmla="*/ 75242 h 215049"/>
                <a:gd name="connsiteX7" fmla="*/ 154014 w 197178"/>
                <a:gd name="connsiteY7" fmla="*/ 5981 h 215049"/>
                <a:gd name="connsiteX8" fmla="*/ 185455 w 197178"/>
                <a:gd name="connsiteY8" fmla="*/ 57 h 215049"/>
                <a:gd name="connsiteX9" fmla="*/ 197178 w 197178"/>
                <a:gd name="connsiteY9" fmla="*/ 4872 h 215049"/>
                <a:gd name="connsiteX10" fmla="*/ 170795 w 197178"/>
                <a:gd name="connsiteY10" fmla="*/ 42934 h 215049"/>
                <a:gd name="connsiteX11" fmla="*/ 164950 w 197178"/>
                <a:gd name="connsiteY11" fmla="*/ 40156 h 215049"/>
                <a:gd name="connsiteX12" fmla="*/ 111638 w 197178"/>
                <a:gd name="connsiteY12" fmla="*/ 127643 h 215049"/>
                <a:gd name="connsiteX13" fmla="*/ 111638 w 197178"/>
                <a:gd name="connsiteY13" fmla="*/ 128277 h 21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178" h="215049">
                  <a:moveTo>
                    <a:pt x="51490" y="215049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4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lnTo>
                    <a:pt x="197178" y="4872"/>
                  </a:lnTo>
                  <a:lnTo>
                    <a:pt x="170795" y="42934"/>
                  </a:lnTo>
                  <a:lnTo>
                    <a:pt x="164950" y="40156"/>
                  </a:ln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128277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5" name="Forme libre : forme 84">
              <a:extLst>
                <a:ext uri="{FF2B5EF4-FFF2-40B4-BE49-F238E27FC236}">
                  <a16:creationId xmlns:a16="http://schemas.microsoft.com/office/drawing/2014/main" id="{F27A5053-248B-4729-A180-CFD83FBA8C7D}"/>
                </a:ext>
              </a:extLst>
            </p:cNvPr>
            <p:cNvSpPr/>
            <p:nvPr/>
          </p:nvSpPr>
          <p:spPr>
            <a:xfrm rot="8716295">
              <a:off x="56555" y="14742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6" name="Forme libre : forme 85">
              <a:extLst>
                <a:ext uri="{FF2B5EF4-FFF2-40B4-BE49-F238E27FC236}">
                  <a16:creationId xmlns:a16="http://schemas.microsoft.com/office/drawing/2014/main" id="{9918622A-7E96-4EC8-A35B-CBCD19A79AE2}"/>
                </a:ext>
              </a:extLst>
            </p:cNvPr>
            <p:cNvSpPr/>
            <p:nvPr/>
          </p:nvSpPr>
          <p:spPr>
            <a:xfrm rot="8716295">
              <a:off x="145947" y="15034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7" name="Forme libre : forme 86">
              <a:extLst>
                <a:ext uri="{FF2B5EF4-FFF2-40B4-BE49-F238E27FC236}">
                  <a16:creationId xmlns:a16="http://schemas.microsoft.com/office/drawing/2014/main" id="{0ECD9757-2AFD-4623-9C3D-24E52F11F047}"/>
                </a:ext>
              </a:extLst>
            </p:cNvPr>
            <p:cNvSpPr/>
            <p:nvPr/>
          </p:nvSpPr>
          <p:spPr>
            <a:xfrm rot="8716295">
              <a:off x="-21870" y="1443501"/>
              <a:ext cx="68614" cy="55323"/>
            </a:xfrm>
            <a:custGeom>
              <a:avLst/>
              <a:gdLst>
                <a:gd name="connsiteX0" fmla="*/ 0 w 68614"/>
                <a:gd name="connsiteY0" fmla="*/ 55323 h 55323"/>
                <a:gd name="connsiteX1" fmla="*/ 0 w 68614"/>
                <a:gd name="connsiteY1" fmla="*/ 0 h 55323"/>
                <a:gd name="connsiteX2" fmla="*/ 68614 w 68614"/>
                <a:gd name="connsiteY2" fmla="*/ 0 h 55323"/>
                <a:gd name="connsiteX3" fmla="*/ 30266 w 68614"/>
                <a:gd name="connsiteY3" fmla="*/ 55323 h 55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614" h="55323">
                  <a:moveTo>
                    <a:pt x="0" y="55323"/>
                  </a:moveTo>
                  <a:lnTo>
                    <a:pt x="0" y="0"/>
                  </a:lnTo>
                  <a:lnTo>
                    <a:pt x="68614" y="0"/>
                  </a:lnTo>
                  <a:lnTo>
                    <a:pt x="30266" y="5532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8" name="Forme libre : forme 87">
              <a:extLst>
                <a:ext uri="{FF2B5EF4-FFF2-40B4-BE49-F238E27FC236}">
                  <a16:creationId xmlns:a16="http://schemas.microsoft.com/office/drawing/2014/main" id="{661ED1FA-7FC0-427E-9226-6E31215700D9}"/>
                </a:ext>
              </a:extLst>
            </p:cNvPr>
            <p:cNvSpPr/>
            <p:nvPr/>
          </p:nvSpPr>
          <p:spPr>
            <a:xfrm rot="8716295">
              <a:off x="35817" y="1618109"/>
              <a:ext cx="103435" cy="203897"/>
            </a:xfrm>
            <a:custGeom>
              <a:avLst/>
              <a:gdLst>
                <a:gd name="connsiteX0" fmla="*/ 87556 w 103435"/>
                <a:gd name="connsiteY0" fmla="*/ 203897 h 203897"/>
                <a:gd name="connsiteX1" fmla="*/ 43288 w 103435"/>
                <a:gd name="connsiteY1" fmla="*/ 161305 h 203897"/>
                <a:gd name="connsiteX2" fmla="*/ 43288 w 103435"/>
                <a:gd name="connsiteY2" fmla="*/ 16404 h 203897"/>
                <a:gd name="connsiteX3" fmla="*/ 0 w 103435"/>
                <a:gd name="connsiteY3" fmla="*/ 16404 h 203897"/>
                <a:gd name="connsiteX4" fmla="*/ 0 w 103435"/>
                <a:gd name="connsiteY4" fmla="*/ 2278 h 203897"/>
                <a:gd name="connsiteX5" fmla="*/ 103435 w 103435"/>
                <a:gd name="connsiteY5" fmla="*/ 0 h 203897"/>
                <a:gd name="connsiteX6" fmla="*/ 103435 w 103435"/>
                <a:gd name="connsiteY6" fmla="*/ 180989 h 203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03897">
                  <a:moveTo>
                    <a:pt x="87556" y="203897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180989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9" name="Forme libre : forme 88">
              <a:extLst>
                <a:ext uri="{FF2B5EF4-FFF2-40B4-BE49-F238E27FC236}">
                  <a16:creationId xmlns:a16="http://schemas.microsoft.com/office/drawing/2014/main" id="{A1295F39-BDBB-432C-B32B-C5B551977FC2}"/>
                </a:ext>
              </a:extLst>
            </p:cNvPr>
            <p:cNvSpPr/>
            <p:nvPr/>
          </p:nvSpPr>
          <p:spPr>
            <a:xfrm rot="7484129">
              <a:off x="139430" y="17950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" name="Forme libre : forme 89">
              <a:extLst>
                <a:ext uri="{FF2B5EF4-FFF2-40B4-BE49-F238E27FC236}">
                  <a16:creationId xmlns:a16="http://schemas.microsoft.com/office/drawing/2014/main" id="{F2E91B5E-C359-4716-9781-DAEDAFFE884C}"/>
                </a:ext>
              </a:extLst>
            </p:cNvPr>
            <p:cNvSpPr/>
            <p:nvPr/>
          </p:nvSpPr>
          <p:spPr>
            <a:xfrm rot="13089394">
              <a:off x="244250" y="17615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" name="Forme libre : forme 90">
              <a:extLst>
                <a:ext uri="{FF2B5EF4-FFF2-40B4-BE49-F238E27FC236}">
                  <a16:creationId xmlns:a16="http://schemas.microsoft.com/office/drawing/2014/main" id="{4C9CCC26-5417-41E7-B753-3B7D59038FBD}"/>
                </a:ext>
              </a:extLst>
            </p:cNvPr>
            <p:cNvSpPr/>
            <p:nvPr/>
          </p:nvSpPr>
          <p:spPr>
            <a:xfrm rot="8716295">
              <a:off x="429835" y="15699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" name="Forme libre : forme 91">
              <a:extLst>
                <a:ext uri="{FF2B5EF4-FFF2-40B4-BE49-F238E27FC236}">
                  <a16:creationId xmlns:a16="http://schemas.microsoft.com/office/drawing/2014/main" id="{D6712892-AD9E-4694-AEF5-3D17C5AEEE1D}"/>
                </a:ext>
              </a:extLst>
            </p:cNvPr>
            <p:cNvSpPr/>
            <p:nvPr/>
          </p:nvSpPr>
          <p:spPr>
            <a:xfrm rot="8716295">
              <a:off x="378030" y="14663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" name="Forme libre : forme 92">
              <a:extLst>
                <a:ext uri="{FF2B5EF4-FFF2-40B4-BE49-F238E27FC236}">
                  <a16:creationId xmlns:a16="http://schemas.microsoft.com/office/drawing/2014/main" id="{8DA7EFED-D0A6-45D4-A875-2F1DCEFC57C8}"/>
                </a:ext>
              </a:extLst>
            </p:cNvPr>
            <p:cNvSpPr/>
            <p:nvPr/>
          </p:nvSpPr>
          <p:spPr>
            <a:xfrm rot="8716295">
              <a:off x="134784" y="14965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" name="Forme libre : forme 93">
              <a:extLst>
                <a:ext uri="{FF2B5EF4-FFF2-40B4-BE49-F238E27FC236}">
                  <a16:creationId xmlns:a16="http://schemas.microsoft.com/office/drawing/2014/main" id="{32971A81-1820-4964-A66E-2FD721A16F56}"/>
                </a:ext>
              </a:extLst>
            </p:cNvPr>
            <p:cNvSpPr/>
            <p:nvPr/>
          </p:nvSpPr>
          <p:spPr>
            <a:xfrm rot="8716295">
              <a:off x="312236" y="13372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orme libre : forme 94">
              <a:extLst>
                <a:ext uri="{FF2B5EF4-FFF2-40B4-BE49-F238E27FC236}">
                  <a16:creationId xmlns:a16="http://schemas.microsoft.com/office/drawing/2014/main" id="{BC42F9C8-99E7-4F04-B258-C142D2DE142F}"/>
                </a:ext>
              </a:extLst>
            </p:cNvPr>
            <p:cNvSpPr/>
            <p:nvPr/>
          </p:nvSpPr>
          <p:spPr>
            <a:xfrm rot="8716295">
              <a:off x="-17798" y="949199"/>
              <a:ext cx="39526" cy="50123"/>
            </a:xfrm>
            <a:custGeom>
              <a:avLst/>
              <a:gdLst>
                <a:gd name="connsiteX0" fmla="*/ 0 w 39526"/>
                <a:gd name="connsiteY0" fmla="*/ 50123 h 50123"/>
                <a:gd name="connsiteX1" fmla="*/ 0 w 39526"/>
                <a:gd name="connsiteY1" fmla="*/ 0 h 50123"/>
                <a:gd name="connsiteX2" fmla="*/ 39526 w 39526"/>
                <a:gd name="connsiteY2" fmla="*/ 0 h 50123"/>
                <a:gd name="connsiteX3" fmla="*/ 4782 w 39526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26" h="50123">
                  <a:moveTo>
                    <a:pt x="0" y="50123"/>
                  </a:moveTo>
                  <a:lnTo>
                    <a:pt x="0" y="0"/>
                  </a:lnTo>
                  <a:lnTo>
                    <a:pt x="39526" y="0"/>
                  </a:lnTo>
                  <a:lnTo>
                    <a:pt x="4782" y="5012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Forme libre : forme 95">
              <a:extLst>
                <a:ext uri="{FF2B5EF4-FFF2-40B4-BE49-F238E27FC236}">
                  <a16:creationId xmlns:a16="http://schemas.microsoft.com/office/drawing/2014/main" id="{D29A62DB-0DC5-407D-A1DF-C8A39BAC784A}"/>
                </a:ext>
              </a:extLst>
            </p:cNvPr>
            <p:cNvSpPr/>
            <p:nvPr/>
          </p:nvSpPr>
          <p:spPr>
            <a:xfrm rot="8716295">
              <a:off x="-64996" y="834728"/>
              <a:ext cx="249650" cy="254774"/>
            </a:xfrm>
            <a:custGeom>
              <a:avLst/>
              <a:gdLst>
                <a:gd name="connsiteX0" fmla="*/ 51490 w 249650"/>
                <a:gd name="connsiteY0" fmla="*/ 254774 h 254774"/>
                <a:gd name="connsiteX1" fmla="*/ 51490 w 249650"/>
                <a:gd name="connsiteY1" fmla="*/ 45624 h 254774"/>
                <a:gd name="connsiteX2" fmla="*/ 0 w 249650"/>
                <a:gd name="connsiteY2" fmla="*/ 45624 h 254774"/>
                <a:gd name="connsiteX3" fmla="*/ 0 w 249650"/>
                <a:gd name="connsiteY3" fmla="*/ 1425 h 254774"/>
                <a:gd name="connsiteX4" fmla="*/ 104803 w 249650"/>
                <a:gd name="connsiteY4" fmla="*/ 1425 h 254774"/>
                <a:gd name="connsiteX5" fmla="*/ 104803 w 249650"/>
                <a:gd name="connsiteY5" fmla="*/ 75242 h 254774"/>
                <a:gd name="connsiteX6" fmla="*/ 106169 w 249650"/>
                <a:gd name="connsiteY6" fmla="*/ 75242 h 254774"/>
                <a:gd name="connsiteX7" fmla="*/ 154014 w 249650"/>
                <a:gd name="connsiteY7" fmla="*/ 5981 h 254774"/>
                <a:gd name="connsiteX8" fmla="*/ 185455 w 249650"/>
                <a:gd name="connsiteY8" fmla="*/ 57 h 254774"/>
                <a:gd name="connsiteX9" fmla="*/ 240647 w 249650"/>
                <a:gd name="connsiteY9" fmla="*/ 22727 h 254774"/>
                <a:gd name="connsiteX10" fmla="*/ 249650 w 249650"/>
                <a:gd name="connsiteY10" fmla="*/ 52327 h 254774"/>
                <a:gd name="connsiteX11" fmla="*/ 218795 w 249650"/>
                <a:gd name="connsiteY11" fmla="*/ 96841 h 254774"/>
                <a:gd name="connsiteX12" fmla="*/ 198669 w 249650"/>
                <a:gd name="connsiteY12" fmla="*/ 98025 h 254774"/>
                <a:gd name="connsiteX13" fmla="*/ 198669 w 249650"/>
                <a:gd name="connsiteY13" fmla="*/ 81621 h 254774"/>
                <a:gd name="connsiteX14" fmla="*/ 164950 w 249650"/>
                <a:gd name="connsiteY14" fmla="*/ 40156 h 254774"/>
                <a:gd name="connsiteX15" fmla="*/ 111638 w 249650"/>
                <a:gd name="connsiteY15" fmla="*/ 127643 h 254774"/>
                <a:gd name="connsiteX16" fmla="*/ 111638 w 249650"/>
                <a:gd name="connsiteY16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9650" h="254774">
                  <a:moveTo>
                    <a:pt x="51490" y="254774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08922" y="-398"/>
                    <a:pt x="227718" y="7576"/>
                    <a:pt x="240647" y="22727"/>
                  </a:cubicBezTo>
                  <a:lnTo>
                    <a:pt x="249650" y="52327"/>
                  </a:lnTo>
                  <a:lnTo>
                    <a:pt x="218795" y="96841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213764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" name="Forme libre : forme 96">
              <a:extLst>
                <a:ext uri="{FF2B5EF4-FFF2-40B4-BE49-F238E27FC236}">
                  <a16:creationId xmlns:a16="http://schemas.microsoft.com/office/drawing/2014/main" id="{4160A2B5-61C4-44D3-8FA4-49A1FCD41A0C}"/>
                </a:ext>
              </a:extLst>
            </p:cNvPr>
            <p:cNvSpPr/>
            <p:nvPr/>
          </p:nvSpPr>
          <p:spPr>
            <a:xfrm rot="7484129">
              <a:off x="-63314" y="1172497"/>
              <a:ext cx="203848" cy="146395"/>
            </a:xfrm>
            <a:custGeom>
              <a:avLst/>
              <a:gdLst>
                <a:gd name="connsiteX0" fmla="*/ 0 w 203848"/>
                <a:gd name="connsiteY0" fmla="*/ 55323 h 146395"/>
                <a:gd name="connsiteX1" fmla="*/ 0 w 203848"/>
                <a:gd name="connsiteY1" fmla="*/ 0 h 146395"/>
                <a:gd name="connsiteX2" fmla="*/ 203848 w 203848"/>
                <a:gd name="connsiteY2" fmla="*/ 0 h 146395"/>
                <a:gd name="connsiteX3" fmla="*/ 203847 w 203848"/>
                <a:gd name="connsiteY3" fmla="*/ 49512 h 146395"/>
                <a:gd name="connsiteX4" fmla="*/ 195466 w 203848"/>
                <a:gd name="connsiteY4" fmla="*/ 55323 h 146395"/>
                <a:gd name="connsiteX5" fmla="*/ 139055 w 203848"/>
                <a:gd name="connsiteY5" fmla="*/ 55323 h 146395"/>
                <a:gd name="connsiteX6" fmla="*/ 121388 w 203848"/>
                <a:gd name="connsiteY6" fmla="*/ 106685 h 146395"/>
                <a:gd name="connsiteX7" fmla="*/ 64115 w 203848"/>
                <a:gd name="connsiteY7" fmla="*/ 146395 h 146395"/>
                <a:gd name="connsiteX8" fmla="*/ 47847 w 203848"/>
                <a:gd name="connsiteY8" fmla="*/ 116129 h 146395"/>
                <a:gd name="connsiteX9" fmla="*/ 69777 w 203848"/>
                <a:gd name="connsiteY9" fmla="*/ 55323 h 146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848" h="146395">
                  <a:moveTo>
                    <a:pt x="0" y="55323"/>
                  </a:moveTo>
                  <a:lnTo>
                    <a:pt x="0" y="0"/>
                  </a:lnTo>
                  <a:lnTo>
                    <a:pt x="203848" y="0"/>
                  </a:lnTo>
                  <a:lnTo>
                    <a:pt x="203847" y="49512"/>
                  </a:lnTo>
                  <a:lnTo>
                    <a:pt x="195466" y="55323"/>
                  </a:lnTo>
                  <a:lnTo>
                    <a:pt x="139055" y="55323"/>
                  </a:lnTo>
                  <a:lnTo>
                    <a:pt x="121388" y="106685"/>
                  </a:lnTo>
                  <a:lnTo>
                    <a:pt x="64115" y="146395"/>
                  </a:lnTo>
                  <a:lnTo>
                    <a:pt x="47847" y="116129"/>
                  </a:lnTo>
                  <a:lnTo>
                    <a:pt x="69777" y="5532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" name="Forme libre : forme 97">
              <a:extLst>
                <a:ext uri="{FF2B5EF4-FFF2-40B4-BE49-F238E27FC236}">
                  <a16:creationId xmlns:a16="http://schemas.microsoft.com/office/drawing/2014/main" id="{0F651F8F-312F-4D1A-9E4B-A79B81999918}"/>
                </a:ext>
              </a:extLst>
            </p:cNvPr>
            <p:cNvSpPr/>
            <p:nvPr/>
          </p:nvSpPr>
          <p:spPr>
            <a:xfrm rot="13089394">
              <a:off x="25311" y="109952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" name="Forme libre : forme 98">
              <a:extLst>
                <a:ext uri="{FF2B5EF4-FFF2-40B4-BE49-F238E27FC236}">
                  <a16:creationId xmlns:a16="http://schemas.microsoft.com/office/drawing/2014/main" id="{12E33E54-ECAF-462B-B069-F233780DF121}"/>
                </a:ext>
              </a:extLst>
            </p:cNvPr>
            <p:cNvSpPr/>
            <p:nvPr/>
          </p:nvSpPr>
          <p:spPr>
            <a:xfrm rot="8716295">
              <a:off x="210896" y="90784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orme libre : forme 99">
              <a:extLst>
                <a:ext uri="{FF2B5EF4-FFF2-40B4-BE49-F238E27FC236}">
                  <a16:creationId xmlns:a16="http://schemas.microsoft.com/office/drawing/2014/main" id="{42ACC1F1-A8E1-420C-B7DE-55FFEE501260}"/>
                </a:ext>
              </a:extLst>
            </p:cNvPr>
            <p:cNvSpPr/>
            <p:nvPr/>
          </p:nvSpPr>
          <p:spPr>
            <a:xfrm rot="8716295">
              <a:off x="159091" y="80425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Forme libre : forme 100">
              <a:extLst>
                <a:ext uri="{FF2B5EF4-FFF2-40B4-BE49-F238E27FC236}">
                  <a16:creationId xmlns:a16="http://schemas.microsoft.com/office/drawing/2014/main" id="{B902C445-D42B-4D0E-8897-FDE236E78375}"/>
                </a:ext>
              </a:extLst>
            </p:cNvPr>
            <p:cNvSpPr/>
            <p:nvPr/>
          </p:nvSpPr>
          <p:spPr>
            <a:xfrm rot="8716295">
              <a:off x="93297" y="67523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" name="Forme libre : forme 101">
              <a:extLst>
                <a:ext uri="{FF2B5EF4-FFF2-40B4-BE49-F238E27FC236}">
                  <a16:creationId xmlns:a16="http://schemas.microsoft.com/office/drawing/2014/main" id="{4EDB9DFE-AA44-492B-9D2C-70F199FD6162}"/>
                </a:ext>
              </a:extLst>
            </p:cNvPr>
            <p:cNvSpPr/>
            <p:nvPr/>
          </p:nvSpPr>
          <p:spPr>
            <a:xfrm rot="8716295">
              <a:off x="-7001" y="316701"/>
              <a:ext cx="14001" cy="20198"/>
            </a:xfrm>
            <a:custGeom>
              <a:avLst/>
              <a:gdLst>
                <a:gd name="connsiteX0" fmla="*/ 0 w 14001"/>
                <a:gd name="connsiteY0" fmla="*/ 20198 h 20198"/>
                <a:gd name="connsiteX1" fmla="*/ 0 w 14001"/>
                <a:gd name="connsiteY1" fmla="*/ 0 h 20198"/>
                <a:gd name="connsiteX2" fmla="*/ 14001 w 14001"/>
                <a:gd name="connsiteY2" fmla="*/ 0 h 2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01" h="20198">
                  <a:moveTo>
                    <a:pt x="0" y="20198"/>
                  </a:moveTo>
                  <a:lnTo>
                    <a:pt x="0" y="0"/>
                  </a:lnTo>
                  <a:lnTo>
                    <a:pt x="14001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" name="Forme libre : forme 102">
              <a:extLst>
                <a:ext uri="{FF2B5EF4-FFF2-40B4-BE49-F238E27FC236}">
                  <a16:creationId xmlns:a16="http://schemas.microsoft.com/office/drawing/2014/main" id="{9B8E4668-5129-4061-833F-DDB8DC144C55}"/>
                </a:ext>
              </a:extLst>
            </p:cNvPr>
            <p:cNvSpPr/>
            <p:nvPr/>
          </p:nvSpPr>
          <p:spPr>
            <a:xfrm rot="13089394">
              <a:off x="-81658" y="472652"/>
              <a:ext cx="173631" cy="237684"/>
            </a:xfrm>
            <a:custGeom>
              <a:avLst/>
              <a:gdLst>
                <a:gd name="connsiteX0" fmla="*/ 173631 w 173631"/>
                <a:gd name="connsiteY0" fmla="*/ 220990 h 237684"/>
                <a:gd name="connsiteX1" fmla="*/ 130972 w 173631"/>
                <a:gd name="connsiteY1" fmla="*/ 232382 h 237684"/>
                <a:gd name="connsiteX2" fmla="*/ 91597 w 173631"/>
                <a:gd name="connsiteY2" fmla="*/ 237521 h 237684"/>
                <a:gd name="connsiteX3" fmla="*/ 23727 w 173631"/>
                <a:gd name="connsiteY3" fmla="*/ 209931 h 237684"/>
                <a:gd name="connsiteX4" fmla="*/ 0 w 173631"/>
                <a:gd name="connsiteY4" fmla="*/ 115023 h 237684"/>
                <a:gd name="connsiteX5" fmla="*/ 0 w 173631"/>
                <a:gd name="connsiteY5" fmla="*/ 0 h 237684"/>
                <a:gd name="connsiteX6" fmla="*/ 76176 w 173631"/>
                <a:gd name="connsiteY6" fmla="*/ 96953 h 237684"/>
                <a:gd name="connsiteX7" fmla="*/ 76768 w 173631"/>
                <a:gd name="connsiteY7" fmla="*/ 109023 h 237684"/>
                <a:gd name="connsiteX8" fmla="*/ 87734 w 173631"/>
                <a:gd name="connsiteY8" fmla="*/ 154201 h 237684"/>
                <a:gd name="connsiteX9" fmla="*/ 111117 w 173631"/>
                <a:gd name="connsiteY9" fmla="*/ 181514 h 237684"/>
                <a:gd name="connsiteX10" fmla="*/ 148930 w 173631"/>
                <a:gd name="connsiteY10" fmla="*/ 189552 h 237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3631" h="237684">
                  <a:moveTo>
                    <a:pt x="173631" y="220990"/>
                  </a:moveTo>
                  <a:lnTo>
                    <a:pt x="130972" y="232382"/>
                  </a:lnTo>
                  <a:cubicBezTo>
                    <a:pt x="116428" y="235210"/>
                    <a:pt x="103047" y="236831"/>
                    <a:pt x="91597" y="237521"/>
                  </a:cubicBezTo>
                  <a:cubicBezTo>
                    <a:pt x="66215" y="239176"/>
                    <a:pt x="41384" y="228141"/>
                    <a:pt x="23727" y="209931"/>
                  </a:cubicBezTo>
                  <a:cubicBezTo>
                    <a:pt x="4966" y="191722"/>
                    <a:pt x="0" y="160270"/>
                    <a:pt x="0" y="115023"/>
                  </a:cubicBezTo>
                  <a:lnTo>
                    <a:pt x="0" y="0"/>
                  </a:lnTo>
                  <a:lnTo>
                    <a:pt x="76176" y="96953"/>
                  </a:lnTo>
                  <a:lnTo>
                    <a:pt x="76768" y="109023"/>
                  </a:lnTo>
                  <a:cubicBezTo>
                    <a:pt x="79044" y="124404"/>
                    <a:pt x="82768" y="139578"/>
                    <a:pt x="87734" y="154201"/>
                  </a:cubicBezTo>
                  <a:cubicBezTo>
                    <a:pt x="92149" y="166340"/>
                    <a:pt x="100012" y="175445"/>
                    <a:pt x="111117" y="181514"/>
                  </a:cubicBezTo>
                  <a:lnTo>
                    <a:pt x="148930" y="189552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" name="Forme libre : forme 103">
              <a:extLst>
                <a:ext uri="{FF2B5EF4-FFF2-40B4-BE49-F238E27FC236}">
                  <a16:creationId xmlns:a16="http://schemas.microsoft.com/office/drawing/2014/main" id="{99FF5E45-909E-4FF2-B754-B344F6F11F69}"/>
                </a:ext>
              </a:extLst>
            </p:cNvPr>
            <p:cNvSpPr/>
            <p:nvPr/>
          </p:nvSpPr>
          <p:spPr>
            <a:xfrm rot="8716295">
              <a:off x="-11774" y="24443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" name="Forme libre : forme 104">
              <a:extLst>
                <a:ext uri="{FF2B5EF4-FFF2-40B4-BE49-F238E27FC236}">
                  <a16:creationId xmlns:a16="http://schemas.microsoft.com/office/drawing/2014/main" id="{EB79107E-889E-47A5-A1AB-E4F4B49C7BFA}"/>
                </a:ext>
              </a:extLst>
            </p:cNvPr>
            <p:cNvSpPr/>
            <p:nvPr/>
          </p:nvSpPr>
          <p:spPr>
            <a:xfrm rot="8716295">
              <a:off x="-30092" y="143486"/>
              <a:ext cx="77721" cy="97260"/>
            </a:xfrm>
            <a:custGeom>
              <a:avLst/>
              <a:gdLst>
                <a:gd name="connsiteX0" fmla="*/ 15821 w 77721"/>
                <a:gd name="connsiteY0" fmla="*/ 97260 h 97260"/>
                <a:gd name="connsiteX1" fmla="*/ 0 w 77721"/>
                <a:gd name="connsiteY1" fmla="*/ 59790 h 97260"/>
                <a:gd name="connsiteX2" fmla="*/ 0 w 77721"/>
                <a:gd name="connsiteY2" fmla="*/ 58869 h 97260"/>
                <a:gd name="connsiteX3" fmla="*/ 17477 w 77721"/>
                <a:gd name="connsiteY3" fmla="*/ 17477 h 97260"/>
                <a:gd name="connsiteX4" fmla="*/ 58869 w 77721"/>
                <a:gd name="connsiteY4" fmla="*/ 0 h 97260"/>
                <a:gd name="connsiteX5" fmla="*/ 77721 w 77721"/>
                <a:gd name="connsiteY5" fmla="*/ 7960 h 97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721" h="97260">
                  <a:moveTo>
                    <a:pt x="15821" y="97260"/>
                  </a:moveTo>
                  <a:lnTo>
                    <a:pt x="0" y="59790"/>
                  </a:ln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lnTo>
                    <a:pt x="77721" y="796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" name="Forme libre : forme 105">
              <a:extLst>
                <a:ext uri="{FF2B5EF4-FFF2-40B4-BE49-F238E27FC236}">
                  <a16:creationId xmlns:a16="http://schemas.microsoft.com/office/drawing/2014/main" id="{D8EC7674-F8C4-4C98-B223-FB48E7028D2B}"/>
                </a:ext>
              </a:extLst>
            </p:cNvPr>
            <p:cNvSpPr/>
            <p:nvPr/>
          </p:nvSpPr>
          <p:spPr>
            <a:xfrm rot="8716295">
              <a:off x="-17797" y="3452694"/>
              <a:ext cx="58455" cy="44199"/>
            </a:xfrm>
            <a:custGeom>
              <a:avLst/>
              <a:gdLst>
                <a:gd name="connsiteX0" fmla="*/ 0 w 58455"/>
                <a:gd name="connsiteY0" fmla="*/ 44199 h 44199"/>
                <a:gd name="connsiteX1" fmla="*/ 0 w 58455"/>
                <a:gd name="connsiteY1" fmla="*/ 0 h 44199"/>
                <a:gd name="connsiteX2" fmla="*/ 58455 w 58455"/>
                <a:gd name="connsiteY2" fmla="*/ 0 h 44199"/>
                <a:gd name="connsiteX3" fmla="*/ 27817 w 58455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55" h="44199">
                  <a:moveTo>
                    <a:pt x="0" y="44199"/>
                  </a:moveTo>
                  <a:lnTo>
                    <a:pt x="0" y="0"/>
                  </a:lnTo>
                  <a:lnTo>
                    <a:pt x="58455" y="0"/>
                  </a:lnTo>
                  <a:lnTo>
                    <a:pt x="27817" y="44199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" name="Forme libre : forme 106">
              <a:extLst>
                <a:ext uri="{FF2B5EF4-FFF2-40B4-BE49-F238E27FC236}">
                  <a16:creationId xmlns:a16="http://schemas.microsoft.com/office/drawing/2014/main" id="{4367C4D5-414D-49AB-A590-D84D23E38E78}"/>
                </a:ext>
              </a:extLst>
            </p:cNvPr>
            <p:cNvSpPr/>
            <p:nvPr/>
          </p:nvSpPr>
          <p:spPr>
            <a:xfrm rot="13089394">
              <a:off x="-91485" y="3601812"/>
              <a:ext cx="206527" cy="292654"/>
            </a:xfrm>
            <a:custGeom>
              <a:avLst/>
              <a:gdLst>
                <a:gd name="connsiteX0" fmla="*/ 206527 w 206527"/>
                <a:gd name="connsiteY0" fmla="*/ 258693 h 292654"/>
                <a:gd name="connsiteX1" fmla="*/ 177331 w 206527"/>
                <a:gd name="connsiteY1" fmla="*/ 274971 h 292654"/>
                <a:gd name="connsiteX2" fmla="*/ 91597 w 206527"/>
                <a:gd name="connsiteY2" fmla="*/ 292491 h 292654"/>
                <a:gd name="connsiteX3" fmla="*/ 23727 w 206527"/>
                <a:gd name="connsiteY3" fmla="*/ 264901 h 292654"/>
                <a:gd name="connsiteX4" fmla="*/ 0 w 206527"/>
                <a:gd name="connsiteY4" fmla="*/ 169993 h 292654"/>
                <a:gd name="connsiteX5" fmla="*/ 0 w 206527"/>
                <a:gd name="connsiteY5" fmla="*/ 1698 h 292654"/>
                <a:gd name="connsiteX6" fmla="*/ 3273 w 206527"/>
                <a:gd name="connsiteY6" fmla="*/ 0 h 292654"/>
                <a:gd name="connsiteX7" fmla="*/ 74297 w 206527"/>
                <a:gd name="connsiteY7" fmla="*/ 90396 h 292654"/>
                <a:gd name="connsiteX8" fmla="*/ 74492 w 206527"/>
                <a:gd name="connsiteY8" fmla="*/ 117574 h 292654"/>
                <a:gd name="connsiteX9" fmla="*/ 87734 w 206527"/>
                <a:gd name="connsiteY9" fmla="*/ 209171 h 292654"/>
                <a:gd name="connsiteX10" fmla="*/ 153949 w 206527"/>
                <a:gd name="connsiteY10" fmla="*/ 245589 h 292654"/>
                <a:gd name="connsiteX11" fmla="*/ 191049 w 206527"/>
                <a:gd name="connsiteY11" fmla="*/ 238993 h 292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527" h="292654">
                  <a:moveTo>
                    <a:pt x="206527" y="258693"/>
                  </a:moveTo>
                  <a:lnTo>
                    <a:pt x="177331" y="274971"/>
                  </a:lnTo>
                  <a:cubicBezTo>
                    <a:pt x="145121" y="286007"/>
                    <a:pt x="114496" y="291111"/>
                    <a:pt x="91597" y="292491"/>
                  </a:cubicBezTo>
                  <a:cubicBezTo>
                    <a:pt x="66215" y="294146"/>
                    <a:pt x="41385" y="283111"/>
                    <a:pt x="23727" y="264901"/>
                  </a:cubicBezTo>
                  <a:cubicBezTo>
                    <a:pt x="4966" y="246692"/>
                    <a:pt x="0" y="215240"/>
                    <a:pt x="0" y="169993"/>
                  </a:cubicBezTo>
                  <a:lnTo>
                    <a:pt x="0" y="1698"/>
                  </a:lnTo>
                  <a:lnTo>
                    <a:pt x="3273" y="0"/>
                  </a:lnTo>
                  <a:lnTo>
                    <a:pt x="74297" y="90396"/>
                  </a:lnTo>
                  <a:lnTo>
                    <a:pt x="74492" y="117574"/>
                  </a:lnTo>
                  <a:cubicBezTo>
                    <a:pt x="72836" y="148474"/>
                    <a:pt x="77802" y="179926"/>
                    <a:pt x="87734" y="209171"/>
                  </a:cubicBezTo>
                  <a:cubicBezTo>
                    <a:pt x="96564" y="233450"/>
                    <a:pt x="119187" y="245589"/>
                    <a:pt x="153949" y="245589"/>
                  </a:cubicBezTo>
                  <a:lnTo>
                    <a:pt x="191049" y="23899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" name="Forme libre : forme 107">
              <a:extLst>
                <a:ext uri="{FF2B5EF4-FFF2-40B4-BE49-F238E27FC236}">
                  <a16:creationId xmlns:a16="http://schemas.microsoft.com/office/drawing/2014/main" id="{C0F2930B-1B76-4127-88A5-3C45B984D36E}"/>
                </a:ext>
              </a:extLst>
            </p:cNvPr>
            <p:cNvSpPr/>
            <p:nvPr/>
          </p:nvSpPr>
          <p:spPr>
            <a:xfrm rot="8716295">
              <a:off x="24761" y="33896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" name="Forme libre : forme 108">
              <a:extLst>
                <a:ext uri="{FF2B5EF4-FFF2-40B4-BE49-F238E27FC236}">
                  <a16:creationId xmlns:a16="http://schemas.microsoft.com/office/drawing/2014/main" id="{5D516E03-78DF-4FFF-8FB2-A397635DD48F}"/>
                </a:ext>
              </a:extLst>
            </p:cNvPr>
            <p:cNvSpPr/>
            <p:nvPr/>
          </p:nvSpPr>
          <p:spPr>
            <a:xfrm rot="8716295">
              <a:off x="-24047" y="3281741"/>
              <a:ext cx="106042" cy="113733"/>
            </a:xfrm>
            <a:custGeom>
              <a:avLst/>
              <a:gdLst>
                <a:gd name="connsiteX0" fmla="*/ 17477 w 106042"/>
                <a:gd name="connsiteY0" fmla="*/ 101182 h 113733"/>
                <a:gd name="connsiteX1" fmla="*/ 0 w 106042"/>
                <a:gd name="connsiteY1" fmla="*/ 59790 h 113733"/>
                <a:gd name="connsiteX2" fmla="*/ 0 w 106042"/>
                <a:gd name="connsiteY2" fmla="*/ 58869 h 113733"/>
                <a:gd name="connsiteX3" fmla="*/ 17477 w 106042"/>
                <a:gd name="connsiteY3" fmla="*/ 17477 h 113733"/>
                <a:gd name="connsiteX4" fmla="*/ 58869 w 106042"/>
                <a:gd name="connsiteY4" fmla="*/ 0 h 113733"/>
                <a:gd name="connsiteX5" fmla="*/ 100262 w 106042"/>
                <a:gd name="connsiteY5" fmla="*/ 17477 h 113733"/>
                <a:gd name="connsiteX6" fmla="*/ 106042 w 106042"/>
                <a:gd name="connsiteY6" fmla="*/ 31234 h 113733"/>
                <a:gd name="connsiteX7" fmla="*/ 48856 w 106042"/>
                <a:gd name="connsiteY7" fmla="*/ 113733 h 11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042" h="113733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cubicBezTo>
                    <a:pt x="74507" y="0"/>
                    <a:pt x="89224" y="6439"/>
                    <a:pt x="100262" y="17477"/>
                  </a:cubicBezTo>
                  <a:lnTo>
                    <a:pt x="106042" y="31234"/>
                  </a:lnTo>
                  <a:lnTo>
                    <a:pt x="48856" y="11373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" name="Forme libre : forme 109">
              <a:extLst>
                <a:ext uri="{FF2B5EF4-FFF2-40B4-BE49-F238E27FC236}">
                  <a16:creationId xmlns:a16="http://schemas.microsoft.com/office/drawing/2014/main" id="{4709179C-E348-4A89-8150-2CCBA6DE45C5}"/>
                </a:ext>
              </a:extLst>
            </p:cNvPr>
            <p:cNvSpPr/>
            <p:nvPr/>
          </p:nvSpPr>
          <p:spPr>
            <a:xfrm rot="8716295">
              <a:off x="-21924" y="3179872"/>
              <a:ext cx="45776" cy="62656"/>
            </a:xfrm>
            <a:custGeom>
              <a:avLst/>
              <a:gdLst>
                <a:gd name="connsiteX0" fmla="*/ 2345 w 45776"/>
                <a:gd name="connsiteY0" fmla="*/ 62656 h 62656"/>
                <a:gd name="connsiteX1" fmla="*/ 0 w 45776"/>
                <a:gd name="connsiteY1" fmla="*/ 57104 h 62656"/>
                <a:gd name="connsiteX2" fmla="*/ 0 w 45776"/>
                <a:gd name="connsiteY2" fmla="*/ 56183 h 62656"/>
                <a:gd name="connsiteX3" fmla="*/ 17477 w 45776"/>
                <a:gd name="connsiteY3" fmla="*/ 14791 h 62656"/>
                <a:gd name="connsiteX4" fmla="*/ 36449 w 45776"/>
                <a:gd name="connsiteY4" fmla="*/ 1913 h 62656"/>
                <a:gd name="connsiteX5" fmla="*/ 45776 w 45776"/>
                <a:gd name="connsiteY5" fmla="*/ 0 h 62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776" h="62656">
                  <a:moveTo>
                    <a:pt x="2345" y="62656"/>
                  </a:moveTo>
                  <a:lnTo>
                    <a:pt x="0" y="57104"/>
                  </a:lnTo>
                  <a:lnTo>
                    <a:pt x="0" y="56183"/>
                  </a:lnTo>
                  <a:cubicBezTo>
                    <a:pt x="0" y="40547"/>
                    <a:pt x="6439" y="25829"/>
                    <a:pt x="17477" y="14791"/>
                  </a:cubicBezTo>
                  <a:cubicBezTo>
                    <a:pt x="22996" y="9272"/>
                    <a:pt x="29435" y="4903"/>
                    <a:pt x="36449" y="1913"/>
                  </a:cubicBezTo>
                  <a:lnTo>
                    <a:pt x="45776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" name="Forme libre : forme 110">
              <a:extLst>
                <a:ext uri="{FF2B5EF4-FFF2-40B4-BE49-F238E27FC236}">
                  <a16:creationId xmlns:a16="http://schemas.microsoft.com/office/drawing/2014/main" id="{E216B864-0116-44B5-A0E9-8D6C9FB4451C}"/>
                </a:ext>
              </a:extLst>
            </p:cNvPr>
            <p:cNvSpPr/>
            <p:nvPr/>
          </p:nvSpPr>
          <p:spPr>
            <a:xfrm rot="8716295">
              <a:off x="-21324" y="4100649"/>
              <a:ext cx="79113" cy="50123"/>
            </a:xfrm>
            <a:custGeom>
              <a:avLst/>
              <a:gdLst>
                <a:gd name="connsiteX0" fmla="*/ 0 w 79113"/>
                <a:gd name="connsiteY0" fmla="*/ 50123 h 50123"/>
                <a:gd name="connsiteX1" fmla="*/ 0 w 79113"/>
                <a:gd name="connsiteY1" fmla="*/ 0 h 50123"/>
                <a:gd name="connsiteX2" fmla="*/ 79113 w 79113"/>
                <a:gd name="connsiteY2" fmla="*/ 0 h 50123"/>
                <a:gd name="connsiteX3" fmla="*/ 44369 w 79113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113" h="50123">
                  <a:moveTo>
                    <a:pt x="0" y="50123"/>
                  </a:moveTo>
                  <a:lnTo>
                    <a:pt x="0" y="0"/>
                  </a:lnTo>
                  <a:lnTo>
                    <a:pt x="79113" y="0"/>
                  </a:lnTo>
                  <a:lnTo>
                    <a:pt x="44369" y="5012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" name="Forme libre : forme 111">
              <a:extLst>
                <a:ext uri="{FF2B5EF4-FFF2-40B4-BE49-F238E27FC236}">
                  <a16:creationId xmlns:a16="http://schemas.microsoft.com/office/drawing/2014/main" id="{E81DDFAA-1A06-4A18-8287-C68132D6876A}"/>
                </a:ext>
              </a:extLst>
            </p:cNvPr>
            <p:cNvSpPr/>
            <p:nvPr/>
          </p:nvSpPr>
          <p:spPr>
            <a:xfrm rot="8716295">
              <a:off x="-40457" y="398156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" name="Forme libre : forme 112">
              <a:extLst>
                <a:ext uri="{FF2B5EF4-FFF2-40B4-BE49-F238E27FC236}">
                  <a16:creationId xmlns:a16="http://schemas.microsoft.com/office/drawing/2014/main" id="{1D567C73-1317-457C-BAF4-E866C8E84479}"/>
                </a:ext>
              </a:extLst>
            </p:cNvPr>
            <p:cNvSpPr/>
            <p:nvPr/>
          </p:nvSpPr>
          <p:spPr>
            <a:xfrm rot="7484129">
              <a:off x="-46974" y="427316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" name="Forme libre : forme 113">
              <a:extLst>
                <a:ext uri="{FF2B5EF4-FFF2-40B4-BE49-F238E27FC236}">
                  <a16:creationId xmlns:a16="http://schemas.microsoft.com/office/drawing/2014/main" id="{4B07308E-D0A0-4D3E-9DEB-C235BB5B8299}"/>
                </a:ext>
              </a:extLst>
            </p:cNvPr>
            <p:cNvSpPr/>
            <p:nvPr/>
          </p:nvSpPr>
          <p:spPr>
            <a:xfrm rot="13089394">
              <a:off x="57846" y="423970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" name="Forme libre : forme 114">
              <a:extLst>
                <a:ext uri="{FF2B5EF4-FFF2-40B4-BE49-F238E27FC236}">
                  <a16:creationId xmlns:a16="http://schemas.microsoft.com/office/drawing/2014/main" id="{B3D02E0E-617A-4DDE-855C-BECF0834C305}"/>
                </a:ext>
              </a:extLst>
            </p:cNvPr>
            <p:cNvSpPr/>
            <p:nvPr/>
          </p:nvSpPr>
          <p:spPr>
            <a:xfrm rot="8716295">
              <a:off x="243431" y="404801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" name="Forme libre : forme 115">
              <a:extLst>
                <a:ext uri="{FF2B5EF4-FFF2-40B4-BE49-F238E27FC236}">
                  <a16:creationId xmlns:a16="http://schemas.microsoft.com/office/drawing/2014/main" id="{FCFFBDC4-0942-4E6E-9EF4-22477617D5C9}"/>
                </a:ext>
              </a:extLst>
            </p:cNvPr>
            <p:cNvSpPr/>
            <p:nvPr/>
          </p:nvSpPr>
          <p:spPr>
            <a:xfrm rot="8716295">
              <a:off x="191626" y="39444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" name="Forme libre : forme 116">
              <a:extLst>
                <a:ext uri="{FF2B5EF4-FFF2-40B4-BE49-F238E27FC236}">
                  <a16:creationId xmlns:a16="http://schemas.microsoft.com/office/drawing/2014/main" id="{6779D405-E211-4D4D-B286-FEED219E73DF}"/>
                </a:ext>
              </a:extLst>
            </p:cNvPr>
            <p:cNvSpPr/>
            <p:nvPr/>
          </p:nvSpPr>
          <p:spPr>
            <a:xfrm rot="8716295">
              <a:off x="125832" y="381540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" name="Forme libre : forme 117">
              <a:extLst>
                <a:ext uri="{FF2B5EF4-FFF2-40B4-BE49-F238E27FC236}">
                  <a16:creationId xmlns:a16="http://schemas.microsoft.com/office/drawing/2014/main" id="{1B98413D-C7CC-484D-AF71-C6706295A09F}"/>
                </a:ext>
              </a:extLst>
            </p:cNvPr>
            <p:cNvSpPr/>
            <p:nvPr/>
          </p:nvSpPr>
          <p:spPr>
            <a:xfrm rot="8716295">
              <a:off x="-73048" y="4876828"/>
              <a:ext cx="221382" cy="253349"/>
            </a:xfrm>
            <a:custGeom>
              <a:avLst/>
              <a:gdLst>
                <a:gd name="connsiteX0" fmla="*/ 51490 w 221382"/>
                <a:gd name="connsiteY0" fmla="*/ 253349 h 253349"/>
                <a:gd name="connsiteX1" fmla="*/ 51490 w 221382"/>
                <a:gd name="connsiteY1" fmla="*/ 44199 h 253349"/>
                <a:gd name="connsiteX2" fmla="*/ 0 w 221382"/>
                <a:gd name="connsiteY2" fmla="*/ 44199 h 253349"/>
                <a:gd name="connsiteX3" fmla="*/ 0 w 221382"/>
                <a:gd name="connsiteY3" fmla="*/ 0 h 253349"/>
                <a:gd name="connsiteX4" fmla="*/ 104803 w 221382"/>
                <a:gd name="connsiteY4" fmla="*/ 0 h 253349"/>
                <a:gd name="connsiteX5" fmla="*/ 104802 w 221382"/>
                <a:gd name="connsiteY5" fmla="*/ 73817 h 253349"/>
                <a:gd name="connsiteX6" fmla="*/ 106169 w 221382"/>
                <a:gd name="connsiteY6" fmla="*/ 73817 h 253349"/>
                <a:gd name="connsiteX7" fmla="*/ 154014 w 221382"/>
                <a:gd name="connsiteY7" fmla="*/ 4556 h 253349"/>
                <a:gd name="connsiteX8" fmla="*/ 174650 w 221382"/>
                <a:gd name="connsiteY8" fmla="*/ 668 h 253349"/>
                <a:gd name="connsiteX9" fmla="*/ 214075 w 221382"/>
                <a:gd name="connsiteY9" fmla="*/ 27996 h 253349"/>
                <a:gd name="connsiteX10" fmla="*/ 221382 w 221382"/>
                <a:gd name="connsiteY10" fmla="*/ 33060 h 253349"/>
                <a:gd name="connsiteX11" fmla="*/ 195540 w 221382"/>
                <a:gd name="connsiteY11" fmla="*/ 70341 h 253349"/>
                <a:gd name="connsiteX12" fmla="*/ 189157 w 221382"/>
                <a:gd name="connsiteY12" fmla="*/ 50236 h 253349"/>
                <a:gd name="connsiteX13" fmla="*/ 164950 w 221382"/>
                <a:gd name="connsiteY13" fmla="*/ 38731 h 253349"/>
                <a:gd name="connsiteX14" fmla="*/ 111638 w 221382"/>
                <a:gd name="connsiteY14" fmla="*/ 126218 h 253349"/>
                <a:gd name="connsiteX15" fmla="*/ 111638 w 221382"/>
                <a:gd name="connsiteY15" fmla="*/ 191383 h 253349"/>
                <a:gd name="connsiteX16" fmla="*/ 84096 w 221382"/>
                <a:gd name="connsiteY16" fmla="*/ 231117 h 253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1382" h="253349">
                  <a:moveTo>
                    <a:pt x="51490" y="253349"/>
                  </a:moveTo>
                  <a:lnTo>
                    <a:pt x="51490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104803" y="0"/>
                  </a:lnTo>
                  <a:lnTo>
                    <a:pt x="104802" y="73817"/>
                  </a:lnTo>
                  <a:lnTo>
                    <a:pt x="106169" y="73817"/>
                  </a:lnTo>
                  <a:cubicBezTo>
                    <a:pt x="120751" y="30529"/>
                    <a:pt x="132142" y="13670"/>
                    <a:pt x="154014" y="4556"/>
                  </a:cubicBezTo>
                  <a:lnTo>
                    <a:pt x="174650" y="668"/>
                  </a:lnTo>
                  <a:lnTo>
                    <a:pt x="214075" y="27996"/>
                  </a:lnTo>
                  <a:lnTo>
                    <a:pt x="221382" y="33060"/>
                  </a:lnTo>
                  <a:lnTo>
                    <a:pt x="195540" y="70341"/>
                  </a:lnTo>
                  <a:lnTo>
                    <a:pt x="189157" y="50236"/>
                  </a:lnTo>
                  <a:cubicBezTo>
                    <a:pt x="183177" y="42946"/>
                    <a:pt x="174747" y="38731"/>
                    <a:pt x="164950" y="38731"/>
                  </a:cubicBezTo>
                  <a:cubicBezTo>
                    <a:pt x="135788" y="38731"/>
                    <a:pt x="111638" y="77463"/>
                    <a:pt x="111638" y="126218"/>
                  </a:cubicBezTo>
                  <a:lnTo>
                    <a:pt x="111638" y="191383"/>
                  </a:lnTo>
                  <a:lnTo>
                    <a:pt x="84096" y="231117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" name="Forme libre : forme 118">
              <a:extLst>
                <a:ext uri="{FF2B5EF4-FFF2-40B4-BE49-F238E27FC236}">
                  <a16:creationId xmlns:a16="http://schemas.microsoft.com/office/drawing/2014/main" id="{6176F84A-9766-45D5-91E9-4847B60A5CD4}"/>
                </a:ext>
              </a:extLst>
            </p:cNvPr>
            <p:cNvSpPr/>
            <p:nvPr/>
          </p:nvSpPr>
          <p:spPr>
            <a:xfrm rot="8716295">
              <a:off x="93318" y="46120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" name="Forme libre : forme 119">
              <a:extLst>
                <a:ext uri="{FF2B5EF4-FFF2-40B4-BE49-F238E27FC236}">
                  <a16:creationId xmlns:a16="http://schemas.microsoft.com/office/drawing/2014/main" id="{3DA54937-5DEF-4122-B904-83A03268CA89}"/>
                </a:ext>
              </a:extLst>
            </p:cNvPr>
            <p:cNvSpPr/>
            <p:nvPr/>
          </p:nvSpPr>
          <p:spPr>
            <a:xfrm rot="8716295">
              <a:off x="182710" y="46412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" name="Forme libre : forme 120">
              <a:extLst>
                <a:ext uri="{FF2B5EF4-FFF2-40B4-BE49-F238E27FC236}">
                  <a16:creationId xmlns:a16="http://schemas.microsoft.com/office/drawing/2014/main" id="{24CD3C2A-51CB-4CA4-A2B4-FE03D227C422}"/>
                </a:ext>
              </a:extLst>
            </p:cNvPr>
            <p:cNvSpPr/>
            <p:nvPr/>
          </p:nvSpPr>
          <p:spPr>
            <a:xfrm rot="8716295">
              <a:off x="-14524" y="4699631"/>
              <a:ext cx="49997" cy="54238"/>
            </a:xfrm>
            <a:custGeom>
              <a:avLst/>
              <a:gdLst>
                <a:gd name="connsiteX0" fmla="*/ 8658 w 49997"/>
                <a:gd name="connsiteY0" fmla="*/ 50123 h 54238"/>
                <a:gd name="connsiteX1" fmla="*/ 0 w 49997"/>
                <a:gd name="connsiteY1" fmla="*/ 29619 h 54238"/>
                <a:gd name="connsiteX2" fmla="*/ 0 w 49997"/>
                <a:gd name="connsiteY2" fmla="*/ 29162 h 54238"/>
                <a:gd name="connsiteX3" fmla="*/ 8658 w 49997"/>
                <a:gd name="connsiteY3" fmla="*/ 8658 h 54238"/>
                <a:gd name="connsiteX4" fmla="*/ 29163 w 49997"/>
                <a:gd name="connsiteY4" fmla="*/ 0 h 54238"/>
                <a:gd name="connsiteX5" fmla="*/ 49668 w 49997"/>
                <a:gd name="connsiteY5" fmla="*/ 8658 h 54238"/>
                <a:gd name="connsiteX6" fmla="*/ 49997 w 49997"/>
                <a:gd name="connsiteY6" fmla="*/ 9441 h 54238"/>
                <a:gd name="connsiteX7" fmla="*/ 18945 w 49997"/>
                <a:gd name="connsiteY7" fmla="*/ 54238 h 54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997" h="54238">
                  <a:moveTo>
                    <a:pt x="8658" y="50123"/>
                  </a:moveTo>
                  <a:cubicBezTo>
                    <a:pt x="3190" y="44655"/>
                    <a:pt x="0" y="37365"/>
                    <a:pt x="0" y="29619"/>
                  </a:cubicBezTo>
                  <a:lnTo>
                    <a:pt x="0" y="29162"/>
                  </a:lnTo>
                  <a:cubicBezTo>
                    <a:pt x="0" y="21417"/>
                    <a:pt x="3190" y="14126"/>
                    <a:pt x="8658" y="8658"/>
                  </a:cubicBezTo>
                  <a:cubicBezTo>
                    <a:pt x="14126" y="3190"/>
                    <a:pt x="21416" y="0"/>
                    <a:pt x="29163" y="0"/>
                  </a:cubicBezTo>
                  <a:cubicBezTo>
                    <a:pt x="36909" y="0"/>
                    <a:pt x="44200" y="3190"/>
                    <a:pt x="49668" y="8658"/>
                  </a:cubicBezTo>
                  <a:lnTo>
                    <a:pt x="49997" y="9441"/>
                  </a:lnTo>
                  <a:lnTo>
                    <a:pt x="18945" y="54238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" name="Forme libre : forme 121">
              <a:extLst>
                <a:ext uri="{FF2B5EF4-FFF2-40B4-BE49-F238E27FC236}">
                  <a16:creationId xmlns:a16="http://schemas.microsoft.com/office/drawing/2014/main" id="{7A46CCF0-E67A-4E1E-9549-23C0DBDB68E2}"/>
                </a:ext>
              </a:extLst>
            </p:cNvPr>
            <p:cNvSpPr/>
            <p:nvPr/>
          </p:nvSpPr>
          <p:spPr>
            <a:xfrm rot="8716295">
              <a:off x="-30327" y="4579755"/>
              <a:ext cx="113346" cy="71024"/>
            </a:xfrm>
            <a:custGeom>
              <a:avLst/>
              <a:gdLst>
                <a:gd name="connsiteX0" fmla="*/ 0 w 113346"/>
                <a:gd name="connsiteY0" fmla="*/ 55323 h 71024"/>
                <a:gd name="connsiteX1" fmla="*/ 0 w 113346"/>
                <a:gd name="connsiteY1" fmla="*/ 0 h 71024"/>
                <a:gd name="connsiteX2" fmla="*/ 113346 w 113346"/>
                <a:gd name="connsiteY2" fmla="*/ 0 h 71024"/>
                <a:gd name="connsiteX3" fmla="*/ 64114 w 113346"/>
                <a:gd name="connsiteY3" fmla="*/ 71024 h 71024"/>
                <a:gd name="connsiteX4" fmla="*/ 69777 w 113346"/>
                <a:gd name="connsiteY4" fmla="*/ 55323 h 7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346" h="71024">
                  <a:moveTo>
                    <a:pt x="0" y="55323"/>
                  </a:moveTo>
                  <a:lnTo>
                    <a:pt x="0" y="0"/>
                  </a:lnTo>
                  <a:lnTo>
                    <a:pt x="113346" y="0"/>
                  </a:lnTo>
                  <a:lnTo>
                    <a:pt x="64114" y="71024"/>
                  </a:lnTo>
                  <a:lnTo>
                    <a:pt x="69777" y="5532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" name="Forme libre : forme 122">
              <a:extLst>
                <a:ext uri="{FF2B5EF4-FFF2-40B4-BE49-F238E27FC236}">
                  <a16:creationId xmlns:a16="http://schemas.microsoft.com/office/drawing/2014/main" id="{01D04BC1-282A-4CFE-BF99-5B57F855BCBC}"/>
                </a:ext>
              </a:extLst>
            </p:cNvPr>
            <p:cNvSpPr/>
            <p:nvPr/>
          </p:nvSpPr>
          <p:spPr>
            <a:xfrm rot="8716295">
              <a:off x="71262" y="47415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" name="Forme libre : forme 123">
              <a:extLst>
                <a:ext uri="{FF2B5EF4-FFF2-40B4-BE49-F238E27FC236}">
                  <a16:creationId xmlns:a16="http://schemas.microsoft.com/office/drawing/2014/main" id="{A04953EA-5C79-45C4-9757-065EFCA47539}"/>
                </a:ext>
              </a:extLst>
            </p:cNvPr>
            <p:cNvSpPr/>
            <p:nvPr/>
          </p:nvSpPr>
          <p:spPr>
            <a:xfrm rot="7484129">
              <a:off x="172059" y="493353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170341 w 203847"/>
                <a:gd name="connsiteY5" fmla="*/ 0 h 195874"/>
                <a:gd name="connsiteX6" fmla="*/ 203847 w 203847"/>
                <a:gd name="connsiteY6" fmla="*/ 48325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170341" y="0"/>
                  </a:lnTo>
                  <a:lnTo>
                    <a:pt x="203847" y="48325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" name="Forme libre : forme 124">
              <a:extLst>
                <a:ext uri="{FF2B5EF4-FFF2-40B4-BE49-F238E27FC236}">
                  <a16:creationId xmlns:a16="http://schemas.microsoft.com/office/drawing/2014/main" id="{49CB50EA-8DFB-4219-A82A-979E56D219DC}"/>
                </a:ext>
              </a:extLst>
            </p:cNvPr>
            <p:cNvSpPr/>
            <p:nvPr/>
          </p:nvSpPr>
          <p:spPr>
            <a:xfrm rot="13089394">
              <a:off x="313551" y="4906246"/>
              <a:ext cx="221827" cy="205098"/>
            </a:xfrm>
            <a:custGeom>
              <a:avLst/>
              <a:gdLst>
                <a:gd name="connsiteX0" fmla="*/ 24153 w 221827"/>
                <a:gd name="connsiteY0" fmla="*/ 55168 h 205098"/>
                <a:gd name="connsiteX1" fmla="*/ 0 w 221827"/>
                <a:gd name="connsiteY1" fmla="*/ 18385 h 205098"/>
                <a:gd name="connsiteX2" fmla="*/ 23400 w 221827"/>
                <a:gd name="connsiteY2" fmla="*/ 0 h 205098"/>
                <a:gd name="connsiteX3" fmla="*/ 23735 w 221827"/>
                <a:gd name="connsiteY3" fmla="*/ 46640 h 205098"/>
                <a:gd name="connsiteX4" fmla="*/ 221827 w 221827"/>
                <a:gd name="connsiteY4" fmla="*/ 150928 h 205098"/>
                <a:gd name="connsiteX5" fmla="*/ 126574 w 221827"/>
                <a:gd name="connsiteY5" fmla="*/ 204038 h 205098"/>
                <a:gd name="connsiteX6" fmla="*/ 122603 w 221827"/>
                <a:gd name="connsiteY6" fmla="*/ 205098 h 205098"/>
                <a:gd name="connsiteX7" fmla="*/ 102519 w 221827"/>
                <a:gd name="connsiteY7" fmla="*/ 174512 h 205098"/>
                <a:gd name="connsiteX8" fmla="*/ 103192 w 221827"/>
                <a:gd name="connsiteY8" fmla="*/ 174655 h 205098"/>
                <a:gd name="connsiteX9" fmla="*/ 152853 w 221827"/>
                <a:gd name="connsiteY9" fmla="*/ 165826 h 205098"/>
                <a:gd name="connsiteX10" fmla="*/ 220723 w 221827"/>
                <a:gd name="connsiteY10" fmla="*/ 138237 h 205098"/>
                <a:gd name="connsiteX11" fmla="*/ 221827 w 221827"/>
                <a:gd name="connsiteY11" fmla="*/ 145410 h 205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1827" h="205098">
                  <a:moveTo>
                    <a:pt x="24153" y="55168"/>
                  </a:moveTo>
                  <a:lnTo>
                    <a:pt x="0" y="18385"/>
                  </a:lnTo>
                  <a:lnTo>
                    <a:pt x="23400" y="0"/>
                  </a:lnTo>
                  <a:lnTo>
                    <a:pt x="23735" y="46640"/>
                  </a:lnTo>
                  <a:close/>
                  <a:moveTo>
                    <a:pt x="221827" y="150928"/>
                  </a:moveTo>
                  <a:cubicBezTo>
                    <a:pt x="192582" y="176035"/>
                    <a:pt x="158785" y="193002"/>
                    <a:pt x="126574" y="204038"/>
                  </a:cubicBezTo>
                  <a:lnTo>
                    <a:pt x="122603" y="205098"/>
                  </a:lnTo>
                  <a:lnTo>
                    <a:pt x="102519" y="174512"/>
                  </a:lnTo>
                  <a:lnTo>
                    <a:pt x="103192" y="174655"/>
                  </a:lnTo>
                  <a:cubicBezTo>
                    <a:pt x="120298" y="174103"/>
                    <a:pt x="136851" y="170792"/>
                    <a:pt x="152853" y="165826"/>
                  </a:cubicBezTo>
                  <a:cubicBezTo>
                    <a:pt x="176028" y="158653"/>
                    <a:pt x="198652" y="149273"/>
                    <a:pt x="220723" y="138237"/>
                  </a:cubicBezTo>
                  <a:cubicBezTo>
                    <a:pt x="221275" y="140444"/>
                    <a:pt x="221827" y="143203"/>
                    <a:pt x="221827" y="14541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" name="Forme libre : forme 125">
              <a:extLst>
                <a:ext uri="{FF2B5EF4-FFF2-40B4-BE49-F238E27FC236}">
                  <a16:creationId xmlns:a16="http://schemas.microsoft.com/office/drawing/2014/main" id="{5146513B-5632-4832-9AF5-1E4051EECD28}"/>
                </a:ext>
              </a:extLst>
            </p:cNvPr>
            <p:cNvSpPr/>
            <p:nvPr/>
          </p:nvSpPr>
          <p:spPr>
            <a:xfrm rot="8716295">
              <a:off x="406370" y="4600606"/>
              <a:ext cx="113655" cy="117117"/>
            </a:xfrm>
            <a:custGeom>
              <a:avLst/>
              <a:gdLst>
                <a:gd name="connsiteX0" fmla="*/ 13623 w 113655"/>
                <a:gd name="connsiteY0" fmla="*/ 100559 h 117117"/>
                <a:gd name="connsiteX1" fmla="*/ 0 w 113655"/>
                <a:gd name="connsiteY1" fmla="*/ 68296 h 117117"/>
                <a:gd name="connsiteX2" fmla="*/ 56488 w 113655"/>
                <a:gd name="connsiteY2" fmla="*/ 0 h 117117"/>
                <a:gd name="connsiteX3" fmla="*/ 96408 w 113655"/>
                <a:gd name="connsiteY3" fmla="*/ 16856 h 117117"/>
                <a:gd name="connsiteX4" fmla="*/ 96408 w 113655"/>
                <a:gd name="connsiteY4" fmla="*/ 99640 h 117117"/>
                <a:gd name="connsiteX5" fmla="*/ 55015 w 113655"/>
                <a:gd name="connsiteY5" fmla="*/ 117117 h 117117"/>
                <a:gd name="connsiteX6" fmla="*/ 13623 w 113655"/>
                <a:gd name="connsiteY6" fmla="*/ 100559 h 117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655" h="117117">
                  <a:moveTo>
                    <a:pt x="13623" y="100559"/>
                  </a:moveTo>
                  <a:lnTo>
                    <a:pt x="0" y="68296"/>
                  </a:lnTo>
                  <a:lnTo>
                    <a:pt x="56488" y="0"/>
                  </a:lnTo>
                  <a:lnTo>
                    <a:pt x="96408" y="16856"/>
                  </a:lnTo>
                  <a:cubicBezTo>
                    <a:pt x="119404" y="38931"/>
                    <a:pt x="119404" y="76644"/>
                    <a:pt x="96408" y="99640"/>
                  </a:cubicBezTo>
                  <a:cubicBezTo>
                    <a:pt x="85370" y="110678"/>
                    <a:pt x="70653" y="117116"/>
                    <a:pt x="55015" y="117117"/>
                  </a:cubicBezTo>
                  <a:cubicBezTo>
                    <a:pt x="39378" y="117117"/>
                    <a:pt x="24661" y="111597"/>
                    <a:pt x="13623" y="100559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" name="Forme libre : forme 126">
              <a:extLst>
                <a:ext uri="{FF2B5EF4-FFF2-40B4-BE49-F238E27FC236}">
                  <a16:creationId xmlns:a16="http://schemas.microsoft.com/office/drawing/2014/main" id="{FE3150CC-51A0-4255-BE10-7C4DD2D82ED1}"/>
                </a:ext>
              </a:extLst>
            </p:cNvPr>
            <p:cNvSpPr/>
            <p:nvPr/>
          </p:nvSpPr>
          <p:spPr>
            <a:xfrm rot="8716295">
              <a:off x="171547" y="46343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" name="Forme libre : forme 127">
              <a:extLst>
                <a:ext uri="{FF2B5EF4-FFF2-40B4-BE49-F238E27FC236}">
                  <a16:creationId xmlns:a16="http://schemas.microsoft.com/office/drawing/2014/main" id="{3071C62B-77D8-4A0E-86A6-83549F6B4AD6}"/>
                </a:ext>
              </a:extLst>
            </p:cNvPr>
            <p:cNvSpPr/>
            <p:nvPr/>
          </p:nvSpPr>
          <p:spPr>
            <a:xfrm rot="8716295">
              <a:off x="348999" y="44751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137" name="Rectangle 136">
            <a:extLst>
              <a:ext uri="{FF2B5EF4-FFF2-40B4-BE49-F238E27FC236}">
                <a16:creationId xmlns:a16="http://schemas.microsoft.com/office/drawing/2014/main" id="{BED9834D-49E7-4AFD-BEE4-8AB20B969F92}"/>
              </a:ext>
            </a:extLst>
          </p:cNvPr>
          <p:cNvSpPr/>
          <p:nvPr/>
        </p:nvSpPr>
        <p:spPr>
          <a:xfrm>
            <a:off x="1675026" y="884098"/>
            <a:ext cx="360000" cy="457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9" name="Espace réservé du numéro de diapositive 128">
            <a:extLst>
              <a:ext uri="{FF2B5EF4-FFF2-40B4-BE49-F238E27FC236}">
                <a16:creationId xmlns:a16="http://schemas.microsoft.com/office/drawing/2014/main" id="{DC511B95-0CDE-42B1-A913-D72AAC6127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9681" y="3148262"/>
            <a:ext cx="444626" cy="1995238"/>
          </a:xfrm>
          <a:custGeom>
            <a:avLst/>
            <a:gdLst>
              <a:gd name="connsiteX0" fmla="*/ 169868 w 444626"/>
              <a:gd name="connsiteY0" fmla="*/ 0 h 1995238"/>
              <a:gd name="connsiteX1" fmla="*/ 444626 w 444626"/>
              <a:gd name="connsiteY1" fmla="*/ 1995238 h 1995238"/>
              <a:gd name="connsiteX2" fmla="*/ 0 w 444626"/>
              <a:gd name="connsiteY2" fmla="*/ 1995238 h 1995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4626" h="1995238">
                <a:moveTo>
                  <a:pt x="169868" y="0"/>
                </a:moveTo>
                <a:lnTo>
                  <a:pt x="444626" y="1995238"/>
                </a:lnTo>
                <a:lnTo>
                  <a:pt x="0" y="199523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180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2040241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e 4">
            <a:extLst>
              <a:ext uri="{FF2B5EF4-FFF2-40B4-BE49-F238E27FC236}">
                <a16:creationId xmlns:a16="http://schemas.microsoft.com/office/drawing/2014/main" id="{DDCE9304-D911-423A-A19F-03B0F7F07569}"/>
              </a:ext>
            </a:extLst>
          </p:cNvPr>
          <p:cNvGrpSpPr/>
          <p:nvPr userDrawn="1"/>
        </p:nvGrpSpPr>
        <p:grpSpPr>
          <a:xfrm>
            <a:off x="-91485" y="-57106"/>
            <a:ext cx="1008300" cy="5190499"/>
            <a:chOff x="-91485" y="-57106"/>
            <a:chExt cx="1008300" cy="5190499"/>
          </a:xfrm>
          <a:solidFill>
            <a:schemeClr val="bg2">
              <a:alpha val="5000"/>
            </a:schemeClr>
          </a:solidFill>
        </p:grpSpPr>
        <p:sp>
          <p:nvSpPr>
            <p:cNvPr id="6" name="Forme libre : forme 5">
              <a:extLst>
                <a:ext uri="{FF2B5EF4-FFF2-40B4-BE49-F238E27FC236}">
                  <a16:creationId xmlns:a16="http://schemas.microsoft.com/office/drawing/2014/main" id="{8BF43435-37FA-4F29-AABD-F905029537BD}"/>
                </a:ext>
              </a:extLst>
            </p:cNvPr>
            <p:cNvSpPr/>
            <p:nvPr/>
          </p:nvSpPr>
          <p:spPr>
            <a:xfrm rot="8716295">
              <a:off x="617786" y="1780350"/>
              <a:ext cx="152726" cy="195873"/>
            </a:xfrm>
            <a:custGeom>
              <a:avLst/>
              <a:gdLst>
                <a:gd name="connsiteX0" fmla="*/ 39589 w 152726"/>
                <a:gd name="connsiteY0" fmla="*/ 195873 h 195873"/>
                <a:gd name="connsiteX1" fmla="*/ 0 w 152726"/>
                <a:gd name="connsiteY1" fmla="*/ 122219 h 195873"/>
                <a:gd name="connsiteX2" fmla="*/ 101089 w 152726"/>
                <a:gd name="connsiteY2" fmla="*/ 0 h 195873"/>
                <a:gd name="connsiteX3" fmla="*/ 152726 w 152726"/>
                <a:gd name="connsiteY3" fmla="*/ 0 h 195873"/>
                <a:gd name="connsiteX4" fmla="*/ 152726 w 152726"/>
                <a:gd name="connsiteY4" fmla="*/ 55323 h 195873"/>
                <a:gd name="connsiteX5" fmla="*/ 87934 w 152726"/>
                <a:gd name="connsiteY5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726" h="195873">
                  <a:moveTo>
                    <a:pt x="39589" y="195873"/>
                  </a:moveTo>
                  <a:lnTo>
                    <a:pt x="0" y="122219"/>
                  </a:lnTo>
                  <a:lnTo>
                    <a:pt x="101089" y="0"/>
                  </a:lnTo>
                  <a:lnTo>
                    <a:pt x="152726" y="0"/>
                  </a:lnTo>
                  <a:lnTo>
                    <a:pt x="152726" y="55323"/>
                  </a:lnTo>
                  <a:lnTo>
                    <a:pt x="87934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" name="Forme libre : forme 6">
              <a:extLst>
                <a:ext uri="{FF2B5EF4-FFF2-40B4-BE49-F238E27FC236}">
                  <a16:creationId xmlns:a16="http://schemas.microsoft.com/office/drawing/2014/main" id="{8B995644-775E-4EEC-A2B1-C17BB27E6FAF}"/>
                </a:ext>
              </a:extLst>
            </p:cNvPr>
            <p:cNvSpPr/>
            <p:nvPr/>
          </p:nvSpPr>
          <p:spPr>
            <a:xfrm rot="8716295">
              <a:off x="534441" y="1654353"/>
              <a:ext cx="262864" cy="103234"/>
            </a:xfrm>
            <a:custGeom>
              <a:avLst/>
              <a:gdLst>
                <a:gd name="connsiteX0" fmla="*/ 0 w 262864"/>
                <a:gd name="connsiteY0" fmla="*/ 75341 h 103234"/>
                <a:gd name="connsiteX1" fmla="*/ 62316 w 262864"/>
                <a:gd name="connsiteY1" fmla="*/ 0 h 103234"/>
                <a:gd name="connsiteX2" fmla="*/ 65768 w 262864"/>
                <a:gd name="connsiteY2" fmla="*/ 14220 h 103234"/>
                <a:gd name="connsiteX3" fmla="*/ 136369 w 262864"/>
                <a:gd name="connsiteY3" fmla="*/ 53051 h 103234"/>
                <a:gd name="connsiteX4" fmla="*/ 189321 w 262864"/>
                <a:gd name="connsiteY4" fmla="*/ 43637 h 103234"/>
                <a:gd name="connsiteX5" fmla="*/ 261688 w 262864"/>
                <a:gd name="connsiteY5" fmla="*/ 14220 h 103234"/>
                <a:gd name="connsiteX6" fmla="*/ 262864 w 262864"/>
                <a:gd name="connsiteY6" fmla="*/ 21868 h 103234"/>
                <a:gd name="connsiteX7" fmla="*/ 262864 w 262864"/>
                <a:gd name="connsiteY7" fmla="*/ 27752 h 103234"/>
                <a:gd name="connsiteX8" fmla="*/ 69887 w 262864"/>
                <a:gd name="connsiteY8" fmla="*/ 103060 h 103234"/>
                <a:gd name="connsiteX9" fmla="*/ 30615 w 262864"/>
                <a:gd name="connsiteY9" fmla="*/ 96294 h 103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2864" h="103234">
                  <a:moveTo>
                    <a:pt x="0" y="75341"/>
                  </a:moveTo>
                  <a:lnTo>
                    <a:pt x="62316" y="0"/>
                  </a:lnTo>
                  <a:lnTo>
                    <a:pt x="65768" y="14220"/>
                  </a:lnTo>
                  <a:cubicBezTo>
                    <a:pt x="75182" y="40107"/>
                    <a:pt x="99304" y="53051"/>
                    <a:pt x="136369" y="53051"/>
                  </a:cubicBezTo>
                  <a:cubicBezTo>
                    <a:pt x="154609" y="52462"/>
                    <a:pt x="172259" y="48932"/>
                    <a:pt x="189321" y="43637"/>
                  </a:cubicBezTo>
                  <a:cubicBezTo>
                    <a:pt x="214031" y="35988"/>
                    <a:pt x="238154" y="25987"/>
                    <a:pt x="261688" y="14220"/>
                  </a:cubicBezTo>
                  <a:cubicBezTo>
                    <a:pt x="262276" y="16573"/>
                    <a:pt x="262864" y="19515"/>
                    <a:pt x="262864" y="21868"/>
                  </a:cubicBezTo>
                  <a:lnTo>
                    <a:pt x="262864" y="27752"/>
                  </a:lnTo>
                  <a:cubicBezTo>
                    <a:pt x="200500" y="81291"/>
                    <a:pt x="118719" y="100119"/>
                    <a:pt x="69887" y="103060"/>
                  </a:cubicBezTo>
                  <a:cubicBezTo>
                    <a:pt x="56355" y="103943"/>
                    <a:pt x="42970" y="101442"/>
                    <a:pt x="30615" y="9629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ECEF6D56-E3A3-4A1A-A07B-637782F55FFB}"/>
                </a:ext>
              </a:extLst>
            </p:cNvPr>
            <p:cNvSpPr/>
            <p:nvPr/>
          </p:nvSpPr>
          <p:spPr>
            <a:xfrm rot="8716295">
              <a:off x="632719" y="1232432"/>
              <a:ext cx="121558" cy="232388"/>
            </a:xfrm>
            <a:custGeom>
              <a:avLst/>
              <a:gdLst>
                <a:gd name="connsiteX0" fmla="*/ 60499 w 121558"/>
                <a:gd name="connsiteY0" fmla="*/ 232388 h 232388"/>
                <a:gd name="connsiteX1" fmla="*/ 60499 w 121558"/>
                <a:gd name="connsiteY1" fmla="*/ 69717 h 232388"/>
                <a:gd name="connsiteX2" fmla="*/ 60499 w 121558"/>
                <a:gd name="connsiteY2" fmla="*/ 65615 h 232388"/>
                <a:gd name="connsiteX3" fmla="*/ 39995 w 121558"/>
                <a:gd name="connsiteY3" fmla="*/ 50123 h 232388"/>
                <a:gd name="connsiteX4" fmla="*/ 0 w 121558"/>
                <a:gd name="connsiteY4" fmla="*/ 50123 h 232388"/>
                <a:gd name="connsiteX5" fmla="*/ 41457 w 121558"/>
                <a:gd name="connsiteY5" fmla="*/ 0 h 232388"/>
                <a:gd name="connsiteX6" fmla="*/ 64601 w 121558"/>
                <a:gd name="connsiteY6" fmla="*/ 0 h 232388"/>
                <a:gd name="connsiteX7" fmla="*/ 121558 w 121558"/>
                <a:gd name="connsiteY7" fmla="*/ 50123 h 232388"/>
                <a:gd name="connsiteX8" fmla="*/ 121558 w 121558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558" h="232388">
                  <a:moveTo>
                    <a:pt x="60499" y="232388"/>
                  </a:moveTo>
                  <a:lnTo>
                    <a:pt x="60499" y="69717"/>
                  </a:lnTo>
                  <a:cubicBezTo>
                    <a:pt x="60499" y="68349"/>
                    <a:pt x="60499" y="66983"/>
                    <a:pt x="60499" y="65615"/>
                  </a:cubicBezTo>
                  <a:cubicBezTo>
                    <a:pt x="59133" y="55591"/>
                    <a:pt x="50019" y="48756"/>
                    <a:pt x="39995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64601" y="0"/>
                  </a:lnTo>
                  <a:cubicBezTo>
                    <a:pt x="101509" y="0"/>
                    <a:pt x="121558" y="15948"/>
                    <a:pt x="121558" y="50123"/>
                  </a:cubicBezTo>
                  <a:lnTo>
                    <a:pt x="121558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C210E3DF-2FB4-4CAE-8361-8A940B0AC92D}"/>
                </a:ext>
              </a:extLst>
            </p:cNvPr>
            <p:cNvSpPr/>
            <p:nvPr/>
          </p:nvSpPr>
          <p:spPr>
            <a:xfrm rot="8716295">
              <a:off x="763454" y="1474783"/>
              <a:ext cx="14143" cy="14319"/>
            </a:xfrm>
            <a:custGeom>
              <a:avLst/>
              <a:gdLst>
                <a:gd name="connsiteX0" fmla="*/ 0 w 14143"/>
                <a:gd name="connsiteY0" fmla="*/ 14319 h 14319"/>
                <a:gd name="connsiteX1" fmla="*/ 11843 w 14143"/>
                <a:gd name="connsiteY1" fmla="*/ 0 h 14319"/>
                <a:gd name="connsiteX2" fmla="*/ 14143 w 14143"/>
                <a:gd name="connsiteY2" fmla="*/ 7563 h 14319"/>
                <a:gd name="connsiteX3" fmla="*/ 14143 w 14143"/>
                <a:gd name="connsiteY3" fmla="*/ 13487 h 1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43" h="14319">
                  <a:moveTo>
                    <a:pt x="0" y="14319"/>
                  </a:moveTo>
                  <a:lnTo>
                    <a:pt x="11843" y="0"/>
                  </a:lnTo>
                  <a:lnTo>
                    <a:pt x="14143" y="7563"/>
                  </a:lnTo>
                  <a:lnTo>
                    <a:pt x="14143" y="1348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F29133E2-23FE-4A05-8C3E-06E82B2EE756}"/>
                </a:ext>
              </a:extLst>
            </p:cNvPr>
            <p:cNvSpPr/>
            <p:nvPr/>
          </p:nvSpPr>
          <p:spPr>
            <a:xfrm rot="8716295">
              <a:off x="672878" y="1171577"/>
              <a:ext cx="183964" cy="137618"/>
            </a:xfrm>
            <a:custGeom>
              <a:avLst/>
              <a:gdLst>
                <a:gd name="connsiteX0" fmla="*/ 0 w 183964"/>
                <a:gd name="connsiteY0" fmla="*/ 137618 h 137618"/>
                <a:gd name="connsiteX1" fmla="*/ 53346 w 183964"/>
                <a:gd name="connsiteY1" fmla="*/ 73121 h 137618"/>
                <a:gd name="connsiteX2" fmla="*/ 101034 w 183964"/>
                <a:gd name="connsiteY2" fmla="*/ 28251 h 137618"/>
                <a:gd name="connsiteX3" fmla="*/ 155713 w 183964"/>
                <a:gd name="connsiteY3" fmla="*/ 0 h 137618"/>
                <a:gd name="connsiteX4" fmla="*/ 183964 w 183964"/>
                <a:gd name="connsiteY4" fmla="*/ 33719 h 137618"/>
                <a:gd name="connsiteX5" fmla="*/ 157536 w 183964"/>
                <a:gd name="connsiteY5" fmla="*/ 69261 h 137618"/>
                <a:gd name="connsiteX6" fmla="*/ 157991 w 183964"/>
                <a:gd name="connsiteY6" fmla="*/ 69261 h 137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3964" h="137618">
                  <a:moveTo>
                    <a:pt x="0" y="137618"/>
                  </a:moveTo>
                  <a:lnTo>
                    <a:pt x="53346" y="73121"/>
                  </a:lnTo>
                  <a:lnTo>
                    <a:pt x="101034" y="28251"/>
                  </a:lnTo>
                  <a:cubicBezTo>
                    <a:pt x="114703" y="12303"/>
                    <a:pt x="134297" y="2278"/>
                    <a:pt x="155713" y="0"/>
                  </a:cubicBezTo>
                  <a:cubicBezTo>
                    <a:pt x="177585" y="0"/>
                    <a:pt x="183964" y="19138"/>
                    <a:pt x="183964" y="33719"/>
                  </a:cubicBezTo>
                  <a:cubicBezTo>
                    <a:pt x="182597" y="49667"/>
                    <a:pt x="172117" y="62881"/>
                    <a:pt x="157536" y="69261"/>
                  </a:cubicBezTo>
                  <a:lnTo>
                    <a:pt x="157991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5E79E2F7-FE77-428C-929F-4D7C8FB066A9}"/>
                </a:ext>
              </a:extLst>
            </p:cNvPr>
            <p:cNvSpPr/>
            <p:nvPr/>
          </p:nvSpPr>
          <p:spPr>
            <a:xfrm rot="8716295">
              <a:off x="519479" y="13148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AC49361A-028A-4CA3-A2A1-A372F544DB33}"/>
                </a:ext>
              </a:extLst>
            </p:cNvPr>
            <p:cNvSpPr/>
            <p:nvPr/>
          </p:nvSpPr>
          <p:spPr>
            <a:xfrm rot="8716295">
              <a:off x="394576" y="11061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CAB08DB6-35D5-40DF-BB68-8D985BEBA2F5}"/>
                </a:ext>
              </a:extLst>
            </p:cNvPr>
            <p:cNvSpPr/>
            <p:nvPr/>
          </p:nvSpPr>
          <p:spPr>
            <a:xfrm rot="8716295">
              <a:off x="382524" y="96739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EF0B79A4-ED29-4509-A025-0FDBC80DDF4D}"/>
                </a:ext>
              </a:extLst>
            </p:cNvPr>
            <p:cNvSpPr/>
            <p:nvPr/>
          </p:nvSpPr>
          <p:spPr>
            <a:xfrm rot="8716295">
              <a:off x="609657" y="135579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8A5B8AD6-0C7B-4FD4-A763-E4D6A3665D82}"/>
                </a:ext>
              </a:extLst>
            </p:cNvPr>
            <p:cNvSpPr/>
            <p:nvPr/>
          </p:nvSpPr>
          <p:spPr>
            <a:xfrm rot="8716295">
              <a:off x="683426" y="869567"/>
              <a:ext cx="156000" cy="195873"/>
            </a:xfrm>
            <a:custGeom>
              <a:avLst/>
              <a:gdLst>
                <a:gd name="connsiteX0" fmla="*/ 42863 w 156000"/>
                <a:gd name="connsiteY0" fmla="*/ 195873 h 195873"/>
                <a:gd name="connsiteX1" fmla="*/ 0 w 156000"/>
                <a:gd name="connsiteY1" fmla="*/ 116129 h 195873"/>
                <a:gd name="connsiteX2" fmla="*/ 5100 w 156000"/>
                <a:gd name="connsiteY2" fmla="*/ 101988 h 195873"/>
                <a:gd name="connsiteX3" fmla="*/ 89456 w 156000"/>
                <a:gd name="connsiteY3" fmla="*/ 0 h 195873"/>
                <a:gd name="connsiteX4" fmla="*/ 156000 w 156000"/>
                <a:gd name="connsiteY4" fmla="*/ 0 h 195873"/>
                <a:gd name="connsiteX5" fmla="*/ 156000 w 156000"/>
                <a:gd name="connsiteY5" fmla="*/ 55323 h 195873"/>
                <a:gd name="connsiteX6" fmla="*/ 91208 w 156000"/>
                <a:gd name="connsiteY6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000" h="195873">
                  <a:moveTo>
                    <a:pt x="42863" y="195873"/>
                  </a:moveTo>
                  <a:lnTo>
                    <a:pt x="0" y="116129"/>
                  </a:lnTo>
                  <a:lnTo>
                    <a:pt x="5100" y="101988"/>
                  </a:lnTo>
                  <a:lnTo>
                    <a:pt x="89456" y="0"/>
                  </a:lnTo>
                  <a:lnTo>
                    <a:pt x="156000" y="0"/>
                  </a:lnTo>
                  <a:lnTo>
                    <a:pt x="156000" y="55323"/>
                  </a:lnTo>
                  <a:lnTo>
                    <a:pt x="91208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7DFCEA7D-F372-4371-803B-1BDFB976A5FE}"/>
                </a:ext>
              </a:extLst>
            </p:cNvPr>
            <p:cNvSpPr/>
            <p:nvPr/>
          </p:nvSpPr>
          <p:spPr>
            <a:xfrm rot="8716295">
              <a:off x="657305" y="95604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813AE7E0-5367-40AE-8648-A812F3FCEFB0}"/>
                </a:ext>
              </a:extLst>
            </p:cNvPr>
            <p:cNvSpPr/>
            <p:nvPr/>
          </p:nvSpPr>
          <p:spPr>
            <a:xfrm rot="8716295">
              <a:off x="412774" y="56424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4F0C8F89-3692-4CD2-AB49-0CA987B88CD5}"/>
                </a:ext>
              </a:extLst>
            </p:cNvPr>
            <p:cNvSpPr/>
            <p:nvPr/>
          </p:nvSpPr>
          <p:spPr>
            <a:xfrm rot="8716295">
              <a:off x="502166" y="59348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284418CA-40AC-4E29-8D1E-8E40819DE436}"/>
                </a:ext>
              </a:extLst>
            </p:cNvPr>
            <p:cNvSpPr/>
            <p:nvPr/>
          </p:nvSpPr>
          <p:spPr>
            <a:xfrm rot="8716295">
              <a:off x="457316" y="50720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19514F15-38A0-4598-8B03-DA5265616C1F}"/>
                </a:ext>
              </a:extLst>
            </p:cNvPr>
            <p:cNvSpPr/>
            <p:nvPr/>
          </p:nvSpPr>
          <p:spPr>
            <a:xfrm rot="8716295">
              <a:off x="300540" y="65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35129A39-F7B1-40CB-9723-42A8577DE4D8}"/>
                </a:ext>
              </a:extLst>
            </p:cNvPr>
            <p:cNvSpPr/>
            <p:nvPr/>
          </p:nvSpPr>
          <p:spPr>
            <a:xfrm rot="8716295">
              <a:off x="175637" y="44411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C7017F0B-1736-4A46-A863-13134C22DD70}"/>
                </a:ext>
              </a:extLst>
            </p:cNvPr>
            <p:cNvSpPr/>
            <p:nvPr/>
          </p:nvSpPr>
          <p:spPr>
            <a:xfrm rot="8716295">
              <a:off x="163585" y="30533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E31096BD-DD71-4593-87A9-9B536F3877A9}"/>
                </a:ext>
              </a:extLst>
            </p:cNvPr>
            <p:cNvSpPr/>
            <p:nvPr/>
          </p:nvSpPr>
          <p:spPr>
            <a:xfrm rot="8716295">
              <a:off x="390718" y="69374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489E6E27-B2DC-4644-8C61-0B68592B9997}"/>
                </a:ext>
              </a:extLst>
            </p:cNvPr>
            <p:cNvSpPr/>
            <p:nvPr/>
          </p:nvSpPr>
          <p:spPr>
            <a:xfrm rot="8716295">
              <a:off x="702015" y="317459"/>
              <a:ext cx="131260" cy="232388"/>
            </a:xfrm>
            <a:custGeom>
              <a:avLst/>
              <a:gdLst>
                <a:gd name="connsiteX0" fmla="*/ 70201 w 131260"/>
                <a:gd name="connsiteY0" fmla="*/ 232388 h 232388"/>
                <a:gd name="connsiteX1" fmla="*/ 70201 w 131260"/>
                <a:gd name="connsiteY1" fmla="*/ 69717 h 232388"/>
                <a:gd name="connsiteX2" fmla="*/ 70201 w 131260"/>
                <a:gd name="connsiteY2" fmla="*/ 65615 h 232388"/>
                <a:gd name="connsiteX3" fmla="*/ 49697 w 131260"/>
                <a:gd name="connsiteY3" fmla="*/ 50123 h 232388"/>
                <a:gd name="connsiteX4" fmla="*/ 0 w 131260"/>
                <a:gd name="connsiteY4" fmla="*/ 50123 h 232388"/>
                <a:gd name="connsiteX5" fmla="*/ 41457 w 131260"/>
                <a:gd name="connsiteY5" fmla="*/ 0 h 232388"/>
                <a:gd name="connsiteX6" fmla="*/ 74303 w 131260"/>
                <a:gd name="connsiteY6" fmla="*/ 0 h 232388"/>
                <a:gd name="connsiteX7" fmla="*/ 131260 w 131260"/>
                <a:gd name="connsiteY7" fmla="*/ 50123 h 232388"/>
                <a:gd name="connsiteX8" fmla="*/ 131260 w 131260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1260" h="232388">
                  <a:moveTo>
                    <a:pt x="70201" y="232388"/>
                  </a:moveTo>
                  <a:lnTo>
                    <a:pt x="70201" y="69717"/>
                  </a:lnTo>
                  <a:cubicBezTo>
                    <a:pt x="70201" y="68349"/>
                    <a:pt x="70201" y="66983"/>
                    <a:pt x="70201" y="65615"/>
                  </a:cubicBezTo>
                  <a:cubicBezTo>
                    <a:pt x="68835" y="55591"/>
                    <a:pt x="59721" y="48756"/>
                    <a:pt x="49697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74303" y="0"/>
                  </a:lnTo>
                  <a:cubicBezTo>
                    <a:pt x="111211" y="0"/>
                    <a:pt x="131260" y="15948"/>
                    <a:pt x="131260" y="50123"/>
                  </a:cubicBezTo>
                  <a:lnTo>
                    <a:pt x="131260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64B1D5CD-AA1A-4511-A70C-3D1648AA7620}"/>
                </a:ext>
              </a:extLst>
            </p:cNvPr>
            <p:cNvSpPr/>
            <p:nvPr/>
          </p:nvSpPr>
          <p:spPr>
            <a:xfrm rot="8716295">
              <a:off x="834978" y="558357"/>
              <a:ext cx="24341" cy="23495"/>
            </a:xfrm>
            <a:custGeom>
              <a:avLst/>
              <a:gdLst>
                <a:gd name="connsiteX0" fmla="*/ 0 w 24341"/>
                <a:gd name="connsiteY0" fmla="*/ 23495 h 23495"/>
                <a:gd name="connsiteX1" fmla="*/ 19433 w 24341"/>
                <a:gd name="connsiteY1" fmla="*/ 0 h 23495"/>
                <a:gd name="connsiteX2" fmla="*/ 24341 w 24341"/>
                <a:gd name="connsiteY2" fmla="*/ 16139 h 23495"/>
                <a:gd name="connsiteX3" fmla="*/ 24341 w 24341"/>
                <a:gd name="connsiteY3" fmla="*/ 22063 h 23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41" h="23495">
                  <a:moveTo>
                    <a:pt x="0" y="23495"/>
                  </a:moveTo>
                  <a:lnTo>
                    <a:pt x="19433" y="0"/>
                  </a:lnTo>
                  <a:lnTo>
                    <a:pt x="24341" y="16139"/>
                  </a:lnTo>
                  <a:lnTo>
                    <a:pt x="24341" y="220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C7E6623E-E147-4C70-B4C9-2964958B77BB}"/>
                </a:ext>
              </a:extLst>
            </p:cNvPr>
            <p:cNvSpPr/>
            <p:nvPr/>
          </p:nvSpPr>
          <p:spPr>
            <a:xfrm rot="8716295">
              <a:off x="589639" y="40263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4DE4261E-A052-44C0-B4E1-A4180EFF5C4E}"/>
                </a:ext>
              </a:extLst>
            </p:cNvPr>
            <p:cNvSpPr/>
            <p:nvPr/>
          </p:nvSpPr>
          <p:spPr>
            <a:xfrm rot="8716295">
              <a:off x="464737" y="19396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088943E8-6233-4A69-B579-FE8F6D2031DE}"/>
                </a:ext>
              </a:extLst>
            </p:cNvPr>
            <p:cNvSpPr/>
            <p:nvPr/>
          </p:nvSpPr>
          <p:spPr>
            <a:xfrm rot="8716295">
              <a:off x="679817" y="44358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C9608DDB-F100-4197-8B1F-FCABCA12152A}"/>
                </a:ext>
              </a:extLst>
            </p:cNvPr>
            <p:cNvSpPr/>
            <p:nvPr/>
          </p:nvSpPr>
          <p:spPr>
            <a:xfrm rot="8716295">
              <a:off x="438366" y="29398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D82830A6-34DE-41A5-85EB-BBC1292CFD2D}"/>
                </a:ext>
              </a:extLst>
            </p:cNvPr>
            <p:cNvSpPr/>
            <p:nvPr/>
          </p:nvSpPr>
          <p:spPr>
            <a:xfrm rot="7484129">
              <a:off x="811674" y="658874"/>
              <a:ext cx="31078" cy="46141"/>
            </a:xfrm>
            <a:custGeom>
              <a:avLst/>
              <a:gdLst>
                <a:gd name="connsiteX0" fmla="*/ 15207 w 31078"/>
                <a:gd name="connsiteY0" fmla="*/ 46141 h 46141"/>
                <a:gd name="connsiteX1" fmla="*/ 0 w 31078"/>
                <a:gd name="connsiteY1" fmla="*/ 17849 h 46141"/>
                <a:gd name="connsiteX2" fmla="*/ 31078 w 31078"/>
                <a:gd name="connsiteY2" fmla="*/ 0 h 46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078" h="46141">
                  <a:moveTo>
                    <a:pt x="15207" y="46141"/>
                  </a:moveTo>
                  <a:lnTo>
                    <a:pt x="0" y="17849"/>
                  </a:lnTo>
                  <a:lnTo>
                    <a:pt x="3107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F95DC290-4BE0-47A6-9E13-46128747A546}"/>
                </a:ext>
              </a:extLst>
            </p:cNvPr>
            <p:cNvSpPr/>
            <p:nvPr/>
          </p:nvSpPr>
          <p:spPr>
            <a:xfrm rot="8716295">
              <a:off x="780102" y="336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2DFDD14A-8BE6-4683-84E9-692286466F04}"/>
                </a:ext>
              </a:extLst>
            </p:cNvPr>
            <p:cNvSpPr/>
            <p:nvPr/>
          </p:nvSpPr>
          <p:spPr>
            <a:xfrm rot="8716295">
              <a:off x="202348" y="-57106"/>
              <a:ext cx="142167" cy="186494"/>
            </a:xfrm>
            <a:custGeom>
              <a:avLst/>
              <a:gdLst>
                <a:gd name="connsiteX0" fmla="*/ 142167 w 142167"/>
                <a:gd name="connsiteY0" fmla="*/ 186494 h 186494"/>
                <a:gd name="connsiteX1" fmla="*/ 81108 w 142167"/>
                <a:gd name="connsiteY1" fmla="*/ 144170 h 186494"/>
                <a:gd name="connsiteX2" fmla="*/ 81108 w 142167"/>
                <a:gd name="connsiteY2" fmla="*/ 69717 h 186494"/>
                <a:gd name="connsiteX3" fmla="*/ 81108 w 142167"/>
                <a:gd name="connsiteY3" fmla="*/ 65615 h 186494"/>
                <a:gd name="connsiteX4" fmla="*/ 60603 w 142167"/>
                <a:gd name="connsiteY4" fmla="*/ 50123 h 186494"/>
                <a:gd name="connsiteX5" fmla="*/ 0 w 142167"/>
                <a:gd name="connsiteY5" fmla="*/ 50123 h 186494"/>
                <a:gd name="connsiteX6" fmla="*/ 0 w 142167"/>
                <a:gd name="connsiteY6" fmla="*/ 0 h 186494"/>
                <a:gd name="connsiteX7" fmla="*/ 85209 w 142167"/>
                <a:gd name="connsiteY7" fmla="*/ 0 h 186494"/>
                <a:gd name="connsiteX8" fmla="*/ 142167 w 142167"/>
                <a:gd name="connsiteY8" fmla="*/ 50123 h 186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86494">
                  <a:moveTo>
                    <a:pt x="142167" y="186494"/>
                  </a:moveTo>
                  <a:lnTo>
                    <a:pt x="81108" y="144170"/>
                  </a:lnTo>
                  <a:lnTo>
                    <a:pt x="81108" y="69717"/>
                  </a:lnTo>
                  <a:cubicBezTo>
                    <a:pt x="81108" y="68349"/>
                    <a:pt x="81108" y="66983"/>
                    <a:pt x="81108" y="65615"/>
                  </a:cubicBezTo>
                  <a:cubicBezTo>
                    <a:pt x="79741" y="55591"/>
                    <a:pt x="70628" y="48756"/>
                    <a:pt x="60603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1290DDF0-32AF-49C1-9855-D4608A5165C7}"/>
                </a:ext>
              </a:extLst>
            </p:cNvPr>
            <p:cNvSpPr/>
            <p:nvPr/>
          </p:nvSpPr>
          <p:spPr>
            <a:xfrm rot="8716295">
              <a:off x="298766" y="-5395"/>
              <a:ext cx="260639" cy="180054"/>
            </a:xfrm>
            <a:custGeom>
              <a:avLst/>
              <a:gdLst>
                <a:gd name="connsiteX0" fmla="*/ 111638 w 260639"/>
                <a:gd name="connsiteY0" fmla="*/ 180054 h 180054"/>
                <a:gd name="connsiteX1" fmla="*/ 51490 w 260639"/>
                <a:gd name="connsiteY1" fmla="*/ 138362 h 180054"/>
                <a:gd name="connsiteX2" fmla="*/ 51490 w 260639"/>
                <a:gd name="connsiteY2" fmla="*/ 45624 h 180054"/>
                <a:gd name="connsiteX3" fmla="*/ 0 w 260639"/>
                <a:gd name="connsiteY3" fmla="*/ 45624 h 180054"/>
                <a:gd name="connsiteX4" fmla="*/ 0 w 260639"/>
                <a:gd name="connsiteY4" fmla="*/ 1425 h 180054"/>
                <a:gd name="connsiteX5" fmla="*/ 104802 w 260639"/>
                <a:gd name="connsiteY5" fmla="*/ 1425 h 180054"/>
                <a:gd name="connsiteX6" fmla="*/ 104802 w 260639"/>
                <a:gd name="connsiteY6" fmla="*/ 75242 h 180054"/>
                <a:gd name="connsiteX7" fmla="*/ 106169 w 260639"/>
                <a:gd name="connsiteY7" fmla="*/ 75242 h 180054"/>
                <a:gd name="connsiteX8" fmla="*/ 154014 w 260639"/>
                <a:gd name="connsiteY8" fmla="*/ 5981 h 180054"/>
                <a:gd name="connsiteX9" fmla="*/ 185455 w 260639"/>
                <a:gd name="connsiteY9" fmla="*/ 57 h 180054"/>
                <a:gd name="connsiteX10" fmla="*/ 260639 w 260639"/>
                <a:gd name="connsiteY10" fmla="*/ 88456 h 180054"/>
                <a:gd name="connsiteX11" fmla="*/ 260639 w 260639"/>
                <a:gd name="connsiteY11" fmla="*/ 94380 h 180054"/>
                <a:gd name="connsiteX12" fmla="*/ 198669 w 260639"/>
                <a:gd name="connsiteY12" fmla="*/ 98025 h 180054"/>
                <a:gd name="connsiteX13" fmla="*/ 198669 w 260639"/>
                <a:gd name="connsiteY13" fmla="*/ 81621 h 180054"/>
                <a:gd name="connsiteX14" fmla="*/ 164950 w 260639"/>
                <a:gd name="connsiteY14" fmla="*/ 40156 h 180054"/>
                <a:gd name="connsiteX15" fmla="*/ 111638 w 260639"/>
                <a:gd name="connsiteY15" fmla="*/ 127643 h 180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0639" h="180054">
                  <a:moveTo>
                    <a:pt x="111638" y="180054"/>
                  </a:moveTo>
                  <a:lnTo>
                    <a:pt x="51490" y="138362"/>
                  </a:ln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35F53667-6F8A-4DCE-969D-0E4C74C133AE}"/>
                </a:ext>
              </a:extLst>
            </p:cNvPr>
            <p:cNvSpPr/>
            <p:nvPr/>
          </p:nvSpPr>
          <p:spPr>
            <a:xfrm rot="8716295">
              <a:off x="276903" y="-12823"/>
              <a:ext cx="36272" cy="27982"/>
            </a:xfrm>
            <a:custGeom>
              <a:avLst/>
              <a:gdLst>
                <a:gd name="connsiteX0" fmla="*/ 36272 w 36272"/>
                <a:gd name="connsiteY0" fmla="*/ 27982 h 27982"/>
                <a:gd name="connsiteX1" fmla="*/ 0 w 36272"/>
                <a:gd name="connsiteY1" fmla="*/ 2840 h 27982"/>
                <a:gd name="connsiteX2" fmla="*/ 9543 w 36272"/>
                <a:gd name="connsiteY2" fmla="*/ 0 h 27982"/>
                <a:gd name="connsiteX3" fmla="*/ 31871 w 36272"/>
                <a:gd name="connsiteY3" fmla="*/ 11392 h 27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272" h="27982">
                  <a:moveTo>
                    <a:pt x="36272" y="27982"/>
                  </a:moveTo>
                  <a:lnTo>
                    <a:pt x="0" y="2840"/>
                  </a:lnTo>
                  <a:lnTo>
                    <a:pt x="9543" y="0"/>
                  </a:lnTo>
                  <a:cubicBezTo>
                    <a:pt x="20479" y="0"/>
                    <a:pt x="27542" y="4784"/>
                    <a:pt x="31871" y="113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7EAA08B2-D955-4718-8A05-F3FD6783C060}"/>
                </a:ext>
              </a:extLst>
            </p:cNvPr>
            <p:cNvSpPr/>
            <p:nvPr/>
          </p:nvSpPr>
          <p:spPr>
            <a:xfrm rot="8716295">
              <a:off x="74640" y="-9665"/>
              <a:ext cx="58068" cy="54772"/>
            </a:xfrm>
            <a:custGeom>
              <a:avLst/>
              <a:gdLst>
                <a:gd name="connsiteX0" fmla="*/ 37436 w 58068"/>
                <a:gd name="connsiteY0" fmla="*/ 54772 h 54772"/>
                <a:gd name="connsiteX1" fmla="*/ 0 w 58068"/>
                <a:gd name="connsiteY1" fmla="*/ 28823 h 54772"/>
                <a:gd name="connsiteX2" fmla="*/ 8515 w 58068"/>
                <a:gd name="connsiteY2" fmla="*/ 8658 h 54772"/>
                <a:gd name="connsiteX3" fmla="*/ 29020 w 58068"/>
                <a:gd name="connsiteY3" fmla="*/ 0 h 54772"/>
                <a:gd name="connsiteX4" fmla="*/ 49525 w 58068"/>
                <a:gd name="connsiteY4" fmla="*/ 8658 h 54772"/>
                <a:gd name="connsiteX5" fmla="*/ 49525 w 58068"/>
                <a:gd name="connsiteY5" fmla="*/ 49668 h 5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068" h="54772">
                  <a:moveTo>
                    <a:pt x="37436" y="54772"/>
                  </a:moveTo>
                  <a:lnTo>
                    <a:pt x="0" y="28823"/>
                  </a:lnTo>
                  <a:lnTo>
                    <a:pt x="8515" y="8658"/>
                  </a:lnTo>
                  <a:cubicBezTo>
                    <a:pt x="13983" y="3190"/>
                    <a:pt x="21273" y="0"/>
                    <a:pt x="29020" y="0"/>
                  </a:cubicBezTo>
                  <a:cubicBezTo>
                    <a:pt x="36766" y="0"/>
                    <a:pt x="44057" y="3190"/>
                    <a:pt x="49525" y="8658"/>
                  </a:cubicBezTo>
                  <a:cubicBezTo>
                    <a:pt x="60916" y="19594"/>
                    <a:pt x="60916" y="38276"/>
                    <a:pt x="49525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91D311A3-3988-4CE3-A999-8E18D0FD85FD}"/>
                </a:ext>
              </a:extLst>
            </p:cNvPr>
            <p:cNvSpPr/>
            <p:nvPr/>
          </p:nvSpPr>
          <p:spPr>
            <a:xfrm rot="8716295">
              <a:off x="13802" y="-10406"/>
              <a:ext cx="30027" cy="20814"/>
            </a:xfrm>
            <a:custGeom>
              <a:avLst/>
              <a:gdLst>
                <a:gd name="connsiteX0" fmla="*/ 30027 w 30027"/>
                <a:gd name="connsiteY0" fmla="*/ 20814 h 20814"/>
                <a:gd name="connsiteX1" fmla="*/ 0 w 30027"/>
                <a:gd name="connsiteY1" fmla="*/ 0 h 20814"/>
                <a:gd name="connsiteX2" fmla="*/ 30027 w 30027"/>
                <a:gd name="connsiteY2" fmla="*/ 0 h 20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027" h="20814">
                  <a:moveTo>
                    <a:pt x="30027" y="20814"/>
                  </a:moveTo>
                  <a:lnTo>
                    <a:pt x="0" y="0"/>
                  </a:lnTo>
                  <a:lnTo>
                    <a:pt x="3002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7D873286-5EB5-4CF8-8AF6-196B8CFE1B78}"/>
                </a:ext>
              </a:extLst>
            </p:cNvPr>
            <p:cNvSpPr/>
            <p:nvPr/>
          </p:nvSpPr>
          <p:spPr>
            <a:xfrm rot="8716295">
              <a:off x="168048" y="3032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7A821114-A2EA-43FA-A71F-B45BB20754C5}"/>
                </a:ext>
              </a:extLst>
            </p:cNvPr>
            <p:cNvSpPr/>
            <p:nvPr/>
          </p:nvSpPr>
          <p:spPr>
            <a:xfrm rot="7484129">
              <a:off x="562078" y="-284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3685BB38-9BA5-4418-8C8D-FBEB60E347A8}"/>
                </a:ext>
              </a:extLst>
            </p:cNvPr>
            <p:cNvSpPr/>
            <p:nvPr/>
          </p:nvSpPr>
          <p:spPr>
            <a:xfrm rot="13089394">
              <a:off x="767127" y="-2787"/>
              <a:ext cx="149688" cy="301067"/>
            </a:xfrm>
            <a:custGeom>
              <a:avLst/>
              <a:gdLst>
                <a:gd name="connsiteX0" fmla="*/ 149688 w 149688"/>
                <a:gd name="connsiteY0" fmla="*/ 279622 h 301067"/>
                <a:gd name="connsiteX1" fmla="*/ 122393 w 149688"/>
                <a:gd name="connsiteY1" fmla="*/ 301067 h 301067"/>
                <a:gd name="connsiteX2" fmla="*/ 0 w 149688"/>
                <a:gd name="connsiteY2" fmla="*/ 114672 h 301067"/>
                <a:gd name="connsiteX3" fmla="*/ 0 w 149688"/>
                <a:gd name="connsiteY3" fmla="*/ 38074 h 301067"/>
                <a:gd name="connsiteX4" fmla="*/ 73388 w 149688"/>
                <a:gd name="connsiteY4" fmla="*/ 0 h 301067"/>
                <a:gd name="connsiteX5" fmla="*/ 74492 w 149688"/>
                <a:gd name="connsiteY5" fmla="*/ 153950 h 301067"/>
                <a:gd name="connsiteX6" fmla="*/ 87734 w 149688"/>
                <a:gd name="connsiteY6" fmla="*/ 245547 h 301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9688" h="301067">
                  <a:moveTo>
                    <a:pt x="149688" y="279622"/>
                  </a:moveTo>
                  <a:lnTo>
                    <a:pt x="122393" y="301067"/>
                  </a:lnTo>
                  <a:lnTo>
                    <a:pt x="0" y="114672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2836" y="184850"/>
                    <a:pt x="77802" y="216302"/>
                    <a:pt x="87734" y="2455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114D5DAD-A121-412D-8EC9-36550D867937}"/>
                </a:ext>
              </a:extLst>
            </p:cNvPr>
            <p:cNvSpPr/>
            <p:nvPr/>
          </p:nvSpPr>
          <p:spPr>
            <a:xfrm rot="8716295">
              <a:off x="212141" y="304502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61E96B9A-4D28-4F84-A968-91920B4F682F}"/>
                </a:ext>
              </a:extLst>
            </p:cNvPr>
            <p:cNvSpPr/>
            <p:nvPr/>
          </p:nvSpPr>
          <p:spPr>
            <a:xfrm rot="8716295">
              <a:off x="301533" y="307427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EFBE6CB5-44BD-4FB1-964B-F9876CB1F02D}"/>
                </a:ext>
              </a:extLst>
            </p:cNvPr>
            <p:cNvSpPr/>
            <p:nvPr/>
          </p:nvSpPr>
          <p:spPr>
            <a:xfrm rot="8716295">
              <a:off x="256683" y="298799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38E45A1E-C02E-4B0D-9660-74BB6C6525C0}"/>
                </a:ext>
              </a:extLst>
            </p:cNvPr>
            <p:cNvSpPr/>
            <p:nvPr/>
          </p:nvSpPr>
          <p:spPr>
            <a:xfrm rot="8716295">
              <a:off x="99907" y="31335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6D3358CE-572A-49E2-A96A-A71EBB4EE87B}"/>
                </a:ext>
              </a:extLst>
            </p:cNvPr>
            <p:cNvSpPr/>
            <p:nvPr/>
          </p:nvSpPr>
          <p:spPr>
            <a:xfrm rot="8716295">
              <a:off x="-24996" y="29248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FD4661B5-95D9-433F-BEC2-9F56D7A1586B}"/>
                </a:ext>
              </a:extLst>
            </p:cNvPr>
            <p:cNvSpPr/>
            <p:nvPr/>
          </p:nvSpPr>
          <p:spPr>
            <a:xfrm rot="8716295">
              <a:off x="51899" y="2754602"/>
              <a:ext cx="189488" cy="350829"/>
            </a:xfrm>
            <a:custGeom>
              <a:avLst/>
              <a:gdLst>
                <a:gd name="connsiteX0" fmla="*/ 25299 w 189488"/>
                <a:gd name="connsiteY0" fmla="*/ 321238 h 350829"/>
                <a:gd name="connsiteX1" fmla="*/ 0 w 189488"/>
                <a:gd name="connsiteY1" fmla="*/ 220042 h 350829"/>
                <a:gd name="connsiteX2" fmla="*/ 0 w 189488"/>
                <a:gd name="connsiteY2" fmla="*/ 40596 h 350829"/>
                <a:gd name="connsiteX3" fmla="*/ 78250 w 189488"/>
                <a:gd name="connsiteY3" fmla="*/ 0 h 350829"/>
                <a:gd name="connsiteX4" fmla="*/ 79427 w 189488"/>
                <a:gd name="connsiteY4" fmla="*/ 164149 h 350829"/>
                <a:gd name="connsiteX5" fmla="*/ 93547 w 189488"/>
                <a:gd name="connsiteY5" fmla="*/ 261815 h 350829"/>
                <a:gd name="connsiteX6" fmla="*/ 164148 w 189488"/>
                <a:gd name="connsiteY6" fmla="*/ 300646 h 350829"/>
                <a:gd name="connsiteX7" fmla="*/ 189488 w 189488"/>
                <a:gd name="connsiteY7" fmla="*/ 296141 h 350829"/>
                <a:gd name="connsiteX8" fmla="*/ 160617 w 189488"/>
                <a:gd name="connsiteY8" fmla="*/ 337791 h 350829"/>
                <a:gd name="connsiteX9" fmla="*/ 97666 w 189488"/>
                <a:gd name="connsiteY9" fmla="*/ 350655 h 350829"/>
                <a:gd name="connsiteX10" fmla="*/ 25299 w 189488"/>
                <a:gd name="connsiteY10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9488" h="350829">
                  <a:moveTo>
                    <a:pt x="25299" y="321238"/>
                  </a:moveTo>
                  <a:cubicBezTo>
                    <a:pt x="5295" y="301823"/>
                    <a:pt x="0" y="268286"/>
                    <a:pt x="0" y="220042"/>
                  </a:cubicBez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8" y="300646"/>
                  </a:cubicBezTo>
                  <a:lnTo>
                    <a:pt x="189488" y="296141"/>
                  </a:lnTo>
                  <a:lnTo>
                    <a:pt x="160617" y="337791"/>
                  </a:lnTo>
                  <a:lnTo>
                    <a:pt x="97666" y="350655"/>
                  </a:ln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B2B32B95-C256-448F-A1B2-6C67C09DF5AE}"/>
                </a:ext>
              </a:extLst>
            </p:cNvPr>
            <p:cNvSpPr/>
            <p:nvPr/>
          </p:nvSpPr>
          <p:spPr>
            <a:xfrm rot="8716295">
              <a:off x="190085" y="317452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E877EB14-51C5-4A81-B0BF-26680B1F705F}"/>
                </a:ext>
              </a:extLst>
            </p:cNvPr>
            <p:cNvSpPr/>
            <p:nvPr/>
          </p:nvSpPr>
          <p:spPr>
            <a:xfrm rot="8716295">
              <a:off x="502599" y="2802136"/>
              <a:ext cx="117588" cy="232388"/>
            </a:xfrm>
            <a:custGeom>
              <a:avLst/>
              <a:gdLst>
                <a:gd name="connsiteX0" fmla="*/ 56529 w 117588"/>
                <a:gd name="connsiteY0" fmla="*/ 232388 h 232388"/>
                <a:gd name="connsiteX1" fmla="*/ 56529 w 117588"/>
                <a:gd name="connsiteY1" fmla="*/ 69717 h 232388"/>
                <a:gd name="connsiteX2" fmla="*/ 56529 w 117588"/>
                <a:gd name="connsiteY2" fmla="*/ 65615 h 232388"/>
                <a:gd name="connsiteX3" fmla="*/ 36025 w 117588"/>
                <a:gd name="connsiteY3" fmla="*/ 50123 h 232388"/>
                <a:gd name="connsiteX4" fmla="*/ 0 w 117588"/>
                <a:gd name="connsiteY4" fmla="*/ 50123 h 232388"/>
                <a:gd name="connsiteX5" fmla="*/ 41458 w 117588"/>
                <a:gd name="connsiteY5" fmla="*/ 0 h 232388"/>
                <a:gd name="connsiteX6" fmla="*/ 60630 w 117588"/>
                <a:gd name="connsiteY6" fmla="*/ 0 h 232388"/>
                <a:gd name="connsiteX7" fmla="*/ 117588 w 117588"/>
                <a:gd name="connsiteY7" fmla="*/ 50123 h 232388"/>
                <a:gd name="connsiteX8" fmla="*/ 117588 w 117588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7588" h="232388">
                  <a:moveTo>
                    <a:pt x="56529" y="232388"/>
                  </a:moveTo>
                  <a:lnTo>
                    <a:pt x="56529" y="69717"/>
                  </a:lnTo>
                  <a:cubicBezTo>
                    <a:pt x="56529" y="68349"/>
                    <a:pt x="56529" y="66983"/>
                    <a:pt x="56529" y="65615"/>
                  </a:cubicBezTo>
                  <a:cubicBezTo>
                    <a:pt x="55163" y="55591"/>
                    <a:pt x="46049" y="48756"/>
                    <a:pt x="36025" y="50123"/>
                  </a:cubicBezTo>
                  <a:lnTo>
                    <a:pt x="0" y="50123"/>
                  </a:lnTo>
                  <a:lnTo>
                    <a:pt x="41458" y="0"/>
                  </a:lnTo>
                  <a:lnTo>
                    <a:pt x="60630" y="0"/>
                  </a:lnTo>
                  <a:cubicBezTo>
                    <a:pt x="97539" y="0"/>
                    <a:pt x="117588" y="15948"/>
                    <a:pt x="117588" y="50123"/>
                  </a:cubicBezTo>
                  <a:lnTo>
                    <a:pt x="117588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AE770E37-12A5-49E8-A852-2213359AF064}"/>
                </a:ext>
              </a:extLst>
            </p:cNvPr>
            <p:cNvSpPr/>
            <p:nvPr/>
          </p:nvSpPr>
          <p:spPr>
            <a:xfrm rot="8716295">
              <a:off x="389006" y="2883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575CB7EC-73D6-440C-8D11-02C25DB1B58E}"/>
                </a:ext>
              </a:extLst>
            </p:cNvPr>
            <p:cNvSpPr/>
            <p:nvPr/>
          </p:nvSpPr>
          <p:spPr>
            <a:xfrm rot="8716295">
              <a:off x="264104" y="267474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3E6E4B66-1F26-432C-A14D-A0BFBE670784}"/>
                </a:ext>
              </a:extLst>
            </p:cNvPr>
            <p:cNvSpPr/>
            <p:nvPr/>
          </p:nvSpPr>
          <p:spPr>
            <a:xfrm rot="8716295">
              <a:off x="479184" y="292437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8324BF72-C5F2-44D4-8888-E752B7FEDC5D}"/>
                </a:ext>
              </a:extLst>
            </p:cNvPr>
            <p:cNvSpPr/>
            <p:nvPr/>
          </p:nvSpPr>
          <p:spPr>
            <a:xfrm rot="8716295">
              <a:off x="237733" y="277477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8239F27B-FC1E-4A05-9289-AB74F556DCB2}"/>
                </a:ext>
              </a:extLst>
            </p:cNvPr>
            <p:cNvSpPr/>
            <p:nvPr/>
          </p:nvSpPr>
          <p:spPr>
            <a:xfrm rot="7484129">
              <a:off x="609980" y="3142825"/>
              <a:ext cx="20881" cy="31001"/>
            </a:xfrm>
            <a:custGeom>
              <a:avLst/>
              <a:gdLst>
                <a:gd name="connsiteX0" fmla="*/ 10218 w 20881"/>
                <a:gd name="connsiteY0" fmla="*/ 31001 h 31001"/>
                <a:gd name="connsiteX1" fmla="*/ 0 w 20881"/>
                <a:gd name="connsiteY1" fmla="*/ 11992 h 31001"/>
                <a:gd name="connsiteX2" fmla="*/ 20881 w 20881"/>
                <a:gd name="connsiteY2" fmla="*/ 0 h 31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881" h="31001">
                  <a:moveTo>
                    <a:pt x="10218" y="31001"/>
                  </a:moveTo>
                  <a:lnTo>
                    <a:pt x="0" y="11992"/>
                  </a:lnTo>
                  <a:lnTo>
                    <a:pt x="2088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F966E638-4286-459E-B12F-23BB9A1D87B8}"/>
                </a:ext>
              </a:extLst>
            </p:cNvPr>
            <p:cNvSpPr/>
            <p:nvPr/>
          </p:nvSpPr>
          <p:spPr>
            <a:xfrm rot="8716295">
              <a:off x="579469" y="28172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B2C65482-1A23-4074-8C10-932297BE6093}"/>
                </a:ext>
              </a:extLst>
            </p:cNvPr>
            <p:cNvSpPr/>
            <p:nvPr/>
          </p:nvSpPr>
          <p:spPr>
            <a:xfrm rot="8716295">
              <a:off x="437995" y="3716235"/>
              <a:ext cx="102679" cy="232388"/>
            </a:xfrm>
            <a:custGeom>
              <a:avLst/>
              <a:gdLst>
                <a:gd name="connsiteX0" fmla="*/ 41620 w 102679"/>
                <a:gd name="connsiteY0" fmla="*/ 232388 h 232388"/>
                <a:gd name="connsiteX1" fmla="*/ 41620 w 102679"/>
                <a:gd name="connsiteY1" fmla="*/ 69717 h 232388"/>
                <a:gd name="connsiteX2" fmla="*/ 41620 w 102679"/>
                <a:gd name="connsiteY2" fmla="*/ 65615 h 232388"/>
                <a:gd name="connsiteX3" fmla="*/ 21116 w 102679"/>
                <a:gd name="connsiteY3" fmla="*/ 50123 h 232388"/>
                <a:gd name="connsiteX4" fmla="*/ 0 w 102679"/>
                <a:gd name="connsiteY4" fmla="*/ 50123 h 232388"/>
                <a:gd name="connsiteX5" fmla="*/ 41457 w 102679"/>
                <a:gd name="connsiteY5" fmla="*/ 0 h 232388"/>
                <a:gd name="connsiteX6" fmla="*/ 45721 w 102679"/>
                <a:gd name="connsiteY6" fmla="*/ 0 h 232388"/>
                <a:gd name="connsiteX7" fmla="*/ 102679 w 102679"/>
                <a:gd name="connsiteY7" fmla="*/ 50123 h 232388"/>
                <a:gd name="connsiteX8" fmla="*/ 102679 w 102679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2679" h="232388">
                  <a:moveTo>
                    <a:pt x="41620" y="232388"/>
                  </a:moveTo>
                  <a:lnTo>
                    <a:pt x="41620" y="69717"/>
                  </a:lnTo>
                  <a:cubicBezTo>
                    <a:pt x="41620" y="68349"/>
                    <a:pt x="41620" y="66983"/>
                    <a:pt x="41620" y="65615"/>
                  </a:cubicBezTo>
                  <a:cubicBezTo>
                    <a:pt x="40254" y="55591"/>
                    <a:pt x="31140" y="48756"/>
                    <a:pt x="21116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45721" y="0"/>
                  </a:lnTo>
                  <a:cubicBezTo>
                    <a:pt x="82630" y="0"/>
                    <a:pt x="102679" y="15948"/>
                    <a:pt x="102679" y="50123"/>
                  </a:cubicBezTo>
                  <a:lnTo>
                    <a:pt x="102679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3086E34F-1198-4AFB-9061-33B48AB15AF3}"/>
                </a:ext>
              </a:extLst>
            </p:cNvPr>
            <p:cNvSpPr/>
            <p:nvPr/>
          </p:nvSpPr>
          <p:spPr>
            <a:xfrm rot="8716295">
              <a:off x="482715" y="3669965"/>
              <a:ext cx="154563" cy="124897"/>
            </a:xfrm>
            <a:custGeom>
              <a:avLst/>
              <a:gdLst>
                <a:gd name="connsiteX0" fmla="*/ 0 w 154563"/>
                <a:gd name="connsiteY0" fmla="*/ 124897 h 124897"/>
                <a:gd name="connsiteX1" fmla="*/ 95474 w 154563"/>
                <a:gd name="connsiteY1" fmla="*/ 9467 h 124897"/>
                <a:gd name="connsiteX2" fmla="*/ 96067 w 154563"/>
                <a:gd name="connsiteY2" fmla="*/ 9000 h 124897"/>
                <a:gd name="connsiteX3" fmla="*/ 126312 w 154563"/>
                <a:gd name="connsiteY3" fmla="*/ 0 h 124897"/>
                <a:gd name="connsiteX4" fmla="*/ 154563 w 154563"/>
                <a:gd name="connsiteY4" fmla="*/ 33719 h 124897"/>
                <a:gd name="connsiteX5" fmla="*/ 128135 w 154563"/>
                <a:gd name="connsiteY5" fmla="*/ 69261 h 124897"/>
                <a:gd name="connsiteX6" fmla="*/ 128590 w 154563"/>
                <a:gd name="connsiteY6" fmla="*/ 69261 h 12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4563" h="124897">
                  <a:moveTo>
                    <a:pt x="0" y="124897"/>
                  </a:moveTo>
                  <a:lnTo>
                    <a:pt x="95474" y="9467"/>
                  </a:lnTo>
                  <a:lnTo>
                    <a:pt x="96067" y="9000"/>
                  </a:lnTo>
                  <a:cubicBezTo>
                    <a:pt x="105351" y="4215"/>
                    <a:pt x="115604" y="1139"/>
                    <a:pt x="126312" y="0"/>
                  </a:cubicBezTo>
                  <a:cubicBezTo>
                    <a:pt x="148184" y="0"/>
                    <a:pt x="154563" y="19138"/>
                    <a:pt x="154563" y="33719"/>
                  </a:cubicBezTo>
                  <a:cubicBezTo>
                    <a:pt x="153196" y="49668"/>
                    <a:pt x="142715" y="62882"/>
                    <a:pt x="128135" y="69261"/>
                  </a:cubicBezTo>
                  <a:lnTo>
                    <a:pt x="128590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34D8ECB7-8525-4B33-96F7-6EC94DA1622C}"/>
                </a:ext>
              </a:extLst>
            </p:cNvPr>
            <p:cNvSpPr/>
            <p:nvPr/>
          </p:nvSpPr>
          <p:spPr>
            <a:xfrm rot="8716295">
              <a:off x="323074" y="379327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F43D6D3D-6C35-4427-9A74-A2D3472F3BCC}"/>
                </a:ext>
              </a:extLst>
            </p:cNvPr>
            <p:cNvSpPr/>
            <p:nvPr/>
          </p:nvSpPr>
          <p:spPr>
            <a:xfrm rot="8716295">
              <a:off x="198171" y="358459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4464E862-CB30-4363-9C1D-B97AACD89182}"/>
                </a:ext>
              </a:extLst>
            </p:cNvPr>
            <p:cNvSpPr/>
            <p:nvPr/>
          </p:nvSpPr>
          <p:spPr>
            <a:xfrm rot="8716295">
              <a:off x="186119" y="344581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orme libre : forme 58">
              <a:extLst>
                <a:ext uri="{FF2B5EF4-FFF2-40B4-BE49-F238E27FC236}">
                  <a16:creationId xmlns:a16="http://schemas.microsoft.com/office/drawing/2014/main" id="{88BD8233-E48E-4089-A094-B851A84F1E37}"/>
                </a:ext>
              </a:extLst>
            </p:cNvPr>
            <p:cNvSpPr/>
            <p:nvPr/>
          </p:nvSpPr>
          <p:spPr>
            <a:xfrm rot="8716295">
              <a:off x="410218" y="3834716"/>
              <a:ext cx="103435" cy="219174"/>
            </a:xfrm>
            <a:custGeom>
              <a:avLst/>
              <a:gdLst>
                <a:gd name="connsiteX0" fmla="*/ 103435 w 103435"/>
                <a:gd name="connsiteY0" fmla="*/ 219174 h 219174"/>
                <a:gd name="connsiteX1" fmla="*/ 43288 w 103435"/>
                <a:gd name="connsiteY1" fmla="*/ 161305 h 219174"/>
                <a:gd name="connsiteX2" fmla="*/ 43288 w 103435"/>
                <a:gd name="connsiteY2" fmla="*/ 16404 h 219174"/>
                <a:gd name="connsiteX3" fmla="*/ 0 w 103435"/>
                <a:gd name="connsiteY3" fmla="*/ 16404 h 219174"/>
                <a:gd name="connsiteX4" fmla="*/ 0 w 103435"/>
                <a:gd name="connsiteY4" fmla="*/ 16028 h 219174"/>
                <a:gd name="connsiteX5" fmla="*/ 11583 w 103435"/>
                <a:gd name="connsiteY5" fmla="*/ 2023 h 219174"/>
                <a:gd name="connsiteX6" fmla="*/ 103435 w 103435"/>
                <a:gd name="connsiteY6" fmla="*/ 0 h 219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19174">
                  <a:moveTo>
                    <a:pt x="103435" y="219174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16028"/>
                  </a:lnTo>
                  <a:lnTo>
                    <a:pt x="11583" y="2023"/>
                  </a:lnTo>
                  <a:lnTo>
                    <a:pt x="10343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orme libre : forme 59">
              <a:extLst>
                <a:ext uri="{FF2B5EF4-FFF2-40B4-BE49-F238E27FC236}">
                  <a16:creationId xmlns:a16="http://schemas.microsoft.com/office/drawing/2014/main" id="{D72BA86C-11E8-4C7D-A93A-11E890905CBF}"/>
                </a:ext>
              </a:extLst>
            </p:cNvPr>
            <p:cNvSpPr/>
            <p:nvPr/>
          </p:nvSpPr>
          <p:spPr>
            <a:xfrm rot="8716295">
              <a:off x="487452" y="3349370"/>
              <a:ext cx="151162" cy="195873"/>
            </a:xfrm>
            <a:custGeom>
              <a:avLst/>
              <a:gdLst>
                <a:gd name="connsiteX0" fmla="*/ 38025 w 151162"/>
                <a:gd name="connsiteY0" fmla="*/ 195873 h 195873"/>
                <a:gd name="connsiteX1" fmla="*/ 0 w 151162"/>
                <a:gd name="connsiteY1" fmla="*/ 125130 h 195873"/>
                <a:gd name="connsiteX2" fmla="*/ 103497 w 151162"/>
                <a:gd name="connsiteY2" fmla="*/ 0 h 195873"/>
                <a:gd name="connsiteX3" fmla="*/ 151162 w 151162"/>
                <a:gd name="connsiteY3" fmla="*/ 0 h 195873"/>
                <a:gd name="connsiteX4" fmla="*/ 151162 w 151162"/>
                <a:gd name="connsiteY4" fmla="*/ 55323 h 195873"/>
                <a:gd name="connsiteX5" fmla="*/ 86370 w 151162"/>
                <a:gd name="connsiteY5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1162" h="195873">
                  <a:moveTo>
                    <a:pt x="38025" y="195873"/>
                  </a:moveTo>
                  <a:lnTo>
                    <a:pt x="0" y="125130"/>
                  </a:lnTo>
                  <a:lnTo>
                    <a:pt x="103497" y="0"/>
                  </a:lnTo>
                  <a:lnTo>
                    <a:pt x="151162" y="0"/>
                  </a:lnTo>
                  <a:lnTo>
                    <a:pt x="151162" y="55323"/>
                  </a:lnTo>
                  <a:lnTo>
                    <a:pt x="86370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orme libre : forme 60">
              <a:extLst>
                <a:ext uri="{FF2B5EF4-FFF2-40B4-BE49-F238E27FC236}">
                  <a16:creationId xmlns:a16="http://schemas.microsoft.com/office/drawing/2014/main" id="{BE142581-218C-47B8-9F20-81B808628CD1}"/>
                </a:ext>
              </a:extLst>
            </p:cNvPr>
            <p:cNvSpPr/>
            <p:nvPr/>
          </p:nvSpPr>
          <p:spPr>
            <a:xfrm rot="8716295">
              <a:off x="460900" y="343447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orme libre : forme 61">
              <a:extLst>
                <a:ext uri="{FF2B5EF4-FFF2-40B4-BE49-F238E27FC236}">
                  <a16:creationId xmlns:a16="http://schemas.microsoft.com/office/drawing/2014/main" id="{DB847D65-EDE7-4D20-A3B5-D7E0E2A3E756}"/>
                </a:ext>
              </a:extLst>
            </p:cNvPr>
            <p:cNvSpPr/>
            <p:nvPr/>
          </p:nvSpPr>
          <p:spPr>
            <a:xfrm rot="8716295">
              <a:off x="417336" y="4258920"/>
              <a:ext cx="147637" cy="195874"/>
            </a:xfrm>
            <a:custGeom>
              <a:avLst/>
              <a:gdLst>
                <a:gd name="connsiteX0" fmla="*/ 34500 w 147637"/>
                <a:gd name="connsiteY0" fmla="*/ 195874 h 195874"/>
                <a:gd name="connsiteX1" fmla="*/ 0 w 147637"/>
                <a:gd name="connsiteY1" fmla="*/ 131688 h 195874"/>
                <a:gd name="connsiteX2" fmla="*/ 108921 w 147637"/>
                <a:gd name="connsiteY2" fmla="*/ 0 h 195874"/>
                <a:gd name="connsiteX3" fmla="*/ 147637 w 147637"/>
                <a:gd name="connsiteY3" fmla="*/ 0 h 195874"/>
                <a:gd name="connsiteX4" fmla="*/ 147637 w 147637"/>
                <a:gd name="connsiteY4" fmla="*/ 55323 h 195874"/>
                <a:gd name="connsiteX5" fmla="*/ 82845 w 147637"/>
                <a:gd name="connsiteY5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7637" h="195874">
                  <a:moveTo>
                    <a:pt x="34500" y="195874"/>
                  </a:moveTo>
                  <a:lnTo>
                    <a:pt x="0" y="131688"/>
                  </a:lnTo>
                  <a:lnTo>
                    <a:pt x="108921" y="0"/>
                  </a:lnTo>
                  <a:lnTo>
                    <a:pt x="147637" y="0"/>
                  </a:lnTo>
                  <a:lnTo>
                    <a:pt x="147637" y="55323"/>
                  </a:lnTo>
                  <a:lnTo>
                    <a:pt x="8284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orme libre : forme 62">
              <a:extLst>
                <a:ext uri="{FF2B5EF4-FFF2-40B4-BE49-F238E27FC236}">
                  <a16:creationId xmlns:a16="http://schemas.microsoft.com/office/drawing/2014/main" id="{C9478417-E8D6-452F-A916-ED7E53424518}"/>
                </a:ext>
              </a:extLst>
            </p:cNvPr>
            <p:cNvSpPr/>
            <p:nvPr/>
          </p:nvSpPr>
          <p:spPr>
            <a:xfrm rot="8716295">
              <a:off x="330834" y="4134902"/>
              <a:ext cx="254613" cy="91157"/>
            </a:xfrm>
            <a:custGeom>
              <a:avLst/>
              <a:gdLst>
                <a:gd name="connsiteX0" fmla="*/ 0 w 254613"/>
                <a:gd name="connsiteY0" fmla="*/ 68911 h 91157"/>
                <a:gd name="connsiteX1" fmla="*/ 56997 w 254613"/>
                <a:gd name="connsiteY1" fmla="*/ 0 h 91157"/>
                <a:gd name="connsiteX2" fmla="*/ 57517 w 254613"/>
                <a:gd name="connsiteY2" fmla="*/ 2143 h 91157"/>
                <a:gd name="connsiteX3" fmla="*/ 128118 w 254613"/>
                <a:gd name="connsiteY3" fmla="*/ 40974 h 91157"/>
                <a:gd name="connsiteX4" fmla="*/ 181070 w 254613"/>
                <a:gd name="connsiteY4" fmla="*/ 31560 h 91157"/>
                <a:gd name="connsiteX5" fmla="*/ 253437 w 254613"/>
                <a:gd name="connsiteY5" fmla="*/ 2143 h 91157"/>
                <a:gd name="connsiteX6" fmla="*/ 254613 w 254613"/>
                <a:gd name="connsiteY6" fmla="*/ 9791 h 91157"/>
                <a:gd name="connsiteX7" fmla="*/ 254613 w 254613"/>
                <a:gd name="connsiteY7" fmla="*/ 15674 h 91157"/>
                <a:gd name="connsiteX8" fmla="*/ 61636 w 254613"/>
                <a:gd name="connsiteY8" fmla="*/ 90983 h 91157"/>
                <a:gd name="connsiteX9" fmla="*/ 22363 w 254613"/>
                <a:gd name="connsiteY9" fmla="*/ 84217 h 91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4613" h="91157">
                  <a:moveTo>
                    <a:pt x="0" y="68911"/>
                  </a:moveTo>
                  <a:lnTo>
                    <a:pt x="56997" y="0"/>
                  </a:lnTo>
                  <a:lnTo>
                    <a:pt x="57517" y="2143"/>
                  </a:lnTo>
                  <a:cubicBezTo>
                    <a:pt x="66931" y="28030"/>
                    <a:pt x="91053" y="40974"/>
                    <a:pt x="128118" y="40974"/>
                  </a:cubicBezTo>
                  <a:cubicBezTo>
                    <a:pt x="146357" y="40385"/>
                    <a:pt x="164008" y="36855"/>
                    <a:pt x="181070" y="31560"/>
                  </a:cubicBezTo>
                  <a:cubicBezTo>
                    <a:pt x="205780" y="23912"/>
                    <a:pt x="229903" y="13910"/>
                    <a:pt x="253437" y="2143"/>
                  </a:cubicBezTo>
                  <a:cubicBezTo>
                    <a:pt x="254025" y="4496"/>
                    <a:pt x="254613" y="7438"/>
                    <a:pt x="254613" y="9791"/>
                  </a:cubicBezTo>
                  <a:lnTo>
                    <a:pt x="254613" y="15674"/>
                  </a:lnTo>
                  <a:cubicBezTo>
                    <a:pt x="192249" y="69215"/>
                    <a:pt x="110468" y="88042"/>
                    <a:pt x="61636" y="90983"/>
                  </a:cubicBezTo>
                  <a:cubicBezTo>
                    <a:pt x="48104" y="91866"/>
                    <a:pt x="34719" y="89365"/>
                    <a:pt x="22363" y="842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orme libre : forme 63">
              <a:extLst>
                <a:ext uri="{FF2B5EF4-FFF2-40B4-BE49-F238E27FC236}">
                  <a16:creationId xmlns:a16="http://schemas.microsoft.com/office/drawing/2014/main" id="{59F2B7E5-77D6-489A-B472-1F63C4176A21}"/>
                </a:ext>
              </a:extLst>
            </p:cNvPr>
            <p:cNvSpPr/>
            <p:nvPr/>
          </p:nvSpPr>
          <p:spPr>
            <a:xfrm rot="8716295">
              <a:off x="-3428" y="2405990"/>
              <a:ext cx="142167" cy="208592"/>
            </a:xfrm>
            <a:custGeom>
              <a:avLst/>
              <a:gdLst>
                <a:gd name="connsiteX0" fmla="*/ 81108 w 142167"/>
                <a:gd name="connsiteY0" fmla="*/ 208592 h 208592"/>
                <a:gd name="connsiteX1" fmla="*/ 81108 w 142167"/>
                <a:gd name="connsiteY1" fmla="*/ 69717 h 208592"/>
                <a:gd name="connsiteX2" fmla="*/ 81108 w 142167"/>
                <a:gd name="connsiteY2" fmla="*/ 65615 h 208592"/>
                <a:gd name="connsiteX3" fmla="*/ 60604 w 142167"/>
                <a:gd name="connsiteY3" fmla="*/ 50123 h 208592"/>
                <a:gd name="connsiteX4" fmla="*/ 0 w 142167"/>
                <a:gd name="connsiteY4" fmla="*/ 50123 h 208592"/>
                <a:gd name="connsiteX5" fmla="*/ 0 w 142167"/>
                <a:gd name="connsiteY5" fmla="*/ 0 h 208592"/>
                <a:gd name="connsiteX6" fmla="*/ 85210 w 142167"/>
                <a:gd name="connsiteY6" fmla="*/ 0 h 208592"/>
                <a:gd name="connsiteX7" fmla="*/ 142167 w 142167"/>
                <a:gd name="connsiteY7" fmla="*/ 50123 h 208592"/>
                <a:gd name="connsiteX8" fmla="*/ 142167 w 142167"/>
                <a:gd name="connsiteY8" fmla="*/ 120504 h 20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08592">
                  <a:moveTo>
                    <a:pt x="81108" y="208592"/>
                  </a:moveTo>
                  <a:lnTo>
                    <a:pt x="81108" y="69717"/>
                  </a:lnTo>
                  <a:cubicBezTo>
                    <a:pt x="81108" y="68350"/>
                    <a:pt x="81108" y="66983"/>
                    <a:pt x="81108" y="65615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10" y="0"/>
                  </a:lnTo>
                  <a:cubicBezTo>
                    <a:pt x="122118" y="0"/>
                    <a:pt x="142167" y="15948"/>
                    <a:pt x="142167" y="50123"/>
                  </a:cubicBezTo>
                  <a:lnTo>
                    <a:pt x="142167" y="1205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orme libre : forme 64">
              <a:extLst>
                <a:ext uri="{FF2B5EF4-FFF2-40B4-BE49-F238E27FC236}">
                  <a16:creationId xmlns:a16="http://schemas.microsoft.com/office/drawing/2014/main" id="{58CACDEB-619D-4E1A-8308-201ECECE7C5B}"/>
                </a:ext>
              </a:extLst>
            </p:cNvPr>
            <p:cNvSpPr/>
            <p:nvPr/>
          </p:nvSpPr>
          <p:spPr>
            <a:xfrm rot="8716295">
              <a:off x="80015" y="241329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orme libre : forme 65">
              <a:extLst>
                <a:ext uri="{FF2B5EF4-FFF2-40B4-BE49-F238E27FC236}">
                  <a16:creationId xmlns:a16="http://schemas.microsoft.com/office/drawing/2014/main" id="{121B25A8-5A69-4AD6-9F92-752EBBD3BB04}"/>
                </a:ext>
              </a:extLst>
            </p:cNvPr>
            <p:cNvSpPr/>
            <p:nvPr/>
          </p:nvSpPr>
          <p:spPr>
            <a:xfrm rot="8716295">
              <a:off x="35165" y="232701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orme libre : forme 66">
              <a:extLst>
                <a:ext uri="{FF2B5EF4-FFF2-40B4-BE49-F238E27FC236}">
                  <a16:creationId xmlns:a16="http://schemas.microsoft.com/office/drawing/2014/main" id="{123E728A-9EE1-481E-BA1E-5D72AE6CC637}"/>
                </a:ext>
              </a:extLst>
            </p:cNvPr>
            <p:cNvSpPr/>
            <p:nvPr/>
          </p:nvSpPr>
          <p:spPr>
            <a:xfrm rot="8716295">
              <a:off x="-20257" y="2217087"/>
              <a:ext cx="78731" cy="180665"/>
            </a:xfrm>
            <a:custGeom>
              <a:avLst/>
              <a:gdLst>
                <a:gd name="connsiteX0" fmla="*/ 0 w 78731"/>
                <a:gd name="connsiteY0" fmla="*/ 180665 h 180665"/>
                <a:gd name="connsiteX1" fmla="*/ 0 w 78731"/>
                <a:gd name="connsiteY1" fmla="*/ 40596 h 180665"/>
                <a:gd name="connsiteX2" fmla="*/ 78250 w 78731"/>
                <a:gd name="connsiteY2" fmla="*/ 0 h 180665"/>
                <a:gd name="connsiteX3" fmla="*/ 78731 w 78731"/>
                <a:gd name="connsiteY3" fmla="*/ 67083 h 180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731" h="180665">
                  <a:moveTo>
                    <a:pt x="0" y="180665"/>
                  </a:moveTo>
                  <a:lnTo>
                    <a:pt x="0" y="40596"/>
                  </a:lnTo>
                  <a:lnTo>
                    <a:pt x="78250" y="0"/>
                  </a:lnTo>
                  <a:lnTo>
                    <a:pt x="78731" y="670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078C7082-EAB5-441A-B46A-D723C18E0F9C}"/>
                </a:ext>
              </a:extLst>
            </p:cNvPr>
            <p:cNvSpPr/>
            <p:nvPr/>
          </p:nvSpPr>
          <p:spPr>
            <a:xfrm rot="8716295">
              <a:off x="-15341" y="2575209"/>
              <a:ext cx="103435" cy="152027"/>
            </a:xfrm>
            <a:custGeom>
              <a:avLst/>
              <a:gdLst>
                <a:gd name="connsiteX0" fmla="*/ 43288 w 103435"/>
                <a:gd name="connsiteY0" fmla="*/ 152027 h 152027"/>
                <a:gd name="connsiteX1" fmla="*/ 43288 w 103435"/>
                <a:gd name="connsiteY1" fmla="*/ 16404 h 152027"/>
                <a:gd name="connsiteX2" fmla="*/ 0 w 103435"/>
                <a:gd name="connsiteY2" fmla="*/ 16404 h 152027"/>
                <a:gd name="connsiteX3" fmla="*/ 0 w 103435"/>
                <a:gd name="connsiteY3" fmla="*/ 2278 h 152027"/>
                <a:gd name="connsiteX4" fmla="*/ 103435 w 103435"/>
                <a:gd name="connsiteY4" fmla="*/ 0 h 152027"/>
                <a:gd name="connsiteX5" fmla="*/ 103435 w 103435"/>
                <a:gd name="connsiteY5" fmla="*/ 65255 h 152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152027">
                  <a:moveTo>
                    <a:pt x="43288" y="152027"/>
                  </a:move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652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orme libre : forme 68">
              <a:extLst>
                <a:ext uri="{FF2B5EF4-FFF2-40B4-BE49-F238E27FC236}">
                  <a16:creationId xmlns:a16="http://schemas.microsoft.com/office/drawing/2014/main" id="{74837562-030E-4828-9572-DEE64E263932}"/>
                </a:ext>
              </a:extLst>
            </p:cNvPr>
            <p:cNvSpPr/>
            <p:nvPr/>
          </p:nvSpPr>
          <p:spPr>
            <a:xfrm rot="8716295">
              <a:off x="279722" y="21339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orme libre : forme 69">
              <a:extLst>
                <a:ext uri="{FF2B5EF4-FFF2-40B4-BE49-F238E27FC236}">
                  <a16:creationId xmlns:a16="http://schemas.microsoft.com/office/drawing/2014/main" id="{DB4BA735-F92E-4D5D-ABB4-34ABAF286FF1}"/>
                </a:ext>
              </a:extLst>
            </p:cNvPr>
            <p:cNvSpPr/>
            <p:nvPr/>
          </p:nvSpPr>
          <p:spPr>
            <a:xfrm rot="8716295">
              <a:off x="369114" y="21631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orme libre : forme 70">
              <a:extLst>
                <a:ext uri="{FF2B5EF4-FFF2-40B4-BE49-F238E27FC236}">
                  <a16:creationId xmlns:a16="http://schemas.microsoft.com/office/drawing/2014/main" id="{2E20AC3A-A861-46F6-BDD8-390DF4BE3CED}"/>
                </a:ext>
              </a:extLst>
            </p:cNvPr>
            <p:cNvSpPr/>
            <p:nvPr/>
          </p:nvSpPr>
          <p:spPr>
            <a:xfrm rot="8716295">
              <a:off x="167488" y="22224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orme libre : forme 71">
              <a:extLst>
                <a:ext uri="{FF2B5EF4-FFF2-40B4-BE49-F238E27FC236}">
                  <a16:creationId xmlns:a16="http://schemas.microsoft.com/office/drawing/2014/main" id="{C0645F34-CD0D-494F-A821-08AC0632B9BD}"/>
                </a:ext>
              </a:extLst>
            </p:cNvPr>
            <p:cNvSpPr/>
            <p:nvPr/>
          </p:nvSpPr>
          <p:spPr>
            <a:xfrm rot="8716295">
              <a:off x="42586" y="20137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orme libre : forme 72">
              <a:extLst>
                <a:ext uri="{FF2B5EF4-FFF2-40B4-BE49-F238E27FC236}">
                  <a16:creationId xmlns:a16="http://schemas.microsoft.com/office/drawing/2014/main" id="{D42C02D3-67F7-4963-8807-40F86032EE07}"/>
                </a:ext>
              </a:extLst>
            </p:cNvPr>
            <p:cNvSpPr/>
            <p:nvPr/>
          </p:nvSpPr>
          <p:spPr>
            <a:xfrm rot="8716295">
              <a:off x="257666" y="226339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" name="Forme libre : forme 73">
              <a:extLst>
                <a:ext uri="{FF2B5EF4-FFF2-40B4-BE49-F238E27FC236}">
                  <a16:creationId xmlns:a16="http://schemas.microsoft.com/office/drawing/2014/main" id="{E5391012-9EC2-494D-B5E3-A045F6898117}"/>
                </a:ext>
              </a:extLst>
            </p:cNvPr>
            <p:cNvSpPr/>
            <p:nvPr/>
          </p:nvSpPr>
          <p:spPr>
            <a:xfrm rot="8716295">
              <a:off x="16215" y="211379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" name="Forme libre : forme 74">
              <a:extLst>
                <a:ext uri="{FF2B5EF4-FFF2-40B4-BE49-F238E27FC236}">
                  <a16:creationId xmlns:a16="http://schemas.microsoft.com/office/drawing/2014/main" id="{3E9CDE54-D663-4CD6-BAFF-9CD31B4515CC}"/>
                </a:ext>
              </a:extLst>
            </p:cNvPr>
            <p:cNvSpPr/>
            <p:nvPr/>
          </p:nvSpPr>
          <p:spPr>
            <a:xfrm rot="7484129">
              <a:off x="362597" y="245474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" name="Forme libre : forme 75">
              <a:extLst>
                <a:ext uri="{FF2B5EF4-FFF2-40B4-BE49-F238E27FC236}">
                  <a16:creationId xmlns:a16="http://schemas.microsoft.com/office/drawing/2014/main" id="{1542052B-ACD1-4069-A62D-DB3DE17F9DFB}"/>
                </a:ext>
              </a:extLst>
            </p:cNvPr>
            <p:cNvSpPr/>
            <p:nvPr/>
          </p:nvSpPr>
          <p:spPr>
            <a:xfrm rot="13089394">
              <a:off x="463440" y="2426400"/>
              <a:ext cx="272584" cy="319064"/>
            </a:xfrm>
            <a:custGeom>
              <a:avLst/>
              <a:gdLst>
                <a:gd name="connsiteX0" fmla="*/ 80445 w 272584"/>
                <a:gd name="connsiteY0" fmla="*/ 215518 h 319064"/>
                <a:gd name="connsiteX1" fmla="*/ 0 w 272584"/>
                <a:gd name="connsiteY1" fmla="*/ 93007 h 319064"/>
                <a:gd name="connsiteX2" fmla="*/ 0 w 272584"/>
                <a:gd name="connsiteY2" fmla="*/ 38074 h 319064"/>
                <a:gd name="connsiteX3" fmla="*/ 73388 w 272584"/>
                <a:gd name="connsiteY3" fmla="*/ 0 h 319064"/>
                <a:gd name="connsiteX4" fmla="*/ 74492 w 272584"/>
                <a:gd name="connsiteY4" fmla="*/ 153950 h 319064"/>
                <a:gd name="connsiteX5" fmla="*/ 76768 w 272584"/>
                <a:gd name="connsiteY5" fmla="*/ 200369 h 319064"/>
                <a:gd name="connsiteX6" fmla="*/ 272584 w 272584"/>
                <a:gd name="connsiteY6" fmla="*/ 258238 h 319064"/>
                <a:gd name="connsiteX7" fmla="*/ 177331 w 272584"/>
                <a:gd name="connsiteY7" fmla="*/ 311347 h 319064"/>
                <a:gd name="connsiteX8" fmla="*/ 148437 w 272584"/>
                <a:gd name="connsiteY8" fmla="*/ 319064 h 319064"/>
                <a:gd name="connsiteX9" fmla="*/ 119231 w 272584"/>
                <a:gd name="connsiteY9" fmla="*/ 274585 h 319064"/>
                <a:gd name="connsiteX10" fmla="*/ 153949 w 272584"/>
                <a:gd name="connsiteY10" fmla="*/ 281965 h 319064"/>
                <a:gd name="connsiteX11" fmla="*/ 203610 w 272584"/>
                <a:gd name="connsiteY11" fmla="*/ 273136 h 319064"/>
                <a:gd name="connsiteX12" fmla="*/ 271481 w 272584"/>
                <a:gd name="connsiteY12" fmla="*/ 245547 h 319064"/>
                <a:gd name="connsiteX13" fmla="*/ 272584 w 272584"/>
                <a:gd name="connsiteY13" fmla="*/ 252720 h 319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2584" h="319064">
                  <a:moveTo>
                    <a:pt x="80445" y="215518"/>
                  </a:moveTo>
                  <a:lnTo>
                    <a:pt x="0" y="93007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3664" y="169400"/>
                    <a:pt x="74492" y="184988"/>
                    <a:pt x="76768" y="200369"/>
                  </a:cubicBezTo>
                  <a:close/>
                  <a:moveTo>
                    <a:pt x="272584" y="258238"/>
                  </a:moveTo>
                  <a:cubicBezTo>
                    <a:pt x="243339" y="283344"/>
                    <a:pt x="209542" y="300312"/>
                    <a:pt x="177331" y="311347"/>
                  </a:cubicBezTo>
                  <a:lnTo>
                    <a:pt x="148437" y="319064"/>
                  </a:lnTo>
                  <a:lnTo>
                    <a:pt x="119231" y="274585"/>
                  </a:lnTo>
                  <a:lnTo>
                    <a:pt x="153949" y="281965"/>
                  </a:lnTo>
                  <a:cubicBezTo>
                    <a:pt x="171055" y="281413"/>
                    <a:pt x="187609" y="278102"/>
                    <a:pt x="203610" y="273136"/>
                  </a:cubicBezTo>
                  <a:cubicBezTo>
                    <a:pt x="226785" y="265963"/>
                    <a:pt x="249409" y="256583"/>
                    <a:pt x="271481" y="245547"/>
                  </a:cubicBezTo>
                  <a:cubicBezTo>
                    <a:pt x="272032" y="247754"/>
                    <a:pt x="272584" y="250513"/>
                    <a:pt x="272584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" name="Forme libre : forme 76">
              <a:extLst>
                <a:ext uri="{FF2B5EF4-FFF2-40B4-BE49-F238E27FC236}">
                  <a16:creationId xmlns:a16="http://schemas.microsoft.com/office/drawing/2014/main" id="{008086AB-D1B5-4A02-9688-BF0E6F507FBE}"/>
                </a:ext>
              </a:extLst>
            </p:cNvPr>
            <p:cNvSpPr/>
            <p:nvPr/>
          </p:nvSpPr>
          <p:spPr>
            <a:xfrm rot="8716295">
              <a:off x="675867" y="2357327"/>
              <a:ext cx="38012" cy="45752"/>
            </a:xfrm>
            <a:custGeom>
              <a:avLst/>
              <a:gdLst>
                <a:gd name="connsiteX0" fmla="*/ 0 w 38012"/>
                <a:gd name="connsiteY0" fmla="*/ 45752 h 45752"/>
                <a:gd name="connsiteX1" fmla="*/ 37842 w 38012"/>
                <a:gd name="connsiteY1" fmla="*/ 0 h 45752"/>
                <a:gd name="connsiteX2" fmla="*/ 38012 w 38012"/>
                <a:gd name="connsiteY2" fmla="*/ 641 h 45752"/>
                <a:gd name="connsiteX3" fmla="*/ 6841 w 38012"/>
                <a:gd name="connsiteY3" fmla="*/ 42560 h 45752"/>
                <a:gd name="connsiteX4" fmla="*/ 7378 w 38012"/>
                <a:gd name="connsiteY4" fmla="*/ 42560 h 45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012" h="45752">
                  <a:moveTo>
                    <a:pt x="0" y="45752"/>
                  </a:moveTo>
                  <a:lnTo>
                    <a:pt x="37842" y="0"/>
                  </a:lnTo>
                  <a:lnTo>
                    <a:pt x="38012" y="641"/>
                  </a:lnTo>
                  <a:cubicBezTo>
                    <a:pt x="36400" y="19451"/>
                    <a:pt x="24039" y="35036"/>
                    <a:pt x="6841" y="42560"/>
                  </a:cubicBezTo>
                  <a:lnTo>
                    <a:pt x="7378" y="425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" name="Forme libre : forme 77">
              <a:extLst>
                <a:ext uri="{FF2B5EF4-FFF2-40B4-BE49-F238E27FC236}">
                  <a16:creationId xmlns:a16="http://schemas.microsoft.com/office/drawing/2014/main" id="{9B2F10B6-851C-47E9-B83A-9B630209C4B4}"/>
                </a:ext>
              </a:extLst>
            </p:cNvPr>
            <p:cNvSpPr/>
            <p:nvPr/>
          </p:nvSpPr>
          <p:spPr>
            <a:xfrm rot="8716295">
              <a:off x="601197" y="21260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orme libre : forme 78">
              <a:extLst>
                <a:ext uri="{FF2B5EF4-FFF2-40B4-BE49-F238E27FC236}">
                  <a16:creationId xmlns:a16="http://schemas.microsoft.com/office/drawing/2014/main" id="{6C363324-5366-4BE0-9D94-DFCC2BE5B63F}"/>
                </a:ext>
              </a:extLst>
            </p:cNvPr>
            <p:cNvSpPr/>
            <p:nvPr/>
          </p:nvSpPr>
          <p:spPr>
            <a:xfrm rot="8716295">
              <a:off x="357951" y="21562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Forme libre : forme 79">
              <a:extLst>
                <a:ext uri="{FF2B5EF4-FFF2-40B4-BE49-F238E27FC236}">
                  <a16:creationId xmlns:a16="http://schemas.microsoft.com/office/drawing/2014/main" id="{9E637F42-3062-43A4-9D13-33DD5D4E936B}"/>
                </a:ext>
              </a:extLst>
            </p:cNvPr>
            <p:cNvSpPr/>
            <p:nvPr/>
          </p:nvSpPr>
          <p:spPr>
            <a:xfrm rot="8716295">
              <a:off x="535403" y="199698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" name="Forme libre : forme 80">
              <a:extLst>
                <a:ext uri="{FF2B5EF4-FFF2-40B4-BE49-F238E27FC236}">
                  <a16:creationId xmlns:a16="http://schemas.microsoft.com/office/drawing/2014/main" id="{B543A244-6E3B-4DEA-9891-1869B5B7D6A2}"/>
                </a:ext>
              </a:extLst>
            </p:cNvPr>
            <p:cNvSpPr/>
            <p:nvPr/>
          </p:nvSpPr>
          <p:spPr>
            <a:xfrm rot="8716295">
              <a:off x="-76043" y="1768178"/>
              <a:ext cx="197178" cy="215049"/>
            </a:xfrm>
            <a:custGeom>
              <a:avLst/>
              <a:gdLst>
                <a:gd name="connsiteX0" fmla="*/ 51490 w 197178"/>
                <a:gd name="connsiteY0" fmla="*/ 215049 h 215049"/>
                <a:gd name="connsiteX1" fmla="*/ 51490 w 197178"/>
                <a:gd name="connsiteY1" fmla="*/ 45624 h 215049"/>
                <a:gd name="connsiteX2" fmla="*/ 0 w 197178"/>
                <a:gd name="connsiteY2" fmla="*/ 45624 h 215049"/>
                <a:gd name="connsiteX3" fmla="*/ 0 w 197178"/>
                <a:gd name="connsiteY3" fmla="*/ 1424 h 215049"/>
                <a:gd name="connsiteX4" fmla="*/ 104803 w 197178"/>
                <a:gd name="connsiteY4" fmla="*/ 1425 h 215049"/>
                <a:gd name="connsiteX5" fmla="*/ 104803 w 197178"/>
                <a:gd name="connsiteY5" fmla="*/ 75242 h 215049"/>
                <a:gd name="connsiteX6" fmla="*/ 106169 w 197178"/>
                <a:gd name="connsiteY6" fmla="*/ 75242 h 215049"/>
                <a:gd name="connsiteX7" fmla="*/ 154014 w 197178"/>
                <a:gd name="connsiteY7" fmla="*/ 5981 h 215049"/>
                <a:gd name="connsiteX8" fmla="*/ 185455 w 197178"/>
                <a:gd name="connsiteY8" fmla="*/ 57 h 215049"/>
                <a:gd name="connsiteX9" fmla="*/ 197178 w 197178"/>
                <a:gd name="connsiteY9" fmla="*/ 4872 h 215049"/>
                <a:gd name="connsiteX10" fmla="*/ 170795 w 197178"/>
                <a:gd name="connsiteY10" fmla="*/ 42934 h 215049"/>
                <a:gd name="connsiteX11" fmla="*/ 164950 w 197178"/>
                <a:gd name="connsiteY11" fmla="*/ 40156 h 215049"/>
                <a:gd name="connsiteX12" fmla="*/ 111638 w 197178"/>
                <a:gd name="connsiteY12" fmla="*/ 127643 h 215049"/>
                <a:gd name="connsiteX13" fmla="*/ 111638 w 197178"/>
                <a:gd name="connsiteY13" fmla="*/ 128277 h 21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178" h="215049">
                  <a:moveTo>
                    <a:pt x="51490" y="215049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4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lnTo>
                    <a:pt x="197178" y="4872"/>
                  </a:lnTo>
                  <a:lnTo>
                    <a:pt x="170795" y="42934"/>
                  </a:lnTo>
                  <a:lnTo>
                    <a:pt x="164950" y="40156"/>
                  </a:ln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1282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orme libre : forme 81">
              <a:extLst>
                <a:ext uri="{FF2B5EF4-FFF2-40B4-BE49-F238E27FC236}">
                  <a16:creationId xmlns:a16="http://schemas.microsoft.com/office/drawing/2014/main" id="{5E1EF854-2162-442F-89D8-C209E584C6CD}"/>
                </a:ext>
              </a:extLst>
            </p:cNvPr>
            <p:cNvSpPr/>
            <p:nvPr/>
          </p:nvSpPr>
          <p:spPr>
            <a:xfrm rot="8716295">
              <a:off x="56555" y="14742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Forme libre : forme 82">
              <a:extLst>
                <a:ext uri="{FF2B5EF4-FFF2-40B4-BE49-F238E27FC236}">
                  <a16:creationId xmlns:a16="http://schemas.microsoft.com/office/drawing/2014/main" id="{18D9B3DC-64EA-4A25-9936-D0DEB0918428}"/>
                </a:ext>
              </a:extLst>
            </p:cNvPr>
            <p:cNvSpPr/>
            <p:nvPr/>
          </p:nvSpPr>
          <p:spPr>
            <a:xfrm rot="8716295">
              <a:off x="145947" y="15034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4" name="Forme libre : forme 83">
              <a:extLst>
                <a:ext uri="{FF2B5EF4-FFF2-40B4-BE49-F238E27FC236}">
                  <a16:creationId xmlns:a16="http://schemas.microsoft.com/office/drawing/2014/main" id="{09DE79A5-7E6F-42F4-BAE3-86955C2B68BA}"/>
                </a:ext>
              </a:extLst>
            </p:cNvPr>
            <p:cNvSpPr/>
            <p:nvPr/>
          </p:nvSpPr>
          <p:spPr>
            <a:xfrm rot="8716295">
              <a:off x="-21870" y="1443501"/>
              <a:ext cx="68614" cy="55323"/>
            </a:xfrm>
            <a:custGeom>
              <a:avLst/>
              <a:gdLst>
                <a:gd name="connsiteX0" fmla="*/ 0 w 68614"/>
                <a:gd name="connsiteY0" fmla="*/ 55323 h 55323"/>
                <a:gd name="connsiteX1" fmla="*/ 0 w 68614"/>
                <a:gd name="connsiteY1" fmla="*/ 0 h 55323"/>
                <a:gd name="connsiteX2" fmla="*/ 68614 w 68614"/>
                <a:gd name="connsiteY2" fmla="*/ 0 h 55323"/>
                <a:gd name="connsiteX3" fmla="*/ 30266 w 68614"/>
                <a:gd name="connsiteY3" fmla="*/ 55323 h 55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614" h="55323">
                  <a:moveTo>
                    <a:pt x="0" y="55323"/>
                  </a:moveTo>
                  <a:lnTo>
                    <a:pt x="0" y="0"/>
                  </a:lnTo>
                  <a:lnTo>
                    <a:pt x="68614" y="0"/>
                  </a:lnTo>
                  <a:lnTo>
                    <a:pt x="30266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5" name="Forme libre : forme 84">
              <a:extLst>
                <a:ext uri="{FF2B5EF4-FFF2-40B4-BE49-F238E27FC236}">
                  <a16:creationId xmlns:a16="http://schemas.microsoft.com/office/drawing/2014/main" id="{BF3B0698-561F-4C4D-847E-2B32780BA604}"/>
                </a:ext>
              </a:extLst>
            </p:cNvPr>
            <p:cNvSpPr/>
            <p:nvPr/>
          </p:nvSpPr>
          <p:spPr>
            <a:xfrm rot="8716295">
              <a:off x="35817" y="1618109"/>
              <a:ext cx="103435" cy="203897"/>
            </a:xfrm>
            <a:custGeom>
              <a:avLst/>
              <a:gdLst>
                <a:gd name="connsiteX0" fmla="*/ 87556 w 103435"/>
                <a:gd name="connsiteY0" fmla="*/ 203897 h 203897"/>
                <a:gd name="connsiteX1" fmla="*/ 43288 w 103435"/>
                <a:gd name="connsiteY1" fmla="*/ 161305 h 203897"/>
                <a:gd name="connsiteX2" fmla="*/ 43288 w 103435"/>
                <a:gd name="connsiteY2" fmla="*/ 16404 h 203897"/>
                <a:gd name="connsiteX3" fmla="*/ 0 w 103435"/>
                <a:gd name="connsiteY3" fmla="*/ 16404 h 203897"/>
                <a:gd name="connsiteX4" fmla="*/ 0 w 103435"/>
                <a:gd name="connsiteY4" fmla="*/ 2278 h 203897"/>
                <a:gd name="connsiteX5" fmla="*/ 103435 w 103435"/>
                <a:gd name="connsiteY5" fmla="*/ 0 h 203897"/>
                <a:gd name="connsiteX6" fmla="*/ 103435 w 103435"/>
                <a:gd name="connsiteY6" fmla="*/ 180989 h 203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03897">
                  <a:moveTo>
                    <a:pt x="87556" y="203897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1809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6" name="Forme libre : forme 85">
              <a:extLst>
                <a:ext uri="{FF2B5EF4-FFF2-40B4-BE49-F238E27FC236}">
                  <a16:creationId xmlns:a16="http://schemas.microsoft.com/office/drawing/2014/main" id="{7C271A8B-9C78-428F-B810-6F06C7D59A76}"/>
                </a:ext>
              </a:extLst>
            </p:cNvPr>
            <p:cNvSpPr/>
            <p:nvPr/>
          </p:nvSpPr>
          <p:spPr>
            <a:xfrm rot="7484129">
              <a:off x="139430" y="17950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7" name="Forme libre : forme 86">
              <a:extLst>
                <a:ext uri="{FF2B5EF4-FFF2-40B4-BE49-F238E27FC236}">
                  <a16:creationId xmlns:a16="http://schemas.microsoft.com/office/drawing/2014/main" id="{D36DE129-2836-4CBE-AD58-6C1713D6B3EE}"/>
                </a:ext>
              </a:extLst>
            </p:cNvPr>
            <p:cNvSpPr/>
            <p:nvPr/>
          </p:nvSpPr>
          <p:spPr>
            <a:xfrm rot="13089394">
              <a:off x="244250" y="17615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8" name="Forme libre : forme 87">
              <a:extLst>
                <a:ext uri="{FF2B5EF4-FFF2-40B4-BE49-F238E27FC236}">
                  <a16:creationId xmlns:a16="http://schemas.microsoft.com/office/drawing/2014/main" id="{79EA854C-B4CC-4CA7-8B2A-6C6BC24B199C}"/>
                </a:ext>
              </a:extLst>
            </p:cNvPr>
            <p:cNvSpPr/>
            <p:nvPr/>
          </p:nvSpPr>
          <p:spPr>
            <a:xfrm rot="8716295">
              <a:off x="429835" y="15699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9" name="Forme libre : forme 88">
              <a:extLst>
                <a:ext uri="{FF2B5EF4-FFF2-40B4-BE49-F238E27FC236}">
                  <a16:creationId xmlns:a16="http://schemas.microsoft.com/office/drawing/2014/main" id="{6B913878-9B85-4AB9-9126-9F632954B90F}"/>
                </a:ext>
              </a:extLst>
            </p:cNvPr>
            <p:cNvSpPr/>
            <p:nvPr/>
          </p:nvSpPr>
          <p:spPr>
            <a:xfrm rot="8716295">
              <a:off x="378030" y="14663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" name="Forme libre : forme 89">
              <a:extLst>
                <a:ext uri="{FF2B5EF4-FFF2-40B4-BE49-F238E27FC236}">
                  <a16:creationId xmlns:a16="http://schemas.microsoft.com/office/drawing/2014/main" id="{F162DFE3-5AFB-43AF-B410-9A244C9F4B59}"/>
                </a:ext>
              </a:extLst>
            </p:cNvPr>
            <p:cNvSpPr/>
            <p:nvPr/>
          </p:nvSpPr>
          <p:spPr>
            <a:xfrm rot="8716295">
              <a:off x="134784" y="14965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" name="Forme libre : forme 90">
              <a:extLst>
                <a:ext uri="{FF2B5EF4-FFF2-40B4-BE49-F238E27FC236}">
                  <a16:creationId xmlns:a16="http://schemas.microsoft.com/office/drawing/2014/main" id="{AC3582EB-A41A-446C-B180-6765259FBCEA}"/>
                </a:ext>
              </a:extLst>
            </p:cNvPr>
            <p:cNvSpPr/>
            <p:nvPr/>
          </p:nvSpPr>
          <p:spPr>
            <a:xfrm rot="8716295">
              <a:off x="312236" y="13372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" name="Forme libre : forme 91">
              <a:extLst>
                <a:ext uri="{FF2B5EF4-FFF2-40B4-BE49-F238E27FC236}">
                  <a16:creationId xmlns:a16="http://schemas.microsoft.com/office/drawing/2014/main" id="{B7D17BE7-3087-4D16-B830-BE754FB16667}"/>
                </a:ext>
              </a:extLst>
            </p:cNvPr>
            <p:cNvSpPr/>
            <p:nvPr/>
          </p:nvSpPr>
          <p:spPr>
            <a:xfrm rot="8716295">
              <a:off x="-17798" y="949199"/>
              <a:ext cx="39526" cy="50123"/>
            </a:xfrm>
            <a:custGeom>
              <a:avLst/>
              <a:gdLst>
                <a:gd name="connsiteX0" fmla="*/ 0 w 39526"/>
                <a:gd name="connsiteY0" fmla="*/ 50123 h 50123"/>
                <a:gd name="connsiteX1" fmla="*/ 0 w 39526"/>
                <a:gd name="connsiteY1" fmla="*/ 0 h 50123"/>
                <a:gd name="connsiteX2" fmla="*/ 39526 w 39526"/>
                <a:gd name="connsiteY2" fmla="*/ 0 h 50123"/>
                <a:gd name="connsiteX3" fmla="*/ 4782 w 39526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26" h="50123">
                  <a:moveTo>
                    <a:pt x="0" y="50123"/>
                  </a:moveTo>
                  <a:lnTo>
                    <a:pt x="0" y="0"/>
                  </a:lnTo>
                  <a:lnTo>
                    <a:pt x="39526" y="0"/>
                  </a:lnTo>
                  <a:lnTo>
                    <a:pt x="4782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" name="Forme libre : forme 92">
              <a:extLst>
                <a:ext uri="{FF2B5EF4-FFF2-40B4-BE49-F238E27FC236}">
                  <a16:creationId xmlns:a16="http://schemas.microsoft.com/office/drawing/2014/main" id="{2B1FCA7E-1DA9-4BE4-ACE8-6A5B3C76B12F}"/>
                </a:ext>
              </a:extLst>
            </p:cNvPr>
            <p:cNvSpPr/>
            <p:nvPr/>
          </p:nvSpPr>
          <p:spPr>
            <a:xfrm rot="8716295">
              <a:off x="-64996" y="834728"/>
              <a:ext cx="249650" cy="254774"/>
            </a:xfrm>
            <a:custGeom>
              <a:avLst/>
              <a:gdLst>
                <a:gd name="connsiteX0" fmla="*/ 51490 w 249650"/>
                <a:gd name="connsiteY0" fmla="*/ 254774 h 254774"/>
                <a:gd name="connsiteX1" fmla="*/ 51490 w 249650"/>
                <a:gd name="connsiteY1" fmla="*/ 45624 h 254774"/>
                <a:gd name="connsiteX2" fmla="*/ 0 w 249650"/>
                <a:gd name="connsiteY2" fmla="*/ 45624 h 254774"/>
                <a:gd name="connsiteX3" fmla="*/ 0 w 249650"/>
                <a:gd name="connsiteY3" fmla="*/ 1425 h 254774"/>
                <a:gd name="connsiteX4" fmla="*/ 104803 w 249650"/>
                <a:gd name="connsiteY4" fmla="*/ 1425 h 254774"/>
                <a:gd name="connsiteX5" fmla="*/ 104803 w 249650"/>
                <a:gd name="connsiteY5" fmla="*/ 75242 h 254774"/>
                <a:gd name="connsiteX6" fmla="*/ 106169 w 249650"/>
                <a:gd name="connsiteY6" fmla="*/ 75242 h 254774"/>
                <a:gd name="connsiteX7" fmla="*/ 154014 w 249650"/>
                <a:gd name="connsiteY7" fmla="*/ 5981 h 254774"/>
                <a:gd name="connsiteX8" fmla="*/ 185455 w 249650"/>
                <a:gd name="connsiteY8" fmla="*/ 57 h 254774"/>
                <a:gd name="connsiteX9" fmla="*/ 240647 w 249650"/>
                <a:gd name="connsiteY9" fmla="*/ 22727 h 254774"/>
                <a:gd name="connsiteX10" fmla="*/ 249650 w 249650"/>
                <a:gd name="connsiteY10" fmla="*/ 52327 h 254774"/>
                <a:gd name="connsiteX11" fmla="*/ 218795 w 249650"/>
                <a:gd name="connsiteY11" fmla="*/ 96841 h 254774"/>
                <a:gd name="connsiteX12" fmla="*/ 198669 w 249650"/>
                <a:gd name="connsiteY12" fmla="*/ 98025 h 254774"/>
                <a:gd name="connsiteX13" fmla="*/ 198669 w 249650"/>
                <a:gd name="connsiteY13" fmla="*/ 81621 h 254774"/>
                <a:gd name="connsiteX14" fmla="*/ 164950 w 249650"/>
                <a:gd name="connsiteY14" fmla="*/ 40156 h 254774"/>
                <a:gd name="connsiteX15" fmla="*/ 111638 w 249650"/>
                <a:gd name="connsiteY15" fmla="*/ 127643 h 254774"/>
                <a:gd name="connsiteX16" fmla="*/ 111638 w 249650"/>
                <a:gd name="connsiteY16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9650" h="254774">
                  <a:moveTo>
                    <a:pt x="51490" y="254774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08922" y="-398"/>
                    <a:pt x="227718" y="7576"/>
                    <a:pt x="240647" y="22727"/>
                  </a:cubicBezTo>
                  <a:lnTo>
                    <a:pt x="249650" y="52327"/>
                  </a:lnTo>
                  <a:lnTo>
                    <a:pt x="218795" y="96841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" name="Forme libre : forme 93">
              <a:extLst>
                <a:ext uri="{FF2B5EF4-FFF2-40B4-BE49-F238E27FC236}">
                  <a16:creationId xmlns:a16="http://schemas.microsoft.com/office/drawing/2014/main" id="{0E9593F0-A5A3-4981-A2E1-BBA808D790D1}"/>
                </a:ext>
              </a:extLst>
            </p:cNvPr>
            <p:cNvSpPr/>
            <p:nvPr/>
          </p:nvSpPr>
          <p:spPr>
            <a:xfrm rot="7484129">
              <a:off x="-63314" y="1172497"/>
              <a:ext cx="203848" cy="146395"/>
            </a:xfrm>
            <a:custGeom>
              <a:avLst/>
              <a:gdLst>
                <a:gd name="connsiteX0" fmla="*/ 0 w 203848"/>
                <a:gd name="connsiteY0" fmla="*/ 55323 h 146395"/>
                <a:gd name="connsiteX1" fmla="*/ 0 w 203848"/>
                <a:gd name="connsiteY1" fmla="*/ 0 h 146395"/>
                <a:gd name="connsiteX2" fmla="*/ 203848 w 203848"/>
                <a:gd name="connsiteY2" fmla="*/ 0 h 146395"/>
                <a:gd name="connsiteX3" fmla="*/ 203847 w 203848"/>
                <a:gd name="connsiteY3" fmla="*/ 49512 h 146395"/>
                <a:gd name="connsiteX4" fmla="*/ 195466 w 203848"/>
                <a:gd name="connsiteY4" fmla="*/ 55323 h 146395"/>
                <a:gd name="connsiteX5" fmla="*/ 139055 w 203848"/>
                <a:gd name="connsiteY5" fmla="*/ 55323 h 146395"/>
                <a:gd name="connsiteX6" fmla="*/ 121388 w 203848"/>
                <a:gd name="connsiteY6" fmla="*/ 106685 h 146395"/>
                <a:gd name="connsiteX7" fmla="*/ 64115 w 203848"/>
                <a:gd name="connsiteY7" fmla="*/ 146395 h 146395"/>
                <a:gd name="connsiteX8" fmla="*/ 47847 w 203848"/>
                <a:gd name="connsiteY8" fmla="*/ 116129 h 146395"/>
                <a:gd name="connsiteX9" fmla="*/ 69777 w 203848"/>
                <a:gd name="connsiteY9" fmla="*/ 55323 h 146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848" h="146395">
                  <a:moveTo>
                    <a:pt x="0" y="55323"/>
                  </a:moveTo>
                  <a:lnTo>
                    <a:pt x="0" y="0"/>
                  </a:lnTo>
                  <a:lnTo>
                    <a:pt x="203848" y="0"/>
                  </a:lnTo>
                  <a:lnTo>
                    <a:pt x="203847" y="49512"/>
                  </a:lnTo>
                  <a:lnTo>
                    <a:pt x="195466" y="55323"/>
                  </a:lnTo>
                  <a:lnTo>
                    <a:pt x="139055" y="55323"/>
                  </a:lnTo>
                  <a:lnTo>
                    <a:pt x="121388" y="106685"/>
                  </a:lnTo>
                  <a:lnTo>
                    <a:pt x="64115" y="146395"/>
                  </a:lnTo>
                  <a:lnTo>
                    <a:pt x="47847" y="116129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orme libre : forme 94">
              <a:extLst>
                <a:ext uri="{FF2B5EF4-FFF2-40B4-BE49-F238E27FC236}">
                  <a16:creationId xmlns:a16="http://schemas.microsoft.com/office/drawing/2014/main" id="{A6E76600-79D9-426B-9766-916282D4ABFE}"/>
                </a:ext>
              </a:extLst>
            </p:cNvPr>
            <p:cNvSpPr/>
            <p:nvPr/>
          </p:nvSpPr>
          <p:spPr>
            <a:xfrm rot="13089394">
              <a:off x="25311" y="109952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Forme libre : forme 95">
              <a:extLst>
                <a:ext uri="{FF2B5EF4-FFF2-40B4-BE49-F238E27FC236}">
                  <a16:creationId xmlns:a16="http://schemas.microsoft.com/office/drawing/2014/main" id="{1F255997-FD45-4250-B7D1-37AA1C212612}"/>
                </a:ext>
              </a:extLst>
            </p:cNvPr>
            <p:cNvSpPr/>
            <p:nvPr/>
          </p:nvSpPr>
          <p:spPr>
            <a:xfrm rot="8716295">
              <a:off x="210896" y="90784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" name="Forme libre : forme 96">
              <a:extLst>
                <a:ext uri="{FF2B5EF4-FFF2-40B4-BE49-F238E27FC236}">
                  <a16:creationId xmlns:a16="http://schemas.microsoft.com/office/drawing/2014/main" id="{6A36727B-2BE2-4161-AC0F-4C17D31824EA}"/>
                </a:ext>
              </a:extLst>
            </p:cNvPr>
            <p:cNvSpPr/>
            <p:nvPr/>
          </p:nvSpPr>
          <p:spPr>
            <a:xfrm rot="8716295">
              <a:off x="159091" y="80425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" name="Forme libre : forme 97">
              <a:extLst>
                <a:ext uri="{FF2B5EF4-FFF2-40B4-BE49-F238E27FC236}">
                  <a16:creationId xmlns:a16="http://schemas.microsoft.com/office/drawing/2014/main" id="{68E6EB3F-C519-4331-8DEC-97189DA5A2F9}"/>
                </a:ext>
              </a:extLst>
            </p:cNvPr>
            <p:cNvSpPr/>
            <p:nvPr/>
          </p:nvSpPr>
          <p:spPr>
            <a:xfrm rot="8716295">
              <a:off x="93297" y="67523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" name="Forme libre : forme 98">
              <a:extLst>
                <a:ext uri="{FF2B5EF4-FFF2-40B4-BE49-F238E27FC236}">
                  <a16:creationId xmlns:a16="http://schemas.microsoft.com/office/drawing/2014/main" id="{D6679E24-2A30-4105-9E55-76CEB4537132}"/>
                </a:ext>
              </a:extLst>
            </p:cNvPr>
            <p:cNvSpPr/>
            <p:nvPr/>
          </p:nvSpPr>
          <p:spPr>
            <a:xfrm rot="8716295">
              <a:off x="-7001" y="316701"/>
              <a:ext cx="14001" cy="20198"/>
            </a:xfrm>
            <a:custGeom>
              <a:avLst/>
              <a:gdLst>
                <a:gd name="connsiteX0" fmla="*/ 0 w 14001"/>
                <a:gd name="connsiteY0" fmla="*/ 20198 h 20198"/>
                <a:gd name="connsiteX1" fmla="*/ 0 w 14001"/>
                <a:gd name="connsiteY1" fmla="*/ 0 h 20198"/>
                <a:gd name="connsiteX2" fmla="*/ 14001 w 14001"/>
                <a:gd name="connsiteY2" fmla="*/ 0 h 2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01" h="20198">
                  <a:moveTo>
                    <a:pt x="0" y="20198"/>
                  </a:moveTo>
                  <a:lnTo>
                    <a:pt x="0" y="0"/>
                  </a:lnTo>
                  <a:lnTo>
                    <a:pt x="1400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orme libre : forme 99">
              <a:extLst>
                <a:ext uri="{FF2B5EF4-FFF2-40B4-BE49-F238E27FC236}">
                  <a16:creationId xmlns:a16="http://schemas.microsoft.com/office/drawing/2014/main" id="{0A78184A-E22F-4398-9ADF-6D98FA09F99E}"/>
                </a:ext>
              </a:extLst>
            </p:cNvPr>
            <p:cNvSpPr/>
            <p:nvPr/>
          </p:nvSpPr>
          <p:spPr>
            <a:xfrm rot="13089394">
              <a:off x="-81658" y="472652"/>
              <a:ext cx="173631" cy="237684"/>
            </a:xfrm>
            <a:custGeom>
              <a:avLst/>
              <a:gdLst>
                <a:gd name="connsiteX0" fmla="*/ 173631 w 173631"/>
                <a:gd name="connsiteY0" fmla="*/ 220990 h 237684"/>
                <a:gd name="connsiteX1" fmla="*/ 130972 w 173631"/>
                <a:gd name="connsiteY1" fmla="*/ 232382 h 237684"/>
                <a:gd name="connsiteX2" fmla="*/ 91597 w 173631"/>
                <a:gd name="connsiteY2" fmla="*/ 237521 h 237684"/>
                <a:gd name="connsiteX3" fmla="*/ 23727 w 173631"/>
                <a:gd name="connsiteY3" fmla="*/ 209931 h 237684"/>
                <a:gd name="connsiteX4" fmla="*/ 0 w 173631"/>
                <a:gd name="connsiteY4" fmla="*/ 115023 h 237684"/>
                <a:gd name="connsiteX5" fmla="*/ 0 w 173631"/>
                <a:gd name="connsiteY5" fmla="*/ 0 h 237684"/>
                <a:gd name="connsiteX6" fmla="*/ 76176 w 173631"/>
                <a:gd name="connsiteY6" fmla="*/ 96953 h 237684"/>
                <a:gd name="connsiteX7" fmla="*/ 76768 w 173631"/>
                <a:gd name="connsiteY7" fmla="*/ 109023 h 237684"/>
                <a:gd name="connsiteX8" fmla="*/ 87734 w 173631"/>
                <a:gd name="connsiteY8" fmla="*/ 154201 h 237684"/>
                <a:gd name="connsiteX9" fmla="*/ 111117 w 173631"/>
                <a:gd name="connsiteY9" fmla="*/ 181514 h 237684"/>
                <a:gd name="connsiteX10" fmla="*/ 148930 w 173631"/>
                <a:gd name="connsiteY10" fmla="*/ 189552 h 237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3631" h="237684">
                  <a:moveTo>
                    <a:pt x="173631" y="220990"/>
                  </a:moveTo>
                  <a:lnTo>
                    <a:pt x="130972" y="232382"/>
                  </a:lnTo>
                  <a:cubicBezTo>
                    <a:pt x="116428" y="235210"/>
                    <a:pt x="103047" y="236831"/>
                    <a:pt x="91597" y="237521"/>
                  </a:cubicBezTo>
                  <a:cubicBezTo>
                    <a:pt x="66215" y="239176"/>
                    <a:pt x="41384" y="228141"/>
                    <a:pt x="23727" y="209931"/>
                  </a:cubicBezTo>
                  <a:cubicBezTo>
                    <a:pt x="4966" y="191722"/>
                    <a:pt x="0" y="160270"/>
                    <a:pt x="0" y="115023"/>
                  </a:cubicBezTo>
                  <a:lnTo>
                    <a:pt x="0" y="0"/>
                  </a:lnTo>
                  <a:lnTo>
                    <a:pt x="76176" y="96953"/>
                  </a:lnTo>
                  <a:lnTo>
                    <a:pt x="76768" y="109023"/>
                  </a:lnTo>
                  <a:cubicBezTo>
                    <a:pt x="79044" y="124404"/>
                    <a:pt x="82768" y="139578"/>
                    <a:pt x="87734" y="154201"/>
                  </a:cubicBezTo>
                  <a:cubicBezTo>
                    <a:pt x="92149" y="166340"/>
                    <a:pt x="100012" y="175445"/>
                    <a:pt x="111117" y="181514"/>
                  </a:cubicBezTo>
                  <a:lnTo>
                    <a:pt x="148930" y="1895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Forme libre : forme 100">
              <a:extLst>
                <a:ext uri="{FF2B5EF4-FFF2-40B4-BE49-F238E27FC236}">
                  <a16:creationId xmlns:a16="http://schemas.microsoft.com/office/drawing/2014/main" id="{AD07E803-83BA-4CC0-BF0B-A773586C07A0}"/>
                </a:ext>
              </a:extLst>
            </p:cNvPr>
            <p:cNvSpPr/>
            <p:nvPr/>
          </p:nvSpPr>
          <p:spPr>
            <a:xfrm rot="8716295">
              <a:off x="-11774" y="24443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" name="Forme libre : forme 101">
              <a:extLst>
                <a:ext uri="{FF2B5EF4-FFF2-40B4-BE49-F238E27FC236}">
                  <a16:creationId xmlns:a16="http://schemas.microsoft.com/office/drawing/2014/main" id="{D7DD021A-277F-41FC-B62D-7AD8FCE94AB8}"/>
                </a:ext>
              </a:extLst>
            </p:cNvPr>
            <p:cNvSpPr/>
            <p:nvPr/>
          </p:nvSpPr>
          <p:spPr>
            <a:xfrm rot="8716295">
              <a:off x="-30092" y="143486"/>
              <a:ext cx="77721" cy="97260"/>
            </a:xfrm>
            <a:custGeom>
              <a:avLst/>
              <a:gdLst>
                <a:gd name="connsiteX0" fmla="*/ 15821 w 77721"/>
                <a:gd name="connsiteY0" fmla="*/ 97260 h 97260"/>
                <a:gd name="connsiteX1" fmla="*/ 0 w 77721"/>
                <a:gd name="connsiteY1" fmla="*/ 59790 h 97260"/>
                <a:gd name="connsiteX2" fmla="*/ 0 w 77721"/>
                <a:gd name="connsiteY2" fmla="*/ 58869 h 97260"/>
                <a:gd name="connsiteX3" fmla="*/ 17477 w 77721"/>
                <a:gd name="connsiteY3" fmla="*/ 17477 h 97260"/>
                <a:gd name="connsiteX4" fmla="*/ 58869 w 77721"/>
                <a:gd name="connsiteY4" fmla="*/ 0 h 97260"/>
                <a:gd name="connsiteX5" fmla="*/ 77721 w 77721"/>
                <a:gd name="connsiteY5" fmla="*/ 7960 h 97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721" h="97260">
                  <a:moveTo>
                    <a:pt x="15821" y="97260"/>
                  </a:moveTo>
                  <a:lnTo>
                    <a:pt x="0" y="59790"/>
                  </a:ln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lnTo>
                    <a:pt x="77721" y="79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" name="Forme libre : forme 102">
              <a:extLst>
                <a:ext uri="{FF2B5EF4-FFF2-40B4-BE49-F238E27FC236}">
                  <a16:creationId xmlns:a16="http://schemas.microsoft.com/office/drawing/2014/main" id="{4776F911-AFBC-41FE-BE2B-77BA9B6B6148}"/>
                </a:ext>
              </a:extLst>
            </p:cNvPr>
            <p:cNvSpPr/>
            <p:nvPr/>
          </p:nvSpPr>
          <p:spPr>
            <a:xfrm rot="8716295">
              <a:off x="-17797" y="3452694"/>
              <a:ext cx="58455" cy="44199"/>
            </a:xfrm>
            <a:custGeom>
              <a:avLst/>
              <a:gdLst>
                <a:gd name="connsiteX0" fmla="*/ 0 w 58455"/>
                <a:gd name="connsiteY0" fmla="*/ 44199 h 44199"/>
                <a:gd name="connsiteX1" fmla="*/ 0 w 58455"/>
                <a:gd name="connsiteY1" fmla="*/ 0 h 44199"/>
                <a:gd name="connsiteX2" fmla="*/ 58455 w 58455"/>
                <a:gd name="connsiteY2" fmla="*/ 0 h 44199"/>
                <a:gd name="connsiteX3" fmla="*/ 27817 w 58455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55" h="44199">
                  <a:moveTo>
                    <a:pt x="0" y="44199"/>
                  </a:moveTo>
                  <a:lnTo>
                    <a:pt x="0" y="0"/>
                  </a:lnTo>
                  <a:lnTo>
                    <a:pt x="58455" y="0"/>
                  </a:lnTo>
                  <a:lnTo>
                    <a:pt x="27817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" name="Forme libre : forme 103">
              <a:extLst>
                <a:ext uri="{FF2B5EF4-FFF2-40B4-BE49-F238E27FC236}">
                  <a16:creationId xmlns:a16="http://schemas.microsoft.com/office/drawing/2014/main" id="{33763C32-3833-42AB-BA5F-981A96FDD6C2}"/>
                </a:ext>
              </a:extLst>
            </p:cNvPr>
            <p:cNvSpPr/>
            <p:nvPr/>
          </p:nvSpPr>
          <p:spPr>
            <a:xfrm rot="13089394">
              <a:off x="-91485" y="3601812"/>
              <a:ext cx="206527" cy="292654"/>
            </a:xfrm>
            <a:custGeom>
              <a:avLst/>
              <a:gdLst>
                <a:gd name="connsiteX0" fmla="*/ 206527 w 206527"/>
                <a:gd name="connsiteY0" fmla="*/ 258693 h 292654"/>
                <a:gd name="connsiteX1" fmla="*/ 177331 w 206527"/>
                <a:gd name="connsiteY1" fmla="*/ 274971 h 292654"/>
                <a:gd name="connsiteX2" fmla="*/ 91597 w 206527"/>
                <a:gd name="connsiteY2" fmla="*/ 292491 h 292654"/>
                <a:gd name="connsiteX3" fmla="*/ 23727 w 206527"/>
                <a:gd name="connsiteY3" fmla="*/ 264901 h 292654"/>
                <a:gd name="connsiteX4" fmla="*/ 0 w 206527"/>
                <a:gd name="connsiteY4" fmla="*/ 169993 h 292654"/>
                <a:gd name="connsiteX5" fmla="*/ 0 w 206527"/>
                <a:gd name="connsiteY5" fmla="*/ 1698 h 292654"/>
                <a:gd name="connsiteX6" fmla="*/ 3273 w 206527"/>
                <a:gd name="connsiteY6" fmla="*/ 0 h 292654"/>
                <a:gd name="connsiteX7" fmla="*/ 74297 w 206527"/>
                <a:gd name="connsiteY7" fmla="*/ 90396 h 292654"/>
                <a:gd name="connsiteX8" fmla="*/ 74492 w 206527"/>
                <a:gd name="connsiteY8" fmla="*/ 117574 h 292654"/>
                <a:gd name="connsiteX9" fmla="*/ 87734 w 206527"/>
                <a:gd name="connsiteY9" fmla="*/ 209171 h 292654"/>
                <a:gd name="connsiteX10" fmla="*/ 153949 w 206527"/>
                <a:gd name="connsiteY10" fmla="*/ 245589 h 292654"/>
                <a:gd name="connsiteX11" fmla="*/ 191049 w 206527"/>
                <a:gd name="connsiteY11" fmla="*/ 238993 h 292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527" h="292654">
                  <a:moveTo>
                    <a:pt x="206527" y="258693"/>
                  </a:moveTo>
                  <a:lnTo>
                    <a:pt x="177331" y="274971"/>
                  </a:lnTo>
                  <a:cubicBezTo>
                    <a:pt x="145121" y="286007"/>
                    <a:pt x="114496" y="291111"/>
                    <a:pt x="91597" y="292491"/>
                  </a:cubicBezTo>
                  <a:cubicBezTo>
                    <a:pt x="66215" y="294146"/>
                    <a:pt x="41385" y="283111"/>
                    <a:pt x="23727" y="264901"/>
                  </a:cubicBezTo>
                  <a:cubicBezTo>
                    <a:pt x="4966" y="246692"/>
                    <a:pt x="0" y="215240"/>
                    <a:pt x="0" y="169993"/>
                  </a:cubicBezTo>
                  <a:lnTo>
                    <a:pt x="0" y="1698"/>
                  </a:lnTo>
                  <a:lnTo>
                    <a:pt x="3273" y="0"/>
                  </a:lnTo>
                  <a:lnTo>
                    <a:pt x="74297" y="90396"/>
                  </a:lnTo>
                  <a:lnTo>
                    <a:pt x="74492" y="117574"/>
                  </a:lnTo>
                  <a:cubicBezTo>
                    <a:pt x="72836" y="148474"/>
                    <a:pt x="77802" y="179926"/>
                    <a:pt x="87734" y="209171"/>
                  </a:cubicBezTo>
                  <a:cubicBezTo>
                    <a:pt x="96564" y="233450"/>
                    <a:pt x="119187" y="245589"/>
                    <a:pt x="153949" y="245589"/>
                  </a:cubicBezTo>
                  <a:lnTo>
                    <a:pt x="191049" y="2389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" name="Forme libre : forme 104">
              <a:extLst>
                <a:ext uri="{FF2B5EF4-FFF2-40B4-BE49-F238E27FC236}">
                  <a16:creationId xmlns:a16="http://schemas.microsoft.com/office/drawing/2014/main" id="{2884ED04-80A3-4E4F-8446-F1E8822CAE35}"/>
                </a:ext>
              </a:extLst>
            </p:cNvPr>
            <p:cNvSpPr/>
            <p:nvPr/>
          </p:nvSpPr>
          <p:spPr>
            <a:xfrm rot="8716295">
              <a:off x="24761" y="33896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" name="Forme libre : forme 105">
              <a:extLst>
                <a:ext uri="{FF2B5EF4-FFF2-40B4-BE49-F238E27FC236}">
                  <a16:creationId xmlns:a16="http://schemas.microsoft.com/office/drawing/2014/main" id="{31CC9695-68DF-410B-864E-7B9EA5DA2286}"/>
                </a:ext>
              </a:extLst>
            </p:cNvPr>
            <p:cNvSpPr/>
            <p:nvPr/>
          </p:nvSpPr>
          <p:spPr>
            <a:xfrm rot="8716295">
              <a:off x="-24047" y="3281741"/>
              <a:ext cx="106042" cy="113733"/>
            </a:xfrm>
            <a:custGeom>
              <a:avLst/>
              <a:gdLst>
                <a:gd name="connsiteX0" fmla="*/ 17477 w 106042"/>
                <a:gd name="connsiteY0" fmla="*/ 101182 h 113733"/>
                <a:gd name="connsiteX1" fmla="*/ 0 w 106042"/>
                <a:gd name="connsiteY1" fmla="*/ 59790 h 113733"/>
                <a:gd name="connsiteX2" fmla="*/ 0 w 106042"/>
                <a:gd name="connsiteY2" fmla="*/ 58869 h 113733"/>
                <a:gd name="connsiteX3" fmla="*/ 17477 w 106042"/>
                <a:gd name="connsiteY3" fmla="*/ 17477 h 113733"/>
                <a:gd name="connsiteX4" fmla="*/ 58869 w 106042"/>
                <a:gd name="connsiteY4" fmla="*/ 0 h 113733"/>
                <a:gd name="connsiteX5" fmla="*/ 100262 w 106042"/>
                <a:gd name="connsiteY5" fmla="*/ 17477 h 113733"/>
                <a:gd name="connsiteX6" fmla="*/ 106042 w 106042"/>
                <a:gd name="connsiteY6" fmla="*/ 31234 h 113733"/>
                <a:gd name="connsiteX7" fmla="*/ 48856 w 106042"/>
                <a:gd name="connsiteY7" fmla="*/ 113733 h 11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042" h="113733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cubicBezTo>
                    <a:pt x="74507" y="0"/>
                    <a:pt x="89224" y="6439"/>
                    <a:pt x="100262" y="17477"/>
                  </a:cubicBezTo>
                  <a:lnTo>
                    <a:pt x="106042" y="31234"/>
                  </a:lnTo>
                  <a:lnTo>
                    <a:pt x="48856" y="1137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" name="Forme libre : forme 106">
              <a:extLst>
                <a:ext uri="{FF2B5EF4-FFF2-40B4-BE49-F238E27FC236}">
                  <a16:creationId xmlns:a16="http://schemas.microsoft.com/office/drawing/2014/main" id="{1798CCB7-EC4B-437B-AB85-16FA76906419}"/>
                </a:ext>
              </a:extLst>
            </p:cNvPr>
            <p:cNvSpPr/>
            <p:nvPr/>
          </p:nvSpPr>
          <p:spPr>
            <a:xfrm rot="8716295">
              <a:off x="-21924" y="3179872"/>
              <a:ext cx="45776" cy="62656"/>
            </a:xfrm>
            <a:custGeom>
              <a:avLst/>
              <a:gdLst>
                <a:gd name="connsiteX0" fmla="*/ 2345 w 45776"/>
                <a:gd name="connsiteY0" fmla="*/ 62656 h 62656"/>
                <a:gd name="connsiteX1" fmla="*/ 0 w 45776"/>
                <a:gd name="connsiteY1" fmla="*/ 57104 h 62656"/>
                <a:gd name="connsiteX2" fmla="*/ 0 w 45776"/>
                <a:gd name="connsiteY2" fmla="*/ 56183 h 62656"/>
                <a:gd name="connsiteX3" fmla="*/ 17477 w 45776"/>
                <a:gd name="connsiteY3" fmla="*/ 14791 h 62656"/>
                <a:gd name="connsiteX4" fmla="*/ 36449 w 45776"/>
                <a:gd name="connsiteY4" fmla="*/ 1913 h 62656"/>
                <a:gd name="connsiteX5" fmla="*/ 45776 w 45776"/>
                <a:gd name="connsiteY5" fmla="*/ 0 h 62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776" h="62656">
                  <a:moveTo>
                    <a:pt x="2345" y="62656"/>
                  </a:moveTo>
                  <a:lnTo>
                    <a:pt x="0" y="57104"/>
                  </a:lnTo>
                  <a:lnTo>
                    <a:pt x="0" y="56183"/>
                  </a:lnTo>
                  <a:cubicBezTo>
                    <a:pt x="0" y="40547"/>
                    <a:pt x="6439" y="25829"/>
                    <a:pt x="17477" y="14791"/>
                  </a:cubicBezTo>
                  <a:cubicBezTo>
                    <a:pt x="22996" y="9272"/>
                    <a:pt x="29435" y="4903"/>
                    <a:pt x="36449" y="1913"/>
                  </a:cubicBezTo>
                  <a:lnTo>
                    <a:pt x="4577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" name="Forme libre : forme 107">
              <a:extLst>
                <a:ext uri="{FF2B5EF4-FFF2-40B4-BE49-F238E27FC236}">
                  <a16:creationId xmlns:a16="http://schemas.microsoft.com/office/drawing/2014/main" id="{6EA1D3A3-3395-441B-A805-B0DD713086F0}"/>
                </a:ext>
              </a:extLst>
            </p:cNvPr>
            <p:cNvSpPr/>
            <p:nvPr/>
          </p:nvSpPr>
          <p:spPr>
            <a:xfrm rot="8716295">
              <a:off x="-21324" y="4100649"/>
              <a:ext cx="79113" cy="50123"/>
            </a:xfrm>
            <a:custGeom>
              <a:avLst/>
              <a:gdLst>
                <a:gd name="connsiteX0" fmla="*/ 0 w 79113"/>
                <a:gd name="connsiteY0" fmla="*/ 50123 h 50123"/>
                <a:gd name="connsiteX1" fmla="*/ 0 w 79113"/>
                <a:gd name="connsiteY1" fmla="*/ 0 h 50123"/>
                <a:gd name="connsiteX2" fmla="*/ 79113 w 79113"/>
                <a:gd name="connsiteY2" fmla="*/ 0 h 50123"/>
                <a:gd name="connsiteX3" fmla="*/ 44369 w 79113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113" h="50123">
                  <a:moveTo>
                    <a:pt x="0" y="50123"/>
                  </a:moveTo>
                  <a:lnTo>
                    <a:pt x="0" y="0"/>
                  </a:lnTo>
                  <a:lnTo>
                    <a:pt x="79113" y="0"/>
                  </a:lnTo>
                  <a:lnTo>
                    <a:pt x="44369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" name="Forme libre : forme 108">
              <a:extLst>
                <a:ext uri="{FF2B5EF4-FFF2-40B4-BE49-F238E27FC236}">
                  <a16:creationId xmlns:a16="http://schemas.microsoft.com/office/drawing/2014/main" id="{441E37C8-B014-48F8-9D8A-E28C0A81E8F3}"/>
                </a:ext>
              </a:extLst>
            </p:cNvPr>
            <p:cNvSpPr/>
            <p:nvPr/>
          </p:nvSpPr>
          <p:spPr>
            <a:xfrm rot="8716295">
              <a:off x="-40457" y="398156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" name="Forme libre : forme 109">
              <a:extLst>
                <a:ext uri="{FF2B5EF4-FFF2-40B4-BE49-F238E27FC236}">
                  <a16:creationId xmlns:a16="http://schemas.microsoft.com/office/drawing/2014/main" id="{F00696DB-228C-441B-90E6-48605040C93E}"/>
                </a:ext>
              </a:extLst>
            </p:cNvPr>
            <p:cNvSpPr/>
            <p:nvPr/>
          </p:nvSpPr>
          <p:spPr>
            <a:xfrm rot="7484129">
              <a:off x="-46974" y="427316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" name="Forme libre : forme 110">
              <a:extLst>
                <a:ext uri="{FF2B5EF4-FFF2-40B4-BE49-F238E27FC236}">
                  <a16:creationId xmlns:a16="http://schemas.microsoft.com/office/drawing/2014/main" id="{9A6E1EC7-4FA0-43D8-BEC4-78E0A6587EAD}"/>
                </a:ext>
              </a:extLst>
            </p:cNvPr>
            <p:cNvSpPr/>
            <p:nvPr/>
          </p:nvSpPr>
          <p:spPr>
            <a:xfrm rot="13089394">
              <a:off x="57846" y="423970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" name="Forme libre : forme 111">
              <a:extLst>
                <a:ext uri="{FF2B5EF4-FFF2-40B4-BE49-F238E27FC236}">
                  <a16:creationId xmlns:a16="http://schemas.microsoft.com/office/drawing/2014/main" id="{80389F25-A4FB-4DBD-9B89-4F2BFC751AF3}"/>
                </a:ext>
              </a:extLst>
            </p:cNvPr>
            <p:cNvSpPr/>
            <p:nvPr/>
          </p:nvSpPr>
          <p:spPr>
            <a:xfrm rot="8716295">
              <a:off x="243431" y="404801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" name="Forme libre : forme 112">
              <a:extLst>
                <a:ext uri="{FF2B5EF4-FFF2-40B4-BE49-F238E27FC236}">
                  <a16:creationId xmlns:a16="http://schemas.microsoft.com/office/drawing/2014/main" id="{04EEF1E4-3A54-4E97-9251-258A8E514A0A}"/>
                </a:ext>
              </a:extLst>
            </p:cNvPr>
            <p:cNvSpPr/>
            <p:nvPr/>
          </p:nvSpPr>
          <p:spPr>
            <a:xfrm rot="8716295">
              <a:off x="191626" y="39444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" name="Forme libre : forme 113">
              <a:extLst>
                <a:ext uri="{FF2B5EF4-FFF2-40B4-BE49-F238E27FC236}">
                  <a16:creationId xmlns:a16="http://schemas.microsoft.com/office/drawing/2014/main" id="{6E5BBE1F-D3AC-46AF-8453-7400C641EAAA}"/>
                </a:ext>
              </a:extLst>
            </p:cNvPr>
            <p:cNvSpPr/>
            <p:nvPr/>
          </p:nvSpPr>
          <p:spPr>
            <a:xfrm rot="8716295">
              <a:off x="125832" y="381540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" name="Forme libre : forme 114">
              <a:extLst>
                <a:ext uri="{FF2B5EF4-FFF2-40B4-BE49-F238E27FC236}">
                  <a16:creationId xmlns:a16="http://schemas.microsoft.com/office/drawing/2014/main" id="{8071E294-ECD8-45A0-992E-907B1B9AB08E}"/>
                </a:ext>
              </a:extLst>
            </p:cNvPr>
            <p:cNvSpPr/>
            <p:nvPr/>
          </p:nvSpPr>
          <p:spPr>
            <a:xfrm rot="8716295">
              <a:off x="-73048" y="4876828"/>
              <a:ext cx="221382" cy="253349"/>
            </a:xfrm>
            <a:custGeom>
              <a:avLst/>
              <a:gdLst>
                <a:gd name="connsiteX0" fmla="*/ 51490 w 221382"/>
                <a:gd name="connsiteY0" fmla="*/ 253349 h 253349"/>
                <a:gd name="connsiteX1" fmla="*/ 51490 w 221382"/>
                <a:gd name="connsiteY1" fmla="*/ 44199 h 253349"/>
                <a:gd name="connsiteX2" fmla="*/ 0 w 221382"/>
                <a:gd name="connsiteY2" fmla="*/ 44199 h 253349"/>
                <a:gd name="connsiteX3" fmla="*/ 0 w 221382"/>
                <a:gd name="connsiteY3" fmla="*/ 0 h 253349"/>
                <a:gd name="connsiteX4" fmla="*/ 104803 w 221382"/>
                <a:gd name="connsiteY4" fmla="*/ 0 h 253349"/>
                <a:gd name="connsiteX5" fmla="*/ 104802 w 221382"/>
                <a:gd name="connsiteY5" fmla="*/ 73817 h 253349"/>
                <a:gd name="connsiteX6" fmla="*/ 106169 w 221382"/>
                <a:gd name="connsiteY6" fmla="*/ 73817 h 253349"/>
                <a:gd name="connsiteX7" fmla="*/ 154014 w 221382"/>
                <a:gd name="connsiteY7" fmla="*/ 4556 h 253349"/>
                <a:gd name="connsiteX8" fmla="*/ 174650 w 221382"/>
                <a:gd name="connsiteY8" fmla="*/ 668 h 253349"/>
                <a:gd name="connsiteX9" fmla="*/ 214075 w 221382"/>
                <a:gd name="connsiteY9" fmla="*/ 27996 h 253349"/>
                <a:gd name="connsiteX10" fmla="*/ 221382 w 221382"/>
                <a:gd name="connsiteY10" fmla="*/ 33060 h 253349"/>
                <a:gd name="connsiteX11" fmla="*/ 195540 w 221382"/>
                <a:gd name="connsiteY11" fmla="*/ 70341 h 253349"/>
                <a:gd name="connsiteX12" fmla="*/ 189157 w 221382"/>
                <a:gd name="connsiteY12" fmla="*/ 50236 h 253349"/>
                <a:gd name="connsiteX13" fmla="*/ 164950 w 221382"/>
                <a:gd name="connsiteY13" fmla="*/ 38731 h 253349"/>
                <a:gd name="connsiteX14" fmla="*/ 111638 w 221382"/>
                <a:gd name="connsiteY14" fmla="*/ 126218 h 253349"/>
                <a:gd name="connsiteX15" fmla="*/ 111638 w 221382"/>
                <a:gd name="connsiteY15" fmla="*/ 191383 h 253349"/>
                <a:gd name="connsiteX16" fmla="*/ 84096 w 221382"/>
                <a:gd name="connsiteY16" fmla="*/ 231117 h 253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1382" h="253349">
                  <a:moveTo>
                    <a:pt x="51490" y="253349"/>
                  </a:moveTo>
                  <a:lnTo>
                    <a:pt x="51490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104803" y="0"/>
                  </a:lnTo>
                  <a:lnTo>
                    <a:pt x="104802" y="73817"/>
                  </a:lnTo>
                  <a:lnTo>
                    <a:pt x="106169" y="73817"/>
                  </a:lnTo>
                  <a:cubicBezTo>
                    <a:pt x="120751" y="30529"/>
                    <a:pt x="132142" y="13670"/>
                    <a:pt x="154014" y="4556"/>
                  </a:cubicBezTo>
                  <a:lnTo>
                    <a:pt x="174650" y="668"/>
                  </a:lnTo>
                  <a:lnTo>
                    <a:pt x="214075" y="27996"/>
                  </a:lnTo>
                  <a:lnTo>
                    <a:pt x="221382" y="33060"/>
                  </a:lnTo>
                  <a:lnTo>
                    <a:pt x="195540" y="70341"/>
                  </a:lnTo>
                  <a:lnTo>
                    <a:pt x="189157" y="50236"/>
                  </a:lnTo>
                  <a:cubicBezTo>
                    <a:pt x="183177" y="42946"/>
                    <a:pt x="174747" y="38731"/>
                    <a:pt x="164950" y="38731"/>
                  </a:cubicBezTo>
                  <a:cubicBezTo>
                    <a:pt x="135788" y="38731"/>
                    <a:pt x="111638" y="77463"/>
                    <a:pt x="111638" y="126218"/>
                  </a:cubicBezTo>
                  <a:lnTo>
                    <a:pt x="111638" y="191383"/>
                  </a:lnTo>
                  <a:lnTo>
                    <a:pt x="84096" y="2311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" name="Forme libre : forme 115">
              <a:extLst>
                <a:ext uri="{FF2B5EF4-FFF2-40B4-BE49-F238E27FC236}">
                  <a16:creationId xmlns:a16="http://schemas.microsoft.com/office/drawing/2014/main" id="{E67B14CE-B3ED-42B6-983E-18D9D51B5069}"/>
                </a:ext>
              </a:extLst>
            </p:cNvPr>
            <p:cNvSpPr/>
            <p:nvPr/>
          </p:nvSpPr>
          <p:spPr>
            <a:xfrm rot="8716295">
              <a:off x="93318" y="46120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" name="Forme libre : forme 116">
              <a:extLst>
                <a:ext uri="{FF2B5EF4-FFF2-40B4-BE49-F238E27FC236}">
                  <a16:creationId xmlns:a16="http://schemas.microsoft.com/office/drawing/2014/main" id="{5F92E036-918D-4A69-A634-EF67D2AA85CF}"/>
                </a:ext>
              </a:extLst>
            </p:cNvPr>
            <p:cNvSpPr/>
            <p:nvPr/>
          </p:nvSpPr>
          <p:spPr>
            <a:xfrm rot="8716295">
              <a:off x="182710" y="46412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" name="Forme libre : forme 117">
              <a:extLst>
                <a:ext uri="{FF2B5EF4-FFF2-40B4-BE49-F238E27FC236}">
                  <a16:creationId xmlns:a16="http://schemas.microsoft.com/office/drawing/2014/main" id="{51C689BA-330C-44EA-8320-9417DA402819}"/>
                </a:ext>
              </a:extLst>
            </p:cNvPr>
            <p:cNvSpPr/>
            <p:nvPr/>
          </p:nvSpPr>
          <p:spPr>
            <a:xfrm rot="8716295">
              <a:off x="-14524" y="4699631"/>
              <a:ext cx="49997" cy="54238"/>
            </a:xfrm>
            <a:custGeom>
              <a:avLst/>
              <a:gdLst>
                <a:gd name="connsiteX0" fmla="*/ 8658 w 49997"/>
                <a:gd name="connsiteY0" fmla="*/ 50123 h 54238"/>
                <a:gd name="connsiteX1" fmla="*/ 0 w 49997"/>
                <a:gd name="connsiteY1" fmla="*/ 29619 h 54238"/>
                <a:gd name="connsiteX2" fmla="*/ 0 w 49997"/>
                <a:gd name="connsiteY2" fmla="*/ 29162 h 54238"/>
                <a:gd name="connsiteX3" fmla="*/ 8658 w 49997"/>
                <a:gd name="connsiteY3" fmla="*/ 8658 h 54238"/>
                <a:gd name="connsiteX4" fmla="*/ 29163 w 49997"/>
                <a:gd name="connsiteY4" fmla="*/ 0 h 54238"/>
                <a:gd name="connsiteX5" fmla="*/ 49668 w 49997"/>
                <a:gd name="connsiteY5" fmla="*/ 8658 h 54238"/>
                <a:gd name="connsiteX6" fmla="*/ 49997 w 49997"/>
                <a:gd name="connsiteY6" fmla="*/ 9441 h 54238"/>
                <a:gd name="connsiteX7" fmla="*/ 18945 w 49997"/>
                <a:gd name="connsiteY7" fmla="*/ 54238 h 54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997" h="54238">
                  <a:moveTo>
                    <a:pt x="8658" y="50123"/>
                  </a:moveTo>
                  <a:cubicBezTo>
                    <a:pt x="3190" y="44655"/>
                    <a:pt x="0" y="37365"/>
                    <a:pt x="0" y="29619"/>
                  </a:cubicBezTo>
                  <a:lnTo>
                    <a:pt x="0" y="29162"/>
                  </a:lnTo>
                  <a:cubicBezTo>
                    <a:pt x="0" y="21417"/>
                    <a:pt x="3190" y="14126"/>
                    <a:pt x="8658" y="8658"/>
                  </a:cubicBezTo>
                  <a:cubicBezTo>
                    <a:pt x="14126" y="3190"/>
                    <a:pt x="21416" y="0"/>
                    <a:pt x="29163" y="0"/>
                  </a:cubicBezTo>
                  <a:cubicBezTo>
                    <a:pt x="36909" y="0"/>
                    <a:pt x="44200" y="3190"/>
                    <a:pt x="49668" y="8658"/>
                  </a:cubicBezTo>
                  <a:lnTo>
                    <a:pt x="49997" y="9441"/>
                  </a:lnTo>
                  <a:lnTo>
                    <a:pt x="18945" y="54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" name="Forme libre : forme 118">
              <a:extLst>
                <a:ext uri="{FF2B5EF4-FFF2-40B4-BE49-F238E27FC236}">
                  <a16:creationId xmlns:a16="http://schemas.microsoft.com/office/drawing/2014/main" id="{F2474D32-2245-427E-9F4C-2458D31C5E60}"/>
                </a:ext>
              </a:extLst>
            </p:cNvPr>
            <p:cNvSpPr/>
            <p:nvPr/>
          </p:nvSpPr>
          <p:spPr>
            <a:xfrm rot="8716295">
              <a:off x="-30327" y="4579755"/>
              <a:ext cx="113346" cy="71024"/>
            </a:xfrm>
            <a:custGeom>
              <a:avLst/>
              <a:gdLst>
                <a:gd name="connsiteX0" fmla="*/ 0 w 113346"/>
                <a:gd name="connsiteY0" fmla="*/ 55323 h 71024"/>
                <a:gd name="connsiteX1" fmla="*/ 0 w 113346"/>
                <a:gd name="connsiteY1" fmla="*/ 0 h 71024"/>
                <a:gd name="connsiteX2" fmla="*/ 113346 w 113346"/>
                <a:gd name="connsiteY2" fmla="*/ 0 h 71024"/>
                <a:gd name="connsiteX3" fmla="*/ 64114 w 113346"/>
                <a:gd name="connsiteY3" fmla="*/ 71024 h 71024"/>
                <a:gd name="connsiteX4" fmla="*/ 69777 w 113346"/>
                <a:gd name="connsiteY4" fmla="*/ 55323 h 7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346" h="71024">
                  <a:moveTo>
                    <a:pt x="0" y="55323"/>
                  </a:moveTo>
                  <a:lnTo>
                    <a:pt x="0" y="0"/>
                  </a:lnTo>
                  <a:lnTo>
                    <a:pt x="113346" y="0"/>
                  </a:lnTo>
                  <a:lnTo>
                    <a:pt x="64114" y="71024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" name="Forme libre : forme 119">
              <a:extLst>
                <a:ext uri="{FF2B5EF4-FFF2-40B4-BE49-F238E27FC236}">
                  <a16:creationId xmlns:a16="http://schemas.microsoft.com/office/drawing/2014/main" id="{D5E32DFA-FE41-4DBB-9EA3-322E61838D6F}"/>
                </a:ext>
              </a:extLst>
            </p:cNvPr>
            <p:cNvSpPr/>
            <p:nvPr/>
          </p:nvSpPr>
          <p:spPr>
            <a:xfrm rot="8716295">
              <a:off x="71262" y="47415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" name="Forme libre : forme 120">
              <a:extLst>
                <a:ext uri="{FF2B5EF4-FFF2-40B4-BE49-F238E27FC236}">
                  <a16:creationId xmlns:a16="http://schemas.microsoft.com/office/drawing/2014/main" id="{98C82C88-21C9-41B9-8186-F52C472D7412}"/>
                </a:ext>
              </a:extLst>
            </p:cNvPr>
            <p:cNvSpPr/>
            <p:nvPr/>
          </p:nvSpPr>
          <p:spPr>
            <a:xfrm rot="7484129">
              <a:off x="172059" y="493353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170341 w 203847"/>
                <a:gd name="connsiteY5" fmla="*/ 0 h 195874"/>
                <a:gd name="connsiteX6" fmla="*/ 203847 w 203847"/>
                <a:gd name="connsiteY6" fmla="*/ 48325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170341" y="0"/>
                  </a:lnTo>
                  <a:lnTo>
                    <a:pt x="203847" y="48325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" name="Forme libre : forme 121">
              <a:extLst>
                <a:ext uri="{FF2B5EF4-FFF2-40B4-BE49-F238E27FC236}">
                  <a16:creationId xmlns:a16="http://schemas.microsoft.com/office/drawing/2014/main" id="{A66417E9-C757-466D-8994-1F366AA16F5B}"/>
                </a:ext>
              </a:extLst>
            </p:cNvPr>
            <p:cNvSpPr/>
            <p:nvPr/>
          </p:nvSpPr>
          <p:spPr>
            <a:xfrm rot="13089394">
              <a:off x="313551" y="4906246"/>
              <a:ext cx="221827" cy="205098"/>
            </a:xfrm>
            <a:custGeom>
              <a:avLst/>
              <a:gdLst>
                <a:gd name="connsiteX0" fmla="*/ 24153 w 221827"/>
                <a:gd name="connsiteY0" fmla="*/ 55168 h 205098"/>
                <a:gd name="connsiteX1" fmla="*/ 0 w 221827"/>
                <a:gd name="connsiteY1" fmla="*/ 18385 h 205098"/>
                <a:gd name="connsiteX2" fmla="*/ 23400 w 221827"/>
                <a:gd name="connsiteY2" fmla="*/ 0 h 205098"/>
                <a:gd name="connsiteX3" fmla="*/ 23735 w 221827"/>
                <a:gd name="connsiteY3" fmla="*/ 46640 h 205098"/>
                <a:gd name="connsiteX4" fmla="*/ 221827 w 221827"/>
                <a:gd name="connsiteY4" fmla="*/ 150928 h 205098"/>
                <a:gd name="connsiteX5" fmla="*/ 126574 w 221827"/>
                <a:gd name="connsiteY5" fmla="*/ 204038 h 205098"/>
                <a:gd name="connsiteX6" fmla="*/ 122603 w 221827"/>
                <a:gd name="connsiteY6" fmla="*/ 205098 h 205098"/>
                <a:gd name="connsiteX7" fmla="*/ 102519 w 221827"/>
                <a:gd name="connsiteY7" fmla="*/ 174512 h 205098"/>
                <a:gd name="connsiteX8" fmla="*/ 103192 w 221827"/>
                <a:gd name="connsiteY8" fmla="*/ 174655 h 205098"/>
                <a:gd name="connsiteX9" fmla="*/ 152853 w 221827"/>
                <a:gd name="connsiteY9" fmla="*/ 165826 h 205098"/>
                <a:gd name="connsiteX10" fmla="*/ 220723 w 221827"/>
                <a:gd name="connsiteY10" fmla="*/ 138237 h 205098"/>
                <a:gd name="connsiteX11" fmla="*/ 221827 w 221827"/>
                <a:gd name="connsiteY11" fmla="*/ 145410 h 205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1827" h="205098">
                  <a:moveTo>
                    <a:pt x="24153" y="55168"/>
                  </a:moveTo>
                  <a:lnTo>
                    <a:pt x="0" y="18385"/>
                  </a:lnTo>
                  <a:lnTo>
                    <a:pt x="23400" y="0"/>
                  </a:lnTo>
                  <a:lnTo>
                    <a:pt x="23735" y="46640"/>
                  </a:lnTo>
                  <a:close/>
                  <a:moveTo>
                    <a:pt x="221827" y="150928"/>
                  </a:moveTo>
                  <a:cubicBezTo>
                    <a:pt x="192582" y="176035"/>
                    <a:pt x="158785" y="193002"/>
                    <a:pt x="126574" y="204038"/>
                  </a:cubicBezTo>
                  <a:lnTo>
                    <a:pt x="122603" y="205098"/>
                  </a:lnTo>
                  <a:lnTo>
                    <a:pt x="102519" y="174512"/>
                  </a:lnTo>
                  <a:lnTo>
                    <a:pt x="103192" y="174655"/>
                  </a:lnTo>
                  <a:cubicBezTo>
                    <a:pt x="120298" y="174103"/>
                    <a:pt x="136851" y="170792"/>
                    <a:pt x="152853" y="165826"/>
                  </a:cubicBezTo>
                  <a:cubicBezTo>
                    <a:pt x="176028" y="158653"/>
                    <a:pt x="198652" y="149273"/>
                    <a:pt x="220723" y="138237"/>
                  </a:cubicBezTo>
                  <a:cubicBezTo>
                    <a:pt x="221275" y="140444"/>
                    <a:pt x="221827" y="143203"/>
                    <a:pt x="221827" y="1454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" name="Forme libre : forme 122">
              <a:extLst>
                <a:ext uri="{FF2B5EF4-FFF2-40B4-BE49-F238E27FC236}">
                  <a16:creationId xmlns:a16="http://schemas.microsoft.com/office/drawing/2014/main" id="{A36747DA-F5EA-42E3-9BB6-64441C3802E9}"/>
                </a:ext>
              </a:extLst>
            </p:cNvPr>
            <p:cNvSpPr/>
            <p:nvPr/>
          </p:nvSpPr>
          <p:spPr>
            <a:xfrm rot="8716295">
              <a:off x="406370" y="4600606"/>
              <a:ext cx="113655" cy="117117"/>
            </a:xfrm>
            <a:custGeom>
              <a:avLst/>
              <a:gdLst>
                <a:gd name="connsiteX0" fmla="*/ 13623 w 113655"/>
                <a:gd name="connsiteY0" fmla="*/ 100559 h 117117"/>
                <a:gd name="connsiteX1" fmla="*/ 0 w 113655"/>
                <a:gd name="connsiteY1" fmla="*/ 68296 h 117117"/>
                <a:gd name="connsiteX2" fmla="*/ 56488 w 113655"/>
                <a:gd name="connsiteY2" fmla="*/ 0 h 117117"/>
                <a:gd name="connsiteX3" fmla="*/ 96408 w 113655"/>
                <a:gd name="connsiteY3" fmla="*/ 16856 h 117117"/>
                <a:gd name="connsiteX4" fmla="*/ 96408 w 113655"/>
                <a:gd name="connsiteY4" fmla="*/ 99640 h 117117"/>
                <a:gd name="connsiteX5" fmla="*/ 55015 w 113655"/>
                <a:gd name="connsiteY5" fmla="*/ 117117 h 117117"/>
                <a:gd name="connsiteX6" fmla="*/ 13623 w 113655"/>
                <a:gd name="connsiteY6" fmla="*/ 100559 h 117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655" h="117117">
                  <a:moveTo>
                    <a:pt x="13623" y="100559"/>
                  </a:moveTo>
                  <a:lnTo>
                    <a:pt x="0" y="68296"/>
                  </a:lnTo>
                  <a:lnTo>
                    <a:pt x="56488" y="0"/>
                  </a:lnTo>
                  <a:lnTo>
                    <a:pt x="96408" y="16856"/>
                  </a:lnTo>
                  <a:cubicBezTo>
                    <a:pt x="119404" y="38931"/>
                    <a:pt x="119404" y="76644"/>
                    <a:pt x="96408" y="99640"/>
                  </a:cubicBezTo>
                  <a:cubicBezTo>
                    <a:pt x="85370" y="110678"/>
                    <a:pt x="70653" y="117116"/>
                    <a:pt x="55015" y="117117"/>
                  </a:cubicBezTo>
                  <a:cubicBezTo>
                    <a:pt x="39378" y="117117"/>
                    <a:pt x="24661" y="111597"/>
                    <a:pt x="13623" y="10055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" name="Forme libre : forme 123">
              <a:extLst>
                <a:ext uri="{FF2B5EF4-FFF2-40B4-BE49-F238E27FC236}">
                  <a16:creationId xmlns:a16="http://schemas.microsoft.com/office/drawing/2014/main" id="{AD73B6BA-63FC-484E-8F99-0F24CBA78B87}"/>
                </a:ext>
              </a:extLst>
            </p:cNvPr>
            <p:cNvSpPr/>
            <p:nvPr/>
          </p:nvSpPr>
          <p:spPr>
            <a:xfrm rot="8716295">
              <a:off x="171547" y="46343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" name="Forme libre : forme 124">
              <a:extLst>
                <a:ext uri="{FF2B5EF4-FFF2-40B4-BE49-F238E27FC236}">
                  <a16:creationId xmlns:a16="http://schemas.microsoft.com/office/drawing/2014/main" id="{066AF92B-6B4A-4726-9E49-C3D23D71D48B}"/>
                </a:ext>
              </a:extLst>
            </p:cNvPr>
            <p:cNvSpPr/>
            <p:nvPr/>
          </p:nvSpPr>
          <p:spPr>
            <a:xfrm rot="8716295">
              <a:off x="348999" y="44751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127" name="Forme libre : forme 126">
            <a:extLst>
              <a:ext uri="{FF2B5EF4-FFF2-40B4-BE49-F238E27FC236}">
                <a16:creationId xmlns:a16="http://schemas.microsoft.com/office/drawing/2014/main" id="{3DCAAB30-E6A5-4696-B938-B81AECA9B049}"/>
              </a:ext>
            </a:extLst>
          </p:cNvPr>
          <p:cNvSpPr/>
          <p:nvPr userDrawn="1"/>
        </p:nvSpPr>
        <p:spPr>
          <a:xfrm>
            <a:off x="629550" y="0"/>
            <a:ext cx="8514451" cy="5143499"/>
          </a:xfrm>
          <a:custGeom>
            <a:avLst/>
            <a:gdLst>
              <a:gd name="connsiteX0" fmla="*/ 268034 w 8514451"/>
              <a:gd name="connsiteY0" fmla="*/ 0 h 5143499"/>
              <a:gd name="connsiteX1" fmla="*/ 8514451 w 8514451"/>
              <a:gd name="connsiteY1" fmla="*/ 0 h 5143499"/>
              <a:gd name="connsiteX2" fmla="*/ 8514451 w 8514451"/>
              <a:gd name="connsiteY2" fmla="*/ 5143499 h 5143499"/>
              <a:gd name="connsiteX3" fmla="*/ 274758 w 8514451"/>
              <a:gd name="connsiteY3" fmla="*/ 5143499 h 5143499"/>
              <a:gd name="connsiteX4" fmla="*/ 0 w 8514451"/>
              <a:gd name="connsiteY4" fmla="*/ 3148262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14451" h="5143499">
                <a:moveTo>
                  <a:pt x="268034" y="0"/>
                </a:moveTo>
                <a:lnTo>
                  <a:pt x="8514451" y="0"/>
                </a:lnTo>
                <a:lnTo>
                  <a:pt x="8514451" y="5143499"/>
                </a:lnTo>
                <a:lnTo>
                  <a:pt x="274758" y="5143499"/>
                </a:lnTo>
                <a:lnTo>
                  <a:pt x="0" y="31482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126" name="Espace réservé du numéro de diapositive 125">
            <a:extLst>
              <a:ext uri="{FF2B5EF4-FFF2-40B4-BE49-F238E27FC236}">
                <a16:creationId xmlns:a16="http://schemas.microsoft.com/office/drawing/2014/main" id="{EB3A4323-AB23-411F-A098-2140921A34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9681" y="3148262"/>
            <a:ext cx="444626" cy="1995238"/>
          </a:xfrm>
          <a:custGeom>
            <a:avLst/>
            <a:gdLst>
              <a:gd name="connsiteX0" fmla="*/ 169868 w 444626"/>
              <a:gd name="connsiteY0" fmla="*/ 0 h 1995238"/>
              <a:gd name="connsiteX1" fmla="*/ 444626 w 444626"/>
              <a:gd name="connsiteY1" fmla="*/ 1995238 h 1995238"/>
              <a:gd name="connsiteX2" fmla="*/ 0 w 444626"/>
              <a:gd name="connsiteY2" fmla="*/ 1995238 h 1995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4626" h="1995238">
                <a:moveTo>
                  <a:pt x="169868" y="0"/>
                </a:moveTo>
                <a:lnTo>
                  <a:pt x="444626" y="1995238"/>
                </a:lnTo>
                <a:lnTo>
                  <a:pt x="0" y="199523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180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3656296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Conten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8" name="Espace réservé du numéro de diapositive 517">
            <a:extLst>
              <a:ext uri="{FF2B5EF4-FFF2-40B4-BE49-F238E27FC236}">
                <a16:creationId xmlns:a16="http://schemas.microsoft.com/office/drawing/2014/main" id="{FFC307C1-4A5E-4267-B3FA-6564E6513B0C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3048000" y="2811362"/>
            <a:ext cx="519702" cy="2332138"/>
          </a:xfrm>
          <a:custGeom>
            <a:avLst/>
            <a:gdLst>
              <a:gd name="connsiteX0" fmla="*/ 198551 w 519702"/>
              <a:gd name="connsiteY0" fmla="*/ 0 h 2332138"/>
              <a:gd name="connsiteX1" fmla="*/ 519702 w 519702"/>
              <a:gd name="connsiteY1" fmla="*/ 2332138 h 2332138"/>
              <a:gd name="connsiteX2" fmla="*/ 0 w 519702"/>
              <a:gd name="connsiteY2" fmla="*/ 2332138 h 2332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19702" h="2332138">
                <a:moveTo>
                  <a:pt x="198551" y="0"/>
                </a:moveTo>
                <a:lnTo>
                  <a:pt x="519702" y="2332138"/>
                </a:lnTo>
                <a:lnTo>
                  <a:pt x="0" y="233213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180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523" name="Forme libre : forme 522">
            <a:extLst>
              <a:ext uri="{FF2B5EF4-FFF2-40B4-BE49-F238E27FC236}">
                <a16:creationId xmlns:a16="http://schemas.microsoft.com/office/drawing/2014/main" id="{C7F1D93A-4718-405C-AAEF-810045870EFB}"/>
              </a:ext>
            </a:extLst>
          </p:cNvPr>
          <p:cNvSpPr/>
          <p:nvPr userDrawn="1"/>
        </p:nvSpPr>
        <p:spPr>
          <a:xfrm>
            <a:off x="0" y="-1"/>
            <a:ext cx="9144000" cy="5143501"/>
          </a:xfrm>
          <a:custGeom>
            <a:avLst/>
            <a:gdLst>
              <a:gd name="connsiteX0" fmla="*/ 0 w 9144000"/>
              <a:gd name="connsiteY0" fmla="*/ 0 h 5143501"/>
              <a:gd name="connsiteX1" fmla="*/ 9144000 w 9144000"/>
              <a:gd name="connsiteY1" fmla="*/ 0 h 5143501"/>
              <a:gd name="connsiteX2" fmla="*/ 9144000 w 9144000"/>
              <a:gd name="connsiteY2" fmla="*/ 5143501 h 5143501"/>
              <a:gd name="connsiteX3" fmla="*/ 3567702 w 9144000"/>
              <a:gd name="connsiteY3" fmla="*/ 5143501 h 5143501"/>
              <a:gd name="connsiteX4" fmla="*/ 3246551 w 9144000"/>
              <a:gd name="connsiteY4" fmla="*/ 2811363 h 5143501"/>
              <a:gd name="connsiteX5" fmla="*/ 3485902 w 9144000"/>
              <a:gd name="connsiteY5" fmla="*/ 1 h 5143501"/>
              <a:gd name="connsiteX6" fmla="*/ 3048000 w 9144000"/>
              <a:gd name="connsiteY6" fmla="*/ 1 h 5143501"/>
              <a:gd name="connsiteX7" fmla="*/ 2859408 w 9144000"/>
              <a:gd name="connsiteY7" fmla="*/ 1 h 5143501"/>
              <a:gd name="connsiteX8" fmla="*/ 0 w 9144000"/>
              <a:gd name="connsiteY8" fmla="*/ 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4000" h="5143501">
                <a:moveTo>
                  <a:pt x="0" y="0"/>
                </a:moveTo>
                <a:lnTo>
                  <a:pt x="9144000" y="0"/>
                </a:lnTo>
                <a:lnTo>
                  <a:pt x="9144000" y="5143501"/>
                </a:lnTo>
                <a:lnTo>
                  <a:pt x="3567702" y="5143501"/>
                </a:lnTo>
                <a:lnTo>
                  <a:pt x="3246551" y="2811363"/>
                </a:lnTo>
                <a:lnTo>
                  <a:pt x="3485902" y="1"/>
                </a:lnTo>
                <a:lnTo>
                  <a:pt x="3048000" y="1"/>
                </a:lnTo>
                <a:lnTo>
                  <a:pt x="2859408" y="1"/>
                </a:lnTo>
                <a:lnTo>
                  <a:pt x="0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6CB10B59-8983-482C-BCD8-596396CF9E36}"/>
              </a:ext>
            </a:extLst>
          </p:cNvPr>
          <p:cNvGrpSpPr/>
          <p:nvPr userDrawn="1"/>
        </p:nvGrpSpPr>
        <p:grpSpPr>
          <a:xfrm>
            <a:off x="-91485" y="-107301"/>
            <a:ext cx="3580993" cy="5352842"/>
            <a:chOff x="-91485" y="-107301"/>
            <a:chExt cx="3580993" cy="5352842"/>
          </a:xfrm>
          <a:solidFill>
            <a:schemeClr val="bg2">
              <a:alpha val="5000"/>
            </a:schemeClr>
          </a:solidFill>
        </p:grpSpPr>
        <p:sp>
          <p:nvSpPr>
            <p:cNvPr id="7" name="Forme libre : forme 6">
              <a:extLst>
                <a:ext uri="{FF2B5EF4-FFF2-40B4-BE49-F238E27FC236}">
                  <a16:creationId xmlns:a16="http://schemas.microsoft.com/office/drawing/2014/main" id="{FB10E9E7-487F-4046-97FA-383A90CB2678}"/>
                </a:ext>
              </a:extLst>
            </p:cNvPr>
            <p:cNvSpPr/>
            <p:nvPr/>
          </p:nvSpPr>
          <p:spPr>
            <a:xfrm rot="8716295">
              <a:off x="3051469" y="229467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857E0B3E-CF84-4275-8769-4FA84ACE4C3B}"/>
                </a:ext>
              </a:extLst>
            </p:cNvPr>
            <p:cNvSpPr/>
            <p:nvPr/>
          </p:nvSpPr>
          <p:spPr>
            <a:xfrm rot="8716295">
              <a:off x="3141426" y="2335684"/>
              <a:ext cx="209149" cy="247728"/>
            </a:xfrm>
            <a:custGeom>
              <a:avLst/>
              <a:gdLst>
                <a:gd name="connsiteX0" fmla="*/ 147179 w 209149"/>
                <a:gd name="connsiteY0" fmla="*/ 90980 h 247728"/>
                <a:gd name="connsiteX1" fmla="*/ 147179 w 209149"/>
                <a:gd name="connsiteY1" fmla="*/ 74577 h 247728"/>
                <a:gd name="connsiteX2" fmla="*/ 137667 w 209149"/>
                <a:gd name="connsiteY2" fmla="*/ 44616 h 247728"/>
                <a:gd name="connsiteX3" fmla="*/ 132652 w 209149"/>
                <a:gd name="connsiteY3" fmla="*/ 42232 h 247728"/>
                <a:gd name="connsiteX4" fmla="*/ 167583 w 209149"/>
                <a:gd name="connsiteY4" fmla="*/ 0 h 247728"/>
                <a:gd name="connsiteX5" fmla="*/ 189157 w 209149"/>
                <a:gd name="connsiteY5" fmla="*/ 15682 h 247728"/>
                <a:gd name="connsiteX6" fmla="*/ 209149 w 209149"/>
                <a:gd name="connsiteY6" fmla="*/ 81411 h 247728"/>
                <a:gd name="connsiteX7" fmla="*/ 209149 w 209149"/>
                <a:gd name="connsiteY7" fmla="*/ 87335 h 247728"/>
                <a:gd name="connsiteX8" fmla="*/ 0 w 209149"/>
                <a:gd name="connsiteY8" fmla="*/ 247728 h 247728"/>
                <a:gd name="connsiteX9" fmla="*/ 0 w 209149"/>
                <a:gd name="connsiteY9" fmla="*/ 202611 h 247728"/>
                <a:gd name="connsiteX10" fmla="*/ 60148 w 209149"/>
                <a:gd name="connsiteY10" fmla="*/ 129891 h 247728"/>
                <a:gd name="connsiteX11" fmla="*/ 60148 w 209149"/>
                <a:gd name="connsiteY11" fmla="*/ 206719 h 24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9149" h="247728">
                  <a:moveTo>
                    <a:pt x="147179" y="90980"/>
                  </a:moveTo>
                  <a:lnTo>
                    <a:pt x="147179" y="74577"/>
                  </a:lnTo>
                  <a:cubicBezTo>
                    <a:pt x="147179" y="62273"/>
                    <a:pt x="143648" y="51907"/>
                    <a:pt x="137667" y="44616"/>
                  </a:cubicBezTo>
                  <a:lnTo>
                    <a:pt x="132652" y="42232"/>
                  </a:lnTo>
                  <a:lnTo>
                    <a:pt x="167583" y="0"/>
                  </a:lnTo>
                  <a:lnTo>
                    <a:pt x="189157" y="15682"/>
                  </a:lnTo>
                  <a:cubicBezTo>
                    <a:pt x="202086" y="30833"/>
                    <a:pt x="209149" y="53160"/>
                    <a:pt x="209149" y="81411"/>
                  </a:cubicBezTo>
                  <a:lnTo>
                    <a:pt x="209149" y="87335"/>
                  </a:lnTo>
                  <a:close/>
                  <a:moveTo>
                    <a:pt x="0" y="247728"/>
                  </a:moveTo>
                  <a:lnTo>
                    <a:pt x="0" y="202611"/>
                  </a:lnTo>
                  <a:lnTo>
                    <a:pt x="60148" y="129891"/>
                  </a:lnTo>
                  <a:lnTo>
                    <a:pt x="60148" y="20671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CA2EC427-A3CB-46EB-8802-9FA3F8105B5A}"/>
                </a:ext>
              </a:extLst>
            </p:cNvPr>
            <p:cNvSpPr/>
            <p:nvPr/>
          </p:nvSpPr>
          <p:spPr>
            <a:xfrm rot="8716295">
              <a:off x="3096011" y="2237639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474F4DDA-4FC2-4669-AB5F-02BB5506B529}"/>
                </a:ext>
              </a:extLst>
            </p:cNvPr>
            <p:cNvSpPr/>
            <p:nvPr/>
          </p:nvSpPr>
          <p:spPr>
            <a:xfrm rot="8716295">
              <a:off x="2939235" y="238322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D8FF9A2A-12F4-4D4A-838C-2EA6068FA2AB}"/>
                </a:ext>
              </a:extLst>
            </p:cNvPr>
            <p:cNvSpPr/>
            <p:nvPr/>
          </p:nvSpPr>
          <p:spPr>
            <a:xfrm rot="8716295">
              <a:off x="2814332" y="217454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56247F38-2BB4-4C4A-A842-2BBC34C00B4B}"/>
                </a:ext>
              </a:extLst>
            </p:cNvPr>
            <p:cNvSpPr/>
            <p:nvPr/>
          </p:nvSpPr>
          <p:spPr>
            <a:xfrm rot="8716295">
              <a:off x="2802280" y="203576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6B40DCDD-1ED3-48EB-9DB0-DEE21DA8FE29}"/>
                </a:ext>
              </a:extLst>
            </p:cNvPr>
            <p:cNvSpPr/>
            <p:nvPr/>
          </p:nvSpPr>
          <p:spPr>
            <a:xfrm rot="8716295">
              <a:off x="3029413" y="2424173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EEC2D8FD-062C-4F42-B8C0-F129DEB5F20C}"/>
                </a:ext>
              </a:extLst>
            </p:cNvPr>
            <p:cNvSpPr/>
            <p:nvPr/>
          </p:nvSpPr>
          <p:spPr>
            <a:xfrm rot="8716295">
              <a:off x="3300250" y="2118999"/>
              <a:ext cx="9515" cy="11504"/>
            </a:xfrm>
            <a:custGeom>
              <a:avLst/>
              <a:gdLst>
                <a:gd name="connsiteX0" fmla="*/ 0 w 9515"/>
                <a:gd name="connsiteY0" fmla="*/ 11504 h 11504"/>
                <a:gd name="connsiteX1" fmla="*/ 9515 w 9515"/>
                <a:gd name="connsiteY1" fmla="*/ 0 h 11504"/>
                <a:gd name="connsiteX2" fmla="*/ 9515 w 9515"/>
                <a:gd name="connsiteY2" fmla="*/ 7741 h 11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15" h="11504">
                  <a:moveTo>
                    <a:pt x="0" y="11504"/>
                  </a:moveTo>
                  <a:lnTo>
                    <a:pt x="9515" y="0"/>
                  </a:lnTo>
                  <a:lnTo>
                    <a:pt x="9515" y="77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15A33F8C-9B7A-4D6A-854E-3D326335591D}"/>
                </a:ext>
              </a:extLst>
            </p:cNvPr>
            <p:cNvSpPr/>
            <p:nvPr/>
          </p:nvSpPr>
          <p:spPr>
            <a:xfrm rot="8716295">
              <a:off x="3228334" y="213306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949EEDA1-3E93-4DFB-8B0F-8D57B83C540E}"/>
                </a:ext>
              </a:extLst>
            </p:cNvPr>
            <p:cNvSpPr/>
            <p:nvPr/>
          </p:nvSpPr>
          <p:spPr>
            <a:xfrm rot="8716295">
              <a:off x="3098921" y="1924310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44680 h 195874"/>
                <a:gd name="connsiteX5" fmla="*/ 36955 w 203847"/>
                <a:gd name="connsiteY5" fmla="*/ 0 h 195874"/>
                <a:gd name="connsiteX6" fmla="*/ 203847 w 203847"/>
                <a:gd name="connsiteY6" fmla="*/ 0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44680"/>
                  </a:lnTo>
                  <a:lnTo>
                    <a:pt x="36955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513E3AB2-D8F3-4D40-BC3C-53ABB60A2331}"/>
                </a:ext>
              </a:extLst>
            </p:cNvPr>
            <p:cNvSpPr/>
            <p:nvPr/>
          </p:nvSpPr>
          <p:spPr>
            <a:xfrm rot="8716295">
              <a:off x="3275349" y="2211673"/>
              <a:ext cx="24727" cy="53686"/>
            </a:xfrm>
            <a:custGeom>
              <a:avLst/>
              <a:gdLst>
                <a:gd name="connsiteX0" fmla="*/ 24727 w 24727"/>
                <a:gd name="connsiteY0" fmla="*/ 53686 h 53686"/>
                <a:gd name="connsiteX1" fmla="*/ 0 w 24727"/>
                <a:gd name="connsiteY1" fmla="*/ 29895 h 53686"/>
                <a:gd name="connsiteX2" fmla="*/ 24727 w 24727"/>
                <a:gd name="connsiteY2" fmla="*/ 0 h 53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27" h="53686">
                  <a:moveTo>
                    <a:pt x="24727" y="53686"/>
                  </a:moveTo>
                  <a:lnTo>
                    <a:pt x="0" y="29895"/>
                  </a:lnTo>
                  <a:lnTo>
                    <a:pt x="2472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69A3C0F4-2579-479E-90C6-255E973C947C}"/>
                </a:ext>
              </a:extLst>
            </p:cNvPr>
            <p:cNvSpPr/>
            <p:nvPr/>
          </p:nvSpPr>
          <p:spPr>
            <a:xfrm rot="8716295">
              <a:off x="3077061" y="202442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9022B708-F9CE-40AF-852D-9A004CAB7675}"/>
                </a:ext>
              </a:extLst>
            </p:cNvPr>
            <p:cNvSpPr/>
            <p:nvPr/>
          </p:nvSpPr>
          <p:spPr>
            <a:xfrm rot="8716295">
              <a:off x="3162402" y="30429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19F4F78B-5673-4710-BAF3-3B1975D1B861}"/>
                </a:ext>
              </a:extLst>
            </p:cNvPr>
            <p:cNvSpPr/>
            <p:nvPr/>
          </p:nvSpPr>
          <p:spPr>
            <a:xfrm rot="8716295">
              <a:off x="3033531" y="2835902"/>
              <a:ext cx="197743" cy="195873"/>
            </a:xfrm>
            <a:custGeom>
              <a:avLst/>
              <a:gdLst>
                <a:gd name="connsiteX0" fmla="*/ 84606 w 197743"/>
                <a:gd name="connsiteY0" fmla="*/ 195873 h 195873"/>
                <a:gd name="connsiteX1" fmla="*/ 41743 w 197743"/>
                <a:gd name="connsiteY1" fmla="*/ 116129 h 195873"/>
                <a:gd name="connsiteX2" fmla="*/ 63673 w 197743"/>
                <a:gd name="connsiteY2" fmla="*/ 55323 h 195873"/>
                <a:gd name="connsiteX3" fmla="*/ 0 w 197743"/>
                <a:gd name="connsiteY3" fmla="*/ 55323 h 195873"/>
                <a:gd name="connsiteX4" fmla="*/ 45759 w 197743"/>
                <a:gd name="connsiteY4" fmla="*/ 0 h 195873"/>
                <a:gd name="connsiteX5" fmla="*/ 197743 w 197743"/>
                <a:gd name="connsiteY5" fmla="*/ 0 h 195873"/>
                <a:gd name="connsiteX6" fmla="*/ 197743 w 197743"/>
                <a:gd name="connsiteY6" fmla="*/ 55323 h 195873"/>
                <a:gd name="connsiteX7" fmla="*/ 132951 w 197743"/>
                <a:gd name="connsiteY7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7743" h="195873">
                  <a:moveTo>
                    <a:pt x="84606" y="195873"/>
                  </a:moveTo>
                  <a:lnTo>
                    <a:pt x="41743" y="116129"/>
                  </a:lnTo>
                  <a:lnTo>
                    <a:pt x="63673" y="55323"/>
                  </a:lnTo>
                  <a:lnTo>
                    <a:pt x="0" y="55323"/>
                  </a:lnTo>
                  <a:lnTo>
                    <a:pt x="45759" y="0"/>
                  </a:lnTo>
                  <a:lnTo>
                    <a:pt x="197743" y="0"/>
                  </a:lnTo>
                  <a:lnTo>
                    <a:pt x="197743" y="55323"/>
                  </a:lnTo>
                  <a:lnTo>
                    <a:pt x="132951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0BB66207-2F6B-4469-9703-071564C7D57B}"/>
                </a:ext>
              </a:extLst>
            </p:cNvPr>
            <p:cNvSpPr/>
            <p:nvPr/>
          </p:nvSpPr>
          <p:spPr>
            <a:xfrm rot="8716295">
              <a:off x="2982649" y="2705505"/>
              <a:ext cx="289489" cy="211444"/>
            </a:xfrm>
            <a:custGeom>
              <a:avLst/>
              <a:gdLst>
                <a:gd name="connsiteX0" fmla="*/ 24145 w 289489"/>
                <a:gd name="connsiteY0" fmla="*/ 181853 h 211444"/>
                <a:gd name="connsiteX1" fmla="*/ 3994 w 289489"/>
                <a:gd name="connsiteY1" fmla="*/ 142066 h 211444"/>
                <a:gd name="connsiteX2" fmla="*/ 0 w 289489"/>
                <a:gd name="connsiteY2" fmla="*/ 94419 h 211444"/>
                <a:gd name="connsiteX3" fmla="*/ 78096 w 289489"/>
                <a:gd name="connsiteY3" fmla="*/ 0 h 211444"/>
                <a:gd name="connsiteX4" fmla="*/ 78273 w 289489"/>
                <a:gd name="connsiteY4" fmla="*/ 24764 h 211444"/>
                <a:gd name="connsiteX5" fmla="*/ 92393 w 289489"/>
                <a:gd name="connsiteY5" fmla="*/ 122430 h 211444"/>
                <a:gd name="connsiteX6" fmla="*/ 162994 w 289489"/>
                <a:gd name="connsiteY6" fmla="*/ 161261 h 211444"/>
                <a:gd name="connsiteX7" fmla="*/ 215946 w 289489"/>
                <a:gd name="connsiteY7" fmla="*/ 151847 h 211444"/>
                <a:gd name="connsiteX8" fmla="*/ 288313 w 289489"/>
                <a:gd name="connsiteY8" fmla="*/ 122430 h 211444"/>
                <a:gd name="connsiteX9" fmla="*/ 289489 w 289489"/>
                <a:gd name="connsiteY9" fmla="*/ 130078 h 211444"/>
                <a:gd name="connsiteX10" fmla="*/ 289489 w 289489"/>
                <a:gd name="connsiteY10" fmla="*/ 135962 h 211444"/>
                <a:gd name="connsiteX11" fmla="*/ 96512 w 289489"/>
                <a:gd name="connsiteY11" fmla="*/ 211270 h 211444"/>
                <a:gd name="connsiteX12" fmla="*/ 24145 w 289489"/>
                <a:gd name="connsiteY12" fmla="*/ 181853 h 211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9489" h="211444">
                  <a:moveTo>
                    <a:pt x="24145" y="181853"/>
                  </a:moveTo>
                  <a:cubicBezTo>
                    <a:pt x="14143" y="172145"/>
                    <a:pt x="7818" y="158907"/>
                    <a:pt x="3994" y="142066"/>
                  </a:cubicBezTo>
                  <a:lnTo>
                    <a:pt x="0" y="94419"/>
                  </a:lnTo>
                  <a:lnTo>
                    <a:pt x="78096" y="0"/>
                  </a:lnTo>
                  <a:lnTo>
                    <a:pt x="78273" y="24764"/>
                  </a:lnTo>
                  <a:cubicBezTo>
                    <a:pt x="76508" y="57712"/>
                    <a:pt x="81803" y="91247"/>
                    <a:pt x="92393" y="122430"/>
                  </a:cubicBezTo>
                  <a:cubicBezTo>
                    <a:pt x="101807" y="148317"/>
                    <a:pt x="125929" y="161261"/>
                    <a:pt x="162994" y="161261"/>
                  </a:cubicBezTo>
                  <a:cubicBezTo>
                    <a:pt x="181234" y="160672"/>
                    <a:pt x="198884" y="157142"/>
                    <a:pt x="215946" y="151847"/>
                  </a:cubicBezTo>
                  <a:cubicBezTo>
                    <a:pt x="240656" y="144198"/>
                    <a:pt x="264779" y="134197"/>
                    <a:pt x="288313" y="122430"/>
                  </a:cubicBezTo>
                  <a:cubicBezTo>
                    <a:pt x="288901" y="124783"/>
                    <a:pt x="289489" y="127725"/>
                    <a:pt x="289489" y="130078"/>
                  </a:cubicBezTo>
                  <a:lnTo>
                    <a:pt x="289489" y="135962"/>
                  </a:lnTo>
                  <a:cubicBezTo>
                    <a:pt x="227125" y="189501"/>
                    <a:pt x="145344" y="208329"/>
                    <a:pt x="96512" y="211270"/>
                  </a:cubicBezTo>
                  <a:cubicBezTo>
                    <a:pt x="69448" y="213035"/>
                    <a:pt x="42972" y="201268"/>
                    <a:pt x="24145" y="18185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4BE2CE41-0D24-49C7-BC05-1CA24F174056}"/>
                </a:ext>
              </a:extLst>
            </p:cNvPr>
            <p:cNvSpPr/>
            <p:nvPr/>
          </p:nvSpPr>
          <p:spPr>
            <a:xfrm rot="8716295">
              <a:off x="3205022" y="3125495"/>
              <a:ext cx="16424" cy="35661"/>
            </a:xfrm>
            <a:custGeom>
              <a:avLst/>
              <a:gdLst>
                <a:gd name="connsiteX0" fmla="*/ 16424 w 16424"/>
                <a:gd name="connsiteY0" fmla="*/ 35661 h 35661"/>
                <a:gd name="connsiteX1" fmla="*/ 0 w 16424"/>
                <a:gd name="connsiteY1" fmla="*/ 19858 h 35661"/>
                <a:gd name="connsiteX2" fmla="*/ 16424 w 16424"/>
                <a:gd name="connsiteY2" fmla="*/ 0 h 35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24" h="35661">
                  <a:moveTo>
                    <a:pt x="16424" y="35661"/>
                  </a:moveTo>
                  <a:lnTo>
                    <a:pt x="0" y="19858"/>
                  </a:lnTo>
                  <a:lnTo>
                    <a:pt x="16424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3C113F76-2275-4CD3-8629-730BFE6915AD}"/>
                </a:ext>
              </a:extLst>
            </p:cNvPr>
            <p:cNvSpPr/>
            <p:nvPr/>
          </p:nvSpPr>
          <p:spPr>
            <a:xfrm rot="8716295">
              <a:off x="2829951" y="16337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7B2BDFC9-A5B6-45EA-A262-AC19DCF358A2}"/>
                </a:ext>
              </a:extLst>
            </p:cNvPr>
            <p:cNvSpPr/>
            <p:nvPr/>
          </p:nvSpPr>
          <p:spPr>
            <a:xfrm rot="8716295">
              <a:off x="2919343" y="16629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2A249ED1-9FC2-465F-B1C2-CE832E06DAAB}"/>
                </a:ext>
              </a:extLst>
            </p:cNvPr>
            <p:cNvSpPr/>
            <p:nvPr/>
          </p:nvSpPr>
          <p:spPr>
            <a:xfrm rot="8716295">
              <a:off x="2874493" y="157666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D737513C-09E2-4A85-9268-7028FEA47AEC}"/>
                </a:ext>
              </a:extLst>
            </p:cNvPr>
            <p:cNvSpPr/>
            <p:nvPr/>
          </p:nvSpPr>
          <p:spPr>
            <a:xfrm rot="8716295">
              <a:off x="2717717" y="172224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B6E113ED-200A-42D1-8A9B-64F2EA6FEC37}"/>
                </a:ext>
              </a:extLst>
            </p:cNvPr>
            <p:cNvSpPr/>
            <p:nvPr/>
          </p:nvSpPr>
          <p:spPr>
            <a:xfrm rot="8716295">
              <a:off x="2592814" y="151357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C7386AEF-343D-4F67-937B-2D8AE784432C}"/>
                </a:ext>
              </a:extLst>
            </p:cNvPr>
            <p:cNvSpPr/>
            <p:nvPr/>
          </p:nvSpPr>
          <p:spPr>
            <a:xfrm rot="8716295">
              <a:off x="2580762" y="137479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D18230E6-6046-4801-9551-295B7C3DC9AE}"/>
                </a:ext>
              </a:extLst>
            </p:cNvPr>
            <p:cNvSpPr/>
            <p:nvPr/>
          </p:nvSpPr>
          <p:spPr>
            <a:xfrm rot="8716295">
              <a:off x="2807895" y="176319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AA767CF2-B25B-4F2C-8315-830DDA4419B8}"/>
                </a:ext>
              </a:extLst>
            </p:cNvPr>
            <p:cNvSpPr/>
            <p:nvPr/>
          </p:nvSpPr>
          <p:spPr>
            <a:xfrm rot="8716295">
              <a:off x="3119050" y="138355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AAABA641-3338-40FA-9C39-41C30A22033E}"/>
                </a:ext>
              </a:extLst>
            </p:cNvPr>
            <p:cNvSpPr/>
            <p:nvPr/>
          </p:nvSpPr>
          <p:spPr>
            <a:xfrm rot="8716295">
              <a:off x="3209851" y="1424295"/>
              <a:ext cx="209149" cy="250692"/>
            </a:xfrm>
            <a:custGeom>
              <a:avLst/>
              <a:gdLst>
                <a:gd name="connsiteX0" fmla="*/ 147179 w 209149"/>
                <a:gd name="connsiteY0" fmla="*/ 93944 h 250692"/>
                <a:gd name="connsiteX1" fmla="*/ 147179 w 209149"/>
                <a:gd name="connsiteY1" fmla="*/ 77540 h 250692"/>
                <a:gd name="connsiteX2" fmla="*/ 137667 w 209149"/>
                <a:gd name="connsiteY2" fmla="*/ 47580 h 250692"/>
                <a:gd name="connsiteX3" fmla="*/ 123379 w 209149"/>
                <a:gd name="connsiteY3" fmla="*/ 40789 h 250692"/>
                <a:gd name="connsiteX4" fmla="*/ 157117 w 209149"/>
                <a:gd name="connsiteY4" fmla="*/ 0 h 250692"/>
                <a:gd name="connsiteX5" fmla="*/ 165512 w 209149"/>
                <a:gd name="connsiteY5" fmla="*/ 1459 h 250692"/>
                <a:gd name="connsiteX6" fmla="*/ 209149 w 209149"/>
                <a:gd name="connsiteY6" fmla="*/ 84375 h 250692"/>
                <a:gd name="connsiteX7" fmla="*/ 209149 w 209149"/>
                <a:gd name="connsiteY7" fmla="*/ 90299 h 250692"/>
                <a:gd name="connsiteX8" fmla="*/ 0 w 209149"/>
                <a:gd name="connsiteY8" fmla="*/ 250692 h 250692"/>
                <a:gd name="connsiteX9" fmla="*/ 0 w 209149"/>
                <a:gd name="connsiteY9" fmla="*/ 189958 h 250692"/>
                <a:gd name="connsiteX10" fmla="*/ 61066 w 209149"/>
                <a:gd name="connsiteY10" fmla="*/ 116127 h 250692"/>
                <a:gd name="connsiteX11" fmla="*/ 60148 w 209149"/>
                <a:gd name="connsiteY11" fmla="*/ 123562 h 250692"/>
                <a:gd name="connsiteX12" fmla="*/ 60148 w 209149"/>
                <a:gd name="connsiteY12" fmla="*/ 209683 h 250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9149" h="250692">
                  <a:moveTo>
                    <a:pt x="147179" y="93944"/>
                  </a:moveTo>
                  <a:lnTo>
                    <a:pt x="147179" y="77540"/>
                  </a:lnTo>
                  <a:cubicBezTo>
                    <a:pt x="147179" y="65237"/>
                    <a:pt x="143648" y="54871"/>
                    <a:pt x="137667" y="47580"/>
                  </a:cubicBezTo>
                  <a:lnTo>
                    <a:pt x="123379" y="40789"/>
                  </a:lnTo>
                  <a:lnTo>
                    <a:pt x="157117" y="0"/>
                  </a:lnTo>
                  <a:lnTo>
                    <a:pt x="165512" y="1459"/>
                  </a:lnTo>
                  <a:cubicBezTo>
                    <a:pt x="193258" y="12950"/>
                    <a:pt x="209149" y="41998"/>
                    <a:pt x="209149" y="84375"/>
                  </a:cubicBezTo>
                  <a:lnTo>
                    <a:pt x="209149" y="90299"/>
                  </a:lnTo>
                  <a:close/>
                  <a:moveTo>
                    <a:pt x="0" y="250692"/>
                  </a:moveTo>
                  <a:lnTo>
                    <a:pt x="0" y="189958"/>
                  </a:lnTo>
                  <a:lnTo>
                    <a:pt x="61066" y="116127"/>
                  </a:lnTo>
                  <a:lnTo>
                    <a:pt x="60148" y="123562"/>
                  </a:lnTo>
                  <a:lnTo>
                    <a:pt x="60148" y="2096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B2896D46-0FA6-4563-B073-9C0C36686641}"/>
                </a:ext>
              </a:extLst>
            </p:cNvPr>
            <p:cNvSpPr/>
            <p:nvPr/>
          </p:nvSpPr>
          <p:spPr>
            <a:xfrm rot="8716295">
              <a:off x="3006816" y="147209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6EEB717B-FEDB-4989-BE8E-3CB6F80A9A3D}"/>
                </a:ext>
              </a:extLst>
            </p:cNvPr>
            <p:cNvSpPr/>
            <p:nvPr/>
          </p:nvSpPr>
          <p:spPr>
            <a:xfrm rot="8716295">
              <a:off x="2881914" y="126342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F9A3D111-F2E6-4EEC-BA5F-E3F48E1BC144}"/>
                </a:ext>
              </a:extLst>
            </p:cNvPr>
            <p:cNvSpPr/>
            <p:nvPr/>
          </p:nvSpPr>
          <p:spPr>
            <a:xfrm rot="8716295">
              <a:off x="3096994" y="151304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F60E79F3-84EF-445B-800D-9716EB35B924}"/>
                </a:ext>
              </a:extLst>
            </p:cNvPr>
            <p:cNvSpPr/>
            <p:nvPr/>
          </p:nvSpPr>
          <p:spPr>
            <a:xfrm rot="8716295">
              <a:off x="2855543" y="136344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FDB4A4C0-E883-499D-A6D3-A301318DCD73}"/>
                </a:ext>
              </a:extLst>
            </p:cNvPr>
            <p:cNvSpPr/>
            <p:nvPr/>
          </p:nvSpPr>
          <p:spPr>
            <a:xfrm rot="7484129">
              <a:off x="3207325" y="1725125"/>
              <a:ext cx="156001" cy="194030"/>
            </a:xfrm>
            <a:custGeom>
              <a:avLst/>
              <a:gdLst>
                <a:gd name="connsiteX0" fmla="*/ 42863 w 156001"/>
                <a:gd name="connsiteY0" fmla="*/ 194030 h 194030"/>
                <a:gd name="connsiteX1" fmla="*/ 0 w 156001"/>
                <a:gd name="connsiteY1" fmla="*/ 114286 h 194030"/>
                <a:gd name="connsiteX2" fmla="*/ 11232 w 156001"/>
                <a:gd name="connsiteY2" fmla="*/ 83143 h 194030"/>
                <a:gd name="connsiteX3" fmla="*/ 156000 w 156001"/>
                <a:gd name="connsiteY3" fmla="*/ 0 h 194030"/>
                <a:gd name="connsiteX4" fmla="*/ 156001 w 156001"/>
                <a:gd name="connsiteY4" fmla="*/ 53480 h 194030"/>
                <a:gd name="connsiteX5" fmla="*/ 91208 w 156001"/>
                <a:gd name="connsiteY5" fmla="*/ 53480 h 194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6001" h="194030">
                  <a:moveTo>
                    <a:pt x="42863" y="194030"/>
                  </a:moveTo>
                  <a:lnTo>
                    <a:pt x="0" y="114286"/>
                  </a:lnTo>
                  <a:lnTo>
                    <a:pt x="11232" y="83143"/>
                  </a:lnTo>
                  <a:lnTo>
                    <a:pt x="156000" y="0"/>
                  </a:lnTo>
                  <a:lnTo>
                    <a:pt x="156001" y="53480"/>
                  </a:lnTo>
                  <a:lnTo>
                    <a:pt x="91208" y="5348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0B787B40-9B3B-4DF6-B826-D34E59D7A748}"/>
                </a:ext>
              </a:extLst>
            </p:cNvPr>
            <p:cNvSpPr/>
            <p:nvPr/>
          </p:nvSpPr>
          <p:spPr>
            <a:xfrm rot="8716295">
              <a:off x="3197279" y="140587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0A8098AC-35DA-4C71-BDFA-C584261AED79}"/>
                </a:ext>
              </a:extLst>
            </p:cNvPr>
            <p:cNvSpPr/>
            <p:nvPr/>
          </p:nvSpPr>
          <p:spPr>
            <a:xfrm rot="8716295">
              <a:off x="3356472" y="1273070"/>
              <a:ext cx="38162" cy="46138"/>
            </a:xfrm>
            <a:custGeom>
              <a:avLst/>
              <a:gdLst>
                <a:gd name="connsiteX0" fmla="*/ 0 w 38162"/>
                <a:gd name="connsiteY0" fmla="*/ 46138 h 46138"/>
                <a:gd name="connsiteX1" fmla="*/ 38162 w 38162"/>
                <a:gd name="connsiteY1" fmla="*/ 0 h 46138"/>
                <a:gd name="connsiteX2" fmla="*/ 35645 w 38162"/>
                <a:gd name="connsiteY2" fmla="*/ 12962 h 46138"/>
                <a:gd name="connsiteX3" fmla="*/ 22710 w 38162"/>
                <a:gd name="connsiteY3" fmla="*/ 32494 h 46138"/>
                <a:gd name="connsiteX4" fmla="*/ 3739 w 38162"/>
                <a:gd name="connsiteY4" fmla="*/ 45372 h 46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62" h="46138">
                  <a:moveTo>
                    <a:pt x="0" y="46138"/>
                  </a:moveTo>
                  <a:lnTo>
                    <a:pt x="38162" y="0"/>
                  </a:lnTo>
                  <a:lnTo>
                    <a:pt x="35645" y="12962"/>
                  </a:lnTo>
                  <a:cubicBezTo>
                    <a:pt x="32771" y="20076"/>
                    <a:pt x="28459" y="26745"/>
                    <a:pt x="22710" y="32494"/>
                  </a:cubicBezTo>
                  <a:cubicBezTo>
                    <a:pt x="17191" y="38013"/>
                    <a:pt x="10753" y="42382"/>
                    <a:pt x="3739" y="4537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C5475FFB-2FE6-47F1-ADB1-3564B7362FBC}"/>
                </a:ext>
              </a:extLst>
            </p:cNvPr>
            <p:cNvSpPr/>
            <p:nvPr/>
          </p:nvSpPr>
          <p:spPr>
            <a:xfrm rot="8716295">
              <a:off x="2606784" y="97400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9DEC1430-749E-4073-9884-D3917B891663}"/>
                </a:ext>
              </a:extLst>
            </p:cNvPr>
            <p:cNvSpPr/>
            <p:nvPr/>
          </p:nvSpPr>
          <p:spPr>
            <a:xfrm rot="8716295">
              <a:off x="2696176" y="100324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626F965F-1168-4906-A312-B88FB685E6C8}"/>
                </a:ext>
              </a:extLst>
            </p:cNvPr>
            <p:cNvSpPr/>
            <p:nvPr/>
          </p:nvSpPr>
          <p:spPr>
            <a:xfrm rot="8716295">
              <a:off x="2651326" y="91696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63FEE4FF-1D87-4CAE-9FA8-9CF6A9D96EFB}"/>
                </a:ext>
              </a:extLst>
            </p:cNvPr>
            <p:cNvSpPr/>
            <p:nvPr/>
          </p:nvSpPr>
          <p:spPr>
            <a:xfrm rot="8716295">
              <a:off x="2494550" y="106254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BC11557D-3B0F-4F99-BB1C-10D4CD358771}"/>
                </a:ext>
              </a:extLst>
            </p:cNvPr>
            <p:cNvSpPr/>
            <p:nvPr/>
          </p:nvSpPr>
          <p:spPr>
            <a:xfrm rot="8716295">
              <a:off x="2369647" y="85387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1BF9B5DD-16B3-4C9A-A0CB-19167186C695}"/>
                </a:ext>
              </a:extLst>
            </p:cNvPr>
            <p:cNvSpPr/>
            <p:nvPr/>
          </p:nvSpPr>
          <p:spPr>
            <a:xfrm rot="8716295">
              <a:off x="2357595" y="71509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4BDAD41E-2E62-46D5-8972-DD9B42CE139E}"/>
                </a:ext>
              </a:extLst>
            </p:cNvPr>
            <p:cNvSpPr/>
            <p:nvPr/>
          </p:nvSpPr>
          <p:spPr>
            <a:xfrm rot="8716295">
              <a:off x="2584728" y="110350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49E7137B-1AE9-4612-BDE2-1AD75C253D82}"/>
                </a:ext>
              </a:extLst>
            </p:cNvPr>
            <p:cNvSpPr/>
            <p:nvPr/>
          </p:nvSpPr>
          <p:spPr>
            <a:xfrm rot="8716295">
              <a:off x="2895883" y="72385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FB51623D-A683-4809-B6F7-B7284C8425E7}"/>
                </a:ext>
              </a:extLst>
            </p:cNvPr>
            <p:cNvSpPr/>
            <p:nvPr/>
          </p:nvSpPr>
          <p:spPr>
            <a:xfrm rot="8716295">
              <a:off x="2985275" y="75309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281173AB-108D-4FE0-B6D3-50708833EE4A}"/>
                </a:ext>
              </a:extLst>
            </p:cNvPr>
            <p:cNvSpPr/>
            <p:nvPr/>
          </p:nvSpPr>
          <p:spPr>
            <a:xfrm rot="8716295">
              <a:off x="2783649" y="81239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BF07C4A0-5324-4C7F-B4EC-CC1184768828}"/>
                </a:ext>
              </a:extLst>
            </p:cNvPr>
            <p:cNvSpPr/>
            <p:nvPr/>
          </p:nvSpPr>
          <p:spPr>
            <a:xfrm rot="8716295">
              <a:off x="2658747" y="60372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6C1ACB1E-5691-49AE-AB29-06C5DC240D79}"/>
                </a:ext>
              </a:extLst>
            </p:cNvPr>
            <p:cNvSpPr/>
            <p:nvPr/>
          </p:nvSpPr>
          <p:spPr>
            <a:xfrm rot="8716295">
              <a:off x="2873827" y="85334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BBA32666-AB2E-4FC3-AC66-C412DC6DB6FE}"/>
                </a:ext>
              </a:extLst>
            </p:cNvPr>
            <p:cNvSpPr/>
            <p:nvPr/>
          </p:nvSpPr>
          <p:spPr>
            <a:xfrm rot="8716295">
              <a:off x="2632376" y="70374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446CB3B3-0538-4236-9A2B-B81F3C70F649}"/>
                </a:ext>
              </a:extLst>
            </p:cNvPr>
            <p:cNvSpPr/>
            <p:nvPr/>
          </p:nvSpPr>
          <p:spPr>
            <a:xfrm rot="7484129">
              <a:off x="2978758" y="10446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6FEF6605-DD46-4B6F-9434-E75F685EB3F1}"/>
                </a:ext>
              </a:extLst>
            </p:cNvPr>
            <p:cNvSpPr/>
            <p:nvPr/>
          </p:nvSpPr>
          <p:spPr>
            <a:xfrm rot="13089394">
              <a:off x="3083578" y="101123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5FAEA535-E5DC-4ECD-AC87-B4CF523A4E30}"/>
                </a:ext>
              </a:extLst>
            </p:cNvPr>
            <p:cNvSpPr/>
            <p:nvPr/>
          </p:nvSpPr>
          <p:spPr>
            <a:xfrm rot="8716295">
              <a:off x="3269163" y="81955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C4FD16EB-0DAD-4759-8354-258732BCDC6A}"/>
                </a:ext>
              </a:extLst>
            </p:cNvPr>
            <p:cNvSpPr/>
            <p:nvPr/>
          </p:nvSpPr>
          <p:spPr>
            <a:xfrm rot="8716295">
              <a:off x="3217358" y="71595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C79D5733-4C6C-4FFD-A38D-A89F64FE54C8}"/>
                </a:ext>
              </a:extLst>
            </p:cNvPr>
            <p:cNvSpPr/>
            <p:nvPr/>
          </p:nvSpPr>
          <p:spPr>
            <a:xfrm rot="8716295">
              <a:off x="2974112" y="74618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133AF81E-5F8E-4D81-87C0-011CC96E3CC9}"/>
                </a:ext>
              </a:extLst>
            </p:cNvPr>
            <p:cNvSpPr/>
            <p:nvPr/>
          </p:nvSpPr>
          <p:spPr>
            <a:xfrm rot="8716295">
              <a:off x="3151564" y="58693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F5BAA1B0-C7A6-44B2-8867-FEAE18AC26E8}"/>
                </a:ext>
              </a:extLst>
            </p:cNvPr>
            <p:cNvSpPr/>
            <p:nvPr/>
          </p:nvSpPr>
          <p:spPr>
            <a:xfrm rot="8716295">
              <a:off x="2387845" y="31194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orme libre : forme 58">
              <a:extLst>
                <a:ext uri="{FF2B5EF4-FFF2-40B4-BE49-F238E27FC236}">
                  <a16:creationId xmlns:a16="http://schemas.microsoft.com/office/drawing/2014/main" id="{B51F8FF7-DB45-4A7D-B87B-E8E0B15A9D38}"/>
                </a:ext>
              </a:extLst>
            </p:cNvPr>
            <p:cNvSpPr/>
            <p:nvPr/>
          </p:nvSpPr>
          <p:spPr>
            <a:xfrm rot="8716295">
              <a:off x="2477237" y="34118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orme libre : forme 59">
              <a:extLst>
                <a:ext uri="{FF2B5EF4-FFF2-40B4-BE49-F238E27FC236}">
                  <a16:creationId xmlns:a16="http://schemas.microsoft.com/office/drawing/2014/main" id="{1950BE25-03A0-4561-B14B-331445B0D0C3}"/>
                </a:ext>
              </a:extLst>
            </p:cNvPr>
            <p:cNvSpPr/>
            <p:nvPr/>
          </p:nvSpPr>
          <p:spPr>
            <a:xfrm rot="8716295">
              <a:off x="2432387" y="254908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orme libre : forme 60">
              <a:extLst>
                <a:ext uri="{FF2B5EF4-FFF2-40B4-BE49-F238E27FC236}">
                  <a16:creationId xmlns:a16="http://schemas.microsoft.com/office/drawing/2014/main" id="{1E041962-91AE-4D89-B179-1A31E1910CF1}"/>
                </a:ext>
              </a:extLst>
            </p:cNvPr>
            <p:cNvSpPr/>
            <p:nvPr/>
          </p:nvSpPr>
          <p:spPr>
            <a:xfrm rot="8716295">
              <a:off x="2275611" y="40049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orme libre : forme 61">
              <a:extLst>
                <a:ext uri="{FF2B5EF4-FFF2-40B4-BE49-F238E27FC236}">
                  <a16:creationId xmlns:a16="http://schemas.microsoft.com/office/drawing/2014/main" id="{376CFCCF-38DC-4A35-AA3F-E03998AD805A}"/>
                </a:ext>
              </a:extLst>
            </p:cNvPr>
            <p:cNvSpPr/>
            <p:nvPr/>
          </p:nvSpPr>
          <p:spPr>
            <a:xfrm rot="8716295">
              <a:off x="2150708" y="19181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orme libre : forme 62">
              <a:extLst>
                <a:ext uri="{FF2B5EF4-FFF2-40B4-BE49-F238E27FC236}">
                  <a16:creationId xmlns:a16="http://schemas.microsoft.com/office/drawing/2014/main" id="{68D158FE-3FEF-4222-A8A6-28BC2EB41760}"/>
                </a:ext>
              </a:extLst>
            </p:cNvPr>
            <p:cNvSpPr/>
            <p:nvPr/>
          </p:nvSpPr>
          <p:spPr>
            <a:xfrm rot="8716295">
              <a:off x="2138656" y="53037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orme libre : forme 63">
              <a:extLst>
                <a:ext uri="{FF2B5EF4-FFF2-40B4-BE49-F238E27FC236}">
                  <a16:creationId xmlns:a16="http://schemas.microsoft.com/office/drawing/2014/main" id="{DC9E9862-78FC-4213-B2E2-61DF3173636D}"/>
                </a:ext>
              </a:extLst>
            </p:cNvPr>
            <p:cNvSpPr/>
            <p:nvPr/>
          </p:nvSpPr>
          <p:spPr>
            <a:xfrm rot="8716295">
              <a:off x="2365789" y="441442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orme libre : forme 64">
              <a:extLst>
                <a:ext uri="{FF2B5EF4-FFF2-40B4-BE49-F238E27FC236}">
                  <a16:creationId xmlns:a16="http://schemas.microsoft.com/office/drawing/2014/main" id="{8722DBD7-5E81-4E3D-870A-6CD5E129D96B}"/>
                </a:ext>
              </a:extLst>
            </p:cNvPr>
            <p:cNvSpPr/>
            <p:nvPr/>
          </p:nvSpPr>
          <p:spPr>
            <a:xfrm rot="8716295">
              <a:off x="2676944" y="6179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orme libre : forme 65">
              <a:extLst>
                <a:ext uri="{FF2B5EF4-FFF2-40B4-BE49-F238E27FC236}">
                  <a16:creationId xmlns:a16="http://schemas.microsoft.com/office/drawing/2014/main" id="{43ED8C5C-290C-4E36-A603-A668764D918E}"/>
                </a:ext>
              </a:extLst>
            </p:cNvPr>
            <p:cNvSpPr/>
            <p:nvPr/>
          </p:nvSpPr>
          <p:spPr>
            <a:xfrm rot="8716295">
              <a:off x="2766336" y="9103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orme libre : forme 66">
              <a:extLst>
                <a:ext uri="{FF2B5EF4-FFF2-40B4-BE49-F238E27FC236}">
                  <a16:creationId xmlns:a16="http://schemas.microsoft.com/office/drawing/2014/main" id="{143AD9CC-AEFC-4AE6-ADAB-C03B27727981}"/>
                </a:ext>
              </a:extLst>
            </p:cNvPr>
            <p:cNvSpPr/>
            <p:nvPr/>
          </p:nvSpPr>
          <p:spPr>
            <a:xfrm rot="8716295">
              <a:off x="2564710" y="15033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03CE5A8E-699E-421E-ABA5-42929237719B}"/>
                </a:ext>
              </a:extLst>
            </p:cNvPr>
            <p:cNvSpPr/>
            <p:nvPr/>
          </p:nvSpPr>
          <p:spPr>
            <a:xfrm rot="8716295">
              <a:off x="2448552" y="-16031"/>
              <a:ext cx="203847" cy="149340"/>
            </a:xfrm>
            <a:custGeom>
              <a:avLst/>
              <a:gdLst>
                <a:gd name="connsiteX0" fmla="*/ 106716 w 203847"/>
                <a:gd name="connsiteY0" fmla="*/ 149340 h 149340"/>
                <a:gd name="connsiteX1" fmla="*/ 50038 w 203847"/>
                <a:gd name="connsiteY1" fmla="*/ 110053 h 149340"/>
                <a:gd name="connsiteX2" fmla="*/ 69777 w 203847"/>
                <a:gd name="connsiteY2" fmla="*/ 55323 h 149340"/>
                <a:gd name="connsiteX3" fmla="*/ 0 w 203847"/>
                <a:gd name="connsiteY3" fmla="*/ 55323 h 149340"/>
                <a:gd name="connsiteX4" fmla="*/ 0 w 203847"/>
                <a:gd name="connsiteY4" fmla="*/ 0 h 149340"/>
                <a:gd name="connsiteX5" fmla="*/ 203847 w 203847"/>
                <a:gd name="connsiteY5" fmla="*/ 0 h 149340"/>
                <a:gd name="connsiteX6" fmla="*/ 203847 w 203847"/>
                <a:gd name="connsiteY6" fmla="*/ 55323 h 149340"/>
                <a:gd name="connsiteX7" fmla="*/ 139055 w 203847"/>
                <a:gd name="connsiteY7" fmla="*/ 55323 h 14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49340">
                  <a:moveTo>
                    <a:pt x="106716" y="149340"/>
                  </a:moveTo>
                  <a:lnTo>
                    <a:pt x="50038" y="110053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orme libre : forme 68">
              <a:extLst>
                <a:ext uri="{FF2B5EF4-FFF2-40B4-BE49-F238E27FC236}">
                  <a16:creationId xmlns:a16="http://schemas.microsoft.com/office/drawing/2014/main" id="{4F51AFD5-9DB6-4DCA-8489-09E9C4297801}"/>
                </a:ext>
              </a:extLst>
            </p:cNvPr>
            <p:cNvSpPr/>
            <p:nvPr/>
          </p:nvSpPr>
          <p:spPr>
            <a:xfrm rot="8716295">
              <a:off x="2654888" y="191290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orme libre : forme 69">
              <a:extLst>
                <a:ext uri="{FF2B5EF4-FFF2-40B4-BE49-F238E27FC236}">
                  <a16:creationId xmlns:a16="http://schemas.microsoft.com/office/drawing/2014/main" id="{A2ECF224-799C-4DC5-AB51-FEB15AA2B828}"/>
                </a:ext>
              </a:extLst>
            </p:cNvPr>
            <p:cNvSpPr/>
            <p:nvPr/>
          </p:nvSpPr>
          <p:spPr>
            <a:xfrm rot="8716295">
              <a:off x="2413437" y="41690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orme libre : forme 70">
              <a:extLst>
                <a:ext uri="{FF2B5EF4-FFF2-40B4-BE49-F238E27FC236}">
                  <a16:creationId xmlns:a16="http://schemas.microsoft.com/office/drawing/2014/main" id="{1302BF26-B64E-4C90-894D-A7C67007EE36}"/>
                </a:ext>
              </a:extLst>
            </p:cNvPr>
            <p:cNvSpPr/>
            <p:nvPr/>
          </p:nvSpPr>
          <p:spPr>
            <a:xfrm rot="7484129">
              <a:off x="2759819" y="38264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orme libre : forme 71">
              <a:extLst>
                <a:ext uri="{FF2B5EF4-FFF2-40B4-BE49-F238E27FC236}">
                  <a16:creationId xmlns:a16="http://schemas.microsoft.com/office/drawing/2014/main" id="{170CE256-57E7-488F-BBB2-5B7F98B8FB76}"/>
                </a:ext>
              </a:extLst>
            </p:cNvPr>
            <p:cNvSpPr/>
            <p:nvPr/>
          </p:nvSpPr>
          <p:spPr>
            <a:xfrm rot="13089394">
              <a:off x="2864639" y="349175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orme libre : forme 72">
              <a:extLst>
                <a:ext uri="{FF2B5EF4-FFF2-40B4-BE49-F238E27FC236}">
                  <a16:creationId xmlns:a16="http://schemas.microsoft.com/office/drawing/2014/main" id="{5E848AEE-AD50-4EC7-B6E2-006804A78B57}"/>
                </a:ext>
              </a:extLst>
            </p:cNvPr>
            <p:cNvSpPr/>
            <p:nvPr/>
          </p:nvSpPr>
          <p:spPr>
            <a:xfrm rot="8716295">
              <a:off x="3050224" y="157494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" name="Forme libre : forme 73">
              <a:extLst>
                <a:ext uri="{FF2B5EF4-FFF2-40B4-BE49-F238E27FC236}">
                  <a16:creationId xmlns:a16="http://schemas.microsoft.com/office/drawing/2014/main" id="{BEE1CAE8-6503-4A10-B1BA-C6183C9E0E74}"/>
                </a:ext>
              </a:extLst>
            </p:cNvPr>
            <p:cNvSpPr/>
            <p:nvPr/>
          </p:nvSpPr>
          <p:spPr>
            <a:xfrm rot="8716295">
              <a:off x="2998419" y="5390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" name="Forme libre : forme 74">
              <a:extLst>
                <a:ext uri="{FF2B5EF4-FFF2-40B4-BE49-F238E27FC236}">
                  <a16:creationId xmlns:a16="http://schemas.microsoft.com/office/drawing/2014/main" id="{34A8E996-3975-4581-B536-E2CE9D88EBFE}"/>
                </a:ext>
              </a:extLst>
            </p:cNvPr>
            <p:cNvSpPr/>
            <p:nvPr/>
          </p:nvSpPr>
          <p:spPr>
            <a:xfrm rot="8716295">
              <a:off x="2755173" y="8412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" name="Forme libre : forme 75">
              <a:extLst>
                <a:ext uri="{FF2B5EF4-FFF2-40B4-BE49-F238E27FC236}">
                  <a16:creationId xmlns:a16="http://schemas.microsoft.com/office/drawing/2014/main" id="{3BE41751-0FE9-4A5C-97A5-9AF2319641D6}"/>
                </a:ext>
              </a:extLst>
            </p:cNvPr>
            <p:cNvSpPr/>
            <p:nvPr/>
          </p:nvSpPr>
          <p:spPr>
            <a:xfrm rot="8716295">
              <a:off x="2940014" y="-28690"/>
              <a:ext cx="88664" cy="70660"/>
            </a:xfrm>
            <a:custGeom>
              <a:avLst/>
              <a:gdLst>
                <a:gd name="connsiteX0" fmla="*/ 83649 w 88664"/>
                <a:gd name="connsiteY0" fmla="*/ 70660 h 70660"/>
                <a:gd name="connsiteX1" fmla="*/ 0 w 88664"/>
                <a:gd name="connsiteY1" fmla="*/ 12677 h 70660"/>
                <a:gd name="connsiteX2" fmla="*/ 30024 w 88664"/>
                <a:gd name="connsiteY2" fmla="*/ 0 h 70660"/>
                <a:gd name="connsiteX3" fmla="*/ 71417 w 88664"/>
                <a:gd name="connsiteY3" fmla="*/ 17477 h 70660"/>
                <a:gd name="connsiteX4" fmla="*/ 88664 w 88664"/>
                <a:gd name="connsiteY4" fmla="*/ 58525 h 70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664" h="70660">
                  <a:moveTo>
                    <a:pt x="83649" y="70660"/>
                  </a:moveTo>
                  <a:lnTo>
                    <a:pt x="0" y="12677"/>
                  </a:lnTo>
                  <a:lnTo>
                    <a:pt x="30024" y="0"/>
                  </a:lnTo>
                  <a:cubicBezTo>
                    <a:pt x="45662" y="0"/>
                    <a:pt x="60379" y="6439"/>
                    <a:pt x="71417" y="17477"/>
                  </a:cubicBezTo>
                  <a:cubicBezTo>
                    <a:pt x="82915" y="28515"/>
                    <a:pt x="88664" y="43462"/>
                    <a:pt x="88664" y="58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" name="Forme libre : forme 76">
              <a:extLst>
                <a:ext uri="{FF2B5EF4-FFF2-40B4-BE49-F238E27FC236}">
                  <a16:creationId xmlns:a16="http://schemas.microsoft.com/office/drawing/2014/main" id="{7C593DEA-1D52-4373-8D6B-6BD1BBF8835C}"/>
                </a:ext>
              </a:extLst>
            </p:cNvPr>
            <p:cNvSpPr/>
            <p:nvPr/>
          </p:nvSpPr>
          <p:spPr>
            <a:xfrm rot="13089394">
              <a:off x="2740820" y="-30870"/>
              <a:ext cx="73521" cy="76374"/>
            </a:xfrm>
            <a:custGeom>
              <a:avLst/>
              <a:gdLst>
                <a:gd name="connsiteX0" fmla="*/ 73521 w 73521"/>
                <a:gd name="connsiteY0" fmla="*/ 18609 h 76374"/>
                <a:gd name="connsiteX1" fmla="*/ 0 w 73521"/>
                <a:gd name="connsiteY1" fmla="*/ 76374 h 76374"/>
                <a:gd name="connsiteX2" fmla="*/ 0 w 73521"/>
                <a:gd name="connsiteY2" fmla="*/ 38074 h 76374"/>
                <a:gd name="connsiteX3" fmla="*/ 73388 w 73521"/>
                <a:gd name="connsiteY3" fmla="*/ 0 h 7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521" h="76374">
                  <a:moveTo>
                    <a:pt x="73521" y="18609"/>
                  </a:moveTo>
                  <a:lnTo>
                    <a:pt x="0" y="76374"/>
                  </a:lnTo>
                  <a:lnTo>
                    <a:pt x="0" y="38074"/>
                  </a:lnTo>
                  <a:lnTo>
                    <a:pt x="7338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" name="Forme libre : forme 77">
              <a:extLst>
                <a:ext uri="{FF2B5EF4-FFF2-40B4-BE49-F238E27FC236}">
                  <a16:creationId xmlns:a16="http://schemas.microsoft.com/office/drawing/2014/main" id="{31F42A73-BF6E-4A9E-A2F6-7111DF0FD878}"/>
                </a:ext>
              </a:extLst>
            </p:cNvPr>
            <p:cNvSpPr/>
            <p:nvPr/>
          </p:nvSpPr>
          <p:spPr>
            <a:xfrm rot="8716295">
              <a:off x="2166753" y="273158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orme libre : forme 78">
              <a:extLst>
                <a:ext uri="{FF2B5EF4-FFF2-40B4-BE49-F238E27FC236}">
                  <a16:creationId xmlns:a16="http://schemas.microsoft.com/office/drawing/2014/main" id="{863BEFD8-472A-4A82-B952-ACFEE2251E69}"/>
                </a:ext>
              </a:extLst>
            </p:cNvPr>
            <p:cNvSpPr/>
            <p:nvPr/>
          </p:nvSpPr>
          <p:spPr>
            <a:xfrm rot="8716295">
              <a:off x="2256145" y="276082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Forme libre : forme 79">
              <a:extLst>
                <a:ext uri="{FF2B5EF4-FFF2-40B4-BE49-F238E27FC236}">
                  <a16:creationId xmlns:a16="http://schemas.microsoft.com/office/drawing/2014/main" id="{9D41F395-157D-4566-AD0B-619CCA4FE6BE}"/>
                </a:ext>
              </a:extLst>
            </p:cNvPr>
            <p:cNvSpPr/>
            <p:nvPr/>
          </p:nvSpPr>
          <p:spPr>
            <a:xfrm rot="8716295">
              <a:off x="2211295" y="2674548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" name="Forme libre : forme 80">
              <a:extLst>
                <a:ext uri="{FF2B5EF4-FFF2-40B4-BE49-F238E27FC236}">
                  <a16:creationId xmlns:a16="http://schemas.microsoft.com/office/drawing/2014/main" id="{BF76F399-DC6B-4DE2-9E3A-1FFB94BB6465}"/>
                </a:ext>
              </a:extLst>
            </p:cNvPr>
            <p:cNvSpPr/>
            <p:nvPr/>
          </p:nvSpPr>
          <p:spPr>
            <a:xfrm rot="8716295">
              <a:off x="2054519" y="28201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orme libre : forme 81">
              <a:extLst>
                <a:ext uri="{FF2B5EF4-FFF2-40B4-BE49-F238E27FC236}">
                  <a16:creationId xmlns:a16="http://schemas.microsoft.com/office/drawing/2014/main" id="{3065D63F-B336-46ED-922F-641AF1B7B83C}"/>
                </a:ext>
              </a:extLst>
            </p:cNvPr>
            <p:cNvSpPr/>
            <p:nvPr/>
          </p:nvSpPr>
          <p:spPr>
            <a:xfrm rot="8716295">
              <a:off x="1929616" y="261145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Forme libre : forme 82">
              <a:extLst>
                <a:ext uri="{FF2B5EF4-FFF2-40B4-BE49-F238E27FC236}">
                  <a16:creationId xmlns:a16="http://schemas.microsoft.com/office/drawing/2014/main" id="{68BC6F5F-0186-40DD-8404-566D70BB9E99}"/>
                </a:ext>
              </a:extLst>
            </p:cNvPr>
            <p:cNvSpPr/>
            <p:nvPr/>
          </p:nvSpPr>
          <p:spPr>
            <a:xfrm rot="8716295">
              <a:off x="1917564" y="2472677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4" name="Forme libre : forme 83">
              <a:extLst>
                <a:ext uri="{FF2B5EF4-FFF2-40B4-BE49-F238E27FC236}">
                  <a16:creationId xmlns:a16="http://schemas.microsoft.com/office/drawing/2014/main" id="{E12469CC-5FF5-4C57-A661-5C5E14481CD9}"/>
                </a:ext>
              </a:extLst>
            </p:cNvPr>
            <p:cNvSpPr/>
            <p:nvPr/>
          </p:nvSpPr>
          <p:spPr>
            <a:xfrm rot="8716295">
              <a:off x="2144697" y="2861082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5" name="Forme libre : forme 84">
              <a:extLst>
                <a:ext uri="{FF2B5EF4-FFF2-40B4-BE49-F238E27FC236}">
                  <a16:creationId xmlns:a16="http://schemas.microsoft.com/office/drawing/2014/main" id="{30210F38-CF8D-4D63-B79E-43CAC77B4950}"/>
                </a:ext>
              </a:extLst>
            </p:cNvPr>
            <p:cNvSpPr/>
            <p:nvPr/>
          </p:nvSpPr>
          <p:spPr>
            <a:xfrm rot="8716295">
              <a:off x="2455852" y="248143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6" name="Forme libre : forme 85">
              <a:extLst>
                <a:ext uri="{FF2B5EF4-FFF2-40B4-BE49-F238E27FC236}">
                  <a16:creationId xmlns:a16="http://schemas.microsoft.com/office/drawing/2014/main" id="{695A233A-6503-484C-8F4F-186E71E5B99E}"/>
                </a:ext>
              </a:extLst>
            </p:cNvPr>
            <p:cNvSpPr/>
            <p:nvPr/>
          </p:nvSpPr>
          <p:spPr>
            <a:xfrm rot="8716295">
              <a:off x="2545244" y="251067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7" name="Forme libre : forme 86">
              <a:extLst>
                <a:ext uri="{FF2B5EF4-FFF2-40B4-BE49-F238E27FC236}">
                  <a16:creationId xmlns:a16="http://schemas.microsoft.com/office/drawing/2014/main" id="{C4016FC8-3862-4EDD-AD90-D27F3C486D6C}"/>
                </a:ext>
              </a:extLst>
            </p:cNvPr>
            <p:cNvSpPr/>
            <p:nvPr/>
          </p:nvSpPr>
          <p:spPr>
            <a:xfrm rot="8716295">
              <a:off x="2343618" y="256997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8" name="Forme libre : forme 87">
              <a:extLst>
                <a:ext uri="{FF2B5EF4-FFF2-40B4-BE49-F238E27FC236}">
                  <a16:creationId xmlns:a16="http://schemas.microsoft.com/office/drawing/2014/main" id="{841AD7D6-9A1D-47F3-B8D0-0F3912F8A2E1}"/>
                </a:ext>
              </a:extLst>
            </p:cNvPr>
            <p:cNvSpPr/>
            <p:nvPr/>
          </p:nvSpPr>
          <p:spPr>
            <a:xfrm rot="8716295">
              <a:off x="2218716" y="236130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9" name="Forme libre : forme 88">
              <a:extLst>
                <a:ext uri="{FF2B5EF4-FFF2-40B4-BE49-F238E27FC236}">
                  <a16:creationId xmlns:a16="http://schemas.microsoft.com/office/drawing/2014/main" id="{70BCC5A3-9952-4F01-975F-6F986E6B55DD}"/>
                </a:ext>
              </a:extLst>
            </p:cNvPr>
            <p:cNvSpPr/>
            <p:nvPr/>
          </p:nvSpPr>
          <p:spPr>
            <a:xfrm rot="8716295">
              <a:off x="2433796" y="2610930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" name="Forme libre : forme 89">
              <a:extLst>
                <a:ext uri="{FF2B5EF4-FFF2-40B4-BE49-F238E27FC236}">
                  <a16:creationId xmlns:a16="http://schemas.microsoft.com/office/drawing/2014/main" id="{48292A7A-33E9-4FF2-9525-C481018D3541}"/>
                </a:ext>
              </a:extLst>
            </p:cNvPr>
            <p:cNvSpPr/>
            <p:nvPr/>
          </p:nvSpPr>
          <p:spPr>
            <a:xfrm rot="8716295">
              <a:off x="2192345" y="2461330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" name="Forme libre : forme 90">
              <a:extLst>
                <a:ext uri="{FF2B5EF4-FFF2-40B4-BE49-F238E27FC236}">
                  <a16:creationId xmlns:a16="http://schemas.microsoft.com/office/drawing/2014/main" id="{3C5BF462-E2E4-4E2E-A187-F82081942730}"/>
                </a:ext>
              </a:extLst>
            </p:cNvPr>
            <p:cNvSpPr/>
            <p:nvPr/>
          </p:nvSpPr>
          <p:spPr>
            <a:xfrm rot="7484129">
              <a:off x="2538727" y="280228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" name="Forme libre : forme 91">
              <a:extLst>
                <a:ext uri="{FF2B5EF4-FFF2-40B4-BE49-F238E27FC236}">
                  <a16:creationId xmlns:a16="http://schemas.microsoft.com/office/drawing/2014/main" id="{53F93EE7-2FCB-4993-A211-9ABCA8AB16A1}"/>
                </a:ext>
              </a:extLst>
            </p:cNvPr>
            <p:cNvSpPr/>
            <p:nvPr/>
          </p:nvSpPr>
          <p:spPr>
            <a:xfrm rot="13089394">
              <a:off x="2643547" y="2768815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" name="Forme libre : forme 92">
              <a:extLst>
                <a:ext uri="{FF2B5EF4-FFF2-40B4-BE49-F238E27FC236}">
                  <a16:creationId xmlns:a16="http://schemas.microsoft.com/office/drawing/2014/main" id="{ACCCC6BB-9AC5-40F1-8FDF-2D7AAA4F97CC}"/>
                </a:ext>
              </a:extLst>
            </p:cNvPr>
            <p:cNvSpPr/>
            <p:nvPr/>
          </p:nvSpPr>
          <p:spPr>
            <a:xfrm rot="8716295">
              <a:off x="2829132" y="2577134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" name="Forme libre : forme 93">
              <a:extLst>
                <a:ext uri="{FF2B5EF4-FFF2-40B4-BE49-F238E27FC236}">
                  <a16:creationId xmlns:a16="http://schemas.microsoft.com/office/drawing/2014/main" id="{C83E96A9-D46F-4FBD-BA31-A3DDCAF05013}"/>
                </a:ext>
              </a:extLst>
            </p:cNvPr>
            <p:cNvSpPr/>
            <p:nvPr/>
          </p:nvSpPr>
          <p:spPr>
            <a:xfrm rot="8716295">
              <a:off x="2777327" y="247354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orme libre : forme 94">
              <a:extLst>
                <a:ext uri="{FF2B5EF4-FFF2-40B4-BE49-F238E27FC236}">
                  <a16:creationId xmlns:a16="http://schemas.microsoft.com/office/drawing/2014/main" id="{819524D5-42FD-49C2-A52C-138204093572}"/>
                </a:ext>
              </a:extLst>
            </p:cNvPr>
            <p:cNvSpPr/>
            <p:nvPr/>
          </p:nvSpPr>
          <p:spPr>
            <a:xfrm rot="8716295">
              <a:off x="2534081" y="250376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Forme libre : forme 95">
              <a:extLst>
                <a:ext uri="{FF2B5EF4-FFF2-40B4-BE49-F238E27FC236}">
                  <a16:creationId xmlns:a16="http://schemas.microsoft.com/office/drawing/2014/main" id="{D4292037-242B-4F99-8EE6-4056BF8CE17A}"/>
                </a:ext>
              </a:extLst>
            </p:cNvPr>
            <p:cNvSpPr/>
            <p:nvPr/>
          </p:nvSpPr>
          <p:spPr>
            <a:xfrm rot="8716295">
              <a:off x="2711533" y="234452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" name="Forme libre : forme 96">
              <a:extLst>
                <a:ext uri="{FF2B5EF4-FFF2-40B4-BE49-F238E27FC236}">
                  <a16:creationId xmlns:a16="http://schemas.microsoft.com/office/drawing/2014/main" id="{B300D5E8-99AD-4100-BBB0-F9335C60ABF1}"/>
                </a:ext>
              </a:extLst>
            </p:cNvPr>
            <p:cNvSpPr/>
            <p:nvPr/>
          </p:nvSpPr>
          <p:spPr>
            <a:xfrm rot="8716295">
              <a:off x="2389920" y="339128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" name="Forme libre : forme 97">
              <a:extLst>
                <a:ext uri="{FF2B5EF4-FFF2-40B4-BE49-F238E27FC236}">
                  <a16:creationId xmlns:a16="http://schemas.microsoft.com/office/drawing/2014/main" id="{050E0B4C-4868-4ECB-B52A-F4534FB3428C}"/>
                </a:ext>
              </a:extLst>
            </p:cNvPr>
            <p:cNvSpPr/>
            <p:nvPr/>
          </p:nvSpPr>
          <p:spPr>
            <a:xfrm rot="8716295">
              <a:off x="2479312" y="342052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" name="Forme libre : forme 98">
              <a:extLst>
                <a:ext uri="{FF2B5EF4-FFF2-40B4-BE49-F238E27FC236}">
                  <a16:creationId xmlns:a16="http://schemas.microsoft.com/office/drawing/2014/main" id="{2B753CAD-2E05-40BF-8117-865D3F8A49DD}"/>
                </a:ext>
              </a:extLst>
            </p:cNvPr>
            <p:cNvSpPr/>
            <p:nvPr/>
          </p:nvSpPr>
          <p:spPr>
            <a:xfrm rot="8716295">
              <a:off x="2434462" y="333424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orme libre : forme 99">
              <a:extLst>
                <a:ext uri="{FF2B5EF4-FFF2-40B4-BE49-F238E27FC236}">
                  <a16:creationId xmlns:a16="http://schemas.microsoft.com/office/drawing/2014/main" id="{5C8FF835-B7A5-4E03-BDCA-7B70EA22A6CB}"/>
                </a:ext>
              </a:extLst>
            </p:cNvPr>
            <p:cNvSpPr/>
            <p:nvPr/>
          </p:nvSpPr>
          <p:spPr>
            <a:xfrm rot="8716295">
              <a:off x="2277686" y="347982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Forme libre : forme 100">
              <a:extLst>
                <a:ext uri="{FF2B5EF4-FFF2-40B4-BE49-F238E27FC236}">
                  <a16:creationId xmlns:a16="http://schemas.microsoft.com/office/drawing/2014/main" id="{E640627F-DD46-4D4D-BFB7-C32CE4CD2C6E}"/>
                </a:ext>
              </a:extLst>
            </p:cNvPr>
            <p:cNvSpPr/>
            <p:nvPr/>
          </p:nvSpPr>
          <p:spPr>
            <a:xfrm rot="8716295">
              <a:off x="2152783" y="327115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" name="Forme libre : forme 101">
              <a:extLst>
                <a:ext uri="{FF2B5EF4-FFF2-40B4-BE49-F238E27FC236}">
                  <a16:creationId xmlns:a16="http://schemas.microsoft.com/office/drawing/2014/main" id="{D6CFC66E-117A-4E7B-A1B3-B61883DBC87C}"/>
                </a:ext>
              </a:extLst>
            </p:cNvPr>
            <p:cNvSpPr/>
            <p:nvPr/>
          </p:nvSpPr>
          <p:spPr>
            <a:xfrm rot="8716295">
              <a:off x="2140731" y="313237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" name="Forme libre : forme 102">
              <a:extLst>
                <a:ext uri="{FF2B5EF4-FFF2-40B4-BE49-F238E27FC236}">
                  <a16:creationId xmlns:a16="http://schemas.microsoft.com/office/drawing/2014/main" id="{44370D0A-70C8-47DE-B919-BD8689E5F0BD}"/>
                </a:ext>
              </a:extLst>
            </p:cNvPr>
            <p:cNvSpPr/>
            <p:nvPr/>
          </p:nvSpPr>
          <p:spPr>
            <a:xfrm rot="8716295">
              <a:off x="2367864" y="352078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" name="Forme libre : forme 103">
              <a:extLst>
                <a:ext uri="{FF2B5EF4-FFF2-40B4-BE49-F238E27FC236}">
                  <a16:creationId xmlns:a16="http://schemas.microsoft.com/office/drawing/2014/main" id="{6021BDC8-861D-486E-B439-FE7F06960030}"/>
                </a:ext>
              </a:extLst>
            </p:cNvPr>
            <p:cNvSpPr/>
            <p:nvPr/>
          </p:nvSpPr>
          <p:spPr>
            <a:xfrm rot="8716295">
              <a:off x="2679019" y="314113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" name="Forme libre : forme 104">
              <a:extLst>
                <a:ext uri="{FF2B5EF4-FFF2-40B4-BE49-F238E27FC236}">
                  <a16:creationId xmlns:a16="http://schemas.microsoft.com/office/drawing/2014/main" id="{0F608F19-E3BE-4D17-880D-C88146244ED4}"/>
                </a:ext>
              </a:extLst>
            </p:cNvPr>
            <p:cNvSpPr/>
            <p:nvPr/>
          </p:nvSpPr>
          <p:spPr>
            <a:xfrm rot="8716295">
              <a:off x="2768411" y="317037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" name="Forme libre : forme 105">
              <a:extLst>
                <a:ext uri="{FF2B5EF4-FFF2-40B4-BE49-F238E27FC236}">
                  <a16:creationId xmlns:a16="http://schemas.microsoft.com/office/drawing/2014/main" id="{64944F3B-C664-4365-A1CE-C418E167A34E}"/>
                </a:ext>
              </a:extLst>
            </p:cNvPr>
            <p:cNvSpPr/>
            <p:nvPr/>
          </p:nvSpPr>
          <p:spPr>
            <a:xfrm rot="8716295">
              <a:off x="2566785" y="322967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" name="Forme libre : forme 106">
              <a:extLst>
                <a:ext uri="{FF2B5EF4-FFF2-40B4-BE49-F238E27FC236}">
                  <a16:creationId xmlns:a16="http://schemas.microsoft.com/office/drawing/2014/main" id="{58328446-A7EA-46E8-B0B2-5078B627604C}"/>
                </a:ext>
              </a:extLst>
            </p:cNvPr>
            <p:cNvSpPr/>
            <p:nvPr/>
          </p:nvSpPr>
          <p:spPr>
            <a:xfrm rot="8716295">
              <a:off x="2441883" y="302100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" name="Forme libre : forme 107">
              <a:extLst>
                <a:ext uri="{FF2B5EF4-FFF2-40B4-BE49-F238E27FC236}">
                  <a16:creationId xmlns:a16="http://schemas.microsoft.com/office/drawing/2014/main" id="{358F3EE5-D858-432A-A907-9710D31351C8}"/>
                </a:ext>
              </a:extLst>
            </p:cNvPr>
            <p:cNvSpPr/>
            <p:nvPr/>
          </p:nvSpPr>
          <p:spPr>
            <a:xfrm rot="8716295">
              <a:off x="2656963" y="327062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" name="Forme libre : forme 108">
              <a:extLst>
                <a:ext uri="{FF2B5EF4-FFF2-40B4-BE49-F238E27FC236}">
                  <a16:creationId xmlns:a16="http://schemas.microsoft.com/office/drawing/2014/main" id="{B0966A7E-6D89-444C-8034-A9352897C897}"/>
                </a:ext>
              </a:extLst>
            </p:cNvPr>
            <p:cNvSpPr/>
            <p:nvPr/>
          </p:nvSpPr>
          <p:spPr>
            <a:xfrm rot="8716295">
              <a:off x="2415512" y="312102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" name="Forme libre : forme 109">
              <a:extLst>
                <a:ext uri="{FF2B5EF4-FFF2-40B4-BE49-F238E27FC236}">
                  <a16:creationId xmlns:a16="http://schemas.microsoft.com/office/drawing/2014/main" id="{37222F27-8DF7-4207-88C1-2429DD93BED2}"/>
                </a:ext>
              </a:extLst>
            </p:cNvPr>
            <p:cNvSpPr/>
            <p:nvPr/>
          </p:nvSpPr>
          <p:spPr>
            <a:xfrm rot="7484129">
              <a:off x="2761894" y="346198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" name="Forme libre : forme 110">
              <a:extLst>
                <a:ext uri="{FF2B5EF4-FFF2-40B4-BE49-F238E27FC236}">
                  <a16:creationId xmlns:a16="http://schemas.microsoft.com/office/drawing/2014/main" id="{993939CC-3AE4-419F-A9EE-0969EF61AE9B}"/>
                </a:ext>
              </a:extLst>
            </p:cNvPr>
            <p:cNvSpPr/>
            <p:nvPr/>
          </p:nvSpPr>
          <p:spPr>
            <a:xfrm rot="13089394">
              <a:off x="2866714" y="342851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" name="Forme libre : forme 111">
              <a:extLst>
                <a:ext uri="{FF2B5EF4-FFF2-40B4-BE49-F238E27FC236}">
                  <a16:creationId xmlns:a16="http://schemas.microsoft.com/office/drawing/2014/main" id="{A6A63E2F-4261-4DBF-8276-418D86D19210}"/>
                </a:ext>
              </a:extLst>
            </p:cNvPr>
            <p:cNvSpPr/>
            <p:nvPr/>
          </p:nvSpPr>
          <p:spPr>
            <a:xfrm rot="8716295">
              <a:off x="3052299" y="323683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" name="Forme libre : forme 112">
              <a:extLst>
                <a:ext uri="{FF2B5EF4-FFF2-40B4-BE49-F238E27FC236}">
                  <a16:creationId xmlns:a16="http://schemas.microsoft.com/office/drawing/2014/main" id="{1F2896C9-A0C7-4B2C-B1EE-DCCCD9009233}"/>
                </a:ext>
              </a:extLst>
            </p:cNvPr>
            <p:cNvSpPr/>
            <p:nvPr/>
          </p:nvSpPr>
          <p:spPr>
            <a:xfrm rot="8716295">
              <a:off x="3000494" y="313324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" name="Forme libre : forme 113">
              <a:extLst>
                <a:ext uri="{FF2B5EF4-FFF2-40B4-BE49-F238E27FC236}">
                  <a16:creationId xmlns:a16="http://schemas.microsoft.com/office/drawing/2014/main" id="{BFC2A5AA-74CC-447F-BCB7-82C53A9C1EBE}"/>
                </a:ext>
              </a:extLst>
            </p:cNvPr>
            <p:cNvSpPr/>
            <p:nvPr/>
          </p:nvSpPr>
          <p:spPr>
            <a:xfrm rot="8716295">
              <a:off x="2757248" y="316346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" name="Forme libre : forme 114">
              <a:extLst>
                <a:ext uri="{FF2B5EF4-FFF2-40B4-BE49-F238E27FC236}">
                  <a16:creationId xmlns:a16="http://schemas.microsoft.com/office/drawing/2014/main" id="{7736B671-8666-4922-9305-32A24DFDD7BC}"/>
                </a:ext>
              </a:extLst>
            </p:cNvPr>
            <p:cNvSpPr/>
            <p:nvPr/>
          </p:nvSpPr>
          <p:spPr>
            <a:xfrm rot="8716295">
              <a:off x="2934700" y="300421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" name="Forme libre : forme 115">
              <a:extLst>
                <a:ext uri="{FF2B5EF4-FFF2-40B4-BE49-F238E27FC236}">
                  <a16:creationId xmlns:a16="http://schemas.microsoft.com/office/drawing/2014/main" id="{4CF00AFF-9FDA-4C59-A1DE-7CCCB194DEA5}"/>
                </a:ext>
              </a:extLst>
            </p:cNvPr>
            <p:cNvSpPr/>
            <p:nvPr/>
          </p:nvSpPr>
          <p:spPr>
            <a:xfrm rot="8716295">
              <a:off x="2865744" y="5089178"/>
              <a:ext cx="140009" cy="103412"/>
            </a:xfrm>
            <a:custGeom>
              <a:avLst/>
              <a:gdLst>
                <a:gd name="connsiteX0" fmla="*/ 23004 w 140009"/>
                <a:gd name="connsiteY0" fmla="*/ 73821 h 103412"/>
                <a:gd name="connsiteX1" fmla="*/ 2853 w 140009"/>
                <a:gd name="connsiteY1" fmla="*/ 34034 h 103412"/>
                <a:gd name="connsiteX2" fmla="*/ 0 w 140009"/>
                <a:gd name="connsiteY2" fmla="*/ 0 h 103412"/>
                <a:gd name="connsiteX3" fmla="*/ 140009 w 140009"/>
                <a:gd name="connsiteY3" fmla="*/ 97050 h 103412"/>
                <a:gd name="connsiteX4" fmla="*/ 137354 w 140009"/>
                <a:gd name="connsiteY4" fmla="*/ 97759 h 103412"/>
                <a:gd name="connsiteX5" fmla="*/ 95370 w 140009"/>
                <a:gd name="connsiteY5" fmla="*/ 103238 h 103412"/>
                <a:gd name="connsiteX6" fmla="*/ 23004 w 140009"/>
                <a:gd name="connsiteY6" fmla="*/ 73821 h 103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0009" h="103412">
                  <a:moveTo>
                    <a:pt x="23004" y="73821"/>
                  </a:moveTo>
                  <a:cubicBezTo>
                    <a:pt x="13002" y="64113"/>
                    <a:pt x="6677" y="50875"/>
                    <a:pt x="2853" y="34034"/>
                  </a:cubicBezTo>
                  <a:lnTo>
                    <a:pt x="0" y="0"/>
                  </a:lnTo>
                  <a:lnTo>
                    <a:pt x="140009" y="97050"/>
                  </a:lnTo>
                  <a:lnTo>
                    <a:pt x="137354" y="97759"/>
                  </a:lnTo>
                  <a:cubicBezTo>
                    <a:pt x="121846" y="100775"/>
                    <a:pt x="107579" y="102502"/>
                    <a:pt x="95370" y="103238"/>
                  </a:cubicBezTo>
                  <a:cubicBezTo>
                    <a:pt x="68307" y="105003"/>
                    <a:pt x="41831" y="93236"/>
                    <a:pt x="23004" y="7382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" name="Forme libre : forme 116">
              <a:extLst>
                <a:ext uri="{FF2B5EF4-FFF2-40B4-BE49-F238E27FC236}">
                  <a16:creationId xmlns:a16="http://schemas.microsoft.com/office/drawing/2014/main" id="{7486FE8B-6DC8-400F-8B49-3D0FF59EDA59}"/>
                </a:ext>
              </a:extLst>
            </p:cNvPr>
            <p:cNvSpPr/>
            <p:nvPr/>
          </p:nvSpPr>
          <p:spPr>
            <a:xfrm rot="8716295">
              <a:off x="2608590" y="404968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" name="Forme libre : forme 117">
              <a:extLst>
                <a:ext uri="{FF2B5EF4-FFF2-40B4-BE49-F238E27FC236}">
                  <a16:creationId xmlns:a16="http://schemas.microsoft.com/office/drawing/2014/main" id="{409E4F60-3261-496F-85E7-0CED778B23AA}"/>
                </a:ext>
              </a:extLst>
            </p:cNvPr>
            <p:cNvSpPr/>
            <p:nvPr/>
          </p:nvSpPr>
          <p:spPr>
            <a:xfrm rot="8716295">
              <a:off x="2697982" y="407892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" name="Forme libre : forme 118">
              <a:extLst>
                <a:ext uri="{FF2B5EF4-FFF2-40B4-BE49-F238E27FC236}">
                  <a16:creationId xmlns:a16="http://schemas.microsoft.com/office/drawing/2014/main" id="{B4A7442C-1C02-4AB6-8CC3-22865B34D758}"/>
                </a:ext>
              </a:extLst>
            </p:cNvPr>
            <p:cNvSpPr/>
            <p:nvPr/>
          </p:nvSpPr>
          <p:spPr>
            <a:xfrm rot="8716295">
              <a:off x="2653132" y="399264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" name="Forme libre : forme 119">
              <a:extLst>
                <a:ext uri="{FF2B5EF4-FFF2-40B4-BE49-F238E27FC236}">
                  <a16:creationId xmlns:a16="http://schemas.microsoft.com/office/drawing/2014/main" id="{84547BFC-5C73-4C79-BC1E-65D2DA2F8F0F}"/>
                </a:ext>
              </a:extLst>
            </p:cNvPr>
            <p:cNvSpPr/>
            <p:nvPr/>
          </p:nvSpPr>
          <p:spPr>
            <a:xfrm rot="8716295">
              <a:off x="2496356" y="413822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" name="Forme libre : forme 120">
              <a:extLst>
                <a:ext uri="{FF2B5EF4-FFF2-40B4-BE49-F238E27FC236}">
                  <a16:creationId xmlns:a16="http://schemas.microsoft.com/office/drawing/2014/main" id="{1433A272-01C5-407E-A681-F11EFA1E77DE}"/>
                </a:ext>
              </a:extLst>
            </p:cNvPr>
            <p:cNvSpPr/>
            <p:nvPr/>
          </p:nvSpPr>
          <p:spPr>
            <a:xfrm rot="8716295">
              <a:off x="2371453" y="392955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" name="Forme libre : forme 121">
              <a:extLst>
                <a:ext uri="{FF2B5EF4-FFF2-40B4-BE49-F238E27FC236}">
                  <a16:creationId xmlns:a16="http://schemas.microsoft.com/office/drawing/2014/main" id="{B66B2FCE-B89D-4CFE-947C-F30A5386F13E}"/>
                </a:ext>
              </a:extLst>
            </p:cNvPr>
            <p:cNvSpPr/>
            <p:nvPr/>
          </p:nvSpPr>
          <p:spPr>
            <a:xfrm rot="8716295">
              <a:off x="2359401" y="379077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" name="Forme libre : forme 122">
              <a:extLst>
                <a:ext uri="{FF2B5EF4-FFF2-40B4-BE49-F238E27FC236}">
                  <a16:creationId xmlns:a16="http://schemas.microsoft.com/office/drawing/2014/main" id="{CB1F906C-3F04-489D-B712-86F36DCF301D}"/>
                </a:ext>
              </a:extLst>
            </p:cNvPr>
            <p:cNvSpPr/>
            <p:nvPr/>
          </p:nvSpPr>
          <p:spPr>
            <a:xfrm rot="8716295">
              <a:off x="2586534" y="417917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" name="Forme libre : forme 123">
              <a:extLst>
                <a:ext uri="{FF2B5EF4-FFF2-40B4-BE49-F238E27FC236}">
                  <a16:creationId xmlns:a16="http://schemas.microsoft.com/office/drawing/2014/main" id="{BA0DE2D1-2098-4B24-BF1D-8B4133E050A7}"/>
                </a:ext>
              </a:extLst>
            </p:cNvPr>
            <p:cNvSpPr/>
            <p:nvPr/>
          </p:nvSpPr>
          <p:spPr>
            <a:xfrm rot="8716295">
              <a:off x="2897689" y="379952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" name="Forme libre : forme 124">
              <a:extLst>
                <a:ext uri="{FF2B5EF4-FFF2-40B4-BE49-F238E27FC236}">
                  <a16:creationId xmlns:a16="http://schemas.microsoft.com/office/drawing/2014/main" id="{280C5645-8889-4114-AA92-3C2F280AAAB1}"/>
                </a:ext>
              </a:extLst>
            </p:cNvPr>
            <p:cNvSpPr/>
            <p:nvPr/>
          </p:nvSpPr>
          <p:spPr>
            <a:xfrm rot="8716295">
              <a:off x="2989368" y="3839999"/>
              <a:ext cx="209149" cy="253771"/>
            </a:xfrm>
            <a:custGeom>
              <a:avLst/>
              <a:gdLst>
                <a:gd name="connsiteX0" fmla="*/ 147179 w 209149"/>
                <a:gd name="connsiteY0" fmla="*/ 97023 h 253771"/>
                <a:gd name="connsiteX1" fmla="*/ 147179 w 209149"/>
                <a:gd name="connsiteY1" fmla="*/ 80620 h 253771"/>
                <a:gd name="connsiteX2" fmla="*/ 113460 w 209149"/>
                <a:gd name="connsiteY2" fmla="*/ 39154 h 253771"/>
                <a:gd name="connsiteX3" fmla="*/ 104592 w 209149"/>
                <a:gd name="connsiteY3" fmla="*/ 42082 h 253771"/>
                <a:gd name="connsiteX4" fmla="*/ 139399 w 209149"/>
                <a:gd name="connsiteY4" fmla="*/ 0 h 253771"/>
                <a:gd name="connsiteX5" fmla="*/ 165512 w 209149"/>
                <a:gd name="connsiteY5" fmla="*/ 4538 h 253771"/>
                <a:gd name="connsiteX6" fmla="*/ 209149 w 209149"/>
                <a:gd name="connsiteY6" fmla="*/ 87454 h 253771"/>
                <a:gd name="connsiteX7" fmla="*/ 209149 w 209149"/>
                <a:gd name="connsiteY7" fmla="*/ 93378 h 253771"/>
                <a:gd name="connsiteX8" fmla="*/ 0 w 209149"/>
                <a:gd name="connsiteY8" fmla="*/ 253771 h 253771"/>
                <a:gd name="connsiteX9" fmla="*/ 0 w 209149"/>
                <a:gd name="connsiteY9" fmla="*/ 168537 h 253771"/>
                <a:gd name="connsiteX10" fmla="*/ 65782 w 209149"/>
                <a:gd name="connsiteY10" fmla="*/ 89005 h 253771"/>
                <a:gd name="connsiteX11" fmla="*/ 64377 w 209149"/>
                <a:gd name="connsiteY11" fmla="*/ 92403 h 253771"/>
                <a:gd name="connsiteX12" fmla="*/ 60148 w 209149"/>
                <a:gd name="connsiteY12" fmla="*/ 126641 h 253771"/>
                <a:gd name="connsiteX13" fmla="*/ 60148 w 209149"/>
                <a:gd name="connsiteY13" fmla="*/ 212762 h 253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9149" h="253771">
                  <a:moveTo>
                    <a:pt x="147179" y="97023"/>
                  </a:moveTo>
                  <a:lnTo>
                    <a:pt x="147179" y="80620"/>
                  </a:lnTo>
                  <a:cubicBezTo>
                    <a:pt x="147179" y="56013"/>
                    <a:pt x="133054" y="39154"/>
                    <a:pt x="113460" y="39154"/>
                  </a:cubicBezTo>
                  <a:lnTo>
                    <a:pt x="104592" y="42082"/>
                  </a:lnTo>
                  <a:lnTo>
                    <a:pt x="139399" y="0"/>
                  </a:lnTo>
                  <a:lnTo>
                    <a:pt x="165512" y="4538"/>
                  </a:lnTo>
                  <a:cubicBezTo>
                    <a:pt x="193258" y="16029"/>
                    <a:pt x="209149" y="45077"/>
                    <a:pt x="209149" y="87454"/>
                  </a:cubicBezTo>
                  <a:lnTo>
                    <a:pt x="209149" y="93378"/>
                  </a:lnTo>
                  <a:close/>
                  <a:moveTo>
                    <a:pt x="0" y="253771"/>
                  </a:moveTo>
                  <a:lnTo>
                    <a:pt x="0" y="168537"/>
                  </a:lnTo>
                  <a:lnTo>
                    <a:pt x="65782" y="89005"/>
                  </a:lnTo>
                  <a:lnTo>
                    <a:pt x="64377" y="92403"/>
                  </a:lnTo>
                  <a:cubicBezTo>
                    <a:pt x="61657" y="102890"/>
                    <a:pt x="60148" y="114452"/>
                    <a:pt x="60148" y="126641"/>
                  </a:cubicBezTo>
                  <a:lnTo>
                    <a:pt x="60148" y="2127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" name="Forme libre : forme 125">
              <a:extLst>
                <a:ext uri="{FF2B5EF4-FFF2-40B4-BE49-F238E27FC236}">
                  <a16:creationId xmlns:a16="http://schemas.microsoft.com/office/drawing/2014/main" id="{12C74CA9-7295-4DD3-B257-BC02E33DC169}"/>
                </a:ext>
              </a:extLst>
            </p:cNvPr>
            <p:cNvSpPr/>
            <p:nvPr/>
          </p:nvSpPr>
          <p:spPr>
            <a:xfrm rot="8716295">
              <a:off x="2785455" y="388807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" name="Forme libre : forme 126">
              <a:extLst>
                <a:ext uri="{FF2B5EF4-FFF2-40B4-BE49-F238E27FC236}">
                  <a16:creationId xmlns:a16="http://schemas.microsoft.com/office/drawing/2014/main" id="{5EABE596-751A-434B-B681-D5C7A4015BC8}"/>
                </a:ext>
              </a:extLst>
            </p:cNvPr>
            <p:cNvSpPr/>
            <p:nvPr/>
          </p:nvSpPr>
          <p:spPr>
            <a:xfrm rot="8716295">
              <a:off x="2660553" y="367940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" name="Forme libre : forme 127">
              <a:extLst>
                <a:ext uri="{FF2B5EF4-FFF2-40B4-BE49-F238E27FC236}">
                  <a16:creationId xmlns:a16="http://schemas.microsoft.com/office/drawing/2014/main" id="{34A25BB8-E5A6-43A3-A6BE-6CBEBC3F2CD9}"/>
                </a:ext>
              </a:extLst>
            </p:cNvPr>
            <p:cNvSpPr/>
            <p:nvPr/>
          </p:nvSpPr>
          <p:spPr>
            <a:xfrm rot="8716295">
              <a:off x="2875633" y="392902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" name="Forme libre : forme 128">
              <a:extLst>
                <a:ext uri="{FF2B5EF4-FFF2-40B4-BE49-F238E27FC236}">
                  <a16:creationId xmlns:a16="http://schemas.microsoft.com/office/drawing/2014/main" id="{BC27C288-1E66-4F8B-924C-4EDB2BC25294}"/>
                </a:ext>
              </a:extLst>
            </p:cNvPr>
            <p:cNvSpPr/>
            <p:nvPr/>
          </p:nvSpPr>
          <p:spPr>
            <a:xfrm rot="8716295">
              <a:off x="2634182" y="377942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" name="Forme libre : forme 129">
              <a:extLst>
                <a:ext uri="{FF2B5EF4-FFF2-40B4-BE49-F238E27FC236}">
                  <a16:creationId xmlns:a16="http://schemas.microsoft.com/office/drawing/2014/main" id="{C22A0888-0C9E-4945-82D7-7EE608C46CC7}"/>
                </a:ext>
              </a:extLst>
            </p:cNvPr>
            <p:cNvSpPr/>
            <p:nvPr/>
          </p:nvSpPr>
          <p:spPr>
            <a:xfrm rot="7484129">
              <a:off x="2986722" y="4140706"/>
              <a:ext cx="156000" cy="195873"/>
            </a:xfrm>
            <a:custGeom>
              <a:avLst/>
              <a:gdLst>
                <a:gd name="connsiteX0" fmla="*/ 42863 w 156000"/>
                <a:gd name="connsiteY0" fmla="*/ 195873 h 195873"/>
                <a:gd name="connsiteX1" fmla="*/ 0 w 156000"/>
                <a:gd name="connsiteY1" fmla="*/ 116129 h 195873"/>
                <a:gd name="connsiteX2" fmla="*/ 19423 w 156000"/>
                <a:gd name="connsiteY2" fmla="*/ 62274 h 195873"/>
                <a:gd name="connsiteX3" fmla="*/ 127856 w 156000"/>
                <a:gd name="connsiteY3" fmla="*/ 0 h 195873"/>
                <a:gd name="connsiteX4" fmla="*/ 156000 w 156000"/>
                <a:gd name="connsiteY4" fmla="*/ 0 h 195873"/>
                <a:gd name="connsiteX5" fmla="*/ 156000 w 156000"/>
                <a:gd name="connsiteY5" fmla="*/ 55323 h 195873"/>
                <a:gd name="connsiteX6" fmla="*/ 91208 w 156000"/>
                <a:gd name="connsiteY6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000" h="195873">
                  <a:moveTo>
                    <a:pt x="42863" y="195873"/>
                  </a:moveTo>
                  <a:lnTo>
                    <a:pt x="0" y="116129"/>
                  </a:lnTo>
                  <a:lnTo>
                    <a:pt x="19423" y="62274"/>
                  </a:lnTo>
                  <a:lnTo>
                    <a:pt x="127856" y="0"/>
                  </a:lnTo>
                  <a:lnTo>
                    <a:pt x="156000" y="0"/>
                  </a:lnTo>
                  <a:lnTo>
                    <a:pt x="156000" y="55323"/>
                  </a:lnTo>
                  <a:lnTo>
                    <a:pt x="91208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" name="Forme libre : forme 130">
              <a:extLst>
                <a:ext uri="{FF2B5EF4-FFF2-40B4-BE49-F238E27FC236}">
                  <a16:creationId xmlns:a16="http://schemas.microsoft.com/office/drawing/2014/main" id="{B1E3FE16-8016-4EF3-8614-3D1D60105986}"/>
                </a:ext>
              </a:extLst>
            </p:cNvPr>
            <p:cNvSpPr/>
            <p:nvPr/>
          </p:nvSpPr>
          <p:spPr>
            <a:xfrm rot="8716295">
              <a:off x="2975918" y="382185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" name="Forme libre : forme 131">
              <a:extLst>
                <a:ext uri="{FF2B5EF4-FFF2-40B4-BE49-F238E27FC236}">
                  <a16:creationId xmlns:a16="http://schemas.microsoft.com/office/drawing/2014/main" id="{E69AE829-0E6B-4637-B9A4-FB76BF7CE509}"/>
                </a:ext>
              </a:extLst>
            </p:cNvPr>
            <p:cNvSpPr/>
            <p:nvPr/>
          </p:nvSpPr>
          <p:spPr>
            <a:xfrm rot="8716295">
              <a:off x="3136327" y="3677877"/>
              <a:ext cx="62210" cy="70771"/>
            </a:xfrm>
            <a:custGeom>
              <a:avLst/>
              <a:gdLst>
                <a:gd name="connsiteX0" fmla="*/ 0 w 62210"/>
                <a:gd name="connsiteY0" fmla="*/ 69343 h 70771"/>
                <a:gd name="connsiteX1" fmla="*/ 57354 w 62210"/>
                <a:gd name="connsiteY1" fmla="*/ 0 h 70771"/>
                <a:gd name="connsiteX2" fmla="*/ 62210 w 62210"/>
                <a:gd name="connsiteY2" fmla="*/ 11557 h 70771"/>
                <a:gd name="connsiteX3" fmla="*/ 44963 w 62210"/>
                <a:gd name="connsiteY3" fmla="*/ 53294 h 70771"/>
                <a:gd name="connsiteX4" fmla="*/ 3570 w 62210"/>
                <a:gd name="connsiteY4" fmla="*/ 70771 h 70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210" h="70771">
                  <a:moveTo>
                    <a:pt x="0" y="69343"/>
                  </a:moveTo>
                  <a:lnTo>
                    <a:pt x="57354" y="0"/>
                  </a:lnTo>
                  <a:lnTo>
                    <a:pt x="62210" y="11557"/>
                  </a:lnTo>
                  <a:cubicBezTo>
                    <a:pt x="62210" y="26619"/>
                    <a:pt x="56461" y="41796"/>
                    <a:pt x="44963" y="53294"/>
                  </a:cubicBezTo>
                  <a:cubicBezTo>
                    <a:pt x="33925" y="64332"/>
                    <a:pt x="19208" y="70771"/>
                    <a:pt x="3570" y="7077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" name="Forme libre : forme 132">
              <a:extLst>
                <a:ext uri="{FF2B5EF4-FFF2-40B4-BE49-F238E27FC236}">
                  <a16:creationId xmlns:a16="http://schemas.microsoft.com/office/drawing/2014/main" id="{D37688C2-C0A6-4E05-B609-4CB494CE709C}"/>
                </a:ext>
              </a:extLst>
            </p:cNvPr>
            <p:cNvSpPr/>
            <p:nvPr/>
          </p:nvSpPr>
          <p:spPr>
            <a:xfrm rot="8716295">
              <a:off x="2831757" y="470938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" name="Forme libre : forme 133">
              <a:extLst>
                <a:ext uri="{FF2B5EF4-FFF2-40B4-BE49-F238E27FC236}">
                  <a16:creationId xmlns:a16="http://schemas.microsoft.com/office/drawing/2014/main" id="{A3A6BF4C-1E72-4FF3-8FB3-699E9245E152}"/>
                </a:ext>
              </a:extLst>
            </p:cNvPr>
            <p:cNvSpPr/>
            <p:nvPr/>
          </p:nvSpPr>
          <p:spPr>
            <a:xfrm rot="8716295">
              <a:off x="2922791" y="4750051"/>
              <a:ext cx="209149" cy="251506"/>
            </a:xfrm>
            <a:custGeom>
              <a:avLst/>
              <a:gdLst>
                <a:gd name="connsiteX0" fmla="*/ 147179 w 209149"/>
                <a:gd name="connsiteY0" fmla="*/ 94758 h 251506"/>
                <a:gd name="connsiteX1" fmla="*/ 147179 w 209149"/>
                <a:gd name="connsiteY1" fmla="*/ 78354 h 251506"/>
                <a:gd name="connsiteX2" fmla="*/ 137667 w 209149"/>
                <a:gd name="connsiteY2" fmla="*/ 48394 h 251506"/>
                <a:gd name="connsiteX3" fmla="*/ 119535 w 209149"/>
                <a:gd name="connsiteY3" fmla="*/ 39776 h 251506"/>
                <a:gd name="connsiteX4" fmla="*/ 152434 w 209149"/>
                <a:gd name="connsiteY4" fmla="*/ 0 h 251506"/>
                <a:gd name="connsiteX5" fmla="*/ 165512 w 209149"/>
                <a:gd name="connsiteY5" fmla="*/ 2273 h 251506"/>
                <a:gd name="connsiteX6" fmla="*/ 209149 w 209149"/>
                <a:gd name="connsiteY6" fmla="*/ 85189 h 251506"/>
                <a:gd name="connsiteX7" fmla="*/ 209149 w 209149"/>
                <a:gd name="connsiteY7" fmla="*/ 91113 h 251506"/>
                <a:gd name="connsiteX8" fmla="*/ 0 w 209149"/>
                <a:gd name="connsiteY8" fmla="*/ 251506 h 251506"/>
                <a:gd name="connsiteX9" fmla="*/ 0 w 209149"/>
                <a:gd name="connsiteY9" fmla="*/ 184297 h 251506"/>
                <a:gd name="connsiteX10" fmla="*/ 62006 w 209149"/>
                <a:gd name="connsiteY10" fmla="*/ 109330 h 251506"/>
                <a:gd name="connsiteX11" fmla="*/ 60148 w 209149"/>
                <a:gd name="connsiteY11" fmla="*/ 124376 h 251506"/>
                <a:gd name="connsiteX12" fmla="*/ 60148 w 209149"/>
                <a:gd name="connsiteY12" fmla="*/ 210497 h 251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9149" h="251506">
                  <a:moveTo>
                    <a:pt x="147179" y="94758"/>
                  </a:moveTo>
                  <a:lnTo>
                    <a:pt x="147179" y="78354"/>
                  </a:lnTo>
                  <a:cubicBezTo>
                    <a:pt x="147179" y="66051"/>
                    <a:pt x="143648" y="55685"/>
                    <a:pt x="137667" y="48394"/>
                  </a:cubicBezTo>
                  <a:lnTo>
                    <a:pt x="119535" y="39776"/>
                  </a:lnTo>
                  <a:lnTo>
                    <a:pt x="152434" y="0"/>
                  </a:lnTo>
                  <a:lnTo>
                    <a:pt x="165512" y="2273"/>
                  </a:lnTo>
                  <a:cubicBezTo>
                    <a:pt x="193258" y="13764"/>
                    <a:pt x="209149" y="42812"/>
                    <a:pt x="209149" y="85189"/>
                  </a:cubicBezTo>
                  <a:lnTo>
                    <a:pt x="209149" y="91113"/>
                  </a:lnTo>
                  <a:close/>
                  <a:moveTo>
                    <a:pt x="0" y="251506"/>
                  </a:moveTo>
                  <a:lnTo>
                    <a:pt x="0" y="184297"/>
                  </a:lnTo>
                  <a:lnTo>
                    <a:pt x="62006" y="109330"/>
                  </a:lnTo>
                  <a:lnTo>
                    <a:pt x="60148" y="124376"/>
                  </a:lnTo>
                  <a:lnTo>
                    <a:pt x="60148" y="21049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" name="Forme libre : forme 134">
              <a:extLst>
                <a:ext uri="{FF2B5EF4-FFF2-40B4-BE49-F238E27FC236}">
                  <a16:creationId xmlns:a16="http://schemas.microsoft.com/office/drawing/2014/main" id="{5140B893-7827-4D80-AD77-FD3E70DDBAED}"/>
                </a:ext>
              </a:extLst>
            </p:cNvPr>
            <p:cNvSpPr/>
            <p:nvPr/>
          </p:nvSpPr>
          <p:spPr>
            <a:xfrm rot="8716295">
              <a:off x="2876299" y="465234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" name="Forme libre : forme 135">
              <a:extLst>
                <a:ext uri="{FF2B5EF4-FFF2-40B4-BE49-F238E27FC236}">
                  <a16:creationId xmlns:a16="http://schemas.microsoft.com/office/drawing/2014/main" id="{CEF19F0C-E18C-48D8-9AB5-6885668C7FC0}"/>
                </a:ext>
              </a:extLst>
            </p:cNvPr>
            <p:cNvSpPr/>
            <p:nvPr/>
          </p:nvSpPr>
          <p:spPr>
            <a:xfrm rot="8716295">
              <a:off x="2719523" y="479792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" name="Forme libre : forme 136">
              <a:extLst>
                <a:ext uri="{FF2B5EF4-FFF2-40B4-BE49-F238E27FC236}">
                  <a16:creationId xmlns:a16="http://schemas.microsoft.com/office/drawing/2014/main" id="{0BB22A70-3803-482F-84FC-984B6EC6C374}"/>
                </a:ext>
              </a:extLst>
            </p:cNvPr>
            <p:cNvSpPr/>
            <p:nvPr/>
          </p:nvSpPr>
          <p:spPr>
            <a:xfrm rot="8716295">
              <a:off x="2594620" y="458925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" name="Forme libre : forme 137">
              <a:extLst>
                <a:ext uri="{FF2B5EF4-FFF2-40B4-BE49-F238E27FC236}">
                  <a16:creationId xmlns:a16="http://schemas.microsoft.com/office/drawing/2014/main" id="{BB66996B-CABF-4C18-97CF-8361430CCC5E}"/>
                </a:ext>
              </a:extLst>
            </p:cNvPr>
            <p:cNvSpPr/>
            <p:nvPr/>
          </p:nvSpPr>
          <p:spPr>
            <a:xfrm rot="8716295">
              <a:off x="2582568" y="4450471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" name="Forme libre : forme 138">
              <a:extLst>
                <a:ext uri="{FF2B5EF4-FFF2-40B4-BE49-F238E27FC236}">
                  <a16:creationId xmlns:a16="http://schemas.microsoft.com/office/drawing/2014/main" id="{EE47147C-71F2-4045-A9A2-5EC38820966E}"/>
                </a:ext>
              </a:extLst>
            </p:cNvPr>
            <p:cNvSpPr/>
            <p:nvPr/>
          </p:nvSpPr>
          <p:spPr>
            <a:xfrm rot="8716295">
              <a:off x="2809701" y="483887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" name="Forme libre : forme 139">
              <a:extLst>
                <a:ext uri="{FF2B5EF4-FFF2-40B4-BE49-F238E27FC236}">
                  <a16:creationId xmlns:a16="http://schemas.microsoft.com/office/drawing/2014/main" id="{89BAF661-43F0-4B4A-A23C-BA7CE46BDD71}"/>
                </a:ext>
              </a:extLst>
            </p:cNvPr>
            <p:cNvSpPr/>
            <p:nvPr/>
          </p:nvSpPr>
          <p:spPr>
            <a:xfrm rot="8716295">
              <a:off x="3081353" y="4514214"/>
              <a:ext cx="36672" cy="44337"/>
            </a:xfrm>
            <a:custGeom>
              <a:avLst/>
              <a:gdLst>
                <a:gd name="connsiteX0" fmla="*/ 0 w 36672"/>
                <a:gd name="connsiteY0" fmla="*/ 44337 h 44337"/>
                <a:gd name="connsiteX1" fmla="*/ 36672 w 36672"/>
                <a:gd name="connsiteY1" fmla="*/ 0 h 44337"/>
                <a:gd name="connsiteX2" fmla="*/ 36672 w 36672"/>
                <a:gd name="connsiteY2" fmla="*/ 29833 h 44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672" h="44337">
                  <a:moveTo>
                    <a:pt x="0" y="44337"/>
                  </a:moveTo>
                  <a:lnTo>
                    <a:pt x="36672" y="0"/>
                  </a:lnTo>
                  <a:lnTo>
                    <a:pt x="36672" y="298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" name="Forme libre : forme 140">
              <a:extLst>
                <a:ext uri="{FF2B5EF4-FFF2-40B4-BE49-F238E27FC236}">
                  <a16:creationId xmlns:a16="http://schemas.microsoft.com/office/drawing/2014/main" id="{63A651C5-5D05-4459-83FE-EB640DC8F382}"/>
                </a:ext>
              </a:extLst>
            </p:cNvPr>
            <p:cNvSpPr/>
            <p:nvPr/>
          </p:nvSpPr>
          <p:spPr>
            <a:xfrm rot="8716295">
              <a:off x="3008622" y="45477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" name="Forme libre : forme 141">
              <a:extLst>
                <a:ext uri="{FF2B5EF4-FFF2-40B4-BE49-F238E27FC236}">
                  <a16:creationId xmlns:a16="http://schemas.microsoft.com/office/drawing/2014/main" id="{092AE7DF-4653-4199-BFAC-73916EFC860A}"/>
                </a:ext>
              </a:extLst>
            </p:cNvPr>
            <p:cNvSpPr/>
            <p:nvPr/>
          </p:nvSpPr>
          <p:spPr>
            <a:xfrm rot="8716295">
              <a:off x="2879209" y="433901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22587 h 195874"/>
                <a:gd name="connsiteX5" fmla="*/ 18682 w 203847"/>
                <a:gd name="connsiteY5" fmla="*/ 0 h 195874"/>
                <a:gd name="connsiteX6" fmla="*/ 203847 w 203847"/>
                <a:gd name="connsiteY6" fmla="*/ 0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22587"/>
                  </a:lnTo>
                  <a:lnTo>
                    <a:pt x="18682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" name="Forme libre : forme 142">
              <a:extLst>
                <a:ext uri="{FF2B5EF4-FFF2-40B4-BE49-F238E27FC236}">
                  <a16:creationId xmlns:a16="http://schemas.microsoft.com/office/drawing/2014/main" id="{D41ED30F-3026-421E-ABA6-358575487EBA}"/>
                </a:ext>
              </a:extLst>
            </p:cNvPr>
            <p:cNvSpPr/>
            <p:nvPr/>
          </p:nvSpPr>
          <p:spPr>
            <a:xfrm rot="8716295">
              <a:off x="3061023" y="4621511"/>
              <a:ext cx="34902" cy="75779"/>
            </a:xfrm>
            <a:custGeom>
              <a:avLst/>
              <a:gdLst>
                <a:gd name="connsiteX0" fmla="*/ 34902 w 34902"/>
                <a:gd name="connsiteY0" fmla="*/ 75779 h 75779"/>
                <a:gd name="connsiteX1" fmla="*/ 0 w 34902"/>
                <a:gd name="connsiteY1" fmla="*/ 42198 h 75779"/>
                <a:gd name="connsiteX2" fmla="*/ 34902 w 34902"/>
                <a:gd name="connsiteY2" fmla="*/ 0 h 75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902" h="75779">
                  <a:moveTo>
                    <a:pt x="34902" y="75779"/>
                  </a:moveTo>
                  <a:lnTo>
                    <a:pt x="0" y="42198"/>
                  </a:lnTo>
                  <a:lnTo>
                    <a:pt x="3490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4" name="Forme libre : forme 143">
              <a:extLst>
                <a:ext uri="{FF2B5EF4-FFF2-40B4-BE49-F238E27FC236}">
                  <a16:creationId xmlns:a16="http://schemas.microsoft.com/office/drawing/2014/main" id="{3F91EA7A-2760-47AB-B973-A377384BFCEB}"/>
                </a:ext>
              </a:extLst>
            </p:cNvPr>
            <p:cNvSpPr/>
            <p:nvPr/>
          </p:nvSpPr>
          <p:spPr>
            <a:xfrm rot="8716295">
              <a:off x="2857349" y="443912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5" name="Forme libre : forme 144">
              <a:extLst>
                <a:ext uri="{FF2B5EF4-FFF2-40B4-BE49-F238E27FC236}">
                  <a16:creationId xmlns:a16="http://schemas.microsoft.com/office/drawing/2014/main" id="{41EE0DAC-E1CD-4DF6-B038-DF99C017AF47}"/>
                </a:ext>
              </a:extLst>
            </p:cNvPr>
            <p:cNvSpPr/>
            <p:nvPr/>
          </p:nvSpPr>
          <p:spPr>
            <a:xfrm rot="8716295">
              <a:off x="1945235" y="207061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6" name="Forme libre : forme 145">
              <a:extLst>
                <a:ext uri="{FF2B5EF4-FFF2-40B4-BE49-F238E27FC236}">
                  <a16:creationId xmlns:a16="http://schemas.microsoft.com/office/drawing/2014/main" id="{280B0FCB-6B6E-4C11-92C1-4D7A5EC1D4AD}"/>
                </a:ext>
              </a:extLst>
            </p:cNvPr>
            <p:cNvSpPr/>
            <p:nvPr/>
          </p:nvSpPr>
          <p:spPr>
            <a:xfrm rot="8716295">
              <a:off x="2034627" y="209985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7" name="Forme libre : forme 146">
              <a:extLst>
                <a:ext uri="{FF2B5EF4-FFF2-40B4-BE49-F238E27FC236}">
                  <a16:creationId xmlns:a16="http://schemas.microsoft.com/office/drawing/2014/main" id="{9891BA28-484A-4733-8CF3-53CE88879C65}"/>
                </a:ext>
              </a:extLst>
            </p:cNvPr>
            <p:cNvSpPr/>
            <p:nvPr/>
          </p:nvSpPr>
          <p:spPr>
            <a:xfrm rot="8716295">
              <a:off x="1989777" y="201357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8" name="Forme libre : forme 147">
              <a:extLst>
                <a:ext uri="{FF2B5EF4-FFF2-40B4-BE49-F238E27FC236}">
                  <a16:creationId xmlns:a16="http://schemas.microsoft.com/office/drawing/2014/main" id="{9E43636F-0BE6-4C9B-B96D-D3D316F85163}"/>
                </a:ext>
              </a:extLst>
            </p:cNvPr>
            <p:cNvSpPr/>
            <p:nvPr/>
          </p:nvSpPr>
          <p:spPr>
            <a:xfrm rot="8716295">
              <a:off x="1833001" y="215915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9" name="Forme libre : forme 148">
              <a:extLst>
                <a:ext uri="{FF2B5EF4-FFF2-40B4-BE49-F238E27FC236}">
                  <a16:creationId xmlns:a16="http://schemas.microsoft.com/office/drawing/2014/main" id="{E5C5D07F-1F3F-49A7-9D1F-45F1F92DDF33}"/>
                </a:ext>
              </a:extLst>
            </p:cNvPr>
            <p:cNvSpPr/>
            <p:nvPr/>
          </p:nvSpPr>
          <p:spPr>
            <a:xfrm rot="8716295">
              <a:off x="1708098" y="195048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0" name="Forme libre : forme 149">
              <a:extLst>
                <a:ext uri="{FF2B5EF4-FFF2-40B4-BE49-F238E27FC236}">
                  <a16:creationId xmlns:a16="http://schemas.microsoft.com/office/drawing/2014/main" id="{207E57C6-B2AE-4BC9-A0BC-164A405D607B}"/>
                </a:ext>
              </a:extLst>
            </p:cNvPr>
            <p:cNvSpPr/>
            <p:nvPr/>
          </p:nvSpPr>
          <p:spPr>
            <a:xfrm rot="8716295">
              <a:off x="1696046" y="181170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1" name="Forme libre : forme 150">
              <a:extLst>
                <a:ext uri="{FF2B5EF4-FFF2-40B4-BE49-F238E27FC236}">
                  <a16:creationId xmlns:a16="http://schemas.microsoft.com/office/drawing/2014/main" id="{FD7783C5-00B3-479F-9977-DAF07693A1CC}"/>
                </a:ext>
              </a:extLst>
            </p:cNvPr>
            <p:cNvSpPr/>
            <p:nvPr/>
          </p:nvSpPr>
          <p:spPr>
            <a:xfrm rot="8716295">
              <a:off x="1923179" y="220010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2" name="Forme libre : forme 151">
              <a:extLst>
                <a:ext uri="{FF2B5EF4-FFF2-40B4-BE49-F238E27FC236}">
                  <a16:creationId xmlns:a16="http://schemas.microsoft.com/office/drawing/2014/main" id="{DEFBD7BA-14F9-43E3-A392-63B2C3EB3D89}"/>
                </a:ext>
              </a:extLst>
            </p:cNvPr>
            <p:cNvSpPr/>
            <p:nvPr/>
          </p:nvSpPr>
          <p:spPr>
            <a:xfrm rot="8716295">
              <a:off x="2234334" y="182046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3" name="Forme libre : forme 152">
              <a:extLst>
                <a:ext uri="{FF2B5EF4-FFF2-40B4-BE49-F238E27FC236}">
                  <a16:creationId xmlns:a16="http://schemas.microsoft.com/office/drawing/2014/main" id="{FA5B5BF3-F8F8-4C26-90BE-9AB63A9858C0}"/>
                </a:ext>
              </a:extLst>
            </p:cNvPr>
            <p:cNvSpPr/>
            <p:nvPr/>
          </p:nvSpPr>
          <p:spPr>
            <a:xfrm rot="8716295">
              <a:off x="2323726" y="184970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4" name="Forme libre : forme 153">
              <a:extLst>
                <a:ext uri="{FF2B5EF4-FFF2-40B4-BE49-F238E27FC236}">
                  <a16:creationId xmlns:a16="http://schemas.microsoft.com/office/drawing/2014/main" id="{7D4A76DD-C0C6-4680-9B5E-C0F67CFE2306}"/>
                </a:ext>
              </a:extLst>
            </p:cNvPr>
            <p:cNvSpPr/>
            <p:nvPr/>
          </p:nvSpPr>
          <p:spPr>
            <a:xfrm rot="8716295">
              <a:off x="2122100" y="19090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5" name="Forme libre : forme 154">
              <a:extLst>
                <a:ext uri="{FF2B5EF4-FFF2-40B4-BE49-F238E27FC236}">
                  <a16:creationId xmlns:a16="http://schemas.microsoft.com/office/drawing/2014/main" id="{6F20D922-BA49-4338-8552-0E24349BE40F}"/>
                </a:ext>
              </a:extLst>
            </p:cNvPr>
            <p:cNvSpPr/>
            <p:nvPr/>
          </p:nvSpPr>
          <p:spPr>
            <a:xfrm rot="8716295">
              <a:off x="1997198" y="170033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6" name="Forme libre : forme 155">
              <a:extLst>
                <a:ext uri="{FF2B5EF4-FFF2-40B4-BE49-F238E27FC236}">
                  <a16:creationId xmlns:a16="http://schemas.microsoft.com/office/drawing/2014/main" id="{C49CE272-F4B5-48DE-8F4E-72BDDD64982A}"/>
                </a:ext>
              </a:extLst>
            </p:cNvPr>
            <p:cNvSpPr/>
            <p:nvPr/>
          </p:nvSpPr>
          <p:spPr>
            <a:xfrm rot="8716295">
              <a:off x="2212278" y="194995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7" name="Forme libre : forme 156">
              <a:extLst>
                <a:ext uri="{FF2B5EF4-FFF2-40B4-BE49-F238E27FC236}">
                  <a16:creationId xmlns:a16="http://schemas.microsoft.com/office/drawing/2014/main" id="{89A0B9F3-EFEE-493B-B0C9-5CE4EF3AC015}"/>
                </a:ext>
              </a:extLst>
            </p:cNvPr>
            <p:cNvSpPr/>
            <p:nvPr/>
          </p:nvSpPr>
          <p:spPr>
            <a:xfrm rot="8716295">
              <a:off x="1970827" y="180035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8" name="Forme libre : forme 157">
              <a:extLst>
                <a:ext uri="{FF2B5EF4-FFF2-40B4-BE49-F238E27FC236}">
                  <a16:creationId xmlns:a16="http://schemas.microsoft.com/office/drawing/2014/main" id="{381186EF-923B-4BA3-A64F-0BC643A96F05}"/>
                </a:ext>
              </a:extLst>
            </p:cNvPr>
            <p:cNvSpPr/>
            <p:nvPr/>
          </p:nvSpPr>
          <p:spPr>
            <a:xfrm rot="7484129">
              <a:off x="2317209" y="214130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9" name="Forme libre : forme 158">
              <a:extLst>
                <a:ext uri="{FF2B5EF4-FFF2-40B4-BE49-F238E27FC236}">
                  <a16:creationId xmlns:a16="http://schemas.microsoft.com/office/drawing/2014/main" id="{788393C8-C36C-4E12-8713-6D9894A034E5}"/>
                </a:ext>
              </a:extLst>
            </p:cNvPr>
            <p:cNvSpPr/>
            <p:nvPr/>
          </p:nvSpPr>
          <p:spPr>
            <a:xfrm rot="13089394">
              <a:off x="2422029" y="2107841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0" name="Forme libre : forme 159">
              <a:extLst>
                <a:ext uri="{FF2B5EF4-FFF2-40B4-BE49-F238E27FC236}">
                  <a16:creationId xmlns:a16="http://schemas.microsoft.com/office/drawing/2014/main" id="{C4FA5850-C1BD-4E2E-921F-011D1E41FA44}"/>
                </a:ext>
              </a:extLst>
            </p:cNvPr>
            <p:cNvSpPr/>
            <p:nvPr/>
          </p:nvSpPr>
          <p:spPr>
            <a:xfrm rot="8716295">
              <a:off x="2607614" y="191616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1" name="Forme libre : forme 160">
              <a:extLst>
                <a:ext uri="{FF2B5EF4-FFF2-40B4-BE49-F238E27FC236}">
                  <a16:creationId xmlns:a16="http://schemas.microsoft.com/office/drawing/2014/main" id="{D19371A5-FFF2-4505-BA78-FDBD81E756C8}"/>
                </a:ext>
              </a:extLst>
            </p:cNvPr>
            <p:cNvSpPr/>
            <p:nvPr/>
          </p:nvSpPr>
          <p:spPr>
            <a:xfrm rot="8716295">
              <a:off x="2555809" y="181256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2" name="Forme libre : forme 161">
              <a:extLst>
                <a:ext uri="{FF2B5EF4-FFF2-40B4-BE49-F238E27FC236}">
                  <a16:creationId xmlns:a16="http://schemas.microsoft.com/office/drawing/2014/main" id="{A15BB5DD-2D34-4EE6-A86F-363F8D953409}"/>
                </a:ext>
              </a:extLst>
            </p:cNvPr>
            <p:cNvSpPr/>
            <p:nvPr/>
          </p:nvSpPr>
          <p:spPr>
            <a:xfrm rot="8716295">
              <a:off x="2312563" y="184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3" name="Forme libre : forme 162">
              <a:extLst>
                <a:ext uri="{FF2B5EF4-FFF2-40B4-BE49-F238E27FC236}">
                  <a16:creationId xmlns:a16="http://schemas.microsoft.com/office/drawing/2014/main" id="{EA840678-0C4C-427E-B930-90E4B3D4F4F5}"/>
                </a:ext>
              </a:extLst>
            </p:cNvPr>
            <p:cNvSpPr/>
            <p:nvPr/>
          </p:nvSpPr>
          <p:spPr>
            <a:xfrm rot="8716295">
              <a:off x="2490015" y="168354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4" name="Forme libre : forme 163">
              <a:extLst>
                <a:ext uri="{FF2B5EF4-FFF2-40B4-BE49-F238E27FC236}">
                  <a16:creationId xmlns:a16="http://schemas.microsoft.com/office/drawing/2014/main" id="{D24A7F84-D7C5-48B5-A2D9-046539552BF1}"/>
                </a:ext>
              </a:extLst>
            </p:cNvPr>
            <p:cNvSpPr/>
            <p:nvPr/>
          </p:nvSpPr>
          <p:spPr>
            <a:xfrm rot="8716295">
              <a:off x="1722068" y="141091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5" name="Forme libre : forme 164">
              <a:extLst>
                <a:ext uri="{FF2B5EF4-FFF2-40B4-BE49-F238E27FC236}">
                  <a16:creationId xmlns:a16="http://schemas.microsoft.com/office/drawing/2014/main" id="{5057A8E5-18E1-48A6-876F-42538393E91C}"/>
                </a:ext>
              </a:extLst>
            </p:cNvPr>
            <p:cNvSpPr/>
            <p:nvPr/>
          </p:nvSpPr>
          <p:spPr>
            <a:xfrm rot="8716295">
              <a:off x="1811460" y="144015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6" name="Forme libre : forme 165">
              <a:extLst>
                <a:ext uri="{FF2B5EF4-FFF2-40B4-BE49-F238E27FC236}">
                  <a16:creationId xmlns:a16="http://schemas.microsoft.com/office/drawing/2014/main" id="{F17BAF41-442E-4918-95C6-E19EEA6D7525}"/>
                </a:ext>
              </a:extLst>
            </p:cNvPr>
            <p:cNvSpPr/>
            <p:nvPr/>
          </p:nvSpPr>
          <p:spPr>
            <a:xfrm rot="8716295">
              <a:off x="1766610" y="135387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7" name="Forme libre : forme 166">
              <a:extLst>
                <a:ext uri="{FF2B5EF4-FFF2-40B4-BE49-F238E27FC236}">
                  <a16:creationId xmlns:a16="http://schemas.microsoft.com/office/drawing/2014/main" id="{62988CCC-AFDA-4601-89EC-2DCFE47EF1C9}"/>
                </a:ext>
              </a:extLst>
            </p:cNvPr>
            <p:cNvSpPr/>
            <p:nvPr/>
          </p:nvSpPr>
          <p:spPr>
            <a:xfrm rot="8716295">
              <a:off x="1609834" y="149945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8" name="Forme libre : forme 167">
              <a:extLst>
                <a:ext uri="{FF2B5EF4-FFF2-40B4-BE49-F238E27FC236}">
                  <a16:creationId xmlns:a16="http://schemas.microsoft.com/office/drawing/2014/main" id="{5054FA74-E8B8-46F3-A02A-768107F93576}"/>
                </a:ext>
              </a:extLst>
            </p:cNvPr>
            <p:cNvSpPr/>
            <p:nvPr/>
          </p:nvSpPr>
          <p:spPr>
            <a:xfrm rot="8716295">
              <a:off x="1484931" y="129078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9" name="Forme libre : forme 168">
              <a:extLst>
                <a:ext uri="{FF2B5EF4-FFF2-40B4-BE49-F238E27FC236}">
                  <a16:creationId xmlns:a16="http://schemas.microsoft.com/office/drawing/2014/main" id="{A04E0DF6-BDC7-4FC4-B1B7-F62238D08C5B}"/>
                </a:ext>
              </a:extLst>
            </p:cNvPr>
            <p:cNvSpPr/>
            <p:nvPr/>
          </p:nvSpPr>
          <p:spPr>
            <a:xfrm rot="8716295">
              <a:off x="1472879" y="115200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0" name="Forme libre : forme 169">
              <a:extLst>
                <a:ext uri="{FF2B5EF4-FFF2-40B4-BE49-F238E27FC236}">
                  <a16:creationId xmlns:a16="http://schemas.microsoft.com/office/drawing/2014/main" id="{57389608-4676-4687-8ECB-4D71B8133D4F}"/>
                </a:ext>
              </a:extLst>
            </p:cNvPr>
            <p:cNvSpPr/>
            <p:nvPr/>
          </p:nvSpPr>
          <p:spPr>
            <a:xfrm rot="8716295">
              <a:off x="1700012" y="154040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1" name="Forme libre : forme 170">
              <a:extLst>
                <a:ext uri="{FF2B5EF4-FFF2-40B4-BE49-F238E27FC236}">
                  <a16:creationId xmlns:a16="http://schemas.microsoft.com/office/drawing/2014/main" id="{B4719429-3450-446C-9492-3B4DE807655B}"/>
                </a:ext>
              </a:extLst>
            </p:cNvPr>
            <p:cNvSpPr/>
            <p:nvPr/>
          </p:nvSpPr>
          <p:spPr>
            <a:xfrm rot="8716295">
              <a:off x="2011167" y="116076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2" name="Forme libre : forme 171">
              <a:extLst>
                <a:ext uri="{FF2B5EF4-FFF2-40B4-BE49-F238E27FC236}">
                  <a16:creationId xmlns:a16="http://schemas.microsoft.com/office/drawing/2014/main" id="{1BD21CA5-EDB3-4B1C-9DA6-85A17C61C7E0}"/>
                </a:ext>
              </a:extLst>
            </p:cNvPr>
            <p:cNvSpPr/>
            <p:nvPr/>
          </p:nvSpPr>
          <p:spPr>
            <a:xfrm rot="8716295">
              <a:off x="2100559" y="119000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3" name="Forme libre : forme 172">
              <a:extLst>
                <a:ext uri="{FF2B5EF4-FFF2-40B4-BE49-F238E27FC236}">
                  <a16:creationId xmlns:a16="http://schemas.microsoft.com/office/drawing/2014/main" id="{7CA91DF5-20FD-481D-801E-1A30383F35AF}"/>
                </a:ext>
              </a:extLst>
            </p:cNvPr>
            <p:cNvSpPr/>
            <p:nvPr/>
          </p:nvSpPr>
          <p:spPr>
            <a:xfrm rot="8716295">
              <a:off x="1898933" y="124930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4" name="Forme libre : forme 173">
              <a:extLst>
                <a:ext uri="{FF2B5EF4-FFF2-40B4-BE49-F238E27FC236}">
                  <a16:creationId xmlns:a16="http://schemas.microsoft.com/office/drawing/2014/main" id="{14C3D20C-5774-494C-8893-5288670D0889}"/>
                </a:ext>
              </a:extLst>
            </p:cNvPr>
            <p:cNvSpPr/>
            <p:nvPr/>
          </p:nvSpPr>
          <p:spPr>
            <a:xfrm rot="8716295">
              <a:off x="1774031" y="104063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5" name="Forme libre : forme 174">
              <a:extLst>
                <a:ext uri="{FF2B5EF4-FFF2-40B4-BE49-F238E27FC236}">
                  <a16:creationId xmlns:a16="http://schemas.microsoft.com/office/drawing/2014/main" id="{921096A6-36F4-49A7-A062-8CA8DFB2FA2B}"/>
                </a:ext>
              </a:extLst>
            </p:cNvPr>
            <p:cNvSpPr/>
            <p:nvPr/>
          </p:nvSpPr>
          <p:spPr>
            <a:xfrm rot="8716295">
              <a:off x="1989111" y="129025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6" name="Forme libre : forme 175">
              <a:extLst>
                <a:ext uri="{FF2B5EF4-FFF2-40B4-BE49-F238E27FC236}">
                  <a16:creationId xmlns:a16="http://schemas.microsoft.com/office/drawing/2014/main" id="{B0920127-DB05-4341-ACD2-55A82DB831D0}"/>
                </a:ext>
              </a:extLst>
            </p:cNvPr>
            <p:cNvSpPr/>
            <p:nvPr/>
          </p:nvSpPr>
          <p:spPr>
            <a:xfrm rot="8716295">
              <a:off x="1747660" y="114065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7" name="Forme libre : forme 176">
              <a:extLst>
                <a:ext uri="{FF2B5EF4-FFF2-40B4-BE49-F238E27FC236}">
                  <a16:creationId xmlns:a16="http://schemas.microsoft.com/office/drawing/2014/main" id="{247E137A-2962-45C6-854D-3C335B97D942}"/>
                </a:ext>
              </a:extLst>
            </p:cNvPr>
            <p:cNvSpPr/>
            <p:nvPr/>
          </p:nvSpPr>
          <p:spPr>
            <a:xfrm rot="7484129">
              <a:off x="2094042" y="148160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8" name="Forme libre : forme 177">
              <a:extLst>
                <a:ext uri="{FF2B5EF4-FFF2-40B4-BE49-F238E27FC236}">
                  <a16:creationId xmlns:a16="http://schemas.microsoft.com/office/drawing/2014/main" id="{AF26B0FA-FC69-4100-A938-0778F8E044BC}"/>
                </a:ext>
              </a:extLst>
            </p:cNvPr>
            <p:cNvSpPr/>
            <p:nvPr/>
          </p:nvSpPr>
          <p:spPr>
            <a:xfrm rot="13089394">
              <a:off x="2198862" y="144814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9" name="Forme libre : forme 178">
              <a:extLst>
                <a:ext uri="{FF2B5EF4-FFF2-40B4-BE49-F238E27FC236}">
                  <a16:creationId xmlns:a16="http://schemas.microsoft.com/office/drawing/2014/main" id="{39EC1976-14A4-4281-9016-8D042C84E539}"/>
                </a:ext>
              </a:extLst>
            </p:cNvPr>
            <p:cNvSpPr/>
            <p:nvPr/>
          </p:nvSpPr>
          <p:spPr>
            <a:xfrm rot="8716295">
              <a:off x="2384447" y="125646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0" name="Forme libre : forme 179">
              <a:extLst>
                <a:ext uri="{FF2B5EF4-FFF2-40B4-BE49-F238E27FC236}">
                  <a16:creationId xmlns:a16="http://schemas.microsoft.com/office/drawing/2014/main" id="{C3D1445E-47EC-4B9A-86DA-68830C5A9003}"/>
                </a:ext>
              </a:extLst>
            </p:cNvPr>
            <p:cNvSpPr/>
            <p:nvPr/>
          </p:nvSpPr>
          <p:spPr>
            <a:xfrm rot="8716295">
              <a:off x="2332642" y="115286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" name="Forme libre : forme 180">
              <a:extLst>
                <a:ext uri="{FF2B5EF4-FFF2-40B4-BE49-F238E27FC236}">
                  <a16:creationId xmlns:a16="http://schemas.microsoft.com/office/drawing/2014/main" id="{6D64B041-AA03-4C2C-B195-E69DDAF61BCF}"/>
                </a:ext>
              </a:extLst>
            </p:cNvPr>
            <p:cNvSpPr/>
            <p:nvPr/>
          </p:nvSpPr>
          <p:spPr>
            <a:xfrm rot="8716295">
              <a:off x="2089396" y="118308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" name="Forme libre : forme 181">
              <a:extLst>
                <a:ext uri="{FF2B5EF4-FFF2-40B4-BE49-F238E27FC236}">
                  <a16:creationId xmlns:a16="http://schemas.microsoft.com/office/drawing/2014/main" id="{6929DCAA-A61B-45A7-8707-91162650FFF3}"/>
                </a:ext>
              </a:extLst>
            </p:cNvPr>
            <p:cNvSpPr/>
            <p:nvPr/>
          </p:nvSpPr>
          <p:spPr>
            <a:xfrm rot="8716295">
              <a:off x="2266848" y="102384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" name="Forme libre : forme 182">
              <a:extLst>
                <a:ext uri="{FF2B5EF4-FFF2-40B4-BE49-F238E27FC236}">
                  <a16:creationId xmlns:a16="http://schemas.microsoft.com/office/drawing/2014/main" id="{606C2101-E652-4D30-867F-39388545E11E}"/>
                </a:ext>
              </a:extLst>
            </p:cNvPr>
            <p:cNvSpPr/>
            <p:nvPr/>
          </p:nvSpPr>
          <p:spPr>
            <a:xfrm rot="8716295">
              <a:off x="1503129" y="74885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" name="Forme libre : forme 183">
              <a:extLst>
                <a:ext uri="{FF2B5EF4-FFF2-40B4-BE49-F238E27FC236}">
                  <a16:creationId xmlns:a16="http://schemas.microsoft.com/office/drawing/2014/main" id="{BCCF4C0A-B226-447A-AED6-6E411077F313}"/>
                </a:ext>
              </a:extLst>
            </p:cNvPr>
            <p:cNvSpPr/>
            <p:nvPr/>
          </p:nvSpPr>
          <p:spPr>
            <a:xfrm rot="8716295">
              <a:off x="1592521" y="77809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" name="Forme libre : forme 184">
              <a:extLst>
                <a:ext uri="{FF2B5EF4-FFF2-40B4-BE49-F238E27FC236}">
                  <a16:creationId xmlns:a16="http://schemas.microsoft.com/office/drawing/2014/main" id="{1047FAEE-E0A8-4DC0-AF81-D0262E51D58E}"/>
                </a:ext>
              </a:extLst>
            </p:cNvPr>
            <p:cNvSpPr/>
            <p:nvPr/>
          </p:nvSpPr>
          <p:spPr>
            <a:xfrm rot="8716295">
              <a:off x="1547671" y="69181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" name="Forme libre : forme 185">
              <a:extLst>
                <a:ext uri="{FF2B5EF4-FFF2-40B4-BE49-F238E27FC236}">
                  <a16:creationId xmlns:a16="http://schemas.microsoft.com/office/drawing/2014/main" id="{30E94405-5131-4E4F-8725-C67590E30DB2}"/>
                </a:ext>
              </a:extLst>
            </p:cNvPr>
            <p:cNvSpPr/>
            <p:nvPr/>
          </p:nvSpPr>
          <p:spPr>
            <a:xfrm rot="8716295">
              <a:off x="1390895" y="83739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" name="Forme libre : forme 186">
              <a:extLst>
                <a:ext uri="{FF2B5EF4-FFF2-40B4-BE49-F238E27FC236}">
                  <a16:creationId xmlns:a16="http://schemas.microsoft.com/office/drawing/2014/main" id="{3592B2BF-462B-42D1-B159-935FE013A746}"/>
                </a:ext>
              </a:extLst>
            </p:cNvPr>
            <p:cNvSpPr/>
            <p:nvPr/>
          </p:nvSpPr>
          <p:spPr>
            <a:xfrm rot="8716295">
              <a:off x="1265992" y="62872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" name="Forme libre : forme 187">
              <a:extLst>
                <a:ext uri="{FF2B5EF4-FFF2-40B4-BE49-F238E27FC236}">
                  <a16:creationId xmlns:a16="http://schemas.microsoft.com/office/drawing/2014/main" id="{1E56EF9D-6FEF-4D8D-A155-3A26210B9301}"/>
                </a:ext>
              </a:extLst>
            </p:cNvPr>
            <p:cNvSpPr/>
            <p:nvPr/>
          </p:nvSpPr>
          <p:spPr>
            <a:xfrm rot="8716295">
              <a:off x="1253940" y="48994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" name="Forme libre : forme 188">
              <a:extLst>
                <a:ext uri="{FF2B5EF4-FFF2-40B4-BE49-F238E27FC236}">
                  <a16:creationId xmlns:a16="http://schemas.microsoft.com/office/drawing/2014/main" id="{ABF55A8B-11D0-49F1-BB9C-9578891D6FAC}"/>
                </a:ext>
              </a:extLst>
            </p:cNvPr>
            <p:cNvSpPr/>
            <p:nvPr/>
          </p:nvSpPr>
          <p:spPr>
            <a:xfrm rot="8716295">
              <a:off x="1481073" y="87835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" name="Forme libre : forme 189">
              <a:extLst>
                <a:ext uri="{FF2B5EF4-FFF2-40B4-BE49-F238E27FC236}">
                  <a16:creationId xmlns:a16="http://schemas.microsoft.com/office/drawing/2014/main" id="{946D037D-9BA1-48DA-87EF-5EF5B831A0E1}"/>
                </a:ext>
              </a:extLst>
            </p:cNvPr>
            <p:cNvSpPr/>
            <p:nvPr/>
          </p:nvSpPr>
          <p:spPr>
            <a:xfrm rot="8716295">
              <a:off x="1792228" y="4987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" name="Forme libre : forme 190">
              <a:extLst>
                <a:ext uri="{FF2B5EF4-FFF2-40B4-BE49-F238E27FC236}">
                  <a16:creationId xmlns:a16="http://schemas.microsoft.com/office/drawing/2014/main" id="{27B82C76-9BEA-43A1-96FA-84295CCF0AA5}"/>
                </a:ext>
              </a:extLst>
            </p:cNvPr>
            <p:cNvSpPr/>
            <p:nvPr/>
          </p:nvSpPr>
          <p:spPr>
            <a:xfrm rot="8716295">
              <a:off x="1881620" y="5279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" name="Forme libre : forme 191">
              <a:extLst>
                <a:ext uri="{FF2B5EF4-FFF2-40B4-BE49-F238E27FC236}">
                  <a16:creationId xmlns:a16="http://schemas.microsoft.com/office/drawing/2014/main" id="{C9AF6FC6-301E-4498-93BF-1A9EB1439FE6}"/>
                </a:ext>
              </a:extLst>
            </p:cNvPr>
            <p:cNvSpPr/>
            <p:nvPr/>
          </p:nvSpPr>
          <p:spPr>
            <a:xfrm rot="8716295">
              <a:off x="1679994" y="58724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" name="Forme libre : forme 192">
              <a:extLst>
                <a:ext uri="{FF2B5EF4-FFF2-40B4-BE49-F238E27FC236}">
                  <a16:creationId xmlns:a16="http://schemas.microsoft.com/office/drawing/2014/main" id="{988C10D0-6B50-41AB-B9B5-23D20681103E}"/>
                </a:ext>
              </a:extLst>
            </p:cNvPr>
            <p:cNvSpPr/>
            <p:nvPr/>
          </p:nvSpPr>
          <p:spPr>
            <a:xfrm rot="8716295">
              <a:off x="1555092" y="37857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" name="Forme libre : forme 193">
              <a:extLst>
                <a:ext uri="{FF2B5EF4-FFF2-40B4-BE49-F238E27FC236}">
                  <a16:creationId xmlns:a16="http://schemas.microsoft.com/office/drawing/2014/main" id="{BA88EE97-63F0-4D28-BDD9-E175569D56C8}"/>
                </a:ext>
              </a:extLst>
            </p:cNvPr>
            <p:cNvSpPr/>
            <p:nvPr/>
          </p:nvSpPr>
          <p:spPr>
            <a:xfrm rot="8716295">
              <a:off x="1770172" y="62819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" name="Forme libre : forme 194">
              <a:extLst>
                <a:ext uri="{FF2B5EF4-FFF2-40B4-BE49-F238E27FC236}">
                  <a16:creationId xmlns:a16="http://schemas.microsoft.com/office/drawing/2014/main" id="{7DB936D3-752D-4426-96C6-451097B40A6E}"/>
                </a:ext>
              </a:extLst>
            </p:cNvPr>
            <p:cNvSpPr/>
            <p:nvPr/>
          </p:nvSpPr>
          <p:spPr>
            <a:xfrm rot="8716295">
              <a:off x="1528721" y="47859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" name="Forme libre : forme 195">
              <a:extLst>
                <a:ext uri="{FF2B5EF4-FFF2-40B4-BE49-F238E27FC236}">
                  <a16:creationId xmlns:a16="http://schemas.microsoft.com/office/drawing/2014/main" id="{6E95CB13-89AC-4C2B-9D9A-140661272E61}"/>
                </a:ext>
              </a:extLst>
            </p:cNvPr>
            <p:cNvSpPr/>
            <p:nvPr/>
          </p:nvSpPr>
          <p:spPr>
            <a:xfrm rot="7484129">
              <a:off x="1875103" y="8195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" name="Forme libre : forme 196">
              <a:extLst>
                <a:ext uri="{FF2B5EF4-FFF2-40B4-BE49-F238E27FC236}">
                  <a16:creationId xmlns:a16="http://schemas.microsoft.com/office/drawing/2014/main" id="{E94CA442-8190-4409-8D0E-996A3C13C977}"/>
                </a:ext>
              </a:extLst>
            </p:cNvPr>
            <p:cNvSpPr/>
            <p:nvPr/>
          </p:nvSpPr>
          <p:spPr>
            <a:xfrm rot="13089394">
              <a:off x="1979923" y="7860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" name="Forme libre : forme 197">
              <a:extLst>
                <a:ext uri="{FF2B5EF4-FFF2-40B4-BE49-F238E27FC236}">
                  <a16:creationId xmlns:a16="http://schemas.microsoft.com/office/drawing/2014/main" id="{52184F7E-FD35-4373-B77A-668CA5FF6983}"/>
                </a:ext>
              </a:extLst>
            </p:cNvPr>
            <p:cNvSpPr/>
            <p:nvPr/>
          </p:nvSpPr>
          <p:spPr>
            <a:xfrm rot="8716295">
              <a:off x="2165508" y="5944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" name="Forme libre : forme 198">
              <a:extLst>
                <a:ext uri="{FF2B5EF4-FFF2-40B4-BE49-F238E27FC236}">
                  <a16:creationId xmlns:a16="http://schemas.microsoft.com/office/drawing/2014/main" id="{203E9F12-3C6B-465D-9FDE-0F57C68E6794}"/>
                </a:ext>
              </a:extLst>
            </p:cNvPr>
            <p:cNvSpPr/>
            <p:nvPr/>
          </p:nvSpPr>
          <p:spPr>
            <a:xfrm rot="8716295">
              <a:off x="2113703" y="4908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" name="Forme libre : forme 199">
              <a:extLst>
                <a:ext uri="{FF2B5EF4-FFF2-40B4-BE49-F238E27FC236}">
                  <a16:creationId xmlns:a16="http://schemas.microsoft.com/office/drawing/2014/main" id="{3A4792DF-206D-4745-96BF-57BE9528DC29}"/>
                </a:ext>
              </a:extLst>
            </p:cNvPr>
            <p:cNvSpPr/>
            <p:nvPr/>
          </p:nvSpPr>
          <p:spPr>
            <a:xfrm rot="8716295">
              <a:off x="1870457" y="5210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" name="Forme libre : forme 200">
              <a:extLst>
                <a:ext uri="{FF2B5EF4-FFF2-40B4-BE49-F238E27FC236}">
                  <a16:creationId xmlns:a16="http://schemas.microsoft.com/office/drawing/2014/main" id="{D95C5BFF-0992-4FE2-933F-F0F5A8B60014}"/>
                </a:ext>
              </a:extLst>
            </p:cNvPr>
            <p:cNvSpPr/>
            <p:nvPr/>
          </p:nvSpPr>
          <p:spPr>
            <a:xfrm rot="8716295">
              <a:off x="2047909" y="3617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" name="Forme libre : forme 201">
              <a:extLst>
                <a:ext uri="{FF2B5EF4-FFF2-40B4-BE49-F238E27FC236}">
                  <a16:creationId xmlns:a16="http://schemas.microsoft.com/office/drawing/2014/main" id="{20C3FF4D-8F7D-4FCE-A8F6-F7C60C54B616}"/>
                </a:ext>
              </a:extLst>
            </p:cNvPr>
            <p:cNvSpPr/>
            <p:nvPr/>
          </p:nvSpPr>
          <p:spPr>
            <a:xfrm rot="8716295">
              <a:off x="1280459" y="8544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" name="Forme libre : forme 202">
              <a:extLst>
                <a:ext uri="{FF2B5EF4-FFF2-40B4-BE49-F238E27FC236}">
                  <a16:creationId xmlns:a16="http://schemas.microsoft.com/office/drawing/2014/main" id="{4A2EE2E0-D7CF-43D6-ACB3-BE33DBCC49BB}"/>
                </a:ext>
              </a:extLst>
            </p:cNvPr>
            <p:cNvSpPr/>
            <p:nvPr/>
          </p:nvSpPr>
          <p:spPr>
            <a:xfrm rot="8716295">
              <a:off x="1369851" y="11468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" name="Forme libre : forme 203">
              <a:extLst>
                <a:ext uri="{FF2B5EF4-FFF2-40B4-BE49-F238E27FC236}">
                  <a16:creationId xmlns:a16="http://schemas.microsoft.com/office/drawing/2014/main" id="{ADCFE50E-B4B9-4301-A613-96CD6C8E76F5}"/>
                </a:ext>
              </a:extLst>
            </p:cNvPr>
            <p:cNvSpPr/>
            <p:nvPr/>
          </p:nvSpPr>
          <p:spPr>
            <a:xfrm rot="8716295">
              <a:off x="1325001" y="2840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" name="Forme libre : forme 204">
              <a:extLst>
                <a:ext uri="{FF2B5EF4-FFF2-40B4-BE49-F238E27FC236}">
                  <a16:creationId xmlns:a16="http://schemas.microsoft.com/office/drawing/2014/main" id="{1C78DD3D-BA43-491E-A425-4F726ABF99F2}"/>
                </a:ext>
              </a:extLst>
            </p:cNvPr>
            <p:cNvSpPr/>
            <p:nvPr/>
          </p:nvSpPr>
          <p:spPr>
            <a:xfrm rot="8716295">
              <a:off x="1168225" y="17398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" name="Forme libre : forme 205">
              <a:extLst>
                <a:ext uri="{FF2B5EF4-FFF2-40B4-BE49-F238E27FC236}">
                  <a16:creationId xmlns:a16="http://schemas.microsoft.com/office/drawing/2014/main" id="{58A93461-0B09-4176-BDF3-87683487BEBD}"/>
                </a:ext>
              </a:extLst>
            </p:cNvPr>
            <p:cNvSpPr/>
            <p:nvPr/>
          </p:nvSpPr>
          <p:spPr>
            <a:xfrm rot="8716295">
              <a:off x="1045449" y="-13548"/>
              <a:ext cx="203847" cy="172572"/>
            </a:xfrm>
            <a:custGeom>
              <a:avLst/>
              <a:gdLst>
                <a:gd name="connsiteX0" fmla="*/ 98725 w 203847"/>
                <a:gd name="connsiteY0" fmla="*/ 172572 h 172572"/>
                <a:gd name="connsiteX1" fmla="*/ 65988 w 203847"/>
                <a:gd name="connsiteY1" fmla="*/ 149880 h 172572"/>
                <a:gd name="connsiteX2" fmla="*/ 47847 w 203847"/>
                <a:gd name="connsiteY2" fmla="*/ 116129 h 172572"/>
                <a:gd name="connsiteX3" fmla="*/ 69777 w 203847"/>
                <a:gd name="connsiteY3" fmla="*/ 55323 h 172572"/>
                <a:gd name="connsiteX4" fmla="*/ 0 w 203847"/>
                <a:gd name="connsiteY4" fmla="*/ 55323 h 172572"/>
                <a:gd name="connsiteX5" fmla="*/ 0 w 203847"/>
                <a:gd name="connsiteY5" fmla="*/ 0 h 172572"/>
                <a:gd name="connsiteX6" fmla="*/ 203847 w 203847"/>
                <a:gd name="connsiteY6" fmla="*/ 0 h 172572"/>
                <a:gd name="connsiteX7" fmla="*/ 203847 w 203847"/>
                <a:gd name="connsiteY7" fmla="*/ 55323 h 172572"/>
                <a:gd name="connsiteX8" fmla="*/ 139055 w 203847"/>
                <a:gd name="connsiteY8" fmla="*/ 55323 h 172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72572">
                  <a:moveTo>
                    <a:pt x="98725" y="172572"/>
                  </a:moveTo>
                  <a:lnTo>
                    <a:pt x="65988" y="149880"/>
                  </a:ln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" name="Forme libre : forme 206">
              <a:extLst>
                <a:ext uri="{FF2B5EF4-FFF2-40B4-BE49-F238E27FC236}">
                  <a16:creationId xmlns:a16="http://schemas.microsoft.com/office/drawing/2014/main" id="{F6E141F6-F3D7-4382-A5A9-B9DC46311949}"/>
                </a:ext>
              </a:extLst>
            </p:cNvPr>
            <p:cNvSpPr/>
            <p:nvPr/>
          </p:nvSpPr>
          <p:spPr>
            <a:xfrm rot="8716295">
              <a:off x="1049608" y="-107301"/>
              <a:ext cx="290643" cy="275223"/>
            </a:xfrm>
            <a:custGeom>
              <a:avLst/>
              <a:gdLst>
                <a:gd name="connsiteX0" fmla="*/ 79172 w 290643"/>
                <a:gd name="connsiteY0" fmla="*/ 128638 h 275223"/>
                <a:gd name="connsiteX1" fmla="*/ 0 w 290643"/>
                <a:gd name="connsiteY1" fmla="*/ 73758 h 275223"/>
                <a:gd name="connsiteX2" fmla="*/ 0 w 290643"/>
                <a:gd name="connsiteY2" fmla="*/ 40596 h 275223"/>
                <a:gd name="connsiteX3" fmla="*/ 78250 w 290643"/>
                <a:gd name="connsiteY3" fmla="*/ 0 h 275223"/>
                <a:gd name="connsiteX4" fmla="*/ 290643 w 290643"/>
                <a:gd name="connsiteY4" fmla="*/ 275223 h 275223"/>
                <a:gd name="connsiteX5" fmla="*/ 278016 w 290643"/>
                <a:gd name="connsiteY5" fmla="*/ 266470 h 275223"/>
                <a:gd name="connsiteX6" fmla="*/ 289467 w 290643"/>
                <a:gd name="connsiteY6" fmla="*/ 261815 h 275223"/>
                <a:gd name="connsiteX7" fmla="*/ 290643 w 290643"/>
                <a:gd name="connsiteY7" fmla="*/ 269463 h 27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0643" h="275223">
                  <a:moveTo>
                    <a:pt x="79172" y="128638"/>
                  </a:moveTo>
                  <a:lnTo>
                    <a:pt x="0" y="73758"/>
                  </a:lnTo>
                  <a:lnTo>
                    <a:pt x="0" y="40596"/>
                  </a:lnTo>
                  <a:lnTo>
                    <a:pt x="78250" y="0"/>
                  </a:lnTo>
                  <a:close/>
                  <a:moveTo>
                    <a:pt x="290643" y="275223"/>
                  </a:moveTo>
                  <a:lnTo>
                    <a:pt x="278016" y="266470"/>
                  </a:lnTo>
                  <a:lnTo>
                    <a:pt x="289467" y="261815"/>
                  </a:lnTo>
                  <a:cubicBezTo>
                    <a:pt x="290055" y="264168"/>
                    <a:pt x="290643" y="267110"/>
                    <a:pt x="290643" y="2694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" name="Forme libre : forme 207">
              <a:extLst>
                <a:ext uri="{FF2B5EF4-FFF2-40B4-BE49-F238E27FC236}">
                  <a16:creationId xmlns:a16="http://schemas.microsoft.com/office/drawing/2014/main" id="{4C5F5C19-6F05-476E-8B4C-2E1271E3709B}"/>
                </a:ext>
              </a:extLst>
            </p:cNvPr>
            <p:cNvSpPr/>
            <p:nvPr/>
          </p:nvSpPr>
          <p:spPr>
            <a:xfrm rot="8716295">
              <a:off x="1258403" y="21493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" name="Forme libre : forme 208">
              <a:extLst>
                <a:ext uri="{FF2B5EF4-FFF2-40B4-BE49-F238E27FC236}">
                  <a16:creationId xmlns:a16="http://schemas.microsoft.com/office/drawing/2014/main" id="{99462675-4E20-4299-99A1-8C989AC1AC7A}"/>
                </a:ext>
              </a:extLst>
            </p:cNvPr>
            <p:cNvSpPr/>
            <p:nvPr/>
          </p:nvSpPr>
          <p:spPr>
            <a:xfrm rot="8716295">
              <a:off x="1604517" y="-50002"/>
              <a:ext cx="142167" cy="106747"/>
            </a:xfrm>
            <a:custGeom>
              <a:avLst/>
              <a:gdLst>
                <a:gd name="connsiteX0" fmla="*/ 142167 w 142167"/>
                <a:gd name="connsiteY0" fmla="*/ 106747 h 106747"/>
                <a:gd name="connsiteX1" fmla="*/ 79942 w 142167"/>
                <a:gd name="connsiteY1" fmla="*/ 63615 h 106747"/>
                <a:gd name="connsiteX2" fmla="*/ 74103 w 142167"/>
                <a:gd name="connsiteY2" fmla="*/ 53597 h 106747"/>
                <a:gd name="connsiteX3" fmla="*/ 60604 w 142167"/>
                <a:gd name="connsiteY3" fmla="*/ 50123 h 106747"/>
                <a:gd name="connsiteX4" fmla="*/ 60478 w 142167"/>
                <a:gd name="connsiteY4" fmla="*/ 50123 h 106747"/>
                <a:gd name="connsiteX5" fmla="*/ 0 w 142167"/>
                <a:gd name="connsiteY5" fmla="*/ 8201 h 106747"/>
                <a:gd name="connsiteX6" fmla="*/ 0 w 142167"/>
                <a:gd name="connsiteY6" fmla="*/ 0 h 106747"/>
                <a:gd name="connsiteX7" fmla="*/ 85209 w 142167"/>
                <a:gd name="connsiteY7" fmla="*/ 0 h 106747"/>
                <a:gd name="connsiteX8" fmla="*/ 142167 w 142167"/>
                <a:gd name="connsiteY8" fmla="*/ 50123 h 10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06747">
                  <a:moveTo>
                    <a:pt x="142167" y="106747"/>
                  </a:moveTo>
                  <a:lnTo>
                    <a:pt x="79942" y="63615"/>
                  </a:lnTo>
                  <a:lnTo>
                    <a:pt x="74103" y="53597"/>
                  </a:lnTo>
                  <a:cubicBezTo>
                    <a:pt x="70400" y="50806"/>
                    <a:pt x="65616" y="49439"/>
                    <a:pt x="60604" y="50123"/>
                  </a:cubicBezTo>
                  <a:lnTo>
                    <a:pt x="60478" y="50123"/>
                  </a:lnTo>
                  <a:lnTo>
                    <a:pt x="0" y="8201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" name="Forme libre : forme 209">
              <a:extLst>
                <a:ext uri="{FF2B5EF4-FFF2-40B4-BE49-F238E27FC236}">
                  <a16:creationId xmlns:a16="http://schemas.microsoft.com/office/drawing/2014/main" id="{F18E365A-DFDC-47DB-8B33-290827288FD8}"/>
                </a:ext>
              </a:extLst>
            </p:cNvPr>
            <p:cNvSpPr/>
            <p:nvPr/>
          </p:nvSpPr>
          <p:spPr>
            <a:xfrm rot="8716295">
              <a:off x="1699771" y="-2013"/>
              <a:ext cx="260639" cy="104392"/>
            </a:xfrm>
            <a:custGeom>
              <a:avLst/>
              <a:gdLst>
                <a:gd name="connsiteX0" fmla="*/ 117530 w 260639"/>
                <a:gd name="connsiteY0" fmla="*/ 104392 h 104392"/>
                <a:gd name="connsiteX1" fmla="*/ 51490 w 260639"/>
                <a:gd name="connsiteY1" fmla="*/ 58614 h 104392"/>
                <a:gd name="connsiteX2" fmla="*/ 51490 w 260639"/>
                <a:gd name="connsiteY2" fmla="*/ 45624 h 104392"/>
                <a:gd name="connsiteX3" fmla="*/ 32748 w 260639"/>
                <a:gd name="connsiteY3" fmla="*/ 45624 h 104392"/>
                <a:gd name="connsiteX4" fmla="*/ 0 w 260639"/>
                <a:gd name="connsiteY4" fmla="*/ 22924 h 104392"/>
                <a:gd name="connsiteX5" fmla="*/ 0 w 260639"/>
                <a:gd name="connsiteY5" fmla="*/ 1425 h 104392"/>
                <a:gd name="connsiteX6" fmla="*/ 104802 w 260639"/>
                <a:gd name="connsiteY6" fmla="*/ 1425 h 104392"/>
                <a:gd name="connsiteX7" fmla="*/ 104802 w 260639"/>
                <a:gd name="connsiteY7" fmla="*/ 75242 h 104392"/>
                <a:gd name="connsiteX8" fmla="*/ 106169 w 260639"/>
                <a:gd name="connsiteY8" fmla="*/ 75242 h 104392"/>
                <a:gd name="connsiteX9" fmla="*/ 154014 w 260639"/>
                <a:gd name="connsiteY9" fmla="*/ 5981 h 104392"/>
                <a:gd name="connsiteX10" fmla="*/ 185455 w 260639"/>
                <a:gd name="connsiteY10" fmla="*/ 57 h 104392"/>
                <a:gd name="connsiteX11" fmla="*/ 260639 w 260639"/>
                <a:gd name="connsiteY11" fmla="*/ 88456 h 104392"/>
                <a:gd name="connsiteX12" fmla="*/ 260639 w 260639"/>
                <a:gd name="connsiteY12" fmla="*/ 94380 h 104392"/>
                <a:gd name="connsiteX13" fmla="*/ 198669 w 260639"/>
                <a:gd name="connsiteY13" fmla="*/ 98025 h 104392"/>
                <a:gd name="connsiteX14" fmla="*/ 198669 w 260639"/>
                <a:gd name="connsiteY14" fmla="*/ 81621 h 104392"/>
                <a:gd name="connsiteX15" fmla="*/ 164950 w 260639"/>
                <a:gd name="connsiteY15" fmla="*/ 40156 h 104392"/>
                <a:gd name="connsiteX16" fmla="*/ 127358 w 260639"/>
                <a:gd name="connsiteY16" fmla="*/ 65616 h 104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60639" h="104392">
                  <a:moveTo>
                    <a:pt x="117530" y="104392"/>
                  </a:moveTo>
                  <a:lnTo>
                    <a:pt x="51490" y="58614"/>
                  </a:lnTo>
                  <a:lnTo>
                    <a:pt x="51490" y="45624"/>
                  </a:lnTo>
                  <a:lnTo>
                    <a:pt x="32748" y="45624"/>
                  </a:lnTo>
                  <a:lnTo>
                    <a:pt x="0" y="229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5"/>
                    <a:pt x="184544" y="40156"/>
                    <a:pt x="164950" y="40156"/>
                  </a:cubicBezTo>
                  <a:cubicBezTo>
                    <a:pt x="150369" y="40156"/>
                    <a:pt x="137041" y="49839"/>
                    <a:pt x="127358" y="656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" name="Forme libre : forme 210">
              <a:extLst>
                <a:ext uri="{FF2B5EF4-FFF2-40B4-BE49-F238E27FC236}">
                  <a16:creationId xmlns:a16="http://schemas.microsoft.com/office/drawing/2014/main" id="{BD9DBA5B-B938-49AE-B4FF-DC0E17DDD56F}"/>
                </a:ext>
              </a:extLst>
            </p:cNvPr>
            <p:cNvSpPr/>
            <p:nvPr/>
          </p:nvSpPr>
          <p:spPr>
            <a:xfrm rot="8716295">
              <a:off x="1547502" y="-3521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" name="Forme libre : forme 211">
              <a:extLst>
                <a:ext uri="{FF2B5EF4-FFF2-40B4-BE49-F238E27FC236}">
                  <a16:creationId xmlns:a16="http://schemas.microsoft.com/office/drawing/2014/main" id="{8C64BFA5-88D5-4B19-8DD4-8DB6B59A61D8}"/>
                </a:ext>
              </a:extLst>
            </p:cNvPr>
            <p:cNvSpPr/>
            <p:nvPr/>
          </p:nvSpPr>
          <p:spPr>
            <a:xfrm rot="7484129">
              <a:off x="1652433" y="15613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" name="Forme libre : forme 212">
              <a:extLst>
                <a:ext uri="{FF2B5EF4-FFF2-40B4-BE49-F238E27FC236}">
                  <a16:creationId xmlns:a16="http://schemas.microsoft.com/office/drawing/2014/main" id="{034CC524-D8AC-40AF-8EAB-AB1B464A30AF}"/>
                </a:ext>
              </a:extLst>
            </p:cNvPr>
            <p:cNvSpPr/>
            <p:nvPr/>
          </p:nvSpPr>
          <p:spPr>
            <a:xfrm rot="13089394">
              <a:off x="1757253" y="122669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" name="Forme libre : forme 213">
              <a:extLst>
                <a:ext uri="{FF2B5EF4-FFF2-40B4-BE49-F238E27FC236}">
                  <a16:creationId xmlns:a16="http://schemas.microsoft.com/office/drawing/2014/main" id="{D78ECCFB-E224-46B7-92F0-42F89F972C82}"/>
                </a:ext>
              </a:extLst>
            </p:cNvPr>
            <p:cNvSpPr/>
            <p:nvPr/>
          </p:nvSpPr>
          <p:spPr>
            <a:xfrm rot="8716295">
              <a:off x="1960606" y="3279"/>
              <a:ext cx="142687" cy="109177"/>
            </a:xfrm>
            <a:custGeom>
              <a:avLst/>
              <a:gdLst>
                <a:gd name="connsiteX0" fmla="*/ 48521 w 142687"/>
                <a:gd name="connsiteY0" fmla="*/ 109177 h 109177"/>
                <a:gd name="connsiteX1" fmla="*/ 0 w 142687"/>
                <a:gd name="connsiteY1" fmla="*/ 75545 h 109177"/>
                <a:gd name="connsiteX2" fmla="*/ 44875 w 142687"/>
                <a:gd name="connsiteY2" fmla="*/ 33320 h 109177"/>
                <a:gd name="connsiteX3" fmla="*/ 109367 w 142687"/>
                <a:gd name="connsiteY3" fmla="*/ 0 h 109177"/>
                <a:gd name="connsiteX4" fmla="*/ 142687 w 142687"/>
                <a:gd name="connsiteY4" fmla="*/ 39770 h 109177"/>
                <a:gd name="connsiteX5" fmla="*/ 111516 w 142687"/>
                <a:gd name="connsiteY5" fmla="*/ 81689 h 109177"/>
                <a:gd name="connsiteX6" fmla="*/ 112053 w 142687"/>
                <a:gd name="connsiteY6" fmla="*/ 81689 h 109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687" h="109177">
                  <a:moveTo>
                    <a:pt x="48521" y="109177"/>
                  </a:moveTo>
                  <a:lnTo>
                    <a:pt x="0" y="75545"/>
                  </a:lnTo>
                  <a:lnTo>
                    <a:pt x="44875" y="33320"/>
                  </a:lnTo>
                  <a:cubicBezTo>
                    <a:pt x="60998" y="14511"/>
                    <a:pt x="84107" y="2687"/>
                    <a:pt x="109367" y="0"/>
                  </a:cubicBezTo>
                  <a:cubicBezTo>
                    <a:pt x="135163" y="0"/>
                    <a:pt x="142687" y="22572"/>
                    <a:pt x="142687" y="39770"/>
                  </a:cubicBezTo>
                  <a:cubicBezTo>
                    <a:pt x="141074" y="58580"/>
                    <a:pt x="128713" y="74165"/>
                    <a:pt x="111516" y="81689"/>
                  </a:cubicBezTo>
                  <a:lnTo>
                    <a:pt x="112053" y="816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" name="Forme libre : forme 214">
              <a:extLst>
                <a:ext uri="{FF2B5EF4-FFF2-40B4-BE49-F238E27FC236}">
                  <a16:creationId xmlns:a16="http://schemas.microsoft.com/office/drawing/2014/main" id="{30980170-BFE4-4DA8-B94E-3A74F835E666}"/>
                </a:ext>
              </a:extLst>
            </p:cNvPr>
            <p:cNvSpPr/>
            <p:nvPr/>
          </p:nvSpPr>
          <p:spPr>
            <a:xfrm rot="8716295">
              <a:off x="1076398" y="254697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" name="Forme libre : forme 215">
              <a:extLst>
                <a:ext uri="{FF2B5EF4-FFF2-40B4-BE49-F238E27FC236}">
                  <a16:creationId xmlns:a16="http://schemas.microsoft.com/office/drawing/2014/main" id="{EF36344D-9704-4C2C-BC8B-34C87B25880E}"/>
                </a:ext>
              </a:extLst>
            </p:cNvPr>
            <p:cNvSpPr/>
            <p:nvPr/>
          </p:nvSpPr>
          <p:spPr>
            <a:xfrm rot="8716295">
              <a:off x="1165790" y="257621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" name="Forme libre : forme 216">
              <a:extLst>
                <a:ext uri="{FF2B5EF4-FFF2-40B4-BE49-F238E27FC236}">
                  <a16:creationId xmlns:a16="http://schemas.microsoft.com/office/drawing/2014/main" id="{58A38589-98F6-451E-A434-58B30914CF96}"/>
                </a:ext>
              </a:extLst>
            </p:cNvPr>
            <p:cNvSpPr/>
            <p:nvPr/>
          </p:nvSpPr>
          <p:spPr>
            <a:xfrm rot="8716295">
              <a:off x="1120940" y="248993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" name="Forme libre : forme 217">
              <a:extLst>
                <a:ext uri="{FF2B5EF4-FFF2-40B4-BE49-F238E27FC236}">
                  <a16:creationId xmlns:a16="http://schemas.microsoft.com/office/drawing/2014/main" id="{1BBAB649-0D47-451B-AEA7-D99D438CCB67}"/>
                </a:ext>
              </a:extLst>
            </p:cNvPr>
            <p:cNvSpPr/>
            <p:nvPr/>
          </p:nvSpPr>
          <p:spPr>
            <a:xfrm rot="8716295">
              <a:off x="964164" y="263551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" name="Forme libre : forme 218">
              <a:extLst>
                <a:ext uri="{FF2B5EF4-FFF2-40B4-BE49-F238E27FC236}">
                  <a16:creationId xmlns:a16="http://schemas.microsoft.com/office/drawing/2014/main" id="{9ABD39F9-0013-4B66-B07C-F120985F94DF}"/>
                </a:ext>
              </a:extLst>
            </p:cNvPr>
            <p:cNvSpPr/>
            <p:nvPr/>
          </p:nvSpPr>
          <p:spPr>
            <a:xfrm rot="8716295">
              <a:off x="839261" y="242684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" name="Forme libre : forme 219">
              <a:extLst>
                <a:ext uri="{FF2B5EF4-FFF2-40B4-BE49-F238E27FC236}">
                  <a16:creationId xmlns:a16="http://schemas.microsoft.com/office/drawing/2014/main" id="{4B771D9C-DFA4-430F-84AF-9AE075F83BC7}"/>
                </a:ext>
              </a:extLst>
            </p:cNvPr>
            <p:cNvSpPr/>
            <p:nvPr/>
          </p:nvSpPr>
          <p:spPr>
            <a:xfrm rot="8716295">
              <a:off x="827209" y="228806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" name="Forme libre : forme 220">
              <a:extLst>
                <a:ext uri="{FF2B5EF4-FFF2-40B4-BE49-F238E27FC236}">
                  <a16:creationId xmlns:a16="http://schemas.microsoft.com/office/drawing/2014/main" id="{7FEF96BC-C543-4B58-AE20-95C6DC72AE3F}"/>
                </a:ext>
              </a:extLst>
            </p:cNvPr>
            <p:cNvSpPr/>
            <p:nvPr/>
          </p:nvSpPr>
          <p:spPr>
            <a:xfrm rot="8716295">
              <a:off x="1054342" y="267647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" name="Forme libre : forme 221">
              <a:extLst>
                <a:ext uri="{FF2B5EF4-FFF2-40B4-BE49-F238E27FC236}">
                  <a16:creationId xmlns:a16="http://schemas.microsoft.com/office/drawing/2014/main" id="{68891634-5A93-4AAD-9989-2DE5CE062379}"/>
                </a:ext>
              </a:extLst>
            </p:cNvPr>
            <p:cNvSpPr/>
            <p:nvPr/>
          </p:nvSpPr>
          <p:spPr>
            <a:xfrm rot="8716295">
              <a:off x="1365497" y="229682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" name="Forme libre : forme 222">
              <a:extLst>
                <a:ext uri="{FF2B5EF4-FFF2-40B4-BE49-F238E27FC236}">
                  <a16:creationId xmlns:a16="http://schemas.microsoft.com/office/drawing/2014/main" id="{39D665A4-4F4E-441C-B55C-726916A4039E}"/>
                </a:ext>
              </a:extLst>
            </p:cNvPr>
            <p:cNvSpPr/>
            <p:nvPr/>
          </p:nvSpPr>
          <p:spPr>
            <a:xfrm rot="8716295">
              <a:off x="1454889" y="232606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" name="Forme libre : forme 223">
              <a:extLst>
                <a:ext uri="{FF2B5EF4-FFF2-40B4-BE49-F238E27FC236}">
                  <a16:creationId xmlns:a16="http://schemas.microsoft.com/office/drawing/2014/main" id="{8AF4C94D-DC68-46A4-BF2C-889E3D6B62EC}"/>
                </a:ext>
              </a:extLst>
            </p:cNvPr>
            <p:cNvSpPr/>
            <p:nvPr/>
          </p:nvSpPr>
          <p:spPr>
            <a:xfrm rot="8716295">
              <a:off x="1253263" y="238536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" name="Forme libre : forme 224">
              <a:extLst>
                <a:ext uri="{FF2B5EF4-FFF2-40B4-BE49-F238E27FC236}">
                  <a16:creationId xmlns:a16="http://schemas.microsoft.com/office/drawing/2014/main" id="{C1408C1D-6D03-4994-BD3B-49E299BEE8DA}"/>
                </a:ext>
              </a:extLst>
            </p:cNvPr>
            <p:cNvSpPr/>
            <p:nvPr/>
          </p:nvSpPr>
          <p:spPr>
            <a:xfrm rot="8716295">
              <a:off x="1128361" y="217669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" name="Forme libre : forme 225">
              <a:extLst>
                <a:ext uri="{FF2B5EF4-FFF2-40B4-BE49-F238E27FC236}">
                  <a16:creationId xmlns:a16="http://schemas.microsoft.com/office/drawing/2014/main" id="{EB108B47-7607-4350-BAC7-848269D45EA1}"/>
                </a:ext>
              </a:extLst>
            </p:cNvPr>
            <p:cNvSpPr/>
            <p:nvPr/>
          </p:nvSpPr>
          <p:spPr>
            <a:xfrm rot="8716295">
              <a:off x="1343441" y="242631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" name="Forme libre : forme 226">
              <a:extLst>
                <a:ext uri="{FF2B5EF4-FFF2-40B4-BE49-F238E27FC236}">
                  <a16:creationId xmlns:a16="http://schemas.microsoft.com/office/drawing/2014/main" id="{016BF330-2E65-471B-BA9A-203A297FAFCE}"/>
                </a:ext>
              </a:extLst>
            </p:cNvPr>
            <p:cNvSpPr/>
            <p:nvPr/>
          </p:nvSpPr>
          <p:spPr>
            <a:xfrm rot="8716295">
              <a:off x="1101990" y="227671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" name="Forme libre : forme 227">
              <a:extLst>
                <a:ext uri="{FF2B5EF4-FFF2-40B4-BE49-F238E27FC236}">
                  <a16:creationId xmlns:a16="http://schemas.microsoft.com/office/drawing/2014/main" id="{20DF741A-5A82-48D0-A9BB-E29A7DA079B2}"/>
                </a:ext>
              </a:extLst>
            </p:cNvPr>
            <p:cNvSpPr/>
            <p:nvPr/>
          </p:nvSpPr>
          <p:spPr>
            <a:xfrm rot="7484129">
              <a:off x="1448372" y="261767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" name="Forme libre : forme 228">
              <a:extLst>
                <a:ext uri="{FF2B5EF4-FFF2-40B4-BE49-F238E27FC236}">
                  <a16:creationId xmlns:a16="http://schemas.microsoft.com/office/drawing/2014/main" id="{FBBC9382-FE3D-4581-90F5-934825D4E890}"/>
                </a:ext>
              </a:extLst>
            </p:cNvPr>
            <p:cNvSpPr/>
            <p:nvPr/>
          </p:nvSpPr>
          <p:spPr>
            <a:xfrm rot="13089394">
              <a:off x="1553192" y="258420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" name="Forme libre : forme 229">
              <a:extLst>
                <a:ext uri="{FF2B5EF4-FFF2-40B4-BE49-F238E27FC236}">
                  <a16:creationId xmlns:a16="http://schemas.microsoft.com/office/drawing/2014/main" id="{1722850A-0379-4FB9-9C9B-E45F998A47BD}"/>
                </a:ext>
              </a:extLst>
            </p:cNvPr>
            <p:cNvSpPr/>
            <p:nvPr/>
          </p:nvSpPr>
          <p:spPr>
            <a:xfrm rot="8716295">
              <a:off x="1738777" y="23925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" name="Forme libre : forme 230">
              <a:extLst>
                <a:ext uri="{FF2B5EF4-FFF2-40B4-BE49-F238E27FC236}">
                  <a16:creationId xmlns:a16="http://schemas.microsoft.com/office/drawing/2014/main" id="{BF511EF9-A49C-4AE3-8280-5A5B1337EE62}"/>
                </a:ext>
              </a:extLst>
            </p:cNvPr>
            <p:cNvSpPr/>
            <p:nvPr/>
          </p:nvSpPr>
          <p:spPr>
            <a:xfrm rot="8716295">
              <a:off x="1686972" y="228893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" name="Forme libre : forme 231">
              <a:extLst>
                <a:ext uri="{FF2B5EF4-FFF2-40B4-BE49-F238E27FC236}">
                  <a16:creationId xmlns:a16="http://schemas.microsoft.com/office/drawing/2014/main" id="{D138BF00-ED92-4133-ADF5-E9C66056A424}"/>
                </a:ext>
              </a:extLst>
            </p:cNvPr>
            <p:cNvSpPr/>
            <p:nvPr/>
          </p:nvSpPr>
          <p:spPr>
            <a:xfrm rot="8716295">
              <a:off x="1443726" y="231915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" name="Forme libre : forme 232">
              <a:extLst>
                <a:ext uri="{FF2B5EF4-FFF2-40B4-BE49-F238E27FC236}">
                  <a16:creationId xmlns:a16="http://schemas.microsoft.com/office/drawing/2014/main" id="{8E358CEB-AF06-484E-8852-BAE0311E02CC}"/>
                </a:ext>
              </a:extLst>
            </p:cNvPr>
            <p:cNvSpPr/>
            <p:nvPr/>
          </p:nvSpPr>
          <p:spPr>
            <a:xfrm rot="8716295">
              <a:off x="1621178" y="21599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" name="Forme libre : forme 233">
              <a:extLst>
                <a:ext uri="{FF2B5EF4-FFF2-40B4-BE49-F238E27FC236}">
                  <a16:creationId xmlns:a16="http://schemas.microsoft.com/office/drawing/2014/main" id="{9EBAEBBD-0226-432C-8DB2-1DA1060129B8}"/>
                </a:ext>
              </a:extLst>
            </p:cNvPr>
            <p:cNvSpPr/>
            <p:nvPr/>
          </p:nvSpPr>
          <p:spPr>
            <a:xfrm rot="8716295">
              <a:off x="1299565" y="320667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" name="Forme libre : forme 234">
              <a:extLst>
                <a:ext uri="{FF2B5EF4-FFF2-40B4-BE49-F238E27FC236}">
                  <a16:creationId xmlns:a16="http://schemas.microsoft.com/office/drawing/2014/main" id="{B666620F-F3D0-4B5D-9685-3CAB27EBF061}"/>
                </a:ext>
              </a:extLst>
            </p:cNvPr>
            <p:cNvSpPr/>
            <p:nvPr/>
          </p:nvSpPr>
          <p:spPr>
            <a:xfrm rot="8716295">
              <a:off x="1388957" y="323591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" name="Forme libre : forme 235">
              <a:extLst>
                <a:ext uri="{FF2B5EF4-FFF2-40B4-BE49-F238E27FC236}">
                  <a16:creationId xmlns:a16="http://schemas.microsoft.com/office/drawing/2014/main" id="{88947540-8C6A-4BF5-BB71-6D60ADEAEBA1}"/>
                </a:ext>
              </a:extLst>
            </p:cNvPr>
            <p:cNvSpPr/>
            <p:nvPr/>
          </p:nvSpPr>
          <p:spPr>
            <a:xfrm rot="8716295">
              <a:off x="1344107" y="314963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" name="Forme libre : forme 236">
              <a:extLst>
                <a:ext uri="{FF2B5EF4-FFF2-40B4-BE49-F238E27FC236}">
                  <a16:creationId xmlns:a16="http://schemas.microsoft.com/office/drawing/2014/main" id="{55A70DC6-65F6-4764-AD9C-C9CC5AC38D47}"/>
                </a:ext>
              </a:extLst>
            </p:cNvPr>
            <p:cNvSpPr/>
            <p:nvPr/>
          </p:nvSpPr>
          <p:spPr>
            <a:xfrm rot="8716295">
              <a:off x="1187331" y="329521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" name="Forme libre : forme 237">
              <a:extLst>
                <a:ext uri="{FF2B5EF4-FFF2-40B4-BE49-F238E27FC236}">
                  <a16:creationId xmlns:a16="http://schemas.microsoft.com/office/drawing/2014/main" id="{BB754C94-5023-48F1-A098-74F43CE79231}"/>
                </a:ext>
              </a:extLst>
            </p:cNvPr>
            <p:cNvSpPr/>
            <p:nvPr/>
          </p:nvSpPr>
          <p:spPr>
            <a:xfrm rot="8716295">
              <a:off x="1062428" y="308654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" name="Forme libre : forme 238">
              <a:extLst>
                <a:ext uri="{FF2B5EF4-FFF2-40B4-BE49-F238E27FC236}">
                  <a16:creationId xmlns:a16="http://schemas.microsoft.com/office/drawing/2014/main" id="{76EDC7DE-4ED0-41EE-BBDC-2D4CD0BE6E51}"/>
                </a:ext>
              </a:extLst>
            </p:cNvPr>
            <p:cNvSpPr/>
            <p:nvPr/>
          </p:nvSpPr>
          <p:spPr>
            <a:xfrm rot="8716295">
              <a:off x="1050376" y="294776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" name="Forme libre : forme 239">
              <a:extLst>
                <a:ext uri="{FF2B5EF4-FFF2-40B4-BE49-F238E27FC236}">
                  <a16:creationId xmlns:a16="http://schemas.microsoft.com/office/drawing/2014/main" id="{ABABCCB1-DB29-40D3-B384-2DA707723441}"/>
                </a:ext>
              </a:extLst>
            </p:cNvPr>
            <p:cNvSpPr/>
            <p:nvPr/>
          </p:nvSpPr>
          <p:spPr>
            <a:xfrm rot="8716295">
              <a:off x="1277509" y="333617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" name="Forme libre : forme 240">
              <a:extLst>
                <a:ext uri="{FF2B5EF4-FFF2-40B4-BE49-F238E27FC236}">
                  <a16:creationId xmlns:a16="http://schemas.microsoft.com/office/drawing/2014/main" id="{D86BE233-1E89-4884-9471-90ABF15AC049}"/>
                </a:ext>
              </a:extLst>
            </p:cNvPr>
            <p:cNvSpPr/>
            <p:nvPr/>
          </p:nvSpPr>
          <p:spPr>
            <a:xfrm rot="8716295">
              <a:off x="1588664" y="295652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" name="Forme libre : forme 241">
              <a:extLst>
                <a:ext uri="{FF2B5EF4-FFF2-40B4-BE49-F238E27FC236}">
                  <a16:creationId xmlns:a16="http://schemas.microsoft.com/office/drawing/2014/main" id="{1E4464D3-58E9-4A03-BB6A-8B83E3881142}"/>
                </a:ext>
              </a:extLst>
            </p:cNvPr>
            <p:cNvSpPr/>
            <p:nvPr/>
          </p:nvSpPr>
          <p:spPr>
            <a:xfrm rot="8716295">
              <a:off x="1678056" y="298576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" name="Forme libre : forme 242">
              <a:extLst>
                <a:ext uri="{FF2B5EF4-FFF2-40B4-BE49-F238E27FC236}">
                  <a16:creationId xmlns:a16="http://schemas.microsoft.com/office/drawing/2014/main" id="{17781F1F-DB19-4442-B92A-C7711450A6C2}"/>
                </a:ext>
              </a:extLst>
            </p:cNvPr>
            <p:cNvSpPr/>
            <p:nvPr/>
          </p:nvSpPr>
          <p:spPr>
            <a:xfrm rot="8716295">
              <a:off x="1476430" y="304506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" name="Forme libre : forme 243">
              <a:extLst>
                <a:ext uri="{FF2B5EF4-FFF2-40B4-BE49-F238E27FC236}">
                  <a16:creationId xmlns:a16="http://schemas.microsoft.com/office/drawing/2014/main" id="{DBD406CA-7502-44B6-87AF-2C3CFA35CDED}"/>
                </a:ext>
              </a:extLst>
            </p:cNvPr>
            <p:cNvSpPr/>
            <p:nvPr/>
          </p:nvSpPr>
          <p:spPr>
            <a:xfrm rot="8716295">
              <a:off x="1351528" y="283639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" name="Forme libre : forme 244">
              <a:extLst>
                <a:ext uri="{FF2B5EF4-FFF2-40B4-BE49-F238E27FC236}">
                  <a16:creationId xmlns:a16="http://schemas.microsoft.com/office/drawing/2014/main" id="{1D9F6882-BBB8-4C9A-BDD7-FAB6F4D5F59D}"/>
                </a:ext>
              </a:extLst>
            </p:cNvPr>
            <p:cNvSpPr/>
            <p:nvPr/>
          </p:nvSpPr>
          <p:spPr>
            <a:xfrm rot="8716295">
              <a:off x="1566608" y="308601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" name="Forme libre : forme 245">
              <a:extLst>
                <a:ext uri="{FF2B5EF4-FFF2-40B4-BE49-F238E27FC236}">
                  <a16:creationId xmlns:a16="http://schemas.microsoft.com/office/drawing/2014/main" id="{D03B605A-3C15-4096-9741-AEE20EFC39A1}"/>
                </a:ext>
              </a:extLst>
            </p:cNvPr>
            <p:cNvSpPr/>
            <p:nvPr/>
          </p:nvSpPr>
          <p:spPr>
            <a:xfrm rot="8716295">
              <a:off x="1325157" y="293641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" name="Forme libre : forme 246">
              <a:extLst>
                <a:ext uri="{FF2B5EF4-FFF2-40B4-BE49-F238E27FC236}">
                  <a16:creationId xmlns:a16="http://schemas.microsoft.com/office/drawing/2014/main" id="{38898AE8-B829-47A3-880A-38C78C89B9DE}"/>
                </a:ext>
              </a:extLst>
            </p:cNvPr>
            <p:cNvSpPr/>
            <p:nvPr/>
          </p:nvSpPr>
          <p:spPr>
            <a:xfrm rot="7484129">
              <a:off x="1671539" y="327736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" name="Forme libre : forme 247">
              <a:extLst>
                <a:ext uri="{FF2B5EF4-FFF2-40B4-BE49-F238E27FC236}">
                  <a16:creationId xmlns:a16="http://schemas.microsoft.com/office/drawing/2014/main" id="{6C94EF82-BA2B-46A8-965C-6EF68064713F}"/>
                </a:ext>
              </a:extLst>
            </p:cNvPr>
            <p:cNvSpPr/>
            <p:nvPr/>
          </p:nvSpPr>
          <p:spPr>
            <a:xfrm rot="13089394">
              <a:off x="1776359" y="324390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" name="Forme libre : forme 248">
              <a:extLst>
                <a:ext uri="{FF2B5EF4-FFF2-40B4-BE49-F238E27FC236}">
                  <a16:creationId xmlns:a16="http://schemas.microsoft.com/office/drawing/2014/main" id="{551D5950-1E6B-4DD0-AB72-CBFF9866A44D}"/>
                </a:ext>
              </a:extLst>
            </p:cNvPr>
            <p:cNvSpPr/>
            <p:nvPr/>
          </p:nvSpPr>
          <p:spPr>
            <a:xfrm rot="8716295">
              <a:off x="1961944" y="305222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" name="Forme libre : forme 249">
              <a:extLst>
                <a:ext uri="{FF2B5EF4-FFF2-40B4-BE49-F238E27FC236}">
                  <a16:creationId xmlns:a16="http://schemas.microsoft.com/office/drawing/2014/main" id="{B6B88D31-2E44-4166-86AB-E9E6ECCAF3B0}"/>
                </a:ext>
              </a:extLst>
            </p:cNvPr>
            <p:cNvSpPr/>
            <p:nvPr/>
          </p:nvSpPr>
          <p:spPr>
            <a:xfrm rot="8716295">
              <a:off x="1910139" y="294862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" name="Forme libre : forme 250">
              <a:extLst>
                <a:ext uri="{FF2B5EF4-FFF2-40B4-BE49-F238E27FC236}">
                  <a16:creationId xmlns:a16="http://schemas.microsoft.com/office/drawing/2014/main" id="{811032A2-B40D-4E18-A5FE-1E40E940D0A3}"/>
                </a:ext>
              </a:extLst>
            </p:cNvPr>
            <p:cNvSpPr/>
            <p:nvPr/>
          </p:nvSpPr>
          <p:spPr>
            <a:xfrm rot="8716295">
              <a:off x="1666893" y="297885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" name="Forme libre : forme 251">
              <a:extLst>
                <a:ext uri="{FF2B5EF4-FFF2-40B4-BE49-F238E27FC236}">
                  <a16:creationId xmlns:a16="http://schemas.microsoft.com/office/drawing/2014/main" id="{10E9AA39-FF6D-4519-822E-A935B8BFBA5C}"/>
                </a:ext>
              </a:extLst>
            </p:cNvPr>
            <p:cNvSpPr/>
            <p:nvPr/>
          </p:nvSpPr>
          <p:spPr>
            <a:xfrm rot="8716295">
              <a:off x="1844345" y="281960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" name="Forme libre : forme 252">
              <a:extLst>
                <a:ext uri="{FF2B5EF4-FFF2-40B4-BE49-F238E27FC236}">
                  <a16:creationId xmlns:a16="http://schemas.microsoft.com/office/drawing/2014/main" id="{6C0C2891-B5CF-43D2-8AFF-62DA18792308}"/>
                </a:ext>
              </a:extLst>
            </p:cNvPr>
            <p:cNvSpPr/>
            <p:nvPr/>
          </p:nvSpPr>
          <p:spPr>
            <a:xfrm rot="8716295">
              <a:off x="2092137" y="5100860"/>
              <a:ext cx="63833" cy="43384"/>
            </a:xfrm>
            <a:custGeom>
              <a:avLst/>
              <a:gdLst>
                <a:gd name="connsiteX0" fmla="*/ 5923 w 63833"/>
                <a:gd name="connsiteY0" fmla="*/ 43384 h 43384"/>
                <a:gd name="connsiteX1" fmla="*/ 0 w 63833"/>
                <a:gd name="connsiteY1" fmla="*/ 35182 h 43384"/>
                <a:gd name="connsiteX2" fmla="*/ 37391 w 63833"/>
                <a:gd name="connsiteY2" fmla="*/ 0 h 43384"/>
                <a:gd name="connsiteX3" fmla="*/ 63833 w 63833"/>
                <a:gd name="connsiteY3" fmla="*/ 18329 h 4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833" h="43384">
                  <a:moveTo>
                    <a:pt x="5923" y="43384"/>
                  </a:moveTo>
                  <a:lnTo>
                    <a:pt x="0" y="35182"/>
                  </a:lnTo>
                  <a:lnTo>
                    <a:pt x="37391" y="0"/>
                  </a:lnTo>
                  <a:lnTo>
                    <a:pt x="63833" y="1832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" name="Forme libre : forme 253">
              <a:extLst>
                <a:ext uri="{FF2B5EF4-FFF2-40B4-BE49-F238E27FC236}">
                  <a16:creationId xmlns:a16="http://schemas.microsoft.com/office/drawing/2014/main" id="{D0590309-C5C9-415B-B4DB-187E6398C8E2}"/>
                </a:ext>
              </a:extLst>
            </p:cNvPr>
            <p:cNvSpPr/>
            <p:nvPr/>
          </p:nvSpPr>
          <p:spPr>
            <a:xfrm rot="8716295">
              <a:off x="1789040" y="5044339"/>
              <a:ext cx="113322" cy="144291"/>
            </a:xfrm>
            <a:custGeom>
              <a:avLst/>
              <a:gdLst>
                <a:gd name="connsiteX0" fmla="*/ 0 w 113322"/>
                <a:gd name="connsiteY0" fmla="*/ 3741 h 144291"/>
                <a:gd name="connsiteX1" fmla="*/ 0 w 113322"/>
                <a:gd name="connsiteY1" fmla="*/ 0 h 144291"/>
                <a:gd name="connsiteX2" fmla="*/ 5398 w 113322"/>
                <a:gd name="connsiteY2" fmla="*/ 3741 h 144291"/>
                <a:gd name="connsiteX3" fmla="*/ 90709 w 113322"/>
                <a:gd name="connsiteY3" fmla="*/ 144291 h 144291"/>
                <a:gd name="connsiteX4" fmla="*/ 47847 w 113322"/>
                <a:gd name="connsiteY4" fmla="*/ 64547 h 144291"/>
                <a:gd name="connsiteX5" fmla="*/ 56901 w 113322"/>
                <a:gd name="connsiteY5" fmla="*/ 39441 h 144291"/>
                <a:gd name="connsiteX6" fmla="*/ 113322 w 113322"/>
                <a:gd name="connsiteY6" fmla="*/ 78551 h 144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322" h="144291">
                  <a:moveTo>
                    <a:pt x="0" y="3741"/>
                  </a:moveTo>
                  <a:lnTo>
                    <a:pt x="0" y="0"/>
                  </a:lnTo>
                  <a:lnTo>
                    <a:pt x="5398" y="3741"/>
                  </a:lnTo>
                  <a:close/>
                  <a:moveTo>
                    <a:pt x="90709" y="144291"/>
                  </a:moveTo>
                  <a:lnTo>
                    <a:pt x="47847" y="64547"/>
                  </a:lnTo>
                  <a:lnTo>
                    <a:pt x="56901" y="39441"/>
                  </a:lnTo>
                  <a:lnTo>
                    <a:pt x="113322" y="7855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" name="Forme libre : forme 254">
              <a:extLst>
                <a:ext uri="{FF2B5EF4-FFF2-40B4-BE49-F238E27FC236}">
                  <a16:creationId xmlns:a16="http://schemas.microsoft.com/office/drawing/2014/main" id="{5BD5D859-B6BE-4272-BEBA-C49F2EB86FA8}"/>
                </a:ext>
              </a:extLst>
            </p:cNvPr>
            <p:cNvSpPr/>
            <p:nvPr/>
          </p:nvSpPr>
          <p:spPr>
            <a:xfrm rot="8716295">
              <a:off x="1701335" y="4927006"/>
              <a:ext cx="290643" cy="318535"/>
            </a:xfrm>
            <a:custGeom>
              <a:avLst/>
              <a:gdLst>
                <a:gd name="connsiteX0" fmla="*/ 25298 w 290643"/>
                <a:gd name="connsiteY0" fmla="*/ 288944 h 318535"/>
                <a:gd name="connsiteX1" fmla="*/ 0 w 290643"/>
                <a:gd name="connsiteY1" fmla="*/ 187748 h 318535"/>
                <a:gd name="connsiteX2" fmla="*/ 0 w 290643"/>
                <a:gd name="connsiteY2" fmla="*/ 8302 h 318535"/>
                <a:gd name="connsiteX3" fmla="*/ 16003 w 290643"/>
                <a:gd name="connsiteY3" fmla="*/ 0 h 318535"/>
                <a:gd name="connsiteX4" fmla="*/ 78793 w 290643"/>
                <a:gd name="connsiteY4" fmla="*/ 43524 h 318535"/>
                <a:gd name="connsiteX5" fmla="*/ 79427 w 290643"/>
                <a:gd name="connsiteY5" fmla="*/ 131855 h 318535"/>
                <a:gd name="connsiteX6" fmla="*/ 93547 w 290643"/>
                <a:gd name="connsiteY6" fmla="*/ 229521 h 318535"/>
                <a:gd name="connsiteX7" fmla="*/ 164149 w 290643"/>
                <a:gd name="connsiteY7" fmla="*/ 268352 h 318535"/>
                <a:gd name="connsiteX8" fmla="*/ 217100 w 290643"/>
                <a:gd name="connsiteY8" fmla="*/ 258938 h 318535"/>
                <a:gd name="connsiteX9" fmla="*/ 289467 w 290643"/>
                <a:gd name="connsiteY9" fmla="*/ 229521 h 318535"/>
                <a:gd name="connsiteX10" fmla="*/ 290643 w 290643"/>
                <a:gd name="connsiteY10" fmla="*/ 237169 h 318535"/>
                <a:gd name="connsiteX11" fmla="*/ 290643 w 290643"/>
                <a:gd name="connsiteY11" fmla="*/ 243052 h 318535"/>
                <a:gd name="connsiteX12" fmla="*/ 97665 w 290643"/>
                <a:gd name="connsiteY12" fmla="*/ 318361 h 318535"/>
                <a:gd name="connsiteX13" fmla="*/ 25298 w 290643"/>
                <a:gd name="connsiteY13" fmla="*/ 288944 h 318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90643" h="318535">
                  <a:moveTo>
                    <a:pt x="25298" y="288944"/>
                  </a:moveTo>
                  <a:cubicBezTo>
                    <a:pt x="5295" y="269528"/>
                    <a:pt x="0" y="235992"/>
                    <a:pt x="0" y="187748"/>
                  </a:cubicBezTo>
                  <a:lnTo>
                    <a:pt x="0" y="8302"/>
                  </a:lnTo>
                  <a:lnTo>
                    <a:pt x="16003" y="0"/>
                  </a:lnTo>
                  <a:lnTo>
                    <a:pt x="78793" y="43524"/>
                  </a:lnTo>
                  <a:lnTo>
                    <a:pt x="79427" y="131855"/>
                  </a:lnTo>
                  <a:cubicBezTo>
                    <a:pt x="77662" y="164803"/>
                    <a:pt x="82957" y="198338"/>
                    <a:pt x="93547" y="229521"/>
                  </a:cubicBezTo>
                  <a:cubicBezTo>
                    <a:pt x="102961" y="255408"/>
                    <a:pt x="127083" y="268352"/>
                    <a:pt x="164149" y="268352"/>
                  </a:cubicBezTo>
                  <a:cubicBezTo>
                    <a:pt x="182387" y="267763"/>
                    <a:pt x="200038" y="264233"/>
                    <a:pt x="217100" y="258938"/>
                  </a:cubicBezTo>
                  <a:cubicBezTo>
                    <a:pt x="241810" y="251290"/>
                    <a:pt x="265933" y="241288"/>
                    <a:pt x="289467" y="229521"/>
                  </a:cubicBezTo>
                  <a:cubicBezTo>
                    <a:pt x="290055" y="231874"/>
                    <a:pt x="290643" y="234816"/>
                    <a:pt x="290643" y="237169"/>
                  </a:cubicBezTo>
                  <a:lnTo>
                    <a:pt x="290643" y="243052"/>
                  </a:lnTo>
                  <a:cubicBezTo>
                    <a:pt x="228278" y="296592"/>
                    <a:pt x="146498" y="315419"/>
                    <a:pt x="97665" y="318361"/>
                  </a:cubicBezTo>
                  <a:cubicBezTo>
                    <a:pt x="70602" y="320126"/>
                    <a:pt x="44126" y="308359"/>
                    <a:pt x="25298" y="28894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" name="Forme libre : forme 255">
              <a:extLst>
                <a:ext uri="{FF2B5EF4-FFF2-40B4-BE49-F238E27FC236}">
                  <a16:creationId xmlns:a16="http://schemas.microsoft.com/office/drawing/2014/main" id="{DF6324B6-1146-4A58-A87B-58A99832DFC5}"/>
                </a:ext>
              </a:extLst>
            </p:cNvPr>
            <p:cNvSpPr/>
            <p:nvPr/>
          </p:nvSpPr>
          <p:spPr>
            <a:xfrm rot="8716295">
              <a:off x="2251190" y="4935850"/>
              <a:ext cx="142167" cy="232388"/>
            </a:xfrm>
            <a:custGeom>
              <a:avLst/>
              <a:gdLst>
                <a:gd name="connsiteX0" fmla="*/ 81108 w 142167"/>
                <a:gd name="connsiteY0" fmla="*/ 232388 h 232388"/>
                <a:gd name="connsiteX1" fmla="*/ 81108 w 142167"/>
                <a:gd name="connsiteY1" fmla="*/ 69716 h 232388"/>
                <a:gd name="connsiteX2" fmla="*/ 81108 w 142167"/>
                <a:gd name="connsiteY2" fmla="*/ 65616 h 232388"/>
                <a:gd name="connsiteX3" fmla="*/ 60604 w 142167"/>
                <a:gd name="connsiteY3" fmla="*/ 50123 h 232388"/>
                <a:gd name="connsiteX4" fmla="*/ 0 w 142167"/>
                <a:gd name="connsiteY4" fmla="*/ 50123 h 232388"/>
                <a:gd name="connsiteX5" fmla="*/ 0 w 142167"/>
                <a:gd name="connsiteY5" fmla="*/ 0 h 232388"/>
                <a:gd name="connsiteX6" fmla="*/ 63990 w 142167"/>
                <a:gd name="connsiteY6" fmla="*/ 0 h 232388"/>
                <a:gd name="connsiteX7" fmla="*/ 142167 w 142167"/>
                <a:gd name="connsiteY7" fmla="*/ 54190 h 232388"/>
                <a:gd name="connsiteX8" fmla="*/ 142167 w 142167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32388">
                  <a:moveTo>
                    <a:pt x="81108" y="232388"/>
                  </a:moveTo>
                  <a:lnTo>
                    <a:pt x="81108" y="69716"/>
                  </a:lnTo>
                  <a:cubicBezTo>
                    <a:pt x="81108" y="68350"/>
                    <a:pt x="81108" y="66983"/>
                    <a:pt x="81108" y="65616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63990" y="0"/>
                  </a:lnTo>
                  <a:lnTo>
                    <a:pt x="142167" y="54190"/>
                  </a:lnTo>
                  <a:lnTo>
                    <a:pt x="142167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" name="Forme libre : forme 256">
              <a:extLst>
                <a:ext uri="{FF2B5EF4-FFF2-40B4-BE49-F238E27FC236}">
                  <a16:creationId xmlns:a16="http://schemas.microsoft.com/office/drawing/2014/main" id="{646EF66B-E595-4EAF-98DD-AFED25A9F1D2}"/>
                </a:ext>
              </a:extLst>
            </p:cNvPr>
            <p:cNvSpPr/>
            <p:nvPr/>
          </p:nvSpPr>
          <p:spPr>
            <a:xfrm rot="8716295">
              <a:off x="2456859" y="4924575"/>
              <a:ext cx="131246" cy="253348"/>
            </a:xfrm>
            <a:custGeom>
              <a:avLst/>
              <a:gdLst>
                <a:gd name="connsiteX0" fmla="*/ 51490 w 131246"/>
                <a:gd name="connsiteY0" fmla="*/ 253348 h 253348"/>
                <a:gd name="connsiteX1" fmla="*/ 51489 w 131246"/>
                <a:gd name="connsiteY1" fmla="*/ 44199 h 253348"/>
                <a:gd name="connsiteX2" fmla="*/ 0 w 131246"/>
                <a:gd name="connsiteY2" fmla="*/ 44199 h 253348"/>
                <a:gd name="connsiteX3" fmla="*/ 0 w 131246"/>
                <a:gd name="connsiteY3" fmla="*/ 0 h 253348"/>
                <a:gd name="connsiteX4" fmla="*/ 44807 w 131246"/>
                <a:gd name="connsiteY4" fmla="*/ 0 h 253348"/>
                <a:gd name="connsiteX5" fmla="*/ 104802 w 131246"/>
                <a:gd name="connsiteY5" fmla="*/ 41587 h 253348"/>
                <a:gd name="connsiteX6" fmla="*/ 104802 w 131246"/>
                <a:gd name="connsiteY6" fmla="*/ 73817 h 253348"/>
                <a:gd name="connsiteX7" fmla="*/ 106169 w 131246"/>
                <a:gd name="connsiteY7" fmla="*/ 73817 h 253348"/>
                <a:gd name="connsiteX8" fmla="*/ 115569 w 131246"/>
                <a:gd name="connsiteY8" fmla="*/ 49050 h 253348"/>
                <a:gd name="connsiteX9" fmla="*/ 131246 w 131246"/>
                <a:gd name="connsiteY9" fmla="*/ 59916 h 253348"/>
                <a:gd name="connsiteX10" fmla="*/ 127358 w 131246"/>
                <a:gd name="connsiteY10" fmla="*/ 64191 h 253348"/>
                <a:gd name="connsiteX11" fmla="*/ 111638 w 131246"/>
                <a:gd name="connsiteY11" fmla="*/ 126218 h 253348"/>
                <a:gd name="connsiteX12" fmla="*/ 111638 w 131246"/>
                <a:gd name="connsiteY12" fmla="*/ 212339 h 253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1246" h="253348">
                  <a:moveTo>
                    <a:pt x="51490" y="253348"/>
                  </a:moveTo>
                  <a:lnTo>
                    <a:pt x="51489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44807" y="0"/>
                  </a:lnTo>
                  <a:lnTo>
                    <a:pt x="104802" y="41587"/>
                  </a:lnTo>
                  <a:lnTo>
                    <a:pt x="104802" y="73817"/>
                  </a:lnTo>
                  <a:lnTo>
                    <a:pt x="106169" y="73817"/>
                  </a:lnTo>
                  <a:lnTo>
                    <a:pt x="115569" y="49050"/>
                  </a:lnTo>
                  <a:lnTo>
                    <a:pt x="131246" y="59916"/>
                  </a:lnTo>
                  <a:lnTo>
                    <a:pt x="127358" y="64191"/>
                  </a:lnTo>
                  <a:cubicBezTo>
                    <a:pt x="117675" y="79968"/>
                    <a:pt x="111638" y="101840"/>
                    <a:pt x="111638" y="126218"/>
                  </a:cubicBezTo>
                  <a:lnTo>
                    <a:pt x="111638" y="2123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" name="Forme libre : forme 257">
              <a:extLst>
                <a:ext uri="{FF2B5EF4-FFF2-40B4-BE49-F238E27FC236}">
                  <a16:creationId xmlns:a16="http://schemas.microsoft.com/office/drawing/2014/main" id="{BBB2A0DE-B613-4103-A446-00FD5673FDA7}"/>
                </a:ext>
              </a:extLst>
            </p:cNvPr>
            <p:cNvSpPr/>
            <p:nvPr/>
          </p:nvSpPr>
          <p:spPr>
            <a:xfrm rot="8716295">
              <a:off x="2139785" y="502413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" name="Forme libre : forme 258">
              <a:extLst>
                <a:ext uri="{FF2B5EF4-FFF2-40B4-BE49-F238E27FC236}">
                  <a16:creationId xmlns:a16="http://schemas.microsoft.com/office/drawing/2014/main" id="{CE0B209D-C132-46B3-A7D3-E99A86963D83}"/>
                </a:ext>
              </a:extLst>
            </p:cNvPr>
            <p:cNvSpPr/>
            <p:nvPr/>
          </p:nvSpPr>
          <p:spPr>
            <a:xfrm rot="8716295">
              <a:off x="2014883" y="481546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" name="Forme libre : forme 259">
              <a:extLst>
                <a:ext uri="{FF2B5EF4-FFF2-40B4-BE49-F238E27FC236}">
                  <a16:creationId xmlns:a16="http://schemas.microsoft.com/office/drawing/2014/main" id="{46BBD1CB-80EF-4DD7-9CA4-1F270A6D433D}"/>
                </a:ext>
              </a:extLst>
            </p:cNvPr>
            <p:cNvSpPr/>
            <p:nvPr/>
          </p:nvSpPr>
          <p:spPr>
            <a:xfrm rot="8716295">
              <a:off x="2190257" y="5090583"/>
              <a:ext cx="60147" cy="76898"/>
            </a:xfrm>
            <a:custGeom>
              <a:avLst/>
              <a:gdLst>
                <a:gd name="connsiteX0" fmla="*/ 60147 w 60147"/>
                <a:gd name="connsiteY0" fmla="*/ 76898 h 76898"/>
                <a:gd name="connsiteX1" fmla="*/ 0 w 60147"/>
                <a:gd name="connsiteY1" fmla="*/ 19028 h 76898"/>
                <a:gd name="connsiteX2" fmla="*/ 0 w 60147"/>
                <a:gd name="connsiteY2" fmla="*/ 0 h 76898"/>
                <a:gd name="connsiteX3" fmla="*/ 60147 w 60147"/>
                <a:gd name="connsiteY3" fmla="*/ 41692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7" h="76898">
                  <a:moveTo>
                    <a:pt x="60147" y="76898"/>
                  </a:moveTo>
                  <a:lnTo>
                    <a:pt x="0" y="19028"/>
                  </a:lnTo>
                  <a:lnTo>
                    <a:pt x="0" y="0"/>
                  </a:lnTo>
                  <a:lnTo>
                    <a:pt x="60147" y="416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" name="Forme libre : forme 260">
              <a:extLst>
                <a:ext uri="{FF2B5EF4-FFF2-40B4-BE49-F238E27FC236}">
                  <a16:creationId xmlns:a16="http://schemas.microsoft.com/office/drawing/2014/main" id="{A32DFF69-92E6-43D9-A847-4B37531C0FC1}"/>
                </a:ext>
              </a:extLst>
            </p:cNvPr>
            <p:cNvSpPr/>
            <p:nvPr/>
          </p:nvSpPr>
          <p:spPr>
            <a:xfrm rot="8716295">
              <a:off x="1988512" y="491548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" name="Forme libre : forme 261">
              <a:extLst>
                <a:ext uri="{FF2B5EF4-FFF2-40B4-BE49-F238E27FC236}">
                  <a16:creationId xmlns:a16="http://schemas.microsoft.com/office/drawing/2014/main" id="{8232E004-724D-4398-A64A-AF1F94C033B6}"/>
                </a:ext>
              </a:extLst>
            </p:cNvPr>
            <p:cNvSpPr/>
            <p:nvPr/>
          </p:nvSpPr>
          <p:spPr>
            <a:xfrm rot="8716295">
              <a:off x="2650789" y="5021708"/>
              <a:ext cx="177699" cy="117559"/>
            </a:xfrm>
            <a:custGeom>
              <a:avLst/>
              <a:gdLst>
                <a:gd name="connsiteX0" fmla="*/ 6986 w 177699"/>
                <a:gd name="connsiteY0" fmla="*/ 117559 h 117559"/>
                <a:gd name="connsiteX1" fmla="*/ 0 w 177699"/>
                <a:gd name="connsiteY1" fmla="*/ 107886 h 117559"/>
                <a:gd name="connsiteX2" fmla="*/ 114658 w 177699"/>
                <a:gd name="connsiteY2" fmla="*/ 0 h 117559"/>
                <a:gd name="connsiteX3" fmla="*/ 177699 w 177699"/>
                <a:gd name="connsiteY3" fmla="*/ 43698 h 117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7699" h="117559">
                  <a:moveTo>
                    <a:pt x="6986" y="117559"/>
                  </a:moveTo>
                  <a:lnTo>
                    <a:pt x="0" y="107886"/>
                  </a:lnTo>
                  <a:lnTo>
                    <a:pt x="114658" y="0"/>
                  </a:lnTo>
                  <a:lnTo>
                    <a:pt x="177699" y="436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" name="Forme libre : forme 262">
              <a:extLst>
                <a:ext uri="{FF2B5EF4-FFF2-40B4-BE49-F238E27FC236}">
                  <a16:creationId xmlns:a16="http://schemas.microsoft.com/office/drawing/2014/main" id="{FBFBE439-377B-4FDF-9911-15B61D5AC250}"/>
                </a:ext>
              </a:extLst>
            </p:cNvPr>
            <p:cNvSpPr/>
            <p:nvPr/>
          </p:nvSpPr>
          <p:spPr>
            <a:xfrm rot="8716295">
              <a:off x="2573494" y="492769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" name="Forme libre : forme 263">
              <a:extLst>
                <a:ext uri="{FF2B5EF4-FFF2-40B4-BE49-F238E27FC236}">
                  <a16:creationId xmlns:a16="http://schemas.microsoft.com/office/drawing/2014/main" id="{8F5A7FC6-58AF-4BF6-9769-158D9D43A4A8}"/>
                </a:ext>
              </a:extLst>
            </p:cNvPr>
            <p:cNvSpPr/>
            <p:nvPr/>
          </p:nvSpPr>
          <p:spPr>
            <a:xfrm rot="8716295">
              <a:off x="2330248" y="495791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" name="Forme libre : forme 264">
              <a:extLst>
                <a:ext uri="{FF2B5EF4-FFF2-40B4-BE49-F238E27FC236}">
                  <a16:creationId xmlns:a16="http://schemas.microsoft.com/office/drawing/2014/main" id="{0B99B4B3-E447-449D-B6F2-40AFC1232903}"/>
                </a:ext>
              </a:extLst>
            </p:cNvPr>
            <p:cNvSpPr/>
            <p:nvPr/>
          </p:nvSpPr>
          <p:spPr>
            <a:xfrm rot="8716295">
              <a:off x="2507700" y="479867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" name="Forme libre : forme 265">
              <a:extLst>
                <a:ext uri="{FF2B5EF4-FFF2-40B4-BE49-F238E27FC236}">
                  <a16:creationId xmlns:a16="http://schemas.microsoft.com/office/drawing/2014/main" id="{9FDE555B-22C7-4972-A03C-9A881E9F494C}"/>
                </a:ext>
              </a:extLst>
            </p:cNvPr>
            <p:cNvSpPr/>
            <p:nvPr/>
          </p:nvSpPr>
          <p:spPr>
            <a:xfrm rot="8716295">
              <a:off x="1518235" y="386507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" name="Forme libre : forme 266">
              <a:extLst>
                <a:ext uri="{FF2B5EF4-FFF2-40B4-BE49-F238E27FC236}">
                  <a16:creationId xmlns:a16="http://schemas.microsoft.com/office/drawing/2014/main" id="{47023A4A-E9A4-4E7C-9A1F-7F050E215658}"/>
                </a:ext>
              </a:extLst>
            </p:cNvPr>
            <p:cNvSpPr/>
            <p:nvPr/>
          </p:nvSpPr>
          <p:spPr>
            <a:xfrm rot="8716295">
              <a:off x="1607627" y="389431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" name="Forme libre : forme 267">
              <a:extLst>
                <a:ext uri="{FF2B5EF4-FFF2-40B4-BE49-F238E27FC236}">
                  <a16:creationId xmlns:a16="http://schemas.microsoft.com/office/drawing/2014/main" id="{721AE192-0DE9-44CE-AFE7-60EAD2184BA9}"/>
                </a:ext>
              </a:extLst>
            </p:cNvPr>
            <p:cNvSpPr/>
            <p:nvPr/>
          </p:nvSpPr>
          <p:spPr>
            <a:xfrm rot="8716295">
              <a:off x="1562777" y="380803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" name="Forme libre : forme 268">
              <a:extLst>
                <a:ext uri="{FF2B5EF4-FFF2-40B4-BE49-F238E27FC236}">
                  <a16:creationId xmlns:a16="http://schemas.microsoft.com/office/drawing/2014/main" id="{C1003FCB-894D-4CB7-9C82-85789FE9B276}"/>
                </a:ext>
              </a:extLst>
            </p:cNvPr>
            <p:cNvSpPr/>
            <p:nvPr/>
          </p:nvSpPr>
          <p:spPr>
            <a:xfrm rot="8716295">
              <a:off x="1406001" y="395361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0" name="Forme libre : forme 269">
              <a:extLst>
                <a:ext uri="{FF2B5EF4-FFF2-40B4-BE49-F238E27FC236}">
                  <a16:creationId xmlns:a16="http://schemas.microsoft.com/office/drawing/2014/main" id="{7F48A554-D952-4BC7-8F60-7FBDCE05FE70}"/>
                </a:ext>
              </a:extLst>
            </p:cNvPr>
            <p:cNvSpPr/>
            <p:nvPr/>
          </p:nvSpPr>
          <p:spPr>
            <a:xfrm rot="8716295">
              <a:off x="1281098" y="374494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1" name="Forme libre : forme 270">
              <a:extLst>
                <a:ext uri="{FF2B5EF4-FFF2-40B4-BE49-F238E27FC236}">
                  <a16:creationId xmlns:a16="http://schemas.microsoft.com/office/drawing/2014/main" id="{B64659B2-F8CD-4B3D-8353-ED1AAF15923F}"/>
                </a:ext>
              </a:extLst>
            </p:cNvPr>
            <p:cNvSpPr/>
            <p:nvPr/>
          </p:nvSpPr>
          <p:spPr>
            <a:xfrm rot="8716295">
              <a:off x="1269046" y="3606161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2" name="Forme libre : forme 271">
              <a:extLst>
                <a:ext uri="{FF2B5EF4-FFF2-40B4-BE49-F238E27FC236}">
                  <a16:creationId xmlns:a16="http://schemas.microsoft.com/office/drawing/2014/main" id="{C1336409-0E83-4F9F-AE44-B0095CEBE127}"/>
                </a:ext>
              </a:extLst>
            </p:cNvPr>
            <p:cNvSpPr/>
            <p:nvPr/>
          </p:nvSpPr>
          <p:spPr>
            <a:xfrm rot="8716295">
              <a:off x="1496179" y="399456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3" name="Forme libre : forme 272">
              <a:extLst>
                <a:ext uri="{FF2B5EF4-FFF2-40B4-BE49-F238E27FC236}">
                  <a16:creationId xmlns:a16="http://schemas.microsoft.com/office/drawing/2014/main" id="{11163225-7511-4602-A804-B9D156B88F47}"/>
                </a:ext>
              </a:extLst>
            </p:cNvPr>
            <p:cNvSpPr/>
            <p:nvPr/>
          </p:nvSpPr>
          <p:spPr>
            <a:xfrm rot="8716295">
              <a:off x="1807334" y="36149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4" name="Forme libre : forme 273">
              <a:extLst>
                <a:ext uri="{FF2B5EF4-FFF2-40B4-BE49-F238E27FC236}">
                  <a16:creationId xmlns:a16="http://schemas.microsoft.com/office/drawing/2014/main" id="{81961769-D6FF-4365-87D3-0FF20F673A4A}"/>
                </a:ext>
              </a:extLst>
            </p:cNvPr>
            <p:cNvSpPr/>
            <p:nvPr/>
          </p:nvSpPr>
          <p:spPr>
            <a:xfrm rot="8716295">
              <a:off x="1896726" y="36441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5" name="Forme libre : forme 274">
              <a:extLst>
                <a:ext uri="{FF2B5EF4-FFF2-40B4-BE49-F238E27FC236}">
                  <a16:creationId xmlns:a16="http://schemas.microsoft.com/office/drawing/2014/main" id="{D838E7DA-A3D8-4733-90D9-56C4006640C1}"/>
                </a:ext>
              </a:extLst>
            </p:cNvPr>
            <p:cNvSpPr/>
            <p:nvPr/>
          </p:nvSpPr>
          <p:spPr>
            <a:xfrm rot="8716295">
              <a:off x="1695100" y="370346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6" name="Forme libre : forme 275">
              <a:extLst>
                <a:ext uri="{FF2B5EF4-FFF2-40B4-BE49-F238E27FC236}">
                  <a16:creationId xmlns:a16="http://schemas.microsoft.com/office/drawing/2014/main" id="{BE48505C-4A3C-41E8-805D-3F3964663DC3}"/>
                </a:ext>
              </a:extLst>
            </p:cNvPr>
            <p:cNvSpPr/>
            <p:nvPr/>
          </p:nvSpPr>
          <p:spPr>
            <a:xfrm rot="8716295">
              <a:off x="1570198" y="349478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7" name="Forme libre : forme 276">
              <a:extLst>
                <a:ext uri="{FF2B5EF4-FFF2-40B4-BE49-F238E27FC236}">
                  <a16:creationId xmlns:a16="http://schemas.microsoft.com/office/drawing/2014/main" id="{74C1AFD3-7B5D-49B6-B346-37FFDE5D01C0}"/>
                </a:ext>
              </a:extLst>
            </p:cNvPr>
            <p:cNvSpPr/>
            <p:nvPr/>
          </p:nvSpPr>
          <p:spPr>
            <a:xfrm rot="8716295">
              <a:off x="1785278" y="37444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8" name="Forme libre : forme 277">
              <a:extLst>
                <a:ext uri="{FF2B5EF4-FFF2-40B4-BE49-F238E27FC236}">
                  <a16:creationId xmlns:a16="http://schemas.microsoft.com/office/drawing/2014/main" id="{B918BF38-28D0-4E79-852B-01ED43D79B29}"/>
                </a:ext>
              </a:extLst>
            </p:cNvPr>
            <p:cNvSpPr/>
            <p:nvPr/>
          </p:nvSpPr>
          <p:spPr>
            <a:xfrm rot="8716295">
              <a:off x="1543827" y="359481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9" name="Forme libre : forme 278">
              <a:extLst>
                <a:ext uri="{FF2B5EF4-FFF2-40B4-BE49-F238E27FC236}">
                  <a16:creationId xmlns:a16="http://schemas.microsoft.com/office/drawing/2014/main" id="{9821C7DC-A0EE-43BB-82AD-2D73FD4DEC58}"/>
                </a:ext>
              </a:extLst>
            </p:cNvPr>
            <p:cNvSpPr/>
            <p:nvPr/>
          </p:nvSpPr>
          <p:spPr>
            <a:xfrm rot="7484129">
              <a:off x="1890209" y="393576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0" name="Forme libre : forme 279">
              <a:extLst>
                <a:ext uri="{FF2B5EF4-FFF2-40B4-BE49-F238E27FC236}">
                  <a16:creationId xmlns:a16="http://schemas.microsoft.com/office/drawing/2014/main" id="{CE9B832D-CDB0-4485-83A6-7D7ED44A3320}"/>
                </a:ext>
              </a:extLst>
            </p:cNvPr>
            <p:cNvSpPr/>
            <p:nvPr/>
          </p:nvSpPr>
          <p:spPr>
            <a:xfrm rot="13089394">
              <a:off x="1995029" y="3902299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1" name="Forme libre : forme 280">
              <a:extLst>
                <a:ext uri="{FF2B5EF4-FFF2-40B4-BE49-F238E27FC236}">
                  <a16:creationId xmlns:a16="http://schemas.microsoft.com/office/drawing/2014/main" id="{B39230A2-1C21-4062-B5E2-4E3B7D0C88CD}"/>
                </a:ext>
              </a:extLst>
            </p:cNvPr>
            <p:cNvSpPr/>
            <p:nvPr/>
          </p:nvSpPr>
          <p:spPr>
            <a:xfrm rot="8716295">
              <a:off x="2180614" y="371061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2" name="Forme libre : forme 281">
              <a:extLst>
                <a:ext uri="{FF2B5EF4-FFF2-40B4-BE49-F238E27FC236}">
                  <a16:creationId xmlns:a16="http://schemas.microsoft.com/office/drawing/2014/main" id="{81DCB6A5-C857-4E79-932B-EE7CD6E9E80D}"/>
                </a:ext>
              </a:extLst>
            </p:cNvPr>
            <p:cNvSpPr/>
            <p:nvPr/>
          </p:nvSpPr>
          <p:spPr>
            <a:xfrm rot="8716295">
              <a:off x="2128809" y="360702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3" name="Forme libre : forme 282">
              <a:extLst>
                <a:ext uri="{FF2B5EF4-FFF2-40B4-BE49-F238E27FC236}">
                  <a16:creationId xmlns:a16="http://schemas.microsoft.com/office/drawing/2014/main" id="{DE2E55F0-E1D2-42EF-81BE-5B9CF56A8B16}"/>
                </a:ext>
              </a:extLst>
            </p:cNvPr>
            <p:cNvSpPr/>
            <p:nvPr/>
          </p:nvSpPr>
          <p:spPr>
            <a:xfrm rot="8716295">
              <a:off x="1885563" y="36372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4" name="Forme libre : forme 283">
              <a:extLst>
                <a:ext uri="{FF2B5EF4-FFF2-40B4-BE49-F238E27FC236}">
                  <a16:creationId xmlns:a16="http://schemas.microsoft.com/office/drawing/2014/main" id="{14AD1449-9E25-4F42-B0CB-B7AB7DA137A1}"/>
                </a:ext>
              </a:extLst>
            </p:cNvPr>
            <p:cNvSpPr/>
            <p:nvPr/>
          </p:nvSpPr>
          <p:spPr>
            <a:xfrm rot="8716295">
              <a:off x="2063015" y="34780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5" name="Forme libre : forme 284">
              <a:extLst>
                <a:ext uri="{FF2B5EF4-FFF2-40B4-BE49-F238E27FC236}">
                  <a16:creationId xmlns:a16="http://schemas.microsoft.com/office/drawing/2014/main" id="{9459C257-BD83-4EA3-A67A-64F2E29D2444}"/>
                </a:ext>
              </a:extLst>
            </p:cNvPr>
            <p:cNvSpPr/>
            <p:nvPr/>
          </p:nvSpPr>
          <p:spPr>
            <a:xfrm rot="8716295">
              <a:off x="1741402" y="452476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6" name="Forme libre : forme 285">
              <a:extLst>
                <a:ext uri="{FF2B5EF4-FFF2-40B4-BE49-F238E27FC236}">
                  <a16:creationId xmlns:a16="http://schemas.microsoft.com/office/drawing/2014/main" id="{776DF04A-9E10-40B0-8F87-C3176DFB0655}"/>
                </a:ext>
              </a:extLst>
            </p:cNvPr>
            <p:cNvSpPr/>
            <p:nvPr/>
          </p:nvSpPr>
          <p:spPr>
            <a:xfrm rot="8716295">
              <a:off x="1830794" y="455401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7" name="Forme libre : forme 286">
              <a:extLst>
                <a:ext uri="{FF2B5EF4-FFF2-40B4-BE49-F238E27FC236}">
                  <a16:creationId xmlns:a16="http://schemas.microsoft.com/office/drawing/2014/main" id="{1BCF78D3-72E0-4C34-AE46-85492A03A633}"/>
                </a:ext>
              </a:extLst>
            </p:cNvPr>
            <p:cNvSpPr/>
            <p:nvPr/>
          </p:nvSpPr>
          <p:spPr>
            <a:xfrm rot="8716295">
              <a:off x="1785944" y="4467731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8" name="Forme libre : forme 287">
              <a:extLst>
                <a:ext uri="{FF2B5EF4-FFF2-40B4-BE49-F238E27FC236}">
                  <a16:creationId xmlns:a16="http://schemas.microsoft.com/office/drawing/2014/main" id="{40DD2911-8E83-41A0-92FE-163A6FA95009}"/>
                </a:ext>
              </a:extLst>
            </p:cNvPr>
            <p:cNvSpPr/>
            <p:nvPr/>
          </p:nvSpPr>
          <p:spPr>
            <a:xfrm rot="8716295">
              <a:off x="1629168" y="461331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9" name="Forme libre : forme 288">
              <a:extLst>
                <a:ext uri="{FF2B5EF4-FFF2-40B4-BE49-F238E27FC236}">
                  <a16:creationId xmlns:a16="http://schemas.microsoft.com/office/drawing/2014/main" id="{E686274E-624B-4FD1-9536-D2B4D790F806}"/>
                </a:ext>
              </a:extLst>
            </p:cNvPr>
            <p:cNvSpPr/>
            <p:nvPr/>
          </p:nvSpPr>
          <p:spPr>
            <a:xfrm rot="8716295">
              <a:off x="1504265" y="440464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0" name="Forme libre : forme 289">
              <a:extLst>
                <a:ext uri="{FF2B5EF4-FFF2-40B4-BE49-F238E27FC236}">
                  <a16:creationId xmlns:a16="http://schemas.microsoft.com/office/drawing/2014/main" id="{DA92638D-CC75-4944-B78B-61E3B22A12E3}"/>
                </a:ext>
              </a:extLst>
            </p:cNvPr>
            <p:cNvSpPr/>
            <p:nvPr/>
          </p:nvSpPr>
          <p:spPr>
            <a:xfrm rot="8716295">
              <a:off x="1492213" y="4265860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1" name="Forme libre : forme 290">
              <a:extLst>
                <a:ext uri="{FF2B5EF4-FFF2-40B4-BE49-F238E27FC236}">
                  <a16:creationId xmlns:a16="http://schemas.microsoft.com/office/drawing/2014/main" id="{17950727-3BF3-4A34-9F11-5322F5CFB8F3}"/>
                </a:ext>
              </a:extLst>
            </p:cNvPr>
            <p:cNvSpPr/>
            <p:nvPr/>
          </p:nvSpPr>
          <p:spPr>
            <a:xfrm rot="8716295">
              <a:off x="1719346" y="465426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2" name="Forme libre : forme 291">
              <a:extLst>
                <a:ext uri="{FF2B5EF4-FFF2-40B4-BE49-F238E27FC236}">
                  <a16:creationId xmlns:a16="http://schemas.microsoft.com/office/drawing/2014/main" id="{9010FFF3-701E-491D-97A1-527670851B3C}"/>
                </a:ext>
              </a:extLst>
            </p:cNvPr>
            <p:cNvSpPr/>
            <p:nvPr/>
          </p:nvSpPr>
          <p:spPr>
            <a:xfrm rot="8716295">
              <a:off x="2030501" y="427461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3" name="Forme libre : forme 292">
              <a:extLst>
                <a:ext uri="{FF2B5EF4-FFF2-40B4-BE49-F238E27FC236}">
                  <a16:creationId xmlns:a16="http://schemas.microsoft.com/office/drawing/2014/main" id="{8E50FB82-1555-41A1-B55B-D3699A1B10A3}"/>
                </a:ext>
              </a:extLst>
            </p:cNvPr>
            <p:cNvSpPr/>
            <p:nvPr/>
          </p:nvSpPr>
          <p:spPr>
            <a:xfrm rot="8716295">
              <a:off x="2119893" y="430385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4" name="Forme libre : forme 293">
              <a:extLst>
                <a:ext uri="{FF2B5EF4-FFF2-40B4-BE49-F238E27FC236}">
                  <a16:creationId xmlns:a16="http://schemas.microsoft.com/office/drawing/2014/main" id="{ECB71CB3-C9D6-4612-8036-4BC5560F17FE}"/>
                </a:ext>
              </a:extLst>
            </p:cNvPr>
            <p:cNvSpPr/>
            <p:nvPr/>
          </p:nvSpPr>
          <p:spPr>
            <a:xfrm rot="8716295">
              <a:off x="1918267" y="436316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5" name="Forme libre : forme 294">
              <a:extLst>
                <a:ext uri="{FF2B5EF4-FFF2-40B4-BE49-F238E27FC236}">
                  <a16:creationId xmlns:a16="http://schemas.microsoft.com/office/drawing/2014/main" id="{23C3947C-E5CD-4C04-A462-D000016701AE}"/>
                </a:ext>
              </a:extLst>
            </p:cNvPr>
            <p:cNvSpPr/>
            <p:nvPr/>
          </p:nvSpPr>
          <p:spPr>
            <a:xfrm rot="8716295">
              <a:off x="1793365" y="415448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6" name="Forme libre : forme 295">
              <a:extLst>
                <a:ext uri="{FF2B5EF4-FFF2-40B4-BE49-F238E27FC236}">
                  <a16:creationId xmlns:a16="http://schemas.microsoft.com/office/drawing/2014/main" id="{36960960-0C32-4C59-8462-A2186C943B16}"/>
                </a:ext>
              </a:extLst>
            </p:cNvPr>
            <p:cNvSpPr/>
            <p:nvPr/>
          </p:nvSpPr>
          <p:spPr>
            <a:xfrm rot="8716295">
              <a:off x="2008445" y="4404113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7" name="Forme libre : forme 296">
              <a:extLst>
                <a:ext uri="{FF2B5EF4-FFF2-40B4-BE49-F238E27FC236}">
                  <a16:creationId xmlns:a16="http://schemas.microsoft.com/office/drawing/2014/main" id="{A017DED6-0DF0-4954-AA17-FAF145052546}"/>
                </a:ext>
              </a:extLst>
            </p:cNvPr>
            <p:cNvSpPr/>
            <p:nvPr/>
          </p:nvSpPr>
          <p:spPr>
            <a:xfrm rot="8716295">
              <a:off x="1766994" y="4254513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8" name="Forme libre : forme 297">
              <a:extLst>
                <a:ext uri="{FF2B5EF4-FFF2-40B4-BE49-F238E27FC236}">
                  <a16:creationId xmlns:a16="http://schemas.microsoft.com/office/drawing/2014/main" id="{5CC2F812-5E9A-4217-955F-4164466B5C25}"/>
                </a:ext>
              </a:extLst>
            </p:cNvPr>
            <p:cNvSpPr/>
            <p:nvPr/>
          </p:nvSpPr>
          <p:spPr>
            <a:xfrm rot="7484129">
              <a:off x="2113376" y="459546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9" name="Forme libre : forme 298">
              <a:extLst>
                <a:ext uri="{FF2B5EF4-FFF2-40B4-BE49-F238E27FC236}">
                  <a16:creationId xmlns:a16="http://schemas.microsoft.com/office/drawing/2014/main" id="{C4DB3C3C-7923-468B-A1D6-C35736B5F055}"/>
                </a:ext>
              </a:extLst>
            </p:cNvPr>
            <p:cNvSpPr/>
            <p:nvPr/>
          </p:nvSpPr>
          <p:spPr>
            <a:xfrm rot="13089394">
              <a:off x="2218196" y="4561998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0" name="Forme libre : forme 299">
              <a:extLst>
                <a:ext uri="{FF2B5EF4-FFF2-40B4-BE49-F238E27FC236}">
                  <a16:creationId xmlns:a16="http://schemas.microsoft.com/office/drawing/2014/main" id="{4DB3A68B-6594-48A3-9ED1-B19E13D1C859}"/>
                </a:ext>
              </a:extLst>
            </p:cNvPr>
            <p:cNvSpPr/>
            <p:nvPr/>
          </p:nvSpPr>
          <p:spPr>
            <a:xfrm rot="8716295">
              <a:off x="2403781" y="4370317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1" name="Forme libre : forme 300">
              <a:extLst>
                <a:ext uri="{FF2B5EF4-FFF2-40B4-BE49-F238E27FC236}">
                  <a16:creationId xmlns:a16="http://schemas.microsoft.com/office/drawing/2014/main" id="{257847A5-8115-45F6-B365-C04D26B7A465}"/>
                </a:ext>
              </a:extLst>
            </p:cNvPr>
            <p:cNvSpPr/>
            <p:nvPr/>
          </p:nvSpPr>
          <p:spPr>
            <a:xfrm rot="8716295">
              <a:off x="2351976" y="426672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2" name="Forme libre : forme 301">
              <a:extLst>
                <a:ext uri="{FF2B5EF4-FFF2-40B4-BE49-F238E27FC236}">
                  <a16:creationId xmlns:a16="http://schemas.microsoft.com/office/drawing/2014/main" id="{8F6B8004-8361-41BA-B532-27BD701A55E8}"/>
                </a:ext>
              </a:extLst>
            </p:cNvPr>
            <p:cNvSpPr/>
            <p:nvPr/>
          </p:nvSpPr>
          <p:spPr>
            <a:xfrm rot="8716295">
              <a:off x="2108730" y="429694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3" name="Forme libre : forme 302">
              <a:extLst>
                <a:ext uri="{FF2B5EF4-FFF2-40B4-BE49-F238E27FC236}">
                  <a16:creationId xmlns:a16="http://schemas.microsoft.com/office/drawing/2014/main" id="{A2707731-9E6E-4897-BF1C-AD23EDDF33B9}"/>
                </a:ext>
              </a:extLst>
            </p:cNvPr>
            <p:cNvSpPr/>
            <p:nvPr/>
          </p:nvSpPr>
          <p:spPr>
            <a:xfrm rot="8716295">
              <a:off x="2286182" y="413770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4" name="Forme libre : forme 303">
              <a:extLst>
                <a:ext uri="{FF2B5EF4-FFF2-40B4-BE49-F238E27FC236}">
                  <a16:creationId xmlns:a16="http://schemas.microsoft.com/office/drawing/2014/main" id="{71585C5B-7ACF-4291-A3CC-77CF6C2FAF80}"/>
                </a:ext>
              </a:extLst>
            </p:cNvPr>
            <p:cNvSpPr/>
            <p:nvPr/>
          </p:nvSpPr>
          <p:spPr>
            <a:xfrm rot="8716295">
              <a:off x="854880" y="188600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5" name="Forme libre : forme 304">
              <a:extLst>
                <a:ext uri="{FF2B5EF4-FFF2-40B4-BE49-F238E27FC236}">
                  <a16:creationId xmlns:a16="http://schemas.microsoft.com/office/drawing/2014/main" id="{825A50BE-E198-461A-AE4C-E99B0DB548B8}"/>
                </a:ext>
              </a:extLst>
            </p:cNvPr>
            <p:cNvSpPr/>
            <p:nvPr/>
          </p:nvSpPr>
          <p:spPr>
            <a:xfrm rot="8716295">
              <a:off x="944272" y="191524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6" name="Forme libre : forme 305">
              <a:extLst>
                <a:ext uri="{FF2B5EF4-FFF2-40B4-BE49-F238E27FC236}">
                  <a16:creationId xmlns:a16="http://schemas.microsoft.com/office/drawing/2014/main" id="{A7FBDA8A-DF94-413D-B047-17E3CE1805C0}"/>
                </a:ext>
              </a:extLst>
            </p:cNvPr>
            <p:cNvSpPr/>
            <p:nvPr/>
          </p:nvSpPr>
          <p:spPr>
            <a:xfrm rot="8716295">
              <a:off x="899422" y="182896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7" name="Forme libre : forme 306">
              <a:extLst>
                <a:ext uri="{FF2B5EF4-FFF2-40B4-BE49-F238E27FC236}">
                  <a16:creationId xmlns:a16="http://schemas.microsoft.com/office/drawing/2014/main" id="{8DB66338-D210-4BFA-9092-FF348569CC52}"/>
                </a:ext>
              </a:extLst>
            </p:cNvPr>
            <p:cNvSpPr/>
            <p:nvPr/>
          </p:nvSpPr>
          <p:spPr>
            <a:xfrm rot="8716295">
              <a:off x="742646" y="197454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8" name="Forme libre : forme 307">
              <a:extLst>
                <a:ext uri="{FF2B5EF4-FFF2-40B4-BE49-F238E27FC236}">
                  <a16:creationId xmlns:a16="http://schemas.microsoft.com/office/drawing/2014/main" id="{74B60F54-C3F2-4334-BC7E-D49FA3ACE1ED}"/>
                </a:ext>
              </a:extLst>
            </p:cNvPr>
            <p:cNvSpPr/>
            <p:nvPr/>
          </p:nvSpPr>
          <p:spPr>
            <a:xfrm rot="8716295">
              <a:off x="617743" y="176587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9" name="Forme libre : forme 308">
              <a:extLst>
                <a:ext uri="{FF2B5EF4-FFF2-40B4-BE49-F238E27FC236}">
                  <a16:creationId xmlns:a16="http://schemas.microsoft.com/office/drawing/2014/main" id="{CA3E19C2-F96C-48A0-9D2C-698B32CA8895}"/>
                </a:ext>
              </a:extLst>
            </p:cNvPr>
            <p:cNvSpPr/>
            <p:nvPr/>
          </p:nvSpPr>
          <p:spPr>
            <a:xfrm rot="8716295">
              <a:off x="605691" y="162709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0" name="Forme libre : forme 309">
              <a:extLst>
                <a:ext uri="{FF2B5EF4-FFF2-40B4-BE49-F238E27FC236}">
                  <a16:creationId xmlns:a16="http://schemas.microsoft.com/office/drawing/2014/main" id="{9A0D5CB1-8D83-4AFE-B1BE-9F0F522C0D2B}"/>
                </a:ext>
              </a:extLst>
            </p:cNvPr>
            <p:cNvSpPr/>
            <p:nvPr/>
          </p:nvSpPr>
          <p:spPr>
            <a:xfrm rot="8716295">
              <a:off x="832824" y="201549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1" name="Forme libre : forme 310">
              <a:extLst>
                <a:ext uri="{FF2B5EF4-FFF2-40B4-BE49-F238E27FC236}">
                  <a16:creationId xmlns:a16="http://schemas.microsoft.com/office/drawing/2014/main" id="{7A50FCE7-03C8-4853-B73F-CE26795DB2CC}"/>
                </a:ext>
              </a:extLst>
            </p:cNvPr>
            <p:cNvSpPr/>
            <p:nvPr/>
          </p:nvSpPr>
          <p:spPr>
            <a:xfrm rot="8716295">
              <a:off x="1143979" y="163584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2" name="Forme libre : forme 311">
              <a:extLst>
                <a:ext uri="{FF2B5EF4-FFF2-40B4-BE49-F238E27FC236}">
                  <a16:creationId xmlns:a16="http://schemas.microsoft.com/office/drawing/2014/main" id="{457A7093-695D-4C41-85A0-782C2CD8BC44}"/>
                </a:ext>
              </a:extLst>
            </p:cNvPr>
            <p:cNvSpPr/>
            <p:nvPr/>
          </p:nvSpPr>
          <p:spPr>
            <a:xfrm rot="8716295">
              <a:off x="1233371" y="166509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3" name="Forme libre : forme 312">
              <a:extLst>
                <a:ext uri="{FF2B5EF4-FFF2-40B4-BE49-F238E27FC236}">
                  <a16:creationId xmlns:a16="http://schemas.microsoft.com/office/drawing/2014/main" id="{704E3047-55DF-4CDA-9182-C95BBA17BD9B}"/>
                </a:ext>
              </a:extLst>
            </p:cNvPr>
            <p:cNvSpPr/>
            <p:nvPr/>
          </p:nvSpPr>
          <p:spPr>
            <a:xfrm rot="8716295">
              <a:off x="1031745" y="172439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4" name="Forme libre : forme 313">
              <a:extLst>
                <a:ext uri="{FF2B5EF4-FFF2-40B4-BE49-F238E27FC236}">
                  <a16:creationId xmlns:a16="http://schemas.microsoft.com/office/drawing/2014/main" id="{75BDC6A2-BB14-4847-BB83-0C2ABA630806}"/>
                </a:ext>
              </a:extLst>
            </p:cNvPr>
            <p:cNvSpPr/>
            <p:nvPr/>
          </p:nvSpPr>
          <p:spPr>
            <a:xfrm rot="8716295">
              <a:off x="906843" y="151572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5" name="Forme libre : forme 314">
              <a:extLst>
                <a:ext uri="{FF2B5EF4-FFF2-40B4-BE49-F238E27FC236}">
                  <a16:creationId xmlns:a16="http://schemas.microsoft.com/office/drawing/2014/main" id="{7B4C3322-60E4-483D-8950-104BAFBDD71B}"/>
                </a:ext>
              </a:extLst>
            </p:cNvPr>
            <p:cNvSpPr/>
            <p:nvPr/>
          </p:nvSpPr>
          <p:spPr>
            <a:xfrm rot="8716295">
              <a:off x="1121923" y="176534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6" name="Forme libre : forme 315">
              <a:extLst>
                <a:ext uri="{FF2B5EF4-FFF2-40B4-BE49-F238E27FC236}">
                  <a16:creationId xmlns:a16="http://schemas.microsoft.com/office/drawing/2014/main" id="{2CCC10C4-A47F-46B3-9A5E-2B69B8F95724}"/>
                </a:ext>
              </a:extLst>
            </p:cNvPr>
            <p:cNvSpPr/>
            <p:nvPr/>
          </p:nvSpPr>
          <p:spPr>
            <a:xfrm rot="8716295">
              <a:off x="880472" y="161574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7" name="Forme libre : forme 316">
              <a:extLst>
                <a:ext uri="{FF2B5EF4-FFF2-40B4-BE49-F238E27FC236}">
                  <a16:creationId xmlns:a16="http://schemas.microsoft.com/office/drawing/2014/main" id="{C3F47D9C-5F75-4589-82C5-2EB76DD8C333}"/>
                </a:ext>
              </a:extLst>
            </p:cNvPr>
            <p:cNvSpPr/>
            <p:nvPr/>
          </p:nvSpPr>
          <p:spPr>
            <a:xfrm rot="7484129">
              <a:off x="1226854" y="195669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8" name="Forme libre : forme 317">
              <a:extLst>
                <a:ext uri="{FF2B5EF4-FFF2-40B4-BE49-F238E27FC236}">
                  <a16:creationId xmlns:a16="http://schemas.microsoft.com/office/drawing/2014/main" id="{06EDA617-7C34-4BCB-8273-6505201538B5}"/>
                </a:ext>
              </a:extLst>
            </p:cNvPr>
            <p:cNvSpPr/>
            <p:nvPr/>
          </p:nvSpPr>
          <p:spPr>
            <a:xfrm rot="13089394">
              <a:off x="1331674" y="192323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9" name="Forme libre : forme 318">
              <a:extLst>
                <a:ext uri="{FF2B5EF4-FFF2-40B4-BE49-F238E27FC236}">
                  <a16:creationId xmlns:a16="http://schemas.microsoft.com/office/drawing/2014/main" id="{8C00C036-C8B0-4F77-B0BC-B732FD327F08}"/>
                </a:ext>
              </a:extLst>
            </p:cNvPr>
            <p:cNvSpPr/>
            <p:nvPr/>
          </p:nvSpPr>
          <p:spPr>
            <a:xfrm rot="8716295">
              <a:off x="1517259" y="173154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0" name="Forme libre : forme 319">
              <a:extLst>
                <a:ext uri="{FF2B5EF4-FFF2-40B4-BE49-F238E27FC236}">
                  <a16:creationId xmlns:a16="http://schemas.microsoft.com/office/drawing/2014/main" id="{079E7D4D-7CBC-4E80-9ADD-66D10F53D00A}"/>
                </a:ext>
              </a:extLst>
            </p:cNvPr>
            <p:cNvSpPr/>
            <p:nvPr/>
          </p:nvSpPr>
          <p:spPr>
            <a:xfrm rot="8716295">
              <a:off x="1465454" y="162795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1" name="Forme libre : forme 320">
              <a:extLst>
                <a:ext uri="{FF2B5EF4-FFF2-40B4-BE49-F238E27FC236}">
                  <a16:creationId xmlns:a16="http://schemas.microsoft.com/office/drawing/2014/main" id="{F6CBC04A-ACBC-43B1-86C9-792F0278AE9C}"/>
                </a:ext>
              </a:extLst>
            </p:cNvPr>
            <p:cNvSpPr/>
            <p:nvPr/>
          </p:nvSpPr>
          <p:spPr>
            <a:xfrm rot="8716295">
              <a:off x="1222208" y="165817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2" name="Forme libre : forme 321">
              <a:extLst>
                <a:ext uri="{FF2B5EF4-FFF2-40B4-BE49-F238E27FC236}">
                  <a16:creationId xmlns:a16="http://schemas.microsoft.com/office/drawing/2014/main" id="{877F1B10-A111-4EDF-9C97-C64DD5E5FC2D}"/>
                </a:ext>
              </a:extLst>
            </p:cNvPr>
            <p:cNvSpPr/>
            <p:nvPr/>
          </p:nvSpPr>
          <p:spPr>
            <a:xfrm rot="8716295">
              <a:off x="1399660" y="149893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3" name="Forme libre : forme 322">
              <a:extLst>
                <a:ext uri="{FF2B5EF4-FFF2-40B4-BE49-F238E27FC236}">
                  <a16:creationId xmlns:a16="http://schemas.microsoft.com/office/drawing/2014/main" id="{247A35DD-1AE0-4F8F-91F1-39A539F5145A}"/>
                </a:ext>
              </a:extLst>
            </p:cNvPr>
            <p:cNvSpPr/>
            <p:nvPr/>
          </p:nvSpPr>
          <p:spPr>
            <a:xfrm rot="8716295">
              <a:off x="631713" y="12263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4" name="Forme libre : forme 323">
              <a:extLst>
                <a:ext uri="{FF2B5EF4-FFF2-40B4-BE49-F238E27FC236}">
                  <a16:creationId xmlns:a16="http://schemas.microsoft.com/office/drawing/2014/main" id="{B2057DA7-CDDF-43BB-8EAC-22466BE1F259}"/>
                </a:ext>
              </a:extLst>
            </p:cNvPr>
            <p:cNvSpPr/>
            <p:nvPr/>
          </p:nvSpPr>
          <p:spPr>
            <a:xfrm rot="8716295">
              <a:off x="721105" y="12555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5" name="Forme libre : forme 324">
              <a:extLst>
                <a:ext uri="{FF2B5EF4-FFF2-40B4-BE49-F238E27FC236}">
                  <a16:creationId xmlns:a16="http://schemas.microsoft.com/office/drawing/2014/main" id="{E77CA785-1459-4C27-B776-D857A8D4B013}"/>
                </a:ext>
              </a:extLst>
            </p:cNvPr>
            <p:cNvSpPr/>
            <p:nvPr/>
          </p:nvSpPr>
          <p:spPr>
            <a:xfrm rot="8716295">
              <a:off x="676255" y="116926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6" name="Forme libre : forme 325">
              <a:extLst>
                <a:ext uri="{FF2B5EF4-FFF2-40B4-BE49-F238E27FC236}">
                  <a16:creationId xmlns:a16="http://schemas.microsoft.com/office/drawing/2014/main" id="{D9BFC3E7-D875-4777-80CD-7BECEB16ED0F}"/>
                </a:ext>
              </a:extLst>
            </p:cNvPr>
            <p:cNvSpPr/>
            <p:nvPr/>
          </p:nvSpPr>
          <p:spPr>
            <a:xfrm rot="8716295">
              <a:off x="519479" y="13148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7" name="Forme libre : forme 326">
              <a:extLst>
                <a:ext uri="{FF2B5EF4-FFF2-40B4-BE49-F238E27FC236}">
                  <a16:creationId xmlns:a16="http://schemas.microsoft.com/office/drawing/2014/main" id="{E87C9BB6-CA72-4C32-8CA3-A029EC77D88B}"/>
                </a:ext>
              </a:extLst>
            </p:cNvPr>
            <p:cNvSpPr/>
            <p:nvPr/>
          </p:nvSpPr>
          <p:spPr>
            <a:xfrm rot="8716295">
              <a:off x="394576" y="11061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8" name="Forme libre : forme 327">
              <a:extLst>
                <a:ext uri="{FF2B5EF4-FFF2-40B4-BE49-F238E27FC236}">
                  <a16:creationId xmlns:a16="http://schemas.microsoft.com/office/drawing/2014/main" id="{40F6441D-9B69-4079-B1A2-720CB6BA2101}"/>
                </a:ext>
              </a:extLst>
            </p:cNvPr>
            <p:cNvSpPr/>
            <p:nvPr/>
          </p:nvSpPr>
          <p:spPr>
            <a:xfrm rot="8716295">
              <a:off x="382524" y="96739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9" name="Forme libre : forme 328">
              <a:extLst>
                <a:ext uri="{FF2B5EF4-FFF2-40B4-BE49-F238E27FC236}">
                  <a16:creationId xmlns:a16="http://schemas.microsoft.com/office/drawing/2014/main" id="{B832EB8F-3703-48E0-A315-AEFC6F1CBB35}"/>
                </a:ext>
              </a:extLst>
            </p:cNvPr>
            <p:cNvSpPr/>
            <p:nvPr/>
          </p:nvSpPr>
          <p:spPr>
            <a:xfrm rot="8716295">
              <a:off x="609657" y="135579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0" name="Forme libre : forme 329">
              <a:extLst>
                <a:ext uri="{FF2B5EF4-FFF2-40B4-BE49-F238E27FC236}">
                  <a16:creationId xmlns:a16="http://schemas.microsoft.com/office/drawing/2014/main" id="{763E69C5-E960-4417-A0EA-1ECCFB8C6C35}"/>
                </a:ext>
              </a:extLst>
            </p:cNvPr>
            <p:cNvSpPr/>
            <p:nvPr/>
          </p:nvSpPr>
          <p:spPr>
            <a:xfrm rot="8716295">
              <a:off x="920812" y="97615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1" name="Forme libre : forme 330">
              <a:extLst>
                <a:ext uri="{FF2B5EF4-FFF2-40B4-BE49-F238E27FC236}">
                  <a16:creationId xmlns:a16="http://schemas.microsoft.com/office/drawing/2014/main" id="{651DF2CF-FEA7-4A17-8C45-74CA1E1691C9}"/>
                </a:ext>
              </a:extLst>
            </p:cNvPr>
            <p:cNvSpPr/>
            <p:nvPr/>
          </p:nvSpPr>
          <p:spPr>
            <a:xfrm rot="8716295">
              <a:off x="1010204" y="100539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2" name="Forme libre : forme 331">
              <a:extLst>
                <a:ext uri="{FF2B5EF4-FFF2-40B4-BE49-F238E27FC236}">
                  <a16:creationId xmlns:a16="http://schemas.microsoft.com/office/drawing/2014/main" id="{F4BE6752-2F2B-4713-BCC2-F5A751451D2F}"/>
                </a:ext>
              </a:extLst>
            </p:cNvPr>
            <p:cNvSpPr/>
            <p:nvPr/>
          </p:nvSpPr>
          <p:spPr>
            <a:xfrm rot="8716295">
              <a:off x="808578" y="106469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3" name="Forme libre : forme 332">
              <a:extLst>
                <a:ext uri="{FF2B5EF4-FFF2-40B4-BE49-F238E27FC236}">
                  <a16:creationId xmlns:a16="http://schemas.microsoft.com/office/drawing/2014/main" id="{F0181337-48BC-4C6E-BF6A-EF75BA2ADF65}"/>
                </a:ext>
              </a:extLst>
            </p:cNvPr>
            <p:cNvSpPr/>
            <p:nvPr/>
          </p:nvSpPr>
          <p:spPr>
            <a:xfrm rot="8716295">
              <a:off x="683676" y="85602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4" name="Forme libre : forme 333">
              <a:extLst>
                <a:ext uri="{FF2B5EF4-FFF2-40B4-BE49-F238E27FC236}">
                  <a16:creationId xmlns:a16="http://schemas.microsoft.com/office/drawing/2014/main" id="{51A8FF0F-FF59-4E76-A691-2074D9AE597E}"/>
                </a:ext>
              </a:extLst>
            </p:cNvPr>
            <p:cNvSpPr/>
            <p:nvPr/>
          </p:nvSpPr>
          <p:spPr>
            <a:xfrm rot="8716295">
              <a:off x="898756" y="110564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5" name="Forme libre : forme 334">
              <a:extLst>
                <a:ext uri="{FF2B5EF4-FFF2-40B4-BE49-F238E27FC236}">
                  <a16:creationId xmlns:a16="http://schemas.microsoft.com/office/drawing/2014/main" id="{D5F2DBF7-EA5E-412E-BE60-C63CE87201BD}"/>
                </a:ext>
              </a:extLst>
            </p:cNvPr>
            <p:cNvSpPr/>
            <p:nvPr/>
          </p:nvSpPr>
          <p:spPr>
            <a:xfrm rot="8716295">
              <a:off x="657305" y="95604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6" name="Forme libre : forme 335">
              <a:extLst>
                <a:ext uri="{FF2B5EF4-FFF2-40B4-BE49-F238E27FC236}">
                  <a16:creationId xmlns:a16="http://schemas.microsoft.com/office/drawing/2014/main" id="{2B86FAAC-284E-4293-B3BE-662E153BEFE7}"/>
                </a:ext>
              </a:extLst>
            </p:cNvPr>
            <p:cNvSpPr/>
            <p:nvPr/>
          </p:nvSpPr>
          <p:spPr>
            <a:xfrm rot="7484129">
              <a:off x="1003687" y="129699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7" name="Forme libre : forme 336">
              <a:extLst>
                <a:ext uri="{FF2B5EF4-FFF2-40B4-BE49-F238E27FC236}">
                  <a16:creationId xmlns:a16="http://schemas.microsoft.com/office/drawing/2014/main" id="{F8C25AEA-BEFD-464B-AC86-4743BA580AF0}"/>
                </a:ext>
              </a:extLst>
            </p:cNvPr>
            <p:cNvSpPr/>
            <p:nvPr/>
          </p:nvSpPr>
          <p:spPr>
            <a:xfrm rot="13089394">
              <a:off x="1108507" y="1263531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8" name="Forme libre : forme 337">
              <a:extLst>
                <a:ext uri="{FF2B5EF4-FFF2-40B4-BE49-F238E27FC236}">
                  <a16:creationId xmlns:a16="http://schemas.microsoft.com/office/drawing/2014/main" id="{C5FC227C-CE0A-4B9A-BEB5-86A5822E13D2}"/>
                </a:ext>
              </a:extLst>
            </p:cNvPr>
            <p:cNvSpPr/>
            <p:nvPr/>
          </p:nvSpPr>
          <p:spPr>
            <a:xfrm rot="8716295">
              <a:off x="1294092" y="107185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9" name="Forme libre : forme 338">
              <a:extLst>
                <a:ext uri="{FF2B5EF4-FFF2-40B4-BE49-F238E27FC236}">
                  <a16:creationId xmlns:a16="http://schemas.microsoft.com/office/drawing/2014/main" id="{2AD54659-FB71-46D1-A755-0BCF081E050A}"/>
                </a:ext>
              </a:extLst>
            </p:cNvPr>
            <p:cNvSpPr/>
            <p:nvPr/>
          </p:nvSpPr>
          <p:spPr>
            <a:xfrm rot="8716295">
              <a:off x="1242287" y="96825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0" name="Forme libre : forme 339">
              <a:extLst>
                <a:ext uri="{FF2B5EF4-FFF2-40B4-BE49-F238E27FC236}">
                  <a16:creationId xmlns:a16="http://schemas.microsoft.com/office/drawing/2014/main" id="{EA0D1B29-AE82-4655-80DE-F5EADED15310}"/>
                </a:ext>
              </a:extLst>
            </p:cNvPr>
            <p:cNvSpPr/>
            <p:nvPr/>
          </p:nvSpPr>
          <p:spPr>
            <a:xfrm rot="8716295">
              <a:off x="999041" y="99847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1" name="Forme libre : forme 340">
              <a:extLst>
                <a:ext uri="{FF2B5EF4-FFF2-40B4-BE49-F238E27FC236}">
                  <a16:creationId xmlns:a16="http://schemas.microsoft.com/office/drawing/2014/main" id="{FE59AAF9-5326-4148-B75B-C59DBA653A58}"/>
                </a:ext>
              </a:extLst>
            </p:cNvPr>
            <p:cNvSpPr/>
            <p:nvPr/>
          </p:nvSpPr>
          <p:spPr>
            <a:xfrm rot="8716295">
              <a:off x="1176493" y="83923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2" name="Forme libre : forme 341">
              <a:extLst>
                <a:ext uri="{FF2B5EF4-FFF2-40B4-BE49-F238E27FC236}">
                  <a16:creationId xmlns:a16="http://schemas.microsoft.com/office/drawing/2014/main" id="{2B5ED39A-BA82-4FB9-B8D1-BFCBF5FCF8AB}"/>
                </a:ext>
              </a:extLst>
            </p:cNvPr>
            <p:cNvSpPr/>
            <p:nvPr/>
          </p:nvSpPr>
          <p:spPr>
            <a:xfrm rot="8716295">
              <a:off x="412774" y="56424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3" name="Forme libre : forme 342">
              <a:extLst>
                <a:ext uri="{FF2B5EF4-FFF2-40B4-BE49-F238E27FC236}">
                  <a16:creationId xmlns:a16="http://schemas.microsoft.com/office/drawing/2014/main" id="{EF04C128-AC77-4E99-970E-568F219D8A8C}"/>
                </a:ext>
              </a:extLst>
            </p:cNvPr>
            <p:cNvSpPr/>
            <p:nvPr/>
          </p:nvSpPr>
          <p:spPr>
            <a:xfrm rot="8716295">
              <a:off x="502166" y="59348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4" name="Forme libre : forme 343">
              <a:extLst>
                <a:ext uri="{FF2B5EF4-FFF2-40B4-BE49-F238E27FC236}">
                  <a16:creationId xmlns:a16="http://schemas.microsoft.com/office/drawing/2014/main" id="{35DEA77E-6D52-40CB-86CA-54607FDC07E9}"/>
                </a:ext>
              </a:extLst>
            </p:cNvPr>
            <p:cNvSpPr/>
            <p:nvPr/>
          </p:nvSpPr>
          <p:spPr>
            <a:xfrm rot="8716295">
              <a:off x="457316" y="50720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5" name="Forme libre : forme 344">
              <a:extLst>
                <a:ext uri="{FF2B5EF4-FFF2-40B4-BE49-F238E27FC236}">
                  <a16:creationId xmlns:a16="http://schemas.microsoft.com/office/drawing/2014/main" id="{7F83C78F-975E-4433-96C7-AC45753DC5C9}"/>
                </a:ext>
              </a:extLst>
            </p:cNvPr>
            <p:cNvSpPr/>
            <p:nvPr/>
          </p:nvSpPr>
          <p:spPr>
            <a:xfrm rot="8716295">
              <a:off x="300540" y="65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6" name="Forme libre : forme 345">
              <a:extLst>
                <a:ext uri="{FF2B5EF4-FFF2-40B4-BE49-F238E27FC236}">
                  <a16:creationId xmlns:a16="http://schemas.microsoft.com/office/drawing/2014/main" id="{FD3979A2-0F0A-4D64-B2D1-D790A7310394}"/>
                </a:ext>
              </a:extLst>
            </p:cNvPr>
            <p:cNvSpPr/>
            <p:nvPr/>
          </p:nvSpPr>
          <p:spPr>
            <a:xfrm rot="8716295">
              <a:off x="175637" y="44411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7" name="Forme libre : forme 346">
              <a:extLst>
                <a:ext uri="{FF2B5EF4-FFF2-40B4-BE49-F238E27FC236}">
                  <a16:creationId xmlns:a16="http://schemas.microsoft.com/office/drawing/2014/main" id="{AA76E107-EED2-43EE-909B-E95F465CE73B}"/>
                </a:ext>
              </a:extLst>
            </p:cNvPr>
            <p:cNvSpPr/>
            <p:nvPr/>
          </p:nvSpPr>
          <p:spPr>
            <a:xfrm rot="8716295">
              <a:off x="163585" y="30533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8" name="Forme libre : forme 347">
              <a:extLst>
                <a:ext uri="{FF2B5EF4-FFF2-40B4-BE49-F238E27FC236}">
                  <a16:creationId xmlns:a16="http://schemas.microsoft.com/office/drawing/2014/main" id="{B9BBA0BC-EEAF-493E-A940-F09587491C29}"/>
                </a:ext>
              </a:extLst>
            </p:cNvPr>
            <p:cNvSpPr/>
            <p:nvPr/>
          </p:nvSpPr>
          <p:spPr>
            <a:xfrm rot="8716295">
              <a:off x="390718" y="69374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9" name="Forme libre : forme 348">
              <a:extLst>
                <a:ext uri="{FF2B5EF4-FFF2-40B4-BE49-F238E27FC236}">
                  <a16:creationId xmlns:a16="http://schemas.microsoft.com/office/drawing/2014/main" id="{C8D30F56-4A06-4C10-B3F2-60FAA4FF4FB6}"/>
                </a:ext>
              </a:extLst>
            </p:cNvPr>
            <p:cNvSpPr/>
            <p:nvPr/>
          </p:nvSpPr>
          <p:spPr>
            <a:xfrm rot="8716295">
              <a:off x="701873" y="31409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0" name="Forme libre : forme 349">
              <a:extLst>
                <a:ext uri="{FF2B5EF4-FFF2-40B4-BE49-F238E27FC236}">
                  <a16:creationId xmlns:a16="http://schemas.microsoft.com/office/drawing/2014/main" id="{5C6936A8-9A95-4204-9D28-D9B75C140322}"/>
                </a:ext>
              </a:extLst>
            </p:cNvPr>
            <p:cNvSpPr/>
            <p:nvPr/>
          </p:nvSpPr>
          <p:spPr>
            <a:xfrm rot="8716295">
              <a:off x="791265" y="34333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1" name="Forme libre : forme 350">
              <a:extLst>
                <a:ext uri="{FF2B5EF4-FFF2-40B4-BE49-F238E27FC236}">
                  <a16:creationId xmlns:a16="http://schemas.microsoft.com/office/drawing/2014/main" id="{FFF2D367-BA47-4EF1-A7BB-098E80C21CBE}"/>
                </a:ext>
              </a:extLst>
            </p:cNvPr>
            <p:cNvSpPr/>
            <p:nvPr/>
          </p:nvSpPr>
          <p:spPr>
            <a:xfrm rot="8716295">
              <a:off x="589639" y="40263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2" name="Forme libre : forme 351">
              <a:extLst>
                <a:ext uri="{FF2B5EF4-FFF2-40B4-BE49-F238E27FC236}">
                  <a16:creationId xmlns:a16="http://schemas.microsoft.com/office/drawing/2014/main" id="{449281FC-8C05-45F5-BEE0-D74C1D2991A0}"/>
                </a:ext>
              </a:extLst>
            </p:cNvPr>
            <p:cNvSpPr/>
            <p:nvPr/>
          </p:nvSpPr>
          <p:spPr>
            <a:xfrm rot="8716295">
              <a:off x="464737" y="19396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3" name="Forme libre : forme 352">
              <a:extLst>
                <a:ext uri="{FF2B5EF4-FFF2-40B4-BE49-F238E27FC236}">
                  <a16:creationId xmlns:a16="http://schemas.microsoft.com/office/drawing/2014/main" id="{AC76B493-44A9-4110-A979-E79DA2DAD0EF}"/>
                </a:ext>
              </a:extLst>
            </p:cNvPr>
            <p:cNvSpPr/>
            <p:nvPr/>
          </p:nvSpPr>
          <p:spPr>
            <a:xfrm rot="8716295">
              <a:off x="679817" y="44358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4" name="Forme libre : forme 353">
              <a:extLst>
                <a:ext uri="{FF2B5EF4-FFF2-40B4-BE49-F238E27FC236}">
                  <a16:creationId xmlns:a16="http://schemas.microsoft.com/office/drawing/2014/main" id="{A1E49731-9881-455E-A515-C358862DEBAE}"/>
                </a:ext>
              </a:extLst>
            </p:cNvPr>
            <p:cNvSpPr/>
            <p:nvPr/>
          </p:nvSpPr>
          <p:spPr>
            <a:xfrm rot="8716295">
              <a:off x="438366" y="29398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5" name="Forme libre : forme 354">
              <a:extLst>
                <a:ext uri="{FF2B5EF4-FFF2-40B4-BE49-F238E27FC236}">
                  <a16:creationId xmlns:a16="http://schemas.microsoft.com/office/drawing/2014/main" id="{8204F475-BA32-42D6-B48D-2BEE0C6DF622}"/>
                </a:ext>
              </a:extLst>
            </p:cNvPr>
            <p:cNvSpPr/>
            <p:nvPr/>
          </p:nvSpPr>
          <p:spPr>
            <a:xfrm rot="7484129">
              <a:off x="784748" y="63493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6" name="Forme libre : forme 355">
              <a:extLst>
                <a:ext uri="{FF2B5EF4-FFF2-40B4-BE49-F238E27FC236}">
                  <a16:creationId xmlns:a16="http://schemas.microsoft.com/office/drawing/2014/main" id="{3407396E-8B17-4E89-82BB-C091E11448DB}"/>
                </a:ext>
              </a:extLst>
            </p:cNvPr>
            <p:cNvSpPr/>
            <p:nvPr/>
          </p:nvSpPr>
          <p:spPr>
            <a:xfrm rot="13089394">
              <a:off x="889568" y="60147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7" name="Forme libre : forme 356">
              <a:extLst>
                <a:ext uri="{FF2B5EF4-FFF2-40B4-BE49-F238E27FC236}">
                  <a16:creationId xmlns:a16="http://schemas.microsoft.com/office/drawing/2014/main" id="{27719725-2BB1-4B94-8AC6-F116861C62F1}"/>
                </a:ext>
              </a:extLst>
            </p:cNvPr>
            <p:cNvSpPr/>
            <p:nvPr/>
          </p:nvSpPr>
          <p:spPr>
            <a:xfrm rot="8716295">
              <a:off x="1075153" y="40979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8" name="Forme libre : forme 357">
              <a:extLst>
                <a:ext uri="{FF2B5EF4-FFF2-40B4-BE49-F238E27FC236}">
                  <a16:creationId xmlns:a16="http://schemas.microsoft.com/office/drawing/2014/main" id="{43C5E8C2-1177-4638-AAC9-C608290C6D73}"/>
                </a:ext>
              </a:extLst>
            </p:cNvPr>
            <p:cNvSpPr/>
            <p:nvPr/>
          </p:nvSpPr>
          <p:spPr>
            <a:xfrm rot="8716295">
              <a:off x="1023348" y="30619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9" name="Forme libre : forme 358">
              <a:extLst>
                <a:ext uri="{FF2B5EF4-FFF2-40B4-BE49-F238E27FC236}">
                  <a16:creationId xmlns:a16="http://schemas.microsoft.com/office/drawing/2014/main" id="{66F400C8-484F-4AA9-9E69-F9DA598D65AC}"/>
                </a:ext>
              </a:extLst>
            </p:cNvPr>
            <p:cNvSpPr/>
            <p:nvPr/>
          </p:nvSpPr>
          <p:spPr>
            <a:xfrm rot="8716295">
              <a:off x="780102" y="336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0" name="Forme libre : forme 359">
              <a:extLst>
                <a:ext uri="{FF2B5EF4-FFF2-40B4-BE49-F238E27FC236}">
                  <a16:creationId xmlns:a16="http://schemas.microsoft.com/office/drawing/2014/main" id="{FD3344B4-1783-4AD8-8B1E-198B5BC45770}"/>
                </a:ext>
              </a:extLst>
            </p:cNvPr>
            <p:cNvSpPr/>
            <p:nvPr/>
          </p:nvSpPr>
          <p:spPr>
            <a:xfrm rot="8716295">
              <a:off x="957554" y="17717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1" name="Forme libre : forme 360">
              <a:extLst>
                <a:ext uri="{FF2B5EF4-FFF2-40B4-BE49-F238E27FC236}">
                  <a16:creationId xmlns:a16="http://schemas.microsoft.com/office/drawing/2014/main" id="{B1F20E97-7F16-49D8-A491-FB12C97898BA}"/>
                </a:ext>
              </a:extLst>
            </p:cNvPr>
            <p:cNvSpPr/>
            <p:nvPr/>
          </p:nvSpPr>
          <p:spPr>
            <a:xfrm rot="8716295">
              <a:off x="202348" y="-57106"/>
              <a:ext cx="142167" cy="186494"/>
            </a:xfrm>
            <a:custGeom>
              <a:avLst/>
              <a:gdLst>
                <a:gd name="connsiteX0" fmla="*/ 142167 w 142167"/>
                <a:gd name="connsiteY0" fmla="*/ 186494 h 186494"/>
                <a:gd name="connsiteX1" fmla="*/ 81108 w 142167"/>
                <a:gd name="connsiteY1" fmla="*/ 144170 h 186494"/>
                <a:gd name="connsiteX2" fmla="*/ 81108 w 142167"/>
                <a:gd name="connsiteY2" fmla="*/ 69717 h 186494"/>
                <a:gd name="connsiteX3" fmla="*/ 81108 w 142167"/>
                <a:gd name="connsiteY3" fmla="*/ 65615 h 186494"/>
                <a:gd name="connsiteX4" fmla="*/ 60603 w 142167"/>
                <a:gd name="connsiteY4" fmla="*/ 50123 h 186494"/>
                <a:gd name="connsiteX5" fmla="*/ 0 w 142167"/>
                <a:gd name="connsiteY5" fmla="*/ 50123 h 186494"/>
                <a:gd name="connsiteX6" fmla="*/ 0 w 142167"/>
                <a:gd name="connsiteY6" fmla="*/ 0 h 186494"/>
                <a:gd name="connsiteX7" fmla="*/ 85209 w 142167"/>
                <a:gd name="connsiteY7" fmla="*/ 0 h 186494"/>
                <a:gd name="connsiteX8" fmla="*/ 142167 w 142167"/>
                <a:gd name="connsiteY8" fmla="*/ 50123 h 186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86494">
                  <a:moveTo>
                    <a:pt x="142167" y="186494"/>
                  </a:moveTo>
                  <a:lnTo>
                    <a:pt x="81108" y="144170"/>
                  </a:lnTo>
                  <a:lnTo>
                    <a:pt x="81108" y="69717"/>
                  </a:lnTo>
                  <a:cubicBezTo>
                    <a:pt x="81108" y="68349"/>
                    <a:pt x="81108" y="66983"/>
                    <a:pt x="81108" y="65615"/>
                  </a:cubicBezTo>
                  <a:cubicBezTo>
                    <a:pt x="79741" y="55591"/>
                    <a:pt x="70628" y="48756"/>
                    <a:pt x="60603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2" name="Forme libre : forme 361">
              <a:extLst>
                <a:ext uri="{FF2B5EF4-FFF2-40B4-BE49-F238E27FC236}">
                  <a16:creationId xmlns:a16="http://schemas.microsoft.com/office/drawing/2014/main" id="{627DF55A-0BF9-412B-B088-58C19C1BDCF8}"/>
                </a:ext>
              </a:extLst>
            </p:cNvPr>
            <p:cNvSpPr/>
            <p:nvPr/>
          </p:nvSpPr>
          <p:spPr>
            <a:xfrm rot="8716295">
              <a:off x="298766" y="-5395"/>
              <a:ext cx="260639" cy="180054"/>
            </a:xfrm>
            <a:custGeom>
              <a:avLst/>
              <a:gdLst>
                <a:gd name="connsiteX0" fmla="*/ 111638 w 260639"/>
                <a:gd name="connsiteY0" fmla="*/ 180054 h 180054"/>
                <a:gd name="connsiteX1" fmla="*/ 51490 w 260639"/>
                <a:gd name="connsiteY1" fmla="*/ 138362 h 180054"/>
                <a:gd name="connsiteX2" fmla="*/ 51490 w 260639"/>
                <a:gd name="connsiteY2" fmla="*/ 45624 h 180054"/>
                <a:gd name="connsiteX3" fmla="*/ 0 w 260639"/>
                <a:gd name="connsiteY3" fmla="*/ 45624 h 180054"/>
                <a:gd name="connsiteX4" fmla="*/ 0 w 260639"/>
                <a:gd name="connsiteY4" fmla="*/ 1425 h 180054"/>
                <a:gd name="connsiteX5" fmla="*/ 104802 w 260639"/>
                <a:gd name="connsiteY5" fmla="*/ 1425 h 180054"/>
                <a:gd name="connsiteX6" fmla="*/ 104802 w 260639"/>
                <a:gd name="connsiteY6" fmla="*/ 75242 h 180054"/>
                <a:gd name="connsiteX7" fmla="*/ 106169 w 260639"/>
                <a:gd name="connsiteY7" fmla="*/ 75242 h 180054"/>
                <a:gd name="connsiteX8" fmla="*/ 154014 w 260639"/>
                <a:gd name="connsiteY8" fmla="*/ 5981 h 180054"/>
                <a:gd name="connsiteX9" fmla="*/ 185455 w 260639"/>
                <a:gd name="connsiteY9" fmla="*/ 57 h 180054"/>
                <a:gd name="connsiteX10" fmla="*/ 260639 w 260639"/>
                <a:gd name="connsiteY10" fmla="*/ 88456 h 180054"/>
                <a:gd name="connsiteX11" fmla="*/ 260639 w 260639"/>
                <a:gd name="connsiteY11" fmla="*/ 94380 h 180054"/>
                <a:gd name="connsiteX12" fmla="*/ 198669 w 260639"/>
                <a:gd name="connsiteY12" fmla="*/ 98025 h 180054"/>
                <a:gd name="connsiteX13" fmla="*/ 198669 w 260639"/>
                <a:gd name="connsiteY13" fmla="*/ 81621 h 180054"/>
                <a:gd name="connsiteX14" fmla="*/ 164950 w 260639"/>
                <a:gd name="connsiteY14" fmla="*/ 40156 h 180054"/>
                <a:gd name="connsiteX15" fmla="*/ 111638 w 260639"/>
                <a:gd name="connsiteY15" fmla="*/ 127643 h 180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0639" h="180054">
                  <a:moveTo>
                    <a:pt x="111638" y="180054"/>
                  </a:moveTo>
                  <a:lnTo>
                    <a:pt x="51490" y="138362"/>
                  </a:ln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3" name="Forme libre : forme 362">
              <a:extLst>
                <a:ext uri="{FF2B5EF4-FFF2-40B4-BE49-F238E27FC236}">
                  <a16:creationId xmlns:a16="http://schemas.microsoft.com/office/drawing/2014/main" id="{B1CC1170-12B9-42E7-B048-36951089B415}"/>
                </a:ext>
              </a:extLst>
            </p:cNvPr>
            <p:cNvSpPr/>
            <p:nvPr/>
          </p:nvSpPr>
          <p:spPr>
            <a:xfrm rot="8716295">
              <a:off x="276903" y="-12823"/>
              <a:ext cx="36272" cy="27982"/>
            </a:xfrm>
            <a:custGeom>
              <a:avLst/>
              <a:gdLst>
                <a:gd name="connsiteX0" fmla="*/ 36272 w 36272"/>
                <a:gd name="connsiteY0" fmla="*/ 27982 h 27982"/>
                <a:gd name="connsiteX1" fmla="*/ 0 w 36272"/>
                <a:gd name="connsiteY1" fmla="*/ 2840 h 27982"/>
                <a:gd name="connsiteX2" fmla="*/ 9543 w 36272"/>
                <a:gd name="connsiteY2" fmla="*/ 0 h 27982"/>
                <a:gd name="connsiteX3" fmla="*/ 31871 w 36272"/>
                <a:gd name="connsiteY3" fmla="*/ 11392 h 27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272" h="27982">
                  <a:moveTo>
                    <a:pt x="36272" y="27982"/>
                  </a:moveTo>
                  <a:lnTo>
                    <a:pt x="0" y="2840"/>
                  </a:lnTo>
                  <a:lnTo>
                    <a:pt x="9543" y="0"/>
                  </a:lnTo>
                  <a:cubicBezTo>
                    <a:pt x="20479" y="0"/>
                    <a:pt x="27542" y="4784"/>
                    <a:pt x="31871" y="113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4" name="Forme libre : forme 363">
              <a:extLst>
                <a:ext uri="{FF2B5EF4-FFF2-40B4-BE49-F238E27FC236}">
                  <a16:creationId xmlns:a16="http://schemas.microsoft.com/office/drawing/2014/main" id="{E033BF19-7D8B-489E-8421-40953085A3CD}"/>
                </a:ext>
              </a:extLst>
            </p:cNvPr>
            <p:cNvSpPr/>
            <p:nvPr/>
          </p:nvSpPr>
          <p:spPr>
            <a:xfrm rot="8716295">
              <a:off x="74640" y="-9665"/>
              <a:ext cx="58068" cy="54772"/>
            </a:xfrm>
            <a:custGeom>
              <a:avLst/>
              <a:gdLst>
                <a:gd name="connsiteX0" fmla="*/ 37436 w 58068"/>
                <a:gd name="connsiteY0" fmla="*/ 54772 h 54772"/>
                <a:gd name="connsiteX1" fmla="*/ 0 w 58068"/>
                <a:gd name="connsiteY1" fmla="*/ 28823 h 54772"/>
                <a:gd name="connsiteX2" fmla="*/ 8515 w 58068"/>
                <a:gd name="connsiteY2" fmla="*/ 8658 h 54772"/>
                <a:gd name="connsiteX3" fmla="*/ 29020 w 58068"/>
                <a:gd name="connsiteY3" fmla="*/ 0 h 54772"/>
                <a:gd name="connsiteX4" fmla="*/ 49525 w 58068"/>
                <a:gd name="connsiteY4" fmla="*/ 8658 h 54772"/>
                <a:gd name="connsiteX5" fmla="*/ 49525 w 58068"/>
                <a:gd name="connsiteY5" fmla="*/ 49668 h 5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068" h="54772">
                  <a:moveTo>
                    <a:pt x="37436" y="54772"/>
                  </a:moveTo>
                  <a:lnTo>
                    <a:pt x="0" y="28823"/>
                  </a:lnTo>
                  <a:lnTo>
                    <a:pt x="8515" y="8658"/>
                  </a:lnTo>
                  <a:cubicBezTo>
                    <a:pt x="13983" y="3190"/>
                    <a:pt x="21273" y="0"/>
                    <a:pt x="29020" y="0"/>
                  </a:cubicBezTo>
                  <a:cubicBezTo>
                    <a:pt x="36766" y="0"/>
                    <a:pt x="44057" y="3190"/>
                    <a:pt x="49525" y="8658"/>
                  </a:cubicBezTo>
                  <a:cubicBezTo>
                    <a:pt x="60916" y="19594"/>
                    <a:pt x="60916" y="38276"/>
                    <a:pt x="49525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5" name="Forme libre : forme 364">
              <a:extLst>
                <a:ext uri="{FF2B5EF4-FFF2-40B4-BE49-F238E27FC236}">
                  <a16:creationId xmlns:a16="http://schemas.microsoft.com/office/drawing/2014/main" id="{CB7A744C-FCCB-4B93-9898-2A2B2B95BBB6}"/>
                </a:ext>
              </a:extLst>
            </p:cNvPr>
            <p:cNvSpPr/>
            <p:nvPr/>
          </p:nvSpPr>
          <p:spPr>
            <a:xfrm rot="8716295">
              <a:off x="13802" y="-10406"/>
              <a:ext cx="30027" cy="20814"/>
            </a:xfrm>
            <a:custGeom>
              <a:avLst/>
              <a:gdLst>
                <a:gd name="connsiteX0" fmla="*/ 30027 w 30027"/>
                <a:gd name="connsiteY0" fmla="*/ 20814 h 20814"/>
                <a:gd name="connsiteX1" fmla="*/ 0 w 30027"/>
                <a:gd name="connsiteY1" fmla="*/ 0 h 20814"/>
                <a:gd name="connsiteX2" fmla="*/ 30027 w 30027"/>
                <a:gd name="connsiteY2" fmla="*/ 0 h 20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027" h="20814">
                  <a:moveTo>
                    <a:pt x="30027" y="20814"/>
                  </a:moveTo>
                  <a:lnTo>
                    <a:pt x="0" y="0"/>
                  </a:lnTo>
                  <a:lnTo>
                    <a:pt x="3002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6" name="Forme libre : forme 365">
              <a:extLst>
                <a:ext uri="{FF2B5EF4-FFF2-40B4-BE49-F238E27FC236}">
                  <a16:creationId xmlns:a16="http://schemas.microsoft.com/office/drawing/2014/main" id="{A7508798-38A9-48C7-9AA8-5A92078CC84B}"/>
                </a:ext>
              </a:extLst>
            </p:cNvPr>
            <p:cNvSpPr/>
            <p:nvPr/>
          </p:nvSpPr>
          <p:spPr>
            <a:xfrm rot="8716295">
              <a:off x="168048" y="3032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7" name="Forme libre : forme 366">
              <a:extLst>
                <a:ext uri="{FF2B5EF4-FFF2-40B4-BE49-F238E27FC236}">
                  <a16:creationId xmlns:a16="http://schemas.microsoft.com/office/drawing/2014/main" id="{0E351C93-E018-436B-9326-CEDEA386B63D}"/>
                </a:ext>
              </a:extLst>
            </p:cNvPr>
            <p:cNvSpPr/>
            <p:nvPr/>
          </p:nvSpPr>
          <p:spPr>
            <a:xfrm rot="7484129">
              <a:off x="562078" y="-284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8" name="Forme libre : forme 367">
              <a:extLst>
                <a:ext uri="{FF2B5EF4-FFF2-40B4-BE49-F238E27FC236}">
                  <a16:creationId xmlns:a16="http://schemas.microsoft.com/office/drawing/2014/main" id="{BDEF799B-C934-4303-874D-CB44161BDCB0}"/>
                </a:ext>
              </a:extLst>
            </p:cNvPr>
            <p:cNvSpPr/>
            <p:nvPr/>
          </p:nvSpPr>
          <p:spPr>
            <a:xfrm rot="13089394">
              <a:off x="775514" y="-27038"/>
              <a:ext cx="149688" cy="328219"/>
            </a:xfrm>
            <a:custGeom>
              <a:avLst/>
              <a:gdLst>
                <a:gd name="connsiteX0" fmla="*/ 149688 w 149688"/>
                <a:gd name="connsiteY0" fmla="*/ 279622 h 328219"/>
                <a:gd name="connsiteX1" fmla="*/ 87835 w 149688"/>
                <a:gd name="connsiteY1" fmla="*/ 328219 h 328219"/>
                <a:gd name="connsiteX2" fmla="*/ 54765 w 149688"/>
                <a:gd name="connsiteY2" fmla="*/ 322521 h 328219"/>
                <a:gd name="connsiteX3" fmla="*/ 23727 w 149688"/>
                <a:gd name="connsiteY3" fmla="*/ 301277 h 328219"/>
                <a:gd name="connsiteX4" fmla="*/ 0 w 149688"/>
                <a:gd name="connsiteY4" fmla="*/ 206369 h 328219"/>
                <a:gd name="connsiteX5" fmla="*/ 0 w 149688"/>
                <a:gd name="connsiteY5" fmla="*/ 38074 h 328219"/>
                <a:gd name="connsiteX6" fmla="*/ 73388 w 149688"/>
                <a:gd name="connsiteY6" fmla="*/ 0 h 328219"/>
                <a:gd name="connsiteX7" fmla="*/ 74492 w 149688"/>
                <a:gd name="connsiteY7" fmla="*/ 153950 h 328219"/>
                <a:gd name="connsiteX8" fmla="*/ 87734 w 149688"/>
                <a:gd name="connsiteY8" fmla="*/ 245547 h 328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9688" h="328219">
                  <a:moveTo>
                    <a:pt x="149688" y="279622"/>
                  </a:moveTo>
                  <a:lnTo>
                    <a:pt x="87835" y="328219"/>
                  </a:lnTo>
                  <a:lnTo>
                    <a:pt x="54765" y="322521"/>
                  </a:lnTo>
                  <a:cubicBezTo>
                    <a:pt x="43178" y="317693"/>
                    <a:pt x="32555" y="310382"/>
                    <a:pt x="23727" y="301277"/>
                  </a:cubicBezTo>
                  <a:cubicBezTo>
                    <a:pt x="4966" y="283069"/>
                    <a:pt x="0" y="251616"/>
                    <a:pt x="0" y="206369"/>
                  </a:cubicBez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2836" y="184850"/>
                    <a:pt x="77802" y="216302"/>
                    <a:pt x="87734" y="2455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9" name="Forme libre : forme 368">
              <a:extLst>
                <a:ext uri="{FF2B5EF4-FFF2-40B4-BE49-F238E27FC236}">
                  <a16:creationId xmlns:a16="http://schemas.microsoft.com/office/drawing/2014/main" id="{85452057-F6AF-4671-A171-74C9DE20E061}"/>
                </a:ext>
              </a:extLst>
            </p:cNvPr>
            <p:cNvSpPr/>
            <p:nvPr/>
          </p:nvSpPr>
          <p:spPr>
            <a:xfrm rot="8716295">
              <a:off x="3366575" y="56973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0" name="Forme libre : forme 369">
              <a:extLst>
                <a:ext uri="{FF2B5EF4-FFF2-40B4-BE49-F238E27FC236}">
                  <a16:creationId xmlns:a16="http://schemas.microsoft.com/office/drawing/2014/main" id="{0B76C80E-592A-400D-A327-9F0390D4B3C2}"/>
                </a:ext>
              </a:extLst>
            </p:cNvPr>
            <p:cNvSpPr/>
            <p:nvPr/>
          </p:nvSpPr>
          <p:spPr>
            <a:xfrm rot="8716295">
              <a:off x="3237162" y="360980"/>
              <a:ext cx="203847" cy="195873"/>
            </a:xfrm>
            <a:custGeom>
              <a:avLst/>
              <a:gdLst>
                <a:gd name="connsiteX0" fmla="*/ 90710 w 203847"/>
                <a:gd name="connsiteY0" fmla="*/ 195873 h 195873"/>
                <a:gd name="connsiteX1" fmla="*/ 47847 w 203847"/>
                <a:gd name="connsiteY1" fmla="*/ 116129 h 195873"/>
                <a:gd name="connsiteX2" fmla="*/ 69777 w 203847"/>
                <a:gd name="connsiteY2" fmla="*/ 55323 h 195873"/>
                <a:gd name="connsiteX3" fmla="*/ 0 w 203847"/>
                <a:gd name="connsiteY3" fmla="*/ 55323 h 195873"/>
                <a:gd name="connsiteX4" fmla="*/ 0 w 203847"/>
                <a:gd name="connsiteY4" fmla="*/ 52719 h 195873"/>
                <a:gd name="connsiteX5" fmla="*/ 43605 w 203847"/>
                <a:gd name="connsiteY5" fmla="*/ 0 h 195873"/>
                <a:gd name="connsiteX6" fmla="*/ 203847 w 203847"/>
                <a:gd name="connsiteY6" fmla="*/ 0 h 195873"/>
                <a:gd name="connsiteX7" fmla="*/ 203847 w 203847"/>
                <a:gd name="connsiteY7" fmla="*/ 55323 h 195873"/>
                <a:gd name="connsiteX8" fmla="*/ 139055 w 203847"/>
                <a:gd name="connsiteY8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3">
                  <a:moveTo>
                    <a:pt x="90710" y="195873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52719"/>
                  </a:lnTo>
                  <a:lnTo>
                    <a:pt x="43605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1" name="Forme libre : forme 370">
              <a:extLst>
                <a:ext uri="{FF2B5EF4-FFF2-40B4-BE49-F238E27FC236}">
                  <a16:creationId xmlns:a16="http://schemas.microsoft.com/office/drawing/2014/main" id="{5150644E-4F20-423C-8383-236544837AE7}"/>
                </a:ext>
              </a:extLst>
            </p:cNvPr>
            <p:cNvSpPr/>
            <p:nvPr/>
          </p:nvSpPr>
          <p:spPr>
            <a:xfrm rot="8716295">
              <a:off x="3189574" y="231224"/>
              <a:ext cx="290249" cy="221342"/>
            </a:xfrm>
            <a:custGeom>
              <a:avLst/>
              <a:gdLst>
                <a:gd name="connsiteX0" fmla="*/ 24905 w 290249"/>
                <a:gd name="connsiteY0" fmla="*/ 191751 h 221342"/>
                <a:gd name="connsiteX1" fmla="*/ 4754 w 290249"/>
                <a:gd name="connsiteY1" fmla="*/ 151964 h 221342"/>
                <a:gd name="connsiteX2" fmla="*/ 0 w 290249"/>
                <a:gd name="connsiteY2" fmla="*/ 95252 h 221342"/>
                <a:gd name="connsiteX3" fmla="*/ 78785 w 290249"/>
                <a:gd name="connsiteY3" fmla="*/ 0 h 221342"/>
                <a:gd name="connsiteX4" fmla="*/ 79033 w 290249"/>
                <a:gd name="connsiteY4" fmla="*/ 34662 h 221342"/>
                <a:gd name="connsiteX5" fmla="*/ 93153 w 290249"/>
                <a:gd name="connsiteY5" fmla="*/ 132328 h 221342"/>
                <a:gd name="connsiteX6" fmla="*/ 163754 w 290249"/>
                <a:gd name="connsiteY6" fmla="*/ 171159 h 221342"/>
                <a:gd name="connsiteX7" fmla="*/ 216706 w 290249"/>
                <a:gd name="connsiteY7" fmla="*/ 161745 h 221342"/>
                <a:gd name="connsiteX8" fmla="*/ 289073 w 290249"/>
                <a:gd name="connsiteY8" fmla="*/ 132328 h 221342"/>
                <a:gd name="connsiteX9" fmla="*/ 290249 w 290249"/>
                <a:gd name="connsiteY9" fmla="*/ 139976 h 221342"/>
                <a:gd name="connsiteX10" fmla="*/ 290249 w 290249"/>
                <a:gd name="connsiteY10" fmla="*/ 145860 h 221342"/>
                <a:gd name="connsiteX11" fmla="*/ 97272 w 290249"/>
                <a:gd name="connsiteY11" fmla="*/ 221168 h 221342"/>
                <a:gd name="connsiteX12" fmla="*/ 24905 w 290249"/>
                <a:gd name="connsiteY12" fmla="*/ 191751 h 221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0249" h="221342">
                  <a:moveTo>
                    <a:pt x="24905" y="191751"/>
                  </a:moveTo>
                  <a:cubicBezTo>
                    <a:pt x="14903" y="182043"/>
                    <a:pt x="8578" y="168805"/>
                    <a:pt x="4754" y="151964"/>
                  </a:cubicBezTo>
                  <a:lnTo>
                    <a:pt x="0" y="95252"/>
                  </a:lnTo>
                  <a:lnTo>
                    <a:pt x="78785" y="0"/>
                  </a:lnTo>
                  <a:lnTo>
                    <a:pt x="79033" y="34662"/>
                  </a:lnTo>
                  <a:cubicBezTo>
                    <a:pt x="77268" y="67610"/>
                    <a:pt x="82563" y="101145"/>
                    <a:pt x="93153" y="132328"/>
                  </a:cubicBezTo>
                  <a:cubicBezTo>
                    <a:pt x="102567" y="158215"/>
                    <a:pt x="126689" y="171159"/>
                    <a:pt x="163754" y="171159"/>
                  </a:cubicBezTo>
                  <a:cubicBezTo>
                    <a:pt x="181994" y="170570"/>
                    <a:pt x="199644" y="167040"/>
                    <a:pt x="216706" y="161745"/>
                  </a:cubicBezTo>
                  <a:cubicBezTo>
                    <a:pt x="241416" y="154096"/>
                    <a:pt x="265539" y="144095"/>
                    <a:pt x="289073" y="132328"/>
                  </a:cubicBezTo>
                  <a:cubicBezTo>
                    <a:pt x="289661" y="134681"/>
                    <a:pt x="290249" y="137623"/>
                    <a:pt x="290249" y="139976"/>
                  </a:cubicBezTo>
                  <a:lnTo>
                    <a:pt x="290249" y="145860"/>
                  </a:lnTo>
                  <a:cubicBezTo>
                    <a:pt x="227885" y="199399"/>
                    <a:pt x="146104" y="218227"/>
                    <a:pt x="97272" y="221168"/>
                  </a:cubicBezTo>
                  <a:cubicBezTo>
                    <a:pt x="70208" y="222933"/>
                    <a:pt x="43732" y="211166"/>
                    <a:pt x="24905" y="19175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2" name="Forme libre : forme 371">
              <a:extLst>
                <a:ext uri="{FF2B5EF4-FFF2-40B4-BE49-F238E27FC236}">
                  <a16:creationId xmlns:a16="http://schemas.microsoft.com/office/drawing/2014/main" id="{9266C455-B545-49CA-BF30-2607C744AB8E}"/>
                </a:ext>
              </a:extLst>
            </p:cNvPr>
            <p:cNvSpPr/>
            <p:nvPr/>
          </p:nvSpPr>
          <p:spPr>
            <a:xfrm rot="8716295">
              <a:off x="3411629" y="650113"/>
              <a:ext cx="21023" cy="45645"/>
            </a:xfrm>
            <a:custGeom>
              <a:avLst/>
              <a:gdLst>
                <a:gd name="connsiteX0" fmla="*/ 21023 w 21023"/>
                <a:gd name="connsiteY0" fmla="*/ 45645 h 45645"/>
                <a:gd name="connsiteX1" fmla="*/ 0 w 21023"/>
                <a:gd name="connsiteY1" fmla="*/ 25418 h 45645"/>
                <a:gd name="connsiteX2" fmla="*/ 21023 w 21023"/>
                <a:gd name="connsiteY2" fmla="*/ 0 h 4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023" h="45645">
                  <a:moveTo>
                    <a:pt x="21023" y="45645"/>
                  </a:moveTo>
                  <a:lnTo>
                    <a:pt x="0" y="25418"/>
                  </a:lnTo>
                  <a:lnTo>
                    <a:pt x="2102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3" name="Forme libre : forme 372">
              <a:extLst>
                <a:ext uri="{FF2B5EF4-FFF2-40B4-BE49-F238E27FC236}">
                  <a16:creationId xmlns:a16="http://schemas.microsoft.com/office/drawing/2014/main" id="{8A8C4152-A6DA-4079-AA7F-C7451551470E}"/>
                </a:ext>
              </a:extLst>
            </p:cNvPr>
            <p:cNvSpPr/>
            <p:nvPr/>
          </p:nvSpPr>
          <p:spPr>
            <a:xfrm rot="8716295">
              <a:off x="3298850" y="-42720"/>
              <a:ext cx="123263" cy="85442"/>
            </a:xfrm>
            <a:custGeom>
              <a:avLst/>
              <a:gdLst>
                <a:gd name="connsiteX0" fmla="*/ 123263 w 123263"/>
                <a:gd name="connsiteY0" fmla="*/ 85442 h 85442"/>
                <a:gd name="connsiteX1" fmla="*/ 0 w 123263"/>
                <a:gd name="connsiteY1" fmla="*/ 0 h 85442"/>
                <a:gd name="connsiteX2" fmla="*/ 66305 w 123263"/>
                <a:gd name="connsiteY2" fmla="*/ 0 h 85442"/>
                <a:gd name="connsiteX3" fmla="*/ 123263 w 123263"/>
                <a:gd name="connsiteY3" fmla="*/ 50123 h 85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63" h="85442">
                  <a:moveTo>
                    <a:pt x="123263" y="85442"/>
                  </a:moveTo>
                  <a:lnTo>
                    <a:pt x="0" y="0"/>
                  </a:lnTo>
                  <a:lnTo>
                    <a:pt x="66305" y="0"/>
                  </a:lnTo>
                  <a:cubicBezTo>
                    <a:pt x="103214" y="0"/>
                    <a:pt x="123263" y="15948"/>
                    <a:pt x="123263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4" name="Forme libre : forme 373">
              <a:extLst>
                <a:ext uri="{FF2B5EF4-FFF2-40B4-BE49-F238E27FC236}">
                  <a16:creationId xmlns:a16="http://schemas.microsoft.com/office/drawing/2014/main" id="{A339289A-5EC3-49A9-9A48-D86927329ED5}"/>
                </a:ext>
              </a:extLst>
            </p:cNvPr>
            <p:cNvSpPr/>
            <p:nvPr/>
          </p:nvSpPr>
          <p:spPr>
            <a:xfrm rot="8716295">
              <a:off x="3402681" y="37518"/>
              <a:ext cx="82257" cy="93201"/>
            </a:xfrm>
            <a:custGeom>
              <a:avLst/>
              <a:gdLst>
                <a:gd name="connsiteX0" fmla="*/ 20287 w 82257"/>
                <a:gd name="connsiteY0" fmla="*/ 93201 h 93201"/>
                <a:gd name="connsiteX1" fmla="*/ 20287 w 82257"/>
                <a:gd name="connsiteY1" fmla="*/ 76797 h 93201"/>
                <a:gd name="connsiteX2" fmla="*/ 10775 w 82257"/>
                <a:gd name="connsiteY2" fmla="*/ 46837 h 93201"/>
                <a:gd name="connsiteX3" fmla="*/ 0 w 82257"/>
                <a:gd name="connsiteY3" fmla="*/ 41716 h 93201"/>
                <a:gd name="connsiteX4" fmla="*/ 34504 w 82257"/>
                <a:gd name="connsiteY4" fmla="*/ 0 h 93201"/>
                <a:gd name="connsiteX5" fmla="*/ 38620 w 82257"/>
                <a:gd name="connsiteY5" fmla="*/ 715 h 93201"/>
                <a:gd name="connsiteX6" fmla="*/ 82257 w 82257"/>
                <a:gd name="connsiteY6" fmla="*/ 83632 h 93201"/>
                <a:gd name="connsiteX7" fmla="*/ 82257 w 82257"/>
                <a:gd name="connsiteY7" fmla="*/ 89556 h 93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2257" h="93201">
                  <a:moveTo>
                    <a:pt x="20287" y="93201"/>
                  </a:moveTo>
                  <a:lnTo>
                    <a:pt x="20287" y="76797"/>
                  </a:lnTo>
                  <a:cubicBezTo>
                    <a:pt x="20287" y="64494"/>
                    <a:pt x="16756" y="54128"/>
                    <a:pt x="10775" y="46837"/>
                  </a:cubicBezTo>
                  <a:lnTo>
                    <a:pt x="0" y="41716"/>
                  </a:lnTo>
                  <a:lnTo>
                    <a:pt x="34504" y="0"/>
                  </a:lnTo>
                  <a:lnTo>
                    <a:pt x="38620" y="715"/>
                  </a:lnTo>
                  <a:cubicBezTo>
                    <a:pt x="66366" y="12207"/>
                    <a:pt x="82257" y="41255"/>
                    <a:pt x="82257" y="83632"/>
                  </a:cubicBezTo>
                  <a:lnTo>
                    <a:pt x="82257" y="8955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5" name="Forme libre : forme 374">
              <a:extLst>
                <a:ext uri="{FF2B5EF4-FFF2-40B4-BE49-F238E27FC236}">
                  <a16:creationId xmlns:a16="http://schemas.microsoft.com/office/drawing/2014/main" id="{FE84117C-0D75-44E5-BDA4-CA1CB1F335CF}"/>
                </a:ext>
              </a:extLst>
            </p:cNvPr>
            <p:cNvSpPr/>
            <p:nvPr/>
          </p:nvSpPr>
          <p:spPr>
            <a:xfrm rot="8716295">
              <a:off x="3234083" y="-5272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6" name="Forme libre : forme 375">
              <a:extLst>
                <a:ext uri="{FF2B5EF4-FFF2-40B4-BE49-F238E27FC236}">
                  <a16:creationId xmlns:a16="http://schemas.microsoft.com/office/drawing/2014/main" id="{12EEAD1F-5DD6-435B-8A93-C66CE1909363}"/>
                </a:ext>
              </a:extLst>
            </p:cNvPr>
            <p:cNvSpPr/>
            <p:nvPr/>
          </p:nvSpPr>
          <p:spPr>
            <a:xfrm rot="8716295">
              <a:off x="212141" y="304502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7" name="Forme libre : forme 376">
              <a:extLst>
                <a:ext uri="{FF2B5EF4-FFF2-40B4-BE49-F238E27FC236}">
                  <a16:creationId xmlns:a16="http://schemas.microsoft.com/office/drawing/2014/main" id="{E2B3F83B-E193-4145-A936-C1756D937D20}"/>
                </a:ext>
              </a:extLst>
            </p:cNvPr>
            <p:cNvSpPr/>
            <p:nvPr/>
          </p:nvSpPr>
          <p:spPr>
            <a:xfrm rot="8716295">
              <a:off x="301533" y="307427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8" name="Forme libre : forme 377">
              <a:extLst>
                <a:ext uri="{FF2B5EF4-FFF2-40B4-BE49-F238E27FC236}">
                  <a16:creationId xmlns:a16="http://schemas.microsoft.com/office/drawing/2014/main" id="{0EBCDD2D-96D0-40D5-832B-9D432203380A}"/>
                </a:ext>
              </a:extLst>
            </p:cNvPr>
            <p:cNvSpPr/>
            <p:nvPr/>
          </p:nvSpPr>
          <p:spPr>
            <a:xfrm rot="8716295">
              <a:off x="256683" y="298799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9" name="Forme libre : forme 378">
              <a:extLst>
                <a:ext uri="{FF2B5EF4-FFF2-40B4-BE49-F238E27FC236}">
                  <a16:creationId xmlns:a16="http://schemas.microsoft.com/office/drawing/2014/main" id="{D7B14EA1-A5A0-49C4-996C-1F9E3834E06F}"/>
                </a:ext>
              </a:extLst>
            </p:cNvPr>
            <p:cNvSpPr/>
            <p:nvPr/>
          </p:nvSpPr>
          <p:spPr>
            <a:xfrm rot="8716295">
              <a:off x="99907" y="31335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0" name="Forme libre : forme 379">
              <a:extLst>
                <a:ext uri="{FF2B5EF4-FFF2-40B4-BE49-F238E27FC236}">
                  <a16:creationId xmlns:a16="http://schemas.microsoft.com/office/drawing/2014/main" id="{736F0423-C826-490E-96A4-CDB0EDE4D27E}"/>
                </a:ext>
              </a:extLst>
            </p:cNvPr>
            <p:cNvSpPr/>
            <p:nvPr/>
          </p:nvSpPr>
          <p:spPr>
            <a:xfrm rot="8716295">
              <a:off x="-24996" y="29248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1" name="Forme libre : forme 380">
              <a:extLst>
                <a:ext uri="{FF2B5EF4-FFF2-40B4-BE49-F238E27FC236}">
                  <a16:creationId xmlns:a16="http://schemas.microsoft.com/office/drawing/2014/main" id="{75D8D9C1-45FD-4A7E-AA8D-777A228E8F1D}"/>
                </a:ext>
              </a:extLst>
            </p:cNvPr>
            <p:cNvSpPr/>
            <p:nvPr/>
          </p:nvSpPr>
          <p:spPr>
            <a:xfrm rot="8716295">
              <a:off x="51899" y="2754602"/>
              <a:ext cx="189488" cy="350829"/>
            </a:xfrm>
            <a:custGeom>
              <a:avLst/>
              <a:gdLst>
                <a:gd name="connsiteX0" fmla="*/ 25299 w 189488"/>
                <a:gd name="connsiteY0" fmla="*/ 321238 h 350829"/>
                <a:gd name="connsiteX1" fmla="*/ 0 w 189488"/>
                <a:gd name="connsiteY1" fmla="*/ 220042 h 350829"/>
                <a:gd name="connsiteX2" fmla="*/ 0 w 189488"/>
                <a:gd name="connsiteY2" fmla="*/ 40596 h 350829"/>
                <a:gd name="connsiteX3" fmla="*/ 78250 w 189488"/>
                <a:gd name="connsiteY3" fmla="*/ 0 h 350829"/>
                <a:gd name="connsiteX4" fmla="*/ 79427 w 189488"/>
                <a:gd name="connsiteY4" fmla="*/ 164149 h 350829"/>
                <a:gd name="connsiteX5" fmla="*/ 93547 w 189488"/>
                <a:gd name="connsiteY5" fmla="*/ 261815 h 350829"/>
                <a:gd name="connsiteX6" fmla="*/ 164148 w 189488"/>
                <a:gd name="connsiteY6" fmla="*/ 300646 h 350829"/>
                <a:gd name="connsiteX7" fmla="*/ 189488 w 189488"/>
                <a:gd name="connsiteY7" fmla="*/ 296141 h 350829"/>
                <a:gd name="connsiteX8" fmla="*/ 160617 w 189488"/>
                <a:gd name="connsiteY8" fmla="*/ 337791 h 350829"/>
                <a:gd name="connsiteX9" fmla="*/ 97666 w 189488"/>
                <a:gd name="connsiteY9" fmla="*/ 350655 h 350829"/>
                <a:gd name="connsiteX10" fmla="*/ 25299 w 189488"/>
                <a:gd name="connsiteY10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9488" h="350829">
                  <a:moveTo>
                    <a:pt x="25299" y="321238"/>
                  </a:moveTo>
                  <a:cubicBezTo>
                    <a:pt x="5295" y="301823"/>
                    <a:pt x="0" y="268286"/>
                    <a:pt x="0" y="220042"/>
                  </a:cubicBez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8" y="300646"/>
                  </a:cubicBezTo>
                  <a:lnTo>
                    <a:pt x="189488" y="296141"/>
                  </a:lnTo>
                  <a:lnTo>
                    <a:pt x="160617" y="337791"/>
                  </a:lnTo>
                  <a:lnTo>
                    <a:pt x="97666" y="350655"/>
                  </a:ln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2" name="Forme libre : forme 381">
              <a:extLst>
                <a:ext uri="{FF2B5EF4-FFF2-40B4-BE49-F238E27FC236}">
                  <a16:creationId xmlns:a16="http://schemas.microsoft.com/office/drawing/2014/main" id="{B4FEB9FE-AF54-49A2-BE6D-72BA7BE2EB18}"/>
                </a:ext>
              </a:extLst>
            </p:cNvPr>
            <p:cNvSpPr/>
            <p:nvPr/>
          </p:nvSpPr>
          <p:spPr>
            <a:xfrm rot="8716295">
              <a:off x="190085" y="317452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3" name="Forme libre : forme 382">
              <a:extLst>
                <a:ext uri="{FF2B5EF4-FFF2-40B4-BE49-F238E27FC236}">
                  <a16:creationId xmlns:a16="http://schemas.microsoft.com/office/drawing/2014/main" id="{8DA05A66-E883-464C-B559-6FC6B28A3E8D}"/>
                </a:ext>
              </a:extLst>
            </p:cNvPr>
            <p:cNvSpPr/>
            <p:nvPr/>
          </p:nvSpPr>
          <p:spPr>
            <a:xfrm rot="8716295">
              <a:off x="501240" y="279487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4" name="Forme libre : forme 383">
              <a:extLst>
                <a:ext uri="{FF2B5EF4-FFF2-40B4-BE49-F238E27FC236}">
                  <a16:creationId xmlns:a16="http://schemas.microsoft.com/office/drawing/2014/main" id="{70D6E3B7-3736-43CC-9D76-86B0F97A5780}"/>
                </a:ext>
              </a:extLst>
            </p:cNvPr>
            <p:cNvSpPr/>
            <p:nvPr/>
          </p:nvSpPr>
          <p:spPr>
            <a:xfrm rot="8716295">
              <a:off x="590632" y="282411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5" name="Forme libre : forme 384">
              <a:extLst>
                <a:ext uri="{FF2B5EF4-FFF2-40B4-BE49-F238E27FC236}">
                  <a16:creationId xmlns:a16="http://schemas.microsoft.com/office/drawing/2014/main" id="{FC4D3741-889D-4E54-B83F-D0BA201DC6A2}"/>
                </a:ext>
              </a:extLst>
            </p:cNvPr>
            <p:cNvSpPr/>
            <p:nvPr/>
          </p:nvSpPr>
          <p:spPr>
            <a:xfrm rot="8716295">
              <a:off x="389006" y="2883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6" name="Forme libre : forme 385">
              <a:extLst>
                <a:ext uri="{FF2B5EF4-FFF2-40B4-BE49-F238E27FC236}">
                  <a16:creationId xmlns:a16="http://schemas.microsoft.com/office/drawing/2014/main" id="{C9BA88DB-9441-45DF-A22F-E12869EF8794}"/>
                </a:ext>
              </a:extLst>
            </p:cNvPr>
            <p:cNvSpPr/>
            <p:nvPr/>
          </p:nvSpPr>
          <p:spPr>
            <a:xfrm rot="8716295">
              <a:off x="264104" y="267474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7" name="Forme libre : forme 386">
              <a:extLst>
                <a:ext uri="{FF2B5EF4-FFF2-40B4-BE49-F238E27FC236}">
                  <a16:creationId xmlns:a16="http://schemas.microsoft.com/office/drawing/2014/main" id="{BBD785FB-255F-47D4-869B-DA2427044735}"/>
                </a:ext>
              </a:extLst>
            </p:cNvPr>
            <p:cNvSpPr/>
            <p:nvPr/>
          </p:nvSpPr>
          <p:spPr>
            <a:xfrm rot="8716295">
              <a:off x="479184" y="292437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8" name="Forme libre : forme 387">
              <a:extLst>
                <a:ext uri="{FF2B5EF4-FFF2-40B4-BE49-F238E27FC236}">
                  <a16:creationId xmlns:a16="http://schemas.microsoft.com/office/drawing/2014/main" id="{04B3E6F0-D035-4122-A08C-156643A27C96}"/>
                </a:ext>
              </a:extLst>
            </p:cNvPr>
            <p:cNvSpPr/>
            <p:nvPr/>
          </p:nvSpPr>
          <p:spPr>
            <a:xfrm rot="8716295">
              <a:off x="237733" y="277477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9" name="Forme libre : forme 388">
              <a:extLst>
                <a:ext uri="{FF2B5EF4-FFF2-40B4-BE49-F238E27FC236}">
                  <a16:creationId xmlns:a16="http://schemas.microsoft.com/office/drawing/2014/main" id="{09952F73-FF5F-406A-8919-7345F484086E}"/>
                </a:ext>
              </a:extLst>
            </p:cNvPr>
            <p:cNvSpPr/>
            <p:nvPr/>
          </p:nvSpPr>
          <p:spPr>
            <a:xfrm rot="7484129">
              <a:off x="584115" y="311572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0" name="Forme libre : forme 389">
              <a:extLst>
                <a:ext uri="{FF2B5EF4-FFF2-40B4-BE49-F238E27FC236}">
                  <a16:creationId xmlns:a16="http://schemas.microsoft.com/office/drawing/2014/main" id="{09ED8664-259A-4F65-B984-54EB26583D37}"/>
                </a:ext>
              </a:extLst>
            </p:cNvPr>
            <p:cNvSpPr/>
            <p:nvPr/>
          </p:nvSpPr>
          <p:spPr>
            <a:xfrm rot="13089394">
              <a:off x="688935" y="3082257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1" name="Forme libre : forme 390">
              <a:extLst>
                <a:ext uri="{FF2B5EF4-FFF2-40B4-BE49-F238E27FC236}">
                  <a16:creationId xmlns:a16="http://schemas.microsoft.com/office/drawing/2014/main" id="{5005AA8C-EF3F-42BB-886F-BDC096F9E2C6}"/>
                </a:ext>
              </a:extLst>
            </p:cNvPr>
            <p:cNvSpPr/>
            <p:nvPr/>
          </p:nvSpPr>
          <p:spPr>
            <a:xfrm rot="8716295">
              <a:off x="874520" y="2890576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2" name="Forme libre : forme 391">
              <a:extLst>
                <a:ext uri="{FF2B5EF4-FFF2-40B4-BE49-F238E27FC236}">
                  <a16:creationId xmlns:a16="http://schemas.microsoft.com/office/drawing/2014/main" id="{F901BAD2-7BC9-4B9B-9AEE-194DC6FC05A0}"/>
                </a:ext>
              </a:extLst>
            </p:cNvPr>
            <p:cNvSpPr/>
            <p:nvPr/>
          </p:nvSpPr>
          <p:spPr>
            <a:xfrm rot="8716295">
              <a:off x="822715" y="278698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3" name="Forme libre : forme 392">
              <a:extLst>
                <a:ext uri="{FF2B5EF4-FFF2-40B4-BE49-F238E27FC236}">
                  <a16:creationId xmlns:a16="http://schemas.microsoft.com/office/drawing/2014/main" id="{9E3F70D1-21EF-4CD2-8FEB-B48B0201A2F5}"/>
                </a:ext>
              </a:extLst>
            </p:cNvPr>
            <p:cNvSpPr/>
            <p:nvPr/>
          </p:nvSpPr>
          <p:spPr>
            <a:xfrm rot="8716295">
              <a:off x="579469" y="28172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4" name="Forme libre : forme 393">
              <a:extLst>
                <a:ext uri="{FF2B5EF4-FFF2-40B4-BE49-F238E27FC236}">
                  <a16:creationId xmlns:a16="http://schemas.microsoft.com/office/drawing/2014/main" id="{EE0D830B-AE35-40E9-8728-E21F6C35586C}"/>
                </a:ext>
              </a:extLst>
            </p:cNvPr>
            <p:cNvSpPr/>
            <p:nvPr/>
          </p:nvSpPr>
          <p:spPr>
            <a:xfrm rot="8716295">
              <a:off x="756921" y="265796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5" name="Forme libre : forme 394">
              <a:extLst>
                <a:ext uri="{FF2B5EF4-FFF2-40B4-BE49-F238E27FC236}">
                  <a16:creationId xmlns:a16="http://schemas.microsoft.com/office/drawing/2014/main" id="{8FFBDF4B-90C1-4FB0-93F5-3CF9CE875883}"/>
                </a:ext>
              </a:extLst>
            </p:cNvPr>
            <p:cNvSpPr/>
            <p:nvPr/>
          </p:nvSpPr>
          <p:spPr>
            <a:xfrm rot="8716295">
              <a:off x="435308" y="370472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6" name="Forme libre : forme 395">
              <a:extLst>
                <a:ext uri="{FF2B5EF4-FFF2-40B4-BE49-F238E27FC236}">
                  <a16:creationId xmlns:a16="http://schemas.microsoft.com/office/drawing/2014/main" id="{4DB3DB14-6327-4A57-8367-203E6F4E011B}"/>
                </a:ext>
              </a:extLst>
            </p:cNvPr>
            <p:cNvSpPr/>
            <p:nvPr/>
          </p:nvSpPr>
          <p:spPr>
            <a:xfrm rot="8716295">
              <a:off x="524700" y="373396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7" name="Forme libre : forme 396">
              <a:extLst>
                <a:ext uri="{FF2B5EF4-FFF2-40B4-BE49-F238E27FC236}">
                  <a16:creationId xmlns:a16="http://schemas.microsoft.com/office/drawing/2014/main" id="{4355D30E-1756-4406-84C9-F6A8049756B3}"/>
                </a:ext>
              </a:extLst>
            </p:cNvPr>
            <p:cNvSpPr/>
            <p:nvPr/>
          </p:nvSpPr>
          <p:spPr>
            <a:xfrm rot="8716295">
              <a:off x="479850" y="3647689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8" name="Forme libre : forme 397">
              <a:extLst>
                <a:ext uri="{FF2B5EF4-FFF2-40B4-BE49-F238E27FC236}">
                  <a16:creationId xmlns:a16="http://schemas.microsoft.com/office/drawing/2014/main" id="{BA4A47C8-0B69-4C29-80A3-E8882E41243E}"/>
                </a:ext>
              </a:extLst>
            </p:cNvPr>
            <p:cNvSpPr/>
            <p:nvPr/>
          </p:nvSpPr>
          <p:spPr>
            <a:xfrm rot="8716295">
              <a:off x="323074" y="379327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9" name="Forme libre : forme 398">
              <a:extLst>
                <a:ext uri="{FF2B5EF4-FFF2-40B4-BE49-F238E27FC236}">
                  <a16:creationId xmlns:a16="http://schemas.microsoft.com/office/drawing/2014/main" id="{C7193D43-8FAD-40C8-B968-D6B7B8EE8D8F}"/>
                </a:ext>
              </a:extLst>
            </p:cNvPr>
            <p:cNvSpPr/>
            <p:nvPr/>
          </p:nvSpPr>
          <p:spPr>
            <a:xfrm rot="8716295">
              <a:off x="198171" y="358459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0" name="Forme libre : forme 399">
              <a:extLst>
                <a:ext uri="{FF2B5EF4-FFF2-40B4-BE49-F238E27FC236}">
                  <a16:creationId xmlns:a16="http://schemas.microsoft.com/office/drawing/2014/main" id="{F68A3447-0210-45C1-9F87-4B1D4BFE9738}"/>
                </a:ext>
              </a:extLst>
            </p:cNvPr>
            <p:cNvSpPr/>
            <p:nvPr/>
          </p:nvSpPr>
          <p:spPr>
            <a:xfrm rot="8716295">
              <a:off x="186119" y="344581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1" name="Forme libre : forme 400">
              <a:extLst>
                <a:ext uri="{FF2B5EF4-FFF2-40B4-BE49-F238E27FC236}">
                  <a16:creationId xmlns:a16="http://schemas.microsoft.com/office/drawing/2014/main" id="{7AF4A353-4506-4959-86A0-C8690BF59E95}"/>
                </a:ext>
              </a:extLst>
            </p:cNvPr>
            <p:cNvSpPr/>
            <p:nvPr/>
          </p:nvSpPr>
          <p:spPr>
            <a:xfrm rot="8716295">
              <a:off x="413252" y="3834223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2" name="Forme libre : forme 401">
              <a:extLst>
                <a:ext uri="{FF2B5EF4-FFF2-40B4-BE49-F238E27FC236}">
                  <a16:creationId xmlns:a16="http://schemas.microsoft.com/office/drawing/2014/main" id="{598CEB9B-8E04-469F-A771-F927470C3F4E}"/>
                </a:ext>
              </a:extLst>
            </p:cNvPr>
            <p:cNvSpPr/>
            <p:nvPr/>
          </p:nvSpPr>
          <p:spPr>
            <a:xfrm rot="8716295">
              <a:off x="724407" y="345457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3" name="Forme libre : forme 402">
              <a:extLst>
                <a:ext uri="{FF2B5EF4-FFF2-40B4-BE49-F238E27FC236}">
                  <a16:creationId xmlns:a16="http://schemas.microsoft.com/office/drawing/2014/main" id="{AB980D08-B340-4454-A274-3AD08D2A9A3A}"/>
                </a:ext>
              </a:extLst>
            </p:cNvPr>
            <p:cNvSpPr/>
            <p:nvPr/>
          </p:nvSpPr>
          <p:spPr>
            <a:xfrm rot="8716295">
              <a:off x="813799" y="348381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4" name="Forme libre : forme 403">
              <a:extLst>
                <a:ext uri="{FF2B5EF4-FFF2-40B4-BE49-F238E27FC236}">
                  <a16:creationId xmlns:a16="http://schemas.microsoft.com/office/drawing/2014/main" id="{2652DA6E-5978-4E5D-A96D-58C298CBA732}"/>
                </a:ext>
              </a:extLst>
            </p:cNvPr>
            <p:cNvSpPr/>
            <p:nvPr/>
          </p:nvSpPr>
          <p:spPr>
            <a:xfrm rot="8716295">
              <a:off x="612173" y="354311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5" name="Forme libre : forme 404">
              <a:extLst>
                <a:ext uri="{FF2B5EF4-FFF2-40B4-BE49-F238E27FC236}">
                  <a16:creationId xmlns:a16="http://schemas.microsoft.com/office/drawing/2014/main" id="{BCA796D3-CCB0-45BE-BB99-D45334DE88BA}"/>
                </a:ext>
              </a:extLst>
            </p:cNvPr>
            <p:cNvSpPr/>
            <p:nvPr/>
          </p:nvSpPr>
          <p:spPr>
            <a:xfrm rot="8716295">
              <a:off x="487271" y="333444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6" name="Forme libre : forme 405">
              <a:extLst>
                <a:ext uri="{FF2B5EF4-FFF2-40B4-BE49-F238E27FC236}">
                  <a16:creationId xmlns:a16="http://schemas.microsoft.com/office/drawing/2014/main" id="{933101B8-7867-420E-81EE-0503A80C6D03}"/>
                </a:ext>
              </a:extLst>
            </p:cNvPr>
            <p:cNvSpPr/>
            <p:nvPr/>
          </p:nvSpPr>
          <p:spPr>
            <a:xfrm rot="8716295">
              <a:off x="702351" y="3584071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7" name="Forme libre : forme 406">
              <a:extLst>
                <a:ext uri="{FF2B5EF4-FFF2-40B4-BE49-F238E27FC236}">
                  <a16:creationId xmlns:a16="http://schemas.microsoft.com/office/drawing/2014/main" id="{5B641A15-3B25-4DD3-9A6C-0FFDEC9A133C}"/>
                </a:ext>
              </a:extLst>
            </p:cNvPr>
            <p:cNvSpPr/>
            <p:nvPr/>
          </p:nvSpPr>
          <p:spPr>
            <a:xfrm rot="8716295">
              <a:off x="460900" y="343447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8" name="Forme libre : forme 407">
              <a:extLst>
                <a:ext uri="{FF2B5EF4-FFF2-40B4-BE49-F238E27FC236}">
                  <a16:creationId xmlns:a16="http://schemas.microsoft.com/office/drawing/2014/main" id="{E763D240-1B00-445A-81E2-30AFA6DA38B9}"/>
                </a:ext>
              </a:extLst>
            </p:cNvPr>
            <p:cNvSpPr/>
            <p:nvPr/>
          </p:nvSpPr>
          <p:spPr>
            <a:xfrm rot="7484129">
              <a:off x="807282" y="377542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9" name="Forme libre : forme 408">
              <a:extLst>
                <a:ext uri="{FF2B5EF4-FFF2-40B4-BE49-F238E27FC236}">
                  <a16:creationId xmlns:a16="http://schemas.microsoft.com/office/drawing/2014/main" id="{73387E34-81D2-4A73-B141-75343A132394}"/>
                </a:ext>
              </a:extLst>
            </p:cNvPr>
            <p:cNvSpPr/>
            <p:nvPr/>
          </p:nvSpPr>
          <p:spPr>
            <a:xfrm rot="13089394">
              <a:off x="912102" y="374195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0" name="Forme libre : forme 409">
              <a:extLst>
                <a:ext uri="{FF2B5EF4-FFF2-40B4-BE49-F238E27FC236}">
                  <a16:creationId xmlns:a16="http://schemas.microsoft.com/office/drawing/2014/main" id="{CCA2FEEB-CE96-44BC-8FB9-EA169A41218A}"/>
                </a:ext>
              </a:extLst>
            </p:cNvPr>
            <p:cNvSpPr/>
            <p:nvPr/>
          </p:nvSpPr>
          <p:spPr>
            <a:xfrm rot="8716295">
              <a:off x="1097687" y="355027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1" name="Forme libre : forme 410">
              <a:extLst>
                <a:ext uri="{FF2B5EF4-FFF2-40B4-BE49-F238E27FC236}">
                  <a16:creationId xmlns:a16="http://schemas.microsoft.com/office/drawing/2014/main" id="{E1A40A9E-A324-487B-A5D9-A64B315CC0DB}"/>
                </a:ext>
              </a:extLst>
            </p:cNvPr>
            <p:cNvSpPr/>
            <p:nvPr/>
          </p:nvSpPr>
          <p:spPr>
            <a:xfrm rot="8716295">
              <a:off x="1045882" y="344668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2" name="Forme libre : forme 411">
              <a:extLst>
                <a:ext uri="{FF2B5EF4-FFF2-40B4-BE49-F238E27FC236}">
                  <a16:creationId xmlns:a16="http://schemas.microsoft.com/office/drawing/2014/main" id="{A6958C47-9B80-4B26-AABB-8FF29B27BC9F}"/>
                </a:ext>
              </a:extLst>
            </p:cNvPr>
            <p:cNvSpPr/>
            <p:nvPr/>
          </p:nvSpPr>
          <p:spPr>
            <a:xfrm rot="8716295">
              <a:off x="802636" y="347690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3" name="Forme libre : forme 412">
              <a:extLst>
                <a:ext uri="{FF2B5EF4-FFF2-40B4-BE49-F238E27FC236}">
                  <a16:creationId xmlns:a16="http://schemas.microsoft.com/office/drawing/2014/main" id="{8E6D0100-AF69-44B2-A5CF-E8C0130AB7E9}"/>
                </a:ext>
              </a:extLst>
            </p:cNvPr>
            <p:cNvSpPr/>
            <p:nvPr/>
          </p:nvSpPr>
          <p:spPr>
            <a:xfrm rot="8716295">
              <a:off x="980088" y="331766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4" name="Forme libre : forme 413">
              <a:extLst>
                <a:ext uri="{FF2B5EF4-FFF2-40B4-BE49-F238E27FC236}">
                  <a16:creationId xmlns:a16="http://schemas.microsoft.com/office/drawing/2014/main" id="{DDF69E8D-616E-4B06-B6E7-5816DA160ADA}"/>
                </a:ext>
              </a:extLst>
            </p:cNvPr>
            <p:cNvSpPr/>
            <p:nvPr/>
          </p:nvSpPr>
          <p:spPr>
            <a:xfrm rot="8716295">
              <a:off x="653978" y="436312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5" name="Forme libre : forme 414">
              <a:extLst>
                <a:ext uri="{FF2B5EF4-FFF2-40B4-BE49-F238E27FC236}">
                  <a16:creationId xmlns:a16="http://schemas.microsoft.com/office/drawing/2014/main" id="{28F41443-BBE2-4975-B85B-8718620F25A2}"/>
                </a:ext>
              </a:extLst>
            </p:cNvPr>
            <p:cNvSpPr/>
            <p:nvPr/>
          </p:nvSpPr>
          <p:spPr>
            <a:xfrm rot="8716295">
              <a:off x="743370" y="439236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6" name="Forme libre : forme 415">
              <a:extLst>
                <a:ext uri="{FF2B5EF4-FFF2-40B4-BE49-F238E27FC236}">
                  <a16:creationId xmlns:a16="http://schemas.microsoft.com/office/drawing/2014/main" id="{66BEE935-162B-468C-A488-08BB53F0E96A}"/>
                </a:ext>
              </a:extLst>
            </p:cNvPr>
            <p:cNvSpPr/>
            <p:nvPr/>
          </p:nvSpPr>
          <p:spPr>
            <a:xfrm rot="8716295">
              <a:off x="698520" y="430608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7" name="Forme libre : forme 416">
              <a:extLst>
                <a:ext uri="{FF2B5EF4-FFF2-40B4-BE49-F238E27FC236}">
                  <a16:creationId xmlns:a16="http://schemas.microsoft.com/office/drawing/2014/main" id="{C6A86155-7B92-42A4-B02E-66184BF812F2}"/>
                </a:ext>
              </a:extLst>
            </p:cNvPr>
            <p:cNvSpPr/>
            <p:nvPr/>
          </p:nvSpPr>
          <p:spPr>
            <a:xfrm rot="8716295">
              <a:off x="541744" y="445166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8" name="Forme libre : forme 417">
              <a:extLst>
                <a:ext uri="{FF2B5EF4-FFF2-40B4-BE49-F238E27FC236}">
                  <a16:creationId xmlns:a16="http://schemas.microsoft.com/office/drawing/2014/main" id="{46BFD870-BFFF-4A29-A35F-C7406F7430F7}"/>
                </a:ext>
              </a:extLst>
            </p:cNvPr>
            <p:cNvSpPr/>
            <p:nvPr/>
          </p:nvSpPr>
          <p:spPr>
            <a:xfrm rot="8716295">
              <a:off x="416841" y="424299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9" name="Forme libre : forme 418">
              <a:extLst>
                <a:ext uri="{FF2B5EF4-FFF2-40B4-BE49-F238E27FC236}">
                  <a16:creationId xmlns:a16="http://schemas.microsoft.com/office/drawing/2014/main" id="{A679BEA0-D0C5-41E0-ADCB-C970608B53F5}"/>
                </a:ext>
              </a:extLst>
            </p:cNvPr>
            <p:cNvSpPr/>
            <p:nvPr/>
          </p:nvSpPr>
          <p:spPr>
            <a:xfrm rot="8716295">
              <a:off x="404789" y="410421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0" name="Forme libre : forme 419">
              <a:extLst>
                <a:ext uri="{FF2B5EF4-FFF2-40B4-BE49-F238E27FC236}">
                  <a16:creationId xmlns:a16="http://schemas.microsoft.com/office/drawing/2014/main" id="{12FE079E-BD6C-4326-BBC6-E7FED6AEB0DE}"/>
                </a:ext>
              </a:extLst>
            </p:cNvPr>
            <p:cNvSpPr/>
            <p:nvPr/>
          </p:nvSpPr>
          <p:spPr>
            <a:xfrm rot="8716295">
              <a:off x="631922" y="449261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1" name="Forme libre : forme 420">
              <a:extLst>
                <a:ext uri="{FF2B5EF4-FFF2-40B4-BE49-F238E27FC236}">
                  <a16:creationId xmlns:a16="http://schemas.microsoft.com/office/drawing/2014/main" id="{ADCC2EDC-1B28-4142-9C4B-B780064981F4}"/>
                </a:ext>
              </a:extLst>
            </p:cNvPr>
            <p:cNvSpPr/>
            <p:nvPr/>
          </p:nvSpPr>
          <p:spPr>
            <a:xfrm rot="8716295">
              <a:off x="943077" y="411297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2" name="Forme libre : forme 421">
              <a:extLst>
                <a:ext uri="{FF2B5EF4-FFF2-40B4-BE49-F238E27FC236}">
                  <a16:creationId xmlns:a16="http://schemas.microsoft.com/office/drawing/2014/main" id="{85A46BE2-B28A-4B10-A98B-E1A4C9718784}"/>
                </a:ext>
              </a:extLst>
            </p:cNvPr>
            <p:cNvSpPr/>
            <p:nvPr/>
          </p:nvSpPr>
          <p:spPr>
            <a:xfrm rot="8716295">
              <a:off x="1032469" y="414221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3" name="Forme libre : forme 422">
              <a:extLst>
                <a:ext uri="{FF2B5EF4-FFF2-40B4-BE49-F238E27FC236}">
                  <a16:creationId xmlns:a16="http://schemas.microsoft.com/office/drawing/2014/main" id="{B997AC73-4A2E-4369-A0A3-B98AEFAEB0D2}"/>
                </a:ext>
              </a:extLst>
            </p:cNvPr>
            <p:cNvSpPr/>
            <p:nvPr/>
          </p:nvSpPr>
          <p:spPr>
            <a:xfrm rot="8716295">
              <a:off x="830843" y="420151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4" name="Forme libre : forme 423">
              <a:extLst>
                <a:ext uri="{FF2B5EF4-FFF2-40B4-BE49-F238E27FC236}">
                  <a16:creationId xmlns:a16="http://schemas.microsoft.com/office/drawing/2014/main" id="{B0F441EE-58D5-406D-84C8-BF6FB45F3E10}"/>
                </a:ext>
              </a:extLst>
            </p:cNvPr>
            <p:cNvSpPr/>
            <p:nvPr/>
          </p:nvSpPr>
          <p:spPr>
            <a:xfrm rot="8716295">
              <a:off x="705941" y="399284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5" name="Forme libre : forme 424">
              <a:extLst>
                <a:ext uri="{FF2B5EF4-FFF2-40B4-BE49-F238E27FC236}">
                  <a16:creationId xmlns:a16="http://schemas.microsoft.com/office/drawing/2014/main" id="{C2116289-0ECD-487D-B988-2550AD513EBC}"/>
                </a:ext>
              </a:extLst>
            </p:cNvPr>
            <p:cNvSpPr/>
            <p:nvPr/>
          </p:nvSpPr>
          <p:spPr>
            <a:xfrm rot="8716295">
              <a:off x="921021" y="424246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6" name="Forme libre : forme 425">
              <a:extLst>
                <a:ext uri="{FF2B5EF4-FFF2-40B4-BE49-F238E27FC236}">
                  <a16:creationId xmlns:a16="http://schemas.microsoft.com/office/drawing/2014/main" id="{BB2DB617-3C2B-44C3-B229-D2E3AF1F6397}"/>
                </a:ext>
              </a:extLst>
            </p:cNvPr>
            <p:cNvSpPr/>
            <p:nvPr/>
          </p:nvSpPr>
          <p:spPr>
            <a:xfrm rot="8716295">
              <a:off x="679570" y="409286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7" name="Forme libre : forme 426">
              <a:extLst>
                <a:ext uri="{FF2B5EF4-FFF2-40B4-BE49-F238E27FC236}">
                  <a16:creationId xmlns:a16="http://schemas.microsoft.com/office/drawing/2014/main" id="{AB1A41E1-EFF1-4B46-86EA-03A5D3137ECE}"/>
                </a:ext>
              </a:extLst>
            </p:cNvPr>
            <p:cNvSpPr/>
            <p:nvPr/>
          </p:nvSpPr>
          <p:spPr>
            <a:xfrm rot="7484129">
              <a:off x="1025952" y="443381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8" name="Forme libre : forme 427">
              <a:extLst>
                <a:ext uri="{FF2B5EF4-FFF2-40B4-BE49-F238E27FC236}">
                  <a16:creationId xmlns:a16="http://schemas.microsoft.com/office/drawing/2014/main" id="{FC716ACC-6F89-47F8-ABE1-58EDBEC4B6CB}"/>
                </a:ext>
              </a:extLst>
            </p:cNvPr>
            <p:cNvSpPr/>
            <p:nvPr/>
          </p:nvSpPr>
          <p:spPr>
            <a:xfrm rot="13089394">
              <a:off x="1130772" y="440035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9" name="Forme libre : forme 428">
              <a:extLst>
                <a:ext uri="{FF2B5EF4-FFF2-40B4-BE49-F238E27FC236}">
                  <a16:creationId xmlns:a16="http://schemas.microsoft.com/office/drawing/2014/main" id="{FBEB36D4-4104-4CEA-A5D9-270F8D790AEC}"/>
                </a:ext>
              </a:extLst>
            </p:cNvPr>
            <p:cNvSpPr/>
            <p:nvPr/>
          </p:nvSpPr>
          <p:spPr>
            <a:xfrm rot="8716295">
              <a:off x="1316357" y="420867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0" name="Forme libre : forme 429">
              <a:extLst>
                <a:ext uri="{FF2B5EF4-FFF2-40B4-BE49-F238E27FC236}">
                  <a16:creationId xmlns:a16="http://schemas.microsoft.com/office/drawing/2014/main" id="{F7950902-6556-4E4C-B905-0DD59A5961CC}"/>
                </a:ext>
              </a:extLst>
            </p:cNvPr>
            <p:cNvSpPr/>
            <p:nvPr/>
          </p:nvSpPr>
          <p:spPr>
            <a:xfrm rot="8716295">
              <a:off x="1264552" y="410507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1" name="Forme libre : forme 430">
              <a:extLst>
                <a:ext uri="{FF2B5EF4-FFF2-40B4-BE49-F238E27FC236}">
                  <a16:creationId xmlns:a16="http://schemas.microsoft.com/office/drawing/2014/main" id="{4F003DDA-355E-4DAE-A8BB-3FB35F5F4EAE}"/>
                </a:ext>
              </a:extLst>
            </p:cNvPr>
            <p:cNvSpPr/>
            <p:nvPr/>
          </p:nvSpPr>
          <p:spPr>
            <a:xfrm rot="8716295">
              <a:off x="1021306" y="413529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2" name="Forme libre : forme 431">
              <a:extLst>
                <a:ext uri="{FF2B5EF4-FFF2-40B4-BE49-F238E27FC236}">
                  <a16:creationId xmlns:a16="http://schemas.microsoft.com/office/drawing/2014/main" id="{3F6E657C-3858-4D98-91AA-063146CE262A}"/>
                </a:ext>
              </a:extLst>
            </p:cNvPr>
            <p:cNvSpPr/>
            <p:nvPr/>
          </p:nvSpPr>
          <p:spPr>
            <a:xfrm rot="8716295">
              <a:off x="1198758" y="397605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3" name="Forme libre : forme 432">
              <a:extLst>
                <a:ext uri="{FF2B5EF4-FFF2-40B4-BE49-F238E27FC236}">
                  <a16:creationId xmlns:a16="http://schemas.microsoft.com/office/drawing/2014/main" id="{6881A455-FC30-4886-9181-EEE1433B5DFF}"/>
                </a:ext>
              </a:extLst>
            </p:cNvPr>
            <p:cNvSpPr/>
            <p:nvPr/>
          </p:nvSpPr>
          <p:spPr>
            <a:xfrm rot="8716295">
              <a:off x="849927" y="5056695"/>
              <a:ext cx="61059" cy="114384"/>
            </a:xfrm>
            <a:custGeom>
              <a:avLst/>
              <a:gdLst>
                <a:gd name="connsiteX0" fmla="*/ 0 w 61059"/>
                <a:gd name="connsiteY0" fmla="*/ 114384 h 114384"/>
                <a:gd name="connsiteX1" fmla="*/ 0 w 61059"/>
                <a:gd name="connsiteY1" fmla="*/ 0 h 114384"/>
                <a:gd name="connsiteX2" fmla="*/ 61059 w 61059"/>
                <a:gd name="connsiteY2" fmla="*/ 42324 h 114384"/>
                <a:gd name="connsiteX3" fmla="*/ 61059 w 61059"/>
                <a:gd name="connsiteY3" fmla="*/ 90234 h 114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059" h="114384">
                  <a:moveTo>
                    <a:pt x="0" y="114384"/>
                  </a:moveTo>
                  <a:lnTo>
                    <a:pt x="0" y="0"/>
                  </a:lnTo>
                  <a:lnTo>
                    <a:pt x="61059" y="42324"/>
                  </a:lnTo>
                  <a:lnTo>
                    <a:pt x="61059" y="902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4" name="Forme libre : forme 433">
              <a:extLst>
                <a:ext uri="{FF2B5EF4-FFF2-40B4-BE49-F238E27FC236}">
                  <a16:creationId xmlns:a16="http://schemas.microsoft.com/office/drawing/2014/main" id="{CE4C8C85-2581-4CDF-9EB4-9C8C2E2C159C}"/>
                </a:ext>
              </a:extLst>
            </p:cNvPr>
            <p:cNvSpPr/>
            <p:nvPr/>
          </p:nvSpPr>
          <p:spPr>
            <a:xfrm rot="8716295">
              <a:off x="1072880" y="5030752"/>
              <a:ext cx="60148" cy="142578"/>
            </a:xfrm>
            <a:custGeom>
              <a:avLst/>
              <a:gdLst>
                <a:gd name="connsiteX0" fmla="*/ 0 w 60148"/>
                <a:gd name="connsiteY0" fmla="*/ 142578 h 142578"/>
                <a:gd name="connsiteX1" fmla="*/ 0 w 60148"/>
                <a:gd name="connsiteY1" fmla="*/ 0 h 142578"/>
                <a:gd name="connsiteX2" fmla="*/ 60148 w 60148"/>
                <a:gd name="connsiteY2" fmla="*/ 41693 h 142578"/>
                <a:gd name="connsiteX3" fmla="*/ 60148 w 60148"/>
                <a:gd name="connsiteY3" fmla="*/ 101569 h 142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8" h="142578">
                  <a:moveTo>
                    <a:pt x="0" y="142578"/>
                  </a:moveTo>
                  <a:lnTo>
                    <a:pt x="0" y="0"/>
                  </a:lnTo>
                  <a:lnTo>
                    <a:pt x="60148" y="41693"/>
                  </a:lnTo>
                  <a:lnTo>
                    <a:pt x="60148" y="1015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5" name="Forme libre : forme 434">
              <a:extLst>
                <a:ext uri="{FF2B5EF4-FFF2-40B4-BE49-F238E27FC236}">
                  <a16:creationId xmlns:a16="http://schemas.microsoft.com/office/drawing/2014/main" id="{683CB711-80B1-4038-ABB6-5DBDA3CAB0C0}"/>
                </a:ext>
              </a:extLst>
            </p:cNvPr>
            <p:cNvSpPr/>
            <p:nvPr/>
          </p:nvSpPr>
          <p:spPr>
            <a:xfrm rot="8716295">
              <a:off x="921687" y="496578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6" name="Forme libre : forme 435">
              <a:extLst>
                <a:ext uri="{FF2B5EF4-FFF2-40B4-BE49-F238E27FC236}">
                  <a16:creationId xmlns:a16="http://schemas.microsoft.com/office/drawing/2014/main" id="{8B993DFE-EE3E-4E92-8884-9A227F7DEAD1}"/>
                </a:ext>
              </a:extLst>
            </p:cNvPr>
            <p:cNvSpPr/>
            <p:nvPr/>
          </p:nvSpPr>
          <p:spPr>
            <a:xfrm rot="8716295">
              <a:off x="762271" y="5108547"/>
              <a:ext cx="53742" cy="49705"/>
            </a:xfrm>
            <a:custGeom>
              <a:avLst/>
              <a:gdLst>
                <a:gd name="connsiteX0" fmla="*/ 8658 w 53742"/>
                <a:gd name="connsiteY0" fmla="*/ 41503 h 49705"/>
                <a:gd name="connsiteX1" fmla="*/ 0 w 53742"/>
                <a:gd name="connsiteY1" fmla="*/ 20999 h 49705"/>
                <a:gd name="connsiteX2" fmla="*/ 0 w 53742"/>
                <a:gd name="connsiteY2" fmla="*/ 20542 h 49705"/>
                <a:gd name="connsiteX3" fmla="*/ 8658 w 53742"/>
                <a:gd name="connsiteY3" fmla="*/ 38 h 49705"/>
                <a:gd name="connsiteX4" fmla="*/ 8747 w 53742"/>
                <a:gd name="connsiteY4" fmla="*/ 0 h 49705"/>
                <a:gd name="connsiteX5" fmla="*/ 53742 w 53742"/>
                <a:gd name="connsiteY5" fmla="*/ 31189 h 49705"/>
                <a:gd name="connsiteX6" fmla="*/ 49668 w 53742"/>
                <a:gd name="connsiteY6" fmla="*/ 41048 h 49705"/>
                <a:gd name="connsiteX7" fmla="*/ 29162 w 53742"/>
                <a:gd name="connsiteY7" fmla="*/ 49705 h 49705"/>
                <a:gd name="connsiteX8" fmla="*/ 8658 w 53742"/>
                <a:gd name="connsiteY8" fmla="*/ 41503 h 49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2" h="49705">
                  <a:moveTo>
                    <a:pt x="8658" y="41503"/>
                  </a:moveTo>
                  <a:cubicBezTo>
                    <a:pt x="3190" y="36035"/>
                    <a:pt x="0" y="28744"/>
                    <a:pt x="0" y="20999"/>
                  </a:cubicBezTo>
                  <a:lnTo>
                    <a:pt x="0" y="20542"/>
                  </a:lnTo>
                  <a:cubicBezTo>
                    <a:pt x="0" y="12796"/>
                    <a:pt x="3190" y="5506"/>
                    <a:pt x="8658" y="38"/>
                  </a:cubicBezTo>
                  <a:lnTo>
                    <a:pt x="8747" y="0"/>
                  </a:lnTo>
                  <a:lnTo>
                    <a:pt x="53742" y="31189"/>
                  </a:lnTo>
                  <a:lnTo>
                    <a:pt x="49668" y="41048"/>
                  </a:lnTo>
                  <a:cubicBezTo>
                    <a:pt x="44200" y="46516"/>
                    <a:pt x="36909" y="49705"/>
                    <a:pt x="29162" y="49705"/>
                  </a:cubicBezTo>
                  <a:cubicBezTo>
                    <a:pt x="21416" y="49705"/>
                    <a:pt x="14126" y="46971"/>
                    <a:pt x="8658" y="415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7" name="Forme libre : forme 436">
              <a:extLst>
                <a:ext uri="{FF2B5EF4-FFF2-40B4-BE49-F238E27FC236}">
                  <a16:creationId xmlns:a16="http://schemas.microsoft.com/office/drawing/2014/main" id="{8DF09363-6B2B-44FC-9677-ED983FC9E371}"/>
                </a:ext>
              </a:extLst>
            </p:cNvPr>
            <p:cNvSpPr/>
            <p:nvPr/>
          </p:nvSpPr>
          <p:spPr>
            <a:xfrm rot="8716295">
              <a:off x="635497" y="4902607"/>
              <a:ext cx="203847" cy="195874"/>
            </a:xfrm>
            <a:custGeom>
              <a:avLst/>
              <a:gdLst>
                <a:gd name="connsiteX0" fmla="*/ 90709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203847 w 203847"/>
                <a:gd name="connsiteY5" fmla="*/ 0 h 195874"/>
                <a:gd name="connsiteX6" fmla="*/ 203847 w 203847"/>
                <a:gd name="connsiteY6" fmla="*/ 55323 h 195874"/>
                <a:gd name="connsiteX7" fmla="*/ 139055 w 203847"/>
                <a:gd name="connsiteY7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95874">
                  <a:moveTo>
                    <a:pt x="90709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8" name="Forme libre : forme 437">
              <a:extLst>
                <a:ext uri="{FF2B5EF4-FFF2-40B4-BE49-F238E27FC236}">
                  <a16:creationId xmlns:a16="http://schemas.microsoft.com/office/drawing/2014/main" id="{532437B6-4FB3-4387-A6A2-9CA74243FC9D}"/>
                </a:ext>
              </a:extLst>
            </p:cNvPr>
            <p:cNvSpPr/>
            <p:nvPr/>
          </p:nvSpPr>
          <p:spPr>
            <a:xfrm rot="8716295">
              <a:off x="627956" y="476391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9" name="Forme libre : forme 438">
              <a:extLst>
                <a:ext uri="{FF2B5EF4-FFF2-40B4-BE49-F238E27FC236}">
                  <a16:creationId xmlns:a16="http://schemas.microsoft.com/office/drawing/2014/main" id="{DC114E70-E891-401E-9C24-8619044C69DA}"/>
                </a:ext>
              </a:extLst>
            </p:cNvPr>
            <p:cNvSpPr/>
            <p:nvPr/>
          </p:nvSpPr>
          <p:spPr>
            <a:xfrm rot="8716295">
              <a:off x="1166244" y="477267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0" name="Forme libre : forme 439">
              <a:extLst>
                <a:ext uri="{FF2B5EF4-FFF2-40B4-BE49-F238E27FC236}">
                  <a16:creationId xmlns:a16="http://schemas.microsoft.com/office/drawing/2014/main" id="{1B83E310-81D3-4935-AA0D-87EA212E2F8C}"/>
                </a:ext>
              </a:extLst>
            </p:cNvPr>
            <p:cNvSpPr/>
            <p:nvPr/>
          </p:nvSpPr>
          <p:spPr>
            <a:xfrm rot="8716295">
              <a:off x="1255636" y="480191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1" name="Forme libre : forme 440">
              <a:extLst>
                <a:ext uri="{FF2B5EF4-FFF2-40B4-BE49-F238E27FC236}">
                  <a16:creationId xmlns:a16="http://schemas.microsoft.com/office/drawing/2014/main" id="{8A0A400D-6D17-4603-B756-25D5B32DB841}"/>
                </a:ext>
              </a:extLst>
            </p:cNvPr>
            <p:cNvSpPr/>
            <p:nvPr/>
          </p:nvSpPr>
          <p:spPr>
            <a:xfrm rot="8716295">
              <a:off x="1054010" y="486121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2" name="Forme libre : forme 441">
              <a:extLst>
                <a:ext uri="{FF2B5EF4-FFF2-40B4-BE49-F238E27FC236}">
                  <a16:creationId xmlns:a16="http://schemas.microsoft.com/office/drawing/2014/main" id="{A46C9B70-DE37-4964-9FA4-17387E1BA45F}"/>
                </a:ext>
              </a:extLst>
            </p:cNvPr>
            <p:cNvSpPr/>
            <p:nvPr/>
          </p:nvSpPr>
          <p:spPr>
            <a:xfrm rot="8716295">
              <a:off x="929108" y="465254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3" name="Forme libre : forme 442">
              <a:extLst>
                <a:ext uri="{FF2B5EF4-FFF2-40B4-BE49-F238E27FC236}">
                  <a16:creationId xmlns:a16="http://schemas.microsoft.com/office/drawing/2014/main" id="{B9F4170A-6E5B-49E4-8193-4286DEBE2EC9}"/>
                </a:ext>
              </a:extLst>
            </p:cNvPr>
            <p:cNvSpPr/>
            <p:nvPr/>
          </p:nvSpPr>
          <p:spPr>
            <a:xfrm rot="8716295">
              <a:off x="1144188" y="490216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4" name="Forme libre : forme 443">
              <a:extLst>
                <a:ext uri="{FF2B5EF4-FFF2-40B4-BE49-F238E27FC236}">
                  <a16:creationId xmlns:a16="http://schemas.microsoft.com/office/drawing/2014/main" id="{9F81EDCD-5E16-426F-9754-D2A37212C8FE}"/>
                </a:ext>
              </a:extLst>
            </p:cNvPr>
            <p:cNvSpPr/>
            <p:nvPr/>
          </p:nvSpPr>
          <p:spPr>
            <a:xfrm rot="8716295">
              <a:off x="902737" y="475256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5" name="Forme libre : forme 444">
              <a:extLst>
                <a:ext uri="{FF2B5EF4-FFF2-40B4-BE49-F238E27FC236}">
                  <a16:creationId xmlns:a16="http://schemas.microsoft.com/office/drawing/2014/main" id="{179F229D-2224-4467-8649-9DF965D65362}"/>
                </a:ext>
              </a:extLst>
            </p:cNvPr>
            <p:cNvSpPr/>
            <p:nvPr/>
          </p:nvSpPr>
          <p:spPr>
            <a:xfrm rot="7484129">
              <a:off x="1313689" y="5058219"/>
              <a:ext cx="97325" cy="159603"/>
            </a:xfrm>
            <a:custGeom>
              <a:avLst/>
              <a:gdLst>
                <a:gd name="connsiteX0" fmla="*/ 0 w 97325"/>
                <a:gd name="connsiteY0" fmla="*/ 19052 h 159603"/>
                <a:gd name="connsiteX1" fmla="*/ 0 w 97325"/>
                <a:gd name="connsiteY1" fmla="*/ 0 h 159603"/>
                <a:gd name="connsiteX2" fmla="*/ 13209 w 97325"/>
                <a:gd name="connsiteY2" fmla="*/ 19052 h 159603"/>
                <a:gd name="connsiteX3" fmla="*/ 90710 w 97325"/>
                <a:gd name="connsiteY3" fmla="*/ 159603 h 159603"/>
                <a:gd name="connsiteX4" fmla="*/ 47847 w 97325"/>
                <a:gd name="connsiteY4" fmla="*/ 79858 h 159603"/>
                <a:gd name="connsiteX5" fmla="*/ 50421 w 97325"/>
                <a:gd name="connsiteY5" fmla="*/ 72721 h 159603"/>
                <a:gd name="connsiteX6" fmla="*/ 97325 w 97325"/>
                <a:gd name="connsiteY6" fmla="*/ 140370 h 159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7325" h="159603">
                  <a:moveTo>
                    <a:pt x="0" y="19052"/>
                  </a:moveTo>
                  <a:lnTo>
                    <a:pt x="0" y="0"/>
                  </a:lnTo>
                  <a:lnTo>
                    <a:pt x="13209" y="19052"/>
                  </a:lnTo>
                  <a:close/>
                  <a:moveTo>
                    <a:pt x="90710" y="159603"/>
                  </a:moveTo>
                  <a:lnTo>
                    <a:pt x="47847" y="79858"/>
                  </a:lnTo>
                  <a:lnTo>
                    <a:pt x="50421" y="72721"/>
                  </a:lnTo>
                  <a:lnTo>
                    <a:pt x="97325" y="14037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6" name="Forme libre : forme 445">
              <a:extLst>
                <a:ext uri="{FF2B5EF4-FFF2-40B4-BE49-F238E27FC236}">
                  <a16:creationId xmlns:a16="http://schemas.microsoft.com/office/drawing/2014/main" id="{0DC6D2C5-5676-4685-B6C7-B0D9124302BA}"/>
                </a:ext>
              </a:extLst>
            </p:cNvPr>
            <p:cNvSpPr/>
            <p:nvPr/>
          </p:nvSpPr>
          <p:spPr>
            <a:xfrm rot="13089394">
              <a:off x="1435176" y="5064332"/>
              <a:ext cx="213297" cy="83320"/>
            </a:xfrm>
            <a:custGeom>
              <a:avLst/>
              <a:gdLst>
                <a:gd name="connsiteX0" fmla="*/ 213297 w 213297"/>
                <a:gd name="connsiteY0" fmla="*/ 12691 h 83320"/>
                <a:gd name="connsiteX1" fmla="*/ 32310 w 213297"/>
                <a:gd name="connsiteY1" fmla="*/ 83320 h 83320"/>
                <a:gd name="connsiteX2" fmla="*/ 0 w 213297"/>
                <a:gd name="connsiteY2" fmla="*/ 77753 h 83320"/>
                <a:gd name="connsiteX3" fmla="*/ 69926 w 213297"/>
                <a:gd name="connsiteY3" fmla="*/ 22813 h 83320"/>
                <a:gd name="connsiteX4" fmla="*/ 94662 w 213297"/>
                <a:gd name="connsiteY4" fmla="*/ 36418 h 83320"/>
                <a:gd name="connsiteX5" fmla="*/ 144323 w 213297"/>
                <a:gd name="connsiteY5" fmla="*/ 27589 h 83320"/>
                <a:gd name="connsiteX6" fmla="*/ 212193 w 213297"/>
                <a:gd name="connsiteY6" fmla="*/ 0 h 83320"/>
                <a:gd name="connsiteX7" fmla="*/ 213297 w 213297"/>
                <a:gd name="connsiteY7" fmla="*/ 7173 h 83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3297" h="83320">
                  <a:moveTo>
                    <a:pt x="213297" y="12691"/>
                  </a:moveTo>
                  <a:cubicBezTo>
                    <a:pt x="154807" y="62904"/>
                    <a:pt x="78108" y="80561"/>
                    <a:pt x="32310" y="83320"/>
                  </a:cubicBezTo>
                  <a:lnTo>
                    <a:pt x="0" y="77753"/>
                  </a:lnTo>
                  <a:lnTo>
                    <a:pt x="69926" y="22813"/>
                  </a:lnTo>
                  <a:lnTo>
                    <a:pt x="94662" y="36418"/>
                  </a:lnTo>
                  <a:cubicBezTo>
                    <a:pt x="111768" y="35866"/>
                    <a:pt x="128321" y="32555"/>
                    <a:pt x="144323" y="27589"/>
                  </a:cubicBezTo>
                  <a:cubicBezTo>
                    <a:pt x="167498" y="20416"/>
                    <a:pt x="190122" y="11036"/>
                    <a:pt x="212193" y="0"/>
                  </a:cubicBezTo>
                  <a:cubicBezTo>
                    <a:pt x="212745" y="2207"/>
                    <a:pt x="213297" y="4966"/>
                    <a:pt x="213297" y="71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7" name="Forme libre : forme 446">
              <a:extLst>
                <a:ext uri="{FF2B5EF4-FFF2-40B4-BE49-F238E27FC236}">
                  <a16:creationId xmlns:a16="http://schemas.microsoft.com/office/drawing/2014/main" id="{933D0F57-4827-4379-ADFC-4E442A7AA9F5}"/>
                </a:ext>
              </a:extLst>
            </p:cNvPr>
            <p:cNvSpPr/>
            <p:nvPr/>
          </p:nvSpPr>
          <p:spPr>
            <a:xfrm rot="8716295">
              <a:off x="1539524" y="486837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8" name="Forme libre : forme 447">
              <a:extLst>
                <a:ext uri="{FF2B5EF4-FFF2-40B4-BE49-F238E27FC236}">
                  <a16:creationId xmlns:a16="http://schemas.microsoft.com/office/drawing/2014/main" id="{F2B3C0A6-3119-4AF6-9904-83AA6D24B4D4}"/>
                </a:ext>
              </a:extLst>
            </p:cNvPr>
            <p:cNvSpPr/>
            <p:nvPr/>
          </p:nvSpPr>
          <p:spPr>
            <a:xfrm rot="8716295">
              <a:off x="1487719" y="476477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9" name="Forme libre : forme 448">
              <a:extLst>
                <a:ext uri="{FF2B5EF4-FFF2-40B4-BE49-F238E27FC236}">
                  <a16:creationId xmlns:a16="http://schemas.microsoft.com/office/drawing/2014/main" id="{A101E396-638E-4D53-9DD4-DFCEEB801BC5}"/>
                </a:ext>
              </a:extLst>
            </p:cNvPr>
            <p:cNvSpPr/>
            <p:nvPr/>
          </p:nvSpPr>
          <p:spPr>
            <a:xfrm rot="8716295">
              <a:off x="1244473" y="479499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0" name="Forme libre : forme 449">
              <a:extLst>
                <a:ext uri="{FF2B5EF4-FFF2-40B4-BE49-F238E27FC236}">
                  <a16:creationId xmlns:a16="http://schemas.microsoft.com/office/drawing/2014/main" id="{67402E49-E65F-45DA-8073-25DB882ECA1B}"/>
                </a:ext>
              </a:extLst>
            </p:cNvPr>
            <p:cNvSpPr/>
            <p:nvPr/>
          </p:nvSpPr>
          <p:spPr>
            <a:xfrm rot="8716295">
              <a:off x="1421925" y="463575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1" name="Forme libre : forme 450">
              <a:extLst>
                <a:ext uri="{FF2B5EF4-FFF2-40B4-BE49-F238E27FC236}">
                  <a16:creationId xmlns:a16="http://schemas.microsoft.com/office/drawing/2014/main" id="{4AD140D5-5D83-48BA-8FB5-0AE18019D236}"/>
                </a:ext>
              </a:extLst>
            </p:cNvPr>
            <p:cNvSpPr/>
            <p:nvPr/>
          </p:nvSpPr>
          <p:spPr>
            <a:xfrm rot="8716295">
              <a:off x="-3428" y="2405990"/>
              <a:ext cx="142167" cy="208592"/>
            </a:xfrm>
            <a:custGeom>
              <a:avLst/>
              <a:gdLst>
                <a:gd name="connsiteX0" fmla="*/ 81108 w 142167"/>
                <a:gd name="connsiteY0" fmla="*/ 208592 h 208592"/>
                <a:gd name="connsiteX1" fmla="*/ 81108 w 142167"/>
                <a:gd name="connsiteY1" fmla="*/ 69717 h 208592"/>
                <a:gd name="connsiteX2" fmla="*/ 81108 w 142167"/>
                <a:gd name="connsiteY2" fmla="*/ 65615 h 208592"/>
                <a:gd name="connsiteX3" fmla="*/ 60604 w 142167"/>
                <a:gd name="connsiteY3" fmla="*/ 50123 h 208592"/>
                <a:gd name="connsiteX4" fmla="*/ 0 w 142167"/>
                <a:gd name="connsiteY4" fmla="*/ 50123 h 208592"/>
                <a:gd name="connsiteX5" fmla="*/ 0 w 142167"/>
                <a:gd name="connsiteY5" fmla="*/ 0 h 208592"/>
                <a:gd name="connsiteX6" fmla="*/ 85210 w 142167"/>
                <a:gd name="connsiteY6" fmla="*/ 0 h 208592"/>
                <a:gd name="connsiteX7" fmla="*/ 142167 w 142167"/>
                <a:gd name="connsiteY7" fmla="*/ 50123 h 208592"/>
                <a:gd name="connsiteX8" fmla="*/ 142167 w 142167"/>
                <a:gd name="connsiteY8" fmla="*/ 120504 h 20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08592">
                  <a:moveTo>
                    <a:pt x="81108" y="208592"/>
                  </a:moveTo>
                  <a:lnTo>
                    <a:pt x="81108" y="69717"/>
                  </a:lnTo>
                  <a:cubicBezTo>
                    <a:pt x="81108" y="68350"/>
                    <a:pt x="81108" y="66983"/>
                    <a:pt x="81108" y="65615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10" y="0"/>
                  </a:lnTo>
                  <a:cubicBezTo>
                    <a:pt x="122118" y="0"/>
                    <a:pt x="142167" y="15948"/>
                    <a:pt x="142167" y="50123"/>
                  </a:cubicBezTo>
                  <a:lnTo>
                    <a:pt x="142167" y="1205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2" name="Forme libre : forme 451">
              <a:extLst>
                <a:ext uri="{FF2B5EF4-FFF2-40B4-BE49-F238E27FC236}">
                  <a16:creationId xmlns:a16="http://schemas.microsoft.com/office/drawing/2014/main" id="{2BA0993E-9FAB-4AEE-B83B-4CF3D7902044}"/>
                </a:ext>
              </a:extLst>
            </p:cNvPr>
            <p:cNvSpPr/>
            <p:nvPr/>
          </p:nvSpPr>
          <p:spPr>
            <a:xfrm rot="8716295">
              <a:off x="80015" y="241329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3" name="Forme libre : forme 452">
              <a:extLst>
                <a:ext uri="{FF2B5EF4-FFF2-40B4-BE49-F238E27FC236}">
                  <a16:creationId xmlns:a16="http://schemas.microsoft.com/office/drawing/2014/main" id="{CCF3EEA8-B3F9-461B-98BC-F35553672A96}"/>
                </a:ext>
              </a:extLst>
            </p:cNvPr>
            <p:cNvSpPr/>
            <p:nvPr/>
          </p:nvSpPr>
          <p:spPr>
            <a:xfrm rot="8716295">
              <a:off x="35165" y="232701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4" name="Forme libre : forme 453">
              <a:extLst>
                <a:ext uri="{FF2B5EF4-FFF2-40B4-BE49-F238E27FC236}">
                  <a16:creationId xmlns:a16="http://schemas.microsoft.com/office/drawing/2014/main" id="{7409E8F1-7A32-4862-9918-61EE35F1B801}"/>
                </a:ext>
              </a:extLst>
            </p:cNvPr>
            <p:cNvSpPr/>
            <p:nvPr/>
          </p:nvSpPr>
          <p:spPr>
            <a:xfrm rot="8716295">
              <a:off x="-20257" y="2217087"/>
              <a:ext cx="78731" cy="180665"/>
            </a:xfrm>
            <a:custGeom>
              <a:avLst/>
              <a:gdLst>
                <a:gd name="connsiteX0" fmla="*/ 0 w 78731"/>
                <a:gd name="connsiteY0" fmla="*/ 180665 h 180665"/>
                <a:gd name="connsiteX1" fmla="*/ 0 w 78731"/>
                <a:gd name="connsiteY1" fmla="*/ 40596 h 180665"/>
                <a:gd name="connsiteX2" fmla="*/ 78250 w 78731"/>
                <a:gd name="connsiteY2" fmla="*/ 0 h 180665"/>
                <a:gd name="connsiteX3" fmla="*/ 78731 w 78731"/>
                <a:gd name="connsiteY3" fmla="*/ 67083 h 180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731" h="180665">
                  <a:moveTo>
                    <a:pt x="0" y="180665"/>
                  </a:moveTo>
                  <a:lnTo>
                    <a:pt x="0" y="40596"/>
                  </a:lnTo>
                  <a:lnTo>
                    <a:pt x="78250" y="0"/>
                  </a:lnTo>
                  <a:lnTo>
                    <a:pt x="78731" y="670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5" name="Forme libre : forme 454">
              <a:extLst>
                <a:ext uri="{FF2B5EF4-FFF2-40B4-BE49-F238E27FC236}">
                  <a16:creationId xmlns:a16="http://schemas.microsoft.com/office/drawing/2014/main" id="{D1FF2FF9-6448-4826-95B6-0FAE856B0348}"/>
                </a:ext>
              </a:extLst>
            </p:cNvPr>
            <p:cNvSpPr/>
            <p:nvPr/>
          </p:nvSpPr>
          <p:spPr>
            <a:xfrm rot="8716295">
              <a:off x="-15341" y="2575209"/>
              <a:ext cx="103435" cy="152027"/>
            </a:xfrm>
            <a:custGeom>
              <a:avLst/>
              <a:gdLst>
                <a:gd name="connsiteX0" fmla="*/ 43288 w 103435"/>
                <a:gd name="connsiteY0" fmla="*/ 152027 h 152027"/>
                <a:gd name="connsiteX1" fmla="*/ 43288 w 103435"/>
                <a:gd name="connsiteY1" fmla="*/ 16404 h 152027"/>
                <a:gd name="connsiteX2" fmla="*/ 0 w 103435"/>
                <a:gd name="connsiteY2" fmla="*/ 16404 h 152027"/>
                <a:gd name="connsiteX3" fmla="*/ 0 w 103435"/>
                <a:gd name="connsiteY3" fmla="*/ 2278 h 152027"/>
                <a:gd name="connsiteX4" fmla="*/ 103435 w 103435"/>
                <a:gd name="connsiteY4" fmla="*/ 0 h 152027"/>
                <a:gd name="connsiteX5" fmla="*/ 103435 w 103435"/>
                <a:gd name="connsiteY5" fmla="*/ 65255 h 152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152027">
                  <a:moveTo>
                    <a:pt x="43288" y="152027"/>
                  </a:move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652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6" name="Forme libre : forme 455">
              <a:extLst>
                <a:ext uri="{FF2B5EF4-FFF2-40B4-BE49-F238E27FC236}">
                  <a16:creationId xmlns:a16="http://schemas.microsoft.com/office/drawing/2014/main" id="{D4422BA3-5FC8-407B-A01D-69AD0749DDD6}"/>
                </a:ext>
              </a:extLst>
            </p:cNvPr>
            <p:cNvSpPr/>
            <p:nvPr/>
          </p:nvSpPr>
          <p:spPr>
            <a:xfrm rot="8716295">
              <a:off x="279722" y="21339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7" name="Forme libre : forme 456">
              <a:extLst>
                <a:ext uri="{FF2B5EF4-FFF2-40B4-BE49-F238E27FC236}">
                  <a16:creationId xmlns:a16="http://schemas.microsoft.com/office/drawing/2014/main" id="{D39FDC20-561D-4627-BA38-506D7FCF7089}"/>
                </a:ext>
              </a:extLst>
            </p:cNvPr>
            <p:cNvSpPr/>
            <p:nvPr/>
          </p:nvSpPr>
          <p:spPr>
            <a:xfrm rot="8716295">
              <a:off x="369114" y="21631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8" name="Forme libre : forme 457">
              <a:extLst>
                <a:ext uri="{FF2B5EF4-FFF2-40B4-BE49-F238E27FC236}">
                  <a16:creationId xmlns:a16="http://schemas.microsoft.com/office/drawing/2014/main" id="{D14C1499-CA5F-496B-8BEC-69E04E19EA0D}"/>
                </a:ext>
              </a:extLst>
            </p:cNvPr>
            <p:cNvSpPr/>
            <p:nvPr/>
          </p:nvSpPr>
          <p:spPr>
            <a:xfrm rot="8716295">
              <a:off x="167488" y="22224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9" name="Forme libre : forme 458">
              <a:extLst>
                <a:ext uri="{FF2B5EF4-FFF2-40B4-BE49-F238E27FC236}">
                  <a16:creationId xmlns:a16="http://schemas.microsoft.com/office/drawing/2014/main" id="{193174EE-CFBC-438F-B1BB-D3ADA063388E}"/>
                </a:ext>
              </a:extLst>
            </p:cNvPr>
            <p:cNvSpPr/>
            <p:nvPr/>
          </p:nvSpPr>
          <p:spPr>
            <a:xfrm rot="8716295">
              <a:off x="42586" y="20137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0" name="Forme libre : forme 459">
              <a:extLst>
                <a:ext uri="{FF2B5EF4-FFF2-40B4-BE49-F238E27FC236}">
                  <a16:creationId xmlns:a16="http://schemas.microsoft.com/office/drawing/2014/main" id="{7E2244BC-364D-47B4-8B77-1ABDEF1DBB36}"/>
                </a:ext>
              </a:extLst>
            </p:cNvPr>
            <p:cNvSpPr/>
            <p:nvPr/>
          </p:nvSpPr>
          <p:spPr>
            <a:xfrm rot="8716295">
              <a:off x="257666" y="226339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1" name="Forme libre : forme 460">
              <a:extLst>
                <a:ext uri="{FF2B5EF4-FFF2-40B4-BE49-F238E27FC236}">
                  <a16:creationId xmlns:a16="http://schemas.microsoft.com/office/drawing/2014/main" id="{88E8FCAA-5A69-41AD-9BBF-E06402368569}"/>
                </a:ext>
              </a:extLst>
            </p:cNvPr>
            <p:cNvSpPr/>
            <p:nvPr/>
          </p:nvSpPr>
          <p:spPr>
            <a:xfrm rot="8716295">
              <a:off x="16215" y="211379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2" name="Forme libre : forme 461">
              <a:extLst>
                <a:ext uri="{FF2B5EF4-FFF2-40B4-BE49-F238E27FC236}">
                  <a16:creationId xmlns:a16="http://schemas.microsoft.com/office/drawing/2014/main" id="{2C0CE443-0100-47A6-BB72-6A7BBA3B084B}"/>
                </a:ext>
              </a:extLst>
            </p:cNvPr>
            <p:cNvSpPr/>
            <p:nvPr/>
          </p:nvSpPr>
          <p:spPr>
            <a:xfrm rot="7484129">
              <a:off x="362597" y="245474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3" name="Forme libre : forme 462">
              <a:extLst>
                <a:ext uri="{FF2B5EF4-FFF2-40B4-BE49-F238E27FC236}">
                  <a16:creationId xmlns:a16="http://schemas.microsoft.com/office/drawing/2014/main" id="{AE6C94D5-06F7-4134-9BDD-8703B8C3642E}"/>
                </a:ext>
              </a:extLst>
            </p:cNvPr>
            <p:cNvSpPr/>
            <p:nvPr/>
          </p:nvSpPr>
          <p:spPr>
            <a:xfrm rot="13089394">
              <a:off x="467417" y="242128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4" name="Forme libre : forme 463">
              <a:extLst>
                <a:ext uri="{FF2B5EF4-FFF2-40B4-BE49-F238E27FC236}">
                  <a16:creationId xmlns:a16="http://schemas.microsoft.com/office/drawing/2014/main" id="{90543D7D-143B-4ADD-B896-F2C09B360BC1}"/>
                </a:ext>
              </a:extLst>
            </p:cNvPr>
            <p:cNvSpPr/>
            <p:nvPr/>
          </p:nvSpPr>
          <p:spPr>
            <a:xfrm rot="8716295">
              <a:off x="653002" y="222960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5" name="Forme libre : forme 464">
              <a:extLst>
                <a:ext uri="{FF2B5EF4-FFF2-40B4-BE49-F238E27FC236}">
                  <a16:creationId xmlns:a16="http://schemas.microsoft.com/office/drawing/2014/main" id="{0A3F3F5B-79C0-41C7-8F17-B5752CC6E817}"/>
                </a:ext>
              </a:extLst>
            </p:cNvPr>
            <p:cNvSpPr/>
            <p:nvPr/>
          </p:nvSpPr>
          <p:spPr>
            <a:xfrm rot="8716295">
              <a:off x="601197" y="21260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6" name="Forme libre : forme 465">
              <a:extLst>
                <a:ext uri="{FF2B5EF4-FFF2-40B4-BE49-F238E27FC236}">
                  <a16:creationId xmlns:a16="http://schemas.microsoft.com/office/drawing/2014/main" id="{69D0AA2C-A5BB-4B7B-BB03-432400F6F2C5}"/>
                </a:ext>
              </a:extLst>
            </p:cNvPr>
            <p:cNvSpPr/>
            <p:nvPr/>
          </p:nvSpPr>
          <p:spPr>
            <a:xfrm rot="8716295">
              <a:off x="357951" y="21562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7" name="Forme libre : forme 466">
              <a:extLst>
                <a:ext uri="{FF2B5EF4-FFF2-40B4-BE49-F238E27FC236}">
                  <a16:creationId xmlns:a16="http://schemas.microsoft.com/office/drawing/2014/main" id="{82D68D60-D905-4F9D-9F1E-9018FDA856E2}"/>
                </a:ext>
              </a:extLst>
            </p:cNvPr>
            <p:cNvSpPr/>
            <p:nvPr/>
          </p:nvSpPr>
          <p:spPr>
            <a:xfrm rot="8716295">
              <a:off x="535403" y="199698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8" name="Forme libre : forme 467">
              <a:extLst>
                <a:ext uri="{FF2B5EF4-FFF2-40B4-BE49-F238E27FC236}">
                  <a16:creationId xmlns:a16="http://schemas.microsoft.com/office/drawing/2014/main" id="{E3253363-EB34-44DB-883A-13B6DE6143A2}"/>
                </a:ext>
              </a:extLst>
            </p:cNvPr>
            <p:cNvSpPr/>
            <p:nvPr/>
          </p:nvSpPr>
          <p:spPr>
            <a:xfrm rot="8716295">
              <a:off x="-76043" y="1768178"/>
              <a:ext cx="197178" cy="215049"/>
            </a:xfrm>
            <a:custGeom>
              <a:avLst/>
              <a:gdLst>
                <a:gd name="connsiteX0" fmla="*/ 51490 w 197178"/>
                <a:gd name="connsiteY0" fmla="*/ 215049 h 215049"/>
                <a:gd name="connsiteX1" fmla="*/ 51490 w 197178"/>
                <a:gd name="connsiteY1" fmla="*/ 45624 h 215049"/>
                <a:gd name="connsiteX2" fmla="*/ 0 w 197178"/>
                <a:gd name="connsiteY2" fmla="*/ 45624 h 215049"/>
                <a:gd name="connsiteX3" fmla="*/ 0 w 197178"/>
                <a:gd name="connsiteY3" fmla="*/ 1424 h 215049"/>
                <a:gd name="connsiteX4" fmla="*/ 104803 w 197178"/>
                <a:gd name="connsiteY4" fmla="*/ 1425 h 215049"/>
                <a:gd name="connsiteX5" fmla="*/ 104803 w 197178"/>
                <a:gd name="connsiteY5" fmla="*/ 75242 h 215049"/>
                <a:gd name="connsiteX6" fmla="*/ 106169 w 197178"/>
                <a:gd name="connsiteY6" fmla="*/ 75242 h 215049"/>
                <a:gd name="connsiteX7" fmla="*/ 154014 w 197178"/>
                <a:gd name="connsiteY7" fmla="*/ 5981 h 215049"/>
                <a:gd name="connsiteX8" fmla="*/ 185455 w 197178"/>
                <a:gd name="connsiteY8" fmla="*/ 57 h 215049"/>
                <a:gd name="connsiteX9" fmla="*/ 197178 w 197178"/>
                <a:gd name="connsiteY9" fmla="*/ 4872 h 215049"/>
                <a:gd name="connsiteX10" fmla="*/ 170795 w 197178"/>
                <a:gd name="connsiteY10" fmla="*/ 42934 h 215049"/>
                <a:gd name="connsiteX11" fmla="*/ 164950 w 197178"/>
                <a:gd name="connsiteY11" fmla="*/ 40156 h 215049"/>
                <a:gd name="connsiteX12" fmla="*/ 111638 w 197178"/>
                <a:gd name="connsiteY12" fmla="*/ 127643 h 215049"/>
                <a:gd name="connsiteX13" fmla="*/ 111638 w 197178"/>
                <a:gd name="connsiteY13" fmla="*/ 128277 h 21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178" h="215049">
                  <a:moveTo>
                    <a:pt x="51490" y="215049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4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lnTo>
                    <a:pt x="197178" y="4872"/>
                  </a:lnTo>
                  <a:lnTo>
                    <a:pt x="170795" y="42934"/>
                  </a:lnTo>
                  <a:lnTo>
                    <a:pt x="164950" y="40156"/>
                  </a:ln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1282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9" name="Forme libre : forme 468">
              <a:extLst>
                <a:ext uri="{FF2B5EF4-FFF2-40B4-BE49-F238E27FC236}">
                  <a16:creationId xmlns:a16="http://schemas.microsoft.com/office/drawing/2014/main" id="{13CAFE6B-0A3E-486D-8691-4D8C7920E841}"/>
                </a:ext>
              </a:extLst>
            </p:cNvPr>
            <p:cNvSpPr/>
            <p:nvPr/>
          </p:nvSpPr>
          <p:spPr>
            <a:xfrm rot="8716295">
              <a:off x="56555" y="14742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0" name="Forme libre : forme 469">
              <a:extLst>
                <a:ext uri="{FF2B5EF4-FFF2-40B4-BE49-F238E27FC236}">
                  <a16:creationId xmlns:a16="http://schemas.microsoft.com/office/drawing/2014/main" id="{AAF44C60-8776-4956-B0ED-2BB1FFCE9812}"/>
                </a:ext>
              </a:extLst>
            </p:cNvPr>
            <p:cNvSpPr/>
            <p:nvPr/>
          </p:nvSpPr>
          <p:spPr>
            <a:xfrm rot="8716295">
              <a:off x="145947" y="15034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1" name="Forme libre : forme 470">
              <a:extLst>
                <a:ext uri="{FF2B5EF4-FFF2-40B4-BE49-F238E27FC236}">
                  <a16:creationId xmlns:a16="http://schemas.microsoft.com/office/drawing/2014/main" id="{5A27D428-CE77-42C1-B8CA-3A227D5DF411}"/>
                </a:ext>
              </a:extLst>
            </p:cNvPr>
            <p:cNvSpPr/>
            <p:nvPr/>
          </p:nvSpPr>
          <p:spPr>
            <a:xfrm rot="8716295">
              <a:off x="-21870" y="1443501"/>
              <a:ext cx="68614" cy="55323"/>
            </a:xfrm>
            <a:custGeom>
              <a:avLst/>
              <a:gdLst>
                <a:gd name="connsiteX0" fmla="*/ 0 w 68614"/>
                <a:gd name="connsiteY0" fmla="*/ 55323 h 55323"/>
                <a:gd name="connsiteX1" fmla="*/ 0 w 68614"/>
                <a:gd name="connsiteY1" fmla="*/ 0 h 55323"/>
                <a:gd name="connsiteX2" fmla="*/ 68614 w 68614"/>
                <a:gd name="connsiteY2" fmla="*/ 0 h 55323"/>
                <a:gd name="connsiteX3" fmla="*/ 30266 w 68614"/>
                <a:gd name="connsiteY3" fmla="*/ 55323 h 55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614" h="55323">
                  <a:moveTo>
                    <a:pt x="0" y="55323"/>
                  </a:moveTo>
                  <a:lnTo>
                    <a:pt x="0" y="0"/>
                  </a:lnTo>
                  <a:lnTo>
                    <a:pt x="68614" y="0"/>
                  </a:lnTo>
                  <a:lnTo>
                    <a:pt x="30266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2" name="Forme libre : forme 471">
              <a:extLst>
                <a:ext uri="{FF2B5EF4-FFF2-40B4-BE49-F238E27FC236}">
                  <a16:creationId xmlns:a16="http://schemas.microsoft.com/office/drawing/2014/main" id="{DF9A3F72-B629-4ECA-8440-27AD7A8DC93E}"/>
                </a:ext>
              </a:extLst>
            </p:cNvPr>
            <p:cNvSpPr/>
            <p:nvPr/>
          </p:nvSpPr>
          <p:spPr>
            <a:xfrm rot="8716295">
              <a:off x="35817" y="1618109"/>
              <a:ext cx="103435" cy="203897"/>
            </a:xfrm>
            <a:custGeom>
              <a:avLst/>
              <a:gdLst>
                <a:gd name="connsiteX0" fmla="*/ 87556 w 103435"/>
                <a:gd name="connsiteY0" fmla="*/ 203897 h 203897"/>
                <a:gd name="connsiteX1" fmla="*/ 43288 w 103435"/>
                <a:gd name="connsiteY1" fmla="*/ 161305 h 203897"/>
                <a:gd name="connsiteX2" fmla="*/ 43288 w 103435"/>
                <a:gd name="connsiteY2" fmla="*/ 16404 h 203897"/>
                <a:gd name="connsiteX3" fmla="*/ 0 w 103435"/>
                <a:gd name="connsiteY3" fmla="*/ 16404 h 203897"/>
                <a:gd name="connsiteX4" fmla="*/ 0 w 103435"/>
                <a:gd name="connsiteY4" fmla="*/ 2278 h 203897"/>
                <a:gd name="connsiteX5" fmla="*/ 103435 w 103435"/>
                <a:gd name="connsiteY5" fmla="*/ 0 h 203897"/>
                <a:gd name="connsiteX6" fmla="*/ 103435 w 103435"/>
                <a:gd name="connsiteY6" fmla="*/ 180989 h 203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03897">
                  <a:moveTo>
                    <a:pt x="87556" y="203897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1809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3" name="Forme libre : forme 472">
              <a:extLst>
                <a:ext uri="{FF2B5EF4-FFF2-40B4-BE49-F238E27FC236}">
                  <a16:creationId xmlns:a16="http://schemas.microsoft.com/office/drawing/2014/main" id="{8E07B202-4136-4FA5-B44B-66518FBBBBA3}"/>
                </a:ext>
              </a:extLst>
            </p:cNvPr>
            <p:cNvSpPr/>
            <p:nvPr/>
          </p:nvSpPr>
          <p:spPr>
            <a:xfrm rot="7484129">
              <a:off x="139430" y="17950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4" name="Forme libre : forme 473">
              <a:extLst>
                <a:ext uri="{FF2B5EF4-FFF2-40B4-BE49-F238E27FC236}">
                  <a16:creationId xmlns:a16="http://schemas.microsoft.com/office/drawing/2014/main" id="{34554139-A9A2-4D5D-81E5-F4C0EE65204A}"/>
                </a:ext>
              </a:extLst>
            </p:cNvPr>
            <p:cNvSpPr/>
            <p:nvPr/>
          </p:nvSpPr>
          <p:spPr>
            <a:xfrm rot="13089394">
              <a:off x="244250" y="17615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5" name="Forme libre : forme 474">
              <a:extLst>
                <a:ext uri="{FF2B5EF4-FFF2-40B4-BE49-F238E27FC236}">
                  <a16:creationId xmlns:a16="http://schemas.microsoft.com/office/drawing/2014/main" id="{AB2F70AF-AA56-4CAD-ADF4-0833FC541883}"/>
                </a:ext>
              </a:extLst>
            </p:cNvPr>
            <p:cNvSpPr/>
            <p:nvPr/>
          </p:nvSpPr>
          <p:spPr>
            <a:xfrm rot="8716295">
              <a:off x="429835" y="15699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6" name="Forme libre : forme 475">
              <a:extLst>
                <a:ext uri="{FF2B5EF4-FFF2-40B4-BE49-F238E27FC236}">
                  <a16:creationId xmlns:a16="http://schemas.microsoft.com/office/drawing/2014/main" id="{75BBDF35-8448-40A6-BE33-7EEF756160B0}"/>
                </a:ext>
              </a:extLst>
            </p:cNvPr>
            <p:cNvSpPr/>
            <p:nvPr/>
          </p:nvSpPr>
          <p:spPr>
            <a:xfrm rot="8716295">
              <a:off x="378030" y="14663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7" name="Forme libre : forme 476">
              <a:extLst>
                <a:ext uri="{FF2B5EF4-FFF2-40B4-BE49-F238E27FC236}">
                  <a16:creationId xmlns:a16="http://schemas.microsoft.com/office/drawing/2014/main" id="{423A5D9B-DC1A-419A-9AFB-176F76ADBA77}"/>
                </a:ext>
              </a:extLst>
            </p:cNvPr>
            <p:cNvSpPr/>
            <p:nvPr/>
          </p:nvSpPr>
          <p:spPr>
            <a:xfrm rot="8716295">
              <a:off x="134784" y="14965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8" name="Forme libre : forme 477">
              <a:extLst>
                <a:ext uri="{FF2B5EF4-FFF2-40B4-BE49-F238E27FC236}">
                  <a16:creationId xmlns:a16="http://schemas.microsoft.com/office/drawing/2014/main" id="{09A04993-945B-4073-A4A3-49D8F429837D}"/>
                </a:ext>
              </a:extLst>
            </p:cNvPr>
            <p:cNvSpPr/>
            <p:nvPr/>
          </p:nvSpPr>
          <p:spPr>
            <a:xfrm rot="8716295">
              <a:off x="312236" y="13372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9" name="Forme libre : forme 478">
              <a:extLst>
                <a:ext uri="{FF2B5EF4-FFF2-40B4-BE49-F238E27FC236}">
                  <a16:creationId xmlns:a16="http://schemas.microsoft.com/office/drawing/2014/main" id="{F26589E4-0AEF-428F-8239-E3EDEF00E7E4}"/>
                </a:ext>
              </a:extLst>
            </p:cNvPr>
            <p:cNvSpPr/>
            <p:nvPr/>
          </p:nvSpPr>
          <p:spPr>
            <a:xfrm rot="8716295">
              <a:off x="-17798" y="949199"/>
              <a:ext cx="39526" cy="50123"/>
            </a:xfrm>
            <a:custGeom>
              <a:avLst/>
              <a:gdLst>
                <a:gd name="connsiteX0" fmla="*/ 0 w 39526"/>
                <a:gd name="connsiteY0" fmla="*/ 50123 h 50123"/>
                <a:gd name="connsiteX1" fmla="*/ 0 w 39526"/>
                <a:gd name="connsiteY1" fmla="*/ 0 h 50123"/>
                <a:gd name="connsiteX2" fmla="*/ 39526 w 39526"/>
                <a:gd name="connsiteY2" fmla="*/ 0 h 50123"/>
                <a:gd name="connsiteX3" fmla="*/ 4782 w 39526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26" h="50123">
                  <a:moveTo>
                    <a:pt x="0" y="50123"/>
                  </a:moveTo>
                  <a:lnTo>
                    <a:pt x="0" y="0"/>
                  </a:lnTo>
                  <a:lnTo>
                    <a:pt x="39526" y="0"/>
                  </a:lnTo>
                  <a:lnTo>
                    <a:pt x="4782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0" name="Forme libre : forme 479">
              <a:extLst>
                <a:ext uri="{FF2B5EF4-FFF2-40B4-BE49-F238E27FC236}">
                  <a16:creationId xmlns:a16="http://schemas.microsoft.com/office/drawing/2014/main" id="{4C4296DE-55F9-4C4A-97B0-A63397A7DF77}"/>
                </a:ext>
              </a:extLst>
            </p:cNvPr>
            <p:cNvSpPr/>
            <p:nvPr/>
          </p:nvSpPr>
          <p:spPr>
            <a:xfrm rot="8716295">
              <a:off x="-64996" y="834728"/>
              <a:ext cx="249650" cy="254774"/>
            </a:xfrm>
            <a:custGeom>
              <a:avLst/>
              <a:gdLst>
                <a:gd name="connsiteX0" fmla="*/ 51490 w 249650"/>
                <a:gd name="connsiteY0" fmla="*/ 254774 h 254774"/>
                <a:gd name="connsiteX1" fmla="*/ 51490 w 249650"/>
                <a:gd name="connsiteY1" fmla="*/ 45624 h 254774"/>
                <a:gd name="connsiteX2" fmla="*/ 0 w 249650"/>
                <a:gd name="connsiteY2" fmla="*/ 45624 h 254774"/>
                <a:gd name="connsiteX3" fmla="*/ 0 w 249650"/>
                <a:gd name="connsiteY3" fmla="*/ 1425 h 254774"/>
                <a:gd name="connsiteX4" fmla="*/ 104803 w 249650"/>
                <a:gd name="connsiteY4" fmla="*/ 1425 h 254774"/>
                <a:gd name="connsiteX5" fmla="*/ 104803 w 249650"/>
                <a:gd name="connsiteY5" fmla="*/ 75242 h 254774"/>
                <a:gd name="connsiteX6" fmla="*/ 106169 w 249650"/>
                <a:gd name="connsiteY6" fmla="*/ 75242 h 254774"/>
                <a:gd name="connsiteX7" fmla="*/ 154014 w 249650"/>
                <a:gd name="connsiteY7" fmla="*/ 5981 h 254774"/>
                <a:gd name="connsiteX8" fmla="*/ 185455 w 249650"/>
                <a:gd name="connsiteY8" fmla="*/ 57 h 254774"/>
                <a:gd name="connsiteX9" fmla="*/ 240647 w 249650"/>
                <a:gd name="connsiteY9" fmla="*/ 22727 h 254774"/>
                <a:gd name="connsiteX10" fmla="*/ 249650 w 249650"/>
                <a:gd name="connsiteY10" fmla="*/ 52327 h 254774"/>
                <a:gd name="connsiteX11" fmla="*/ 218795 w 249650"/>
                <a:gd name="connsiteY11" fmla="*/ 96841 h 254774"/>
                <a:gd name="connsiteX12" fmla="*/ 198669 w 249650"/>
                <a:gd name="connsiteY12" fmla="*/ 98025 h 254774"/>
                <a:gd name="connsiteX13" fmla="*/ 198669 w 249650"/>
                <a:gd name="connsiteY13" fmla="*/ 81621 h 254774"/>
                <a:gd name="connsiteX14" fmla="*/ 164950 w 249650"/>
                <a:gd name="connsiteY14" fmla="*/ 40156 h 254774"/>
                <a:gd name="connsiteX15" fmla="*/ 111638 w 249650"/>
                <a:gd name="connsiteY15" fmla="*/ 127643 h 254774"/>
                <a:gd name="connsiteX16" fmla="*/ 111638 w 249650"/>
                <a:gd name="connsiteY16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9650" h="254774">
                  <a:moveTo>
                    <a:pt x="51490" y="254774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08922" y="-398"/>
                    <a:pt x="227718" y="7576"/>
                    <a:pt x="240647" y="22727"/>
                  </a:cubicBezTo>
                  <a:lnTo>
                    <a:pt x="249650" y="52327"/>
                  </a:lnTo>
                  <a:lnTo>
                    <a:pt x="218795" y="96841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1" name="Forme libre : forme 480">
              <a:extLst>
                <a:ext uri="{FF2B5EF4-FFF2-40B4-BE49-F238E27FC236}">
                  <a16:creationId xmlns:a16="http://schemas.microsoft.com/office/drawing/2014/main" id="{5A2819AD-E741-4041-ACED-C828CEF01D2A}"/>
                </a:ext>
              </a:extLst>
            </p:cNvPr>
            <p:cNvSpPr/>
            <p:nvPr/>
          </p:nvSpPr>
          <p:spPr>
            <a:xfrm rot="7484129">
              <a:off x="-63314" y="1172497"/>
              <a:ext cx="203848" cy="146395"/>
            </a:xfrm>
            <a:custGeom>
              <a:avLst/>
              <a:gdLst>
                <a:gd name="connsiteX0" fmla="*/ 0 w 203848"/>
                <a:gd name="connsiteY0" fmla="*/ 55323 h 146395"/>
                <a:gd name="connsiteX1" fmla="*/ 0 w 203848"/>
                <a:gd name="connsiteY1" fmla="*/ 0 h 146395"/>
                <a:gd name="connsiteX2" fmla="*/ 203848 w 203848"/>
                <a:gd name="connsiteY2" fmla="*/ 0 h 146395"/>
                <a:gd name="connsiteX3" fmla="*/ 203847 w 203848"/>
                <a:gd name="connsiteY3" fmla="*/ 49512 h 146395"/>
                <a:gd name="connsiteX4" fmla="*/ 195466 w 203848"/>
                <a:gd name="connsiteY4" fmla="*/ 55323 h 146395"/>
                <a:gd name="connsiteX5" fmla="*/ 139055 w 203848"/>
                <a:gd name="connsiteY5" fmla="*/ 55323 h 146395"/>
                <a:gd name="connsiteX6" fmla="*/ 121388 w 203848"/>
                <a:gd name="connsiteY6" fmla="*/ 106685 h 146395"/>
                <a:gd name="connsiteX7" fmla="*/ 64115 w 203848"/>
                <a:gd name="connsiteY7" fmla="*/ 146395 h 146395"/>
                <a:gd name="connsiteX8" fmla="*/ 47847 w 203848"/>
                <a:gd name="connsiteY8" fmla="*/ 116129 h 146395"/>
                <a:gd name="connsiteX9" fmla="*/ 69777 w 203848"/>
                <a:gd name="connsiteY9" fmla="*/ 55323 h 146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848" h="146395">
                  <a:moveTo>
                    <a:pt x="0" y="55323"/>
                  </a:moveTo>
                  <a:lnTo>
                    <a:pt x="0" y="0"/>
                  </a:lnTo>
                  <a:lnTo>
                    <a:pt x="203848" y="0"/>
                  </a:lnTo>
                  <a:lnTo>
                    <a:pt x="203847" y="49512"/>
                  </a:lnTo>
                  <a:lnTo>
                    <a:pt x="195466" y="55323"/>
                  </a:lnTo>
                  <a:lnTo>
                    <a:pt x="139055" y="55323"/>
                  </a:lnTo>
                  <a:lnTo>
                    <a:pt x="121388" y="106685"/>
                  </a:lnTo>
                  <a:lnTo>
                    <a:pt x="64115" y="146395"/>
                  </a:lnTo>
                  <a:lnTo>
                    <a:pt x="47847" y="116129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2" name="Forme libre : forme 481">
              <a:extLst>
                <a:ext uri="{FF2B5EF4-FFF2-40B4-BE49-F238E27FC236}">
                  <a16:creationId xmlns:a16="http://schemas.microsoft.com/office/drawing/2014/main" id="{BF19A776-F6DB-4B5F-AAC3-71AD58912554}"/>
                </a:ext>
              </a:extLst>
            </p:cNvPr>
            <p:cNvSpPr/>
            <p:nvPr/>
          </p:nvSpPr>
          <p:spPr>
            <a:xfrm rot="13089394">
              <a:off x="25311" y="109952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3" name="Forme libre : forme 482">
              <a:extLst>
                <a:ext uri="{FF2B5EF4-FFF2-40B4-BE49-F238E27FC236}">
                  <a16:creationId xmlns:a16="http://schemas.microsoft.com/office/drawing/2014/main" id="{1F910699-3B12-45BE-B517-E2166075FFC7}"/>
                </a:ext>
              </a:extLst>
            </p:cNvPr>
            <p:cNvSpPr/>
            <p:nvPr/>
          </p:nvSpPr>
          <p:spPr>
            <a:xfrm rot="8716295">
              <a:off x="210896" y="90784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4" name="Forme libre : forme 483">
              <a:extLst>
                <a:ext uri="{FF2B5EF4-FFF2-40B4-BE49-F238E27FC236}">
                  <a16:creationId xmlns:a16="http://schemas.microsoft.com/office/drawing/2014/main" id="{A819C2A4-F35F-43E8-9AB1-07103AECD990}"/>
                </a:ext>
              </a:extLst>
            </p:cNvPr>
            <p:cNvSpPr/>
            <p:nvPr/>
          </p:nvSpPr>
          <p:spPr>
            <a:xfrm rot="8716295">
              <a:off x="159091" y="80425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5" name="Forme libre : forme 484">
              <a:extLst>
                <a:ext uri="{FF2B5EF4-FFF2-40B4-BE49-F238E27FC236}">
                  <a16:creationId xmlns:a16="http://schemas.microsoft.com/office/drawing/2014/main" id="{F748C402-EDBB-4B63-B49E-2F4080A37ADD}"/>
                </a:ext>
              </a:extLst>
            </p:cNvPr>
            <p:cNvSpPr/>
            <p:nvPr/>
          </p:nvSpPr>
          <p:spPr>
            <a:xfrm rot="8716295">
              <a:off x="93297" y="67523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6" name="Forme libre : forme 485">
              <a:extLst>
                <a:ext uri="{FF2B5EF4-FFF2-40B4-BE49-F238E27FC236}">
                  <a16:creationId xmlns:a16="http://schemas.microsoft.com/office/drawing/2014/main" id="{73609A63-0E69-42A0-8437-604DF28699ED}"/>
                </a:ext>
              </a:extLst>
            </p:cNvPr>
            <p:cNvSpPr/>
            <p:nvPr/>
          </p:nvSpPr>
          <p:spPr>
            <a:xfrm rot="8716295">
              <a:off x="-7001" y="316701"/>
              <a:ext cx="14001" cy="20198"/>
            </a:xfrm>
            <a:custGeom>
              <a:avLst/>
              <a:gdLst>
                <a:gd name="connsiteX0" fmla="*/ 0 w 14001"/>
                <a:gd name="connsiteY0" fmla="*/ 20198 h 20198"/>
                <a:gd name="connsiteX1" fmla="*/ 0 w 14001"/>
                <a:gd name="connsiteY1" fmla="*/ 0 h 20198"/>
                <a:gd name="connsiteX2" fmla="*/ 14001 w 14001"/>
                <a:gd name="connsiteY2" fmla="*/ 0 h 2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01" h="20198">
                  <a:moveTo>
                    <a:pt x="0" y="20198"/>
                  </a:moveTo>
                  <a:lnTo>
                    <a:pt x="0" y="0"/>
                  </a:lnTo>
                  <a:lnTo>
                    <a:pt x="1400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7" name="Forme libre : forme 486">
              <a:extLst>
                <a:ext uri="{FF2B5EF4-FFF2-40B4-BE49-F238E27FC236}">
                  <a16:creationId xmlns:a16="http://schemas.microsoft.com/office/drawing/2014/main" id="{577CC5F5-15C9-4008-90A0-668217098FFB}"/>
                </a:ext>
              </a:extLst>
            </p:cNvPr>
            <p:cNvSpPr/>
            <p:nvPr/>
          </p:nvSpPr>
          <p:spPr>
            <a:xfrm rot="13089394">
              <a:off x="-81658" y="472652"/>
              <a:ext cx="173631" cy="237684"/>
            </a:xfrm>
            <a:custGeom>
              <a:avLst/>
              <a:gdLst>
                <a:gd name="connsiteX0" fmla="*/ 173631 w 173631"/>
                <a:gd name="connsiteY0" fmla="*/ 220990 h 237684"/>
                <a:gd name="connsiteX1" fmla="*/ 130972 w 173631"/>
                <a:gd name="connsiteY1" fmla="*/ 232382 h 237684"/>
                <a:gd name="connsiteX2" fmla="*/ 91597 w 173631"/>
                <a:gd name="connsiteY2" fmla="*/ 237521 h 237684"/>
                <a:gd name="connsiteX3" fmla="*/ 23727 w 173631"/>
                <a:gd name="connsiteY3" fmla="*/ 209931 h 237684"/>
                <a:gd name="connsiteX4" fmla="*/ 0 w 173631"/>
                <a:gd name="connsiteY4" fmla="*/ 115023 h 237684"/>
                <a:gd name="connsiteX5" fmla="*/ 0 w 173631"/>
                <a:gd name="connsiteY5" fmla="*/ 0 h 237684"/>
                <a:gd name="connsiteX6" fmla="*/ 76176 w 173631"/>
                <a:gd name="connsiteY6" fmla="*/ 96953 h 237684"/>
                <a:gd name="connsiteX7" fmla="*/ 76768 w 173631"/>
                <a:gd name="connsiteY7" fmla="*/ 109023 h 237684"/>
                <a:gd name="connsiteX8" fmla="*/ 87734 w 173631"/>
                <a:gd name="connsiteY8" fmla="*/ 154201 h 237684"/>
                <a:gd name="connsiteX9" fmla="*/ 111117 w 173631"/>
                <a:gd name="connsiteY9" fmla="*/ 181514 h 237684"/>
                <a:gd name="connsiteX10" fmla="*/ 148930 w 173631"/>
                <a:gd name="connsiteY10" fmla="*/ 189552 h 237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3631" h="237684">
                  <a:moveTo>
                    <a:pt x="173631" y="220990"/>
                  </a:moveTo>
                  <a:lnTo>
                    <a:pt x="130972" y="232382"/>
                  </a:lnTo>
                  <a:cubicBezTo>
                    <a:pt x="116428" y="235210"/>
                    <a:pt x="103047" y="236831"/>
                    <a:pt x="91597" y="237521"/>
                  </a:cubicBezTo>
                  <a:cubicBezTo>
                    <a:pt x="66215" y="239176"/>
                    <a:pt x="41384" y="228141"/>
                    <a:pt x="23727" y="209931"/>
                  </a:cubicBezTo>
                  <a:cubicBezTo>
                    <a:pt x="4966" y="191722"/>
                    <a:pt x="0" y="160270"/>
                    <a:pt x="0" y="115023"/>
                  </a:cubicBezTo>
                  <a:lnTo>
                    <a:pt x="0" y="0"/>
                  </a:lnTo>
                  <a:lnTo>
                    <a:pt x="76176" y="96953"/>
                  </a:lnTo>
                  <a:lnTo>
                    <a:pt x="76768" y="109023"/>
                  </a:lnTo>
                  <a:cubicBezTo>
                    <a:pt x="79044" y="124404"/>
                    <a:pt x="82768" y="139578"/>
                    <a:pt x="87734" y="154201"/>
                  </a:cubicBezTo>
                  <a:cubicBezTo>
                    <a:pt x="92149" y="166340"/>
                    <a:pt x="100012" y="175445"/>
                    <a:pt x="111117" y="181514"/>
                  </a:cubicBezTo>
                  <a:lnTo>
                    <a:pt x="148930" y="1895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8" name="Forme libre : forme 487">
              <a:extLst>
                <a:ext uri="{FF2B5EF4-FFF2-40B4-BE49-F238E27FC236}">
                  <a16:creationId xmlns:a16="http://schemas.microsoft.com/office/drawing/2014/main" id="{E64C5A14-C3CC-4B02-838F-FD1CD7D882CB}"/>
                </a:ext>
              </a:extLst>
            </p:cNvPr>
            <p:cNvSpPr/>
            <p:nvPr/>
          </p:nvSpPr>
          <p:spPr>
            <a:xfrm rot="8716295">
              <a:off x="-11774" y="24443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9" name="Forme libre : forme 488">
              <a:extLst>
                <a:ext uri="{FF2B5EF4-FFF2-40B4-BE49-F238E27FC236}">
                  <a16:creationId xmlns:a16="http://schemas.microsoft.com/office/drawing/2014/main" id="{26383EB6-3CD6-4688-B5B2-AB6D6EF7025D}"/>
                </a:ext>
              </a:extLst>
            </p:cNvPr>
            <p:cNvSpPr/>
            <p:nvPr/>
          </p:nvSpPr>
          <p:spPr>
            <a:xfrm rot="8716295">
              <a:off x="-30092" y="143486"/>
              <a:ext cx="77721" cy="97260"/>
            </a:xfrm>
            <a:custGeom>
              <a:avLst/>
              <a:gdLst>
                <a:gd name="connsiteX0" fmla="*/ 15821 w 77721"/>
                <a:gd name="connsiteY0" fmla="*/ 97260 h 97260"/>
                <a:gd name="connsiteX1" fmla="*/ 0 w 77721"/>
                <a:gd name="connsiteY1" fmla="*/ 59790 h 97260"/>
                <a:gd name="connsiteX2" fmla="*/ 0 w 77721"/>
                <a:gd name="connsiteY2" fmla="*/ 58869 h 97260"/>
                <a:gd name="connsiteX3" fmla="*/ 17477 w 77721"/>
                <a:gd name="connsiteY3" fmla="*/ 17477 h 97260"/>
                <a:gd name="connsiteX4" fmla="*/ 58869 w 77721"/>
                <a:gd name="connsiteY4" fmla="*/ 0 h 97260"/>
                <a:gd name="connsiteX5" fmla="*/ 77721 w 77721"/>
                <a:gd name="connsiteY5" fmla="*/ 7960 h 97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721" h="97260">
                  <a:moveTo>
                    <a:pt x="15821" y="97260"/>
                  </a:moveTo>
                  <a:lnTo>
                    <a:pt x="0" y="59790"/>
                  </a:ln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lnTo>
                    <a:pt x="77721" y="79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0" name="Forme libre : forme 489">
              <a:extLst>
                <a:ext uri="{FF2B5EF4-FFF2-40B4-BE49-F238E27FC236}">
                  <a16:creationId xmlns:a16="http://schemas.microsoft.com/office/drawing/2014/main" id="{6537CDA1-2216-4877-A848-A93D1F552A9D}"/>
                </a:ext>
              </a:extLst>
            </p:cNvPr>
            <p:cNvSpPr/>
            <p:nvPr/>
          </p:nvSpPr>
          <p:spPr>
            <a:xfrm rot="8716295">
              <a:off x="-17797" y="3452694"/>
              <a:ext cx="58455" cy="44199"/>
            </a:xfrm>
            <a:custGeom>
              <a:avLst/>
              <a:gdLst>
                <a:gd name="connsiteX0" fmla="*/ 0 w 58455"/>
                <a:gd name="connsiteY0" fmla="*/ 44199 h 44199"/>
                <a:gd name="connsiteX1" fmla="*/ 0 w 58455"/>
                <a:gd name="connsiteY1" fmla="*/ 0 h 44199"/>
                <a:gd name="connsiteX2" fmla="*/ 58455 w 58455"/>
                <a:gd name="connsiteY2" fmla="*/ 0 h 44199"/>
                <a:gd name="connsiteX3" fmla="*/ 27817 w 58455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55" h="44199">
                  <a:moveTo>
                    <a:pt x="0" y="44199"/>
                  </a:moveTo>
                  <a:lnTo>
                    <a:pt x="0" y="0"/>
                  </a:lnTo>
                  <a:lnTo>
                    <a:pt x="58455" y="0"/>
                  </a:lnTo>
                  <a:lnTo>
                    <a:pt x="27817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1" name="Forme libre : forme 490">
              <a:extLst>
                <a:ext uri="{FF2B5EF4-FFF2-40B4-BE49-F238E27FC236}">
                  <a16:creationId xmlns:a16="http://schemas.microsoft.com/office/drawing/2014/main" id="{215CC3B1-8089-4D43-97B0-1819B833BE19}"/>
                </a:ext>
              </a:extLst>
            </p:cNvPr>
            <p:cNvSpPr/>
            <p:nvPr/>
          </p:nvSpPr>
          <p:spPr>
            <a:xfrm rot="13089394">
              <a:off x="-91485" y="3601812"/>
              <a:ext cx="206527" cy="292654"/>
            </a:xfrm>
            <a:custGeom>
              <a:avLst/>
              <a:gdLst>
                <a:gd name="connsiteX0" fmla="*/ 206527 w 206527"/>
                <a:gd name="connsiteY0" fmla="*/ 258693 h 292654"/>
                <a:gd name="connsiteX1" fmla="*/ 177331 w 206527"/>
                <a:gd name="connsiteY1" fmla="*/ 274971 h 292654"/>
                <a:gd name="connsiteX2" fmla="*/ 91597 w 206527"/>
                <a:gd name="connsiteY2" fmla="*/ 292491 h 292654"/>
                <a:gd name="connsiteX3" fmla="*/ 23727 w 206527"/>
                <a:gd name="connsiteY3" fmla="*/ 264901 h 292654"/>
                <a:gd name="connsiteX4" fmla="*/ 0 w 206527"/>
                <a:gd name="connsiteY4" fmla="*/ 169993 h 292654"/>
                <a:gd name="connsiteX5" fmla="*/ 0 w 206527"/>
                <a:gd name="connsiteY5" fmla="*/ 1698 h 292654"/>
                <a:gd name="connsiteX6" fmla="*/ 3273 w 206527"/>
                <a:gd name="connsiteY6" fmla="*/ 0 h 292654"/>
                <a:gd name="connsiteX7" fmla="*/ 74297 w 206527"/>
                <a:gd name="connsiteY7" fmla="*/ 90396 h 292654"/>
                <a:gd name="connsiteX8" fmla="*/ 74492 w 206527"/>
                <a:gd name="connsiteY8" fmla="*/ 117574 h 292654"/>
                <a:gd name="connsiteX9" fmla="*/ 87734 w 206527"/>
                <a:gd name="connsiteY9" fmla="*/ 209171 h 292654"/>
                <a:gd name="connsiteX10" fmla="*/ 153949 w 206527"/>
                <a:gd name="connsiteY10" fmla="*/ 245589 h 292654"/>
                <a:gd name="connsiteX11" fmla="*/ 191049 w 206527"/>
                <a:gd name="connsiteY11" fmla="*/ 238993 h 292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527" h="292654">
                  <a:moveTo>
                    <a:pt x="206527" y="258693"/>
                  </a:moveTo>
                  <a:lnTo>
                    <a:pt x="177331" y="274971"/>
                  </a:lnTo>
                  <a:cubicBezTo>
                    <a:pt x="145121" y="286007"/>
                    <a:pt x="114496" y="291111"/>
                    <a:pt x="91597" y="292491"/>
                  </a:cubicBezTo>
                  <a:cubicBezTo>
                    <a:pt x="66215" y="294146"/>
                    <a:pt x="41385" y="283111"/>
                    <a:pt x="23727" y="264901"/>
                  </a:cubicBezTo>
                  <a:cubicBezTo>
                    <a:pt x="4966" y="246692"/>
                    <a:pt x="0" y="215240"/>
                    <a:pt x="0" y="169993"/>
                  </a:cubicBezTo>
                  <a:lnTo>
                    <a:pt x="0" y="1698"/>
                  </a:lnTo>
                  <a:lnTo>
                    <a:pt x="3273" y="0"/>
                  </a:lnTo>
                  <a:lnTo>
                    <a:pt x="74297" y="90396"/>
                  </a:lnTo>
                  <a:lnTo>
                    <a:pt x="74492" y="117574"/>
                  </a:lnTo>
                  <a:cubicBezTo>
                    <a:pt x="72836" y="148474"/>
                    <a:pt x="77802" y="179926"/>
                    <a:pt x="87734" y="209171"/>
                  </a:cubicBezTo>
                  <a:cubicBezTo>
                    <a:pt x="96564" y="233450"/>
                    <a:pt x="119187" y="245589"/>
                    <a:pt x="153949" y="245589"/>
                  </a:cubicBezTo>
                  <a:lnTo>
                    <a:pt x="191049" y="2389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2" name="Forme libre : forme 491">
              <a:extLst>
                <a:ext uri="{FF2B5EF4-FFF2-40B4-BE49-F238E27FC236}">
                  <a16:creationId xmlns:a16="http://schemas.microsoft.com/office/drawing/2014/main" id="{234A14C5-DCBF-4B3D-8912-C2966FB8FAA0}"/>
                </a:ext>
              </a:extLst>
            </p:cNvPr>
            <p:cNvSpPr/>
            <p:nvPr/>
          </p:nvSpPr>
          <p:spPr>
            <a:xfrm rot="8716295">
              <a:off x="24761" y="33896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3" name="Forme libre : forme 492">
              <a:extLst>
                <a:ext uri="{FF2B5EF4-FFF2-40B4-BE49-F238E27FC236}">
                  <a16:creationId xmlns:a16="http://schemas.microsoft.com/office/drawing/2014/main" id="{A8F20E36-ED7E-4DCB-8818-49A4A7E98BE7}"/>
                </a:ext>
              </a:extLst>
            </p:cNvPr>
            <p:cNvSpPr/>
            <p:nvPr/>
          </p:nvSpPr>
          <p:spPr>
            <a:xfrm rot="8716295">
              <a:off x="-24047" y="3281741"/>
              <a:ext cx="106042" cy="113733"/>
            </a:xfrm>
            <a:custGeom>
              <a:avLst/>
              <a:gdLst>
                <a:gd name="connsiteX0" fmla="*/ 17477 w 106042"/>
                <a:gd name="connsiteY0" fmla="*/ 101182 h 113733"/>
                <a:gd name="connsiteX1" fmla="*/ 0 w 106042"/>
                <a:gd name="connsiteY1" fmla="*/ 59790 h 113733"/>
                <a:gd name="connsiteX2" fmla="*/ 0 w 106042"/>
                <a:gd name="connsiteY2" fmla="*/ 58869 h 113733"/>
                <a:gd name="connsiteX3" fmla="*/ 17477 w 106042"/>
                <a:gd name="connsiteY3" fmla="*/ 17477 h 113733"/>
                <a:gd name="connsiteX4" fmla="*/ 58869 w 106042"/>
                <a:gd name="connsiteY4" fmla="*/ 0 h 113733"/>
                <a:gd name="connsiteX5" fmla="*/ 100262 w 106042"/>
                <a:gd name="connsiteY5" fmla="*/ 17477 h 113733"/>
                <a:gd name="connsiteX6" fmla="*/ 106042 w 106042"/>
                <a:gd name="connsiteY6" fmla="*/ 31234 h 113733"/>
                <a:gd name="connsiteX7" fmla="*/ 48856 w 106042"/>
                <a:gd name="connsiteY7" fmla="*/ 113733 h 11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042" h="113733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cubicBezTo>
                    <a:pt x="74507" y="0"/>
                    <a:pt x="89224" y="6439"/>
                    <a:pt x="100262" y="17477"/>
                  </a:cubicBezTo>
                  <a:lnTo>
                    <a:pt x="106042" y="31234"/>
                  </a:lnTo>
                  <a:lnTo>
                    <a:pt x="48856" y="1137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4" name="Forme libre : forme 493">
              <a:extLst>
                <a:ext uri="{FF2B5EF4-FFF2-40B4-BE49-F238E27FC236}">
                  <a16:creationId xmlns:a16="http://schemas.microsoft.com/office/drawing/2014/main" id="{521798C9-8778-477C-89ED-433CF02349E9}"/>
                </a:ext>
              </a:extLst>
            </p:cNvPr>
            <p:cNvSpPr/>
            <p:nvPr/>
          </p:nvSpPr>
          <p:spPr>
            <a:xfrm rot="8716295">
              <a:off x="-21924" y="3179872"/>
              <a:ext cx="45776" cy="62656"/>
            </a:xfrm>
            <a:custGeom>
              <a:avLst/>
              <a:gdLst>
                <a:gd name="connsiteX0" fmla="*/ 2345 w 45776"/>
                <a:gd name="connsiteY0" fmla="*/ 62656 h 62656"/>
                <a:gd name="connsiteX1" fmla="*/ 0 w 45776"/>
                <a:gd name="connsiteY1" fmla="*/ 57104 h 62656"/>
                <a:gd name="connsiteX2" fmla="*/ 0 w 45776"/>
                <a:gd name="connsiteY2" fmla="*/ 56183 h 62656"/>
                <a:gd name="connsiteX3" fmla="*/ 17477 w 45776"/>
                <a:gd name="connsiteY3" fmla="*/ 14791 h 62656"/>
                <a:gd name="connsiteX4" fmla="*/ 36449 w 45776"/>
                <a:gd name="connsiteY4" fmla="*/ 1913 h 62656"/>
                <a:gd name="connsiteX5" fmla="*/ 45776 w 45776"/>
                <a:gd name="connsiteY5" fmla="*/ 0 h 62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776" h="62656">
                  <a:moveTo>
                    <a:pt x="2345" y="62656"/>
                  </a:moveTo>
                  <a:lnTo>
                    <a:pt x="0" y="57104"/>
                  </a:lnTo>
                  <a:lnTo>
                    <a:pt x="0" y="56183"/>
                  </a:lnTo>
                  <a:cubicBezTo>
                    <a:pt x="0" y="40547"/>
                    <a:pt x="6439" y="25829"/>
                    <a:pt x="17477" y="14791"/>
                  </a:cubicBezTo>
                  <a:cubicBezTo>
                    <a:pt x="22996" y="9272"/>
                    <a:pt x="29435" y="4903"/>
                    <a:pt x="36449" y="1913"/>
                  </a:cubicBezTo>
                  <a:lnTo>
                    <a:pt x="4577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5" name="Forme libre : forme 494">
              <a:extLst>
                <a:ext uri="{FF2B5EF4-FFF2-40B4-BE49-F238E27FC236}">
                  <a16:creationId xmlns:a16="http://schemas.microsoft.com/office/drawing/2014/main" id="{BB8A2107-7C61-4B85-8EFA-ABA59720E5DB}"/>
                </a:ext>
              </a:extLst>
            </p:cNvPr>
            <p:cNvSpPr/>
            <p:nvPr/>
          </p:nvSpPr>
          <p:spPr>
            <a:xfrm rot="8716295">
              <a:off x="592036" y="5123131"/>
              <a:ext cx="56900" cy="40151"/>
            </a:xfrm>
            <a:custGeom>
              <a:avLst/>
              <a:gdLst>
                <a:gd name="connsiteX0" fmla="*/ 13826 w 56900"/>
                <a:gd name="connsiteY0" fmla="*/ 23593 h 40151"/>
                <a:gd name="connsiteX1" fmla="*/ 948 w 56900"/>
                <a:gd name="connsiteY1" fmla="*/ 4622 h 40151"/>
                <a:gd name="connsiteX2" fmla="*/ 0 w 56900"/>
                <a:gd name="connsiteY2" fmla="*/ 0 h 40151"/>
                <a:gd name="connsiteX3" fmla="*/ 56900 w 56900"/>
                <a:gd name="connsiteY3" fmla="*/ 39441 h 40151"/>
                <a:gd name="connsiteX4" fmla="*/ 55218 w 56900"/>
                <a:gd name="connsiteY4" fmla="*/ 40151 h 40151"/>
                <a:gd name="connsiteX5" fmla="*/ 13826 w 56900"/>
                <a:gd name="connsiteY5" fmla="*/ 23593 h 40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900" h="40151">
                  <a:moveTo>
                    <a:pt x="13826" y="23593"/>
                  </a:moveTo>
                  <a:cubicBezTo>
                    <a:pt x="8307" y="18074"/>
                    <a:pt x="3938" y="11636"/>
                    <a:pt x="948" y="4622"/>
                  </a:cubicBezTo>
                  <a:lnTo>
                    <a:pt x="0" y="0"/>
                  </a:lnTo>
                  <a:lnTo>
                    <a:pt x="56900" y="39441"/>
                  </a:lnTo>
                  <a:lnTo>
                    <a:pt x="55218" y="40151"/>
                  </a:lnTo>
                  <a:cubicBezTo>
                    <a:pt x="39581" y="40151"/>
                    <a:pt x="24864" y="34631"/>
                    <a:pt x="13826" y="2359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6" name="Forme libre : forme 495">
              <a:extLst>
                <a:ext uri="{FF2B5EF4-FFF2-40B4-BE49-F238E27FC236}">
                  <a16:creationId xmlns:a16="http://schemas.microsoft.com/office/drawing/2014/main" id="{7E303E9D-76C1-4789-8C9D-5012551E179C}"/>
                </a:ext>
              </a:extLst>
            </p:cNvPr>
            <p:cNvSpPr/>
            <p:nvPr/>
          </p:nvSpPr>
          <p:spPr>
            <a:xfrm rot="8716295">
              <a:off x="-21324" y="4100649"/>
              <a:ext cx="79113" cy="50123"/>
            </a:xfrm>
            <a:custGeom>
              <a:avLst/>
              <a:gdLst>
                <a:gd name="connsiteX0" fmla="*/ 0 w 79113"/>
                <a:gd name="connsiteY0" fmla="*/ 50123 h 50123"/>
                <a:gd name="connsiteX1" fmla="*/ 0 w 79113"/>
                <a:gd name="connsiteY1" fmla="*/ 0 h 50123"/>
                <a:gd name="connsiteX2" fmla="*/ 79113 w 79113"/>
                <a:gd name="connsiteY2" fmla="*/ 0 h 50123"/>
                <a:gd name="connsiteX3" fmla="*/ 44369 w 79113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113" h="50123">
                  <a:moveTo>
                    <a:pt x="0" y="50123"/>
                  </a:moveTo>
                  <a:lnTo>
                    <a:pt x="0" y="0"/>
                  </a:lnTo>
                  <a:lnTo>
                    <a:pt x="79113" y="0"/>
                  </a:lnTo>
                  <a:lnTo>
                    <a:pt x="44369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7" name="Forme libre : forme 496">
              <a:extLst>
                <a:ext uri="{FF2B5EF4-FFF2-40B4-BE49-F238E27FC236}">
                  <a16:creationId xmlns:a16="http://schemas.microsoft.com/office/drawing/2014/main" id="{02FDD4B8-F673-41A9-915D-2FF1DD6CBE6F}"/>
                </a:ext>
              </a:extLst>
            </p:cNvPr>
            <p:cNvSpPr/>
            <p:nvPr/>
          </p:nvSpPr>
          <p:spPr>
            <a:xfrm rot="8716295">
              <a:off x="-40457" y="398156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8" name="Forme libre : forme 497">
              <a:extLst>
                <a:ext uri="{FF2B5EF4-FFF2-40B4-BE49-F238E27FC236}">
                  <a16:creationId xmlns:a16="http://schemas.microsoft.com/office/drawing/2014/main" id="{DBB3B685-0513-450E-A467-E28F77542517}"/>
                </a:ext>
              </a:extLst>
            </p:cNvPr>
            <p:cNvSpPr/>
            <p:nvPr/>
          </p:nvSpPr>
          <p:spPr>
            <a:xfrm rot="7484129">
              <a:off x="-46974" y="427316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9" name="Forme libre : forme 498">
              <a:extLst>
                <a:ext uri="{FF2B5EF4-FFF2-40B4-BE49-F238E27FC236}">
                  <a16:creationId xmlns:a16="http://schemas.microsoft.com/office/drawing/2014/main" id="{C5419776-A8A1-4E3C-9093-D945DA9FAC68}"/>
                </a:ext>
              </a:extLst>
            </p:cNvPr>
            <p:cNvSpPr/>
            <p:nvPr/>
          </p:nvSpPr>
          <p:spPr>
            <a:xfrm rot="13089394">
              <a:off x="57846" y="423970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0" name="Forme libre : forme 499">
              <a:extLst>
                <a:ext uri="{FF2B5EF4-FFF2-40B4-BE49-F238E27FC236}">
                  <a16:creationId xmlns:a16="http://schemas.microsoft.com/office/drawing/2014/main" id="{F97D67FD-E4E6-48C4-AEFE-555D34A356DE}"/>
                </a:ext>
              </a:extLst>
            </p:cNvPr>
            <p:cNvSpPr/>
            <p:nvPr/>
          </p:nvSpPr>
          <p:spPr>
            <a:xfrm rot="8716295">
              <a:off x="243431" y="404801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1" name="Forme libre : forme 500">
              <a:extLst>
                <a:ext uri="{FF2B5EF4-FFF2-40B4-BE49-F238E27FC236}">
                  <a16:creationId xmlns:a16="http://schemas.microsoft.com/office/drawing/2014/main" id="{BCE94871-8BA1-45A9-8930-C2F42EF9B5F3}"/>
                </a:ext>
              </a:extLst>
            </p:cNvPr>
            <p:cNvSpPr/>
            <p:nvPr/>
          </p:nvSpPr>
          <p:spPr>
            <a:xfrm rot="8716295">
              <a:off x="191626" y="39444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2" name="Forme libre : forme 501">
              <a:extLst>
                <a:ext uri="{FF2B5EF4-FFF2-40B4-BE49-F238E27FC236}">
                  <a16:creationId xmlns:a16="http://schemas.microsoft.com/office/drawing/2014/main" id="{04CBAE1D-449E-47DE-9709-A831A36DA439}"/>
                </a:ext>
              </a:extLst>
            </p:cNvPr>
            <p:cNvSpPr/>
            <p:nvPr/>
          </p:nvSpPr>
          <p:spPr>
            <a:xfrm rot="8716295">
              <a:off x="125832" y="381540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3" name="Forme libre : forme 502">
              <a:extLst>
                <a:ext uri="{FF2B5EF4-FFF2-40B4-BE49-F238E27FC236}">
                  <a16:creationId xmlns:a16="http://schemas.microsoft.com/office/drawing/2014/main" id="{2F83938F-B075-4593-8D11-BBF0A979A7C6}"/>
                </a:ext>
              </a:extLst>
            </p:cNvPr>
            <p:cNvSpPr/>
            <p:nvPr/>
          </p:nvSpPr>
          <p:spPr>
            <a:xfrm rot="8716295">
              <a:off x="-73048" y="4876828"/>
              <a:ext cx="221382" cy="253349"/>
            </a:xfrm>
            <a:custGeom>
              <a:avLst/>
              <a:gdLst>
                <a:gd name="connsiteX0" fmla="*/ 51490 w 221382"/>
                <a:gd name="connsiteY0" fmla="*/ 253349 h 253349"/>
                <a:gd name="connsiteX1" fmla="*/ 51490 w 221382"/>
                <a:gd name="connsiteY1" fmla="*/ 44199 h 253349"/>
                <a:gd name="connsiteX2" fmla="*/ 0 w 221382"/>
                <a:gd name="connsiteY2" fmla="*/ 44199 h 253349"/>
                <a:gd name="connsiteX3" fmla="*/ 0 w 221382"/>
                <a:gd name="connsiteY3" fmla="*/ 0 h 253349"/>
                <a:gd name="connsiteX4" fmla="*/ 104803 w 221382"/>
                <a:gd name="connsiteY4" fmla="*/ 0 h 253349"/>
                <a:gd name="connsiteX5" fmla="*/ 104802 w 221382"/>
                <a:gd name="connsiteY5" fmla="*/ 73817 h 253349"/>
                <a:gd name="connsiteX6" fmla="*/ 106169 w 221382"/>
                <a:gd name="connsiteY6" fmla="*/ 73817 h 253349"/>
                <a:gd name="connsiteX7" fmla="*/ 154014 w 221382"/>
                <a:gd name="connsiteY7" fmla="*/ 4556 h 253349"/>
                <a:gd name="connsiteX8" fmla="*/ 174650 w 221382"/>
                <a:gd name="connsiteY8" fmla="*/ 668 h 253349"/>
                <a:gd name="connsiteX9" fmla="*/ 214075 w 221382"/>
                <a:gd name="connsiteY9" fmla="*/ 27996 h 253349"/>
                <a:gd name="connsiteX10" fmla="*/ 221382 w 221382"/>
                <a:gd name="connsiteY10" fmla="*/ 33060 h 253349"/>
                <a:gd name="connsiteX11" fmla="*/ 195540 w 221382"/>
                <a:gd name="connsiteY11" fmla="*/ 70341 h 253349"/>
                <a:gd name="connsiteX12" fmla="*/ 189157 w 221382"/>
                <a:gd name="connsiteY12" fmla="*/ 50236 h 253349"/>
                <a:gd name="connsiteX13" fmla="*/ 164950 w 221382"/>
                <a:gd name="connsiteY13" fmla="*/ 38731 h 253349"/>
                <a:gd name="connsiteX14" fmla="*/ 111638 w 221382"/>
                <a:gd name="connsiteY14" fmla="*/ 126218 h 253349"/>
                <a:gd name="connsiteX15" fmla="*/ 111638 w 221382"/>
                <a:gd name="connsiteY15" fmla="*/ 191383 h 253349"/>
                <a:gd name="connsiteX16" fmla="*/ 84096 w 221382"/>
                <a:gd name="connsiteY16" fmla="*/ 231117 h 253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1382" h="253349">
                  <a:moveTo>
                    <a:pt x="51490" y="253349"/>
                  </a:moveTo>
                  <a:lnTo>
                    <a:pt x="51490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104803" y="0"/>
                  </a:lnTo>
                  <a:lnTo>
                    <a:pt x="104802" y="73817"/>
                  </a:lnTo>
                  <a:lnTo>
                    <a:pt x="106169" y="73817"/>
                  </a:lnTo>
                  <a:cubicBezTo>
                    <a:pt x="120751" y="30529"/>
                    <a:pt x="132142" y="13670"/>
                    <a:pt x="154014" y="4556"/>
                  </a:cubicBezTo>
                  <a:lnTo>
                    <a:pt x="174650" y="668"/>
                  </a:lnTo>
                  <a:lnTo>
                    <a:pt x="214075" y="27996"/>
                  </a:lnTo>
                  <a:lnTo>
                    <a:pt x="221382" y="33060"/>
                  </a:lnTo>
                  <a:lnTo>
                    <a:pt x="195540" y="70341"/>
                  </a:lnTo>
                  <a:lnTo>
                    <a:pt x="189157" y="50236"/>
                  </a:lnTo>
                  <a:cubicBezTo>
                    <a:pt x="183177" y="42946"/>
                    <a:pt x="174747" y="38731"/>
                    <a:pt x="164950" y="38731"/>
                  </a:cubicBezTo>
                  <a:cubicBezTo>
                    <a:pt x="135788" y="38731"/>
                    <a:pt x="111638" y="77463"/>
                    <a:pt x="111638" y="126218"/>
                  </a:cubicBezTo>
                  <a:lnTo>
                    <a:pt x="111638" y="191383"/>
                  </a:lnTo>
                  <a:lnTo>
                    <a:pt x="84096" y="2311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4" name="Forme libre : forme 503">
              <a:extLst>
                <a:ext uri="{FF2B5EF4-FFF2-40B4-BE49-F238E27FC236}">
                  <a16:creationId xmlns:a16="http://schemas.microsoft.com/office/drawing/2014/main" id="{BCB8F26A-8D9E-4DAA-BBEC-C72C4F89205F}"/>
                </a:ext>
              </a:extLst>
            </p:cNvPr>
            <p:cNvSpPr/>
            <p:nvPr/>
          </p:nvSpPr>
          <p:spPr>
            <a:xfrm rot="8716295">
              <a:off x="93318" y="46120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5" name="Forme libre : forme 504">
              <a:extLst>
                <a:ext uri="{FF2B5EF4-FFF2-40B4-BE49-F238E27FC236}">
                  <a16:creationId xmlns:a16="http://schemas.microsoft.com/office/drawing/2014/main" id="{81732388-5ACB-454A-B491-3EF6429CC57C}"/>
                </a:ext>
              </a:extLst>
            </p:cNvPr>
            <p:cNvSpPr/>
            <p:nvPr/>
          </p:nvSpPr>
          <p:spPr>
            <a:xfrm rot="8716295">
              <a:off x="182710" y="46412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6" name="Forme libre : forme 505">
              <a:extLst>
                <a:ext uri="{FF2B5EF4-FFF2-40B4-BE49-F238E27FC236}">
                  <a16:creationId xmlns:a16="http://schemas.microsoft.com/office/drawing/2014/main" id="{7C87F3BF-43A4-45FA-839A-23BBD5B5D4BE}"/>
                </a:ext>
              </a:extLst>
            </p:cNvPr>
            <p:cNvSpPr/>
            <p:nvPr/>
          </p:nvSpPr>
          <p:spPr>
            <a:xfrm rot="8716295">
              <a:off x="-14524" y="4699631"/>
              <a:ext cx="49997" cy="54238"/>
            </a:xfrm>
            <a:custGeom>
              <a:avLst/>
              <a:gdLst>
                <a:gd name="connsiteX0" fmla="*/ 8658 w 49997"/>
                <a:gd name="connsiteY0" fmla="*/ 50123 h 54238"/>
                <a:gd name="connsiteX1" fmla="*/ 0 w 49997"/>
                <a:gd name="connsiteY1" fmla="*/ 29619 h 54238"/>
                <a:gd name="connsiteX2" fmla="*/ 0 w 49997"/>
                <a:gd name="connsiteY2" fmla="*/ 29162 h 54238"/>
                <a:gd name="connsiteX3" fmla="*/ 8658 w 49997"/>
                <a:gd name="connsiteY3" fmla="*/ 8658 h 54238"/>
                <a:gd name="connsiteX4" fmla="*/ 29163 w 49997"/>
                <a:gd name="connsiteY4" fmla="*/ 0 h 54238"/>
                <a:gd name="connsiteX5" fmla="*/ 49668 w 49997"/>
                <a:gd name="connsiteY5" fmla="*/ 8658 h 54238"/>
                <a:gd name="connsiteX6" fmla="*/ 49997 w 49997"/>
                <a:gd name="connsiteY6" fmla="*/ 9441 h 54238"/>
                <a:gd name="connsiteX7" fmla="*/ 18945 w 49997"/>
                <a:gd name="connsiteY7" fmla="*/ 54238 h 54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997" h="54238">
                  <a:moveTo>
                    <a:pt x="8658" y="50123"/>
                  </a:moveTo>
                  <a:cubicBezTo>
                    <a:pt x="3190" y="44655"/>
                    <a:pt x="0" y="37365"/>
                    <a:pt x="0" y="29619"/>
                  </a:cubicBezTo>
                  <a:lnTo>
                    <a:pt x="0" y="29162"/>
                  </a:lnTo>
                  <a:cubicBezTo>
                    <a:pt x="0" y="21417"/>
                    <a:pt x="3190" y="14126"/>
                    <a:pt x="8658" y="8658"/>
                  </a:cubicBezTo>
                  <a:cubicBezTo>
                    <a:pt x="14126" y="3190"/>
                    <a:pt x="21416" y="0"/>
                    <a:pt x="29163" y="0"/>
                  </a:cubicBezTo>
                  <a:cubicBezTo>
                    <a:pt x="36909" y="0"/>
                    <a:pt x="44200" y="3190"/>
                    <a:pt x="49668" y="8658"/>
                  </a:cubicBezTo>
                  <a:lnTo>
                    <a:pt x="49997" y="9441"/>
                  </a:lnTo>
                  <a:lnTo>
                    <a:pt x="18945" y="54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7" name="Forme libre : forme 506">
              <a:extLst>
                <a:ext uri="{FF2B5EF4-FFF2-40B4-BE49-F238E27FC236}">
                  <a16:creationId xmlns:a16="http://schemas.microsoft.com/office/drawing/2014/main" id="{462FB9FF-D95F-4684-BB21-FBBABD5DD31F}"/>
                </a:ext>
              </a:extLst>
            </p:cNvPr>
            <p:cNvSpPr/>
            <p:nvPr/>
          </p:nvSpPr>
          <p:spPr>
            <a:xfrm rot="8716295">
              <a:off x="-30327" y="4579755"/>
              <a:ext cx="113346" cy="71024"/>
            </a:xfrm>
            <a:custGeom>
              <a:avLst/>
              <a:gdLst>
                <a:gd name="connsiteX0" fmla="*/ 0 w 113346"/>
                <a:gd name="connsiteY0" fmla="*/ 55323 h 71024"/>
                <a:gd name="connsiteX1" fmla="*/ 0 w 113346"/>
                <a:gd name="connsiteY1" fmla="*/ 0 h 71024"/>
                <a:gd name="connsiteX2" fmla="*/ 113346 w 113346"/>
                <a:gd name="connsiteY2" fmla="*/ 0 h 71024"/>
                <a:gd name="connsiteX3" fmla="*/ 64114 w 113346"/>
                <a:gd name="connsiteY3" fmla="*/ 71024 h 71024"/>
                <a:gd name="connsiteX4" fmla="*/ 69777 w 113346"/>
                <a:gd name="connsiteY4" fmla="*/ 55323 h 7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346" h="71024">
                  <a:moveTo>
                    <a:pt x="0" y="55323"/>
                  </a:moveTo>
                  <a:lnTo>
                    <a:pt x="0" y="0"/>
                  </a:lnTo>
                  <a:lnTo>
                    <a:pt x="113346" y="0"/>
                  </a:lnTo>
                  <a:lnTo>
                    <a:pt x="64114" y="71024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8" name="Forme libre : forme 507">
              <a:extLst>
                <a:ext uri="{FF2B5EF4-FFF2-40B4-BE49-F238E27FC236}">
                  <a16:creationId xmlns:a16="http://schemas.microsoft.com/office/drawing/2014/main" id="{67567764-034B-4A90-A05F-295129068706}"/>
                </a:ext>
              </a:extLst>
            </p:cNvPr>
            <p:cNvSpPr/>
            <p:nvPr/>
          </p:nvSpPr>
          <p:spPr>
            <a:xfrm rot="8716295">
              <a:off x="71262" y="47415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9" name="Forme libre : forme 508">
              <a:extLst>
                <a:ext uri="{FF2B5EF4-FFF2-40B4-BE49-F238E27FC236}">
                  <a16:creationId xmlns:a16="http://schemas.microsoft.com/office/drawing/2014/main" id="{0224BB71-E49A-401D-8E10-A43693404F59}"/>
                </a:ext>
              </a:extLst>
            </p:cNvPr>
            <p:cNvSpPr/>
            <p:nvPr/>
          </p:nvSpPr>
          <p:spPr>
            <a:xfrm rot="7484129">
              <a:off x="172059" y="493353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170341 w 203847"/>
                <a:gd name="connsiteY5" fmla="*/ 0 h 195874"/>
                <a:gd name="connsiteX6" fmla="*/ 203847 w 203847"/>
                <a:gd name="connsiteY6" fmla="*/ 48325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170341" y="0"/>
                  </a:lnTo>
                  <a:lnTo>
                    <a:pt x="203847" y="48325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0" name="Forme libre : forme 509">
              <a:extLst>
                <a:ext uri="{FF2B5EF4-FFF2-40B4-BE49-F238E27FC236}">
                  <a16:creationId xmlns:a16="http://schemas.microsoft.com/office/drawing/2014/main" id="{02C7DC92-22CE-4278-8FF3-A3AB1608AA63}"/>
                </a:ext>
              </a:extLst>
            </p:cNvPr>
            <p:cNvSpPr/>
            <p:nvPr/>
          </p:nvSpPr>
          <p:spPr>
            <a:xfrm rot="13089394">
              <a:off x="313263" y="4907079"/>
              <a:ext cx="272584" cy="221720"/>
            </a:xfrm>
            <a:custGeom>
              <a:avLst/>
              <a:gdLst>
                <a:gd name="connsiteX0" fmla="*/ 272584 w 272584"/>
                <a:gd name="connsiteY0" fmla="*/ 150928 h 221720"/>
                <a:gd name="connsiteX1" fmla="*/ 91597 w 272584"/>
                <a:gd name="connsiteY1" fmla="*/ 221557 h 221720"/>
                <a:gd name="connsiteX2" fmla="*/ 23727 w 272584"/>
                <a:gd name="connsiteY2" fmla="*/ 193967 h 221720"/>
                <a:gd name="connsiteX3" fmla="*/ 0 w 272584"/>
                <a:gd name="connsiteY3" fmla="*/ 99060 h 221720"/>
                <a:gd name="connsiteX4" fmla="*/ 0 w 272584"/>
                <a:gd name="connsiteY4" fmla="*/ 58265 h 221720"/>
                <a:gd name="connsiteX5" fmla="*/ 74157 w 272584"/>
                <a:gd name="connsiteY5" fmla="*/ 0 h 221720"/>
                <a:gd name="connsiteX6" fmla="*/ 74492 w 272584"/>
                <a:gd name="connsiteY6" fmla="*/ 46640 h 221720"/>
                <a:gd name="connsiteX7" fmla="*/ 87734 w 272584"/>
                <a:gd name="connsiteY7" fmla="*/ 138237 h 221720"/>
                <a:gd name="connsiteX8" fmla="*/ 153949 w 272584"/>
                <a:gd name="connsiteY8" fmla="*/ 174655 h 221720"/>
                <a:gd name="connsiteX9" fmla="*/ 203610 w 272584"/>
                <a:gd name="connsiteY9" fmla="*/ 165826 h 221720"/>
                <a:gd name="connsiteX10" fmla="*/ 271480 w 272584"/>
                <a:gd name="connsiteY10" fmla="*/ 138237 h 221720"/>
                <a:gd name="connsiteX11" fmla="*/ 272584 w 272584"/>
                <a:gd name="connsiteY11" fmla="*/ 145410 h 22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2584" h="221720">
                  <a:moveTo>
                    <a:pt x="272584" y="150928"/>
                  </a:moveTo>
                  <a:cubicBezTo>
                    <a:pt x="214094" y="201141"/>
                    <a:pt x="137395" y="218798"/>
                    <a:pt x="91597" y="221557"/>
                  </a:cubicBezTo>
                  <a:cubicBezTo>
                    <a:pt x="66215" y="223213"/>
                    <a:pt x="41384" y="212177"/>
                    <a:pt x="23727" y="193967"/>
                  </a:cubicBezTo>
                  <a:cubicBezTo>
                    <a:pt x="4966" y="175759"/>
                    <a:pt x="0" y="144306"/>
                    <a:pt x="0" y="99060"/>
                  </a:cubicBezTo>
                  <a:lnTo>
                    <a:pt x="0" y="58265"/>
                  </a:lnTo>
                  <a:lnTo>
                    <a:pt x="74157" y="0"/>
                  </a:lnTo>
                  <a:lnTo>
                    <a:pt x="74492" y="46640"/>
                  </a:lnTo>
                  <a:cubicBezTo>
                    <a:pt x="72836" y="77540"/>
                    <a:pt x="77802" y="108992"/>
                    <a:pt x="87734" y="138237"/>
                  </a:cubicBezTo>
                  <a:cubicBezTo>
                    <a:pt x="96563" y="162515"/>
                    <a:pt x="119186" y="174655"/>
                    <a:pt x="153949" y="174655"/>
                  </a:cubicBezTo>
                  <a:cubicBezTo>
                    <a:pt x="171055" y="174103"/>
                    <a:pt x="187608" y="170792"/>
                    <a:pt x="203610" y="165826"/>
                  </a:cubicBezTo>
                  <a:cubicBezTo>
                    <a:pt x="226785" y="158653"/>
                    <a:pt x="249409" y="149273"/>
                    <a:pt x="271480" y="138237"/>
                  </a:cubicBezTo>
                  <a:cubicBezTo>
                    <a:pt x="272032" y="140444"/>
                    <a:pt x="272584" y="143203"/>
                    <a:pt x="272584" y="1454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1" name="Forme libre : forme 510">
              <a:extLst>
                <a:ext uri="{FF2B5EF4-FFF2-40B4-BE49-F238E27FC236}">
                  <a16:creationId xmlns:a16="http://schemas.microsoft.com/office/drawing/2014/main" id="{2684AFDD-CDE2-41B8-A59C-E03D9F5FB899}"/>
                </a:ext>
              </a:extLst>
            </p:cNvPr>
            <p:cNvSpPr/>
            <p:nvPr/>
          </p:nvSpPr>
          <p:spPr>
            <a:xfrm rot="8716295">
              <a:off x="466598" y="470771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2" name="Forme libre : forme 511">
              <a:extLst>
                <a:ext uri="{FF2B5EF4-FFF2-40B4-BE49-F238E27FC236}">
                  <a16:creationId xmlns:a16="http://schemas.microsoft.com/office/drawing/2014/main" id="{874191D1-5A8A-4106-89BC-E4DE3F05FDFC}"/>
                </a:ext>
              </a:extLst>
            </p:cNvPr>
            <p:cNvSpPr/>
            <p:nvPr/>
          </p:nvSpPr>
          <p:spPr>
            <a:xfrm rot="8716295">
              <a:off x="414793" y="460412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3" name="Forme libre : forme 512">
              <a:extLst>
                <a:ext uri="{FF2B5EF4-FFF2-40B4-BE49-F238E27FC236}">
                  <a16:creationId xmlns:a16="http://schemas.microsoft.com/office/drawing/2014/main" id="{8D49479A-E710-4758-BEAF-44161F8FF530}"/>
                </a:ext>
              </a:extLst>
            </p:cNvPr>
            <p:cNvSpPr/>
            <p:nvPr/>
          </p:nvSpPr>
          <p:spPr>
            <a:xfrm rot="8716295">
              <a:off x="171547" y="46343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4" name="Forme libre : forme 513">
              <a:extLst>
                <a:ext uri="{FF2B5EF4-FFF2-40B4-BE49-F238E27FC236}">
                  <a16:creationId xmlns:a16="http://schemas.microsoft.com/office/drawing/2014/main" id="{0D3E5977-ABDE-469A-8B37-82662D2EE7DA}"/>
                </a:ext>
              </a:extLst>
            </p:cNvPr>
            <p:cNvSpPr/>
            <p:nvPr/>
          </p:nvSpPr>
          <p:spPr>
            <a:xfrm rot="8716295">
              <a:off x="348999" y="44751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528" name="Espace réservé du texte 527">
            <a:extLst>
              <a:ext uri="{FF2B5EF4-FFF2-40B4-BE49-F238E27FC236}">
                <a16:creationId xmlns:a16="http://schemas.microsoft.com/office/drawing/2014/main" id="{6A8E0876-8CB4-4156-A0C1-0BC7361D1C40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429470" y="3802408"/>
            <a:ext cx="108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29" name="Espace réservé du texte 528">
            <a:extLst>
              <a:ext uri="{FF2B5EF4-FFF2-40B4-BE49-F238E27FC236}">
                <a16:creationId xmlns:a16="http://schemas.microsoft.com/office/drawing/2014/main" id="{20C5F896-3CE3-44F8-B5B2-F667F9101641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1512561" y="3802408"/>
            <a:ext cx="108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rgbClr val="3A1B0B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31" name="Espace réservé du texte 530">
            <a:extLst>
              <a:ext uri="{FF2B5EF4-FFF2-40B4-BE49-F238E27FC236}">
                <a16:creationId xmlns:a16="http://schemas.microsoft.com/office/drawing/2014/main" id="{70ADA97F-36B2-42A5-9506-18C5EA9C6E0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3993" y="482179"/>
            <a:ext cx="2495932" cy="302805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24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3pPr>
            <a:lvl4pPr marL="0" indent="0">
              <a:buNone/>
              <a:defRPr sz="1000">
                <a:solidFill>
                  <a:schemeClr val="bg1"/>
                </a:solidFill>
              </a:defRPr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Niveau 2</a:t>
            </a:r>
          </a:p>
          <a:p>
            <a:pPr lvl="2"/>
            <a:r>
              <a:rPr lang="fr-FR" dirty="0"/>
              <a:t>Niveau 3</a:t>
            </a:r>
          </a:p>
          <a:p>
            <a:pPr lvl="3"/>
            <a:r>
              <a:rPr lang="fr-FR" dirty="0"/>
              <a:t>Niveau 4</a:t>
            </a:r>
          </a:p>
        </p:txBody>
      </p:sp>
      <p:sp>
        <p:nvSpPr>
          <p:cNvPr id="534" name="Espace réservé du texte 533">
            <a:extLst>
              <a:ext uri="{FF2B5EF4-FFF2-40B4-BE49-F238E27FC236}">
                <a16:creationId xmlns:a16="http://schemas.microsoft.com/office/drawing/2014/main" id="{6A4C2977-D550-4471-9F3E-815F6F49158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11668" y="507082"/>
            <a:ext cx="5068800" cy="4129200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300"/>
              </a:spcBef>
              <a:spcAft>
                <a:spcPts val="1000"/>
              </a:spcAft>
              <a:buNone/>
              <a:defRPr sz="1400">
                <a:solidFill>
                  <a:schemeClr val="tx1"/>
                </a:solidFill>
              </a:defRPr>
            </a:lvl2pPr>
            <a:lvl3pPr marL="270000" indent="-270000" algn="l" defTabSz="457200" rtl="0" eaLnBrk="1" latinLnBrk="0" hangingPunct="1">
              <a:spcBef>
                <a:spcPts val="400"/>
              </a:spcBef>
              <a:spcAft>
                <a:spcPts val="1000"/>
              </a:spcAft>
              <a:buSzPct val="100000"/>
              <a:buFontTx/>
              <a:buBlip>
                <a:blip r:embed="rId2"/>
              </a:buBlip>
              <a:defRPr lang="fr-FR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0000" indent="-269875">
              <a:spcBef>
                <a:spcPts val="400"/>
              </a:spcBef>
              <a:spcAft>
                <a:spcPts val="1000"/>
              </a:spcAft>
              <a:buFontTx/>
              <a:buBlip>
                <a:blip r:embed="rId3"/>
              </a:buBlip>
              <a:defRPr sz="1400" b="1">
                <a:solidFill>
                  <a:schemeClr val="tx1"/>
                </a:solidFill>
              </a:defRPr>
            </a:lvl4pPr>
            <a:lvl5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4"/>
              </a:buBlip>
              <a:defRPr sz="1400" b="1">
                <a:solidFill>
                  <a:schemeClr val="tx1"/>
                </a:solidFill>
              </a:defRPr>
            </a:lvl5pPr>
            <a:lvl6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5"/>
              </a:buBlip>
              <a:defRPr sz="1400" b="1">
                <a:solidFill>
                  <a:schemeClr val="tx1"/>
                </a:solidFill>
              </a:defRPr>
            </a:lvl6pPr>
            <a:lvl7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6"/>
              </a:buBlip>
              <a:defRPr sz="1400" b="1">
                <a:solidFill>
                  <a:schemeClr val="tx1"/>
                </a:solidFill>
              </a:defRPr>
            </a:lvl7pPr>
            <a:lvl8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7"/>
              </a:buBlip>
              <a:defRPr sz="1400" b="1">
                <a:solidFill>
                  <a:schemeClr val="tx1"/>
                </a:solidFill>
              </a:defRPr>
            </a:lvl8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Puce bleu</a:t>
            </a:r>
          </a:p>
          <a:p>
            <a:pPr lvl="3"/>
            <a:r>
              <a:rPr lang="fr-FR" dirty="0"/>
              <a:t>Puce orange</a:t>
            </a:r>
          </a:p>
          <a:p>
            <a:pPr lvl="4"/>
            <a:r>
              <a:rPr lang="fr-FR" dirty="0"/>
              <a:t>Puce rouge</a:t>
            </a:r>
          </a:p>
          <a:p>
            <a:pPr lvl="5"/>
            <a:r>
              <a:rPr lang="fr-FR" dirty="0"/>
              <a:t>Puce vert d’eau</a:t>
            </a:r>
          </a:p>
          <a:p>
            <a:pPr lvl="6"/>
            <a:r>
              <a:rPr lang="fr-FR" dirty="0"/>
              <a:t>Puce verte</a:t>
            </a:r>
          </a:p>
          <a:p>
            <a:pPr lvl="7"/>
            <a:r>
              <a:rPr lang="fr-FR" dirty="0"/>
              <a:t>Puce violette</a:t>
            </a:r>
          </a:p>
        </p:txBody>
      </p:sp>
    </p:spTree>
    <p:extLst>
      <p:ext uri="{BB962C8B-B14F-4D97-AF65-F5344CB8AC3E}">
        <p14:creationId xmlns:p14="http://schemas.microsoft.com/office/powerpoint/2010/main" val="33110995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ayures / Texte + Conten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8" name="Graphique 517">
            <a:extLst>
              <a:ext uri="{FF2B5EF4-FFF2-40B4-BE49-F238E27FC236}">
                <a16:creationId xmlns:a16="http://schemas.microsoft.com/office/drawing/2014/main" id="{9DDE0F79-02B4-4C9D-B3C3-ADF18F103B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3416312" cy="5143500"/>
          </a:xfrm>
          <a:prstGeom prst="rect">
            <a:avLst/>
          </a:prstGeom>
        </p:spPr>
      </p:pic>
      <p:sp>
        <p:nvSpPr>
          <p:cNvPr id="523" name="Forme libre : forme 522">
            <a:extLst>
              <a:ext uri="{FF2B5EF4-FFF2-40B4-BE49-F238E27FC236}">
                <a16:creationId xmlns:a16="http://schemas.microsoft.com/office/drawing/2014/main" id="{C7F1D93A-4718-405C-AAEF-810045870EFB}"/>
              </a:ext>
            </a:extLst>
          </p:cNvPr>
          <p:cNvSpPr/>
          <p:nvPr userDrawn="1"/>
        </p:nvSpPr>
        <p:spPr>
          <a:xfrm>
            <a:off x="0" y="-1"/>
            <a:ext cx="9144000" cy="5143501"/>
          </a:xfrm>
          <a:custGeom>
            <a:avLst/>
            <a:gdLst>
              <a:gd name="connsiteX0" fmla="*/ 0 w 9144000"/>
              <a:gd name="connsiteY0" fmla="*/ 0 h 5143501"/>
              <a:gd name="connsiteX1" fmla="*/ 9144000 w 9144000"/>
              <a:gd name="connsiteY1" fmla="*/ 0 h 5143501"/>
              <a:gd name="connsiteX2" fmla="*/ 9144000 w 9144000"/>
              <a:gd name="connsiteY2" fmla="*/ 5143501 h 5143501"/>
              <a:gd name="connsiteX3" fmla="*/ 3567702 w 9144000"/>
              <a:gd name="connsiteY3" fmla="*/ 5143501 h 5143501"/>
              <a:gd name="connsiteX4" fmla="*/ 3246551 w 9144000"/>
              <a:gd name="connsiteY4" fmla="*/ 2811363 h 5143501"/>
              <a:gd name="connsiteX5" fmla="*/ 3485902 w 9144000"/>
              <a:gd name="connsiteY5" fmla="*/ 1 h 5143501"/>
              <a:gd name="connsiteX6" fmla="*/ 3048000 w 9144000"/>
              <a:gd name="connsiteY6" fmla="*/ 1 h 5143501"/>
              <a:gd name="connsiteX7" fmla="*/ 2859408 w 9144000"/>
              <a:gd name="connsiteY7" fmla="*/ 1 h 5143501"/>
              <a:gd name="connsiteX8" fmla="*/ 0 w 9144000"/>
              <a:gd name="connsiteY8" fmla="*/ 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4000" h="5143501">
                <a:moveTo>
                  <a:pt x="0" y="0"/>
                </a:moveTo>
                <a:lnTo>
                  <a:pt x="9144000" y="0"/>
                </a:lnTo>
                <a:lnTo>
                  <a:pt x="9144000" y="5143501"/>
                </a:lnTo>
                <a:lnTo>
                  <a:pt x="3567702" y="5143501"/>
                </a:lnTo>
                <a:lnTo>
                  <a:pt x="3246551" y="2811363"/>
                </a:lnTo>
                <a:lnTo>
                  <a:pt x="3485902" y="1"/>
                </a:lnTo>
                <a:lnTo>
                  <a:pt x="3048000" y="1"/>
                </a:lnTo>
                <a:lnTo>
                  <a:pt x="2859408" y="1"/>
                </a:lnTo>
                <a:lnTo>
                  <a:pt x="0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28" name="Espace réservé du texte 527">
            <a:extLst>
              <a:ext uri="{FF2B5EF4-FFF2-40B4-BE49-F238E27FC236}">
                <a16:creationId xmlns:a16="http://schemas.microsoft.com/office/drawing/2014/main" id="{6A8E0876-8CB4-4156-A0C1-0BC7361D1C40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429470" y="3802408"/>
            <a:ext cx="108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29" name="Espace réservé du texte 528">
            <a:extLst>
              <a:ext uri="{FF2B5EF4-FFF2-40B4-BE49-F238E27FC236}">
                <a16:creationId xmlns:a16="http://schemas.microsoft.com/office/drawing/2014/main" id="{20C5F896-3CE3-44F8-B5B2-F667F9101641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1512561" y="3802408"/>
            <a:ext cx="108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rgbClr val="3A1B0B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31" name="Espace réservé du texte 530">
            <a:extLst>
              <a:ext uri="{FF2B5EF4-FFF2-40B4-BE49-F238E27FC236}">
                <a16:creationId xmlns:a16="http://schemas.microsoft.com/office/drawing/2014/main" id="{70ADA97F-36B2-42A5-9506-18C5EA9C6E0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3993" y="482179"/>
            <a:ext cx="2495932" cy="302805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24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3pPr>
            <a:lvl4pPr marL="0" indent="0">
              <a:buNone/>
              <a:defRPr sz="1000">
                <a:solidFill>
                  <a:schemeClr val="bg1"/>
                </a:solidFill>
              </a:defRPr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Niveau 2</a:t>
            </a:r>
          </a:p>
          <a:p>
            <a:pPr lvl="2"/>
            <a:r>
              <a:rPr lang="fr-FR" dirty="0"/>
              <a:t>Niveau 3</a:t>
            </a:r>
          </a:p>
          <a:p>
            <a:pPr lvl="3"/>
            <a:r>
              <a:rPr lang="fr-FR" dirty="0"/>
              <a:t>Niveau 4</a:t>
            </a:r>
          </a:p>
        </p:txBody>
      </p:sp>
      <p:sp>
        <p:nvSpPr>
          <p:cNvPr id="534" name="Espace réservé du texte 533">
            <a:extLst>
              <a:ext uri="{FF2B5EF4-FFF2-40B4-BE49-F238E27FC236}">
                <a16:creationId xmlns:a16="http://schemas.microsoft.com/office/drawing/2014/main" id="{6A4C2977-D550-4471-9F3E-815F6F49158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11668" y="507082"/>
            <a:ext cx="5068800" cy="4129200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300"/>
              </a:spcBef>
              <a:spcAft>
                <a:spcPts val="1000"/>
              </a:spcAft>
              <a:buNone/>
              <a:defRPr sz="1400">
                <a:solidFill>
                  <a:schemeClr val="tx1"/>
                </a:solidFill>
              </a:defRPr>
            </a:lvl2pPr>
            <a:lvl3pPr marL="270000" indent="-270000" algn="l" defTabSz="457200" rtl="0" eaLnBrk="1" latinLnBrk="0" hangingPunct="1">
              <a:spcBef>
                <a:spcPts val="400"/>
              </a:spcBef>
              <a:spcAft>
                <a:spcPts val="1000"/>
              </a:spcAft>
              <a:buSzPct val="100000"/>
              <a:buFontTx/>
              <a:buBlip>
                <a:blip r:embed="rId4"/>
              </a:buBlip>
              <a:defRPr lang="fr-FR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0000" indent="-269875">
              <a:spcBef>
                <a:spcPts val="400"/>
              </a:spcBef>
              <a:spcAft>
                <a:spcPts val="1000"/>
              </a:spcAft>
              <a:buFontTx/>
              <a:buBlip>
                <a:blip r:embed="rId5"/>
              </a:buBlip>
              <a:defRPr sz="1400" b="1">
                <a:solidFill>
                  <a:schemeClr val="tx1"/>
                </a:solidFill>
              </a:defRPr>
            </a:lvl4pPr>
            <a:lvl5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6"/>
              </a:buBlip>
              <a:defRPr sz="1400" b="1">
                <a:solidFill>
                  <a:schemeClr val="tx1"/>
                </a:solidFill>
              </a:defRPr>
            </a:lvl5pPr>
            <a:lvl6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7"/>
              </a:buBlip>
              <a:defRPr sz="1400" b="1">
                <a:solidFill>
                  <a:schemeClr val="tx1"/>
                </a:solidFill>
              </a:defRPr>
            </a:lvl6pPr>
            <a:lvl7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8"/>
              </a:buBlip>
              <a:defRPr sz="1400" b="1">
                <a:solidFill>
                  <a:schemeClr val="tx1"/>
                </a:solidFill>
              </a:defRPr>
            </a:lvl7pPr>
            <a:lvl8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9"/>
              </a:buBlip>
              <a:defRPr sz="1400" b="1">
                <a:solidFill>
                  <a:schemeClr val="tx1"/>
                </a:solidFill>
              </a:defRPr>
            </a:lvl8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Puce bleu</a:t>
            </a:r>
          </a:p>
          <a:p>
            <a:pPr lvl="3"/>
            <a:r>
              <a:rPr lang="fr-FR" dirty="0"/>
              <a:t>Puce orange</a:t>
            </a:r>
          </a:p>
          <a:p>
            <a:pPr lvl="4"/>
            <a:r>
              <a:rPr lang="fr-FR" dirty="0"/>
              <a:t>Puce rouge</a:t>
            </a:r>
          </a:p>
          <a:p>
            <a:pPr lvl="5"/>
            <a:r>
              <a:rPr lang="fr-FR" dirty="0"/>
              <a:t>Puce vert d’eau</a:t>
            </a:r>
          </a:p>
          <a:p>
            <a:pPr lvl="6"/>
            <a:r>
              <a:rPr lang="fr-FR" dirty="0"/>
              <a:t>Puce verte</a:t>
            </a:r>
          </a:p>
          <a:p>
            <a:pPr lvl="7"/>
            <a:r>
              <a:rPr lang="fr-FR" dirty="0"/>
              <a:t>Puce violette</a:t>
            </a:r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14363415-6A88-4870-B059-FE46177801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48000" y="2811362"/>
            <a:ext cx="519702" cy="2332138"/>
          </a:xfrm>
          <a:custGeom>
            <a:avLst/>
            <a:gdLst>
              <a:gd name="connsiteX0" fmla="*/ 198551 w 519702"/>
              <a:gd name="connsiteY0" fmla="*/ 0 h 2332138"/>
              <a:gd name="connsiteX1" fmla="*/ 519702 w 519702"/>
              <a:gd name="connsiteY1" fmla="*/ 2332138 h 2332138"/>
              <a:gd name="connsiteX2" fmla="*/ 0 w 519702"/>
              <a:gd name="connsiteY2" fmla="*/ 2332138 h 2332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19702" h="2332138">
                <a:moveTo>
                  <a:pt x="198551" y="0"/>
                </a:moveTo>
                <a:lnTo>
                  <a:pt x="519702" y="2332138"/>
                </a:lnTo>
                <a:lnTo>
                  <a:pt x="0" y="233213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180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2478816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filtre bleu + Titre + Contenu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5" name="Espace réservé pour une image  524">
            <a:extLst>
              <a:ext uri="{FF2B5EF4-FFF2-40B4-BE49-F238E27FC236}">
                <a16:creationId xmlns:a16="http://schemas.microsoft.com/office/drawing/2014/main" id="{98410260-974C-4913-B9B1-FBF4231643C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2"/>
            <a:ext cx="3567702" cy="5143499"/>
          </a:xfrm>
          <a:custGeom>
            <a:avLst/>
            <a:gdLst>
              <a:gd name="connsiteX0" fmla="*/ 0 w 3567702"/>
              <a:gd name="connsiteY0" fmla="*/ 0 h 5143499"/>
              <a:gd name="connsiteX1" fmla="*/ 2859408 w 3567702"/>
              <a:gd name="connsiteY1" fmla="*/ 0 h 5143499"/>
              <a:gd name="connsiteX2" fmla="*/ 3048000 w 3567702"/>
              <a:gd name="connsiteY2" fmla="*/ 0 h 5143499"/>
              <a:gd name="connsiteX3" fmla="*/ 3485902 w 3567702"/>
              <a:gd name="connsiteY3" fmla="*/ 0 h 5143499"/>
              <a:gd name="connsiteX4" fmla="*/ 3246551 w 3567702"/>
              <a:gd name="connsiteY4" fmla="*/ 2811361 h 5143499"/>
              <a:gd name="connsiteX5" fmla="*/ 3246551 w 3567702"/>
              <a:gd name="connsiteY5" fmla="*/ 2811360 h 5143499"/>
              <a:gd name="connsiteX6" fmla="*/ 3048000 w 3567702"/>
              <a:gd name="connsiteY6" fmla="*/ 5143498 h 5143499"/>
              <a:gd name="connsiteX7" fmla="*/ 3567702 w 3567702"/>
              <a:gd name="connsiteY7" fmla="*/ 5143498 h 5143499"/>
              <a:gd name="connsiteX8" fmla="*/ 3567702 w 3567702"/>
              <a:gd name="connsiteY8" fmla="*/ 5143499 h 5143499"/>
              <a:gd name="connsiteX9" fmla="*/ 0 w 3567702"/>
              <a:gd name="connsiteY9" fmla="*/ 5143499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67702" h="5143499">
                <a:moveTo>
                  <a:pt x="0" y="0"/>
                </a:moveTo>
                <a:lnTo>
                  <a:pt x="2859408" y="0"/>
                </a:lnTo>
                <a:lnTo>
                  <a:pt x="3048000" y="0"/>
                </a:lnTo>
                <a:lnTo>
                  <a:pt x="3485902" y="0"/>
                </a:lnTo>
                <a:lnTo>
                  <a:pt x="3246551" y="2811361"/>
                </a:lnTo>
                <a:lnTo>
                  <a:pt x="3246551" y="2811360"/>
                </a:lnTo>
                <a:lnTo>
                  <a:pt x="3048000" y="5143498"/>
                </a:lnTo>
                <a:lnTo>
                  <a:pt x="3567702" y="5143498"/>
                </a:lnTo>
                <a:lnTo>
                  <a:pt x="3567702" y="5143499"/>
                </a:lnTo>
                <a:lnTo>
                  <a:pt x="0" y="5143499"/>
                </a:ln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fr-FR" dirty="0"/>
              <a:t>Cliquez sur l’icône</a:t>
            </a:r>
            <a:br>
              <a:rPr lang="fr-FR" dirty="0"/>
            </a:br>
            <a:r>
              <a:rPr lang="fr-FR" dirty="0"/>
              <a:t>pour ajouter une image</a:t>
            </a:r>
          </a:p>
        </p:txBody>
      </p:sp>
      <p:sp>
        <p:nvSpPr>
          <p:cNvPr id="523" name="Forme libre : forme 522">
            <a:extLst>
              <a:ext uri="{FF2B5EF4-FFF2-40B4-BE49-F238E27FC236}">
                <a16:creationId xmlns:a16="http://schemas.microsoft.com/office/drawing/2014/main" id="{C7F1D93A-4718-405C-AAEF-810045870EFB}"/>
              </a:ext>
            </a:extLst>
          </p:cNvPr>
          <p:cNvSpPr/>
          <p:nvPr userDrawn="1"/>
        </p:nvSpPr>
        <p:spPr>
          <a:xfrm>
            <a:off x="3246551" y="-1"/>
            <a:ext cx="5897449" cy="5143501"/>
          </a:xfrm>
          <a:custGeom>
            <a:avLst/>
            <a:gdLst>
              <a:gd name="connsiteX0" fmla="*/ 0 w 9144000"/>
              <a:gd name="connsiteY0" fmla="*/ 0 h 5143501"/>
              <a:gd name="connsiteX1" fmla="*/ 9144000 w 9144000"/>
              <a:gd name="connsiteY1" fmla="*/ 0 h 5143501"/>
              <a:gd name="connsiteX2" fmla="*/ 9144000 w 9144000"/>
              <a:gd name="connsiteY2" fmla="*/ 5143501 h 5143501"/>
              <a:gd name="connsiteX3" fmla="*/ 3567702 w 9144000"/>
              <a:gd name="connsiteY3" fmla="*/ 5143501 h 5143501"/>
              <a:gd name="connsiteX4" fmla="*/ 3246551 w 9144000"/>
              <a:gd name="connsiteY4" fmla="*/ 2811363 h 5143501"/>
              <a:gd name="connsiteX5" fmla="*/ 3485902 w 9144000"/>
              <a:gd name="connsiteY5" fmla="*/ 1 h 5143501"/>
              <a:gd name="connsiteX6" fmla="*/ 3048000 w 9144000"/>
              <a:gd name="connsiteY6" fmla="*/ 1 h 5143501"/>
              <a:gd name="connsiteX7" fmla="*/ 2859408 w 9144000"/>
              <a:gd name="connsiteY7" fmla="*/ 1 h 5143501"/>
              <a:gd name="connsiteX8" fmla="*/ 0 w 9144000"/>
              <a:gd name="connsiteY8" fmla="*/ 1 h 5143501"/>
              <a:gd name="connsiteX0" fmla="*/ 0 w 9144000"/>
              <a:gd name="connsiteY0" fmla="*/ 1 h 5143501"/>
              <a:gd name="connsiteX1" fmla="*/ 9144000 w 9144000"/>
              <a:gd name="connsiteY1" fmla="*/ 0 h 5143501"/>
              <a:gd name="connsiteX2" fmla="*/ 9144000 w 9144000"/>
              <a:gd name="connsiteY2" fmla="*/ 5143501 h 5143501"/>
              <a:gd name="connsiteX3" fmla="*/ 3567702 w 9144000"/>
              <a:gd name="connsiteY3" fmla="*/ 5143501 h 5143501"/>
              <a:gd name="connsiteX4" fmla="*/ 3246551 w 9144000"/>
              <a:gd name="connsiteY4" fmla="*/ 2811363 h 5143501"/>
              <a:gd name="connsiteX5" fmla="*/ 3485902 w 9144000"/>
              <a:gd name="connsiteY5" fmla="*/ 1 h 5143501"/>
              <a:gd name="connsiteX6" fmla="*/ 3048000 w 9144000"/>
              <a:gd name="connsiteY6" fmla="*/ 1 h 5143501"/>
              <a:gd name="connsiteX7" fmla="*/ 2859408 w 9144000"/>
              <a:gd name="connsiteY7" fmla="*/ 1 h 5143501"/>
              <a:gd name="connsiteX8" fmla="*/ 0 w 9144000"/>
              <a:gd name="connsiteY8" fmla="*/ 1 h 5143501"/>
              <a:gd name="connsiteX0" fmla="*/ 0 w 6284592"/>
              <a:gd name="connsiteY0" fmla="*/ 1 h 5143501"/>
              <a:gd name="connsiteX1" fmla="*/ 6284592 w 6284592"/>
              <a:gd name="connsiteY1" fmla="*/ 0 h 5143501"/>
              <a:gd name="connsiteX2" fmla="*/ 6284592 w 6284592"/>
              <a:gd name="connsiteY2" fmla="*/ 5143501 h 5143501"/>
              <a:gd name="connsiteX3" fmla="*/ 708294 w 6284592"/>
              <a:gd name="connsiteY3" fmla="*/ 5143501 h 5143501"/>
              <a:gd name="connsiteX4" fmla="*/ 387143 w 6284592"/>
              <a:gd name="connsiteY4" fmla="*/ 2811363 h 5143501"/>
              <a:gd name="connsiteX5" fmla="*/ 626494 w 6284592"/>
              <a:gd name="connsiteY5" fmla="*/ 1 h 5143501"/>
              <a:gd name="connsiteX6" fmla="*/ 188592 w 6284592"/>
              <a:gd name="connsiteY6" fmla="*/ 1 h 5143501"/>
              <a:gd name="connsiteX7" fmla="*/ 0 w 6284592"/>
              <a:gd name="connsiteY7" fmla="*/ 1 h 5143501"/>
              <a:gd name="connsiteX0" fmla="*/ 0 w 6096000"/>
              <a:gd name="connsiteY0" fmla="*/ 1 h 5143501"/>
              <a:gd name="connsiteX1" fmla="*/ 6096000 w 6096000"/>
              <a:gd name="connsiteY1" fmla="*/ 0 h 5143501"/>
              <a:gd name="connsiteX2" fmla="*/ 6096000 w 6096000"/>
              <a:gd name="connsiteY2" fmla="*/ 5143501 h 5143501"/>
              <a:gd name="connsiteX3" fmla="*/ 519702 w 6096000"/>
              <a:gd name="connsiteY3" fmla="*/ 5143501 h 5143501"/>
              <a:gd name="connsiteX4" fmla="*/ 198551 w 6096000"/>
              <a:gd name="connsiteY4" fmla="*/ 2811363 h 5143501"/>
              <a:gd name="connsiteX5" fmla="*/ 437902 w 6096000"/>
              <a:gd name="connsiteY5" fmla="*/ 1 h 5143501"/>
              <a:gd name="connsiteX6" fmla="*/ 0 w 6096000"/>
              <a:gd name="connsiteY6" fmla="*/ 1 h 5143501"/>
              <a:gd name="connsiteX0" fmla="*/ 239351 w 5897449"/>
              <a:gd name="connsiteY0" fmla="*/ 1 h 5143501"/>
              <a:gd name="connsiteX1" fmla="*/ 5897449 w 5897449"/>
              <a:gd name="connsiteY1" fmla="*/ 0 h 5143501"/>
              <a:gd name="connsiteX2" fmla="*/ 5897449 w 5897449"/>
              <a:gd name="connsiteY2" fmla="*/ 5143501 h 5143501"/>
              <a:gd name="connsiteX3" fmla="*/ 321151 w 5897449"/>
              <a:gd name="connsiteY3" fmla="*/ 5143501 h 5143501"/>
              <a:gd name="connsiteX4" fmla="*/ 0 w 5897449"/>
              <a:gd name="connsiteY4" fmla="*/ 2811363 h 5143501"/>
              <a:gd name="connsiteX5" fmla="*/ 239351 w 5897449"/>
              <a:gd name="connsiteY5" fmla="*/ 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97449" h="5143501">
                <a:moveTo>
                  <a:pt x="239351" y="1"/>
                </a:moveTo>
                <a:lnTo>
                  <a:pt x="5897449" y="0"/>
                </a:lnTo>
                <a:lnTo>
                  <a:pt x="5897449" y="5143501"/>
                </a:lnTo>
                <a:lnTo>
                  <a:pt x="321151" y="5143501"/>
                </a:lnTo>
                <a:lnTo>
                  <a:pt x="0" y="2811363"/>
                </a:lnTo>
                <a:lnTo>
                  <a:pt x="239351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34" name="Espace réservé du texte 533">
            <a:extLst>
              <a:ext uri="{FF2B5EF4-FFF2-40B4-BE49-F238E27FC236}">
                <a16:creationId xmlns:a16="http://schemas.microsoft.com/office/drawing/2014/main" id="{6A4C2977-D550-4471-9F3E-815F6F49158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11668" y="507082"/>
            <a:ext cx="5068800" cy="4129200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300"/>
              </a:spcBef>
              <a:spcAft>
                <a:spcPts val="1000"/>
              </a:spcAft>
              <a:buNone/>
              <a:defRPr sz="1400">
                <a:solidFill>
                  <a:schemeClr val="tx1"/>
                </a:solidFill>
              </a:defRPr>
            </a:lvl2pPr>
            <a:lvl3pPr marL="270000" indent="-270000" algn="l" defTabSz="457200" rtl="0" eaLnBrk="1" latinLnBrk="0" hangingPunct="1">
              <a:spcBef>
                <a:spcPts val="400"/>
              </a:spcBef>
              <a:spcAft>
                <a:spcPts val="1000"/>
              </a:spcAft>
              <a:buSzPct val="100000"/>
              <a:buFontTx/>
              <a:buBlip>
                <a:blip r:embed="rId2"/>
              </a:buBlip>
              <a:defRPr lang="fr-FR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0000" indent="-269875">
              <a:spcBef>
                <a:spcPts val="400"/>
              </a:spcBef>
              <a:spcAft>
                <a:spcPts val="1000"/>
              </a:spcAft>
              <a:buFontTx/>
              <a:buBlip>
                <a:blip r:embed="rId3"/>
              </a:buBlip>
              <a:defRPr sz="1400" b="1">
                <a:solidFill>
                  <a:schemeClr val="tx1"/>
                </a:solidFill>
              </a:defRPr>
            </a:lvl4pPr>
            <a:lvl5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4"/>
              </a:buBlip>
              <a:defRPr sz="1400" b="1">
                <a:solidFill>
                  <a:schemeClr val="tx1"/>
                </a:solidFill>
              </a:defRPr>
            </a:lvl5pPr>
            <a:lvl6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5"/>
              </a:buBlip>
              <a:defRPr sz="1400" b="1">
                <a:solidFill>
                  <a:schemeClr val="tx1"/>
                </a:solidFill>
              </a:defRPr>
            </a:lvl6pPr>
            <a:lvl7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6"/>
              </a:buBlip>
              <a:defRPr sz="1400" b="1">
                <a:solidFill>
                  <a:schemeClr val="tx1"/>
                </a:solidFill>
              </a:defRPr>
            </a:lvl7pPr>
            <a:lvl8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7"/>
              </a:buBlip>
              <a:defRPr sz="1400" b="1">
                <a:solidFill>
                  <a:schemeClr val="tx1"/>
                </a:solidFill>
              </a:defRPr>
            </a:lvl8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Puce bleu</a:t>
            </a:r>
          </a:p>
          <a:p>
            <a:pPr lvl="3"/>
            <a:r>
              <a:rPr lang="fr-FR" dirty="0"/>
              <a:t>Puce orange</a:t>
            </a:r>
          </a:p>
          <a:p>
            <a:pPr lvl="4"/>
            <a:r>
              <a:rPr lang="fr-FR" dirty="0"/>
              <a:t>Puce rouge</a:t>
            </a:r>
          </a:p>
          <a:p>
            <a:pPr lvl="5"/>
            <a:r>
              <a:rPr lang="fr-FR" dirty="0"/>
              <a:t>Puce vert d’eau</a:t>
            </a:r>
          </a:p>
          <a:p>
            <a:pPr lvl="6"/>
            <a:r>
              <a:rPr lang="fr-FR" dirty="0"/>
              <a:t>Puce verte</a:t>
            </a:r>
          </a:p>
          <a:p>
            <a:pPr lvl="7"/>
            <a:r>
              <a:rPr lang="fr-FR" dirty="0"/>
              <a:t>Puce violette</a:t>
            </a:r>
          </a:p>
        </p:txBody>
      </p:sp>
      <p:sp>
        <p:nvSpPr>
          <p:cNvPr id="536" name="Espace réservé du texte 535">
            <a:extLst>
              <a:ext uri="{FF2B5EF4-FFF2-40B4-BE49-F238E27FC236}">
                <a16:creationId xmlns:a16="http://schemas.microsoft.com/office/drawing/2014/main" id="{FDBBC0BA-813C-472C-8014-D20CA63A20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-6824" y="0"/>
            <a:ext cx="3492727" cy="2565779"/>
          </a:xfrm>
          <a:custGeom>
            <a:avLst/>
            <a:gdLst>
              <a:gd name="connsiteX0" fmla="*/ 3353602 w 4086971"/>
              <a:gd name="connsiteY0" fmla="*/ 3588742 h 5143499"/>
              <a:gd name="connsiteX1" fmla="*/ 3567703 w 4086971"/>
              <a:gd name="connsiteY1" fmla="*/ 5143499 h 5143499"/>
              <a:gd name="connsiteX2" fmla="*/ 3567703 w 4086971"/>
              <a:gd name="connsiteY2" fmla="*/ 5143499 h 5143499"/>
              <a:gd name="connsiteX3" fmla="*/ 0 w 4086971"/>
              <a:gd name="connsiteY3" fmla="*/ 0 h 5143499"/>
              <a:gd name="connsiteX4" fmla="*/ 4086971 w 4086971"/>
              <a:gd name="connsiteY4" fmla="*/ 0 h 5143499"/>
              <a:gd name="connsiteX5" fmla="*/ 4086971 w 4086971"/>
              <a:gd name="connsiteY5" fmla="*/ 1 h 5143499"/>
              <a:gd name="connsiteX6" fmla="*/ 1 w 4086971"/>
              <a:gd name="connsiteY6" fmla="*/ 1 h 5143499"/>
              <a:gd name="connsiteX7" fmla="*/ 1 w 4086971"/>
              <a:gd name="connsiteY7" fmla="*/ 2 h 5143499"/>
              <a:gd name="connsiteX8" fmla="*/ 2859409 w 4086971"/>
              <a:gd name="connsiteY8" fmla="*/ 2 h 5143499"/>
              <a:gd name="connsiteX9" fmla="*/ 3048001 w 4086971"/>
              <a:gd name="connsiteY9" fmla="*/ 2 h 5143499"/>
              <a:gd name="connsiteX10" fmla="*/ 3485903 w 4086971"/>
              <a:gd name="connsiteY10" fmla="*/ 2 h 5143499"/>
              <a:gd name="connsiteX11" fmla="*/ 3246552 w 4086971"/>
              <a:gd name="connsiteY11" fmla="*/ 2811363 h 5143499"/>
              <a:gd name="connsiteX12" fmla="*/ 3246552 w 4086971"/>
              <a:gd name="connsiteY12" fmla="*/ 2811363 h 5143499"/>
              <a:gd name="connsiteX13" fmla="*/ 3048001 w 4086971"/>
              <a:gd name="connsiteY13" fmla="*/ 5143499 h 5143499"/>
              <a:gd name="connsiteX14" fmla="*/ 0 w 4086971"/>
              <a:gd name="connsiteY14" fmla="*/ 5143499 h 5143499"/>
              <a:gd name="connsiteX0" fmla="*/ 3353602 w 4086971"/>
              <a:gd name="connsiteY0" fmla="*/ 3588742 h 5143499"/>
              <a:gd name="connsiteX1" fmla="*/ 3567703 w 4086971"/>
              <a:gd name="connsiteY1" fmla="*/ 5143499 h 5143499"/>
              <a:gd name="connsiteX2" fmla="*/ 3567703 w 4086971"/>
              <a:gd name="connsiteY2" fmla="*/ 5143499 h 5143499"/>
              <a:gd name="connsiteX3" fmla="*/ 3353602 w 4086971"/>
              <a:gd name="connsiteY3" fmla="*/ 3588742 h 5143499"/>
              <a:gd name="connsiteX4" fmla="*/ 0 w 4086971"/>
              <a:gd name="connsiteY4" fmla="*/ 0 h 5143499"/>
              <a:gd name="connsiteX5" fmla="*/ 4086971 w 4086971"/>
              <a:gd name="connsiteY5" fmla="*/ 0 h 5143499"/>
              <a:gd name="connsiteX6" fmla="*/ 1 w 4086971"/>
              <a:gd name="connsiteY6" fmla="*/ 1 h 5143499"/>
              <a:gd name="connsiteX7" fmla="*/ 1 w 4086971"/>
              <a:gd name="connsiteY7" fmla="*/ 2 h 5143499"/>
              <a:gd name="connsiteX8" fmla="*/ 2859409 w 4086971"/>
              <a:gd name="connsiteY8" fmla="*/ 2 h 5143499"/>
              <a:gd name="connsiteX9" fmla="*/ 3048001 w 4086971"/>
              <a:gd name="connsiteY9" fmla="*/ 2 h 5143499"/>
              <a:gd name="connsiteX10" fmla="*/ 3485903 w 4086971"/>
              <a:gd name="connsiteY10" fmla="*/ 2 h 5143499"/>
              <a:gd name="connsiteX11" fmla="*/ 3246552 w 4086971"/>
              <a:gd name="connsiteY11" fmla="*/ 2811363 h 5143499"/>
              <a:gd name="connsiteX12" fmla="*/ 3246552 w 4086971"/>
              <a:gd name="connsiteY12" fmla="*/ 2811363 h 5143499"/>
              <a:gd name="connsiteX13" fmla="*/ 3048001 w 4086971"/>
              <a:gd name="connsiteY13" fmla="*/ 5143499 h 5143499"/>
              <a:gd name="connsiteX14" fmla="*/ 0 w 4086971"/>
              <a:gd name="connsiteY14" fmla="*/ 5143499 h 5143499"/>
              <a:gd name="connsiteX15" fmla="*/ 0 w 4086971"/>
              <a:gd name="connsiteY15" fmla="*/ 0 h 5143499"/>
              <a:gd name="connsiteX0" fmla="*/ 3353602 w 3567703"/>
              <a:gd name="connsiteY0" fmla="*/ 3588742 h 5143499"/>
              <a:gd name="connsiteX1" fmla="*/ 3567703 w 3567703"/>
              <a:gd name="connsiteY1" fmla="*/ 5143499 h 5143499"/>
              <a:gd name="connsiteX2" fmla="*/ 3567703 w 3567703"/>
              <a:gd name="connsiteY2" fmla="*/ 5143499 h 5143499"/>
              <a:gd name="connsiteX3" fmla="*/ 3353602 w 3567703"/>
              <a:gd name="connsiteY3" fmla="*/ 3588742 h 5143499"/>
              <a:gd name="connsiteX4" fmla="*/ 0 w 3567703"/>
              <a:gd name="connsiteY4" fmla="*/ 0 h 5143499"/>
              <a:gd name="connsiteX5" fmla="*/ 1 w 3567703"/>
              <a:gd name="connsiteY5" fmla="*/ 1 h 5143499"/>
              <a:gd name="connsiteX6" fmla="*/ 1 w 3567703"/>
              <a:gd name="connsiteY6" fmla="*/ 2 h 5143499"/>
              <a:gd name="connsiteX7" fmla="*/ 2859409 w 3567703"/>
              <a:gd name="connsiteY7" fmla="*/ 2 h 5143499"/>
              <a:gd name="connsiteX8" fmla="*/ 3048001 w 3567703"/>
              <a:gd name="connsiteY8" fmla="*/ 2 h 5143499"/>
              <a:gd name="connsiteX9" fmla="*/ 3485903 w 3567703"/>
              <a:gd name="connsiteY9" fmla="*/ 2 h 5143499"/>
              <a:gd name="connsiteX10" fmla="*/ 3246552 w 3567703"/>
              <a:gd name="connsiteY10" fmla="*/ 2811363 h 5143499"/>
              <a:gd name="connsiteX11" fmla="*/ 3246552 w 3567703"/>
              <a:gd name="connsiteY11" fmla="*/ 2811363 h 5143499"/>
              <a:gd name="connsiteX12" fmla="*/ 3048001 w 3567703"/>
              <a:gd name="connsiteY12" fmla="*/ 5143499 h 5143499"/>
              <a:gd name="connsiteX13" fmla="*/ 0 w 3567703"/>
              <a:gd name="connsiteY13" fmla="*/ 5143499 h 5143499"/>
              <a:gd name="connsiteX14" fmla="*/ 0 w 3567703"/>
              <a:gd name="connsiteY14" fmla="*/ 0 h 5143499"/>
              <a:gd name="connsiteX0" fmla="*/ 3353602 w 3567703"/>
              <a:gd name="connsiteY0" fmla="*/ 3588742 h 5143499"/>
              <a:gd name="connsiteX1" fmla="*/ 3567703 w 3567703"/>
              <a:gd name="connsiteY1" fmla="*/ 5143499 h 5143499"/>
              <a:gd name="connsiteX2" fmla="*/ 3353602 w 3567703"/>
              <a:gd name="connsiteY2" fmla="*/ 3588742 h 5143499"/>
              <a:gd name="connsiteX3" fmla="*/ 0 w 3567703"/>
              <a:gd name="connsiteY3" fmla="*/ 0 h 5143499"/>
              <a:gd name="connsiteX4" fmla="*/ 1 w 3567703"/>
              <a:gd name="connsiteY4" fmla="*/ 1 h 5143499"/>
              <a:gd name="connsiteX5" fmla="*/ 1 w 3567703"/>
              <a:gd name="connsiteY5" fmla="*/ 2 h 5143499"/>
              <a:gd name="connsiteX6" fmla="*/ 2859409 w 3567703"/>
              <a:gd name="connsiteY6" fmla="*/ 2 h 5143499"/>
              <a:gd name="connsiteX7" fmla="*/ 3048001 w 3567703"/>
              <a:gd name="connsiteY7" fmla="*/ 2 h 5143499"/>
              <a:gd name="connsiteX8" fmla="*/ 3485903 w 3567703"/>
              <a:gd name="connsiteY8" fmla="*/ 2 h 5143499"/>
              <a:gd name="connsiteX9" fmla="*/ 3246552 w 3567703"/>
              <a:gd name="connsiteY9" fmla="*/ 2811363 h 5143499"/>
              <a:gd name="connsiteX10" fmla="*/ 3246552 w 3567703"/>
              <a:gd name="connsiteY10" fmla="*/ 2811363 h 5143499"/>
              <a:gd name="connsiteX11" fmla="*/ 3048001 w 3567703"/>
              <a:gd name="connsiteY11" fmla="*/ 5143499 h 5143499"/>
              <a:gd name="connsiteX12" fmla="*/ 0 w 3567703"/>
              <a:gd name="connsiteY12" fmla="*/ 5143499 h 5143499"/>
              <a:gd name="connsiteX13" fmla="*/ 0 w 3567703"/>
              <a:gd name="connsiteY13" fmla="*/ 0 h 5143499"/>
              <a:gd name="connsiteX0" fmla="*/ 0 w 3485903"/>
              <a:gd name="connsiteY0" fmla="*/ 0 h 5143499"/>
              <a:gd name="connsiteX1" fmla="*/ 1 w 3485903"/>
              <a:gd name="connsiteY1" fmla="*/ 1 h 5143499"/>
              <a:gd name="connsiteX2" fmla="*/ 1 w 3485903"/>
              <a:gd name="connsiteY2" fmla="*/ 2 h 5143499"/>
              <a:gd name="connsiteX3" fmla="*/ 2859409 w 3485903"/>
              <a:gd name="connsiteY3" fmla="*/ 2 h 5143499"/>
              <a:gd name="connsiteX4" fmla="*/ 3048001 w 3485903"/>
              <a:gd name="connsiteY4" fmla="*/ 2 h 5143499"/>
              <a:gd name="connsiteX5" fmla="*/ 3485903 w 3485903"/>
              <a:gd name="connsiteY5" fmla="*/ 2 h 5143499"/>
              <a:gd name="connsiteX6" fmla="*/ 3246552 w 3485903"/>
              <a:gd name="connsiteY6" fmla="*/ 2811363 h 5143499"/>
              <a:gd name="connsiteX7" fmla="*/ 3246552 w 3485903"/>
              <a:gd name="connsiteY7" fmla="*/ 2811363 h 5143499"/>
              <a:gd name="connsiteX8" fmla="*/ 3048001 w 3485903"/>
              <a:gd name="connsiteY8" fmla="*/ 5143499 h 5143499"/>
              <a:gd name="connsiteX9" fmla="*/ 0 w 3485903"/>
              <a:gd name="connsiteY9" fmla="*/ 5143499 h 5143499"/>
              <a:gd name="connsiteX10" fmla="*/ 0 w 3485903"/>
              <a:gd name="connsiteY10" fmla="*/ 0 h 5143499"/>
              <a:gd name="connsiteX0" fmla="*/ 0 w 3485903"/>
              <a:gd name="connsiteY0" fmla="*/ 0 h 5143499"/>
              <a:gd name="connsiteX1" fmla="*/ 1 w 3485903"/>
              <a:gd name="connsiteY1" fmla="*/ 1 h 5143499"/>
              <a:gd name="connsiteX2" fmla="*/ 1 w 3485903"/>
              <a:gd name="connsiteY2" fmla="*/ 2 h 5143499"/>
              <a:gd name="connsiteX3" fmla="*/ 2859409 w 3485903"/>
              <a:gd name="connsiteY3" fmla="*/ 2 h 5143499"/>
              <a:gd name="connsiteX4" fmla="*/ 3048001 w 3485903"/>
              <a:gd name="connsiteY4" fmla="*/ 2 h 5143499"/>
              <a:gd name="connsiteX5" fmla="*/ 3485903 w 3485903"/>
              <a:gd name="connsiteY5" fmla="*/ 2 h 5143499"/>
              <a:gd name="connsiteX6" fmla="*/ 3370997 w 3485903"/>
              <a:gd name="connsiteY6" fmla="*/ 1337481 h 5143499"/>
              <a:gd name="connsiteX7" fmla="*/ 3246552 w 3485903"/>
              <a:gd name="connsiteY7" fmla="*/ 2811363 h 5143499"/>
              <a:gd name="connsiteX8" fmla="*/ 3246552 w 3485903"/>
              <a:gd name="connsiteY8" fmla="*/ 2811363 h 5143499"/>
              <a:gd name="connsiteX9" fmla="*/ 3048001 w 3485903"/>
              <a:gd name="connsiteY9" fmla="*/ 5143499 h 5143499"/>
              <a:gd name="connsiteX10" fmla="*/ 0 w 3485903"/>
              <a:gd name="connsiteY10" fmla="*/ 5143499 h 5143499"/>
              <a:gd name="connsiteX11" fmla="*/ 0 w 3485903"/>
              <a:gd name="connsiteY11" fmla="*/ 0 h 5143499"/>
              <a:gd name="connsiteX0" fmla="*/ 6824 w 3492727"/>
              <a:gd name="connsiteY0" fmla="*/ 0 h 5143499"/>
              <a:gd name="connsiteX1" fmla="*/ 6825 w 3492727"/>
              <a:gd name="connsiteY1" fmla="*/ 1 h 5143499"/>
              <a:gd name="connsiteX2" fmla="*/ 6825 w 3492727"/>
              <a:gd name="connsiteY2" fmla="*/ 2 h 5143499"/>
              <a:gd name="connsiteX3" fmla="*/ 2866233 w 3492727"/>
              <a:gd name="connsiteY3" fmla="*/ 2 h 5143499"/>
              <a:gd name="connsiteX4" fmla="*/ 3054825 w 3492727"/>
              <a:gd name="connsiteY4" fmla="*/ 2 h 5143499"/>
              <a:gd name="connsiteX5" fmla="*/ 3492727 w 3492727"/>
              <a:gd name="connsiteY5" fmla="*/ 2 h 5143499"/>
              <a:gd name="connsiteX6" fmla="*/ 3377821 w 3492727"/>
              <a:gd name="connsiteY6" fmla="*/ 1337481 h 5143499"/>
              <a:gd name="connsiteX7" fmla="*/ 3253376 w 3492727"/>
              <a:gd name="connsiteY7" fmla="*/ 2811363 h 5143499"/>
              <a:gd name="connsiteX8" fmla="*/ 3253376 w 3492727"/>
              <a:gd name="connsiteY8" fmla="*/ 2811363 h 5143499"/>
              <a:gd name="connsiteX9" fmla="*/ 3054825 w 3492727"/>
              <a:gd name="connsiteY9" fmla="*/ 5143499 h 5143499"/>
              <a:gd name="connsiteX10" fmla="*/ 6824 w 3492727"/>
              <a:gd name="connsiteY10" fmla="*/ 5143499 h 5143499"/>
              <a:gd name="connsiteX11" fmla="*/ 0 w 3492727"/>
              <a:gd name="connsiteY11" fmla="*/ 2565779 h 5143499"/>
              <a:gd name="connsiteX12" fmla="*/ 6824 w 3492727"/>
              <a:gd name="connsiteY12" fmla="*/ 0 h 5143499"/>
              <a:gd name="connsiteX0" fmla="*/ 6824 w 3492727"/>
              <a:gd name="connsiteY0" fmla="*/ 0 h 5143499"/>
              <a:gd name="connsiteX1" fmla="*/ 6825 w 3492727"/>
              <a:gd name="connsiteY1" fmla="*/ 1 h 5143499"/>
              <a:gd name="connsiteX2" fmla="*/ 6825 w 3492727"/>
              <a:gd name="connsiteY2" fmla="*/ 2 h 5143499"/>
              <a:gd name="connsiteX3" fmla="*/ 2866233 w 3492727"/>
              <a:gd name="connsiteY3" fmla="*/ 2 h 5143499"/>
              <a:gd name="connsiteX4" fmla="*/ 3054825 w 3492727"/>
              <a:gd name="connsiteY4" fmla="*/ 2 h 5143499"/>
              <a:gd name="connsiteX5" fmla="*/ 3492727 w 3492727"/>
              <a:gd name="connsiteY5" fmla="*/ 2 h 5143499"/>
              <a:gd name="connsiteX6" fmla="*/ 3377821 w 3492727"/>
              <a:gd name="connsiteY6" fmla="*/ 1337481 h 5143499"/>
              <a:gd name="connsiteX7" fmla="*/ 3253376 w 3492727"/>
              <a:gd name="connsiteY7" fmla="*/ 2811363 h 5143499"/>
              <a:gd name="connsiteX8" fmla="*/ 3253376 w 3492727"/>
              <a:gd name="connsiteY8" fmla="*/ 2811363 h 5143499"/>
              <a:gd name="connsiteX9" fmla="*/ 3054825 w 3492727"/>
              <a:gd name="connsiteY9" fmla="*/ 5143499 h 5143499"/>
              <a:gd name="connsiteX10" fmla="*/ 0 w 3492727"/>
              <a:gd name="connsiteY10" fmla="*/ 2565779 h 5143499"/>
              <a:gd name="connsiteX11" fmla="*/ 6824 w 3492727"/>
              <a:gd name="connsiteY11" fmla="*/ 0 h 5143499"/>
              <a:gd name="connsiteX0" fmla="*/ 6824 w 3492727"/>
              <a:gd name="connsiteY0" fmla="*/ 0 h 2811363"/>
              <a:gd name="connsiteX1" fmla="*/ 6825 w 3492727"/>
              <a:gd name="connsiteY1" fmla="*/ 1 h 2811363"/>
              <a:gd name="connsiteX2" fmla="*/ 6825 w 3492727"/>
              <a:gd name="connsiteY2" fmla="*/ 2 h 2811363"/>
              <a:gd name="connsiteX3" fmla="*/ 2866233 w 3492727"/>
              <a:gd name="connsiteY3" fmla="*/ 2 h 2811363"/>
              <a:gd name="connsiteX4" fmla="*/ 3054825 w 3492727"/>
              <a:gd name="connsiteY4" fmla="*/ 2 h 2811363"/>
              <a:gd name="connsiteX5" fmla="*/ 3492727 w 3492727"/>
              <a:gd name="connsiteY5" fmla="*/ 2 h 2811363"/>
              <a:gd name="connsiteX6" fmla="*/ 3377821 w 3492727"/>
              <a:gd name="connsiteY6" fmla="*/ 1337481 h 2811363"/>
              <a:gd name="connsiteX7" fmla="*/ 3253376 w 3492727"/>
              <a:gd name="connsiteY7" fmla="*/ 2811363 h 2811363"/>
              <a:gd name="connsiteX8" fmla="*/ 3253376 w 3492727"/>
              <a:gd name="connsiteY8" fmla="*/ 2811363 h 2811363"/>
              <a:gd name="connsiteX9" fmla="*/ 0 w 3492727"/>
              <a:gd name="connsiteY9" fmla="*/ 2565779 h 2811363"/>
              <a:gd name="connsiteX10" fmla="*/ 6824 w 3492727"/>
              <a:gd name="connsiteY10" fmla="*/ 0 h 2811363"/>
              <a:gd name="connsiteX0" fmla="*/ 6824 w 3492727"/>
              <a:gd name="connsiteY0" fmla="*/ 0 h 2811363"/>
              <a:gd name="connsiteX1" fmla="*/ 6825 w 3492727"/>
              <a:gd name="connsiteY1" fmla="*/ 1 h 2811363"/>
              <a:gd name="connsiteX2" fmla="*/ 6825 w 3492727"/>
              <a:gd name="connsiteY2" fmla="*/ 2 h 2811363"/>
              <a:gd name="connsiteX3" fmla="*/ 2866233 w 3492727"/>
              <a:gd name="connsiteY3" fmla="*/ 2 h 2811363"/>
              <a:gd name="connsiteX4" fmla="*/ 3054825 w 3492727"/>
              <a:gd name="connsiteY4" fmla="*/ 2 h 2811363"/>
              <a:gd name="connsiteX5" fmla="*/ 3492727 w 3492727"/>
              <a:gd name="connsiteY5" fmla="*/ 2 h 2811363"/>
              <a:gd name="connsiteX6" fmla="*/ 3377821 w 3492727"/>
              <a:gd name="connsiteY6" fmla="*/ 1337481 h 2811363"/>
              <a:gd name="connsiteX7" fmla="*/ 3253376 w 3492727"/>
              <a:gd name="connsiteY7" fmla="*/ 2811363 h 2811363"/>
              <a:gd name="connsiteX8" fmla="*/ 0 w 3492727"/>
              <a:gd name="connsiteY8" fmla="*/ 2565779 h 2811363"/>
              <a:gd name="connsiteX9" fmla="*/ 6824 w 3492727"/>
              <a:gd name="connsiteY9" fmla="*/ 0 h 2811363"/>
              <a:gd name="connsiteX0" fmla="*/ 6824 w 3492727"/>
              <a:gd name="connsiteY0" fmla="*/ 0 h 2565779"/>
              <a:gd name="connsiteX1" fmla="*/ 6825 w 3492727"/>
              <a:gd name="connsiteY1" fmla="*/ 1 h 2565779"/>
              <a:gd name="connsiteX2" fmla="*/ 6825 w 3492727"/>
              <a:gd name="connsiteY2" fmla="*/ 2 h 2565779"/>
              <a:gd name="connsiteX3" fmla="*/ 2866233 w 3492727"/>
              <a:gd name="connsiteY3" fmla="*/ 2 h 2565779"/>
              <a:gd name="connsiteX4" fmla="*/ 3054825 w 3492727"/>
              <a:gd name="connsiteY4" fmla="*/ 2 h 2565779"/>
              <a:gd name="connsiteX5" fmla="*/ 3492727 w 3492727"/>
              <a:gd name="connsiteY5" fmla="*/ 2 h 2565779"/>
              <a:gd name="connsiteX6" fmla="*/ 3377821 w 3492727"/>
              <a:gd name="connsiteY6" fmla="*/ 1337481 h 2565779"/>
              <a:gd name="connsiteX7" fmla="*/ 0 w 3492727"/>
              <a:gd name="connsiteY7" fmla="*/ 2565779 h 2565779"/>
              <a:gd name="connsiteX8" fmla="*/ 6824 w 3492727"/>
              <a:gd name="connsiteY8" fmla="*/ 0 h 2565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92727" h="2565779">
                <a:moveTo>
                  <a:pt x="6824" y="0"/>
                </a:moveTo>
                <a:lnTo>
                  <a:pt x="6825" y="1"/>
                </a:lnTo>
                <a:lnTo>
                  <a:pt x="6825" y="2"/>
                </a:lnTo>
                <a:lnTo>
                  <a:pt x="2866233" y="2"/>
                </a:lnTo>
                <a:lnTo>
                  <a:pt x="3054825" y="2"/>
                </a:lnTo>
                <a:lnTo>
                  <a:pt x="3492727" y="2"/>
                </a:lnTo>
                <a:lnTo>
                  <a:pt x="3377821" y="1337481"/>
                </a:lnTo>
                <a:lnTo>
                  <a:pt x="0" y="2565779"/>
                </a:lnTo>
                <a:cubicBezTo>
                  <a:pt x="2275" y="1710519"/>
                  <a:pt x="4549" y="855260"/>
                  <a:pt x="6824" y="0"/>
                </a:cubicBezTo>
                <a:close/>
              </a:path>
            </a:pathLst>
          </a:custGeom>
          <a:solidFill>
            <a:schemeClr val="tx2">
              <a:alpha val="80000"/>
            </a:schemeClr>
          </a:solidFill>
        </p:spPr>
        <p:txBody>
          <a:bodyPr vert="horz" wrap="square" lIns="91440" tIns="45720" rIns="91440" bIns="45720" rtlCol="0">
            <a:noAutofit/>
          </a:bodyPr>
          <a:lstStyle>
            <a:lvl1pPr>
              <a:defRPr lang="fr-FR" sz="100" dirty="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28" name="Espace réservé du texte 527">
            <a:extLst>
              <a:ext uri="{FF2B5EF4-FFF2-40B4-BE49-F238E27FC236}">
                <a16:creationId xmlns:a16="http://schemas.microsoft.com/office/drawing/2014/main" id="{6A8E0876-8CB4-4156-A0C1-0BC7361D1C40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429470" y="1194381"/>
            <a:ext cx="108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29" name="Espace réservé du texte 528">
            <a:extLst>
              <a:ext uri="{FF2B5EF4-FFF2-40B4-BE49-F238E27FC236}">
                <a16:creationId xmlns:a16="http://schemas.microsoft.com/office/drawing/2014/main" id="{20C5F896-3CE3-44F8-B5B2-F667F9101641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1512561" y="1194381"/>
            <a:ext cx="108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rgbClr val="3A1B0B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31" name="Espace réservé du texte 530">
            <a:extLst>
              <a:ext uri="{FF2B5EF4-FFF2-40B4-BE49-F238E27FC236}">
                <a16:creationId xmlns:a16="http://schemas.microsoft.com/office/drawing/2014/main" id="{70ADA97F-36B2-42A5-9506-18C5EA9C6E0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3993" y="190831"/>
            <a:ext cx="2495932" cy="92235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3pPr>
            <a:lvl4pPr marL="0" indent="0">
              <a:buNone/>
              <a:defRPr sz="1000">
                <a:solidFill>
                  <a:schemeClr val="bg1"/>
                </a:solidFill>
              </a:defRPr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F07F141A-1265-42D2-9F40-A84C5A069F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48000" y="2811362"/>
            <a:ext cx="519702" cy="2332138"/>
          </a:xfrm>
          <a:custGeom>
            <a:avLst/>
            <a:gdLst>
              <a:gd name="connsiteX0" fmla="*/ 198551 w 519702"/>
              <a:gd name="connsiteY0" fmla="*/ 0 h 2332138"/>
              <a:gd name="connsiteX1" fmla="*/ 519702 w 519702"/>
              <a:gd name="connsiteY1" fmla="*/ 2332138 h 2332138"/>
              <a:gd name="connsiteX2" fmla="*/ 0 w 519702"/>
              <a:gd name="connsiteY2" fmla="*/ 2332138 h 2332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19702" h="2332138">
                <a:moveTo>
                  <a:pt x="198551" y="0"/>
                </a:moveTo>
                <a:lnTo>
                  <a:pt x="519702" y="2332138"/>
                </a:lnTo>
                <a:lnTo>
                  <a:pt x="0" y="233213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180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154667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filtre bleu + Conten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5" name="Espace réservé pour une image  524">
            <a:extLst>
              <a:ext uri="{FF2B5EF4-FFF2-40B4-BE49-F238E27FC236}">
                <a16:creationId xmlns:a16="http://schemas.microsoft.com/office/drawing/2014/main" id="{98410260-974C-4913-B9B1-FBF4231643C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2"/>
            <a:ext cx="3567702" cy="5143499"/>
          </a:xfrm>
          <a:custGeom>
            <a:avLst/>
            <a:gdLst>
              <a:gd name="connsiteX0" fmla="*/ 0 w 3567702"/>
              <a:gd name="connsiteY0" fmla="*/ 0 h 5143499"/>
              <a:gd name="connsiteX1" fmla="*/ 2859408 w 3567702"/>
              <a:gd name="connsiteY1" fmla="*/ 0 h 5143499"/>
              <a:gd name="connsiteX2" fmla="*/ 3048000 w 3567702"/>
              <a:gd name="connsiteY2" fmla="*/ 0 h 5143499"/>
              <a:gd name="connsiteX3" fmla="*/ 3485902 w 3567702"/>
              <a:gd name="connsiteY3" fmla="*/ 0 h 5143499"/>
              <a:gd name="connsiteX4" fmla="*/ 3246551 w 3567702"/>
              <a:gd name="connsiteY4" fmla="*/ 2811361 h 5143499"/>
              <a:gd name="connsiteX5" fmla="*/ 3246551 w 3567702"/>
              <a:gd name="connsiteY5" fmla="*/ 2811360 h 5143499"/>
              <a:gd name="connsiteX6" fmla="*/ 3048000 w 3567702"/>
              <a:gd name="connsiteY6" fmla="*/ 5143498 h 5143499"/>
              <a:gd name="connsiteX7" fmla="*/ 3567702 w 3567702"/>
              <a:gd name="connsiteY7" fmla="*/ 5143498 h 5143499"/>
              <a:gd name="connsiteX8" fmla="*/ 3567702 w 3567702"/>
              <a:gd name="connsiteY8" fmla="*/ 5143499 h 5143499"/>
              <a:gd name="connsiteX9" fmla="*/ 0 w 3567702"/>
              <a:gd name="connsiteY9" fmla="*/ 5143499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67702" h="5143499">
                <a:moveTo>
                  <a:pt x="0" y="0"/>
                </a:moveTo>
                <a:lnTo>
                  <a:pt x="2859408" y="0"/>
                </a:lnTo>
                <a:lnTo>
                  <a:pt x="3048000" y="0"/>
                </a:lnTo>
                <a:lnTo>
                  <a:pt x="3485902" y="0"/>
                </a:lnTo>
                <a:lnTo>
                  <a:pt x="3246551" y="2811361"/>
                </a:lnTo>
                <a:lnTo>
                  <a:pt x="3246551" y="2811360"/>
                </a:lnTo>
                <a:lnTo>
                  <a:pt x="3048000" y="5143498"/>
                </a:lnTo>
                <a:lnTo>
                  <a:pt x="3567702" y="5143498"/>
                </a:lnTo>
                <a:lnTo>
                  <a:pt x="3567702" y="5143499"/>
                </a:lnTo>
                <a:lnTo>
                  <a:pt x="0" y="5143499"/>
                </a:ln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Cliquez sur l’icône</a:t>
            </a:r>
            <a:br>
              <a:rPr lang="fr-FR" dirty="0"/>
            </a:br>
            <a:r>
              <a:rPr lang="fr-FR" dirty="0"/>
              <a:t>pour ajouter une image</a:t>
            </a:r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5CE4A1F0-610C-4E30-853B-8F3E7CCABABE}"/>
              </a:ext>
            </a:extLst>
          </p:cNvPr>
          <p:cNvSpPr/>
          <p:nvPr userDrawn="1"/>
        </p:nvSpPr>
        <p:spPr>
          <a:xfrm>
            <a:off x="3246551" y="-3"/>
            <a:ext cx="5897449" cy="5143501"/>
          </a:xfrm>
          <a:custGeom>
            <a:avLst/>
            <a:gdLst>
              <a:gd name="connsiteX0" fmla="*/ 675524 w 5897449"/>
              <a:gd name="connsiteY0" fmla="*/ 1246049 h 5143501"/>
              <a:gd name="connsiteX1" fmla="*/ 675524 w 5897449"/>
              <a:gd name="connsiteY1" fmla="*/ 1291768 h 5143501"/>
              <a:gd name="connsiteX2" fmla="*/ 1035524 w 5897449"/>
              <a:gd name="connsiteY2" fmla="*/ 1291768 h 5143501"/>
              <a:gd name="connsiteX3" fmla="*/ 1035524 w 5897449"/>
              <a:gd name="connsiteY3" fmla="*/ 1246049 h 5143501"/>
              <a:gd name="connsiteX4" fmla="*/ 5897449 w 5897449"/>
              <a:gd name="connsiteY4" fmla="*/ 0 h 5143501"/>
              <a:gd name="connsiteX5" fmla="*/ 5897449 w 5897449"/>
              <a:gd name="connsiteY5" fmla="*/ 5143501 h 5143501"/>
              <a:gd name="connsiteX6" fmla="*/ 321151 w 5897449"/>
              <a:gd name="connsiteY6" fmla="*/ 5143501 h 5143501"/>
              <a:gd name="connsiteX7" fmla="*/ 0 w 5897449"/>
              <a:gd name="connsiteY7" fmla="*/ 2811363 h 5143501"/>
              <a:gd name="connsiteX8" fmla="*/ 239351 w 5897449"/>
              <a:gd name="connsiteY8" fmla="*/ 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97449" h="5143501">
                <a:moveTo>
                  <a:pt x="675524" y="1246049"/>
                </a:moveTo>
                <a:lnTo>
                  <a:pt x="675524" y="1291768"/>
                </a:lnTo>
                <a:lnTo>
                  <a:pt x="1035524" y="1291768"/>
                </a:lnTo>
                <a:lnTo>
                  <a:pt x="1035524" y="1246049"/>
                </a:lnTo>
                <a:close/>
                <a:moveTo>
                  <a:pt x="5897449" y="0"/>
                </a:moveTo>
                <a:lnTo>
                  <a:pt x="5897449" y="5143501"/>
                </a:lnTo>
                <a:lnTo>
                  <a:pt x="321151" y="5143501"/>
                </a:lnTo>
                <a:lnTo>
                  <a:pt x="0" y="2811363"/>
                </a:lnTo>
                <a:lnTo>
                  <a:pt x="239351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534" name="Espace réservé du texte 533">
            <a:extLst>
              <a:ext uri="{FF2B5EF4-FFF2-40B4-BE49-F238E27FC236}">
                <a16:creationId xmlns:a16="http://schemas.microsoft.com/office/drawing/2014/main" id="{6A4C2977-D550-4471-9F3E-815F6F49158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11668" y="1733384"/>
            <a:ext cx="5068800" cy="2902897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300"/>
              </a:spcBef>
              <a:spcAft>
                <a:spcPts val="1000"/>
              </a:spcAft>
              <a:buNone/>
              <a:defRPr sz="1400">
                <a:solidFill>
                  <a:schemeClr val="tx1"/>
                </a:solidFill>
              </a:defRPr>
            </a:lvl2pPr>
            <a:lvl3pPr marL="270000" indent="-270000" algn="l" defTabSz="457200" rtl="0" eaLnBrk="1" latinLnBrk="0" hangingPunct="1">
              <a:spcBef>
                <a:spcPts val="400"/>
              </a:spcBef>
              <a:spcAft>
                <a:spcPts val="1000"/>
              </a:spcAft>
              <a:buSzPct val="100000"/>
              <a:buFontTx/>
              <a:buBlip>
                <a:blip r:embed="rId2"/>
              </a:buBlip>
              <a:defRPr lang="fr-FR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0000" indent="-269875">
              <a:spcBef>
                <a:spcPts val="400"/>
              </a:spcBef>
              <a:spcAft>
                <a:spcPts val="1000"/>
              </a:spcAft>
              <a:buFontTx/>
              <a:buBlip>
                <a:blip r:embed="rId3"/>
              </a:buBlip>
              <a:defRPr sz="1400" b="1">
                <a:solidFill>
                  <a:schemeClr val="tx1"/>
                </a:solidFill>
              </a:defRPr>
            </a:lvl4pPr>
            <a:lvl5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4"/>
              </a:buBlip>
              <a:defRPr sz="1400" b="1">
                <a:solidFill>
                  <a:schemeClr val="tx1"/>
                </a:solidFill>
              </a:defRPr>
            </a:lvl5pPr>
            <a:lvl6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5"/>
              </a:buBlip>
              <a:defRPr sz="1400" b="1">
                <a:solidFill>
                  <a:schemeClr val="tx1"/>
                </a:solidFill>
              </a:defRPr>
            </a:lvl6pPr>
            <a:lvl7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6"/>
              </a:buBlip>
              <a:defRPr sz="1400" b="1">
                <a:solidFill>
                  <a:schemeClr val="tx1"/>
                </a:solidFill>
              </a:defRPr>
            </a:lvl7pPr>
            <a:lvl8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7"/>
              </a:buBlip>
              <a:defRPr sz="1400" b="1">
                <a:solidFill>
                  <a:schemeClr val="tx1"/>
                </a:solidFill>
              </a:defRPr>
            </a:lvl8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Puce bleu</a:t>
            </a:r>
          </a:p>
          <a:p>
            <a:pPr lvl="3"/>
            <a:r>
              <a:rPr lang="fr-FR" dirty="0"/>
              <a:t>Puce orange</a:t>
            </a:r>
          </a:p>
          <a:p>
            <a:pPr lvl="4"/>
            <a:r>
              <a:rPr lang="fr-FR" dirty="0"/>
              <a:t>Puce rouge</a:t>
            </a:r>
          </a:p>
          <a:p>
            <a:pPr lvl="5"/>
            <a:r>
              <a:rPr lang="fr-FR" dirty="0"/>
              <a:t>Puce vert d’eau</a:t>
            </a:r>
          </a:p>
          <a:p>
            <a:pPr lvl="6"/>
            <a:r>
              <a:rPr lang="fr-FR" dirty="0"/>
              <a:t>Puce verte</a:t>
            </a:r>
          </a:p>
          <a:p>
            <a:pPr lvl="7"/>
            <a:r>
              <a:rPr lang="fr-FR" dirty="0"/>
              <a:t>Puce violette</a:t>
            </a:r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B2156BC2-FC71-4D1F-B37F-36F71AB7D57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129050" y="0"/>
            <a:ext cx="1356852" cy="5143500"/>
          </a:xfrm>
          <a:custGeom>
            <a:avLst/>
            <a:gdLst>
              <a:gd name="connsiteX0" fmla="*/ 0 w 1508264"/>
              <a:gd name="connsiteY0" fmla="*/ 0 h 5125258"/>
              <a:gd name="connsiteX1" fmla="*/ 1508264 w 1508264"/>
              <a:gd name="connsiteY1" fmla="*/ 5160 h 5125258"/>
              <a:gd name="connsiteX2" fmla="*/ 1268913 w 1508264"/>
              <a:gd name="connsiteY2" fmla="*/ 2816519 h 5125258"/>
              <a:gd name="connsiteX3" fmla="*/ 1072354 w 1508264"/>
              <a:gd name="connsiteY3" fmla="*/ 5125258 h 5125258"/>
              <a:gd name="connsiteX4" fmla="*/ 151412 w 1508264"/>
              <a:gd name="connsiteY4" fmla="*/ 5157 h 5125258"/>
              <a:gd name="connsiteX0" fmla="*/ 0 w 1356852"/>
              <a:gd name="connsiteY0" fmla="*/ 0 h 5120101"/>
              <a:gd name="connsiteX1" fmla="*/ 1356852 w 1356852"/>
              <a:gd name="connsiteY1" fmla="*/ 3 h 5120101"/>
              <a:gd name="connsiteX2" fmla="*/ 1117501 w 1356852"/>
              <a:gd name="connsiteY2" fmla="*/ 2811362 h 5120101"/>
              <a:gd name="connsiteX3" fmla="*/ 920942 w 1356852"/>
              <a:gd name="connsiteY3" fmla="*/ 5120101 h 5120101"/>
              <a:gd name="connsiteX4" fmla="*/ 0 w 1356852"/>
              <a:gd name="connsiteY4" fmla="*/ 0 h 5120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56852" h="5120101">
                <a:moveTo>
                  <a:pt x="0" y="0"/>
                </a:moveTo>
                <a:lnTo>
                  <a:pt x="1356852" y="3"/>
                </a:lnTo>
                <a:lnTo>
                  <a:pt x="1117501" y="2811362"/>
                </a:lnTo>
                <a:lnTo>
                  <a:pt x="920942" y="5120101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alpha val="8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11" name="Titre 1">
            <a:extLst>
              <a:ext uri="{FF2B5EF4-FFF2-40B4-BE49-F238E27FC236}">
                <a16:creationId xmlns:a16="http://schemas.microsoft.com/office/drawing/2014/main" id="{77D3BAD7-91CA-45C1-8644-7B0FCB1D2E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1669" y="349390"/>
            <a:ext cx="5068800" cy="757130"/>
          </a:xfrm>
        </p:spPr>
        <p:txBody>
          <a:bodyPr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Titre de la slide</a:t>
            </a:r>
            <a:br>
              <a:rPr lang="fr-FR" dirty="0"/>
            </a:br>
            <a:r>
              <a:rPr lang="fr-FR" dirty="0"/>
              <a:t>sur deux lign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0E9C47C-828D-42F4-8D18-0AAD2F9715E8}"/>
              </a:ext>
            </a:extLst>
          </p:cNvPr>
          <p:cNvSpPr/>
          <p:nvPr userDrawn="1"/>
        </p:nvSpPr>
        <p:spPr>
          <a:xfrm>
            <a:off x="4281011" y="1246048"/>
            <a:ext cx="360000" cy="45719"/>
          </a:xfrm>
          <a:prstGeom prst="rect">
            <a:avLst/>
          </a:prstGeom>
          <a:solidFill>
            <a:srgbClr val="3A1B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71FB6C94-4C94-44CD-8E09-7270E29D7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48000" y="2811362"/>
            <a:ext cx="519702" cy="2332138"/>
          </a:xfrm>
          <a:custGeom>
            <a:avLst/>
            <a:gdLst>
              <a:gd name="connsiteX0" fmla="*/ 198551 w 519702"/>
              <a:gd name="connsiteY0" fmla="*/ 0 h 2332138"/>
              <a:gd name="connsiteX1" fmla="*/ 519702 w 519702"/>
              <a:gd name="connsiteY1" fmla="*/ 2332138 h 2332138"/>
              <a:gd name="connsiteX2" fmla="*/ 0 w 519702"/>
              <a:gd name="connsiteY2" fmla="*/ 2332138 h 2332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19702" h="2332138">
                <a:moveTo>
                  <a:pt x="198551" y="0"/>
                </a:moveTo>
                <a:lnTo>
                  <a:pt x="519702" y="2332138"/>
                </a:lnTo>
                <a:lnTo>
                  <a:pt x="0" y="233213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180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7095698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1" name="Espace réservé pour une image  520">
            <a:extLst>
              <a:ext uri="{FF2B5EF4-FFF2-40B4-BE49-F238E27FC236}">
                <a16:creationId xmlns:a16="http://schemas.microsoft.com/office/drawing/2014/main" id="{B8DAB854-64EB-4DD7-A364-5485ED453A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246551" y="-1"/>
            <a:ext cx="5897449" cy="5143501"/>
          </a:xfrm>
          <a:custGeom>
            <a:avLst/>
            <a:gdLst>
              <a:gd name="connsiteX0" fmla="*/ 0 w 6088062"/>
              <a:gd name="connsiteY0" fmla="*/ 0 h 5143501"/>
              <a:gd name="connsiteX1" fmla="*/ 6088062 w 6088062"/>
              <a:gd name="connsiteY1" fmla="*/ 0 h 5143501"/>
              <a:gd name="connsiteX2" fmla="*/ 6088062 w 6088062"/>
              <a:gd name="connsiteY2" fmla="*/ 5143501 h 5143501"/>
              <a:gd name="connsiteX3" fmla="*/ 511764 w 6088062"/>
              <a:gd name="connsiteY3" fmla="*/ 5143501 h 5143501"/>
              <a:gd name="connsiteX4" fmla="*/ 190613 w 6088062"/>
              <a:gd name="connsiteY4" fmla="*/ 2811363 h 5143501"/>
              <a:gd name="connsiteX5" fmla="*/ 429964 w 6088062"/>
              <a:gd name="connsiteY5" fmla="*/ 1 h 5143501"/>
              <a:gd name="connsiteX6" fmla="*/ 0 w 6088062"/>
              <a:gd name="connsiteY6" fmla="*/ 1 h 5143501"/>
              <a:gd name="connsiteX0" fmla="*/ 0 w 6088062"/>
              <a:gd name="connsiteY0" fmla="*/ 1 h 5143501"/>
              <a:gd name="connsiteX1" fmla="*/ 6088062 w 6088062"/>
              <a:gd name="connsiteY1" fmla="*/ 0 h 5143501"/>
              <a:gd name="connsiteX2" fmla="*/ 6088062 w 6088062"/>
              <a:gd name="connsiteY2" fmla="*/ 5143501 h 5143501"/>
              <a:gd name="connsiteX3" fmla="*/ 511764 w 6088062"/>
              <a:gd name="connsiteY3" fmla="*/ 5143501 h 5143501"/>
              <a:gd name="connsiteX4" fmla="*/ 190613 w 6088062"/>
              <a:gd name="connsiteY4" fmla="*/ 2811363 h 5143501"/>
              <a:gd name="connsiteX5" fmla="*/ 429964 w 6088062"/>
              <a:gd name="connsiteY5" fmla="*/ 1 h 5143501"/>
              <a:gd name="connsiteX6" fmla="*/ 0 w 6088062"/>
              <a:gd name="connsiteY6" fmla="*/ 1 h 5143501"/>
              <a:gd name="connsiteX0" fmla="*/ 239351 w 5897449"/>
              <a:gd name="connsiteY0" fmla="*/ 1 h 5143501"/>
              <a:gd name="connsiteX1" fmla="*/ 5897449 w 5897449"/>
              <a:gd name="connsiteY1" fmla="*/ 0 h 5143501"/>
              <a:gd name="connsiteX2" fmla="*/ 5897449 w 5897449"/>
              <a:gd name="connsiteY2" fmla="*/ 5143501 h 5143501"/>
              <a:gd name="connsiteX3" fmla="*/ 321151 w 5897449"/>
              <a:gd name="connsiteY3" fmla="*/ 5143501 h 5143501"/>
              <a:gd name="connsiteX4" fmla="*/ 0 w 5897449"/>
              <a:gd name="connsiteY4" fmla="*/ 2811363 h 5143501"/>
              <a:gd name="connsiteX5" fmla="*/ 239351 w 5897449"/>
              <a:gd name="connsiteY5" fmla="*/ 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97449" h="5143501">
                <a:moveTo>
                  <a:pt x="239351" y="1"/>
                </a:moveTo>
                <a:lnTo>
                  <a:pt x="5897449" y="0"/>
                </a:lnTo>
                <a:lnTo>
                  <a:pt x="5897449" y="5143501"/>
                </a:lnTo>
                <a:lnTo>
                  <a:pt x="321151" y="5143501"/>
                </a:lnTo>
                <a:lnTo>
                  <a:pt x="0" y="2811363"/>
                </a:lnTo>
                <a:lnTo>
                  <a:pt x="239351" y="1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6CB10B59-8983-482C-BCD8-596396CF9E36}"/>
              </a:ext>
            </a:extLst>
          </p:cNvPr>
          <p:cNvGrpSpPr/>
          <p:nvPr userDrawn="1"/>
        </p:nvGrpSpPr>
        <p:grpSpPr>
          <a:xfrm>
            <a:off x="-91485" y="-107301"/>
            <a:ext cx="3580993" cy="5352842"/>
            <a:chOff x="-91485" y="-107301"/>
            <a:chExt cx="3580993" cy="5352842"/>
          </a:xfrm>
          <a:solidFill>
            <a:schemeClr val="bg2">
              <a:alpha val="5000"/>
            </a:schemeClr>
          </a:solidFill>
        </p:grpSpPr>
        <p:sp>
          <p:nvSpPr>
            <p:cNvPr id="7" name="Forme libre : forme 6">
              <a:extLst>
                <a:ext uri="{FF2B5EF4-FFF2-40B4-BE49-F238E27FC236}">
                  <a16:creationId xmlns:a16="http://schemas.microsoft.com/office/drawing/2014/main" id="{FB10E9E7-487F-4046-97FA-383A90CB2678}"/>
                </a:ext>
              </a:extLst>
            </p:cNvPr>
            <p:cNvSpPr/>
            <p:nvPr/>
          </p:nvSpPr>
          <p:spPr>
            <a:xfrm rot="8716295">
              <a:off x="3051469" y="229467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857E0B3E-CF84-4275-8769-4FA84ACE4C3B}"/>
                </a:ext>
              </a:extLst>
            </p:cNvPr>
            <p:cNvSpPr/>
            <p:nvPr/>
          </p:nvSpPr>
          <p:spPr>
            <a:xfrm rot="8716295">
              <a:off x="3141426" y="2335684"/>
              <a:ext cx="209149" cy="247728"/>
            </a:xfrm>
            <a:custGeom>
              <a:avLst/>
              <a:gdLst>
                <a:gd name="connsiteX0" fmla="*/ 147179 w 209149"/>
                <a:gd name="connsiteY0" fmla="*/ 90980 h 247728"/>
                <a:gd name="connsiteX1" fmla="*/ 147179 w 209149"/>
                <a:gd name="connsiteY1" fmla="*/ 74577 h 247728"/>
                <a:gd name="connsiteX2" fmla="*/ 137667 w 209149"/>
                <a:gd name="connsiteY2" fmla="*/ 44616 h 247728"/>
                <a:gd name="connsiteX3" fmla="*/ 132652 w 209149"/>
                <a:gd name="connsiteY3" fmla="*/ 42232 h 247728"/>
                <a:gd name="connsiteX4" fmla="*/ 167583 w 209149"/>
                <a:gd name="connsiteY4" fmla="*/ 0 h 247728"/>
                <a:gd name="connsiteX5" fmla="*/ 189157 w 209149"/>
                <a:gd name="connsiteY5" fmla="*/ 15682 h 247728"/>
                <a:gd name="connsiteX6" fmla="*/ 209149 w 209149"/>
                <a:gd name="connsiteY6" fmla="*/ 81411 h 247728"/>
                <a:gd name="connsiteX7" fmla="*/ 209149 w 209149"/>
                <a:gd name="connsiteY7" fmla="*/ 87335 h 247728"/>
                <a:gd name="connsiteX8" fmla="*/ 0 w 209149"/>
                <a:gd name="connsiteY8" fmla="*/ 247728 h 247728"/>
                <a:gd name="connsiteX9" fmla="*/ 0 w 209149"/>
                <a:gd name="connsiteY9" fmla="*/ 202611 h 247728"/>
                <a:gd name="connsiteX10" fmla="*/ 60148 w 209149"/>
                <a:gd name="connsiteY10" fmla="*/ 129891 h 247728"/>
                <a:gd name="connsiteX11" fmla="*/ 60148 w 209149"/>
                <a:gd name="connsiteY11" fmla="*/ 206719 h 24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9149" h="247728">
                  <a:moveTo>
                    <a:pt x="147179" y="90980"/>
                  </a:moveTo>
                  <a:lnTo>
                    <a:pt x="147179" y="74577"/>
                  </a:lnTo>
                  <a:cubicBezTo>
                    <a:pt x="147179" y="62273"/>
                    <a:pt x="143648" y="51907"/>
                    <a:pt x="137667" y="44616"/>
                  </a:cubicBezTo>
                  <a:lnTo>
                    <a:pt x="132652" y="42232"/>
                  </a:lnTo>
                  <a:lnTo>
                    <a:pt x="167583" y="0"/>
                  </a:lnTo>
                  <a:lnTo>
                    <a:pt x="189157" y="15682"/>
                  </a:lnTo>
                  <a:cubicBezTo>
                    <a:pt x="202086" y="30833"/>
                    <a:pt x="209149" y="53160"/>
                    <a:pt x="209149" y="81411"/>
                  </a:cubicBezTo>
                  <a:lnTo>
                    <a:pt x="209149" y="87335"/>
                  </a:lnTo>
                  <a:close/>
                  <a:moveTo>
                    <a:pt x="0" y="247728"/>
                  </a:moveTo>
                  <a:lnTo>
                    <a:pt x="0" y="202611"/>
                  </a:lnTo>
                  <a:lnTo>
                    <a:pt x="60148" y="129891"/>
                  </a:lnTo>
                  <a:lnTo>
                    <a:pt x="60148" y="20671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CA2EC427-A3CB-46EB-8802-9FA3F8105B5A}"/>
                </a:ext>
              </a:extLst>
            </p:cNvPr>
            <p:cNvSpPr/>
            <p:nvPr/>
          </p:nvSpPr>
          <p:spPr>
            <a:xfrm rot="8716295">
              <a:off x="3096011" y="2237639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474F4DDA-4FC2-4669-AB5F-02BB5506B529}"/>
                </a:ext>
              </a:extLst>
            </p:cNvPr>
            <p:cNvSpPr/>
            <p:nvPr/>
          </p:nvSpPr>
          <p:spPr>
            <a:xfrm rot="8716295">
              <a:off x="2939235" y="238322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D8FF9A2A-12F4-4D4A-838C-2EA6068FA2AB}"/>
                </a:ext>
              </a:extLst>
            </p:cNvPr>
            <p:cNvSpPr/>
            <p:nvPr/>
          </p:nvSpPr>
          <p:spPr>
            <a:xfrm rot="8716295">
              <a:off x="2814332" y="217454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56247F38-2BB4-4C4A-A842-2BBC34C00B4B}"/>
                </a:ext>
              </a:extLst>
            </p:cNvPr>
            <p:cNvSpPr/>
            <p:nvPr/>
          </p:nvSpPr>
          <p:spPr>
            <a:xfrm rot="8716295">
              <a:off x="2802280" y="203576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6B40DCDD-1ED3-48EB-9DB0-DEE21DA8FE29}"/>
                </a:ext>
              </a:extLst>
            </p:cNvPr>
            <p:cNvSpPr/>
            <p:nvPr/>
          </p:nvSpPr>
          <p:spPr>
            <a:xfrm rot="8716295">
              <a:off x="3029413" y="2424173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EEC2D8FD-062C-4F42-B8C0-F129DEB5F20C}"/>
                </a:ext>
              </a:extLst>
            </p:cNvPr>
            <p:cNvSpPr/>
            <p:nvPr/>
          </p:nvSpPr>
          <p:spPr>
            <a:xfrm rot="8716295">
              <a:off x="3300250" y="2118999"/>
              <a:ext cx="9515" cy="11504"/>
            </a:xfrm>
            <a:custGeom>
              <a:avLst/>
              <a:gdLst>
                <a:gd name="connsiteX0" fmla="*/ 0 w 9515"/>
                <a:gd name="connsiteY0" fmla="*/ 11504 h 11504"/>
                <a:gd name="connsiteX1" fmla="*/ 9515 w 9515"/>
                <a:gd name="connsiteY1" fmla="*/ 0 h 11504"/>
                <a:gd name="connsiteX2" fmla="*/ 9515 w 9515"/>
                <a:gd name="connsiteY2" fmla="*/ 7741 h 11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15" h="11504">
                  <a:moveTo>
                    <a:pt x="0" y="11504"/>
                  </a:moveTo>
                  <a:lnTo>
                    <a:pt x="9515" y="0"/>
                  </a:lnTo>
                  <a:lnTo>
                    <a:pt x="9515" y="77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15A33F8C-9B7A-4D6A-854E-3D326335591D}"/>
                </a:ext>
              </a:extLst>
            </p:cNvPr>
            <p:cNvSpPr/>
            <p:nvPr/>
          </p:nvSpPr>
          <p:spPr>
            <a:xfrm rot="8716295">
              <a:off x="3228334" y="213306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949EEDA1-3E93-4DFB-8B0F-8D57B83C540E}"/>
                </a:ext>
              </a:extLst>
            </p:cNvPr>
            <p:cNvSpPr/>
            <p:nvPr/>
          </p:nvSpPr>
          <p:spPr>
            <a:xfrm rot="8716295">
              <a:off x="3098921" y="1924310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44680 h 195874"/>
                <a:gd name="connsiteX5" fmla="*/ 36955 w 203847"/>
                <a:gd name="connsiteY5" fmla="*/ 0 h 195874"/>
                <a:gd name="connsiteX6" fmla="*/ 203847 w 203847"/>
                <a:gd name="connsiteY6" fmla="*/ 0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44680"/>
                  </a:lnTo>
                  <a:lnTo>
                    <a:pt x="36955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513E3AB2-D8F3-4D40-BC3C-53ABB60A2331}"/>
                </a:ext>
              </a:extLst>
            </p:cNvPr>
            <p:cNvSpPr/>
            <p:nvPr/>
          </p:nvSpPr>
          <p:spPr>
            <a:xfrm rot="8716295">
              <a:off x="3275349" y="2211673"/>
              <a:ext cx="24727" cy="53686"/>
            </a:xfrm>
            <a:custGeom>
              <a:avLst/>
              <a:gdLst>
                <a:gd name="connsiteX0" fmla="*/ 24727 w 24727"/>
                <a:gd name="connsiteY0" fmla="*/ 53686 h 53686"/>
                <a:gd name="connsiteX1" fmla="*/ 0 w 24727"/>
                <a:gd name="connsiteY1" fmla="*/ 29895 h 53686"/>
                <a:gd name="connsiteX2" fmla="*/ 24727 w 24727"/>
                <a:gd name="connsiteY2" fmla="*/ 0 h 53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27" h="53686">
                  <a:moveTo>
                    <a:pt x="24727" y="53686"/>
                  </a:moveTo>
                  <a:lnTo>
                    <a:pt x="0" y="29895"/>
                  </a:lnTo>
                  <a:lnTo>
                    <a:pt x="2472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69A3C0F4-2579-479E-90C6-255E973C947C}"/>
                </a:ext>
              </a:extLst>
            </p:cNvPr>
            <p:cNvSpPr/>
            <p:nvPr/>
          </p:nvSpPr>
          <p:spPr>
            <a:xfrm rot="8716295">
              <a:off x="3077061" y="202442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9022B708-F9CE-40AF-852D-9A004CAB7675}"/>
                </a:ext>
              </a:extLst>
            </p:cNvPr>
            <p:cNvSpPr/>
            <p:nvPr/>
          </p:nvSpPr>
          <p:spPr>
            <a:xfrm rot="8716295">
              <a:off x="3162402" y="30429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19F4F78B-5673-4710-BAF3-3B1975D1B861}"/>
                </a:ext>
              </a:extLst>
            </p:cNvPr>
            <p:cNvSpPr/>
            <p:nvPr/>
          </p:nvSpPr>
          <p:spPr>
            <a:xfrm rot="8716295">
              <a:off x="3033531" y="2835902"/>
              <a:ext cx="197743" cy="195873"/>
            </a:xfrm>
            <a:custGeom>
              <a:avLst/>
              <a:gdLst>
                <a:gd name="connsiteX0" fmla="*/ 84606 w 197743"/>
                <a:gd name="connsiteY0" fmla="*/ 195873 h 195873"/>
                <a:gd name="connsiteX1" fmla="*/ 41743 w 197743"/>
                <a:gd name="connsiteY1" fmla="*/ 116129 h 195873"/>
                <a:gd name="connsiteX2" fmla="*/ 63673 w 197743"/>
                <a:gd name="connsiteY2" fmla="*/ 55323 h 195873"/>
                <a:gd name="connsiteX3" fmla="*/ 0 w 197743"/>
                <a:gd name="connsiteY3" fmla="*/ 55323 h 195873"/>
                <a:gd name="connsiteX4" fmla="*/ 45759 w 197743"/>
                <a:gd name="connsiteY4" fmla="*/ 0 h 195873"/>
                <a:gd name="connsiteX5" fmla="*/ 197743 w 197743"/>
                <a:gd name="connsiteY5" fmla="*/ 0 h 195873"/>
                <a:gd name="connsiteX6" fmla="*/ 197743 w 197743"/>
                <a:gd name="connsiteY6" fmla="*/ 55323 h 195873"/>
                <a:gd name="connsiteX7" fmla="*/ 132951 w 197743"/>
                <a:gd name="connsiteY7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7743" h="195873">
                  <a:moveTo>
                    <a:pt x="84606" y="195873"/>
                  </a:moveTo>
                  <a:lnTo>
                    <a:pt x="41743" y="116129"/>
                  </a:lnTo>
                  <a:lnTo>
                    <a:pt x="63673" y="55323"/>
                  </a:lnTo>
                  <a:lnTo>
                    <a:pt x="0" y="55323"/>
                  </a:lnTo>
                  <a:lnTo>
                    <a:pt x="45759" y="0"/>
                  </a:lnTo>
                  <a:lnTo>
                    <a:pt x="197743" y="0"/>
                  </a:lnTo>
                  <a:lnTo>
                    <a:pt x="197743" y="55323"/>
                  </a:lnTo>
                  <a:lnTo>
                    <a:pt x="132951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0BB66207-2F6B-4469-9703-071564C7D57B}"/>
                </a:ext>
              </a:extLst>
            </p:cNvPr>
            <p:cNvSpPr/>
            <p:nvPr/>
          </p:nvSpPr>
          <p:spPr>
            <a:xfrm rot="8716295">
              <a:off x="2982649" y="2705505"/>
              <a:ext cx="289489" cy="211444"/>
            </a:xfrm>
            <a:custGeom>
              <a:avLst/>
              <a:gdLst>
                <a:gd name="connsiteX0" fmla="*/ 24145 w 289489"/>
                <a:gd name="connsiteY0" fmla="*/ 181853 h 211444"/>
                <a:gd name="connsiteX1" fmla="*/ 3994 w 289489"/>
                <a:gd name="connsiteY1" fmla="*/ 142066 h 211444"/>
                <a:gd name="connsiteX2" fmla="*/ 0 w 289489"/>
                <a:gd name="connsiteY2" fmla="*/ 94419 h 211444"/>
                <a:gd name="connsiteX3" fmla="*/ 78096 w 289489"/>
                <a:gd name="connsiteY3" fmla="*/ 0 h 211444"/>
                <a:gd name="connsiteX4" fmla="*/ 78273 w 289489"/>
                <a:gd name="connsiteY4" fmla="*/ 24764 h 211444"/>
                <a:gd name="connsiteX5" fmla="*/ 92393 w 289489"/>
                <a:gd name="connsiteY5" fmla="*/ 122430 h 211444"/>
                <a:gd name="connsiteX6" fmla="*/ 162994 w 289489"/>
                <a:gd name="connsiteY6" fmla="*/ 161261 h 211444"/>
                <a:gd name="connsiteX7" fmla="*/ 215946 w 289489"/>
                <a:gd name="connsiteY7" fmla="*/ 151847 h 211444"/>
                <a:gd name="connsiteX8" fmla="*/ 288313 w 289489"/>
                <a:gd name="connsiteY8" fmla="*/ 122430 h 211444"/>
                <a:gd name="connsiteX9" fmla="*/ 289489 w 289489"/>
                <a:gd name="connsiteY9" fmla="*/ 130078 h 211444"/>
                <a:gd name="connsiteX10" fmla="*/ 289489 w 289489"/>
                <a:gd name="connsiteY10" fmla="*/ 135962 h 211444"/>
                <a:gd name="connsiteX11" fmla="*/ 96512 w 289489"/>
                <a:gd name="connsiteY11" fmla="*/ 211270 h 211444"/>
                <a:gd name="connsiteX12" fmla="*/ 24145 w 289489"/>
                <a:gd name="connsiteY12" fmla="*/ 181853 h 211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9489" h="211444">
                  <a:moveTo>
                    <a:pt x="24145" y="181853"/>
                  </a:moveTo>
                  <a:cubicBezTo>
                    <a:pt x="14143" y="172145"/>
                    <a:pt x="7818" y="158907"/>
                    <a:pt x="3994" y="142066"/>
                  </a:cubicBezTo>
                  <a:lnTo>
                    <a:pt x="0" y="94419"/>
                  </a:lnTo>
                  <a:lnTo>
                    <a:pt x="78096" y="0"/>
                  </a:lnTo>
                  <a:lnTo>
                    <a:pt x="78273" y="24764"/>
                  </a:lnTo>
                  <a:cubicBezTo>
                    <a:pt x="76508" y="57712"/>
                    <a:pt x="81803" y="91247"/>
                    <a:pt x="92393" y="122430"/>
                  </a:cubicBezTo>
                  <a:cubicBezTo>
                    <a:pt x="101807" y="148317"/>
                    <a:pt x="125929" y="161261"/>
                    <a:pt x="162994" y="161261"/>
                  </a:cubicBezTo>
                  <a:cubicBezTo>
                    <a:pt x="181234" y="160672"/>
                    <a:pt x="198884" y="157142"/>
                    <a:pt x="215946" y="151847"/>
                  </a:cubicBezTo>
                  <a:cubicBezTo>
                    <a:pt x="240656" y="144198"/>
                    <a:pt x="264779" y="134197"/>
                    <a:pt x="288313" y="122430"/>
                  </a:cubicBezTo>
                  <a:cubicBezTo>
                    <a:pt x="288901" y="124783"/>
                    <a:pt x="289489" y="127725"/>
                    <a:pt x="289489" y="130078"/>
                  </a:cubicBezTo>
                  <a:lnTo>
                    <a:pt x="289489" y="135962"/>
                  </a:lnTo>
                  <a:cubicBezTo>
                    <a:pt x="227125" y="189501"/>
                    <a:pt x="145344" y="208329"/>
                    <a:pt x="96512" y="211270"/>
                  </a:cubicBezTo>
                  <a:cubicBezTo>
                    <a:pt x="69448" y="213035"/>
                    <a:pt x="42972" y="201268"/>
                    <a:pt x="24145" y="18185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4BE2CE41-0D24-49C7-BC05-1CA24F174056}"/>
                </a:ext>
              </a:extLst>
            </p:cNvPr>
            <p:cNvSpPr/>
            <p:nvPr/>
          </p:nvSpPr>
          <p:spPr>
            <a:xfrm rot="8716295">
              <a:off x="3205022" y="3125495"/>
              <a:ext cx="16424" cy="35661"/>
            </a:xfrm>
            <a:custGeom>
              <a:avLst/>
              <a:gdLst>
                <a:gd name="connsiteX0" fmla="*/ 16424 w 16424"/>
                <a:gd name="connsiteY0" fmla="*/ 35661 h 35661"/>
                <a:gd name="connsiteX1" fmla="*/ 0 w 16424"/>
                <a:gd name="connsiteY1" fmla="*/ 19858 h 35661"/>
                <a:gd name="connsiteX2" fmla="*/ 16424 w 16424"/>
                <a:gd name="connsiteY2" fmla="*/ 0 h 35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24" h="35661">
                  <a:moveTo>
                    <a:pt x="16424" y="35661"/>
                  </a:moveTo>
                  <a:lnTo>
                    <a:pt x="0" y="19858"/>
                  </a:lnTo>
                  <a:lnTo>
                    <a:pt x="16424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3C113F76-2275-4CD3-8629-730BFE6915AD}"/>
                </a:ext>
              </a:extLst>
            </p:cNvPr>
            <p:cNvSpPr/>
            <p:nvPr/>
          </p:nvSpPr>
          <p:spPr>
            <a:xfrm rot="8716295">
              <a:off x="2829951" y="16337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7B2BDFC9-A5B6-45EA-A262-AC19DCF358A2}"/>
                </a:ext>
              </a:extLst>
            </p:cNvPr>
            <p:cNvSpPr/>
            <p:nvPr/>
          </p:nvSpPr>
          <p:spPr>
            <a:xfrm rot="8716295">
              <a:off x="2919343" y="16629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2A249ED1-9FC2-465F-B1C2-CE832E06DAAB}"/>
                </a:ext>
              </a:extLst>
            </p:cNvPr>
            <p:cNvSpPr/>
            <p:nvPr/>
          </p:nvSpPr>
          <p:spPr>
            <a:xfrm rot="8716295">
              <a:off x="2874493" y="157666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D737513C-09E2-4A85-9268-7028FEA47AEC}"/>
                </a:ext>
              </a:extLst>
            </p:cNvPr>
            <p:cNvSpPr/>
            <p:nvPr/>
          </p:nvSpPr>
          <p:spPr>
            <a:xfrm rot="8716295">
              <a:off x="2717717" y="172224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B6E113ED-200A-42D1-8A9B-64F2EA6FEC37}"/>
                </a:ext>
              </a:extLst>
            </p:cNvPr>
            <p:cNvSpPr/>
            <p:nvPr/>
          </p:nvSpPr>
          <p:spPr>
            <a:xfrm rot="8716295">
              <a:off x="2592814" y="151357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C7386AEF-343D-4F67-937B-2D8AE784432C}"/>
                </a:ext>
              </a:extLst>
            </p:cNvPr>
            <p:cNvSpPr/>
            <p:nvPr/>
          </p:nvSpPr>
          <p:spPr>
            <a:xfrm rot="8716295">
              <a:off x="2580762" y="137479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D18230E6-6046-4801-9551-295B7C3DC9AE}"/>
                </a:ext>
              </a:extLst>
            </p:cNvPr>
            <p:cNvSpPr/>
            <p:nvPr/>
          </p:nvSpPr>
          <p:spPr>
            <a:xfrm rot="8716295">
              <a:off x="2807895" y="176319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AA767CF2-B25B-4F2C-8315-830DDA4419B8}"/>
                </a:ext>
              </a:extLst>
            </p:cNvPr>
            <p:cNvSpPr/>
            <p:nvPr/>
          </p:nvSpPr>
          <p:spPr>
            <a:xfrm rot="8716295">
              <a:off x="3119050" y="138355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AAABA641-3338-40FA-9C39-41C30A22033E}"/>
                </a:ext>
              </a:extLst>
            </p:cNvPr>
            <p:cNvSpPr/>
            <p:nvPr/>
          </p:nvSpPr>
          <p:spPr>
            <a:xfrm rot="8716295">
              <a:off x="3209851" y="1424295"/>
              <a:ext cx="209149" cy="250692"/>
            </a:xfrm>
            <a:custGeom>
              <a:avLst/>
              <a:gdLst>
                <a:gd name="connsiteX0" fmla="*/ 147179 w 209149"/>
                <a:gd name="connsiteY0" fmla="*/ 93944 h 250692"/>
                <a:gd name="connsiteX1" fmla="*/ 147179 w 209149"/>
                <a:gd name="connsiteY1" fmla="*/ 77540 h 250692"/>
                <a:gd name="connsiteX2" fmla="*/ 137667 w 209149"/>
                <a:gd name="connsiteY2" fmla="*/ 47580 h 250692"/>
                <a:gd name="connsiteX3" fmla="*/ 123379 w 209149"/>
                <a:gd name="connsiteY3" fmla="*/ 40789 h 250692"/>
                <a:gd name="connsiteX4" fmla="*/ 157117 w 209149"/>
                <a:gd name="connsiteY4" fmla="*/ 0 h 250692"/>
                <a:gd name="connsiteX5" fmla="*/ 165512 w 209149"/>
                <a:gd name="connsiteY5" fmla="*/ 1459 h 250692"/>
                <a:gd name="connsiteX6" fmla="*/ 209149 w 209149"/>
                <a:gd name="connsiteY6" fmla="*/ 84375 h 250692"/>
                <a:gd name="connsiteX7" fmla="*/ 209149 w 209149"/>
                <a:gd name="connsiteY7" fmla="*/ 90299 h 250692"/>
                <a:gd name="connsiteX8" fmla="*/ 0 w 209149"/>
                <a:gd name="connsiteY8" fmla="*/ 250692 h 250692"/>
                <a:gd name="connsiteX9" fmla="*/ 0 w 209149"/>
                <a:gd name="connsiteY9" fmla="*/ 189958 h 250692"/>
                <a:gd name="connsiteX10" fmla="*/ 61066 w 209149"/>
                <a:gd name="connsiteY10" fmla="*/ 116127 h 250692"/>
                <a:gd name="connsiteX11" fmla="*/ 60148 w 209149"/>
                <a:gd name="connsiteY11" fmla="*/ 123562 h 250692"/>
                <a:gd name="connsiteX12" fmla="*/ 60148 w 209149"/>
                <a:gd name="connsiteY12" fmla="*/ 209683 h 250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9149" h="250692">
                  <a:moveTo>
                    <a:pt x="147179" y="93944"/>
                  </a:moveTo>
                  <a:lnTo>
                    <a:pt x="147179" y="77540"/>
                  </a:lnTo>
                  <a:cubicBezTo>
                    <a:pt x="147179" y="65237"/>
                    <a:pt x="143648" y="54871"/>
                    <a:pt x="137667" y="47580"/>
                  </a:cubicBezTo>
                  <a:lnTo>
                    <a:pt x="123379" y="40789"/>
                  </a:lnTo>
                  <a:lnTo>
                    <a:pt x="157117" y="0"/>
                  </a:lnTo>
                  <a:lnTo>
                    <a:pt x="165512" y="1459"/>
                  </a:lnTo>
                  <a:cubicBezTo>
                    <a:pt x="193258" y="12950"/>
                    <a:pt x="209149" y="41998"/>
                    <a:pt x="209149" y="84375"/>
                  </a:cubicBezTo>
                  <a:lnTo>
                    <a:pt x="209149" y="90299"/>
                  </a:lnTo>
                  <a:close/>
                  <a:moveTo>
                    <a:pt x="0" y="250692"/>
                  </a:moveTo>
                  <a:lnTo>
                    <a:pt x="0" y="189958"/>
                  </a:lnTo>
                  <a:lnTo>
                    <a:pt x="61066" y="116127"/>
                  </a:lnTo>
                  <a:lnTo>
                    <a:pt x="60148" y="123562"/>
                  </a:lnTo>
                  <a:lnTo>
                    <a:pt x="60148" y="2096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B2896D46-0FA6-4563-B073-9C0C36686641}"/>
                </a:ext>
              </a:extLst>
            </p:cNvPr>
            <p:cNvSpPr/>
            <p:nvPr/>
          </p:nvSpPr>
          <p:spPr>
            <a:xfrm rot="8716295">
              <a:off x="3006816" y="147209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6EEB717B-FEDB-4989-BE8E-3CB6F80A9A3D}"/>
                </a:ext>
              </a:extLst>
            </p:cNvPr>
            <p:cNvSpPr/>
            <p:nvPr/>
          </p:nvSpPr>
          <p:spPr>
            <a:xfrm rot="8716295">
              <a:off x="2881914" y="126342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F9A3D111-F2E6-4EEC-BA5F-E3F48E1BC144}"/>
                </a:ext>
              </a:extLst>
            </p:cNvPr>
            <p:cNvSpPr/>
            <p:nvPr/>
          </p:nvSpPr>
          <p:spPr>
            <a:xfrm rot="8716295">
              <a:off x="3096994" y="151304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F60E79F3-84EF-445B-800D-9716EB35B924}"/>
                </a:ext>
              </a:extLst>
            </p:cNvPr>
            <p:cNvSpPr/>
            <p:nvPr/>
          </p:nvSpPr>
          <p:spPr>
            <a:xfrm rot="8716295">
              <a:off x="2855543" y="136344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FDB4A4C0-E883-499D-A6D3-A301318DCD73}"/>
                </a:ext>
              </a:extLst>
            </p:cNvPr>
            <p:cNvSpPr/>
            <p:nvPr/>
          </p:nvSpPr>
          <p:spPr>
            <a:xfrm rot="7484129">
              <a:off x="3207325" y="1725125"/>
              <a:ext cx="156001" cy="194030"/>
            </a:xfrm>
            <a:custGeom>
              <a:avLst/>
              <a:gdLst>
                <a:gd name="connsiteX0" fmla="*/ 42863 w 156001"/>
                <a:gd name="connsiteY0" fmla="*/ 194030 h 194030"/>
                <a:gd name="connsiteX1" fmla="*/ 0 w 156001"/>
                <a:gd name="connsiteY1" fmla="*/ 114286 h 194030"/>
                <a:gd name="connsiteX2" fmla="*/ 11232 w 156001"/>
                <a:gd name="connsiteY2" fmla="*/ 83143 h 194030"/>
                <a:gd name="connsiteX3" fmla="*/ 156000 w 156001"/>
                <a:gd name="connsiteY3" fmla="*/ 0 h 194030"/>
                <a:gd name="connsiteX4" fmla="*/ 156001 w 156001"/>
                <a:gd name="connsiteY4" fmla="*/ 53480 h 194030"/>
                <a:gd name="connsiteX5" fmla="*/ 91208 w 156001"/>
                <a:gd name="connsiteY5" fmla="*/ 53480 h 194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6001" h="194030">
                  <a:moveTo>
                    <a:pt x="42863" y="194030"/>
                  </a:moveTo>
                  <a:lnTo>
                    <a:pt x="0" y="114286"/>
                  </a:lnTo>
                  <a:lnTo>
                    <a:pt x="11232" y="83143"/>
                  </a:lnTo>
                  <a:lnTo>
                    <a:pt x="156000" y="0"/>
                  </a:lnTo>
                  <a:lnTo>
                    <a:pt x="156001" y="53480"/>
                  </a:lnTo>
                  <a:lnTo>
                    <a:pt x="91208" y="5348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0B787B40-9B3B-4DF6-B826-D34E59D7A748}"/>
                </a:ext>
              </a:extLst>
            </p:cNvPr>
            <p:cNvSpPr/>
            <p:nvPr/>
          </p:nvSpPr>
          <p:spPr>
            <a:xfrm rot="8716295">
              <a:off x="3197279" y="140587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0A8098AC-35DA-4C71-BDFA-C584261AED79}"/>
                </a:ext>
              </a:extLst>
            </p:cNvPr>
            <p:cNvSpPr/>
            <p:nvPr/>
          </p:nvSpPr>
          <p:spPr>
            <a:xfrm rot="8716295">
              <a:off x="3356472" y="1273070"/>
              <a:ext cx="38162" cy="46138"/>
            </a:xfrm>
            <a:custGeom>
              <a:avLst/>
              <a:gdLst>
                <a:gd name="connsiteX0" fmla="*/ 0 w 38162"/>
                <a:gd name="connsiteY0" fmla="*/ 46138 h 46138"/>
                <a:gd name="connsiteX1" fmla="*/ 38162 w 38162"/>
                <a:gd name="connsiteY1" fmla="*/ 0 h 46138"/>
                <a:gd name="connsiteX2" fmla="*/ 35645 w 38162"/>
                <a:gd name="connsiteY2" fmla="*/ 12962 h 46138"/>
                <a:gd name="connsiteX3" fmla="*/ 22710 w 38162"/>
                <a:gd name="connsiteY3" fmla="*/ 32494 h 46138"/>
                <a:gd name="connsiteX4" fmla="*/ 3739 w 38162"/>
                <a:gd name="connsiteY4" fmla="*/ 45372 h 46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62" h="46138">
                  <a:moveTo>
                    <a:pt x="0" y="46138"/>
                  </a:moveTo>
                  <a:lnTo>
                    <a:pt x="38162" y="0"/>
                  </a:lnTo>
                  <a:lnTo>
                    <a:pt x="35645" y="12962"/>
                  </a:lnTo>
                  <a:cubicBezTo>
                    <a:pt x="32771" y="20076"/>
                    <a:pt x="28459" y="26745"/>
                    <a:pt x="22710" y="32494"/>
                  </a:cubicBezTo>
                  <a:cubicBezTo>
                    <a:pt x="17191" y="38013"/>
                    <a:pt x="10753" y="42382"/>
                    <a:pt x="3739" y="4537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C5475FFB-2FE6-47F1-ADB1-3564B7362FBC}"/>
                </a:ext>
              </a:extLst>
            </p:cNvPr>
            <p:cNvSpPr/>
            <p:nvPr/>
          </p:nvSpPr>
          <p:spPr>
            <a:xfrm rot="8716295">
              <a:off x="2606784" y="97400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9DEC1430-749E-4073-9884-D3917B891663}"/>
                </a:ext>
              </a:extLst>
            </p:cNvPr>
            <p:cNvSpPr/>
            <p:nvPr/>
          </p:nvSpPr>
          <p:spPr>
            <a:xfrm rot="8716295">
              <a:off x="2696176" y="100324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626F965F-1168-4906-A312-B88FB685E6C8}"/>
                </a:ext>
              </a:extLst>
            </p:cNvPr>
            <p:cNvSpPr/>
            <p:nvPr/>
          </p:nvSpPr>
          <p:spPr>
            <a:xfrm rot="8716295">
              <a:off x="2651326" y="91696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63FEE4FF-1D87-4CAE-9FA8-9CF6A9D96EFB}"/>
                </a:ext>
              </a:extLst>
            </p:cNvPr>
            <p:cNvSpPr/>
            <p:nvPr/>
          </p:nvSpPr>
          <p:spPr>
            <a:xfrm rot="8716295">
              <a:off x="2494550" y="106254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BC11557D-3B0F-4F99-BB1C-10D4CD358771}"/>
                </a:ext>
              </a:extLst>
            </p:cNvPr>
            <p:cNvSpPr/>
            <p:nvPr/>
          </p:nvSpPr>
          <p:spPr>
            <a:xfrm rot="8716295">
              <a:off x="2369647" y="85387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1BF9B5DD-16B3-4C9A-A0CB-19167186C695}"/>
                </a:ext>
              </a:extLst>
            </p:cNvPr>
            <p:cNvSpPr/>
            <p:nvPr/>
          </p:nvSpPr>
          <p:spPr>
            <a:xfrm rot="8716295">
              <a:off x="2357595" y="71509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4BDAD41E-2E62-46D5-8972-DD9B42CE139E}"/>
                </a:ext>
              </a:extLst>
            </p:cNvPr>
            <p:cNvSpPr/>
            <p:nvPr/>
          </p:nvSpPr>
          <p:spPr>
            <a:xfrm rot="8716295">
              <a:off x="2584728" y="110350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49E7137B-1AE9-4612-BDE2-1AD75C253D82}"/>
                </a:ext>
              </a:extLst>
            </p:cNvPr>
            <p:cNvSpPr/>
            <p:nvPr/>
          </p:nvSpPr>
          <p:spPr>
            <a:xfrm rot="8716295">
              <a:off x="2895883" y="72385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FB51623D-A683-4809-B6F7-B7284C8425E7}"/>
                </a:ext>
              </a:extLst>
            </p:cNvPr>
            <p:cNvSpPr/>
            <p:nvPr/>
          </p:nvSpPr>
          <p:spPr>
            <a:xfrm rot="8716295">
              <a:off x="2985275" y="75309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281173AB-108D-4FE0-B6D3-50708833EE4A}"/>
                </a:ext>
              </a:extLst>
            </p:cNvPr>
            <p:cNvSpPr/>
            <p:nvPr/>
          </p:nvSpPr>
          <p:spPr>
            <a:xfrm rot="8716295">
              <a:off x="2783649" y="81239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BF07C4A0-5324-4C7F-B4EC-CC1184768828}"/>
                </a:ext>
              </a:extLst>
            </p:cNvPr>
            <p:cNvSpPr/>
            <p:nvPr/>
          </p:nvSpPr>
          <p:spPr>
            <a:xfrm rot="8716295">
              <a:off x="2658747" y="60372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6C1ACB1E-5691-49AE-AB29-06C5DC240D79}"/>
                </a:ext>
              </a:extLst>
            </p:cNvPr>
            <p:cNvSpPr/>
            <p:nvPr/>
          </p:nvSpPr>
          <p:spPr>
            <a:xfrm rot="8716295">
              <a:off x="2873827" y="85334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BBA32666-AB2E-4FC3-AC66-C412DC6DB6FE}"/>
                </a:ext>
              </a:extLst>
            </p:cNvPr>
            <p:cNvSpPr/>
            <p:nvPr/>
          </p:nvSpPr>
          <p:spPr>
            <a:xfrm rot="8716295">
              <a:off x="2632376" y="70374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446CB3B3-0538-4236-9A2B-B81F3C70F649}"/>
                </a:ext>
              </a:extLst>
            </p:cNvPr>
            <p:cNvSpPr/>
            <p:nvPr/>
          </p:nvSpPr>
          <p:spPr>
            <a:xfrm rot="7484129">
              <a:off x="2978758" y="10446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6FEF6605-DD46-4B6F-9434-E75F685EB3F1}"/>
                </a:ext>
              </a:extLst>
            </p:cNvPr>
            <p:cNvSpPr/>
            <p:nvPr/>
          </p:nvSpPr>
          <p:spPr>
            <a:xfrm rot="13089394">
              <a:off x="3083578" y="101123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5FAEA535-E5DC-4ECD-AC87-B4CF523A4E30}"/>
                </a:ext>
              </a:extLst>
            </p:cNvPr>
            <p:cNvSpPr/>
            <p:nvPr/>
          </p:nvSpPr>
          <p:spPr>
            <a:xfrm rot="8716295">
              <a:off x="3269163" y="81955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C4FD16EB-0DAD-4759-8354-258732BCDC6A}"/>
                </a:ext>
              </a:extLst>
            </p:cNvPr>
            <p:cNvSpPr/>
            <p:nvPr/>
          </p:nvSpPr>
          <p:spPr>
            <a:xfrm rot="8716295">
              <a:off x="3217358" y="71595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C79D5733-4C6C-4FFD-A38D-A89F64FE54C8}"/>
                </a:ext>
              </a:extLst>
            </p:cNvPr>
            <p:cNvSpPr/>
            <p:nvPr/>
          </p:nvSpPr>
          <p:spPr>
            <a:xfrm rot="8716295">
              <a:off x="2974112" y="74618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133AF81E-5F8E-4D81-87C0-011CC96E3CC9}"/>
                </a:ext>
              </a:extLst>
            </p:cNvPr>
            <p:cNvSpPr/>
            <p:nvPr/>
          </p:nvSpPr>
          <p:spPr>
            <a:xfrm rot="8716295">
              <a:off x="3151564" y="58693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F5BAA1B0-C7A6-44B2-8867-FEAE18AC26E8}"/>
                </a:ext>
              </a:extLst>
            </p:cNvPr>
            <p:cNvSpPr/>
            <p:nvPr/>
          </p:nvSpPr>
          <p:spPr>
            <a:xfrm rot="8716295">
              <a:off x="2387845" y="31194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orme libre : forme 58">
              <a:extLst>
                <a:ext uri="{FF2B5EF4-FFF2-40B4-BE49-F238E27FC236}">
                  <a16:creationId xmlns:a16="http://schemas.microsoft.com/office/drawing/2014/main" id="{B51F8FF7-DB45-4A7D-B87B-E8E0B15A9D38}"/>
                </a:ext>
              </a:extLst>
            </p:cNvPr>
            <p:cNvSpPr/>
            <p:nvPr/>
          </p:nvSpPr>
          <p:spPr>
            <a:xfrm rot="8716295">
              <a:off x="2477237" y="34118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orme libre : forme 59">
              <a:extLst>
                <a:ext uri="{FF2B5EF4-FFF2-40B4-BE49-F238E27FC236}">
                  <a16:creationId xmlns:a16="http://schemas.microsoft.com/office/drawing/2014/main" id="{1950BE25-03A0-4561-B14B-331445B0D0C3}"/>
                </a:ext>
              </a:extLst>
            </p:cNvPr>
            <p:cNvSpPr/>
            <p:nvPr/>
          </p:nvSpPr>
          <p:spPr>
            <a:xfrm rot="8716295">
              <a:off x="2432387" y="254908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orme libre : forme 60">
              <a:extLst>
                <a:ext uri="{FF2B5EF4-FFF2-40B4-BE49-F238E27FC236}">
                  <a16:creationId xmlns:a16="http://schemas.microsoft.com/office/drawing/2014/main" id="{1E041962-91AE-4D89-B179-1A31E1910CF1}"/>
                </a:ext>
              </a:extLst>
            </p:cNvPr>
            <p:cNvSpPr/>
            <p:nvPr/>
          </p:nvSpPr>
          <p:spPr>
            <a:xfrm rot="8716295">
              <a:off x="2275611" y="40049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orme libre : forme 61">
              <a:extLst>
                <a:ext uri="{FF2B5EF4-FFF2-40B4-BE49-F238E27FC236}">
                  <a16:creationId xmlns:a16="http://schemas.microsoft.com/office/drawing/2014/main" id="{376CFCCF-38DC-4A35-AA3F-E03998AD805A}"/>
                </a:ext>
              </a:extLst>
            </p:cNvPr>
            <p:cNvSpPr/>
            <p:nvPr/>
          </p:nvSpPr>
          <p:spPr>
            <a:xfrm rot="8716295">
              <a:off x="2150708" y="19181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orme libre : forme 62">
              <a:extLst>
                <a:ext uri="{FF2B5EF4-FFF2-40B4-BE49-F238E27FC236}">
                  <a16:creationId xmlns:a16="http://schemas.microsoft.com/office/drawing/2014/main" id="{68D158FE-3FEF-4222-A8A6-28BC2EB41760}"/>
                </a:ext>
              </a:extLst>
            </p:cNvPr>
            <p:cNvSpPr/>
            <p:nvPr/>
          </p:nvSpPr>
          <p:spPr>
            <a:xfrm rot="8716295">
              <a:off x="2138656" y="53037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orme libre : forme 63">
              <a:extLst>
                <a:ext uri="{FF2B5EF4-FFF2-40B4-BE49-F238E27FC236}">
                  <a16:creationId xmlns:a16="http://schemas.microsoft.com/office/drawing/2014/main" id="{DC9E9862-78FC-4213-B2E2-61DF3173636D}"/>
                </a:ext>
              </a:extLst>
            </p:cNvPr>
            <p:cNvSpPr/>
            <p:nvPr/>
          </p:nvSpPr>
          <p:spPr>
            <a:xfrm rot="8716295">
              <a:off x="2365789" y="441442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orme libre : forme 64">
              <a:extLst>
                <a:ext uri="{FF2B5EF4-FFF2-40B4-BE49-F238E27FC236}">
                  <a16:creationId xmlns:a16="http://schemas.microsoft.com/office/drawing/2014/main" id="{8722DBD7-5E81-4E3D-870A-6CD5E129D96B}"/>
                </a:ext>
              </a:extLst>
            </p:cNvPr>
            <p:cNvSpPr/>
            <p:nvPr/>
          </p:nvSpPr>
          <p:spPr>
            <a:xfrm rot="8716295">
              <a:off x="2676944" y="6179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orme libre : forme 65">
              <a:extLst>
                <a:ext uri="{FF2B5EF4-FFF2-40B4-BE49-F238E27FC236}">
                  <a16:creationId xmlns:a16="http://schemas.microsoft.com/office/drawing/2014/main" id="{43ED8C5C-290C-4E36-A603-A668764D918E}"/>
                </a:ext>
              </a:extLst>
            </p:cNvPr>
            <p:cNvSpPr/>
            <p:nvPr/>
          </p:nvSpPr>
          <p:spPr>
            <a:xfrm rot="8716295">
              <a:off x="2766336" y="9103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orme libre : forme 66">
              <a:extLst>
                <a:ext uri="{FF2B5EF4-FFF2-40B4-BE49-F238E27FC236}">
                  <a16:creationId xmlns:a16="http://schemas.microsoft.com/office/drawing/2014/main" id="{143AD9CC-AEFC-4AE6-ADAB-C03B27727981}"/>
                </a:ext>
              </a:extLst>
            </p:cNvPr>
            <p:cNvSpPr/>
            <p:nvPr/>
          </p:nvSpPr>
          <p:spPr>
            <a:xfrm rot="8716295">
              <a:off x="2564710" y="15033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03CE5A8E-699E-421E-ABA5-42929237719B}"/>
                </a:ext>
              </a:extLst>
            </p:cNvPr>
            <p:cNvSpPr/>
            <p:nvPr/>
          </p:nvSpPr>
          <p:spPr>
            <a:xfrm rot="8716295">
              <a:off x="2448552" y="-16031"/>
              <a:ext cx="203847" cy="149340"/>
            </a:xfrm>
            <a:custGeom>
              <a:avLst/>
              <a:gdLst>
                <a:gd name="connsiteX0" fmla="*/ 106716 w 203847"/>
                <a:gd name="connsiteY0" fmla="*/ 149340 h 149340"/>
                <a:gd name="connsiteX1" fmla="*/ 50038 w 203847"/>
                <a:gd name="connsiteY1" fmla="*/ 110053 h 149340"/>
                <a:gd name="connsiteX2" fmla="*/ 69777 w 203847"/>
                <a:gd name="connsiteY2" fmla="*/ 55323 h 149340"/>
                <a:gd name="connsiteX3" fmla="*/ 0 w 203847"/>
                <a:gd name="connsiteY3" fmla="*/ 55323 h 149340"/>
                <a:gd name="connsiteX4" fmla="*/ 0 w 203847"/>
                <a:gd name="connsiteY4" fmla="*/ 0 h 149340"/>
                <a:gd name="connsiteX5" fmla="*/ 203847 w 203847"/>
                <a:gd name="connsiteY5" fmla="*/ 0 h 149340"/>
                <a:gd name="connsiteX6" fmla="*/ 203847 w 203847"/>
                <a:gd name="connsiteY6" fmla="*/ 55323 h 149340"/>
                <a:gd name="connsiteX7" fmla="*/ 139055 w 203847"/>
                <a:gd name="connsiteY7" fmla="*/ 55323 h 14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49340">
                  <a:moveTo>
                    <a:pt x="106716" y="149340"/>
                  </a:moveTo>
                  <a:lnTo>
                    <a:pt x="50038" y="110053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orme libre : forme 68">
              <a:extLst>
                <a:ext uri="{FF2B5EF4-FFF2-40B4-BE49-F238E27FC236}">
                  <a16:creationId xmlns:a16="http://schemas.microsoft.com/office/drawing/2014/main" id="{4F51AFD5-9DB6-4DCA-8489-09E9C4297801}"/>
                </a:ext>
              </a:extLst>
            </p:cNvPr>
            <p:cNvSpPr/>
            <p:nvPr/>
          </p:nvSpPr>
          <p:spPr>
            <a:xfrm rot="8716295">
              <a:off x="2654888" y="191290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orme libre : forme 69">
              <a:extLst>
                <a:ext uri="{FF2B5EF4-FFF2-40B4-BE49-F238E27FC236}">
                  <a16:creationId xmlns:a16="http://schemas.microsoft.com/office/drawing/2014/main" id="{A2ECF224-799C-4DC5-AB51-FEB15AA2B828}"/>
                </a:ext>
              </a:extLst>
            </p:cNvPr>
            <p:cNvSpPr/>
            <p:nvPr/>
          </p:nvSpPr>
          <p:spPr>
            <a:xfrm rot="8716295">
              <a:off x="2413437" y="41690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orme libre : forme 70">
              <a:extLst>
                <a:ext uri="{FF2B5EF4-FFF2-40B4-BE49-F238E27FC236}">
                  <a16:creationId xmlns:a16="http://schemas.microsoft.com/office/drawing/2014/main" id="{1302BF26-B64E-4C90-894D-A7C67007EE36}"/>
                </a:ext>
              </a:extLst>
            </p:cNvPr>
            <p:cNvSpPr/>
            <p:nvPr/>
          </p:nvSpPr>
          <p:spPr>
            <a:xfrm rot="7484129">
              <a:off x="2759819" y="38264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orme libre : forme 71">
              <a:extLst>
                <a:ext uri="{FF2B5EF4-FFF2-40B4-BE49-F238E27FC236}">
                  <a16:creationId xmlns:a16="http://schemas.microsoft.com/office/drawing/2014/main" id="{170CE256-57E7-488F-BBB2-5B7F98B8FB76}"/>
                </a:ext>
              </a:extLst>
            </p:cNvPr>
            <p:cNvSpPr/>
            <p:nvPr/>
          </p:nvSpPr>
          <p:spPr>
            <a:xfrm rot="13089394">
              <a:off x="2864639" y="349175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orme libre : forme 72">
              <a:extLst>
                <a:ext uri="{FF2B5EF4-FFF2-40B4-BE49-F238E27FC236}">
                  <a16:creationId xmlns:a16="http://schemas.microsoft.com/office/drawing/2014/main" id="{5E848AEE-AD50-4EC7-B6E2-006804A78B57}"/>
                </a:ext>
              </a:extLst>
            </p:cNvPr>
            <p:cNvSpPr/>
            <p:nvPr/>
          </p:nvSpPr>
          <p:spPr>
            <a:xfrm rot="8716295">
              <a:off x="3050224" y="157494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" name="Forme libre : forme 73">
              <a:extLst>
                <a:ext uri="{FF2B5EF4-FFF2-40B4-BE49-F238E27FC236}">
                  <a16:creationId xmlns:a16="http://schemas.microsoft.com/office/drawing/2014/main" id="{BEE1CAE8-6503-4A10-B1BA-C6183C9E0E74}"/>
                </a:ext>
              </a:extLst>
            </p:cNvPr>
            <p:cNvSpPr/>
            <p:nvPr/>
          </p:nvSpPr>
          <p:spPr>
            <a:xfrm rot="8716295">
              <a:off x="2998419" y="5390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" name="Forme libre : forme 74">
              <a:extLst>
                <a:ext uri="{FF2B5EF4-FFF2-40B4-BE49-F238E27FC236}">
                  <a16:creationId xmlns:a16="http://schemas.microsoft.com/office/drawing/2014/main" id="{34A8E996-3975-4581-B536-E2CE9D88EBFE}"/>
                </a:ext>
              </a:extLst>
            </p:cNvPr>
            <p:cNvSpPr/>
            <p:nvPr/>
          </p:nvSpPr>
          <p:spPr>
            <a:xfrm rot="8716295">
              <a:off x="2755173" y="8412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" name="Forme libre : forme 75">
              <a:extLst>
                <a:ext uri="{FF2B5EF4-FFF2-40B4-BE49-F238E27FC236}">
                  <a16:creationId xmlns:a16="http://schemas.microsoft.com/office/drawing/2014/main" id="{3BE41751-0FE9-4A5C-97A5-9AF2319641D6}"/>
                </a:ext>
              </a:extLst>
            </p:cNvPr>
            <p:cNvSpPr/>
            <p:nvPr/>
          </p:nvSpPr>
          <p:spPr>
            <a:xfrm rot="8716295">
              <a:off x="2940014" y="-28690"/>
              <a:ext cx="88664" cy="70660"/>
            </a:xfrm>
            <a:custGeom>
              <a:avLst/>
              <a:gdLst>
                <a:gd name="connsiteX0" fmla="*/ 83649 w 88664"/>
                <a:gd name="connsiteY0" fmla="*/ 70660 h 70660"/>
                <a:gd name="connsiteX1" fmla="*/ 0 w 88664"/>
                <a:gd name="connsiteY1" fmla="*/ 12677 h 70660"/>
                <a:gd name="connsiteX2" fmla="*/ 30024 w 88664"/>
                <a:gd name="connsiteY2" fmla="*/ 0 h 70660"/>
                <a:gd name="connsiteX3" fmla="*/ 71417 w 88664"/>
                <a:gd name="connsiteY3" fmla="*/ 17477 h 70660"/>
                <a:gd name="connsiteX4" fmla="*/ 88664 w 88664"/>
                <a:gd name="connsiteY4" fmla="*/ 58525 h 70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664" h="70660">
                  <a:moveTo>
                    <a:pt x="83649" y="70660"/>
                  </a:moveTo>
                  <a:lnTo>
                    <a:pt x="0" y="12677"/>
                  </a:lnTo>
                  <a:lnTo>
                    <a:pt x="30024" y="0"/>
                  </a:lnTo>
                  <a:cubicBezTo>
                    <a:pt x="45662" y="0"/>
                    <a:pt x="60379" y="6439"/>
                    <a:pt x="71417" y="17477"/>
                  </a:cubicBezTo>
                  <a:cubicBezTo>
                    <a:pt x="82915" y="28515"/>
                    <a:pt x="88664" y="43462"/>
                    <a:pt x="88664" y="58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" name="Forme libre : forme 76">
              <a:extLst>
                <a:ext uri="{FF2B5EF4-FFF2-40B4-BE49-F238E27FC236}">
                  <a16:creationId xmlns:a16="http://schemas.microsoft.com/office/drawing/2014/main" id="{7C593DEA-1D52-4373-8D6B-6BD1BBF8835C}"/>
                </a:ext>
              </a:extLst>
            </p:cNvPr>
            <p:cNvSpPr/>
            <p:nvPr/>
          </p:nvSpPr>
          <p:spPr>
            <a:xfrm rot="13089394">
              <a:off x="2740820" y="-30870"/>
              <a:ext cx="73521" cy="76374"/>
            </a:xfrm>
            <a:custGeom>
              <a:avLst/>
              <a:gdLst>
                <a:gd name="connsiteX0" fmla="*/ 73521 w 73521"/>
                <a:gd name="connsiteY0" fmla="*/ 18609 h 76374"/>
                <a:gd name="connsiteX1" fmla="*/ 0 w 73521"/>
                <a:gd name="connsiteY1" fmla="*/ 76374 h 76374"/>
                <a:gd name="connsiteX2" fmla="*/ 0 w 73521"/>
                <a:gd name="connsiteY2" fmla="*/ 38074 h 76374"/>
                <a:gd name="connsiteX3" fmla="*/ 73388 w 73521"/>
                <a:gd name="connsiteY3" fmla="*/ 0 h 7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521" h="76374">
                  <a:moveTo>
                    <a:pt x="73521" y="18609"/>
                  </a:moveTo>
                  <a:lnTo>
                    <a:pt x="0" y="76374"/>
                  </a:lnTo>
                  <a:lnTo>
                    <a:pt x="0" y="38074"/>
                  </a:lnTo>
                  <a:lnTo>
                    <a:pt x="7338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" name="Forme libre : forme 77">
              <a:extLst>
                <a:ext uri="{FF2B5EF4-FFF2-40B4-BE49-F238E27FC236}">
                  <a16:creationId xmlns:a16="http://schemas.microsoft.com/office/drawing/2014/main" id="{31F42A73-BF6E-4A9E-A2F6-7111DF0FD878}"/>
                </a:ext>
              </a:extLst>
            </p:cNvPr>
            <p:cNvSpPr/>
            <p:nvPr/>
          </p:nvSpPr>
          <p:spPr>
            <a:xfrm rot="8716295">
              <a:off x="2166753" y="273158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orme libre : forme 78">
              <a:extLst>
                <a:ext uri="{FF2B5EF4-FFF2-40B4-BE49-F238E27FC236}">
                  <a16:creationId xmlns:a16="http://schemas.microsoft.com/office/drawing/2014/main" id="{863BEFD8-472A-4A82-B952-ACFEE2251E69}"/>
                </a:ext>
              </a:extLst>
            </p:cNvPr>
            <p:cNvSpPr/>
            <p:nvPr/>
          </p:nvSpPr>
          <p:spPr>
            <a:xfrm rot="8716295">
              <a:off x="2256145" y="276082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Forme libre : forme 79">
              <a:extLst>
                <a:ext uri="{FF2B5EF4-FFF2-40B4-BE49-F238E27FC236}">
                  <a16:creationId xmlns:a16="http://schemas.microsoft.com/office/drawing/2014/main" id="{9D41F395-157D-4566-AD0B-619CCA4FE6BE}"/>
                </a:ext>
              </a:extLst>
            </p:cNvPr>
            <p:cNvSpPr/>
            <p:nvPr/>
          </p:nvSpPr>
          <p:spPr>
            <a:xfrm rot="8716295">
              <a:off x="2211295" y="2674548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" name="Forme libre : forme 80">
              <a:extLst>
                <a:ext uri="{FF2B5EF4-FFF2-40B4-BE49-F238E27FC236}">
                  <a16:creationId xmlns:a16="http://schemas.microsoft.com/office/drawing/2014/main" id="{BF76F399-DC6B-4DE2-9E3A-1FFB94BB6465}"/>
                </a:ext>
              </a:extLst>
            </p:cNvPr>
            <p:cNvSpPr/>
            <p:nvPr/>
          </p:nvSpPr>
          <p:spPr>
            <a:xfrm rot="8716295">
              <a:off x="2054519" y="28201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orme libre : forme 81">
              <a:extLst>
                <a:ext uri="{FF2B5EF4-FFF2-40B4-BE49-F238E27FC236}">
                  <a16:creationId xmlns:a16="http://schemas.microsoft.com/office/drawing/2014/main" id="{3065D63F-B336-46ED-922F-641AF1B7B83C}"/>
                </a:ext>
              </a:extLst>
            </p:cNvPr>
            <p:cNvSpPr/>
            <p:nvPr/>
          </p:nvSpPr>
          <p:spPr>
            <a:xfrm rot="8716295">
              <a:off x="1929616" y="261145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Forme libre : forme 82">
              <a:extLst>
                <a:ext uri="{FF2B5EF4-FFF2-40B4-BE49-F238E27FC236}">
                  <a16:creationId xmlns:a16="http://schemas.microsoft.com/office/drawing/2014/main" id="{68BC6F5F-0186-40DD-8404-566D70BB9E99}"/>
                </a:ext>
              </a:extLst>
            </p:cNvPr>
            <p:cNvSpPr/>
            <p:nvPr/>
          </p:nvSpPr>
          <p:spPr>
            <a:xfrm rot="8716295">
              <a:off x="1917564" y="2472677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4" name="Forme libre : forme 83">
              <a:extLst>
                <a:ext uri="{FF2B5EF4-FFF2-40B4-BE49-F238E27FC236}">
                  <a16:creationId xmlns:a16="http://schemas.microsoft.com/office/drawing/2014/main" id="{E12469CC-5FF5-4C57-A661-5C5E14481CD9}"/>
                </a:ext>
              </a:extLst>
            </p:cNvPr>
            <p:cNvSpPr/>
            <p:nvPr/>
          </p:nvSpPr>
          <p:spPr>
            <a:xfrm rot="8716295">
              <a:off x="2144697" y="2861082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5" name="Forme libre : forme 84">
              <a:extLst>
                <a:ext uri="{FF2B5EF4-FFF2-40B4-BE49-F238E27FC236}">
                  <a16:creationId xmlns:a16="http://schemas.microsoft.com/office/drawing/2014/main" id="{30210F38-CF8D-4D63-B79E-43CAC77B4950}"/>
                </a:ext>
              </a:extLst>
            </p:cNvPr>
            <p:cNvSpPr/>
            <p:nvPr/>
          </p:nvSpPr>
          <p:spPr>
            <a:xfrm rot="8716295">
              <a:off x="2455852" y="248143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6" name="Forme libre : forme 85">
              <a:extLst>
                <a:ext uri="{FF2B5EF4-FFF2-40B4-BE49-F238E27FC236}">
                  <a16:creationId xmlns:a16="http://schemas.microsoft.com/office/drawing/2014/main" id="{695A233A-6503-484C-8F4F-186E71E5B99E}"/>
                </a:ext>
              </a:extLst>
            </p:cNvPr>
            <p:cNvSpPr/>
            <p:nvPr/>
          </p:nvSpPr>
          <p:spPr>
            <a:xfrm rot="8716295">
              <a:off x="2545244" y="251067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7" name="Forme libre : forme 86">
              <a:extLst>
                <a:ext uri="{FF2B5EF4-FFF2-40B4-BE49-F238E27FC236}">
                  <a16:creationId xmlns:a16="http://schemas.microsoft.com/office/drawing/2014/main" id="{C4016FC8-3862-4EDD-AD90-D27F3C486D6C}"/>
                </a:ext>
              </a:extLst>
            </p:cNvPr>
            <p:cNvSpPr/>
            <p:nvPr/>
          </p:nvSpPr>
          <p:spPr>
            <a:xfrm rot="8716295">
              <a:off x="2343618" y="256997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8" name="Forme libre : forme 87">
              <a:extLst>
                <a:ext uri="{FF2B5EF4-FFF2-40B4-BE49-F238E27FC236}">
                  <a16:creationId xmlns:a16="http://schemas.microsoft.com/office/drawing/2014/main" id="{841AD7D6-9A1D-47F3-B8D0-0F3912F8A2E1}"/>
                </a:ext>
              </a:extLst>
            </p:cNvPr>
            <p:cNvSpPr/>
            <p:nvPr/>
          </p:nvSpPr>
          <p:spPr>
            <a:xfrm rot="8716295">
              <a:off x="2218716" y="236130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9" name="Forme libre : forme 88">
              <a:extLst>
                <a:ext uri="{FF2B5EF4-FFF2-40B4-BE49-F238E27FC236}">
                  <a16:creationId xmlns:a16="http://schemas.microsoft.com/office/drawing/2014/main" id="{70BCC5A3-9952-4F01-975F-6F986E6B55DD}"/>
                </a:ext>
              </a:extLst>
            </p:cNvPr>
            <p:cNvSpPr/>
            <p:nvPr/>
          </p:nvSpPr>
          <p:spPr>
            <a:xfrm rot="8716295">
              <a:off x="2433796" y="2610930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" name="Forme libre : forme 89">
              <a:extLst>
                <a:ext uri="{FF2B5EF4-FFF2-40B4-BE49-F238E27FC236}">
                  <a16:creationId xmlns:a16="http://schemas.microsoft.com/office/drawing/2014/main" id="{48292A7A-33E9-4FF2-9525-C481018D3541}"/>
                </a:ext>
              </a:extLst>
            </p:cNvPr>
            <p:cNvSpPr/>
            <p:nvPr/>
          </p:nvSpPr>
          <p:spPr>
            <a:xfrm rot="8716295">
              <a:off x="2192345" y="2461330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" name="Forme libre : forme 90">
              <a:extLst>
                <a:ext uri="{FF2B5EF4-FFF2-40B4-BE49-F238E27FC236}">
                  <a16:creationId xmlns:a16="http://schemas.microsoft.com/office/drawing/2014/main" id="{3C5BF462-E2E4-4E2E-A187-F82081942730}"/>
                </a:ext>
              </a:extLst>
            </p:cNvPr>
            <p:cNvSpPr/>
            <p:nvPr/>
          </p:nvSpPr>
          <p:spPr>
            <a:xfrm rot="7484129">
              <a:off x="2538727" y="280228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" name="Forme libre : forme 91">
              <a:extLst>
                <a:ext uri="{FF2B5EF4-FFF2-40B4-BE49-F238E27FC236}">
                  <a16:creationId xmlns:a16="http://schemas.microsoft.com/office/drawing/2014/main" id="{53F93EE7-2FCB-4993-A211-9ABCA8AB16A1}"/>
                </a:ext>
              </a:extLst>
            </p:cNvPr>
            <p:cNvSpPr/>
            <p:nvPr/>
          </p:nvSpPr>
          <p:spPr>
            <a:xfrm rot="13089394">
              <a:off x="2643547" y="2768815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" name="Forme libre : forme 92">
              <a:extLst>
                <a:ext uri="{FF2B5EF4-FFF2-40B4-BE49-F238E27FC236}">
                  <a16:creationId xmlns:a16="http://schemas.microsoft.com/office/drawing/2014/main" id="{ACCCC6BB-9AC5-40F1-8FDF-2D7AAA4F97CC}"/>
                </a:ext>
              </a:extLst>
            </p:cNvPr>
            <p:cNvSpPr/>
            <p:nvPr/>
          </p:nvSpPr>
          <p:spPr>
            <a:xfrm rot="8716295">
              <a:off x="2829132" y="2577134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" name="Forme libre : forme 93">
              <a:extLst>
                <a:ext uri="{FF2B5EF4-FFF2-40B4-BE49-F238E27FC236}">
                  <a16:creationId xmlns:a16="http://schemas.microsoft.com/office/drawing/2014/main" id="{C83E96A9-D46F-4FBD-BA31-A3DDCAF05013}"/>
                </a:ext>
              </a:extLst>
            </p:cNvPr>
            <p:cNvSpPr/>
            <p:nvPr/>
          </p:nvSpPr>
          <p:spPr>
            <a:xfrm rot="8716295">
              <a:off x="2777327" y="247354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orme libre : forme 94">
              <a:extLst>
                <a:ext uri="{FF2B5EF4-FFF2-40B4-BE49-F238E27FC236}">
                  <a16:creationId xmlns:a16="http://schemas.microsoft.com/office/drawing/2014/main" id="{819524D5-42FD-49C2-A52C-138204093572}"/>
                </a:ext>
              </a:extLst>
            </p:cNvPr>
            <p:cNvSpPr/>
            <p:nvPr/>
          </p:nvSpPr>
          <p:spPr>
            <a:xfrm rot="8716295">
              <a:off x="2534081" y="250376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Forme libre : forme 95">
              <a:extLst>
                <a:ext uri="{FF2B5EF4-FFF2-40B4-BE49-F238E27FC236}">
                  <a16:creationId xmlns:a16="http://schemas.microsoft.com/office/drawing/2014/main" id="{D4292037-242B-4F99-8EE6-4056BF8CE17A}"/>
                </a:ext>
              </a:extLst>
            </p:cNvPr>
            <p:cNvSpPr/>
            <p:nvPr/>
          </p:nvSpPr>
          <p:spPr>
            <a:xfrm rot="8716295">
              <a:off x="2711533" y="234452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" name="Forme libre : forme 96">
              <a:extLst>
                <a:ext uri="{FF2B5EF4-FFF2-40B4-BE49-F238E27FC236}">
                  <a16:creationId xmlns:a16="http://schemas.microsoft.com/office/drawing/2014/main" id="{B300D5E8-99AD-4100-BBB0-F9335C60ABF1}"/>
                </a:ext>
              </a:extLst>
            </p:cNvPr>
            <p:cNvSpPr/>
            <p:nvPr/>
          </p:nvSpPr>
          <p:spPr>
            <a:xfrm rot="8716295">
              <a:off x="2389920" y="339128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" name="Forme libre : forme 97">
              <a:extLst>
                <a:ext uri="{FF2B5EF4-FFF2-40B4-BE49-F238E27FC236}">
                  <a16:creationId xmlns:a16="http://schemas.microsoft.com/office/drawing/2014/main" id="{050E0B4C-4868-4ECB-B52A-F4534FB3428C}"/>
                </a:ext>
              </a:extLst>
            </p:cNvPr>
            <p:cNvSpPr/>
            <p:nvPr/>
          </p:nvSpPr>
          <p:spPr>
            <a:xfrm rot="8716295">
              <a:off x="2479312" y="342052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" name="Forme libre : forme 98">
              <a:extLst>
                <a:ext uri="{FF2B5EF4-FFF2-40B4-BE49-F238E27FC236}">
                  <a16:creationId xmlns:a16="http://schemas.microsoft.com/office/drawing/2014/main" id="{2B753CAD-2E05-40BF-8117-865D3F8A49DD}"/>
                </a:ext>
              </a:extLst>
            </p:cNvPr>
            <p:cNvSpPr/>
            <p:nvPr/>
          </p:nvSpPr>
          <p:spPr>
            <a:xfrm rot="8716295">
              <a:off x="2434462" y="333424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orme libre : forme 99">
              <a:extLst>
                <a:ext uri="{FF2B5EF4-FFF2-40B4-BE49-F238E27FC236}">
                  <a16:creationId xmlns:a16="http://schemas.microsoft.com/office/drawing/2014/main" id="{5C8FF835-B7A5-4E03-BDCA-7B70EA22A6CB}"/>
                </a:ext>
              </a:extLst>
            </p:cNvPr>
            <p:cNvSpPr/>
            <p:nvPr/>
          </p:nvSpPr>
          <p:spPr>
            <a:xfrm rot="8716295">
              <a:off x="2277686" y="347982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Forme libre : forme 100">
              <a:extLst>
                <a:ext uri="{FF2B5EF4-FFF2-40B4-BE49-F238E27FC236}">
                  <a16:creationId xmlns:a16="http://schemas.microsoft.com/office/drawing/2014/main" id="{E640627F-DD46-4D4D-BFB7-C32CE4CD2C6E}"/>
                </a:ext>
              </a:extLst>
            </p:cNvPr>
            <p:cNvSpPr/>
            <p:nvPr/>
          </p:nvSpPr>
          <p:spPr>
            <a:xfrm rot="8716295">
              <a:off x="2152783" y="327115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" name="Forme libre : forme 101">
              <a:extLst>
                <a:ext uri="{FF2B5EF4-FFF2-40B4-BE49-F238E27FC236}">
                  <a16:creationId xmlns:a16="http://schemas.microsoft.com/office/drawing/2014/main" id="{D6CFC66E-117A-4E7B-A1B3-B61883DBC87C}"/>
                </a:ext>
              </a:extLst>
            </p:cNvPr>
            <p:cNvSpPr/>
            <p:nvPr/>
          </p:nvSpPr>
          <p:spPr>
            <a:xfrm rot="8716295">
              <a:off x="2140731" y="313237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" name="Forme libre : forme 102">
              <a:extLst>
                <a:ext uri="{FF2B5EF4-FFF2-40B4-BE49-F238E27FC236}">
                  <a16:creationId xmlns:a16="http://schemas.microsoft.com/office/drawing/2014/main" id="{44370D0A-70C8-47DE-B919-BD8689E5F0BD}"/>
                </a:ext>
              </a:extLst>
            </p:cNvPr>
            <p:cNvSpPr/>
            <p:nvPr/>
          </p:nvSpPr>
          <p:spPr>
            <a:xfrm rot="8716295">
              <a:off x="2367864" y="352078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" name="Forme libre : forme 103">
              <a:extLst>
                <a:ext uri="{FF2B5EF4-FFF2-40B4-BE49-F238E27FC236}">
                  <a16:creationId xmlns:a16="http://schemas.microsoft.com/office/drawing/2014/main" id="{6021BDC8-861D-486E-B439-FE7F06960030}"/>
                </a:ext>
              </a:extLst>
            </p:cNvPr>
            <p:cNvSpPr/>
            <p:nvPr/>
          </p:nvSpPr>
          <p:spPr>
            <a:xfrm rot="8716295">
              <a:off x="2679019" y="314113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" name="Forme libre : forme 104">
              <a:extLst>
                <a:ext uri="{FF2B5EF4-FFF2-40B4-BE49-F238E27FC236}">
                  <a16:creationId xmlns:a16="http://schemas.microsoft.com/office/drawing/2014/main" id="{0F608F19-E3BE-4D17-880D-C88146244ED4}"/>
                </a:ext>
              </a:extLst>
            </p:cNvPr>
            <p:cNvSpPr/>
            <p:nvPr/>
          </p:nvSpPr>
          <p:spPr>
            <a:xfrm rot="8716295">
              <a:off x="2768411" y="317037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" name="Forme libre : forme 105">
              <a:extLst>
                <a:ext uri="{FF2B5EF4-FFF2-40B4-BE49-F238E27FC236}">
                  <a16:creationId xmlns:a16="http://schemas.microsoft.com/office/drawing/2014/main" id="{64944F3B-C664-4365-A1CE-C418E167A34E}"/>
                </a:ext>
              </a:extLst>
            </p:cNvPr>
            <p:cNvSpPr/>
            <p:nvPr/>
          </p:nvSpPr>
          <p:spPr>
            <a:xfrm rot="8716295">
              <a:off x="2566785" y="322967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" name="Forme libre : forme 106">
              <a:extLst>
                <a:ext uri="{FF2B5EF4-FFF2-40B4-BE49-F238E27FC236}">
                  <a16:creationId xmlns:a16="http://schemas.microsoft.com/office/drawing/2014/main" id="{58328446-A7EA-46E8-B0B2-5078B627604C}"/>
                </a:ext>
              </a:extLst>
            </p:cNvPr>
            <p:cNvSpPr/>
            <p:nvPr/>
          </p:nvSpPr>
          <p:spPr>
            <a:xfrm rot="8716295">
              <a:off x="2441883" y="302100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" name="Forme libre : forme 107">
              <a:extLst>
                <a:ext uri="{FF2B5EF4-FFF2-40B4-BE49-F238E27FC236}">
                  <a16:creationId xmlns:a16="http://schemas.microsoft.com/office/drawing/2014/main" id="{358F3EE5-D858-432A-A907-9710D31351C8}"/>
                </a:ext>
              </a:extLst>
            </p:cNvPr>
            <p:cNvSpPr/>
            <p:nvPr/>
          </p:nvSpPr>
          <p:spPr>
            <a:xfrm rot="8716295">
              <a:off x="2656963" y="327062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" name="Forme libre : forme 108">
              <a:extLst>
                <a:ext uri="{FF2B5EF4-FFF2-40B4-BE49-F238E27FC236}">
                  <a16:creationId xmlns:a16="http://schemas.microsoft.com/office/drawing/2014/main" id="{B0966A7E-6D89-444C-8034-A9352897C897}"/>
                </a:ext>
              </a:extLst>
            </p:cNvPr>
            <p:cNvSpPr/>
            <p:nvPr/>
          </p:nvSpPr>
          <p:spPr>
            <a:xfrm rot="8716295">
              <a:off x="2415512" y="312102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" name="Forme libre : forme 109">
              <a:extLst>
                <a:ext uri="{FF2B5EF4-FFF2-40B4-BE49-F238E27FC236}">
                  <a16:creationId xmlns:a16="http://schemas.microsoft.com/office/drawing/2014/main" id="{37222F27-8DF7-4207-88C1-2429DD93BED2}"/>
                </a:ext>
              </a:extLst>
            </p:cNvPr>
            <p:cNvSpPr/>
            <p:nvPr/>
          </p:nvSpPr>
          <p:spPr>
            <a:xfrm rot="7484129">
              <a:off x="2761894" y="346198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" name="Forme libre : forme 110">
              <a:extLst>
                <a:ext uri="{FF2B5EF4-FFF2-40B4-BE49-F238E27FC236}">
                  <a16:creationId xmlns:a16="http://schemas.microsoft.com/office/drawing/2014/main" id="{993939CC-3AE4-419F-A9EE-0969EF61AE9B}"/>
                </a:ext>
              </a:extLst>
            </p:cNvPr>
            <p:cNvSpPr/>
            <p:nvPr/>
          </p:nvSpPr>
          <p:spPr>
            <a:xfrm rot="13089394">
              <a:off x="2866714" y="342851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" name="Forme libre : forme 111">
              <a:extLst>
                <a:ext uri="{FF2B5EF4-FFF2-40B4-BE49-F238E27FC236}">
                  <a16:creationId xmlns:a16="http://schemas.microsoft.com/office/drawing/2014/main" id="{A6A63E2F-4261-4DBF-8276-418D86D19210}"/>
                </a:ext>
              </a:extLst>
            </p:cNvPr>
            <p:cNvSpPr/>
            <p:nvPr/>
          </p:nvSpPr>
          <p:spPr>
            <a:xfrm rot="8716295">
              <a:off x="3052299" y="323683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" name="Forme libre : forme 112">
              <a:extLst>
                <a:ext uri="{FF2B5EF4-FFF2-40B4-BE49-F238E27FC236}">
                  <a16:creationId xmlns:a16="http://schemas.microsoft.com/office/drawing/2014/main" id="{1F2896C9-A0C7-4B2C-B1EE-DCCCD9009233}"/>
                </a:ext>
              </a:extLst>
            </p:cNvPr>
            <p:cNvSpPr/>
            <p:nvPr/>
          </p:nvSpPr>
          <p:spPr>
            <a:xfrm rot="8716295">
              <a:off x="3000494" y="313324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" name="Forme libre : forme 113">
              <a:extLst>
                <a:ext uri="{FF2B5EF4-FFF2-40B4-BE49-F238E27FC236}">
                  <a16:creationId xmlns:a16="http://schemas.microsoft.com/office/drawing/2014/main" id="{BFC2A5AA-74CC-447F-BCB7-82C53A9C1EBE}"/>
                </a:ext>
              </a:extLst>
            </p:cNvPr>
            <p:cNvSpPr/>
            <p:nvPr/>
          </p:nvSpPr>
          <p:spPr>
            <a:xfrm rot="8716295">
              <a:off x="2757248" y="316346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" name="Forme libre : forme 114">
              <a:extLst>
                <a:ext uri="{FF2B5EF4-FFF2-40B4-BE49-F238E27FC236}">
                  <a16:creationId xmlns:a16="http://schemas.microsoft.com/office/drawing/2014/main" id="{7736B671-8666-4922-9305-32A24DFDD7BC}"/>
                </a:ext>
              </a:extLst>
            </p:cNvPr>
            <p:cNvSpPr/>
            <p:nvPr/>
          </p:nvSpPr>
          <p:spPr>
            <a:xfrm rot="8716295">
              <a:off x="2934700" y="300421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" name="Forme libre : forme 115">
              <a:extLst>
                <a:ext uri="{FF2B5EF4-FFF2-40B4-BE49-F238E27FC236}">
                  <a16:creationId xmlns:a16="http://schemas.microsoft.com/office/drawing/2014/main" id="{4CF00AFF-9FDA-4C59-A1DE-7CCCB194DEA5}"/>
                </a:ext>
              </a:extLst>
            </p:cNvPr>
            <p:cNvSpPr/>
            <p:nvPr/>
          </p:nvSpPr>
          <p:spPr>
            <a:xfrm rot="8716295">
              <a:off x="2865744" y="5089178"/>
              <a:ext cx="140009" cy="103412"/>
            </a:xfrm>
            <a:custGeom>
              <a:avLst/>
              <a:gdLst>
                <a:gd name="connsiteX0" fmla="*/ 23004 w 140009"/>
                <a:gd name="connsiteY0" fmla="*/ 73821 h 103412"/>
                <a:gd name="connsiteX1" fmla="*/ 2853 w 140009"/>
                <a:gd name="connsiteY1" fmla="*/ 34034 h 103412"/>
                <a:gd name="connsiteX2" fmla="*/ 0 w 140009"/>
                <a:gd name="connsiteY2" fmla="*/ 0 h 103412"/>
                <a:gd name="connsiteX3" fmla="*/ 140009 w 140009"/>
                <a:gd name="connsiteY3" fmla="*/ 97050 h 103412"/>
                <a:gd name="connsiteX4" fmla="*/ 137354 w 140009"/>
                <a:gd name="connsiteY4" fmla="*/ 97759 h 103412"/>
                <a:gd name="connsiteX5" fmla="*/ 95370 w 140009"/>
                <a:gd name="connsiteY5" fmla="*/ 103238 h 103412"/>
                <a:gd name="connsiteX6" fmla="*/ 23004 w 140009"/>
                <a:gd name="connsiteY6" fmla="*/ 73821 h 103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0009" h="103412">
                  <a:moveTo>
                    <a:pt x="23004" y="73821"/>
                  </a:moveTo>
                  <a:cubicBezTo>
                    <a:pt x="13002" y="64113"/>
                    <a:pt x="6677" y="50875"/>
                    <a:pt x="2853" y="34034"/>
                  </a:cubicBezTo>
                  <a:lnTo>
                    <a:pt x="0" y="0"/>
                  </a:lnTo>
                  <a:lnTo>
                    <a:pt x="140009" y="97050"/>
                  </a:lnTo>
                  <a:lnTo>
                    <a:pt x="137354" y="97759"/>
                  </a:lnTo>
                  <a:cubicBezTo>
                    <a:pt x="121846" y="100775"/>
                    <a:pt x="107579" y="102502"/>
                    <a:pt x="95370" y="103238"/>
                  </a:cubicBezTo>
                  <a:cubicBezTo>
                    <a:pt x="68307" y="105003"/>
                    <a:pt x="41831" y="93236"/>
                    <a:pt x="23004" y="7382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" name="Forme libre : forme 116">
              <a:extLst>
                <a:ext uri="{FF2B5EF4-FFF2-40B4-BE49-F238E27FC236}">
                  <a16:creationId xmlns:a16="http://schemas.microsoft.com/office/drawing/2014/main" id="{7486FE8B-6DC8-400F-8B49-3D0FF59EDA59}"/>
                </a:ext>
              </a:extLst>
            </p:cNvPr>
            <p:cNvSpPr/>
            <p:nvPr/>
          </p:nvSpPr>
          <p:spPr>
            <a:xfrm rot="8716295">
              <a:off x="2608590" y="404968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" name="Forme libre : forme 117">
              <a:extLst>
                <a:ext uri="{FF2B5EF4-FFF2-40B4-BE49-F238E27FC236}">
                  <a16:creationId xmlns:a16="http://schemas.microsoft.com/office/drawing/2014/main" id="{409E4F60-3261-496F-85E7-0CED778B23AA}"/>
                </a:ext>
              </a:extLst>
            </p:cNvPr>
            <p:cNvSpPr/>
            <p:nvPr/>
          </p:nvSpPr>
          <p:spPr>
            <a:xfrm rot="8716295">
              <a:off x="2697982" y="407892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" name="Forme libre : forme 118">
              <a:extLst>
                <a:ext uri="{FF2B5EF4-FFF2-40B4-BE49-F238E27FC236}">
                  <a16:creationId xmlns:a16="http://schemas.microsoft.com/office/drawing/2014/main" id="{B4A7442C-1C02-4AB6-8CC3-22865B34D758}"/>
                </a:ext>
              </a:extLst>
            </p:cNvPr>
            <p:cNvSpPr/>
            <p:nvPr/>
          </p:nvSpPr>
          <p:spPr>
            <a:xfrm rot="8716295">
              <a:off x="2653132" y="399264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" name="Forme libre : forme 119">
              <a:extLst>
                <a:ext uri="{FF2B5EF4-FFF2-40B4-BE49-F238E27FC236}">
                  <a16:creationId xmlns:a16="http://schemas.microsoft.com/office/drawing/2014/main" id="{84547BFC-5C73-4C79-BC1E-65D2DA2F8F0F}"/>
                </a:ext>
              </a:extLst>
            </p:cNvPr>
            <p:cNvSpPr/>
            <p:nvPr/>
          </p:nvSpPr>
          <p:spPr>
            <a:xfrm rot="8716295">
              <a:off x="2496356" y="413822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" name="Forme libre : forme 120">
              <a:extLst>
                <a:ext uri="{FF2B5EF4-FFF2-40B4-BE49-F238E27FC236}">
                  <a16:creationId xmlns:a16="http://schemas.microsoft.com/office/drawing/2014/main" id="{1433A272-01C5-407E-A681-F11EFA1E77DE}"/>
                </a:ext>
              </a:extLst>
            </p:cNvPr>
            <p:cNvSpPr/>
            <p:nvPr/>
          </p:nvSpPr>
          <p:spPr>
            <a:xfrm rot="8716295">
              <a:off x="2371453" y="392955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" name="Forme libre : forme 121">
              <a:extLst>
                <a:ext uri="{FF2B5EF4-FFF2-40B4-BE49-F238E27FC236}">
                  <a16:creationId xmlns:a16="http://schemas.microsoft.com/office/drawing/2014/main" id="{B66B2FCE-B89D-4CFE-947C-F30A5386F13E}"/>
                </a:ext>
              </a:extLst>
            </p:cNvPr>
            <p:cNvSpPr/>
            <p:nvPr/>
          </p:nvSpPr>
          <p:spPr>
            <a:xfrm rot="8716295">
              <a:off x="2359401" y="379077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" name="Forme libre : forme 122">
              <a:extLst>
                <a:ext uri="{FF2B5EF4-FFF2-40B4-BE49-F238E27FC236}">
                  <a16:creationId xmlns:a16="http://schemas.microsoft.com/office/drawing/2014/main" id="{CB1F906C-3F04-489D-B712-86F36DCF301D}"/>
                </a:ext>
              </a:extLst>
            </p:cNvPr>
            <p:cNvSpPr/>
            <p:nvPr/>
          </p:nvSpPr>
          <p:spPr>
            <a:xfrm rot="8716295">
              <a:off x="2586534" y="417917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" name="Forme libre : forme 123">
              <a:extLst>
                <a:ext uri="{FF2B5EF4-FFF2-40B4-BE49-F238E27FC236}">
                  <a16:creationId xmlns:a16="http://schemas.microsoft.com/office/drawing/2014/main" id="{BA0DE2D1-2098-4B24-BF1D-8B4133E050A7}"/>
                </a:ext>
              </a:extLst>
            </p:cNvPr>
            <p:cNvSpPr/>
            <p:nvPr/>
          </p:nvSpPr>
          <p:spPr>
            <a:xfrm rot="8716295">
              <a:off x="2897689" y="379952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" name="Forme libre : forme 124">
              <a:extLst>
                <a:ext uri="{FF2B5EF4-FFF2-40B4-BE49-F238E27FC236}">
                  <a16:creationId xmlns:a16="http://schemas.microsoft.com/office/drawing/2014/main" id="{280C5645-8889-4114-AA92-3C2F280AAAB1}"/>
                </a:ext>
              </a:extLst>
            </p:cNvPr>
            <p:cNvSpPr/>
            <p:nvPr/>
          </p:nvSpPr>
          <p:spPr>
            <a:xfrm rot="8716295">
              <a:off x="2989368" y="3839999"/>
              <a:ext cx="209149" cy="253771"/>
            </a:xfrm>
            <a:custGeom>
              <a:avLst/>
              <a:gdLst>
                <a:gd name="connsiteX0" fmla="*/ 147179 w 209149"/>
                <a:gd name="connsiteY0" fmla="*/ 97023 h 253771"/>
                <a:gd name="connsiteX1" fmla="*/ 147179 w 209149"/>
                <a:gd name="connsiteY1" fmla="*/ 80620 h 253771"/>
                <a:gd name="connsiteX2" fmla="*/ 113460 w 209149"/>
                <a:gd name="connsiteY2" fmla="*/ 39154 h 253771"/>
                <a:gd name="connsiteX3" fmla="*/ 104592 w 209149"/>
                <a:gd name="connsiteY3" fmla="*/ 42082 h 253771"/>
                <a:gd name="connsiteX4" fmla="*/ 139399 w 209149"/>
                <a:gd name="connsiteY4" fmla="*/ 0 h 253771"/>
                <a:gd name="connsiteX5" fmla="*/ 165512 w 209149"/>
                <a:gd name="connsiteY5" fmla="*/ 4538 h 253771"/>
                <a:gd name="connsiteX6" fmla="*/ 209149 w 209149"/>
                <a:gd name="connsiteY6" fmla="*/ 87454 h 253771"/>
                <a:gd name="connsiteX7" fmla="*/ 209149 w 209149"/>
                <a:gd name="connsiteY7" fmla="*/ 93378 h 253771"/>
                <a:gd name="connsiteX8" fmla="*/ 0 w 209149"/>
                <a:gd name="connsiteY8" fmla="*/ 253771 h 253771"/>
                <a:gd name="connsiteX9" fmla="*/ 0 w 209149"/>
                <a:gd name="connsiteY9" fmla="*/ 168537 h 253771"/>
                <a:gd name="connsiteX10" fmla="*/ 65782 w 209149"/>
                <a:gd name="connsiteY10" fmla="*/ 89005 h 253771"/>
                <a:gd name="connsiteX11" fmla="*/ 64377 w 209149"/>
                <a:gd name="connsiteY11" fmla="*/ 92403 h 253771"/>
                <a:gd name="connsiteX12" fmla="*/ 60148 w 209149"/>
                <a:gd name="connsiteY12" fmla="*/ 126641 h 253771"/>
                <a:gd name="connsiteX13" fmla="*/ 60148 w 209149"/>
                <a:gd name="connsiteY13" fmla="*/ 212762 h 253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9149" h="253771">
                  <a:moveTo>
                    <a:pt x="147179" y="97023"/>
                  </a:moveTo>
                  <a:lnTo>
                    <a:pt x="147179" y="80620"/>
                  </a:lnTo>
                  <a:cubicBezTo>
                    <a:pt x="147179" y="56013"/>
                    <a:pt x="133054" y="39154"/>
                    <a:pt x="113460" y="39154"/>
                  </a:cubicBezTo>
                  <a:lnTo>
                    <a:pt x="104592" y="42082"/>
                  </a:lnTo>
                  <a:lnTo>
                    <a:pt x="139399" y="0"/>
                  </a:lnTo>
                  <a:lnTo>
                    <a:pt x="165512" y="4538"/>
                  </a:lnTo>
                  <a:cubicBezTo>
                    <a:pt x="193258" y="16029"/>
                    <a:pt x="209149" y="45077"/>
                    <a:pt x="209149" y="87454"/>
                  </a:cubicBezTo>
                  <a:lnTo>
                    <a:pt x="209149" y="93378"/>
                  </a:lnTo>
                  <a:close/>
                  <a:moveTo>
                    <a:pt x="0" y="253771"/>
                  </a:moveTo>
                  <a:lnTo>
                    <a:pt x="0" y="168537"/>
                  </a:lnTo>
                  <a:lnTo>
                    <a:pt x="65782" y="89005"/>
                  </a:lnTo>
                  <a:lnTo>
                    <a:pt x="64377" y="92403"/>
                  </a:lnTo>
                  <a:cubicBezTo>
                    <a:pt x="61657" y="102890"/>
                    <a:pt x="60148" y="114452"/>
                    <a:pt x="60148" y="126641"/>
                  </a:cubicBezTo>
                  <a:lnTo>
                    <a:pt x="60148" y="2127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" name="Forme libre : forme 125">
              <a:extLst>
                <a:ext uri="{FF2B5EF4-FFF2-40B4-BE49-F238E27FC236}">
                  <a16:creationId xmlns:a16="http://schemas.microsoft.com/office/drawing/2014/main" id="{12C74CA9-7295-4DD3-B257-BC02E33DC169}"/>
                </a:ext>
              </a:extLst>
            </p:cNvPr>
            <p:cNvSpPr/>
            <p:nvPr/>
          </p:nvSpPr>
          <p:spPr>
            <a:xfrm rot="8716295">
              <a:off x="2785455" y="388807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" name="Forme libre : forme 126">
              <a:extLst>
                <a:ext uri="{FF2B5EF4-FFF2-40B4-BE49-F238E27FC236}">
                  <a16:creationId xmlns:a16="http://schemas.microsoft.com/office/drawing/2014/main" id="{5EABE596-751A-434B-B681-D5C7A4015BC8}"/>
                </a:ext>
              </a:extLst>
            </p:cNvPr>
            <p:cNvSpPr/>
            <p:nvPr/>
          </p:nvSpPr>
          <p:spPr>
            <a:xfrm rot="8716295">
              <a:off x="2660553" y="367940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" name="Forme libre : forme 127">
              <a:extLst>
                <a:ext uri="{FF2B5EF4-FFF2-40B4-BE49-F238E27FC236}">
                  <a16:creationId xmlns:a16="http://schemas.microsoft.com/office/drawing/2014/main" id="{34A25BB8-E5A6-43A3-A6BE-6CBEBC3F2CD9}"/>
                </a:ext>
              </a:extLst>
            </p:cNvPr>
            <p:cNvSpPr/>
            <p:nvPr/>
          </p:nvSpPr>
          <p:spPr>
            <a:xfrm rot="8716295">
              <a:off x="2875633" y="392902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" name="Forme libre : forme 128">
              <a:extLst>
                <a:ext uri="{FF2B5EF4-FFF2-40B4-BE49-F238E27FC236}">
                  <a16:creationId xmlns:a16="http://schemas.microsoft.com/office/drawing/2014/main" id="{BC27C288-1E66-4F8B-924C-4EDB2BC25294}"/>
                </a:ext>
              </a:extLst>
            </p:cNvPr>
            <p:cNvSpPr/>
            <p:nvPr/>
          </p:nvSpPr>
          <p:spPr>
            <a:xfrm rot="8716295">
              <a:off x="2634182" y="377942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" name="Forme libre : forme 129">
              <a:extLst>
                <a:ext uri="{FF2B5EF4-FFF2-40B4-BE49-F238E27FC236}">
                  <a16:creationId xmlns:a16="http://schemas.microsoft.com/office/drawing/2014/main" id="{C22A0888-0C9E-4945-82D7-7EE608C46CC7}"/>
                </a:ext>
              </a:extLst>
            </p:cNvPr>
            <p:cNvSpPr/>
            <p:nvPr/>
          </p:nvSpPr>
          <p:spPr>
            <a:xfrm rot="7484129">
              <a:off x="2986722" y="4140706"/>
              <a:ext cx="156000" cy="195873"/>
            </a:xfrm>
            <a:custGeom>
              <a:avLst/>
              <a:gdLst>
                <a:gd name="connsiteX0" fmla="*/ 42863 w 156000"/>
                <a:gd name="connsiteY0" fmla="*/ 195873 h 195873"/>
                <a:gd name="connsiteX1" fmla="*/ 0 w 156000"/>
                <a:gd name="connsiteY1" fmla="*/ 116129 h 195873"/>
                <a:gd name="connsiteX2" fmla="*/ 19423 w 156000"/>
                <a:gd name="connsiteY2" fmla="*/ 62274 h 195873"/>
                <a:gd name="connsiteX3" fmla="*/ 127856 w 156000"/>
                <a:gd name="connsiteY3" fmla="*/ 0 h 195873"/>
                <a:gd name="connsiteX4" fmla="*/ 156000 w 156000"/>
                <a:gd name="connsiteY4" fmla="*/ 0 h 195873"/>
                <a:gd name="connsiteX5" fmla="*/ 156000 w 156000"/>
                <a:gd name="connsiteY5" fmla="*/ 55323 h 195873"/>
                <a:gd name="connsiteX6" fmla="*/ 91208 w 156000"/>
                <a:gd name="connsiteY6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000" h="195873">
                  <a:moveTo>
                    <a:pt x="42863" y="195873"/>
                  </a:moveTo>
                  <a:lnTo>
                    <a:pt x="0" y="116129"/>
                  </a:lnTo>
                  <a:lnTo>
                    <a:pt x="19423" y="62274"/>
                  </a:lnTo>
                  <a:lnTo>
                    <a:pt x="127856" y="0"/>
                  </a:lnTo>
                  <a:lnTo>
                    <a:pt x="156000" y="0"/>
                  </a:lnTo>
                  <a:lnTo>
                    <a:pt x="156000" y="55323"/>
                  </a:lnTo>
                  <a:lnTo>
                    <a:pt x="91208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" name="Forme libre : forme 130">
              <a:extLst>
                <a:ext uri="{FF2B5EF4-FFF2-40B4-BE49-F238E27FC236}">
                  <a16:creationId xmlns:a16="http://schemas.microsoft.com/office/drawing/2014/main" id="{B1E3FE16-8016-4EF3-8614-3D1D60105986}"/>
                </a:ext>
              </a:extLst>
            </p:cNvPr>
            <p:cNvSpPr/>
            <p:nvPr/>
          </p:nvSpPr>
          <p:spPr>
            <a:xfrm rot="8716295">
              <a:off x="2975918" y="382185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" name="Forme libre : forme 131">
              <a:extLst>
                <a:ext uri="{FF2B5EF4-FFF2-40B4-BE49-F238E27FC236}">
                  <a16:creationId xmlns:a16="http://schemas.microsoft.com/office/drawing/2014/main" id="{E69AE829-0E6B-4637-B9A4-FB76BF7CE509}"/>
                </a:ext>
              </a:extLst>
            </p:cNvPr>
            <p:cNvSpPr/>
            <p:nvPr/>
          </p:nvSpPr>
          <p:spPr>
            <a:xfrm rot="8716295">
              <a:off x="3136327" y="3677877"/>
              <a:ext cx="62210" cy="70771"/>
            </a:xfrm>
            <a:custGeom>
              <a:avLst/>
              <a:gdLst>
                <a:gd name="connsiteX0" fmla="*/ 0 w 62210"/>
                <a:gd name="connsiteY0" fmla="*/ 69343 h 70771"/>
                <a:gd name="connsiteX1" fmla="*/ 57354 w 62210"/>
                <a:gd name="connsiteY1" fmla="*/ 0 h 70771"/>
                <a:gd name="connsiteX2" fmla="*/ 62210 w 62210"/>
                <a:gd name="connsiteY2" fmla="*/ 11557 h 70771"/>
                <a:gd name="connsiteX3" fmla="*/ 44963 w 62210"/>
                <a:gd name="connsiteY3" fmla="*/ 53294 h 70771"/>
                <a:gd name="connsiteX4" fmla="*/ 3570 w 62210"/>
                <a:gd name="connsiteY4" fmla="*/ 70771 h 70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210" h="70771">
                  <a:moveTo>
                    <a:pt x="0" y="69343"/>
                  </a:moveTo>
                  <a:lnTo>
                    <a:pt x="57354" y="0"/>
                  </a:lnTo>
                  <a:lnTo>
                    <a:pt x="62210" y="11557"/>
                  </a:lnTo>
                  <a:cubicBezTo>
                    <a:pt x="62210" y="26619"/>
                    <a:pt x="56461" y="41796"/>
                    <a:pt x="44963" y="53294"/>
                  </a:cubicBezTo>
                  <a:cubicBezTo>
                    <a:pt x="33925" y="64332"/>
                    <a:pt x="19208" y="70771"/>
                    <a:pt x="3570" y="7077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" name="Forme libre : forme 132">
              <a:extLst>
                <a:ext uri="{FF2B5EF4-FFF2-40B4-BE49-F238E27FC236}">
                  <a16:creationId xmlns:a16="http://schemas.microsoft.com/office/drawing/2014/main" id="{D37688C2-C0A6-4E05-B609-4CB494CE709C}"/>
                </a:ext>
              </a:extLst>
            </p:cNvPr>
            <p:cNvSpPr/>
            <p:nvPr/>
          </p:nvSpPr>
          <p:spPr>
            <a:xfrm rot="8716295">
              <a:off x="2831757" y="470938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" name="Forme libre : forme 133">
              <a:extLst>
                <a:ext uri="{FF2B5EF4-FFF2-40B4-BE49-F238E27FC236}">
                  <a16:creationId xmlns:a16="http://schemas.microsoft.com/office/drawing/2014/main" id="{A3A6BF4C-1E72-4FF3-8FB3-699E9245E152}"/>
                </a:ext>
              </a:extLst>
            </p:cNvPr>
            <p:cNvSpPr/>
            <p:nvPr/>
          </p:nvSpPr>
          <p:spPr>
            <a:xfrm rot="8716295">
              <a:off x="2922791" y="4750051"/>
              <a:ext cx="209149" cy="251506"/>
            </a:xfrm>
            <a:custGeom>
              <a:avLst/>
              <a:gdLst>
                <a:gd name="connsiteX0" fmla="*/ 147179 w 209149"/>
                <a:gd name="connsiteY0" fmla="*/ 94758 h 251506"/>
                <a:gd name="connsiteX1" fmla="*/ 147179 w 209149"/>
                <a:gd name="connsiteY1" fmla="*/ 78354 h 251506"/>
                <a:gd name="connsiteX2" fmla="*/ 137667 w 209149"/>
                <a:gd name="connsiteY2" fmla="*/ 48394 h 251506"/>
                <a:gd name="connsiteX3" fmla="*/ 119535 w 209149"/>
                <a:gd name="connsiteY3" fmla="*/ 39776 h 251506"/>
                <a:gd name="connsiteX4" fmla="*/ 152434 w 209149"/>
                <a:gd name="connsiteY4" fmla="*/ 0 h 251506"/>
                <a:gd name="connsiteX5" fmla="*/ 165512 w 209149"/>
                <a:gd name="connsiteY5" fmla="*/ 2273 h 251506"/>
                <a:gd name="connsiteX6" fmla="*/ 209149 w 209149"/>
                <a:gd name="connsiteY6" fmla="*/ 85189 h 251506"/>
                <a:gd name="connsiteX7" fmla="*/ 209149 w 209149"/>
                <a:gd name="connsiteY7" fmla="*/ 91113 h 251506"/>
                <a:gd name="connsiteX8" fmla="*/ 0 w 209149"/>
                <a:gd name="connsiteY8" fmla="*/ 251506 h 251506"/>
                <a:gd name="connsiteX9" fmla="*/ 0 w 209149"/>
                <a:gd name="connsiteY9" fmla="*/ 184297 h 251506"/>
                <a:gd name="connsiteX10" fmla="*/ 62006 w 209149"/>
                <a:gd name="connsiteY10" fmla="*/ 109330 h 251506"/>
                <a:gd name="connsiteX11" fmla="*/ 60148 w 209149"/>
                <a:gd name="connsiteY11" fmla="*/ 124376 h 251506"/>
                <a:gd name="connsiteX12" fmla="*/ 60148 w 209149"/>
                <a:gd name="connsiteY12" fmla="*/ 210497 h 251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9149" h="251506">
                  <a:moveTo>
                    <a:pt x="147179" y="94758"/>
                  </a:moveTo>
                  <a:lnTo>
                    <a:pt x="147179" y="78354"/>
                  </a:lnTo>
                  <a:cubicBezTo>
                    <a:pt x="147179" y="66051"/>
                    <a:pt x="143648" y="55685"/>
                    <a:pt x="137667" y="48394"/>
                  </a:cubicBezTo>
                  <a:lnTo>
                    <a:pt x="119535" y="39776"/>
                  </a:lnTo>
                  <a:lnTo>
                    <a:pt x="152434" y="0"/>
                  </a:lnTo>
                  <a:lnTo>
                    <a:pt x="165512" y="2273"/>
                  </a:lnTo>
                  <a:cubicBezTo>
                    <a:pt x="193258" y="13764"/>
                    <a:pt x="209149" y="42812"/>
                    <a:pt x="209149" y="85189"/>
                  </a:cubicBezTo>
                  <a:lnTo>
                    <a:pt x="209149" y="91113"/>
                  </a:lnTo>
                  <a:close/>
                  <a:moveTo>
                    <a:pt x="0" y="251506"/>
                  </a:moveTo>
                  <a:lnTo>
                    <a:pt x="0" y="184297"/>
                  </a:lnTo>
                  <a:lnTo>
                    <a:pt x="62006" y="109330"/>
                  </a:lnTo>
                  <a:lnTo>
                    <a:pt x="60148" y="124376"/>
                  </a:lnTo>
                  <a:lnTo>
                    <a:pt x="60148" y="21049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" name="Forme libre : forme 134">
              <a:extLst>
                <a:ext uri="{FF2B5EF4-FFF2-40B4-BE49-F238E27FC236}">
                  <a16:creationId xmlns:a16="http://schemas.microsoft.com/office/drawing/2014/main" id="{5140B893-7827-4D80-AD77-FD3E70DDBAED}"/>
                </a:ext>
              </a:extLst>
            </p:cNvPr>
            <p:cNvSpPr/>
            <p:nvPr/>
          </p:nvSpPr>
          <p:spPr>
            <a:xfrm rot="8716295">
              <a:off x="2876299" y="465234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" name="Forme libre : forme 135">
              <a:extLst>
                <a:ext uri="{FF2B5EF4-FFF2-40B4-BE49-F238E27FC236}">
                  <a16:creationId xmlns:a16="http://schemas.microsoft.com/office/drawing/2014/main" id="{CEF19F0C-E18C-48D8-9AB5-6885668C7FC0}"/>
                </a:ext>
              </a:extLst>
            </p:cNvPr>
            <p:cNvSpPr/>
            <p:nvPr/>
          </p:nvSpPr>
          <p:spPr>
            <a:xfrm rot="8716295">
              <a:off x="2719523" y="479792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" name="Forme libre : forme 136">
              <a:extLst>
                <a:ext uri="{FF2B5EF4-FFF2-40B4-BE49-F238E27FC236}">
                  <a16:creationId xmlns:a16="http://schemas.microsoft.com/office/drawing/2014/main" id="{0BB22A70-3803-482F-84FC-984B6EC6C374}"/>
                </a:ext>
              </a:extLst>
            </p:cNvPr>
            <p:cNvSpPr/>
            <p:nvPr/>
          </p:nvSpPr>
          <p:spPr>
            <a:xfrm rot="8716295">
              <a:off x="2594620" y="458925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" name="Forme libre : forme 137">
              <a:extLst>
                <a:ext uri="{FF2B5EF4-FFF2-40B4-BE49-F238E27FC236}">
                  <a16:creationId xmlns:a16="http://schemas.microsoft.com/office/drawing/2014/main" id="{BB66996B-CABF-4C18-97CF-8361430CCC5E}"/>
                </a:ext>
              </a:extLst>
            </p:cNvPr>
            <p:cNvSpPr/>
            <p:nvPr/>
          </p:nvSpPr>
          <p:spPr>
            <a:xfrm rot="8716295">
              <a:off x="2582568" y="4450471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" name="Forme libre : forme 138">
              <a:extLst>
                <a:ext uri="{FF2B5EF4-FFF2-40B4-BE49-F238E27FC236}">
                  <a16:creationId xmlns:a16="http://schemas.microsoft.com/office/drawing/2014/main" id="{EE47147C-71F2-4045-A9A2-5EC38820966E}"/>
                </a:ext>
              </a:extLst>
            </p:cNvPr>
            <p:cNvSpPr/>
            <p:nvPr/>
          </p:nvSpPr>
          <p:spPr>
            <a:xfrm rot="8716295">
              <a:off x="2809701" y="483887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" name="Forme libre : forme 139">
              <a:extLst>
                <a:ext uri="{FF2B5EF4-FFF2-40B4-BE49-F238E27FC236}">
                  <a16:creationId xmlns:a16="http://schemas.microsoft.com/office/drawing/2014/main" id="{89BAF661-43F0-4B4A-A23C-BA7CE46BDD71}"/>
                </a:ext>
              </a:extLst>
            </p:cNvPr>
            <p:cNvSpPr/>
            <p:nvPr/>
          </p:nvSpPr>
          <p:spPr>
            <a:xfrm rot="8716295">
              <a:off x="3081353" y="4514214"/>
              <a:ext cx="36672" cy="44337"/>
            </a:xfrm>
            <a:custGeom>
              <a:avLst/>
              <a:gdLst>
                <a:gd name="connsiteX0" fmla="*/ 0 w 36672"/>
                <a:gd name="connsiteY0" fmla="*/ 44337 h 44337"/>
                <a:gd name="connsiteX1" fmla="*/ 36672 w 36672"/>
                <a:gd name="connsiteY1" fmla="*/ 0 h 44337"/>
                <a:gd name="connsiteX2" fmla="*/ 36672 w 36672"/>
                <a:gd name="connsiteY2" fmla="*/ 29833 h 44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672" h="44337">
                  <a:moveTo>
                    <a:pt x="0" y="44337"/>
                  </a:moveTo>
                  <a:lnTo>
                    <a:pt x="36672" y="0"/>
                  </a:lnTo>
                  <a:lnTo>
                    <a:pt x="36672" y="298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" name="Forme libre : forme 140">
              <a:extLst>
                <a:ext uri="{FF2B5EF4-FFF2-40B4-BE49-F238E27FC236}">
                  <a16:creationId xmlns:a16="http://schemas.microsoft.com/office/drawing/2014/main" id="{63A651C5-5D05-4459-83FE-EB640DC8F382}"/>
                </a:ext>
              </a:extLst>
            </p:cNvPr>
            <p:cNvSpPr/>
            <p:nvPr/>
          </p:nvSpPr>
          <p:spPr>
            <a:xfrm rot="8716295">
              <a:off x="3008622" y="45477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" name="Forme libre : forme 141">
              <a:extLst>
                <a:ext uri="{FF2B5EF4-FFF2-40B4-BE49-F238E27FC236}">
                  <a16:creationId xmlns:a16="http://schemas.microsoft.com/office/drawing/2014/main" id="{092AE7DF-4653-4199-BFAC-73916EFC860A}"/>
                </a:ext>
              </a:extLst>
            </p:cNvPr>
            <p:cNvSpPr/>
            <p:nvPr/>
          </p:nvSpPr>
          <p:spPr>
            <a:xfrm rot="8716295">
              <a:off x="2879209" y="433901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22587 h 195874"/>
                <a:gd name="connsiteX5" fmla="*/ 18682 w 203847"/>
                <a:gd name="connsiteY5" fmla="*/ 0 h 195874"/>
                <a:gd name="connsiteX6" fmla="*/ 203847 w 203847"/>
                <a:gd name="connsiteY6" fmla="*/ 0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22587"/>
                  </a:lnTo>
                  <a:lnTo>
                    <a:pt x="18682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" name="Forme libre : forme 142">
              <a:extLst>
                <a:ext uri="{FF2B5EF4-FFF2-40B4-BE49-F238E27FC236}">
                  <a16:creationId xmlns:a16="http://schemas.microsoft.com/office/drawing/2014/main" id="{D41ED30F-3026-421E-ABA6-358575487EBA}"/>
                </a:ext>
              </a:extLst>
            </p:cNvPr>
            <p:cNvSpPr/>
            <p:nvPr/>
          </p:nvSpPr>
          <p:spPr>
            <a:xfrm rot="8716295">
              <a:off x="3061023" y="4621511"/>
              <a:ext cx="34902" cy="75779"/>
            </a:xfrm>
            <a:custGeom>
              <a:avLst/>
              <a:gdLst>
                <a:gd name="connsiteX0" fmla="*/ 34902 w 34902"/>
                <a:gd name="connsiteY0" fmla="*/ 75779 h 75779"/>
                <a:gd name="connsiteX1" fmla="*/ 0 w 34902"/>
                <a:gd name="connsiteY1" fmla="*/ 42198 h 75779"/>
                <a:gd name="connsiteX2" fmla="*/ 34902 w 34902"/>
                <a:gd name="connsiteY2" fmla="*/ 0 h 75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902" h="75779">
                  <a:moveTo>
                    <a:pt x="34902" y="75779"/>
                  </a:moveTo>
                  <a:lnTo>
                    <a:pt x="0" y="42198"/>
                  </a:lnTo>
                  <a:lnTo>
                    <a:pt x="3490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4" name="Forme libre : forme 143">
              <a:extLst>
                <a:ext uri="{FF2B5EF4-FFF2-40B4-BE49-F238E27FC236}">
                  <a16:creationId xmlns:a16="http://schemas.microsoft.com/office/drawing/2014/main" id="{3F91EA7A-2760-47AB-B973-A377384BFCEB}"/>
                </a:ext>
              </a:extLst>
            </p:cNvPr>
            <p:cNvSpPr/>
            <p:nvPr/>
          </p:nvSpPr>
          <p:spPr>
            <a:xfrm rot="8716295">
              <a:off x="2857349" y="443912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5" name="Forme libre : forme 144">
              <a:extLst>
                <a:ext uri="{FF2B5EF4-FFF2-40B4-BE49-F238E27FC236}">
                  <a16:creationId xmlns:a16="http://schemas.microsoft.com/office/drawing/2014/main" id="{41EE0DAC-E1CD-4DF6-B038-DF99C017AF47}"/>
                </a:ext>
              </a:extLst>
            </p:cNvPr>
            <p:cNvSpPr/>
            <p:nvPr/>
          </p:nvSpPr>
          <p:spPr>
            <a:xfrm rot="8716295">
              <a:off x="1945235" y="207061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6" name="Forme libre : forme 145">
              <a:extLst>
                <a:ext uri="{FF2B5EF4-FFF2-40B4-BE49-F238E27FC236}">
                  <a16:creationId xmlns:a16="http://schemas.microsoft.com/office/drawing/2014/main" id="{280B0FCB-6B6E-4C11-92C1-4D7A5EC1D4AD}"/>
                </a:ext>
              </a:extLst>
            </p:cNvPr>
            <p:cNvSpPr/>
            <p:nvPr/>
          </p:nvSpPr>
          <p:spPr>
            <a:xfrm rot="8716295">
              <a:off x="2034627" y="209985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7" name="Forme libre : forme 146">
              <a:extLst>
                <a:ext uri="{FF2B5EF4-FFF2-40B4-BE49-F238E27FC236}">
                  <a16:creationId xmlns:a16="http://schemas.microsoft.com/office/drawing/2014/main" id="{9891BA28-484A-4733-8CF3-53CE88879C65}"/>
                </a:ext>
              </a:extLst>
            </p:cNvPr>
            <p:cNvSpPr/>
            <p:nvPr/>
          </p:nvSpPr>
          <p:spPr>
            <a:xfrm rot="8716295">
              <a:off x="1989777" y="201357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8" name="Forme libre : forme 147">
              <a:extLst>
                <a:ext uri="{FF2B5EF4-FFF2-40B4-BE49-F238E27FC236}">
                  <a16:creationId xmlns:a16="http://schemas.microsoft.com/office/drawing/2014/main" id="{9E43636F-0BE6-4C9B-B96D-D3D316F85163}"/>
                </a:ext>
              </a:extLst>
            </p:cNvPr>
            <p:cNvSpPr/>
            <p:nvPr/>
          </p:nvSpPr>
          <p:spPr>
            <a:xfrm rot="8716295">
              <a:off x="1833001" y="215915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9" name="Forme libre : forme 148">
              <a:extLst>
                <a:ext uri="{FF2B5EF4-FFF2-40B4-BE49-F238E27FC236}">
                  <a16:creationId xmlns:a16="http://schemas.microsoft.com/office/drawing/2014/main" id="{E5C5D07F-1F3F-49A7-9D1F-45F1F92DDF33}"/>
                </a:ext>
              </a:extLst>
            </p:cNvPr>
            <p:cNvSpPr/>
            <p:nvPr/>
          </p:nvSpPr>
          <p:spPr>
            <a:xfrm rot="8716295">
              <a:off x="1708098" y="195048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0" name="Forme libre : forme 149">
              <a:extLst>
                <a:ext uri="{FF2B5EF4-FFF2-40B4-BE49-F238E27FC236}">
                  <a16:creationId xmlns:a16="http://schemas.microsoft.com/office/drawing/2014/main" id="{207E57C6-B2AE-4BC9-A0BC-164A405D607B}"/>
                </a:ext>
              </a:extLst>
            </p:cNvPr>
            <p:cNvSpPr/>
            <p:nvPr/>
          </p:nvSpPr>
          <p:spPr>
            <a:xfrm rot="8716295">
              <a:off x="1696046" y="181170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1" name="Forme libre : forme 150">
              <a:extLst>
                <a:ext uri="{FF2B5EF4-FFF2-40B4-BE49-F238E27FC236}">
                  <a16:creationId xmlns:a16="http://schemas.microsoft.com/office/drawing/2014/main" id="{FD7783C5-00B3-479F-9977-DAF07693A1CC}"/>
                </a:ext>
              </a:extLst>
            </p:cNvPr>
            <p:cNvSpPr/>
            <p:nvPr/>
          </p:nvSpPr>
          <p:spPr>
            <a:xfrm rot="8716295">
              <a:off x="1923179" y="220010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2" name="Forme libre : forme 151">
              <a:extLst>
                <a:ext uri="{FF2B5EF4-FFF2-40B4-BE49-F238E27FC236}">
                  <a16:creationId xmlns:a16="http://schemas.microsoft.com/office/drawing/2014/main" id="{DEFBD7BA-14F9-43E3-A392-63B2C3EB3D89}"/>
                </a:ext>
              </a:extLst>
            </p:cNvPr>
            <p:cNvSpPr/>
            <p:nvPr/>
          </p:nvSpPr>
          <p:spPr>
            <a:xfrm rot="8716295">
              <a:off x="2234334" y="182046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3" name="Forme libre : forme 152">
              <a:extLst>
                <a:ext uri="{FF2B5EF4-FFF2-40B4-BE49-F238E27FC236}">
                  <a16:creationId xmlns:a16="http://schemas.microsoft.com/office/drawing/2014/main" id="{FA5B5BF3-F8F8-4C26-90BE-9AB63A9858C0}"/>
                </a:ext>
              </a:extLst>
            </p:cNvPr>
            <p:cNvSpPr/>
            <p:nvPr/>
          </p:nvSpPr>
          <p:spPr>
            <a:xfrm rot="8716295">
              <a:off x="2323726" y="184970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4" name="Forme libre : forme 153">
              <a:extLst>
                <a:ext uri="{FF2B5EF4-FFF2-40B4-BE49-F238E27FC236}">
                  <a16:creationId xmlns:a16="http://schemas.microsoft.com/office/drawing/2014/main" id="{7D4A76DD-C0C6-4680-9B5E-C0F67CFE2306}"/>
                </a:ext>
              </a:extLst>
            </p:cNvPr>
            <p:cNvSpPr/>
            <p:nvPr/>
          </p:nvSpPr>
          <p:spPr>
            <a:xfrm rot="8716295">
              <a:off x="2122100" y="19090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5" name="Forme libre : forme 154">
              <a:extLst>
                <a:ext uri="{FF2B5EF4-FFF2-40B4-BE49-F238E27FC236}">
                  <a16:creationId xmlns:a16="http://schemas.microsoft.com/office/drawing/2014/main" id="{6F20D922-BA49-4338-8552-0E24349BE40F}"/>
                </a:ext>
              </a:extLst>
            </p:cNvPr>
            <p:cNvSpPr/>
            <p:nvPr/>
          </p:nvSpPr>
          <p:spPr>
            <a:xfrm rot="8716295">
              <a:off x="1997198" y="170033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6" name="Forme libre : forme 155">
              <a:extLst>
                <a:ext uri="{FF2B5EF4-FFF2-40B4-BE49-F238E27FC236}">
                  <a16:creationId xmlns:a16="http://schemas.microsoft.com/office/drawing/2014/main" id="{C49CE272-F4B5-48DE-8F4E-72BDDD64982A}"/>
                </a:ext>
              </a:extLst>
            </p:cNvPr>
            <p:cNvSpPr/>
            <p:nvPr/>
          </p:nvSpPr>
          <p:spPr>
            <a:xfrm rot="8716295">
              <a:off x="2212278" y="194995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7" name="Forme libre : forme 156">
              <a:extLst>
                <a:ext uri="{FF2B5EF4-FFF2-40B4-BE49-F238E27FC236}">
                  <a16:creationId xmlns:a16="http://schemas.microsoft.com/office/drawing/2014/main" id="{89A0B9F3-EFEE-493B-B0C9-5CE4EF3AC015}"/>
                </a:ext>
              </a:extLst>
            </p:cNvPr>
            <p:cNvSpPr/>
            <p:nvPr/>
          </p:nvSpPr>
          <p:spPr>
            <a:xfrm rot="8716295">
              <a:off x="1970827" y="180035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8" name="Forme libre : forme 157">
              <a:extLst>
                <a:ext uri="{FF2B5EF4-FFF2-40B4-BE49-F238E27FC236}">
                  <a16:creationId xmlns:a16="http://schemas.microsoft.com/office/drawing/2014/main" id="{381186EF-923B-4BA3-A64F-0BC643A96F05}"/>
                </a:ext>
              </a:extLst>
            </p:cNvPr>
            <p:cNvSpPr/>
            <p:nvPr/>
          </p:nvSpPr>
          <p:spPr>
            <a:xfrm rot="7484129">
              <a:off x="2317209" y="214130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9" name="Forme libre : forme 158">
              <a:extLst>
                <a:ext uri="{FF2B5EF4-FFF2-40B4-BE49-F238E27FC236}">
                  <a16:creationId xmlns:a16="http://schemas.microsoft.com/office/drawing/2014/main" id="{788393C8-C36C-4E12-8713-6D9894A034E5}"/>
                </a:ext>
              </a:extLst>
            </p:cNvPr>
            <p:cNvSpPr/>
            <p:nvPr/>
          </p:nvSpPr>
          <p:spPr>
            <a:xfrm rot="13089394">
              <a:off x="2422029" y="2107841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0" name="Forme libre : forme 159">
              <a:extLst>
                <a:ext uri="{FF2B5EF4-FFF2-40B4-BE49-F238E27FC236}">
                  <a16:creationId xmlns:a16="http://schemas.microsoft.com/office/drawing/2014/main" id="{C4FA5850-C1BD-4E2E-921F-011D1E41FA44}"/>
                </a:ext>
              </a:extLst>
            </p:cNvPr>
            <p:cNvSpPr/>
            <p:nvPr/>
          </p:nvSpPr>
          <p:spPr>
            <a:xfrm rot="8716295">
              <a:off x="2607614" y="191616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1" name="Forme libre : forme 160">
              <a:extLst>
                <a:ext uri="{FF2B5EF4-FFF2-40B4-BE49-F238E27FC236}">
                  <a16:creationId xmlns:a16="http://schemas.microsoft.com/office/drawing/2014/main" id="{D19371A5-FFF2-4505-BA78-FDBD81E756C8}"/>
                </a:ext>
              </a:extLst>
            </p:cNvPr>
            <p:cNvSpPr/>
            <p:nvPr/>
          </p:nvSpPr>
          <p:spPr>
            <a:xfrm rot="8716295">
              <a:off x="2555809" y="181256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2" name="Forme libre : forme 161">
              <a:extLst>
                <a:ext uri="{FF2B5EF4-FFF2-40B4-BE49-F238E27FC236}">
                  <a16:creationId xmlns:a16="http://schemas.microsoft.com/office/drawing/2014/main" id="{A15BB5DD-2D34-4EE6-A86F-363F8D953409}"/>
                </a:ext>
              </a:extLst>
            </p:cNvPr>
            <p:cNvSpPr/>
            <p:nvPr/>
          </p:nvSpPr>
          <p:spPr>
            <a:xfrm rot="8716295">
              <a:off x="2312563" y="184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3" name="Forme libre : forme 162">
              <a:extLst>
                <a:ext uri="{FF2B5EF4-FFF2-40B4-BE49-F238E27FC236}">
                  <a16:creationId xmlns:a16="http://schemas.microsoft.com/office/drawing/2014/main" id="{EA840678-0C4C-427E-B930-90E4B3D4F4F5}"/>
                </a:ext>
              </a:extLst>
            </p:cNvPr>
            <p:cNvSpPr/>
            <p:nvPr/>
          </p:nvSpPr>
          <p:spPr>
            <a:xfrm rot="8716295">
              <a:off x="2490015" y="168354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4" name="Forme libre : forme 163">
              <a:extLst>
                <a:ext uri="{FF2B5EF4-FFF2-40B4-BE49-F238E27FC236}">
                  <a16:creationId xmlns:a16="http://schemas.microsoft.com/office/drawing/2014/main" id="{D24A7F84-D7C5-48B5-A2D9-046539552BF1}"/>
                </a:ext>
              </a:extLst>
            </p:cNvPr>
            <p:cNvSpPr/>
            <p:nvPr/>
          </p:nvSpPr>
          <p:spPr>
            <a:xfrm rot="8716295">
              <a:off x="1722068" y="141091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5" name="Forme libre : forme 164">
              <a:extLst>
                <a:ext uri="{FF2B5EF4-FFF2-40B4-BE49-F238E27FC236}">
                  <a16:creationId xmlns:a16="http://schemas.microsoft.com/office/drawing/2014/main" id="{5057A8E5-18E1-48A6-876F-42538393E91C}"/>
                </a:ext>
              </a:extLst>
            </p:cNvPr>
            <p:cNvSpPr/>
            <p:nvPr/>
          </p:nvSpPr>
          <p:spPr>
            <a:xfrm rot="8716295">
              <a:off x="1811460" y="144015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6" name="Forme libre : forme 165">
              <a:extLst>
                <a:ext uri="{FF2B5EF4-FFF2-40B4-BE49-F238E27FC236}">
                  <a16:creationId xmlns:a16="http://schemas.microsoft.com/office/drawing/2014/main" id="{F17BAF41-442E-4918-95C6-E19EEA6D7525}"/>
                </a:ext>
              </a:extLst>
            </p:cNvPr>
            <p:cNvSpPr/>
            <p:nvPr/>
          </p:nvSpPr>
          <p:spPr>
            <a:xfrm rot="8716295">
              <a:off x="1766610" y="135387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7" name="Forme libre : forme 166">
              <a:extLst>
                <a:ext uri="{FF2B5EF4-FFF2-40B4-BE49-F238E27FC236}">
                  <a16:creationId xmlns:a16="http://schemas.microsoft.com/office/drawing/2014/main" id="{62988CCC-AFDA-4601-89EC-2DCFE47EF1C9}"/>
                </a:ext>
              </a:extLst>
            </p:cNvPr>
            <p:cNvSpPr/>
            <p:nvPr/>
          </p:nvSpPr>
          <p:spPr>
            <a:xfrm rot="8716295">
              <a:off x="1609834" y="149945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8" name="Forme libre : forme 167">
              <a:extLst>
                <a:ext uri="{FF2B5EF4-FFF2-40B4-BE49-F238E27FC236}">
                  <a16:creationId xmlns:a16="http://schemas.microsoft.com/office/drawing/2014/main" id="{5054FA74-E8B8-46F3-A02A-768107F93576}"/>
                </a:ext>
              </a:extLst>
            </p:cNvPr>
            <p:cNvSpPr/>
            <p:nvPr/>
          </p:nvSpPr>
          <p:spPr>
            <a:xfrm rot="8716295">
              <a:off x="1484931" y="129078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9" name="Forme libre : forme 168">
              <a:extLst>
                <a:ext uri="{FF2B5EF4-FFF2-40B4-BE49-F238E27FC236}">
                  <a16:creationId xmlns:a16="http://schemas.microsoft.com/office/drawing/2014/main" id="{A04E0DF6-BDC7-4FC4-B1B7-F62238D08C5B}"/>
                </a:ext>
              </a:extLst>
            </p:cNvPr>
            <p:cNvSpPr/>
            <p:nvPr/>
          </p:nvSpPr>
          <p:spPr>
            <a:xfrm rot="8716295">
              <a:off x="1472879" y="115200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0" name="Forme libre : forme 169">
              <a:extLst>
                <a:ext uri="{FF2B5EF4-FFF2-40B4-BE49-F238E27FC236}">
                  <a16:creationId xmlns:a16="http://schemas.microsoft.com/office/drawing/2014/main" id="{57389608-4676-4687-8ECB-4D71B8133D4F}"/>
                </a:ext>
              </a:extLst>
            </p:cNvPr>
            <p:cNvSpPr/>
            <p:nvPr/>
          </p:nvSpPr>
          <p:spPr>
            <a:xfrm rot="8716295">
              <a:off x="1700012" y="154040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1" name="Forme libre : forme 170">
              <a:extLst>
                <a:ext uri="{FF2B5EF4-FFF2-40B4-BE49-F238E27FC236}">
                  <a16:creationId xmlns:a16="http://schemas.microsoft.com/office/drawing/2014/main" id="{B4719429-3450-446C-9492-3B4DE807655B}"/>
                </a:ext>
              </a:extLst>
            </p:cNvPr>
            <p:cNvSpPr/>
            <p:nvPr/>
          </p:nvSpPr>
          <p:spPr>
            <a:xfrm rot="8716295">
              <a:off x="2011167" y="116076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2" name="Forme libre : forme 171">
              <a:extLst>
                <a:ext uri="{FF2B5EF4-FFF2-40B4-BE49-F238E27FC236}">
                  <a16:creationId xmlns:a16="http://schemas.microsoft.com/office/drawing/2014/main" id="{1BD21CA5-EDB3-4B1C-9DA6-85A17C61C7E0}"/>
                </a:ext>
              </a:extLst>
            </p:cNvPr>
            <p:cNvSpPr/>
            <p:nvPr/>
          </p:nvSpPr>
          <p:spPr>
            <a:xfrm rot="8716295">
              <a:off x="2100559" y="119000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3" name="Forme libre : forme 172">
              <a:extLst>
                <a:ext uri="{FF2B5EF4-FFF2-40B4-BE49-F238E27FC236}">
                  <a16:creationId xmlns:a16="http://schemas.microsoft.com/office/drawing/2014/main" id="{7CA91DF5-20FD-481D-801E-1A30383F35AF}"/>
                </a:ext>
              </a:extLst>
            </p:cNvPr>
            <p:cNvSpPr/>
            <p:nvPr/>
          </p:nvSpPr>
          <p:spPr>
            <a:xfrm rot="8716295">
              <a:off x="1898933" y="124930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4" name="Forme libre : forme 173">
              <a:extLst>
                <a:ext uri="{FF2B5EF4-FFF2-40B4-BE49-F238E27FC236}">
                  <a16:creationId xmlns:a16="http://schemas.microsoft.com/office/drawing/2014/main" id="{14C3D20C-5774-494C-8893-5288670D0889}"/>
                </a:ext>
              </a:extLst>
            </p:cNvPr>
            <p:cNvSpPr/>
            <p:nvPr/>
          </p:nvSpPr>
          <p:spPr>
            <a:xfrm rot="8716295">
              <a:off x="1774031" y="104063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5" name="Forme libre : forme 174">
              <a:extLst>
                <a:ext uri="{FF2B5EF4-FFF2-40B4-BE49-F238E27FC236}">
                  <a16:creationId xmlns:a16="http://schemas.microsoft.com/office/drawing/2014/main" id="{921096A6-36F4-49A7-A062-8CA8DFB2FA2B}"/>
                </a:ext>
              </a:extLst>
            </p:cNvPr>
            <p:cNvSpPr/>
            <p:nvPr/>
          </p:nvSpPr>
          <p:spPr>
            <a:xfrm rot="8716295">
              <a:off x="1989111" y="129025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6" name="Forme libre : forme 175">
              <a:extLst>
                <a:ext uri="{FF2B5EF4-FFF2-40B4-BE49-F238E27FC236}">
                  <a16:creationId xmlns:a16="http://schemas.microsoft.com/office/drawing/2014/main" id="{B0920127-DB05-4341-ACD2-55A82DB831D0}"/>
                </a:ext>
              </a:extLst>
            </p:cNvPr>
            <p:cNvSpPr/>
            <p:nvPr/>
          </p:nvSpPr>
          <p:spPr>
            <a:xfrm rot="8716295">
              <a:off x="1747660" y="114065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7" name="Forme libre : forme 176">
              <a:extLst>
                <a:ext uri="{FF2B5EF4-FFF2-40B4-BE49-F238E27FC236}">
                  <a16:creationId xmlns:a16="http://schemas.microsoft.com/office/drawing/2014/main" id="{247E137A-2962-45C6-854D-3C335B97D942}"/>
                </a:ext>
              </a:extLst>
            </p:cNvPr>
            <p:cNvSpPr/>
            <p:nvPr/>
          </p:nvSpPr>
          <p:spPr>
            <a:xfrm rot="7484129">
              <a:off x="2094042" y="148160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8" name="Forme libre : forme 177">
              <a:extLst>
                <a:ext uri="{FF2B5EF4-FFF2-40B4-BE49-F238E27FC236}">
                  <a16:creationId xmlns:a16="http://schemas.microsoft.com/office/drawing/2014/main" id="{AF26B0FA-FC69-4100-A938-0778F8E044BC}"/>
                </a:ext>
              </a:extLst>
            </p:cNvPr>
            <p:cNvSpPr/>
            <p:nvPr/>
          </p:nvSpPr>
          <p:spPr>
            <a:xfrm rot="13089394">
              <a:off x="2198862" y="144814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9" name="Forme libre : forme 178">
              <a:extLst>
                <a:ext uri="{FF2B5EF4-FFF2-40B4-BE49-F238E27FC236}">
                  <a16:creationId xmlns:a16="http://schemas.microsoft.com/office/drawing/2014/main" id="{39EC1976-14A4-4281-9016-8D042C84E539}"/>
                </a:ext>
              </a:extLst>
            </p:cNvPr>
            <p:cNvSpPr/>
            <p:nvPr/>
          </p:nvSpPr>
          <p:spPr>
            <a:xfrm rot="8716295">
              <a:off x="2384447" y="125646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0" name="Forme libre : forme 179">
              <a:extLst>
                <a:ext uri="{FF2B5EF4-FFF2-40B4-BE49-F238E27FC236}">
                  <a16:creationId xmlns:a16="http://schemas.microsoft.com/office/drawing/2014/main" id="{C3D1445E-47EC-4B9A-86DA-68830C5A9003}"/>
                </a:ext>
              </a:extLst>
            </p:cNvPr>
            <p:cNvSpPr/>
            <p:nvPr/>
          </p:nvSpPr>
          <p:spPr>
            <a:xfrm rot="8716295">
              <a:off x="2332642" y="115286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" name="Forme libre : forme 180">
              <a:extLst>
                <a:ext uri="{FF2B5EF4-FFF2-40B4-BE49-F238E27FC236}">
                  <a16:creationId xmlns:a16="http://schemas.microsoft.com/office/drawing/2014/main" id="{6D64B041-AA03-4C2C-B195-E69DDAF61BCF}"/>
                </a:ext>
              </a:extLst>
            </p:cNvPr>
            <p:cNvSpPr/>
            <p:nvPr/>
          </p:nvSpPr>
          <p:spPr>
            <a:xfrm rot="8716295">
              <a:off x="2089396" y="118308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" name="Forme libre : forme 181">
              <a:extLst>
                <a:ext uri="{FF2B5EF4-FFF2-40B4-BE49-F238E27FC236}">
                  <a16:creationId xmlns:a16="http://schemas.microsoft.com/office/drawing/2014/main" id="{6929DCAA-A61B-45A7-8707-91162650FFF3}"/>
                </a:ext>
              </a:extLst>
            </p:cNvPr>
            <p:cNvSpPr/>
            <p:nvPr/>
          </p:nvSpPr>
          <p:spPr>
            <a:xfrm rot="8716295">
              <a:off x="2266848" y="102384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" name="Forme libre : forme 182">
              <a:extLst>
                <a:ext uri="{FF2B5EF4-FFF2-40B4-BE49-F238E27FC236}">
                  <a16:creationId xmlns:a16="http://schemas.microsoft.com/office/drawing/2014/main" id="{606C2101-E652-4D30-867F-39388545E11E}"/>
                </a:ext>
              </a:extLst>
            </p:cNvPr>
            <p:cNvSpPr/>
            <p:nvPr/>
          </p:nvSpPr>
          <p:spPr>
            <a:xfrm rot="8716295">
              <a:off x="1503129" y="74885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" name="Forme libre : forme 183">
              <a:extLst>
                <a:ext uri="{FF2B5EF4-FFF2-40B4-BE49-F238E27FC236}">
                  <a16:creationId xmlns:a16="http://schemas.microsoft.com/office/drawing/2014/main" id="{BCCF4C0A-B226-447A-AED6-6E411077F313}"/>
                </a:ext>
              </a:extLst>
            </p:cNvPr>
            <p:cNvSpPr/>
            <p:nvPr/>
          </p:nvSpPr>
          <p:spPr>
            <a:xfrm rot="8716295">
              <a:off x="1592521" y="77809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" name="Forme libre : forme 184">
              <a:extLst>
                <a:ext uri="{FF2B5EF4-FFF2-40B4-BE49-F238E27FC236}">
                  <a16:creationId xmlns:a16="http://schemas.microsoft.com/office/drawing/2014/main" id="{1047FAEE-E0A8-4DC0-AF81-D0262E51D58E}"/>
                </a:ext>
              </a:extLst>
            </p:cNvPr>
            <p:cNvSpPr/>
            <p:nvPr/>
          </p:nvSpPr>
          <p:spPr>
            <a:xfrm rot="8716295">
              <a:off x="1547671" y="69181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" name="Forme libre : forme 185">
              <a:extLst>
                <a:ext uri="{FF2B5EF4-FFF2-40B4-BE49-F238E27FC236}">
                  <a16:creationId xmlns:a16="http://schemas.microsoft.com/office/drawing/2014/main" id="{30E94405-5131-4E4F-8725-C67590E30DB2}"/>
                </a:ext>
              </a:extLst>
            </p:cNvPr>
            <p:cNvSpPr/>
            <p:nvPr/>
          </p:nvSpPr>
          <p:spPr>
            <a:xfrm rot="8716295">
              <a:off x="1390895" y="83739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" name="Forme libre : forme 186">
              <a:extLst>
                <a:ext uri="{FF2B5EF4-FFF2-40B4-BE49-F238E27FC236}">
                  <a16:creationId xmlns:a16="http://schemas.microsoft.com/office/drawing/2014/main" id="{3592B2BF-462B-42D1-B159-935FE013A746}"/>
                </a:ext>
              </a:extLst>
            </p:cNvPr>
            <p:cNvSpPr/>
            <p:nvPr/>
          </p:nvSpPr>
          <p:spPr>
            <a:xfrm rot="8716295">
              <a:off x="1265992" y="62872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" name="Forme libre : forme 187">
              <a:extLst>
                <a:ext uri="{FF2B5EF4-FFF2-40B4-BE49-F238E27FC236}">
                  <a16:creationId xmlns:a16="http://schemas.microsoft.com/office/drawing/2014/main" id="{1E56EF9D-6FEF-4D8D-A155-3A26210B9301}"/>
                </a:ext>
              </a:extLst>
            </p:cNvPr>
            <p:cNvSpPr/>
            <p:nvPr/>
          </p:nvSpPr>
          <p:spPr>
            <a:xfrm rot="8716295">
              <a:off x="1253940" y="48994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" name="Forme libre : forme 188">
              <a:extLst>
                <a:ext uri="{FF2B5EF4-FFF2-40B4-BE49-F238E27FC236}">
                  <a16:creationId xmlns:a16="http://schemas.microsoft.com/office/drawing/2014/main" id="{ABF55A8B-11D0-49F1-BB9C-9578891D6FAC}"/>
                </a:ext>
              </a:extLst>
            </p:cNvPr>
            <p:cNvSpPr/>
            <p:nvPr/>
          </p:nvSpPr>
          <p:spPr>
            <a:xfrm rot="8716295">
              <a:off x="1481073" y="87835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" name="Forme libre : forme 189">
              <a:extLst>
                <a:ext uri="{FF2B5EF4-FFF2-40B4-BE49-F238E27FC236}">
                  <a16:creationId xmlns:a16="http://schemas.microsoft.com/office/drawing/2014/main" id="{946D037D-9BA1-48DA-87EF-5EF5B831A0E1}"/>
                </a:ext>
              </a:extLst>
            </p:cNvPr>
            <p:cNvSpPr/>
            <p:nvPr/>
          </p:nvSpPr>
          <p:spPr>
            <a:xfrm rot="8716295">
              <a:off x="1792228" y="4987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" name="Forme libre : forme 190">
              <a:extLst>
                <a:ext uri="{FF2B5EF4-FFF2-40B4-BE49-F238E27FC236}">
                  <a16:creationId xmlns:a16="http://schemas.microsoft.com/office/drawing/2014/main" id="{27B82C76-9BEA-43A1-96FA-84295CCF0AA5}"/>
                </a:ext>
              </a:extLst>
            </p:cNvPr>
            <p:cNvSpPr/>
            <p:nvPr/>
          </p:nvSpPr>
          <p:spPr>
            <a:xfrm rot="8716295">
              <a:off x="1881620" y="5279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" name="Forme libre : forme 191">
              <a:extLst>
                <a:ext uri="{FF2B5EF4-FFF2-40B4-BE49-F238E27FC236}">
                  <a16:creationId xmlns:a16="http://schemas.microsoft.com/office/drawing/2014/main" id="{C9AF6FC6-301E-4498-93BF-1A9EB1439FE6}"/>
                </a:ext>
              </a:extLst>
            </p:cNvPr>
            <p:cNvSpPr/>
            <p:nvPr/>
          </p:nvSpPr>
          <p:spPr>
            <a:xfrm rot="8716295">
              <a:off x="1679994" y="58724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" name="Forme libre : forme 192">
              <a:extLst>
                <a:ext uri="{FF2B5EF4-FFF2-40B4-BE49-F238E27FC236}">
                  <a16:creationId xmlns:a16="http://schemas.microsoft.com/office/drawing/2014/main" id="{988C10D0-6B50-41AB-B9B5-23D20681103E}"/>
                </a:ext>
              </a:extLst>
            </p:cNvPr>
            <p:cNvSpPr/>
            <p:nvPr/>
          </p:nvSpPr>
          <p:spPr>
            <a:xfrm rot="8716295">
              <a:off x="1555092" y="37857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" name="Forme libre : forme 193">
              <a:extLst>
                <a:ext uri="{FF2B5EF4-FFF2-40B4-BE49-F238E27FC236}">
                  <a16:creationId xmlns:a16="http://schemas.microsoft.com/office/drawing/2014/main" id="{BA88EE97-63F0-4D28-BDD9-E175569D56C8}"/>
                </a:ext>
              </a:extLst>
            </p:cNvPr>
            <p:cNvSpPr/>
            <p:nvPr/>
          </p:nvSpPr>
          <p:spPr>
            <a:xfrm rot="8716295">
              <a:off x="1770172" y="62819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" name="Forme libre : forme 194">
              <a:extLst>
                <a:ext uri="{FF2B5EF4-FFF2-40B4-BE49-F238E27FC236}">
                  <a16:creationId xmlns:a16="http://schemas.microsoft.com/office/drawing/2014/main" id="{7DB936D3-752D-4426-96C6-451097B40A6E}"/>
                </a:ext>
              </a:extLst>
            </p:cNvPr>
            <p:cNvSpPr/>
            <p:nvPr/>
          </p:nvSpPr>
          <p:spPr>
            <a:xfrm rot="8716295">
              <a:off x="1528721" y="47859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" name="Forme libre : forme 195">
              <a:extLst>
                <a:ext uri="{FF2B5EF4-FFF2-40B4-BE49-F238E27FC236}">
                  <a16:creationId xmlns:a16="http://schemas.microsoft.com/office/drawing/2014/main" id="{6E95CB13-89AC-4C2B-9D9A-140661272E61}"/>
                </a:ext>
              </a:extLst>
            </p:cNvPr>
            <p:cNvSpPr/>
            <p:nvPr/>
          </p:nvSpPr>
          <p:spPr>
            <a:xfrm rot="7484129">
              <a:off x="1875103" y="8195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" name="Forme libre : forme 196">
              <a:extLst>
                <a:ext uri="{FF2B5EF4-FFF2-40B4-BE49-F238E27FC236}">
                  <a16:creationId xmlns:a16="http://schemas.microsoft.com/office/drawing/2014/main" id="{E94CA442-8190-4409-8D0E-996A3C13C977}"/>
                </a:ext>
              </a:extLst>
            </p:cNvPr>
            <p:cNvSpPr/>
            <p:nvPr/>
          </p:nvSpPr>
          <p:spPr>
            <a:xfrm rot="13089394">
              <a:off x="1979923" y="7860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" name="Forme libre : forme 197">
              <a:extLst>
                <a:ext uri="{FF2B5EF4-FFF2-40B4-BE49-F238E27FC236}">
                  <a16:creationId xmlns:a16="http://schemas.microsoft.com/office/drawing/2014/main" id="{52184F7E-FD35-4373-B77A-668CA5FF6983}"/>
                </a:ext>
              </a:extLst>
            </p:cNvPr>
            <p:cNvSpPr/>
            <p:nvPr/>
          </p:nvSpPr>
          <p:spPr>
            <a:xfrm rot="8716295">
              <a:off x="2165508" y="5944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" name="Forme libre : forme 198">
              <a:extLst>
                <a:ext uri="{FF2B5EF4-FFF2-40B4-BE49-F238E27FC236}">
                  <a16:creationId xmlns:a16="http://schemas.microsoft.com/office/drawing/2014/main" id="{203E9F12-3C6B-465D-9FDE-0F57C68E6794}"/>
                </a:ext>
              </a:extLst>
            </p:cNvPr>
            <p:cNvSpPr/>
            <p:nvPr/>
          </p:nvSpPr>
          <p:spPr>
            <a:xfrm rot="8716295">
              <a:off x="2113703" y="4908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" name="Forme libre : forme 199">
              <a:extLst>
                <a:ext uri="{FF2B5EF4-FFF2-40B4-BE49-F238E27FC236}">
                  <a16:creationId xmlns:a16="http://schemas.microsoft.com/office/drawing/2014/main" id="{3A4792DF-206D-4745-96BF-57BE9528DC29}"/>
                </a:ext>
              </a:extLst>
            </p:cNvPr>
            <p:cNvSpPr/>
            <p:nvPr/>
          </p:nvSpPr>
          <p:spPr>
            <a:xfrm rot="8716295">
              <a:off x="1870457" y="5210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" name="Forme libre : forme 200">
              <a:extLst>
                <a:ext uri="{FF2B5EF4-FFF2-40B4-BE49-F238E27FC236}">
                  <a16:creationId xmlns:a16="http://schemas.microsoft.com/office/drawing/2014/main" id="{D95C5BFF-0992-4FE2-933F-F0F5A8B60014}"/>
                </a:ext>
              </a:extLst>
            </p:cNvPr>
            <p:cNvSpPr/>
            <p:nvPr/>
          </p:nvSpPr>
          <p:spPr>
            <a:xfrm rot="8716295">
              <a:off x="2047909" y="3617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" name="Forme libre : forme 201">
              <a:extLst>
                <a:ext uri="{FF2B5EF4-FFF2-40B4-BE49-F238E27FC236}">
                  <a16:creationId xmlns:a16="http://schemas.microsoft.com/office/drawing/2014/main" id="{20C3FF4D-8F7D-4FCE-A8F6-F7C60C54B616}"/>
                </a:ext>
              </a:extLst>
            </p:cNvPr>
            <p:cNvSpPr/>
            <p:nvPr/>
          </p:nvSpPr>
          <p:spPr>
            <a:xfrm rot="8716295">
              <a:off x="1280459" y="8544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" name="Forme libre : forme 202">
              <a:extLst>
                <a:ext uri="{FF2B5EF4-FFF2-40B4-BE49-F238E27FC236}">
                  <a16:creationId xmlns:a16="http://schemas.microsoft.com/office/drawing/2014/main" id="{4A2EE2E0-D7CF-43D6-ACB3-BE33DBCC49BB}"/>
                </a:ext>
              </a:extLst>
            </p:cNvPr>
            <p:cNvSpPr/>
            <p:nvPr/>
          </p:nvSpPr>
          <p:spPr>
            <a:xfrm rot="8716295">
              <a:off x="1369851" y="11468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" name="Forme libre : forme 203">
              <a:extLst>
                <a:ext uri="{FF2B5EF4-FFF2-40B4-BE49-F238E27FC236}">
                  <a16:creationId xmlns:a16="http://schemas.microsoft.com/office/drawing/2014/main" id="{ADCFE50E-B4B9-4301-A613-96CD6C8E76F5}"/>
                </a:ext>
              </a:extLst>
            </p:cNvPr>
            <p:cNvSpPr/>
            <p:nvPr/>
          </p:nvSpPr>
          <p:spPr>
            <a:xfrm rot="8716295">
              <a:off x="1325001" y="2840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" name="Forme libre : forme 204">
              <a:extLst>
                <a:ext uri="{FF2B5EF4-FFF2-40B4-BE49-F238E27FC236}">
                  <a16:creationId xmlns:a16="http://schemas.microsoft.com/office/drawing/2014/main" id="{1C78DD3D-BA43-491E-A425-4F726ABF99F2}"/>
                </a:ext>
              </a:extLst>
            </p:cNvPr>
            <p:cNvSpPr/>
            <p:nvPr/>
          </p:nvSpPr>
          <p:spPr>
            <a:xfrm rot="8716295">
              <a:off x="1168225" y="17398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" name="Forme libre : forme 205">
              <a:extLst>
                <a:ext uri="{FF2B5EF4-FFF2-40B4-BE49-F238E27FC236}">
                  <a16:creationId xmlns:a16="http://schemas.microsoft.com/office/drawing/2014/main" id="{58A93461-0B09-4176-BDF3-87683487BEBD}"/>
                </a:ext>
              </a:extLst>
            </p:cNvPr>
            <p:cNvSpPr/>
            <p:nvPr/>
          </p:nvSpPr>
          <p:spPr>
            <a:xfrm rot="8716295">
              <a:off x="1045449" y="-13548"/>
              <a:ext cx="203847" cy="172572"/>
            </a:xfrm>
            <a:custGeom>
              <a:avLst/>
              <a:gdLst>
                <a:gd name="connsiteX0" fmla="*/ 98725 w 203847"/>
                <a:gd name="connsiteY0" fmla="*/ 172572 h 172572"/>
                <a:gd name="connsiteX1" fmla="*/ 65988 w 203847"/>
                <a:gd name="connsiteY1" fmla="*/ 149880 h 172572"/>
                <a:gd name="connsiteX2" fmla="*/ 47847 w 203847"/>
                <a:gd name="connsiteY2" fmla="*/ 116129 h 172572"/>
                <a:gd name="connsiteX3" fmla="*/ 69777 w 203847"/>
                <a:gd name="connsiteY3" fmla="*/ 55323 h 172572"/>
                <a:gd name="connsiteX4" fmla="*/ 0 w 203847"/>
                <a:gd name="connsiteY4" fmla="*/ 55323 h 172572"/>
                <a:gd name="connsiteX5" fmla="*/ 0 w 203847"/>
                <a:gd name="connsiteY5" fmla="*/ 0 h 172572"/>
                <a:gd name="connsiteX6" fmla="*/ 203847 w 203847"/>
                <a:gd name="connsiteY6" fmla="*/ 0 h 172572"/>
                <a:gd name="connsiteX7" fmla="*/ 203847 w 203847"/>
                <a:gd name="connsiteY7" fmla="*/ 55323 h 172572"/>
                <a:gd name="connsiteX8" fmla="*/ 139055 w 203847"/>
                <a:gd name="connsiteY8" fmla="*/ 55323 h 172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72572">
                  <a:moveTo>
                    <a:pt x="98725" y="172572"/>
                  </a:moveTo>
                  <a:lnTo>
                    <a:pt x="65988" y="149880"/>
                  </a:ln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" name="Forme libre : forme 206">
              <a:extLst>
                <a:ext uri="{FF2B5EF4-FFF2-40B4-BE49-F238E27FC236}">
                  <a16:creationId xmlns:a16="http://schemas.microsoft.com/office/drawing/2014/main" id="{F6E141F6-F3D7-4382-A5A9-B9DC46311949}"/>
                </a:ext>
              </a:extLst>
            </p:cNvPr>
            <p:cNvSpPr/>
            <p:nvPr/>
          </p:nvSpPr>
          <p:spPr>
            <a:xfrm rot="8716295">
              <a:off x="1049608" y="-107301"/>
              <a:ext cx="290643" cy="275223"/>
            </a:xfrm>
            <a:custGeom>
              <a:avLst/>
              <a:gdLst>
                <a:gd name="connsiteX0" fmla="*/ 79172 w 290643"/>
                <a:gd name="connsiteY0" fmla="*/ 128638 h 275223"/>
                <a:gd name="connsiteX1" fmla="*/ 0 w 290643"/>
                <a:gd name="connsiteY1" fmla="*/ 73758 h 275223"/>
                <a:gd name="connsiteX2" fmla="*/ 0 w 290643"/>
                <a:gd name="connsiteY2" fmla="*/ 40596 h 275223"/>
                <a:gd name="connsiteX3" fmla="*/ 78250 w 290643"/>
                <a:gd name="connsiteY3" fmla="*/ 0 h 275223"/>
                <a:gd name="connsiteX4" fmla="*/ 290643 w 290643"/>
                <a:gd name="connsiteY4" fmla="*/ 275223 h 275223"/>
                <a:gd name="connsiteX5" fmla="*/ 278016 w 290643"/>
                <a:gd name="connsiteY5" fmla="*/ 266470 h 275223"/>
                <a:gd name="connsiteX6" fmla="*/ 289467 w 290643"/>
                <a:gd name="connsiteY6" fmla="*/ 261815 h 275223"/>
                <a:gd name="connsiteX7" fmla="*/ 290643 w 290643"/>
                <a:gd name="connsiteY7" fmla="*/ 269463 h 27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0643" h="275223">
                  <a:moveTo>
                    <a:pt x="79172" y="128638"/>
                  </a:moveTo>
                  <a:lnTo>
                    <a:pt x="0" y="73758"/>
                  </a:lnTo>
                  <a:lnTo>
                    <a:pt x="0" y="40596"/>
                  </a:lnTo>
                  <a:lnTo>
                    <a:pt x="78250" y="0"/>
                  </a:lnTo>
                  <a:close/>
                  <a:moveTo>
                    <a:pt x="290643" y="275223"/>
                  </a:moveTo>
                  <a:lnTo>
                    <a:pt x="278016" y="266470"/>
                  </a:lnTo>
                  <a:lnTo>
                    <a:pt x="289467" y="261815"/>
                  </a:lnTo>
                  <a:cubicBezTo>
                    <a:pt x="290055" y="264168"/>
                    <a:pt x="290643" y="267110"/>
                    <a:pt x="290643" y="2694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" name="Forme libre : forme 207">
              <a:extLst>
                <a:ext uri="{FF2B5EF4-FFF2-40B4-BE49-F238E27FC236}">
                  <a16:creationId xmlns:a16="http://schemas.microsoft.com/office/drawing/2014/main" id="{4C5F5C19-6F05-476E-8B4C-2E1271E3709B}"/>
                </a:ext>
              </a:extLst>
            </p:cNvPr>
            <p:cNvSpPr/>
            <p:nvPr/>
          </p:nvSpPr>
          <p:spPr>
            <a:xfrm rot="8716295">
              <a:off x="1258403" y="21493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" name="Forme libre : forme 208">
              <a:extLst>
                <a:ext uri="{FF2B5EF4-FFF2-40B4-BE49-F238E27FC236}">
                  <a16:creationId xmlns:a16="http://schemas.microsoft.com/office/drawing/2014/main" id="{99462675-4E20-4299-99A1-8C989AC1AC7A}"/>
                </a:ext>
              </a:extLst>
            </p:cNvPr>
            <p:cNvSpPr/>
            <p:nvPr/>
          </p:nvSpPr>
          <p:spPr>
            <a:xfrm rot="8716295">
              <a:off x="1604517" y="-50002"/>
              <a:ext cx="142167" cy="106747"/>
            </a:xfrm>
            <a:custGeom>
              <a:avLst/>
              <a:gdLst>
                <a:gd name="connsiteX0" fmla="*/ 142167 w 142167"/>
                <a:gd name="connsiteY0" fmla="*/ 106747 h 106747"/>
                <a:gd name="connsiteX1" fmla="*/ 79942 w 142167"/>
                <a:gd name="connsiteY1" fmla="*/ 63615 h 106747"/>
                <a:gd name="connsiteX2" fmla="*/ 74103 w 142167"/>
                <a:gd name="connsiteY2" fmla="*/ 53597 h 106747"/>
                <a:gd name="connsiteX3" fmla="*/ 60604 w 142167"/>
                <a:gd name="connsiteY3" fmla="*/ 50123 h 106747"/>
                <a:gd name="connsiteX4" fmla="*/ 60478 w 142167"/>
                <a:gd name="connsiteY4" fmla="*/ 50123 h 106747"/>
                <a:gd name="connsiteX5" fmla="*/ 0 w 142167"/>
                <a:gd name="connsiteY5" fmla="*/ 8201 h 106747"/>
                <a:gd name="connsiteX6" fmla="*/ 0 w 142167"/>
                <a:gd name="connsiteY6" fmla="*/ 0 h 106747"/>
                <a:gd name="connsiteX7" fmla="*/ 85209 w 142167"/>
                <a:gd name="connsiteY7" fmla="*/ 0 h 106747"/>
                <a:gd name="connsiteX8" fmla="*/ 142167 w 142167"/>
                <a:gd name="connsiteY8" fmla="*/ 50123 h 10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06747">
                  <a:moveTo>
                    <a:pt x="142167" y="106747"/>
                  </a:moveTo>
                  <a:lnTo>
                    <a:pt x="79942" y="63615"/>
                  </a:lnTo>
                  <a:lnTo>
                    <a:pt x="74103" y="53597"/>
                  </a:lnTo>
                  <a:cubicBezTo>
                    <a:pt x="70400" y="50806"/>
                    <a:pt x="65616" y="49439"/>
                    <a:pt x="60604" y="50123"/>
                  </a:cubicBezTo>
                  <a:lnTo>
                    <a:pt x="60478" y="50123"/>
                  </a:lnTo>
                  <a:lnTo>
                    <a:pt x="0" y="8201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" name="Forme libre : forme 209">
              <a:extLst>
                <a:ext uri="{FF2B5EF4-FFF2-40B4-BE49-F238E27FC236}">
                  <a16:creationId xmlns:a16="http://schemas.microsoft.com/office/drawing/2014/main" id="{F18E365A-DFDC-47DB-8B33-290827288FD8}"/>
                </a:ext>
              </a:extLst>
            </p:cNvPr>
            <p:cNvSpPr/>
            <p:nvPr/>
          </p:nvSpPr>
          <p:spPr>
            <a:xfrm rot="8716295">
              <a:off x="1699771" y="-2013"/>
              <a:ext cx="260639" cy="104392"/>
            </a:xfrm>
            <a:custGeom>
              <a:avLst/>
              <a:gdLst>
                <a:gd name="connsiteX0" fmla="*/ 117530 w 260639"/>
                <a:gd name="connsiteY0" fmla="*/ 104392 h 104392"/>
                <a:gd name="connsiteX1" fmla="*/ 51490 w 260639"/>
                <a:gd name="connsiteY1" fmla="*/ 58614 h 104392"/>
                <a:gd name="connsiteX2" fmla="*/ 51490 w 260639"/>
                <a:gd name="connsiteY2" fmla="*/ 45624 h 104392"/>
                <a:gd name="connsiteX3" fmla="*/ 32748 w 260639"/>
                <a:gd name="connsiteY3" fmla="*/ 45624 h 104392"/>
                <a:gd name="connsiteX4" fmla="*/ 0 w 260639"/>
                <a:gd name="connsiteY4" fmla="*/ 22924 h 104392"/>
                <a:gd name="connsiteX5" fmla="*/ 0 w 260639"/>
                <a:gd name="connsiteY5" fmla="*/ 1425 h 104392"/>
                <a:gd name="connsiteX6" fmla="*/ 104802 w 260639"/>
                <a:gd name="connsiteY6" fmla="*/ 1425 h 104392"/>
                <a:gd name="connsiteX7" fmla="*/ 104802 w 260639"/>
                <a:gd name="connsiteY7" fmla="*/ 75242 h 104392"/>
                <a:gd name="connsiteX8" fmla="*/ 106169 w 260639"/>
                <a:gd name="connsiteY8" fmla="*/ 75242 h 104392"/>
                <a:gd name="connsiteX9" fmla="*/ 154014 w 260639"/>
                <a:gd name="connsiteY9" fmla="*/ 5981 h 104392"/>
                <a:gd name="connsiteX10" fmla="*/ 185455 w 260639"/>
                <a:gd name="connsiteY10" fmla="*/ 57 h 104392"/>
                <a:gd name="connsiteX11" fmla="*/ 260639 w 260639"/>
                <a:gd name="connsiteY11" fmla="*/ 88456 h 104392"/>
                <a:gd name="connsiteX12" fmla="*/ 260639 w 260639"/>
                <a:gd name="connsiteY12" fmla="*/ 94380 h 104392"/>
                <a:gd name="connsiteX13" fmla="*/ 198669 w 260639"/>
                <a:gd name="connsiteY13" fmla="*/ 98025 h 104392"/>
                <a:gd name="connsiteX14" fmla="*/ 198669 w 260639"/>
                <a:gd name="connsiteY14" fmla="*/ 81621 h 104392"/>
                <a:gd name="connsiteX15" fmla="*/ 164950 w 260639"/>
                <a:gd name="connsiteY15" fmla="*/ 40156 h 104392"/>
                <a:gd name="connsiteX16" fmla="*/ 127358 w 260639"/>
                <a:gd name="connsiteY16" fmla="*/ 65616 h 104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60639" h="104392">
                  <a:moveTo>
                    <a:pt x="117530" y="104392"/>
                  </a:moveTo>
                  <a:lnTo>
                    <a:pt x="51490" y="58614"/>
                  </a:lnTo>
                  <a:lnTo>
                    <a:pt x="51490" y="45624"/>
                  </a:lnTo>
                  <a:lnTo>
                    <a:pt x="32748" y="45624"/>
                  </a:lnTo>
                  <a:lnTo>
                    <a:pt x="0" y="229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5"/>
                    <a:pt x="184544" y="40156"/>
                    <a:pt x="164950" y="40156"/>
                  </a:cubicBezTo>
                  <a:cubicBezTo>
                    <a:pt x="150369" y="40156"/>
                    <a:pt x="137041" y="49839"/>
                    <a:pt x="127358" y="656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" name="Forme libre : forme 210">
              <a:extLst>
                <a:ext uri="{FF2B5EF4-FFF2-40B4-BE49-F238E27FC236}">
                  <a16:creationId xmlns:a16="http://schemas.microsoft.com/office/drawing/2014/main" id="{BD9DBA5B-B938-49AE-B4FF-DC0E17DDD56F}"/>
                </a:ext>
              </a:extLst>
            </p:cNvPr>
            <p:cNvSpPr/>
            <p:nvPr/>
          </p:nvSpPr>
          <p:spPr>
            <a:xfrm rot="8716295">
              <a:off x="1547502" y="-3521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" name="Forme libre : forme 211">
              <a:extLst>
                <a:ext uri="{FF2B5EF4-FFF2-40B4-BE49-F238E27FC236}">
                  <a16:creationId xmlns:a16="http://schemas.microsoft.com/office/drawing/2014/main" id="{8C64BFA5-88D5-4B19-8DD4-8DB6B59A61D8}"/>
                </a:ext>
              </a:extLst>
            </p:cNvPr>
            <p:cNvSpPr/>
            <p:nvPr/>
          </p:nvSpPr>
          <p:spPr>
            <a:xfrm rot="7484129">
              <a:off x="1652433" y="15613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" name="Forme libre : forme 212">
              <a:extLst>
                <a:ext uri="{FF2B5EF4-FFF2-40B4-BE49-F238E27FC236}">
                  <a16:creationId xmlns:a16="http://schemas.microsoft.com/office/drawing/2014/main" id="{034CC524-D8AC-40AF-8EAB-AB1B464A30AF}"/>
                </a:ext>
              </a:extLst>
            </p:cNvPr>
            <p:cNvSpPr/>
            <p:nvPr/>
          </p:nvSpPr>
          <p:spPr>
            <a:xfrm rot="13089394">
              <a:off x="1757253" y="122669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" name="Forme libre : forme 213">
              <a:extLst>
                <a:ext uri="{FF2B5EF4-FFF2-40B4-BE49-F238E27FC236}">
                  <a16:creationId xmlns:a16="http://schemas.microsoft.com/office/drawing/2014/main" id="{D78ECCFB-E224-46B7-92F0-42F89F972C82}"/>
                </a:ext>
              </a:extLst>
            </p:cNvPr>
            <p:cNvSpPr/>
            <p:nvPr/>
          </p:nvSpPr>
          <p:spPr>
            <a:xfrm rot="8716295">
              <a:off x="1960606" y="3279"/>
              <a:ext cx="142687" cy="109177"/>
            </a:xfrm>
            <a:custGeom>
              <a:avLst/>
              <a:gdLst>
                <a:gd name="connsiteX0" fmla="*/ 48521 w 142687"/>
                <a:gd name="connsiteY0" fmla="*/ 109177 h 109177"/>
                <a:gd name="connsiteX1" fmla="*/ 0 w 142687"/>
                <a:gd name="connsiteY1" fmla="*/ 75545 h 109177"/>
                <a:gd name="connsiteX2" fmla="*/ 44875 w 142687"/>
                <a:gd name="connsiteY2" fmla="*/ 33320 h 109177"/>
                <a:gd name="connsiteX3" fmla="*/ 109367 w 142687"/>
                <a:gd name="connsiteY3" fmla="*/ 0 h 109177"/>
                <a:gd name="connsiteX4" fmla="*/ 142687 w 142687"/>
                <a:gd name="connsiteY4" fmla="*/ 39770 h 109177"/>
                <a:gd name="connsiteX5" fmla="*/ 111516 w 142687"/>
                <a:gd name="connsiteY5" fmla="*/ 81689 h 109177"/>
                <a:gd name="connsiteX6" fmla="*/ 112053 w 142687"/>
                <a:gd name="connsiteY6" fmla="*/ 81689 h 109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687" h="109177">
                  <a:moveTo>
                    <a:pt x="48521" y="109177"/>
                  </a:moveTo>
                  <a:lnTo>
                    <a:pt x="0" y="75545"/>
                  </a:lnTo>
                  <a:lnTo>
                    <a:pt x="44875" y="33320"/>
                  </a:lnTo>
                  <a:cubicBezTo>
                    <a:pt x="60998" y="14511"/>
                    <a:pt x="84107" y="2687"/>
                    <a:pt x="109367" y="0"/>
                  </a:cubicBezTo>
                  <a:cubicBezTo>
                    <a:pt x="135163" y="0"/>
                    <a:pt x="142687" y="22572"/>
                    <a:pt x="142687" y="39770"/>
                  </a:cubicBezTo>
                  <a:cubicBezTo>
                    <a:pt x="141074" y="58580"/>
                    <a:pt x="128713" y="74165"/>
                    <a:pt x="111516" y="81689"/>
                  </a:cubicBezTo>
                  <a:lnTo>
                    <a:pt x="112053" y="816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" name="Forme libre : forme 214">
              <a:extLst>
                <a:ext uri="{FF2B5EF4-FFF2-40B4-BE49-F238E27FC236}">
                  <a16:creationId xmlns:a16="http://schemas.microsoft.com/office/drawing/2014/main" id="{30980170-BFE4-4DA8-B94E-3A74F835E666}"/>
                </a:ext>
              </a:extLst>
            </p:cNvPr>
            <p:cNvSpPr/>
            <p:nvPr/>
          </p:nvSpPr>
          <p:spPr>
            <a:xfrm rot="8716295">
              <a:off x="1076398" y="254697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" name="Forme libre : forme 215">
              <a:extLst>
                <a:ext uri="{FF2B5EF4-FFF2-40B4-BE49-F238E27FC236}">
                  <a16:creationId xmlns:a16="http://schemas.microsoft.com/office/drawing/2014/main" id="{EF36344D-9704-4C2C-BC8B-34C87B25880E}"/>
                </a:ext>
              </a:extLst>
            </p:cNvPr>
            <p:cNvSpPr/>
            <p:nvPr/>
          </p:nvSpPr>
          <p:spPr>
            <a:xfrm rot="8716295">
              <a:off x="1165790" y="257621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" name="Forme libre : forme 216">
              <a:extLst>
                <a:ext uri="{FF2B5EF4-FFF2-40B4-BE49-F238E27FC236}">
                  <a16:creationId xmlns:a16="http://schemas.microsoft.com/office/drawing/2014/main" id="{58A38589-98F6-451E-A434-58B30914CF96}"/>
                </a:ext>
              </a:extLst>
            </p:cNvPr>
            <p:cNvSpPr/>
            <p:nvPr/>
          </p:nvSpPr>
          <p:spPr>
            <a:xfrm rot="8716295">
              <a:off x="1120940" y="248993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" name="Forme libre : forme 217">
              <a:extLst>
                <a:ext uri="{FF2B5EF4-FFF2-40B4-BE49-F238E27FC236}">
                  <a16:creationId xmlns:a16="http://schemas.microsoft.com/office/drawing/2014/main" id="{1BBAB649-0D47-451B-AEA7-D99D438CCB67}"/>
                </a:ext>
              </a:extLst>
            </p:cNvPr>
            <p:cNvSpPr/>
            <p:nvPr/>
          </p:nvSpPr>
          <p:spPr>
            <a:xfrm rot="8716295">
              <a:off x="964164" y="263551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" name="Forme libre : forme 218">
              <a:extLst>
                <a:ext uri="{FF2B5EF4-FFF2-40B4-BE49-F238E27FC236}">
                  <a16:creationId xmlns:a16="http://schemas.microsoft.com/office/drawing/2014/main" id="{9ABD39F9-0013-4B66-B07C-F120985F94DF}"/>
                </a:ext>
              </a:extLst>
            </p:cNvPr>
            <p:cNvSpPr/>
            <p:nvPr/>
          </p:nvSpPr>
          <p:spPr>
            <a:xfrm rot="8716295">
              <a:off x="839261" y="242684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" name="Forme libre : forme 219">
              <a:extLst>
                <a:ext uri="{FF2B5EF4-FFF2-40B4-BE49-F238E27FC236}">
                  <a16:creationId xmlns:a16="http://schemas.microsoft.com/office/drawing/2014/main" id="{4B771D9C-DFA4-430F-84AF-9AE075F83BC7}"/>
                </a:ext>
              </a:extLst>
            </p:cNvPr>
            <p:cNvSpPr/>
            <p:nvPr/>
          </p:nvSpPr>
          <p:spPr>
            <a:xfrm rot="8716295">
              <a:off x="827209" y="228806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" name="Forme libre : forme 220">
              <a:extLst>
                <a:ext uri="{FF2B5EF4-FFF2-40B4-BE49-F238E27FC236}">
                  <a16:creationId xmlns:a16="http://schemas.microsoft.com/office/drawing/2014/main" id="{7FEF96BC-C543-4B58-AE20-95C6DC72AE3F}"/>
                </a:ext>
              </a:extLst>
            </p:cNvPr>
            <p:cNvSpPr/>
            <p:nvPr/>
          </p:nvSpPr>
          <p:spPr>
            <a:xfrm rot="8716295">
              <a:off x="1054342" y="267647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" name="Forme libre : forme 221">
              <a:extLst>
                <a:ext uri="{FF2B5EF4-FFF2-40B4-BE49-F238E27FC236}">
                  <a16:creationId xmlns:a16="http://schemas.microsoft.com/office/drawing/2014/main" id="{68891634-5A93-4AAD-9989-2DE5CE062379}"/>
                </a:ext>
              </a:extLst>
            </p:cNvPr>
            <p:cNvSpPr/>
            <p:nvPr/>
          </p:nvSpPr>
          <p:spPr>
            <a:xfrm rot="8716295">
              <a:off x="1365497" y="229682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" name="Forme libre : forme 222">
              <a:extLst>
                <a:ext uri="{FF2B5EF4-FFF2-40B4-BE49-F238E27FC236}">
                  <a16:creationId xmlns:a16="http://schemas.microsoft.com/office/drawing/2014/main" id="{39D665A4-4F4E-441C-B55C-726916A4039E}"/>
                </a:ext>
              </a:extLst>
            </p:cNvPr>
            <p:cNvSpPr/>
            <p:nvPr/>
          </p:nvSpPr>
          <p:spPr>
            <a:xfrm rot="8716295">
              <a:off x="1454889" y="232606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" name="Forme libre : forme 223">
              <a:extLst>
                <a:ext uri="{FF2B5EF4-FFF2-40B4-BE49-F238E27FC236}">
                  <a16:creationId xmlns:a16="http://schemas.microsoft.com/office/drawing/2014/main" id="{8AF4C94D-DC68-46A4-BF2C-889E3D6B62EC}"/>
                </a:ext>
              </a:extLst>
            </p:cNvPr>
            <p:cNvSpPr/>
            <p:nvPr/>
          </p:nvSpPr>
          <p:spPr>
            <a:xfrm rot="8716295">
              <a:off x="1253263" y="238536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" name="Forme libre : forme 224">
              <a:extLst>
                <a:ext uri="{FF2B5EF4-FFF2-40B4-BE49-F238E27FC236}">
                  <a16:creationId xmlns:a16="http://schemas.microsoft.com/office/drawing/2014/main" id="{C1408C1D-6D03-4994-BD3B-49E299BEE8DA}"/>
                </a:ext>
              </a:extLst>
            </p:cNvPr>
            <p:cNvSpPr/>
            <p:nvPr/>
          </p:nvSpPr>
          <p:spPr>
            <a:xfrm rot="8716295">
              <a:off x="1128361" y="217669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" name="Forme libre : forme 225">
              <a:extLst>
                <a:ext uri="{FF2B5EF4-FFF2-40B4-BE49-F238E27FC236}">
                  <a16:creationId xmlns:a16="http://schemas.microsoft.com/office/drawing/2014/main" id="{EB108B47-7607-4350-BAC7-848269D45EA1}"/>
                </a:ext>
              </a:extLst>
            </p:cNvPr>
            <p:cNvSpPr/>
            <p:nvPr/>
          </p:nvSpPr>
          <p:spPr>
            <a:xfrm rot="8716295">
              <a:off x="1343441" y="242631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" name="Forme libre : forme 226">
              <a:extLst>
                <a:ext uri="{FF2B5EF4-FFF2-40B4-BE49-F238E27FC236}">
                  <a16:creationId xmlns:a16="http://schemas.microsoft.com/office/drawing/2014/main" id="{016BF330-2E65-471B-BA9A-203A297FAFCE}"/>
                </a:ext>
              </a:extLst>
            </p:cNvPr>
            <p:cNvSpPr/>
            <p:nvPr/>
          </p:nvSpPr>
          <p:spPr>
            <a:xfrm rot="8716295">
              <a:off x="1101990" y="227671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" name="Forme libre : forme 227">
              <a:extLst>
                <a:ext uri="{FF2B5EF4-FFF2-40B4-BE49-F238E27FC236}">
                  <a16:creationId xmlns:a16="http://schemas.microsoft.com/office/drawing/2014/main" id="{20DF741A-5A82-48D0-A9BB-E29A7DA079B2}"/>
                </a:ext>
              </a:extLst>
            </p:cNvPr>
            <p:cNvSpPr/>
            <p:nvPr/>
          </p:nvSpPr>
          <p:spPr>
            <a:xfrm rot="7484129">
              <a:off x="1448372" y="261767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" name="Forme libre : forme 228">
              <a:extLst>
                <a:ext uri="{FF2B5EF4-FFF2-40B4-BE49-F238E27FC236}">
                  <a16:creationId xmlns:a16="http://schemas.microsoft.com/office/drawing/2014/main" id="{FBBC9382-FE3D-4581-90F5-934825D4E890}"/>
                </a:ext>
              </a:extLst>
            </p:cNvPr>
            <p:cNvSpPr/>
            <p:nvPr/>
          </p:nvSpPr>
          <p:spPr>
            <a:xfrm rot="13089394">
              <a:off x="1553192" y="258420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" name="Forme libre : forme 229">
              <a:extLst>
                <a:ext uri="{FF2B5EF4-FFF2-40B4-BE49-F238E27FC236}">
                  <a16:creationId xmlns:a16="http://schemas.microsoft.com/office/drawing/2014/main" id="{1722850A-0379-4FB9-9C9B-E45F998A47BD}"/>
                </a:ext>
              </a:extLst>
            </p:cNvPr>
            <p:cNvSpPr/>
            <p:nvPr/>
          </p:nvSpPr>
          <p:spPr>
            <a:xfrm rot="8716295">
              <a:off x="1738777" y="23925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" name="Forme libre : forme 230">
              <a:extLst>
                <a:ext uri="{FF2B5EF4-FFF2-40B4-BE49-F238E27FC236}">
                  <a16:creationId xmlns:a16="http://schemas.microsoft.com/office/drawing/2014/main" id="{BF511EF9-A49C-4AE3-8280-5A5B1337EE62}"/>
                </a:ext>
              </a:extLst>
            </p:cNvPr>
            <p:cNvSpPr/>
            <p:nvPr/>
          </p:nvSpPr>
          <p:spPr>
            <a:xfrm rot="8716295">
              <a:off x="1686972" y="228893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" name="Forme libre : forme 231">
              <a:extLst>
                <a:ext uri="{FF2B5EF4-FFF2-40B4-BE49-F238E27FC236}">
                  <a16:creationId xmlns:a16="http://schemas.microsoft.com/office/drawing/2014/main" id="{D138BF00-ED92-4133-ADF5-E9C66056A424}"/>
                </a:ext>
              </a:extLst>
            </p:cNvPr>
            <p:cNvSpPr/>
            <p:nvPr/>
          </p:nvSpPr>
          <p:spPr>
            <a:xfrm rot="8716295">
              <a:off x="1443726" y="231915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" name="Forme libre : forme 232">
              <a:extLst>
                <a:ext uri="{FF2B5EF4-FFF2-40B4-BE49-F238E27FC236}">
                  <a16:creationId xmlns:a16="http://schemas.microsoft.com/office/drawing/2014/main" id="{8E358CEB-AF06-484E-8852-BAE0311E02CC}"/>
                </a:ext>
              </a:extLst>
            </p:cNvPr>
            <p:cNvSpPr/>
            <p:nvPr/>
          </p:nvSpPr>
          <p:spPr>
            <a:xfrm rot="8716295">
              <a:off x="1621178" y="21599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" name="Forme libre : forme 233">
              <a:extLst>
                <a:ext uri="{FF2B5EF4-FFF2-40B4-BE49-F238E27FC236}">
                  <a16:creationId xmlns:a16="http://schemas.microsoft.com/office/drawing/2014/main" id="{9EBAEBBD-0226-432C-8DB2-1DA1060129B8}"/>
                </a:ext>
              </a:extLst>
            </p:cNvPr>
            <p:cNvSpPr/>
            <p:nvPr/>
          </p:nvSpPr>
          <p:spPr>
            <a:xfrm rot="8716295">
              <a:off x="1299565" y="320667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" name="Forme libre : forme 234">
              <a:extLst>
                <a:ext uri="{FF2B5EF4-FFF2-40B4-BE49-F238E27FC236}">
                  <a16:creationId xmlns:a16="http://schemas.microsoft.com/office/drawing/2014/main" id="{B666620F-F3D0-4B5D-9685-3CAB27EBF061}"/>
                </a:ext>
              </a:extLst>
            </p:cNvPr>
            <p:cNvSpPr/>
            <p:nvPr/>
          </p:nvSpPr>
          <p:spPr>
            <a:xfrm rot="8716295">
              <a:off x="1388957" y="323591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" name="Forme libre : forme 235">
              <a:extLst>
                <a:ext uri="{FF2B5EF4-FFF2-40B4-BE49-F238E27FC236}">
                  <a16:creationId xmlns:a16="http://schemas.microsoft.com/office/drawing/2014/main" id="{88947540-8C6A-4BF5-BB71-6D60ADEAEBA1}"/>
                </a:ext>
              </a:extLst>
            </p:cNvPr>
            <p:cNvSpPr/>
            <p:nvPr/>
          </p:nvSpPr>
          <p:spPr>
            <a:xfrm rot="8716295">
              <a:off x="1344107" y="314963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" name="Forme libre : forme 236">
              <a:extLst>
                <a:ext uri="{FF2B5EF4-FFF2-40B4-BE49-F238E27FC236}">
                  <a16:creationId xmlns:a16="http://schemas.microsoft.com/office/drawing/2014/main" id="{55A70DC6-65F6-4764-AD9C-C9CC5AC38D47}"/>
                </a:ext>
              </a:extLst>
            </p:cNvPr>
            <p:cNvSpPr/>
            <p:nvPr/>
          </p:nvSpPr>
          <p:spPr>
            <a:xfrm rot="8716295">
              <a:off x="1187331" y="329521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" name="Forme libre : forme 237">
              <a:extLst>
                <a:ext uri="{FF2B5EF4-FFF2-40B4-BE49-F238E27FC236}">
                  <a16:creationId xmlns:a16="http://schemas.microsoft.com/office/drawing/2014/main" id="{BB754C94-5023-48F1-A098-74F43CE79231}"/>
                </a:ext>
              </a:extLst>
            </p:cNvPr>
            <p:cNvSpPr/>
            <p:nvPr/>
          </p:nvSpPr>
          <p:spPr>
            <a:xfrm rot="8716295">
              <a:off x="1062428" y="308654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" name="Forme libre : forme 238">
              <a:extLst>
                <a:ext uri="{FF2B5EF4-FFF2-40B4-BE49-F238E27FC236}">
                  <a16:creationId xmlns:a16="http://schemas.microsoft.com/office/drawing/2014/main" id="{76EDC7DE-4ED0-41EE-BBDC-2D4CD0BE6E51}"/>
                </a:ext>
              </a:extLst>
            </p:cNvPr>
            <p:cNvSpPr/>
            <p:nvPr/>
          </p:nvSpPr>
          <p:spPr>
            <a:xfrm rot="8716295">
              <a:off x="1050376" y="294776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" name="Forme libre : forme 239">
              <a:extLst>
                <a:ext uri="{FF2B5EF4-FFF2-40B4-BE49-F238E27FC236}">
                  <a16:creationId xmlns:a16="http://schemas.microsoft.com/office/drawing/2014/main" id="{ABABCCB1-DB29-40D3-B384-2DA707723441}"/>
                </a:ext>
              </a:extLst>
            </p:cNvPr>
            <p:cNvSpPr/>
            <p:nvPr/>
          </p:nvSpPr>
          <p:spPr>
            <a:xfrm rot="8716295">
              <a:off x="1277509" y="333617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" name="Forme libre : forme 240">
              <a:extLst>
                <a:ext uri="{FF2B5EF4-FFF2-40B4-BE49-F238E27FC236}">
                  <a16:creationId xmlns:a16="http://schemas.microsoft.com/office/drawing/2014/main" id="{D86BE233-1E89-4884-9471-90ABF15AC049}"/>
                </a:ext>
              </a:extLst>
            </p:cNvPr>
            <p:cNvSpPr/>
            <p:nvPr/>
          </p:nvSpPr>
          <p:spPr>
            <a:xfrm rot="8716295">
              <a:off x="1588664" y="295652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" name="Forme libre : forme 241">
              <a:extLst>
                <a:ext uri="{FF2B5EF4-FFF2-40B4-BE49-F238E27FC236}">
                  <a16:creationId xmlns:a16="http://schemas.microsoft.com/office/drawing/2014/main" id="{1E4464D3-58E9-4A03-BB6A-8B83E3881142}"/>
                </a:ext>
              </a:extLst>
            </p:cNvPr>
            <p:cNvSpPr/>
            <p:nvPr/>
          </p:nvSpPr>
          <p:spPr>
            <a:xfrm rot="8716295">
              <a:off x="1678056" y="298576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" name="Forme libre : forme 242">
              <a:extLst>
                <a:ext uri="{FF2B5EF4-FFF2-40B4-BE49-F238E27FC236}">
                  <a16:creationId xmlns:a16="http://schemas.microsoft.com/office/drawing/2014/main" id="{17781F1F-DB19-4442-B92A-C7711450A6C2}"/>
                </a:ext>
              </a:extLst>
            </p:cNvPr>
            <p:cNvSpPr/>
            <p:nvPr/>
          </p:nvSpPr>
          <p:spPr>
            <a:xfrm rot="8716295">
              <a:off x="1476430" y="304506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" name="Forme libre : forme 243">
              <a:extLst>
                <a:ext uri="{FF2B5EF4-FFF2-40B4-BE49-F238E27FC236}">
                  <a16:creationId xmlns:a16="http://schemas.microsoft.com/office/drawing/2014/main" id="{DBD406CA-7502-44B6-87AF-2C3CFA35CDED}"/>
                </a:ext>
              </a:extLst>
            </p:cNvPr>
            <p:cNvSpPr/>
            <p:nvPr/>
          </p:nvSpPr>
          <p:spPr>
            <a:xfrm rot="8716295">
              <a:off x="1351528" y="283639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" name="Forme libre : forme 244">
              <a:extLst>
                <a:ext uri="{FF2B5EF4-FFF2-40B4-BE49-F238E27FC236}">
                  <a16:creationId xmlns:a16="http://schemas.microsoft.com/office/drawing/2014/main" id="{1D9F6882-BBB8-4C9A-BDD7-FAB6F4D5F59D}"/>
                </a:ext>
              </a:extLst>
            </p:cNvPr>
            <p:cNvSpPr/>
            <p:nvPr/>
          </p:nvSpPr>
          <p:spPr>
            <a:xfrm rot="8716295">
              <a:off x="1566608" y="308601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" name="Forme libre : forme 245">
              <a:extLst>
                <a:ext uri="{FF2B5EF4-FFF2-40B4-BE49-F238E27FC236}">
                  <a16:creationId xmlns:a16="http://schemas.microsoft.com/office/drawing/2014/main" id="{D03B605A-3C15-4096-9741-AEE20EFC39A1}"/>
                </a:ext>
              </a:extLst>
            </p:cNvPr>
            <p:cNvSpPr/>
            <p:nvPr/>
          </p:nvSpPr>
          <p:spPr>
            <a:xfrm rot="8716295">
              <a:off x="1325157" y="293641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" name="Forme libre : forme 246">
              <a:extLst>
                <a:ext uri="{FF2B5EF4-FFF2-40B4-BE49-F238E27FC236}">
                  <a16:creationId xmlns:a16="http://schemas.microsoft.com/office/drawing/2014/main" id="{38898AE8-B829-47A3-880A-38C78C89B9DE}"/>
                </a:ext>
              </a:extLst>
            </p:cNvPr>
            <p:cNvSpPr/>
            <p:nvPr/>
          </p:nvSpPr>
          <p:spPr>
            <a:xfrm rot="7484129">
              <a:off x="1671539" y="327736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" name="Forme libre : forme 247">
              <a:extLst>
                <a:ext uri="{FF2B5EF4-FFF2-40B4-BE49-F238E27FC236}">
                  <a16:creationId xmlns:a16="http://schemas.microsoft.com/office/drawing/2014/main" id="{6C94EF82-BA2B-46A8-965C-6EF68064713F}"/>
                </a:ext>
              </a:extLst>
            </p:cNvPr>
            <p:cNvSpPr/>
            <p:nvPr/>
          </p:nvSpPr>
          <p:spPr>
            <a:xfrm rot="13089394">
              <a:off x="1776359" y="324390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" name="Forme libre : forme 248">
              <a:extLst>
                <a:ext uri="{FF2B5EF4-FFF2-40B4-BE49-F238E27FC236}">
                  <a16:creationId xmlns:a16="http://schemas.microsoft.com/office/drawing/2014/main" id="{551D5950-1E6B-4DD0-AB72-CBFF9866A44D}"/>
                </a:ext>
              </a:extLst>
            </p:cNvPr>
            <p:cNvSpPr/>
            <p:nvPr/>
          </p:nvSpPr>
          <p:spPr>
            <a:xfrm rot="8716295">
              <a:off x="1961944" y="305222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" name="Forme libre : forme 249">
              <a:extLst>
                <a:ext uri="{FF2B5EF4-FFF2-40B4-BE49-F238E27FC236}">
                  <a16:creationId xmlns:a16="http://schemas.microsoft.com/office/drawing/2014/main" id="{B6B88D31-2E44-4166-86AB-E9E6ECCAF3B0}"/>
                </a:ext>
              </a:extLst>
            </p:cNvPr>
            <p:cNvSpPr/>
            <p:nvPr/>
          </p:nvSpPr>
          <p:spPr>
            <a:xfrm rot="8716295">
              <a:off x="1910139" y="294862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" name="Forme libre : forme 250">
              <a:extLst>
                <a:ext uri="{FF2B5EF4-FFF2-40B4-BE49-F238E27FC236}">
                  <a16:creationId xmlns:a16="http://schemas.microsoft.com/office/drawing/2014/main" id="{811032A2-B40D-4E18-A5FE-1E40E940D0A3}"/>
                </a:ext>
              </a:extLst>
            </p:cNvPr>
            <p:cNvSpPr/>
            <p:nvPr/>
          </p:nvSpPr>
          <p:spPr>
            <a:xfrm rot="8716295">
              <a:off x="1666893" y="297885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" name="Forme libre : forme 251">
              <a:extLst>
                <a:ext uri="{FF2B5EF4-FFF2-40B4-BE49-F238E27FC236}">
                  <a16:creationId xmlns:a16="http://schemas.microsoft.com/office/drawing/2014/main" id="{10E9AA39-FF6D-4519-822E-A935B8BFBA5C}"/>
                </a:ext>
              </a:extLst>
            </p:cNvPr>
            <p:cNvSpPr/>
            <p:nvPr/>
          </p:nvSpPr>
          <p:spPr>
            <a:xfrm rot="8716295">
              <a:off x="1844345" y="281960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" name="Forme libre : forme 252">
              <a:extLst>
                <a:ext uri="{FF2B5EF4-FFF2-40B4-BE49-F238E27FC236}">
                  <a16:creationId xmlns:a16="http://schemas.microsoft.com/office/drawing/2014/main" id="{6C0C2891-B5CF-43D2-8AFF-62DA18792308}"/>
                </a:ext>
              </a:extLst>
            </p:cNvPr>
            <p:cNvSpPr/>
            <p:nvPr/>
          </p:nvSpPr>
          <p:spPr>
            <a:xfrm rot="8716295">
              <a:off x="2092137" y="5100860"/>
              <a:ext cx="63833" cy="43384"/>
            </a:xfrm>
            <a:custGeom>
              <a:avLst/>
              <a:gdLst>
                <a:gd name="connsiteX0" fmla="*/ 5923 w 63833"/>
                <a:gd name="connsiteY0" fmla="*/ 43384 h 43384"/>
                <a:gd name="connsiteX1" fmla="*/ 0 w 63833"/>
                <a:gd name="connsiteY1" fmla="*/ 35182 h 43384"/>
                <a:gd name="connsiteX2" fmla="*/ 37391 w 63833"/>
                <a:gd name="connsiteY2" fmla="*/ 0 h 43384"/>
                <a:gd name="connsiteX3" fmla="*/ 63833 w 63833"/>
                <a:gd name="connsiteY3" fmla="*/ 18329 h 4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833" h="43384">
                  <a:moveTo>
                    <a:pt x="5923" y="43384"/>
                  </a:moveTo>
                  <a:lnTo>
                    <a:pt x="0" y="35182"/>
                  </a:lnTo>
                  <a:lnTo>
                    <a:pt x="37391" y="0"/>
                  </a:lnTo>
                  <a:lnTo>
                    <a:pt x="63833" y="1832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" name="Forme libre : forme 253">
              <a:extLst>
                <a:ext uri="{FF2B5EF4-FFF2-40B4-BE49-F238E27FC236}">
                  <a16:creationId xmlns:a16="http://schemas.microsoft.com/office/drawing/2014/main" id="{D0590309-C5C9-415B-B4DB-187E6398C8E2}"/>
                </a:ext>
              </a:extLst>
            </p:cNvPr>
            <p:cNvSpPr/>
            <p:nvPr/>
          </p:nvSpPr>
          <p:spPr>
            <a:xfrm rot="8716295">
              <a:off x="1789040" y="5044339"/>
              <a:ext cx="113322" cy="144291"/>
            </a:xfrm>
            <a:custGeom>
              <a:avLst/>
              <a:gdLst>
                <a:gd name="connsiteX0" fmla="*/ 0 w 113322"/>
                <a:gd name="connsiteY0" fmla="*/ 3741 h 144291"/>
                <a:gd name="connsiteX1" fmla="*/ 0 w 113322"/>
                <a:gd name="connsiteY1" fmla="*/ 0 h 144291"/>
                <a:gd name="connsiteX2" fmla="*/ 5398 w 113322"/>
                <a:gd name="connsiteY2" fmla="*/ 3741 h 144291"/>
                <a:gd name="connsiteX3" fmla="*/ 90709 w 113322"/>
                <a:gd name="connsiteY3" fmla="*/ 144291 h 144291"/>
                <a:gd name="connsiteX4" fmla="*/ 47847 w 113322"/>
                <a:gd name="connsiteY4" fmla="*/ 64547 h 144291"/>
                <a:gd name="connsiteX5" fmla="*/ 56901 w 113322"/>
                <a:gd name="connsiteY5" fmla="*/ 39441 h 144291"/>
                <a:gd name="connsiteX6" fmla="*/ 113322 w 113322"/>
                <a:gd name="connsiteY6" fmla="*/ 78551 h 144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322" h="144291">
                  <a:moveTo>
                    <a:pt x="0" y="3741"/>
                  </a:moveTo>
                  <a:lnTo>
                    <a:pt x="0" y="0"/>
                  </a:lnTo>
                  <a:lnTo>
                    <a:pt x="5398" y="3741"/>
                  </a:lnTo>
                  <a:close/>
                  <a:moveTo>
                    <a:pt x="90709" y="144291"/>
                  </a:moveTo>
                  <a:lnTo>
                    <a:pt x="47847" y="64547"/>
                  </a:lnTo>
                  <a:lnTo>
                    <a:pt x="56901" y="39441"/>
                  </a:lnTo>
                  <a:lnTo>
                    <a:pt x="113322" y="7855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" name="Forme libre : forme 254">
              <a:extLst>
                <a:ext uri="{FF2B5EF4-FFF2-40B4-BE49-F238E27FC236}">
                  <a16:creationId xmlns:a16="http://schemas.microsoft.com/office/drawing/2014/main" id="{5BD5D859-B6BE-4272-BEBA-C49F2EB86FA8}"/>
                </a:ext>
              </a:extLst>
            </p:cNvPr>
            <p:cNvSpPr/>
            <p:nvPr/>
          </p:nvSpPr>
          <p:spPr>
            <a:xfrm rot="8716295">
              <a:off x="1701335" y="4927006"/>
              <a:ext cx="290643" cy="318535"/>
            </a:xfrm>
            <a:custGeom>
              <a:avLst/>
              <a:gdLst>
                <a:gd name="connsiteX0" fmla="*/ 25298 w 290643"/>
                <a:gd name="connsiteY0" fmla="*/ 288944 h 318535"/>
                <a:gd name="connsiteX1" fmla="*/ 0 w 290643"/>
                <a:gd name="connsiteY1" fmla="*/ 187748 h 318535"/>
                <a:gd name="connsiteX2" fmla="*/ 0 w 290643"/>
                <a:gd name="connsiteY2" fmla="*/ 8302 h 318535"/>
                <a:gd name="connsiteX3" fmla="*/ 16003 w 290643"/>
                <a:gd name="connsiteY3" fmla="*/ 0 h 318535"/>
                <a:gd name="connsiteX4" fmla="*/ 78793 w 290643"/>
                <a:gd name="connsiteY4" fmla="*/ 43524 h 318535"/>
                <a:gd name="connsiteX5" fmla="*/ 79427 w 290643"/>
                <a:gd name="connsiteY5" fmla="*/ 131855 h 318535"/>
                <a:gd name="connsiteX6" fmla="*/ 93547 w 290643"/>
                <a:gd name="connsiteY6" fmla="*/ 229521 h 318535"/>
                <a:gd name="connsiteX7" fmla="*/ 164149 w 290643"/>
                <a:gd name="connsiteY7" fmla="*/ 268352 h 318535"/>
                <a:gd name="connsiteX8" fmla="*/ 217100 w 290643"/>
                <a:gd name="connsiteY8" fmla="*/ 258938 h 318535"/>
                <a:gd name="connsiteX9" fmla="*/ 289467 w 290643"/>
                <a:gd name="connsiteY9" fmla="*/ 229521 h 318535"/>
                <a:gd name="connsiteX10" fmla="*/ 290643 w 290643"/>
                <a:gd name="connsiteY10" fmla="*/ 237169 h 318535"/>
                <a:gd name="connsiteX11" fmla="*/ 290643 w 290643"/>
                <a:gd name="connsiteY11" fmla="*/ 243052 h 318535"/>
                <a:gd name="connsiteX12" fmla="*/ 97665 w 290643"/>
                <a:gd name="connsiteY12" fmla="*/ 318361 h 318535"/>
                <a:gd name="connsiteX13" fmla="*/ 25298 w 290643"/>
                <a:gd name="connsiteY13" fmla="*/ 288944 h 318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90643" h="318535">
                  <a:moveTo>
                    <a:pt x="25298" y="288944"/>
                  </a:moveTo>
                  <a:cubicBezTo>
                    <a:pt x="5295" y="269528"/>
                    <a:pt x="0" y="235992"/>
                    <a:pt x="0" y="187748"/>
                  </a:cubicBezTo>
                  <a:lnTo>
                    <a:pt x="0" y="8302"/>
                  </a:lnTo>
                  <a:lnTo>
                    <a:pt x="16003" y="0"/>
                  </a:lnTo>
                  <a:lnTo>
                    <a:pt x="78793" y="43524"/>
                  </a:lnTo>
                  <a:lnTo>
                    <a:pt x="79427" y="131855"/>
                  </a:lnTo>
                  <a:cubicBezTo>
                    <a:pt x="77662" y="164803"/>
                    <a:pt x="82957" y="198338"/>
                    <a:pt x="93547" y="229521"/>
                  </a:cubicBezTo>
                  <a:cubicBezTo>
                    <a:pt x="102961" y="255408"/>
                    <a:pt x="127083" y="268352"/>
                    <a:pt x="164149" y="268352"/>
                  </a:cubicBezTo>
                  <a:cubicBezTo>
                    <a:pt x="182387" y="267763"/>
                    <a:pt x="200038" y="264233"/>
                    <a:pt x="217100" y="258938"/>
                  </a:cubicBezTo>
                  <a:cubicBezTo>
                    <a:pt x="241810" y="251290"/>
                    <a:pt x="265933" y="241288"/>
                    <a:pt x="289467" y="229521"/>
                  </a:cubicBezTo>
                  <a:cubicBezTo>
                    <a:pt x="290055" y="231874"/>
                    <a:pt x="290643" y="234816"/>
                    <a:pt x="290643" y="237169"/>
                  </a:cubicBezTo>
                  <a:lnTo>
                    <a:pt x="290643" y="243052"/>
                  </a:lnTo>
                  <a:cubicBezTo>
                    <a:pt x="228278" y="296592"/>
                    <a:pt x="146498" y="315419"/>
                    <a:pt x="97665" y="318361"/>
                  </a:cubicBezTo>
                  <a:cubicBezTo>
                    <a:pt x="70602" y="320126"/>
                    <a:pt x="44126" y="308359"/>
                    <a:pt x="25298" y="28894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" name="Forme libre : forme 255">
              <a:extLst>
                <a:ext uri="{FF2B5EF4-FFF2-40B4-BE49-F238E27FC236}">
                  <a16:creationId xmlns:a16="http://schemas.microsoft.com/office/drawing/2014/main" id="{DF6324B6-1146-4A58-A87B-58A99832DFC5}"/>
                </a:ext>
              </a:extLst>
            </p:cNvPr>
            <p:cNvSpPr/>
            <p:nvPr/>
          </p:nvSpPr>
          <p:spPr>
            <a:xfrm rot="8716295">
              <a:off x="2251190" y="4935850"/>
              <a:ext cx="142167" cy="232388"/>
            </a:xfrm>
            <a:custGeom>
              <a:avLst/>
              <a:gdLst>
                <a:gd name="connsiteX0" fmla="*/ 81108 w 142167"/>
                <a:gd name="connsiteY0" fmla="*/ 232388 h 232388"/>
                <a:gd name="connsiteX1" fmla="*/ 81108 w 142167"/>
                <a:gd name="connsiteY1" fmla="*/ 69716 h 232388"/>
                <a:gd name="connsiteX2" fmla="*/ 81108 w 142167"/>
                <a:gd name="connsiteY2" fmla="*/ 65616 h 232388"/>
                <a:gd name="connsiteX3" fmla="*/ 60604 w 142167"/>
                <a:gd name="connsiteY3" fmla="*/ 50123 h 232388"/>
                <a:gd name="connsiteX4" fmla="*/ 0 w 142167"/>
                <a:gd name="connsiteY4" fmla="*/ 50123 h 232388"/>
                <a:gd name="connsiteX5" fmla="*/ 0 w 142167"/>
                <a:gd name="connsiteY5" fmla="*/ 0 h 232388"/>
                <a:gd name="connsiteX6" fmla="*/ 63990 w 142167"/>
                <a:gd name="connsiteY6" fmla="*/ 0 h 232388"/>
                <a:gd name="connsiteX7" fmla="*/ 142167 w 142167"/>
                <a:gd name="connsiteY7" fmla="*/ 54190 h 232388"/>
                <a:gd name="connsiteX8" fmla="*/ 142167 w 142167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32388">
                  <a:moveTo>
                    <a:pt x="81108" y="232388"/>
                  </a:moveTo>
                  <a:lnTo>
                    <a:pt x="81108" y="69716"/>
                  </a:lnTo>
                  <a:cubicBezTo>
                    <a:pt x="81108" y="68350"/>
                    <a:pt x="81108" y="66983"/>
                    <a:pt x="81108" y="65616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63990" y="0"/>
                  </a:lnTo>
                  <a:lnTo>
                    <a:pt x="142167" y="54190"/>
                  </a:lnTo>
                  <a:lnTo>
                    <a:pt x="142167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" name="Forme libre : forme 256">
              <a:extLst>
                <a:ext uri="{FF2B5EF4-FFF2-40B4-BE49-F238E27FC236}">
                  <a16:creationId xmlns:a16="http://schemas.microsoft.com/office/drawing/2014/main" id="{646EF66B-E595-4EAF-98DD-AFED25A9F1D2}"/>
                </a:ext>
              </a:extLst>
            </p:cNvPr>
            <p:cNvSpPr/>
            <p:nvPr/>
          </p:nvSpPr>
          <p:spPr>
            <a:xfrm rot="8716295">
              <a:off x="2456859" y="4924575"/>
              <a:ext cx="131246" cy="253348"/>
            </a:xfrm>
            <a:custGeom>
              <a:avLst/>
              <a:gdLst>
                <a:gd name="connsiteX0" fmla="*/ 51490 w 131246"/>
                <a:gd name="connsiteY0" fmla="*/ 253348 h 253348"/>
                <a:gd name="connsiteX1" fmla="*/ 51489 w 131246"/>
                <a:gd name="connsiteY1" fmla="*/ 44199 h 253348"/>
                <a:gd name="connsiteX2" fmla="*/ 0 w 131246"/>
                <a:gd name="connsiteY2" fmla="*/ 44199 h 253348"/>
                <a:gd name="connsiteX3" fmla="*/ 0 w 131246"/>
                <a:gd name="connsiteY3" fmla="*/ 0 h 253348"/>
                <a:gd name="connsiteX4" fmla="*/ 44807 w 131246"/>
                <a:gd name="connsiteY4" fmla="*/ 0 h 253348"/>
                <a:gd name="connsiteX5" fmla="*/ 104802 w 131246"/>
                <a:gd name="connsiteY5" fmla="*/ 41587 h 253348"/>
                <a:gd name="connsiteX6" fmla="*/ 104802 w 131246"/>
                <a:gd name="connsiteY6" fmla="*/ 73817 h 253348"/>
                <a:gd name="connsiteX7" fmla="*/ 106169 w 131246"/>
                <a:gd name="connsiteY7" fmla="*/ 73817 h 253348"/>
                <a:gd name="connsiteX8" fmla="*/ 115569 w 131246"/>
                <a:gd name="connsiteY8" fmla="*/ 49050 h 253348"/>
                <a:gd name="connsiteX9" fmla="*/ 131246 w 131246"/>
                <a:gd name="connsiteY9" fmla="*/ 59916 h 253348"/>
                <a:gd name="connsiteX10" fmla="*/ 127358 w 131246"/>
                <a:gd name="connsiteY10" fmla="*/ 64191 h 253348"/>
                <a:gd name="connsiteX11" fmla="*/ 111638 w 131246"/>
                <a:gd name="connsiteY11" fmla="*/ 126218 h 253348"/>
                <a:gd name="connsiteX12" fmla="*/ 111638 w 131246"/>
                <a:gd name="connsiteY12" fmla="*/ 212339 h 253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1246" h="253348">
                  <a:moveTo>
                    <a:pt x="51490" y="253348"/>
                  </a:moveTo>
                  <a:lnTo>
                    <a:pt x="51489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44807" y="0"/>
                  </a:lnTo>
                  <a:lnTo>
                    <a:pt x="104802" y="41587"/>
                  </a:lnTo>
                  <a:lnTo>
                    <a:pt x="104802" y="73817"/>
                  </a:lnTo>
                  <a:lnTo>
                    <a:pt x="106169" y="73817"/>
                  </a:lnTo>
                  <a:lnTo>
                    <a:pt x="115569" y="49050"/>
                  </a:lnTo>
                  <a:lnTo>
                    <a:pt x="131246" y="59916"/>
                  </a:lnTo>
                  <a:lnTo>
                    <a:pt x="127358" y="64191"/>
                  </a:lnTo>
                  <a:cubicBezTo>
                    <a:pt x="117675" y="79968"/>
                    <a:pt x="111638" y="101840"/>
                    <a:pt x="111638" y="126218"/>
                  </a:cubicBezTo>
                  <a:lnTo>
                    <a:pt x="111638" y="2123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" name="Forme libre : forme 257">
              <a:extLst>
                <a:ext uri="{FF2B5EF4-FFF2-40B4-BE49-F238E27FC236}">
                  <a16:creationId xmlns:a16="http://schemas.microsoft.com/office/drawing/2014/main" id="{BBB2A0DE-B613-4103-A446-00FD5673FDA7}"/>
                </a:ext>
              </a:extLst>
            </p:cNvPr>
            <p:cNvSpPr/>
            <p:nvPr/>
          </p:nvSpPr>
          <p:spPr>
            <a:xfrm rot="8716295">
              <a:off x="2139785" y="502413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" name="Forme libre : forme 258">
              <a:extLst>
                <a:ext uri="{FF2B5EF4-FFF2-40B4-BE49-F238E27FC236}">
                  <a16:creationId xmlns:a16="http://schemas.microsoft.com/office/drawing/2014/main" id="{CE0B209D-C132-46B3-A7D3-E99A86963D83}"/>
                </a:ext>
              </a:extLst>
            </p:cNvPr>
            <p:cNvSpPr/>
            <p:nvPr/>
          </p:nvSpPr>
          <p:spPr>
            <a:xfrm rot="8716295">
              <a:off x="2014883" y="481546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" name="Forme libre : forme 259">
              <a:extLst>
                <a:ext uri="{FF2B5EF4-FFF2-40B4-BE49-F238E27FC236}">
                  <a16:creationId xmlns:a16="http://schemas.microsoft.com/office/drawing/2014/main" id="{46BBD1CB-80EF-4DD7-9CA4-1F270A6D433D}"/>
                </a:ext>
              </a:extLst>
            </p:cNvPr>
            <p:cNvSpPr/>
            <p:nvPr/>
          </p:nvSpPr>
          <p:spPr>
            <a:xfrm rot="8716295">
              <a:off x="2190257" y="5090583"/>
              <a:ext cx="60147" cy="76898"/>
            </a:xfrm>
            <a:custGeom>
              <a:avLst/>
              <a:gdLst>
                <a:gd name="connsiteX0" fmla="*/ 60147 w 60147"/>
                <a:gd name="connsiteY0" fmla="*/ 76898 h 76898"/>
                <a:gd name="connsiteX1" fmla="*/ 0 w 60147"/>
                <a:gd name="connsiteY1" fmla="*/ 19028 h 76898"/>
                <a:gd name="connsiteX2" fmla="*/ 0 w 60147"/>
                <a:gd name="connsiteY2" fmla="*/ 0 h 76898"/>
                <a:gd name="connsiteX3" fmla="*/ 60147 w 60147"/>
                <a:gd name="connsiteY3" fmla="*/ 41692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7" h="76898">
                  <a:moveTo>
                    <a:pt x="60147" y="76898"/>
                  </a:moveTo>
                  <a:lnTo>
                    <a:pt x="0" y="19028"/>
                  </a:lnTo>
                  <a:lnTo>
                    <a:pt x="0" y="0"/>
                  </a:lnTo>
                  <a:lnTo>
                    <a:pt x="60147" y="416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" name="Forme libre : forme 260">
              <a:extLst>
                <a:ext uri="{FF2B5EF4-FFF2-40B4-BE49-F238E27FC236}">
                  <a16:creationId xmlns:a16="http://schemas.microsoft.com/office/drawing/2014/main" id="{A32DFF69-92E6-43D9-A847-4B37531C0FC1}"/>
                </a:ext>
              </a:extLst>
            </p:cNvPr>
            <p:cNvSpPr/>
            <p:nvPr/>
          </p:nvSpPr>
          <p:spPr>
            <a:xfrm rot="8716295">
              <a:off x="1988512" y="491548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" name="Forme libre : forme 261">
              <a:extLst>
                <a:ext uri="{FF2B5EF4-FFF2-40B4-BE49-F238E27FC236}">
                  <a16:creationId xmlns:a16="http://schemas.microsoft.com/office/drawing/2014/main" id="{8232E004-724D-4398-A64A-AF1F94C033B6}"/>
                </a:ext>
              </a:extLst>
            </p:cNvPr>
            <p:cNvSpPr/>
            <p:nvPr/>
          </p:nvSpPr>
          <p:spPr>
            <a:xfrm rot="8716295">
              <a:off x="2650789" y="5021708"/>
              <a:ext cx="177699" cy="117559"/>
            </a:xfrm>
            <a:custGeom>
              <a:avLst/>
              <a:gdLst>
                <a:gd name="connsiteX0" fmla="*/ 6986 w 177699"/>
                <a:gd name="connsiteY0" fmla="*/ 117559 h 117559"/>
                <a:gd name="connsiteX1" fmla="*/ 0 w 177699"/>
                <a:gd name="connsiteY1" fmla="*/ 107886 h 117559"/>
                <a:gd name="connsiteX2" fmla="*/ 114658 w 177699"/>
                <a:gd name="connsiteY2" fmla="*/ 0 h 117559"/>
                <a:gd name="connsiteX3" fmla="*/ 177699 w 177699"/>
                <a:gd name="connsiteY3" fmla="*/ 43698 h 117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7699" h="117559">
                  <a:moveTo>
                    <a:pt x="6986" y="117559"/>
                  </a:moveTo>
                  <a:lnTo>
                    <a:pt x="0" y="107886"/>
                  </a:lnTo>
                  <a:lnTo>
                    <a:pt x="114658" y="0"/>
                  </a:lnTo>
                  <a:lnTo>
                    <a:pt x="177699" y="436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" name="Forme libre : forme 262">
              <a:extLst>
                <a:ext uri="{FF2B5EF4-FFF2-40B4-BE49-F238E27FC236}">
                  <a16:creationId xmlns:a16="http://schemas.microsoft.com/office/drawing/2014/main" id="{FBFBE439-377B-4FDF-9911-15B61D5AC250}"/>
                </a:ext>
              </a:extLst>
            </p:cNvPr>
            <p:cNvSpPr/>
            <p:nvPr/>
          </p:nvSpPr>
          <p:spPr>
            <a:xfrm rot="8716295">
              <a:off x="2573494" y="492769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" name="Forme libre : forme 263">
              <a:extLst>
                <a:ext uri="{FF2B5EF4-FFF2-40B4-BE49-F238E27FC236}">
                  <a16:creationId xmlns:a16="http://schemas.microsoft.com/office/drawing/2014/main" id="{8F5A7FC6-58AF-4BF6-9769-158D9D43A4A8}"/>
                </a:ext>
              </a:extLst>
            </p:cNvPr>
            <p:cNvSpPr/>
            <p:nvPr/>
          </p:nvSpPr>
          <p:spPr>
            <a:xfrm rot="8716295">
              <a:off x="2330248" y="495791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" name="Forme libre : forme 264">
              <a:extLst>
                <a:ext uri="{FF2B5EF4-FFF2-40B4-BE49-F238E27FC236}">
                  <a16:creationId xmlns:a16="http://schemas.microsoft.com/office/drawing/2014/main" id="{0B99B4B3-E447-449D-B6F2-40AFC1232903}"/>
                </a:ext>
              </a:extLst>
            </p:cNvPr>
            <p:cNvSpPr/>
            <p:nvPr/>
          </p:nvSpPr>
          <p:spPr>
            <a:xfrm rot="8716295">
              <a:off x="2507700" y="479867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" name="Forme libre : forme 265">
              <a:extLst>
                <a:ext uri="{FF2B5EF4-FFF2-40B4-BE49-F238E27FC236}">
                  <a16:creationId xmlns:a16="http://schemas.microsoft.com/office/drawing/2014/main" id="{9FDE555B-22C7-4972-A03C-9A881E9F494C}"/>
                </a:ext>
              </a:extLst>
            </p:cNvPr>
            <p:cNvSpPr/>
            <p:nvPr/>
          </p:nvSpPr>
          <p:spPr>
            <a:xfrm rot="8716295">
              <a:off x="1518235" y="386507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" name="Forme libre : forme 266">
              <a:extLst>
                <a:ext uri="{FF2B5EF4-FFF2-40B4-BE49-F238E27FC236}">
                  <a16:creationId xmlns:a16="http://schemas.microsoft.com/office/drawing/2014/main" id="{47023A4A-E9A4-4E7C-9A1F-7F050E215658}"/>
                </a:ext>
              </a:extLst>
            </p:cNvPr>
            <p:cNvSpPr/>
            <p:nvPr/>
          </p:nvSpPr>
          <p:spPr>
            <a:xfrm rot="8716295">
              <a:off x="1607627" y="389431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" name="Forme libre : forme 267">
              <a:extLst>
                <a:ext uri="{FF2B5EF4-FFF2-40B4-BE49-F238E27FC236}">
                  <a16:creationId xmlns:a16="http://schemas.microsoft.com/office/drawing/2014/main" id="{721AE192-0DE9-44CE-AFE7-60EAD2184BA9}"/>
                </a:ext>
              </a:extLst>
            </p:cNvPr>
            <p:cNvSpPr/>
            <p:nvPr/>
          </p:nvSpPr>
          <p:spPr>
            <a:xfrm rot="8716295">
              <a:off x="1562777" y="380803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" name="Forme libre : forme 268">
              <a:extLst>
                <a:ext uri="{FF2B5EF4-FFF2-40B4-BE49-F238E27FC236}">
                  <a16:creationId xmlns:a16="http://schemas.microsoft.com/office/drawing/2014/main" id="{C1003FCB-894D-4CB7-9C82-85789FE9B276}"/>
                </a:ext>
              </a:extLst>
            </p:cNvPr>
            <p:cNvSpPr/>
            <p:nvPr/>
          </p:nvSpPr>
          <p:spPr>
            <a:xfrm rot="8716295">
              <a:off x="1406001" y="395361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0" name="Forme libre : forme 269">
              <a:extLst>
                <a:ext uri="{FF2B5EF4-FFF2-40B4-BE49-F238E27FC236}">
                  <a16:creationId xmlns:a16="http://schemas.microsoft.com/office/drawing/2014/main" id="{7F48A554-D952-4BC7-8F60-7FBDCE05FE70}"/>
                </a:ext>
              </a:extLst>
            </p:cNvPr>
            <p:cNvSpPr/>
            <p:nvPr/>
          </p:nvSpPr>
          <p:spPr>
            <a:xfrm rot="8716295">
              <a:off x="1281098" y="374494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1" name="Forme libre : forme 270">
              <a:extLst>
                <a:ext uri="{FF2B5EF4-FFF2-40B4-BE49-F238E27FC236}">
                  <a16:creationId xmlns:a16="http://schemas.microsoft.com/office/drawing/2014/main" id="{B64659B2-F8CD-4B3D-8353-ED1AAF15923F}"/>
                </a:ext>
              </a:extLst>
            </p:cNvPr>
            <p:cNvSpPr/>
            <p:nvPr/>
          </p:nvSpPr>
          <p:spPr>
            <a:xfrm rot="8716295">
              <a:off x="1269046" y="3606161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2" name="Forme libre : forme 271">
              <a:extLst>
                <a:ext uri="{FF2B5EF4-FFF2-40B4-BE49-F238E27FC236}">
                  <a16:creationId xmlns:a16="http://schemas.microsoft.com/office/drawing/2014/main" id="{C1336409-0E83-4F9F-AE44-B0095CEBE127}"/>
                </a:ext>
              </a:extLst>
            </p:cNvPr>
            <p:cNvSpPr/>
            <p:nvPr/>
          </p:nvSpPr>
          <p:spPr>
            <a:xfrm rot="8716295">
              <a:off x="1496179" y="399456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3" name="Forme libre : forme 272">
              <a:extLst>
                <a:ext uri="{FF2B5EF4-FFF2-40B4-BE49-F238E27FC236}">
                  <a16:creationId xmlns:a16="http://schemas.microsoft.com/office/drawing/2014/main" id="{11163225-7511-4602-A804-B9D156B88F47}"/>
                </a:ext>
              </a:extLst>
            </p:cNvPr>
            <p:cNvSpPr/>
            <p:nvPr/>
          </p:nvSpPr>
          <p:spPr>
            <a:xfrm rot="8716295">
              <a:off x="1807334" y="36149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4" name="Forme libre : forme 273">
              <a:extLst>
                <a:ext uri="{FF2B5EF4-FFF2-40B4-BE49-F238E27FC236}">
                  <a16:creationId xmlns:a16="http://schemas.microsoft.com/office/drawing/2014/main" id="{81961769-D6FF-4365-87D3-0FF20F673A4A}"/>
                </a:ext>
              </a:extLst>
            </p:cNvPr>
            <p:cNvSpPr/>
            <p:nvPr/>
          </p:nvSpPr>
          <p:spPr>
            <a:xfrm rot="8716295">
              <a:off x="1896726" y="36441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5" name="Forme libre : forme 274">
              <a:extLst>
                <a:ext uri="{FF2B5EF4-FFF2-40B4-BE49-F238E27FC236}">
                  <a16:creationId xmlns:a16="http://schemas.microsoft.com/office/drawing/2014/main" id="{D838E7DA-A3D8-4733-90D9-56C4006640C1}"/>
                </a:ext>
              </a:extLst>
            </p:cNvPr>
            <p:cNvSpPr/>
            <p:nvPr/>
          </p:nvSpPr>
          <p:spPr>
            <a:xfrm rot="8716295">
              <a:off x="1695100" y="370346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6" name="Forme libre : forme 275">
              <a:extLst>
                <a:ext uri="{FF2B5EF4-FFF2-40B4-BE49-F238E27FC236}">
                  <a16:creationId xmlns:a16="http://schemas.microsoft.com/office/drawing/2014/main" id="{BE48505C-4A3C-41E8-805D-3F3964663DC3}"/>
                </a:ext>
              </a:extLst>
            </p:cNvPr>
            <p:cNvSpPr/>
            <p:nvPr/>
          </p:nvSpPr>
          <p:spPr>
            <a:xfrm rot="8716295">
              <a:off x="1570198" y="349478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7" name="Forme libre : forme 276">
              <a:extLst>
                <a:ext uri="{FF2B5EF4-FFF2-40B4-BE49-F238E27FC236}">
                  <a16:creationId xmlns:a16="http://schemas.microsoft.com/office/drawing/2014/main" id="{74C1AFD3-7B5D-49B6-B346-37FFDE5D01C0}"/>
                </a:ext>
              </a:extLst>
            </p:cNvPr>
            <p:cNvSpPr/>
            <p:nvPr/>
          </p:nvSpPr>
          <p:spPr>
            <a:xfrm rot="8716295">
              <a:off x="1785278" y="37444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8" name="Forme libre : forme 277">
              <a:extLst>
                <a:ext uri="{FF2B5EF4-FFF2-40B4-BE49-F238E27FC236}">
                  <a16:creationId xmlns:a16="http://schemas.microsoft.com/office/drawing/2014/main" id="{B918BF38-28D0-4E79-852B-01ED43D79B29}"/>
                </a:ext>
              </a:extLst>
            </p:cNvPr>
            <p:cNvSpPr/>
            <p:nvPr/>
          </p:nvSpPr>
          <p:spPr>
            <a:xfrm rot="8716295">
              <a:off x="1543827" y="359481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9" name="Forme libre : forme 278">
              <a:extLst>
                <a:ext uri="{FF2B5EF4-FFF2-40B4-BE49-F238E27FC236}">
                  <a16:creationId xmlns:a16="http://schemas.microsoft.com/office/drawing/2014/main" id="{9821C7DC-A0EE-43BB-82AD-2D73FD4DEC58}"/>
                </a:ext>
              </a:extLst>
            </p:cNvPr>
            <p:cNvSpPr/>
            <p:nvPr/>
          </p:nvSpPr>
          <p:spPr>
            <a:xfrm rot="7484129">
              <a:off x="1890209" y="393576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0" name="Forme libre : forme 279">
              <a:extLst>
                <a:ext uri="{FF2B5EF4-FFF2-40B4-BE49-F238E27FC236}">
                  <a16:creationId xmlns:a16="http://schemas.microsoft.com/office/drawing/2014/main" id="{CE9B832D-CDB0-4485-83A6-7D7ED44A3320}"/>
                </a:ext>
              </a:extLst>
            </p:cNvPr>
            <p:cNvSpPr/>
            <p:nvPr/>
          </p:nvSpPr>
          <p:spPr>
            <a:xfrm rot="13089394">
              <a:off x="1995029" y="3902299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1" name="Forme libre : forme 280">
              <a:extLst>
                <a:ext uri="{FF2B5EF4-FFF2-40B4-BE49-F238E27FC236}">
                  <a16:creationId xmlns:a16="http://schemas.microsoft.com/office/drawing/2014/main" id="{B39230A2-1C21-4062-B5E2-4E3B7D0C88CD}"/>
                </a:ext>
              </a:extLst>
            </p:cNvPr>
            <p:cNvSpPr/>
            <p:nvPr/>
          </p:nvSpPr>
          <p:spPr>
            <a:xfrm rot="8716295">
              <a:off x="2180614" y="371061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2" name="Forme libre : forme 281">
              <a:extLst>
                <a:ext uri="{FF2B5EF4-FFF2-40B4-BE49-F238E27FC236}">
                  <a16:creationId xmlns:a16="http://schemas.microsoft.com/office/drawing/2014/main" id="{81DCB6A5-C857-4E79-932B-EE7CD6E9E80D}"/>
                </a:ext>
              </a:extLst>
            </p:cNvPr>
            <p:cNvSpPr/>
            <p:nvPr/>
          </p:nvSpPr>
          <p:spPr>
            <a:xfrm rot="8716295">
              <a:off x="2128809" y="360702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3" name="Forme libre : forme 282">
              <a:extLst>
                <a:ext uri="{FF2B5EF4-FFF2-40B4-BE49-F238E27FC236}">
                  <a16:creationId xmlns:a16="http://schemas.microsoft.com/office/drawing/2014/main" id="{DE2E55F0-E1D2-42EF-81BE-5B9CF56A8B16}"/>
                </a:ext>
              </a:extLst>
            </p:cNvPr>
            <p:cNvSpPr/>
            <p:nvPr/>
          </p:nvSpPr>
          <p:spPr>
            <a:xfrm rot="8716295">
              <a:off x="1885563" y="36372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4" name="Forme libre : forme 283">
              <a:extLst>
                <a:ext uri="{FF2B5EF4-FFF2-40B4-BE49-F238E27FC236}">
                  <a16:creationId xmlns:a16="http://schemas.microsoft.com/office/drawing/2014/main" id="{14AD1449-9E25-4F42-B0CB-B7AB7DA137A1}"/>
                </a:ext>
              </a:extLst>
            </p:cNvPr>
            <p:cNvSpPr/>
            <p:nvPr/>
          </p:nvSpPr>
          <p:spPr>
            <a:xfrm rot="8716295">
              <a:off x="2063015" y="34780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5" name="Forme libre : forme 284">
              <a:extLst>
                <a:ext uri="{FF2B5EF4-FFF2-40B4-BE49-F238E27FC236}">
                  <a16:creationId xmlns:a16="http://schemas.microsoft.com/office/drawing/2014/main" id="{9459C257-BD83-4EA3-A67A-64F2E29D2444}"/>
                </a:ext>
              </a:extLst>
            </p:cNvPr>
            <p:cNvSpPr/>
            <p:nvPr/>
          </p:nvSpPr>
          <p:spPr>
            <a:xfrm rot="8716295">
              <a:off x="1741402" y="452476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6" name="Forme libre : forme 285">
              <a:extLst>
                <a:ext uri="{FF2B5EF4-FFF2-40B4-BE49-F238E27FC236}">
                  <a16:creationId xmlns:a16="http://schemas.microsoft.com/office/drawing/2014/main" id="{776DF04A-9E10-40B0-8F87-C3176DFB0655}"/>
                </a:ext>
              </a:extLst>
            </p:cNvPr>
            <p:cNvSpPr/>
            <p:nvPr/>
          </p:nvSpPr>
          <p:spPr>
            <a:xfrm rot="8716295">
              <a:off x="1830794" y="455401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7" name="Forme libre : forme 286">
              <a:extLst>
                <a:ext uri="{FF2B5EF4-FFF2-40B4-BE49-F238E27FC236}">
                  <a16:creationId xmlns:a16="http://schemas.microsoft.com/office/drawing/2014/main" id="{1BCF78D3-72E0-4C34-AE46-85492A03A633}"/>
                </a:ext>
              </a:extLst>
            </p:cNvPr>
            <p:cNvSpPr/>
            <p:nvPr/>
          </p:nvSpPr>
          <p:spPr>
            <a:xfrm rot="8716295">
              <a:off x="1785944" y="4467731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8" name="Forme libre : forme 287">
              <a:extLst>
                <a:ext uri="{FF2B5EF4-FFF2-40B4-BE49-F238E27FC236}">
                  <a16:creationId xmlns:a16="http://schemas.microsoft.com/office/drawing/2014/main" id="{40DD2911-8E83-41A0-92FE-163A6FA95009}"/>
                </a:ext>
              </a:extLst>
            </p:cNvPr>
            <p:cNvSpPr/>
            <p:nvPr/>
          </p:nvSpPr>
          <p:spPr>
            <a:xfrm rot="8716295">
              <a:off x="1629168" y="461331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9" name="Forme libre : forme 288">
              <a:extLst>
                <a:ext uri="{FF2B5EF4-FFF2-40B4-BE49-F238E27FC236}">
                  <a16:creationId xmlns:a16="http://schemas.microsoft.com/office/drawing/2014/main" id="{E686274E-624B-4FD1-9536-D2B4D790F806}"/>
                </a:ext>
              </a:extLst>
            </p:cNvPr>
            <p:cNvSpPr/>
            <p:nvPr/>
          </p:nvSpPr>
          <p:spPr>
            <a:xfrm rot="8716295">
              <a:off x="1504265" y="440464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0" name="Forme libre : forme 289">
              <a:extLst>
                <a:ext uri="{FF2B5EF4-FFF2-40B4-BE49-F238E27FC236}">
                  <a16:creationId xmlns:a16="http://schemas.microsoft.com/office/drawing/2014/main" id="{DA92638D-CC75-4944-B78B-61E3B22A12E3}"/>
                </a:ext>
              </a:extLst>
            </p:cNvPr>
            <p:cNvSpPr/>
            <p:nvPr/>
          </p:nvSpPr>
          <p:spPr>
            <a:xfrm rot="8716295">
              <a:off x="1492213" y="4265860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1" name="Forme libre : forme 290">
              <a:extLst>
                <a:ext uri="{FF2B5EF4-FFF2-40B4-BE49-F238E27FC236}">
                  <a16:creationId xmlns:a16="http://schemas.microsoft.com/office/drawing/2014/main" id="{17950727-3BF3-4A34-9F11-5322F5CFB8F3}"/>
                </a:ext>
              </a:extLst>
            </p:cNvPr>
            <p:cNvSpPr/>
            <p:nvPr/>
          </p:nvSpPr>
          <p:spPr>
            <a:xfrm rot="8716295">
              <a:off x="1719346" y="465426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2" name="Forme libre : forme 291">
              <a:extLst>
                <a:ext uri="{FF2B5EF4-FFF2-40B4-BE49-F238E27FC236}">
                  <a16:creationId xmlns:a16="http://schemas.microsoft.com/office/drawing/2014/main" id="{9010FFF3-701E-491D-97A1-527670851B3C}"/>
                </a:ext>
              </a:extLst>
            </p:cNvPr>
            <p:cNvSpPr/>
            <p:nvPr/>
          </p:nvSpPr>
          <p:spPr>
            <a:xfrm rot="8716295">
              <a:off x="2030501" y="427461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3" name="Forme libre : forme 292">
              <a:extLst>
                <a:ext uri="{FF2B5EF4-FFF2-40B4-BE49-F238E27FC236}">
                  <a16:creationId xmlns:a16="http://schemas.microsoft.com/office/drawing/2014/main" id="{8E50FB82-1555-41A1-B55B-D3699A1B10A3}"/>
                </a:ext>
              </a:extLst>
            </p:cNvPr>
            <p:cNvSpPr/>
            <p:nvPr/>
          </p:nvSpPr>
          <p:spPr>
            <a:xfrm rot="8716295">
              <a:off x="2119893" y="430385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4" name="Forme libre : forme 293">
              <a:extLst>
                <a:ext uri="{FF2B5EF4-FFF2-40B4-BE49-F238E27FC236}">
                  <a16:creationId xmlns:a16="http://schemas.microsoft.com/office/drawing/2014/main" id="{ECB71CB3-C9D6-4612-8036-4BC5560F17FE}"/>
                </a:ext>
              </a:extLst>
            </p:cNvPr>
            <p:cNvSpPr/>
            <p:nvPr/>
          </p:nvSpPr>
          <p:spPr>
            <a:xfrm rot="8716295">
              <a:off x="1918267" y="436316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5" name="Forme libre : forme 294">
              <a:extLst>
                <a:ext uri="{FF2B5EF4-FFF2-40B4-BE49-F238E27FC236}">
                  <a16:creationId xmlns:a16="http://schemas.microsoft.com/office/drawing/2014/main" id="{23C3947C-E5CD-4C04-A462-D000016701AE}"/>
                </a:ext>
              </a:extLst>
            </p:cNvPr>
            <p:cNvSpPr/>
            <p:nvPr/>
          </p:nvSpPr>
          <p:spPr>
            <a:xfrm rot="8716295">
              <a:off x="1793365" y="415448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6" name="Forme libre : forme 295">
              <a:extLst>
                <a:ext uri="{FF2B5EF4-FFF2-40B4-BE49-F238E27FC236}">
                  <a16:creationId xmlns:a16="http://schemas.microsoft.com/office/drawing/2014/main" id="{36960960-0C32-4C59-8462-A2186C943B16}"/>
                </a:ext>
              </a:extLst>
            </p:cNvPr>
            <p:cNvSpPr/>
            <p:nvPr/>
          </p:nvSpPr>
          <p:spPr>
            <a:xfrm rot="8716295">
              <a:off x="2008445" y="4404113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7" name="Forme libre : forme 296">
              <a:extLst>
                <a:ext uri="{FF2B5EF4-FFF2-40B4-BE49-F238E27FC236}">
                  <a16:creationId xmlns:a16="http://schemas.microsoft.com/office/drawing/2014/main" id="{A017DED6-0DF0-4954-AA17-FAF145052546}"/>
                </a:ext>
              </a:extLst>
            </p:cNvPr>
            <p:cNvSpPr/>
            <p:nvPr/>
          </p:nvSpPr>
          <p:spPr>
            <a:xfrm rot="8716295">
              <a:off x="1766994" y="4254513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8" name="Forme libre : forme 297">
              <a:extLst>
                <a:ext uri="{FF2B5EF4-FFF2-40B4-BE49-F238E27FC236}">
                  <a16:creationId xmlns:a16="http://schemas.microsoft.com/office/drawing/2014/main" id="{5CC2F812-5E9A-4217-955F-4164466B5C25}"/>
                </a:ext>
              </a:extLst>
            </p:cNvPr>
            <p:cNvSpPr/>
            <p:nvPr/>
          </p:nvSpPr>
          <p:spPr>
            <a:xfrm rot="7484129">
              <a:off x="2113376" y="459546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9" name="Forme libre : forme 298">
              <a:extLst>
                <a:ext uri="{FF2B5EF4-FFF2-40B4-BE49-F238E27FC236}">
                  <a16:creationId xmlns:a16="http://schemas.microsoft.com/office/drawing/2014/main" id="{C4DB3C3C-7923-468B-A1D6-C35736B5F055}"/>
                </a:ext>
              </a:extLst>
            </p:cNvPr>
            <p:cNvSpPr/>
            <p:nvPr/>
          </p:nvSpPr>
          <p:spPr>
            <a:xfrm rot="13089394">
              <a:off x="2218196" y="4561998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0" name="Forme libre : forme 299">
              <a:extLst>
                <a:ext uri="{FF2B5EF4-FFF2-40B4-BE49-F238E27FC236}">
                  <a16:creationId xmlns:a16="http://schemas.microsoft.com/office/drawing/2014/main" id="{4DB3A68B-6594-48A3-9ED1-B19E13D1C859}"/>
                </a:ext>
              </a:extLst>
            </p:cNvPr>
            <p:cNvSpPr/>
            <p:nvPr/>
          </p:nvSpPr>
          <p:spPr>
            <a:xfrm rot="8716295">
              <a:off x="2403781" y="4370317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1" name="Forme libre : forme 300">
              <a:extLst>
                <a:ext uri="{FF2B5EF4-FFF2-40B4-BE49-F238E27FC236}">
                  <a16:creationId xmlns:a16="http://schemas.microsoft.com/office/drawing/2014/main" id="{257847A5-8115-45F6-B365-C04D26B7A465}"/>
                </a:ext>
              </a:extLst>
            </p:cNvPr>
            <p:cNvSpPr/>
            <p:nvPr/>
          </p:nvSpPr>
          <p:spPr>
            <a:xfrm rot="8716295">
              <a:off x="2351976" y="426672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2" name="Forme libre : forme 301">
              <a:extLst>
                <a:ext uri="{FF2B5EF4-FFF2-40B4-BE49-F238E27FC236}">
                  <a16:creationId xmlns:a16="http://schemas.microsoft.com/office/drawing/2014/main" id="{8F6B8004-8361-41BA-B532-27BD701A55E8}"/>
                </a:ext>
              </a:extLst>
            </p:cNvPr>
            <p:cNvSpPr/>
            <p:nvPr/>
          </p:nvSpPr>
          <p:spPr>
            <a:xfrm rot="8716295">
              <a:off x="2108730" y="429694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3" name="Forme libre : forme 302">
              <a:extLst>
                <a:ext uri="{FF2B5EF4-FFF2-40B4-BE49-F238E27FC236}">
                  <a16:creationId xmlns:a16="http://schemas.microsoft.com/office/drawing/2014/main" id="{A2707731-9E6E-4897-BF1C-AD23EDDF33B9}"/>
                </a:ext>
              </a:extLst>
            </p:cNvPr>
            <p:cNvSpPr/>
            <p:nvPr/>
          </p:nvSpPr>
          <p:spPr>
            <a:xfrm rot="8716295">
              <a:off x="2286182" y="413770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4" name="Forme libre : forme 303">
              <a:extLst>
                <a:ext uri="{FF2B5EF4-FFF2-40B4-BE49-F238E27FC236}">
                  <a16:creationId xmlns:a16="http://schemas.microsoft.com/office/drawing/2014/main" id="{71585C5B-7ACF-4291-A3CC-77CF6C2FAF80}"/>
                </a:ext>
              </a:extLst>
            </p:cNvPr>
            <p:cNvSpPr/>
            <p:nvPr/>
          </p:nvSpPr>
          <p:spPr>
            <a:xfrm rot="8716295">
              <a:off x="854880" y="188600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5" name="Forme libre : forme 304">
              <a:extLst>
                <a:ext uri="{FF2B5EF4-FFF2-40B4-BE49-F238E27FC236}">
                  <a16:creationId xmlns:a16="http://schemas.microsoft.com/office/drawing/2014/main" id="{825A50BE-E198-461A-AE4C-E99B0DB548B8}"/>
                </a:ext>
              </a:extLst>
            </p:cNvPr>
            <p:cNvSpPr/>
            <p:nvPr/>
          </p:nvSpPr>
          <p:spPr>
            <a:xfrm rot="8716295">
              <a:off x="944272" y="191524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6" name="Forme libre : forme 305">
              <a:extLst>
                <a:ext uri="{FF2B5EF4-FFF2-40B4-BE49-F238E27FC236}">
                  <a16:creationId xmlns:a16="http://schemas.microsoft.com/office/drawing/2014/main" id="{A7FBDA8A-DF94-413D-B047-17E3CE1805C0}"/>
                </a:ext>
              </a:extLst>
            </p:cNvPr>
            <p:cNvSpPr/>
            <p:nvPr/>
          </p:nvSpPr>
          <p:spPr>
            <a:xfrm rot="8716295">
              <a:off x="899422" y="182896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7" name="Forme libre : forme 306">
              <a:extLst>
                <a:ext uri="{FF2B5EF4-FFF2-40B4-BE49-F238E27FC236}">
                  <a16:creationId xmlns:a16="http://schemas.microsoft.com/office/drawing/2014/main" id="{8DB66338-D210-4BFA-9092-FF348569CC52}"/>
                </a:ext>
              </a:extLst>
            </p:cNvPr>
            <p:cNvSpPr/>
            <p:nvPr/>
          </p:nvSpPr>
          <p:spPr>
            <a:xfrm rot="8716295">
              <a:off x="742646" y="197454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8" name="Forme libre : forme 307">
              <a:extLst>
                <a:ext uri="{FF2B5EF4-FFF2-40B4-BE49-F238E27FC236}">
                  <a16:creationId xmlns:a16="http://schemas.microsoft.com/office/drawing/2014/main" id="{74B60F54-C3F2-4334-BC7E-D49FA3ACE1ED}"/>
                </a:ext>
              </a:extLst>
            </p:cNvPr>
            <p:cNvSpPr/>
            <p:nvPr/>
          </p:nvSpPr>
          <p:spPr>
            <a:xfrm rot="8716295">
              <a:off x="617743" y="176587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9" name="Forme libre : forme 308">
              <a:extLst>
                <a:ext uri="{FF2B5EF4-FFF2-40B4-BE49-F238E27FC236}">
                  <a16:creationId xmlns:a16="http://schemas.microsoft.com/office/drawing/2014/main" id="{CA3E19C2-F96C-48A0-9D2C-698B32CA8895}"/>
                </a:ext>
              </a:extLst>
            </p:cNvPr>
            <p:cNvSpPr/>
            <p:nvPr/>
          </p:nvSpPr>
          <p:spPr>
            <a:xfrm rot="8716295">
              <a:off x="605691" y="162709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0" name="Forme libre : forme 309">
              <a:extLst>
                <a:ext uri="{FF2B5EF4-FFF2-40B4-BE49-F238E27FC236}">
                  <a16:creationId xmlns:a16="http://schemas.microsoft.com/office/drawing/2014/main" id="{9A0D5CB1-8D83-4AFE-B1BE-9F0F522C0D2B}"/>
                </a:ext>
              </a:extLst>
            </p:cNvPr>
            <p:cNvSpPr/>
            <p:nvPr/>
          </p:nvSpPr>
          <p:spPr>
            <a:xfrm rot="8716295">
              <a:off x="832824" y="201549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1" name="Forme libre : forme 310">
              <a:extLst>
                <a:ext uri="{FF2B5EF4-FFF2-40B4-BE49-F238E27FC236}">
                  <a16:creationId xmlns:a16="http://schemas.microsoft.com/office/drawing/2014/main" id="{7A50FCE7-03C8-4853-B73F-CE26795DB2CC}"/>
                </a:ext>
              </a:extLst>
            </p:cNvPr>
            <p:cNvSpPr/>
            <p:nvPr/>
          </p:nvSpPr>
          <p:spPr>
            <a:xfrm rot="8716295">
              <a:off x="1143979" y="163584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2" name="Forme libre : forme 311">
              <a:extLst>
                <a:ext uri="{FF2B5EF4-FFF2-40B4-BE49-F238E27FC236}">
                  <a16:creationId xmlns:a16="http://schemas.microsoft.com/office/drawing/2014/main" id="{457A7093-695D-4C41-85A0-782C2CD8BC44}"/>
                </a:ext>
              </a:extLst>
            </p:cNvPr>
            <p:cNvSpPr/>
            <p:nvPr/>
          </p:nvSpPr>
          <p:spPr>
            <a:xfrm rot="8716295">
              <a:off x="1233371" y="166509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3" name="Forme libre : forme 312">
              <a:extLst>
                <a:ext uri="{FF2B5EF4-FFF2-40B4-BE49-F238E27FC236}">
                  <a16:creationId xmlns:a16="http://schemas.microsoft.com/office/drawing/2014/main" id="{704E3047-55DF-4CDA-9182-C95BBA17BD9B}"/>
                </a:ext>
              </a:extLst>
            </p:cNvPr>
            <p:cNvSpPr/>
            <p:nvPr/>
          </p:nvSpPr>
          <p:spPr>
            <a:xfrm rot="8716295">
              <a:off x="1031745" y="172439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4" name="Forme libre : forme 313">
              <a:extLst>
                <a:ext uri="{FF2B5EF4-FFF2-40B4-BE49-F238E27FC236}">
                  <a16:creationId xmlns:a16="http://schemas.microsoft.com/office/drawing/2014/main" id="{75BDC6A2-BB14-4847-BB83-0C2ABA630806}"/>
                </a:ext>
              </a:extLst>
            </p:cNvPr>
            <p:cNvSpPr/>
            <p:nvPr/>
          </p:nvSpPr>
          <p:spPr>
            <a:xfrm rot="8716295">
              <a:off x="906843" y="151572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5" name="Forme libre : forme 314">
              <a:extLst>
                <a:ext uri="{FF2B5EF4-FFF2-40B4-BE49-F238E27FC236}">
                  <a16:creationId xmlns:a16="http://schemas.microsoft.com/office/drawing/2014/main" id="{7B4C3322-60E4-483D-8950-104BAFBDD71B}"/>
                </a:ext>
              </a:extLst>
            </p:cNvPr>
            <p:cNvSpPr/>
            <p:nvPr/>
          </p:nvSpPr>
          <p:spPr>
            <a:xfrm rot="8716295">
              <a:off x="1121923" y="176534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6" name="Forme libre : forme 315">
              <a:extLst>
                <a:ext uri="{FF2B5EF4-FFF2-40B4-BE49-F238E27FC236}">
                  <a16:creationId xmlns:a16="http://schemas.microsoft.com/office/drawing/2014/main" id="{2CCC10C4-A47F-46B3-9A5E-2B69B8F95724}"/>
                </a:ext>
              </a:extLst>
            </p:cNvPr>
            <p:cNvSpPr/>
            <p:nvPr/>
          </p:nvSpPr>
          <p:spPr>
            <a:xfrm rot="8716295">
              <a:off x="880472" y="161574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7" name="Forme libre : forme 316">
              <a:extLst>
                <a:ext uri="{FF2B5EF4-FFF2-40B4-BE49-F238E27FC236}">
                  <a16:creationId xmlns:a16="http://schemas.microsoft.com/office/drawing/2014/main" id="{C3F47D9C-5F75-4589-82C5-2EB76DD8C333}"/>
                </a:ext>
              </a:extLst>
            </p:cNvPr>
            <p:cNvSpPr/>
            <p:nvPr/>
          </p:nvSpPr>
          <p:spPr>
            <a:xfrm rot="7484129">
              <a:off x="1226854" y="195669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8" name="Forme libre : forme 317">
              <a:extLst>
                <a:ext uri="{FF2B5EF4-FFF2-40B4-BE49-F238E27FC236}">
                  <a16:creationId xmlns:a16="http://schemas.microsoft.com/office/drawing/2014/main" id="{06EDA617-7C34-4BCB-8273-6505201538B5}"/>
                </a:ext>
              </a:extLst>
            </p:cNvPr>
            <p:cNvSpPr/>
            <p:nvPr/>
          </p:nvSpPr>
          <p:spPr>
            <a:xfrm rot="13089394">
              <a:off x="1331674" y="192323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9" name="Forme libre : forme 318">
              <a:extLst>
                <a:ext uri="{FF2B5EF4-FFF2-40B4-BE49-F238E27FC236}">
                  <a16:creationId xmlns:a16="http://schemas.microsoft.com/office/drawing/2014/main" id="{8C00C036-C8B0-4F77-B0BC-B732FD327F08}"/>
                </a:ext>
              </a:extLst>
            </p:cNvPr>
            <p:cNvSpPr/>
            <p:nvPr/>
          </p:nvSpPr>
          <p:spPr>
            <a:xfrm rot="8716295">
              <a:off x="1517259" y="173154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0" name="Forme libre : forme 319">
              <a:extLst>
                <a:ext uri="{FF2B5EF4-FFF2-40B4-BE49-F238E27FC236}">
                  <a16:creationId xmlns:a16="http://schemas.microsoft.com/office/drawing/2014/main" id="{079E7D4D-7CBC-4E80-9ADD-66D10F53D00A}"/>
                </a:ext>
              </a:extLst>
            </p:cNvPr>
            <p:cNvSpPr/>
            <p:nvPr/>
          </p:nvSpPr>
          <p:spPr>
            <a:xfrm rot="8716295">
              <a:off x="1465454" y="162795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1" name="Forme libre : forme 320">
              <a:extLst>
                <a:ext uri="{FF2B5EF4-FFF2-40B4-BE49-F238E27FC236}">
                  <a16:creationId xmlns:a16="http://schemas.microsoft.com/office/drawing/2014/main" id="{F6CBC04A-ACBC-43B1-86C9-792F0278AE9C}"/>
                </a:ext>
              </a:extLst>
            </p:cNvPr>
            <p:cNvSpPr/>
            <p:nvPr/>
          </p:nvSpPr>
          <p:spPr>
            <a:xfrm rot="8716295">
              <a:off x="1222208" y="165817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2" name="Forme libre : forme 321">
              <a:extLst>
                <a:ext uri="{FF2B5EF4-FFF2-40B4-BE49-F238E27FC236}">
                  <a16:creationId xmlns:a16="http://schemas.microsoft.com/office/drawing/2014/main" id="{877F1B10-A111-4EDF-9C97-C64DD5E5FC2D}"/>
                </a:ext>
              </a:extLst>
            </p:cNvPr>
            <p:cNvSpPr/>
            <p:nvPr/>
          </p:nvSpPr>
          <p:spPr>
            <a:xfrm rot="8716295">
              <a:off x="1399660" y="149893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3" name="Forme libre : forme 322">
              <a:extLst>
                <a:ext uri="{FF2B5EF4-FFF2-40B4-BE49-F238E27FC236}">
                  <a16:creationId xmlns:a16="http://schemas.microsoft.com/office/drawing/2014/main" id="{247A35DD-1AE0-4F8F-91F1-39A539F5145A}"/>
                </a:ext>
              </a:extLst>
            </p:cNvPr>
            <p:cNvSpPr/>
            <p:nvPr/>
          </p:nvSpPr>
          <p:spPr>
            <a:xfrm rot="8716295">
              <a:off x="631713" y="12263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4" name="Forme libre : forme 323">
              <a:extLst>
                <a:ext uri="{FF2B5EF4-FFF2-40B4-BE49-F238E27FC236}">
                  <a16:creationId xmlns:a16="http://schemas.microsoft.com/office/drawing/2014/main" id="{B2057DA7-CDDF-43BB-8EAC-22466BE1F259}"/>
                </a:ext>
              </a:extLst>
            </p:cNvPr>
            <p:cNvSpPr/>
            <p:nvPr/>
          </p:nvSpPr>
          <p:spPr>
            <a:xfrm rot="8716295">
              <a:off x="721105" y="12555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5" name="Forme libre : forme 324">
              <a:extLst>
                <a:ext uri="{FF2B5EF4-FFF2-40B4-BE49-F238E27FC236}">
                  <a16:creationId xmlns:a16="http://schemas.microsoft.com/office/drawing/2014/main" id="{E77CA785-1459-4C27-B776-D857A8D4B013}"/>
                </a:ext>
              </a:extLst>
            </p:cNvPr>
            <p:cNvSpPr/>
            <p:nvPr/>
          </p:nvSpPr>
          <p:spPr>
            <a:xfrm rot="8716295">
              <a:off x="676255" y="116926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6" name="Forme libre : forme 325">
              <a:extLst>
                <a:ext uri="{FF2B5EF4-FFF2-40B4-BE49-F238E27FC236}">
                  <a16:creationId xmlns:a16="http://schemas.microsoft.com/office/drawing/2014/main" id="{D9BFC3E7-D875-4777-80CD-7BECEB16ED0F}"/>
                </a:ext>
              </a:extLst>
            </p:cNvPr>
            <p:cNvSpPr/>
            <p:nvPr/>
          </p:nvSpPr>
          <p:spPr>
            <a:xfrm rot="8716295">
              <a:off x="519479" y="13148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7" name="Forme libre : forme 326">
              <a:extLst>
                <a:ext uri="{FF2B5EF4-FFF2-40B4-BE49-F238E27FC236}">
                  <a16:creationId xmlns:a16="http://schemas.microsoft.com/office/drawing/2014/main" id="{E87C9BB6-CA72-4C32-8CA3-A029EC77D88B}"/>
                </a:ext>
              </a:extLst>
            </p:cNvPr>
            <p:cNvSpPr/>
            <p:nvPr/>
          </p:nvSpPr>
          <p:spPr>
            <a:xfrm rot="8716295">
              <a:off x="394576" y="11061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8" name="Forme libre : forme 327">
              <a:extLst>
                <a:ext uri="{FF2B5EF4-FFF2-40B4-BE49-F238E27FC236}">
                  <a16:creationId xmlns:a16="http://schemas.microsoft.com/office/drawing/2014/main" id="{40F6441D-9B69-4079-B1A2-720CB6BA2101}"/>
                </a:ext>
              </a:extLst>
            </p:cNvPr>
            <p:cNvSpPr/>
            <p:nvPr/>
          </p:nvSpPr>
          <p:spPr>
            <a:xfrm rot="8716295">
              <a:off x="382524" y="96739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9" name="Forme libre : forme 328">
              <a:extLst>
                <a:ext uri="{FF2B5EF4-FFF2-40B4-BE49-F238E27FC236}">
                  <a16:creationId xmlns:a16="http://schemas.microsoft.com/office/drawing/2014/main" id="{B832EB8F-3703-48E0-A315-AEFC6F1CBB35}"/>
                </a:ext>
              </a:extLst>
            </p:cNvPr>
            <p:cNvSpPr/>
            <p:nvPr/>
          </p:nvSpPr>
          <p:spPr>
            <a:xfrm rot="8716295">
              <a:off x="609657" y="135579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0" name="Forme libre : forme 329">
              <a:extLst>
                <a:ext uri="{FF2B5EF4-FFF2-40B4-BE49-F238E27FC236}">
                  <a16:creationId xmlns:a16="http://schemas.microsoft.com/office/drawing/2014/main" id="{763E69C5-E960-4417-A0EA-1ECCFB8C6C35}"/>
                </a:ext>
              </a:extLst>
            </p:cNvPr>
            <p:cNvSpPr/>
            <p:nvPr/>
          </p:nvSpPr>
          <p:spPr>
            <a:xfrm rot="8716295">
              <a:off x="920812" y="97615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1" name="Forme libre : forme 330">
              <a:extLst>
                <a:ext uri="{FF2B5EF4-FFF2-40B4-BE49-F238E27FC236}">
                  <a16:creationId xmlns:a16="http://schemas.microsoft.com/office/drawing/2014/main" id="{651DF2CF-FEA7-4A17-8C45-74CA1E1691C9}"/>
                </a:ext>
              </a:extLst>
            </p:cNvPr>
            <p:cNvSpPr/>
            <p:nvPr/>
          </p:nvSpPr>
          <p:spPr>
            <a:xfrm rot="8716295">
              <a:off x="1010204" y="100539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2" name="Forme libre : forme 331">
              <a:extLst>
                <a:ext uri="{FF2B5EF4-FFF2-40B4-BE49-F238E27FC236}">
                  <a16:creationId xmlns:a16="http://schemas.microsoft.com/office/drawing/2014/main" id="{F4BE6752-2F2B-4713-BCC2-F5A751451D2F}"/>
                </a:ext>
              </a:extLst>
            </p:cNvPr>
            <p:cNvSpPr/>
            <p:nvPr/>
          </p:nvSpPr>
          <p:spPr>
            <a:xfrm rot="8716295">
              <a:off x="808578" y="106469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3" name="Forme libre : forme 332">
              <a:extLst>
                <a:ext uri="{FF2B5EF4-FFF2-40B4-BE49-F238E27FC236}">
                  <a16:creationId xmlns:a16="http://schemas.microsoft.com/office/drawing/2014/main" id="{F0181337-48BC-4C6E-BF6A-EF75BA2ADF65}"/>
                </a:ext>
              </a:extLst>
            </p:cNvPr>
            <p:cNvSpPr/>
            <p:nvPr/>
          </p:nvSpPr>
          <p:spPr>
            <a:xfrm rot="8716295">
              <a:off x="683676" y="85602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4" name="Forme libre : forme 333">
              <a:extLst>
                <a:ext uri="{FF2B5EF4-FFF2-40B4-BE49-F238E27FC236}">
                  <a16:creationId xmlns:a16="http://schemas.microsoft.com/office/drawing/2014/main" id="{51A8FF0F-FF59-4E76-A691-2074D9AE597E}"/>
                </a:ext>
              </a:extLst>
            </p:cNvPr>
            <p:cNvSpPr/>
            <p:nvPr/>
          </p:nvSpPr>
          <p:spPr>
            <a:xfrm rot="8716295">
              <a:off x="898756" y="110564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5" name="Forme libre : forme 334">
              <a:extLst>
                <a:ext uri="{FF2B5EF4-FFF2-40B4-BE49-F238E27FC236}">
                  <a16:creationId xmlns:a16="http://schemas.microsoft.com/office/drawing/2014/main" id="{D5F2DBF7-EA5E-412E-BE60-C63CE87201BD}"/>
                </a:ext>
              </a:extLst>
            </p:cNvPr>
            <p:cNvSpPr/>
            <p:nvPr/>
          </p:nvSpPr>
          <p:spPr>
            <a:xfrm rot="8716295">
              <a:off x="657305" y="95604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6" name="Forme libre : forme 335">
              <a:extLst>
                <a:ext uri="{FF2B5EF4-FFF2-40B4-BE49-F238E27FC236}">
                  <a16:creationId xmlns:a16="http://schemas.microsoft.com/office/drawing/2014/main" id="{2B86FAAC-284E-4293-B3BE-662E153BEFE7}"/>
                </a:ext>
              </a:extLst>
            </p:cNvPr>
            <p:cNvSpPr/>
            <p:nvPr/>
          </p:nvSpPr>
          <p:spPr>
            <a:xfrm rot="7484129">
              <a:off x="1003687" y="129699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7" name="Forme libre : forme 336">
              <a:extLst>
                <a:ext uri="{FF2B5EF4-FFF2-40B4-BE49-F238E27FC236}">
                  <a16:creationId xmlns:a16="http://schemas.microsoft.com/office/drawing/2014/main" id="{F8C25AEA-BEFD-464B-AC86-4743BA580AF0}"/>
                </a:ext>
              </a:extLst>
            </p:cNvPr>
            <p:cNvSpPr/>
            <p:nvPr/>
          </p:nvSpPr>
          <p:spPr>
            <a:xfrm rot="13089394">
              <a:off x="1108507" y="1263531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8" name="Forme libre : forme 337">
              <a:extLst>
                <a:ext uri="{FF2B5EF4-FFF2-40B4-BE49-F238E27FC236}">
                  <a16:creationId xmlns:a16="http://schemas.microsoft.com/office/drawing/2014/main" id="{C5FC227C-CE0A-4B9A-BEB5-86A5822E13D2}"/>
                </a:ext>
              </a:extLst>
            </p:cNvPr>
            <p:cNvSpPr/>
            <p:nvPr/>
          </p:nvSpPr>
          <p:spPr>
            <a:xfrm rot="8716295">
              <a:off x="1294092" y="107185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9" name="Forme libre : forme 338">
              <a:extLst>
                <a:ext uri="{FF2B5EF4-FFF2-40B4-BE49-F238E27FC236}">
                  <a16:creationId xmlns:a16="http://schemas.microsoft.com/office/drawing/2014/main" id="{2AD54659-FB71-46D1-A755-0BCF081E050A}"/>
                </a:ext>
              </a:extLst>
            </p:cNvPr>
            <p:cNvSpPr/>
            <p:nvPr/>
          </p:nvSpPr>
          <p:spPr>
            <a:xfrm rot="8716295">
              <a:off x="1242287" y="96825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0" name="Forme libre : forme 339">
              <a:extLst>
                <a:ext uri="{FF2B5EF4-FFF2-40B4-BE49-F238E27FC236}">
                  <a16:creationId xmlns:a16="http://schemas.microsoft.com/office/drawing/2014/main" id="{EA0D1B29-AE82-4655-80DE-F5EADED15310}"/>
                </a:ext>
              </a:extLst>
            </p:cNvPr>
            <p:cNvSpPr/>
            <p:nvPr/>
          </p:nvSpPr>
          <p:spPr>
            <a:xfrm rot="8716295">
              <a:off x="999041" y="99847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1" name="Forme libre : forme 340">
              <a:extLst>
                <a:ext uri="{FF2B5EF4-FFF2-40B4-BE49-F238E27FC236}">
                  <a16:creationId xmlns:a16="http://schemas.microsoft.com/office/drawing/2014/main" id="{FE59AAF9-5326-4148-B75B-C59DBA653A58}"/>
                </a:ext>
              </a:extLst>
            </p:cNvPr>
            <p:cNvSpPr/>
            <p:nvPr/>
          </p:nvSpPr>
          <p:spPr>
            <a:xfrm rot="8716295">
              <a:off x="1176493" y="83923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2" name="Forme libre : forme 341">
              <a:extLst>
                <a:ext uri="{FF2B5EF4-FFF2-40B4-BE49-F238E27FC236}">
                  <a16:creationId xmlns:a16="http://schemas.microsoft.com/office/drawing/2014/main" id="{2B5ED39A-BA82-4FB9-B8D1-BFCBF5FCF8AB}"/>
                </a:ext>
              </a:extLst>
            </p:cNvPr>
            <p:cNvSpPr/>
            <p:nvPr/>
          </p:nvSpPr>
          <p:spPr>
            <a:xfrm rot="8716295">
              <a:off x="412774" y="56424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3" name="Forme libre : forme 342">
              <a:extLst>
                <a:ext uri="{FF2B5EF4-FFF2-40B4-BE49-F238E27FC236}">
                  <a16:creationId xmlns:a16="http://schemas.microsoft.com/office/drawing/2014/main" id="{EF04C128-AC77-4E99-970E-568F219D8A8C}"/>
                </a:ext>
              </a:extLst>
            </p:cNvPr>
            <p:cNvSpPr/>
            <p:nvPr/>
          </p:nvSpPr>
          <p:spPr>
            <a:xfrm rot="8716295">
              <a:off x="502166" y="59348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4" name="Forme libre : forme 343">
              <a:extLst>
                <a:ext uri="{FF2B5EF4-FFF2-40B4-BE49-F238E27FC236}">
                  <a16:creationId xmlns:a16="http://schemas.microsoft.com/office/drawing/2014/main" id="{35DEA77E-6D52-40CB-86CA-54607FDC07E9}"/>
                </a:ext>
              </a:extLst>
            </p:cNvPr>
            <p:cNvSpPr/>
            <p:nvPr/>
          </p:nvSpPr>
          <p:spPr>
            <a:xfrm rot="8716295">
              <a:off x="457316" y="50720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5" name="Forme libre : forme 344">
              <a:extLst>
                <a:ext uri="{FF2B5EF4-FFF2-40B4-BE49-F238E27FC236}">
                  <a16:creationId xmlns:a16="http://schemas.microsoft.com/office/drawing/2014/main" id="{7F83C78F-975E-4433-96C7-AC45753DC5C9}"/>
                </a:ext>
              </a:extLst>
            </p:cNvPr>
            <p:cNvSpPr/>
            <p:nvPr/>
          </p:nvSpPr>
          <p:spPr>
            <a:xfrm rot="8716295">
              <a:off x="300540" y="65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6" name="Forme libre : forme 345">
              <a:extLst>
                <a:ext uri="{FF2B5EF4-FFF2-40B4-BE49-F238E27FC236}">
                  <a16:creationId xmlns:a16="http://schemas.microsoft.com/office/drawing/2014/main" id="{FD3979A2-0F0A-4D64-B2D1-D790A7310394}"/>
                </a:ext>
              </a:extLst>
            </p:cNvPr>
            <p:cNvSpPr/>
            <p:nvPr/>
          </p:nvSpPr>
          <p:spPr>
            <a:xfrm rot="8716295">
              <a:off x="175637" y="44411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7" name="Forme libre : forme 346">
              <a:extLst>
                <a:ext uri="{FF2B5EF4-FFF2-40B4-BE49-F238E27FC236}">
                  <a16:creationId xmlns:a16="http://schemas.microsoft.com/office/drawing/2014/main" id="{AA76E107-EED2-43EE-909B-E95F465CE73B}"/>
                </a:ext>
              </a:extLst>
            </p:cNvPr>
            <p:cNvSpPr/>
            <p:nvPr/>
          </p:nvSpPr>
          <p:spPr>
            <a:xfrm rot="8716295">
              <a:off x="163585" y="30533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8" name="Forme libre : forme 347">
              <a:extLst>
                <a:ext uri="{FF2B5EF4-FFF2-40B4-BE49-F238E27FC236}">
                  <a16:creationId xmlns:a16="http://schemas.microsoft.com/office/drawing/2014/main" id="{B9BBA0BC-EEAF-493E-A940-F09587491C29}"/>
                </a:ext>
              </a:extLst>
            </p:cNvPr>
            <p:cNvSpPr/>
            <p:nvPr/>
          </p:nvSpPr>
          <p:spPr>
            <a:xfrm rot="8716295">
              <a:off x="390718" y="69374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9" name="Forme libre : forme 348">
              <a:extLst>
                <a:ext uri="{FF2B5EF4-FFF2-40B4-BE49-F238E27FC236}">
                  <a16:creationId xmlns:a16="http://schemas.microsoft.com/office/drawing/2014/main" id="{C8D30F56-4A06-4C10-B3F2-60FAA4FF4FB6}"/>
                </a:ext>
              </a:extLst>
            </p:cNvPr>
            <p:cNvSpPr/>
            <p:nvPr/>
          </p:nvSpPr>
          <p:spPr>
            <a:xfrm rot="8716295">
              <a:off x="701873" y="31409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0" name="Forme libre : forme 349">
              <a:extLst>
                <a:ext uri="{FF2B5EF4-FFF2-40B4-BE49-F238E27FC236}">
                  <a16:creationId xmlns:a16="http://schemas.microsoft.com/office/drawing/2014/main" id="{5C6936A8-9A95-4204-9D28-D9B75C140322}"/>
                </a:ext>
              </a:extLst>
            </p:cNvPr>
            <p:cNvSpPr/>
            <p:nvPr/>
          </p:nvSpPr>
          <p:spPr>
            <a:xfrm rot="8716295">
              <a:off x="791265" y="34333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1" name="Forme libre : forme 350">
              <a:extLst>
                <a:ext uri="{FF2B5EF4-FFF2-40B4-BE49-F238E27FC236}">
                  <a16:creationId xmlns:a16="http://schemas.microsoft.com/office/drawing/2014/main" id="{FFF2D367-BA47-4EF1-A7BB-098E80C21CBE}"/>
                </a:ext>
              </a:extLst>
            </p:cNvPr>
            <p:cNvSpPr/>
            <p:nvPr/>
          </p:nvSpPr>
          <p:spPr>
            <a:xfrm rot="8716295">
              <a:off x="589639" y="40263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2" name="Forme libre : forme 351">
              <a:extLst>
                <a:ext uri="{FF2B5EF4-FFF2-40B4-BE49-F238E27FC236}">
                  <a16:creationId xmlns:a16="http://schemas.microsoft.com/office/drawing/2014/main" id="{449281FC-8C05-45F5-BEE0-D74C1D2991A0}"/>
                </a:ext>
              </a:extLst>
            </p:cNvPr>
            <p:cNvSpPr/>
            <p:nvPr/>
          </p:nvSpPr>
          <p:spPr>
            <a:xfrm rot="8716295">
              <a:off x="464737" y="19396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3" name="Forme libre : forme 352">
              <a:extLst>
                <a:ext uri="{FF2B5EF4-FFF2-40B4-BE49-F238E27FC236}">
                  <a16:creationId xmlns:a16="http://schemas.microsoft.com/office/drawing/2014/main" id="{AC76B493-44A9-4110-A979-E79DA2DAD0EF}"/>
                </a:ext>
              </a:extLst>
            </p:cNvPr>
            <p:cNvSpPr/>
            <p:nvPr/>
          </p:nvSpPr>
          <p:spPr>
            <a:xfrm rot="8716295">
              <a:off x="679817" y="44358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4" name="Forme libre : forme 353">
              <a:extLst>
                <a:ext uri="{FF2B5EF4-FFF2-40B4-BE49-F238E27FC236}">
                  <a16:creationId xmlns:a16="http://schemas.microsoft.com/office/drawing/2014/main" id="{A1E49731-9881-455E-A515-C358862DEBAE}"/>
                </a:ext>
              </a:extLst>
            </p:cNvPr>
            <p:cNvSpPr/>
            <p:nvPr/>
          </p:nvSpPr>
          <p:spPr>
            <a:xfrm rot="8716295">
              <a:off x="438366" y="29398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5" name="Forme libre : forme 354">
              <a:extLst>
                <a:ext uri="{FF2B5EF4-FFF2-40B4-BE49-F238E27FC236}">
                  <a16:creationId xmlns:a16="http://schemas.microsoft.com/office/drawing/2014/main" id="{8204F475-BA32-42D6-B48D-2BEE0C6DF622}"/>
                </a:ext>
              </a:extLst>
            </p:cNvPr>
            <p:cNvSpPr/>
            <p:nvPr/>
          </p:nvSpPr>
          <p:spPr>
            <a:xfrm rot="7484129">
              <a:off x="784748" y="63493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6" name="Forme libre : forme 355">
              <a:extLst>
                <a:ext uri="{FF2B5EF4-FFF2-40B4-BE49-F238E27FC236}">
                  <a16:creationId xmlns:a16="http://schemas.microsoft.com/office/drawing/2014/main" id="{3407396E-8B17-4E89-82BB-C091E11448DB}"/>
                </a:ext>
              </a:extLst>
            </p:cNvPr>
            <p:cNvSpPr/>
            <p:nvPr/>
          </p:nvSpPr>
          <p:spPr>
            <a:xfrm rot="13089394">
              <a:off x="889568" y="60147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7" name="Forme libre : forme 356">
              <a:extLst>
                <a:ext uri="{FF2B5EF4-FFF2-40B4-BE49-F238E27FC236}">
                  <a16:creationId xmlns:a16="http://schemas.microsoft.com/office/drawing/2014/main" id="{27719725-2BB1-4B94-8AC6-F116861C62F1}"/>
                </a:ext>
              </a:extLst>
            </p:cNvPr>
            <p:cNvSpPr/>
            <p:nvPr/>
          </p:nvSpPr>
          <p:spPr>
            <a:xfrm rot="8716295">
              <a:off x="1075153" y="40979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8" name="Forme libre : forme 357">
              <a:extLst>
                <a:ext uri="{FF2B5EF4-FFF2-40B4-BE49-F238E27FC236}">
                  <a16:creationId xmlns:a16="http://schemas.microsoft.com/office/drawing/2014/main" id="{43C5E8C2-1177-4638-AAC9-C608290C6D73}"/>
                </a:ext>
              </a:extLst>
            </p:cNvPr>
            <p:cNvSpPr/>
            <p:nvPr/>
          </p:nvSpPr>
          <p:spPr>
            <a:xfrm rot="8716295">
              <a:off x="1023348" y="30619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9" name="Forme libre : forme 358">
              <a:extLst>
                <a:ext uri="{FF2B5EF4-FFF2-40B4-BE49-F238E27FC236}">
                  <a16:creationId xmlns:a16="http://schemas.microsoft.com/office/drawing/2014/main" id="{66F400C8-484F-4AA9-9E69-F9DA598D65AC}"/>
                </a:ext>
              </a:extLst>
            </p:cNvPr>
            <p:cNvSpPr/>
            <p:nvPr/>
          </p:nvSpPr>
          <p:spPr>
            <a:xfrm rot="8716295">
              <a:off x="780102" y="336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0" name="Forme libre : forme 359">
              <a:extLst>
                <a:ext uri="{FF2B5EF4-FFF2-40B4-BE49-F238E27FC236}">
                  <a16:creationId xmlns:a16="http://schemas.microsoft.com/office/drawing/2014/main" id="{FD3344B4-1783-4AD8-8B1E-198B5BC45770}"/>
                </a:ext>
              </a:extLst>
            </p:cNvPr>
            <p:cNvSpPr/>
            <p:nvPr/>
          </p:nvSpPr>
          <p:spPr>
            <a:xfrm rot="8716295">
              <a:off x="957554" y="17717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1" name="Forme libre : forme 360">
              <a:extLst>
                <a:ext uri="{FF2B5EF4-FFF2-40B4-BE49-F238E27FC236}">
                  <a16:creationId xmlns:a16="http://schemas.microsoft.com/office/drawing/2014/main" id="{B1F20E97-7F16-49D8-A491-FB12C97898BA}"/>
                </a:ext>
              </a:extLst>
            </p:cNvPr>
            <p:cNvSpPr/>
            <p:nvPr/>
          </p:nvSpPr>
          <p:spPr>
            <a:xfrm rot="8716295">
              <a:off x="202348" y="-57106"/>
              <a:ext cx="142167" cy="186494"/>
            </a:xfrm>
            <a:custGeom>
              <a:avLst/>
              <a:gdLst>
                <a:gd name="connsiteX0" fmla="*/ 142167 w 142167"/>
                <a:gd name="connsiteY0" fmla="*/ 186494 h 186494"/>
                <a:gd name="connsiteX1" fmla="*/ 81108 w 142167"/>
                <a:gd name="connsiteY1" fmla="*/ 144170 h 186494"/>
                <a:gd name="connsiteX2" fmla="*/ 81108 w 142167"/>
                <a:gd name="connsiteY2" fmla="*/ 69717 h 186494"/>
                <a:gd name="connsiteX3" fmla="*/ 81108 w 142167"/>
                <a:gd name="connsiteY3" fmla="*/ 65615 h 186494"/>
                <a:gd name="connsiteX4" fmla="*/ 60603 w 142167"/>
                <a:gd name="connsiteY4" fmla="*/ 50123 h 186494"/>
                <a:gd name="connsiteX5" fmla="*/ 0 w 142167"/>
                <a:gd name="connsiteY5" fmla="*/ 50123 h 186494"/>
                <a:gd name="connsiteX6" fmla="*/ 0 w 142167"/>
                <a:gd name="connsiteY6" fmla="*/ 0 h 186494"/>
                <a:gd name="connsiteX7" fmla="*/ 85209 w 142167"/>
                <a:gd name="connsiteY7" fmla="*/ 0 h 186494"/>
                <a:gd name="connsiteX8" fmla="*/ 142167 w 142167"/>
                <a:gd name="connsiteY8" fmla="*/ 50123 h 186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86494">
                  <a:moveTo>
                    <a:pt x="142167" y="186494"/>
                  </a:moveTo>
                  <a:lnTo>
                    <a:pt x="81108" y="144170"/>
                  </a:lnTo>
                  <a:lnTo>
                    <a:pt x="81108" y="69717"/>
                  </a:lnTo>
                  <a:cubicBezTo>
                    <a:pt x="81108" y="68349"/>
                    <a:pt x="81108" y="66983"/>
                    <a:pt x="81108" y="65615"/>
                  </a:cubicBezTo>
                  <a:cubicBezTo>
                    <a:pt x="79741" y="55591"/>
                    <a:pt x="70628" y="48756"/>
                    <a:pt x="60603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2" name="Forme libre : forme 361">
              <a:extLst>
                <a:ext uri="{FF2B5EF4-FFF2-40B4-BE49-F238E27FC236}">
                  <a16:creationId xmlns:a16="http://schemas.microsoft.com/office/drawing/2014/main" id="{627DF55A-0BF9-412B-B088-58C19C1BDCF8}"/>
                </a:ext>
              </a:extLst>
            </p:cNvPr>
            <p:cNvSpPr/>
            <p:nvPr/>
          </p:nvSpPr>
          <p:spPr>
            <a:xfrm rot="8716295">
              <a:off x="298766" y="-5395"/>
              <a:ext cx="260639" cy="180054"/>
            </a:xfrm>
            <a:custGeom>
              <a:avLst/>
              <a:gdLst>
                <a:gd name="connsiteX0" fmla="*/ 111638 w 260639"/>
                <a:gd name="connsiteY0" fmla="*/ 180054 h 180054"/>
                <a:gd name="connsiteX1" fmla="*/ 51490 w 260639"/>
                <a:gd name="connsiteY1" fmla="*/ 138362 h 180054"/>
                <a:gd name="connsiteX2" fmla="*/ 51490 w 260639"/>
                <a:gd name="connsiteY2" fmla="*/ 45624 h 180054"/>
                <a:gd name="connsiteX3" fmla="*/ 0 w 260639"/>
                <a:gd name="connsiteY3" fmla="*/ 45624 h 180054"/>
                <a:gd name="connsiteX4" fmla="*/ 0 w 260639"/>
                <a:gd name="connsiteY4" fmla="*/ 1425 h 180054"/>
                <a:gd name="connsiteX5" fmla="*/ 104802 w 260639"/>
                <a:gd name="connsiteY5" fmla="*/ 1425 h 180054"/>
                <a:gd name="connsiteX6" fmla="*/ 104802 w 260639"/>
                <a:gd name="connsiteY6" fmla="*/ 75242 h 180054"/>
                <a:gd name="connsiteX7" fmla="*/ 106169 w 260639"/>
                <a:gd name="connsiteY7" fmla="*/ 75242 h 180054"/>
                <a:gd name="connsiteX8" fmla="*/ 154014 w 260639"/>
                <a:gd name="connsiteY8" fmla="*/ 5981 h 180054"/>
                <a:gd name="connsiteX9" fmla="*/ 185455 w 260639"/>
                <a:gd name="connsiteY9" fmla="*/ 57 h 180054"/>
                <a:gd name="connsiteX10" fmla="*/ 260639 w 260639"/>
                <a:gd name="connsiteY10" fmla="*/ 88456 h 180054"/>
                <a:gd name="connsiteX11" fmla="*/ 260639 w 260639"/>
                <a:gd name="connsiteY11" fmla="*/ 94380 h 180054"/>
                <a:gd name="connsiteX12" fmla="*/ 198669 w 260639"/>
                <a:gd name="connsiteY12" fmla="*/ 98025 h 180054"/>
                <a:gd name="connsiteX13" fmla="*/ 198669 w 260639"/>
                <a:gd name="connsiteY13" fmla="*/ 81621 h 180054"/>
                <a:gd name="connsiteX14" fmla="*/ 164950 w 260639"/>
                <a:gd name="connsiteY14" fmla="*/ 40156 h 180054"/>
                <a:gd name="connsiteX15" fmla="*/ 111638 w 260639"/>
                <a:gd name="connsiteY15" fmla="*/ 127643 h 180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0639" h="180054">
                  <a:moveTo>
                    <a:pt x="111638" y="180054"/>
                  </a:moveTo>
                  <a:lnTo>
                    <a:pt x="51490" y="138362"/>
                  </a:ln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3" name="Forme libre : forme 362">
              <a:extLst>
                <a:ext uri="{FF2B5EF4-FFF2-40B4-BE49-F238E27FC236}">
                  <a16:creationId xmlns:a16="http://schemas.microsoft.com/office/drawing/2014/main" id="{B1CC1170-12B9-42E7-B048-36951089B415}"/>
                </a:ext>
              </a:extLst>
            </p:cNvPr>
            <p:cNvSpPr/>
            <p:nvPr/>
          </p:nvSpPr>
          <p:spPr>
            <a:xfrm rot="8716295">
              <a:off x="276903" y="-12823"/>
              <a:ext cx="36272" cy="27982"/>
            </a:xfrm>
            <a:custGeom>
              <a:avLst/>
              <a:gdLst>
                <a:gd name="connsiteX0" fmla="*/ 36272 w 36272"/>
                <a:gd name="connsiteY0" fmla="*/ 27982 h 27982"/>
                <a:gd name="connsiteX1" fmla="*/ 0 w 36272"/>
                <a:gd name="connsiteY1" fmla="*/ 2840 h 27982"/>
                <a:gd name="connsiteX2" fmla="*/ 9543 w 36272"/>
                <a:gd name="connsiteY2" fmla="*/ 0 h 27982"/>
                <a:gd name="connsiteX3" fmla="*/ 31871 w 36272"/>
                <a:gd name="connsiteY3" fmla="*/ 11392 h 27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272" h="27982">
                  <a:moveTo>
                    <a:pt x="36272" y="27982"/>
                  </a:moveTo>
                  <a:lnTo>
                    <a:pt x="0" y="2840"/>
                  </a:lnTo>
                  <a:lnTo>
                    <a:pt x="9543" y="0"/>
                  </a:lnTo>
                  <a:cubicBezTo>
                    <a:pt x="20479" y="0"/>
                    <a:pt x="27542" y="4784"/>
                    <a:pt x="31871" y="113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4" name="Forme libre : forme 363">
              <a:extLst>
                <a:ext uri="{FF2B5EF4-FFF2-40B4-BE49-F238E27FC236}">
                  <a16:creationId xmlns:a16="http://schemas.microsoft.com/office/drawing/2014/main" id="{E033BF19-7D8B-489E-8421-40953085A3CD}"/>
                </a:ext>
              </a:extLst>
            </p:cNvPr>
            <p:cNvSpPr/>
            <p:nvPr/>
          </p:nvSpPr>
          <p:spPr>
            <a:xfrm rot="8716295">
              <a:off x="74640" y="-9665"/>
              <a:ext cx="58068" cy="54772"/>
            </a:xfrm>
            <a:custGeom>
              <a:avLst/>
              <a:gdLst>
                <a:gd name="connsiteX0" fmla="*/ 37436 w 58068"/>
                <a:gd name="connsiteY0" fmla="*/ 54772 h 54772"/>
                <a:gd name="connsiteX1" fmla="*/ 0 w 58068"/>
                <a:gd name="connsiteY1" fmla="*/ 28823 h 54772"/>
                <a:gd name="connsiteX2" fmla="*/ 8515 w 58068"/>
                <a:gd name="connsiteY2" fmla="*/ 8658 h 54772"/>
                <a:gd name="connsiteX3" fmla="*/ 29020 w 58068"/>
                <a:gd name="connsiteY3" fmla="*/ 0 h 54772"/>
                <a:gd name="connsiteX4" fmla="*/ 49525 w 58068"/>
                <a:gd name="connsiteY4" fmla="*/ 8658 h 54772"/>
                <a:gd name="connsiteX5" fmla="*/ 49525 w 58068"/>
                <a:gd name="connsiteY5" fmla="*/ 49668 h 5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068" h="54772">
                  <a:moveTo>
                    <a:pt x="37436" y="54772"/>
                  </a:moveTo>
                  <a:lnTo>
                    <a:pt x="0" y="28823"/>
                  </a:lnTo>
                  <a:lnTo>
                    <a:pt x="8515" y="8658"/>
                  </a:lnTo>
                  <a:cubicBezTo>
                    <a:pt x="13983" y="3190"/>
                    <a:pt x="21273" y="0"/>
                    <a:pt x="29020" y="0"/>
                  </a:cubicBezTo>
                  <a:cubicBezTo>
                    <a:pt x="36766" y="0"/>
                    <a:pt x="44057" y="3190"/>
                    <a:pt x="49525" y="8658"/>
                  </a:cubicBezTo>
                  <a:cubicBezTo>
                    <a:pt x="60916" y="19594"/>
                    <a:pt x="60916" y="38276"/>
                    <a:pt x="49525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5" name="Forme libre : forme 364">
              <a:extLst>
                <a:ext uri="{FF2B5EF4-FFF2-40B4-BE49-F238E27FC236}">
                  <a16:creationId xmlns:a16="http://schemas.microsoft.com/office/drawing/2014/main" id="{CB7A744C-FCCB-4B93-9898-2A2B2B95BBB6}"/>
                </a:ext>
              </a:extLst>
            </p:cNvPr>
            <p:cNvSpPr/>
            <p:nvPr/>
          </p:nvSpPr>
          <p:spPr>
            <a:xfrm rot="8716295">
              <a:off x="13802" y="-10406"/>
              <a:ext cx="30027" cy="20814"/>
            </a:xfrm>
            <a:custGeom>
              <a:avLst/>
              <a:gdLst>
                <a:gd name="connsiteX0" fmla="*/ 30027 w 30027"/>
                <a:gd name="connsiteY0" fmla="*/ 20814 h 20814"/>
                <a:gd name="connsiteX1" fmla="*/ 0 w 30027"/>
                <a:gd name="connsiteY1" fmla="*/ 0 h 20814"/>
                <a:gd name="connsiteX2" fmla="*/ 30027 w 30027"/>
                <a:gd name="connsiteY2" fmla="*/ 0 h 20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027" h="20814">
                  <a:moveTo>
                    <a:pt x="30027" y="20814"/>
                  </a:moveTo>
                  <a:lnTo>
                    <a:pt x="0" y="0"/>
                  </a:lnTo>
                  <a:lnTo>
                    <a:pt x="3002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6" name="Forme libre : forme 365">
              <a:extLst>
                <a:ext uri="{FF2B5EF4-FFF2-40B4-BE49-F238E27FC236}">
                  <a16:creationId xmlns:a16="http://schemas.microsoft.com/office/drawing/2014/main" id="{A7508798-38A9-48C7-9AA8-5A92078CC84B}"/>
                </a:ext>
              </a:extLst>
            </p:cNvPr>
            <p:cNvSpPr/>
            <p:nvPr/>
          </p:nvSpPr>
          <p:spPr>
            <a:xfrm rot="8716295">
              <a:off x="168048" y="3032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7" name="Forme libre : forme 366">
              <a:extLst>
                <a:ext uri="{FF2B5EF4-FFF2-40B4-BE49-F238E27FC236}">
                  <a16:creationId xmlns:a16="http://schemas.microsoft.com/office/drawing/2014/main" id="{0E351C93-E018-436B-9326-CEDEA386B63D}"/>
                </a:ext>
              </a:extLst>
            </p:cNvPr>
            <p:cNvSpPr/>
            <p:nvPr/>
          </p:nvSpPr>
          <p:spPr>
            <a:xfrm rot="7484129">
              <a:off x="562078" y="-284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8" name="Forme libre : forme 367">
              <a:extLst>
                <a:ext uri="{FF2B5EF4-FFF2-40B4-BE49-F238E27FC236}">
                  <a16:creationId xmlns:a16="http://schemas.microsoft.com/office/drawing/2014/main" id="{BDEF799B-C934-4303-874D-CB44161BDCB0}"/>
                </a:ext>
              </a:extLst>
            </p:cNvPr>
            <p:cNvSpPr/>
            <p:nvPr/>
          </p:nvSpPr>
          <p:spPr>
            <a:xfrm rot="13089394">
              <a:off x="775514" y="-27038"/>
              <a:ext cx="149688" cy="328219"/>
            </a:xfrm>
            <a:custGeom>
              <a:avLst/>
              <a:gdLst>
                <a:gd name="connsiteX0" fmla="*/ 149688 w 149688"/>
                <a:gd name="connsiteY0" fmla="*/ 279622 h 328219"/>
                <a:gd name="connsiteX1" fmla="*/ 87835 w 149688"/>
                <a:gd name="connsiteY1" fmla="*/ 328219 h 328219"/>
                <a:gd name="connsiteX2" fmla="*/ 54765 w 149688"/>
                <a:gd name="connsiteY2" fmla="*/ 322521 h 328219"/>
                <a:gd name="connsiteX3" fmla="*/ 23727 w 149688"/>
                <a:gd name="connsiteY3" fmla="*/ 301277 h 328219"/>
                <a:gd name="connsiteX4" fmla="*/ 0 w 149688"/>
                <a:gd name="connsiteY4" fmla="*/ 206369 h 328219"/>
                <a:gd name="connsiteX5" fmla="*/ 0 w 149688"/>
                <a:gd name="connsiteY5" fmla="*/ 38074 h 328219"/>
                <a:gd name="connsiteX6" fmla="*/ 73388 w 149688"/>
                <a:gd name="connsiteY6" fmla="*/ 0 h 328219"/>
                <a:gd name="connsiteX7" fmla="*/ 74492 w 149688"/>
                <a:gd name="connsiteY7" fmla="*/ 153950 h 328219"/>
                <a:gd name="connsiteX8" fmla="*/ 87734 w 149688"/>
                <a:gd name="connsiteY8" fmla="*/ 245547 h 328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9688" h="328219">
                  <a:moveTo>
                    <a:pt x="149688" y="279622"/>
                  </a:moveTo>
                  <a:lnTo>
                    <a:pt x="87835" y="328219"/>
                  </a:lnTo>
                  <a:lnTo>
                    <a:pt x="54765" y="322521"/>
                  </a:lnTo>
                  <a:cubicBezTo>
                    <a:pt x="43178" y="317693"/>
                    <a:pt x="32555" y="310382"/>
                    <a:pt x="23727" y="301277"/>
                  </a:cubicBezTo>
                  <a:cubicBezTo>
                    <a:pt x="4966" y="283069"/>
                    <a:pt x="0" y="251616"/>
                    <a:pt x="0" y="206369"/>
                  </a:cubicBez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2836" y="184850"/>
                    <a:pt x="77802" y="216302"/>
                    <a:pt x="87734" y="2455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9" name="Forme libre : forme 368">
              <a:extLst>
                <a:ext uri="{FF2B5EF4-FFF2-40B4-BE49-F238E27FC236}">
                  <a16:creationId xmlns:a16="http://schemas.microsoft.com/office/drawing/2014/main" id="{85452057-F6AF-4671-A171-74C9DE20E061}"/>
                </a:ext>
              </a:extLst>
            </p:cNvPr>
            <p:cNvSpPr/>
            <p:nvPr/>
          </p:nvSpPr>
          <p:spPr>
            <a:xfrm rot="8716295">
              <a:off x="3366575" y="56973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0" name="Forme libre : forme 369">
              <a:extLst>
                <a:ext uri="{FF2B5EF4-FFF2-40B4-BE49-F238E27FC236}">
                  <a16:creationId xmlns:a16="http://schemas.microsoft.com/office/drawing/2014/main" id="{0B76C80E-592A-400D-A327-9F0390D4B3C2}"/>
                </a:ext>
              </a:extLst>
            </p:cNvPr>
            <p:cNvSpPr/>
            <p:nvPr/>
          </p:nvSpPr>
          <p:spPr>
            <a:xfrm rot="8716295">
              <a:off x="3237162" y="360980"/>
              <a:ext cx="203847" cy="195873"/>
            </a:xfrm>
            <a:custGeom>
              <a:avLst/>
              <a:gdLst>
                <a:gd name="connsiteX0" fmla="*/ 90710 w 203847"/>
                <a:gd name="connsiteY0" fmla="*/ 195873 h 195873"/>
                <a:gd name="connsiteX1" fmla="*/ 47847 w 203847"/>
                <a:gd name="connsiteY1" fmla="*/ 116129 h 195873"/>
                <a:gd name="connsiteX2" fmla="*/ 69777 w 203847"/>
                <a:gd name="connsiteY2" fmla="*/ 55323 h 195873"/>
                <a:gd name="connsiteX3" fmla="*/ 0 w 203847"/>
                <a:gd name="connsiteY3" fmla="*/ 55323 h 195873"/>
                <a:gd name="connsiteX4" fmla="*/ 0 w 203847"/>
                <a:gd name="connsiteY4" fmla="*/ 52719 h 195873"/>
                <a:gd name="connsiteX5" fmla="*/ 43605 w 203847"/>
                <a:gd name="connsiteY5" fmla="*/ 0 h 195873"/>
                <a:gd name="connsiteX6" fmla="*/ 203847 w 203847"/>
                <a:gd name="connsiteY6" fmla="*/ 0 h 195873"/>
                <a:gd name="connsiteX7" fmla="*/ 203847 w 203847"/>
                <a:gd name="connsiteY7" fmla="*/ 55323 h 195873"/>
                <a:gd name="connsiteX8" fmla="*/ 139055 w 203847"/>
                <a:gd name="connsiteY8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3">
                  <a:moveTo>
                    <a:pt x="90710" y="195873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52719"/>
                  </a:lnTo>
                  <a:lnTo>
                    <a:pt x="43605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1" name="Forme libre : forme 370">
              <a:extLst>
                <a:ext uri="{FF2B5EF4-FFF2-40B4-BE49-F238E27FC236}">
                  <a16:creationId xmlns:a16="http://schemas.microsoft.com/office/drawing/2014/main" id="{5150644E-4F20-423C-8383-236544837AE7}"/>
                </a:ext>
              </a:extLst>
            </p:cNvPr>
            <p:cNvSpPr/>
            <p:nvPr/>
          </p:nvSpPr>
          <p:spPr>
            <a:xfrm rot="8716295">
              <a:off x="3189574" y="231224"/>
              <a:ext cx="290249" cy="221342"/>
            </a:xfrm>
            <a:custGeom>
              <a:avLst/>
              <a:gdLst>
                <a:gd name="connsiteX0" fmla="*/ 24905 w 290249"/>
                <a:gd name="connsiteY0" fmla="*/ 191751 h 221342"/>
                <a:gd name="connsiteX1" fmla="*/ 4754 w 290249"/>
                <a:gd name="connsiteY1" fmla="*/ 151964 h 221342"/>
                <a:gd name="connsiteX2" fmla="*/ 0 w 290249"/>
                <a:gd name="connsiteY2" fmla="*/ 95252 h 221342"/>
                <a:gd name="connsiteX3" fmla="*/ 78785 w 290249"/>
                <a:gd name="connsiteY3" fmla="*/ 0 h 221342"/>
                <a:gd name="connsiteX4" fmla="*/ 79033 w 290249"/>
                <a:gd name="connsiteY4" fmla="*/ 34662 h 221342"/>
                <a:gd name="connsiteX5" fmla="*/ 93153 w 290249"/>
                <a:gd name="connsiteY5" fmla="*/ 132328 h 221342"/>
                <a:gd name="connsiteX6" fmla="*/ 163754 w 290249"/>
                <a:gd name="connsiteY6" fmla="*/ 171159 h 221342"/>
                <a:gd name="connsiteX7" fmla="*/ 216706 w 290249"/>
                <a:gd name="connsiteY7" fmla="*/ 161745 h 221342"/>
                <a:gd name="connsiteX8" fmla="*/ 289073 w 290249"/>
                <a:gd name="connsiteY8" fmla="*/ 132328 h 221342"/>
                <a:gd name="connsiteX9" fmla="*/ 290249 w 290249"/>
                <a:gd name="connsiteY9" fmla="*/ 139976 h 221342"/>
                <a:gd name="connsiteX10" fmla="*/ 290249 w 290249"/>
                <a:gd name="connsiteY10" fmla="*/ 145860 h 221342"/>
                <a:gd name="connsiteX11" fmla="*/ 97272 w 290249"/>
                <a:gd name="connsiteY11" fmla="*/ 221168 h 221342"/>
                <a:gd name="connsiteX12" fmla="*/ 24905 w 290249"/>
                <a:gd name="connsiteY12" fmla="*/ 191751 h 221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0249" h="221342">
                  <a:moveTo>
                    <a:pt x="24905" y="191751"/>
                  </a:moveTo>
                  <a:cubicBezTo>
                    <a:pt x="14903" y="182043"/>
                    <a:pt x="8578" y="168805"/>
                    <a:pt x="4754" y="151964"/>
                  </a:cubicBezTo>
                  <a:lnTo>
                    <a:pt x="0" y="95252"/>
                  </a:lnTo>
                  <a:lnTo>
                    <a:pt x="78785" y="0"/>
                  </a:lnTo>
                  <a:lnTo>
                    <a:pt x="79033" y="34662"/>
                  </a:lnTo>
                  <a:cubicBezTo>
                    <a:pt x="77268" y="67610"/>
                    <a:pt x="82563" y="101145"/>
                    <a:pt x="93153" y="132328"/>
                  </a:cubicBezTo>
                  <a:cubicBezTo>
                    <a:pt x="102567" y="158215"/>
                    <a:pt x="126689" y="171159"/>
                    <a:pt x="163754" y="171159"/>
                  </a:cubicBezTo>
                  <a:cubicBezTo>
                    <a:pt x="181994" y="170570"/>
                    <a:pt x="199644" y="167040"/>
                    <a:pt x="216706" y="161745"/>
                  </a:cubicBezTo>
                  <a:cubicBezTo>
                    <a:pt x="241416" y="154096"/>
                    <a:pt x="265539" y="144095"/>
                    <a:pt x="289073" y="132328"/>
                  </a:cubicBezTo>
                  <a:cubicBezTo>
                    <a:pt x="289661" y="134681"/>
                    <a:pt x="290249" y="137623"/>
                    <a:pt x="290249" y="139976"/>
                  </a:cubicBezTo>
                  <a:lnTo>
                    <a:pt x="290249" y="145860"/>
                  </a:lnTo>
                  <a:cubicBezTo>
                    <a:pt x="227885" y="199399"/>
                    <a:pt x="146104" y="218227"/>
                    <a:pt x="97272" y="221168"/>
                  </a:cubicBezTo>
                  <a:cubicBezTo>
                    <a:pt x="70208" y="222933"/>
                    <a:pt x="43732" y="211166"/>
                    <a:pt x="24905" y="19175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2" name="Forme libre : forme 371">
              <a:extLst>
                <a:ext uri="{FF2B5EF4-FFF2-40B4-BE49-F238E27FC236}">
                  <a16:creationId xmlns:a16="http://schemas.microsoft.com/office/drawing/2014/main" id="{9266C455-B545-49CA-BF30-2607C744AB8E}"/>
                </a:ext>
              </a:extLst>
            </p:cNvPr>
            <p:cNvSpPr/>
            <p:nvPr/>
          </p:nvSpPr>
          <p:spPr>
            <a:xfrm rot="8716295">
              <a:off x="3411629" y="650113"/>
              <a:ext cx="21023" cy="45645"/>
            </a:xfrm>
            <a:custGeom>
              <a:avLst/>
              <a:gdLst>
                <a:gd name="connsiteX0" fmla="*/ 21023 w 21023"/>
                <a:gd name="connsiteY0" fmla="*/ 45645 h 45645"/>
                <a:gd name="connsiteX1" fmla="*/ 0 w 21023"/>
                <a:gd name="connsiteY1" fmla="*/ 25418 h 45645"/>
                <a:gd name="connsiteX2" fmla="*/ 21023 w 21023"/>
                <a:gd name="connsiteY2" fmla="*/ 0 h 4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023" h="45645">
                  <a:moveTo>
                    <a:pt x="21023" y="45645"/>
                  </a:moveTo>
                  <a:lnTo>
                    <a:pt x="0" y="25418"/>
                  </a:lnTo>
                  <a:lnTo>
                    <a:pt x="2102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3" name="Forme libre : forme 372">
              <a:extLst>
                <a:ext uri="{FF2B5EF4-FFF2-40B4-BE49-F238E27FC236}">
                  <a16:creationId xmlns:a16="http://schemas.microsoft.com/office/drawing/2014/main" id="{8A8C4152-A6DA-4079-AA7F-C7451551470E}"/>
                </a:ext>
              </a:extLst>
            </p:cNvPr>
            <p:cNvSpPr/>
            <p:nvPr/>
          </p:nvSpPr>
          <p:spPr>
            <a:xfrm rot="8716295">
              <a:off x="3298850" y="-42720"/>
              <a:ext cx="123263" cy="85442"/>
            </a:xfrm>
            <a:custGeom>
              <a:avLst/>
              <a:gdLst>
                <a:gd name="connsiteX0" fmla="*/ 123263 w 123263"/>
                <a:gd name="connsiteY0" fmla="*/ 85442 h 85442"/>
                <a:gd name="connsiteX1" fmla="*/ 0 w 123263"/>
                <a:gd name="connsiteY1" fmla="*/ 0 h 85442"/>
                <a:gd name="connsiteX2" fmla="*/ 66305 w 123263"/>
                <a:gd name="connsiteY2" fmla="*/ 0 h 85442"/>
                <a:gd name="connsiteX3" fmla="*/ 123263 w 123263"/>
                <a:gd name="connsiteY3" fmla="*/ 50123 h 85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63" h="85442">
                  <a:moveTo>
                    <a:pt x="123263" y="85442"/>
                  </a:moveTo>
                  <a:lnTo>
                    <a:pt x="0" y="0"/>
                  </a:lnTo>
                  <a:lnTo>
                    <a:pt x="66305" y="0"/>
                  </a:lnTo>
                  <a:cubicBezTo>
                    <a:pt x="103214" y="0"/>
                    <a:pt x="123263" y="15948"/>
                    <a:pt x="123263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4" name="Forme libre : forme 373">
              <a:extLst>
                <a:ext uri="{FF2B5EF4-FFF2-40B4-BE49-F238E27FC236}">
                  <a16:creationId xmlns:a16="http://schemas.microsoft.com/office/drawing/2014/main" id="{A339289A-5EC3-49A9-9A48-D86927329ED5}"/>
                </a:ext>
              </a:extLst>
            </p:cNvPr>
            <p:cNvSpPr/>
            <p:nvPr/>
          </p:nvSpPr>
          <p:spPr>
            <a:xfrm rot="8716295">
              <a:off x="3402681" y="37518"/>
              <a:ext cx="82257" cy="93201"/>
            </a:xfrm>
            <a:custGeom>
              <a:avLst/>
              <a:gdLst>
                <a:gd name="connsiteX0" fmla="*/ 20287 w 82257"/>
                <a:gd name="connsiteY0" fmla="*/ 93201 h 93201"/>
                <a:gd name="connsiteX1" fmla="*/ 20287 w 82257"/>
                <a:gd name="connsiteY1" fmla="*/ 76797 h 93201"/>
                <a:gd name="connsiteX2" fmla="*/ 10775 w 82257"/>
                <a:gd name="connsiteY2" fmla="*/ 46837 h 93201"/>
                <a:gd name="connsiteX3" fmla="*/ 0 w 82257"/>
                <a:gd name="connsiteY3" fmla="*/ 41716 h 93201"/>
                <a:gd name="connsiteX4" fmla="*/ 34504 w 82257"/>
                <a:gd name="connsiteY4" fmla="*/ 0 h 93201"/>
                <a:gd name="connsiteX5" fmla="*/ 38620 w 82257"/>
                <a:gd name="connsiteY5" fmla="*/ 715 h 93201"/>
                <a:gd name="connsiteX6" fmla="*/ 82257 w 82257"/>
                <a:gd name="connsiteY6" fmla="*/ 83632 h 93201"/>
                <a:gd name="connsiteX7" fmla="*/ 82257 w 82257"/>
                <a:gd name="connsiteY7" fmla="*/ 89556 h 93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2257" h="93201">
                  <a:moveTo>
                    <a:pt x="20287" y="93201"/>
                  </a:moveTo>
                  <a:lnTo>
                    <a:pt x="20287" y="76797"/>
                  </a:lnTo>
                  <a:cubicBezTo>
                    <a:pt x="20287" y="64494"/>
                    <a:pt x="16756" y="54128"/>
                    <a:pt x="10775" y="46837"/>
                  </a:cubicBezTo>
                  <a:lnTo>
                    <a:pt x="0" y="41716"/>
                  </a:lnTo>
                  <a:lnTo>
                    <a:pt x="34504" y="0"/>
                  </a:lnTo>
                  <a:lnTo>
                    <a:pt x="38620" y="715"/>
                  </a:lnTo>
                  <a:cubicBezTo>
                    <a:pt x="66366" y="12207"/>
                    <a:pt x="82257" y="41255"/>
                    <a:pt x="82257" y="83632"/>
                  </a:cubicBezTo>
                  <a:lnTo>
                    <a:pt x="82257" y="8955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5" name="Forme libre : forme 374">
              <a:extLst>
                <a:ext uri="{FF2B5EF4-FFF2-40B4-BE49-F238E27FC236}">
                  <a16:creationId xmlns:a16="http://schemas.microsoft.com/office/drawing/2014/main" id="{FE84117C-0D75-44E5-BDA4-CA1CB1F335CF}"/>
                </a:ext>
              </a:extLst>
            </p:cNvPr>
            <p:cNvSpPr/>
            <p:nvPr/>
          </p:nvSpPr>
          <p:spPr>
            <a:xfrm rot="8716295">
              <a:off x="3234083" y="-5272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6" name="Forme libre : forme 375">
              <a:extLst>
                <a:ext uri="{FF2B5EF4-FFF2-40B4-BE49-F238E27FC236}">
                  <a16:creationId xmlns:a16="http://schemas.microsoft.com/office/drawing/2014/main" id="{12EEAD1F-5DD6-435B-8A93-C66CE1909363}"/>
                </a:ext>
              </a:extLst>
            </p:cNvPr>
            <p:cNvSpPr/>
            <p:nvPr/>
          </p:nvSpPr>
          <p:spPr>
            <a:xfrm rot="8716295">
              <a:off x="212141" y="304502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7" name="Forme libre : forme 376">
              <a:extLst>
                <a:ext uri="{FF2B5EF4-FFF2-40B4-BE49-F238E27FC236}">
                  <a16:creationId xmlns:a16="http://schemas.microsoft.com/office/drawing/2014/main" id="{E2B3F83B-E193-4145-A936-C1756D937D20}"/>
                </a:ext>
              </a:extLst>
            </p:cNvPr>
            <p:cNvSpPr/>
            <p:nvPr/>
          </p:nvSpPr>
          <p:spPr>
            <a:xfrm rot="8716295">
              <a:off x="301533" y="307427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8" name="Forme libre : forme 377">
              <a:extLst>
                <a:ext uri="{FF2B5EF4-FFF2-40B4-BE49-F238E27FC236}">
                  <a16:creationId xmlns:a16="http://schemas.microsoft.com/office/drawing/2014/main" id="{0EBCDD2D-96D0-40D5-832B-9D432203380A}"/>
                </a:ext>
              </a:extLst>
            </p:cNvPr>
            <p:cNvSpPr/>
            <p:nvPr/>
          </p:nvSpPr>
          <p:spPr>
            <a:xfrm rot="8716295">
              <a:off x="256683" y="298799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9" name="Forme libre : forme 378">
              <a:extLst>
                <a:ext uri="{FF2B5EF4-FFF2-40B4-BE49-F238E27FC236}">
                  <a16:creationId xmlns:a16="http://schemas.microsoft.com/office/drawing/2014/main" id="{D7B14EA1-A5A0-49C4-996C-1F9E3834E06F}"/>
                </a:ext>
              </a:extLst>
            </p:cNvPr>
            <p:cNvSpPr/>
            <p:nvPr/>
          </p:nvSpPr>
          <p:spPr>
            <a:xfrm rot="8716295">
              <a:off x="99907" y="31335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0" name="Forme libre : forme 379">
              <a:extLst>
                <a:ext uri="{FF2B5EF4-FFF2-40B4-BE49-F238E27FC236}">
                  <a16:creationId xmlns:a16="http://schemas.microsoft.com/office/drawing/2014/main" id="{736F0423-C826-490E-96A4-CDB0EDE4D27E}"/>
                </a:ext>
              </a:extLst>
            </p:cNvPr>
            <p:cNvSpPr/>
            <p:nvPr/>
          </p:nvSpPr>
          <p:spPr>
            <a:xfrm rot="8716295">
              <a:off x="-24996" y="29248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1" name="Forme libre : forme 380">
              <a:extLst>
                <a:ext uri="{FF2B5EF4-FFF2-40B4-BE49-F238E27FC236}">
                  <a16:creationId xmlns:a16="http://schemas.microsoft.com/office/drawing/2014/main" id="{75D8D9C1-45FD-4A7E-AA8D-777A228E8F1D}"/>
                </a:ext>
              </a:extLst>
            </p:cNvPr>
            <p:cNvSpPr/>
            <p:nvPr/>
          </p:nvSpPr>
          <p:spPr>
            <a:xfrm rot="8716295">
              <a:off x="51899" y="2754602"/>
              <a:ext cx="189488" cy="350829"/>
            </a:xfrm>
            <a:custGeom>
              <a:avLst/>
              <a:gdLst>
                <a:gd name="connsiteX0" fmla="*/ 25299 w 189488"/>
                <a:gd name="connsiteY0" fmla="*/ 321238 h 350829"/>
                <a:gd name="connsiteX1" fmla="*/ 0 w 189488"/>
                <a:gd name="connsiteY1" fmla="*/ 220042 h 350829"/>
                <a:gd name="connsiteX2" fmla="*/ 0 w 189488"/>
                <a:gd name="connsiteY2" fmla="*/ 40596 h 350829"/>
                <a:gd name="connsiteX3" fmla="*/ 78250 w 189488"/>
                <a:gd name="connsiteY3" fmla="*/ 0 h 350829"/>
                <a:gd name="connsiteX4" fmla="*/ 79427 w 189488"/>
                <a:gd name="connsiteY4" fmla="*/ 164149 h 350829"/>
                <a:gd name="connsiteX5" fmla="*/ 93547 w 189488"/>
                <a:gd name="connsiteY5" fmla="*/ 261815 h 350829"/>
                <a:gd name="connsiteX6" fmla="*/ 164148 w 189488"/>
                <a:gd name="connsiteY6" fmla="*/ 300646 h 350829"/>
                <a:gd name="connsiteX7" fmla="*/ 189488 w 189488"/>
                <a:gd name="connsiteY7" fmla="*/ 296141 h 350829"/>
                <a:gd name="connsiteX8" fmla="*/ 160617 w 189488"/>
                <a:gd name="connsiteY8" fmla="*/ 337791 h 350829"/>
                <a:gd name="connsiteX9" fmla="*/ 97666 w 189488"/>
                <a:gd name="connsiteY9" fmla="*/ 350655 h 350829"/>
                <a:gd name="connsiteX10" fmla="*/ 25299 w 189488"/>
                <a:gd name="connsiteY10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9488" h="350829">
                  <a:moveTo>
                    <a:pt x="25299" y="321238"/>
                  </a:moveTo>
                  <a:cubicBezTo>
                    <a:pt x="5295" y="301823"/>
                    <a:pt x="0" y="268286"/>
                    <a:pt x="0" y="220042"/>
                  </a:cubicBez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8" y="300646"/>
                  </a:cubicBezTo>
                  <a:lnTo>
                    <a:pt x="189488" y="296141"/>
                  </a:lnTo>
                  <a:lnTo>
                    <a:pt x="160617" y="337791"/>
                  </a:lnTo>
                  <a:lnTo>
                    <a:pt x="97666" y="350655"/>
                  </a:ln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2" name="Forme libre : forme 381">
              <a:extLst>
                <a:ext uri="{FF2B5EF4-FFF2-40B4-BE49-F238E27FC236}">
                  <a16:creationId xmlns:a16="http://schemas.microsoft.com/office/drawing/2014/main" id="{B4FEB9FE-AF54-49A2-BE6D-72BA7BE2EB18}"/>
                </a:ext>
              </a:extLst>
            </p:cNvPr>
            <p:cNvSpPr/>
            <p:nvPr/>
          </p:nvSpPr>
          <p:spPr>
            <a:xfrm rot="8716295">
              <a:off x="190085" y="317452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3" name="Forme libre : forme 382">
              <a:extLst>
                <a:ext uri="{FF2B5EF4-FFF2-40B4-BE49-F238E27FC236}">
                  <a16:creationId xmlns:a16="http://schemas.microsoft.com/office/drawing/2014/main" id="{8DA05A66-E883-464C-B559-6FC6B28A3E8D}"/>
                </a:ext>
              </a:extLst>
            </p:cNvPr>
            <p:cNvSpPr/>
            <p:nvPr/>
          </p:nvSpPr>
          <p:spPr>
            <a:xfrm rot="8716295">
              <a:off x="501240" y="279487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4" name="Forme libre : forme 383">
              <a:extLst>
                <a:ext uri="{FF2B5EF4-FFF2-40B4-BE49-F238E27FC236}">
                  <a16:creationId xmlns:a16="http://schemas.microsoft.com/office/drawing/2014/main" id="{70D6E3B7-3736-43CC-9D76-86B0F97A5780}"/>
                </a:ext>
              </a:extLst>
            </p:cNvPr>
            <p:cNvSpPr/>
            <p:nvPr/>
          </p:nvSpPr>
          <p:spPr>
            <a:xfrm rot="8716295">
              <a:off x="590632" y="282411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5" name="Forme libre : forme 384">
              <a:extLst>
                <a:ext uri="{FF2B5EF4-FFF2-40B4-BE49-F238E27FC236}">
                  <a16:creationId xmlns:a16="http://schemas.microsoft.com/office/drawing/2014/main" id="{FC4D3741-889D-4E54-B83F-D0BA201DC6A2}"/>
                </a:ext>
              </a:extLst>
            </p:cNvPr>
            <p:cNvSpPr/>
            <p:nvPr/>
          </p:nvSpPr>
          <p:spPr>
            <a:xfrm rot="8716295">
              <a:off x="389006" y="2883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6" name="Forme libre : forme 385">
              <a:extLst>
                <a:ext uri="{FF2B5EF4-FFF2-40B4-BE49-F238E27FC236}">
                  <a16:creationId xmlns:a16="http://schemas.microsoft.com/office/drawing/2014/main" id="{C9BA88DB-9441-45DF-A22F-E12869EF8794}"/>
                </a:ext>
              </a:extLst>
            </p:cNvPr>
            <p:cNvSpPr/>
            <p:nvPr/>
          </p:nvSpPr>
          <p:spPr>
            <a:xfrm rot="8716295">
              <a:off x="264104" y="267474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7" name="Forme libre : forme 386">
              <a:extLst>
                <a:ext uri="{FF2B5EF4-FFF2-40B4-BE49-F238E27FC236}">
                  <a16:creationId xmlns:a16="http://schemas.microsoft.com/office/drawing/2014/main" id="{BBD785FB-255F-47D4-869B-DA2427044735}"/>
                </a:ext>
              </a:extLst>
            </p:cNvPr>
            <p:cNvSpPr/>
            <p:nvPr/>
          </p:nvSpPr>
          <p:spPr>
            <a:xfrm rot="8716295">
              <a:off x="479184" y="292437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8" name="Forme libre : forme 387">
              <a:extLst>
                <a:ext uri="{FF2B5EF4-FFF2-40B4-BE49-F238E27FC236}">
                  <a16:creationId xmlns:a16="http://schemas.microsoft.com/office/drawing/2014/main" id="{04B3E6F0-D035-4122-A08C-156643A27C96}"/>
                </a:ext>
              </a:extLst>
            </p:cNvPr>
            <p:cNvSpPr/>
            <p:nvPr/>
          </p:nvSpPr>
          <p:spPr>
            <a:xfrm rot="8716295">
              <a:off x="237733" y="277477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9" name="Forme libre : forme 388">
              <a:extLst>
                <a:ext uri="{FF2B5EF4-FFF2-40B4-BE49-F238E27FC236}">
                  <a16:creationId xmlns:a16="http://schemas.microsoft.com/office/drawing/2014/main" id="{09952F73-FF5F-406A-8919-7345F484086E}"/>
                </a:ext>
              </a:extLst>
            </p:cNvPr>
            <p:cNvSpPr/>
            <p:nvPr/>
          </p:nvSpPr>
          <p:spPr>
            <a:xfrm rot="7484129">
              <a:off x="584115" y="311572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0" name="Forme libre : forme 389">
              <a:extLst>
                <a:ext uri="{FF2B5EF4-FFF2-40B4-BE49-F238E27FC236}">
                  <a16:creationId xmlns:a16="http://schemas.microsoft.com/office/drawing/2014/main" id="{09ED8664-259A-4F65-B984-54EB26583D37}"/>
                </a:ext>
              </a:extLst>
            </p:cNvPr>
            <p:cNvSpPr/>
            <p:nvPr/>
          </p:nvSpPr>
          <p:spPr>
            <a:xfrm rot="13089394">
              <a:off x="688935" y="3082257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1" name="Forme libre : forme 390">
              <a:extLst>
                <a:ext uri="{FF2B5EF4-FFF2-40B4-BE49-F238E27FC236}">
                  <a16:creationId xmlns:a16="http://schemas.microsoft.com/office/drawing/2014/main" id="{5005AA8C-EF3F-42BB-886F-BDC096F9E2C6}"/>
                </a:ext>
              </a:extLst>
            </p:cNvPr>
            <p:cNvSpPr/>
            <p:nvPr/>
          </p:nvSpPr>
          <p:spPr>
            <a:xfrm rot="8716295">
              <a:off x="874520" y="2890576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2" name="Forme libre : forme 391">
              <a:extLst>
                <a:ext uri="{FF2B5EF4-FFF2-40B4-BE49-F238E27FC236}">
                  <a16:creationId xmlns:a16="http://schemas.microsoft.com/office/drawing/2014/main" id="{F901BAD2-7BC9-4B9B-9AEE-194DC6FC05A0}"/>
                </a:ext>
              </a:extLst>
            </p:cNvPr>
            <p:cNvSpPr/>
            <p:nvPr/>
          </p:nvSpPr>
          <p:spPr>
            <a:xfrm rot="8716295">
              <a:off x="822715" y="278698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3" name="Forme libre : forme 392">
              <a:extLst>
                <a:ext uri="{FF2B5EF4-FFF2-40B4-BE49-F238E27FC236}">
                  <a16:creationId xmlns:a16="http://schemas.microsoft.com/office/drawing/2014/main" id="{9E3F70D1-21EF-4CD2-8FEB-B48B0201A2F5}"/>
                </a:ext>
              </a:extLst>
            </p:cNvPr>
            <p:cNvSpPr/>
            <p:nvPr/>
          </p:nvSpPr>
          <p:spPr>
            <a:xfrm rot="8716295">
              <a:off x="579469" y="28172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4" name="Forme libre : forme 393">
              <a:extLst>
                <a:ext uri="{FF2B5EF4-FFF2-40B4-BE49-F238E27FC236}">
                  <a16:creationId xmlns:a16="http://schemas.microsoft.com/office/drawing/2014/main" id="{EE0D830B-AE35-40E9-8728-E21F6C35586C}"/>
                </a:ext>
              </a:extLst>
            </p:cNvPr>
            <p:cNvSpPr/>
            <p:nvPr/>
          </p:nvSpPr>
          <p:spPr>
            <a:xfrm rot="8716295">
              <a:off x="756921" y="265796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5" name="Forme libre : forme 394">
              <a:extLst>
                <a:ext uri="{FF2B5EF4-FFF2-40B4-BE49-F238E27FC236}">
                  <a16:creationId xmlns:a16="http://schemas.microsoft.com/office/drawing/2014/main" id="{8FFBDF4B-90C1-4FB0-93F5-3CF9CE875883}"/>
                </a:ext>
              </a:extLst>
            </p:cNvPr>
            <p:cNvSpPr/>
            <p:nvPr/>
          </p:nvSpPr>
          <p:spPr>
            <a:xfrm rot="8716295">
              <a:off x="435308" y="370472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6" name="Forme libre : forme 395">
              <a:extLst>
                <a:ext uri="{FF2B5EF4-FFF2-40B4-BE49-F238E27FC236}">
                  <a16:creationId xmlns:a16="http://schemas.microsoft.com/office/drawing/2014/main" id="{4DB3DB14-6327-4A57-8367-203E6F4E011B}"/>
                </a:ext>
              </a:extLst>
            </p:cNvPr>
            <p:cNvSpPr/>
            <p:nvPr/>
          </p:nvSpPr>
          <p:spPr>
            <a:xfrm rot="8716295">
              <a:off x="524700" y="373396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7" name="Forme libre : forme 396">
              <a:extLst>
                <a:ext uri="{FF2B5EF4-FFF2-40B4-BE49-F238E27FC236}">
                  <a16:creationId xmlns:a16="http://schemas.microsoft.com/office/drawing/2014/main" id="{4355D30E-1756-4406-84C9-F6A8049756B3}"/>
                </a:ext>
              </a:extLst>
            </p:cNvPr>
            <p:cNvSpPr/>
            <p:nvPr/>
          </p:nvSpPr>
          <p:spPr>
            <a:xfrm rot="8716295">
              <a:off x="479850" y="3647689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8" name="Forme libre : forme 397">
              <a:extLst>
                <a:ext uri="{FF2B5EF4-FFF2-40B4-BE49-F238E27FC236}">
                  <a16:creationId xmlns:a16="http://schemas.microsoft.com/office/drawing/2014/main" id="{BA4A47C8-0B69-4C29-80A3-E8882E41243E}"/>
                </a:ext>
              </a:extLst>
            </p:cNvPr>
            <p:cNvSpPr/>
            <p:nvPr/>
          </p:nvSpPr>
          <p:spPr>
            <a:xfrm rot="8716295">
              <a:off x="323074" y="379327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9" name="Forme libre : forme 398">
              <a:extLst>
                <a:ext uri="{FF2B5EF4-FFF2-40B4-BE49-F238E27FC236}">
                  <a16:creationId xmlns:a16="http://schemas.microsoft.com/office/drawing/2014/main" id="{C7193D43-8FAD-40C8-B968-D6B7B8EE8D8F}"/>
                </a:ext>
              </a:extLst>
            </p:cNvPr>
            <p:cNvSpPr/>
            <p:nvPr/>
          </p:nvSpPr>
          <p:spPr>
            <a:xfrm rot="8716295">
              <a:off x="198171" y="358459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0" name="Forme libre : forme 399">
              <a:extLst>
                <a:ext uri="{FF2B5EF4-FFF2-40B4-BE49-F238E27FC236}">
                  <a16:creationId xmlns:a16="http://schemas.microsoft.com/office/drawing/2014/main" id="{F68A3447-0210-45C1-9F87-4B1D4BFE9738}"/>
                </a:ext>
              </a:extLst>
            </p:cNvPr>
            <p:cNvSpPr/>
            <p:nvPr/>
          </p:nvSpPr>
          <p:spPr>
            <a:xfrm rot="8716295">
              <a:off x="186119" y="344581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1" name="Forme libre : forme 400">
              <a:extLst>
                <a:ext uri="{FF2B5EF4-FFF2-40B4-BE49-F238E27FC236}">
                  <a16:creationId xmlns:a16="http://schemas.microsoft.com/office/drawing/2014/main" id="{7AF4A353-4506-4959-86A0-C8690BF59E95}"/>
                </a:ext>
              </a:extLst>
            </p:cNvPr>
            <p:cNvSpPr/>
            <p:nvPr/>
          </p:nvSpPr>
          <p:spPr>
            <a:xfrm rot="8716295">
              <a:off x="413252" y="3834223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2" name="Forme libre : forme 401">
              <a:extLst>
                <a:ext uri="{FF2B5EF4-FFF2-40B4-BE49-F238E27FC236}">
                  <a16:creationId xmlns:a16="http://schemas.microsoft.com/office/drawing/2014/main" id="{598CEB9B-8E04-469F-A771-F927470C3F4E}"/>
                </a:ext>
              </a:extLst>
            </p:cNvPr>
            <p:cNvSpPr/>
            <p:nvPr/>
          </p:nvSpPr>
          <p:spPr>
            <a:xfrm rot="8716295">
              <a:off x="724407" y="345457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3" name="Forme libre : forme 402">
              <a:extLst>
                <a:ext uri="{FF2B5EF4-FFF2-40B4-BE49-F238E27FC236}">
                  <a16:creationId xmlns:a16="http://schemas.microsoft.com/office/drawing/2014/main" id="{AB980D08-B340-4454-A274-3AD08D2A9A3A}"/>
                </a:ext>
              </a:extLst>
            </p:cNvPr>
            <p:cNvSpPr/>
            <p:nvPr/>
          </p:nvSpPr>
          <p:spPr>
            <a:xfrm rot="8716295">
              <a:off x="813799" y="348381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4" name="Forme libre : forme 403">
              <a:extLst>
                <a:ext uri="{FF2B5EF4-FFF2-40B4-BE49-F238E27FC236}">
                  <a16:creationId xmlns:a16="http://schemas.microsoft.com/office/drawing/2014/main" id="{2652DA6E-5978-4E5D-A96D-58C298CBA732}"/>
                </a:ext>
              </a:extLst>
            </p:cNvPr>
            <p:cNvSpPr/>
            <p:nvPr/>
          </p:nvSpPr>
          <p:spPr>
            <a:xfrm rot="8716295">
              <a:off x="612173" y="354311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5" name="Forme libre : forme 404">
              <a:extLst>
                <a:ext uri="{FF2B5EF4-FFF2-40B4-BE49-F238E27FC236}">
                  <a16:creationId xmlns:a16="http://schemas.microsoft.com/office/drawing/2014/main" id="{BCA796D3-CCB0-45BE-BB99-D45334DE88BA}"/>
                </a:ext>
              </a:extLst>
            </p:cNvPr>
            <p:cNvSpPr/>
            <p:nvPr/>
          </p:nvSpPr>
          <p:spPr>
            <a:xfrm rot="8716295">
              <a:off x="487271" y="333444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6" name="Forme libre : forme 405">
              <a:extLst>
                <a:ext uri="{FF2B5EF4-FFF2-40B4-BE49-F238E27FC236}">
                  <a16:creationId xmlns:a16="http://schemas.microsoft.com/office/drawing/2014/main" id="{933101B8-7867-420E-81EE-0503A80C6D03}"/>
                </a:ext>
              </a:extLst>
            </p:cNvPr>
            <p:cNvSpPr/>
            <p:nvPr/>
          </p:nvSpPr>
          <p:spPr>
            <a:xfrm rot="8716295">
              <a:off x="702351" y="3584071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7" name="Forme libre : forme 406">
              <a:extLst>
                <a:ext uri="{FF2B5EF4-FFF2-40B4-BE49-F238E27FC236}">
                  <a16:creationId xmlns:a16="http://schemas.microsoft.com/office/drawing/2014/main" id="{5B641A15-3B25-4DD3-9A6C-0FFDEC9A133C}"/>
                </a:ext>
              </a:extLst>
            </p:cNvPr>
            <p:cNvSpPr/>
            <p:nvPr/>
          </p:nvSpPr>
          <p:spPr>
            <a:xfrm rot="8716295">
              <a:off x="460900" y="343447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8" name="Forme libre : forme 407">
              <a:extLst>
                <a:ext uri="{FF2B5EF4-FFF2-40B4-BE49-F238E27FC236}">
                  <a16:creationId xmlns:a16="http://schemas.microsoft.com/office/drawing/2014/main" id="{E763D240-1B00-445A-81E2-30AFA6DA38B9}"/>
                </a:ext>
              </a:extLst>
            </p:cNvPr>
            <p:cNvSpPr/>
            <p:nvPr/>
          </p:nvSpPr>
          <p:spPr>
            <a:xfrm rot="7484129">
              <a:off x="807282" y="377542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9" name="Forme libre : forme 408">
              <a:extLst>
                <a:ext uri="{FF2B5EF4-FFF2-40B4-BE49-F238E27FC236}">
                  <a16:creationId xmlns:a16="http://schemas.microsoft.com/office/drawing/2014/main" id="{73387E34-81D2-4A73-B141-75343A132394}"/>
                </a:ext>
              </a:extLst>
            </p:cNvPr>
            <p:cNvSpPr/>
            <p:nvPr/>
          </p:nvSpPr>
          <p:spPr>
            <a:xfrm rot="13089394">
              <a:off x="912102" y="374195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0" name="Forme libre : forme 409">
              <a:extLst>
                <a:ext uri="{FF2B5EF4-FFF2-40B4-BE49-F238E27FC236}">
                  <a16:creationId xmlns:a16="http://schemas.microsoft.com/office/drawing/2014/main" id="{CCA2FEEB-CE96-44BC-8FB9-EA169A41218A}"/>
                </a:ext>
              </a:extLst>
            </p:cNvPr>
            <p:cNvSpPr/>
            <p:nvPr/>
          </p:nvSpPr>
          <p:spPr>
            <a:xfrm rot="8716295">
              <a:off x="1097687" y="355027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1" name="Forme libre : forme 410">
              <a:extLst>
                <a:ext uri="{FF2B5EF4-FFF2-40B4-BE49-F238E27FC236}">
                  <a16:creationId xmlns:a16="http://schemas.microsoft.com/office/drawing/2014/main" id="{E1A40A9E-A324-487B-A5D9-A64B315CC0DB}"/>
                </a:ext>
              </a:extLst>
            </p:cNvPr>
            <p:cNvSpPr/>
            <p:nvPr/>
          </p:nvSpPr>
          <p:spPr>
            <a:xfrm rot="8716295">
              <a:off x="1045882" y="344668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2" name="Forme libre : forme 411">
              <a:extLst>
                <a:ext uri="{FF2B5EF4-FFF2-40B4-BE49-F238E27FC236}">
                  <a16:creationId xmlns:a16="http://schemas.microsoft.com/office/drawing/2014/main" id="{A6958C47-9B80-4B26-AABB-8FF29B27BC9F}"/>
                </a:ext>
              </a:extLst>
            </p:cNvPr>
            <p:cNvSpPr/>
            <p:nvPr/>
          </p:nvSpPr>
          <p:spPr>
            <a:xfrm rot="8716295">
              <a:off x="802636" y="347690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3" name="Forme libre : forme 412">
              <a:extLst>
                <a:ext uri="{FF2B5EF4-FFF2-40B4-BE49-F238E27FC236}">
                  <a16:creationId xmlns:a16="http://schemas.microsoft.com/office/drawing/2014/main" id="{8E6D0100-AF69-44B2-A5CF-E8C0130AB7E9}"/>
                </a:ext>
              </a:extLst>
            </p:cNvPr>
            <p:cNvSpPr/>
            <p:nvPr/>
          </p:nvSpPr>
          <p:spPr>
            <a:xfrm rot="8716295">
              <a:off x="980088" y="331766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4" name="Forme libre : forme 413">
              <a:extLst>
                <a:ext uri="{FF2B5EF4-FFF2-40B4-BE49-F238E27FC236}">
                  <a16:creationId xmlns:a16="http://schemas.microsoft.com/office/drawing/2014/main" id="{DDF69E8D-616E-4B06-B6E7-5816DA160ADA}"/>
                </a:ext>
              </a:extLst>
            </p:cNvPr>
            <p:cNvSpPr/>
            <p:nvPr/>
          </p:nvSpPr>
          <p:spPr>
            <a:xfrm rot="8716295">
              <a:off x="653978" y="436312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5" name="Forme libre : forme 414">
              <a:extLst>
                <a:ext uri="{FF2B5EF4-FFF2-40B4-BE49-F238E27FC236}">
                  <a16:creationId xmlns:a16="http://schemas.microsoft.com/office/drawing/2014/main" id="{28F41443-BBE2-4975-B85B-8718620F25A2}"/>
                </a:ext>
              </a:extLst>
            </p:cNvPr>
            <p:cNvSpPr/>
            <p:nvPr/>
          </p:nvSpPr>
          <p:spPr>
            <a:xfrm rot="8716295">
              <a:off x="743370" y="439236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6" name="Forme libre : forme 415">
              <a:extLst>
                <a:ext uri="{FF2B5EF4-FFF2-40B4-BE49-F238E27FC236}">
                  <a16:creationId xmlns:a16="http://schemas.microsoft.com/office/drawing/2014/main" id="{66BEE935-162B-468C-A488-08BB53F0E96A}"/>
                </a:ext>
              </a:extLst>
            </p:cNvPr>
            <p:cNvSpPr/>
            <p:nvPr/>
          </p:nvSpPr>
          <p:spPr>
            <a:xfrm rot="8716295">
              <a:off x="698520" y="430608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7" name="Forme libre : forme 416">
              <a:extLst>
                <a:ext uri="{FF2B5EF4-FFF2-40B4-BE49-F238E27FC236}">
                  <a16:creationId xmlns:a16="http://schemas.microsoft.com/office/drawing/2014/main" id="{C6A86155-7B92-42A4-B02E-66184BF812F2}"/>
                </a:ext>
              </a:extLst>
            </p:cNvPr>
            <p:cNvSpPr/>
            <p:nvPr/>
          </p:nvSpPr>
          <p:spPr>
            <a:xfrm rot="8716295">
              <a:off x="541744" y="445166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8" name="Forme libre : forme 417">
              <a:extLst>
                <a:ext uri="{FF2B5EF4-FFF2-40B4-BE49-F238E27FC236}">
                  <a16:creationId xmlns:a16="http://schemas.microsoft.com/office/drawing/2014/main" id="{46BFD870-BFFF-4A29-A35F-C7406F7430F7}"/>
                </a:ext>
              </a:extLst>
            </p:cNvPr>
            <p:cNvSpPr/>
            <p:nvPr/>
          </p:nvSpPr>
          <p:spPr>
            <a:xfrm rot="8716295">
              <a:off x="416841" y="424299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9" name="Forme libre : forme 418">
              <a:extLst>
                <a:ext uri="{FF2B5EF4-FFF2-40B4-BE49-F238E27FC236}">
                  <a16:creationId xmlns:a16="http://schemas.microsoft.com/office/drawing/2014/main" id="{A679BEA0-D0C5-41E0-ADCB-C970608B53F5}"/>
                </a:ext>
              </a:extLst>
            </p:cNvPr>
            <p:cNvSpPr/>
            <p:nvPr/>
          </p:nvSpPr>
          <p:spPr>
            <a:xfrm rot="8716295">
              <a:off x="404789" y="410421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0" name="Forme libre : forme 419">
              <a:extLst>
                <a:ext uri="{FF2B5EF4-FFF2-40B4-BE49-F238E27FC236}">
                  <a16:creationId xmlns:a16="http://schemas.microsoft.com/office/drawing/2014/main" id="{12FE079E-BD6C-4326-BBC6-E7FED6AEB0DE}"/>
                </a:ext>
              </a:extLst>
            </p:cNvPr>
            <p:cNvSpPr/>
            <p:nvPr/>
          </p:nvSpPr>
          <p:spPr>
            <a:xfrm rot="8716295">
              <a:off x="631922" y="449261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1" name="Forme libre : forme 420">
              <a:extLst>
                <a:ext uri="{FF2B5EF4-FFF2-40B4-BE49-F238E27FC236}">
                  <a16:creationId xmlns:a16="http://schemas.microsoft.com/office/drawing/2014/main" id="{ADCC2EDC-1B28-4142-9C4B-B780064981F4}"/>
                </a:ext>
              </a:extLst>
            </p:cNvPr>
            <p:cNvSpPr/>
            <p:nvPr/>
          </p:nvSpPr>
          <p:spPr>
            <a:xfrm rot="8716295">
              <a:off x="943077" y="411297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2" name="Forme libre : forme 421">
              <a:extLst>
                <a:ext uri="{FF2B5EF4-FFF2-40B4-BE49-F238E27FC236}">
                  <a16:creationId xmlns:a16="http://schemas.microsoft.com/office/drawing/2014/main" id="{85A46BE2-B28A-4B10-A98B-E1A4C9718784}"/>
                </a:ext>
              </a:extLst>
            </p:cNvPr>
            <p:cNvSpPr/>
            <p:nvPr/>
          </p:nvSpPr>
          <p:spPr>
            <a:xfrm rot="8716295">
              <a:off x="1032469" y="414221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3" name="Forme libre : forme 422">
              <a:extLst>
                <a:ext uri="{FF2B5EF4-FFF2-40B4-BE49-F238E27FC236}">
                  <a16:creationId xmlns:a16="http://schemas.microsoft.com/office/drawing/2014/main" id="{B997AC73-4A2E-4369-A0A3-B98AEFAEB0D2}"/>
                </a:ext>
              </a:extLst>
            </p:cNvPr>
            <p:cNvSpPr/>
            <p:nvPr/>
          </p:nvSpPr>
          <p:spPr>
            <a:xfrm rot="8716295">
              <a:off x="830843" y="420151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4" name="Forme libre : forme 423">
              <a:extLst>
                <a:ext uri="{FF2B5EF4-FFF2-40B4-BE49-F238E27FC236}">
                  <a16:creationId xmlns:a16="http://schemas.microsoft.com/office/drawing/2014/main" id="{B0F441EE-58D5-406D-84C8-BF6FB45F3E10}"/>
                </a:ext>
              </a:extLst>
            </p:cNvPr>
            <p:cNvSpPr/>
            <p:nvPr/>
          </p:nvSpPr>
          <p:spPr>
            <a:xfrm rot="8716295">
              <a:off x="705941" y="399284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5" name="Forme libre : forme 424">
              <a:extLst>
                <a:ext uri="{FF2B5EF4-FFF2-40B4-BE49-F238E27FC236}">
                  <a16:creationId xmlns:a16="http://schemas.microsoft.com/office/drawing/2014/main" id="{C2116289-0ECD-487D-B988-2550AD513EBC}"/>
                </a:ext>
              </a:extLst>
            </p:cNvPr>
            <p:cNvSpPr/>
            <p:nvPr/>
          </p:nvSpPr>
          <p:spPr>
            <a:xfrm rot="8716295">
              <a:off x="921021" y="424246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6" name="Forme libre : forme 425">
              <a:extLst>
                <a:ext uri="{FF2B5EF4-FFF2-40B4-BE49-F238E27FC236}">
                  <a16:creationId xmlns:a16="http://schemas.microsoft.com/office/drawing/2014/main" id="{BB2DB617-3C2B-44C3-B229-D2E3AF1F6397}"/>
                </a:ext>
              </a:extLst>
            </p:cNvPr>
            <p:cNvSpPr/>
            <p:nvPr/>
          </p:nvSpPr>
          <p:spPr>
            <a:xfrm rot="8716295">
              <a:off x="679570" y="409286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7" name="Forme libre : forme 426">
              <a:extLst>
                <a:ext uri="{FF2B5EF4-FFF2-40B4-BE49-F238E27FC236}">
                  <a16:creationId xmlns:a16="http://schemas.microsoft.com/office/drawing/2014/main" id="{AB1A41E1-EFF1-4B46-86EA-03A5D3137ECE}"/>
                </a:ext>
              </a:extLst>
            </p:cNvPr>
            <p:cNvSpPr/>
            <p:nvPr/>
          </p:nvSpPr>
          <p:spPr>
            <a:xfrm rot="7484129">
              <a:off x="1025952" y="443381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8" name="Forme libre : forme 427">
              <a:extLst>
                <a:ext uri="{FF2B5EF4-FFF2-40B4-BE49-F238E27FC236}">
                  <a16:creationId xmlns:a16="http://schemas.microsoft.com/office/drawing/2014/main" id="{FC716ACC-6F89-47F8-ABE1-58EDBEC4B6CB}"/>
                </a:ext>
              </a:extLst>
            </p:cNvPr>
            <p:cNvSpPr/>
            <p:nvPr/>
          </p:nvSpPr>
          <p:spPr>
            <a:xfrm rot="13089394">
              <a:off x="1130772" y="440035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9" name="Forme libre : forme 428">
              <a:extLst>
                <a:ext uri="{FF2B5EF4-FFF2-40B4-BE49-F238E27FC236}">
                  <a16:creationId xmlns:a16="http://schemas.microsoft.com/office/drawing/2014/main" id="{FBEB36D4-4104-4CEA-A5D9-270F8D790AEC}"/>
                </a:ext>
              </a:extLst>
            </p:cNvPr>
            <p:cNvSpPr/>
            <p:nvPr/>
          </p:nvSpPr>
          <p:spPr>
            <a:xfrm rot="8716295">
              <a:off x="1316357" y="420867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0" name="Forme libre : forme 429">
              <a:extLst>
                <a:ext uri="{FF2B5EF4-FFF2-40B4-BE49-F238E27FC236}">
                  <a16:creationId xmlns:a16="http://schemas.microsoft.com/office/drawing/2014/main" id="{F7950902-6556-4E4C-B905-0DD59A5961CC}"/>
                </a:ext>
              </a:extLst>
            </p:cNvPr>
            <p:cNvSpPr/>
            <p:nvPr/>
          </p:nvSpPr>
          <p:spPr>
            <a:xfrm rot="8716295">
              <a:off x="1264552" y="410507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1" name="Forme libre : forme 430">
              <a:extLst>
                <a:ext uri="{FF2B5EF4-FFF2-40B4-BE49-F238E27FC236}">
                  <a16:creationId xmlns:a16="http://schemas.microsoft.com/office/drawing/2014/main" id="{4F003DDA-355E-4DAE-A8BB-3FB35F5F4EAE}"/>
                </a:ext>
              </a:extLst>
            </p:cNvPr>
            <p:cNvSpPr/>
            <p:nvPr/>
          </p:nvSpPr>
          <p:spPr>
            <a:xfrm rot="8716295">
              <a:off x="1021306" y="413529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2" name="Forme libre : forme 431">
              <a:extLst>
                <a:ext uri="{FF2B5EF4-FFF2-40B4-BE49-F238E27FC236}">
                  <a16:creationId xmlns:a16="http://schemas.microsoft.com/office/drawing/2014/main" id="{3F6E657C-3858-4D98-91AA-063146CE262A}"/>
                </a:ext>
              </a:extLst>
            </p:cNvPr>
            <p:cNvSpPr/>
            <p:nvPr/>
          </p:nvSpPr>
          <p:spPr>
            <a:xfrm rot="8716295">
              <a:off x="1198758" y="397605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3" name="Forme libre : forme 432">
              <a:extLst>
                <a:ext uri="{FF2B5EF4-FFF2-40B4-BE49-F238E27FC236}">
                  <a16:creationId xmlns:a16="http://schemas.microsoft.com/office/drawing/2014/main" id="{6881A455-FC30-4886-9181-EEE1433B5DFF}"/>
                </a:ext>
              </a:extLst>
            </p:cNvPr>
            <p:cNvSpPr/>
            <p:nvPr/>
          </p:nvSpPr>
          <p:spPr>
            <a:xfrm rot="8716295">
              <a:off x="849927" y="5056695"/>
              <a:ext cx="61059" cy="114384"/>
            </a:xfrm>
            <a:custGeom>
              <a:avLst/>
              <a:gdLst>
                <a:gd name="connsiteX0" fmla="*/ 0 w 61059"/>
                <a:gd name="connsiteY0" fmla="*/ 114384 h 114384"/>
                <a:gd name="connsiteX1" fmla="*/ 0 w 61059"/>
                <a:gd name="connsiteY1" fmla="*/ 0 h 114384"/>
                <a:gd name="connsiteX2" fmla="*/ 61059 w 61059"/>
                <a:gd name="connsiteY2" fmla="*/ 42324 h 114384"/>
                <a:gd name="connsiteX3" fmla="*/ 61059 w 61059"/>
                <a:gd name="connsiteY3" fmla="*/ 90234 h 114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059" h="114384">
                  <a:moveTo>
                    <a:pt x="0" y="114384"/>
                  </a:moveTo>
                  <a:lnTo>
                    <a:pt x="0" y="0"/>
                  </a:lnTo>
                  <a:lnTo>
                    <a:pt x="61059" y="42324"/>
                  </a:lnTo>
                  <a:lnTo>
                    <a:pt x="61059" y="902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4" name="Forme libre : forme 433">
              <a:extLst>
                <a:ext uri="{FF2B5EF4-FFF2-40B4-BE49-F238E27FC236}">
                  <a16:creationId xmlns:a16="http://schemas.microsoft.com/office/drawing/2014/main" id="{CE4C8C85-2581-4CDF-9EB4-9C8C2E2C159C}"/>
                </a:ext>
              </a:extLst>
            </p:cNvPr>
            <p:cNvSpPr/>
            <p:nvPr/>
          </p:nvSpPr>
          <p:spPr>
            <a:xfrm rot="8716295">
              <a:off x="1072880" y="5030752"/>
              <a:ext cx="60148" cy="142578"/>
            </a:xfrm>
            <a:custGeom>
              <a:avLst/>
              <a:gdLst>
                <a:gd name="connsiteX0" fmla="*/ 0 w 60148"/>
                <a:gd name="connsiteY0" fmla="*/ 142578 h 142578"/>
                <a:gd name="connsiteX1" fmla="*/ 0 w 60148"/>
                <a:gd name="connsiteY1" fmla="*/ 0 h 142578"/>
                <a:gd name="connsiteX2" fmla="*/ 60148 w 60148"/>
                <a:gd name="connsiteY2" fmla="*/ 41693 h 142578"/>
                <a:gd name="connsiteX3" fmla="*/ 60148 w 60148"/>
                <a:gd name="connsiteY3" fmla="*/ 101569 h 142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8" h="142578">
                  <a:moveTo>
                    <a:pt x="0" y="142578"/>
                  </a:moveTo>
                  <a:lnTo>
                    <a:pt x="0" y="0"/>
                  </a:lnTo>
                  <a:lnTo>
                    <a:pt x="60148" y="41693"/>
                  </a:lnTo>
                  <a:lnTo>
                    <a:pt x="60148" y="1015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5" name="Forme libre : forme 434">
              <a:extLst>
                <a:ext uri="{FF2B5EF4-FFF2-40B4-BE49-F238E27FC236}">
                  <a16:creationId xmlns:a16="http://schemas.microsoft.com/office/drawing/2014/main" id="{683CB711-80B1-4038-ABB6-5DBDA3CAB0C0}"/>
                </a:ext>
              </a:extLst>
            </p:cNvPr>
            <p:cNvSpPr/>
            <p:nvPr/>
          </p:nvSpPr>
          <p:spPr>
            <a:xfrm rot="8716295">
              <a:off x="921687" y="496578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6" name="Forme libre : forme 435">
              <a:extLst>
                <a:ext uri="{FF2B5EF4-FFF2-40B4-BE49-F238E27FC236}">
                  <a16:creationId xmlns:a16="http://schemas.microsoft.com/office/drawing/2014/main" id="{8B993DFE-EE3E-4E92-8884-9A227F7DEAD1}"/>
                </a:ext>
              </a:extLst>
            </p:cNvPr>
            <p:cNvSpPr/>
            <p:nvPr/>
          </p:nvSpPr>
          <p:spPr>
            <a:xfrm rot="8716295">
              <a:off x="762271" y="5108547"/>
              <a:ext cx="53742" cy="49705"/>
            </a:xfrm>
            <a:custGeom>
              <a:avLst/>
              <a:gdLst>
                <a:gd name="connsiteX0" fmla="*/ 8658 w 53742"/>
                <a:gd name="connsiteY0" fmla="*/ 41503 h 49705"/>
                <a:gd name="connsiteX1" fmla="*/ 0 w 53742"/>
                <a:gd name="connsiteY1" fmla="*/ 20999 h 49705"/>
                <a:gd name="connsiteX2" fmla="*/ 0 w 53742"/>
                <a:gd name="connsiteY2" fmla="*/ 20542 h 49705"/>
                <a:gd name="connsiteX3" fmla="*/ 8658 w 53742"/>
                <a:gd name="connsiteY3" fmla="*/ 38 h 49705"/>
                <a:gd name="connsiteX4" fmla="*/ 8747 w 53742"/>
                <a:gd name="connsiteY4" fmla="*/ 0 h 49705"/>
                <a:gd name="connsiteX5" fmla="*/ 53742 w 53742"/>
                <a:gd name="connsiteY5" fmla="*/ 31189 h 49705"/>
                <a:gd name="connsiteX6" fmla="*/ 49668 w 53742"/>
                <a:gd name="connsiteY6" fmla="*/ 41048 h 49705"/>
                <a:gd name="connsiteX7" fmla="*/ 29162 w 53742"/>
                <a:gd name="connsiteY7" fmla="*/ 49705 h 49705"/>
                <a:gd name="connsiteX8" fmla="*/ 8658 w 53742"/>
                <a:gd name="connsiteY8" fmla="*/ 41503 h 49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2" h="49705">
                  <a:moveTo>
                    <a:pt x="8658" y="41503"/>
                  </a:moveTo>
                  <a:cubicBezTo>
                    <a:pt x="3190" y="36035"/>
                    <a:pt x="0" y="28744"/>
                    <a:pt x="0" y="20999"/>
                  </a:cubicBezTo>
                  <a:lnTo>
                    <a:pt x="0" y="20542"/>
                  </a:lnTo>
                  <a:cubicBezTo>
                    <a:pt x="0" y="12796"/>
                    <a:pt x="3190" y="5506"/>
                    <a:pt x="8658" y="38"/>
                  </a:cubicBezTo>
                  <a:lnTo>
                    <a:pt x="8747" y="0"/>
                  </a:lnTo>
                  <a:lnTo>
                    <a:pt x="53742" y="31189"/>
                  </a:lnTo>
                  <a:lnTo>
                    <a:pt x="49668" y="41048"/>
                  </a:lnTo>
                  <a:cubicBezTo>
                    <a:pt x="44200" y="46516"/>
                    <a:pt x="36909" y="49705"/>
                    <a:pt x="29162" y="49705"/>
                  </a:cubicBezTo>
                  <a:cubicBezTo>
                    <a:pt x="21416" y="49705"/>
                    <a:pt x="14126" y="46971"/>
                    <a:pt x="8658" y="415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7" name="Forme libre : forme 436">
              <a:extLst>
                <a:ext uri="{FF2B5EF4-FFF2-40B4-BE49-F238E27FC236}">
                  <a16:creationId xmlns:a16="http://schemas.microsoft.com/office/drawing/2014/main" id="{8DF09363-6B2B-44FC-9677-ED983FC9E371}"/>
                </a:ext>
              </a:extLst>
            </p:cNvPr>
            <p:cNvSpPr/>
            <p:nvPr/>
          </p:nvSpPr>
          <p:spPr>
            <a:xfrm rot="8716295">
              <a:off x="635497" y="4902607"/>
              <a:ext cx="203847" cy="195874"/>
            </a:xfrm>
            <a:custGeom>
              <a:avLst/>
              <a:gdLst>
                <a:gd name="connsiteX0" fmla="*/ 90709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203847 w 203847"/>
                <a:gd name="connsiteY5" fmla="*/ 0 h 195874"/>
                <a:gd name="connsiteX6" fmla="*/ 203847 w 203847"/>
                <a:gd name="connsiteY6" fmla="*/ 55323 h 195874"/>
                <a:gd name="connsiteX7" fmla="*/ 139055 w 203847"/>
                <a:gd name="connsiteY7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95874">
                  <a:moveTo>
                    <a:pt x="90709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8" name="Forme libre : forme 437">
              <a:extLst>
                <a:ext uri="{FF2B5EF4-FFF2-40B4-BE49-F238E27FC236}">
                  <a16:creationId xmlns:a16="http://schemas.microsoft.com/office/drawing/2014/main" id="{532437B6-4FB3-4387-A6A2-9CA74243FC9D}"/>
                </a:ext>
              </a:extLst>
            </p:cNvPr>
            <p:cNvSpPr/>
            <p:nvPr/>
          </p:nvSpPr>
          <p:spPr>
            <a:xfrm rot="8716295">
              <a:off x="627956" y="476391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9" name="Forme libre : forme 438">
              <a:extLst>
                <a:ext uri="{FF2B5EF4-FFF2-40B4-BE49-F238E27FC236}">
                  <a16:creationId xmlns:a16="http://schemas.microsoft.com/office/drawing/2014/main" id="{DC114E70-E891-401E-9C24-8619044C69DA}"/>
                </a:ext>
              </a:extLst>
            </p:cNvPr>
            <p:cNvSpPr/>
            <p:nvPr/>
          </p:nvSpPr>
          <p:spPr>
            <a:xfrm rot="8716295">
              <a:off x="1166244" y="477267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0" name="Forme libre : forme 439">
              <a:extLst>
                <a:ext uri="{FF2B5EF4-FFF2-40B4-BE49-F238E27FC236}">
                  <a16:creationId xmlns:a16="http://schemas.microsoft.com/office/drawing/2014/main" id="{1B83E310-81D3-4935-AA0D-87EA212E2F8C}"/>
                </a:ext>
              </a:extLst>
            </p:cNvPr>
            <p:cNvSpPr/>
            <p:nvPr/>
          </p:nvSpPr>
          <p:spPr>
            <a:xfrm rot="8716295">
              <a:off x="1255636" y="480191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1" name="Forme libre : forme 440">
              <a:extLst>
                <a:ext uri="{FF2B5EF4-FFF2-40B4-BE49-F238E27FC236}">
                  <a16:creationId xmlns:a16="http://schemas.microsoft.com/office/drawing/2014/main" id="{8A0A400D-6D17-4603-B756-25D5B32DB841}"/>
                </a:ext>
              </a:extLst>
            </p:cNvPr>
            <p:cNvSpPr/>
            <p:nvPr/>
          </p:nvSpPr>
          <p:spPr>
            <a:xfrm rot="8716295">
              <a:off x="1054010" y="486121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2" name="Forme libre : forme 441">
              <a:extLst>
                <a:ext uri="{FF2B5EF4-FFF2-40B4-BE49-F238E27FC236}">
                  <a16:creationId xmlns:a16="http://schemas.microsoft.com/office/drawing/2014/main" id="{A46C9B70-DE37-4964-9FA4-17387E1BA45F}"/>
                </a:ext>
              </a:extLst>
            </p:cNvPr>
            <p:cNvSpPr/>
            <p:nvPr/>
          </p:nvSpPr>
          <p:spPr>
            <a:xfrm rot="8716295">
              <a:off x="929108" y="465254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3" name="Forme libre : forme 442">
              <a:extLst>
                <a:ext uri="{FF2B5EF4-FFF2-40B4-BE49-F238E27FC236}">
                  <a16:creationId xmlns:a16="http://schemas.microsoft.com/office/drawing/2014/main" id="{B9F4170A-6E5B-49E4-8193-4286DEBE2EC9}"/>
                </a:ext>
              </a:extLst>
            </p:cNvPr>
            <p:cNvSpPr/>
            <p:nvPr/>
          </p:nvSpPr>
          <p:spPr>
            <a:xfrm rot="8716295">
              <a:off x="1144188" y="490216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4" name="Forme libre : forme 443">
              <a:extLst>
                <a:ext uri="{FF2B5EF4-FFF2-40B4-BE49-F238E27FC236}">
                  <a16:creationId xmlns:a16="http://schemas.microsoft.com/office/drawing/2014/main" id="{9F81EDCD-5E16-426F-9754-D2A37212C8FE}"/>
                </a:ext>
              </a:extLst>
            </p:cNvPr>
            <p:cNvSpPr/>
            <p:nvPr/>
          </p:nvSpPr>
          <p:spPr>
            <a:xfrm rot="8716295">
              <a:off x="902737" y="475256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5" name="Forme libre : forme 444">
              <a:extLst>
                <a:ext uri="{FF2B5EF4-FFF2-40B4-BE49-F238E27FC236}">
                  <a16:creationId xmlns:a16="http://schemas.microsoft.com/office/drawing/2014/main" id="{179F229D-2224-4467-8649-9DF965D65362}"/>
                </a:ext>
              </a:extLst>
            </p:cNvPr>
            <p:cNvSpPr/>
            <p:nvPr/>
          </p:nvSpPr>
          <p:spPr>
            <a:xfrm rot="7484129">
              <a:off x="1313689" y="5058219"/>
              <a:ext cx="97325" cy="159603"/>
            </a:xfrm>
            <a:custGeom>
              <a:avLst/>
              <a:gdLst>
                <a:gd name="connsiteX0" fmla="*/ 0 w 97325"/>
                <a:gd name="connsiteY0" fmla="*/ 19052 h 159603"/>
                <a:gd name="connsiteX1" fmla="*/ 0 w 97325"/>
                <a:gd name="connsiteY1" fmla="*/ 0 h 159603"/>
                <a:gd name="connsiteX2" fmla="*/ 13209 w 97325"/>
                <a:gd name="connsiteY2" fmla="*/ 19052 h 159603"/>
                <a:gd name="connsiteX3" fmla="*/ 90710 w 97325"/>
                <a:gd name="connsiteY3" fmla="*/ 159603 h 159603"/>
                <a:gd name="connsiteX4" fmla="*/ 47847 w 97325"/>
                <a:gd name="connsiteY4" fmla="*/ 79858 h 159603"/>
                <a:gd name="connsiteX5" fmla="*/ 50421 w 97325"/>
                <a:gd name="connsiteY5" fmla="*/ 72721 h 159603"/>
                <a:gd name="connsiteX6" fmla="*/ 97325 w 97325"/>
                <a:gd name="connsiteY6" fmla="*/ 140370 h 159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7325" h="159603">
                  <a:moveTo>
                    <a:pt x="0" y="19052"/>
                  </a:moveTo>
                  <a:lnTo>
                    <a:pt x="0" y="0"/>
                  </a:lnTo>
                  <a:lnTo>
                    <a:pt x="13209" y="19052"/>
                  </a:lnTo>
                  <a:close/>
                  <a:moveTo>
                    <a:pt x="90710" y="159603"/>
                  </a:moveTo>
                  <a:lnTo>
                    <a:pt x="47847" y="79858"/>
                  </a:lnTo>
                  <a:lnTo>
                    <a:pt x="50421" y="72721"/>
                  </a:lnTo>
                  <a:lnTo>
                    <a:pt x="97325" y="14037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6" name="Forme libre : forme 445">
              <a:extLst>
                <a:ext uri="{FF2B5EF4-FFF2-40B4-BE49-F238E27FC236}">
                  <a16:creationId xmlns:a16="http://schemas.microsoft.com/office/drawing/2014/main" id="{0DC6D2C5-5676-4685-B6C7-B0D9124302BA}"/>
                </a:ext>
              </a:extLst>
            </p:cNvPr>
            <p:cNvSpPr/>
            <p:nvPr/>
          </p:nvSpPr>
          <p:spPr>
            <a:xfrm rot="13089394">
              <a:off x="1435176" y="5064332"/>
              <a:ext cx="213297" cy="83320"/>
            </a:xfrm>
            <a:custGeom>
              <a:avLst/>
              <a:gdLst>
                <a:gd name="connsiteX0" fmla="*/ 213297 w 213297"/>
                <a:gd name="connsiteY0" fmla="*/ 12691 h 83320"/>
                <a:gd name="connsiteX1" fmla="*/ 32310 w 213297"/>
                <a:gd name="connsiteY1" fmla="*/ 83320 h 83320"/>
                <a:gd name="connsiteX2" fmla="*/ 0 w 213297"/>
                <a:gd name="connsiteY2" fmla="*/ 77753 h 83320"/>
                <a:gd name="connsiteX3" fmla="*/ 69926 w 213297"/>
                <a:gd name="connsiteY3" fmla="*/ 22813 h 83320"/>
                <a:gd name="connsiteX4" fmla="*/ 94662 w 213297"/>
                <a:gd name="connsiteY4" fmla="*/ 36418 h 83320"/>
                <a:gd name="connsiteX5" fmla="*/ 144323 w 213297"/>
                <a:gd name="connsiteY5" fmla="*/ 27589 h 83320"/>
                <a:gd name="connsiteX6" fmla="*/ 212193 w 213297"/>
                <a:gd name="connsiteY6" fmla="*/ 0 h 83320"/>
                <a:gd name="connsiteX7" fmla="*/ 213297 w 213297"/>
                <a:gd name="connsiteY7" fmla="*/ 7173 h 83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3297" h="83320">
                  <a:moveTo>
                    <a:pt x="213297" y="12691"/>
                  </a:moveTo>
                  <a:cubicBezTo>
                    <a:pt x="154807" y="62904"/>
                    <a:pt x="78108" y="80561"/>
                    <a:pt x="32310" y="83320"/>
                  </a:cubicBezTo>
                  <a:lnTo>
                    <a:pt x="0" y="77753"/>
                  </a:lnTo>
                  <a:lnTo>
                    <a:pt x="69926" y="22813"/>
                  </a:lnTo>
                  <a:lnTo>
                    <a:pt x="94662" y="36418"/>
                  </a:lnTo>
                  <a:cubicBezTo>
                    <a:pt x="111768" y="35866"/>
                    <a:pt x="128321" y="32555"/>
                    <a:pt x="144323" y="27589"/>
                  </a:cubicBezTo>
                  <a:cubicBezTo>
                    <a:pt x="167498" y="20416"/>
                    <a:pt x="190122" y="11036"/>
                    <a:pt x="212193" y="0"/>
                  </a:cubicBezTo>
                  <a:cubicBezTo>
                    <a:pt x="212745" y="2207"/>
                    <a:pt x="213297" y="4966"/>
                    <a:pt x="213297" y="71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7" name="Forme libre : forme 446">
              <a:extLst>
                <a:ext uri="{FF2B5EF4-FFF2-40B4-BE49-F238E27FC236}">
                  <a16:creationId xmlns:a16="http://schemas.microsoft.com/office/drawing/2014/main" id="{933D0F57-4827-4379-ADFC-4E442A7AA9F5}"/>
                </a:ext>
              </a:extLst>
            </p:cNvPr>
            <p:cNvSpPr/>
            <p:nvPr/>
          </p:nvSpPr>
          <p:spPr>
            <a:xfrm rot="8716295">
              <a:off x="1539524" y="486837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8" name="Forme libre : forme 447">
              <a:extLst>
                <a:ext uri="{FF2B5EF4-FFF2-40B4-BE49-F238E27FC236}">
                  <a16:creationId xmlns:a16="http://schemas.microsoft.com/office/drawing/2014/main" id="{F2B3C0A6-3119-4AF6-9904-83AA6D24B4D4}"/>
                </a:ext>
              </a:extLst>
            </p:cNvPr>
            <p:cNvSpPr/>
            <p:nvPr/>
          </p:nvSpPr>
          <p:spPr>
            <a:xfrm rot="8716295">
              <a:off x="1487719" y="476477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9" name="Forme libre : forme 448">
              <a:extLst>
                <a:ext uri="{FF2B5EF4-FFF2-40B4-BE49-F238E27FC236}">
                  <a16:creationId xmlns:a16="http://schemas.microsoft.com/office/drawing/2014/main" id="{A101E396-638E-4D53-9DD4-DFCEEB801BC5}"/>
                </a:ext>
              </a:extLst>
            </p:cNvPr>
            <p:cNvSpPr/>
            <p:nvPr/>
          </p:nvSpPr>
          <p:spPr>
            <a:xfrm rot="8716295">
              <a:off x="1244473" y="479499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0" name="Forme libre : forme 449">
              <a:extLst>
                <a:ext uri="{FF2B5EF4-FFF2-40B4-BE49-F238E27FC236}">
                  <a16:creationId xmlns:a16="http://schemas.microsoft.com/office/drawing/2014/main" id="{67402E49-E65F-45DA-8073-25DB882ECA1B}"/>
                </a:ext>
              </a:extLst>
            </p:cNvPr>
            <p:cNvSpPr/>
            <p:nvPr/>
          </p:nvSpPr>
          <p:spPr>
            <a:xfrm rot="8716295">
              <a:off x="1421925" y="463575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1" name="Forme libre : forme 450">
              <a:extLst>
                <a:ext uri="{FF2B5EF4-FFF2-40B4-BE49-F238E27FC236}">
                  <a16:creationId xmlns:a16="http://schemas.microsoft.com/office/drawing/2014/main" id="{4AD140D5-5D83-48BA-8FB5-0AE18019D236}"/>
                </a:ext>
              </a:extLst>
            </p:cNvPr>
            <p:cNvSpPr/>
            <p:nvPr/>
          </p:nvSpPr>
          <p:spPr>
            <a:xfrm rot="8716295">
              <a:off x="-3428" y="2405990"/>
              <a:ext cx="142167" cy="208592"/>
            </a:xfrm>
            <a:custGeom>
              <a:avLst/>
              <a:gdLst>
                <a:gd name="connsiteX0" fmla="*/ 81108 w 142167"/>
                <a:gd name="connsiteY0" fmla="*/ 208592 h 208592"/>
                <a:gd name="connsiteX1" fmla="*/ 81108 w 142167"/>
                <a:gd name="connsiteY1" fmla="*/ 69717 h 208592"/>
                <a:gd name="connsiteX2" fmla="*/ 81108 w 142167"/>
                <a:gd name="connsiteY2" fmla="*/ 65615 h 208592"/>
                <a:gd name="connsiteX3" fmla="*/ 60604 w 142167"/>
                <a:gd name="connsiteY3" fmla="*/ 50123 h 208592"/>
                <a:gd name="connsiteX4" fmla="*/ 0 w 142167"/>
                <a:gd name="connsiteY4" fmla="*/ 50123 h 208592"/>
                <a:gd name="connsiteX5" fmla="*/ 0 w 142167"/>
                <a:gd name="connsiteY5" fmla="*/ 0 h 208592"/>
                <a:gd name="connsiteX6" fmla="*/ 85210 w 142167"/>
                <a:gd name="connsiteY6" fmla="*/ 0 h 208592"/>
                <a:gd name="connsiteX7" fmla="*/ 142167 w 142167"/>
                <a:gd name="connsiteY7" fmla="*/ 50123 h 208592"/>
                <a:gd name="connsiteX8" fmla="*/ 142167 w 142167"/>
                <a:gd name="connsiteY8" fmla="*/ 120504 h 20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08592">
                  <a:moveTo>
                    <a:pt x="81108" y="208592"/>
                  </a:moveTo>
                  <a:lnTo>
                    <a:pt x="81108" y="69717"/>
                  </a:lnTo>
                  <a:cubicBezTo>
                    <a:pt x="81108" y="68350"/>
                    <a:pt x="81108" y="66983"/>
                    <a:pt x="81108" y="65615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10" y="0"/>
                  </a:lnTo>
                  <a:cubicBezTo>
                    <a:pt x="122118" y="0"/>
                    <a:pt x="142167" y="15948"/>
                    <a:pt x="142167" y="50123"/>
                  </a:cubicBezTo>
                  <a:lnTo>
                    <a:pt x="142167" y="1205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2" name="Forme libre : forme 451">
              <a:extLst>
                <a:ext uri="{FF2B5EF4-FFF2-40B4-BE49-F238E27FC236}">
                  <a16:creationId xmlns:a16="http://schemas.microsoft.com/office/drawing/2014/main" id="{2BA0993E-9FAB-4AEE-B83B-4CF3D7902044}"/>
                </a:ext>
              </a:extLst>
            </p:cNvPr>
            <p:cNvSpPr/>
            <p:nvPr/>
          </p:nvSpPr>
          <p:spPr>
            <a:xfrm rot="8716295">
              <a:off x="80015" y="241329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3" name="Forme libre : forme 452">
              <a:extLst>
                <a:ext uri="{FF2B5EF4-FFF2-40B4-BE49-F238E27FC236}">
                  <a16:creationId xmlns:a16="http://schemas.microsoft.com/office/drawing/2014/main" id="{CCF3EEA8-B3F9-461B-98BC-F35553672A96}"/>
                </a:ext>
              </a:extLst>
            </p:cNvPr>
            <p:cNvSpPr/>
            <p:nvPr/>
          </p:nvSpPr>
          <p:spPr>
            <a:xfrm rot="8716295">
              <a:off x="35165" y="232701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4" name="Forme libre : forme 453">
              <a:extLst>
                <a:ext uri="{FF2B5EF4-FFF2-40B4-BE49-F238E27FC236}">
                  <a16:creationId xmlns:a16="http://schemas.microsoft.com/office/drawing/2014/main" id="{7409E8F1-7A32-4862-9918-61EE35F1B801}"/>
                </a:ext>
              </a:extLst>
            </p:cNvPr>
            <p:cNvSpPr/>
            <p:nvPr/>
          </p:nvSpPr>
          <p:spPr>
            <a:xfrm rot="8716295">
              <a:off x="-20257" y="2217087"/>
              <a:ext cx="78731" cy="180665"/>
            </a:xfrm>
            <a:custGeom>
              <a:avLst/>
              <a:gdLst>
                <a:gd name="connsiteX0" fmla="*/ 0 w 78731"/>
                <a:gd name="connsiteY0" fmla="*/ 180665 h 180665"/>
                <a:gd name="connsiteX1" fmla="*/ 0 w 78731"/>
                <a:gd name="connsiteY1" fmla="*/ 40596 h 180665"/>
                <a:gd name="connsiteX2" fmla="*/ 78250 w 78731"/>
                <a:gd name="connsiteY2" fmla="*/ 0 h 180665"/>
                <a:gd name="connsiteX3" fmla="*/ 78731 w 78731"/>
                <a:gd name="connsiteY3" fmla="*/ 67083 h 180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731" h="180665">
                  <a:moveTo>
                    <a:pt x="0" y="180665"/>
                  </a:moveTo>
                  <a:lnTo>
                    <a:pt x="0" y="40596"/>
                  </a:lnTo>
                  <a:lnTo>
                    <a:pt x="78250" y="0"/>
                  </a:lnTo>
                  <a:lnTo>
                    <a:pt x="78731" y="670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5" name="Forme libre : forme 454">
              <a:extLst>
                <a:ext uri="{FF2B5EF4-FFF2-40B4-BE49-F238E27FC236}">
                  <a16:creationId xmlns:a16="http://schemas.microsoft.com/office/drawing/2014/main" id="{D1FF2FF9-6448-4826-95B6-0FAE856B0348}"/>
                </a:ext>
              </a:extLst>
            </p:cNvPr>
            <p:cNvSpPr/>
            <p:nvPr/>
          </p:nvSpPr>
          <p:spPr>
            <a:xfrm rot="8716295">
              <a:off x="-15341" y="2575209"/>
              <a:ext cx="103435" cy="152027"/>
            </a:xfrm>
            <a:custGeom>
              <a:avLst/>
              <a:gdLst>
                <a:gd name="connsiteX0" fmla="*/ 43288 w 103435"/>
                <a:gd name="connsiteY0" fmla="*/ 152027 h 152027"/>
                <a:gd name="connsiteX1" fmla="*/ 43288 w 103435"/>
                <a:gd name="connsiteY1" fmla="*/ 16404 h 152027"/>
                <a:gd name="connsiteX2" fmla="*/ 0 w 103435"/>
                <a:gd name="connsiteY2" fmla="*/ 16404 h 152027"/>
                <a:gd name="connsiteX3" fmla="*/ 0 w 103435"/>
                <a:gd name="connsiteY3" fmla="*/ 2278 h 152027"/>
                <a:gd name="connsiteX4" fmla="*/ 103435 w 103435"/>
                <a:gd name="connsiteY4" fmla="*/ 0 h 152027"/>
                <a:gd name="connsiteX5" fmla="*/ 103435 w 103435"/>
                <a:gd name="connsiteY5" fmla="*/ 65255 h 152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152027">
                  <a:moveTo>
                    <a:pt x="43288" y="152027"/>
                  </a:move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652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6" name="Forme libre : forme 455">
              <a:extLst>
                <a:ext uri="{FF2B5EF4-FFF2-40B4-BE49-F238E27FC236}">
                  <a16:creationId xmlns:a16="http://schemas.microsoft.com/office/drawing/2014/main" id="{D4422BA3-5FC8-407B-A01D-69AD0749DDD6}"/>
                </a:ext>
              </a:extLst>
            </p:cNvPr>
            <p:cNvSpPr/>
            <p:nvPr/>
          </p:nvSpPr>
          <p:spPr>
            <a:xfrm rot="8716295">
              <a:off x="279722" y="21339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7" name="Forme libre : forme 456">
              <a:extLst>
                <a:ext uri="{FF2B5EF4-FFF2-40B4-BE49-F238E27FC236}">
                  <a16:creationId xmlns:a16="http://schemas.microsoft.com/office/drawing/2014/main" id="{D39FDC20-561D-4627-BA38-506D7FCF7089}"/>
                </a:ext>
              </a:extLst>
            </p:cNvPr>
            <p:cNvSpPr/>
            <p:nvPr/>
          </p:nvSpPr>
          <p:spPr>
            <a:xfrm rot="8716295">
              <a:off x="369114" y="21631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8" name="Forme libre : forme 457">
              <a:extLst>
                <a:ext uri="{FF2B5EF4-FFF2-40B4-BE49-F238E27FC236}">
                  <a16:creationId xmlns:a16="http://schemas.microsoft.com/office/drawing/2014/main" id="{D14C1499-CA5F-496B-8BEC-69E04E19EA0D}"/>
                </a:ext>
              </a:extLst>
            </p:cNvPr>
            <p:cNvSpPr/>
            <p:nvPr/>
          </p:nvSpPr>
          <p:spPr>
            <a:xfrm rot="8716295">
              <a:off x="167488" y="22224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9" name="Forme libre : forme 458">
              <a:extLst>
                <a:ext uri="{FF2B5EF4-FFF2-40B4-BE49-F238E27FC236}">
                  <a16:creationId xmlns:a16="http://schemas.microsoft.com/office/drawing/2014/main" id="{193174EE-CFBC-438F-B1BB-D3ADA063388E}"/>
                </a:ext>
              </a:extLst>
            </p:cNvPr>
            <p:cNvSpPr/>
            <p:nvPr/>
          </p:nvSpPr>
          <p:spPr>
            <a:xfrm rot="8716295">
              <a:off x="42586" y="20137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0" name="Forme libre : forme 459">
              <a:extLst>
                <a:ext uri="{FF2B5EF4-FFF2-40B4-BE49-F238E27FC236}">
                  <a16:creationId xmlns:a16="http://schemas.microsoft.com/office/drawing/2014/main" id="{7E2244BC-364D-47B4-8B77-1ABDEF1DBB36}"/>
                </a:ext>
              </a:extLst>
            </p:cNvPr>
            <p:cNvSpPr/>
            <p:nvPr/>
          </p:nvSpPr>
          <p:spPr>
            <a:xfrm rot="8716295">
              <a:off x="257666" y="226339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1" name="Forme libre : forme 460">
              <a:extLst>
                <a:ext uri="{FF2B5EF4-FFF2-40B4-BE49-F238E27FC236}">
                  <a16:creationId xmlns:a16="http://schemas.microsoft.com/office/drawing/2014/main" id="{88E8FCAA-5A69-41AD-9BBF-E06402368569}"/>
                </a:ext>
              </a:extLst>
            </p:cNvPr>
            <p:cNvSpPr/>
            <p:nvPr/>
          </p:nvSpPr>
          <p:spPr>
            <a:xfrm rot="8716295">
              <a:off x="16215" y="211379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2" name="Forme libre : forme 461">
              <a:extLst>
                <a:ext uri="{FF2B5EF4-FFF2-40B4-BE49-F238E27FC236}">
                  <a16:creationId xmlns:a16="http://schemas.microsoft.com/office/drawing/2014/main" id="{2C0CE443-0100-47A6-BB72-6A7BBA3B084B}"/>
                </a:ext>
              </a:extLst>
            </p:cNvPr>
            <p:cNvSpPr/>
            <p:nvPr/>
          </p:nvSpPr>
          <p:spPr>
            <a:xfrm rot="7484129">
              <a:off x="362597" y="245474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3" name="Forme libre : forme 462">
              <a:extLst>
                <a:ext uri="{FF2B5EF4-FFF2-40B4-BE49-F238E27FC236}">
                  <a16:creationId xmlns:a16="http://schemas.microsoft.com/office/drawing/2014/main" id="{AE6C94D5-06F7-4134-9BDD-8703B8C3642E}"/>
                </a:ext>
              </a:extLst>
            </p:cNvPr>
            <p:cNvSpPr/>
            <p:nvPr/>
          </p:nvSpPr>
          <p:spPr>
            <a:xfrm rot="13089394">
              <a:off x="467417" y="242128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4" name="Forme libre : forme 463">
              <a:extLst>
                <a:ext uri="{FF2B5EF4-FFF2-40B4-BE49-F238E27FC236}">
                  <a16:creationId xmlns:a16="http://schemas.microsoft.com/office/drawing/2014/main" id="{90543D7D-143B-4ADD-B896-F2C09B360BC1}"/>
                </a:ext>
              </a:extLst>
            </p:cNvPr>
            <p:cNvSpPr/>
            <p:nvPr/>
          </p:nvSpPr>
          <p:spPr>
            <a:xfrm rot="8716295">
              <a:off x="653002" y="222960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5" name="Forme libre : forme 464">
              <a:extLst>
                <a:ext uri="{FF2B5EF4-FFF2-40B4-BE49-F238E27FC236}">
                  <a16:creationId xmlns:a16="http://schemas.microsoft.com/office/drawing/2014/main" id="{0A3F3F5B-79C0-41C7-8F17-B5752CC6E817}"/>
                </a:ext>
              </a:extLst>
            </p:cNvPr>
            <p:cNvSpPr/>
            <p:nvPr/>
          </p:nvSpPr>
          <p:spPr>
            <a:xfrm rot="8716295">
              <a:off x="601197" y="21260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6" name="Forme libre : forme 465">
              <a:extLst>
                <a:ext uri="{FF2B5EF4-FFF2-40B4-BE49-F238E27FC236}">
                  <a16:creationId xmlns:a16="http://schemas.microsoft.com/office/drawing/2014/main" id="{69D0AA2C-A5BB-4B7B-BB03-432400F6F2C5}"/>
                </a:ext>
              </a:extLst>
            </p:cNvPr>
            <p:cNvSpPr/>
            <p:nvPr/>
          </p:nvSpPr>
          <p:spPr>
            <a:xfrm rot="8716295">
              <a:off x="357951" y="21562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7" name="Forme libre : forme 466">
              <a:extLst>
                <a:ext uri="{FF2B5EF4-FFF2-40B4-BE49-F238E27FC236}">
                  <a16:creationId xmlns:a16="http://schemas.microsoft.com/office/drawing/2014/main" id="{82D68D60-D905-4F9D-9F1E-9018FDA856E2}"/>
                </a:ext>
              </a:extLst>
            </p:cNvPr>
            <p:cNvSpPr/>
            <p:nvPr/>
          </p:nvSpPr>
          <p:spPr>
            <a:xfrm rot="8716295">
              <a:off x="535403" y="199698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8" name="Forme libre : forme 467">
              <a:extLst>
                <a:ext uri="{FF2B5EF4-FFF2-40B4-BE49-F238E27FC236}">
                  <a16:creationId xmlns:a16="http://schemas.microsoft.com/office/drawing/2014/main" id="{E3253363-EB34-44DB-883A-13B6DE6143A2}"/>
                </a:ext>
              </a:extLst>
            </p:cNvPr>
            <p:cNvSpPr/>
            <p:nvPr/>
          </p:nvSpPr>
          <p:spPr>
            <a:xfrm rot="8716295">
              <a:off x="-76043" y="1768178"/>
              <a:ext cx="197178" cy="215049"/>
            </a:xfrm>
            <a:custGeom>
              <a:avLst/>
              <a:gdLst>
                <a:gd name="connsiteX0" fmla="*/ 51490 w 197178"/>
                <a:gd name="connsiteY0" fmla="*/ 215049 h 215049"/>
                <a:gd name="connsiteX1" fmla="*/ 51490 w 197178"/>
                <a:gd name="connsiteY1" fmla="*/ 45624 h 215049"/>
                <a:gd name="connsiteX2" fmla="*/ 0 w 197178"/>
                <a:gd name="connsiteY2" fmla="*/ 45624 h 215049"/>
                <a:gd name="connsiteX3" fmla="*/ 0 w 197178"/>
                <a:gd name="connsiteY3" fmla="*/ 1424 h 215049"/>
                <a:gd name="connsiteX4" fmla="*/ 104803 w 197178"/>
                <a:gd name="connsiteY4" fmla="*/ 1425 h 215049"/>
                <a:gd name="connsiteX5" fmla="*/ 104803 w 197178"/>
                <a:gd name="connsiteY5" fmla="*/ 75242 h 215049"/>
                <a:gd name="connsiteX6" fmla="*/ 106169 w 197178"/>
                <a:gd name="connsiteY6" fmla="*/ 75242 h 215049"/>
                <a:gd name="connsiteX7" fmla="*/ 154014 w 197178"/>
                <a:gd name="connsiteY7" fmla="*/ 5981 h 215049"/>
                <a:gd name="connsiteX8" fmla="*/ 185455 w 197178"/>
                <a:gd name="connsiteY8" fmla="*/ 57 h 215049"/>
                <a:gd name="connsiteX9" fmla="*/ 197178 w 197178"/>
                <a:gd name="connsiteY9" fmla="*/ 4872 h 215049"/>
                <a:gd name="connsiteX10" fmla="*/ 170795 w 197178"/>
                <a:gd name="connsiteY10" fmla="*/ 42934 h 215049"/>
                <a:gd name="connsiteX11" fmla="*/ 164950 w 197178"/>
                <a:gd name="connsiteY11" fmla="*/ 40156 h 215049"/>
                <a:gd name="connsiteX12" fmla="*/ 111638 w 197178"/>
                <a:gd name="connsiteY12" fmla="*/ 127643 h 215049"/>
                <a:gd name="connsiteX13" fmla="*/ 111638 w 197178"/>
                <a:gd name="connsiteY13" fmla="*/ 128277 h 21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178" h="215049">
                  <a:moveTo>
                    <a:pt x="51490" y="215049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4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lnTo>
                    <a:pt x="197178" y="4872"/>
                  </a:lnTo>
                  <a:lnTo>
                    <a:pt x="170795" y="42934"/>
                  </a:lnTo>
                  <a:lnTo>
                    <a:pt x="164950" y="40156"/>
                  </a:ln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1282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9" name="Forme libre : forme 468">
              <a:extLst>
                <a:ext uri="{FF2B5EF4-FFF2-40B4-BE49-F238E27FC236}">
                  <a16:creationId xmlns:a16="http://schemas.microsoft.com/office/drawing/2014/main" id="{13CAFE6B-0A3E-486D-8691-4D8C7920E841}"/>
                </a:ext>
              </a:extLst>
            </p:cNvPr>
            <p:cNvSpPr/>
            <p:nvPr/>
          </p:nvSpPr>
          <p:spPr>
            <a:xfrm rot="8716295">
              <a:off x="56555" y="14742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0" name="Forme libre : forme 469">
              <a:extLst>
                <a:ext uri="{FF2B5EF4-FFF2-40B4-BE49-F238E27FC236}">
                  <a16:creationId xmlns:a16="http://schemas.microsoft.com/office/drawing/2014/main" id="{AAF44C60-8776-4956-B0ED-2BB1FFCE9812}"/>
                </a:ext>
              </a:extLst>
            </p:cNvPr>
            <p:cNvSpPr/>
            <p:nvPr/>
          </p:nvSpPr>
          <p:spPr>
            <a:xfrm rot="8716295">
              <a:off x="145947" y="15034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1" name="Forme libre : forme 470">
              <a:extLst>
                <a:ext uri="{FF2B5EF4-FFF2-40B4-BE49-F238E27FC236}">
                  <a16:creationId xmlns:a16="http://schemas.microsoft.com/office/drawing/2014/main" id="{5A27D428-CE77-42C1-B8CA-3A227D5DF411}"/>
                </a:ext>
              </a:extLst>
            </p:cNvPr>
            <p:cNvSpPr/>
            <p:nvPr/>
          </p:nvSpPr>
          <p:spPr>
            <a:xfrm rot="8716295">
              <a:off x="-21870" y="1443501"/>
              <a:ext cx="68614" cy="55323"/>
            </a:xfrm>
            <a:custGeom>
              <a:avLst/>
              <a:gdLst>
                <a:gd name="connsiteX0" fmla="*/ 0 w 68614"/>
                <a:gd name="connsiteY0" fmla="*/ 55323 h 55323"/>
                <a:gd name="connsiteX1" fmla="*/ 0 w 68614"/>
                <a:gd name="connsiteY1" fmla="*/ 0 h 55323"/>
                <a:gd name="connsiteX2" fmla="*/ 68614 w 68614"/>
                <a:gd name="connsiteY2" fmla="*/ 0 h 55323"/>
                <a:gd name="connsiteX3" fmla="*/ 30266 w 68614"/>
                <a:gd name="connsiteY3" fmla="*/ 55323 h 55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614" h="55323">
                  <a:moveTo>
                    <a:pt x="0" y="55323"/>
                  </a:moveTo>
                  <a:lnTo>
                    <a:pt x="0" y="0"/>
                  </a:lnTo>
                  <a:lnTo>
                    <a:pt x="68614" y="0"/>
                  </a:lnTo>
                  <a:lnTo>
                    <a:pt x="30266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2" name="Forme libre : forme 471">
              <a:extLst>
                <a:ext uri="{FF2B5EF4-FFF2-40B4-BE49-F238E27FC236}">
                  <a16:creationId xmlns:a16="http://schemas.microsoft.com/office/drawing/2014/main" id="{DF9A3F72-B629-4ECA-8440-27AD7A8DC93E}"/>
                </a:ext>
              </a:extLst>
            </p:cNvPr>
            <p:cNvSpPr/>
            <p:nvPr/>
          </p:nvSpPr>
          <p:spPr>
            <a:xfrm rot="8716295">
              <a:off x="35817" y="1618109"/>
              <a:ext cx="103435" cy="203897"/>
            </a:xfrm>
            <a:custGeom>
              <a:avLst/>
              <a:gdLst>
                <a:gd name="connsiteX0" fmla="*/ 87556 w 103435"/>
                <a:gd name="connsiteY0" fmla="*/ 203897 h 203897"/>
                <a:gd name="connsiteX1" fmla="*/ 43288 w 103435"/>
                <a:gd name="connsiteY1" fmla="*/ 161305 h 203897"/>
                <a:gd name="connsiteX2" fmla="*/ 43288 w 103435"/>
                <a:gd name="connsiteY2" fmla="*/ 16404 h 203897"/>
                <a:gd name="connsiteX3" fmla="*/ 0 w 103435"/>
                <a:gd name="connsiteY3" fmla="*/ 16404 h 203897"/>
                <a:gd name="connsiteX4" fmla="*/ 0 w 103435"/>
                <a:gd name="connsiteY4" fmla="*/ 2278 h 203897"/>
                <a:gd name="connsiteX5" fmla="*/ 103435 w 103435"/>
                <a:gd name="connsiteY5" fmla="*/ 0 h 203897"/>
                <a:gd name="connsiteX6" fmla="*/ 103435 w 103435"/>
                <a:gd name="connsiteY6" fmla="*/ 180989 h 203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03897">
                  <a:moveTo>
                    <a:pt x="87556" y="203897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1809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3" name="Forme libre : forme 472">
              <a:extLst>
                <a:ext uri="{FF2B5EF4-FFF2-40B4-BE49-F238E27FC236}">
                  <a16:creationId xmlns:a16="http://schemas.microsoft.com/office/drawing/2014/main" id="{8E07B202-4136-4FA5-B44B-66518FBBBBA3}"/>
                </a:ext>
              </a:extLst>
            </p:cNvPr>
            <p:cNvSpPr/>
            <p:nvPr/>
          </p:nvSpPr>
          <p:spPr>
            <a:xfrm rot="7484129">
              <a:off x="139430" y="17950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4" name="Forme libre : forme 473">
              <a:extLst>
                <a:ext uri="{FF2B5EF4-FFF2-40B4-BE49-F238E27FC236}">
                  <a16:creationId xmlns:a16="http://schemas.microsoft.com/office/drawing/2014/main" id="{34554139-A9A2-4D5D-81E5-F4C0EE65204A}"/>
                </a:ext>
              </a:extLst>
            </p:cNvPr>
            <p:cNvSpPr/>
            <p:nvPr/>
          </p:nvSpPr>
          <p:spPr>
            <a:xfrm rot="13089394">
              <a:off x="244250" y="17615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5" name="Forme libre : forme 474">
              <a:extLst>
                <a:ext uri="{FF2B5EF4-FFF2-40B4-BE49-F238E27FC236}">
                  <a16:creationId xmlns:a16="http://schemas.microsoft.com/office/drawing/2014/main" id="{AB2F70AF-AA56-4CAD-ADF4-0833FC541883}"/>
                </a:ext>
              </a:extLst>
            </p:cNvPr>
            <p:cNvSpPr/>
            <p:nvPr/>
          </p:nvSpPr>
          <p:spPr>
            <a:xfrm rot="8716295">
              <a:off x="429835" y="15699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6" name="Forme libre : forme 475">
              <a:extLst>
                <a:ext uri="{FF2B5EF4-FFF2-40B4-BE49-F238E27FC236}">
                  <a16:creationId xmlns:a16="http://schemas.microsoft.com/office/drawing/2014/main" id="{75BBDF35-8448-40A6-BE33-7EEF756160B0}"/>
                </a:ext>
              </a:extLst>
            </p:cNvPr>
            <p:cNvSpPr/>
            <p:nvPr/>
          </p:nvSpPr>
          <p:spPr>
            <a:xfrm rot="8716295">
              <a:off x="378030" y="14663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7" name="Forme libre : forme 476">
              <a:extLst>
                <a:ext uri="{FF2B5EF4-FFF2-40B4-BE49-F238E27FC236}">
                  <a16:creationId xmlns:a16="http://schemas.microsoft.com/office/drawing/2014/main" id="{423A5D9B-DC1A-419A-9AFB-176F76ADBA77}"/>
                </a:ext>
              </a:extLst>
            </p:cNvPr>
            <p:cNvSpPr/>
            <p:nvPr/>
          </p:nvSpPr>
          <p:spPr>
            <a:xfrm rot="8716295">
              <a:off x="134784" y="14965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8" name="Forme libre : forme 477">
              <a:extLst>
                <a:ext uri="{FF2B5EF4-FFF2-40B4-BE49-F238E27FC236}">
                  <a16:creationId xmlns:a16="http://schemas.microsoft.com/office/drawing/2014/main" id="{09A04993-945B-4073-A4A3-49D8F429837D}"/>
                </a:ext>
              </a:extLst>
            </p:cNvPr>
            <p:cNvSpPr/>
            <p:nvPr/>
          </p:nvSpPr>
          <p:spPr>
            <a:xfrm rot="8716295">
              <a:off x="312236" y="13372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9" name="Forme libre : forme 478">
              <a:extLst>
                <a:ext uri="{FF2B5EF4-FFF2-40B4-BE49-F238E27FC236}">
                  <a16:creationId xmlns:a16="http://schemas.microsoft.com/office/drawing/2014/main" id="{F26589E4-0AEF-428F-8239-E3EDEF00E7E4}"/>
                </a:ext>
              </a:extLst>
            </p:cNvPr>
            <p:cNvSpPr/>
            <p:nvPr/>
          </p:nvSpPr>
          <p:spPr>
            <a:xfrm rot="8716295">
              <a:off x="-17798" y="949199"/>
              <a:ext cx="39526" cy="50123"/>
            </a:xfrm>
            <a:custGeom>
              <a:avLst/>
              <a:gdLst>
                <a:gd name="connsiteX0" fmla="*/ 0 w 39526"/>
                <a:gd name="connsiteY0" fmla="*/ 50123 h 50123"/>
                <a:gd name="connsiteX1" fmla="*/ 0 w 39526"/>
                <a:gd name="connsiteY1" fmla="*/ 0 h 50123"/>
                <a:gd name="connsiteX2" fmla="*/ 39526 w 39526"/>
                <a:gd name="connsiteY2" fmla="*/ 0 h 50123"/>
                <a:gd name="connsiteX3" fmla="*/ 4782 w 39526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26" h="50123">
                  <a:moveTo>
                    <a:pt x="0" y="50123"/>
                  </a:moveTo>
                  <a:lnTo>
                    <a:pt x="0" y="0"/>
                  </a:lnTo>
                  <a:lnTo>
                    <a:pt x="39526" y="0"/>
                  </a:lnTo>
                  <a:lnTo>
                    <a:pt x="4782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0" name="Forme libre : forme 479">
              <a:extLst>
                <a:ext uri="{FF2B5EF4-FFF2-40B4-BE49-F238E27FC236}">
                  <a16:creationId xmlns:a16="http://schemas.microsoft.com/office/drawing/2014/main" id="{4C4296DE-55F9-4C4A-97B0-A63397A7DF77}"/>
                </a:ext>
              </a:extLst>
            </p:cNvPr>
            <p:cNvSpPr/>
            <p:nvPr/>
          </p:nvSpPr>
          <p:spPr>
            <a:xfrm rot="8716295">
              <a:off x="-64996" y="834728"/>
              <a:ext cx="249650" cy="254774"/>
            </a:xfrm>
            <a:custGeom>
              <a:avLst/>
              <a:gdLst>
                <a:gd name="connsiteX0" fmla="*/ 51490 w 249650"/>
                <a:gd name="connsiteY0" fmla="*/ 254774 h 254774"/>
                <a:gd name="connsiteX1" fmla="*/ 51490 w 249650"/>
                <a:gd name="connsiteY1" fmla="*/ 45624 h 254774"/>
                <a:gd name="connsiteX2" fmla="*/ 0 w 249650"/>
                <a:gd name="connsiteY2" fmla="*/ 45624 h 254774"/>
                <a:gd name="connsiteX3" fmla="*/ 0 w 249650"/>
                <a:gd name="connsiteY3" fmla="*/ 1425 h 254774"/>
                <a:gd name="connsiteX4" fmla="*/ 104803 w 249650"/>
                <a:gd name="connsiteY4" fmla="*/ 1425 h 254774"/>
                <a:gd name="connsiteX5" fmla="*/ 104803 w 249650"/>
                <a:gd name="connsiteY5" fmla="*/ 75242 h 254774"/>
                <a:gd name="connsiteX6" fmla="*/ 106169 w 249650"/>
                <a:gd name="connsiteY6" fmla="*/ 75242 h 254774"/>
                <a:gd name="connsiteX7" fmla="*/ 154014 w 249650"/>
                <a:gd name="connsiteY7" fmla="*/ 5981 h 254774"/>
                <a:gd name="connsiteX8" fmla="*/ 185455 w 249650"/>
                <a:gd name="connsiteY8" fmla="*/ 57 h 254774"/>
                <a:gd name="connsiteX9" fmla="*/ 240647 w 249650"/>
                <a:gd name="connsiteY9" fmla="*/ 22727 h 254774"/>
                <a:gd name="connsiteX10" fmla="*/ 249650 w 249650"/>
                <a:gd name="connsiteY10" fmla="*/ 52327 h 254774"/>
                <a:gd name="connsiteX11" fmla="*/ 218795 w 249650"/>
                <a:gd name="connsiteY11" fmla="*/ 96841 h 254774"/>
                <a:gd name="connsiteX12" fmla="*/ 198669 w 249650"/>
                <a:gd name="connsiteY12" fmla="*/ 98025 h 254774"/>
                <a:gd name="connsiteX13" fmla="*/ 198669 w 249650"/>
                <a:gd name="connsiteY13" fmla="*/ 81621 h 254774"/>
                <a:gd name="connsiteX14" fmla="*/ 164950 w 249650"/>
                <a:gd name="connsiteY14" fmla="*/ 40156 h 254774"/>
                <a:gd name="connsiteX15" fmla="*/ 111638 w 249650"/>
                <a:gd name="connsiteY15" fmla="*/ 127643 h 254774"/>
                <a:gd name="connsiteX16" fmla="*/ 111638 w 249650"/>
                <a:gd name="connsiteY16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9650" h="254774">
                  <a:moveTo>
                    <a:pt x="51490" y="254774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08922" y="-398"/>
                    <a:pt x="227718" y="7576"/>
                    <a:pt x="240647" y="22727"/>
                  </a:cubicBezTo>
                  <a:lnTo>
                    <a:pt x="249650" y="52327"/>
                  </a:lnTo>
                  <a:lnTo>
                    <a:pt x="218795" y="96841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1" name="Forme libre : forme 480">
              <a:extLst>
                <a:ext uri="{FF2B5EF4-FFF2-40B4-BE49-F238E27FC236}">
                  <a16:creationId xmlns:a16="http://schemas.microsoft.com/office/drawing/2014/main" id="{5A2819AD-E741-4041-ACED-C828CEF01D2A}"/>
                </a:ext>
              </a:extLst>
            </p:cNvPr>
            <p:cNvSpPr/>
            <p:nvPr/>
          </p:nvSpPr>
          <p:spPr>
            <a:xfrm rot="7484129">
              <a:off x="-63314" y="1172497"/>
              <a:ext cx="203848" cy="146395"/>
            </a:xfrm>
            <a:custGeom>
              <a:avLst/>
              <a:gdLst>
                <a:gd name="connsiteX0" fmla="*/ 0 w 203848"/>
                <a:gd name="connsiteY0" fmla="*/ 55323 h 146395"/>
                <a:gd name="connsiteX1" fmla="*/ 0 w 203848"/>
                <a:gd name="connsiteY1" fmla="*/ 0 h 146395"/>
                <a:gd name="connsiteX2" fmla="*/ 203848 w 203848"/>
                <a:gd name="connsiteY2" fmla="*/ 0 h 146395"/>
                <a:gd name="connsiteX3" fmla="*/ 203847 w 203848"/>
                <a:gd name="connsiteY3" fmla="*/ 49512 h 146395"/>
                <a:gd name="connsiteX4" fmla="*/ 195466 w 203848"/>
                <a:gd name="connsiteY4" fmla="*/ 55323 h 146395"/>
                <a:gd name="connsiteX5" fmla="*/ 139055 w 203848"/>
                <a:gd name="connsiteY5" fmla="*/ 55323 h 146395"/>
                <a:gd name="connsiteX6" fmla="*/ 121388 w 203848"/>
                <a:gd name="connsiteY6" fmla="*/ 106685 h 146395"/>
                <a:gd name="connsiteX7" fmla="*/ 64115 w 203848"/>
                <a:gd name="connsiteY7" fmla="*/ 146395 h 146395"/>
                <a:gd name="connsiteX8" fmla="*/ 47847 w 203848"/>
                <a:gd name="connsiteY8" fmla="*/ 116129 h 146395"/>
                <a:gd name="connsiteX9" fmla="*/ 69777 w 203848"/>
                <a:gd name="connsiteY9" fmla="*/ 55323 h 146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848" h="146395">
                  <a:moveTo>
                    <a:pt x="0" y="55323"/>
                  </a:moveTo>
                  <a:lnTo>
                    <a:pt x="0" y="0"/>
                  </a:lnTo>
                  <a:lnTo>
                    <a:pt x="203848" y="0"/>
                  </a:lnTo>
                  <a:lnTo>
                    <a:pt x="203847" y="49512"/>
                  </a:lnTo>
                  <a:lnTo>
                    <a:pt x="195466" y="55323"/>
                  </a:lnTo>
                  <a:lnTo>
                    <a:pt x="139055" y="55323"/>
                  </a:lnTo>
                  <a:lnTo>
                    <a:pt x="121388" y="106685"/>
                  </a:lnTo>
                  <a:lnTo>
                    <a:pt x="64115" y="146395"/>
                  </a:lnTo>
                  <a:lnTo>
                    <a:pt x="47847" y="116129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2" name="Forme libre : forme 481">
              <a:extLst>
                <a:ext uri="{FF2B5EF4-FFF2-40B4-BE49-F238E27FC236}">
                  <a16:creationId xmlns:a16="http://schemas.microsoft.com/office/drawing/2014/main" id="{BF19A776-F6DB-4B5F-AAC3-71AD58912554}"/>
                </a:ext>
              </a:extLst>
            </p:cNvPr>
            <p:cNvSpPr/>
            <p:nvPr/>
          </p:nvSpPr>
          <p:spPr>
            <a:xfrm rot="13089394">
              <a:off x="25311" y="109952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3" name="Forme libre : forme 482">
              <a:extLst>
                <a:ext uri="{FF2B5EF4-FFF2-40B4-BE49-F238E27FC236}">
                  <a16:creationId xmlns:a16="http://schemas.microsoft.com/office/drawing/2014/main" id="{1F910699-3B12-45BE-B517-E2166075FFC7}"/>
                </a:ext>
              </a:extLst>
            </p:cNvPr>
            <p:cNvSpPr/>
            <p:nvPr/>
          </p:nvSpPr>
          <p:spPr>
            <a:xfrm rot="8716295">
              <a:off x="210896" y="90784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4" name="Forme libre : forme 483">
              <a:extLst>
                <a:ext uri="{FF2B5EF4-FFF2-40B4-BE49-F238E27FC236}">
                  <a16:creationId xmlns:a16="http://schemas.microsoft.com/office/drawing/2014/main" id="{A819C2A4-F35F-43E8-9AB1-07103AECD990}"/>
                </a:ext>
              </a:extLst>
            </p:cNvPr>
            <p:cNvSpPr/>
            <p:nvPr/>
          </p:nvSpPr>
          <p:spPr>
            <a:xfrm rot="8716295">
              <a:off x="159091" y="80425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5" name="Forme libre : forme 484">
              <a:extLst>
                <a:ext uri="{FF2B5EF4-FFF2-40B4-BE49-F238E27FC236}">
                  <a16:creationId xmlns:a16="http://schemas.microsoft.com/office/drawing/2014/main" id="{F748C402-EDBB-4B63-B49E-2F4080A37ADD}"/>
                </a:ext>
              </a:extLst>
            </p:cNvPr>
            <p:cNvSpPr/>
            <p:nvPr/>
          </p:nvSpPr>
          <p:spPr>
            <a:xfrm rot="8716295">
              <a:off x="93297" y="67523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6" name="Forme libre : forme 485">
              <a:extLst>
                <a:ext uri="{FF2B5EF4-FFF2-40B4-BE49-F238E27FC236}">
                  <a16:creationId xmlns:a16="http://schemas.microsoft.com/office/drawing/2014/main" id="{73609A63-0E69-42A0-8437-604DF28699ED}"/>
                </a:ext>
              </a:extLst>
            </p:cNvPr>
            <p:cNvSpPr/>
            <p:nvPr/>
          </p:nvSpPr>
          <p:spPr>
            <a:xfrm rot="8716295">
              <a:off x="-7001" y="316701"/>
              <a:ext cx="14001" cy="20198"/>
            </a:xfrm>
            <a:custGeom>
              <a:avLst/>
              <a:gdLst>
                <a:gd name="connsiteX0" fmla="*/ 0 w 14001"/>
                <a:gd name="connsiteY0" fmla="*/ 20198 h 20198"/>
                <a:gd name="connsiteX1" fmla="*/ 0 w 14001"/>
                <a:gd name="connsiteY1" fmla="*/ 0 h 20198"/>
                <a:gd name="connsiteX2" fmla="*/ 14001 w 14001"/>
                <a:gd name="connsiteY2" fmla="*/ 0 h 2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01" h="20198">
                  <a:moveTo>
                    <a:pt x="0" y="20198"/>
                  </a:moveTo>
                  <a:lnTo>
                    <a:pt x="0" y="0"/>
                  </a:lnTo>
                  <a:lnTo>
                    <a:pt x="1400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7" name="Forme libre : forme 486">
              <a:extLst>
                <a:ext uri="{FF2B5EF4-FFF2-40B4-BE49-F238E27FC236}">
                  <a16:creationId xmlns:a16="http://schemas.microsoft.com/office/drawing/2014/main" id="{577CC5F5-15C9-4008-90A0-668217098FFB}"/>
                </a:ext>
              </a:extLst>
            </p:cNvPr>
            <p:cNvSpPr/>
            <p:nvPr/>
          </p:nvSpPr>
          <p:spPr>
            <a:xfrm rot="13089394">
              <a:off x="-81658" y="472652"/>
              <a:ext cx="173631" cy="237684"/>
            </a:xfrm>
            <a:custGeom>
              <a:avLst/>
              <a:gdLst>
                <a:gd name="connsiteX0" fmla="*/ 173631 w 173631"/>
                <a:gd name="connsiteY0" fmla="*/ 220990 h 237684"/>
                <a:gd name="connsiteX1" fmla="*/ 130972 w 173631"/>
                <a:gd name="connsiteY1" fmla="*/ 232382 h 237684"/>
                <a:gd name="connsiteX2" fmla="*/ 91597 w 173631"/>
                <a:gd name="connsiteY2" fmla="*/ 237521 h 237684"/>
                <a:gd name="connsiteX3" fmla="*/ 23727 w 173631"/>
                <a:gd name="connsiteY3" fmla="*/ 209931 h 237684"/>
                <a:gd name="connsiteX4" fmla="*/ 0 w 173631"/>
                <a:gd name="connsiteY4" fmla="*/ 115023 h 237684"/>
                <a:gd name="connsiteX5" fmla="*/ 0 w 173631"/>
                <a:gd name="connsiteY5" fmla="*/ 0 h 237684"/>
                <a:gd name="connsiteX6" fmla="*/ 76176 w 173631"/>
                <a:gd name="connsiteY6" fmla="*/ 96953 h 237684"/>
                <a:gd name="connsiteX7" fmla="*/ 76768 w 173631"/>
                <a:gd name="connsiteY7" fmla="*/ 109023 h 237684"/>
                <a:gd name="connsiteX8" fmla="*/ 87734 w 173631"/>
                <a:gd name="connsiteY8" fmla="*/ 154201 h 237684"/>
                <a:gd name="connsiteX9" fmla="*/ 111117 w 173631"/>
                <a:gd name="connsiteY9" fmla="*/ 181514 h 237684"/>
                <a:gd name="connsiteX10" fmla="*/ 148930 w 173631"/>
                <a:gd name="connsiteY10" fmla="*/ 189552 h 237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3631" h="237684">
                  <a:moveTo>
                    <a:pt x="173631" y="220990"/>
                  </a:moveTo>
                  <a:lnTo>
                    <a:pt x="130972" y="232382"/>
                  </a:lnTo>
                  <a:cubicBezTo>
                    <a:pt x="116428" y="235210"/>
                    <a:pt x="103047" y="236831"/>
                    <a:pt x="91597" y="237521"/>
                  </a:cubicBezTo>
                  <a:cubicBezTo>
                    <a:pt x="66215" y="239176"/>
                    <a:pt x="41384" y="228141"/>
                    <a:pt x="23727" y="209931"/>
                  </a:cubicBezTo>
                  <a:cubicBezTo>
                    <a:pt x="4966" y="191722"/>
                    <a:pt x="0" y="160270"/>
                    <a:pt x="0" y="115023"/>
                  </a:cubicBezTo>
                  <a:lnTo>
                    <a:pt x="0" y="0"/>
                  </a:lnTo>
                  <a:lnTo>
                    <a:pt x="76176" y="96953"/>
                  </a:lnTo>
                  <a:lnTo>
                    <a:pt x="76768" y="109023"/>
                  </a:lnTo>
                  <a:cubicBezTo>
                    <a:pt x="79044" y="124404"/>
                    <a:pt x="82768" y="139578"/>
                    <a:pt x="87734" y="154201"/>
                  </a:cubicBezTo>
                  <a:cubicBezTo>
                    <a:pt x="92149" y="166340"/>
                    <a:pt x="100012" y="175445"/>
                    <a:pt x="111117" y="181514"/>
                  </a:cubicBezTo>
                  <a:lnTo>
                    <a:pt x="148930" y="1895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8" name="Forme libre : forme 487">
              <a:extLst>
                <a:ext uri="{FF2B5EF4-FFF2-40B4-BE49-F238E27FC236}">
                  <a16:creationId xmlns:a16="http://schemas.microsoft.com/office/drawing/2014/main" id="{E64C5A14-C3CC-4B02-838F-FD1CD7D882CB}"/>
                </a:ext>
              </a:extLst>
            </p:cNvPr>
            <p:cNvSpPr/>
            <p:nvPr/>
          </p:nvSpPr>
          <p:spPr>
            <a:xfrm rot="8716295">
              <a:off x="-11774" y="24443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9" name="Forme libre : forme 488">
              <a:extLst>
                <a:ext uri="{FF2B5EF4-FFF2-40B4-BE49-F238E27FC236}">
                  <a16:creationId xmlns:a16="http://schemas.microsoft.com/office/drawing/2014/main" id="{26383EB6-3CD6-4688-B5B2-AB6D6EF7025D}"/>
                </a:ext>
              </a:extLst>
            </p:cNvPr>
            <p:cNvSpPr/>
            <p:nvPr/>
          </p:nvSpPr>
          <p:spPr>
            <a:xfrm rot="8716295">
              <a:off x="-30092" y="143486"/>
              <a:ext cx="77721" cy="97260"/>
            </a:xfrm>
            <a:custGeom>
              <a:avLst/>
              <a:gdLst>
                <a:gd name="connsiteX0" fmla="*/ 15821 w 77721"/>
                <a:gd name="connsiteY0" fmla="*/ 97260 h 97260"/>
                <a:gd name="connsiteX1" fmla="*/ 0 w 77721"/>
                <a:gd name="connsiteY1" fmla="*/ 59790 h 97260"/>
                <a:gd name="connsiteX2" fmla="*/ 0 w 77721"/>
                <a:gd name="connsiteY2" fmla="*/ 58869 h 97260"/>
                <a:gd name="connsiteX3" fmla="*/ 17477 w 77721"/>
                <a:gd name="connsiteY3" fmla="*/ 17477 h 97260"/>
                <a:gd name="connsiteX4" fmla="*/ 58869 w 77721"/>
                <a:gd name="connsiteY4" fmla="*/ 0 h 97260"/>
                <a:gd name="connsiteX5" fmla="*/ 77721 w 77721"/>
                <a:gd name="connsiteY5" fmla="*/ 7960 h 97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721" h="97260">
                  <a:moveTo>
                    <a:pt x="15821" y="97260"/>
                  </a:moveTo>
                  <a:lnTo>
                    <a:pt x="0" y="59790"/>
                  </a:ln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lnTo>
                    <a:pt x="77721" y="79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0" name="Forme libre : forme 489">
              <a:extLst>
                <a:ext uri="{FF2B5EF4-FFF2-40B4-BE49-F238E27FC236}">
                  <a16:creationId xmlns:a16="http://schemas.microsoft.com/office/drawing/2014/main" id="{6537CDA1-2216-4877-A848-A93D1F552A9D}"/>
                </a:ext>
              </a:extLst>
            </p:cNvPr>
            <p:cNvSpPr/>
            <p:nvPr/>
          </p:nvSpPr>
          <p:spPr>
            <a:xfrm rot="8716295">
              <a:off x="-17797" y="3452694"/>
              <a:ext cx="58455" cy="44199"/>
            </a:xfrm>
            <a:custGeom>
              <a:avLst/>
              <a:gdLst>
                <a:gd name="connsiteX0" fmla="*/ 0 w 58455"/>
                <a:gd name="connsiteY0" fmla="*/ 44199 h 44199"/>
                <a:gd name="connsiteX1" fmla="*/ 0 w 58455"/>
                <a:gd name="connsiteY1" fmla="*/ 0 h 44199"/>
                <a:gd name="connsiteX2" fmla="*/ 58455 w 58455"/>
                <a:gd name="connsiteY2" fmla="*/ 0 h 44199"/>
                <a:gd name="connsiteX3" fmla="*/ 27817 w 58455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55" h="44199">
                  <a:moveTo>
                    <a:pt x="0" y="44199"/>
                  </a:moveTo>
                  <a:lnTo>
                    <a:pt x="0" y="0"/>
                  </a:lnTo>
                  <a:lnTo>
                    <a:pt x="58455" y="0"/>
                  </a:lnTo>
                  <a:lnTo>
                    <a:pt x="27817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1" name="Forme libre : forme 490">
              <a:extLst>
                <a:ext uri="{FF2B5EF4-FFF2-40B4-BE49-F238E27FC236}">
                  <a16:creationId xmlns:a16="http://schemas.microsoft.com/office/drawing/2014/main" id="{215CC3B1-8089-4D43-97B0-1819B833BE19}"/>
                </a:ext>
              </a:extLst>
            </p:cNvPr>
            <p:cNvSpPr/>
            <p:nvPr/>
          </p:nvSpPr>
          <p:spPr>
            <a:xfrm rot="13089394">
              <a:off x="-91485" y="3601812"/>
              <a:ext cx="206527" cy="292654"/>
            </a:xfrm>
            <a:custGeom>
              <a:avLst/>
              <a:gdLst>
                <a:gd name="connsiteX0" fmla="*/ 206527 w 206527"/>
                <a:gd name="connsiteY0" fmla="*/ 258693 h 292654"/>
                <a:gd name="connsiteX1" fmla="*/ 177331 w 206527"/>
                <a:gd name="connsiteY1" fmla="*/ 274971 h 292654"/>
                <a:gd name="connsiteX2" fmla="*/ 91597 w 206527"/>
                <a:gd name="connsiteY2" fmla="*/ 292491 h 292654"/>
                <a:gd name="connsiteX3" fmla="*/ 23727 w 206527"/>
                <a:gd name="connsiteY3" fmla="*/ 264901 h 292654"/>
                <a:gd name="connsiteX4" fmla="*/ 0 w 206527"/>
                <a:gd name="connsiteY4" fmla="*/ 169993 h 292654"/>
                <a:gd name="connsiteX5" fmla="*/ 0 w 206527"/>
                <a:gd name="connsiteY5" fmla="*/ 1698 h 292654"/>
                <a:gd name="connsiteX6" fmla="*/ 3273 w 206527"/>
                <a:gd name="connsiteY6" fmla="*/ 0 h 292654"/>
                <a:gd name="connsiteX7" fmla="*/ 74297 w 206527"/>
                <a:gd name="connsiteY7" fmla="*/ 90396 h 292654"/>
                <a:gd name="connsiteX8" fmla="*/ 74492 w 206527"/>
                <a:gd name="connsiteY8" fmla="*/ 117574 h 292654"/>
                <a:gd name="connsiteX9" fmla="*/ 87734 w 206527"/>
                <a:gd name="connsiteY9" fmla="*/ 209171 h 292654"/>
                <a:gd name="connsiteX10" fmla="*/ 153949 w 206527"/>
                <a:gd name="connsiteY10" fmla="*/ 245589 h 292654"/>
                <a:gd name="connsiteX11" fmla="*/ 191049 w 206527"/>
                <a:gd name="connsiteY11" fmla="*/ 238993 h 292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527" h="292654">
                  <a:moveTo>
                    <a:pt x="206527" y="258693"/>
                  </a:moveTo>
                  <a:lnTo>
                    <a:pt x="177331" y="274971"/>
                  </a:lnTo>
                  <a:cubicBezTo>
                    <a:pt x="145121" y="286007"/>
                    <a:pt x="114496" y="291111"/>
                    <a:pt x="91597" y="292491"/>
                  </a:cubicBezTo>
                  <a:cubicBezTo>
                    <a:pt x="66215" y="294146"/>
                    <a:pt x="41385" y="283111"/>
                    <a:pt x="23727" y="264901"/>
                  </a:cubicBezTo>
                  <a:cubicBezTo>
                    <a:pt x="4966" y="246692"/>
                    <a:pt x="0" y="215240"/>
                    <a:pt x="0" y="169993"/>
                  </a:cubicBezTo>
                  <a:lnTo>
                    <a:pt x="0" y="1698"/>
                  </a:lnTo>
                  <a:lnTo>
                    <a:pt x="3273" y="0"/>
                  </a:lnTo>
                  <a:lnTo>
                    <a:pt x="74297" y="90396"/>
                  </a:lnTo>
                  <a:lnTo>
                    <a:pt x="74492" y="117574"/>
                  </a:lnTo>
                  <a:cubicBezTo>
                    <a:pt x="72836" y="148474"/>
                    <a:pt x="77802" y="179926"/>
                    <a:pt x="87734" y="209171"/>
                  </a:cubicBezTo>
                  <a:cubicBezTo>
                    <a:pt x="96564" y="233450"/>
                    <a:pt x="119187" y="245589"/>
                    <a:pt x="153949" y="245589"/>
                  </a:cubicBezTo>
                  <a:lnTo>
                    <a:pt x="191049" y="2389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2" name="Forme libre : forme 491">
              <a:extLst>
                <a:ext uri="{FF2B5EF4-FFF2-40B4-BE49-F238E27FC236}">
                  <a16:creationId xmlns:a16="http://schemas.microsoft.com/office/drawing/2014/main" id="{234A14C5-DCBF-4B3D-8912-C2966FB8FAA0}"/>
                </a:ext>
              </a:extLst>
            </p:cNvPr>
            <p:cNvSpPr/>
            <p:nvPr/>
          </p:nvSpPr>
          <p:spPr>
            <a:xfrm rot="8716295">
              <a:off x="24761" y="33896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3" name="Forme libre : forme 492">
              <a:extLst>
                <a:ext uri="{FF2B5EF4-FFF2-40B4-BE49-F238E27FC236}">
                  <a16:creationId xmlns:a16="http://schemas.microsoft.com/office/drawing/2014/main" id="{A8F20E36-ED7E-4DCB-8818-49A4A7E98BE7}"/>
                </a:ext>
              </a:extLst>
            </p:cNvPr>
            <p:cNvSpPr/>
            <p:nvPr/>
          </p:nvSpPr>
          <p:spPr>
            <a:xfrm rot="8716295">
              <a:off x="-24047" y="3281741"/>
              <a:ext cx="106042" cy="113733"/>
            </a:xfrm>
            <a:custGeom>
              <a:avLst/>
              <a:gdLst>
                <a:gd name="connsiteX0" fmla="*/ 17477 w 106042"/>
                <a:gd name="connsiteY0" fmla="*/ 101182 h 113733"/>
                <a:gd name="connsiteX1" fmla="*/ 0 w 106042"/>
                <a:gd name="connsiteY1" fmla="*/ 59790 h 113733"/>
                <a:gd name="connsiteX2" fmla="*/ 0 w 106042"/>
                <a:gd name="connsiteY2" fmla="*/ 58869 h 113733"/>
                <a:gd name="connsiteX3" fmla="*/ 17477 w 106042"/>
                <a:gd name="connsiteY3" fmla="*/ 17477 h 113733"/>
                <a:gd name="connsiteX4" fmla="*/ 58869 w 106042"/>
                <a:gd name="connsiteY4" fmla="*/ 0 h 113733"/>
                <a:gd name="connsiteX5" fmla="*/ 100262 w 106042"/>
                <a:gd name="connsiteY5" fmla="*/ 17477 h 113733"/>
                <a:gd name="connsiteX6" fmla="*/ 106042 w 106042"/>
                <a:gd name="connsiteY6" fmla="*/ 31234 h 113733"/>
                <a:gd name="connsiteX7" fmla="*/ 48856 w 106042"/>
                <a:gd name="connsiteY7" fmla="*/ 113733 h 11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042" h="113733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cubicBezTo>
                    <a:pt x="74507" y="0"/>
                    <a:pt x="89224" y="6439"/>
                    <a:pt x="100262" y="17477"/>
                  </a:cubicBezTo>
                  <a:lnTo>
                    <a:pt x="106042" y="31234"/>
                  </a:lnTo>
                  <a:lnTo>
                    <a:pt x="48856" y="1137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4" name="Forme libre : forme 493">
              <a:extLst>
                <a:ext uri="{FF2B5EF4-FFF2-40B4-BE49-F238E27FC236}">
                  <a16:creationId xmlns:a16="http://schemas.microsoft.com/office/drawing/2014/main" id="{521798C9-8778-477C-89ED-433CF02349E9}"/>
                </a:ext>
              </a:extLst>
            </p:cNvPr>
            <p:cNvSpPr/>
            <p:nvPr/>
          </p:nvSpPr>
          <p:spPr>
            <a:xfrm rot="8716295">
              <a:off x="-21924" y="3179872"/>
              <a:ext cx="45776" cy="62656"/>
            </a:xfrm>
            <a:custGeom>
              <a:avLst/>
              <a:gdLst>
                <a:gd name="connsiteX0" fmla="*/ 2345 w 45776"/>
                <a:gd name="connsiteY0" fmla="*/ 62656 h 62656"/>
                <a:gd name="connsiteX1" fmla="*/ 0 w 45776"/>
                <a:gd name="connsiteY1" fmla="*/ 57104 h 62656"/>
                <a:gd name="connsiteX2" fmla="*/ 0 w 45776"/>
                <a:gd name="connsiteY2" fmla="*/ 56183 h 62656"/>
                <a:gd name="connsiteX3" fmla="*/ 17477 w 45776"/>
                <a:gd name="connsiteY3" fmla="*/ 14791 h 62656"/>
                <a:gd name="connsiteX4" fmla="*/ 36449 w 45776"/>
                <a:gd name="connsiteY4" fmla="*/ 1913 h 62656"/>
                <a:gd name="connsiteX5" fmla="*/ 45776 w 45776"/>
                <a:gd name="connsiteY5" fmla="*/ 0 h 62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776" h="62656">
                  <a:moveTo>
                    <a:pt x="2345" y="62656"/>
                  </a:moveTo>
                  <a:lnTo>
                    <a:pt x="0" y="57104"/>
                  </a:lnTo>
                  <a:lnTo>
                    <a:pt x="0" y="56183"/>
                  </a:lnTo>
                  <a:cubicBezTo>
                    <a:pt x="0" y="40547"/>
                    <a:pt x="6439" y="25829"/>
                    <a:pt x="17477" y="14791"/>
                  </a:cubicBezTo>
                  <a:cubicBezTo>
                    <a:pt x="22996" y="9272"/>
                    <a:pt x="29435" y="4903"/>
                    <a:pt x="36449" y="1913"/>
                  </a:cubicBezTo>
                  <a:lnTo>
                    <a:pt x="4577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5" name="Forme libre : forme 494">
              <a:extLst>
                <a:ext uri="{FF2B5EF4-FFF2-40B4-BE49-F238E27FC236}">
                  <a16:creationId xmlns:a16="http://schemas.microsoft.com/office/drawing/2014/main" id="{BB8A2107-7C61-4B85-8EFA-ABA59720E5DB}"/>
                </a:ext>
              </a:extLst>
            </p:cNvPr>
            <p:cNvSpPr/>
            <p:nvPr/>
          </p:nvSpPr>
          <p:spPr>
            <a:xfrm rot="8716295">
              <a:off x="592036" y="5123131"/>
              <a:ext cx="56900" cy="40151"/>
            </a:xfrm>
            <a:custGeom>
              <a:avLst/>
              <a:gdLst>
                <a:gd name="connsiteX0" fmla="*/ 13826 w 56900"/>
                <a:gd name="connsiteY0" fmla="*/ 23593 h 40151"/>
                <a:gd name="connsiteX1" fmla="*/ 948 w 56900"/>
                <a:gd name="connsiteY1" fmla="*/ 4622 h 40151"/>
                <a:gd name="connsiteX2" fmla="*/ 0 w 56900"/>
                <a:gd name="connsiteY2" fmla="*/ 0 h 40151"/>
                <a:gd name="connsiteX3" fmla="*/ 56900 w 56900"/>
                <a:gd name="connsiteY3" fmla="*/ 39441 h 40151"/>
                <a:gd name="connsiteX4" fmla="*/ 55218 w 56900"/>
                <a:gd name="connsiteY4" fmla="*/ 40151 h 40151"/>
                <a:gd name="connsiteX5" fmla="*/ 13826 w 56900"/>
                <a:gd name="connsiteY5" fmla="*/ 23593 h 40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900" h="40151">
                  <a:moveTo>
                    <a:pt x="13826" y="23593"/>
                  </a:moveTo>
                  <a:cubicBezTo>
                    <a:pt x="8307" y="18074"/>
                    <a:pt x="3938" y="11636"/>
                    <a:pt x="948" y="4622"/>
                  </a:cubicBezTo>
                  <a:lnTo>
                    <a:pt x="0" y="0"/>
                  </a:lnTo>
                  <a:lnTo>
                    <a:pt x="56900" y="39441"/>
                  </a:lnTo>
                  <a:lnTo>
                    <a:pt x="55218" y="40151"/>
                  </a:lnTo>
                  <a:cubicBezTo>
                    <a:pt x="39581" y="40151"/>
                    <a:pt x="24864" y="34631"/>
                    <a:pt x="13826" y="2359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6" name="Forme libre : forme 495">
              <a:extLst>
                <a:ext uri="{FF2B5EF4-FFF2-40B4-BE49-F238E27FC236}">
                  <a16:creationId xmlns:a16="http://schemas.microsoft.com/office/drawing/2014/main" id="{7E303E9D-76C1-4789-8C9D-5012551E179C}"/>
                </a:ext>
              </a:extLst>
            </p:cNvPr>
            <p:cNvSpPr/>
            <p:nvPr/>
          </p:nvSpPr>
          <p:spPr>
            <a:xfrm rot="8716295">
              <a:off x="-21324" y="4100649"/>
              <a:ext cx="79113" cy="50123"/>
            </a:xfrm>
            <a:custGeom>
              <a:avLst/>
              <a:gdLst>
                <a:gd name="connsiteX0" fmla="*/ 0 w 79113"/>
                <a:gd name="connsiteY0" fmla="*/ 50123 h 50123"/>
                <a:gd name="connsiteX1" fmla="*/ 0 w 79113"/>
                <a:gd name="connsiteY1" fmla="*/ 0 h 50123"/>
                <a:gd name="connsiteX2" fmla="*/ 79113 w 79113"/>
                <a:gd name="connsiteY2" fmla="*/ 0 h 50123"/>
                <a:gd name="connsiteX3" fmla="*/ 44369 w 79113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113" h="50123">
                  <a:moveTo>
                    <a:pt x="0" y="50123"/>
                  </a:moveTo>
                  <a:lnTo>
                    <a:pt x="0" y="0"/>
                  </a:lnTo>
                  <a:lnTo>
                    <a:pt x="79113" y="0"/>
                  </a:lnTo>
                  <a:lnTo>
                    <a:pt x="44369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7" name="Forme libre : forme 496">
              <a:extLst>
                <a:ext uri="{FF2B5EF4-FFF2-40B4-BE49-F238E27FC236}">
                  <a16:creationId xmlns:a16="http://schemas.microsoft.com/office/drawing/2014/main" id="{02FDD4B8-F673-41A9-915D-2FF1DD6CBE6F}"/>
                </a:ext>
              </a:extLst>
            </p:cNvPr>
            <p:cNvSpPr/>
            <p:nvPr/>
          </p:nvSpPr>
          <p:spPr>
            <a:xfrm rot="8716295">
              <a:off x="-40457" y="398156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8" name="Forme libre : forme 497">
              <a:extLst>
                <a:ext uri="{FF2B5EF4-FFF2-40B4-BE49-F238E27FC236}">
                  <a16:creationId xmlns:a16="http://schemas.microsoft.com/office/drawing/2014/main" id="{DBB3B685-0513-450E-A467-E28F77542517}"/>
                </a:ext>
              </a:extLst>
            </p:cNvPr>
            <p:cNvSpPr/>
            <p:nvPr/>
          </p:nvSpPr>
          <p:spPr>
            <a:xfrm rot="7484129">
              <a:off x="-46974" y="427316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9" name="Forme libre : forme 498">
              <a:extLst>
                <a:ext uri="{FF2B5EF4-FFF2-40B4-BE49-F238E27FC236}">
                  <a16:creationId xmlns:a16="http://schemas.microsoft.com/office/drawing/2014/main" id="{C5419776-A8A1-4E3C-9093-D945DA9FAC68}"/>
                </a:ext>
              </a:extLst>
            </p:cNvPr>
            <p:cNvSpPr/>
            <p:nvPr/>
          </p:nvSpPr>
          <p:spPr>
            <a:xfrm rot="13089394">
              <a:off x="57846" y="423970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0" name="Forme libre : forme 499">
              <a:extLst>
                <a:ext uri="{FF2B5EF4-FFF2-40B4-BE49-F238E27FC236}">
                  <a16:creationId xmlns:a16="http://schemas.microsoft.com/office/drawing/2014/main" id="{F97D67FD-E4E6-48C4-AEFE-555D34A356DE}"/>
                </a:ext>
              </a:extLst>
            </p:cNvPr>
            <p:cNvSpPr/>
            <p:nvPr/>
          </p:nvSpPr>
          <p:spPr>
            <a:xfrm rot="8716295">
              <a:off x="243431" y="404801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1" name="Forme libre : forme 500">
              <a:extLst>
                <a:ext uri="{FF2B5EF4-FFF2-40B4-BE49-F238E27FC236}">
                  <a16:creationId xmlns:a16="http://schemas.microsoft.com/office/drawing/2014/main" id="{BCE94871-8BA1-45A9-8930-C2F42EF9B5F3}"/>
                </a:ext>
              </a:extLst>
            </p:cNvPr>
            <p:cNvSpPr/>
            <p:nvPr/>
          </p:nvSpPr>
          <p:spPr>
            <a:xfrm rot="8716295">
              <a:off x="191626" y="39444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2" name="Forme libre : forme 501">
              <a:extLst>
                <a:ext uri="{FF2B5EF4-FFF2-40B4-BE49-F238E27FC236}">
                  <a16:creationId xmlns:a16="http://schemas.microsoft.com/office/drawing/2014/main" id="{04CBAE1D-449E-47DE-9709-A831A36DA439}"/>
                </a:ext>
              </a:extLst>
            </p:cNvPr>
            <p:cNvSpPr/>
            <p:nvPr/>
          </p:nvSpPr>
          <p:spPr>
            <a:xfrm rot="8716295">
              <a:off x="125832" y="381540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3" name="Forme libre : forme 502">
              <a:extLst>
                <a:ext uri="{FF2B5EF4-FFF2-40B4-BE49-F238E27FC236}">
                  <a16:creationId xmlns:a16="http://schemas.microsoft.com/office/drawing/2014/main" id="{2F83938F-B075-4593-8D11-BBF0A979A7C6}"/>
                </a:ext>
              </a:extLst>
            </p:cNvPr>
            <p:cNvSpPr/>
            <p:nvPr/>
          </p:nvSpPr>
          <p:spPr>
            <a:xfrm rot="8716295">
              <a:off x="-73048" y="4876828"/>
              <a:ext cx="221382" cy="253349"/>
            </a:xfrm>
            <a:custGeom>
              <a:avLst/>
              <a:gdLst>
                <a:gd name="connsiteX0" fmla="*/ 51490 w 221382"/>
                <a:gd name="connsiteY0" fmla="*/ 253349 h 253349"/>
                <a:gd name="connsiteX1" fmla="*/ 51490 w 221382"/>
                <a:gd name="connsiteY1" fmla="*/ 44199 h 253349"/>
                <a:gd name="connsiteX2" fmla="*/ 0 w 221382"/>
                <a:gd name="connsiteY2" fmla="*/ 44199 h 253349"/>
                <a:gd name="connsiteX3" fmla="*/ 0 w 221382"/>
                <a:gd name="connsiteY3" fmla="*/ 0 h 253349"/>
                <a:gd name="connsiteX4" fmla="*/ 104803 w 221382"/>
                <a:gd name="connsiteY4" fmla="*/ 0 h 253349"/>
                <a:gd name="connsiteX5" fmla="*/ 104802 w 221382"/>
                <a:gd name="connsiteY5" fmla="*/ 73817 h 253349"/>
                <a:gd name="connsiteX6" fmla="*/ 106169 w 221382"/>
                <a:gd name="connsiteY6" fmla="*/ 73817 h 253349"/>
                <a:gd name="connsiteX7" fmla="*/ 154014 w 221382"/>
                <a:gd name="connsiteY7" fmla="*/ 4556 h 253349"/>
                <a:gd name="connsiteX8" fmla="*/ 174650 w 221382"/>
                <a:gd name="connsiteY8" fmla="*/ 668 h 253349"/>
                <a:gd name="connsiteX9" fmla="*/ 214075 w 221382"/>
                <a:gd name="connsiteY9" fmla="*/ 27996 h 253349"/>
                <a:gd name="connsiteX10" fmla="*/ 221382 w 221382"/>
                <a:gd name="connsiteY10" fmla="*/ 33060 h 253349"/>
                <a:gd name="connsiteX11" fmla="*/ 195540 w 221382"/>
                <a:gd name="connsiteY11" fmla="*/ 70341 h 253349"/>
                <a:gd name="connsiteX12" fmla="*/ 189157 w 221382"/>
                <a:gd name="connsiteY12" fmla="*/ 50236 h 253349"/>
                <a:gd name="connsiteX13" fmla="*/ 164950 w 221382"/>
                <a:gd name="connsiteY13" fmla="*/ 38731 h 253349"/>
                <a:gd name="connsiteX14" fmla="*/ 111638 w 221382"/>
                <a:gd name="connsiteY14" fmla="*/ 126218 h 253349"/>
                <a:gd name="connsiteX15" fmla="*/ 111638 w 221382"/>
                <a:gd name="connsiteY15" fmla="*/ 191383 h 253349"/>
                <a:gd name="connsiteX16" fmla="*/ 84096 w 221382"/>
                <a:gd name="connsiteY16" fmla="*/ 231117 h 253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1382" h="253349">
                  <a:moveTo>
                    <a:pt x="51490" y="253349"/>
                  </a:moveTo>
                  <a:lnTo>
                    <a:pt x="51490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104803" y="0"/>
                  </a:lnTo>
                  <a:lnTo>
                    <a:pt x="104802" y="73817"/>
                  </a:lnTo>
                  <a:lnTo>
                    <a:pt x="106169" y="73817"/>
                  </a:lnTo>
                  <a:cubicBezTo>
                    <a:pt x="120751" y="30529"/>
                    <a:pt x="132142" y="13670"/>
                    <a:pt x="154014" y="4556"/>
                  </a:cubicBezTo>
                  <a:lnTo>
                    <a:pt x="174650" y="668"/>
                  </a:lnTo>
                  <a:lnTo>
                    <a:pt x="214075" y="27996"/>
                  </a:lnTo>
                  <a:lnTo>
                    <a:pt x="221382" y="33060"/>
                  </a:lnTo>
                  <a:lnTo>
                    <a:pt x="195540" y="70341"/>
                  </a:lnTo>
                  <a:lnTo>
                    <a:pt x="189157" y="50236"/>
                  </a:lnTo>
                  <a:cubicBezTo>
                    <a:pt x="183177" y="42946"/>
                    <a:pt x="174747" y="38731"/>
                    <a:pt x="164950" y="38731"/>
                  </a:cubicBezTo>
                  <a:cubicBezTo>
                    <a:pt x="135788" y="38731"/>
                    <a:pt x="111638" y="77463"/>
                    <a:pt x="111638" y="126218"/>
                  </a:cubicBezTo>
                  <a:lnTo>
                    <a:pt x="111638" y="191383"/>
                  </a:lnTo>
                  <a:lnTo>
                    <a:pt x="84096" y="2311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4" name="Forme libre : forme 503">
              <a:extLst>
                <a:ext uri="{FF2B5EF4-FFF2-40B4-BE49-F238E27FC236}">
                  <a16:creationId xmlns:a16="http://schemas.microsoft.com/office/drawing/2014/main" id="{BCB8F26A-8D9E-4DAA-BBEC-C72C4F89205F}"/>
                </a:ext>
              </a:extLst>
            </p:cNvPr>
            <p:cNvSpPr/>
            <p:nvPr/>
          </p:nvSpPr>
          <p:spPr>
            <a:xfrm rot="8716295">
              <a:off x="93318" y="46120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5" name="Forme libre : forme 504">
              <a:extLst>
                <a:ext uri="{FF2B5EF4-FFF2-40B4-BE49-F238E27FC236}">
                  <a16:creationId xmlns:a16="http://schemas.microsoft.com/office/drawing/2014/main" id="{81732388-5ACB-454A-B491-3EF6429CC57C}"/>
                </a:ext>
              </a:extLst>
            </p:cNvPr>
            <p:cNvSpPr/>
            <p:nvPr/>
          </p:nvSpPr>
          <p:spPr>
            <a:xfrm rot="8716295">
              <a:off x="182710" y="46412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6" name="Forme libre : forme 505">
              <a:extLst>
                <a:ext uri="{FF2B5EF4-FFF2-40B4-BE49-F238E27FC236}">
                  <a16:creationId xmlns:a16="http://schemas.microsoft.com/office/drawing/2014/main" id="{7C87F3BF-43A4-45FA-839A-23BBD5B5D4BE}"/>
                </a:ext>
              </a:extLst>
            </p:cNvPr>
            <p:cNvSpPr/>
            <p:nvPr/>
          </p:nvSpPr>
          <p:spPr>
            <a:xfrm rot="8716295">
              <a:off x="-14524" y="4699631"/>
              <a:ext cx="49997" cy="54238"/>
            </a:xfrm>
            <a:custGeom>
              <a:avLst/>
              <a:gdLst>
                <a:gd name="connsiteX0" fmla="*/ 8658 w 49997"/>
                <a:gd name="connsiteY0" fmla="*/ 50123 h 54238"/>
                <a:gd name="connsiteX1" fmla="*/ 0 w 49997"/>
                <a:gd name="connsiteY1" fmla="*/ 29619 h 54238"/>
                <a:gd name="connsiteX2" fmla="*/ 0 w 49997"/>
                <a:gd name="connsiteY2" fmla="*/ 29162 h 54238"/>
                <a:gd name="connsiteX3" fmla="*/ 8658 w 49997"/>
                <a:gd name="connsiteY3" fmla="*/ 8658 h 54238"/>
                <a:gd name="connsiteX4" fmla="*/ 29163 w 49997"/>
                <a:gd name="connsiteY4" fmla="*/ 0 h 54238"/>
                <a:gd name="connsiteX5" fmla="*/ 49668 w 49997"/>
                <a:gd name="connsiteY5" fmla="*/ 8658 h 54238"/>
                <a:gd name="connsiteX6" fmla="*/ 49997 w 49997"/>
                <a:gd name="connsiteY6" fmla="*/ 9441 h 54238"/>
                <a:gd name="connsiteX7" fmla="*/ 18945 w 49997"/>
                <a:gd name="connsiteY7" fmla="*/ 54238 h 54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997" h="54238">
                  <a:moveTo>
                    <a:pt x="8658" y="50123"/>
                  </a:moveTo>
                  <a:cubicBezTo>
                    <a:pt x="3190" y="44655"/>
                    <a:pt x="0" y="37365"/>
                    <a:pt x="0" y="29619"/>
                  </a:cubicBezTo>
                  <a:lnTo>
                    <a:pt x="0" y="29162"/>
                  </a:lnTo>
                  <a:cubicBezTo>
                    <a:pt x="0" y="21417"/>
                    <a:pt x="3190" y="14126"/>
                    <a:pt x="8658" y="8658"/>
                  </a:cubicBezTo>
                  <a:cubicBezTo>
                    <a:pt x="14126" y="3190"/>
                    <a:pt x="21416" y="0"/>
                    <a:pt x="29163" y="0"/>
                  </a:cubicBezTo>
                  <a:cubicBezTo>
                    <a:pt x="36909" y="0"/>
                    <a:pt x="44200" y="3190"/>
                    <a:pt x="49668" y="8658"/>
                  </a:cubicBezTo>
                  <a:lnTo>
                    <a:pt x="49997" y="9441"/>
                  </a:lnTo>
                  <a:lnTo>
                    <a:pt x="18945" y="54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7" name="Forme libre : forme 506">
              <a:extLst>
                <a:ext uri="{FF2B5EF4-FFF2-40B4-BE49-F238E27FC236}">
                  <a16:creationId xmlns:a16="http://schemas.microsoft.com/office/drawing/2014/main" id="{462FB9FF-D95F-4684-BB21-FBBABD5DD31F}"/>
                </a:ext>
              </a:extLst>
            </p:cNvPr>
            <p:cNvSpPr/>
            <p:nvPr/>
          </p:nvSpPr>
          <p:spPr>
            <a:xfrm rot="8716295">
              <a:off x="-30327" y="4579755"/>
              <a:ext cx="113346" cy="71024"/>
            </a:xfrm>
            <a:custGeom>
              <a:avLst/>
              <a:gdLst>
                <a:gd name="connsiteX0" fmla="*/ 0 w 113346"/>
                <a:gd name="connsiteY0" fmla="*/ 55323 h 71024"/>
                <a:gd name="connsiteX1" fmla="*/ 0 w 113346"/>
                <a:gd name="connsiteY1" fmla="*/ 0 h 71024"/>
                <a:gd name="connsiteX2" fmla="*/ 113346 w 113346"/>
                <a:gd name="connsiteY2" fmla="*/ 0 h 71024"/>
                <a:gd name="connsiteX3" fmla="*/ 64114 w 113346"/>
                <a:gd name="connsiteY3" fmla="*/ 71024 h 71024"/>
                <a:gd name="connsiteX4" fmla="*/ 69777 w 113346"/>
                <a:gd name="connsiteY4" fmla="*/ 55323 h 7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346" h="71024">
                  <a:moveTo>
                    <a:pt x="0" y="55323"/>
                  </a:moveTo>
                  <a:lnTo>
                    <a:pt x="0" y="0"/>
                  </a:lnTo>
                  <a:lnTo>
                    <a:pt x="113346" y="0"/>
                  </a:lnTo>
                  <a:lnTo>
                    <a:pt x="64114" y="71024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8" name="Forme libre : forme 507">
              <a:extLst>
                <a:ext uri="{FF2B5EF4-FFF2-40B4-BE49-F238E27FC236}">
                  <a16:creationId xmlns:a16="http://schemas.microsoft.com/office/drawing/2014/main" id="{67567764-034B-4A90-A05F-295129068706}"/>
                </a:ext>
              </a:extLst>
            </p:cNvPr>
            <p:cNvSpPr/>
            <p:nvPr/>
          </p:nvSpPr>
          <p:spPr>
            <a:xfrm rot="8716295">
              <a:off x="71262" y="47415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9" name="Forme libre : forme 508">
              <a:extLst>
                <a:ext uri="{FF2B5EF4-FFF2-40B4-BE49-F238E27FC236}">
                  <a16:creationId xmlns:a16="http://schemas.microsoft.com/office/drawing/2014/main" id="{0224BB71-E49A-401D-8E10-A43693404F59}"/>
                </a:ext>
              </a:extLst>
            </p:cNvPr>
            <p:cNvSpPr/>
            <p:nvPr/>
          </p:nvSpPr>
          <p:spPr>
            <a:xfrm rot="7484129">
              <a:off x="172059" y="493353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170341 w 203847"/>
                <a:gd name="connsiteY5" fmla="*/ 0 h 195874"/>
                <a:gd name="connsiteX6" fmla="*/ 203847 w 203847"/>
                <a:gd name="connsiteY6" fmla="*/ 48325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170341" y="0"/>
                  </a:lnTo>
                  <a:lnTo>
                    <a:pt x="203847" y="48325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0" name="Forme libre : forme 509">
              <a:extLst>
                <a:ext uri="{FF2B5EF4-FFF2-40B4-BE49-F238E27FC236}">
                  <a16:creationId xmlns:a16="http://schemas.microsoft.com/office/drawing/2014/main" id="{02C7DC92-22CE-4278-8FF3-A3AB1608AA63}"/>
                </a:ext>
              </a:extLst>
            </p:cNvPr>
            <p:cNvSpPr/>
            <p:nvPr/>
          </p:nvSpPr>
          <p:spPr>
            <a:xfrm rot="13089394">
              <a:off x="313263" y="4907079"/>
              <a:ext cx="272584" cy="221720"/>
            </a:xfrm>
            <a:custGeom>
              <a:avLst/>
              <a:gdLst>
                <a:gd name="connsiteX0" fmla="*/ 272584 w 272584"/>
                <a:gd name="connsiteY0" fmla="*/ 150928 h 221720"/>
                <a:gd name="connsiteX1" fmla="*/ 91597 w 272584"/>
                <a:gd name="connsiteY1" fmla="*/ 221557 h 221720"/>
                <a:gd name="connsiteX2" fmla="*/ 23727 w 272584"/>
                <a:gd name="connsiteY2" fmla="*/ 193967 h 221720"/>
                <a:gd name="connsiteX3" fmla="*/ 0 w 272584"/>
                <a:gd name="connsiteY3" fmla="*/ 99060 h 221720"/>
                <a:gd name="connsiteX4" fmla="*/ 0 w 272584"/>
                <a:gd name="connsiteY4" fmla="*/ 58265 h 221720"/>
                <a:gd name="connsiteX5" fmla="*/ 74157 w 272584"/>
                <a:gd name="connsiteY5" fmla="*/ 0 h 221720"/>
                <a:gd name="connsiteX6" fmla="*/ 74492 w 272584"/>
                <a:gd name="connsiteY6" fmla="*/ 46640 h 221720"/>
                <a:gd name="connsiteX7" fmla="*/ 87734 w 272584"/>
                <a:gd name="connsiteY7" fmla="*/ 138237 h 221720"/>
                <a:gd name="connsiteX8" fmla="*/ 153949 w 272584"/>
                <a:gd name="connsiteY8" fmla="*/ 174655 h 221720"/>
                <a:gd name="connsiteX9" fmla="*/ 203610 w 272584"/>
                <a:gd name="connsiteY9" fmla="*/ 165826 h 221720"/>
                <a:gd name="connsiteX10" fmla="*/ 271480 w 272584"/>
                <a:gd name="connsiteY10" fmla="*/ 138237 h 221720"/>
                <a:gd name="connsiteX11" fmla="*/ 272584 w 272584"/>
                <a:gd name="connsiteY11" fmla="*/ 145410 h 22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2584" h="221720">
                  <a:moveTo>
                    <a:pt x="272584" y="150928"/>
                  </a:moveTo>
                  <a:cubicBezTo>
                    <a:pt x="214094" y="201141"/>
                    <a:pt x="137395" y="218798"/>
                    <a:pt x="91597" y="221557"/>
                  </a:cubicBezTo>
                  <a:cubicBezTo>
                    <a:pt x="66215" y="223213"/>
                    <a:pt x="41384" y="212177"/>
                    <a:pt x="23727" y="193967"/>
                  </a:cubicBezTo>
                  <a:cubicBezTo>
                    <a:pt x="4966" y="175759"/>
                    <a:pt x="0" y="144306"/>
                    <a:pt x="0" y="99060"/>
                  </a:cubicBezTo>
                  <a:lnTo>
                    <a:pt x="0" y="58265"/>
                  </a:lnTo>
                  <a:lnTo>
                    <a:pt x="74157" y="0"/>
                  </a:lnTo>
                  <a:lnTo>
                    <a:pt x="74492" y="46640"/>
                  </a:lnTo>
                  <a:cubicBezTo>
                    <a:pt x="72836" y="77540"/>
                    <a:pt x="77802" y="108992"/>
                    <a:pt x="87734" y="138237"/>
                  </a:cubicBezTo>
                  <a:cubicBezTo>
                    <a:pt x="96563" y="162515"/>
                    <a:pt x="119186" y="174655"/>
                    <a:pt x="153949" y="174655"/>
                  </a:cubicBezTo>
                  <a:cubicBezTo>
                    <a:pt x="171055" y="174103"/>
                    <a:pt x="187608" y="170792"/>
                    <a:pt x="203610" y="165826"/>
                  </a:cubicBezTo>
                  <a:cubicBezTo>
                    <a:pt x="226785" y="158653"/>
                    <a:pt x="249409" y="149273"/>
                    <a:pt x="271480" y="138237"/>
                  </a:cubicBezTo>
                  <a:cubicBezTo>
                    <a:pt x="272032" y="140444"/>
                    <a:pt x="272584" y="143203"/>
                    <a:pt x="272584" y="1454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1" name="Forme libre : forme 510">
              <a:extLst>
                <a:ext uri="{FF2B5EF4-FFF2-40B4-BE49-F238E27FC236}">
                  <a16:creationId xmlns:a16="http://schemas.microsoft.com/office/drawing/2014/main" id="{2684AFDD-CDE2-41B8-A59C-E03D9F5FB899}"/>
                </a:ext>
              </a:extLst>
            </p:cNvPr>
            <p:cNvSpPr/>
            <p:nvPr/>
          </p:nvSpPr>
          <p:spPr>
            <a:xfrm rot="8716295">
              <a:off x="466598" y="470771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2" name="Forme libre : forme 511">
              <a:extLst>
                <a:ext uri="{FF2B5EF4-FFF2-40B4-BE49-F238E27FC236}">
                  <a16:creationId xmlns:a16="http://schemas.microsoft.com/office/drawing/2014/main" id="{874191D1-5A8A-4106-89BC-E4DE3F05FDFC}"/>
                </a:ext>
              </a:extLst>
            </p:cNvPr>
            <p:cNvSpPr/>
            <p:nvPr/>
          </p:nvSpPr>
          <p:spPr>
            <a:xfrm rot="8716295">
              <a:off x="414793" y="460412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3" name="Forme libre : forme 512">
              <a:extLst>
                <a:ext uri="{FF2B5EF4-FFF2-40B4-BE49-F238E27FC236}">
                  <a16:creationId xmlns:a16="http://schemas.microsoft.com/office/drawing/2014/main" id="{8D49479A-E710-4758-BEAF-44161F8FF530}"/>
                </a:ext>
              </a:extLst>
            </p:cNvPr>
            <p:cNvSpPr/>
            <p:nvPr/>
          </p:nvSpPr>
          <p:spPr>
            <a:xfrm rot="8716295">
              <a:off x="171547" y="46343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4" name="Forme libre : forme 513">
              <a:extLst>
                <a:ext uri="{FF2B5EF4-FFF2-40B4-BE49-F238E27FC236}">
                  <a16:creationId xmlns:a16="http://schemas.microsoft.com/office/drawing/2014/main" id="{0D3E5977-ABDE-469A-8B37-82662D2EE7DA}"/>
                </a:ext>
              </a:extLst>
            </p:cNvPr>
            <p:cNvSpPr/>
            <p:nvPr/>
          </p:nvSpPr>
          <p:spPr>
            <a:xfrm rot="8716295">
              <a:off x="348999" y="44751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528" name="Espace réservé du texte 527">
            <a:extLst>
              <a:ext uri="{FF2B5EF4-FFF2-40B4-BE49-F238E27FC236}">
                <a16:creationId xmlns:a16="http://schemas.microsoft.com/office/drawing/2014/main" id="{6A8E0876-8CB4-4156-A0C1-0BC7361D1C40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429470" y="3802408"/>
            <a:ext cx="108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29" name="Espace réservé du texte 528">
            <a:extLst>
              <a:ext uri="{FF2B5EF4-FFF2-40B4-BE49-F238E27FC236}">
                <a16:creationId xmlns:a16="http://schemas.microsoft.com/office/drawing/2014/main" id="{20C5F896-3CE3-44F8-B5B2-F667F9101641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1512561" y="3802408"/>
            <a:ext cx="108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31" name="Espace réservé du texte 530">
            <a:extLst>
              <a:ext uri="{FF2B5EF4-FFF2-40B4-BE49-F238E27FC236}">
                <a16:creationId xmlns:a16="http://schemas.microsoft.com/office/drawing/2014/main" id="{70ADA97F-36B2-42A5-9506-18C5EA9C6E0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3993" y="482179"/>
            <a:ext cx="2495932" cy="302805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24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3pPr>
            <a:lvl4pPr marL="0" indent="0">
              <a:buNone/>
              <a:defRPr sz="1000">
                <a:solidFill>
                  <a:schemeClr val="bg1"/>
                </a:solidFill>
              </a:defRPr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Niveau 2</a:t>
            </a:r>
          </a:p>
          <a:p>
            <a:pPr lvl="2"/>
            <a:r>
              <a:rPr lang="fr-FR" dirty="0"/>
              <a:t>Niveau 3</a:t>
            </a:r>
          </a:p>
          <a:p>
            <a:pPr lvl="3"/>
            <a:r>
              <a:rPr lang="fr-FR" dirty="0"/>
              <a:t>Niveau 4</a:t>
            </a:r>
          </a:p>
        </p:txBody>
      </p:sp>
      <p:sp>
        <p:nvSpPr>
          <p:cNvPr id="517" name="Espace réservé du numéro de diapositive 516">
            <a:extLst>
              <a:ext uri="{FF2B5EF4-FFF2-40B4-BE49-F238E27FC236}">
                <a16:creationId xmlns:a16="http://schemas.microsoft.com/office/drawing/2014/main" id="{D493D9E0-D7BE-4D71-A32F-50FDBE8AC3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48000" y="2811362"/>
            <a:ext cx="519702" cy="2332138"/>
          </a:xfrm>
          <a:custGeom>
            <a:avLst/>
            <a:gdLst>
              <a:gd name="connsiteX0" fmla="*/ 198551 w 519702"/>
              <a:gd name="connsiteY0" fmla="*/ 0 h 2332138"/>
              <a:gd name="connsiteX1" fmla="*/ 519702 w 519702"/>
              <a:gd name="connsiteY1" fmla="*/ 2332138 h 2332138"/>
              <a:gd name="connsiteX2" fmla="*/ 0 w 519702"/>
              <a:gd name="connsiteY2" fmla="*/ 2332138 h 2332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19702" h="2332138">
                <a:moveTo>
                  <a:pt x="198551" y="0"/>
                </a:moveTo>
                <a:lnTo>
                  <a:pt x="519702" y="2332138"/>
                </a:lnTo>
                <a:lnTo>
                  <a:pt x="0" y="233213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180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846568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uverture 1 - C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e libre : forme 4">
            <a:extLst>
              <a:ext uri="{FF2B5EF4-FFF2-40B4-BE49-F238E27FC236}">
                <a16:creationId xmlns:a16="http://schemas.microsoft.com/office/drawing/2014/main" id="{AEFD991A-ABBA-4F4C-98CF-1084947DFB28}"/>
              </a:ext>
            </a:extLst>
          </p:cNvPr>
          <p:cNvSpPr/>
          <p:nvPr userDrawn="1"/>
        </p:nvSpPr>
        <p:spPr>
          <a:xfrm>
            <a:off x="0" y="0"/>
            <a:ext cx="2476252" cy="5143500"/>
          </a:xfrm>
          <a:custGeom>
            <a:avLst/>
            <a:gdLst>
              <a:gd name="connsiteX0" fmla="*/ 0 w 2476252"/>
              <a:gd name="connsiteY0" fmla="*/ 0 h 5143500"/>
              <a:gd name="connsiteX1" fmla="*/ 2038350 w 2476252"/>
              <a:gd name="connsiteY1" fmla="*/ 0 h 5143500"/>
              <a:gd name="connsiteX2" fmla="*/ 2476252 w 2476252"/>
              <a:gd name="connsiteY2" fmla="*/ 0 h 5143500"/>
              <a:gd name="connsiteX3" fmla="*/ 2038350 w 2476252"/>
              <a:gd name="connsiteY3" fmla="*/ 5143500 h 5143500"/>
              <a:gd name="connsiteX4" fmla="*/ 0 w 2476252"/>
              <a:gd name="connsiteY4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76252" h="5143500">
                <a:moveTo>
                  <a:pt x="0" y="0"/>
                </a:moveTo>
                <a:lnTo>
                  <a:pt x="2038350" y="0"/>
                </a:lnTo>
                <a:lnTo>
                  <a:pt x="2476252" y="0"/>
                </a:lnTo>
                <a:lnTo>
                  <a:pt x="2038350" y="5143500"/>
                </a:lnTo>
                <a:lnTo>
                  <a:pt x="0" y="5143500"/>
                </a:lnTo>
                <a:close/>
              </a:path>
            </a:pathLst>
          </a:custGeom>
          <a:solidFill>
            <a:srgbClr val="3A1B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6" name="Forme libre : forme 5">
            <a:extLst>
              <a:ext uri="{FF2B5EF4-FFF2-40B4-BE49-F238E27FC236}">
                <a16:creationId xmlns:a16="http://schemas.microsoft.com/office/drawing/2014/main" id="{864821C3-7BAD-4585-9F8D-C119AC850133}"/>
              </a:ext>
            </a:extLst>
          </p:cNvPr>
          <p:cNvSpPr/>
          <p:nvPr userDrawn="1"/>
        </p:nvSpPr>
        <p:spPr>
          <a:xfrm flipH="1">
            <a:off x="2029641" y="2387470"/>
            <a:ext cx="614164" cy="2756031"/>
          </a:xfrm>
          <a:custGeom>
            <a:avLst/>
            <a:gdLst>
              <a:gd name="connsiteX0" fmla="*/ 379524 w 614164"/>
              <a:gd name="connsiteY0" fmla="*/ 0 h 2756031"/>
              <a:gd name="connsiteX1" fmla="*/ 0 w 614164"/>
              <a:gd name="connsiteY1" fmla="*/ 2756031 h 2756031"/>
              <a:gd name="connsiteX2" fmla="*/ 614164 w 614164"/>
              <a:gd name="connsiteY2" fmla="*/ 2756031 h 2756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14164" h="2756031">
                <a:moveTo>
                  <a:pt x="379524" y="0"/>
                </a:moveTo>
                <a:lnTo>
                  <a:pt x="0" y="2756031"/>
                </a:lnTo>
                <a:lnTo>
                  <a:pt x="614164" y="2756031"/>
                </a:lnTo>
                <a:close/>
              </a:path>
            </a:pathLst>
          </a:custGeom>
          <a:solidFill>
            <a:srgbClr val="009F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DA8CA9DB-B794-428D-9ECF-D4872FBA5C4C}"/>
              </a:ext>
            </a:extLst>
          </p:cNvPr>
          <p:cNvGrpSpPr/>
          <p:nvPr userDrawn="1"/>
        </p:nvGrpSpPr>
        <p:grpSpPr>
          <a:xfrm>
            <a:off x="-134707" y="-72828"/>
            <a:ext cx="2658992" cy="5335244"/>
            <a:chOff x="-134707" y="-72828"/>
            <a:chExt cx="2658992" cy="5335244"/>
          </a:xfrm>
          <a:solidFill>
            <a:schemeClr val="bg2">
              <a:alpha val="10000"/>
            </a:schemeClr>
          </a:solidFill>
        </p:grpSpPr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81E41836-E956-4188-9AAC-A83AE8900453}"/>
                </a:ext>
              </a:extLst>
            </p:cNvPr>
            <p:cNvSpPr/>
            <p:nvPr/>
          </p:nvSpPr>
          <p:spPr>
            <a:xfrm rot="8716295">
              <a:off x="1460344" y="348006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6217F1CC-5E84-40FC-88E7-C42A2398F84B}"/>
                </a:ext>
              </a:extLst>
            </p:cNvPr>
            <p:cNvSpPr/>
            <p:nvPr/>
          </p:nvSpPr>
          <p:spPr>
            <a:xfrm rot="8716295">
              <a:off x="1595642" y="352432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B80A1B59-7F4C-4E95-8CB7-0AACC6C05627}"/>
                </a:ext>
              </a:extLst>
            </p:cNvPr>
            <p:cNvSpPr/>
            <p:nvPr/>
          </p:nvSpPr>
          <p:spPr>
            <a:xfrm rot="8716295">
              <a:off x="1527760" y="339373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8728A690-34B9-4DFF-8734-9F6EBD35EBC5}"/>
                </a:ext>
              </a:extLst>
            </p:cNvPr>
            <p:cNvSpPr/>
            <p:nvPr/>
          </p:nvSpPr>
          <p:spPr>
            <a:xfrm rot="8716295">
              <a:off x="1290473" y="361408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2927191B-5C8D-4149-8DBA-718546C29906}"/>
                </a:ext>
              </a:extLst>
            </p:cNvPr>
            <p:cNvSpPr/>
            <p:nvPr/>
          </p:nvSpPr>
          <p:spPr>
            <a:xfrm rot="8716295">
              <a:off x="1101427" y="329824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375566C6-9E02-4DD8-8C3B-267A6C61A667}"/>
                </a:ext>
              </a:extLst>
            </p:cNvPr>
            <p:cNvSpPr/>
            <p:nvPr/>
          </p:nvSpPr>
          <p:spPr>
            <a:xfrm rot="8716295">
              <a:off x="1083185" y="3088198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1A3C2C2D-7CBE-4F9B-8B8B-959B1D778E3E}"/>
                </a:ext>
              </a:extLst>
            </p:cNvPr>
            <p:cNvSpPr/>
            <p:nvPr/>
          </p:nvSpPr>
          <p:spPr>
            <a:xfrm rot="8716295">
              <a:off x="1426961" y="367606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8EB673A3-36B5-4724-AE91-A9B8454C1396}"/>
                </a:ext>
              </a:extLst>
            </p:cNvPr>
            <p:cNvSpPr/>
            <p:nvPr/>
          </p:nvSpPr>
          <p:spPr>
            <a:xfrm rot="8716295">
              <a:off x="1897908" y="310145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F8EEA06C-B620-4C52-ACA9-B6AC8852992A}"/>
                </a:ext>
              </a:extLst>
            </p:cNvPr>
            <p:cNvSpPr/>
            <p:nvPr/>
          </p:nvSpPr>
          <p:spPr>
            <a:xfrm rot="8716295">
              <a:off x="2028620" y="3176625"/>
              <a:ext cx="305088" cy="336622"/>
            </a:xfrm>
            <a:custGeom>
              <a:avLst/>
              <a:gdLst>
                <a:gd name="connsiteX0" fmla="*/ 211294 w 305088"/>
                <a:gd name="connsiteY0" fmla="*/ 107197 h 336622"/>
                <a:gd name="connsiteX1" fmla="*/ 211294 w 305088"/>
                <a:gd name="connsiteY1" fmla="*/ 82369 h 336622"/>
                <a:gd name="connsiteX2" fmla="*/ 211017 w 305088"/>
                <a:gd name="connsiteY2" fmla="*/ 81498 h 336622"/>
                <a:gd name="connsiteX3" fmla="*/ 278425 w 305088"/>
                <a:gd name="connsiteY3" fmla="*/ 0 h 336622"/>
                <a:gd name="connsiteX4" fmla="*/ 297297 w 305088"/>
                <a:gd name="connsiteY4" fmla="*/ 35535 h 336622"/>
                <a:gd name="connsiteX5" fmla="*/ 305088 w 305088"/>
                <a:gd name="connsiteY5" fmla="*/ 92713 h 336622"/>
                <a:gd name="connsiteX6" fmla="*/ 305088 w 305088"/>
                <a:gd name="connsiteY6" fmla="*/ 101679 h 336622"/>
                <a:gd name="connsiteX7" fmla="*/ 0 w 305088"/>
                <a:gd name="connsiteY7" fmla="*/ 336622 h 336622"/>
                <a:gd name="connsiteX8" fmla="*/ 79568 w 305088"/>
                <a:gd name="connsiteY8" fmla="*/ 240423 h 336622"/>
                <a:gd name="connsiteX9" fmla="*/ 79568 w 305088"/>
                <a:gd name="connsiteY9" fmla="*/ 282372 h 33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5088" h="336622">
                  <a:moveTo>
                    <a:pt x="211294" y="107197"/>
                  </a:moveTo>
                  <a:lnTo>
                    <a:pt x="211294" y="82369"/>
                  </a:lnTo>
                  <a:lnTo>
                    <a:pt x="211017" y="81498"/>
                  </a:lnTo>
                  <a:lnTo>
                    <a:pt x="278425" y="0"/>
                  </a:lnTo>
                  <a:lnTo>
                    <a:pt x="297297" y="35535"/>
                  </a:lnTo>
                  <a:cubicBezTo>
                    <a:pt x="302416" y="52195"/>
                    <a:pt x="305088" y="71334"/>
                    <a:pt x="305088" y="92713"/>
                  </a:cubicBezTo>
                  <a:lnTo>
                    <a:pt x="305088" y="101679"/>
                  </a:lnTo>
                  <a:close/>
                  <a:moveTo>
                    <a:pt x="0" y="336622"/>
                  </a:moveTo>
                  <a:lnTo>
                    <a:pt x="79568" y="240423"/>
                  </a:lnTo>
                  <a:lnTo>
                    <a:pt x="79568" y="28237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84C08685-C991-44FD-898B-8BF95960C6B9}"/>
                </a:ext>
              </a:extLst>
            </p:cNvPr>
            <p:cNvSpPr/>
            <p:nvPr/>
          </p:nvSpPr>
          <p:spPr>
            <a:xfrm rot="8716295">
              <a:off x="1728037" y="323546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75F06F9A-B5F6-494A-BA46-78E41263CC81}"/>
                </a:ext>
              </a:extLst>
            </p:cNvPr>
            <p:cNvSpPr/>
            <p:nvPr/>
          </p:nvSpPr>
          <p:spPr>
            <a:xfrm rot="8716295">
              <a:off x="1538992" y="291963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CE3913D0-3ECC-49C2-BFCE-2E22945EB24B}"/>
                </a:ext>
              </a:extLst>
            </p:cNvPr>
            <p:cNvSpPr/>
            <p:nvPr/>
          </p:nvSpPr>
          <p:spPr>
            <a:xfrm rot="8716295">
              <a:off x="1864525" y="329745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ACF63173-E092-4F8A-A29A-250C09066948}"/>
                </a:ext>
              </a:extLst>
            </p:cNvPr>
            <p:cNvSpPr/>
            <p:nvPr/>
          </p:nvSpPr>
          <p:spPr>
            <a:xfrm rot="8716295">
              <a:off x="1499078" y="307102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7EFA26CA-A39B-4E8B-847D-F85F8518030F}"/>
                </a:ext>
              </a:extLst>
            </p:cNvPr>
            <p:cNvSpPr/>
            <p:nvPr/>
          </p:nvSpPr>
          <p:spPr>
            <a:xfrm rot="7484129">
              <a:off x="2004987" y="3639772"/>
              <a:ext cx="221889" cy="221665"/>
            </a:xfrm>
            <a:custGeom>
              <a:avLst/>
              <a:gdLst>
                <a:gd name="connsiteX0" fmla="*/ 206330 w 221889"/>
                <a:gd name="connsiteY0" fmla="*/ 8936 h 221665"/>
                <a:gd name="connsiteX1" fmla="*/ 221889 w 221889"/>
                <a:gd name="connsiteY1" fmla="*/ 0 h 221665"/>
                <a:gd name="connsiteX2" fmla="*/ 221889 w 221889"/>
                <a:gd name="connsiteY2" fmla="*/ 8936 h 221665"/>
                <a:gd name="connsiteX3" fmla="*/ 50650 w 221889"/>
                <a:gd name="connsiteY3" fmla="*/ 221665 h 221665"/>
                <a:gd name="connsiteX4" fmla="*/ 0 w 221889"/>
                <a:gd name="connsiteY4" fmla="*/ 127433 h 221665"/>
                <a:gd name="connsiteX5" fmla="*/ 103511 w 221889"/>
                <a:gd name="connsiteY5" fmla="*/ 67986 h 221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1889" h="221665">
                  <a:moveTo>
                    <a:pt x="206330" y="8936"/>
                  </a:moveTo>
                  <a:lnTo>
                    <a:pt x="221889" y="0"/>
                  </a:lnTo>
                  <a:lnTo>
                    <a:pt x="221889" y="8936"/>
                  </a:lnTo>
                  <a:close/>
                  <a:moveTo>
                    <a:pt x="50650" y="221665"/>
                  </a:moveTo>
                  <a:lnTo>
                    <a:pt x="0" y="127433"/>
                  </a:lnTo>
                  <a:lnTo>
                    <a:pt x="103511" y="6798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54CB42FE-32B8-4C2C-A4AB-C4F8B84705EC}"/>
                </a:ext>
              </a:extLst>
            </p:cNvPr>
            <p:cNvSpPr/>
            <p:nvPr/>
          </p:nvSpPr>
          <p:spPr>
            <a:xfrm rot="8716295">
              <a:off x="2016311" y="313524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B97467BE-761E-4E11-AD12-792548131E9F}"/>
                </a:ext>
              </a:extLst>
            </p:cNvPr>
            <p:cNvSpPr/>
            <p:nvPr/>
          </p:nvSpPr>
          <p:spPr>
            <a:xfrm rot="8716295">
              <a:off x="1796861" y="4478944"/>
              <a:ext cx="215176" cy="351729"/>
            </a:xfrm>
            <a:custGeom>
              <a:avLst/>
              <a:gdLst>
                <a:gd name="connsiteX0" fmla="*/ 122761 w 215176"/>
                <a:gd name="connsiteY0" fmla="*/ 351729 h 351729"/>
                <a:gd name="connsiteX1" fmla="*/ 122761 w 215176"/>
                <a:gd name="connsiteY1" fmla="*/ 105519 h 351729"/>
                <a:gd name="connsiteX2" fmla="*/ 122761 w 215176"/>
                <a:gd name="connsiteY2" fmla="*/ 99312 h 351729"/>
                <a:gd name="connsiteX3" fmla="*/ 91726 w 215176"/>
                <a:gd name="connsiteY3" fmla="*/ 75863 h 351729"/>
                <a:gd name="connsiteX4" fmla="*/ 0 w 215176"/>
                <a:gd name="connsiteY4" fmla="*/ 75863 h 351729"/>
                <a:gd name="connsiteX5" fmla="*/ 0 w 215176"/>
                <a:gd name="connsiteY5" fmla="*/ 31564 h 351729"/>
                <a:gd name="connsiteX6" fmla="*/ 26107 w 215176"/>
                <a:gd name="connsiteY6" fmla="*/ 0 h 351729"/>
                <a:gd name="connsiteX7" fmla="*/ 128968 w 215176"/>
                <a:gd name="connsiteY7" fmla="*/ 0 h 351729"/>
                <a:gd name="connsiteX8" fmla="*/ 215176 w 215176"/>
                <a:gd name="connsiteY8" fmla="*/ 75863 h 351729"/>
                <a:gd name="connsiteX9" fmla="*/ 215176 w 215176"/>
                <a:gd name="connsiteY9" fmla="*/ 315177 h 351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5176" h="351729">
                  <a:moveTo>
                    <a:pt x="122761" y="35172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31564"/>
                  </a:lnTo>
                  <a:lnTo>
                    <a:pt x="26107" y="0"/>
                  </a:lnTo>
                  <a:lnTo>
                    <a:pt x="128968" y="0"/>
                  </a:lnTo>
                  <a:cubicBezTo>
                    <a:pt x="184831" y="0"/>
                    <a:pt x="215176" y="24139"/>
                    <a:pt x="215176" y="75863"/>
                  </a:cubicBezTo>
                  <a:lnTo>
                    <a:pt x="215176" y="3151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8C358B06-CFB8-4D7E-B58B-64076A590B10}"/>
                </a:ext>
              </a:extLst>
            </p:cNvPr>
            <p:cNvSpPr/>
            <p:nvPr/>
          </p:nvSpPr>
          <p:spPr>
            <a:xfrm rot="8716295">
              <a:off x="1938756" y="4602084"/>
              <a:ext cx="253340" cy="284725"/>
            </a:xfrm>
            <a:custGeom>
              <a:avLst/>
              <a:gdLst>
                <a:gd name="connsiteX0" fmla="*/ 160632 w 253340"/>
                <a:gd name="connsiteY0" fmla="*/ 90518 h 284725"/>
                <a:gd name="connsiteX1" fmla="*/ 235501 w 253340"/>
                <a:gd name="connsiteY1" fmla="*/ 0 h 284725"/>
                <a:gd name="connsiteX2" fmla="*/ 245549 w 253340"/>
                <a:gd name="connsiteY2" fmla="*/ 18921 h 284725"/>
                <a:gd name="connsiteX3" fmla="*/ 253340 w 253340"/>
                <a:gd name="connsiteY3" fmla="*/ 76098 h 284725"/>
                <a:gd name="connsiteX4" fmla="*/ 253340 w 253340"/>
                <a:gd name="connsiteY4" fmla="*/ 85064 h 284725"/>
                <a:gd name="connsiteX5" fmla="*/ 0 w 253340"/>
                <a:gd name="connsiteY5" fmla="*/ 284725 h 284725"/>
                <a:gd name="connsiteX6" fmla="*/ 27820 w 253340"/>
                <a:gd name="connsiteY6" fmla="*/ 251090 h 284725"/>
                <a:gd name="connsiteX7" fmla="*/ 27820 w 253340"/>
                <a:gd name="connsiteY7" fmla="*/ 265757 h 28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3340" h="284725">
                  <a:moveTo>
                    <a:pt x="160632" y="90518"/>
                  </a:moveTo>
                  <a:lnTo>
                    <a:pt x="235501" y="0"/>
                  </a:lnTo>
                  <a:lnTo>
                    <a:pt x="245549" y="18921"/>
                  </a:lnTo>
                  <a:cubicBezTo>
                    <a:pt x="250668" y="35581"/>
                    <a:pt x="253340" y="54719"/>
                    <a:pt x="253340" y="76098"/>
                  </a:cubicBezTo>
                  <a:lnTo>
                    <a:pt x="253340" y="85064"/>
                  </a:lnTo>
                  <a:close/>
                  <a:moveTo>
                    <a:pt x="0" y="284725"/>
                  </a:moveTo>
                  <a:lnTo>
                    <a:pt x="27820" y="251090"/>
                  </a:lnTo>
                  <a:lnTo>
                    <a:pt x="27820" y="26575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55465226-9705-450D-9333-C6F18EA9DA5B}"/>
                </a:ext>
              </a:extLst>
            </p:cNvPr>
            <p:cNvSpPr/>
            <p:nvPr/>
          </p:nvSpPr>
          <p:spPr>
            <a:xfrm rot="8716295">
              <a:off x="1865533" y="439222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14393A34-234C-4F82-B937-651BE2C2EB26}"/>
                </a:ext>
              </a:extLst>
            </p:cNvPr>
            <p:cNvSpPr/>
            <p:nvPr/>
          </p:nvSpPr>
          <p:spPr>
            <a:xfrm rot="8716295">
              <a:off x="1628246" y="461256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C8A075BE-A4F2-4F84-B522-C6E43EFD2240}"/>
                </a:ext>
              </a:extLst>
            </p:cNvPr>
            <p:cNvSpPr/>
            <p:nvPr/>
          </p:nvSpPr>
          <p:spPr>
            <a:xfrm rot="8716295">
              <a:off x="1439200" y="42967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56AB483C-9DB6-4B2C-B13B-6356C19C1FBB}"/>
                </a:ext>
              </a:extLst>
            </p:cNvPr>
            <p:cNvSpPr/>
            <p:nvPr/>
          </p:nvSpPr>
          <p:spPr>
            <a:xfrm rot="8716295">
              <a:off x="1420958" y="408668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AFF52EFA-F302-42BC-851E-3ECAD5E2BCCE}"/>
                </a:ext>
              </a:extLst>
            </p:cNvPr>
            <p:cNvSpPr/>
            <p:nvPr/>
          </p:nvSpPr>
          <p:spPr>
            <a:xfrm rot="8716295">
              <a:off x="1764734" y="467454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DD8C6387-B92F-4AE3-84AA-9699909C3151}"/>
                </a:ext>
              </a:extLst>
            </p:cNvPr>
            <p:cNvSpPr/>
            <p:nvPr/>
          </p:nvSpPr>
          <p:spPr>
            <a:xfrm rot="8716295">
              <a:off x="2058111" y="4234218"/>
              <a:ext cx="77302" cy="80483"/>
            </a:xfrm>
            <a:custGeom>
              <a:avLst/>
              <a:gdLst>
                <a:gd name="connsiteX0" fmla="*/ 2300 w 77302"/>
                <a:gd name="connsiteY0" fmla="*/ 68069 h 80483"/>
                <a:gd name="connsiteX1" fmla="*/ 0 w 77302"/>
                <a:gd name="connsiteY1" fmla="*/ 62622 h 80483"/>
                <a:gd name="connsiteX2" fmla="*/ 51796 w 77302"/>
                <a:gd name="connsiteY2" fmla="*/ 0 h 80483"/>
                <a:gd name="connsiteX3" fmla="*/ 64371 w 77302"/>
                <a:gd name="connsiteY3" fmla="*/ 5309 h 80483"/>
                <a:gd name="connsiteX4" fmla="*/ 64371 w 77302"/>
                <a:gd name="connsiteY4" fmla="*/ 67380 h 80483"/>
                <a:gd name="connsiteX5" fmla="*/ 33335 w 77302"/>
                <a:gd name="connsiteY5" fmla="*/ 80483 h 80483"/>
                <a:gd name="connsiteX6" fmla="*/ 2300 w 77302"/>
                <a:gd name="connsiteY6" fmla="*/ 68069 h 80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7302" h="80483">
                  <a:moveTo>
                    <a:pt x="2300" y="68069"/>
                  </a:moveTo>
                  <a:lnTo>
                    <a:pt x="0" y="62622"/>
                  </a:lnTo>
                  <a:lnTo>
                    <a:pt x="51796" y="0"/>
                  </a:lnTo>
                  <a:lnTo>
                    <a:pt x="64371" y="5309"/>
                  </a:lnTo>
                  <a:cubicBezTo>
                    <a:pt x="81612" y="21861"/>
                    <a:pt x="81613" y="50138"/>
                    <a:pt x="64371" y="67380"/>
                  </a:cubicBezTo>
                  <a:cubicBezTo>
                    <a:pt x="56095" y="75656"/>
                    <a:pt x="45060" y="80483"/>
                    <a:pt x="33335" y="80483"/>
                  </a:cubicBezTo>
                  <a:cubicBezTo>
                    <a:pt x="21611" y="80483"/>
                    <a:pt x="10576" y="76345"/>
                    <a:pt x="2300" y="6806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7D76A85F-9EC7-4610-8B93-DADD647681CA}"/>
                </a:ext>
              </a:extLst>
            </p:cNvPr>
            <p:cNvSpPr/>
            <p:nvPr/>
          </p:nvSpPr>
          <p:spPr>
            <a:xfrm rot="8716295">
              <a:off x="1876235" y="3938134"/>
              <a:ext cx="237808" cy="296463"/>
            </a:xfrm>
            <a:custGeom>
              <a:avLst/>
              <a:gdLst>
                <a:gd name="connsiteX0" fmla="*/ 66569 w 237808"/>
                <a:gd name="connsiteY0" fmla="*/ 296463 h 296463"/>
                <a:gd name="connsiteX1" fmla="*/ 1694 w 237808"/>
                <a:gd name="connsiteY1" fmla="*/ 175766 h 296463"/>
                <a:gd name="connsiteX2" fmla="*/ 34886 w 237808"/>
                <a:gd name="connsiteY2" fmla="*/ 83734 h 296463"/>
                <a:gd name="connsiteX3" fmla="*/ 0 w 237808"/>
                <a:gd name="connsiteY3" fmla="*/ 83734 h 296463"/>
                <a:gd name="connsiteX4" fmla="*/ 69258 w 237808"/>
                <a:gd name="connsiteY4" fmla="*/ 0 h 296463"/>
                <a:gd name="connsiteX5" fmla="*/ 237808 w 237808"/>
                <a:gd name="connsiteY5" fmla="*/ 0 h 296463"/>
                <a:gd name="connsiteX6" fmla="*/ 237808 w 237808"/>
                <a:gd name="connsiteY6" fmla="*/ 83734 h 296463"/>
                <a:gd name="connsiteX7" fmla="*/ 139741 w 237808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7808" h="296463">
                  <a:moveTo>
                    <a:pt x="66569" y="296463"/>
                  </a:moveTo>
                  <a:lnTo>
                    <a:pt x="1694" y="175766"/>
                  </a:lnTo>
                  <a:lnTo>
                    <a:pt x="34886" y="83734"/>
                  </a:lnTo>
                  <a:lnTo>
                    <a:pt x="0" y="83734"/>
                  </a:lnTo>
                  <a:lnTo>
                    <a:pt x="69258" y="0"/>
                  </a:lnTo>
                  <a:lnTo>
                    <a:pt x="237808" y="0"/>
                  </a:lnTo>
                  <a:lnTo>
                    <a:pt x="237808" y="83734"/>
                  </a:lnTo>
                  <a:lnTo>
                    <a:pt x="139741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1D9CF1AF-A09A-459A-A4AB-D88D1905EA6F}"/>
                </a:ext>
              </a:extLst>
            </p:cNvPr>
            <p:cNvSpPr/>
            <p:nvPr/>
          </p:nvSpPr>
          <p:spPr>
            <a:xfrm rot="8716295">
              <a:off x="1836851" y="406950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33B04AAC-330F-42F9-9C1F-3BB73DEAD114}"/>
                </a:ext>
              </a:extLst>
            </p:cNvPr>
            <p:cNvSpPr/>
            <p:nvPr/>
          </p:nvSpPr>
          <p:spPr>
            <a:xfrm rot="8716295">
              <a:off x="1827832" y="5057264"/>
              <a:ext cx="219410" cy="140851"/>
            </a:xfrm>
            <a:custGeom>
              <a:avLst/>
              <a:gdLst>
                <a:gd name="connsiteX0" fmla="*/ 27373 w 219410"/>
                <a:gd name="connsiteY0" fmla="*/ 96063 h 140851"/>
                <a:gd name="connsiteX1" fmla="*/ 1953 w 219410"/>
                <a:gd name="connsiteY1" fmla="*/ 53941 h 140851"/>
                <a:gd name="connsiteX2" fmla="*/ 0 w 219410"/>
                <a:gd name="connsiteY2" fmla="*/ 43352 h 140851"/>
                <a:gd name="connsiteX3" fmla="*/ 35858 w 219410"/>
                <a:gd name="connsiteY3" fmla="*/ 0 h 140851"/>
                <a:gd name="connsiteX4" fmla="*/ 219410 w 219410"/>
                <a:gd name="connsiteY4" fmla="*/ 127232 h 140851"/>
                <a:gd name="connsiteX5" fmla="*/ 200448 w 219410"/>
                <a:gd name="connsiteY5" fmla="*/ 132296 h 140851"/>
                <a:gd name="connsiteX6" fmla="*/ 136904 w 219410"/>
                <a:gd name="connsiteY6" fmla="*/ 140588 h 140851"/>
                <a:gd name="connsiteX7" fmla="*/ 27373 w 219410"/>
                <a:gd name="connsiteY7" fmla="*/ 96063 h 140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9410" h="140851">
                  <a:moveTo>
                    <a:pt x="27373" y="96063"/>
                  </a:moveTo>
                  <a:cubicBezTo>
                    <a:pt x="16020" y="85043"/>
                    <a:pt x="7797" y="71018"/>
                    <a:pt x="1953" y="53941"/>
                  </a:cubicBezTo>
                  <a:lnTo>
                    <a:pt x="0" y="43352"/>
                  </a:lnTo>
                  <a:lnTo>
                    <a:pt x="35858" y="0"/>
                  </a:lnTo>
                  <a:lnTo>
                    <a:pt x="219410" y="127232"/>
                  </a:lnTo>
                  <a:lnTo>
                    <a:pt x="200448" y="132296"/>
                  </a:lnTo>
                  <a:cubicBezTo>
                    <a:pt x="176976" y="136859"/>
                    <a:pt x="155381" y="139475"/>
                    <a:pt x="136904" y="140588"/>
                  </a:cubicBezTo>
                  <a:cubicBezTo>
                    <a:pt x="95942" y="143260"/>
                    <a:pt x="55870" y="125450"/>
                    <a:pt x="27373" y="960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24E0BB53-945A-402E-838B-93267E59D513}"/>
                </a:ext>
              </a:extLst>
            </p:cNvPr>
            <p:cNvSpPr/>
            <p:nvPr/>
          </p:nvSpPr>
          <p:spPr>
            <a:xfrm rot="8716295">
              <a:off x="1125067" y="247965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6C251D8C-A5D9-4ECA-AD3B-1A05AB92D036}"/>
                </a:ext>
              </a:extLst>
            </p:cNvPr>
            <p:cNvSpPr/>
            <p:nvPr/>
          </p:nvSpPr>
          <p:spPr>
            <a:xfrm rot="8716295">
              <a:off x="1260365" y="252391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8B96FE87-2D5C-4688-844D-4E74C72A4B6C}"/>
                </a:ext>
              </a:extLst>
            </p:cNvPr>
            <p:cNvSpPr/>
            <p:nvPr/>
          </p:nvSpPr>
          <p:spPr>
            <a:xfrm rot="8716295">
              <a:off x="1192483" y="2393326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582D3CFC-4736-4E25-B369-A4CE70A870B5}"/>
                </a:ext>
              </a:extLst>
            </p:cNvPr>
            <p:cNvSpPr/>
            <p:nvPr/>
          </p:nvSpPr>
          <p:spPr>
            <a:xfrm rot="8716295">
              <a:off x="955196" y="261367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005E4ED8-B75C-4EF1-8BE9-2F684ADC8702}"/>
                </a:ext>
              </a:extLst>
            </p:cNvPr>
            <p:cNvSpPr/>
            <p:nvPr/>
          </p:nvSpPr>
          <p:spPr>
            <a:xfrm rot="8716295">
              <a:off x="766149" y="229783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AFABF28F-6E8A-4957-B94B-921C1E69A440}"/>
                </a:ext>
              </a:extLst>
            </p:cNvPr>
            <p:cNvSpPr/>
            <p:nvPr/>
          </p:nvSpPr>
          <p:spPr>
            <a:xfrm rot="8716295">
              <a:off x="747908" y="2087785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A9A47BF0-B3E6-4CA8-B1F1-FEC766FA52E5}"/>
                </a:ext>
              </a:extLst>
            </p:cNvPr>
            <p:cNvSpPr/>
            <p:nvPr/>
          </p:nvSpPr>
          <p:spPr>
            <a:xfrm rot="8716295">
              <a:off x="1091684" y="2675653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E9996FB1-6163-4708-89D3-37E7BECE1764}"/>
                </a:ext>
              </a:extLst>
            </p:cNvPr>
            <p:cNvSpPr/>
            <p:nvPr/>
          </p:nvSpPr>
          <p:spPr>
            <a:xfrm rot="8716295">
              <a:off x="1562630" y="210103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A1CE2F3B-6619-4775-85F0-1C1F8C974630}"/>
                </a:ext>
              </a:extLst>
            </p:cNvPr>
            <p:cNvSpPr/>
            <p:nvPr/>
          </p:nvSpPr>
          <p:spPr>
            <a:xfrm rot="8716295">
              <a:off x="1697929" y="214529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8284C668-CF6A-429F-A20E-B2542F51FB46}"/>
                </a:ext>
              </a:extLst>
            </p:cNvPr>
            <p:cNvSpPr/>
            <p:nvPr/>
          </p:nvSpPr>
          <p:spPr>
            <a:xfrm rot="8716295">
              <a:off x="1392759" y="223505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AA01786E-CED8-47C1-98FC-809C875C8CD9}"/>
                </a:ext>
              </a:extLst>
            </p:cNvPr>
            <p:cNvSpPr/>
            <p:nvPr/>
          </p:nvSpPr>
          <p:spPr>
            <a:xfrm rot="8716295">
              <a:off x="1203715" y="191921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2425A90E-FE44-45AD-B145-151A84FF9C22}"/>
                </a:ext>
              </a:extLst>
            </p:cNvPr>
            <p:cNvSpPr/>
            <p:nvPr/>
          </p:nvSpPr>
          <p:spPr>
            <a:xfrm rot="8716295">
              <a:off x="1529248" y="2297037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C0E93116-88EE-4D50-8215-854EE6AEF62E}"/>
                </a:ext>
              </a:extLst>
            </p:cNvPr>
            <p:cNvSpPr/>
            <p:nvPr/>
          </p:nvSpPr>
          <p:spPr>
            <a:xfrm rot="8716295">
              <a:off x="1163801" y="2070611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97447593-0A4C-444A-8AD1-F14699136B1C}"/>
                </a:ext>
              </a:extLst>
            </p:cNvPr>
            <p:cNvSpPr/>
            <p:nvPr/>
          </p:nvSpPr>
          <p:spPr>
            <a:xfrm rot="7484129">
              <a:off x="1688065" y="258665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E8FA1E58-23E1-4418-9B7C-2F5C67C32BDC}"/>
                </a:ext>
              </a:extLst>
            </p:cNvPr>
            <p:cNvSpPr/>
            <p:nvPr/>
          </p:nvSpPr>
          <p:spPr>
            <a:xfrm rot="13089394">
              <a:off x="1845023" y="2531236"/>
              <a:ext cx="412568" cy="496925"/>
            </a:xfrm>
            <a:custGeom>
              <a:avLst/>
              <a:gdLst>
                <a:gd name="connsiteX0" fmla="*/ 412568 w 412568"/>
                <a:gd name="connsiteY0" fmla="*/ 390854 h 496925"/>
                <a:gd name="connsiteX1" fmla="*/ 198232 w 412568"/>
                <a:gd name="connsiteY1" fmla="*/ 489977 h 496925"/>
                <a:gd name="connsiteX2" fmla="*/ 144991 w 412568"/>
                <a:gd name="connsiteY2" fmla="*/ 496925 h 496925"/>
                <a:gd name="connsiteX3" fmla="*/ 0 w 412568"/>
                <a:gd name="connsiteY3" fmla="*/ 276116 h 496925"/>
                <a:gd name="connsiteX4" fmla="*/ 0 w 412568"/>
                <a:gd name="connsiteY4" fmla="*/ 57626 h 496925"/>
                <a:gd name="connsiteX5" fmla="*/ 111075 w 412568"/>
                <a:gd name="connsiteY5" fmla="*/ 0 h 496925"/>
                <a:gd name="connsiteX6" fmla="*/ 112747 w 412568"/>
                <a:gd name="connsiteY6" fmla="*/ 233009 h 496925"/>
                <a:gd name="connsiteX7" fmla="*/ 132789 w 412568"/>
                <a:gd name="connsiteY7" fmla="*/ 371646 h 496925"/>
                <a:gd name="connsiteX8" fmla="*/ 233008 w 412568"/>
                <a:gd name="connsiteY8" fmla="*/ 426766 h 496925"/>
                <a:gd name="connsiteX9" fmla="*/ 308173 w 412568"/>
                <a:gd name="connsiteY9" fmla="*/ 413403 h 496925"/>
                <a:gd name="connsiteX10" fmla="*/ 410897 w 412568"/>
                <a:gd name="connsiteY10" fmla="*/ 371646 h 496925"/>
                <a:gd name="connsiteX11" fmla="*/ 412568 w 412568"/>
                <a:gd name="connsiteY11" fmla="*/ 382502 h 496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2568" h="496925">
                  <a:moveTo>
                    <a:pt x="412568" y="390854"/>
                  </a:moveTo>
                  <a:cubicBezTo>
                    <a:pt x="346173" y="447854"/>
                    <a:pt x="264275" y="477136"/>
                    <a:pt x="198232" y="489977"/>
                  </a:cubicBezTo>
                  <a:lnTo>
                    <a:pt x="144991" y="496925"/>
                  </a:lnTo>
                  <a:lnTo>
                    <a:pt x="0" y="276116"/>
                  </a:lnTo>
                  <a:lnTo>
                    <a:pt x="0" y="57626"/>
                  </a:lnTo>
                  <a:lnTo>
                    <a:pt x="111075" y="0"/>
                  </a:lnTo>
                  <a:lnTo>
                    <a:pt x="112747" y="233009"/>
                  </a:lnTo>
                  <a:cubicBezTo>
                    <a:pt x="110241" y="279778"/>
                    <a:pt x="117757" y="327382"/>
                    <a:pt x="132789" y="371646"/>
                  </a:cubicBezTo>
                  <a:cubicBezTo>
                    <a:pt x="146153" y="408393"/>
                    <a:pt x="180394" y="426766"/>
                    <a:pt x="233008" y="426766"/>
                  </a:cubicBezTo>
                  <a:cubicBezTo>
                    <a:pt x="258899" y="425930"/>
                    <a:pt x="283953" y="420919"/>
                    <a:pt x="308173" y="413403"/>
                  </a:cubicBezTo>
                  <a:cubicBezTo>
                    <a:pt x="343249" y="402546"/>
                    <a:pt x="377491" y="388349"/>
                    <a:pt x="410897" y="371646"/>
                  </a:cubicBezTo>
                  <a:cubicBezTo>
                    <a:pt x="411732" y="374986"/>
                    <a:pt x="412568" y="379161"/>
                    <a:pt x="412568" y="38250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18E16AF5-15DE-4CED-B67B-CF099D4DD885}"/>
                </a:ext>
              </a:extLst>
            </p:cNvPr>
            <p:cNvSpPr/>
            <p:nvPr/>
          </p:nvSpPr>
          <p:spPr>
            <a:xfrm rot="8716295">
              <a:off x="2147054" y="2332037"/>
              <a:ext cx="207668" cy="192886"/>
            </a:xfrm>
            <a:custGeom>
              <a:avLst/>
              <a:gdLst>
                <a:gd name="connsiteX0" fmla="*/ 0 w 207668"/>
                <a:gd name="connsiteY0" fmla="*/ 192886 h 192886"/>
                <a:gd name="connsiteX1" fmla="*/ 159539 w 207668"/>
                <a:gd name="connsiteY1" fmla="*/ 0 h 192886"/>
                <a:gd name="connsiteX2" fmla="*/ 181588 w 207668"/>
                <a:gd name="connsiteY2" fmla="*/ 5201 h 192886"/>
                <a:gd name="connsiteX3" fmla="*/ 207668 w 207668"/>
                <a:gd name="connsiteY3" fmla="*/ 59649 h 192886"/>
                <a:gd name="connsiteX4" fmla="*/ 160490 w 207668"/>
                <a:gd name="connsiteY4" fmla="*/ 123096 h 192886"/>
                <a:gd name="connsiteX5" fmla="*/ 161303 w 207668"/>
                <a:gd name="connsiteY5" fmla="*/ 123096 h 192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668" h="192886">
                  <a:moveTo>
                    <a:pt x="0" y="192886"/>
                  </a:moveTo>
                  <a:lnTo>
                    <a:pt x="159539" y="0"/>
                  </a:lnTo>
                  <a:lnTo>
                    <a:pt x="181588" y="5201"/>
                  </a:lnTo>
                  <a:cubicBezTo>
                    <a:pt x="201262" y="16029"/>
                    <a:pt x="207668" y="40127"/>
                    <a:pt x="207668" y="59649"/>
                  </a:cubicBezTo>
                  <a:cubicBezTo>
                    <a:pt x="205228" y="88119"/>
                    <a:pt x="186518" y="111708"/>
                    <a:pt x="160490" y="123096"/>
                  </a:cubicBezTo>
                  <a:lnTo>
                    <a:pt x="161303" y="1230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EE7EA580-766E-4570-A7DD-55A7181E9140}"/>
                </a:ext>
              </a:extLst>
            </p:cNvPr>
            <p:cNvSpPr/>
            <p:nvPr/>
          </p:nvSpPr>
          <p:spPr>
            <a:xfrm rot="8716295">
              <a:off x="2049197" y="208909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89C54D82-6DB7-45E9-8646-AF058AAE6AFE}"/>
                </a:ext>
              </a:extLst>
            </p:cNvPr>
            <p:cNvSpPr/>
            <p:nvPr/>
          </p:nvSpPr>
          <p:spPr>
            <a:xfrm rot="8716295">
              <a:off x="1681033" y="21348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350EA871-183D-437B-B28B-EF893E9A4930}"/>
                </a:ext>
              </a:extLst>
            </p:cNvPr>
            <p:cNvSpPr/>
            <p:nvPr/>
          </p:nvSpPr>
          <p:spPr>
            <a:xfrm rot="8716295">
              <a:off x="1949615" y="189381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7625BF35-EB3E-4083-8310-66A6ABEEBE81}"/>
                </a:ext>
              </a:extLst>
            </p:cNvPr>
            <p:cNvSpPr/>
            <p:nvPr/>
          </p:nvSpPr>
          <p:spPr>
            <a:xfrm rot="8716295">
              <a:off x="787294" y="148117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4A278F8F-FAFA-4D7A-877C-29D91BF541D4}"/>
                </a:ext>
              </a:extLst>
            </p:cNvPr>
            <p:cNvSpPr/>
            <p:nvPr/>
          </p:nvSpPr>
          <p:spPr>
            <a:xfrm rot="8716295">
              <a:off x="922592" y="152543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DB2610A3-31CF-45EF-B184-4657FD23CA44}"/>
                </a:ext>
              </a:extLst>
            </p:cNvPr>
            <p:cNvSpPr/>
            <p:nvPr/>
          </p:nvSpPr>
          <p:spPr>
            <a:xfrm rot="8716295">
              <a:off x="854710" y="1394843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2721DD24-E32D-474A-8AE8-CB1F5FEA63CC}"/>
                </a:ext>
              </a:extLst>
            </p:cNvPr>
            <p:cNvSpPr/>
            <p:nvPr/>
          </p:nvSpPr>
          <p:spPr>
            <a:xfrm rot="8716295">
              <a:off x="617423" y="161518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271ACC1B-5BC1-4C90-8744-187E477874EA}"/>
                </a:ext>
              </a:extLst>
            </p:cNvPr>
            <p:cNvSpPr/>
            <p:nvPr/>
          </p:nvSpPr>
          <p:spPr>
            <a:xfrm rot="8716295">
              <a:off x="428376" y="129935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09A9FE1D-6CB8-4187-8C52-59F1BA866B08}"/>
                </a:ext>
              </a:extLst>
            </p:cNvPr>
            <p:cNvSpPr/>
            <p:nvPr/>
          </p:nvSpPr>
          <p:spPr>
            <a:xfrm rot="8716295">
              <a:off x="410135" y="1089302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orme libre : forme 58">
              <a:extLst>
                <a:ext uri="{FF2B5EF4-FFF2-40B4-BE49-F238E27FC236}">
                  <a16:creationId xmlns:a16="http://schemas.microsoft.com/office/drawing/2014/main" id="{536CBB26-493E-4AF3-B817-10984C95D957}"/>
                </a:ext>
              </a:extLst>
            </p:cNvPr>
            <p:cNvSpPr/>
            <p:nvPr/>
          </p:nvSpPr>
          <p:spPr>
            <a:xfrm rot="8716295">
              <a:off x="753911" y="1677170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orme libre : forme 59">
              <a:extLst>
                <a:ext uri="{FF2B5EF4-FFF2-40B4-BE49-F238E27FC236}">
                  <a16:creationId xmlns:a16="http://schemas.microsoft.com/office/drawing/2014/main" id="{945CA62F-9E79-459F-9A9E-98D352B7F4FC}"/>
                </a:ext>
              </a:extLst>
            </p:cNvPr>
            <p:cNvSpPr/>
            <p:nvPr/>
          </p:nvSpPr>
          <p:spPr>
            <a:xfrm rot="8716295">
              <a:off x="1224858" y="1102556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orme libre : forme 60">
              <a:extLst>
                <a:ext uri="{FF2B5EF4-FFF2-40B4-BE49-F238E27FC236}">
                  <a16:creationId xmlns:a16="http://schemas.microsoft.com/office/drawing/2014/main" id="{369C3DB8-F103-4448-B156-2B184240310A}"/>
                </a:ext>
              </a:extLst>
            </p:cNvPr>
            <p:cNvSpPr/>
            <p:nvPr/>
          </p:nvSpPr>
          <p:spPr>
            <a:xfrm rot="8716295">
              <a:off x="1360156" y="1146815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orme libre : forme 61">
              <a:extLst>
                <a:ext uri="{FF2B5EF4-FFF2-40B4-BE49-F238E27FC236}">
                  <a16:creationId xmlns:a16="http://schemas.microsoft.com/office/drawing/2014/main" id="{18E1EF68-3C34-4AED-A042-F974F305FFA4}"/>
                </a:ext>
              </a:extLst>
            </p:cNvPr>
            <p:cNvSpPr/>
            <p:nvPr/>
          </p:nvSpPr>
          <p:spPr>
            <a:xfrm rot="8716295">
              <a:off x="1054986" y="123657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orme libre : forme 62">
              <a:extLst>
                <a:ext uri="{FF2B5EF4-FFF2-40B4-BE49-F238E27FC236}">
                  <a16:creationId xmlns:a16="http://schemas.microsoft.com/office/drawing/2014/main" id="{E6940BAB-7063-447D-9788-7A9EFB3FD540}"/>
                </a:ext>
              </a:extLst>
            </p:cNvPr>
            <p:cNvSpPr/>
            <p:nvPr/>
          </p:nvSpPr>
          <p:spPr>
            <a:xfrm rot="8716295">
              <a:off x="865942" y="92073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orme libre : forme 63">
              <a:extLst>
                <a:ext uri="{FF2B5EF4-FFF2-40B4-BE49-F238E27FC236}">
                  <a16:creationId xmlns:a16="http://schemas.microsoft.com/office/drawing/2014/main" id="{ACE5BF6F-DB4B-42E3-B1BA-145CDB9C3DF9}"/>
                </a:ext>
              </a:extLst>
            </p:cNvPr>
            <p:cNvSpPr/>
            <p:nvPr/>
          </p:nvSpPr>
          <p:spPr>
            <a:xfrm rot="8716295">
              <a:off x="1191475" y="1298554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orme libre : forme 64">
              <a:extLst>
                <a:ext uri="{FF2B5EF4-FFF2-40B4-BE49-F238E27FC236}">
                  <a16:creationId xmlns:a16="http://schemas.microsoft.com/office/drawing/2014/main" id="{652E743A-00B8-433E-B55D-34BA48EAC5CE}"/>
                </a:ext>
              </a:extLst>
            </p:cNvPr>
            <p:cNvSpPr/>
            <p:nvPr/>
          </p:nvSpPr>
          <p:spPr>
            <a:xfrm rot="8716295">
              <a:off x="826028" y="1072128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orme libre : forme 65">
              <a:extLst>
                <a:ext uri="{FF2B5EF4-FFF2-40B4-BE49-F238E27FC236}">
                  <a16:creationId xmlns:a16="http://schemas.microsoft.com/office/drawing/2014/main" id="{BACD1396-4989-4CCD-AB4F-6277B1FA025D}"/>
                </a:ext>
              </a:extLst>
            </p:cNvPr>
            <p:cNvSpPr/>
            <p:nvPr/>
          </p:nvSpPr>
          <p:spPr>
            <a:xfrm rot="7484129">
              <a:off x="1350292" y="158817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orme libre : forme 66">
              <a:extLst>
                <a:ext uri="{FF2B5EF4-FFF2-40B4-BE49-F238E27FC236}">
                  <a16:creationId xmlns:a16="http://schemas.microsoft.com/office/drawing/2014/main" id="{F1575DA2-DE7C-4BAF-AFB3-D8ACAD3FE8BB}"/>
                </a:ext>
              </a:extLst>
            </p:cNvPr>
            <p:cNvSpPr/>
            <p:nvPr/>
          </p:nvSpPr>
          <p:spPr>
            <a:xfrm rot="13089394">
              <a:off x="1508942" y="1537520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3D5C7C03-0DD7-4CE0-B323-2DBC8A33D724}"/>
                </a:ext>
              </a:extLst>
            </p:cNvPr>
            <p:cNvSpPr/>
            <p:nvPr/>
          </p:nvSpPr>
          <p:spPr>
            <a:xfrm rot="8716295">
              <a:off x="1789833" y="1247402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orme libre : forme 68">
              <a:extLst>
                <a:ext uri="{FF2B5EF4-FFF2-40B4-BE49-F238E27FC236}">
                  <a16:creationId xmlns:a16="http://schemas.microsoft.com/office/drawing/2014/main" id="{2A0940B5-3257-4C64-A206-488AFE286994}"/>
                </a:ext>
              </a:extLst>
            </p:cNvPr>
            <p:cNvSpPr/>
            <p:nvPr/>
          </p:nvSpPr>
          <p:spPr>
            <a:xfrm rot="8716295">
              <a:off x="1711424" y="109061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orme libre : forme 69">
              <a:extLst>
                <a:ext uri="{FF2B5EF4-FFF2-40B4-BE49-F238E27FC236}">
                  <a16:creationId xmlns:a16="http://schemas.microsoft.com/office/drawing/2014/main" id="{3166A607-68F9-4F3F-A5ED-4FA937BEECD1}"/>
                </a:ext>
              </a:extLst>
            </p:cNvPr>
            <p:cNvSpPr/>
            <p:nvPr/>
          </p:nvSpPr>
          <p:spPr>
            <a:xfrm rot="8716295">
              <a:off x="1343261" y="113635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orme libre : forme 70">
              <a:extLst>
                <a:ext uri="{FF2B5EF4-FFF2-40B4-BE49-F238E27FC236}">
                  <a16:creationId xmlns:a16="http://schemas.microsoft.com/office/drawing/2014/main" id="{E3E45D07-7F2E-45AC-8607-5306F45B7B5E}"/>
                </a:ext>
              </a:extLst>
            </p:cNvPr>
            <p:cNvSpPr/>
            <p:nvPr/>
          </p:nvSpPr>
          <p:spPr>
            <a:xfrm rot="8716295">
              <a:off x="1611842" y="89533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orme libre : forme 71">
              <a:extLst>
                <a:ext uri="{FF2B5EF4-FFF2-40B4-BE49-F238E27FC236}">
                  <a16:creationId xmlns:a16="http://schemas.microsoft.com/office/drawing/2014/main" id="{F61F2692-40B7-4A40-AE32-B2180297905C}"/>
                </a:ext>
              </a:extLst>
            </p:cNvPr>
            <p:cNvSpPr/>
            <p:nvPr/>
          </p:nvSpPr>
          <p:spPr>
            <a:xfrm rot="8716295">
              <a:off x="455920" y="47911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orme libre : forme 72">
              <a:extLst>
                <a:ext uri="{FF2B5EF4-FFF2-40B4-BE49-F238E27FC236}">
                  <a16:creationId xmlns:a16="http://schemas.microsoft.com/office/drawing/2014/main" id="{8D510AFD-E0B6-4C04-A231-06F0DA5461FE}"/>
                </a:ext>
              </a:extLst>
            </p:cNvPr>
            <p:cNvSpPr/>
            <p:nvPr/>
          </p:nvSpPr>
          <p:spPr>
            <a:xfrm rot="8716295">
              <a:off x="591219" y="52337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" name="Forme libre : forme 73">
              <a:extLst>
                <a:ext uri="{FF2B5EF4-FFF2-40B4-BE49-F238E27FC236}">
                  <a16:creationId xmlns:a16="http://schemas.microsoft.com/office/drawing/2014/main" id="{6B88DB4B-6413-485F-AD39-EF4AC1850A75}"/>
                </a:ext>
              </a:extLst>
            </p:cNvPr>
            <p:cNvSpPr/>
            <p:nvPr/>
          </p:nvSpPr>
          <p:spPr>
            <a:xfrm rot="8716295">
              <a:off x="523336" y="39278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" name="Forme libre : forme 74">
              <a:extLst>
                <a:ext uri="{FF2B5EF4-FFF2-40B4-BE49-F238E27FC236}">
                  <a16:creationId xmlns:a16="http://schemas.microsoft.com/office/drawing/2014/main" id="{985A4035-A707-4F38-A0C9-2533BF637BC9}"/>
                </a:ext>
              </a:extLst>
            </p:cNvPr>
            <p:cNvSpPr/>
            <p:nvPr/>
          </p:nvSpPr>
          <p:spPr>
            <a:xfrm rot="8716295">
              <a:off x="286049" y="6131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" name="Forme libre : forme 75">
              <a:extLst>
                <a:ext uri="{FF2B5EF4-FFF2-40B4-BE49-F238E27FC236}">
                  <a16:creationId xmlns:a16="http://schemas.microsoft.com/office/drawing/2014/main" id="{F8A46B91-F44C-4F7E-94A8-64349465DA46}"/>
                </a:ext>
              </a:extLst>
            </p:cNvPr>
            <p:cNvSpPr/>
            <p:nvPr/>
          </p:nvSpPr>
          <p:spPr>
            <a:xfrm rot="8716295">
              <a:off x="97003" y="2972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" name="Forme libre : forme 76">
              <a:extLst>
                <a:ext uri="{FF2B5EF4-FFF2-40B4-BE49-F238E27FC236}">
                  <a16:creationId xmlns:a16="http://schemas.microsoft.com/office/drawing/2014/main" id="{D98B2AD3-F200-4E21-B245-12CF6B31E044}"/>
                </a:ext>
              </a:extLst>
            </p:cNvPr>
            <p:cNvSpPr/>
            <p:nvPr/>
          </p:nvSpPr>
          <p:spPr>
            <a:xfrm rot="8716295">
              <a:off x="78761" y="87249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" name="Forme libre : forme 77">
              <a:extLst>
                <a:ext uri="{FF2B5EF4-FFF2-40B4-BE49-F238E27FC236}">
                  <a16:creationId xmlns:a16="http://schemas.microsoft.com/office/drawing/2014/main" id="{31F62124-299F-4960-8825-F200F77E89B1}"/>
                </a:ext>
              </a:extLst>
            </p:cNvPr>
            <p:cNvSpPr/>
            <p:nvPr/>
          </p:nvSpPr>
          <p:spPr>
            <a:xfrm rot="8716295">
              <a:off x="422537" y="67511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orme libre : forme 78">
              <a:extLst>
                <a:ext uri="{FF2B5EF4-FFF2-40B4-BE49-F238E27FC236}">
                  <a16:creationId xmlns:a16="http://schemas.microsoft.com/office/drawing/2014/main" id="{EE39F313-B670-444A-981C-E127C24D857F}"/>
                </a:ext>
              </a:extLst>
            </p:cNvPr>
            <p:cNvSpPr/>
            <p:nvPr/>
          </p:nvSpPr>
          <p:spPr>
            <a:xfrm rot="8716295">
              <a:off x="893484" y="10050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Forme libre : forme 79">
              <a:extLst>
                <a:ext uri="{FF2B5EF4-FFF2-40B4-BE49-F238E27FC236}">
                  <a16:creationId xmlns:a16="http://schemas.microsoft.com/office/drawing/2014/main" id="{9BFFA7AA-3FAD-4A4D-BF99-76B00FB2C288}"/>
                </a:ext>
              </a:extLst>
            </p:cNvPr>
            <p:cNvSpPr/>
            <p:nvPr/>
          </p:nvSpPr>
          <p:spPr>
            <a:xfrm rot="8716295">
              <a:off x="1028783" y="14476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" name="Forme libre : forme 80">
              <a:extLst>
                <a:ext uri="{FF2B5EF4-FFF2-40B4-BE49-F238E27FC236}">
                  <a16:creationId xmlns:a16="http://schemas.microsoft.com/office/drawing/2014/main" id="{1433DBAF-4AFA-4A86-A99F-428DB317C17F}"/>
                </a:ext>
              </a:extLst>
            </p:cNvPr>
            <p:cNvSpPr/>
            <p:nvPr/>
          </p:nvSpPr>
          <p:spPr>
            <a:xfrm rot="8716295">
              <a:off x="723613" y="23451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orme libre : forme 81">
              <a:extLst>
                <a:ext uri="{FF2B5EF4-FFF2-40B4-BE49-F238E27FC236}">
                  <a16:creationId xmlns:a16="http://schemas.microsoft.com/office/drawing/2014/main" id="{AF029D07-5D40-4341-9548-A67032BB1C77}"/>
                </a:ext>
              </a:extLst>
            </p:cNvPr>
            <p:cNvSpPr/>
            <p:nvPr/>
          </p:nvSpPr>
          <p:spPr>
            <a:xfrm rot="8716295">
              <a:off x="547803" y="-17289"/>
              <a:ext cx="308531" cy="226033"/>
            </a:xfrm>
            <a:custGeom>
              <a:avLst/>
              <a:gdLst>
                <a:gd name="connsiteX0" fmla="*/ 106716 w 203847"/>
                <a:gd name="connsiteY0" fmla="*/ 149340 h 149340"/>
                <a:gd name="connsiteX1" fmla="*/ 50038 w 203847"/>
                <a:gd name="connsiteY1" fmla="*/ 110053 h 149340"/>
                <a:gd name="connsiteX2" fmla="*/ 69777 w 203847"/>
                <a:gd name="connsiteY2" fmla="*/ 55323 h 149340"/>
                <a:gd name="connsiteX3" fmla="*/ 0 w 203847"/>
                <a:gd name="connsiteY3" fmla="*/ 55323 h 149340"/>
                <a:gd name="connsiteX4" fmla="*/ 0 w 203847"/>
                <a:gd name="connsiteY4" fmla="*/ 0 h 149340"/>
                <a:gd name="connsiteX5" fmla="*/ 203847 w 203847"/>
                <a:gd name="connsiteY5" fmla="*/ 0 h 149340"/>
                <a:gd name="connsiteX6" fmla="*/ 203847 w 203847"/>
                <a:gd name="connsiteY6" fmla="*/ 55323 h 149340"/>
                <a:gd name="connsiteX7" fmla="*/ 139055 w 203847"/>
                <a:gd name="connsiteY7" fmla="*/ 55323 h 14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49340">
                  <a:moveTo>
                    <a:pt x="106716" y="149340"/>
                  </a:moveTo>
                  <a:lnTo>
                    <a:pt x="50038" y="110053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Forme libre : forme 82">
              <a:extLst>
                <a:ext uri="{FF2B5EF4-FFF2-40B4-BE49-F238E27FC236}">
                  <a16:creationId xmlns:a16="http://schemas.microsoft.com/office/drawing/2014/main" id="{2932702E-E8E3-46BA-A87E-0ED0BC303BF9}"/>
                </a:ext>
              </a:extLst>
            </p:cNvPr>
            <p:cNvSpPr/>
            <p:nvPr/>
          </p:nvSpPr>
          <p:spPr>
            <a:xfrm rot="8716295">
              <a:off x="860101" y="29650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4" name="Forme libre : forme 83">
              <a:extLst>
                <a:ext uri="{FF2B5EF4-FFF2-40B4-BE49-F238E27FC236}">
                  <a16:creationId xmlns:a16="http://schemas.microsoft.com/office/drawing/2014/main" id="{69A563A2-99F0-4626-A5AF-E9AD22DC8484}"/>
                </a:ext>
              </a:extLst>
            </p:cNvPr>
            <p:cNvSpPr/>
            <p:nvPr/>
          </p:nvSpPr>
          <p:spPr>
            <a:xfrm rot="8716295">
              <a:off x="494655" y="7007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5" name="Forme libre : forme 84">
              <a:extLst>
                <a:ext uri="{FF2B5EF4-FFF2-40B4-BE49-F238E27FC236}">
                  <a16:creationId xmlns:a16="http://schemas.microsoft.com/office/drawing/2014/main" id="{B18A375D-EEA2-4D9B-96D1-D4924AE08EC7}"/>
                </a:ext>
              </a:extLst>
            </p:cNvPr>
            <p:cNvSpPr/>
            <p:nvPr/>
          </p:nvSpPr>
          <p:spPr>
            <a:xfrm rot="7484129">
              <a:off x="1018919" y="58611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6" name="Forme libre : forme 85">
              <a:extLst>
                <a:ext uri="{FF2B5EF4-FFF2-40B4-BE49-F238E27FC236}">
                  <a16:creationId xmlns:a16="http://schemas.microsoft.com/office/drawing/2014/main" id="{7717CD41-705F-4F28-B88E-73D27DF645C8}"/>
                </a:ext>
              </a:extLst>
            </p:cNvPr>
            <p:cNvSpPr/>
            <p:nvPr/>
          </p:nvSpPr>
          <p:spPr>
            <a:xfrm rot="13089394">
              <a:off x="1177568" y="53546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7" name="Forme libre : forme 86">
              <a:extLst>
                <a:ext uri="{FF2B5EF4-FFF2-40B4-BE49-F238E27FC236}">
                  <a16:creationId xmlns:a16="http://schemas.microsoft.com/office/drawing/2014/main" id="{285D68BE-9E3D-4F4C-AC96-578345571AC5}"/>
                </a:ext>
              </a:extLst>
            </p:cNvPr>
            <p:cNvSpPr/>
            <p:nvPr/>
          </p:nvSpPr>
          <p:spPr>
            <a:xfrm rot="8716295">
              <a:off x="1458459" y="24534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8" name="Forme libre : forme 87">
              <a:extLst>
                <a:ext uri="{FF2B5EF4-FFF2-40B4-BE49-F238E27FC236}">
                  <a16:creationId xmlns:a16="http://schemas.microsoft.com/office/drawing/2014/main" id="{83EDC7AF-2352-4CD0-B767-0567B99FAECC}"/>
                </a:ext>
              </a:extLst>
            </p:cNvPr>
            <p:cNvSpPr/>
            <p:nvPr/>
          </p:nvSpPr>
          <p:spPr>
            <a:xfrm rot="8716295">
              <a:off x="1380050" y="8855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9" name="Forme libre : forme 88">
              <a:extLst>
                <a:ext uri="{FF2B5EF4-FFF2-40B4-BE49-F238E27FC236}">
                  <a16:creationId xmlns:a16="http://schemas.microsoft.com/office/drawing/2014/main" id="{E853F8BE-90D5-4EB8-BCC9-E92102CA6DFE}"/>
                </a:ext>
              </a:extLst>
            </p:cNvPr>
            <p:cNvSpPr/>
            <p:nvPr/>
          </p:nvSpPr>
          <p:spPr>
            <a:xfrm rot="8716295">
              <a:off x="1011887" y="13429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" name="Forme libre : forme 89">
              <a:extLst>
                <a:ext uri="{FF2B5EF4-FFF2-40B4-BE49-F238E27FC236}">
                  <a16:creationId xmlns:a16="http://schemas.microsoft.com/office/drawing/2014/main" id="{42758375-22F2-40F5-8D40-436514F398B4}"/>
                </a:ext>
              </a:extLst>
            </p:cNvPr>
            <p:cNvSpPr/>
            <p:nvPr/>
          </p:nvSpPr>
          <p:spPr>
            <a:xfrm rot="8716295">
              <a:off x="1291652" y="-36449"/>
              <a:ext cx="134197" cy="106947"/>
            </a:xfrm>
            <a:custGeom>
              <a:avLst/>
              <a:gdLst>
                <a:gd name="connsiteX0" fmla="*/ 83649 w 88664"/>
                <a:gd name="connsiteY0" fmla="*/ 70660 h 70660"/>
                <a:gd name="connsiteX1" fmla="*/ 0 w 88664"/>
                <a:gd name="connsiteY1" fmla="*/ 12677 h 70660"/>
                <a:gd name="connsiteX2" fmla="*/ 30024 w 88664"/>
                <a:gd name="connsiteY2" fmla="*/ 0 h 70660"/>
                <a:gd name="connsiteX3" fmla="*/ 71417 w 88664"/>
                <a:gd name="connsiteY3" fmla="*/ 17477 h 70660"/>
                <a:gd name="connsiteX4" fmla="*/ 88664 w 88664"/>
                <a:gd name="connsiteY4" fmla="*/ 58525 h 70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664" h="70660">
                  <a:moveTo>
                    <a:pt x="83649" y="70660"/>
                  </a:moveTo>
                  <a:lnTo>
                    <a:pt x="0" y="12677"/>
                  </a:lnTo>
                  <a:lnTo>
                    <a:pt x="30024" y="0"/>
                  </a:lnTo>
                  <a:cubicBezTo>
                    <a:pt x="45662" y="0"/>
                    <a:pt x="60379" y="6439"/>
                    <a:pt x="71417" y="17477"/>
                  </a:cubicBezTo>
                  <a:cubicBezTo>
                    <a:pt x="82915" y="28515"/>
                    <a:pt x="88664" y="43462"/>
                    <a:pt x="88664" y="58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" name="Forme libre : forme 90">
              <a:extLst>
                <a:ext uri="{FF2B5EF4-FFF2-40B4-BE49-F238E27FC236}">
                  <a16:creationId xmlns:a16="http://schemas.microsoft.com/office/drawing/2014/main" id="{39402522-16DA-4E11-927D-0744A887E931}"/>
                </a:ext>
              </a:extLst>
            </p:cNvPr>
            <p:cNvSpPr/>
            <p:nvPr/>
          </p:nvSpPr>
          <p:spPr>
            <a:xfrm rot="13089394">
              <a:off x="990163" y="-39748"/>
              <a:ext cx="111277" cy="115595"/>
            </a:xfrm>
            <a:custGeom>
              <a:avLst/>
              <a:gdLst>
                <a:gd name="connsiteX0" fmla="*/ 73521 w 73521"/>
                <a:gd name="connsiteY0" fmla="*/ 18609 h 76374"/>
                <a:gd name="connsiteX1" fmla="*/ 0 w 73521"/>
                <a:gd name="connsiteY1" fmla="*/ 76374 h 76374"/>
                <a:gd name="connsiteX2" fmla="*/ 0 w 73521"/>
                <a:gd name="connsiteY2" fmla="*/ 38074 h 76374"/>
                <a:gd name="connsiteX3" fmla="*/ 73388 w 73521"/>
                <a:gd name="connsiteY3" fmla="*/ 0 h 7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521" h="76374">
                  <a:moveTo>
                    <a:pt x="73521" y="18609"/>
                  </a:moveTo>
                  <a:lnTo>
                    <a:pt x="0" y="76374"/>
                  </a:lnTo>
                  <a:lnTo>
                    <a:pt x="0" y="38074"/>
                  </a:lnTo>
                  <a:lnTo>
                    <a:pt x="7338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" name="Forme libre : forme 91">
              <a:extLst>
                <a:ext uri="{FF2B5EF4-FFF2-40B4-BE49-F238E27FC236}">
                  <a16:creationId xmlns:a16="http://schemas.microsoft.com/office/drawing/2014/main" id="{BA0CCCD1-A43A-4EDA-9AE2-2B760A750CB8}"/>
                </a:ext>
              </a:extLst>
            </p:cNvPr>
            <p:cNvSpPr/>
            <p:nvPr/>
          </p:nvSpPr>
          <p:spPr>
            <a:xfrm rot="8716295">
              <a:off x="121288" y="414134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" name="Forme libre : forme 92">
              <a:extLst>
                <a:ext uri="{FF2B5EF4-FFF2-40B4-BE49-F238E27FC236}">
                  <a16:creationId xmlns:a16="http://schemas.microsoft.com/office/drawing/2014/main" id="{B00F8218-3F51-4CFB-9D4D-4142207B942F}"/>
                </a:ext>
              </a:extLst>
            </p:cNvPr>
            <p:cNvSpPr/>
            <p:nvPr/>
          </p:nvSpPr>
          <p:spPr>
            <a:xfrm rot="8716295">
              <a:off x="256586" y="418560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" name="Forme libre : forme 93">
              <a:extLst>
                <a:ext uri="{FF2B5EF4-FFF2-40B4-BE49-F238E27FC236}">
                  <a16:creationId xmlns:a16="http://schemas.microsoft.com/office/drawing/2014/main" id="{59A33452-85A5-44B9-85E4-34DB64857691}"/>
                </a:ext>
              </a:extLst>
            </p:cNvPr>
            <p:cNvSpPr/>
            <p:nvPr/>
          </p:nvSpPr>
          <p:spPr>
            <a:xfrm rot="8716295">
              <a:off x="188704" y="405501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orme libre : forme 94">
              <a:extLst>
                <a:ext uri="{FF2B5EF4-FFF2-40B4-BE49-F238E27FC236}">
                  <a16:creationId xmlns:a16="http://schemas.microsoft.com/office/drawing/2014/main" id="{6EB29E53-18CD-42F3-9B37-2ECC6883F84C}"/>
                </a:ext>
              </a:extLst>
            </p:cNvPr>
            <p:cNvSpPr/>
            <p:nvPr/>
          </p:nvSpPr>
          <p:spPr>
            <a:xfrm rot="8716295">
              <a:off x="-22408" y="4278013"/>
              <a:ext cx="57413" cy="71926"/>
            </a:xfrm>
            <a:custGeom>
              <a:avLst/>
              <a:gdLst>
                <a:gd name="connsiteX0" fmla="*/ 11441 w 57413"/>
                <a:gd name="connsiteY0" fmla="*/ 71926 h 71926"/>
                <a:gd name="connsiteX1" fmla="*/ 0 w 57413"/>
                <a:gd name="connsiteY1" fmla="*/ 44829 h 71926"/>
                <a:gd name="connsiteX2" fmla="*/ 0 w 57413"/>
                <a:gd name="connsiteY2" fmla="*/ 44139 h 71926"/>
                <a:gd name="connsiteX3" fmla="*/ 13104 w 57413"/>
                <a:gd name="connsiteY3" fmla="*/ 13104 h 71926"/>
                <a:gd name="connsiteX4" fmla="*/ 44139 w 57413"/>
                <a:gd name="connsiteY4" fmla="*/ 0 h 71926"/>
                <a:gd name="connsiteX5" fmla="*/ 57413 w 57413"/>
                <a:gd name="connsiteY5" fmla="*/ 5605 h 71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413" h="71926">
                  <a:moveTo>
                    <a:pt x="11441" y="71926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lnTo>
                    <a:pt x="57413" y="5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Forme libre : forme 95">
              <a:extLst>
                <a:ext uri="{FF2B5EF4-FFF2-40B4-BE49-F238E27FC236}">
                  <a16:creationId xmlns:a16="http://schemas.microsoft.com/office/drawing/2014/main" id="{5DEA4AC8-B4A8-4210-932F-E61308CFB12D}"/>
                </a:ext>
              </a:extLst>
            </p:cNvPr>
            <p:cNvSpPr/>
            <p:nvPr/>
          </p:nvSpPr>
          <p:spPr>
            <a:xfrm rot="8716295">
              <a:off x="-36969" y="4107248"/>
              <a:ext cx="147272" cy="83734"/>
            </a:xfrm>
            <a:custGeom>
              <a:avLst/>
              <a:gdLst>
                <a:gd name="connsiteX0" fmla="*/ 0 w 147272"/>
                <a:gd name="connsiteY0" fmla="*/ 83734 h 83734"/>
                <a:gd name="connsiteX1" fmla="*/ 0 w 147272"/>
                <a:gd name="connsiteY1" fmla="*/ 0 h 83734"/>
                <a:gd name="connsiteX2" fmla="*/ 147272 w 147272"/>
                <a:gd name="connsiteY2" fmla="*/ 0 h 83734"/>
                <a:gd name="connsiteX3" fmla="*/ 89230 w 147272"/>
                <a:gd name="connsiteY3" fmla="*/ 83734 h 83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272" h="83734">
                  <a:moveTo>
                    <a:pt x="0" y="83734"/>
                  </a:moveTo>
                  <a:lnTo>
                    <a:pt x="0" y="0"/>
                  </a:lnTo>
                  <a:lnTo>
                    <a:pt x="147272" y="0"/>
                  </a:lnTo>
                  <a:lnTo>
                    <a:pt x="89230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" name="Forme libre : forme 96">
              <a:extLst>
                <a:ext uri="{FF2B5EF4-FFF2-40B4-BE49-F238E27FC236}">
                  <a16:creationId xmlns:a16="http://schemas.microsoft.com/office/drawing/2014/main" id="{B218914A-7EA1-40E4-B44A-2A3DBC972AF7}"/>
                </a:ext>
              </a:extLst>
            </p:cNvPr>
            <p:cNvSpPr/>
            <p:nvPr/>
          </p:nvSpPr>
          <p:spPr>
            <a:xfrm rot="8716295">
              <a:off x="43378" y="3712531"/>
              <a:ext cx="125537" cy="468763"/>
            </a:xfrm>
            <a:custGeom>
              <a:avLst/>
              <a:gdLst>
                <a:gd name="connsiteX0" fmla="*/ 29455 w 125537"/>
                <a:gd name="connsiteY0" fmla="*/ 468763 h 468763"/>
                <a:gd name="connsiteX1" fmla="*/ 7792 w 125537"/>
                <a:gd name="connsiteY1" fmla="*/ 425988 h 468763"/>
                <a:gd name="connsiteX2" fmla="*/ 0 w 125537"/>
                <a:gd name="connsiteY2" fmla="*/ 333043 h 468763"/>
                <a:gd name="connsiteX3" fmla="*/ 0 w 125537"/>
                <a:gd name="connsiteY3" fmla="*/ 61444 h 468763"/>
                <a:gd name="connsiteX4" fmla="*/ 118434 w 125537"/>
                <a:gd name="connsiteY4" fmla="*/ 0 h 468763"/>
                <a:gd name="connsiteX5" fmla="*/ 120216 w 125537"/>
                <a:gd name="connsiteY5" fmla="*/ 248447 h 468763"/>
                <a:gd name="connsiteX6" fmla="*/ 123889 w 125537"/>
                <a:gd name="connsiteY6" fmla="*/ 323359 h 468763"/>
                <a:gd name="connsiteX7" fmla="*/ 125537 w 125537"/>
                <a:gd name="connsiteY7" fmla="*/ 330150 h 468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537" h="468763">
                  <a:moveTo>
                    <a:pt x="29455" y="468763"/>
                  </a:moveTo>
                  <a:lnTo>
                    <a:pt x="7792" y="425988"/>
                  </a:lnTo>
                  <a:cubicBezTo>
                    <a:pt x="2003" y="400498"/>
                    <a:pt x="0" y="369553"/>
                    <a:pt x="0" y="333043"/>
                  </a:cubicBezTo>
                  <a:lnTo>
                    <a:pt x="0" y="61444"/>
                  </a:lnTo>
                  <a:lnTo>
                    <a:pt x="118434" y="0"/>
                  </a:lnTo>
                  <a:lnTo>
                    <a:pt x="120216" y="248447"/>
                  </a:lnTo>
                  <a:cubicBezTo>
                    <a:pt x="118880" y="273381"/>
                    <a:pt x="120216" y="298537"/>
                    <a:pt x="123889" y="323359"/>
                  </a:cubicBezTo>
                  <a:lnTo>
                    <a:pt x="125537" y="3301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" name="Forme libre : forme 97">
              <a:extLst>
                <a:ext uri="{FF2B5EF4-FFF2-40B4-BE49-F238E27FC236}">
                  <a16:creationId xmlns:a16="http://schemas.microsoft.com/office/drawing/2014/main" id="{B6F2924E-906C-4ED1-BF2D-C834372E14EF}"/>
                </a:ext>
              </a:extLst>
            </p:cNvPr>
            <p:cNvSpPr/>
            <p:nvPr/>
          </p:nvSpPr>
          <p:spPr>
            <a:xfrm rot="8716295">
              <a:off x="87905" y="4337347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" name="Forme libre : forme 98">
              <a:extLst>
                <a:ext uri="{FF2B5EF4-FFF2-40B4-BE49-F238E27FC236}">
                  <a16:creationId xmlns:a16="http://schemas.microsoft.com/office/drawing/2014/main" id="{0D75C9D9-5C3D-47E0-90AD-938F1B8E2F44}"/>
                </a:ext>
              </a:extLst>
            </p:cNvPr>
            <p:cNvSpPr/>
            <p:nvPr/>
          </p:nvSpPr>
          <p:spPr>
            <a:xfrm rot="8716295">
              <a:off x="558851" y="376273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orme libre : forme 99">
              <a:extLst>
                <a:ext uri="{FF2B5EF4-FFF2-40B4-BE49-F238E27FC236}">
                  <a16:creationId xmlns:a16="http://schemas.microsoft.com/office/drawing/2014/main" id="{FB753F16-18A9-4EF7-8A5C-AFE5FF2AAE20}"/>
                </a:ext>
              </a:extLst>
            </p:cNvPr>
            <p:cNvSpPr/>
            <p:nvPr/>
          </p:nvSpPr>
          <p:spPr>
            <a:xfrm rot="8716295">
              <a:off x="694150" y="380699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Forme libre : forme 100">
              <a:extLst>
                <a:ext uri="{FF2B5EF4-FFF2-40B4-BE49-F238E27FC236}">
                  <a16:creationId xmlns:a16="http://schemas.microsoft.com/office/drawing/2014/main" id="{3BF96335-BBEB-4DB5-9C46-1C3097EF0D59}"/>
                </a:ext>
              </a:extLst>
            </p:cNvPr>
            <p:cNvSpPr/>
            <p:nvPr/>
          </p:nvSpPr>
          <p:spPr>
            <a:xfrm rot="8716295">
              <a:off x="388980" y="389674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" name="Forme libre : forme 101">
              <a:extLst>
                <a:ext uri="{FF2B5EF4-FFF2-40B4-BE49-F238E27FC236}">
                  <a16:creationId xmlns:a16="http://schemas.microsoft.com/office/drawing/2014/main" id="{5E31C792-E11F-4ADA-B2CB-57C48077CBA4}"/>
                </a:ext>
              </a:extLst>
            </p:cNvPr>
            <p:cNvSpPr/>
            <p:nvPr/>
          </p:nvSpPr>
          <p:spPr>
            <a:xfrm rot="8716295">
              <a:off x="199936" y="358091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" name="Forme libre : forme 102">
              <a:extLst>
                <a:ext uri="{FF2B5EF4-FFF2-40B4-BE49-F238E27FC236}">
                  <a16:creationId xmlns:a16="http://schemas.microsoft.com/office/drawing/2014/main" id="{94FED6A4-8569-4EA9-A306-CB876E36FB03}"/>
                </a:ext>
              </a:extLst>
            </p:cNvPr>
            <p:cNvSpPr/>
            <p:nvPr/>
          </p:nvSpPr>
          <p:spPr>
            <a:xfrm rot="8716295">
              <a:off x="525469" y="3958731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" name="Forme libre : forme 103">
              <a:extLst>
                <a:ext uri="{FF2B5EF4-FFF2-40B4-BE49-F238E27FC236}">
                  <a16:creationId xmlns:a16="http://schemas.microsoft.com/office/drawing/2014/main" id="{980A1AA3-B52B-4C80-9AC4-D47CC78A5A3B}"/>
                </a:ext>
              </a:extLst>
            </p:cNvPr>
            <p:cNvSpPr/>
            <p:nvPr/>
          </p:nvSpPr>
          <p:spPr>
            <a:xfrm rot="8716295">
              <a:off x="160022" y="3732305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" name="Forme libre : forme 104">
              <a:extLst>
                <a:ext uri="{FF2B5EF4-FFF2-40B4-BE49-F238E27FC236}">
                  <a16:creationId xmlns:a16="http://schemas.microsoft.com/office/drawing/2014/main" id="{C66003E5-2553-46E6-8D65-9CD33FAF8398}"/>
                </a:ext>
              </a:extLst>
            </p:cNvPr>
            <p:cNvSpPr/>
            <p:nvPr/>
          </p:nvSpPr>
          <p:spPr>
            <a:xfrm rot="7484129">
              <a:off x="684286" y="424834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" name="Forme libre : forme 105">
              <a:extLst>
                <a:ext uri="{FF2B5EF4-FFF2-40B4-BE49-F238E27FC236}">
                  <a16:creationId xmlns:a16="http://schemas.microsoft.com/office/drawing/2014/main" id="{A5156F8D-1CAA-4650-BC6D-5AD5CAA0A30F}"/>
                </a:ext>
              </a:extLst>
            </p:cNvPr>
            <p:cNvSpPr/>
            <p:nvPr/>
          </p:nvSpPr>
          <p:spPr>
            <a:xfrm rot="13089394">
              <a:off x="842936" y="4197697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" name="Forme libre : forme 106">
              <a:extLst>
                <a:ext uri="{FF2B5EF4-FFF2-40B4-BE49-F238E27FC236}">
                  <a16:creationId xmlns:a16="http://schemas.microsoft.com/office/drawing/2014/main" id="{7A0FA012-A668-45E7-9A04-80DC4066A5EA}"/>
                </a:ext>
              </a:extLst>
            </p:cNvPr>
            <p:cNvSpPr/>
            <p:nvPr/>
          </p:nvSpPr>
          <p:spPr>
            <a:xfrm rot="8716295">
              <a:off x="1123827" y="390757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" name="Forme libre : forme 107">
              <a:extLst>
                <a:ext uri="{FF2B5EF4-FFF2-40B4-BE49-F238E27FC236}">
                  <a16:creationId xmlns:a16="http://schemas.microsoft.com/office/drawing/2014/main" id="{DE4CA035-6173-48AD-BD1D-D7ED5F77A322}"/>
                </a:ext>
              </a:extLst>
            </p:cNvPr>
            <p:cNvSpPr/>
            <p:nvPr/>
          </p:nvSpPr>
          <p:spPr>
            <a:xfrm rot="8716295">
              <a:off x="1045418" y="375078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" name="Forme libre : forme 108">
              <a:extLst>
                <a:ext uri="{FF2B5EF4-FFF2-40B4-BE49-F238E27FC236}">
                  <a16:creationId xmlns:a16="http://schemas.microsoft.com/office/drawing/2014/main" id="{40E22C8F-9A2F-4D96-8E60-B4FAE9625F7E}"/>
                </a:ext>
              </a:extLst>
            </p:cNvPr>
            <p:cNvSpPr/>
            <p:nvPr/>
          </p:nvSpPr>
          <p:spPr>
            <a:xfrm rot="8716295">
              <a:off x="677254" y="379652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" name="Forme libre : forme 109">
              <a:extLst>
                <a:ext uri="{FF2B5EF4-FFF2-40B4-BE49-F238E27FC236}">
                  <a16:creationId xmlns:a16="http://schemas.microsoft.com/office/drawing/2014/main" id="{0FB9706E-9855-492B-8609-A2F256591A28}"/>
                </a:ext>
              </a:extLst>
            </p:cNvPr>
            <p:cNvSpPr/>
            <p:nvPr/>
          </p:nvSpPr>
          <p:spPr>
            <a:xfrm rot="8716295">
              <a:off x="945836" y="355550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" name="Forme libre : forme 110">
              <a:extLst>
                <a:ext uri="{FF2B5EF4-FFF2-40B4-BE49-F238E27FC236}">
                  <a16:creationId xmlns:a16="http://schemas.microsoft.com/office/drawing/2014/main" id="{ADF55B74-AC60-4155-92FA-4565710C9BFA}"/>
                </a:ext>
              </a:extLst>
            </p:cNvPr>
            <p:cNvSpPr/>
            <p:nvPr/>
          </p:nvSpPr>
          <p:spPr>
            <a:xfrm rot="8716295">
              <a:off x="601570" y="5027951"/>
              <a:ext cx="169680" cy="113030"/>
            </a:xfrm>
            <a:custGeom>
              <a:avLst/>
              <a:gdLst>
                <a:gd name="connsiteX0" fmla="*/ 8965 w 169680"/>
                <a:gd name="connsiteY0" fmla="*/ 113030 h 113030"/>
                <a:gd name="connsiteX1" fmla="*/ 0 w 169680"/>
                <a:gd name="connsiteY1" fmla="*/ 100616 h 113030"/>
                <a:gd name="connsiteX2" fmla="*/ 106933 w 169680"/>
                <a:gd name="connsiteY2" fmla="*/ 0 h 113030"/>
                <a:gd name="connsiteX3" fmla="*/ 169680 w 169680"/>
                <a:gd name="connsiteY3" fmla="*/ 43494 h 113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680" h="113030">
                  <a:moveTo>
                    <a:pt x="8965" y="113030"/>
                  </a:moveTo>
                  <a:lnTo>
                    <a:pt x="0" y="100616"/>
                  </a:lnTo>
                  <a:lnTo>
                    <a:pt x="106933" y="0"/>
                  </a:lnTo>
                  <a:lnTo>
                    <a:pt x="169680" y="434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" name="Forme libre : forme 111">
              <a:extLst>
                <a:ext uri="{FF2B5EF4-FFF2-40B4-BE49-F238E27FC236}">
                  <a16:creationId xmlns:a16="http://schemas.microsoft.com/office/drawing/2014/main" id="{DDFE2301-223D-4F62-87C3-BBD61CFA4AE0}"/>
                </a:ext>
              </a:extLst>
            </p:cNvPr>
            <p:cNvSpPr/>
            <p:nvPr/>
          </p:nvSpPr>
          <p:spPr>
            <a:xfrm rot="8716295">
              <a:off x="197311" y="4925365"/>
              <a:ext cx="194366" cy="296463"/>
            </a:xfrm>
            <a:custGeom>
              <a:avLst/>
              <a:gdLst>
                <a:gd name="connsiteX0" fmla="*/ 137293 w 194366"/>
                <a:gd name="connsiteY0" fmla="*/ 296463 h 296463"/>
                <a:gd name="connsiteX1" fmla="*/ 72418 w 194366"/>
                <a:gd name="connsiteY1" fmla="*/ 175766 h 296463"/>
                <a:gd name="connsiteX2" fmla="*/ 105610 w 194366"/>
                <a:gd name="connsiteY2" fmla="*/ 83734 h 296463"/>
                <a:gd name="connsiteX3" fmla="*/ 0 w 194366"/>
                <a:gd name="connsiteY3" fmla="*/ 83734 h 296463"/>
                <a:gd name="connsiteX4" fmla="*/ 0 w 194366"/>
                <a:gd name="connsiteY4" fmla="*/ 0 h 296463"/>
                <a:gd name="connsiteX5" fmla="*/ 6043 w 194366"/>
                <a:gd name="connsiteY5" fmla="*/ 0 h 296463"/>
                <a:gd name="connsiteX6" fmla="*/ 194366 w 194366"/>
                <a:gd name="connsiteY6" fmla="*/ 130539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4366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6043" y="0"/>
                  </a:lnTo>
                  <a:lnTo>
                    <a:pt x="194366" y="1305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" name="Forme libre : forme 112">
              <a:extLst>
                <a:ext uri="{FF2B5EF4-FFF2-40B4-BE49-F238E27FC236}">
                  <a16:creationId xmlns:a16="http://schemas.microsoft.com/office/drawing/2014/main" id="{3377FDF7-2BED-4403-9821-41A8059D732F}"/>
                </a:ext>
              </a:extLst>
            </p:cNvPr>
            <p:cNvSpPr/>
            <p:nvPr/>
          </p:nvSpPr>
          <p:spPr>
            <a:xfrm rot="8716295">
              <a:off x="73168" y="4745087"/>
              <a:ext cx="439901" cy="517329"/>
            </a:xfrm>
            <a:custGeom>
              <a:avLst/>
              <a:gdLst>
                <a:gd name="connsiteX0" fmla="*/ 38290 w 439901"/>
                <a:gd name="connsiteY0" fmla="*/ 472541 h 517329"/>
                <a:gd name="connsiteX1" fmla="*/ 0 w 439901"/>
                <a:gd name="connsiteY1" fmla="*/ 319377 h 517329"/>
                <a:gd name="connsiteX2" fmla="*/ 0 w 439901"/>
                <a:gd name="connsiteY2" fmla="*/ 47778 h 517329"/>
                <a:gd name="connsiteX3" fmla="*/ 92094 w 439901"/>
                <a:gd name="connsiteY3" fmla="*/ 0 h 517329"/>
                <a:gd name="connsiteX4" fmla="*/ 118664 w 439901"/>
                <a:gd name="connsiteY4" fmla="*/ 18418 h 517329"/>
                <a:gd name="connsiteX5" fmla="*/ 120216 w 439901"/>
                <a:gd name="connsiteY5" fmla="*/ 234781 h 517329"/>
                <a:gd name="connsiteX6" fmla="*/ 141587 w 439901"/>
                <a:gd name="connsiteY6" fmla="*/ 382603 h 517329"/>
                <a:gd name="connsiteX7" fmla="*/ 248446 w 439901"/>
                <a:gd name="connsiteY7" fmla="*/ 441375 h 517329"/>
                <a:gd name="connsiteX8" fmla="*/ 328589 w 439901"/>
                <a:gd name="connsiteY8" fmla="*/ 427127 h 517329"/>
                <a:gd name="connsiteX9" fmla="*/ 438120 w 439901"/>
                <a:gd name="connsiteY9" fmla="*/ 382603 h 517329"/>
                <a:gd name="connsiteX10" fmla="*/ 439901 w 439901"/>
                <a:gd name="connsiteY10" fmla="*/ 394178 h 517329"/>
                <a:gd name="connsiteX11" fmla="*/ 439901 w 439901"/>
                <a:gd name="connsiteY11" fmla="*/ 403083 h 517329"/>
                <a:gd name="connsiteX12" fmla="*/ 147821 w 439901"/>
                <a:gd name="connsiteY12" fmla="*/ 517066 h 517329"/>
                <a:gd name="connsiteX13" fmla="*/ 38290 w 439901"/>
                <a:gd name="connsiteY13" fmla="*/ 472541 h 517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9901" h="517329">
                  <a:moveTo>
                    <a:pt x="38290" y="472541"/>
                  </a:moveTo>
                  <a:cubicBezTo>
                    <a:pt x="8014" y="443156"/>
                    <a:pt x="0" y="392397"/>
                    <a:pt x="0" y="319377"/>
                  </a:cubicBezTo>
                  <a:lnTo>
                    <a:pt x="0" y="47778"/>
                  </a:lnTo>
                  <a:lnTo>
                    <a:pt x="92094" y="0"/>
                  </a:lnTo>
                  <a:lnTo>
                    <a:pt x="118664" y="18418"/>
                  </a:lnTo>
                  <a:lnTo>
                    <a:pt x="120216" y="234781"/>
                  </a:lnTo>
                  <a:cubicBezTo>
                    <a:pt x="117544" y="284648"/>
                    <a:pt x="125558" y="335406"/>
                    <a:pt x="141587" y="382603"/>
                  </a:cubicBezTo>
                  <a:cubicBezTo>
                    <a:pt x="155836" y="421784"/>
                    <a:pt x="192345" y="441375"/>
                    <a:pt x="248446" y="441375"/>
                  </a:cubicBezTo>
                  <a:cubicBezTo>
                    <a:pt x="276051" y="440484"/>
                    <a:pt x="302766" y="435141"/>
                    <a:pt x="328589" y="427127"/>
                  </a:cubicBezTo>
                  <a:cubicBezTo>
                    <a:pt x="365990" y="415550"/>
                    <a:pt x="402500" y="400412"/>
                    <a:pt x="438120" y="382603"/>
                  </a:cubicBezTo>
                  <a:cubicBezTo>
                    <a:pt x="439010" y="386164"/>
                    <a:pt x="439901" y="390616"/>
                    <a:pt x="439901" y="394178"/>
                  </a:cubicBezTo>
                  <a:lnTo>
                    <a:pt x="439901" y="403083"/>
                  </a:lnTo>
                  <a:cubicBezTo>
                    <a:pt x="345509" y="484118"/>
                    <a:pt x="221731" y="512614"/>
                    <a:pt x="147821" y="517066"/>
                  </a:cubicBezTo>
                  <a:cubicBezTo>
                    <a:pt x="106859" y="519738"/>
                    <a:pt x="66787" y="501928"/>
                    <a:pt x="38290" y="47254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" name="Forme libre : forme 113">
              <a:extLst>
                <a:ext uri="{FF2B5EF4-FFF2-40B4-BE49-F238E27FC236}">
                  <a16:creationId xmlns:a16="http://schemas.microsoft.com/office/drawing/2014/main" id="{B93DC94C-820F-4572-BF0C-6383E8E9C877}"/>
                </a:ext>
              </a:extLst>
            </p:cNvPr>
            <p:cNvSpPr/>
            <p:nvPr/>
          </p:nvSpPr>
          <p:spPr>
            <a:xfrm rot="8716295">
              <a:off x="896624" y="4761216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" name="Forme libre : forme 114">
              <a:extLst>
                <a:ext uri="{FF2B5EF4-FFF2-40B4-BE49-F238E27FC236}">
                  <a16:creationId xmlns:a16="http://schemas.microsoft.com/office/drawing/2014/main" id="{46905971-2CA6-4786-88F6-6625CD1AC045}"/>
                </a:ext>
              </a:extLst>
            </p:cNvPr>
            <p:cNvSpPr/>
            <p:nvPr/>
          </p:nvSpPr>
          <p:spPr>
            <a:xfrm rot="8716295">
              <a:off x="1032483" y="4799006"/>
              <a:ext cx="389853" cy="383455"/>
            </a:xfrm>
            <a:custGeom>
              <a:avLst/>
              <a:gdLst>
                <a:gd name="connsiteX0" fmla="*/ 77932 w 389853"/>
                <a:gd name="connsiteY0" fmla="*/ 383455 h 383455"/>
                <a:gd name="connsiteX1" fmla="*/ 77932 w 389853"/>
                <a:gd name="connsiteY1" fmla="*/ 66898 h 383455"/>
                <a:gd name="connsiteX2" fmla="*/ 0 w 389853"/>
                <a:gd name="connsiteY2" fmla="*/ 66898 h 383455"/>
                <a:gd name="connsiteX3" fmla="*/ 0 w 389853"/>
                <a:gd name="connsiteY3" fmla="*/ 0 h 383455"/>
                <a:gd name="connsiteX4" fmla="*/ 158623 w 389853"/>
                <a:gd name="connsiteY4" fmla="*/ 0 h 383455"/>
                <a:gd name="connsiteX5" fmla="*/ 158623 w 389853"/>
                <a:gd name="connsiteY5" fmla="*/ 111726 h 383455"/>
                <a:gd name="connsiteX6" fmla="*/ 160692 w 389853"/>
                <a:gd name="connsiteY6" fmla="*/ 111726 h 383455"/>
                <a:gd name="connsiteX7" fmla="*/ 192762 w 389853"/>
                <a:gd name="connsiteY7" fmla="*/ 39914 h 383455"/>
                <a:gd name="connsiteX8" fmla="*/ 216292 w 389853"/>
                <a:gd name="connsiteY8" fmla="*/ 20658 h 383455"/>
                <a:gd name="connsiteX9" fmla="*/ 389853 w 389853"/>
                <a:gd name="connsiteY9" fmla="*/ 140965 h 383455"/>
                <a:gd name="connsiteX10" fmla="*/ 300695 w 389853"/>
                <a:gd name="connsiteY10" fmla="*/ 146210 h 383455"/>
                <a:gd name="connsiteX11" fmla="*/ 300694 w 389853"/>
                <a:gd name="connsiteY11" fmla="*/ 121382 h 383455"/>
                <a:gd name="connsiteX12" fmla="*/ 249659 w 389853"/>
                <a:gd name="connsiteY12" fmla="*/ 58622 h 383455"/>
                <a:gd name="connsiteX13" fmla="*/ 168969 w 389853"/>
                <a:gd name="connsiteY13" fmla="*/ 191038 h 383455"/>
                <a:gd name="connsiteX14" fmla="*/ 168969 w 389853"/>
                <a:gd name="connsiteY14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9853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71727" y="78967"/>
                    <a:pt x="181555" y="56208"/>
                    <a:pt x="192762" y="39914"/>
                  </a:cubicBezTo>
                  <a:lnTo>
                    <a:pt x="216292" y="20658"/>
                  </a:lnTo>
                  <a:lnTo>
                    <a:pt x="389853" y="140965"/>
                  </a:lnTo>
                  <a:lnTo>
                    <a:pt x="300695" y="146210"/>
                  </a:lnTo>
                  <a:lnTo>
                    <a:pt x="300694" y="121382"/>
                  </a:lnTo>
                  <a:cubicBezTo>
                    <a:pt x="300695" y="84140"/>
                    <a:pt x="279315" y="58621"/>
                    <a:pt x="249659" y="58622"/>
                  </a:cubicBezTo>
                  <a:cubicBezTo>
                    <a:pt x="205521" y="58621"/>
                    <a:pt x="168969" y="117244"/>
                    <a:pt x="168969" y="191038"/>
                  </a:cubicBez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" name="Forme libre : forme 115">
              <a:extLst>
                <a:ext uri="{FF2B5EF4-FFF2-40B4-BE49-F238E27FC236}">
                  <a16:creationId xmlns:a16="http://schemas.microsoft.com/office/drawing/2014/main" id="{8E2B23B6-FA24-4ECF-865C-D4B85991FB2B}"/>
                </a:ext>
              </a:extLst>
            </p:cNvPr>
            <p:cNvSpPr/>
            <p:nvPr/>
          </p:nvSpPr>
          <p:spPr>
            <a:xfrm rot="8716295">
              <a:off x="726753" y="489523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" name="Forme libre : forme 116">
              <a:extLst>
                <a:ext uri="{FF2B5EF4-FFF2-40B4-BE49-F238E27FC236}">
                  <a16:creationId xmlns:a16="http://schemas.microsoft.com/office/drawing/2014/main" id="{068C5BF4-ACAC-42CE-AE54-FD21152507C1}"/>
                </a:ext>
              </a:extLst>
            </p:cNvPr>
            <p:cNvSpPr/>
            <p:nvPr/>
          </p:nvSpPr>
          <p:spPr>
            <a:xfrm rot="8716295">
              <a:off x="537709" y="457939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" name="Forme libre : forme 117">
              <a:extLst>
                <a:ext uri="{FF2B5EF4-FFF2-40B4-BE49-F238E27FC236}">
                  <a16:creationId xmlns:a16="http://schemas.microsoft.com/office/drawing/2014/main" id="{0ACBCA4F-4DCF-49D0-8A3E-C12DE7B45BF0}"/>
                </a:ext>
              </a:extLst>
            </p:cNvPr>
            <p:cNvSpPr/>
            <p:nvPr/>
          </p:nvSpPr>
          <p:spPr>
            <a:xfrm rot="8716295">
              <a:off x="826576" y="4988476"/>
              <a:ext cx="91035" cy="198648"/>
            </a:xfrm>
            <a:custGeom>
              <a:avLst/>
              <a:gdLst>
                <a:gd name="connsiteX0" fmla="*/ 91035 w 91035"/>
                <a:gd name="connsiteY0" fmla="*/ 198648 h 198648"/>
                <a:gd name="connsiteX1" fmla="*/ 0 w 91035"/>
                <a:gd name="connsiteY1" fmla="*/ 111060 h 198648"/>
                <a:gd name="connsiteX2" fmla="*/ 0 w 91035"/>
                <a:gd name="connsiteY2" fmla="*/ 0 h 198648"/>
                <a:gd name="connsiteX3" fmla="*/ 91035 w 91035"/>
                <a:gd name="connsiteY3" fmla="*/ 63103 h 198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198648">
                  <a:moveTo>
                    <a:pt x="91035" y="198648"/>
                  </a:moveTo>
                  <a:lnTo>
                    <a:pt x="0" y="111060"/>
                  </a:lnTo>
                  <a:lnTo>
                    <a:pt x="0" y="0"/>
                  </a:lnTo>
                  <a:lnTo>
                    <a:pt x="91035" y="631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" name="Forme libre : forme 118">
              <a:extLst>
                <a:ext uri="{FF2B5EF4-FFF2-40B4-BE49-F238E27FC236}">
                  <a16:creationId xmlns:a16="http://schemas.microsoft.com/office/drawing/2014/main" id="{CF5DC784-7D69-46EA-A75B-D2ED877AA625}"/>
                </a:ext>
              </a:extLst>
            </p:cNvPr>
            <p:cNvSpPr/>
            <p:nvPr/>
          </p:nvSpPr>
          <p:spPr>
            <a:xfrm rot="8716295">
              <a:off x="497795" y="4730788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" name="Forme libre : forme 119">
              <a:extLst>
                <a:ext uri="{FF2B5EF4-FFF2-40B4-BE49-F238E27FC236}">
                  <a16:creationId xmlns:a16="http://schemas.microsoft.com/office/drawing/2014/main" id="{283C5FE9-EF8F-4940-9D13-7BC399536967}"/>
                </a:ext>
              </a:extLst>
            </p:cNvPr>
            <p:cNvSpPr/>
            <p:nvPr/>
          </p:nvSpPr>
          <p:spPr>
            <a:xfrm rot="8716295">
              <a:off x="1459248" y="4904357"/>
              <a:ext cx="328004" cy="223069"/>
            </a:xfrm>
            <a:custGeom>
              <a:avLst/>
              <a:gdLst>
                <a:gd name="connsiteX0" fmla="*/ 10574 w 328004"/>
                <a:gd name="connsiteY0" fmla="*/ 223069 h 223069"/>
                <a:gd name="connsiteX1" fmla="*/ 0 w 328004"/>
                <a:gd name="connsiteY1" fmla="*/ 208428 h 223069"/>
                <a:gd name="connsiteX2" fmla="*/ 192781 w 328004"/>
                <a:gd name="connsiteY2" fmla="*/ 27035 h 223069"/>
                <a:gd name="connsiteX3" fmla="*/ 227094 w 328004"/>
                <a:gd name="connsiteY3" fmla="*/ 0 h 223069"/>
                <a:gd name="connsiteX4" fmla="*/ 328004 w 328004"/>
                <a:gd name="connsiteY4" fmla="*/ 69948 h 223069"/>
                <a:gd name="connsiteX5" fmla="*/ 326080 w 328004"/>
                <a:gd name="connsiteY5" fmla="*/ 74925 h 223069"/>
                <a:gd name="connsiteX6" fmla="*/ 293645 w 328004"/>
                <a:gd name="connsiteY6" fmla="*/ 100243 h 223069"/>
                <a:gd name="connsiteX7" fmla="*/ 294458 w 328004"/>
                <a:gd name="connsiteY7" fmla="*/ 100243 h 223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8004" h="223069">
                  <a:moveTo>
                    <a:pt x="10574" y="223069"/>
                  </a:moveTo>
                  <a:lnTo>
                    <a:pt x="0" y="208428"/>
                  </a:lnTo>
                  <a:lnTo>
                    <a:pt x="192781" y="27035"/>
                  </a:lnTo>
                  <a:lnTo>
                    <a:pt x="227094" y="0"/>
                  </a:lnTo>
                  <a:lnTo>
                    <a:pt x="328004" y="69948"/>
                  </a:lnTo>
                  <a:lnTo>
                    <a:pt x="326080" y="74925"/>
                  </a:lnTo>
                  <a:cubicBezTo>
                    <a:pt x="317843" y="85805"/>
                    <a:pt x="306659" y="94549"/>
                    <a:pt x="293645" y="100243"/>
                  </a:cubicBezTo>
                  <a:lnTo>
                    <a:pt x="294458" y="10024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" name="Forme libre : forme 120">
              <a:extLst>
                <a:ext uri="{FF2B5EF4-FFF2-40B4-BE49-F238E27FC236}">
                  <a16:creationId xmlns:a16="http://schemas.microsoft.com/office/drawing/2014/main" id="{0B28DAC7-E1B5-4397-8312-3939C6181805}"/>
                </a:ext>
              </a:extLst>
            </p:cNvPr>
            <p:cNvSpPr/>
            <p:nvPr/>
          </p:nvSpPr>
          <p:spPr>
            <a:xfrm rot="8716295">
              <a:off x="1383191" y="474927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" name="Forme libre : forme 121">
              <a:extLst>
                <a:ext uri="{FF2B5EF4-FFF2-40B4-BE49-F238E27FC236}">
                  <a16:creationId xmlns:a16="http://schemas.microsoft.com/office/drawing/2014/main" id="{9B5900D5-EF58-45B1-849A-84D4EFAA76C9}"/>
                </a:ext>
              </a:extLst>
            </p:cNvPr>
            <p:cNvSpPr/>
            <p:nvPr/>
          </p:nvSpPr>
          <p:spPr>
            <a:xfrm rot="8716295">
              <a:off x="1015027" y="479501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" name="Forme libre : forme 122">
              <a:extLst>
                <a:ext uri="{FF2B5EF4-FFF2-40B4-BE49-F238E27FC236}">
                  <a16:creationId xmlns:a16="http://schemas.microsoft.com/office/drawing/2014/main" id="{31771F28-8680-4E6C-A8C1-BC66F7BF0BA9}"/>
                </a:ext>
              </a:extLst>
            </p:cNvPr>
            <p:cNvSpPr/>
            <p:nvPr/>
          </p:nvSpPr>
          <p:spPr>
            <a:xfrm rot="8716295">
              <a:off x="1283609" y="455399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" name="Forme libre : forme 123">
              <a:extLst>
                <a:ext uri="{FF2B5EF4-FFF2-40B4-BE49-F238E27FC236}">
                  <a16:creationId xmlns:a16="http://schemas.microsoft.com/office/drawing/2014/main" id="{AC2CE701-4BE3-4F79-917E-19B3C750B982}"/>
                </a:ext>
              </a:extLst>
            </p:cNvPr>
            <p:cNvSpPr/>
            <p:nvPr/>
          </p:nvSpPr>
          <p:spPr>
            <a:xfrm rot="8716295">
              <a:off x="-30381" y="3359388"/>
              <a:ext cx="98497" cy="75863"/>
            </a:xfrm>
            <a:custGeom>
              <a:avLst/>
              <a:gdLst>
                <a:gd name="connsiteX0" fmla="*/ 0 w 98497"/>
                <a:gd name="connsiteY0" fmla="*/ 75863 h 75863"/>
                <a:gd name="connsiteX1" fmla="*/ 0 w 98497"/>
                <a:gd name="connsiteY1" fmla="*/ 0 h 75863"/>
                <a:gd name="connsiteX2" fmla="*/ 98497 w 98497"/>
                <a:gd name="connsiteY2" fmla="*/ 0 h 75863"/>
                <a:gd name="connsiteX3" fmla="*/ 45911 w 98497"/>
                <a:gd name="connsiteY3" fmla="*/ 75863 h 75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497" h="75863">
                  <a:moveTo>
                    <a:pt x="0" y="75863"/>
                  </a:moveTo>
                  <a:lnTo>
                    <a:pt x="0" y="0"/>
                  </a:lnTo>
                  <a:lnTo>
                    <a:pt x="98497" y="0"/>
                  </a:lnTo>
                  <a:lnTo>
                    <a:pt x="45911" y="758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" name="Forme libre : forme 124">
              <a:extLst>
                <a:ext uri="{FF2B5EF4-FFF2-40B4-BE49-F238E27FC236}">
                  <a16:creationId xmlns:a16="http://schemas.microsoft.com/office/drawing/2014/main" id="{F4F0C1BC-FBE5-45A4-A80E-BAB3E52DE367}"/>
                </a:ext>
              </a:extLst>
            </p:cNvPr>
            <p:cNvSpPr/>
            <p:nvPr/>
          </p:nvSpPr>
          <p:spPr>
            <a:xfrm rot="8716295">
              <a:off x="-77334" y="3178477"/>
              <a:ext cx="389652" cy="385611"/>
            </a:xfrm>
            <a:custGeom>
              <a:avLst/>
              <a:gdLst>
                <a:gd name="connsiteX0" fmla="*/ 77932 w 389652"/>
                <a:gd name="connsiteY0" fmla="*/ 385611 h 385611"/>
                <a:gd name="connsiteX1" fmla="*/ 77932 w 389652"/>
                <a:gd name="connsiteY1" fmla="*/ 69054 h 385611"/>
                <a:gd name="connsiteX2" fmla="*/ 0 w 389652"/>
                <a:gd name="connsiteY2" fmla="*/ 69054 h 385611"/>
                <a:gd name="connsiteX3" fmla="*/ 0 w 389652"/>
                <a:gd name="connsiteY3" fmla="*/ 2156 h 385611"/>
                <a:gd name="connsiteX4" fmla="*/ 158623 w 389652"/>
                <a:gd name="connsiteY4" fmla="*/ 2156 h 385611"/>
                <a:gd name="connsiteX5" fmla="*/ 158623 w 389652"/>
                <a:gd name="connsiteY5" fmla="*/ 113882 h 385611"/>
                <a:gd name="connsiteX6" fmla="*/ 160692 w 389652"/>
                <a:gd name="connsiteY6" fmla="*/ 113882 h 385611"/>
                <a:gd name="connsiteX7" fmla="*/ 233107 w 389652"/>
                <a:gd name="connsiteY7" fmla="*/ 9053 h 385611"/>
                <a:gd name="connsiteX8" fmla="*/ 280694 w 389652"/>
                <a:gd name="connsiteY8" fmla="*/ 87 h 385611"/>
                <a:gd name="connsiteX9" fmla="*/ 364230 w 389652"/>
                <a:gd name="connsiteY9" fmla="*/ 34398 h 385611"/>
                <a:gd name="connsiteX10" fmla="*/ 389652 w 389652"/>
                <a:gd name="connsiteY10" fmla="*/ 117977 h 385611"/>
                <a:gd name="connsiteX11" fmla="*/ 371473 w 389652"/>
                <a:gd name="connsiteY11" fmla="*/ 144202 h 385611"/>
                <a:gd name="connsiteX12" fmla="*/ 300695 w 389652"/>
                <a:gd name="connsiteY12" fmla="*/ 148366 h 385611"/>
                <a:gd name="connsiteX13" fmla="*/ 300695 w 389652"/>
                <a:gd name="connsiteY13" fmla="*/ 123538 h 385611"/>
                <a:gd name="connsiteX14" fmla="*/ 249659 w 389652"/>
                <a:gd name="connsiteY14" fmla="*/ 60778 h 385611"/>
                <a:gd name="connsiteX15" fmla="*/ 168969 w 389652"/>
                <a:gd name="connsiteY15" fmla="*/ 193194 h 385611"/>
                <a:gd name="connsiteX16" fmla="*/ 168969 w 389652"/>
                <a:gd name="connsiteY16" fmla="*/ 323541 h 385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89652" h="385611">
                  <a:moveTo>
                    <a:pt x="77932" y="385611"/>
                  </a:moveTo>
                  <a:lnTo>
                    <a:pt x="77932" y="69054"/>
                  </a:lnTo>
                  <a:lnTo>
                    <a:pt x="0" y="69054"/>
                  </a:lnTo>
                  <a:lnTo>
                    <a:pt x="0" y="2156"/>
                  </a:lnTo>
                  <a:lnTo>
                    <a:pt x="158623" y="2156"/>
                  </a:lnTo>
                  <a:lnTo>
                    <a:pt x="158623" y="113882"/>
                  </a:lnTo>
                  <a:lnTo>
                    <a:pt x="160692" y="113882"/>
                  </a:lnTo>
                  <a:cubicBezTo>
                    <a:pt x="182762" y="48364"/>
                    <a:pt x="200003" y="22846"/>
                    <a:pt x="233107" y="9053"/>
                  </a:cubicBezTo>
                  <a:cubicBezTo>
                    <a:pt x="248280" y="2846"/>
                    <a:pt x="264142" y="-602"/>
                    <a:pt x="280694" y="87"/>
                  </a:cubicBezTo>
                  <a:cubicBezTo>
                    <a:pt x="316212" y="-603"/>
                    <a:pt x="344661" y="11466"/>
                    <a:pt x="364230" y="34398"/>
                  </a:cubicBezTo>
                  <a:lnTo>
                    <a:pt x="389652" y="117977"/>
                  </a:lnTo>
                  <a:lnTo>
                    <a:pt x="371473" y="144202"/>
                  </a:lnTo>
                  <a:lnTo>
                    <a:pt x="300695" y="148366"/>
                  </a:lnTo>
                  <a:lnTo>
                    <a:pt x="300695" y="123538"/>
                  </a:lnTo>
                  <a:cubicBezTo>
                    <a:pt x="300695" y="86296"/>
                    <a:pt x="279315" y="60778"/>
                    <a:pt x="249659" y="60778"/>
                  </a:cubicBezTo>
                  <a:cubicBezTo>
                    <a:pt x="205521" y="60778"/>
                    <a:pt x="168969" y="119400"/>
                    <a:pt x="168969" y="193194"/>
                  </a:cubicBezTo>
                  <a:lnTo>
                    <a:pt x="168969" y="3235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" name="Forme libre : forme 125">
              <a:extLst>
                <a:ext uri="{FF2B5EF4-FFF2-40B4-BE49-F238E27FC236}">
                  <a16:creationId xmlns:a16="http://schemas.microsoft.com/office/drawing/2014/main" id="{DD7E27D6-EDC4-4410-A8FD-B0AB28C9E1C2}"/>
                </a:ext>
              </a:extLst>
            </p:cNvPr>
            <p:cNvSpPr/>
            <p:nvPr/>
          </p:nvSpPr>
          <p:spPr>
            <a:xfrm rot="8716295">
              <a:off x="-71352" y="3029015"/>
              <a:ext cx="193594" cy="189959"/>
            </a:xfrm>
            <a:custGeom>
              <a:avLst/>
              <a:gdLst>
                <a:gd name="connsiteX0" fmla="*/ 8965 w 193594"/>
                <a:gd name="connsiteY0" fmla="*/ 189959 h 189959"/>
                <a:gd name="connsiteX1" fmla="*/ 0 w 193594"/>
                <a:gd name="connsiteY1" fmla="*/ 177545 h 189959"/>
                <a:gd name="connsiteX2" fmla="*/ 163451 w 193594"/>
                <a:gd name="connsiteY2" fmla="*/ 23749 h 189959"/>
                <a:gd name="connsiteX3" fmla="*/ 193594 w 193594"/>
                <a:gd name="connsiteY3" fmla="*/ 0 h 189959"/>
                <a:gd name="connsiteX4" fmla="*/ 84606 w 193594"/>
                <a:gd name="connsiteY4" fmla="*/ 157232 h 189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594" h="189959">
                  <a:moveTo>
                    <a:pt x="8965" y="189959"/>
                  </a:moveTo>
                  <a:lnTo>
                    <a:pt x="0" y="177545"/>
                  </a:lnTo>
                  <a:lnTo>
                    <a:pt x="163451" y="23749"/>
                  </a:lnTo>
                  <a:lnTo>
                    <a:pt x="193594" y="0"/>
                  </a:lnTo>
                  <a:lnTo>
                    <a:pt x="84606" y="15723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" name="Forme libre : forme 126">
              <a:extLst>
                <a:ext uri="{FF2B5EF4-FFF2-40B4-BE49-F238E27FC236}">
                  <a16:creationId xmlns:a16="http://schemas.microsoft.com/office/drawing/2014/main" id="{9053D84D-7FDB-4998-A81C-E5ABAA6EDE5E}"/>
                </a:ext>
              </a:extLst>
            </p:cNvPr>
            <p:cNvSpPr/>
            <p:nvPr/>
          </p:nvSpPr>
          <p:spPr>
            <a:xfrm rot="8716295">
              <a:off x="223574" y="276232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" name="Forme libre : forme 127">
              <a:extLst>
                <a:ext uri="{FF2B5EF4-FFF2-40B4-BE49-F238E27FC236}">
                  <a16:creationId xmlns:a16="http://schemas.microsoft.com/office/drawing/2014/main" id="{87AB580E-8F4B-47CD-9028-D46526078CE4}"/>
                </a:ext>
              </a:extLst>
            </p:cNvPr>
            <p:cNvSpPr/>
            <p:nvPr/>
          </p:nvSpPr>
          <p:spPr>
            <a:xfrm rot="8716295">
              <a:off x="358873" y="2806579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" name="Forme libre : forme 128">
              <a:extLst>
                <a:ext uri="{FF2B5EF4-FFF2-40B4-BE49-F238E27FC236}">
                  <a16:creationId xmlns:a16="http://schemas.microsoft.com/office/drawing/2014/main" id="{E19792CF-DDD1-4F4B-9682-435BC6CB8DED}"/>
                </a:ext>
              </a:extLst>
            </p:cNvPr>
            <p:cNvSpPr/>
            <p:nvPr/>
          </p:nvSpPr>
          <p:spPr>
            <a:xfrm rot="8716295">
              <a:off x="53703" y="2896335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" name="Forme libre : forme 129">
              <a:extLst>
                <a:ext uri="{FF2B5EF4-FFF2-40B4-BE49-F238E27FC236}">
                  <a16:creationId xmlns:a16="http://schemas.microsoft.com/office/drawing/2014/main" id="{BD0B65CA-A3C5-4B2A-8016-3FA0B6B241F4}"/>
                </a:ext>
              </a:extLst>
            </p:cNvPr>
            <p:cNvSpPr/>
            <p:nvPr/>
          </p:nvSpPr>
          <p:spPr>
            <a:xfrm rot="8716295">
              <a:off x="-92201" y="2622488"/>
              <a:ext cx="271732" cy="238722"/>
            </a:xfrm>
            <a:custGeom>
              <a:avLst/>
              <a:gdLst>
                <a:gd name="connsiteX0" fmla="*/ 106257 w 271732"/>
                <a:gd name="connsiteY0" fmla="*/ 238722 h 238722"/>
                <a:gd name="connsiteX1" fmla="*/ 72418 w 271732"/>
                <a:gd name="connsiteY1" fmla="*/ 175766 h 238722"/>
                <a:gd name="connsiteX2" fmla="*/ 105610 w 271732"/>
                <a:gd name="connsiteY2" fmla="*/ 83734 h 238722"/>
                <a:gd name="connsiteX3" fmla="*/ 0 w 271732"/>
                <a:gd name="connsiteY3" fmla="*/ 83734 h 238722"/>
                <a:gd name="connsiteX4" fmla="*/ 0 w 271732"/>
                <a:gd name="connsiteY4" fmla="*/ 0 h 238722"/>
                <a:gd name="connsiteX5" fmla="*/ 271732 w 271732"/>
                <a:gd name="connsiteY5" fmla="*/ 0 h 238722"/>
                <a:gd name="connsiteX6" fmla="*/ 213690 w 271732"/>
                <a:gd name="connsiteY6" fmla="*/ 83734 h 238722"/>
                <a:gd name="connsiteX7" fmla="*/ 210465 w 271732"/>
                <a:gd name="connsiteY7" fmla="*/ 83734 h 238722"/>
                <a:gd name="connsiteX8" fmla="*/ 207289 w 271732"/>
                <a:gd name="connsiteY8" fmla="*/ 92969 h 238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1732" h="238722">
                  <a:moveTo>
                    <a:pt x="106257" y="238722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71732" y="0"/>
                  </a:lnTo>
                  <a:lnTo>
                    <a:pt x="213690" y="83734"/>
                  </a:lnTo>
                  <a:lnTo>
                    <a:pt x="210465" y="83734"/>
                  </a:lnTo>
                  <a:lnTo>
                    <a:pt x="207289" y="929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" name="Forme libre : forme 130">
              <a:extLst>
                <a:ext uri="{FF2B5EF4-FFF2-40B4-BE49-F238E27FC236}">
                  <a16:creationId xmlns:a16="http://schemas.microsoft.com/office/drawing/2014/main" id="{A401047D-B75D-4F40-878E-D1BF52EA2F0E}"/>
                </a:ext>
              </a:extLst>
            </p:cNvPr>
            <p:cNvSpPr/>
            <p:nvPr/>
          </p:nvSpPr>
          <p:spPr>
            <a:xfrm rot="8716295">
              <a:off x="190192" y="2958318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" name="Forme libre : forme 131">
              <a:extLst>
                <a:ext uri="{FF2B5EF4-FFF2-40B4-BE49-F238E27FC236}">
                  <a16:creationId xmlns:a16="http://schemas.microsoft.com/office/drawing/2014/main" id="{0A764231-DFA5-45AC-9649-96FE00947629}"/>
                </a:ext>
              </a:extLst>
            </p:cNvPr>
            <p:cNvSpPr/>
            <p:nvPr/>
          </p:nvSpPr>
          <p:spPr>
            <a:xfrm rot="7484129">
              <a:off x="349009" y="324793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" name="Forme libre : forme 132">
              <a:extLst>
                <a:ext uri="{FF2B5EF4-FFF2-40B4-BE49-F238E27FC236}">
                  <a16:creationId xmlns:a16="http://schemas.microsoft.com/office/drawing/2014/main" id="{08367284-C420-422D-A59E-EC2B0D5CAF81}"/>
                </a:ext>
              </a:extLst>
            </p:cNvPr>
            <p:cNvSpPr/>
            <p:nvPr/>
          </p:nvSpPr>
          <p:spPr>
            <a:xfrm rot="13089394">
              <a:off x="507659" y="3197284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" name="Forme libre : forme 133">
              <a:extLst>
                <a:ext uri="{FF2B5EF4-FFF2-40B4-BE49-F238E27FC236}">
                  <a16:creationId xmlns:a16="http://schemas.microsoft.com/office/drawing/2014/main" id="{6E0CAE80-C507-4A7F-B64E-2B2322B07A4F}"/>
                </a:ext>
              </a:extLst>
            </p:cNvPr>
            <p:cNvSpPr/>
            <p:nvPr/>
          </p:nvSpPr>
          <p:spPr>
            <a:xfrm rot="8716295">
              <a:off x="788550" y="2907166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" name="Forme libre : forme 134">
              <a:extLst>
                <a:ext uri="{FF2B5EF4-FFF2-40B4-BE49-F238E27FC236}">
                  <a16:creationId xmlns:a16="http://schemas.microsoft.com/office/drawing/2014/main" id="{4935918E-F29D-4E02-AE1D-44610A8EABE6}"/>
                </a:ext>
              </a:extLst>
            </p:cNvPr>
            <p:cNvSpPr/>
            <p:nvPr/>
          </p:nvSpPr>
          <p:spPr>
            <a:xfrm rot="8716295">
              <a:off x="710141" y="275037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" name="Forme libre : forme 135">
              <a:extLst>
                <a:ext uri="{FF2B5EF4-FFF2-40B4-BE49-F238E27FC236}">
                  <a16:creationId xmlns:a16="http://schemas.microsoft.com/office/drawing/2014/main" id="{0186616C-3255-4138-99FF-17ACDEE12423}"/>
                </a:ext>
              </a:extLst>
            </p:cNvPr>
            <p:cNvSpPr/>
            <p:nvPr/>
          </p:nvSpPr>
          <p:spPr>
            <a:xfrm rot="8716295">
              <a:off x="341977" y="279611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" name="Forme libre : forme 136">
              <a:extLst>
                <a:ext uri="{FF2B5EF4-FFF2-40B4-BE49-F238E27FC236}">
                  <a16:creationId xmlns:a16="http://schemas.microsoft.com/office/drawing/2014/main" id="{00B7B22E-16FD-44D5-9219-31608DDFCC39}"/>
                </a:ext>
              </a:extLst>
            </p:cNvPr>
            <p:cNvSpPr/>
            <p:nvPr/>
          </p:nvSpPr>
          <p:spPr>
            <a:xfrm rot="8716295">
              <a:off x="610559" y="2555095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" name="Forme libre : forme 137">
              <a:extLst>
                <a:ext uri="{FF2B5EF4-FFF2-40B4-BE49-F238E27FC236}">
                  <a16:creationId xmlns:a16="http://schemas.microsoft.com/office/drawing/2014/main" id="{A6953B6D-6364-4054-88C6-74B273B65431}"/>
                </a:ext>
              </a:extLst>
            </p:cNvPr>
            <p:cNvSpPr/>
            <p:nvPr/>
          </p:nvSpPr>
          <p:spPr>
            <a:xfrm rot="8716295">
              <a:off x="-24305" y="2374348"/>
              <a:ext cx="58950" cy="66898"/>
            </a:xfrm>
            <a:custGeom>
              <a:avLst/>
              <a:gdLst>
                <a:gd name="connsiteX0" fmla="*/ 0 w 58950"/>
                <a:gd name="connsiteY0" fmla="*/ 66898 h 66898"/>
                <a:gd name="connsiteX1" fmla="*/ 0 w 58950"/>
                <a:gd name="connsiteY1" fmla="*/ 0 h 66898"/>
                <a:gd name="connsiteX2" fmla="*/ 58950 w 58950"/>
                <a:gd name="connsiteY2" fmla="*/ 0 h 66898"/>
                <a:gd name="connsiteX3" fmla="*/ 12579 w 58950"/>
                <a:gd name="connsiteY3" fmla="*/ 66898 h 6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950" h="66898">
                  <a:moveTo>
                    <a:pt x="0" y="66898"/>
                  </a:moveTo>
                  <a:lnTo>
                    <a:pt x="0" y="0"/>
                  </a:lnTo>
                  <a:lnTo>
                    <a:pt x="58950" y="0"/>
                  </a:lnTo>
                  <a:lnTo>
                    <a:pt x="12579" y="668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" name="Forme libre : forme 138">
              <a:extLst>
                <a:ext uri="{FF2B5EF4-FFF2-40B4-BE49-F238E27FC236}">
                  <a16:creationId xmlns:a16="http://schemas.microsoft.com/office/drawing/2014/main" id="{41AD4D21-E927-44C5-8A83-B759FDFF6D06}"/>
                </a:ext>
              </a:extLst>
            </p:cNvPr>
            <p:cNvSpPr/>
            <p:nvPr/>
          </p:nvSpPr>
          <p:spPr>
            <a:xfrm rot="8716295">
              <a:off x="-39593" y="1952072"/>
              <a:ext cx="198050" cy="140164"/>
            </a:xfrm>
            <a:custGeom>
              <a:avLst/>
              <a:gdLst>
                <a:gd name="connsiteX0" fmla="*/ 0 w 198050"/>
                <a:gd name="connsiteY0" fmla="*/ 75863 h 140164"/>
                <a:gd name="connsiteX1" fmla="*/ 0 w 198050"/>
                <a:gd name="connsiteY1" fmla="*/ 0 h 140164"/>
                <a:gd name="connsiteX2" fmla="*/ 128968 w 198050"/>
                <a:gd name="connsiteY2" fmla="*/ 0 h 140164"/>
                <a:gd name="connsiteX3" fmla="*/ 193021 w 198050"/>
                <a:gd name="connsiteY3" fmla="*/ 18535 h 140164"/>
                <a:gd name="connsiteX4" fmla="*/ 198050 w 198050"/>
                <a:gd name="connsiteY4" fmla="*/ 31548 h 140164"/>
                <a:gd name="connsiteX5" fmla="*/ 122761 w 198050"/>
                <a:gd name="connsiteY5" fmla="*/ 140164 h 140164"/>
                <a:gd name="connsiteX6" fmla="*/ 122761 w 198050"/>
                <a:gd name="connsiteY6" fmla="*/ 105519 h 140164"/>
                <a:gd name="connsiteX7" fmla="*/ 122761 w 198050"/>
                <a:gd name="connsiteY7" fmla="*/ 99312 h 140164"/>
                <a:gd name="connsiteX8" fmla="*/ 91726 w 198050"/>
                <a:gd name="connsiteY8" fmla="*/ 75863 h 140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8050" h="140164">
                  <a:moveTo>
                    <a:pt x="0" y="75863"/>
                  </a:moveTo>
                  <a:lnTo>
                    <a:pt x="0" y="0"/>
                  </a:lnTo>
                  <a:lnTo>
                    <a:pt x="128968" y="0"/>
                  </a:lnTo>
                  <a:cubicBezTo>
                    <a:pt x="156900" y="0"/>
                    <a:pt x="178452" y="6034"/>
                    <a:pt x="193021" y="18535"/>
                  </a:cubicBezTo>
                  <a:lnTo>
                    <a:pt x="198050" y="31548"/>
                  </a:lnTo>
                  <a:lnTo>
                    <a:pt x="122761" y="140164"/>
                  </a:ln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4"/>
                    <a:pt x="91726" y="758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" name="Forme libre : forme 139">
              <a:extLst>
                <a:ext uri="{FF2B5EF4-FFF2-40B4-BE49-F238E27FC236}">
                  <a16:creationId xmlns:a16="http://schemas.microsoft.com/office/drawing/2014/main" id="{B82C4F59-A689-41F2-8DD0-9745004AE675}"/>
                </a:ext>
              </a:extLst>
            </p:cNvPr>
            <p:cNvSpPr/>
            <p:nvPr/>
          </p:nvSpPr>
          <p:spPr>
            <a:xfrm rot="8716295">
              <a:off x="21100" y="1808096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" name="Forme libre : forme 140">
              <a:extLst>
                <a:ext uri="{FF2B5EF4-FFF2-40B4-BE49-F238E27FC236}">
                  <a16:creationId xmlns:a16="http://schemas.microsoft.com/office/drawing/2014/main" id="{FA2478B0-E5E2-4F32-8061-87C7FA11FBE0}"/>
                </a:ext>
              </a:extLst>
            </p:cNvPr>
            <p:cNvSpPr/>
            <p:nvPr/>
          </p:nvSpPr>
          <p:spPr>
            <a:xfrm rot="8716295">
              <a:off x="-24330" y="2197782"/>
              <a:ext cx="102508" cy="53362"/>
            </a:xfrm>
            <a:custGeom>
              <a:avLst/>
              <a:gdLst>
                <a:gd name="connsiteX0" fmla="*/ 0 w 102508"/>
                <a:gd name="connsiteY0" fmla="*/ 23637 h 53362"/>
                <a:gd name="connsiteX1" fmla="*/ 0 w 102508"/>
                <a:gd name="connsiteY1" fmla="*/ 2258 h 53362"/>
                <a:gd name="connsiteX2" fmla="*/ 102508 w 102508"/>
                <a:gd name="connsiteY2" fmla="*/ 0 h 53362"/>
                <a:gd name="connsiteX3" fmla="*/ 65519 w 102508"/>
                <a:gd name="connsiteY3" fmla="*/ 53362 h 53362"/>
                <a:gd name="connsiteX4" fmla="*/ 65519 w 102508"/>
                <a:gd name="connsiteY4" fmla="*/ 23637 h 5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508" h="53362">
                  <a:moveTo>
                    <a:pt x="0" y="23637"/>
                  </a:moveTo>
                  <a:lnTo>
                    <a:pt x="0" y="2258"/>
                  </a:lnTo>
                  <a:lnTo>
                    <a:pt x="102508" y="0"/>
                  </a:lnTo>
                  <a:lnTo>
                    <a:pt x="65519" y="53362"/>
                  </a:lnTo>
                  <a:lnTo>
                    <a:pt x="65519" y="2363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" name="Forme libre : forme 141">
              <a:extLst>
                <a:ext uri="{FF2B5EF4-FFF2-40B4-BE49-F238E27FC236}">
                  <a16:creationId xmlns:a16="http://schemas.microsoft.com/office/drawing/2014/main" id="{949053A5-7216-4B32-8AE1-A37ED2B2705A}"/>
                </a:ext>
              </a:extLst>
            </p:cNvPr>
            <p:cNvSpPr/>
            <p:nvPr/>
          </p:nvSpPr>
          <p:spPr>
            <a:xfrm rot="7484129">
              <a:off x="11236" y="224945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" name="Forme libre : forme 142">
              <a:extLst>
                <a:ext uri="{FF2B5EF4-FFF2-40B4-BE49-F238E27FC236}">
                  <a16:creationId xmlns:a16="http://schemas.microsoft.com/office/drawing/2014/main" id="{028B569C-B0FE-4A67-B111-B99F3950BB2A}"/>
                </a:ext>
              </a:extLst>
            </p:cNvPr>
            <p:cNvSpPr/>
            <p:nvPr/>
          </p:nvSpPr>
          <p:spPr>
            <a:xfrm rot="13089394">
              <a:off x="169886" y="2198801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4" name="Forme libre : forme 143">
              <a:extLst>
                <a:ext uri="{FF2B5EF4-FFF2-40B4-BE49-F238E27FC236}">
                  <a16:creationId xmlns:a16="http://schemas.microsoft.com/office/drawing/2014/main" id="{DDDAF86D-35C8-42A2-A70C-525D2D5475FD}"/>
                </a:ext>
              </a:extLst>
            </p:cNvPr>
            <p:cNvSpPr/>
            <p:nvPr/>
          </p:nvSpPr>
          <p:spPr>
            <a:xfrm rot="8716295">
              <a:off x="450777" y="1908683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5" name="Forme libre : forme 144">
              <a:extLst>
                <a:ext uri="{FF2B5EF4-FFF2-40B4-BE49-F238E27FC236}">
                  <a16:creationId xmlns:a16="http://schemas.microsoft.com/office/drawing/2014/main" id="{0456C75C-046A-4449-8D19-7B887B7670B6}"/>
                </a:ext>
              </a:extLst>
            </p:cNvPr>
            <p:cNvSpPr/>
            <p:nvPr/>
          </p:nvSpPr>
          <p:spPr>
            <a:xfrm rot="8716295">
              <a:off x="372368" y="175189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6" name="Forme libre : forme 145">
              <a:extLst>
                <a:ext uri="{FF2B5EF4-FFF2-40B4-BE49-F238E27FC236}">
                  <a16:creationId xmlns:a16="http://schemas.microsoft.com/office/drawing/2014/main" id="{9071FCAB-0728-4659-9A50-F1E4D3A34FCA}"/>
                </a:ext>
              </a:extLst>
            </p:cNvPr>
            <p:cNvSpPr/>
            <p:nvPr/>
          </p:nvSpPr>
          <p:spPr>
            <a:xfrm rot="8716295">
              <a:off x="4204" y="179763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7" name="Forme libre : forme 146">
              <a:extLst>
                <a:ext uri="{FF2B5EF4-FFF2-40B4-BE49-F238E27FC236}">
                  <a16:creationId xmlns:a16="http://schemas.microsoft.com/office/drawing/2014/main" id="{74F9CC45-BF7F-4E25-8F71-1BD6DA2F0E29}"/>
                </a:ext>
              </a:extLst>
            </p:cNvPr>
            <p:cNvSpPr/>
            <p:nvPr/>
          </p:nvSpPr>
          <p:spPr>
            <a:xfrm rot="8716295">
              <a:off x="272786" y="155661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8" name="Forme libre : forme 147">
              <a:extLst>
                <a:ext uri="{FF2B5EF4-FFF2-40B4-BE49-F238E27FC236}">
                  <a16:creationId xmlns:a16="http://schemas.microsoft.com/office/drawing/2014/main" id="{9BA7D72C-89C5-4ADB-A9D6-05B170E731F6}"/>
                </a:ext>
              </a:extLst>
            </p:cNvPr>
            <p:cNvSpPr/>
            <p:nvPr/>
          </p:nvSpPr>
          <p:spPr>
            <a:xfrm rot="8716295">
              <a:off x="-35149" y="938156"/>
              <a:ext cx="158623" cy="159016"/>
            </a:xfrm>
            <a:custGeom>
              <a:avLst/>
              <a:gdLst>
                <a:gd name="connsiteX0" fmla="*/ 77932 w 158623"/>
                <a:gd name="connsiteY0" fmla="*/ 159016 h 159016"/>
                <a:gd name="connsiteX1" fmla="*/ 77932 w 158623"/>
                <a:gd name="connsiteY1" fmla="*/ 66898 h 159016"/>
                <a:gd name="connsiteX2" fmla="*/ 0 w 158623"/>
                <a:gd name="connsiteY2" fmla="*/ 66898 h 159016"/>
                <a:gd name="connsiteX3" fmla="*/ 0 w 158623"/>
                <a:gd name="connsiteY3" fmla="*/ 0 h 159016"/>
                <a:gd name="connsiteX4" fmla="*/ 158623 w 158623"/>
                <a:gd name="connsiteY4" fmla="*/ 0 h 159016"/>
                <a:gd name="connsiteX5" fmla="*/ 158623 w 158623"/>
                <a:gd name="connsiteY5" fmla="*/ 42606 h 15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8623" h="159016">
                  <a:moveTo>
                    <a:pt x="77932" y="159016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4260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9" name="Forme libre : forme 148">
              <a:extLst>
                <a:ext uri="{FF2B5EF4-FFF2-40B4-BE49-F238E27FC236}">
                  <a16:creationId xmlns:a16="http://schemas.microsoft.com/office/drawing/2014/main" id="{049A796E-46A8-44F5-A685-EFE861D38A62}"/>
                </a:ext>
              </a:extLst>
            </p:cNvPr>
            <p:cNvSpPr/>
            <p:nvPr/>
          </p:nvSpPr>
          <p:spPr>
            <a:xfrm rot="7484129">
              <a:off x="-32979" y="1345537"/>
              <a:ext cx="65961" cy="45734"/>
            </a:xfrm>
            <a:custGeom>
              <a:avLst/>
              <a:gdLst>
                <a:gd name="connsiteX0" fmla="*/ 0 w 65961"/>
                <a:gd name="connsiteY0" fmla="*/ 45734 h 45734"/>
                <a:gd name="connsiteX1" fmla="*/ 0 w 65961"/>
                <a:gd name="connsiteY1" fmla="*/ 0 h 45734"/>
                <a:gd name="connsiteX2" fmla="*/ 65961 w 65961"/>
                <a:gd name="connsiteY2" fmla="*/ 0 h 45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5961" h="45734">
                  <a:moveTo>
                    <a:pt x="0" y="45734"/>
                  </a:moveTo>
                  <a:lnTo>
                    <a:pt x="0" y="0"/>
                  </a:lnTo>
                  <a:lnTo>
                    <a:pt x="6596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0" name="Forme libre : forme 149">
              <a:extLst>
                <a:ext uri="{FF2B5EF4-FFF2-40B4-BE49-F238E27FC236}">
                  <a16:creationId xmlns:a16="http://schemas.microsoft.com/office/drawing/2014/main" id="{5C3088F6-9CC3-48D3-A8B8-D590346DDC75}"/>
                </a:ext>
              </a:extLst>
            </p:cNvPr>
            <p:cNvSpPr/>
            <p:nvPr/>
          </p:nvSpPr>
          <p:spPr>
            <a:xfrm rot="13089394">
              <a:off x="-134707" y="1200752"/>
              <a:ext cx="386820" cy="481345"/>
            </a:xfrm>
            <a:custGeom>
              <a:avLst/>
              <a:gdLst>
                <a:gd name="connsiteX0" fmla="*/ 386820 w 386820"/>
                <a:gd name="connsiteY0" fmla="*/ 391818 h 481345"/>
                <a:gd name="connsiteX1" fmla="*/ 342166 w 386820"/>
                <a:gd name="connsiteY1" fmla="*/ 422376 h 481345"/>
                <a:gd name="connsiteX2" fmla="*/ 138636 w 386820"/>
                <a:gd name="connsiteY2" fmla="*/ 481098 h 481345"/>
                <a:gd name="connsiteX3" fmla="*/ 35911 w 386820"/>
                <a:gd name="connsiteY3" fmla="*/ 439340 h 481345"/>
                <a:gd name="connsiteX4" fmla="*/ 0 w 386820"/>
                <a:gd name="connsiteY4" fmla="*/ 295693 h 481345"/>
                <a:gd name="connsiteX5" fmla="*/ 0 w 386820"/>
                <a:gd name="connsiteY5" fmla="*/ 40970 h 481345"/>
                <a:gd name="connsiteX6" fmla="*/ 78970 w 386820"/>
                <a:gd name="connsiteY6" fmla="*/ 0 h 481345"/>
                <a:gd name="connsiteX7" fmla="*/ 111492 w 386820"/>
                <a:gd name="connsiteY7" fmla="*/ 41392 h 481345"/>
                <a:gd name="connsiteX8" fmla="*/ 112747 w 386820"/>
                <a:gd name="connsiteY8" fmla="*/ 216353 h 481345"/>
                <a:gd name="connsiteX9" fmla="*/ 132789 w 386820"/>
                <a:gd name="connsiteY9" fmla="*/ 354990 h 481345"/>
                <a:gd name="connsiteX10" fmla="*/ 233008 w 386820"/>
                <a:gd name="connsiteY10" fmla="*/ 410110 h 481345"/>
                <a:gd name="connsiteX11" fmla="*/ 308173 w 386820"/>
                <a:gd name="connsiteY11" fmla="*/ 396747 h 481345"/>
                <a:gd name="connsiteX12" fmla="*/ 370717 w 386820"/>
                <a:gd name="connsiteY12" fmla="*/ 371323 h 481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6820" h="481345">
                  <a:moveTo>
                    <a:pt x="386820" y="391818"/>
                  </a:moveTo>
                  <a:lnTo>
                    <a:pt x="342166" y="422376"/>
                  </a:lnTo>
                  <a:cubicBezTo>
                    <a:pt x="268920" y="462151"/>
                    <a:pt x="190624" y="477966"/>
                    <a:pt x="138636" y="481098"/>
                  </a:cubicBezTo>
                  <a:cubicBezTo>
                    <a:pt x="100219" y="483604"/>
                    <a:pt x="62637" y="466901"/>
                    <a:pt x="35911" y="439340"/>
                  </a:cubicBezTo>
                  <a:cubicBezTo>
                    <a:pt x="7516" y="411780"/>
                    <a:pt x="0" y="364176"/>
                    <a:pt x="0" y="295693"/>
                  </a:cubicBezTo>
                  <a:lnTo>
                    <a:pt x="0" y="40970"/>
                  </a:lnTo>
                  <a:lnTo>
                    <a:pt x="78970" y="0"/>
                  </a:lnTo>
                  <a:lnTo>
                    <a:pt x="111492" y="41392"/>
                  </a:lnTo>
                  <a:lnTo>
                    <a:pt x="112747" y="216353"/>
                  </a:lnTo>
                  <a:cubicBezTo>
                    <a:pt x="110241" y="263122"/>
                    <a:pt x="117757" y="310726"/>
                    <a:pt x="132789" y="354990"/>
                  </a:cubicBezTo>
                  <a:cubicBezTo>
                    <a:pt x="146153" y="391736"/>
                    <a:pt x="180394" y="410110"/>
                    <a:pt x="233008" y="410110"/>
                  </a:cubicBezTo>
                  <a:cubicBezTo>
                    <a:pt x="258899" y="409274"/>
                    <a:pt x="283953" y="404263"/>
                    <a:pt x="308173" y="396747"/>
                  </a:cubicBezTo>
                  <a:lnTo>
                    <a:pt x="370717" y="371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1" name="Forme libre : forme 150">
              <a:extLst>
                <a:ext uri="{FF2B5EF4-FFF2-40B4-BE49-F238E27FC236}">
                  <a16:creationId xmlns:a16="http://schemas.microsoft.com/office/drawing/2014/main" id="{45A3690F-0557-4DB0-94E4-7427021CEC86}"/>
                </a:ext>
              </a:extLst>
            </p:cNvPr>
            <p:cNvSpPr/>
            <p:nvPr/>
          </p:nvSpPr>
          <p:spPr>
            <a:xfrm rot="8716295">
              <a:off x="119403" y="90662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2" name="Forme libre : forme 151">
              <a:extLst>
                <a:ext uri="{FF2B5EF4-FFF2-40B4-BE49-F238E27FC236}">
                  <a16:creationId xmlns:a16="http://schemas.microsoft.com/office/drawing/2014/main" id="{1C3938EF-FACF-4118-88DE-3CA52114B602}"/>
                </a:ext>
              </a:extLst>
            </p:cNvPr>
            <p:cNvSpPr/>
            <p:nvPr/>
          </p:nvSpPr>
          <p:spPr>
            <a:xfrm rot="8716295">
              <a:off x="40994" y="74983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3" name="Forme libre : forme 152">
              <a:extLst>
                <a:ext uri="{FF2B5EF4-FFF2-40B4-BE49-F238E27FC236}">
                  <a16:creationId xmlns:a16="http://schemas.microsoft.com/office/drawing/2014/main" id="{DFC0458A-EB47-48D9-8C11-B6676E2C5CAE}"/>
                </a:ext>
              </a:extLst>
            </p:cNvPr>
            <p:cNvSpPr/>
            <p:nvPr/>
          </p:nvSpPr>
          <p:spPr>
            <a:xfrm rot="8716295">
              <a:off x="-44934" y="551941"/>
              <a:ext cx="152592" cy="165412"/>
            </a:xfrm>
            <a:custGeom>
              <a:avLst/>
              <a:gdLst>
                <a:gd name="connsiteX0" fmla="*/ 26453 w 152592"/>
                <a:gd name="connsiteY0" fmla="*/ 153143 h 165412"/>
                <a:gd name="connsiteX1" fmla="*/ 0 w 152592"/>
                <a:gd name="connsiteY1" fmla="*/ 90494 h 165412"/>
                <a:gd name="connsiteX2" fmla="*/ 0 w 152592"/>
                <a:gd name="connsiteY2" fmla="*/ 89101 h 165412"/>
                <a:gd name="connsiteX3" fmla="*/ 26453 w 152592"/>
                <a:gd name="connsiteY3" fmla="*/ 26453 h 165412"/>
                <a:gd name="connsiteX4" fmla="*/ 89101 w 152592"/>
                <a:gd name="connsiteY4" fmla="*/ 0 h 165412"/>
                <a:gd name="connsiteX5" fmla="*/ 151752 w 152592"/>
                <a:gd name="connsiteY5" fmla="*/ 26453 h 165412"/>
                <a:gd name="connsiteX6" fmla="*/ 152592 w 152592"/>
                <a:gd name="connsiteY6" fmla="*/ 27688 h 165412"/>
                <a:gd name="connsiteX7" fmla="*/ 57126 w 152592"/>
                <a:gd name="connsiteY7" fmla="*/ 165412 h 165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592" h="165412">
                  <a:moveTo>
                    <a:pt x="26453" y="153143"/>
                  </a:moveTo>
                  <a:cubicBezTo>
                    <a:pt x="9746" y="136436"/>
                    <a:pt x="0" y="114161"/>
                    <a:pt x="0" y="90494"/>
                  </a:cubicBezTo>
                  <a:lnTo>
                    <a:pt x="0" y="89101"/>
                  </a:lnTo>
                  <a:cubicBezTo>
                    <a:pt x="0" y="65434"/>
                    <a:pt x="9746" y="43159"/>
                    <a:pt x="26453" y="26453"/>
                  </a:cubicBezTo>
                  <a:cubicBezTo>
                    <a:pt x="43159" y="9746"/>
                    <a:pt x="65435" y="0"/>
                    <a:pt x="89101" y="0"/>
                  </a:cubicBezTo>
                  <a:cubicBezTo>
                    <a:pt x="112770" y="0"/>
                    <a:pt x="135045" y="9746"/>
                    <a:pt x="151752" y="26453"/>
                  </a:cubicBezTo>
                  <a:lnTo>
                    <a:pt x="152592" y="27688"/>
                  </a:lnTo>
                  <a:lnTo>
                    <a:pt x="57126" y="1654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4" name="Forme libre : forme 153">
              <a:extLst>
                <a:ext uri="{FF2B5EF4-FFF2-40B4-BE49-F238E27FC236}">
                  <a16:creationId xmlns:a16="http://schemas.microsoft.com/office/drawing/2014/main" id="{51206894-A2FA-4091-8709-9038ECFC9F62}"/>
                </a:ext>
              </a:extLst>
            </p:cNvPr>
            <p:cNvSpPr/>
            <p:nvPr/>
          </p:nvSpPr>
          <p:spPr>
            <a:xfrm rot="8716295">
              <a:off x="-69806" y="4587027"/>
              <a:ext cx="183810" cy="187594"/>
            </a:xfrm>
            <a:custGeom>
              <a:avLst/>
              <a:gdLst>
                <a:gd name="connsiteX0" fmla="*/ 10574 w 183810"/>
                <a:gd name="connsiteY0" fmla="*/ 187594 h 187594"/>
                <a:gd name="connsiteX1" fmla="*/ 0 w 183810"/>
                <a:gd name="connsiteY1" fmla="*/ 172952 h 187594"/>
                <a:gd name="connsiteX2" fmla="*/ 183810 w 183810"/>
                <a:gd name="connsiteY2" fmla="*/ 0 h 187594"/>
                <a:gd name="connsiteX3" fmla="*/ 72284 w 183810"/>
                <a:gd name="connsiteY3" fmla="*/ 160894 h 187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810" h="187594">
                  <a:moveTo>
                    <a:pt x="10574" y="187594"/>
                  </a:moveTo>
                  <a:lnTo>
                    <a:pt x="0" y="172952"/>
                  </a:lnTo>
                  <a:lnTo>
                    <a:pt x="183810" y="0"/>
                  </a:lnTo>
                  <a:lnTo>
                    <a:pt x="72284" y="1608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5" name="Forme libre : forme 154">
              <a:extLst>
                <a:ext uri="{FF2B5EF4-FFF2-40B4-BE49-F238E27FC236}">
                  <a16:creationId xmlns:a16="http://schemas.microsoft.com/office/drawing/2014/main" id="{75F36939-0C1D-4F35-A6F3-978C7845A7FE}"/>
                </a:ext>
              </a:extLst>
            </p:cNvPr>
            <p:cNvSpPr/>
            <p:nvPr/>
          </p:nvSpPr>
          <p:spPr>
            <a:xfrm rot="8716295">
              <a:off x="2260816" y="1871889"/>
              <a:ext cx="76563" cy="79800"/>
            </a:xfrm>
            <a:custGeom>
              <a:avLst/>
              <a:gdLst>
                <a:gd name="connsiteX0" fmla="*/ 1561 w 76563"/>
                <a:gd name="connsiteY0" fmla="*/ 67386 h 79800"/>
                <a:gd name="connsiteX1" fmla="*/ 0 w 76563"/>
                <a:gd name="connsiteY1" fmla="*/ 63688 h 79800"/>
                <a:gd name="connsiteX2" fmla="*/ 52676 w 76563"/>
                <a:gd name="connsiteY2" fmla="*/ 0 h 79800"/>
                <a:gd name="connsiteX3" fmla="*/ 63632 w 76563"/>
                <a:gd name="connsiteY3" fmla="*/ 4626 h 79800"/>
                <a:gd name="connsiteX4" fmla="*/ 63632 w 76563"/>
                <a:gd name="connsiteY4" fmla="*/ 66697 h 79800"/>
                <a:gd name="connsiteX5" fmla="*/ 32596 w 76563"/>
                <a:gd name="connsiteY5" fmla="*/ 79800 h 79800"/>
                <a:gd name="connsiteX6" fmla="*/ 1561 w 76563"/>
                <a:gd name="connsiteY6" fmla="*/ 67386 h 79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563" h="79800">
                  <a:moveTo>
                    <a:pt x="1561" y="67386"/>
                  </a:moveTo>
                  <a:lnTo>
                    <a:pt x="0" y="63688"/>
                  </a:lnTo>
                  <a:lnTo>
                    <a:pt x="52676" y="0"/>
                  </a:lnTo>
                  <a:lnTo>
                    <a:pt x="63632" y="4626"/>
                  </a:lnTo>
                  <a:cubicBezTo>
                    <a:pt x="80874" y="21178"/>
                    <a:pt x="80873" y="49455"/>
                    <a:pt x="63632" y="66697"/>
                  </a:cubicBezTo>
                  <a:cubicBezTo>
                    <a:pt x="55356" y="74973"/>
                    <a:pt x="44321" y="79800"/>
                    <a:pt x="32596" y="79800"/>
                  </a:cubicBezTo>
                  <a:cubicBezTo>
                    <a:pt x="20872" y="79800"/>
                    <a:pt x="9837" y="75662"/>
                    <a:pt x="1561" y="6738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6" name="Forme libre : forme 155">
              <a:extLst>
                <a:ext uri="{FF2B5EF4-FFF2-40B4-BE49-F238E27FC236}">
                  <a16:creationId xmlns:a16="http://schemas.microsoft.com/office/drawing/2014/main" id="{BD296649-E6F7-43B4-A921-2D9F25E09891}"/>
                </a:ext>
              </a:extLst>
            </p:cNvPr>
            <p:cNvSpPr/>
            <p:nvPr/>
          </p:nvSpPr>
          <p:spPr>
            <a:xfrm rot="8716295">
              <a:off x="2079218" y="1576016"/>
              <a:ext cx="236114" cy="296463"/>
            </a:xfrm>
            <a:custGeom>
              <a:avLst/>
              <a:gdLst>
                <a:gd name="connsiteX0" fmla="*/ 64875 w 236114"/>
                <a:gd name="connsiteY0" fmla="*/ 296463 h 296463"/>
                <a:gd name="connsiteX1" fmla="*/ 0 w 236114"/>
                <a:gd name="connsiteY1" fmla="*/ 175766 h 296463"/>
                <a:gd name="connsiteX2" fmla="*/ 33192 w 236114"/>
                <a:gd name="connsiteY2" fmla="*/ 83734 h 296463"/>
                <a:gd name="connsiteX3" fmla="*/ 489 w 236114"/>
                <a:gd name="connsiteY3" fmla="*/ 83734 h 296463"/>
                <a:gd name="connsiteX4" fmla="*/ 69747 w 236114"/>
                <a:gd name="connsiteY4" fmla="*/ 0 h 296463"/>
                <a:gd name="connsiteX5" fmla="*/ 236114 w 236114"/>
                <a:gd name="connsiteY5" fmla="*/ 0 h 296463"/>
                <a:gd name="connsiteX6" fmla="*/ 236114 w 236114"/>
                <a:gd name="connsiteY6" fmla="*/ 83734 h 296463"/>
                <a:gd name="connsiteX7" fmla="*/ 138047 w 236114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6114" h="296463">
                  <a:moveTo>
                    <a:pt x="64875" y="296463"/>
                  </a:moveTo>
                  <a:lnTo>
                    <a:pt x="0" y="175766"/>
                  </a:lnTo>
                  <a:lnTo>
                    <a:pt x="33192" y="83734"/>
                  </a:lnTo>
                  <a:lnTo>
                    <a:pt x="489" y="83734"/>
                  </a:lnTo>
                  <a:lnTo>
                    <a:pt x="69747" y="0"/>
                  </a:lnTo>
                  <a:lnTo>
                    <a:pt x="236114" y="0"/>
                  </a:lnTo>
                  <a:lnTo>
                    <a:pt x="236114" y="83734"/>
                  </a:lnTo>
                  <a:lnTo>
                    <a:pt x="138047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7" name="Forme libre : forme 156">
              <a:extLst>
                <a:ext uri="{FF2B5EF4-FFF2-40B4-BE49-F238E27FC236}">
                  <a16:creationId xmlns:a16="http://schemas.microsoft.com/office/drawing/2014/main" id="{6CA34F6D-826D-4D6C-B9D3-13816F14A2D6}"/>
                </a:ext>
              </a:extLst>
            </p:cNvPr>
            <p:cNvSpPr/>
            <p:nvPr/>
          </p:nvSpPr>
          <p:spPr>
            <a:xfrm rot="8716295">
              <a:off x="1975890" y="1368961"/>
              <a:ext cx="432296" cy="245571"/>
            </a:xfrm>
            <a:custGeom>
              <a:avLst/>
              <a:gdLst>
                <a:gd name="connsiteX0" fmla="*/ 30685 w 432296"/>
                <a:gd name="connsiteY0" fmla="*/ 200783 h 245571"/>
                <a:gd name="connsiteX1" fmla="*/ 187 w 432296"/>
                <a:gd name="connsiteY1" fmla="*/ 140564 h 245571"/>
                <a:gd name="connsiteX2" fmla="*/ 0 w 432296"/>
                <a:gd name="connsiteY2" fmla="*/ 138341 h 245571"/>
                <a:gd name="connsiteX3" fmla="*/ 114424 w 432296"/>
                <a:gd name="connsiteY3" fmla="*/ 0 h 245571"/>
                <a:gd name="connsiteX4" fmla="*/ 116284 w 432296"/>
                <a:gd name="connsiteY4" fmla="*/ 37935 h 245571"/>
                <a:gd name="connsiteX5" fmla="*/ 133982 w 432296"/>
                <a:gd name="connsiteY5" fmla="*/ 110844 h 245571"/>
                <a:gd name="connsiteX6" fmla="*/ 240841 w 432296"/>
                <a:gd name="connsiteY6" fmla="*/ 169617 h 245571"/>
                <a:gd name="connsiteX7" fmla="*/ 320985 w 432296"/>
                <a:gd name="connsiteY7" fmla="*/ 155369 h 245571"/>
                <a:gd name="connsiteX8" fmla="*/ 430515 w 432296"/>
                <a:gd name="connsiteY8" fmla="*/ 110844 h 245571"/>
                <a:gd name="connsiteX9" fmla="*/ 432296 w 432296"/>
                <a:gd name="connsiteY9" fmla="*/ 122420 h 245571"/>
                <a:gd name="connsiteX10" fmla="*/ 432296 w 432296"/>
                <a:gd name="connsiteY10" fmla="*/ 131325 h 245571"/>
                <a:gd name="connsiteX11" fmla="*/ 140216 w 432296"/>
                <a:gd name="connsiteY11" fmla="*/ 245308 h 245571"/>
                <a:gd name="connsiteX12" fmla="*/ 30685 w 432296"/>
                <a:gd name="connsiteY12" fmla="*/ 200783 h 245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32296" h="245571">
                  <a:moveTo>
                    <a:pt x="30685" y="200783"/>
                  </a:moveTo>
                  <a:cubicBezTo>
                    <a:pt x="15547" y="186091"/>
                    <a:pt x="5975" y="166054"/>
                    <a:pt x="187" y="140564"/>
                  </a:cubicBezTo>
                  <a:lnTo>
                    <a:pt x="0" y="138341"/>
                  </a:lnTo>
                  <a:lnTo>
                    <a:pt x="114424" y="0"/>
                  </a:lnTo>
                  <a:lnTo>
                    <a:pt x="116284" y="37935"/>
                  </a:lnTo>
                  <a:cubicBezTo>
                    <a:pt x="119957" y="62758"/>
                    <a:pt x="125968" y="87246"/>
                    <a:pt x="133982" y="110844"/>
                  </a:cubicBezTo>
                  <a:cubicBezTo>
                    <a:pt x="148231" y="150026"/>
                    <a:pt x="184740" y="169617"/>
                    <a:pt x="240841" y="169617"/>
                  </a:cubicBezTo>
                  <a:cubicBezTo>
                    <a:pt x="268446" y="168726"/>
                    <a:pt x="295161" y="163383"/>
                    <a:pt x="320985" y="155369"/>
                  </a:cubicBezTo>
                  <a:cubicBezTo>
                    <a:pt x="358385" y="143792"/>
                    <a:pt x="394895" y="128654"/>
                    <a:pt x="430515" y="110844"/>
                  </a:cubicBezTo>
                  <a:cubicBezTo>
                    <a:pt x="431405" y="114406"/>
                    <a:pt x="432296" y="118858"/>
                    <a:pt x="432296" y="122420"/>
                  </a:cubicBezTo>
                  <a:lnTo>
                    <a:pt x="432296" y="131325"/>
                  </a:lnTo>
                  <a:cubicBezTo>
                    <a:pt x="337904" y="212360"/>
                    <a:pt x="214126" y="240856"/>
                    <a:pt x="140216" y="245308"/>
                  </a:cubicBezTo>
                  <a:cubicBezTo>
                    <a:pt x="99254" y="247980"/>
                    <a:pt x="59182" y="230170"/>
                    <a:pt x="30685" y="2007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8" name="Forme libre : forme 157">
              <a:extLst>
                <a:ext uri="{FF2B5EF4-FFF2-40B4-BE49-F238E27FC236}">
                  <a16:creationId xmlns:a16="http://schemas.microsoft.com/office/drawing/2014/main" id="{1B5AAC38-2C08-40E5-95BE-5338A8CAC415}"/>
                </a:ext>
              </a:extLst>
            </p:cNvPr>
            <p:cNvSpPr/>
            <p:nvPr/>
          </p:nvSpPr>
          <p:spPr>
            <a:xfrm rot="8716295">
              <a:off x="2107141" y="73528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9" name="Forme libre : forme 158">
              <a:extLst>
                <a:ext uri="{FF2B5EF4-FFF2-40B4-BE49-F238E27FC236}">
                  <a16:creationId xmlns:a16="http://schemas.microsoft.com/office/drawing/2014/main" id="{A4125EC0-3011-4C53-83B6-DD287160F4E7}"/>
                </a:ext>
              </a:extLst>
            </p:cNvPr>
            <p:cNvSpPr/>
            <p:nvPr/>
          </p:nvSpPr>
          <p:spPr>
            <a:xfrm rot="8716295">
              <a:off x="2242282" y="832029"/>
              <a:ext cx="282003" cy="313470"/>
            </a:xfrm>
            <a:custGeom>
              <a:avLst/>
              <a:gdLst>
                <a:gd name="connsiteX0" fmla="*/ 188208 w 282003"/>
                <a:gd name="connsiteY0" fmla="*/ 99785 h 313470"/>
                <a:gd name="connsiteX1" fmla="*/ 188208 w 282003"/>
                <a:gd name="connsiteY1" fmla="*/ 85923 h 313470"/>
                <a:gd name="connsiteX2" fmla="*/ 259276 w 282003"/>
                <a:gd name="connsiteY2" fmla="*/ 0 h 313470"/>
                <a:gd name="connsiteX3" fmla="*/ 274211 w 282003"/>
                <a:gd name="connsiteY3" fmla="*/ 28123 h 313470"/>
                <a:gd name="connsiteX4" fmla="*/ 282003 w 282003"/>
                <a:gd name="connsiteY4" fmla="*/ 85301 h 313470"/>
                <a:gd name="connsiteX5" fmla="*/ 282002 w 282003"/>
                <a:gd name="connsiteY5" fmla="*/ 94267 h 313470"/>
                <a:gd name="connsiteX6" fmla="*/ 0 w 282003"/>
                <a:gd name="connsiteY6" fmla="*/ 313470 h 313470"/>
                <a:gd name="connsiteX7" fmla="*/ 56482 w 282003"/>
                <a:gd name="connsiteY7" fmla="*/ 245183 h 313470"/>
                <a:gd name="connsiteX8" fmla="*/ 56482 w 282003"/>
                <a:gd name="connsiteY8" fmla="*/ 274960 h 313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2003" h="313470">
                  <a:moveTo>
                    <a:pt x="188208" y="99785"/>
                  </a:moveTo>
                  <a:lnTo>
                    <a:pt x="188208" y="85923"/>
                  </a:lnTo>
                  <a:lnTo>
                    <a:pt x="259276" y="0"/>
                  </a:lnTo>
                  <a:lnTo>
                    <a:pt x="274211" y="28123"/>
                  </a:lnTo>
                  <a:cubicBezTo>
                    <a:pt x="279330" y="44783"/>
                    <a:pt x="282002" y="63922"/>
                    <a:pt x="282003" y="85301"/>
                  </a:cubicBezTo>
                  <a:lnTo>
                    <a:pt x="282002" y="94267"/>
                  </a:lnTo>
                  <a:close/>
                  <a:moveTo>
                    <a:pt x="0" y="313470"/>
                  </a:moveTo>
                  <a:lnTo>
                    <a:pt x="56482" y="245183"/>
                  </a:lnTo>
                  <a:lnTo>
                    <a:pt x="56482" y="2749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0" name="Forme libre : forme 159">
              <a:extLst>
                <a:ext uri="{FF2B5EF4-FFF2-40B4-BE49-F238E27FC236}">
                  <a16:creationId xmlns:a16="http://schemas.microsoft.com/office/drawing/2014/main" id="{FF9B0781-A82C-47AF-AC1C-21015974FDE2}"/>
                </a:ext>
              </a:extLst>
            </p:cNvPr>
            <p:cNvSpPr/>
            <p:nvPr/>
          </p:nvSpPr>
          <p:spPr>
            <a:xfrm rot="8716295">
              <a:off x="2174558" y="64895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1" name="Forme libre : forme 160">
              <a:extLst>
                <a:ext uri="{FF2B5EF4-FFF2-40B4-BE49-F238E27FC236}">
                  <a16:creationId xmlns:a16="http://schemas.microsoft.com/office/drawing/2014/main" id="{E647964A-EFA4-4875-8CBA-E79FD37F80FD}"/>
                </a:ext>
              </a:extLst>
            </p:cNvPr>
            <p:cNvSpPr/>
            <p:nvPr/>
          </p:nvSpPr>
          <p:spPr>
            <a:xfrm rot="8716295">
              <a:off x="1937270" y="86929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2" name="Forme libre : forme 161">
              <a:extLst>
                <a:ext uri="{FF2B5EF4-FFF2-40B4-BE49-F238E27FC236}">
                  <a16:creationId xmlns:a16="http://schemas.microsoft.com/office/drawing/2014/main" id="{92A84223-E9E1-4AA2-A477-395EEFC832F2}"/>
                </a:ext>
              </a:extLst>
            </p:cNvPr>
            <p:cNvSpPr/>
            <p:nvPr/>
          </p:nvSpPr>
          <p:spPr>
            <a:xfrm rot="8716295">
              <a:off x="1748224" y="55346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3" name="Forme libre : forme 162">
              <a:extLst>
                <a:ext uri="{FF2B5EF4-FFF2-40B4-BE49-F238E27FC236}">
                  <a16:creationId xmlns:a16="http://schemas.microsoft.com/office/drawing/2014/main" id="{25B16338-FDD7-4AA6-9D09-5C2DE296D9CE}"/>
                </a:ext>
              </a:extLst>
            </p:cNvPr>
            <p:cNvSpPr/>
            <p:nvPr/>
          </p:nvSpPr>
          <p:spPr>
            <a:xfrm rot="8716295">
              <a:off x="1729983" y="34341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4" name="Forme libre : forme 163">
              <a:extLst>
                <a:ext uri="{FF2B5EF4-FFF2-40B4-BE49-F238E27FC236}">
                  <a16:creationId xmlns:a16="http://schemas.microsoft.com/office/drawing/2014/main" id="{FD37B6C0-63BE-47FD-9D48-08E0F916E511}"/>
                </a:ext>
              </a:extLst>
            </p:cNvPr>
            <p:cNvSpPr/>
            <p:nvPr/>
          </p:nvSpPr>
          <p:spPr>
            <a:xfrm rot="8716295">
              <a:off x="2073759" y="93127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5" name="Forme libre : forme 164">
              <a:extLst>
                <a:ext uri="{FF2B5EF4-FFF2-40B4-BE49-F238E27FC236}">
                  <a16:creationId xmlns:a16="http://schemas.microsoft.com/office/drawing/2014/main" id="{93F06371-0361-4141-BEE3-CC9849B020E6}"/>
                </a:ext>
              </a:extLst>
            </p:cNvPr>
            <p:cNvSpPr/>
            <p:nvPr/>
          </p:nvSpPr>
          <p:spPr>
            <a:xfrm rot="8716295">
              <a:off x="2367873" y="489398"/>
              <a:ext cx="81526" cy="84395"/>
            </a:xfrm>
            <a:custGeom>
              <a:avLst/>
              <a:gdLst>
                <a:gd name="connsiteX0" fmla="*/ 6524 w 81526"/>
                <a:gd name="connsiteY0" fmla="*/ 71981 h 84395"/>
                <a:gd name="connsiteX1" fmla="*/ 0 w 81526"/>
                <a:gd name="connsiteY1" fmla="*/ 56529 h 84395"/>
                <a:gd name="connsiteX2" fmla="*/ 46756 w 81526"/>
                <a:gd name="connsiteY2" fmla="*/ 0 h 84395"/>
                <a:gd name="connsiteX3" fmla="*/ 68595 w 81526"/>
                <a:gd name="connsiteY3" fmla="*/ 9221 h 84395"/>
                <a:gd name="connsiteX4" fmla="*/ 68595 w 81526"/>
                <a:gd name="connsiteY4" fmla="*/ 71292 h 84395"/>
                <a:gd name="connsiteX5" fmla="*/ 37559 w 81526"/>
                <a:gd name="connsiteY5" fmla="*/ 84395 h 84395"/>
                <a:gd name="connsiteX6" fmla="*/ 6524 w 81526"/>
                <a:gd name="connsiteY6" fmla="*/ 71981 h 84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526" h="84395">
                  <a:moveTo>
                    <a:pt x="6524" y="71981"/>
                  </a:moveTo>
                  <a:lnTo>
                    <a:pt x="0" y="56529"/>
                  </a:lnTo>
                  <a:lnTo>
                    <a:pt x="46756" y="0"/>
                  </a:lnTo>
                  <a:lnTo>
                    <a:pt x="68595" y="9221"/>
                  </a:lnTo>
                  <a:cubicBezTo>
                    <a:pt x="85837" y="25773"/>
                    <a:pt x="85836" y="54050"/>
                    <a:pt x="68595" y="71292"/>
                  </a:cubicBezTo>
                  <a:cubicBezTo>
                    <a:pt x="60319" y="79568"/>
                    <a:pt x="49284" y="84395"/>
                    <a:pt x="37559" y="84395"/>
                  </a:cubicBezTo>
                  <a:cubicBezTo>
                    <a:pt x="25835" y="84395"/>
                    <a:pt x="14800" y="80257"/>
                    <a:pt x="6524" y="7198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6" name="Forme libre : forme 165">
              <a:extLst>
                <a:ext uri="{FF2B5EF4-FFF2-40B4-BE49-F238E27FC236}">
                  <a16:creationId xmlns:a16="http://schemas.microsoft.com/office/drawing/2014/main" id="{5196C23A-E9EE-4BB5-B0E6-FCA193386C5B}"/>
                </a:ext>
              </a:extLst>
            </p:cNvPr>
            <p:cNvSpPr/>
            <p:nvPr/>
          </p:nvSpPr>
          <p:spPr>
            <a:xfrm rot="8716295">
              <a:off x="2184146" y="191304"/>
              <a:ext cx="250306" cy="296463"/>
            </a:xfrm>
            <a:custGeom>
              <a:avLst/>
              <a:gdLst>
                <a:gd name="connsiteX0" fmla="*/ 79067 w 250306"/>
                <a:gd name="connsiteY0" fmla="*/ 296463 h 296463"/>
                <a:gd name="connsiteX1" fmla="*/ 14192 w 250306"/>
                <a:gd name="connsiteY1" fmla="*/ 175766 h 296463"/>
                <a:gd name="connsiteX2" fmla="*/ 47384 w 250306"/>
                <a:gd name="connsiteY2" fmla="*/ 83734 h 296463"/>
                <a:gd name="connsiteX3" fmla="*/ 0 w 250306"/>
                <a:gd name="connsiteY3" fmla="*/ 83734 h 296463"/>
                <a:gd name="connsiteX4" fmla="*/ 69257 w 250306"/>
                <a:gd name="connsiteY4" fmla="*/ 0 h 296463"/>
                <a:gd name="connsiteX5" fmla="*/ 250306 w 250306"/>
                <a:gd name="connsiteY5" fmla="*/ 0 h 296463"/>
                <a:gd name="connsiteX6" fmla="*/ 250306 w 250306"/>
                <a:gd name="connsiteY6" fmla="*/ 83734 h 296463"/>
                <a:gd name="connsiteX7" fmla="*/ 152239 w 250306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0306" h="296463">
                  <a:moveTo>
                    <a:pt x="79067" y="296463"/>
                  </a:moveTo>
                  <a:lnTo>
                    <a:pt x="14192" y="175766"/>
                  </a:lnTo>
                  <a:lnTo>
                    <a:pt x="47384" y="83734"/>
                  </a:lnTo>
                  <a:lnTo>
                    <a:pt x="0" y="83734"/>
                  </a:lnTo>
                  <a:lnTo>
                    <a:pt x="69257" y="0"/>
                  </a:lnTo>
                  <a:lnTo>
                    <a:pt x="250306" y="0"/>
                  </a:lnTo>
                  <a:lnTo>
                    <a:pt x="250306" y="83734"/>
                  </a:lnTo>
                  <a:lnTo>
                    <a:pt x="152239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7" name="Forme libre : forme 166">
              <a:extLst>
                <a:ext uri="{FF2B5EF4-FFF2-40B4-BE49-F238E27FC236}">
                  <a16:creationId xmlns:a16="http://schemas.microsoft.com/office/drawing/2014/main" id="{AF8BB132-EA68-41A8-B3E5-2FCCBDEB7D5A}"/>
                </a:ext>
              </a:extLst>
            </p:cNvPr>
            <p:cNvSpPr/>
            <p:nvPr/>
          </p:nvSpPr>
          <p:spPr>
            <a:xfrm rot="8716295">
              <a:off x="2145876" y="32623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8" name="Forme libre : forme 167">
              <a:extLst>
                <a:ext uri="{FF2B5EF4-FFF2-40B4-BE49-F238E27FC236}">
                  <a16:creationId xmlns:a16="http://schemas.microsoft.com/office/drawing/2014/main" id="{0C891817-7BA1-4E19-A5B6-7030FDA5B7F1}"/>
                </a:ext>
              </a:extLst>
            </p:cNvPr>
            <p:cNvSpPr/>
            <p:nvPr/>
          </p:nvSpPr>
          <p:spPr>
            <a:xfrm rot="8716295">
              <a:off x="1834766" y="-57684"/>
              <a:ext cx="186564" cy="129320"/>
            </a:xfrm>
            <a:custGeom>
              <a:avLst/>
              <a:gdLst>
                <a:gd name="connsiteX0" fmla="*/ 123263 w 123263"/>
                <a:gd name="connsiteY0" fmla="*/ 85442 h 85442"/>
                <a:gd name="connsiteX1" fmla="*/ 0 w 123263"/>
                <a:gd name="connsiteY1" fmla="*/ 0 h 85442"/>
                <a:gd name="connsiteX2" fmla="*/ 66305 w 123263"/>
                <a:gd name="connsiteY2" fmla="*/ 0 h 85442"/>
                <a:gd name="connsiteX3" fmla="*/ 123263 w 123263"/>
                <a:gd name="connsiteY3" fmla="*/ 50123 h 85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63" h="85442">
                  <a:moveTo>
                    <a:pt x="123263" y="85442"/>
                  </a:moveTo>
                  <a:lnTo>
                    <a:pt x="0" y="0"/>
                  </a:lnTo>
                  <a:lnTo>
                    <a:pt x="66305" y="0"/>
                  </a:lnTo>
                  <a:cubicBezTo>
                    <a:pt x="103214" y="0"/>
                    <a:pt x="123263" y="15948"/>
                    <a:pt x="123263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9" name="Forme libre : forme 168">
              <a:extLst>
                <a:ext uri="{FF2B5EF4-FFF2-40B4-BE49-F238E27FC236}">
                  <a16:creationId xmlns:a16="http://schemas.microsoft.com/office/drawing/2014/main" id="{4406013B-1E43-4380-98C9-594C282D12B3}"/>
                </a:ext>
              </a:extLst>
            </p:cNvPr>
            <p:cNvSpPr/>
            <p:nvPr/>
          </p:nvSpPr>
          <p:spPr>
            <a:xfrm rot="8716295">
              <a:off x="1969949" y="-13794"/>
              <a:ext cx="394488" cy="148365"/>
            </a:xfrm>
            <a:custGeom>
              <a:avLst/>
              <a:gdLst>
                <a:gd name="connsiteX0" fmla="*/ 104802 w 260639"/>
                <a:gd name="connsiteY0" fmla="*/ 74264 h 98025"/>
                <a:gd name="connsiteX1" fmla="*/ 0 w 260639"/>
                <a:gd name="connsiteY1" fmla="*/ 1618 h 98025"/>
                <a:gd name="connsiteX2" fmla="*/ 0 w 260639"/>
                <a:gd name="connsiteY2" fmla="*/ 1425 h 98025"/>
                <a:gd name="connsiteX3" fmla="*/ 104803 w 260639"/>
                <a:gd name="connsiteY3" fmla="*/ 1425 h 98025"/>
                <a:gd name="connsiteX4" fmla="*/ 122123 w 260639"/>
                <a:gd name="connsiteY4" fmla="*/ 86270 h 98025"/>
                <a:gd name="connsiteX5" fmla="*/ 106178 w 260639"/>
                <a:gd name="connsiteY5" fmla="*/ 75218 h 98025"/>
                <a:gd name="connsiteX6" fmla="*/ 116721 w 260639"/>
                <a:gd name="connsiteY6" fmla="*/ 47439 h 98025"/>
                <a:gd name="connsiteX7" fmla="*/ 154014 w 260639"/>
                <a:gd name="connsiteY7" fmla="*/ 5981 h 98025"/>
                <a:gd name="connsiteX8" fmla="*/ 185455 w 260639"/>
                <a:gd name="connsiteY8" fmla="*/ 57 h 98025"/>
                <a:gd name="connsiteX9" fmla="*/ 260639 w 260639"/>
                <a:gd name="connsiteY9" fmla="*/ 88456 h 98025"/>
                <a:gd name="connsiteX10" fmla="*/ 260639 w 260639"/>
                <a:gd name="connsiteY10" fmla="*/ 94380 h 98025"/>
                <a:gd name="connsiteX11" fmla="*/ 198669 w 260639"/>
                <a:gd name="connsiteY11" fmla="*/ 98025 h 98025"/>
                <a:gd name="connsiteX12" fmla="*/ 198669 w 260639"/>
                <a:gd name="connsiteY12" fmla="*/ 81621 h 98025"/>
                <a:gd name="connsiteX13" fmla="*/ 164950 w 260639"/>
                <a:gd name="connsiteY13" fmla="*/ 40156 h 98025"/>
                <a:gd name="connsiteX14" fmla="*/ 127358 w 260639"/>
                <a:gd name="connsiteY14" fmla="*/ 65616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60639" h="98025">
                  <a:moveTo>
                    <a:pt x="104802" y="74264"/>
                  </a:moveTo>
                  <a:lnTo>
                    <a:pt x="0" y="1618"/>
                  </a:lnTo>
                  <a:lnTo>
                    <a:pt x="0" y="1425"/>
                  </a:lnTo>
                  <a:lnTo>
                    <a:pt x="104803" y="1425"/>
                  </a:lnTo>
                  <a:close/>
                  <a:moveTo>
                    <a:pt x="122123" y="86270"/>
                  </a:moveTo>
                  <a:lnTo>
                    <a:pt x="106178" y="75218"/>
                  </a:lnTo>
                  <a:lnTo>
                    <a:pt x="116721" y="47439"/>
                  </a:lnTo>
                  <a:cubicBezTo>
                    <a:pt x="127102" y="24008"/>
                    <a:pt x="137610" y="12816"/>
                    <a:pt x="154014" y="5981"/>
                  </a:cubicBezTo>
                  <a:cubicBezTo>
                    <a:pt x="164038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50369" y="40156"/>
                    <a:pt x="137041" y="49839"/>
                    <a:pt x="127358" y="656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0" name="Forme libre : forme 169">
              <a:extLst>
                <a:ext uri="{FF2B5EF4-FFF2-40B4-BE49-F238E27FC236}">
                  <a16:creationId xmlns:a16="http://schemas.microsoft.com/office/drawing/2014/main" id="{697ACF89-8E3E-4CA4-96AD-ED3067ABB920}"/>
                </a:ext>
              </a:extLst>
            </p:cNvPr>
            <p:cNvSpPr/>
            <p:nvPr/>
          </p:nvSpPr>
          <p:spPr>
            <a:xfrm rot="8716295">
              <a:off x="1736738" y="-7282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1" name="Forme libre : forme 170">
              <a:extLst>
                <a:ext uri="{FF2B5EF4-FFF2-40B4-BE49-F238E27FC236}">
                  <a16:creationId xmlns:a16="http://schemas.microsoft.com/office/drawing/2014/main" id="{914F8714-5CD4-41D2-92D2-73A622448BB2}"/>
                </a:ext>
              </a:extLst>
            </p:cNvPr>
            <p:cNvSpPr/>
            <p:nvPr/>
          </p:nvSpPr>
          <p:spPr>
            <a:xfrm rot="7484129">
              <a:off x="2394733" y="32841"/>
              <a:ext cx="135077" cy="94074"/>
            </a:xfrm>
            <a:custGeom>
              <a:avLst/>
              <a:gdLst>
                <a:gd name="connsiteX0" fmla="*/ 100725 w 135077"/>
                <a:gd name="connsiteY0" fmla="*/ 19729 h 94074"/>
                <a:gd name="connsiteX1" fmla="*/ 135077 w 135077"/>
                <a:gd name="connsiteY1" fmla="*/ 0 h 94074"/>
                <a:gd name="connsiteX2" fmla="*/ 135077 w 135077"/>
                <a:gd name="connsiteY2" fmla="*/ 19729 h 94074"/>
                <a:gd name="connsiteX3" fmla="*/ 0 w 135077"/>
                <a:gd name="connsiteY3" fmla="*/ 77576 h 94074"/>
                <a:gd name="connsiteX4" fmla="*/ 21327 w 135077"/>
                <a:gd name="connsiteY4" fmla="*/ 65328 h 94074"/>
                <a:gd name="connsiteX5" fmla="*/ 11439 w 135077"/>
                <a:gd name="connsiteY5" fmla="*/ 94074 h 94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5077" h="94074">
                  <a:moveTo>
                    <a:pt x="100725" y="19729"/>
                  </a:moveTo>
                  <a:lnTo>
                    <a:pt x="135077" y="0"/>
                  </a:lnTo>
                  <a:lnTo>
                    <a:pt x="135077" y="19729"/>
                  </a:lnTo>
                  <a:close/>
                  <a:moveTo>
                    <a:pt x="0" y="77576"/>
                  </a:moveTo>
                  <a:lnTo>
                    <a:pt x="21327" y="65328"/>
                  </a:lnTo>
                  <a:lnTo>
                    <a:pt x="11439" y="940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pic>
        <p:nvPicPr>
          <p:cNvPr id="172" name="Graphique 171">
            <a:extLst>
              <a:ext uri="{FF2B5EF4-FFF2-40B4-BE49-F238E27FC236}">
                <a16:creationId xmlns:a16="http://schemas.microsoft.com/office/drawing/2014/main" id="{EEB7B645-2A8D-4396-ACBA-9D90A74761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9935" y="2052251"/>
            <a:ext cx="3474258" cy="103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3984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ayures / Texte +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que 1">
            <a:extLst>
              <a:ext uri="{FF2B5EF4-FFF2-40B4-BE49-F238E27FC236}">
                <a16:creationId xmlns:a16="http://schemas.microsoft.com/office/drawing/2014/main" id="{66D8F75D-5A38-42AF-8BDE-EAA8F19867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3416312" cy="5143500"/>
          </a:xfrm>
          <a:prstGeom prst="rect">
            <a:avLst/>
          </a:prstGeom>
        </p:spPr>
      </p:pic>
      <p:sp>
        <p:nvSpPr>
          <p:cNvPr id="521" name="Espace réservé pour une image  520">
            <a:extLst>
              <a:ext uri="{FF2B5EF4-FFF2-40B4-BE49-F238E27FC236}">
                <a16:creationId xmlns:a16="http://schemas.microsoft.com/office/drawing/2014/main" id="{B8DAB854-64EB-4DD7-A364-5485ED453A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246551" y="-1"/>
            <a:ext cx="5897449" cy="5143501"/>
          </a:xfrm>
          <a:custGeom>
            <a:avLst/>
            <a:gdLst>
              <a:gd name="connsiteX0" fmla="*/ 0 w 6088062"/>
              <a:gd name="connsiteY0" fmla="*/ 0 h 5143501"/>
              <a:gd name="connsiteX1" fmla="*/ 6088062 w 6088062"/>
              <a:gd name="connsiteY1" fmla="*/ 0 h 5143501"/>
              <a:gd name="connsiteX2" fmla="*/ 6088062 w 6088062"/>
              <a:gd name="connsiteY2" fmla="*/ 5143501 h 5143501"/>
              <a:gd name="connsiteX3" fmla="*/ 511764 w 6088062"/>
              <a:gd name="connsiteY3" fmla="*/ 5143501 h 5143501"/>
              <a:gd name="connsiteX4" fmla="*/ 190613 w 6088062"/>
              <a:gd name="connsiteY4" fmla="*/ 2811363 h 5143501"/>
              <a:gd name="connsiteX5" fmla="*/ 429964 w 6088062"/>
              <a:gd name="connsiteY5" fmla="*/ 1 h 5143501"/>
              <a:gd name="connsiteX6" fmla="*/ 0 w 6088062"/>
              <a:gd name="connsiteY6" fmla="*/ 1 h 5143501"/>
              <a:gd name="connsiteX0" fmla="*/ 0 w 6088062"/>
              <a:gd name="connsiteY0" fmla="*/ 1 h 5143501"/>
              <a:gd name="connsiteX1" fmla="*/ 6088062 w 6088062"/>
              <a:gd name="connsiteY1" fmla="*/ 0 h 5143501"/>
              <a:gd name="connsiteX2" fmla="*/ 6088062 w 6088062"/>
              <a:gd name="connsiteY2" fmla="*/ 5143501 h 5143501"/>
              <a:gd name="connsiteX3" fmla="*/ 511764 w 6088062"/>
              <a:gd name="connsiteY3" fmla="*/ 5143501 h 5143501"/>
              <a:gd name="connsiteX4" fmla="*/ 190613 w 6088062"/>
              <a:gd name="connsiteY4" fmla="*/ 2811363 h 5143501"/>
              <a:gd name="connsiteX5" fmla="*/ 429964 w 6088062"/>
              <a:gd name="connsiteY5" fmla="*/ 1 h 5143501"/>
              <a:gd name="connsiteX6" fmla="*/ 0 w 6088062"/>
              <a:gd name="connsiteY6" fmla="*/ 1 h 5143501"/>
              <a:gd name="connsiteX0" fmla="*/ 239351 w 5897449"/>
              <a:gd name="connsiteY0" fmla="*/ 1 h 5143501"/>
              <a:gd name="connsiteX1" fmla="*/ 5897449 w 5897449"/>
              <a:gd name="connsiteY1" fmla="*/ 0 h 5143501"/>
              <a:gd name="connsiteX2" fmla="*/ 5897449 w 5897449"/>
              <a:gd name="connsiteY2" fmla="*/ 5143501 h 5143501"/>
              <a:gd name="connsiteX3" fmla="*/ 321151 w 5897449"/>
              <a:gd name="connsiteY3" fmla="*/ 5143501 h 5143501"/>
              <a:gd name="connsiteX4" fmla="*/ 0 w 5897449"/>
              <a:gd name="connsiteY4" fmla="*/ 2811363 h 5143501"/>
              <a:gd name="connsiteX5" fmla="*/ 239351 w 5897449"/>
              <a:gd name="connsiteY5" fmla="*/ 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97449" h="5143501">
                <a:moveTo>
                  <a:pt x="239351" y="1"/>
                </a:moveTo>
                <a:lnTo>
                  <a:pt x="5897449" y="0"/>
                </a:lnTo>
                <a:lnTo>
                  <a:pt x="5897449" y="5143501"/>
                </a:lnTo>
                <a:lnTo>
                  <a:pt x="321151" y="5143501"/>
                </a:lnTo>
                <a:lnTo>
                  <a:pt x="0" y="2811363"/>
                </a:lnTo>
                <a:lnTo>
                  <a:pt x="239351" y="1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528" name="Espace réservé du texte 527">
            <a:extLst>
              <a:ext uri="{FF2B5EF4-FFF2-40B4-BE49-F238E27FC236}">
                <a16:creationId xmlns:a16="http://schemas.microsoft.com/office/drawing/2014/main" id="{6A8E0876-8CB4-4156-A0C1-0BC7361D1C40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429470" y="3802408"/>
            <a:ext cx="108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29" name="Espace réservé du texte 528">
            <a:extLst>
              <a:ext uri="{FF2B5EF4-FFF2-40B4-BE49-F238E27FC236}">
                <a16:creationId xmlns:a16="http://schemas.microsoft.com/office/drawing/2014/main" id="{20C5F896-3CE3-44F8-B5B2-F667F9101641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1512561" y="3802408"/>
            <a:ext cx="108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31" name="Espace réservé du texte 530">
            <a:extLst>
              <a:ext uri="{FF2B5EF4-FFF2-40B4-BE49-F238E27FC236}">
                <a16:creationId xmlns:a16="http://schemas.microsoft.com/office/drawing/2014/main" id="{70ADA97F-36B2-42A5-9506-18C5EA9C6E0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3993" y="482179"/>
            <a:ext cx="2495932" cy="302805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24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3pPr>
            <a:lvl4pPr marL="0" indent="0">
              <a:buNone/>
              <a:defRPr sz="1000">
                <a:solidFill>
                  <a:schemeClr val="bg1"/>
                </a:solidFill>
              </a:defRPr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Niveau 2</a:t>
            </a:r>
          </a:p>
          <a:p>
            <a:pPr lvl="2"/>
            <a:r>
              <a:rPr lang="fr-FR" dirty="0"/>
              <a:t>Niveau 3</a:t>
            </a:r>
          </a:p>
          <a:p>
            <a:pPr lvl="3"/>
            <a:r>
              <a:rPr lang="fr-FR" dirty="0"/>
              <a:t>Niveau 4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29405B57-1CDE-4EE7-A0BA-3013851436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48000" y="2811362"/>
            <a:ext cx="519702" cy="2332138"/>
          </a:xfrm>
          <a:custGeom>
            <a:avLst/>
            <a:gdLst>
              <a:gd name="connsiteX0" fmla="*/ 198551 w 519702"/>
              <a:gd name="connsiteY0" fmla="*/ 0 h 2332138"/>
              <a:gd name="connsiteX1" fmla="*/ 519702 w 519702"/>
              <a:gd name="connsiteY1" fmla="*/ 2332138 h 2332138"/>
              <a:gd name="connsiteX2" fmla="*/ 0 w 519702"/>
              <a:gd name="connsiteY2" fmla="*/ 2332138 h 2332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19702" h="2332138">
                <a:moveTo>
                  <a:pt x="198551" y="0"/>
                </a:moveTo>
                <a:lnTo>
                  <a:pt x="519702" y="2332138"/>
                </a:lnTo>
                <a:lnTo>
                  <a:pt x="0" y="233213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180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694993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&amp; Réseaux sociaux - Fond foncé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Rectangle 123">
            <a:hlinkClick r:id="rId2"/>
            <a:extLst>
              <a:ext uri="{FF2B5EF4-FFF2-40B4-BE49-F238E27FC236}">
                <a16:creationId xmlns:a16="http://schemas.microsoft.com/office/drawing/2014/main" id="{35F4AE06-723F-4907-A0C1-25C2A55668EF}"/>
              </a:ext>
            </a:extLst>
          </p:cNvPr>
          <p:cNvSpPr/>
          <p:nvPr userDrawn="1"/>
        </p:nvSpPr>
        <p:spPr>
          <a:xfrm>
            <a:off x="3294590" y="1121624"/>
            <a:ext cx="90922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schemeClr val="bg1"/>
                </a:solidFill>
              </a:rPr>
              <a:t>@</a:t>
            </a:r>
            <a:r>
              <a:rPr lang="fr-FR" sz="800" dirty="0" err="1">
                <a:solidFill>
                  <a:schemeClr val="bg1"/>
                </a:solidFill>
              </a:rPr>
              <a:t>univbordeaux</a:t>
            </a:r>
            <a:endParaRPr lang="fr-FR" sz="800" dirty="0">
              <a:solidFill>
                <a:schemeClr val="bg1"/>
              </a:solidFill>
            </a:endParaRPr>
          </a:p>
        </p:txBody>
      </p:sp>
      <p:pic>
        <p:nvPicPr>
          <p:cNvPr id="125" name="Graphique 124">
            <a:hlinkClick r:id="rId2"/>
            <a:extLst>
              <a:ext uri="{FF2B5EF4-FFF2-40B4-BE49-F238E27FC236}">
                <a16:creationId xmlns:a16="http://schemas.microsoft.com/office/drawing/2014/main" id="{C6FD32D5-7851-419E-B042-2C17E6452CA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69202" y="702273"/>
            <a:ext cx="360000" cy="360000"/>
          </a:xfrm>
          <a:prstGeom prst="rect">
            <a:avLst/>
          </a:prstGeom>
        </p:spPr>
      </p:pic>
      <p:pic>
        <p:nvPicPr>
          <p:cNvPr id="126" name="Graphique 125">
            <a:hlinkClick r:id="rId5"/>
            <a:extLst>
              <a:ext uri="{FF2B5EF4-FFF2-40B4-BE49-F238E27FC236}">
                <a16:creationId xmlns:a16="http://schemas.microsoft.com/office/drawing/2014/main" id="{AC4BA783-078F-4C6E-BE4E-E143E9F636D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894972" y="702273"/>
            <a:ext cx="360000" cy="360000"/>
          </a:xfrm>
          <a:prstGeom prst="rect">
            <a:avLst/>
          </a:prstGeom>
        </p:spPr>
      </p:pic>
      <p:sp>
        <p:nvSpPr>
          <p:cNvPr id="127" name="Rectangle 126">
            <a:hlinkClick r:id="rId5"/>
            <a:extLst>
              <a:ext uri="{FF2B5EF4-FFF2-40B4-BE49-F238E27FC236}">
                <a16:creationId xmlns:a16="http://schemas.microsoft.com/office/drawing/2014/main" id="{0DEFADA8-A00E-42F6-AAA8-08025CB38A01}"/>
              </a:ext>
            </a:extLst>
          </p:cNvPr>
          <p:cNvSpPr/>
          <p:nvPr userDrawn="1"/>
        </p:nvSpPr>
        <p:spPr>
          <a:xfrm>
            <a:off x="6620360" y="1121624"/>
            <a:ext cx="90922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schemeClr val="bg1"/>
                </a:solidFill>
              </a:rPr>
              <a:t>@</a:t>
            </a:r>
            <a:r>
              <a:rPr lang="fr-FR" sz="800" dirty="0" err="1">
                <a:solidFill>
                  <a:schemeClr val="bg1"/>
                </a:solidFill>
              </a:rPr>
              <a:t>univbordeaux</a:t>
            </a:r>
            <a:endParaRPr lang="fr-FR" sz="800" dirty="0">
              <a:solidFill>
                <a:schemeClr val="bg1"/>
              </a:solidFill>
            </a:endParaRPr>
          </a:p>
        </p:txBody>
      </p:sp>
      <p:sp>
        <p:nvSpPr>
          <p:cNvPr id="128" name="Rectangle 127">
            <a:hlinkClick r:id="rId8"/>
            <a:extLst>
              <a:ext uri="{FF2B5EF4-FFF2-40B4-BE49-F238E27FC236}">
                <a16:creationId xmlns:a16="http://schemas.microsoft.com/office/drawing/2014/main" id="{43060483-BA3F-4429-9DB5-CBA75DDBC66C}"/>
              </a:ext>
            </a:extLst>
          </p:cNvPr>
          <p:cNvSpPr/>
          <p:nvPr userDrawn="1"/>
        </p:nvSpPr>
        <p:spPr>
          <a:xfrm>
            <a:off x="2277866" y="2154670"/>
            <a:ext cx="127631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schemeClr val="bg1"/>
                </a:solidFill>
              </a:rPr>
              <a:t>@</a:t>
            </a:r>
            <a:r>
              <a:rPr lang="fr-FR" sz="800" dirty="0" err="1">
                <a:solidFill>
                  <a:schemeClr val="bg1"/>
                </a:solidFill>
              </a:rPr>
              <a:t>universitedebordeaux</a:t>
            </a:r>
            <a:endParaRPr lang="fr-FR" sz="800" dirty="0">
              <a:solidFill>
                <a:schemeClr val="bg1"/>
              </a:solidFill>
            </a:endParaRPr>
          </a:p>
        </p:txBody>
      </p:sp>
      <p:pic>
        <p:nvPicPr>
          <p:cNvPr id="129" name="Graphique 128">
            <a:hlinkClick r:id="rId8"/>
            <a:extLst>
              <a:ext uri="{FF2B5EF4-FFF2-40B4-BE49-F238E27FC236}">
                <a16:creationId xmlns:a16="http://schemas.microsoft.com/office/drawing/2014/main" id="{64F997C0-D043-4AC6-968A-B1C30BBB2282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736022" y="1735319"/>
            <a:ext cx="360000" cy="360000"/>
          </a:xfrm>
          <a:prstGeom prst="rect">
            <a:avLst/>
          </a:prstGeom>
        </p:spPr>
      </p:pic>
      <p:pic>
        <p:nvPicPr>
          <p:cNvPr id="130" name="Graphique 129">
            <a:hlinkClick r:id="rId11"/>
            <a:extLst>
              <a:ext uri="{FF2B5EF4-FFF2-40B4-BE49-F238E27FC236}">
                <a16:creationId xmlns:a16="http://schemas.microsoft.com/office/drawing/2014/main" id="{83FCBC0C-46CD-4319-932E-4A574B930242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232820" y="702273"/>
            <a:ext cx="360000" cy="360000"/>
          </a:xfrm>
          <a:prstGeom prst="rect">
            <a:avLst/>
          </a:prstGeom>
        </p:spPr>
      </p:pic>
      <p:pic>
        <p:nvPicPr>
          <p:cNvPr id="131" name="Graphique 130">
            <a:hlinkClick r:id="rId14"/>
            <a:extLst>
              <a:ext uri="{FF2B5EF4-FFF2-40B4-BE49-F238E27FC236}">
                <a16:creationId xmlns:a16="http://schemas.microsoft.com/office/drawing/2014/main" id="{1819CD89-E770-4FC4-A88B-BD521AE63294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904363" y="702273"/>
            <a:ext cx="360000" cy="360000"/>
          </a:xfrm>
          <a:prstGeom prst="rect">
            <a:avLst/>
          </a:prstGeom>
        </p:spPr>
      </p:pic>
      <p:sp>
        <p:nvSpPr>
          <p:cNvPr id="132" name="Rectangle 131">
            <a:hlinkClick r:id="rId14"/>
            <a:extLst>
              <a:ext uri="{FF2B5EF4-FFF2-40B4-BE49-F238E27FC236}">
                <a16:creationId xmlns:a16="http://schemas.microsoft.com/office/drawing/2014/main" id="{FD3B5232-D5E9-44F0-9C33-33247F54B052}"/>
              </a:ext>
            </a:extLst>
          </p:cNvPr>
          <p:cNvSpPr/>
          <p:nvPr userDrawn="1"/>
        </p:nvSpPr>
        <p:spPr>
          <a:xfrm>
            <a:off x="1560019" y="1121624"/>
            <a:ext cx="104868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schemeClr val="bg1"/>
                </a:solidFill>
              </a:rPr>
              <a:t>www.u-bordeaux.fr</a:t>
            </a:r>
          </a:p>
        </p:txBody>
      </p:sp>
      <p:pic>
        <p:nvPicPr>
          <p:cNvPr id="133" name="Graphique 132">
            <a:hlinkClick r:id="rId17"/>
            <a:extLst>
              <a:ext uri="{FF2B5EF4-FFF2-40B4-BE49-F238E27FC236}">
                <a16:creationId xmlns:a16="http://schemas.microsoft.com/office/drawing/2014/main" id="{5E1444FE-01A7-45A1-BCDA-AF5DE3864777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060942" y="1735319"/>
            <a:ext cx="360000" cy="360000"/>
          </a:xfrm>
          <a:prstGeom prst="rect">
            <a:avLst/>
          </a:prstGeom>
        </p:spPr>
      </p:pic>
      <p:pic>
        <p:nvPicPr>
          <p:cNvPr id="134" name="Graphique 133">
            <a:extLst>
              <a:ext uri="{FF2B5EF4-FFF2-40B4-BE49-F238E27FC236}">
                <a16:creationId xmlns:a16="http://schemas.microsoft.com/office/drawing/2014/main" id="{AE8061E4-BB31-415B-8A63-EE72EEB79D9C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4400221" y="1735319"/>
            <a:ext cx="360000" cy="360000"/>
          </a:xfrm>
          <a:prstGeom prst="rect">
            <a:avLst/>
          </a:prstGeom>
        </p:spPr>
      </p:pic>
      <p:sp>
        <p:nvSpPr>
          <p:cNvPr id="135" name="Rectangle 134">
            <a:extLst>
              <a:ext uri="{FF2B5EF4-FFF2-40B4-BE49-F238E27FC236}">
                <a16:creationId xmlns:a16="http://schemas.microsoft.com/office/drawing/2014/main" id="{C8AD63C4-784A-4776-9B5D-FA8BD25ACF8C}"/>
              </a:ext>
            </a:extLst>
          </p:cNvPr>
          <p:cNvSpPr/>
          <p:nvPr userDrawn="1"/>
        </p:nvSpPr>
        <p:spPr>
          <a:xfrm>
            <a:off x="4029281" y="2154670"/>
            <a:ext cx="108876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schemeClr val="bg1"/>
                </a:solidFill>
              </a:rPr>
              <a:t>Appli mobile </a:t>
            </a:r>
            <a:r>
              <a:rPr lang="fr-FR" sz="800" dirty="0" err="1">
                <a:solidFill>
                  <a:schemeClr val="bg1"/>
                </a:solidFill>
              </a:rPr>
              <a:t>U&amp;me</a:t>
            </a:r>
            <a:endParaRPr lang="fr-FR" sz="800" dirty="0">
              <a:solidFill>
                <a:schemeClr val="bg1"/>
              </a:solidFill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26C582E0-BC44-4452-B431-ACC02FF3B9A7}"/>
              </a:ext>
            </a:extLst>
          </p:cNvPr>
          <p:cNvSpPr/>
          <p:nvPr userDrawn="1"/>
        </p:nvSpPr>
        <p:spPr>
          <a:xfrm>
            <a:off x="5780492" y="2154670"/>
            <a:ext cx="90922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schemeClr val="bg1"/>
                </a:solidFill>
              </a:rPr>
              <a:t>@</a:t>
            </a:r>
            <a:r>
              <a:rPr lang="fr-FR" sz="800" dirty="0" err="1">
                <a:solidFill>
                  <a:schemeClr val="bg1"/>
                </a:solidFill>
              </a:rPr>
              <a:t>univbordeaux</a:t>
            </a:r>
            <a:endParaRPr lang="fr-FR" sz="800" dirty="0">
              <a:solidFill>
                <a:schemeClr val="bg1"/>
              </a:solidFill>
            </a:endParaRPr>
          </a:p>
        </p:txBody>
      </p:sp>
      <p:sp>
        <p:nvSpPr>
          <p:cNvPr id="137" name="Rectangle 136">
            <a:hlinkClick r:id="rId11"/>
            <a:extLst>
              <a:ext uri="{FF2B5EF4-FFF2-40B4-BE49-F238E27FC236}">
                <a16:creationId xmlns:a16="http://schemas.microsoft.com/office/drawing/2014/main" id="{191CC0A6-AEB3-4CFD-B3D3-4BB18C95F655}"/>
              </a:ext>
            </a:extLst>
          </p:cNvPr>
          <p:cNvSpPr/>
          <p:nvPr userDrawn="1"/>
        </p:nvSpPr>
        <p:spPr>
          <a:xfrm>
            <a:off x="4774665" y="1121624"/>
            <a:ext cx="127631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schemeClr val="bg1"/>
                </a:solidFill>
              </a:rPr>
              <a:t>@</a:t>
            </a:r>
            <a:r>
              <a:rPr lang="fr-FR" sz="800" dirty="0" err="1">
                <a:solidFill>
                  <a:schemeClr val="bg1"/>
                </a:solidFill>
              </a:rPr>
              <a:t>universitedebordeaux</a:t>
            </a:r>
            <a:endParaRPr lang="fr-FR" sz="800" dirty="0">
              <a:solidFill>
                <a:schemeClr val="bg1"/>
              </a:solidFill>
            </a:endParaRPr>
          </a:p>
        </p:txBody>
      </p:sp>
      <p:pic>
        <p:nvPicPr>
          <p:cNvPr id="139" name="Graphique 138">
            <a:extLst>
              <a:ext uri="{FF2B5EF4-FFF2-40B4-BE49-F238E27FC236}">
                <a16:creationId xmlns:a16="http://schemas.microsoft.com/office/drawing/2014/main" id="{79773E20-FDC7-4245-9634-08A0DCC6FE2D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3242261" y="3601712"/>
            <a:ext cx="2659479" cy="793651"/>
          </a:xfrm>
          <a:prstGeom prst="rect">
            <a:avLst/>
          </a:prstGeom>
        </p:spPr>
      </p:pic>
      <p:sp>
        <p:nvSpPr>
          <p:cNvPr id="141" name="Espace réservé du texte 140">
            <a:extLst>
              <a:ext uri="{FF2B5EF4-FFF2-40B4-BE49-F238E27FC236}">
                <a16:creationId xmlns:a16="http://schemas.microsoft.com/office/drawing/2014/main" id="{EE880427-05D3-40E0-A2B2-744B3528ADE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4417" y="2973427"/>
            <a:ext cx="5915166" cy="31393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algn="ctr" defTabSz="457200">
              <a:buNone/>
              <a:defRPr lang="fr-FR" sz="1600" b="1" dirty="0" smtClean="0">
                <a:solidFill>
                  <a:schemeClr val="bg1"/>
                </a:solidFill>
              </a:defRPr>
            </a:lvl1pPr>
          </a:lstStyle>
          <a:p>
            <a:pPr marL="0" lvl="0" algn="ctr" defTabSz="457200"/>
            <a:r>
              <a:rPr lang="fr-FR" dirty="0"/>
              <a:t>Message / remerciement</a:t>
            </a:r>
          </a:p>
        </p:txBody>
      </p:sp>
      <p:sp>
        <p:nvSpPr>
          <p:cNvPr id="144" name="Espace réservé du texte 143">
            <a:extLst>
              <a:ext uri="{FF2B5EF4-FFF2-40B4-BE49-F238E27FC236}">
                <a16:creationId xmlns:a16="http://schemas.microsoft.com/office/drawing/2014/main" id="{C20905A2-6F02-47AA-AF2E-63158D48679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5689" y="1"/>
            <a:ext cx="457523" cy="2017735"/>
          </a:xfrm>
          <a:custGeom>
            <a:avLst/>
            <a:gdLst>
              <a:gd name="connsiteX0" fmla="*/ 0 w 457523"/>
              <a:gd name="connsiteY0" fmla="*/ 0 h 2017735"/>
              <a:gd name="connsiteX1" fmla="*/ 275802 w 457523"/>
              <a:gd name="connsiteY1" fmla="*/ 0 h 2017735"/>
              <a:gd name="connsiteX2" fmla="*/ 457523 w 457523"/>
              <a:gd name="connsiteY2" fmla="*/ 0 h 2017735"/>
              <a:gd name="connsiteX3" fmla="*/ 179667 w 457523"/>
              <a:gd name="connsiteY3" fmla="*/ 2017735 h 2017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7523" h="2017735">
                <a:moveTo>
                  <a:pt x="0" y="0"/>
                </a:moveTo>
                <a:lnTo>
                  <a:pt x="275802" y="0"/>
                </a:lnTo>
                <a:lnTo>
                  <a:pt x="457523" y="0"/>
                </a:lnTo>
                <a:lnTo>
                  <a:pt x="179667" y="2017735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grpSp>
        <p:nvGrpSpPr>
          <p:cNvPr id="267" name="Groupe 266">
            <a:extLst>
              <a:ext uri="{FF2B5EF4-FFF2-40B4-BE49-F238E27FC236}">
                <a16:creationId xmlns:a16="http://schemas.microsoft.com/office/drawing/2014/main" id="{5E1891F2-FAFB-45B7-ADB0-B4532A71DEC4}"/>
              </a:ext>
            </a:extLst>
          </p:cNvPr>
          <p:cNvGrpSpPr/>
          <p:nvPr userDrawn="1"/>
        </p:nvGrpSpPr>
        <p:grpSpPr>
          <a:xfrm flipV="1">
            <a:off x="-91485" y="12467"/>
            <a:ext cx="1008300" cy="5190499"/>
            <a:chOff x="-91485" y="-57106"/>
            <a:chExt cx="1008300" cy="5190499"/>
          </a:xfrm>
          <a:solidFill>
            <a:schemeClr val="bg2">
              <a:alpha val="10000"/>
            </a:schemeClr>
          </a:solidFill>
        </p:grpSpPr>
        <p:sp>
          <p:nvSpPr>
            <p:cNvPr id="268" name="Forme libre : forme 267">
              <a:extLst>
                <a:ext uri="{FF2B5EF4-FFF2-40B4-BE49-F238E27FC236}">
                  <a16:creationId xmlns:a16="http://schemas.microsoft.com/office/drawing/2014/main" id="{73F747AB-BDD9-4153-8A0F-81B6FADAE149}"/>
                </a:ext>
              </a:extLst>
            </p:cNvPr>
            <p:cNvSpPr/>
            <p:nvPr/>
          </p:nvSpPr>
          <p:spPr>
            <a:xfrm rot="8716295">
              <a:off x="617786" y="1780350"/>
              <a:ext cx="152726" cy="195873"/>
            </a:xfrm>
            <a:custGeom>
              <a:avLst/>
              <a:gdLst>
                <a:gd name="connsiteX0" fmla="*/ 39589 w 152726"/>
                <a:gd name="connsiteY0" fmla="*/ 195873 h 195873"/>
                <a:gd name="connsiteX1" fmla="*/ 0 w 152726"/>
                <a:gd name="connsiteY1" fmla="*/ 122219 h 195873"/>
                <a:gd name="connsiteX2" fmla="*/ 101089 w 152726"/>
                <a:gd name="connsiteY2" fmla="*/ 0 h 195873"/>
                <a:gd name="connsiteX3" fmla="*/ 152726 w 152726"/>
                <a:gd name="connsiteY3" fmla="*/ 0 h 195873"/>
                <a:gd name="connsiteX4" fmla="*/ 152726 w 152726"/>
                <a:gd name="connsiteY4" fmla="*/ 55323 h 195873"/>
                <a:gd name="connsiteX5" fmla="*/ 87934 w 152726"/>
                <a:gd name="connsiteY5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726" h="195873">
                  <a:moveTo>
                    <a:pt x="39589" y="195873"/>
                  </a:moveTo>
                  <a:lnTo>
                    <a:pt x="0" y="122219"/>
                  </a:lnTo>
                  <a:lnTo>
                    <a:pt x="101089" y="0"/>
                  </a:lnTo>
                  <a:lnTo>
                    <a:pt x="152726" y="0"/>
                  </a:lnTo>
                  <a:lnTo>
                    <a:pt x="152726" y="55323"/>
                  </a:lnTo>
                  <a:lnTo>
                    <a:pt x="87934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" name="Forme libre : forme 268">
              <a:extLst>
                <a:ext uri="{FF2B5EF4-FFF2-40B4-BE49-F238E27FC236}">
                  <a16:creationId xmlns:a16="http://schemas.microsoft.com/office/drawing/2014/main" id="{ABB68B3A-64E8-421E-A122-56A45C711E07}"/>
                </a:ext>
              </a:extLst>
            </p:cNvPr>
            <p:cNvSpPr/>
            <p:nvPr/>
          </p:nvSpPr>
          <p:spPr>
            <a:xfrm rot="8716295">
              <a:off x="534441" y="1654353"/>
              <a:ext cx="262864" cy="103234"/>
            </a:xfrm>
            <a:custGeom>
              <a:avLst/>
              <a:gdLst>
                <a:gd name="connsiteX0" fmla="*/ 0 w 262864"/>
                <a:gd name="connsiteY0" fmla="*/ 75341 h 103234"/>
                <a:gd name="connsiteX1" fmla="*/ 62316 w 262864"/>
                <a:gd name="connsiteY1" fmla="*/ 0 h 103234"/>
                <a:gd name="connsiteX2" fmla="*/ 65768 w 262864"/>
                <a:gd name="connsiteY2" fmla="*/ 14220 h 103234"/>
                <a:gd name="connsiteX3" fmla="*/ 136369 w 262864"/>
                <a:gd name="connsiteY3" fmla="*/ 53051 h 103234"/>
                <a:gd name="connsiteX4" fmla="*/ 189321 w 262864"/>
                <a:gd name="connsiteY4" fmla="*/ 43637 h 103234"/>
                <a:gd name="connsiteX5" fmla="*/ 261688 w 262864"/>
                <a:gd name="connsiteY5" fmla="*/ 14220 h 103234"/>
                <a:gd name="connsiteX6" fmla="*/ 262864 w 262864"/>
                <a:gd name="connsiteY6" fmla="*/ 21868 h 103234"/>
                <a:gd name="connsiteX7" fmla="*/ 262864 w 262864"/>
                <a:gd name="connsiteY7" fmla="*/ 27752 h 103234"/>
                <a:gd name="connsiteX8" fmla="*/ 69887 w 262864"/>
                <a:gd name="connsiteY8" fmla="*/ 103060 h 103234"/>
                <a:gd name="connsiteX9" fmla="*/ 30615 w 262864"/>
                <a:gd name="connsiteY9" fmla="*/ 96294 h 103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2864" h="103234">
                  <a:moveTo>
                    <a:pt x="0" y="75341"/>
                  </a:moveTo>
                  <a:lnTo>
                    <a:pt x="62316" y="0"/>
                  </a:lnTo>
                  <a:lnTo>
                    <a:pt x="65768" y="14220"/>
                  </a:lnTo>
                  <a:cubicBezTo>
                    <a:pt x="75182" y="40107"/>
                    <a:pt x="99304" y="53051"/>
                    <a:pt x="136369" y="53051"/>
                  </a:cubicBezTo>
                  <a:cubicBezTo>
                    <a:pt x="154609" y="52462"/>
                    <a:pt x="172259" y="48932"/>
                    <a:pt x="189321" y="43637"/>
                  </a:cubicBezTo>
                  <a:cubicBezTo>
                    <a:pt x="214031" y="35988"/>
                    <a:pt x="238154" y="25987"/>
                    <a:pt x="261688" y="14220"/>
                  </a:cubicBezTo>
                  <a:cubicBezTo>
                    <a:pt x="262276" y="16573"/>
                    <a:pt x="262864" y="19515"/>
                    <a:pt x="262864" y="21868"/>
                  </a:cubicBezTo>
                  <a:lnTo>
                    <a:pt x="262864" y="27752"/>
                  </a:lnTo>
                  <a:cubicBezTo>
                    <a:pt x="200500" y="81291"/>
                    <a:pt x="118719" y="100119"/>
                    <a:pt x="69887" y="103060"/>
                  </a:cubicBezTo>
                  <a:cubicBezTo>
                    <a:pt x="56355" y="103943"/>
                    <a:pt x="42970" y="101442"/>
                    <a:pt x="30615" y="9629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0" name="Forme libre : forme 269">
              <a:extLst>
                <a:ext uri="{FF2B5EF4-FFF2-40B4-BE49-F238E27FC236}">
                  <a16:creationId xmlns:a16="http://schemas.microsoft.com/office/drawing/2014/main" id="{053D4FF2-A9EA-4185-9507-77A0BB17DB0B}"/>
                </a:ext>
              </a:extLst>
            </p:cNvPr>
            <p:cNvSpPr/>
            <p:nvPr/>
          </p:nvSpPr>
          <p:spPr>
            <a:xfrm rot="8716295">
              <a:off x="632719" y="1232432"/>
              <a:ext cx="121558" cy="232388"/>
            </a:xfrm>
            <a:custGeom>
              <a:avLst/>
              <a:gdLst>
                <a:gd name="connsiteX0" fmla="*/ 60499 w 121558"/>
                <a:gd name="connsiteY0" fmla="*/ 232388 h 232388"/>
                <a:gd name="connsiteX1" fmla="*/ 60499 w 121558"/>
                <a:gd name="connsiteY1" fmla="*/ 69717 h 232388"/>
                <a:gd name="connsiteX2" fmla="*/ 60499 w 121558"/>
                <a:gd name="connsiteY2" fmla="*/ 65615 h 232388"/>
                <a:gd name="connsiteX3" fmla="*/ 39995 w 121558"/>
                <a:gd name="connsiteY3" fmla="*/ 50123 h 232388"/>
                <a:gd name="connsiteX4" fmla="*/ 0 w 121558"/>
                <a:gd name="connsiteY4" fmla="*/ 50123 h 232388"/>
                <a:gd name="connsiteX5" fmla="*/ 41457 w 121558"/>
                <a:gd name="connsiteY5" fmla="*/ 0 h 232388"/>
                <a:gd name="connsiteX6" fmla="*/ 64601 w 121558"/>
                <a:gd name="connsiteY6" fmla="*/ 0 h 232388"/>
                <a:gd name="connsiteX7" fmla="*/ 121558 w 121558"/>
                <a:gd name="connsiteY7" fmla="*/ 50123 h 232388"/>
                <a:gd name="connsiteX8" fmla="*/ 121558 w 121558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558" h="232388">
                  <a:moveTo>
                    <a:pt x="60499" y="232388"/>
                  </a:moveTo>
                  <a:lnTo>
                    <a:pt x="60499" y="69717"/>
                  </a:lnTo>
                  <a:cubicBezTo>
                    <a:pt x="60499" y="68349"/>
                    <a:pt x="60499" y="66983"/>
                    <a:pt x="60499" y="65615"/>
                  </a:cubicBezTo>
                  <a:cubicBezTo>
                    <a:pt x="59133" y="55591"/>
                    <a:pt x="50019" y="48756"/>
                    <a:pt x="39995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64601" y="0"/>
                  </a:lnTo>
                  <a:cubicBezTo>
                    <a:pt x="101509" y="0"/>
                    <a:pt x="121558" y="15948"/>
                    <a:pt x="121558" y="50123"/>
                  </a:cubicBezTo>
                  <a:lnTo>
                    <a:pt x="121558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1" name="Forme libre : forme 270">
              <a:extLst>
                <a:ext uri="{FF2B5EF4-FFF2-40B4-BE49-F238E27FC236}">
                  <a16:creationId xmlns:a16="http://schemas.microsoft.com/office/drawing/2014/main" id="{79A1F7C8-13AC-4C12-A1FD-013BA48F78A7}"/>
                </a:ext>
              </a:extLst>
            </p:cNvPr>
            <p:cNvSpPr/>
            <p:nvPr/>
          </p:nvSpPr>
          <p:spPr>
            <a:xfrm rot="8716295">
              <a:off x="763454" y="1474783"/>
              <a:ext cx="14143" cy="14319"/>
            </a:xfrm>
            <a:custGeom>
              <a:avLst/>
              <a:gdLst>
                <a:gd name="connsiteX0" fmla="*/ 0 w 14143"/>
                <a:gd name="connsiteY0" fmla="*/ 14319 h 14319"/>
                <a:gd name="connsiteX1" fmla="*/ 11843 w 14143"/>
                <a:gd name="connsiteY1" fmla="*/ 0 h 14319"/>
                <a:gd name="connsiteX2" fmla="*/ 14143 w 14143"/>
                <a:gd name="connsiteY2" fmla="*/ 7563 h 14319"/>
                <a:gd name="connsiteX3" fmla="*/ 14143 w 14143"/>
                <a:gd name="connsiteY3" fmla="*/ 13487 h 1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43" h="14319">
                  <a:moveTo>
                    <a:pt x="0" y="14319"/>
                  </a:moveTo>
                  <a:lnTo>
                    <a:pt x="11843" y="0"/>
                  </a:lnTo>
                  <a:lnTo>
                    <a:pt x="14143" y="7563"/>
                  </a:lnTo>
                  <a:lnTo>
                    <a:pt x="14143" y="1348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2" name="Forme libre : forme 271">
              <a:extLst>
                <a:ext uri="{FF2B5EF4-FFF2-40B4-BE49-F238E27FC236}">
                  <a16:creationId xmlns:a16="http://schemas.microsoft.com/office/drawing/2014/main" id="{C3E454D8-15B4-4672-8FB0-B86B805165E6}"/>
                </a:ext>
              </a:extLst>
            </p:cNvPr>
            <p:cNvSpPr/>
            <p:nvPr/>
          </p:nvSpPr>
          <p:spPr>
            <a:xfrm rot="8716295">
              <a:off x="672878" y="1171577"/>
              <a:ext cx="183964" cy="137618"/>
            </a:xfrm>
            <a:custGeom>
              <a:avLst/>
              <a:gdLst>
                <a:gd name="connsiteX0" fmla="*/ 0 w 183964"/>
                <a:gd name="connsiteY0" fmla="*/ 137618 h 137618"/>
                <a:gd name="connsiteX1" fmla="*/ 53346 w 183964"/>
                <a:gd name="connsiteY1" fmla="*/ 73121 h 137618"/>
                <a:gd name="connsiteX2" fmla="*/ 101034 w 183964"/>
                <a:gd name="connsiteY2" fmla="*/ 28251 h 137618"/>
                <a:gd name="connsiteX3" fmla="*/ 155713 w 183964"/>
                <a:gd name="connsiteY3" fmla="*/ 0 h 137618"/>
                <a:gd name="connsiteX4" fmla="*/ 183964 w 183964"/>
                <a:gd name="connsiteY4" fmla="*/ 33719 h 137618"/>
                <a:gd name="connsiteX5" fmla="*/ 157536 w 183964"/>
                <a:gd name="connsiteY5" fmla="*/ 69261 h 137618"/>
                <a:gd name="connsiteX6" fmla="*/ 157991 w 183964"/>
                <a:gd name="connsiteY6" fmla="*/ 69261 h 137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3964" h="137618">
                  <a:moveTo>
                    <a:pt x="0" y="137618"/>
                  </a:moveTo>
                  <a:lnTo>
                    <a:pt x="53346" y="73121"/>
                  </a:lnTo>
                  <a:lnTo>
                    <a:pt x="101034" y="28251"/>
                  </a:lnTo>
                  <a:cubicBezTo>
                    <a:pt x="114703" y="12303"/>
                    <a:pt x="134297" y="2278"/>
                    <a:pt x="155713" y="0"/>
                  </a:cubicBezTo>
                  <a:cubicBezTo>
                    <a:pt x="177585" y="0"/>
                    <a:pt x="183964" y="19138"/>
                    <a:pt x="183964" y="33719"/>
                  </a:cubicBezTo>
                  <a:cubicBezTo>
                    <a:pt x="182597" y="49667"/>
                    <a:pt x="172117" y="62881"/>
                    <a:pt x="157536" y="69261"/>
                  </a:cubicBezTo>
                  <a:lnTo>
                    <a:pt x="157991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3" name="Forme libre : forme 272">
              <a:extLst>
                <a:ext uri="{FF2B5EF4-FFF2-40B4-BE49-F238E27FC236}">
                  <a16:creationId xmlns:a16="http://schemas.microsoft.com/office/drawing/2014/main" id="{9C05EADF-BE0D-49AA-B420-B1EB4831C5FE}"/>
                </a:ext>
              </a:extLst>
            </p:cNvPr>
            <p:cNvSpPr/>
            <p:nvPr/>
          </p:nvSpPr>
          <p:spPr>
            <a:xfrm rot="8716295">
              <a:off x="519479" y="13148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4" name="Forme libre : forme 273">
              <a:extLst>
                <a:ext uri="{FF2B5EF4-FFF2-40B4-BE49-F238E27FC236}">
                  <a16:creationId xmlns:a16="http://schemas.microsoft.com/office/drawing/2014/main" id="{AB241E56-80DB-4C03-BDCB-013736737321}"/>
                </a:ext>
              </a:extLst>
            </p:cNvPr>
            <p:cNvSpPr/>
            <p:nvPr/>
          </p:nvSpPr>
          <p:spPr>
            <a:xfrm rot="8716295">
              <a:off x="394576" y="11061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5" name="Forme libre : forme 274">
              <a:extLst>
                <a:ext uri="{FF2B5EF4-FFF2-40B4-BE49-F238E27FC236}">
                  <a16:creationId xmlns:a16="http://schemas.microsoft.com/office/drawing/2014/main" id="{E447AC23-F520-414E-AA97-1E8F359564D9}"/>
                </a:ext>
              </a:extLst>
            </p:cNvPr>
            <p:cNvSpPr/>
            <p:nvPr/>
          </p:nvSpPr>
          <p:spPr>
            <a:xfrm rot="8716295">
              <a:off x="382524" y="96739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6" name="Forme libre : forme 275">
              <a:extLst>
                <a:ext uri="{FF2B5EF4-FFF2-40B4-BE49-F238E27FC236}">
                  <a16:creationId xmlns:a16="http://schemas.microsoft.com/office/drawing/2014/main" id="{64C6C88C-FD82-456D-9665-DF0FCE0E4C47}"/>
                </a:ext>
              </a:extLst>
            </p:cNvPr>
            <p:cNvSpPr/>
            <p:nvPr/>
          </p:nvSpPr>
          <p:spPr>
            <a:xfrm rot="8716295">
              <a:off x="609657" y="135579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7" name="Forme libre : forme 276">
              <a:extLst>
                <a:ext uri="{FF2B5EF4-FFF2-40B4-BE49-F238E27FC236}">
                  <a16:creationId xmlns:a16="http://schemas.microsoft.com/office/drawing/2014/main" id="{0A77A193-F583-4928-97AF-E64E8FF6DEAD}"/>
                </a:ext>
              </a:extLst>
            </p:cNvPr>
            <p:cNvSpPr/>
            <p:nvPr/>
          </p:nvSpPr>
          <p:spPr>
            <a:xfrm rot="8716295">
              <a:off x="683426" y="869567"/>
              <a:ext cx="156000" cy="195873"/>
            </a:xfrm>
            <a:custGeom>
              <a:avLst/>
              <a:gdLst>
                <a:gd name="connsiteX0" fmla="*/ 42863 w 156000"/>
                <a:gd name="connsiteY0" fmla="*/ 195873 h 195873"/>
                <a:gd name="connsiteX1" fmla="*/ 0 w 156000"/>
                <a:gd name="connsiteY1" fmla="*/ 116129 h 195873"/>
                <a:gd name="connsiteX2" fmla="*/ 5100 w 156000"/>
                <a:gd name="connsiteY2" fmla="*/ 101988 h 195873"/>
                <a:gd name="connsiteX3" fmla="*/ 89456 w 156000"/>
                <a:gd name="connsiteY3" fmla="*/ 0 h 195873"/>
                <a:gd name="connsiteX4" fmla="*/ 156000 w 156000"/>
                <a:gd name="connsiteY4" fmla="*/ 0 h 195873"/>
                <a:gd name="connsiteX5" fmla="*/ 156000 w 156000"/>
                <a:gd name="connsiteY5" fmla="*/ 55323 h 195873"/>
                <a:gd name="connsiteX6" fmla="*/ 91208 w 156000"/>
                <a:gd name="connsiteY6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000" h="195873">
                  <a:moveTo>
                    <a:pt x="42863" y="195873"/>
                  </a:moveTo>
                  <a:lnTo>
                    <a:pt x="0" y="116129"/>
                  </a:lnTo>
                  <a:lnTo>
                    <a:pt x="5100" y="101988"/>
                  </a:lnTo>
                  <a:lnTo>
                    <a:pt x="89456" y="0"/>
                  </a:lnTo>
                  <a:lnTo>
                    <a:pt x="156000" y="0"/>
                  </a:lnTo>
                  <a:lnTo>
                    <a:pt x="156000" y="55323"/>
                  </a:lnTo>
                  <a:lnTo>
                    <a:pt x="91208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8" name="Forme libre : forme 277">
              <a:extLst>
                <a:ext uri="{FF2B5EF4-FFF2-40B4-BE49-F238E27FC236}">
                  <a16:creationId xmlns:a16="http://schemas.microsoft.com/office/drawing/2014/main" id="{CF3F0AFD-D31B-4029-B3F3-E13BB8216AB9}"/>
                </a:ext>
              </a:extLst>
            </p:cNvPr>
            <p:cNvSpPr/>
            <p:nvPr/>
          </p:nvSpPr>
          <p:spPr>
            <a:xfrm rot="8716295">
              <a:off x="657305" y="95604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9" name="Forme libre : forme 278">
              <a:extLst>
                <a:ext uri="{FF2B5EF4-FFF2-40B4-BE49-F238E27FC236}">
                  <a16:creationId xmlns:a16="http://schemas.microsoft.com/office/drawing/2014/main" id="{4E0EA875-3BAB-4BDB-A5B0-808C38082217}"/>
                </a:ext>
              </a:extLst>
            </p:cNvPr>
            <p:cNvSpPr/>
            <p:nvPr/>
          </p:nvSpPr>
          <p:spPr>
            <a:xfrm rot="8716295">
              <a:off x="412774" y="56424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0" name="Forme libre : forme 279">
              <a:extLst>
                <a:ext uri="{FF2B5EF4-FFF2-40B4-BE49-F238E27FC236}">
                  <a16:creationId xmlns:a16="http://schemas.microsoft.com/office/drawing/2014/main" id="{842C3D6E-95C4-425C-8B38-D0EBD8DBD5E5}"/>
                </a:ext>
              </a:extLst>
            </p:cNvPr>
            <p:cNvSpPr/>
            <p:nvPr/>
          </p:nvSpPr>
          <p:spPr>
            <a:xfrm rot="8716295">
              <a:off x="502166" y="59348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1" name="Forme libre : forme 280">
              <a:extLst>
                <a:ext uri="{FF2B5EF4-FFF2-40B4-BE49-F238E27FC236}">
                  <a16:creationId xmlns:a16="http://schemas.microsoft.com/office/drawing/2014/main" id="{A75BA1B9-497A-4874-9158-409D833D072A}"/>
                </a:ext>
              </a:extLst>
            </p:cNvPr>
            <p:cNvSpPr/>
            <p:nvPr/>
          </p:nvSpPr>
          <p:spPr>
            <a:xfrm rot="8716295">
              <a:off x="457316" y="50720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2" name="Forme libre : forme 281">
              <a:extLst>
                <a:ext uri="{FF2B5EF4-FFF2-40B4-BE49-F238E27FC236}">
                  <a16:creationId xmlns:a16="http://schemas.microsoft.com/office/drawing/2014/main" id="{205B75CA-6160-44CB-AE0D-8B52A04FF9B7}"/>
                </a:ext>
              </a:extLst>
            </p:cNvPr>
            <p:cNvSpPr/>
            <p:nvPr/>
          </p:nvSpPr>
          <p:spPr>
            <a:xfrm rot="8716295">
              <a:off x="300540" y="65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3" name="Forme libre : forme 282">
              <a:extLst>
                <a:ext uri="{FF2B5EF4-FFF2-40B4-BE49-F238E27FC236}">
                  <a16:creationId xmlns:a16="http://schemas.microsoft.com/office/drawing/2014/main" id="{91186326-55D6-4548-B33F-3511BC925FE8}"/>
                </a:ext>
              </a:extLst>
            </p:cNvPr>
            <p:cNvSpPr/>
            <p:nvPr/>
          </p:nvSpPr>
          <p:spPr>
            <a:xfrm rot="8716295">
              <a:off x="175637" y="44411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4" name="Forme libre : forme 283">
              <a:extLst>
                <a:ext uri="{FF2B5EF4-FFF2-40B4-BE49-F238E27FC236}">
                  <a16:creationId xmlns:a16="http://schemas.microsoft.com/office/drawing/2014/main" id="{A2ED5F31-FCDD-430A-BE16-9B1EA12A7F4F}"/>
                </a:ext>
              </a:extLst>
            </p:cNvPr>
            <p:cNvSpPr/>
            <p:nvPr/>
          </p:nvSpPr>
          <p:spPr>
            <a:xfrm rot="8716295">
              <a:off x="163585" y="30533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5" name="Forme libre : forme 284">
              <a:extLst>
                <a:ext uri="{FF2B5EF4-FFF2-40B4-BE49-F238E27FC236}">
                  <a16:creationId xmlns:a16="http://schemas.microsoft.com/office/drawing/2014/main" id="{FEC22DEA-F709-420C-A439-1AC57EB74539}"/>
                </a:ext>
              </a:extLst>
            </p:cNvPr>
            <p:cNvSpPr/>
            <p:nvPr/>
          </p:nvSpPr>
          <p:spPr>
            <a:xfrm rot="8716295">
              <a:off x="390718" y="69374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6" name="Forme libre : forme 285">
              <a:extLst>
                <a:ext uri="{FF2B5EF4-FFF2-40B4-BE49-F238E27FC236}">
                  <a16:creationId xmlns:a16="http://schemas.microsoft.com/office/drawing/2014/main" id="{4DA790D9-C5B8-43BC-8AB6-4E888B07FAC5}"/>
                </a:ext>
              </a:extLst>
            </p:cNvPr>
            <p:cNvSpPr/>
            <p:nvPr/>
          </p:nvSpPr>
          <p:spPr>
            <a:xfrm rot="8716295">
              <a:off x="702015" y="317459"/>
              <a:ext cx="131260" cy="232388"/>
            </a:xfrm>
            <a:custGeom>
              <a:avLst/>
              <a:gdLst>
                <a:gd name="connsiteX0" fmla="*/ 70201 w 131260"/>
                <a:gd name="connsiteY0" fmla="*/ 232388 h 232388"/>
                <a:gd name="connsiteX1" fmla="*/ 70201 w 131260"/>
                <a:gd name="connsiteY1" fmla="*/ 69717 h 232388"/>
                <a:gd name="connsiteX2" fmla="*/ 70201 w 131260"/>
                <a:gd name="connsiteY2" fmla="*/ 65615 h 232388"/>
                <a:gd name="connsiteX3" fmla="*/ 49697 w 131260"/>
                <a:gd name="connsiteY3" fmla="*/ 50123 h 232388"/>
                <a:gd name="connsiteX4" fmla="*/ 0 w 131260"/>
                <a:gd name="connsiteY4" fmla="*/ 50123 h 232388"/>
                <a:gd name="connsiteX5" fmla="*/ 41457 w 131260"/>
                <a:gd name="connsiteY5" fmla="*/ 0 h 232388"/>
                <a:gd name="connsiteX6" fmla="*/ 74303 w 131260"/>
                <a:gd name="connsiteY6" fmla="*/ 0 h 232388"/>
                <a:gd name="connsiteX7" fmla="*/ 131260 w 131260"/>
                <a:gd name="connsiteY7" fmla="*/ 50123 h 232388"/>
                <a:gd name="connsiteX8" fmla="*/ 131260 w 131260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1260" h="232388">
                  <a:moveTo>
                    <a:pt x="70201" y="232388"/>
                  </a:moveTo>
                  <a:lnTo>
                    <a:pt x="70201" y="69717"/>
                  </a:lnTo>
                  <a:cubicBezTo>
                    <a:pt x="70201" y="68349"/>
                    <a:pt x="70201" y="66983"/>
                    <a:pt x="70201" y="65615"/>
                  </a:cubicBezTo>
                  <a:cubicBezTo>
                    <a:pt x="68835" y="55591"/>
                    <a:pt x="59721" y="48756"/>
                    <a:pt x="49697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74303" y="0"/>
                  </a:lnTo>
                  <a:cubicBezTo>
                    <a:pt x="111211" y="0"/>
                    <a:pt x="131260" y="15948"/>
                    <a:pt x="131260" y="50123"/>
                  </a:cubicBezTo>
                  <a:lnTo>
                    <a:pt x="131260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7" name="Forme libre : forme 286">
              <a:extLst>
                <a:ext uri="{FF2B5EF4-FFF2-40B4-BE49-F238E27FC236}">
                  <a16:creationId xmlns:a16="http://schemas.microsoft.com/office/drawing/2014/main" id="{091E5F9C-73C6-4CAB-93E5-EFA60788C51C}"/>
                </a:ext>
              </a:extLst>
            </p:cNvPr>
            <p:cNvSpPr/>
            <p:nvPr/>
          </p:nvSpPr>
          <p:spPr>
            <a:xfrm rot="8716295">
              <a:off x="834978" y="558357"/>
              <a:ext cx="24341" cy="23495"/>
            </a:xfrm>
            <a:custGeom>
              <a:avLst/>
              <a:gdLst>
                <a:gd name="connsiteX0" fmla="*/ 0 w 24341"/>
                <a:gd name="connsiteY0" fmla="*/ 23495 h 23495"/>
                <a:gd name="connsiteX1" fmla="*/ 19433 w 24341"/>
                <a:gd name="connsiteY1" fmla="*/ 0 h 23495"/>
                <a:gd name="connsiteX2" fmla="*/ 24341 w 24341"/>
                <a:gd name="connsiteY2" fmla="*/ 16139 h 23495"/>
                <a:gd name="connsiteX3" fmla="*/ 24341 w 24341"/>
                <a:gd name="connsiteY3" fmla="*/ 22063 h 23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41" h="23495">
                  <a:moveTo>
                    <a:pt x="0" y="23495"/>
                  </a:moveTo>
                  <a:lnTo>
                    <a:pt x="19433" y="0"/>
                  </a:lnTo>
                  <a:lnTo>
                    <a:pt x="24341" y="16139"/>
                  </a:lnTo>
                  <a:lnTo>
                    <a:pt x="24341" y="220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8" name="Forme libre : forme 287">
              <a:extLst>
                <a:ext uri="{FF2B5EF4-FFF2-40B4-BE49-F238E27FC236}">
                  <a16:creationId xmlns:a16="http://schemas.microsoft.com/office/drawing/2014/main" id="{93F3A654-B74E-499B-8487-8A2B2CC5A0EA}"/>
                </a:ext>
              </a:extLst>
            </p:cNvPr>
            <p:cNvSpPr/>
            <p:nvPr/>
          </p:nvSpPr>
          <p:spPr>
            <a:xfrm rot="8716295">
              <a:off x="589639" y="40263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9" name="Forme libre : forme 288">
              <a:extLst>
                <a:ext uri="{FF2B5EF4-FFF2-40B4-BE49-F238E27FC236}">
                  <a16:creationId xmlns:a16="http://schemas.microsoft.com/office/drawing/2014/main" id="{D0AE4335-4774-4A5C-9D6E-6AA33670DF96}"/>
                </a:ext>
              </a:extLst>
            </p:cNvPr>
            <p:cNvSpPr/>
            <p:nvPr/>
          </p:nvSpPr>
          <p:spPr>
            <a:xfrm rot="8716295">
              <a:off x="464737" y="19396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0" name="Forme libre : forme 289">
              <a:extLst>
                <a:ext uri="{FF2B5EF4-FFF2-40B4-BE49-F238E27FC236}">
                  <a16:creationId xmlns:a16="http://schemas.microsoft.com/office/drawing/2014/main" id="{2305D91E-CF26-4028-92DC-E2D20BB482D6}"/>
                </a:ext>
              </a:extLst>
            </p:cNvPr>
            <p:cNvSpPr/>
            <p:nvPr/>
          </p:nvSpPr>
          <p:spPr>
            <a:xfrm rot="8716295">
              <a:off x="679817" y="44358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1" name="Forme libre : forme 290">
              <a:extLst>
                <a:ext uri="{FF2B5EF4-FFF2-40B4-BE49-F238E27FC236}">
                  <a16:creationId xmlns:a16="http://schemas.microsoft.com/office/drawing/2014/main" id="{DF9C8202-D29B-450E-90FF-E46CAC2E7FA2}"/>
                </a:ext>
              </a:extLst>
            </p:cNvPr>
            <p:cNvSpPr/>
            <p:nvPr/>
          </p:nvSpPr>
          <p:spPr>
            <a:xfrm rot="8716295">
              <a:off x="438366" y="29398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2" name="Forme libre : forme 291">
              <a:extLst>
                <a:ext uri="{FF2B5EF4-FFF2-40B4-BE49-F238E27FC236}">
                  <a16:creationId xmlns:a16="http://schemas.microsoft.com/office/drawing/2014/main" id="{28FFA2F5-C74D-4918-B35E-56FAFD44D7DC}"/>
                </a:ext>
              </a:extLst>
            </p:cNvPr>
            <p:cNvSpPr/>
            <p:nvPr/>
          </p:nvSpPr>
          <p:spPr>
            <a:xfrm rot="7484129">
              <a:off x="811674" y="658874"/>
              <a:ext cx="31078" cy="46141"/>
            </a:xfrm>
            <a:custGeom>
              <a:avLst/>
              <a:gdLst>
                <a:gd name="connsiteX0" fmla="*/ 15207 w 31078"/>
                <a:gd name="connsiteY0" fmla="*/ 46141 h 46141"/>
                <a:gd name="connsiteX1" fmla="*/ 0 w 31078"/>
                <a:gd name="connsiteY1" fmla="*/ 17849 h 46141"/>
                <a:gd name="connsiteX2" fmla="*/ 31078 w 31078"/>
                <a:gd name="connsiteY2" fmla="*/ 0 h 46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078" h="46141">
                  <a:moveTo>
                    <a:pt x="15207" y="46141"/>
                  </a:moveTo>
                  <a:lnTo>
                    <a:pt x="0" y="17849"/>
                  </a:lnTo>
                  <a:lnTo>
                    <a:pt x="3107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3" name="Forme libre : forme 292">
              <a:extLst>
                <a:ext uri="{FF2B5EF4-FFF2-40B4-BE49-F238E27FC236}">
                  <a16:creationId xmlns:a16="http://schemas.microsoft.com/office/drawing/2014/main" id="{F7F1B592-6665-4DA1-B454-1D5C767BA63B}"/>
                </a:ext>
              </a:extLst>
            </p:cNvPr>
            <p:cNvSpPr/>
            <p:nvPr/>
          </p:nvSpPr>
          <p:spPr>
            <a:xfrm rot="8716295">
              <a:off x="780102" y="336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4" name="Forme libre : forme 293">
              <a:extLst>
                <a:ext uri="{FF2B5EF4-FFF2-40B4-BE49-F238E27FC236}">
                  <a16:creationId xmlns:a16="http://schemas.microsoft.com/office/drawing/2014/main" id="{33626504-CACB-4364-8AA4-F28F086A7B6A}"/>
                </a:ext>
              </a:extLst>
            </p:cNvPr>
            <p:cNvSpPr/>
            <p:nvPr/>
          </p:nvSpPr>
          <p:spPr>
            <a:xfrm rot="8716295">
              <a:off x="202348" y="-57106"/>
              <a:ext cx="142167" cy="186494"/>
            </a:xfrm>
            <a:custGeom>
              <a:avLst/>
              <a:gdLst>
                <a:gd name="connsiteX0" fmla="*/ 142167 w 142167"/>
                <a:gd name="connsiteY0" fmla="*/ 186494 h 186494"/>
                <a:gd name="connsiteX1" fmla="*/ 81108 w 142167"/>
                <a:gd name="connsiteY1" fmla="*/ 144170 h 186494"/>
                <a:gd name="connsiteX2" fmla="*/ 81108 w 142167"/>
                <a:gd name="connsiteY2" fmla="*/ 69717 h 186494"/>
                <a:gd name="connsiteX3" fmla="*/ 81108 w 142167"/>
                <a:gd name="connsiteY3" fmla="*/ 65615 h 186494"/>
                <a:gd name="connsiteX4" fmla="*/ 60603 w 142167"/>
                <a:gd name="connsiteY4" fmla="*/ 50123 h 186494"/>
                <a:gd name="connsiteX5" fmla="*/ 0 w 142167"/>
                <a:gd name="connsiteY5" fmla="*/ 50123 h 186494"/>
                <a:gd name="connsiteX6" fmla="*/ 0 w 142167"/>
                <a:gd name="connsiteY6" fmla="*/ 0 h 186494"/>
                <a:gd name="connsiteX7" fmla="*/ 85209 w 142167"/>
                <a:gd name="connsiteY7" fmla="*/ 0 h 186494"/>
                <a:gd name="connsiteX8" fmla="*/ 142167 w 142167"/>
                <a:gd name="connsiteY8" fmla="*/ 50123 h 186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86494">
                  <a:moveTo>
                    <a:pt x="142167" y="186494"/>
                  </a:moveTo>
                  <a:lnTo>
                    <a:pt x="81108" y="144170"/>
                  </a:lnTo>
                  <a:lnTo>
                    <a:pt x="81108" y="69717"/>
                  </a:lnTo>
                  <a:cubicBezTo>
                    <a:pt x="81108" y="68349"/>
                    <a:pt x="81108" y="66983"/>
                    <a:pt x="81108" y="65615"/>
                  </a:cubicBezTo>
                  <a:cubicBezTo>
                    <a:pt x="79741" y="55591"/>
                    <a:pt x="70628" y="48756"/>
                    <a:pt x="60603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5" name="Forme libre : forme 294">
              <a:extLst>
                <a:ext uri="{FF2B5EF4-FFF2-40B4-BE49-F238E27FC236}">
                  <a16:creationId xmlns:a16="http://schemas.microsoft.com/office/drawing/2014/main" id="{8B9EE4C0-9C2E-42BB-B294-381EB8F6C5DA}"/>
                </a:ext>
              </a:extLst>
            </p:cNvPr>
            <p:cNvSpPr/>
            <p:nvPr/>
          </p:nvSpPr>
          <p:spPr>
            <a:xfrm rot="8716295">
              <a:off x="298766" y="-5395"/>
              <a:ext cx="260639" cy="180054"/>
            </a:xfrm>
            <a:custGeom>
              <a:avLst/>
              <a:gdLst>
                <a:gd name="connsiteX0" fmla="*/ 111638 w 260639"/>
                <a:gd name="connsiteY0" fmla="*/ 180054 h 180054"/>
                <a:gd name="connsiteX1" fmla="*/ 51490 w 260639"/>
                <a:gd name="connsiteY1" fmla="*/ 138362 h 180054"/>
                <a:gd name="connsiteX2" fmla="*/ 51490 w 260639"/>
                <a:gd name="connsiteY2" fmla="*/ 45624 h 180054"/>
                <a:gd name="connsiteX3" fmla="*/ 0 w 260639"/>
                <a:gd name="connsiteY3" fmla="*/ 45624 h 180054"/>
                <a:gd name="connsiteX4" fmla="*/ 0 w 260639"/>
                <a:gd name="connsiteY4" fmla="*/ 1425 h 180054"/>
                <a:gd name="connsiteX5" fmla="*/ 104802 w 260639"/>
                <a:gd name="connsiteY5" fmla="*/ 1425 h 180054"/>
                <a:gd name="connsiteX6" fmla="*/ 104802 w 260639"/>
                <a:gd name="connsiteY6" fmla="*/ 75242 h 180054"/>
                <a:gd name="connsiteX7" fmla="*/ 106169 w 260639"/>
                <a:gd name="connsiteY7" fmla="*/ 75242 h 180054"/>
                <a:gd name="connsiteX8" fmla="*/ 154014 w 260639"/>
                <a:gd name="connsiteY8" fmla="*/ 5981 h 180054"/>
                <a:gd name="connsiteX9" fmla="*/ 185455 w 260639"/>
                <a:gd name="connsiteY9" fmla="*/ 57 h 180054"/>
                <a:gd name="connsiteX10" fmla="*/ 260639 w 260639"/>
                <a:gd name="connsiteY10" fmla="*/ 88456 h 180054"/>
                <a:gd name="connsiteX11" fmla="*/ 260639 w 260639"/>
                <a:gd name="connsiteY11" fmla="*/ 94380 h 180054"/>
                <a:gd name="connsiteX12" fmla="*/ 198669 w 260639"/>
                <a:gd name="connsiteY12" fmla="*/ 98025 h 180054"/>
                <a:gd name="connsiteX13" fmla="*/ 198669 w 260639"/>
                <a:gd name="connsiteY13" fmla="*/ 81621 h 180054"/>
                <a:gd name="connsiteX14" fmla="*/ 164950 w 260639"/>
                <a:gd name="connsiteY14" fmla="*/ 40156 h 180054"/>
                <a:gd name="connsiteX15" fmla="*/ 111638 w 260639"/>
                <a:gd name="connsiteY15" fmla="*/ 127643 h 180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0639" h="180054">
                  <a:moveTo>
                    <a:pt x="111638" y="180054"/>
                  </a:moveTo>
                  <a:lnTo>
                    <a:pt x="51490" y="138362"/>
                  </a:ln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6" name="Forme libre : forme 295">
              <a:extLst>
                <a:ext uri="{FF2B5EF4-FFF2-40B4-BE49-F238E27FC236}">
                  <a16:creationId xmlns:a16="http://schemas.microsoft.com/office/drawing/2014/main" id="{426417CD-8FE4-43C3-B84F-A51A46F7C7B1}"/>
                </a:ext>
              </a:extLst>
            </p:cNvPr>
            <p:cNvSpPr/>
            <p:nvPr/>
          </p:nvSpPr>
          <p:spPr>
            <a:xfrm rot="8716295">
              <a:off x="276903" y="-12823"/>
              <a:ext cx="36272" cy="27982"/>
            </a:xfrm>
            <a:custGeom>
              <a:avLst/>
              <a:gdLst>
                <a:gd name="connsiteX0" fmla="*/ 36272 w 36272"/>
                <a:gd name="connsiteY0" fmla="*/ 27982 h 27982"/>
                <a:gd name="connsiteX1" fmla="*/ 0 w 36272"/>
                <a:gd name="connsiteY1" fmla="*/ 2840 h 27982"/>
                <a:gd name="connsiteX2" fmla="*/ 9543 w 36272"/>
                <a:gd name="connsiteY2" fmla="*/ 0 h 27982"/>
                <a:gd name="connsiteX3" fmla="*/ 31871 w 36272"/>
                <a:gd name="connsiteY3" fmla="*/ 11392 h 27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272" h="27982">
                  <a:moveTo>
                    <a:pt x="36272" y="27982"/>
                  </a:moveTo>
                  <a:lnTo>
                    <a:pt x="0" y="2840"/>
                  </a:lnTo>
                  <a:lnTo>
                    <a:pt x="9543" y="0"/>
                  </a:lnTo>
                  <a:cubicBezTo>
                    <a:pt x="20479" y="0"/>
                    <a:pt x="27542" y="4784"/>
                    <a:pt x="31871" y="113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7" name="Forme libre : forme 296">
              <a:extLst>
                <a:ext uri="{FF2B5EF4-FFF2-40B4-BE49-F238E27FC236}">
                  <a16:creationId xmlns:a16="http://schemas.microsoft.com/office/drawing/2014/main" id="{2194BB82-FA83-4BF9-8EBD-D8D0328F9BDF}"/>
                </a:ext>
              </a:extLst>
            </p:cNvPr>
            <p:cNvSpPr/>
            <p:nvPr/>
          </p:nvSpPr>
          <p:spPr>
            <a:xfrm rot="8716295">
              <a:off x="74640" y="-9665"/>
              <a:ext cx="58068" cy="54772"/>
            </a:xfrm>
            <a:custGeom>
              <a:avLst/>
              <a:gdLst>
                <a:gd name="connsiteX0" fmla="*/ 37436 w 58068"/>
                <a:gd name="connsiteY0" fmla="*/ 54772 h 54772"/>
                <a:gd name="connsiteX1" fmla="*/ 0 w 58068"/>
                <a:gd name="connsiteY1" fmla="*/ 28823 h 54772"/>
                <a:gd name="connsiteX2" fmla="*/ 8515 w 58068"/>
                <a:gd name="connsiteY2" fmla="*/ 8658 h 54772"/>
                <a:gd name="connsiteX3" fmla="*/ 29020 w 58068"/>
                <a:gd name="connsiteY3" fmla="*/ 0 h 54772"/>
                <a:gd name="connsiteX4" fmla="*/ 49525 w 58068"/>
                <a:gd name="connsiteY4" fmla="*/ 8658 h 54772"/>
                <a:gd name="connsiteX5" fmla="*/ 49525 w 58068"/>
                <a:gd name="connsiteY5" fmla="*/ 49668 h 5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068" h="54772">
                  <a:moveTo>
                    <a:pt x="37436" y="54772"/>
                  </a:moveTo>
                  <a:lnTo>
                    <a:pt x="0" y="28823"/>
                  </a:lnTo>
                  <a:lnTo>
                    <a:pt x="8515" y="8658"/>
                  </a:lnTo>
                  <a:cubicBezTo>
                    <a:pt x="13983" y="3190"/>
                    <a:pt x="21273" y="0"/>
                    <a:pt x="29020" y="0"/>
                  </a:cubicBezTo>
                  <a:cubicBezTo>
                    <a:pt x="36766" y="0"/>
                    <a:pt x="44057" y="3190"/>
                    <a:pt x="49525" y="8658"/>
                  </a:cubicBezTo>
                  <a:cubicBezTo>
                    <a:pt x="60916" y="19594"/>
                    <a:pt x="60916" y="38276"/>
                    <a:pt x="49525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8" name="Forme libre : forme 297">
              <a:extLst>
                <a:ext uri="{FF2B5EF4-FFF2-40B4-BE49-F238E27FC236}">
                  <a16:creationId xmlns:a16="http://schemas.microsoft.com/office/drawing/2014/main" id="{1E2DA60E-6B88-4273-B8B8-20DC571CA2F9}"/>
                </a:ext>
              </a:extLst>
            </p:cNvPr>
            <p:cNvSpPr/>
            <p:nvPr/>
          </p:nvSpPr>
          <p:spPr>
            <a:xfrm rot="8716295">
              <a:off x="13802" y="-10406"/>
              <a:ext cx="30027" cy="20814"/>
            </a:xfrm>
            <a:custGeom>
              <a:avLst/>
              <a:gdLst>
                <a:gd name="connsiteX0" fmla="*/ 30027 w 30027"/>
                <a:gd name="connsiteY0" fmla="*/ 20814 h 20814"/>
                <a:gd name="connsiteX1" fmla="*/ 0 w 30027"/>
                <a:gd name="connsiteY1" fmla="*/ 0 h 20814"/>
                <a:gd name="connsiteX2" fmla="*/ 30027 w 30027"/>
                <a:gd name="connsiteY2" fmla="*/ 0 h 20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027" h="20814">
                  <a:moveTo>
                    <a:pt x="30027" y="20814"/>
                  </a:moveTo>
                  <a:lnTo>
                    <a:pt x="0" y="0"/>
                  </a:lnTo>
                  <a:lnTo>
                    <a:pt x="3002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9" name="Forme libre : forme 298">
              <a:extLst>
                <a:ext uri="{FF2B5EF4-FFF2-40B4-BE49-F238E27FC236}">
                  <a16:creationId xmlns:a16="http://schemas.microsoft.com/office/drawing/2014/main" id="{0B53881C-9CFA-4C7A-B7BB-D045B9F708A3}"/>
                </a:ext>
              </a:extLst>
            </p:cNvPr>
            <p:cNvSpPr/>
            <p:nvPr/>
          </p:nvSpPr>
          <p:spPr>
            <a:xfrm rot="8716295">
              <a:off x="168048" y="3032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0" name="Forme libre : forme 299">
              <a:extLst>
                <a:ext uri="{FF2B5EF4-FFF2-40B4-BE49-F238E27FC236}">
                  <a16:creationId xmlns:a16="http://schemas.microsoft.com/office/drawing/2014/main" id="{07B92E1C-0CE7-4A26-8278-C39DA02570AC}"/>
                </a:ext>
              </a:extLst>
            </p:cNvPr>
            <p:cNvSpPr/>
            <p:nvPr/>
          </p:nvSpPr>
          <p:spPr>
            <a:xfrm rot="7484129">
              <a:off x="562078" y="-284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1" name="Forme libre : forme 300">
              <a:extLst>
                <a:ext uri="{FF2B5EF4-FFF2-40B4-BE49-F238E27FC236}">
                  <a16:creationId xmlns:a16="http://schemas.microsoft.com/office/drawing/2014/main" id="{CAE7423C-0BBB-4D40-8F55-D1ED03A3FDDA}"/>
                </a:ext>
              </a:extLst>
            </p:cNvPr>
            <p:cNvSpPr/>
            <p:nvPr/>
          </p:nvSpPr>
          <p:spPr>
            <a:xfrm rot="13089394">
              <a:off x="767127" y="-2787"/>
              <a:ext cx="149688" cy="301067"/>
            </a:xfrm>
            <a:custGeom>
              <a:avLst/>
              <a:gdLst>
                <a:gd name="connsiteX0" fmla="*/ 149688 w 149688"/>
                <a:gd name="connsiteY0" fmla="*/ 279622 h 301067"/>
                <a:gd name="connsiteX1" fmla="*/ 122393 w 149688"/>
                <a:gd name="connsiteY1" fmla="*/ 301067 h 301067"/>
                <a:gd name="connsiteX2" fmla="*/ 0 w 149688"/>
                <a:gd name="connsiteY2" fmla="*/ 114672 h 301067"/>
                <a:gd name="connsiteX3" fmla="*/ 0 w 149688"/>
                <a:gd name="connsiteY3" fmla="*/ 38074 h 301067"/>
                <a:gd name="connsiteX4" fmla="*/ 73388 w 149688"/>
                <a:gd name="connsiteY4" fmla="*/ 0 h 301067"/>
                <a:gd name="connsiteX5" fmla="*/ 74492 w 149688"/>
                <a:gd name="connsiteY5" fmla="*/ 153950 h 301067"/>
                <a:gd name="connsiteX6" fmla="*/ 87734 w 149688"/>
                <a:gd name="connsiteY6" fmla="*/ 245547 h 301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9688" h="301067">
                  <a:moveTo>
                    <a:pt x="149688" y="279622"/>
                  </a:moveTo>
                  <a:lnTo>
                    <a:pt x="122393" y="301067"/>
                  </a:lnTo>
                  <a:lnTo>
                    <a:pt x="0" y="114672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2836" y="184850"/>
                    <a:pt x="77802" y="216302"/>
                    <a:pt x="87734" y="2455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2" name="Forme libre : forme 301">
              <a:extLst>
                <a:ext uri="{FF2B5EF4-FFF2-40B4-BE49-F238E27FC236}">
                  <a16:creationId xmlns:a16="http://schemas.microsoft.com/office/drawing/2014/main" id="{DE7F88C3-F95A-48EB-BC5C-94F46E2332ED}"/>
                </a:ext>
              </a:extLst>
            </p:cNvPr>
            <p:cNvSpPr/>
            <p:nvPr/>
          </p:nvSpPr>
          <p:spPr>
            <a:xfrm rot="8716295">
              <a:off x="212141" y="304502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3" name="Forme libre : forme 302">
              <a:extLst>
                <a:ext uri="{FF2B5EF4-FFF2-40B4-BE49-F238E27FC236}">
                  <a16:creationId xmlns:a16="http://schemas.microsoft.com/office/drawing/2014/main" id="{D55BD2D7-C439-4F43-96D6-CC4EB9C9A2CD}"/>
                </a:ext>
              </a:extLst>
            </p:cNvPr>
            <p:cNvSpPr/>
            <p:nvPr/>
          </p:nvSpPr>
          <p:spPr>
            <a:xfrm rot="8716295">
              <a:off x="301533" y="307427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4" name="Forme libre : forme 303">
              <a:extLst>
                <a:ext uri="{FF2B5EF4-FFF2-40B4-BE49-F238E27FC236}">
                  <a16:creationId xmlns:a16="http://schemas.microsoft.com/office/drawing/2014/main" id="{98520A64-DC7D-4391-9310-C02770ED1A94}"/>
                </a:ext>
              </a:extLst>
            </p:cNvPr>
            <p:cNvSpPr/>
            <p:nvPr/>
          </p:nvSpPr>
          <p:spPr>
            <a:xfrm rot="8716295">
              <a:off x="256683" y="298799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5" name="Forme libre : forme 304">
              <a:extLst>
                <a:ext uri="{FF2B5EF4-FFF2-40B4-BE49-F238E27FC236}">
                  <a16:creationId xmlns:a16="http://schemas.microsoft.com/office/drawing/2014/main" id="{F4D8F56B-62F1-42CF-A7A2-650DB4131292}"/>
                </a:ext>
              </a:extLst>
            </p:cNvPr>
            <p:cNvSpPr/>
            <p:nvPr/>
          </p:nvSpPr>
          <p:spPr>
            <a:xfrm rot="8716295">
              <a:off x="99907" y="31335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6" name="Forme libre : forme 305">
              <a:extLst>
                <a:ext uri="{FF2B5EF4-FFF2-40B4-BE49-F238E27FC236}">
                  <a16:creationId xmlns:a16="http://schemas.microsoft.com/office/drawing/2014/main" id="{0D43E076-CB6A-4FEE-A459-C1DE20E99E2F}"/>
                </a:ext>
              </a:extLst>
            </p:cNvPr>
            <p:cNvSpPr/>
            <p:nvPr/>
          </p:nvSpPr>
          <p:spPr>
            <a:xfrm rot="8716295">
              <a:off x="-24996" y="29248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7" name="Forme libre : forme 306">
              <a:extLst>
                <a:ext uri="{FF2B5EF4-FFF2-40B4-BE49-F238E27FC236}">
                  <a16:creationId xmlns:a16="http://schemas.microsoft.com/office/drawing/2014/main" id="{CA2035BC-118E-49FD-BF84-9E105EEC437B}"/>
                </a:ext>
              </a:extLst>
            </p:cNvPr>
            <p:cNvSpPr/>
            <p:nvPr/>
          </p:nvSpPr>
          <p:spPr>
            <a:xfrm rot="8716295">
              <a:off x="51899" y="2754602"/>
              <a:ext cx="189488" cy="350829"/>
            </a:xfrm>
            <a:custGeom>
              <a:avLst/>
              <a:gdLst>
                <a:gd name="connsiteX0" fmla="*/ 25299 w 189488"/>
                <a:gd name="connsiteY0" fmla="*/ 321238 h 350829"/>
                <a:gd name="connsiteX1" fmla="*/ 0 w 189488"/>
                <a:gd name="connsiteY1" fmla="*/ 220042 h 350829"/>
                <a:gd name="connsiteX2" fmla="*/ 0 w 189488"/>
                <a:gd name="connsiteY2" fmla="*/ 40596 h 350829"/>
                <a:gd name="connsiteX3" fmla="*/ 78250 w 189488"/>
                <a:gd name="connsiteY3" fmla="*/ 0 h 350829"/>
                <a:gd name="connsiteX4" fmla="*/ 79427 w 189488"/>
                <a:gd name="connsiteY4" fmla="*/ 164149 h 350829"/>
                <a:gd name="connsiteX5" fmla="*/ 93547 w 189488"/>
                <a:gd name="connsiteY5" fmla="*/ 261815 h 350829"/>
                <a:gd name="connsiteX6" fmla="*/ 164148 w 189488"/>
                <a:gd name="connsiteY6" fmla="*/ 300646 h 350829"/>
                <a:gd name="connsiteX7" fmla="*/ 189488 w 189488"/>
                <a:gd name="connsiteY7" fmla="*/ 296141 h 350829"/>
                <a:gd name="connsiteX8" fmla="*/ 160617 w 189488"/>
                <a:gd name="connsiteY8" fmla="*/ 337791 h 350829"/>
                <a:gd name="connsiteX9" fmla="*/ 97666 w 189488"/>
                <a:gd name="connsiteY9" fmla="*/ 350655 h 350829"/>
                <a:gd name="connsiteX10" fmla="*/ 25299 w 189488"/>
                <a:gd name="connsiteY10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9488" h="350829">
                  <a:moveTo>
                    <a:pt x="25299" y="321238"/>
                  </a:moveTo>
                  <a:cubicBezTo>
                    <a:pt x="5295" y="301823"/>
                    <a:pt x="0" y="268286"/>
                    <a:pt x="0" y="220042"/>
                  </a:cubicBez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8" y="300646"/>
                  </a:cubicBezTo>
                  <a:lnTo>
                    <a:pt x="189488" y="296141"/>
                  </a:lnTo>
                  <a:lnTo>
                    <a:pt x="160617" y="337791"/>
                  </a:lnTo>
                  <a:lnTo>
                    <a:pt x="97666" y="350655"/>
                  </a:ln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8" name="Forme libre : forme 307">
              <a:extLst>
                <a:ext uri="{FF2B5EF4-FFF2-40B4-BE49-F238E27FC236}">
                  <a16:creationId xmlns:a16="http://schemas.microsoft.com/office/drawing/2014/main" id="{E8F898AD-C8B7-4665-871C-0DD08867FE33}"/>
                </a:ext>
              </a:extLst>
            </p:cNvPr>
            <p:cNvSpPr/>
            <p:nvPr/>
          </p:nvSpPr>
          <p:spPr>
            <a:xfrm rot="8716295">
              <a:off x="190085" y="317452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9" name="Forme libre : forme 308">
              <a:extLst>
                <a:ext uri="{FF2B5EF4-FFF2-40B4-BE49-F238E27FC236}">
                  <a16:creationId xmlns:a16="http://schemas.microsoft.com/office/drawing/2014/main" id="{21447FE1-A29B-45A2-85C9-8C8BA929308B}"/>
                </a:ext>
              </a:extLst>
            </p:cNvPr>
            <p:cNvSpPr/>
            <p:nvPr/>
          </p:nvSpPr>
          <p:spPr>
            <a:xfrm rot="8716295">
              <a:off x="502599" y="2802136"/>
              <a:ext cx="117588" cy="232388"/>
            </a:xfrm>
            <a:custGeom>
              <a:avLst/>
              <a:gdLst>
                <a:gd name="connsiteX0" fmla="*/ 56529 w 117588"/>
                <a:gd name="connsiteY0" fmla="*/ 232388 h 232388"/>
                <a:gd name="connsiteX1" fmla="*/ 56529 w 117588"/>
                <a:gd name="connsiteY1" fmla="*/ 69717 h 232388"/>
                <a:gd name="connsiteX2" fmla="*/ 56529 w 117588"/>
                <a:gd name="connsiteY2" fmla="*/ 65615 h 232388"/>
                <a:gd name="connsiteX3" fmla="*/ 36025 w 117588"/>
                <a:gd name="connsiteY3" fmla="*/ 50123 h 232388"/>
                <a:gd name="connsiteX4" fmla="*/ 0 w 117588"/>
                <a:gd name="connsiteY4" fmla="*/ 50123 h 232388"/>
                <a:gd name="connsiteX5" fmla="*/ 41458 w 117588"/>
                <a:gd name="connsiteY5" fmla="*/ 0 h 232388"/>
                <a:gd name="connsiteX6" fmla="*/ 60630 w 117588"/>
                <a:gd name="connsiteY6" fmla="*/ 0 h 232388"/>
                <a:gd name="connsiteX7" fmla="*/ 117588 w 117588"/>
                <a:gd name="connsiteY7" fmla="*/ 50123 h 232388"/>
                <a:gd name="connsiteX8" fmla="*/ 117588 w 117588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7588" h="232388">
                  <a:moveTo>
                    <a:pt x="56529" y="232388"/>
                  </a:moveTo>
                  <a:lnTo>
                    <a:pt x="56529" y="69717"/>
                  </a:lnTo>
                  <a:cubicBezTo>
                    <a:pt x="56529" y="68349"/>
                    <a:pt x="56529" y="66983"/>
                    <a:pt x="56529" y="65615"/>
                  </a:cubicBezTo>
                  <a:cubicBezTo>
                    <a:pt x="55163" y="55591"/>
                    <a:pt x="46049" y="48756"/>
                    <a:pt x="36025" y="50123"/>
                  </a:cubicBezTo>
                  <a:lnTo>
                    <a:pt x="0" y="50123"/>
                  </a:lnTo>
                  <a:lnTo>
                    <a:pt x="41458" y="0"/>
                  </a:lnTo>
                  <a:lnTo>
                    <a:pt x="60630" y="0"/>
                  </a:lnTo>
                  <a:cubicBezTo>
                    <a:pt x="97539" y="0"/>
                    <a:pt x="117588" y="15948"/>
                    <a:pt x="117588" y="50123"/>
                  </a:cubicBezTo>
                  <a:lnTo>
                    <a:pt x="117588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0" name="Forme libre : forme 309">
              <a:extLst>
                <a:ext uri="{FF2B5EF4-FFF2-40B4-BE49-F238E27FC236}">
                  <a16:creationId xmlns:a16="http://schemas.microsoft.com/office/drawing/2014/main" id="{DC5CD014-032B-4188-8129-1BA9EDEB5E1C}"/>
                </a:ext>
              </a:extLst>
            </p:cNvPr>
            <p:cNvSpPr/>
            <p:nvPr/>
          </p:nvSpPr>
          <p:spPr>
            <a:xfrm rot="8716295">
              <a:off x="389006" y="2883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1" name="Forme libre : forme 310">
              <a:extLst>
                <a:ext uri="{FF2B5EF4-FFF2-40B4-BE49-F238E27FC236}">
                  <a16:creationId xmlns:a16="http://schemas.microsoft.com/office/drawing/2014/main" id="{4BFA54F9-8E75-4357-98AE-7842173849BD}"/>
                </a:ext>
              </a:extLst>
            </p:cNvPr>
            <p:cNvSpPr/>
            <p:nvPr/>
          </p:nvSpPr>
          <p:spPr>
            <a:xfrm rot="8716295">
              <a:off x="264104" y="267474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2" name="Forme libre : forme 311">
              <a:extLst>
                <a:ext uri="{FF2B5EF4-FFF2-40B4-BE49-F238E27FC236}">
                  <a16:creationId xmlns:a16="http://schemas.microsoft.com/office/drawing/2014/main" id="{D627B6F1-7278-4938-8513-4523BF111D7A}"/>
                </a:ext>
              </a:extLst>
            </p:cNvPr>
            <p:cNvSpPr/>
            <p:nvPr/>
          </p:nvSpPr>
          <p:spPr>
            <a:xfrm rot="8716295">
              <a:off x="479184" y="292437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3" name="Forme libre : forme 312">
              <a:extLst>
                <a:ext uri="{FF2B5EF4-FFF2-40B4-BE49-F238E27FC236}">
                  <a16:creationId xmlns:a16="http://schemas.microsoft.com/office/drawing/2014/main" id="{44A8C608-76B9-49F0-B8EA-9C07C31A92DA}"/>
                </a:ext>
              </a:extLst>
            </p:cNvPr>
            <p:cNvSpPr/>
            <p:nvPr/>
          </p:nvSpPr>
          <p:spPr>
            <a:xfrm rot="8716295">
              <a:off x="237733" y="277477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4" name="Forme libre : forme 313">
              <a:extLst>
                <a:ext uri="{FF2B5EF4-FFF2-40B4-BE49-F238E27FC236}">
                  <a16:creationId xmlns:a16="http://schemas.microsoft.com/office/drawing/2014/main" id="{31723CE5-0F31-4468-8030-5F9773A83A08}"/>
                </a:ext>
              </a:extLst>
            </p:cNvPr>
            <p:cNvSpPr/>
            <p:nvPr/>
          </p:nvSpPr>
          <p:spPr>
            <a:xfrm rot="7484129">
              <a:off x="609980" y="3142825"/>
              <a:ext cx="20881" cy="31001"/>
            </a:xfrm>
            <a:custGeom>
              <a:avLst/>
              <a:gdLst>
                <a:gd name="connsiteX0" fmla="*/ 10218 w 20881"/>
                <a:gd name="connsiteY0" fmla="*/ 31001 h 31001"/>
                <a:gd name="connsiteX1" fmla="*/ 0 w 20881"/>
                <a:gd name="connsiteY1" fmla="*/ 11992 h 31001"/>
                <a:gd name="connsiteX2" fmla="*/ 20881 w 20881"/>
                <a:gd name="connsiteY2" fmla="*/ 0 h 31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881" h="31001">
                  <a:moveTo>
                    <a:pt x="10218" y="31001"/>
                  </a:moveTo>
                  <a:lnTo>
                    <a:pt x="0" y="11992"/>
                  </a:lnTo>
                  <a:lnTo>
                    <a:pt x="2088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5" name="Forme libre : forme 314">
              <a:extLst>
                <a:ext uri="{FF2B5EF4-FFF2-40B4-BE49-F238E27FC236}">
                  <a16:creationId xmlns:a16="http://schemas.microsoft.com/office/drawing/2014/main" id="{0A1A01CF-9944-4EC3-883D-948C509B42CD}"/>
                </a:ext>
              </a:extLst>
            </p:cNvPr>
            <p:cNvSpPr/>
            <p:nvPr/>
          </p:nvSpPr>
          <p:spPr>
            <a:xfrm rot="8716295">
              <a:off x="579469" y="28172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6" name="Forme libre : forme 315">
              <a:extLst>
                <a:ext uri="{FF2B5EF4-FFF2-40B4-BE49-F238E27FC236}">
                  <a16:creationId xmlns:a16="http://schemas.microsoft.com/office/drawing/2014/main" id="{71717ABE-8C5B-4E08-B642-252D74033C89}"/>
                </a:ext>
              </a:extLst>
            </p:cNvPr>
            <p:cNvSpPr/>
            <p:nvPr/>
          </p:nvSpPr>
          <p:spPr>
            <a:xfrm rot="8716295">
              <a:off x="437995" y="3716235"/>
              <a:ext cx="102679" cy="232388"/>
            </a:xfrm>
            <a:custGeom>
              <a:avLst/>
              <a:gdLst>
                <a:gd name="connsiteX0" fmla="*/ 41620 w 102679"/>
                <a:gd name="connsiteY0" fmla="*/ 232388 h 232388"/>
                <a:gd name="connsiteX1" fmla="*/ 41620 w 102679"/>
                <a:gd name="connsiteY1" fmla="*/ 69717 h 232388"/>
                <a:gd name="connsiteX2" fmla="*/ 41620 w 102679"/>
                <a:gd name="connsiteY2" fmla="*/ 65615 h 232388"/>
                <a:gd name="connsiteX3" fmla="*/ 21116 w 102679"/>
                <a:gd name="connsiteY3" fmla="*/ 50123 h 232388"/>
                <a:gd name="connsiteX4" fmla="*/ 0 w 102679"/>
                <a:gd name="connsiteY4" fmla="*/ 50123 h 232388"/>
                <a:gd name="connsiteX5" fmla="*/ 41457 w 102679"/>
                <a:gd name="connsiteY5" fmla="*/ 0 h 232388"/>
                <a:gd name="connsiteX6" fmla="*/ 45721 w 102679"/>
                <a:gd name="connsiteY6" fmla="*/ 0 h 232388"/>
                <a:gd name="connsiteX7" fmla="*/ 102679 w 102679"/>
                <a:gd name="connsiteY7" fmla="*/ 50123 h 232388"/>
                <a:gd name="connsiteX8" fmla="*/ 102679 w 102679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2679" h="232388">
                  <a:moveTo>
                    <a:pt x="41620" y="232388"/>
                  </a:moveTo>
                  <a:lnTo>
                    <a:pt x="41620" y="69717"/>
                  </a:lnTo>
                  <a:cubicBezTo>
                    <a:pt x="41620" y="68349"/>
                    <a:pt x="41620" y="66983"/>
                    <a:pt x="41620" y="65615"/>
                  </a:cubicBezTo>
                  <a:cubicBezTo>
                    <a:pt x="40254" y="55591"/>
                    <a:pt x="31140" y="48756"/>
                    <a:pt x="21116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45721" y="0"/>
                  </a:lnTo>
                  <a:cubicBezTo>
                    <a:pt x="82630" y="0"/>
                    <a:pt x="102679" y="15948"/>
                    <a:pt x="102679" y="50123"/>
                  </a:cubicBezTo>
                  <a:lnTo>
                    <a:pt x="102679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7" name="Forme libre : forme 316">
              <a:extLst>
                <a:ext uri="{FF2B5EF4-FFF2-40B4-BE49-F238E27FC236}">
                  <a16:creationId xmlns:a16="http://schemas.microsoft.com/office/drawing/2014/main" id="{57F9E802-91E2-4CB8-8036-748B1071E3AB}"/>
                </a:ext>
              </a:extLst>
            </p:cNvPr>
            <p:cNvSpPr/>
            <p:nvPr/>
          </p:nvSpPr>
          <p:spPr>
            <a:xfrm rot="8716295">
              <a:off x="482715" y="3669965"/>
              <a:ext cx="154563" cy="124897"/>
            </a:xfrm>
            <a:custGeom>
              <a:avLst/>
              <a:gdLst>
                <a:gd name="connsiteX0" fmla="*/ 0 w 154563"/>
                <a:gd name="connsiteY0" fmla="*/ 124897 h 124897"/>
                <a:gd name="connsiteX1" fmla="*/ 95474 w 154563"/>
                <a:gd name="connsiteY1" fmla="*/ 9467 h 124897"/>
                <a:gd name="connsiteX2" fmla="*/ 96067 w 154563"/>
                <a:gd name="connsiteY2" fmla="*/ 9000 h 124897"/>
                <a:gd name="connsiteX3" fmla="*/ 126312 w 154563"/>
                <a:gd name="connsiteY3" fmla="*/ 0 h 124897"/>
                <a:gd name="connsiteX4" fmla="*/ 154563 w 154563"/>
                <a:gd name="connsiteY4" fmla="*/ 33719 h 124897"/>
                <a:gd name="connsiteX5" fmla="*/ 128135 w 154563"/>
                <a:gd name="connsiteY5" fmla="*/ 69261 h 124897"/>
                <a:gd name="connsiteX6" fmla="*/ 128590 w 154563"/>
                <a:gd name="connsiteY6" fmla="*/ 69261 h 12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4563" h="124897">
                  <a:moveTo>
                    <a:pt x="0" y="124897"/>
                  </a:moveTo>
                  <a:lnTo>
                    <a:pt x="95474" y="9467"/>
                  </a:lnTo>
                  <a:lnTo>
                    <a:pt x="96067" y="9000"/>
                  </a:lnTo>
                  <a:cubicBezTo>
                    <a:pt x="105351" y="4215"/>
                    <a:pt x="115604" y="1139"/>
                    <a:pt x="126312" y="0"/>
                  </a:cubicBezTo>
                  <a:cubicBezTo>
                    <a:pt x="148184" y="0"/>
                    <a:pt x="154563" y="19138"/>
                    <a:pt x="154563" y="33719"/>
                  </a:cubicBezTo>
                  <a:cubicBezTo>
                    <a:pt x="153196" y="49668"/>
                    <a:pt x="142715" y="62882"/>
                    <a:pt x="128135" y="69261"/>
                  </a:cubicBezTo>
                  <a:lnTo>
                    <a:pt x="128590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8" name="Forme libre : forme 317">
              <a:extLst>
                <a:ext uri="{FF2B5EF4-FFF2-40B4-BE49-F238E27FC236}">
                  <a16:creationId xmlns:a16="http://schemas.microsoft.com/office/drawing/2014/main" id="{844BD3AC-808C-49B6-9585-45AED27044D8}"/>
                </a:ext>
              </a:extLst>
            </p:cNvPr>
            <p:cNvSpPr/>
            <p:nvPr/>
          </p:nvSpPr>
          <p:spPr>
            <a:xfrm rot="8716295">
              <a:off x="323074" y="379327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9" name="Forme libre : forme 318">
              <a:extLst>
                <a:ext uri="{FF2B5EF4-FFF2-40B4-BE49-F238E27FC236}">
                  <a16:creationId xmlns:a16="http://schemas.microsoft.com/office/drawing/2014/main" id="{6610930E-080F-4669-B332-C11A7EDE2E69}"/>
                </a:ext>
              </a:extLst>
            </p:cNvPr>
            <p:cNvSpPr/>
            <p:nvPr/>
          </p:nvSpPr>
          <p:spPr>
            <a:xfrm rot="8716295">
              <a:off x="198171" y="358459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0" name="Forme libre : forme 319">
              <a:extLst>
                <a:ext uri="{FF2B5EF4-FFF2-40B4-BE49-F238E27FC236}">
                  <a16:creationId xmlns:a16="http://schemas.microsoft.com/office/drawing/2014/main" id="{BB6AE4FF-01F3-4791-9797-82B71A71685F}"/>
                </a:ext>
              </a:extLst>
            </p:cNvPr>
            <p:cNvSpPr/>
            <p:nvPr/>
          </p:nvSpPr>
          <p:spPr>
            <a:xfrm rot="8716295">
              <a:off x="186119" y="344581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1" name="Forme libre : forme 320">
              <a:extLst>
                <a:ext uri="{FF2B5EF4-FFF2-40B4-BE49-F238E27FC236}">
                  <a16:creationId xmlns:a16="http://schemas.microsoft.com/office/drawing/2014/main" id="{B2FBA9B1-476F-454A-86CF-CB8E10185C59}"/>
                </a:ext>
              </a:extLst>
            </p:cNvPr>
            <p:cNvSpPr/>
            <p:nvPr/>
          </p:nvSpPr>
          <p:spPr>
            <a:xfrm rot="8716295">
              <a:off x="410218" y="3834716"/>
              <a:ext cx="103435" cy="219174"/>
            </a:xfrm>
            <a:custGeom>
              <a:avLst/>
              <a:gdLst>
                <a:gd name="connsiteX0" fmla="*/ 103435 w 103435"/>
                <a:gd name="connsiteY0" fmla="*/ 219174 h 219174"/>
                <a:gd name="connsiteX1" fmla="*/ 43288 w 103435"/>
                <a:gd name="connsiteY1" fmla="*/ 161305 h 219174"/>
                <a:gd name="connsiteX2" fmla="*/ 43288 w 103435"/>
                <a:gd name="connsiteY2" fmla="*/ 16404 h 219174"/>
                <a:gd name="connsiteX3" fmla="*/ 0 w 103435"/>
                <a:gd name="connsiteY3" fmla="*/ 16404 h 219174"/>
                <a:gd name="connsiteX4" fmla="*/ 0 w 103435"/>
                <a:gd name="connsiteY4" fmla="*/ 16028 h 219174"/>
                <a:gd name="connsiteX5" fmla="*/ 11583 w 103435"/>
                <a:gd name="connsiteY5" fmla="*/ 2023 h 219174"/>
                <a:gd name="connsiteX6" fmla="*/ 103435 w 103435"/>
                <a:gd name="connsiteY6" fmla="*/ 0 h 219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19174">
                  <a:moveTo>
                    <a:pt x="103435" y="219174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16028"/>
                  </a:lnTo>
                  <a:lnTo>
                    <a:pt x="11583" y="2023"/>
                  </a:lnTo>
                  <a:lnTo>
                    <a:pt x="10343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2" name="Forme libre : forme 321">
              <a:extLst>
                <a:ext uri="{FF2B5EF4-FFF2-40B4-BE49-F238E27FC236}">
                  <a16:creationId xmlns:a16="http://schemas.microsoft.com/office/drawing/2014/main" id="{FC54D21D-2562-49FC-BEBE-B5E2AB5AF4EE}"/>
                </a:ext>
              </a:extLst>
            </p:cNvPr>
            <p:cNvSpPr/>
            <p:nvPr/>
          </p:nvSpPr>
          <p:spPr>
            <a:xfrm rot="8716295">
              <a:off x="487452" y="3349370"/>
              <a:ext cx="151162" cy="195873"/>
            </a:xfrm>
            <a:custGeom>
              <a:avLst/>
              <a:gdLst>
                <a:gd name="connsiteX0" fmla="*/ 38025 w 151162"/>
                <a:gd name="connsiteY0" fmla="*/ 195873 h 195873"/>
                <a:gd name="connsiteX1" fmla="*/ 0 w 151162"/>
                <a:gd name="connsiteY1" fmla="*/ 125130 h 195873"/>
                <a:gd name="connsiteX2" fmla="*/ 103497 w 151162"/>
                <a:gd name="connsiteY2" fmla="*/ 0 h 195873"/>
                <a:gd name="connsiteX3" fmla="*/ 151162 w 151162"/>
                <a:gd name="connsiteY3" fmla="*/ 0 h 195873"/>
                <a:gd name="connsiteX4" fmla="*/ 151162 w 151162"/>
                <a:gd name="connsiteY4" fmla="*/ 55323 h 195873"/>
                <a:gd name="connsiteX5" fmla="*/ 86370 w 151162"/>
                <a:gd name="connsiteY5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1162" h="195873">
                  <a:moveTo>
                    <a:pt x="38025" y="195873"/>
                  </a:moveTo>
                  <a:lnTo>
                    <a:pt x="0" y="125130"/>
                  </a:lnTo>
                  <a:lnTo>
                    <a:pt x="103497" y="0"/>
                  </a:lnTo>
                  <a:lnTo>
                    <a:pt x="151162" y="0"/>
                  </a:lnTo>
                  <a:lnTo>
                    <a:pt x="151162" y="55323"/>
                  </a:lnTo>
                  <a:lnTo>
                    <a:pt x="86370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3" name="Forme libre : forme 322">
              <a:extLst>
                <a:ext uri="{FF2B5EF4-FFF2-40B4-BE49-F238E27FC236}">
                  <a16:creationId xmlns:a16="http://schemas.microsoft.com/office/drawing/2014/main" id="{1800C2CB-54A6-4240-B3ED-11D6043BB03F}"/>
                </a:ext>
              </a:extLst>
            </p:cNvPr>
            <p:cNvSpPr/>
            <p:nvPr/>
          </p:nvSpPr>
          <p:spPr>
            <a:xfrm rot="8716295">
              <a:off x="460900" y="343447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4" name="Forme libre : forme 323">
              <a:extLst>
                <a:ext uri="{FF2B5EF4-FFF2-40B4-BE49-F238E27FC236}">
                  <a16:creationId xmlns:a16="http://schemas.microsoft.com/office/drawing/2014/main" id="{3EBD1C82-1557-40AF-96AD-1C870F5CE8D7}"/>
                </a:ext>
              </a:extLst>
            </p:cNvPr>
            <p:cNvSpPr/>
            <p:nvPr/>
          </p:nvSpPr>
          <p:spPr>
            <a:xfrm rot="8716295">
              <a:off x="417336" y="4258920"/>
              <a:ext cx="147637" cy="195874"/>
            </a:xfrm>
            <a:custGeom>
              <a:avLst/>
              <a:gdLst>
                <a:gd name="connsiteX0" fmla="*/ 34500 w 147637"/>
                <a:gd name="connsiteY0" fmla="*/ 195874 h 195874"/>
                <a:gd name="connsiteX1" fmla="*/ 0 w 147637"/>
                <a:gd name="connsiteY1" fmla="*/ 131688 h 195874"/>
                <a:gd name="connsiteX2" fmla="*/ 108921 w 147637"/>
                <a:gd name="connsiteY2" fmla="*/ 0 h 195874"/>
                <a:gd name="connsiteX3" fmla="*/ 147637 w 147637"/>
                <a:gd name="connsiteY3" fmla="*/ 0 h 195874"/>
                <a:gd name="connsiteX4" fmla="*/ 147637 w 147637"/>
                <a:gd name="connsiteY4" fmla="*/ 55323 h 195874"/>
                <a:gd name="connsiteX5" fmla="*/ 82845 w 147637"/>
                <a:gd name="connsiteY5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7637" h="195874">
                  <a:moveTo>
                    <a:pt x="34500" y="195874"/>
                  </a:moveTo>
                  <a:lnTo>
                    <a:pt x="0" y="131688"/>
                  </a:lnTo>
                  <a:lnTo>
                    <a:pt x="108921" y="0"/>
                  </a:lnTo>
                  <a:lnTo>
                    <a:pt x="147637" y="0"/>
                  </a:lnTo>
                  <a:lnTo>
                    <a:pt x="147637" y="55323"/>
                  </a:lnTo>
                  <a:lnTo>
                    <a:pt x="8284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5" name="Forme libre : forme 324">
              <a:extLst>
                <a:ext uri="{FF2B5EF4-FFF2-40B4-BE49-F238E27FC236}">
                  <a16:creationId xmlns:a16="http://schemas.microsoft.com/office/drawing/2014/main" id="{50FA5920-2CA1-4B57-AFE9-708172C7151C}"/>
                </a:ext>
              </a:extLst>
            </p:cNvPr>
            <p:cNvSpPr/>
            <p:nvPr/>
          </p:nvSpPr>
          <p:spPr>
            <a:xfrm rot="8716295">
              <a:off x="330834" y="4134902"/>
              <a:ext cx="254613" cy="91157"/>
            </a:xfrm>
            <a:custGeom>
              <a:avLst/>
              <a:gdLst>
                <a:gd name="connsiteX0" fmla="*/ 0 w 254613"/>
                <a:gd name="connsiteY0" fmla="*/ 68911 h 91157"/>
                <a:gd name="connsiteX1" fmla="*/ 56997 w 254613"/>
                <a:gd name="connsiteY1" fmla="*/ 0 h 91157"/>
                <a:gd name="connsiteX2" fmla="*/ 57517 w 254613"/>
                <a:gd name="connsiteY2" fmla="*/ 2143 h 91157"/>
                <a:gd name="connsiteX3" fmla="*/ 128118 w 254613"/>
                <a:gd name="connsiteY3" fmla="*/ 40974 h 91157"/>
                <a:gd name="connsiteX4" fmla="*/ 181070 w 254613"/>
                <a:gd name="connsiteY4" fmla="*/ 31560 h 91157"/>
                <a:gd name="connsiteX5" fmla="*/ 253437 w 254613"/>
                <a:gd name="connsiteY5" fmla="*/ 2143 h 91157"/>
                <a:gd name="connsiteX6" fmla="*/ 254613 w 254613"/>
                <a:gd name="connsiteY6" fmla="*/ 9791 h 91157"/>
                <a:gd name="connsiteX7" fmla="*/ 254613 w 254613"/>
                <a:gd name="connsiteY7" fmla="*/ 15674 h 91157"/>
                <a:gd name="connsiteX8" fmla="*/ 61636 w 254613"/>
                <a:gd name="connsiteY8" fmla="*/ 90983 h 91157"/>
                <a:gd name="connsiteX9" fmla="*/ 22363 w 254613"/>
                <a:gd name="connsiteY9" fmla="*/ 84217 h 91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4613" h="91157">
                  <a:moveTo>
                    <a:pt x="0" y="68911"/>
                  </a:moveTo>
                  <a:lnTo>
                    <a:pt x="56997" y="0"/>
                  </a:lnTo>
                  <a:lnTo>
                    <a:pt x="57517" y="2143"/>
                  </a:lnTo>
                  <a:cubicBezTo>
                    <a:pt x="66931" y="28030"/>
                    <a:pt x="91053" y="40974"/>
                    <a:pt x="128118" y="40974"/>
                  </a:cubicBezTo>
                  <a:cubicBezTo>
                    <a:pt x="146357" y="40385"/>
                    <a:pt x="164008" y="36855"/>
                    <a:pt x="181070" y="31560"/>
                  </a:cubicBezTo>
                  <a:cubicBezTo>
                    <a:pt x="205780" y="23912"/>
                    <a:pt x="229903" y="13910"/>
                    <a:pt x="253437" y="2143"/>
                  </a:cubicBezTo>
                  <a:cubicBezTo>
                    <a:pt x="254025" y="4496"/>
                    <a:pt x="254613" y="7438"/>
                    <a:pt x="254613" y="9791"/>
                  </a:cubicBezTo>
                  <a:lnTo>
                    <a:pt x="254613" y="15674"/>
                  </a:lnTo>
                  <a:cubicBezTo>
                    <a:pt x="192249" y="69215"/>
                    <a:pt x="110468" y="88042"/>
                    <a:pt x="61636" y="90983"/>
                  </a:cubicBezTo>
                  <a:cubicBezTo>
                    <a:pt x="48104" y="91866"/>
                    <a:pt x="34719" y="89365"/>
                    <a:pt x="22363" y="842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6" name="Forme libre : forme 325">
              <a:extLst>
                <a:ext uri="{FF2B5EF4-FFF2-40B4-BE49-F238E27FC236}">
                  <a16:creationId xmlns:a16="http://schemas.microsoft.com/office/drawing/2014/main" id="{E3EDD39B-7171-468B-A877-2CE2BD07726B}"/>
                </a:ext>
              </a:extLst>
            </p:cNvPr>
            <p:cNvSpPr/>
            <p:nvPr/>
          </p:nvSpPr>
          <p:spPr>
            <a:xfrm rot="8716295">
              <a:off x="-3428" y="2405990"/>
              <a:ext cx="142167" cy="208592"/>
            </a:xfrm>
            <a:custGeom>
              <a:avLst/>
              <a:gdLst>
                <a:gd name="connsiteX0" fmla="*/ 81108 w 142167"/>
                <a:gd name="connsiteY0" fmla="*/ 208592 h 208592"/>
                <a:gd name="connsiteX1" fmla="*/ 81108 w 142167"/>
                <a:gd name="connsiteY1" fmla="*/ 69717 h 208592"/>
                <a:gd name="connsiteX2" fmla="*/ 81108 w 142167"/>
                <a:gd name="connsiteY2" fmla="*/ 65615 h 208592"/>
                <a:gd name="connsiteX3" fmla="*/ 60604 w 142167"/>
                <a:gd name="connsiteY3" fmla="*/ 50123 h 208592"/>
                <a:gd name="connsiteX4" fmla="*/ 0 w 142167"/>
                <a:gd name="connsiteY4" fmla="*/ 50123 h 208592"/>
                <a:gd name="connsiteX5" fmla="*/ 0 w 142167"/>
                <a:gd name="connsiteY5" fmla="*/ 0 h 208592"/>
                <a:gd name="connsiteX6" fmla="*/ 85210 w 142167"/>
                <a:gd name="connsiteY6" fmla="*/ 0 h 208592"/>
                <a:gd name="connsiteX7" fmla="*/ 142167 w 142167"/>
                <a:gd name="connsiteY7" fmla="*/ 50123 h 208592"/>
                <a:gd name="connsiteX8" fmla="*/ 142167 w 142167"/>
                <a:gd name="connsiteY8" fmla="*/ 120504 h 20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08592">
                  <a:moveTo>
                    <a:pt x="81108" y="208592"/>
                  </a:moveTo>
                  <a:lnTo>
                    <a:pt x="81108" y="69717"/>
                  </a:lnTo>
                  <a:cubicBezTo>
                    <a:pt x="81108" y="68350"/>
                    <a:pt x="81108" y="66983"/>
                    <a:pt x="81108" y="65615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10" y="0"/>
                  </a:lnTo>
                  <a:cubicBezTo>
                    <a:pt x="122118" y="0"/>
                    <a:pt x="142167" y="15948"/>
                    <a:pt x="142167" y="50123"/>
                  </a:cubicBezTo>
                  <a:lnTo>
                    <a:pt x="142167" y="1205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7" name="Forme libre : forme 326">
              <a:extLst>
                <a:ext uri="{FF2B5EF4-FFF2-40B4-BE49-F238E27FC236}">
                  <a16:creationId xmlns:a16="http://schemas.microsoft.com/office/drawing/2014/main" id="{23F7EF39-C8FF-4CA7-9DED-AF0E47CA9C7E}"/>
                </a:ext>
              </a:extLst>
            </p:cNvPr>
            <p:cNvSpPr/>
            <p:nvPr/>
          </p:nvSpPr>
          <p:spPr>
            <a:xfrm rot="8716295">
              <a:off x="80015" y="241329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8" name="Forme libre : forme 327">
              <a:extLst>
                <a:ext uri="{FF2B5EF4-FFF2-40B4-BE49-F238E27FC236}">
                  <a16:creationId xmlns:a16="http://schemas.microsoft.com/office/drawing/2014/main" id="{FBC44AA7-6291-474B-9C67-ED7522250EEB}"/>
                </a:ext>
              </a:extLst>
            </p:cNvPr>
            <p:cNvSpPr/>
            <p:nvPr/>
          </p:nvSpPr>
          <p:spPr>
            <a:xfrm rot="8716295">
              <a:off x="35165" y="232701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9" name="Forme libre : forme 328">
              <a:extLst>
                <a:ext uri="{FF2B5EF4-FFF2-40B4-BE49-F238E27FC236}">
                  <a16:creationId xmlns:a16="http://schemas.microsoft.com/office/drawing/2014/main" id="{5EA7A5E2-9C29-45B6-9267-972B0EFC92AD}"/>
                </a:ext>
              </a:extLst>
            </p:cNvPr>
            <p:cNvSpPr/>
            <p:nvPr/>
          </p:nvSpPr>
          <p:spPr>
            <a:xfrm rot="8716295">
              <a:off x="-20257" y="2217087"/>
              <a:ext cx="78731" cy="180665"/>
            </a:xfrm>
            <a:custGeom>
              <a:avLst/>
              <a:gdLst>
                <a:gd name="connsiteX0" fmla="*/ 0 w 78731"/>
                <a:gd name="connsiteY0" fmla="*/ 180665 h 180665"/>
                <a:gd name="connsiteX1" fmla="*/ 0 w 78731"/>
                <a:gd name="connsiteY1" fmla="*/ 40596 h 180665"/>
                <a:gd name="connsiteX2" fmla="*/ 78250 w 78731"/>
                <a:gd name="connsiteY2" fmla="*/ 0 h 180665"/>
                <a:gd name="connsiteX3" fmla="*/ 78731 w 78731"/>
                <a:gd name="connsiteY3" fmla="*/ 67083 h 180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731" h="180665">
                  <a:moveTo>
                    <a:pt x="0" y="180665"/>
                  </a:moveTo>
                  <a:lnTo>
                    <a:pt x="0" y="40596"/>
                  </a:lnTo>
                  <a:lnTo>
                    <a:pt x="78250" y="0"/>
                  </a:lnTo>
                  <a:lnTo>
                    <a:pt x="78731" y="670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0" name="Forme libre : forme 329">
              <a:extLst>
                <a:ext uri="{FF2B5EF4-FFF2-40B4-BE49-F238E27FC236}">
                  <a16:creationId xmlns:a16="http://schemas.microsoft.com/office/drawing/2014/main" id="{29FF2476-3E2D-4E1C-AC58-09A8EA6AE16D}"/>
                </a:ext>
              </a:extLst>
            </p:cNvPr>
            <p:cNvSpPr/>
            <p:nvPr/>
          </p:nvSpPr>
          <p:spPr>
            <a:xfrm rot="8716295">
              <a:off x="-15341" y="2575209"/>
              <a:ext cx="103435" cy="152027"/>
            </a:xfrm>
            <a:custGeom>
              <a:avLst/>
              <a:gdLst>
                <a:gd name="connsiteX0" fmla="*/ 43288 w 103435"/>
                <a:gd name="connsiteY0" fmla="*/ 152027 h 152027"/>
                <a:gd name="connsiteX1" fmla="*/ 43288 w 103435"/>
                <a:gd name="connsiteY1" fmla="*/ 16404 h 152027"/>
                <a:gd name="connsiteX2" fmla="*/ 0 w 103435"/>
                <a:gd name="connsiteY2" fmla="*/ 16404 h 152027"/>
                <a:gd name="connsiteX3" fmla="*/ 0 w 103435"/>
                <a:gd name="connsiteY3" fmla="*/ 2278 h 152027"/>
                <a:gd name="connsiteX4" fmla="*/ 103435 w 103435"/>
                <a:gd name="connsiteY4" fmla="*/ 0 h 152027"/>
                <a:gd name="connsiteX5" fmla="*/ 103435 w 103435"/>
                <a:gd name="connsiteY5" fmla="*/ 65255 h 152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152027">
                  <a:moveTo>
                    <a:pt x="43288" y="152027"/>
                  </a:move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652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1" name="Forme libre : forme 330">
              <a:extLst>
                <a:ext uri="{FF2B5EF4-FFF2-40B4-BE49-F238E27FC236}">
                  <a16:creationId xmlns:a16="http://schemas.microsoft.com/office/drawing/2014/main" id="{75F88328-D448-4AA5-9E75-FE8115368C6C}"/>
                </a:ext>
              </a:extLst>
            </p:cNvPr>
            <p:cNvSpPr/>
            <p:nvPr/>
          </p:nvSpPr>
          <p:spPr>
            <a:xfrm rot="8716295">
              <a:off x="279722" y="21339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2" name="Forme libre : forme 331">
              <a:extLst>
                <a:ext uri="{FF2B5EF4-FFF2-40B4-BE49-F238E27FC236}">
                  <a16:creationId xmlns:a16="http://schemas.microsoft.com/office/drawing/2014/main" id="{426E2A9F-197F-4F75-8782-ED9A68D4D6C8}"/>
                </a:ext>
              </a:extLst>
            </p:cNvPr>
            <p:cNvSpPr/>
            <p:nvPr/>
          </p:nvSpPr>
          <p:spPr>
            <a:xfrm rot="8716295">
              <a:off x="369114" y="21631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3" name="Forme libre : forme 332">
              <a:extLst>
                <a:ext uri="{FF2B5EF4-FFF2-40B4-BE49-F238E27FC236}">
                  <a16:creationId xmlns:a16="http://schemas.microsoft.com/office/drawing/2014/main" id="{94DB51E7-8EDB-4900-9675-0F9A6F5C490B}"/>
                </a:ext>
              </a:extLst>
            </p:cNvPr>
            <p:cNvSpPr/>
            <p:nvPr/>
          </p:nvSpPr>
          <p:spPr>
            <a:xfrm rot="8716295">
              <a:off x="167488" y="22224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4" name="Forme libre : forme 333">
              <a:extLst>
                <a:ext uri="{FF2B5EF4-FFF2-40B4-BE49-F238E27FC236}">
                  <a16:creationId xmlns:a16="http://schemas.microsoft.com/office/drawing/2014/main" id="{2E5B2022-399F-4450-9579-1B2308763857}"/>
                </a:ext>
              </a:extLst>
            </p:cNvPr>
            <p:cNvSpPr/>
            <p:nvPr/>
          </p:nvSpPr>
          <p:spPr>
            <a:xfrm rot="8716295">
              <a:off x="42586" y="20137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5" name="Forme libre : forme 334">
              <a:extLst>
                <a:ext uri="{FF2B5EF4-FFF2-40B4-BE49-F238E27FC236}">
                  <a16:creationId xmlns:a16="http://schemas.microsoft.com/office/drawing/2014/main" id="{2929CE2C-2256-40A5-A8F3-3829812FC41F}"/>
                </a:ext>
              </a:extLst>
            </p:cNvPr>
            <p:cNvSpPr/>
            <p:nvPr/>
          </p:nvSpPr>
          <p:spPr>
            <a:xfrm rot="8716295">
              <a:off x="257666" y="226339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6" name="Forme libre : forme 335">
              <a:extLst>
                <a:ext uri="{FF2B5EF4-FFF2-40B4-BE49-F238E27FC236}">
                  <a16:creationId xmlns:a16="http://schemas.microsoft.com/office/drawing/2014/main" id="{5B080DE2-EB07-4251-8225-D8F835BCC870}"/>
                </a:ext>
              </a:extLst>
            </p:cNvPr>
            <p:cNvSpPr/>
            <p:nvPr/>
          </p:nvSpPr>
          <p:spPr>
            <a:xfrm rot="8716295">
              <a:off x="16215" y="211379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7" name="Forme libre : forme 336">
              <a:extLst>
                <a:ext uri="{FF2B5EF4-FFF2-40B4-BE49-F238E27FC236}">
                  <a16:creationId xmlns:a16="http://schemas.microsoft.com/office/drawing/2014/main" id="{CE30ADAD-6662-46CB-9F1B-B1109F31D2A1}"/>
                </a:ext>
              </a:extLst>
            </p:cNvPr>
            <p:cNvSpPr/>
            <p:nvPr/>
          </p:nvSpPr>
          <p:spPr>
            <a:xfrm rot="7484129">
              <a:off x="362597" y="245474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8" name="Forme libre : forme 337">
              <a:extLst>
                <a:ext uri="{FF2B5EF4-FFF2-40B4-BE49-F238E27FC236}">
                  <a16:creationId xmlns:a16="http://schemas.microsoft.com/office/drawing/2014/main" id="{E0EC12C4-DE16-425E-A187-948925CA8B78}"/>
                </a:ext>
              </a:extLst>
            </p:cNvPr>
            <p:cNvSpPr/>
            <p:nvPr/>
          </p:nvSpPr>
          <p:spPr>
            <a:xfrm rot="13089394">
              <a:off x="463440" y="2426400"/>
              <a:ext cx="272584" cy="319064"/>
            </a:xfrm>
            <a:custGeom>
              <a:avLst/>
              <a:gdLst>
                <a:gd name="connsiteX0" fmla="*/ 80445 w 272584"/>
                <a:gd name="connsiteY0" fmla="*/ 215518 h 319064"/>
                <a:gd name="connsiteX1" fmla="*/ 0 w 272584"/>
                <a:gd name="connsiteY1" fmla="*/ 93007 h 319064"/>
                <a:gd name="connsiteX2" fmla="*/ 0 w 272584"/>
                <a:gd name="connsiteY2" fmla="*/ 38074 h 319064"/>
                <a:gd name="connsiteX3" fmla="*/ 73388 w 272584"/>
                <a:gd name="connsiteY3" fmla="*/ 0 h 319064"/>
                <a:gd name="connsiteX4" fmla="*/ 74492 w 272584"/>
                <a:gd name="connsiteY4" fmla="*/ 153950 h 319064"/>
                <a:gd name="connsiteX5" fmla="*/ 76768 w 272584"/>
                <a:gd name="connsiteY5" fmla="*/ 200369 h 319064"/>
                <a:gd name="connsiteX6" fmla="*/ 272584 w 272584"/>
                <a:gd name="connsiteY6" fmla="*/ 258238 h 319064"/>
                <a:gd name="connsiteX7" fmla="*/ 177331 w 272584"/>
                <a:gd name="connsiteY7" fmla="*/ 311347 h 319064"/>
                <a:gd name="connsiteX8" fmla="*/ 148437 w 272584"/>
                <a:gd name="connsiteY8" fmla="*/ 319064 h 319064"/>
                <a:gd name="connsiteX9" fmla="*/ 119231 w 272584"/>
                <a:gd name="connsiteY9" fmla="*/ 274585 h 319064"/>
                <a:gd name="connsiteX10" fmla="*/ 153949 w 272584"/>
                <a:gd name="connsiteY10" fmla="*/ 281965 h 319064"/>
                <a:gd name="connsiteX11" fmla="*/ 203610 w 272584"/>
                <a:gd name="connsiteY11" fmla="*/ 273136 h 319064"/>
                <a:gd name="connsiteX12" fmla="*/ 271481 w 272584"/>
                <a:gd name="connsiteY12" fmla="*/ 245547 h 319064"/>
                <a:gd name="connsiteX13" fmla="*/ 272584 w 272584"/>
                <a:gd name="connsiteY13" fmla="*/ 252720 h 319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2584" h="319064">
                  <a:moveTo>
                    <a:pt x="80445" y="215518"/>
                  </a:moveTo>
                  <a:lnTo>
                    <a:pt x="0" y="93007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3664" y="169400"/>
                    <a:pt x="74492" y="184988"/>
                    <a:pt x="76768" y="200369"/>
                  </a:cubicBezTo>
                  <a:close/>
                  <a:moveTo>
                    <a:pt x="272584" y="258238"/>
                  </a:moveTo>
                  <a:cubicBezTo>
                    <a:pt x="243339" y="283344"/>
                    <a:pt x="209542" y="300312"/>
                    <a:pt x="177331" y="311347"/>
                  </a:cubicBezTo>
                  <a:lnTo>
                    <a:pt x="148437" y="319064"/>
                  </a:lnTo>
                  <a:lnTo>
                    <a:pt x="119231" y="274585"/>
                  </a:lnTo>
                  <a:lnTo>
                    <a:pt x="153949" y="281965"/>
                  </a:lnTo>
                  <a:cubicBezTo>
                    <a:pt x="171055" y="281413"/>
                    <a:pt x="187609" y="278102"/>
                    <a:pt x="203610" y="273136"/>
                  </a:cubicBezTo>
                  <a:cubicBezTo>
                    <a:pt x="226785" y="265963"/>
                    <a:pt x="249409" y="256583"/>
                    <a:pt x="271481" y="245547"/>
                  </a:cubicBezTo>
                  <a:cubicBezTo>
                    <a:pt x="272032" y="247754"/>
                    <a:pt x="272584" y="250513"/>
                    <a:pt x="272584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9" name="Forme libre : forme 338">
              <a:extLst>
                <a:ext uri="{FF2B5EF4-FFF2-40B4-BE49-F238E27FC236}">
                  <a16:creationId xmlns:a16="http://schemas.microsoft.com/office/drawing/2014/main" id="{0EBB3BF6-5F1A-4179-B16F-FF1F99B6BEAC}"/>
                </a:ext>
              </a:extLst>
            </p:cNvPr>
            <p:cNvSpPr/>
            <p:nvPr/>
          </p:nvSpPr>
          <p:spPr>
            <a:xfrm rot="8716295">
              <a:off x="675867" y="2357327"/>
              <a:ext cx="38012" cy="45752"/>
            </a:xfrm>
            <a:custGeom>
              <a:avLst/>
              <a:gdLst>
                <a:gd name="connsiteX0" fmla="*/ 0 w 38012"/>
                <a:gd name="connsiteY0" fmla="*/ 45752 h 45752"/>
                <a:gd name="connsiteX1" fmla="*/ 37842 w 38012"/>
                <a:gd name="connsiteY1" fmla="*/ 0 h 45752"/>
                <a:gd name="connsiteX2" fmla="*/ 38012 w 38012"/>
                <a:gd name="connsiteY2" fmla="*/ 641 h 45752"/>
                <a:gd name="connsiteX3" fmla="*/ 6841 w 38012"/>
                <a:gd name="connsiteY3" fmla="*/ 42560 h 45752"/>
                <a:gd name="connsiteX4" fmla="*/ 7378 w 38012"/>
                <a:gd name="connsiteY4" fmla="*/ 42560 h 45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012" h="45752">
                  <a:moveTo>
                    <a:pt x="0" y="45752"/>
                  </a:moveTo>
                  <a:lnTo>
                    <a:pt x="37842" y="0"/>
                  </a:lnTo>
                  <a:lnTo>
                    <a:pt x="38012" y="641"/>
                  </a:lnTo>
                  <a:cubicBezTo>
                    <a:pt x="36400" y="19451"/>
                    <a:pt x="24039" y="35036"/>
                    <a:pt x="6841" y="42560"/>
                  </a:cubicBezTo>
                  <a:lnTo>
                    <a:pt x="7378" y="425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0" name="Forme libre : forme 339">
              <a:extLst>
                <a:ext uri="{FF2B5EF4-FFF2-40B4-BE49-F238E27FC236}">
                  <a16:creationId xmlns:a16="http://schemas.microsoft.com/office/drawing/2014/main" id="{40BD2394-2E6A-43B3-8282-5AF2A68AFB55}"/>
                </a:ext>
              </a:extLst>
            </p:cNvPr>
            <p:cNvSpPr/>
            <p:nvPr/>
          </p:nvSpPr>
          <p:spPr>
            <a:xfrm rot="8716295">
              <a:off x="601197" y="21260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1" name="Forme libre : forme 340">
              <a:extLst>
                <a:ext uri="{FF2B5EF4-FFF2-40B4-BE49-F238E27FC236}">
                  <a16:creationId xmlns:a16="http://schemas.microsoft.com/office/drawing/2014/main" id="{98C4AC75-3010-49F3-9D48-1212A4D988F1}"/>
                </a:ext>
              </a:extLst>
            </p:cNvPr>
            <p:cNvSpPr/>
            <p:nvPr/>
          </p:nvSpPr>
          <p:spPr>
            <a:xfrm rot="8716295">
              <a:off x="357951" y="21562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2" name="Forme libre : forme 341">
              <a:extLst>
                <a:ext uri="{FF2B5EF4-FFF2-40B4-BE49-F238E27FC236}">
                  <a16:creationId xmlns:a16="http://schemas.microsoft.com/office/drawing/2014/main" id="{F44EFD0C-26D8-44AF-B8B7-34925D1881F3}"/>
                </a:ext>
              </a:extLst>
            </p:cNvPr>
            <p:cNvSpPr/>
            <p:nvPr/>
          </p:nvSpPr>
          <p:spPr>
            <a:xfrm rot="8716295">
              <a:off x="535403" y="199698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3" name="Forme libre : forme 342">
              <a:extLst>
                <a:ext uri="{FF2B5EF4-FFF2-40B4-BE49-F238E27FC236}">
                  <a16:creationId xmlns:a16="http://schemas.microsoft.com/office/drawing/2014/main" id="{1A320605-AC28-4E7D-BF63-1E3FD62FB21F}"/>
                </a:ext>
              </a:extLst>
            </p:cNvPr>
            <p:cNvSpPr/>
            <p:nvPr/>
          </p:nvSpPr>
          <p:spPr>
            <a:xfrm rot="8716295">
              <a:off x="-76043" y="1768178"/>
              <a:ext cx="197178" cy="215049"/>
            </a:xfrm>
            <a:custGeom>
              <a:avLst/>
              <a:gdLst>
                <a:gd name="connsiteX0" fmla="*/ 51490 w 197178"/>
                <a:gd name="connsiteY0" fmla="*/ 215049 h 215049"/>
                <a:gd name="connsiteX1" fmla="*/ 51490 w 197178"/>
                <a:gd name="connsiteY1" fmla="*/ 45624 h 215049"/>
                <a:gd name="connsiteX2" fmla="*/ 0 w 197178"/>
                <a:gd name="connsiteY2" fmla="*/ 45624 h 215049"/>
                <a:gd name="connsiteX3" fmla="*/ 0 w 197178"/>
                <a:gd name="connsiteY3" fmla="*/ 1424 h 215049"/>
                <a:gd name="connsiteX4" fmla="*/ 104803 w 197178"/>
                <a:gd name="connsiteY4" fmla="*/ 1425 h 215049"/>
                <a:gd name="connsiteX5" fmla="*/ 104803 w 197178"/>
                <a:gd name="connsiteY5" fmla="*/ 75242 h 215049"/>
                <a:gd name="connsiteX6" fmla="*/ 106169 w 197178"/>
                <a:gd name="connsiteY6" fmla="*/ 75242 h 215049"/>
                <a:gd name="connsiteX7" fmla="*/ 154014 w 197178"/>
                <a:gd name="connsiteY7" fmla="*/ 5981 h 215049"/>
                <a:gd name="connsiteX8" fmla="*/ 185455 w 197178"/>
                <a:gd name="connsiteY8" fmla="*/ 57 h 215049"/>
                <a:gd name="connsiteX9" fmla="*/ 197178 w 197178"/>
                <a:gd name="connsiteY9" fmla="*/ 4872 h 215049"/>
                <a:gd name="connsiteX10" fmla="*/ 170795 w 197178"/>
                <a:gd name="connsiteY10" fmla="*/ 42934 h 215049"/>
                <a:gd name="connsiteX11" fmla="*/ 164950 w 197178"/>
                <a:gd name="connsiteY11" fmla="*/ 40156 h 215049"/>
                <a:gd name="connsiteX12" fmla="*/ 111638 w 197178"/>
                <a:gd name="connsiteY12" fmla="*/ 127643 h 215049"/>
                <a:gd name="connsiteX13" fmla="*/ 111638 w 197178"/>
                <a:gd name="connsiteY13" fmla="*/ 128277 h 21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178" h="215049">
                  <a:moveTo>
                    <a:pt x="51490" y="215049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4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lnTo>
                    <a:pt x="197178" y="4872"/>
                  </a:lnTo>
                  <a:lnTo>
                    <a:pt x="170795" y="42934"/>
                  </a:lnTo>
                  <a:lnTo>
                    <a:pt x="164950" y="40156"/>
                  </a:ln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1282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4" name="Forme libre : forme 343">
              <a:extLst>
                <a:ext uri="{FF2B5EF4-FFF2-40B4-BE49-F238E27FC236}">
                  <a16:creationId xmlns:a16="http://schemas.microsoft.com/office/drawing/2014/main" id="{79B4D19B-E848-47AB-BAFE-59EBF555A6F5}"/>
                </a:ext>
              </a:extLst>
            </p:cNvPr>
            <p:cNvSpPr/>
            <p:nvPr/>
          </p:nvSpPr>
          <p:spPr>
            <a:xfrm rot="8716295">
              <a:off x="56555" y="14742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5" name="Forme libre : forme 344">
              <a:extLst>
                <a:ext uri="{FF2B5EF4-FFF2-40B4-BE49-F238E27FC236}">
                  <a16:creationId xmlns:a16="http://schemas.microsoft.com/office/drawing/2014/main" id="{0496B299-828A-4BBC-966F-5FA47083E3CE}"/>
                </a:ext>
              </a:extLst>
            </p:cNvPr>
            <p:cNvSpPr/>
            <p:nvPr/>
          </p:nvSpPr>
          <p:spPr>
            <a:xfrm rot="8716295">
              <a:off x="145947" y="15034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6" name="Forme libre : forme 345">
              <a:extLst>
                <a:ext uri="{FF2B5EF4-FFF2-40B4-BE49-F238E27FC236}">
                  <a16:creationId xmlns:a16="http://schemas.microsoft.com/office/drawing/2014/main" id="{47AF6C7D-4B3B-4997-9D6C-9505A068BCE6}"/>
                </a:ext>
              </a:extLst>
            </p:cNvPr>
            <p:cNvSpPr/>
            <p:nvPr/>
          </p:nvSpPr>
          <p:spPr>
            <a:xfrm rot="8716295">
              <a:off x="-21870" y="1443501"/>
              <a:ext cx="68614" cy="55323"/>
            </a:xfrm>
            <a:custGeom>
              <a:avLst/>
              <a:gdLst>
                <a:gd name="connsiteX0" fmla="*/ 0 w 68614"/>
                <a:gd name="connsiteY0" fmla="*/ 55323 h 55323"/>
                <a:gd name="connsiteX1" fmla="*/ 0 w 68614"/>
                <a:gd name="connsiteY1" fmla="*/ 0 h 55323"/>
                <a:gd name="connsiteX2" fmla="*/ 68614 w 68614"/>
                <a:gd name="connsiteY2" fmla="*/ 0 h 55323"/>
                <a:gd name="connsiteX3" fmla="*/ 30266 w 68614"/>
                <a:gd name="connsiteY3" fmla="*/ 55323 h 55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614" h="55323">
                  <a:moveTo>
                    <a:pt x="0" y="55323"/>
                  </a:moveTo>
                  <a:lnTo>
                    <a:pt x="0" y="0"/>
                  </a:lnTo>
                  <a:lnTo>
                    <a:pt x="68614" y="0"/>
                  </a:lnTo>
                  <a:lnTo>
                    <a:pt x="30266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7" name="Forme libre : forme 346">
              <a:extLst>
                <a:ext uri="{FF2B5EF4-FFF2-40B4-BE49-F238E27FC236}">
                  <a16:creationId xmlns:a16="http://schemas.microsoft.com/office/drawing/2014/main" id="{6A925E12-2BFF-4625-A0A6-B147409EE83D}"/>
                </a:ext>
              </a:extLst>
            </p:cNvPr>
            <p:cNvSpPr/>
            <p:nvPr/>
          </p:nvSpPr>
          <p:spPr>
            <a:xfrm rot="8716295">
              <a:off x="35817" y="1618109"/>
              <a:ext cx="103435" cy="203897"/>
            </a:xfrm>
            <a:custGeom>
              <a:avLst/>
              <a:gdLst>
                <a:gd name="connsiteX0" fmla="*/ 87556 w 103435"/>
                <a:gd name="connsiteY0" fmla="*/ 203897 h 203897"/>
                <a:gd name="connsiteX1" fmla="*/ 43288 w 103435"/>
                <a:gd name="connsiteY1" fmla="*/ 161305 h 203897"/>
                <a:gd name="connsiteX2" fmla="*/ 43288 w 103435"/>
                <a:gd name="connsiteY2" fmla="*/ 16404 h 203897"/>
                <a:gd name="connsiteX3" fmla="*/ 0 w 103435"/>
                <a:gd name="connsiteY3" fmla="*/ 16404 h 203897"/>
                <a:gd name="connsiteX4" fmla="*/ 0 w 103435"/>
                <a:gd name="connsiteY4" fmla="*/ 2278 h 203897"/>
                <a:gd name="connsiteX5" fmla="*/ 103435 w 103435"/>
                <a:gd name="connsiteY5" fmla="*/ 0 h 203897"/>
                <a:gd name="connsiteX6" fmla="*/ 103435 w 103435"/>
                <a:gd name="connsiteY6" fmla="*/ 180989 h 203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03897">
                  <a:moveTo>
                    <a:pt x="87556" y="203897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1809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8" name="Forme libre : forme 347">
              <a:extLst>
                <a:ext uri="{FF2B5EF4-FFF2-40B4-BE49-F238E27FC236}">
                  <a16:creationId xmlns:a16="http://schemas.microsoft.com/office/drawing/2014/main" id="{8F161AAD-ABF3-4F08-A5E7-178FA67C468C}"/>
                </a:ext>
              </a:extLst>
            </p:cNvPr>
            <p:cNvSpPr/>
            <p:nvPr/>
          </p:nvSpPr>
          <p:spPr>
            <a:xfrm rot="7484129">
              <a:off x="139430" y="17950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9" name="Forme libre : forme 348">
              <a:extLst>
                <a:ext uri="{FF2B5EF4-FFF2-40B4-BE49-F238E27FC236}">
                  <a16:creationId xmlns:a16="http://schemas.microsoft.com/office/drawing/2014/main" id="{2B2677AB-A960-4EDE-895B-90B39923E929}"/>
                </a:ext>
              </a:extLst>
            </p:cNvPr>
            <p:cNvSpPr/>
            <p:nvPr/>
          </p:nvSpPr>
          <p:spPr>
            <a:xfrm rot="13089394">
              <a:off x="244250" y="17615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0" name="Forme libre : forme 349">
              <a:extLst>
                <a:ext uri="{FF2B5EF4-FFF2-40B4-BE49-F238E27FC236}">
                  <a16:creationId xmlns:a16="http://schemas.microsoft.com/office/drawing/2014/main" id="{57CCAF2A-AD40-4587-8C0B-9AD3AA1B47B2}"/>
                </a:ext>
              </a:extLst>
            </p:cNvPr>
            <p:cNvSpPr/>
            <p:nvPr/>
          </p:nvSpPr>
          <p:spPr>
            <a:xfrm rot="8716295">
              <a:off x="429835" y="15699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1" name="Forme libre : forme 350">
              <a:extLst>
                <a:ext uri="{FF2B5EF4-FFF2-40B4-BE49-F238E27FC236}">
                  <a16:creationId xmlns:a16="http://schemas.microsoft.com/office/drawing/2014/main" id="{1CD46395-0105-4DB9-A258-02757ED2970C}"/>
                </a:ext>
              </a:extLst>
            </p:cNvPr>
            <p:cNvSpPr/>
            <p:nvPr/>
          </p:nvSpPr>
          <p:spPr>
            <a:xfrm rot="8716295">
              <a:off x="378030" y="14663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2" name="Forme libre : forme 351">
              <a:extLst>
                <a:ext uri="{FF2B5EF4-FFF2-40B4-BE49-F238E27FC236}">
                  <a16:creationId xmlns:a16="http://schemas.microsoft.com/office/drawing/2014/main" id="{792A22ED-7042-473B-B5F0-A8F38B0EAB40}"/>
                </a:ext>
              </a:extLst>
            </p:cNvPr>
            <p:cNvSpPr/>
            <p:nvPr/>
          </p:nvSpPr>
          <p:spPr>
            <a:xfrm rot="8716295">
              <a:off x="134784" y="14965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3" name="Forme libre : forme 352">
              <a:extLst>
                <a:ext uri="{FF2B5EF4-FFF2-40B4-BE49-F238E27FC236}">
                  <a16:creationId xmlns:a16="http://schemas.microsoft.com/office/drawing/2014/main" id="{F026E106-3ED5-479C-A7E5-1D0CF59276FB}"/>
                </a:ext>
              </a:extLst>
            </p:cNvPr>
            <p:cNvSpPr/>
            <p:nvPr/>
          </p:nvSpPr>
          <p:spPr>
            <a:xfrm rot="8716295">
              <a:off x="312236" y="13372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4" name="Forme libre : forme 353">
              <a:extLst>
                <a:ext uri="{FF2B5EF4-FFF2-40B4-BE49-F238E27FC236}">
                  <a16:creationId xmlns:a16="http://schemas.microsoft.com/office/drawing/2014/main" id="{A652AA44-0788-418A-BCB7-7692D06F9F9C}"/>
                </a:ext>
              </a:extLst>
            </p:cNvPr>
            <p:cNvSpPr/>
            <p:nvPr/>
          </p:nvSpPr>
          <p:spPr>
            <a:xfrm rot="8716295">
              <a:off x="-17798" y="949199"/>
              <a:ext cx="39526" cy="50123"/>
            </a:xfrm>
            <a:custGeom>
              <a:avLst/>
              <a:gdLst>
                <a:gd name="connsiteX0" fmla="*/ 0 w 39526"/>
                <a:gd name="connsiteY0" fmla="*/ 50123 h 50123"/>
                <a:gd name="connsiteX1" fmla="*/ 0 w 39526"/>
                <a:gd name="connsiteY1" fmla="*/ 0 h 50123"/>
                <a:gd name="connsiteX2" fmla="*/ 39526 w 39526"/>
                <a:gd name="connsiteY2" fmla="*/ 0 h 50123"/>
                <a:gd name="connsiteX3" fmla="*/ 4782 w 39526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26" h="50123">
                  <a:moveTo>
                    <a:pt x="0" y="50123"/>
                  </a:moveTo>
                  <a:lnTo>
                    <a:pt x="0" y="0"/>
                  </a:lnTo>
                  <a:lnTo>
                    <a:pt x="39526" y="0"/>
                  </a:lnTo>
                  <a:lnTo>
                    <a:pt x="4782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5" name="Forme libre : forme 354">
              <a:extLst>
                <a:ext uri="{FF2B5EF4-FFF2-40B4-BE49-F238E27FC236}">
                  <a16:creationId xmlns:a16="http://schemas.microsoft.com/office/drawing/2014/main" id="{CC7F2B2F-A9EF-4436-92EE-F187A921B5A2}"/>
                </a:ext>
              </a:extLst>
            </p:cNvPr>
            <p:cNvSpPr/>
            <p:nvPr/>
          </p:nvSpPr>
          <p:spPr>
            <a:xfrm rot="8716295">
              <a:off x="-64996" y="834728"/>
              <a:ext cx="249650" cy="254774"/>
            </a:xfrm>
            <a:custGeom>
              <a:avLst/>
              <a:gdLst>
                <a:gd name="connsiteX0" fmla="*/ 51490 w 249650"/>
                <a:gd name="connsiteY0" fmla="*/ 254774 h 254774"/>
                <a:gd name="connsiteX1" fmla="*/ 51490 w 249650"/>
                <a:gd name="connsiteY1" fmla="*/ 45624 h 254774"/>
                <a:gd name="connsiteX2" fmla="*/ 0 w 249650"/>
                <a:gd name="connsiteY2" fmla="*/ 45624 h 254774"/>
                <a:gd name="connsiteX3" fmla="*/ 0 w 249650"/>
                <a:gd name="connsiteY3" fmla="*/ 1425 h 254774"/>
                <a:gd name="connsiteX4" fmla="*/ 104803 w 249650"/>
                <a:gd name="connsiteY4" fmla="*/ 1425 h 254774"/>
                <a:gd name="connsiteX5" fmla="*/ 104803 w 249650"/>
                <a:gd name="connsiteY5" fmla="*/ 75242 h 254774"/>
                <a:gd name="connsiteX6" fmla="*/ 106169 w 249650"/>
                <a:gd name="connsiteY6" fmla="*/ 75242 h 254774"/>
                <a:gd name="connsiteX7" fmla="*/ 154014 w 249650"/>
                <a:gd name="connsiteY7" fmla="*/ 5981 h 254774"/>
                <a:gd name="connsiteX8" fmla="*/ 185455 w 249650"/>
                <a:gd name="connsiteY8" fmla="*/ 57 h 254774"/>
                <a:gd name="connsiteX9" fmla="*/ 240647 w 249650"/>
                <a:gd name="connsiteY9" fmla="*/ 22727 h 254774"/>
                <a:gd name="connsiteX10" fmla="*/ 249650 w 249650"/>
                <a:gd name="connsiteY10" fmla="*/ 52327 h 254774"/>
                <a:gd name="connsiteX11" fmla="*/ 218795 w 249650"/>
                <a:gd name="connsiteY11" fmla="*/ 96841 h 254774"/>
                <a:gd name="connsiteX12" fmla="*/ 198669 w 249650"/>
                <a:gd name="connsiteY12" fmla="*/ 98025 h 254774"/>
                <a:gd name="connsiteX13" fmla="*/ 198669 w 249650"/>
                <a:gd name="connsiteY13" fmla="*/ 81621 h 254774"/>
                <a:gd name="connsiteX14" fmla="*/ 164950 w 249650"/>
                <a:gd name="connsiteY14" fmla="*/ 40156 h 254774"/>
                <a:gd name="connsiteX15" fmla="*/ 111638 w 249650"/>
                <a:gd name="connsiteY15" fmla="*/ 127643 h 254774"/>
                <a:gd name="connsiteX16" fmla="*/ 111638 w 249650"/>
                <a:gd name="connsiteY16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9650" h="254774">
                  <a:moveTo>
                    <a:pt x="51490" y="254774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08922" y="-398"/>
                    <a:pt x="227718" y="7576"/>
                    <a:pt x="240647" y="22727"/>
                  </a:cubicBezTo>
                  <a:lnTo>
                    <a:pt x="249650" y="52327"/>
                  </a:lnTo>
                  <a:lnTo>
                    <a:pt x="218795" y="96841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6" name="Forme libre : forme 355">
              <a:extLst>
                <a:ext uri="{FF2B5EF4-FFF2-40B4-BE49-F238E27FC236}">
                  <a16:creationId xmlns:a16="http://schemas.microsoft.com/office/drawing/2014/main" id="{B491F0AE-2B60-457D-9F7E-DF3C2D622FF0}"/>
                </a:ext>
              </a:extLst>
            </p:cNvPr>
            <p:cNvSpPr/>
            <p:nvPr/>
          </p:nvSpPr>
          <p:spPr>
            <a:xfrm rot="7484129">
              <a:off x="-63314" y="1172497"/>
              <a:ext cx="203848" cy="146395"/>
            </a:xfrm>
            <a:custGeom>
              <a:avLst/>
              <a:gdLst>
                <a:gd name="connsiteX0" fmla="*/ 0 w 203848"/>
                <a:gd name="connsiteY0" fmla="*/ 55323 h 146395"/>
                <a:gd name="connsiteX1" fmla="*/ 0 w 203848"/>
                <a:gd name="connsiteY1" fmla="*/ 0 h 146395"/>
                <a:gd name="connsiteX2" fmla="*/ 203848 w 203848"/>
                <a:gd name="connsiteY2" fmla="*/ 0 h 146395"/>
                <a:gd name="connsiteX3" fmla="*/ 203847 w 203848"/>
                <a:gd name="connsiteY3" fmla="*/ 49512 h 146395"/>
                <a:gd name="connsiteX4" fmla="*/ 195466 w 203848"/>
                <a:gd name="connsiteY4" fmla="*/ 55323 h 146395"/>
                <a:gd name="connsiteX5" fmla="*/ 139055 w 203848"/>
                <a:gd name="connsiteY5" fmla="*/ 55323 h 146395"/>
                <a:gd name="connsiteX6" fmla="*/ 121388 w 203848"/>
                <a:gd name="connsiteY6" fmla="*/ 106685 h 146395"/>
                <a:gd name="connsiteX7" fmla="*/ 64115 w 203848"/>
                <a:gd name="connsiteY7" fmla="*/ 146395 h 146395"/>
                <a:gd name="connsiteX8" fmla="*/ 47847 w 203848"/>
                <a:gd name="connsiteY8" fmla="*/ 116129 h 146395"/>
                <a:gd name="connsiteX9" fmla="*/ 69777 w 203848"/>
                <a:gd name="connsiteY9" fmla="*/ 55323 h 146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848" h="146395">
                  <a:moveTo>
                    <a:pt x="0" y="55323"/>
                  </a:moveTo>
                  <a:lnTo>
                    <a:pt x="0" y="0"/>
                  </a:lnTo>
                  <a:lnTo>
                    <a:pt x="203848" y="0"/>
                  </a:lnTo>
                  <a:lnTo>
                    <a:pt x="203847" y="49512"/>
                  </a:lnTo>
                  <a:lnTo>
                    <a:pt x="195466" y="55323"/>
                  </a:lnTo>
                  <a:lnTo>
                    <a:pt x="139055" y="55323"/>
                  </a:lnTo>
                  <a:lnTo>
                    <a:pt x="121388" y="106685"/>
                  </a:lnTo>
                  <a:lnTo>
                    <a:pt x="64115" y="146395"/>
                  </a:lnTo>
                  <a:lnTo>
                    <a:pt x="47847" y="116129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7" name="Forme libre : forme 356">
              <a:extLst>
                <a:ext uri="{FF2B5EF4-FFF2-40B4-BE49-F238E27FC236}">
                  <a16:creationId xmlns:a16="http://schemas.microsoft.com/office/drawing/2014/main" id="{566B0F1B-76F2-42A3-83ED-13519BAD8E0C}"/>
                </a:ext>
              </a:extLst>
            </p:cNvPr>
            <p:cNvSpPr/>
            <p:nvPr/>
          </p:nvSpPr>
          <p:spPr>
            <a:xfrm rot="13089394">
              <a:off x="25311" y="109952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8" name="Forme libre : forme 357">
              <a:extLst>
                <a:ext uri="{FF2B5EF4-FFF2-40B4-BE49-F238E27FC236}">
                  <a16:creationId xmlns:a16="http://schemas.microsoft.com/office/drawing/2014/main" id="{6ACA7109-A9A0-4CC8-B8F0-2B22C7DA70BF}"/>
                </a:ext>
              </a:extLst>
            </p:cNvPr>
            <p:cNvSpPr/>
            <p:nvPr/>
          </p:nvSpPr>
          <p:spPr>
            <a:xfrm rot="8716295">
              <a:off x="210896" y="90784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9" name="Forme libre : forme 358">
              <a:extLst>
                <a:ext uri="{FF2B5EF4-FFF2-40B4-BE49-F238E27FC236}">
                  <a16:creationId xmlns:a16="http://schemas.microsoft.com/office/drawing/2014/main" id="{452ADC31-6E2B-47AB-819B-06E9BDE7841B}"/>
                </a:ext>
              </a:extLst>
            </p:cNvPr>
            <p:cNvSpPr/>
            <p:nvPr/>
          </p:nvSpPr>
          <p:spPr>
            <a:xfrm rot="8716295">
              <a:off x="159091" y="80425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0" name="Forme libre : forme 359">
              <a:extLst>
                <a:ext uri="{FF2B5EF4-FFF2-40B4-BE49-F238E27FC236}">
                  <a16:creationId xmlns:a16="http://schemas.microsoft.com/office/drawing/2014/main" id="{BCEE9B8C-AA03-4719-891E-01DB914C78AC}"/>
                </a:ext>
              </a:extLst>
            </p:cNvPr>
            <p:cNvSpPr/>
            <p:nvPr/>
          </p:nvSpPr>
          <p:spPr>
            <a:xfrm rot="8716295">
              <a:off x="93297" y="67523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1" name="Forme libre : forme 360">
              <a:extLst>
                <a:ext uri="{FF2B5EF4-FFF2-40B4-BE49-F238E27FC236}">
                  <a16:creationId xmlns:a16="http://schemas.microsoft.com/office/drawing/2014/main" id="{F9DD0D80-4138-4478-988E-136F3B8038CE}"/>
                </a:ext>
              </a:extLst>
            </p:cNvPr>
            <p:cNvSpPr/>
            <p:nvPr/>
          </p:nvSpPr>
          <p:spPr>
            <a:xfrm rot="8716295">
              <a:off x="-7001" y="316701"/>
              <a:ext cx="14001" cy="20198"/>
            </a:xfrm>
            <a:custGeom>
              <a:avLst/>
              <a:gdLst>
                <a:gd name="connsiteX0" fmla="*/ 0 w 14001"/>
                <a:gd name="connsiteY0" fmla="*/ 20198 h 20198"/>
                <a:gd name="connsiteX1" fmla="*/ 0 w 14001"/>
                <a:gd name="connsiteY1" fmla="*/ 0 h 20198"/>
                <a:gd name="connsiteX2" fmla="*/ 14001 w 14001"/>
                <a:gd name="connsiteY2" fmla="*/ 0 h 2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01" h="20198">
                  <a:moveTo>
                    <a:pt x="0" y="20198"/>
                  </a:moveTo>
                  <a:lnTo>
                    <a:pt x="0" y="0"/>
                  </a:lnTo>
                  <a:lnTo>
                    <a:pt x="1400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2" name="Forme libre : forme 361">
              <a:extLst>
                <a:ext uri="{FF2B5EF4-FFF2-40B4-BE49-F238E27FC236}">
                  <a16:creationId xmlns:a16="http://schemas.microsoft.com/office/drawing/2014/main" id="{DF35AC08-7EAC-4D88-B60D-06D59DB2131D}"/>
                </a:ext>
              </a:extLst>
            </p:cNvPr>
            <p:cNvSpPr/>
            <p:nvPr/>
          </p:nvSpPr>
          <p:spPr>
            <a:xfrm rot="13089394">
              <a:off x="-81658" y="472652"/>
              <a:ext cx="173631" cy="237684"/>
            </a:xfrm>
            <a:custGeom>
              <a:avLst/>
              <a:gdLst>
                <a:gd name="connsiteX0" fmla="*/ 173631 w 173631"/>
                <a:gd name="connsiteY0" fmla="*/ 220990 h 237684"/>
                <a:gd name="connsiteX1" fmla="*/ 130972 w 173631"/>
                <a:gd name="connsiteY1" fmla="*/ 232382 h 237684"/>
                <a:gd name="connsiteX2" fmla="*/ 91597 w 173631"/>
                <a:gd name="connsiteY2" fmla="*/ 237521 h 237684"/>
                <a:gd name="connsiteX3" fmla="*/ 23727 w 173631"/>
                <a:gd name="connsiteY3" fmla="*/ 209931 h 237684"/>
                <a:gd name="connsiteX4" fmla="*/ 0 w 173631"/>
                <a:gd name="connsiteY4" fmla="*/ 115023 h 237684"/>
                <a:gd name="connsiteX5" fmla="*/ 0 w 173631"/>
                <a:gd name="connsiteY5" fmla="*/ 0 h 237684"/>
                <a:gd name="connsiteX6" fmla="*/ 76176 w 173631"/>
                <a:gd name="connsiteY6" fmla="*/ 96953 h 237684"/>
                <a:gd name="connsiteX7" fmla="*/ 76768 w 173631"/>
                <a:gd name="connsiteY7" fmla="*/ 109023 h 237684"/>
                <a:gd name="connsiteX8" fmla="*/ 87734 w 173631"/>
                <a:gd name="connsiteY8" fmla="*/ 154201 h 237684"/>
                <a:gd name="connsiteX9" fmla="*/ 111117 w 173631"/>
                <a:gd name="connsiteY9" fmla="*/ 181514 h 237684"/>
                <a:gd name="connsiteX10" fmla="*/ 148930 w 173631"/>
                <a:gd name="connsiteY10" fmla="*/ 189552 h 237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3631" h="237684">
                  <a:moveTo>
                    <a:pt x="173631" y="220990"/>
                  </a:moveTo>
                  <a:lnTo>
                    <a:pt x="130972" y="232382"/>
                  </a:lnTo>
                  <a:cubicBezTo>
                    <a:pt x="116428" y="235210"/>
                    <a:pt x="103047" y="236831"/>
                    <a:pt x="91597" y="237521"/>
                  </a:cubicBezTo>
                  <a:cubicBezTo>
                    <a:pt x="66215" y="239176"/>
                    <a:pt x="41384" y="228141"/>
                    <a:pt x="23727" y="209931"/>
                  </a:cubicBezTo>
                  <a:cubicBezTo>
                    <a:pt x="4966" y="191722"/>
                    <a:pt x="0" y="160270"/>
                    <a:pt x="0" y="115023"/>
                  </a:cubicBezTo>
                  <a:lnTo>
                    <a:pt x="0" y="0"/>
                  </a:lnTo>
                  <a:lnTo>
                    <a:pt x="76176" y="96953"/>
                  </a:lnTo>
                  <a:lnTo>
                    <a:pt x="76768" y="109023"/>
                  </a:lnTo>
                  <a:cubicBezTo>
                    <a:pt x="79044" y="124404"/>
                    <a:pt x="82768" y="139578"/>
                    <a:pt x="87734" y="154201"/>
                  </a:cubicBezTo>
                  <a:cubicBezTo>
                    <a:pt x="92149" y="166340"/>
                    <a:pt x="100012" y="175445"/>
                    <a:pt x="111117" y="181514"/>
                  </a:cubicBezTo>
                  <a:lnTo>
                    <a:pt x="148930" y="1895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3" name="Forme libre : forme 362">
              <a:extLst>
                <a:ext uri="{FF2B5EF4-FFF2-40B4-BE49-F238E27FC236}">
                  <a16:creationId xmlns:a16="http://schemas.microsoft.com/office/drawing/2014/main" id="{9AFF3E46-2559-4C6F-8BF3-7DBBEBA30E07}"/>
                </a:ext>
              </a:extLst>
            </p:cNvPr>
            <p:cNvSpPr/>
            <p:nvPr/>
          </p:nvSpPr>
          <p:spPr>
            <a:xfrm rot="8716295">
              <a:off x="-11774" y="24443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4" name="Forme libre : forme 363">
              <a:extLst>
                <a:ext uri="{FF2B5EF4-FFF2-40B4-BE49-F238E27FC236}">
                  <a16:creationId xmlns:a16="http://schemas.microsoft.com/office/drawing/2014/main" id="{97E07195-EA95-4E14-9CB9-A69F34AE04C5}"/>
                </a:ext>
              </a:extLst>
            </p:cNvPr>
            <p:cNvSpPr/>
            <p:nvPr/>
          </p:nvSpPr>
          <p:spPr>
            <a:xfrm rot="8716295">
              <a:off x="-30092" y="143486"/>
              <a:ext cx="77721" cy="97260"/>
            </a:xfrm>
            <a:custGeom>
              <a:avLst/>
              <a:gdLst>
                <a:gd name="connsiteX0" fmla="*/ 15821 w 77721"/>
                <a:gd name="connsiteY0" fmla="*/ 97260 h 97260"/>
                <a:gd name="connsiteX1" fmla="*/ 0 w 77721"/>
                <a:gd name="connsiteY1" fmla="*/ 59790 h 97260"/>
                <a:gd name="connsiteX2" fmla="*/ 0 w 77721"/>
                <a:gd name="connsiteY2" fmla="*/ 58869 h 97260"/>
                <a:gd name="connsiteX3" fmla="*/ 17477 w 77721"/>
                <a:gd name="connsiteY3" fmla="*/ 17477 h 97260"/>
                <a:gd name="connsiteX4" fmla="*/ 58869 w 77721"/>
                <a:gd name="connsiteY4" fmla="*/ 0 h 97260"/>
                <a:gd name="connsiteX5" fmla="*/ 77721 w 77721"/>
                <a:gd name="connsiteY5" fmla="*/ 7960 h 97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721" h="97260">
                  <a:moveTo>
                    <a:pt x="15821" y="97260"/>
                  </a:moveTo>
                  <a:lnTo>
                    <a:pt x="0" y="59790"/>
                  </a:ln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lnTo>
                    <a:pt x="77721" y="79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5" name="Forme libre : forme 364">
              <a:extLst>
                <a:ext uri="{FF2B5EF4-FFF2-40B4-BE49-F238E27FC236}">
                  <a16:creationId xmlns:a16="http://schemas.microsoft.com/office/drawing/2014/main" id="{F46DA911-E7B0-4E9F-BFB6-93C98E7208E7}"/>
                </a:ext>
              </a:extLst>
            </p:cNvPr>
            <p:cNvSpPr/>
            <p:nvPr/>
          </p:nvSpPr>
          <p:spPr>
            <a:xfrm rot="8716295">
              <a:off x="-17797" y="3452694"/>
              <a:ext cx="58455" cy="44199"/>
            </a:xfrm>
            <a:custGeom>
              <a:avLst/>
              <a:gdLst>
                <a:gd name="connsiteX0" fmla="*/ 0 w 58455"/>
                <a:gd name="connsiteY0" fmla="*/ 44199 h 44199"/>
                <a:gd name="connsiteX1" fmla="*/ 0 w 58455"/>
                <a:gd name="connsiteY1" fmla="*/ 0 h 44199"/>
                <a:gd name="connsiteX2" fmla="*/ 58455 w 58455"/>
                <a:gd name="connsiteY2" fmla="*/ 0 h 44199"/>
                <a:gd name="connsiteX3" fmla="*/ 27817 w 58455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55" h="44199">
                  <a:moveTo>
                    <a:pt x="0" y="44199"/>
                  </a:moveTo>
                  <a:lnTo>
                    <a:pt x="0" y="0"/>
                  </a:lnTo>
                  <a:lnTo>
                    <a:pt x="58455" y="0"/>
                  </a:lnTo>
                  <a:lnTo>
                    <a:pt x="27817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6" name="Forme libre : forme 365">
              <a:extLst>
                <a:ext uri="{FF2B5EF4-FFF2-40B4-BE49-F238E27FC236}">
                  <a16:creationId xmlns:a16="http://schemas.microsoft.com/office/drawing/2014/main" id="{C1D02749-F8C1-46C8-BEE0-16746055E93D}"/>
                </a:ext>
              </a:extLst>
            </p:cNvPr>
            <p:cNvSpPr/>
            <p:nvPr/>
          </p:nvSpPr>
          <p:spPr>
            <a:xfrm rot="13089394">
              <a:off x="-91485" y="3601812"/>
              <a:ext cx="206527" cy="292654"/>
            </a:xfrm>
            <a:custGeom>
              <a:avLst/>
              <a:gdLst>
                <a:gd name="connsiteX0" fmla="*/ 206527 w 206527"/>
                <a:gd name="connsiteY0" fmla="*/ 258693 h 292654"/>
                <a:gd name="connsiteX1" fmla="*/ 177331 w 206527"/>
                <a:gd name="connsiteY1" fmla="*/ 274971 h 292654"/>
                <a:gd name="connsiteX2" fmla="*/ 91597 w 206527"/>
                <a:gd name="connsiteY2" fmla="*/ 292491 h 292654"/>
                <a:gd name="connsiteX3" fmla="*/ 23727 w 206527"/>
                <a:gd name="connsiteY3" fmla="*/ 264901 h 292654"/>
                <a:gd name="connsiteX4" fmla="*/ 0 w 206527"/>
                <a:gd name="connsiteY4" fmla="*/ 169993 h 292654"/>
                <a:gd name="connsiteX5" fmla="*/ 0 w 206527"/>
                <a:gd name="connsiteY5" fmla="*/ 1698 h 292654"/>
                <a:gd name="connsiteX6" fmla="*/ 3273 w 206527"/>
                <a:gd name="connsiteY6" fmla="*/ 0 h 292654"/>
                <a:gd name="connsiteX7" fmla="*/ 74297 w 206527"/>
                <a:gd name="connsiteY7" fmla="*/ 90396 h 292654"/>
                <a:gd name="connsiteX8" fmla="*/ 74492 w 206527"/>
                <a:gd name="connsiteY8" fmla="*/ 117574 h 292654"/>
                <a:gd name="connsiteX9" fmla="*/ 87734 w 206527"/>
                <a:gd name="connsiteY9" fmla="*/ 209171 h 292654"/>
                <a:gd name="connsiteX10" fmla="*/ 153949 w 206527"/>
                <a:gd name="connsiteY10" fmla="*/ 245589 h 292654"/>
                <a:gd name="connsiteX11" fmla="*/ 191049 w 206527"/>
                <a:gd name="connsiteY11" fmla="*/ 238993 h 292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527" h="292654">
                  <a:moveTo>
                    <a:pt x="206527" y="258693"/>
                  </a:moveTo>
                  <a:lnTo>
                    <a:pt x="177331" y="274971"/>
                  </a:lnTo>
                  <a:cubicBezTo>
                    <a:pt x="145121" y="286007"/>
                    <a:pt x="114496" y="291111"/>
                    <a:pt x="91597" y="292491"/>
                  </a:cubicBezTo>
                  <a:cubicBezTo>
                    <a:pt x="66215" y="294146"/>
                    <a:pt x="41385" y="283111"/>
                    <a:pt x="23727" y="264901"/>
                  </a:cubicBezTo>
                  <a:cubicBezTo>
                    <a:pt x="4966" y="246692"/>
                    <a:pt x="0" y="215240"/>
                    <a:pt x="0" y="169993"/>
                  </a:cubicBezTo>
                  <a:lnTo>
                    <a:pt x="0" y="1698"/>
                  </a:lnTo>
                  <a:lnTo>
                    <a:pt x="3273" y="0"/>
                  </a:lnTo>
                  <a:lnTo>
                    <a:pt x="74297" y="90396"/>
                  </a:lnTo>
                  <a:lnTo>
                    <a:pt x="74492" y="117574"/>
                  </a:lnTo>
                  <a:cubicBezTo>
                    <a:pt x="72836" y="148474"/>
                    <a:pt x="77802" y="179926"/>
                    <a:pt x="87734" y="209171"/>
                  </a:cubicBezTo>
                  <a:cubicBezTo>
                    <a:pt x="96564" y="233450"/>
                    <a:pt x="119187" y="245589"/>
                    <a:pt x="153949" y="245589"/>
                  </a:cubicBezTo>
                  <a:lnTo>
                    <a:pt x="191049" y="2389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7" name="Forme libre : forme 366">
              <a:extLst>
                <a:ext uri="{FF2B5EF4-FFF2-40B4-BE49-F238E27FC236}">
                  <a16:creationId xmlns:a16="http://schemas.microsoft.com/office/drawing/2014/main" id="{DE83541C-6C64-4EFA-96DA-32677B2F8AB7}"/>
                </a:ext>
              </a:extLst>
            </p:cNvPr>
            <p:cNvSpPr/>
            <p:nvPr/>
          </p:nvSpPr>
          <p:spPr>
            <a:xfrm rot="8716295">
              <a:off x="24761" y="33896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8" name="Forme libre : forme 367">
              <a:extLst>
                <a:ext uri="{FF2B5EF4-FFF2-40B4-BE49-F238E27FC236}">
                  <a16:creationId xmlns:a16="http://schemas.microsoft.com/office/drawing/2014/main" id="{97641E82-A92B-4DDB-9997-4330C2FFFC03}"/>
                </a:ext>
              </a:extLst>
            </p:cNvPr>
            <p:cNvSpPr/>
            <p:nvPr/>
          </p:nvSpPr>
          <p:spPr>
            <a:xfrm rot="8716295">
              <a:off x="-24047" y="3281741"/>
              <a:ext cx="106042" cy="113733"/>
            </a:xfrm>
            <a:custGeom>
              <a:avLst/>
              <a:gdLst>
                <a:gd name="connsiteX0" fmla="*/ 17477 w 106042"/>
                <a:gd name="connsiteY0" fmla="*/ 101182 h 113733"/>
                <a:gd name="connsiteX1" fmla="*/ 0 w 106042"/>
                <a:gd name="connsiteY1" fmla="*/ 59790 h 113733"/>
                <a:gd name="connsiteX2" fmla="*/ 0 w 106042"/>
                <a:gd name="connsiteY2" fmla="*/ 58869 h 113733"/>
                <a:gd name="connsiteX3" fmla="*/ 17477 w 106042"/>
                <a:gd name="connsiteY3" fmla="*/ 17477 h 113733"/>
                <a:gd name="connsiteX4" fmla="*/ 58869 w 106042"/>
                <a:gd name="connsiteY4" fmla="*/ 0 h 113733"/>
                <a:gd name="connsiteX5" fmla="*/ 100262 w 106042"/>
                <a:gd name="connsiteY5" fmla="*/ 17477 h 113733"/>
                <a:gd name="connsiteX6" fmla="*/ 106042 w 106042"/>
                <a:gd name="connsiteY6" fmla="*/ 31234 h 113733"/>
                <a:gd name="connsiteX7" fmla="*/ 48856 w 106042"/>
                <a:gd name="connsiteY7" fmla="*/ 113733 h 11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042" h="113733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cubicBezTo>
                    <a:pt x="74507" y="0"/>
                    <a:pt x="89224" y="6439"/>
                    <a:pt x="100262" y="17477"/>
                  </a:cubicBezTo>
                  <a:lnTo>
                    <a:pt x="106042" y="31234"/>
                  </a:lnTo>
                  <a:lnTo>
                    <a:pt x="48856" y="1137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9" name="Forme libre : forme 368">
              <a:extLst>
                <a:ext uri="{FF2B5EF4-FFF2-40B4-BE49-F238E27FC236}">
                  <a16:creationId xmlns:a16="http://schemas.microsoft.com/office/drawing/2014/main" id="{CA7B7E86-E158-4CCC-9F30-35FD45AC52DC}"/>
                </a:ext>
              </a:extLst>
            </p:cNvPr>
            <p:cNvSpPr/>
            <p:nvPr/>
          </p:nvSpPr>
          <p:spPr>
            <a:xfrm rot="8716295">
              <a:off x="-21924" y="3179872"/>
              <a:ext cx="45776" cy="62656"/>
            </a:xfrm>
            <a:custGeom>
              <a:avLst/>
              <a:gdLst>
                <a:gd name="connsiteX0" fmla="*/ 2345 w 45776"/>
                <a:gd name="connsiteY0" fmla="*/ 62656 h 62656"/>
                <a:gd name="connsiteX1" fmla="*/ 0 w 45776"/>
                <a:gd name="connsiteY1" fmla="*/ 57104 h 62656"/>
                <a:gd name="connsiteX2" fmla="*/ 0 w 45776"/>
                <a:gd name="connsiteY2" fmla="*/ 56183 h 62656"/>
                <a:gd name="connsiteX3" fmla="*/ 17477 w 45776"/>
                <a:gd name="connsiteY3" fmla="*/ 14791 h 62656"/>
                <a:gd name="connsiteX4" fmla="*/ 36449 w 45776"/>
                <a:gd name="connsiteY4" fmla="*/ 1913 h 62656"/>
                <a:gd name="connsiteX5" fmla="*/ 45776 w 45776"/>
                <a:gd name="connsiteY5" fmla="*/ 0 h 62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776" h="62656">
                  <a:moveTo>
                    <a:pt x="2345" y="62656"/>
                  </a:moveTo>
                  <a:lnTo>
                    <a:pt x="0" y="57104"/>
                  </a:lnTo>
                  <a:lnTo>
                    <a:pt x="0" y="56183"/>
                  </a:lnTo>
                  <a:cubicBezTo>
                    <a:pt x="0" y="40547"/>
                    <a:pt x="6439" y="25829"/>
                    <a:pt x="17477" y="14791"/>
                  </a:cubicBezTo>
                  <a:cubicBezTo>
                    <a:pt x="22996" y="9272"/>
                    <a:pt x="29435" y="4903"/>
                    <a:pt x="36449" y="1913"/>
                  </a:cubicBezTo>
                  <a:lnTo>
                    <a:pt x="4577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0" name="Forme libre : forme 369">
              <a:extLst>
                <a:ext uri="{FF2B5EF4-FFF2-40B4-BE49-F238E27FC236}">
                  <a16:creationId xmlns:a16="http://schemas.microsoft.com/office/drawing/2014/main" id="{B95921A2-46DE-49F9-9F14-5364CEEC2044}"/>
                </a:ext>
              </a:extLst>
            </p:cNvPr>
            <p:cNvSpPr/>
            <p:nvPr/>
          </p:nvSpPr>
          <p:spPr>
            <a:xfrm rot="8716295">
              <a:off x="-21324" y="4100649"/>
              <a:ext cx="79113" cy="50123"/>
            </a:xfrm>
            <a:custGeom>
              <a:avLst/>
              <a:gdLst>
                <a:gd name="connsiteX0" fmla="*/ 0 w 79113"/>
                <a:gd name="connsiteY0" fmla="*/ 50123 h 50123"/>
                <a:gd name="connsiteX1" fmla="*/ 0 w 79113"/>
                <a:gd name="connsiteY1" fmla="*/ 0 h 50123"/>
                <a:gd name="connsiteX2" fmla="*/ 79113 w 79113"/>
                <a:gd name="connsiteY2" fmla="*/ 0 h 50123"/>
                <a:gd name="connsiteX3" fmla="*/ 44369 w 79113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113" h="50123">
                  <a:moveTo>
                    <a:pt x="0" y="50123"/>
                  </a:moveTo>
                  <a:lnTo>
                    <a:pt x="0" y="0"/>
                  </a:lnTo>
                  <a:lnTo>
                    <a:pt x="79113" y="0"/>
                  </a:lnTo>
                  <a:lnTo>
                    <a:pt x="44369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1" name="Forme libre : forme 370">
              <a:extLst>
                <a:ext uri="{FF2B5EF4-FFF2-40B4-BE49-F238E27FC236}">
                  <a16:creationId xmlns:a16="http://schemas.microsoft.com/office/drawing/2014/main" id="{84FEE941-A7A7-41F0-870B-FF2E21B132E9}"/>
                </a:ext>
              </a:extLst>
            </p:cNvPr>
            <p:cNvSpPr/>
            <p:nvPr/>
          </p:nvSpPr>
          <p:spPr>
            <a:xfrm rot="8716295">
              <a:off x="-40457" y="398156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2" name="Forme libre : forme 371">
              <a:extLst>
                <a:ext uri="{FF2B5EF4-FFF2-40B4-BE49-F238E27FC236}">
                  <a16:creationId xmlns:a16="http://schemas.microsoft.com/office/drawing/2014/main" id="{ED05E8E5-B04C-426F-A5B3-FDFECB7FA8BB}"/>
                </a:ext>
              </a:extLst>
            </p:cNvPr>
            <p:cNvSpPr/>
            <p:nvPr/>
          </p:nvSpPr>
          <p:spPr>
            <a:xfrm rot="7484129">
              <a:off x="-46974" y="427316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3" name="Forme libre : forme 372">
              <a:extLst>
                <a:ext uri="{FF2B5EF4-FFF2-40B4-BE49-F238E27FC236}">
                  <a16:creationId xmlns:a16="http://schemas.microsoft.com/office/drawing/2014/main" id="{2455BBCE-F26C-4AF6-86DC-09C81861FE56}"/>
                </a:ext>
              </a:extLst>
            </p:cNvPr>
            <p:cNvSpPr/>
            <p:nvPr/>
          </p:nvSpPr>
          <p:spPr>
            <a:xfrm rot="13089394">
              <a:off x="57846" y="423970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4" name="Forme libre : forme 373">
              <a:extLst>
                <a:ext uri="{FF2B5EF4-FFF2-40B4-BE49-F238E27FC236}">
                  <a16:creationId xmlns:a16="http://schemas.microsoft.com/office/drawing/2014/main" id="{51373B92-194C-42B9-B764-40EA297AE7F9}"/>
                </a:ext>
              </a:extLst>
            </p:cNvPr>
            <p:cNvSpPr/>
            <p:nvPr/>
          </p:nvSpPr>
          <p:spPr>
            <a:xfrm rot="8716295">
              <a:off x="243431" y="404801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5" name="Forme libre : forme 374">
              <a:extLst>
                <a:ext uri="{FF2B5EF4-FFF2-40B4-BE49-F238E27FC236}">
                  <a16:creationId xmlns:a16="http://schemas.microsoft.com/office/drawing/2014/main" id="{F38EDEED-C414-448B-8D37-E62E6FF38F3A}"/>
                </a:ext>
              </a:extLst>
            </p:cNvPr>
            <p:cNvSpPr/>
            <p:nvPr/>
          </p:nvSpPr>
          <p:spPr>
            <a:xfrm rot="8716295">
              <a:off x="191626" y="39444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6" name="Forme libre : forme 375">
              <a:extLst>
                <a:ext uri="{FF2B5EF4-FFF2-40B4-BE49-F238E27FC236}">
                  <a16:creationId xmlns:a16="http://schemas.microsoft.com/office/drawing/2014/main" id="{1E970937-55EB-4E1D-94ED-92F0499DC22F}"/>
                </a:ext>
              </a:extLst>
            </p:cNvPr>
            <p:cNvSpPr/>
            <p:nvPr/>
          </p:nvSpPr>
          <p:spPr>
            <a:xfrm rot="8716295">
              <a:off x="125832" y="381540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7" name="Forme libre : forme 376">
              <a:extLst>
                <a:ext uri="{FF2B5EF4-FFF2-40B4-BE49-F238E27FC236}">
                  <a16:creationId xmlns:a16="http://schemas.microsoft.com/office/drawing/2014/main" id="{9890EDE8-10DA-45ED-AA77-40989F9FB014}"/>
                </a:ext>
              </a:extLst>
            </p:cNvPr>
            <p:cNvSpPr/>
            <p:nvPr/>
          </p:nvSpPr>
          <p:spPr>
            <a:xfrm rot="8716295">
              <a:off x="-73048" y="4876828"/>
              <a:ext cx="221382" cy="253349"/>
            </a:xfrm>
            <a:custGeom>
              <a:avLst/>
              <a:gdLst>
                <a:gd name="connsiteX0" fmla="*/ 51490 w 221382"/>
                <a:gd name="connsiteY0" fmla="*/ 253349 h 253349"/>
                <a:gd name="connsiteX1" fmla="*/ 51490 w 221382"/>
                <a:gd name="connsiteY1" fmla="*/ 44199 h 253349"/>
                <a:gd name="connsiteX2" fmla="*/ 0 w 221382"/>
                <a:gd name="connsiteY2" fmla="*/ 44199 h 253349"/>
                <a:gd name="connsiteX3" fmla="*/ 0 w 221382"/>
                <a:gd name="connsiteY3" fmla="*/ 0 h 253349"/>
                <a:gd name="connsiteX4" fmla="*/ 104803 w 221382"/>
                <a:gd name="connsiteY4" fmla="*/ 0 h 253349"/>
                <a:gd name="connsiteX5" fmla="*/ 104802 w 221382"/>
                <a:gd name="connsiteY5" fmla="*/ 73817 h 253349"/>
                <a:gd name="connsiteX6" fmla="*/ 106169 w 221382"/>
                <a:gd name="connsiteY6" fmla="*/ 73817 h 253349"/>
                <a:gd name="connsiteX7" fmla="*/ 154014 w 221382"/>
                <a:gd name="connsiteY7" fmla="*/ 4556 h 253349"/>
                <a:gd name="connsiteX8" fmla="*/ 174650 w 221382"/>
                <a:gd name="connsiteY8" fmla="*/ 668 h 253349"/>
                <a:gd name="connsiteX9" fmla="*/ 214075 w 221382"/>
                <a:gd name="connsiteY9" fmla="*/ 27996 h 253349"/>
                <a:gd name="connsiteX10" fmla="*/ 221382 w 221382"/>
                <a:gd name="connsiteY10" fmla="*/ 33060 h 253349"/>
                <a:gd name="connsiteX11" fmla="*/ 195540 w 221382"/>
                <a:gd name="connsiteY11" fmla="*/ 70341 h 253349"/>
                <a:gd name="connsiteX12" fmla="*/ 189157 w 221382"/>
                <a:gd name="connsiteY12" fmla="*/ 50236 h 253349"/>
                <a:gd name="connsiteX13" fmla="*/ 164950 w 221382"/>
                <a:gd name="connsiteY13" fmla="*/ 38731 h 253349"/>
                <a:gd name="connsiteX14" fmla="*/ 111638 w 221382"/>
                <a:gd name="connsiteY14" fmla="*/ 126218 h 253349"/>
                <a:gd name="connsiteX15" fmla="*/ 111638 w 221382"/>
                <a:gd name="connsiteY15" fmla="*/ 191383 h 253349"/>
                <a:gd name="connsiteX16" fmla="*/ 84096 w 221382"/>
                <a:gd name="connsiteY16" fmla="*/ 231117 h 253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1382" h="253349">
                  <a:moveTo>
                    <a:pt x="51490" y="253349"/>
                  </a:moveTo>
                  <a:lnTo>
                    <a:pt x="51490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104803" y="0"/>
                  </a:lnTo>
                  <a:lnTo>
                    <a:pt x="104802" y="73817"/>
                  </a:lnTo>
                  <a:lnTo>
                    <a:pt x="106169" y="73817"/>
                  </a:lnTo>
                  <a:cubicBezTo>
                    <a:pt x="120751" y="30529"/>
                    <a:pt x="132142" y="13670"/>
                    <a:pt x="154014" y="4556"/>
                  </a:cubicBezTo>
                  <a:lnTo>
                    <a:pt x="174650" y="668"/>
                  </a:lnTo>
                  <a:lnTo>
                    <a:pt x="214075" y="27996"/>
                  </a:lnTo>
                  <a:lnTo>
                    <a:pt x="221382" y="33060"/>
                  </a:lnTo>
                  <a:lnTo>
                    <a:pt x="195540" y="70341"/>
                  </a:lnTo>
                  <a:lnTo>
                    <a:pt x="189157" y="50236"/>
                  </a:lnTo>
                  <a:cubicBezTo>
                    <a:pt x="183177" y="42946"/>
                    <a:pt x="174747" y="38731"/>
                    <a:pt x="164950" y="38731"/>
                  </a:cubicBezTo>
                  <a:cubicBezTo>
                    <a:pt x="135788" y="38731"/>
                    <a:pt x="111638" y="77463"/>
                    <a:pt x="111638" y="126218"/>
                  </a:cubicBezTo>
                  <a:lnTo>
                    <a:pt x="111638" y="191383"/>
                  </a:lnTo>
                  <a:lnTo>
                    <a:pt x="84096" y="2311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8" name="Forme libre : forme 377">
              <a:extLst>
                <a:ext uri="{FF2B5EF4-FFF2-40B4-BE49-F238E27FC236}">
                  <a16:creationId xmlns:a16="http://schemas.microsoft.com/office/drawing/2014/main" id="{D89764C9-6568-42FB-A4A1-D9595395AB12}"/>
                </a:ext>
              </a:extLst>
            </p:cNvPr>
            <p:cNvSpPr/>
            <p:nvPr/>
          </p:nvSpPr>
          <p:spPr>
            <a:xfrm rot="8716295">
              <a:off x="93318" y="46120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9" name="Forme libre : forme 378">
              <a:extLst>
                <a:ext uri="{FF2B5EF4-FFF2-40B4-BE49-F238E27FC236}">
                  <a16:creationId xmlns:a16="http://schemas.microsoft.com/office/drawing/2014/main" id="{B3A51367-1D00-45C2-8806-45DE56D1374A}"/>
                </a:ext>
              </a:extLst>
            </p:cNvPr>
            <p:cNvSpPr/>
            <p:nvPr/>
          </p:nvSpPr>
          <p:spPr>
            <a:xfrm rot="8716295">
              <a:off x="182710" y="46412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0" name="Forme libre : forme 379">
              <a:extLst>
                <a:ext uri="{FF2B5EF4-FFF2-40B4-BE49-F238E27FC236}">
                  <a16:creationId xmlns:a16="http://schemas.microsoft.com/office/drawing/2014/main" id="{5796D538-9FA1-4B69-9ECE-72D45F20B58A}"/>
                </a:ext>
              </a:extLst>
            </p:cNvPr>
            <p:cNvSpPr/>
            <p:nvPr/>
          </p:nvSpPr>
          <p:spPr>
            <a:xfrm rot="8716295">
              <a:off x="-14524" y="4699631"/>
              <a:ext cx="49997" cy="54238"/>
            </a:xfrm>
            <a:custGeom>
              <a:avLst/>
              <a:gdLst>
                <a:gd name="connsiteX0" fmla="*/ 8658 w 49997"/>
                <a:gd name="connsiteY0" fmla="*/ 50123 h 54238"/>
                <a:gd name="connsiteX1" fmla="*/ 0 w 49997"/>
                <a:gd name="connsiteY1" fmla="*/ 29619 h 54238"/>
                <a:gd name="connsiteX2" fmla="*/ 0 w 49997"/>
                <a:gd name="connsiteY2" fmla="*/ 29162 h 54238"/>
                <a:gd name="connsiteX3" fmla="*/ 8658 w 49997"/>
                <a:gd name="connsiteY3" fmla="*/ 8658 h 54238"/>
                <a:gd name="connsiteX4" fmla="*/ 29163 w 49997"/>
                <a:gd name="connsiteY4" fmla="*/ 0 h 54238"/>
                <a:gd name="connsiteX5" fmla="*/ 49668 w 49997"/>
                <a:gd name="connsiteY5" fmla="*/ 8658 h 54238"/>
                <a:gd name="connsiteX6" fmla="*/ 49997 w 49997"/>
                <a:gd name="connsiteY6" fmla="*/ 9441 h 54238"/>
                <a:gd name="connsiteX7" fmla="*/ 18945 w 49997"/>
                <a:gd name="connsiteY7" fmla="*/ 54238 h 54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997" h="54238">
                  <a:moveTo>
                    <a:pt x="8658" y="50123"/>
                  </a:moveTo>
                  <a:cubicBezTo>
                    <a:pt x="3190" y="44655"/>
                    <a:pt x="0" y="37365"/>
                    <a:pt x="0" y="29619"/>
                  </a:cubicBezTo>
                  <a:lnTo>
                    <a:pt x="0" y="29162"/>
                  </a:lnTo>
                  <a:cubicBezTo>
                    <a:pt x="0" y="21417"/>
                    <a:pt x="3190" y="14126"/>
                    <a:pt x="8658" y="8658"/>
                  </a:cubicBezTo>
                  <a:cubicBezTo>
                    <a:pt x="14126" y="3190"/>
                    <a:pt x="21416" y="0"/>
                    <a:pt x="29163" y="0"/>
                  </a:cubicBezTo>
                  <a:cubicBezTo>
                    <a:pt x="36909" y="0"/>
                    <a:pt x="44200" y="3190"/>
                    <a:pt x="49668" y="8658"/>
                  </a:cubicBezTo>
                  <a:lnTo>
                    <a:pt x="49997" y="9441"/>
                  </a:lnTo>
                  <a:lnTo>
                    <a:pt x="18945" y="54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1" name="Forme libre : forme 380">
              <a:extLst>
                <a:ext uri="{FF2B5EF4-FFF2-40B4-BE49-F238E27FC236}">
                  <a16:creationId xmlns:a16="http://schemas.microsoft.com/office/drawing/2014/main" id="{0A8DEA12-3B5F-4B33-B7D9-E32E7E70ED9F}"/>
                </a:ext>
              </a:extLst>
            </p:cNvPr>
            <p:cNvSpPr/>
            <p:nvPr/>
          </p:nvSpPr>
          <p:spPr>
            <a:xfrm rot="8716295">
              <a:off x="-30327" y="4579755"/>
              <a:ext cx="113346" cy="71024"/>
            </a:xfrm>
            <a:custGeom>
              <a:avLst/>
              <a:gdLst>
                <a:gd name="connsiteX0" fmla="*/ 0 w 113346"/>
                <a:gd name="connsiteY0" fmla="*/ 55323 h 71024"/>
                <a:gd name="connsiteX1" fmla="*/ 0 w 113346"/>
                <a:gd name="connsiteY1" fmla="*/ 0 h 71024"/>
                <a:gd name="connsiteX2" fmla="*/ 113346 w 113346"/>
                <a:gd name="connsiteY2" fmla="*/ 0 h 71024"/>
                <a:gd name="connsiteX3" fmla="*/ 64114 w 113346"/>
                <a:gd name="connsiteY3" fmla="*/ 71024 h 71024"/>
                <a:gd name="connsiteX4" fmla="*/ 69777 w 113346"/>
                <a:gd name="connsiteY4" fmla="*/ 55323 h 7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346" h="71024">
                  <a:moveTo>
                    <a:pt x="0" y="55323"/>
                  </a:moveTo>
                  <a:lnTo>
                    <a:pt x="0" y="0"/>
                  </a:lnTo>
                  <a:lnTo>
                    <a:pt x="113346" y="0"/>
                  </a:lnTo>
                  <a:lnTo>
                    <a:pt x="64114" y="71024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2" name="Forme libre : forme 381">
              <a:extLst>
                <a:ext uri="{FF2B5EF4-FFF2-40B4-BE49-F238E27FC236}">
                  <a16:creationId xmlns:a16="http://schemas.microsoft.com/office/drawing/2014/main" id="{B639F843-6BAF-4B67-80B8-3D30C09BF5FB}"/>
                </a:ext>
              </a:extLst>
            </p:cNvPr>
            <p:cNvSpPr/>
            <p:nvPr/>
          </p:nvSpPr>
          <p:spPr>
            <a:xfrm rot="8716295">
              <a:off x="71262" y="47415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3" name="Forme libre : forme 382">
              <a:extLst>
                <a:ext uri="{FF2B5EF4-FFF2-40B4-BE49-F238E27FC236}">
                  <a16:creationId xmlns:a16="http://schemas.microsoft.com/office/drawing/2014/main" id="{D52BFECF-759E-4683-BE94-173DD8657338}"/>
                </a:ext>
              </a:extLst>
            </p:cNvPr>
            <p:cNvSpPr/>
            <p:nvPr/>
          </p:nvSpPr>
          <p:spPr>
            <a:xfrm rot="7484129">
              <a:off x="172059" y="493353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170341 w 203847"/>
                <a:gd name="connsiteY5" fmla="*/ 0 h 195874"/>
                <a:gd name="connsiteX6" fmla="*/ 203847 w 203847"/>
                <a:gd name="connsiteY6" fmla="*/ 48325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170341" y="0"/>
                  </a:lnTo>
                  <a:lnTo>
                    <a:pt x="203847" y="48325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4" name="Forme libre : forme 383">
              <a:extLst>
                <a:ext uri="{FF2B5EF4-FFF2-40B4-BE49-F238E27FC236}">
                  <a16:creationId xmlns:a16="http://schemas.microsoft.com/office/drawing/2014/main" id="{25A08FAE-A75C-4B2E-B0C7-527DE2D9E508}"/>
                </a:ext>
              </a:extLst>
            </p:cNvPr>
            <p:cNvSpPr/>
            <p:nvPr/>
          </p:nvSpPr>
          <p:spPr>
            <a:xfrm rot="13089394">
              <a:off x="313551" y="4906246"/>
              <a:ext cx="221827" cy="205098"/>
            </a:xfrm>
            <a:custGeom>
              <a:avLst/>
              <a:gdLst>
                <a:gd name="connsiteX0" fmla="*/ 24153 w 221827"/>
                <a:gd name="connsiteY0" fmla="*/ 55168 h 205098"/>
                <a:gd name="connsiteX1" fmla="*/ 0 w 221827"/>
                <a:gd name="connsiteY1" fmla="*/ 18385 h 205098"/>
                <a:gd name="connsiteX2" fmla="*/ 23400 w 221827"/>
                <a:gd name="connsiteY2" fmla="*/ 0 h 205098"/>
                <a:gd name="connsiteX3" fmla="*/ 23735 w 221827"/>
                <a:gd name="connsiteY3" fmla="*/ 46640 h 205098"/>
                <a:gd name="connsiteX4" fmla="*/ 221827 w 221827"/>
                <a:gd name="connsiteY4" fmla="*/ 150928 h 205098"/>
                <a:gd name="connsiteX5" fmla="*/ 126574 w 221827"/>
                <a:gd name="connsiteY5" fmla="*/ 204038 h 205098"/>
                <a:gd name="connsiteX6" fmla="*/ 122603 w 221827"/>
                <a:gd name="connsiteY6" fmla="*/ 205098 h 205098"/>
                <a:gd name="connsiteX7" fmla="*/ 102519 w 221827"/>
                <a:gd name="connsiteY7" fmla="*/ 174512 h 205098"/>
                <a:gd name="connsiteX8" fmla="*/ 103192 w 221827"/>
                <a:gd name="connsiteY8" fmla="*/ 174655 h 205098"/>
                <a:gd name="connsiteX9" fmla="*/ 152853 w 221827"/>
                <a:gd name="connsiteY9" fmla="*/ 165826 h 205098"/>
                <a:gd name="connsiteX10" fmla="*/ 220723 w 221827"/>
                <a:gd name="connsiteY10" fmla="*/ 138237 h 205098"/>
                <a:gd name="connsiteX11" fmla="*/ 221827 w 221827"/>
                <a:gd name="connsiteY11" fmla="*/ 145410 h 205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1827" h="205098">
                  <a:moveTo>
                    <a:pt x="24153" y="55168"/>
                  </a:moveTo>
                  <a:lnTo>
                    <a:pt x="0" y="18385"/>
                  </a:lnTo>
                  <a:lnTo>
                    <a:pt x="23400" y="0"/>
                  </a:lnTo>
                  <a:lnTo>
                    <a:pt x="23735" y="46640"/>
                  </a:lnTo>
                  <a:close/>
                  <a:moveTo>
                    <a:pt x="221827" y="150928"/>
                  </a:moveTo>
                  <a:cubicBezTo>
                    <a:pt x="192582" y="176035"/>
                    <a:pt x="158785" y="193002"/>
                    <a:pt x="126574" y="204038"/>
                  </a:cubicBezTo>
                  <a:lnTo>
                    <a:pt x="122603" y="205098"/>
                  </a:lnTo>
                  <a:lnTo>
                    <a:pt x="102519" y="174512"/>
                  </a:lnTo>
                  <a:lnTo>
                    <a:pt x="103192" y="174655"/>
                  </a:lnTo>
                  <a:cubicBezTo>
                    <a:pt x="120298" y="174103"/>
                    <a:pt x="136851" y="170792"/>
                    <a:pt x="152853" y="165826"/>
                  </a:cubicBezTo>
                  <a:cubicBezTo>
                    <a:pt x="176028" y="158653"/>
                    <a:pt x="198652" y="149273"/>
                    <a:pt x="220723" y="138237"/>
                  </a:cubicBezTo>
                  <a:cubicBezTo>
                    <a:pt x="221275" y="140444"/>
                    <a:pt x="221827" y="143203"/>
                    <a:pt x="221827" y="1454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5" name="Forme libre : forme 384">
              <a:extLst>
                <a:ext uri="{FF2B5EF4-FFF2-40B4-BE49-F238E27FC236}">
                  <a16:creationId xmlns:a16="http://schemas.microsoft.com/office/drawing/2014/main" id="{6B1D4FCF-4868-4FA7-803E-D1D00595788E}"/>
                </a:ext>
              </a:extLst>
            </p:cNvPr>
            <p:cNvSpPr/>
            <p:nvPr/>
          </p:nvSpPr>
          <p:spPr>
            <a:xfrm rot="8716295">
              <a:off x="406370" y="4600606"/>
              <a:ext cx="113655" cy="117117"/>
            </a:xfrm>
            <a:custGeom>
              <a:avLst/>
              <a:gdLst>
                <a:gd name="connsiteX0" fmla="*/ 13623 w 113655"/>
                <a:gd name="connsiteY0" fmla="*/ 100559 h 117117"/>
                <a:gd name="connsiteX1" fmla="*/ 0 w 113655"/>
                <a:gd name="connsiteY1" fmla="*/ 68296 h 117117"/>
                <a:gd name="connsiteX2" fmla="*/ 56488 w 113655"/>
                <a:gd name="connsiteY2" fmla="*/ 0 h 117117"/>
                <a:gd name="connsiteX3" fmla="*/ 96408 w 113655"/>
                <a:gd name="connsiteY3" fmla="*/ 16856 h 117117"/>
                <a:gd name="connsiteX4" fmla="*/ 96408 w 113655"/>
                <a:gd name="connsiteY4" fmla="*/ 99640 h 117117"/>
                <a:gd name="connsiteX5" fmla="*/ 55015 w 113655"/>
                <a:gd name="connsiteY5" fmla="*/ 117117 h 117117"/>
                <a:gd name="connsiteX6" fmla="*/ 13623 w 113655"/>
                <a:gd name="connsiteY6" fmla="*/ 100559 h 117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655" h="117117">
                  <a:moveTo>
                    <a:pt x="13623" y="100559"/>
                  </a:moveTo>
                  <a:lnTo>
                    <a:pt x="0" y="68296"/>
                  </a:lnTo>
                  <a:lnTo>
                    <a:pt x="56488" y="0"/>
                  </a:lnTo>
                  <a:lnTo>
                    <a:pt x="96408" y="16856"/>
                  </a:lnTo>
                  <a:cubicBezTo>
                    <a:pt x="119404" y="38931"/>
                    <a:pt x="119404" y="76644"/>
                    <a:pt x="96408" y="99640"/>
                  </a:cubicBezTo>
                  <a:cubicBezTo>
                    <a:pt x="85370" y="110678"/>
                    <a:pt x="70653" y="117116"/>
                    <a:pt x="55015" y="117117"/>
                  </a:cubicBezTo>
                  <a:cubicBezTo>
                    <a:pt x="39378" y="117117"/>
                    <a:pt x="24661" y="111597"/>
                    <a:pt x="13623" y="10055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6" name="Forme libre : forme 385">
              <a:extLst>
                <a:ext uri="{FF2B5EF4-FFF2-40B4-BE49-F238E27FC236}">
                  <a16:creationId xmlns:a16="http://schemas.microsoft.com/office/drawing/2014/main" id="{A521D2F6-3CA4-443B-AE06-E761EA9F7456}"/>
                </a:ext>
              </a:extLst>
            </p:cNvPr>
            <p:cNvSpPr/>
            <p:nvPr/>
          </p:nvSpPr>
          <p:spPr>
            <a:xfrm rot="8716295">
              <a:off x="171547" y="46343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7" name="Forme libre : forme 386">
              <a:extLst>
                <a:ext uri="{FF2B5EF4-FFF2-40B4-BE49-F238E27FC236}">
                  <a16:creationId xmlns:a16="http://schemas.microsoft.com/office/drawing/2014/main" id="{830F38CE-6CA7-4EBA-A5A4-58CB35926CD3}"/>
                </a:ext>
              </a:extLst>
            </p:cNvPr>
            <p:cNvSpPr/>
            <p:nvPr/>
          </p:nvSpPr>
          <p:spPr>
            <a:xfrm rot="8716295">
              <a:off x="348999" y="44751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596101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&amp; Réseaux sociaux - Fond clair">
    <p:bg>
      <p:bgPr>
        <a:solidFill>
          <a:srgbClr val="3A1B0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Forme libre : forme 139">
            <a:extLst>
              <a:ext uri="{FF2B5EF4-FFF2-40B4-BE49-F238E27FC236}">
                <a16:creationId xmlns:a16="http://schemas.microsoft.com/office/drawing/2014/main" id="{9BAF1841-A5A7-4A72-BE89-09D329878A6E}"/>
              </a:ext>
            </a:extLst>
          </p:cNvPr>
          <p:cNvSpPr/>
          <p:nvPr userDrawn="1"/>
        </p:nvSpPr>
        <p:spPr>
          <a:xfrm>
            <a:off x="448701" y="0"/>
            <a:ext cx="8695299" cy="5143500"/>
          </a:xfrm>
          <a:custGeom>
            <a:avLst/>
            <a:gdLst>
              <a:gd name="connsiteX0" fmla="*/ 0 w 8695299"/>
              <a:gd name="connsiteY0" fmla="*/ 0 h 5143500"/>
              <a:gd name="connsiteX1" fmla="*/ 8695299 w 8695299"/>
              <a:gd name="connsiteY1" fmla="*/ 0 h 5143500"/>
              <a:gd name="connsiteX2" fmla="*/ 8695299 w 8695299"/>
              <a:gd name="connsiteY2" fmla="*/ 5143500 h 5143500"/>
              <a:gd name="connsiteX3" fmla="*/ 444304 w 8695299"/>
              <a:gd name="connsiteY3" fmla="*/ 5143500 h 5143500"/>
              <a:gd name="connsiteX4" fmla="*/ 171091 w 8695299"/>
              <a:gd name="connsiteY4" fmla="*/ 1980633 h 5143500"/>
              <a:gd name="connsiteX5" fmla="*/ 443837 w 8695299"/>
              <a:gd name="connsiteY5" fmla="*/ 1 h 5143500"/>
              <a:gd name="connsiteX6" fmla="*/ 262116 w 8695299"/>
              <a:gd name="connsiteY6" fmla="*/ 1 h 5143500"/>
              <a:gd name="connsiteX7" fmla="*/ 0 w 8695299"/>
              <a:gd name="connsiteY7" fmla="*/ 1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95299" h="5143500">
                <a:moveTo>
                  <a:pt x="0" y="0"/>
                </a:moveTo>
                <a:lnTo>
                  <a:pt x="8695299" y="0"/>
                </a:lnTo>
                <a:lnTo>
                  <a:pt x="8695299" y="5143500"/>
                </a:lnTo>
                <a:lnTo>
                  <a:pt x="444304" y="5143500"/>
                </a:lnTo>
                <a:lnTo>
                  <a:pt x="171091" y="1980633"/>
                </a:lnTo>
                <a:lnTo>
                  <a:pt x="443837" y="1"/>
                </a:lnTo>
                <a:lnTo>
                  <a:pt x="262116" y="1"/>
                </a:lnTo>
                <a:lnTo>
                  <a:pt x="0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92" name="Graphique 27">
            <a:extLst>
              <a:ext uri="{FF2B5EF4-FFF2-40B4-BE49-F238E27FC236}">
                <a16:creationId xmlns:a16="http://schemas.microsoft.com/office/drawing/2014/main" id="{B9396CB4-323C-4697-9B57-F626DEC3F247}"/>
              </a:ext>
            </a:extLst>
          </p:cNvPr>
          <p:cNvGrpSpPr/>
          <p:nvPr userDrawn="1"/>
        </p:nvGrpSpPr>
        <p:grpSpPr>
          <a:xfrm>
            <a:off x="3242261" y="3601712"/>
            <a:ext cx="2666014" cy="795600"/>
            <a:chOff x="5898130" y="3867908"/>
            <a:chExt cx="2666014" cy="795600"/>
          </a:xfrm>
        </p:grpSpPr>
        <p:sp>
          <p:nvSpPr>
            <p:cNvPr id="193" name="Forme libre : forme 192">
              <a:extLst>
                <a:ext uri="{FF2B5EF4-FFF2-40B4-BE49-F238E27FC236}">
                  <a16:creationId xmlns:a16="http://schemas.microsoft.com/office/drawing/2014/main" id="{86566BF4-64A3-4C33-AC64-E4183CC9F62F}"/>
                </a:ext>
              </a:extLst>
            </p:cNvPr>
            <p:cNvSpPr/>
            <p:nvPr/>
          </p:nvSpPr>
          <p:spPr>
            <a:xfrm>
              <a:off x="5898130" y="4006913"/>
              <a:ext cx="93070" cy="153115"/>
            </a:xfrm>
            <a:custGeom>
              <a:avLst/>
              <a:gdLst>
                <a:gd name="connsiteX0" fmla="*/ 93671 w 93070"/>
                <a:gd name="connsiteY0" fmla="*/ 33025 h 153115"/>
                <a:gd name="connsiteX1" fmla="*/ 93671 w 93070"/>
                <a:gd name="connsiteY1" fmla="*/ 137203 h 153115"/>
                <a:gd name="connsiteX2" fmla="*/ 53440 w 93070"/>
                <a:gd name="connsiteY2" fmla="*/ 153115 h 153115"/>
                <a:gd name="connsiteX3" fmla="*/ 53440 w 93070"/>
                <a:gd name="connsiteY3" fmla="*/ 45935 h 153115"/>
                <a:gd name="connsiteX4" fmla="*/ 53440 w 93070"/>
                <a:gd name="connsiteY4" fmla="*/ 43233 h 153115"/>
                <a:gd name="connsiteX5" fmla="*/ 39930 w 93070"/>
                <a:gd name="connsiteY5" fmla="*/ 33025 h 153115"/>
                <a:gd name="connsiteX6" fmla="*/ 0 w 93070"/>
                <a:gd name="connsiteY6" fmla="*/ 33025 h 153115"/>
                <a:gd name="connsiteX7" fmla="*/ 0 w 93070"/>
                <a:gd name="connsiteY7" fmla="*/ 0 h 153115"/>
                <a:gd name="connsiteX8" fmla="*/ 56142 w 93070"/>
                <a:gd name="connsiteY8" fmla="*/ 0 h 153115"/>
                <a:gd name="connsiteX9" fmla="*/ 93671 w 93070"/>
                <a:gd name="connsiteY9" fmla="*/ 33025 h 153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3070" h="153115">
                  <a:moveTo>
                    <a:pt x="93671" y="33025"/>
                  </a:moveTo>
                  <a:lnTo>
                    <a:pt x="93671" y="137203"/>
                  </a:lnTo>
                  <a:lnTo>
                    <a:pt x="53440" y="153115"/>
                  </a:lnTo>
                  <a:lnTo>
                    <a:pt x="53440" y="45935"/>
                  </a:lnTo>
                  <a:cubicBezTo>
                    <a:pt x="53440" y="45034"/>
                    <a:pt x="53440" y="44133"/>
                    <a:pt x="53440" y="43233"/>
                  </a:cubicBezTo>
                  <a:cubicBezTo>
                    <a:pt x="52540" y="36628"/>
                    <a:pt x="46535" y="32124"/>
                    <a:pt x="39930" y="33025"/>
                  </a:cubicBezTo>
                  <a:lnTo>
                    <a:pt x="0" y="33025"/>
                  </a:lnTo>
                  <a:lnTo>
                    <a:pt x="0" y="0"/>
                  </a:lnTo>
                  <a:lnTo>
                    <a:pt x="56142" y="0"/>
                  </a:lnTo>
                  <a:cubicBezTo>
                    <a:pt x="80461" y="0"/>
                    <a:pt x="93671" y="10508"/>
                    <a:pt x="93671" y="33025"/>
                  </a:cubicBezTo>
                  <a:close/>
                </a:path>
              </a:pathLst>
            </a:custGeom>
            <a:solidFill>
              <a:srgbClr val="009FE3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94" name="Forme libre : forme 193">
              <a:extLst>
                <a:ext uri="{FF2B5EF4-FFF2-40B4-BE49-F238E27FC236}">
                  <a16:creationId xmlns:a16="http://schemas.microsoft.com/office/drawing/2014/main" id="{FB082CB6-7B26-4E70-967B-98773BCFF4EE}"/>
                </a:ext>
              </a:extLst>
            </p:cNvPr>
            <p:cNvSpPr/>
            <p:nvPr/>
          </p:nvSpPr>
          <p:spPr>
            <a:xfrm>
              <a:off x="7134164" y="4001471"/>
              <a:ext cx="171129" cy="165125"/>
            </a:xfrm>
            <a:custGeom>
              <a:avLst/>
              <a:gdLst>
                <a:gd name="connsiteX0" fmla="*/ 171730 w 171129"/>
                <a:gd name="connsiteY0" fmla="*/ 58282 h 165124"/>
                <a:gd name="connsiteX1" fmla="*/ 171730 w 171129"/>
                <a:gd name="connsiteY1" fmla="*/ 62185 h 165124"/>
                <a:gd name="connsiteX2" fmla="*/ 130899 w 171129"/>
                <a:gd name="connsiteY2" fmla="*/ 64587 h 165124"/>
                <a:gd name="connsiteX3" fmla="*/ 130899 w 171129"/>
                <a:gd name="connsiteY3" fmla="*/ 53778 h 165124"/>
                <a:gd name="connsiteX4" fmla="*/ 108682 w 171129"/>
                <a:gd name="connsiteY4" fmla="*/ 26458 h 165124"/>
                <a:gd name="connsiteX5" fmla="*/ 73556 w 171129"/>
                <a:gd name="connsiteY5" fmla="*/ 84101 h 165124"/>
                <a:gd name="connsiteX6" fmla="*/ 73556 w 171129"/>
                <a:gd name="connsiteY6" fmla="*/ 140844 h 165124"/>
                <a:gd name="connsiteX7" fmla="*/ 33926 w 171129"/>
                <a:gd name="connsiteY7" fmla="*/ 167864 h 165124"/>
                <a:gd name="connsiteX8" fmla="*/ 33926 w 171129"/>
                <a:gd name="connsiteY8" fmla="*/ 30061 h 165124"/>
                <a:gd name="connsiteX9" fmla="*/ 0 w 171129"/>
                <a:gd name="connsiteY9" fmla="*/ 30061 h 165124"/>
                <a:gd name="connsiteX10" fmla="*/ 0 w 171129"/>
                <a:gd name="connsiteY10" fmla="*/ 939 h 165124"/>
                <a:gd name="connsiteX11" fmla="*/ 69052 w 171129"/>
                <a:gd name="connsiteY11" fmla="*/ 939 h 165124"/>
                <a:gd name="connsiteX12" fmla="*/ 69052 w 171129"/>
                <a:gd name="connsiteY12" fmla="*/ 49575 h 165124"/>
                <a:gd name="connsiteX13" fmla="*/ 69953 w 171129"/>
                <a:gd name="connsiteY13" fmla="*/ 49575 h 165124"/>
                <a:gd name="connsiteX14" fmla="*/ 101477 w 171129"/>
                <a:gd name="connsiteY14" fmla="*/ 3941 h 165124"/>
                <a:gd name="connsiteX15" fmla="*/ 122192 w 171129"/>
                <a:gd name="connsiteY15" fmla="*/ 38 h 165124"/>
                <a:gd name="connsiteX16" fmla="*/ 171730 w 171129"/>
                <a:gd name="connsiteY16" fmla="*/ 58282 h 165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71129" h="165124">
                  <a:moveTo>
                    <a:pt x="171730" y="58282"/>
                  </a:moveTo>
                  <a:lnTo>
                    <a:pt x="171730" y="62185"/>
                  </a:lnTo>
                  <a:lnTo>
                    <a:pt x="130899" y="64587"/>
                  </a:lnTo>
                  <a:lnTo>
                    <a:pt x="130899" y="53778"/>
                  </a:lnTo>
                  <a:cubicBezTo>
                    <a:pt x="130899" y="37566"/>
                    <a:pt x="121592" y="26458"/>
                    <a:pt x="108682" y="26458"/>
                  </a:cubicBezTo>
                  <a:cubicBezTo>
                    <a:pt x="89468" y="26458"/>
                    <a:pt x="73556" y="51977"/>
                    <a:pt x="73556" y="84101"/>
                  </a:cubicBezTo>
                  <a:lnTo>
                    <a:pt x="73556" y="140844"/>
                  </a:lnTo>
                  <a:lnTo>
                    <a:pt x="33926" y="167864"/>
                  </a:lnTo>
                  <a:lnTo>
                    <a:pt x="33926" y="30061"/>
                  </a:lnTo>
                  <a:lnTo>
                    <a:pt x="0" y="30061"/>
                  </a:lnTo>
                  <a:lnTo>
                    <a:pt x="0" y="939"/>
                  </a:lnTo>
                  <a:lnTo>
                    <a:pt x="69052" y="939"/>
                  </a:lnTo>
                  <a:lnTo>
                    <a:pt x="69052" y="49575"/>
                  </a:lnTo>
                  <a:lnTo>
                    <a:pt x="69953" y="49575"/>
                  </a:lnTo>
                  <a:cubicBezTo>
                    <a:pt x="79560" y="21054"/>
                    <a:pt x="87066" y="9945"/>
                    <a:pt x="101477" y="3941"/>
                  </a:cubicBezTo>
                  <a:cubicBezTo>
                    <a:pt x="108082" y="1239"/>
                    <a:pt x="114987" y="-262"/>
                    <a:pt x="122192" y="38"/>
                  </a:cubicBezTo>
                  <a:cubicBezTo>
                    <a:pt x="153116" y="-563"/>
                    <a:pt x="171730" y="21054"/>
                    <a:pt x="171730" y="58282"/>
                  </a:cubicBezTo>
                  <a:close/>
                </a:path>
              </a:pathLst>
            </a:custGeom>
            <a:solidFill>
              <a:srgbClr val="009FE3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95" name="Forme libre : forme 194">
              <a:extLst>
                <a:ext uri="{FF2B5EF4-FFF2-40B4-BE49-F238E27FC236}">
                  <a16:creationId xmlns:a16="http://schemas.microsoft.com/office/drawing/2014/main" id="{219ACDB1-34C9-4C32-A093-48E50867E42A}"/>
                </a:ext>
              </a:extLst>
            </p:cNvPr>
            <p:cNvSpPr/>
            <p:nvPr/>
          </p:nvSpPr>
          <p:spPr>
            <a:xfrm>
              <a:off x="7993113" y="3867608"/>
              <a:ext cx="123093" cy="90068"/>
            </a:xfrm>
            <a:custGeom>
              <a:avLst/>
              <a:gdLst>
                <a:gd name="connsiteX0" fmla="*/ 108382 w 123092"/>
                <a:gd name="connsiteY0" fmla="*/ 45634 h 90067"/>
                <a:gd name="connsiteX1" fmla="*/ 108682 w 123092"/>
                <a:gd name="connsiteY1" fmla="*/ 45634 h 90067"/>
                <a:gd name="connsiteX2" fmla="*/ 3903 w 123092"/>
                <a:gd name="connsiteY2" fmla="*/ 90969 h 90067"/>
                <a:gd name="connsiteX3" fmla="*/ 0 w 123092"/>
                <a:gd name="connsiteY3" fmla="*/ 85565 h 90067"/>
                <a:gd name="connsiteX4" fmla="*/ 71154 w 123092"/>
                <a:gd name="connsiteY4" fmla="*/ 18614 h 90067"/>
                <a:gd name="connsiteX5" fmla="*/ 107181 w 123092"/>
                <a:gd name="connsiteY5" fmla="*/ 0 h 90067"/>
                <a:gd name="connsiteX6" fmla="*/ 125795 w 123092"/>
                <a:gd name="connsiteY6" fmla="*/ 22217 h 90067"/>
                <a:gd name="connsiteX7" fmla="*/ 108382 w 123092"/>
                <a:gd name="connsiteY7" fmla="*/ 45634 h 90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3092" h="90067">
                  <a:moveTo>
                    <a:pt x="108382" y="45634"/>
                  </a:moveTo>
                  <a:lnTo>
                    <a:pt x="108682" y="45634"/>
                  </a:lnTo>
                  <a:lnTo>
                    <a:pt x="3903" y="90969"/>
                  </a:lnTo>
                  <a:lnTo>
                    <a:pt x="0" y="85565"/>
                  </a:lnTo>
                  <a:lnTo>
                    <a:pt x="71154" y="18614"/>
                  </a:lnTo>
                  <a:cubicBezTo>
                    <a:pt x="80161" y="8106"/>
                    <a:pt x="93070" y="1501"/>
                    <a:pt x="107181" y="0"/>
                  </a:cubicBezTo>
                  <a:cubicBezTo>
                    <a:pt x="121592" y="0"/>
                    <a:pt x="125795" y="12610"/>
                    <a:pt x="125795" y="22217"/>
                  </a:cubicBezTo>
                  <a:cubicBezTo>
                    <a:pt x="124894" y="32725"/>
                    <a:pt x="117989" y="41431"/>
                    <a:pt x="108382" y="45634"/>
                  </a:cubicBezTo>
                  <a:close/>
                </a:path>
              </a:pathLst>
            </a:custGeom>
            <a:solidFill>
              <a:srgbClr val="009FE3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96" name="Forme libre : forme 195">
              <a:extLst>
                <a:ext uri="{FF2B5EF4-FFF2-40B4-BE49-F238E27FC236}">
                  <a16:creationId xmlns:a16="http://schemas.microsoft.com/office/drawing/2014/main" id="{7A36B1D3-0BC9-43D3-A545-42A2378B84A2}"/>
                </a:ext>
              </a:extLst>
            </p:cNvPr>
            <p:cNvSpPr/>
            <p:nvPr/>
          </p:nvSpPr>
          <p:spPr>
            <a:xfrm>
              <a:off x="6523803" y="3918346"/>
              <a:ext cx="36027" cy="36027"/>
            </a:xfrm>
            <a:custGeom>
              <a:avLst/>
              <a:gdLst>
                <a:gd name="connsiteX0" fmla="*/ 32725 w 36027"/>
                <a:gd name="connsiteY0" fmla="*/ 32725 h 36027"/>
                <a:gd name="connsiteX1" fmla="*/ 19215 w 36027"/>
                <a:gd name="connsiteY1" fmla="*/ 38429 h 36027"/>
                <a:gd name="connsiteX2" fmla="*/ 5704 w 36027"/>
                <a:gd name="connsiteY2" fmla="*/ 33025 h 36027"/>
                <a:gd name="connsiteX3" fmla="*/ 0 w 36027"/>
                <a:gd name="connsiteY3" fmla="*/ 19515 h 36027"/>
                <a:gd name="connsiteX4" fmla="*/ 0 w 36027"/>
                <a:gd name="connsiteY4" fmla="*/ 19214 h 36027"/>
                <a:gd name="connsiteX5" fmla="*/ 5704 w 36027"/>
                <a:gd name="connsiteY5" fmla="*/ 5704 h 36027"/>
                <a:gd name="connsiteX6" fmla="*/ 19215 w 36027"/>
                <a:gd name="connsiteY6" fmla="*/ 0 h 36027"/>
                <a:gd name="connsiteX7" fmla="*/ 32725 w 36027"/>
                <a:gd name="connsiteY7" fmla="*/ 5704 h 36027"/>
                <a:gd name="connsiteX8" fmla="*/ 32725 w 36027"/>
                <a:gd name="connsiteY8" fmla="*/ 32725 h 36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027" h="36027">
                  <a:moveTo>
                    <a:pt x="32725" y="32725"/>
                  </a:moveTo>
                  <a:cubicBezTo>
                    <a:pt x="29122" y="36327"/>
                    <a:pt x="24318" y="38429"/>
                    <a:pt x="19215" y="38429"/>
                  </a:cubicBezTo>
                  <a:cubicBezTo>
                    <a:pt x="14111" y="38429"/>
                    <a:pt x="9307" y="36628"/>
                    <a:pt x="5704" y="33025"/>
                  </a:cubicBezTo>
                  <a:cubicBezTo>
                    <a:pt x="2102" y="29422"/>
                    <a:pt x="0" y="24619"/>
                    <a:pt x="0" y="19515"/>
                  </a:cubicBezTo>
                  <a:lnTo>
                    <a:pt x="0" y="19214"/>
                  </a:lnTo>
                  <a:cubicBezTo>
                    <a:pt x="0" y="14111"/>
                    <a:pt x="2102" y="9307"/>
                    <a:pt x="5704" y="5704"/>
                  </a:cubicBezTo>
                  <a:cubicBezTo>
                    <a:pt x="9307" y="2102"/>
                    <a:pt x="14111" y="0"/>
                    <a:pt x="19215" y="0"/>
                  </a:cubicBezTo>
                  <a:cubicBezTo>
                    <a:pt x="24318" y="0"/>
                    <a:pt x="29122" y="2102"/>
                    <a:pt x="32725" y="5704"/>
                  </a:cubicBezTo>
                  <a:cubicBezTo>
                    <a:pt x="40230" y="12910"/>
                    <a:pt x="40230" y="25219"/>
                    <a:pt x="32725" y="32725"/>
                  </a:cubicBezTo>
                  <a:close/>
                </a:path>
              </a:pathLst>
            </a:custGeom>
            <a:solidFill>
              <a:srgbClr val="009FE3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97" name="Forme libre : forme 196">
              <a:extLst>
                <a:ext uri="{FF2B5EF4-FFF2-40B4-BE49-F238E27FC236}">
                  <a16:creationId xmlns:a16="http://schemas.microsoft.com/office/drawing/2014/main" id="{BA76AE2F-0D7D-44B2-A262-EA419C215EA0}"/>
                </a:ext>
              </a:extLst>
            </p:cNvPr>
            <p:cNvSpPr/>
            <p:nvPr/>
          </p:nvSpPr>
          <p:spPr>
            <a:xfrm>
              <a:off x="6763083" y="4006913"/>
              <a:ext cx="120091" cy="117088"/>
            </a:xfrm>
            <a:custGeom>
              <a:avLst/>
              <a:gdLst>
                <a:gd name="connsiteX0" fmla="*/ 122793 w 120090"/>
                <a:gd name="connsiteY0" fmla="*/ 0 h 117088"/>
                <a:gd name="connsiteX1" fmla="*/ 122793 w 120090"/>
                <a:gd name="connsiteY1" fmla="*/ 33325 h 117088"/>
                <a:gd name="connsiteX2" fmla="*/ 83763 w 120090"/>
                <a:gd name="connsiteY2" fmla="*/ 33325 h 117088"/>
                <a:gd name="connsiteX3" fmla="*/ 54641 w 120090"/>
                <a:gd name="connsiteY3" fmla="*/ 117989 h 117088"/>
                <a:gd name="connsiteX4" fmla="*/ 28822 w 120090"/>
                <a:gd name="connsiteY4" fmla="*/ 69953 h 117088"/>
                <a:gd name="connsiteX5" fmla="*/ 42032 w 120090"/>
                <a:gd name="connsiteY5" fmla="*/ 33325 h 117088"/>
                <a:gd name="connsiteX6" fmla="*/ 0 w 120090"/>
                <a:gd name="connsiteY6" fmla="*/ 33325 h 117088"/>
                <a:gd name="connsiteX7" fmla="*/ 0 w 120090"/>
                <a:gd name="connsiteY7" fmla="*/ 0 h 117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0090" h="117088">
                  <a:moveTo>
                    <a:pt x="122793" y="0"/>
                  </a:moveTo>
                  <a:lnTo>
                    <a:pt x="122793" y="33325"/>
                  </a:lnTo>
                  <a:lnTo>
                    <a:pt x="83763" y="33325"/>
                  </a:lnTo>
                  <a:lnTo>
                    <a:pt x="54641" y="117989"/>
                  </a:lnTo>
                  <a:lnTo>
                    <a:pt x="28822" y="69953"/>
                  </a:lnTo>
                  <a:lnTo>
                    <a:pt x="42032" y="33325"/>
                  </a:lnTo>
                  <a:lnTo>
                    <a:pt x="0" y="333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FE3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98" name="Forme libre : forme 197">
              <a:extLst>
                <a:ext uri="{FF2B5EF4-FFF2-40B4-BE49-F238E27FC236}">
                  <a16:creationId xmlns:a16="http://schemas.microsoft.com/office/drawing/2014/main" id="{DBDE1595-6A35-4309-8304-C024038B286C}"/>
                </a:ext>
              </a:extLst>
            </p:cNvPr>
            <p:cNvSpPr/>
            <p:nvPr/>
          </p:nvSpPr>
          <p:spPr>
            <a:xfrm>
              <a:off x="7314421" y="4184121"/>
              <a:ext cx="120091" cy="114086"/>
            </a:xfrm>
            <a:custGeom>
              <a:avLst/>
              <a:gdLst>
                <a:gd name="connsiteX0" fmla="*/ 121170 w 120090"/>
                <a:gd name="connsiteY0" fmla="*/ 114311 h 114086"/>
                <a:gd name="connsiteX1" fmla="*/ 118168 w 120090"/>
                <a:gd name="connsiteY1" fmla="*/ 114311 h 114086"/>
                <a:gd name="connsiteX2" fmla="*/ 179 w 120090"/>
                <a:gd name="connsiteY2" fmla="*/ 33250 h 114086"/>
                <a:gd name="connsiteX3" fmla="*/ 26899 w 120090"/>
                <a:gd name="connsiteY3" fmla="*/ 225 h 114086"/>
                <a:gd name="connsiteX4" fmla="*/ 32603 w 120090"/>
                <a:gd name="connsiteY4" fmla="*/ 225 h 114086"/>
                <a:gd name="connsiteX5" fmla="*/ 59324 w 120090"/>
                <a:gd name="connsiteY5" fmla="*/ 25144 h 114086"/>
                <a:gd name="connsiteX6" fmla="*/ 39208 w 120090"/>
                <a:gd name="connsiteY6" fmla="*/ 52164 h 114086"/>
                <a:gd name="connsiteX7" fmla="*/ 121170 w 120090"/>
                <a:gd name="connsiteY7" fmla="*/ 114311 h 114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0090" h="114086">
                  <a:moveTo>
                    <a:pt x="121170" y="114311"/>
                  </a:moveTo>
                  <a:lnTo>
                    <a:pt x="118168" y="114311"/>
                  </a:lnTo>
                  <a:cubicBezTo>
                    <a:pt x="46114" y="114311"/>
                    <a:pt x="179" y="65675"/>
                    <a:pt x="179" y="33250"/>
                  </a:cubicBezTo>
                  <a:cubicBezTo>
                    <a:pt x="-1622" y="16738"/>
                    <a:pt x="10387" y="2027"/>
                    <a:pt x="26899" y="225"/>
                  </a:cubicBezTo>
                  <a:cubicBezTo>
                    <a:pt x="28700" y="-75"/>
                    <a:pt x="30802" y="-75"/>
                    <a:pt x="32603" y="225"/>
                  </a:cubicBezTo>
                  <a:cubicBezTo>
                    <a:pt x="46414" y="1426"/>
                    <a:pt x="57222" y="11934"/>
                    <a:pt x="59324" y="25144"/>
                  </a:cubicBezTo>
                  <a:cubicBezTo>
                    <a:pt x="59924" y="37753"/>
                    <a:pt x="51518" y="48862"/>
                    <a:pt x="39208" y="52164"/>
                  </a:cubicBezTo>
                  <a:lnTo>
                    <a:pt x="121170" y="114311"/>
                  </a:lnTo>
                  <a:close/>
                </a:path>
              </a:pathLst>
            </a:custGeom>
            <a:solidFill>
              <a:srgbClr val="009FE3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99" name="Forme libre : forme 198">
              <a:extLst>
                <a:ext uri="{FF2B5EF4-FFF2-40B4-BE49-F238E27FC236}">
                  <a16:creationId xmlns:a16="http://schemas.microsoft.com/office/drawing/2014/main" id="{4F0E7013-B703-4393-B5A7-8BAFE8A06CD7}"/>
                </a:ext>
              </a:extLst>
            </p:cNvPr>
            <p:cNvSpPr/>
            <p:nvPr/>
          </p:nvSpPr>
          <p:spPr>
            <a:xfrm>
              <a:off x="7744225" y="4120699"/>
              <a:ext cx="147111" cy="177134"/>
            </a:xfrm>
            <a:custGeom>
              <a:avLst/>
              <a:gdLst>
                <a:gd name="connsiteX0" fmla="*/ 148312 w 147111"/>
                <a:gd name="connsiteY0" fmla="*/ 137504 h 177133"/>
                <a:gd name="connsiteX1" fmla="*/ 148312 w 147111"/>
                <a:gd name="connsiteY1" fmla="*/ 140506 h 177133"/>
                <a:gd name="connsiteX2" fmla="*/ 49838 w 147111"/>
                <a:gd name="connsiteY2" fmla="*/ 178935 h 177133"/>
                <a:gd name="connsiteX3" fmla="*/ 12910 w 147111"/>
                <a:gd name="connsiteY3" fmla="*/ 163924 h 177133"/>
                <a:gd name="connsiteX4" fmla="*/ 0 w 147111"/>
                <a:gd name="connsiteY4" fmla="*/ 112285 h 177133"/>
                <a:gd name="connsiteX5" fmla="*/ 0 w 147111"/>
                <a:gd name="connsiteY5" fmla="*/ 20716 h 177133"/>
                <a:gd name="connsiteX6" fmla="*/ 39930 w 147111"/>
                <a:gd name="connsiteY6" fmla="*/ 0 h 177133"/>
                <a:gd name="connsiteX7" fmla="*/ 40531 w 147111"/>
                <a:gd name="connsiteY7" fmla="*/ 83763 h 177133"/>
                <a:gd name="connsiteX8" fmla="*/ 47736 w 147111"/>
                <a:gd name="connsiteY8" fmla="*/ 133601 h 177133"/>
                <a:gd name="connsiteX9" fmla="*/ 83763 w 147111"/>
                <a:gd name="connsiteY9" fmla="*/ 153416 h 177133"/>
                <a:gd name="connsiteX10" fmla="*/ 110784 w 147111"/>
                <a:gd name="connsiteY10" fmla="*/ 148612 h 177133"/>
                <a:gd name="connsiteX11" fmla="*/ 147711 w 147111"/>
                <a:gd name="connsiteY11" fmla="*/ 133601 h 177133"/>
                <a:gd name="connsiteX12" fmla="*/ 148312 w 147111"/>
                <a:gd name="connsiteY12" fmla="*/ 137504 h 177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7111" h="177133">
                  <a:moveTo>
                    <a:pt x="148312" y="137504"/>
                  </a:moveTo>
                  <a:lnTo>
                    <a:pt x="148312" y="140506"/>
                  </a:lnTo>
                  <a:cubicBezTo>
                    <a:pt x="116488" y="167827"/>
                    <a:pt x="74756" y="177434"/>
                    <a:pt x="49838" y="178935"/>
                  </a:cubicBezTo>
                  <a:cubicBezTo>
                    <a:pt x="36027" y="179836"/>
                    <a:pt x="22517" y="173831"/>
                    <a:pt x="12910" y="163924"/>
                  </a:cubicBezTo>
                  <a:cubicBezTo>
                    <a:pt x="2702" y="154016"/>
                    <a:pt x="0" y="136903"/>
                    <a:pt x="0" y="112285"/>
                  </a:cubicBezTo>
                  <a:lnTo>
                    <a:pt x="0" y="20716"/>
                  </a:lnTo>
                  <a:lnTo>
                    <a:pt x="39930" y="0"/>
                  </a:lnTo>
                  <a:lnTo>
                    <a:pt x="40531" y="83763"/>
                  </a:lnTo>
                  <a:cubicBezTo>
                    <a:pt x="39630" y="100576"/>
                    <a:pt x="42332" y="117689"/>
                    <a:pt x="47736" y="133601"/>
                  </a:cubicBezTo>
                  <a:cubicBezTo>
                    <a:pt x="52540" y="146811"/>
                    <a:pt x="64849" y="153416"/>
                    <a:pt x="83763" y="153416"/>
                  </a:cubicBezTo>
                  <a:cubicBezTo>
                    <a:pt x="93070" y="153115"/>
                    <a:pt x="102077" y="151314"/>
                    <a:pt x="110784" y="148612"/>
                  </a:cubicBezTo>
                  <a:cubicBezTo>
                    <a:pt x="123393" y="144709"/>
                    <a:pt x="135702" y="139605"/>
                    <a:pt x="147711" y="133601"/>
                  </a:cubicBezTo>
                  <a:cubicBezTo>
                    <a:pt x="148012" y="134802"/>
                    <a:pt x="148312" y="136303"/>
                    <a:pt x="148312" y="137504"/>
                  </a:cubicBezTo>
                  <a:close/>
                </a:path>
              </a:pathLst>
            </a:custGeom>
            <a:solidFill>
              <a:srgbClr val="009FE3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00" name="Forme libre : forme 199">
              <a:extLst>
                <a:ext uri="{FF2B5EF4-FFF2-40B4-BE49-F238E27FC236}">
                  <a16:creationId xmlns:a16="http://schemas.microsoft.com/office/drawing/2014/main" id="{BDC1994B-B6C4-40B0-8835-9B69BC78513D}"/>
                </a:ext>
              </a:extLst>
            </p:cNvPr>
            <p:cNvSpPr/>
            <p:nvPr/>
          </p:nvSpPr>
          <p:spPr>
            <a:xfrm>
              <a:off x="5951546" y="4012317"/>
              <a:ext cx="195147" cy="288217"/>
            </a:xfrm>
            <a:custGeom>
              <a:avLst/>
              <a:gdLst>
                <a:gd name="connsiteX0" fmla="*/ 190368 w 195147"/>
                <a:gd name="connsiteY0" fmla="*/ 0 h 288217"/>
                <a:gd name="connsiteX1" fmla="*/ 161847 w 195147"/>
                <a:gd name="connsiteY1" fmla="*/ 0 h 288217"/>
                <a:gd name="connsiteX2" fmla="*/ 156443 w 195147"/>
                <a:gd name="connsiteY2" fmla="*/ 5404 h 288217"/>
                <a:gd name="connsiteX3" fmla="*/ 156443 w 195147"/>
                <a:gd name="connsiteY3" fmla="*/ 190344 h 288217"/>
                <a:gd name="connsiteX4" fmla="*/ 138729 w 195147"/>
                <a:gd name="connsiteY4" fmla="*/ 231775 h 288217"/>
                <a:gd name="connsiteX5" fmla="*/ 98199 w 195147"/>
                <a:gd name="connsiteY5" fmla="*/ 248888 h 288217"/>
                <a:gd name="connsiteX6" fmla="*/ 57067 w 195147"/>
                <a:gd name="connsiteY6" fmla="*/ 231775 h 288217"/>
                <a:gd name="connsiteX7" fmla="*/ 39955 w 195147"/>
                <a:gd name="connsiteY7" fmla="*/ 190344 h 288217"/>
                <a:gd name="connsiteX8" fmla="*/ 39955 w 195147"/>
                <a:gd name="connsiteY8" fmla="*/ 131499 h 288217"/>
                <a:gd name="connsiteX9" fmla="*/ 24 w 195147"/>
                <a:gd name="connsiteY9" fmla="*/ 147711 h 288217"/>
                <a:gd name="connsiteX10" fmla="*/ 24 w 195147"/>
                <a:gd name="connsiteY10" fmla="*/ 190644 h 288217"/>
                <a:gd name="connsiteX11" fmla="*/ 28546 w 195147"/>
                <a:gd name="connsiteY11" fmla="*/ 260597 h 288217"/>
                <a:gd name="connsiteX12" fmla="*/ 98199 w 195147"/>
                <a:gd name="connsiteY12" fmla="*/ 290019 h 288217"/>
                <a:gd name="connsiteX13" fmla="*/ 167251 w 195147"/>
                <a:gd name="connsiteY13" fmla="*/ 260296 h 288217"/>
                <a:gd name="connsiteX14" fmla="*/ 196373 w 195147"/>
                <a:gd name="connsiteY14" fmla="*/ 190344 h 288217"/>
                <a:gd name="connsiteX15" fmla="*/ 196373 w 195147"/>
                <a:gd name="connsiteY15" fmla="*/ 5404 h 288217"/>
                <a:gd name="connsiteX16" fmla="*/ 190368 w 195147"/>
                <a:gd name="connsiteY16" fmla="*/ 0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147" h="288217">
                  <a:moveTo>
                    <a:pt x="190368" y="0"/>
                  </a:moveTo>
                  <a:lnTo>
                    <a:pt x="161847" y="0"/>
                  </a:lnTo>
                  <a:cubicBezTo>
                    <a:pt x="157944" y="0"/>
                    <a:pt x="156443" y="1501"/>
                    <a:pt x="156443" y="5404"/>
                  </a:cubicBezTo>
                  <a:lnTo>
                    <a:pt x="156443" y="190344"/>
                  </a:lnTo>
                  <a:cubicBezTo>
                    <a:pt x="156443" y="205955"/>
                    <a:pt x="150138" y="220967"/>
                    <a:pt x="138729" y="231775"/>
                  </a:cubicBezTo>
                  <a:cubicBezTo>
                    <a:pt x="128221" y="243183"/>
                    <a:pt x="113510" y="249188"/>
                    <a:pt x="98199" y="248888"/>
                  </a:cubicBezTo>
                  <a:cubicBezTo>
                    <a:pt x="82587" y="249188"/>
                    <a:pt x="67575" y="243183"/>
                    <a:pt x="57067" y="231775"/>
                  </a:cubicBezTo>
                  <a:cubicBezTo>
                    <a:pt x="45959" y="220967"/>
                    <a:pt x="39654" y="205955"/>
                    <a:pt x="39955" y="190344"/>
                  </a:cubicBezTo>
                  <a:lnTo>
                    <a:pt x="39955" y="131499"/>
                  </a:lnTo>
                  <a:lnTo>
                    <a:pt x="24" y="147711"/>
                  </a:lnTo>
                  <a:lnTo>
                    <a:pt x="24" y="190644"/>
                  </a:lnTo>
                  <a:cubicBezTo>
                    <a:pt x="-576" y="216763"/>
                    <a:pt x="9932" y="241982"/>
                    <a:pt x="28546" y="260597"/>
                  </a:cubicBezTo>
                  <a:cubicBezTo>
                    <a:pt x="46860" y="279511"/>
                    <a:pt x="71779" y="290019"/>
                    <a:pt x="98199" y="290019"/>
                  </a:cubicBezTo>
                  <a:cubicBezTo>
                    <a:pt x="124318" y="290019"/>
                    <a:pt x="149237" y="279511"/>
                    <a:pt x="167251" y="260296"/>
                  </a:cubicBezTo>
                  <a:cubicBezTo>
                    <a:pt x="186165" y="241982"/>
                    <a:pt x="196673" y="216763"/>
                    <a:pt x="196373" y="190344"/>
                  </a:cubicBezTo>
                  <a:lnTo>
                    <a:pt x="196373" y="5404"/>
                  </a:lnTo>
                  <a:cubicBezTo>
                    <a:pt x="196073" y="1501"/>
                    <a:pt x="193971" y="0"/>
                    <a:pt x="190368" y="0"/>
                  </a:cubicBez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01" name="Forme libre : forme 200">
              <a:extLst>
                <a:ext uri="{FF2B5EF4-FFF2-40B4-BE49-F238E27FC236}">
                  <a16:creationId xmlns:a16="http://schemas.microsoft.com/office/drawing/2014/main" id="{B4F8EAE4-67FF-448A-AB11-8701CF2DDB42}"/>
                </a:ext>
              </a:extLst>
            </p:cNvPr>
            <p:cNvSpPr/>
            <p:nvPr/>
          </p:nvSpPr>
          <p:spPr>
            <a:xfrm>
              <a:off x="6234678" y="3999143"/>
              <a:ext cx="198150" cy="288217"/>
            </a:xfrm>
            <a:custGeom>
              <a:avLst/>
              <a:gdLst>
                <a:gd name="connsiteX0" fmla="*/ 192452 w 198149"/>
                <a:gd name="connsiteY0" fmla="*/ 289382 h 288217"/>
                <a:gd name="connsiteX1" fmla="*/ 164230 w 198149"/>
                <a:gd name="connsiteY1" fmla="*/ 289382 h 288217"/>
                <a:gd name="connsiteX2" fmla="*/ 158226 w 198149"/>
                <a:gd name="connsiteY2" fmla="*/ 284578 h 288217"/>
                <a:gd name="connsiteX3" fmla="*/ 158226 w 198149"/>
                <a:gd name="connsiteY3" fmla="*/ 283377 h 288217"/>
                <a:gd name="connsiteX4" fmla="*/ 158226 w 198149"/>
                <a:gd name="connsiteY4" fmla="*/ 98438 h 288217"/>
                <a:gd name="connsiteX5" fmla="*/ 140813 w 198149"/>
                <a:gd name="connsiteY5" fmla="*/ 57307 h 288217"/>
                <a:gd name="connsiteX6" fmla="*/ 57950 w 198149"/>
                <a:gd name="connsiteY6" fmla="*/ 57006 h 288217"/>
                <a:gd name="connsiteX7" fmla="*/ 57650 w 198149"/>
                <a:gd name="connsiteY7" fmla="*/ 57307 h 288217"/>
                <a:gd name="connsiteX8" fmla="*/ 41137 w 198149"/>
                <a:gd name="connsiteY8" fmla="*/ 98438 h 288217"/>
                <a:gd name="connsiteX9" fmla="*/ 41137 w 198149"/>
                <a:gd name="connsiteY9" fmla="*/ 283377 h 288217"/>
                <a:gd name="connsiteX10" fmla="*/ 36634 w 198149"/>
                <a:gd name="connsiteY10" fmla="*/ 289382 h 288217"/>
                <a:gd name="connsiteX11" fmla="*/ 34833 w 198149"/>
                <a:gd name="connsiteY11" fmla="*/ 289382 h 288217"/>
                <a:gd name="connsiteX12" fmla="*/ 6011 w 198149"/>
                <a:gd name="connsiteY12" fmla="*/ 289382 h 288217"/>
                <a:gd name="connsiteX13" fmla="*/ 6 w 198149"/>
                <a:gd name="connsiteY13" fmla="*/ 284578 h 288217"/>
                <a:gd name="connsiteX14" fmla="*/ 6 w 198149"/>
                <a:gd name="connsiteY14" fmla="*/ 283377 h 288217"/>
                <a:gd name="connsiteX15" fmla="*/ 6 w 198149"/>
                <a:gd name="connsiteY15" fmla="*/ 98438 h 288217"/>
                <a:gd name="connsiteX16" fmla="*/ 29428 w 198149"/>
                <a:gd name="connsiteY16" fmla="*/ 28785 h 288217"/>
                <a:gd name="connsiteX17" fmla="*/ 168734 w 198149"/>
                <a:gd name="connsiteY17" fmla="*/ 28185 h 288217"/>
                <a:gd name="connsiteX18" fmla="*/ 169334 w 198149"/>
                <a:gd name="connsiteY18" fmla="*/ 28785 h 288217"/>
                <a:gd name="connsiteX19" fmla="*/ 198456 w 198149"/>
                <a:gd name="connsiteY19" fmla="*/ 98438 h 288217"/>
                <a:gd name="connsiteX20" fmla="*/ 198456 w 198149"/>
                <a:gd name="connsiteY20" fmla="*/ 283377 h 288217"/>
                <a:gd name="connsiteX21" fmla="*/ 193352 w 198149"/>
                <a:gd name="connsiteY21" fmla="*/ 289382 h 288217"/>
                <a:gd name="connsiteX22" fmla="*/ 192452 w 198149"/>
                <a:gd name="connsiteY22" fmla="*/ 289382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8149" h="288217">
                  <a:moveTo>
                    <a:pt x="192452" y="289382"/>
                  </a:moveTo>
                  <a:lnTo>
                    <a:pt x="164230" y="289382"/>
                  </a:lnTo>
                  <a:cubicBezTo>
                    <a:pt x="161228" y="289682"/>
                    <a:pt x="158526" y="287580"/>
                    <a:pt x="158226" y="284578"/>
                  </a:cubicBezTo>
                  <a:cubicBezTo>
                    <a:pt x="158226" y="284278"/>
                    <a:pt x="158226" y="283677"/>
                    <a:pt x="158226" y="283377"/>
                  </a:cubicBezTo>
                  <a:lnTo>
                    <a:pt x="158226" y="98438"/>
                  </a:lnTo>
                  <a:cubicBezTo>
                    <a:pt x="158526" y="82826"/>
                    <a:pt x="152221" y="68115"/>
                    <a:pt x="140813" y="57307"/>
                  </a:cubicBezTo>
                  <a:cubicBezTo>
                    <a:pt x="117995" y="34490"/>
                    <a:pt x="80767" y="34490"/>
                    <a:pt x="57950" y="57006"/>
                  </a:cubicBezTo>
                  <a:cubicBezTo>
                    <a:pt x="57950" y="57006"/>
                    <a:pt x="57650" y="57307"/>
                    <a:pt x="57650" y="57307"/>
                  </a:cubicBezTo>
                  <a:cubicBezTo>
                    <a:pt x="46842" y="68115"/>
                    <a:pt x="40837" y="83126"/>
                    <a:pt x="41137" y="98438"/>
                  </a:cubicBezTo>
                  <a:lnTo>
                    <a:pt x="41137" y="283377"/>
                  </a:lnTo>
                  <a:cubicBezTo>
                    <a:pt x="41738" y="286380"/>
                    <a:pt x="39636" y="289082"/>
                    <a:pt x="36634" y="289382"/>
                  </a:cubicBezTo>
                  <a:cubicBezTo>
                    <a:pt x="36033" y="289382"/>
                    <a:pt x="35433" y="289382"/>
                    <a:pt x="34833" y="289382"/>
                  </a:cubicBezTo>
                  <a:lnTo>
                    <a:pt x="6011" y="289382"/>
                  </a:lnTo>
                  <a:cubicBezTo>
                    <a:pt x="3009" y="289682"/>
                    <a:pt x="306" y="287580"/>
                    <a:pt x="6" y="284578"/>
                  </a:cubicBezTo>
                  <a:cubicBezTo>
                    <a:pt x="6" y="284278"/>
                    <a:pt x="6" y="283677"/>
                    <a:pt x="6" y="283377"/>
                  </a:cubicBezTo>
                  <a:lnTo>
                    <a:pt x="6" y="98438"/>
                  </a:lnTo>
                  <a:cubicBezTo>
                    <a:pt x="-294" y="72318"/>
                    <a:pt x="10214" y="47099"/>
                    <a:pt x="29428" y="28785"/>
                  </a:cubicBezTo>
                  <a:cubicBezTo>
                    <a:pt x="67858" y="-9344"/>
                    <a:pt x="130004" y="-9644"/>
                    <a:pt x="168734" y="28185"/>
                  </a:cubicBezTo>
                  <a:cubicBezTo>
                    <a:pt x="169034" y="28485"/>
                    <a:pt x="169034" y="28485"/>
                    <a:pt x="169334" y="28785"/>
                  </a:cubicBezTo>
                  <a:cubicBezTo>
                    <a:pt x="188248" y="47099"/>
                    <a:pt x="198756" y="72318"/>
                    <a:pt x="198456" y="98438"/>
                  </a:cubicBezTo>
                  <a:lnTo>
                    <a:pt x="198456" y="283377"/>
                  </a:lnTo>
                  <a:cubicBezTo>
                    <a:pt x="198756" y="286380"/>
                    <a:pt x="196355" y="289082"/>
                    <a:pt x="193352" y="289382"/>
                  </a:cubicBezTo>
                  <a:cubicBezTo>
                    <a:pt x="193052" y="289382"/>
                    <a:pt x="192752" y="289382"/>
                    <a:pt x="192452" y="289382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02" name="Forme libre : forme 201">
              <a:extLst>
                <a:ext uri="{FF2B5EF4-FFF2-40B4-BE49-F238E27FC236}">
                  <a16:creationId xmlns:a16="http://schemas.microsoft.com/office/drawing/2014/main" id="{A1B3C744-062F-46CB-AC7C-FDEF3C0084B5}"/>
                </a:ext>
              </a:extLst>
            </p:cNvPr>
            <p:cNvSpPr/>
            <p:nvPr/>
          </p:nvSpPr>
          <p:spPr>
            <a:xfrm>
              <a:off x="6523803" y="4111091"/>
              <a:ext cx="39029" cy="177134"/>
            </a:xfrm>
            <a:custGeom>
              <a:avLst/>
              <a:gdLst>
                <a:gd name="connsiteX0" fmla="*/ 39930 w 39029"/>
                <a:gd name="connsiteY0" fmla="*/ 37528 h 177133"/>
                <a:gd name="connsiteX1" fmla="*/ 39930 w 39029"/>
                <a:gd name="connsiteY1" fmla="*/ 173231 h 177133"/>
                <a:gd name="connsiteX2" fmla="*/ 34826 w 39029"/>
                <a:gd name="connsiteY2" fmla="*/ 179235 h 177133"/>
                <a:gd name="connsiteX3" fmla="*/ 33625 w 39029"/>
                <a:gd name="connsiteY3" fmla="*/ 179235 h 177133"/>
                <a:gd name="connsiteX4" fmla="*/ 6005 w 39029"/>
                <a:gd name="connsiteY4" fmla="*/ 179235 h 177133"/>
                <a:gd name="connsiteX5" fmla="*/ 0 w 39029"/>
                <a:gd name="connsiteY5" fmla="*/ 174732 h 177133"/>
                <a:gd name="connsiteX6" fmla="*/ 0 w 39029"/>
                <a:gd name="connsiteY6" fmla="*/ 172930 h 177133"/>
                <a:gd name="connsiteX7" fmla="*/ 0 w 39029"/>
                <a:gd name="connsiteY7" fmla="*/ 0 h 177133"/>
                <a:gd name="connsiteX8" fmla="*/ 39930 w 39029"/>
                <a:gd name="connsiteY8" fmla="*/ 37528 h 177133"/>
                <a:gd name="connsiteX9" fmla="*/ 39930 w 39029"/>
                <a:gd name="connsiteY9" fmla="*/ 37528 h 177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029" h="177133">
                  <a:moveTo>
                    <a:pt x="39930" y="37528"/>
                  </a:moveTo>
                  <a:lnTo>
                    <a:pt x="39930" y="173231"/>
                  </a:lnTo>
                  <a:cubicBezTo>
                    <a:pt x="40230" y="176233"/>
                    <a:pt x="38129" y="178935"/>
                    <a:pt x="34826" y="179235"/>
                  </a:cubicBezTo>
                  <a:cubicBezTo>
                    <a:pt x="34526" y="179235"/>
                    <a:pt x="34226" y="179235"/>
                    <a:pt x="33625" y="179235"/>
                  </a:cubicBezTo>
                  <a:lnTo>
                    <a:pt x="6005" y="179235"/>
                  </a:lnTo>
                  <a:cubicBezTo>
                    <a:pt x="3002" y="179836"/>
                    <a:pt x="300" y="177734"/>
                    <a:pt x="0" y="174732"/>
                  </a:cubicBezTo>
                  <a:cubicBezTo>
                    <a:pt x="0" y="174131"/>
                    <a:pt x="0" y="173531"/>
                    <a:pt x="0" y="172930"/>
                  </a:cubicBezTo>
                  <a:lnTo>
                    <a:pt x="0" y="0"/>
                  </a:lnTo>
                  <a:lnTo>
                    <a:pt x="39930" y="37528"/>
                  </a:lnTo>
                  <a:lnTo>
                    <a:pt x="39930" y="37528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03" name="Forme libre : forme 202">
              <a:extLst>
                <a:ext uri="{FF2B5EF4-FFF2-40B4-BE49-F238E27FC236}">
                  <a16:creationId xmlns:a16="http://schemas.microsoft.com/office/drawing/2014/main" id="{58089071-1C8F-4922-ABDA-D07A5EBBEBB5}"/>
                </a:ext>
              </a:extLst>
            </p:cNvPr>
            <p:cNvSpPr/>
            <p:nvPr/>
          </p:nvSpPr>
          <p:spPr>
            <a:xfrm>
              <a:off x="6624477" y="4006913"/>
              <a:ext cx="192145" cy="282213"/>
            </a:xfrm>
            <a:custGeom>
              <a:avLst/>
              <a:gdLst>
                <a:gd name="connsiteX0" fmla="*/ 193248 w 192145"/>
                <a:gd name="connsiteY0" fmla="*/ 117989 h 282212"/>
                <a:gd name="connsiteX1" fmla="*/ 135004 w 192145"/>
                <a:gd name="connsiteY1" fmla="*/ 277709 h 282212"/>
                <a:gd name="connsiteX2" fmla="*/ 128699 w 192145"/>
                <a:gd name="connsiteY2" fmla="*/ 282813 h 282212"/>
                <a:gd name="connsiteX3" fmla="*/ 105882 w 192145"/>
                <a:gd name="connsiteY3" fmla="*/ 282813 h 282212"/>
                <a:gd name="connsiteX4" fmla="*/ 99577 w 192145"/>
                <a:gd name="connsiteY4" fmla="*/ 277709 h 282212"/>
                <a:gd name="connsiteX5" fmla="*/ 803 w 192145"/>
                <a:gd name="connsiteY5" fmla="*/ 8406 h 282212"/>
                <a:gd name="connsiteX6" fmla="*/ 6207 w 192145"/>
                <a:gd name="connsiteY6" fmla="*/ 0 h 282212"/>
                <a:gd name="connsiteX7" fmla="*/ 36230 w 192145"/>
                <a:gd name="connsiteY7" fmla="*/ 0 h 282212"/>
                <a:gd name="connsiteX8" fmla="*/ 43435 w 192145"/>
                <a:gd name="connsiteY8" fmla="*/ 5704 h 282212"/>
                <a:gd name="connsiteX9" fmla="*/ 112787 w 192145"/>
                <a:gd name="connsiteY9" fmla="*/ 195447 h 282212"/>
                <a:gd name="connsiteX10" fmla="*/ 116690 w 192145"/>
                <a:gd name="connsiteY10" fmla="*/ 198149 h 282212"/>
                <a:gd name="connsiteX11" fmla="*/ 121194 w 192145"/>
                <a:gd name="connsiteY11" fmla="*/ 195447 h 282212"/>
                <a:gd name="connsiteX12" fmla="*/ 167128 w 192145"/>
                <a:gd name="connsiteY12" fmla="*/ 69953 h 282212"/>
                <a:gd name="connsiteX13" fmla="*/ 193248 w 192145"/>
                <a:gd name="connsiteY13" fmla="*/ 117989 h 282212"/>
                <a:gd name="connsiteX14" fmla="*/ 193248 w 192145"/>
                <a:gd name="connsiteY14" fmla="*/ 117989 h 282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2145" h="282212">
                  <a:moveTo>
                    <a:pt x="193248" y="117989"/>
                  </a:moveTo>
                  <a:lnTo>
                    <a:pt x="135004" y="277709"/>
                  </a:lnTo>
                  <a:cubicBezTo>
                    <a:pt x="134404" y="280712"/>
                    <a:pt x="131702" y="282813"/>
                    <a:pt x="128699" y="282813"/>
                  </a:cubicBezTo>
                  <a:lnTo>
                    <a:pt x="105882" y="282813"/>
                  </a:lnTo>
                  <a:cubicBezTo>
                    <a:pt x="102580" y="282813"/>
                    <a:pt x="100778" y="281012"/>
                    <a:pt x="99577" y="277709"/>
                  </a:cubicBezTo>
                  <a:lnTo>
                    <a:pt x="803" y="8406"/>
                  </a:lnTo>
                  <a:cubicBezTo>
                    <a:pt x="-1299" y="3002"/>
                    <a:pt x="803" y="0"/>
                    <a:pt x="6207" y="0"/>
                  </a:cubicBezTo>
                  <a:lnTo>
                    <a:pt x="36230" y="0"/>
                  </a:lnTo>
                  <a:cubicBezTo>
                    <a:pt x="39832" y="0"/>
                    <a:pt x="42835" y="2402"/>
                    <a:pt x="43435" y="5704"/>
                  </a:cubicBezTo>
                  <a:lnTo>
                    <a:pt x="112787" y="195447"/>
                  </a:lnTo>
                  <a:cubicBezTo>
                    <a:pt x="113088" y="197249"/>
                    <a:pt x="114889" y="198450"/>
                    <a:pt x="116690" y="198149"/>
                  </a:cubicBezTo>
                  <a:cubicBezTo>
                    <a:pt x="118792" y="198450"/>
                    <a:pt x="120593" y="197249"/>
                    <a:pt x="121194" y="195447"/>
                  </a:cubicBezTo>
                  <a:lnTo>
                    <a:pt x="167128" y="69953"/>
                  </a:lnTo>
                  <a:lnTo>
                    <a:pt x="193248" y="117989"/>
                  </a:lnTo>
                  <a:lnTo>
                    <a:pt x="193248" y="117989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04" name="Forme libre : forme 203">
              <a:extLst>
                <a:ext uri="{FF2B5EF4-FFF2-40B4-BE49-F238E27FC236}">
                  <a16:creationId xmlns:a16="http://schemas.microsoft.com/office/drawing/2014/main" id="{A0AFE0DB-2EC9-4B2F-A13D-5028AA80C759}"/>
                </a:ext>
              </a:extLst>
            </p:cNvPr>
            <p:cNvSpPr/>
            <p:nvPr/>
          </p:nvSpPr>
          <p:spPr>
            <a:xfrm>
              <a:off x="6902066" y="3999101"/>
              <a:ext cx="201152" cy="297224"/>
            </a:xfrm>
            <a:custGeom>
              <a:avLst/>
              <a:gdLst>
                <a:gd name="connsiteX0" fmla="*/ 197872 w 201151"/>
                <a:gd name="connsiteY0" fmla="*/ 166632 h 297224"/>
                <a:gd name="connsiteX1" fmla="*/ 47158 w 201151"/>
                <a:gd name="connsiteY1" fmla="*/ 166632 h 297224"/>
                <a:gd name="connsiteX2" fmla="*/ 40853 w 201151"/>
                <a:gd name="connsiteY2" fmla="*/ 171736 h 297224"/>
                <a:gd name="connsiteX3" fmla="*/ 40853 w 201151"/>
                <a:gd name="connsiteY3" fmla="*/ 172937 h 297224"/>
                <a:gd name="connsiteX4" fmla="*/ 40853 w 201151"/>
                <a:gd name="connsiteY4" fmla="*/ 190049 h 297224"/>
                <a:gd name="connsiteX5" fmla="*/ 60368 w 201151"/>
                <a:gd name="connsiteY5" fmla="*/ 237185 h 297224"/>
                <a:gd name="connsiteX6" fmla="*/ 106903 w 201151"/>
                <a:gd name="connsiteY6" fmla="*/ 257000 h 297224"/>
                <a:gd name="connsiteX7" fmla="*/ 170251 w 201151"/>
                <a:gd name="connsiteY7" fmla="*/ 237185 h 297224"/>
                <a:gd name="connsiteX8" fmla="*/ 177156 w 201151"/>
                <a:gd name="connsiteY8" fmla="*/ 237185 h 297224"/>
                <a:gd name="connsiteX9" fmla="*/ 178057 w 201151"/>
                <a:gd name="connsiteY9" fmla="*/ 238386 h 297224"/>
                <a:gd name="connsiteX10" fmla="*/ 194570 w 201151"/>
                <a:gd name="connsiteY10" fmla="*/ 262404 h 297224"/>
                <a:gd name="connsiteX11" fmla="*/ 194269 w 201151"/>
                <a:gd name="connsiteY11" fmla="*/ 269609 h 297224"/>
                <a:gd name="connsiteX12" fmla="*/ 193068 w 201151"/>
                <a:gd name="connsiteY12" fmla="*/ 270510 h 297224"/>
                <a:gd name="connsiteX13" fmla="*/ 107204 w 201151"/>
                <a:gd name="connsiteY13" fmla="*/ 298131 h 297224"/>
                <a:gd name="connsiteX14" fmla="*/ 31546 w 201151"/>
                <a:gd name="connsiteY14" fmla="*/ 266607 h 297224"/>
                <a:gd name="connsiteX15" fmla="*/ 23 w 201151"/>
                <a:gd name="connsiteY15" fmla="*/ 190950 h 297224"/>
                <a:gd name="connsiteX16" fmla="*/ 23 w 201151"/>
                <a:gd name="connsiteY16" fmla="*/ 101483 h 297224"/>
                <a:gd name="connsiteX17" fmla="*/ 101499 w 201151"/>
                <a:gd name="connsiteY17" fmla="*/ 6 h 297224"/>
                <a:gd name="connsiteX18" fmla="*/ 173554 w 201151"/>
                <a:gd name="connsiteY18" fmla="*/ 30029 h 297224"/>
                <a:gd name="connsiteX19" fmla="*/ 202976 w 201151"/>
                <a:gd name="connsiteY19" fmla="*/ 101483 h 297224"/>
                <a:gd name="connsiteX20" fmla="*/ 202976 w 201151"/>
                <a:gd name="connsiteY20" fmla="*/ 160627 h 297224"/>
                <a:gd name="connsiteX21" fmla="*/ 197272 w 201151"/>
                <a:gd name="connsiteY21" fmla="*/ 166632 h 297224"/>
                <a:gd name="connsiteX22" fmla="*/ 162445 w 201151"/>
                <a:gd name="connsiteY22" fmla="*/ 101783 h 297224"/>
                <a:gd name="connsiteX23" fmla="*/ 102400 w 201151"/>
                <a:gd name="connsiteY23" fmla="*/ 40837 h 297224"/>
                <a:gd name="connsiteX24" fmla="*/ 101499 w 201151"/>
                <a:gd name="connsiteY24" fmla="*/ 40837 h 297224"/>
                <a:gd name="connsiteX25" fmla="*/ 58867 w 201151"/>
                <a:gd name="connsiteY25" fmla="*/ 58550 h 297224"/>
                <a:gd name="connsiteX26" fmla="*/ 41454 w 201151"/>
                <a:gd name="connsiteY26" fmla="*/ 101483 h 297224"/>
                <a:gd name="connsiteX27" fmla="*/ 41454 w 201151"/>
                <a:gd name="connsiteY27" fmla="*/ 120397 h 297224"/>
                <a:gd name="connsiteX28" fmla="*/ 46558 w 201151"/>
                <a:gd name="connsiteY28" fmla="*/ 126401 h 297224"/>
                <a:gd name="connsiteX29" fmla="*/ 47759 w 201151"/>
                <a:gd name="connsiteY29" fmla="*/ 126401 h 297224"/>
                <a:gd name="connsiteX30" fmla="*/ 157942 w 201151"/>
                <a:gd name="connsiteY30" fmla="*/ 126401 h 297224"/>
                <a:gd name="connsiteX31" fmla="*/ 163346 w 201151"/>
                <a:gd name="connsiteY31" fmla="*/ 120397 h 297224"/>
                <a:gd name="connsiteX32" fmla="*/ 162445 w 201151"/>
                <a:gd name="connsiteY32" fmla="*/ 101783 h 297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1151" h="297224">
                  <a:moveTo>
                    <a:pt x="197872" y="166632"/>
                  </a:moveTo>
                  <a:lnTo>
                    <a:pt x="47158" y="166632"/>
                  </a:lnTo>
                  <a:cubicBezTo>
                    <a:pt x="44156" y="166332"/>
                    <a:pt x="41154" y="168433"/>
                    <a:pt x="40853" y="171736"/>
                  </a:cubicBezTo>
                  <a:cubicBezTo>
                    <a:pt x="40853" y="172036"/>
                    <a:pt x="40853" y="172336"/>
                    <a:pt x="40853" y="172937"/>
                  </a:cubicBezTo>
                  <a:lnTo>
                    <a:pt x="40853" y="190049"/>
                  </a:lnTo>
                  <a:cubicBezTo>
                    <a:pt x="40553" y="207763"/>
                    <a:pt x="47458" y="224876"/>
                    <a:pt x="60368" y="237185"/>
                  </a:cubicBezTo>
                  <a:cubicBezTo>
                    <a:pt x="72377" y="249794"/>
                    <a:pt x="89490" y="257000"/>
                    <a:pt x="106903" y="257000"/>
                  </a:cubicBezTo>
                  <a:cubicBezTo>
                    <a:pt x="129420" y="257300"/>
                    <a:pt x="151637" y="250095"/>
                    <a:pt x="170251" y="237185"/>
                  </a:cubicBezTo>
                  <a:cubicBezTo>
                    <a:pt x="172053" y="235384"/>
                    <a:pt x="175055" y="235384"/>
                    <a:pt x="177156" y="237185"/>
                  </a:cubicBezTo>
                  <a:cubicBezTo>
                    <a:pt x="177457" y="237485"/>
                    <a:pt x="177757" y="237785"/>
                    <a:pt x="178057" y="238386"/>
                  </a:cubicBezTo>
                  <a:lnTo>
                    <a:pt x="194570" y="262404"/>
                  </a:lnTo>
                  <a:cubicBezTo>
                    <a:pt x="196671" y="264506"/>
                    <a:pt x="196371" y="267808"/>
                    <a:pt x="194269" y="269609"/>
                  </a:cubicBezTo>
                  <a:cubicBezTo>
                    <a:pt x="193969" y="269910"/>
                    <a:pt x="193369" y="270210"/>
                    <a:pt x="193068" y="270510"/>
                  </a:cubicBezTo>
                  <a:cubicBezTo>
                    <a:pt x="168150" y="288824"/>
                    <a:pt x="138127" y="298431"/>
                    <a:pt x="107204" y="298131"/>
                  </a:cubicBezTo>
                  <a:cubicBezTo>
                    <a:pt x="78682" y="298431"/>
                    <a:pt x="51361" y="287023"/>
                    <a:pt x="31546" y="266607"/>
                  </a:cubicBezTo>
                  <a:cubicBezTo>
                    <a:pt x="10831" y="246792"/>
                    <a:pt x="-578" y="219171"/>
                    <a:pt x="23" y="190950"/>
                  </a:cubicBezTo>
                  <a:lnTo>
                    <a:pt x="23" y="101483"/>
                  </a:lnTo>
                  <a:cubicBezTo>
                    <a:pt x="-278" y="45641"/>
                    <a:pt x="45357" y="306"/>
                    <a:pt x="101499" y="6"/>
                  </a:cubicBezTo>
                  <a:cubicBezTo>
                    <a:pt x="128820" y="-294"/>
                    <a:pt x="154940" y="10514"/>
                    <a:pt x="173554" y="30029"/>
                  </a:cubicBezTo>
                  <a:cubicBezTo>
                    <a:pt x="193068" y="48643"/>
                    <a:pt x="203576" y="74462"/>
                    <a:pt x="202976" y="101483"/>
                  </a:cubicBezTo>
                  <a:lnTo>
                    <a:pt x="202976" y="160627"/>
                  </a:lnTo>
                  <a:cubicBezTo>
                    <a:pt x="202976" y="164530"/>
                    <a:pt x="201175" y="166632"/>
                    <a:pt x="197272" y="166632"/>
                  </a:cubicBezTo>
                  <a:moveTo>
                    <a:pt x="162445" y="101783"/>
                  </a:moveTo>
                  <a:cubicBezTo>
                    <a:pt x="162746" y="68458"/>
                    <a:pt x="135725" y="41137"/>
                    <a:pt x="102400" y="40837"/>
                  </a:cubicBezTo>
                  <a:cubicBezTo>
                    <a:pt x="102100" y="40837"/>
                    <a:pt x="101799" y="40837"/>
                    <a:pt x="101499" y="40837"/>
                  </a:cubicBezTo>
                  <a:cubicBezTo>
                    <a:pt x="85287" y="40537"/>
                    <a:pt x="69975" y="46841"/>
                    <a:pt x="58867" y="58550"/>
                  </a:cubicBezTo>
                  <a:cubicBezTo>
                    <a:pt x="47458" y="69959"/>
                    <a:pt x="41154" y="85270"/>
                    <a:pt x="41454" y="101483"/>
                  </a:cubicBezTo>
                  <a:lnTo>
                    <a:pt x="41454" y="120397"/>
                  </a:lnTo>
                  <a:cubicBezTo>
                    <a:pt x="41154" y="123399"/>
                    <a:pt x="43555" y="126101"/>
                    <a:pt x="46558" y="126401"/>
                  </a:cubicBezTo>
                  <a:cubicBezTo>
                    <a:pt x="46858" y="126401"/>
                    <a:pt x="47158" y="126401"/>
                    <a:pt x="47759" y="126401"/>
                  </a:cubicBezTo>
                  <a:lnTo>
                    <a:pt x="157942" y="126401"/>
                  </a:lnTo>
                  <a:cubicBezTo>
                    <a:pt x="161845" y="126401"/>
                    <a:pt x="163346" y="124300"/>
                    <a:pt x="163346" y="120397"/>
                  </a:cubicBezTo>
                  <a:lnTo>
                    <a:pt x="162445" y="101783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05" name="Forme libre : forme 204">
              <a:extLst>
                <a:ext uri="{FF2B5EF4-FFF2-40B4-BE49-F238E27FC236}">
                  <a16:creationId xmlns:a16="http://schemas.microsoft.com/office/drawing/2014/main" id="{A1DF73B0-2C05-4133-A9E5-3F81FF2C473A}"/>
                </a:ext>
              </a:extLst>
            </p:cNvPr>
            <p:cNvSpPr/>
            <p:nvPr/>
          </p:nvSpPr>
          <p:spPr>
            <a:xfrm>
              <a:off x="7168089" y="4142015"/>
              <a:ext cx="39029" cy="147111"/>
            </a:xfrm>
            <a:custGeom>
              <a:avLst/>
              <a:gdLst>
                <a:gd name="connsiteX0" fmla="*/ 39630 w 39029"/>
                <a:gd name="connsiteY0" fmla="*/ 0 h 147110"/>
                <a:gd name="connsiteX1" fmla="*/ 39630 w 39029"/>
                <a:gd name="connsiteY1" fmla="*/ 143808 h 147110"/>
                <a:gd name="connsiteX2" fmla="*/ 34826 w 39029"/>
                <a:gd name="connsiteY2" fmla="*/ 149813 h 147110"/>
                <a:gd name="connsiteX3" fmla="*/ 33625 w 39029"/>
                <a:gd name="connsiteY3" fmla="*/ 149813 h 147110"/>
                <a:gd name="connsiteX4" fmla="*/ 6005 w 39029"/>
                <a:gd name="connsiteY4" fmla="*/ 149813 h 147110"/>
                <a:gd name="connsiteX5" fmla="*/ 0 w 39029"/>
                <a:gd name="connsiteY5" fmla="*/ 144709 h 147110"/>
                <a:gd name="connsiteX6" fmla="*/ 0 w 39029"/>
                <a:gd name="connsiteY6" fmla="*/ 143508 h 147110"/>
                <a:gd name="connsiteX7" fmla="*/ 0 w 39029"/>
                <a:gd name="connsiteY7" fmla="*/ 26720 h 147110"/>
                <a:gd name="connsiteX8" fmla="*/ 39630 w 39029"/>
                <a:gd name="connsiteY8" fmla="*/ 0 h 147110"/>
                <a:gd name="connsiteX9" fmla="*/ 39630 w 39029"/>
                <a:gd name="connsiteY9" fmla="*/ 0 h 147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029" h="147110">
                  <a:moveTo>
                    <a:pt x="39630" y="0"/>
                  </a:moveTo>
                  <a:lnTo>
                    <a:pt x="39630" y="143808"/>
                  </a:lnTo>
                  <a:cubicBezTo>
                    <a:pt x="39930" y="146811"/>
                    <a:pt x="37829" y="149513"/>
                    <a:pt x="34826" y="149813"/>
                  </a:cubicBezTo>
                  <a:cubicBezTo>
                    <a:pt x="34526" y="149813"/>
                    <a:pt x="33926" y="149813"/>
                    <a:pt x="33625" y="149813"/>
                  </a:cubicBezTo>
                  <a:lnTo>
                    <a:pt x="6005" y="149813"/>
                  </a:lnTo>
                  <a:cubicBezTo>
                    <a:pt x="3002" y="150113"/>
                    <a:pt x="300" y="148012"/>
                    <a:pt x="0" y="144709"/>
                  </a:cubicBezTo>
                  <a:cubicBezTo>
                    <a:pt x="0" y="144409"/>
                    <a:pt x="0" y="144109"/>
                    <a:pt x="0" y="143508"/>
                  </a:cubicBezTo>
                  <a:lnTo>
                    <a:pt x="0" y="26720"/>
                  </a:lnTo>
                  <a:lnTo>
                    <a:pt x="39630" y="0"/>
                  </a:lnTo>
                  <a:lnTo>
                    <a:pt x="39630" y="0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06" name="Forme libre : forme 205">
              <a:extLst>
                <a:ext uri="{FF2B5EF4-FFF2-40B4-BE49-F238E27FC236}">
                  <a16:creationId xmlns:a16="http://schemas.microsoft.com/office/drawing/2014/main" id="{92CBA666-3616-4119-91AC-4F9C32BE24DB}"/>
                </a:ext>
              </a:extLst>
            </p:cNvPr>
            <p:cNvSpPr/>
            <p:nvPr/>
          </p:nvSpPr>
          <p:spPr>
            <a:xfrm>
              <a:off x="7592289" y="3898809"/>
              <a:ext cx="51039" cy="390294"/>
            </a:xfrm>
            <a:custGeom>
              <a:avLst/>
              <a:gdLst>
                <a:gd name="connsiteX0" fmla="*/ 44454 w 51038"/>
                <a:gd name="connsiteY0" fmla="*/ 46558 h 390294"/>
                <a:gd name="connsiteX1" fmla="*/ 25840 w 51038"/>
                <a:gd name="connsiteY1" fmla="*/ 54964 h 390294"/>
                <a:gd name="connsiteX2" fmla="*/ 7827 w 51038"/>
                <a:gd name="connsiteY2" fmla="*/ 46558 h 390294"/>
                <a:gd name="connsiteX3" fmla="*/ 21 w 51038"/>
                <a:gd name="connsiteY3" fmla="*/ 27343 h 390294"/>
                <a:gd name="connsiteX4" fmla="*/ 7827 w 51038"/>
                <a:gd name="connsiteY4" fmla="*/ 7828 h 390294"/>
                <a:gd name="connsiteX5" fmla="*/ 25840 w 51038"/>
                <a:gd name="connsiteY5" fmla="*/ 23 h 390294"/>
                <a:gd name="connsiteX6" fmla="*/ 44454 w 51038"/>
                <a:gd name="connsiteY6" fmla="*/ 7828 h 390294"/>
                <a:gd name="connsiteX7" fmla="*/ 52560 w 51038"/>
                <a:gd name="connsiteY7" fmla="*/ 27343 h 390294"/>
                <a:gd name="connsiteX8" fmla="*/ 44454 w 51038"/>
                <a:gd name="connsiteY8" fmla="*/ 46558 h 390294"/>
                <a:gd name="connsiteX9" fmla="*/ 39651 w 51038"/>
                <a:gd name="connsiteY9" fmla="*/ 392719 h 390294"/>
                <a:gd name="connsiteX10" fmla="*/ 12630 w 51038"/>
                <a:gd name="connsiteY10" fmla="*/ 392719 h 390294"/>
                <a:gd name="connsiteX11" fmla="*/ 6926 w 51038"/>
                <a:gd name="connsiteY11" fmla="*/ 386714 h 390294"/>
                <a:gd name="connsiteX12" fmla="*/ 6926 w 51038"/>
                <a:gd name="connsiteY12" fmla="*/ 112307 h 390294"/>
                <a:gd name="connsiteX13" fmla="*/ 12630 w 51038"/>
                <a:gd name="connsiteY13" fmla="*/ 106603 h 390294"/>
                <a:gd name="connsiteX14" fmla="*/ 39651 w 51038"/>
                <a:gd name="connsiteY14" fmla="*/ 106603 h 390294"/>
                <a:gd name="connsiteX15" fmla="*/ 45655 w 51038"/>
                <a:gd name="connsiteY15" fmla="*/ 112307 h 390294"/>
                <a:gd name="connsiteX16" fmla="*/ 45655 w 51038"/>
                <a:gd name="connsiteY16" fmla="*/ 386414 h 390294"/>
                <a:gd name="connsiteX17" fmla="*/ 40852 w 51038"/>
                <a:gd name="connsiteY17" fmla="*/ 392418 h 390294"/>
                <a:gd name="connsiteX18" fmla="*/ 39651 w 51038"/>
                <a:gd name="connsiteY18" fmla="*/ 392719 h 390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1038" h="390294">
                  <a:moveTo>
                    <a:pt x="44454" y="46558"/>
                  </a:moveTo>
                  <a:cubicBezTo>
                    <a:pt x="39651" y="51962"/>
                    <a:pt x="33046" y="55264"/>
                    <a:pt x="25840" y="54964"/>
                  </a:cubicBezTo>
                  <a:cubicBezTo>
                    <a:pt x="18935" y="54964"/>
                    <a:pt x="12330" y="51962"/>
                    <a:pt x="7827" y="46558"/>
                  </a:cubicBezTo>
                  <a:cubicBezTo>
                    <a:pt x="2723" y="41754"/>
                    <a:pt x="-280" y="34849"/>
                    <a:pt x="21" y="27343"/>
                  </a:cubicBezTo>
                  <a:cubicBezTo>
                    <a:pt x="-280" y="19837"/>
                    <a:pt x="2723" y="12632"/>
                    <a:pt x="7827" y="7828"/>
                  </a:cubicBezTo>
                  <a:cubicBezTo>
                    <a:pt x="12330" y="2424"/>
                    <a:pt x="18935" y="-278"/>
                    <a:pt x="25840" y="23"/>
                  </a:cubicBezTo>
                  <a:cubicBezTo>
                    <a:pt x="32745" y="-278"/>
                    <a:pt x="39651" y="2424"/>
                    <a:pt x="44454" y="7828"/>
                  </a:cubicBezTo>
                  <a:cubicBezTo>
                    <a:pt x="49858" y="12932"/>
                    <a:pt x="52560" y="20138"/>
                    <a:pt x="52560" y="27343"/>
                  </a:cubicBezTo>
                  <a:cubicBezTo>
                    <a:pt x="52260" y="34849"/>
                    <a:pt x="49558" y="41754"/>
                    <a:pt x="44454" y="46558"/>
                  </a:cubicBezTo>
                  <a:moveTo>
                    <a:pt x="39651" y="392719"/>
                  </a:moveTo>
                  <a:lnTo>
                    <a:pt x="12630" y="392719"/>
                  </a:lnTo>
                  <a:cubicBezTo>
                    <a:pt x="8427" y="392719"/>
                    <a:pt x="6926" y="390617"/>
                    <a:pt x="6926" y="386714"/>
                  </a:cubicBezTo>
                  <a:lnTo>
                    <a:pt x="6926" y="112307"/>
                  </a:lnTo>
                  <a:cubicBezTo>
                    <a:pt x="6926" y="108404"/>
                    <a:pt x="8427" y="106603"/>
                    <a:pt x="12630" y="106603"/>
                  </a:cubicBezTo>
                  <a:lnTo>
                    <a:pt x="39651" y="106603"/>
                  </a:lnTo>
                  <a:cubicBezTo>
                    <a:pt x="43553" y="106603"/>
                    <a:pt x="45655" y="108404"/>
                    <a:pt x="45655" y="112307"/>
                  </a:cubicBezTo>
                  <a:lnTo>
                    <a:pt x="45655" y="386414"/>
                  </a:lnTo>
                  <a:cubicBezTo>
                    <a:pt x="45955" y="389416"/>
                    <a:pt x="43854" y="392118"/>
                    <a:pt x="40852" y="392418"/>
                  </a:cubicBezTo>
                  <a:cubicBezTo>
                    <a:pt x="40551" y="392719"/>
                    <a:pt x="39951" y="392719"/>
                    <a:pt x="39651" y="392719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07" name="Forme libre : forme 206">
              <a:extLst>
                <a:ext uri="{FF2B5EF4-FFF2-40B4-BE49-F238E27FC236}">
                  <a16:creationId xmlns:a16="http://schemas.microsoft.com/office/drawing/2014/main" id="{BB992EE4-2318-4911-A533-A578440EECF0}"/>
                </a:ext>
              </a:extLst>
            </p:cNvPr>
            <p:cNvSpPr/>
            <p:nvPr/>
          </p:nvSpPr>
          <p:spPr>
            <a:xfrm>
              <a:off x="7927941" y="3999084"/>
              <a:ext cx="201152" cy="297224"/>
            </a:xfrm>
            <a:custGeom>
              <a:avLst/>
              <a:gdLst>
                <a:gd name="connsiteX0" fmla="*/ 197872 w 201151"/>
                <a:gd name="connsiteY0" fmla="*/ 166649 h 297224"/>
                <a:gd name="connsiteX1" fmla="*/ 46858 w 201151"/>
                <a:gd name="connsiteY1" fmla="*/ 166649 h 297224"/>
                <a:gd name="connsiteX2" fmla="*/ 40854 w 201151"/>
                <a:gd name="connsiteY2" fmla="*/ 171452 h 297224"/>
                <a:gd name="connsiteX3" fmla="*/ 40854 w 201151"/>
                <a:gd name="connsiteY3" fmla="*/ 172653 h 297224"/>
                <a:gd name="connsiteX4" fmla="*/ 40854 w 201151"/>
                <a:gd name="connsiteY4" fmla="*/ 189766 h 297224"/>
                <a:gd name="connsiteX5" fmla="*/ 60368 w 201151"/>
                <a:gd name="connsiteY5" fmla="*/ 236902 h 297224"/>
                <a:gd name="connsiteX6" fmla="*/ 107504 w 201151"/>
                <a:gd name="connsiteY6" fmla="*/ 256717 h 297224"/>
                <a:gd name="connsiteX7" fmla="*/ 170852 w 201151"/>
                <a:gd name="connsiteY7" fmla="*/ 236902 h 297224"/>
                <a:gd name="connsiteX8" fmla="*/ 177757 w 201151"/>
                <a:gd name="connsiteY8" fmla="*/ 236902 h 297224"/>
                <a:gd name="connsiteX9" fmla="*/ 178357 w 201151"/>
                <a:gd name="connsiteY9" fmla="*/ 237802 h 297224"/>
                <a:gd name="connsiteX10" fmla="*/ 194870 w 201151"/>
                <a:gd name="connsiteY10" fmla="*/ 261821 h 297224"/>
                <a:gd name="connsiteX11" fmla="*/ 194570 w 201151"/>
                <a:gd name="connsiteY11" fmla="*/ 269026 h 297224"/>
                <a:gd name="connsiteX12" fmla="*/ 193369 w 201151"/>
                <a:gd name="connsiteY12" fmla="*/ 269927 h 297224"/>
                <a:gd name="connsiteX13" fmla="*/ 107504 w 201151"/>
                <a:gd name="connsiteY13" fmla="*/ 297247 h 297224"/>
                <a:gd name="connsiteX14" fmla="*/ 31546 w 201151"/>
                <a:gd name="connsiteY14" fmla="*/ 265724 h 297224"/>
                <a:gd name="connsiteX15" fmla="*/ 23 w 201151"/>
                <a:gd name="connsiteY15" fmla="*/ 190066 h 297224"/>
                <a:gd name="connsiteX16" fmla="*/ 23 w 201151"/>
                <a:gd name="connsiteY16" fmla="*/ 101199 h 297224"/>
                <a:gd name="connsiteX17" fmla="*/ 101499 w 201151"/>
                <a:gd name="connsiteY17" fmla="*/ 23 h 297224"/>
                <a:gd name="connsiteX18" fmla="*/ 101499 w 201151"/>
                <a:gd name="connsiteY18" fmla="*/ 23 h 297224"/>
                <a:gd name="connsiteX19" fmla="*/ 173554 w 201151"/>
                <a:gd name="connsiteY19" fmla="*/ 29746 h 297224"/>
                <a:gd name="connsiteX20" fmla="*/ 202976 w 201151"/>
                <a:gd name="connsiteY20" fmla="*/ 101199 h 297224"/>
                <a:gd name="connsiteX21" fmla="*/ 202976 w 201151"/>
                <a:gd name="connsiteY21" fmla="*/ 160344 h 297224"/>
                <a:gd name="connsiteX22" fmla="*/ 197272 w 201151"/>
                <a:gd name="connsiteY22" fmla="*/ 166349 h 297224"/>
                <a:gd name="connsiteX23" fmla="*/ 162445 w 201151"/>
                <a:gd name="connsiteY23" fmla="*/ 101800 h 297224"/>
                <a:gd name="connsiteX24" fmla="*/ 144732 w 201151"/>
                <a:gd name="connsiteY24" fmla="*/ 58567 h 297224"/>
                <a:gd name="connsiteX25" fmla="*/ 101499 w 201151"/>
                <a:gd name="connsiteY25" fmla="*/ 40854 h 297224"/>
                <a:gd name="connsiteX26" fmla="*/ 58867 w 201151"/>
                <a:gd name="connsiteY26" fmla="*/ 58567 h 297224"/>
                <a:gd name="connsiteX27" fmla="*/ 40553 w 201151"/>
                <a:gd name="connsiteY27" fmla="*/ 101800 h 297224"/>
                <a:gd name="connsiteX28" fmla="*/ 40553 w 201151"/>
                <a:gd name="connsiteY28" fmla="*/ 120714 h 297224"/>
                <a:gd name="connsiteX29" fmla="*/ 45357 w 201151"/>
                <a:gd name="connsiteY29" fmla="*/ 126719 h 297224"/>
                <a:gd name="connsiteX30" fmla="*/ 46558 w 201151"/>
                <a:gd name="connsiteY30" fmla="*/ 126719 h 297224"/>
                <a:gd name="connsiteX31" fmla="*/ 157041 w 201151"/>
                <a:gd name="connsiteY31" fmla="*/ 126719 h 297224"/>
                <a:gd name="connsiteX32" fmla="*/ 162746 w 201151"/>
                <a:gd name="connsiteY32" fmla="*/ 120714 h 297224"/>
                <a:gd name="connsiteX33" fmla="*/ 162746 w 201151"/>
                <a:gd name="connsiteY33" fmla="*/ 101800 h 297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01151" h="297224">
                  <a:moveTo>
                    <a:pt x="197872" y="166649"/>
                  </a:moveTo>
                  <a:lnTo>
                    <a:pt x="46858" y="166649"/>
                  </a:lnTo>
                  <a:cubicBezTo>
                    <a:pt x="43856" y="166349"/>
                    <a:pt x="41154" y="168450"/>
                    <a:pt x="40854" y="171452"/>
                  </a:cubicBezTo>
                  <a:cubicBezTo>
                    <a:pt x="40854" y="171753"/>
                    <a:pt x="40854" y="172353"/>
                    <a:pt x="40854" y="172653"/>
                  </a:cubicBezTo>
                  <a:lnTo>
                    <a:pt x="40854" y="189766"/>
                  </a:lnTo>
                  <a:cubicBezTo>
                    <a:pt x="40553" y="207480"/>
                    <a:pt x="47459" y="224593"/>
                    <a:pt x="60368" y="236902"/>
                  </a:cubicBezTo>
                  <a:cubicBezTo>
                    <a:pt x="72677" y="249812"/>
                    <a:pt x="89790" y="257017"/>
                    <a:pt x="107504" y="256717"/>
                  </a:cubicBezTo>
                  <a:cubicBezTo>
                    <a:pt x="130021" y="257017"/>
                    <a:pt x="152238" y="249812"/>
                    <a:pt x="170852" y="236902"/>
                  </a:cubicBezTo>
                  <a:cubicBezTo>
                    <a:pt x="172953" y="235100"/>
                    <a:pt x="175956" y="235100"/>
                    <a:pt x="177757" y="236902"/>
                  </a:cubicBezTo>
                  <a:cubicBezTo>
                    <a:pt x="178057" y="237202"/>
                    <a:pt x="178357" y="237502"/>
                    <a:pt x="178357" y="237802"/>
                  </a:cubicBezTo>
                  <a:lnTo>
                    <a:pt x="194870" y="261821"/>
                  </a:lnTo>
                  <a:cubicBezTo>
                    <a:pt x="196671" y="263922"/>
                    <a:pt x="196671" y="267225"/>
                    <a:pt x="194570" y="269026"/>
                  </a:cubicBezTo>
                  <a:cubicBezTo>
                    <a:pt x="194269" y="269326"/>
                    <a:pt x="193669" y="269626"/>
                    <a:pt x="193369" y="269927"/>
                  </a:cubicBezTo>
                  <a:cubicBezTo>
                    <a:pt x="168450" y="288241"/>
                    <a:pt x="138427" y="297548"/>
                    <a:pt x="107504" y="297247"/>
                  </a:cubicBezTo>
                  <a:cubicBezTo>
                    <a:pt x="78682" y="297848"/>
                    <a:pt x="51061" y="286139"/>
                    <a:pt x="31546" y="265724"/>
                  </a:cubicBezTo>
                  <a:cubicBezTo>
                    <a:pt x="10831" y="245909"/>
                    <a:pt x="-578" y="218288"/>
                    <a:pt x="23" y="190066"/>
                  </a:cubicBezTo>
                  <a:lnTo>
                    <a:pt x="23" y="101199"/>
                  </a:lnTo>
                  <a:cubicBezTo>
                    <a:pt x="-278" y="45357"/>
                    <a:pt x="45357" y="323"/>
                    <a:pt x="101499" y="23"/>
                  </a:cubicBezTo>
                  <a:lnTo>
                    <a:pt x="101499" y="23"/>
                  </a:lnTo>
                  <a:cubicBezTo>
                    <a:pt x="128820" y="-577"/>
                    <a:pt x="154940" y="10531"/>
                    <a:pt x="173554" y="29746"/>
                  </a:cubicBezTo>
                  <a:cubicBezTo>
                    <a:pt x="193069" y="48360"/>
                    <a:pt x="203576" y="74179"/>
                    <a:pt x="202976" y="101199"/>
                  </a:cubicBezTo>
                  <a:lnTo>
                    <a:pt x="202976" y="160344"/>
                  </a:lnTo>
                  <a:cubicBezTo>
                    <a:pt x="202976" y="164247"/>
                    <a:pt x="201175" y="166349"/>
                    <a:pt x="197272" y="166349"/>
                  </a:cubicBezTo>
                  <a:moveTo>
                    <a:pt x="162445" y="101800"/>
                  </a:moveTo>
                  <a:cubicBezTo>
                    <a:pt x="162746" y="85588"/>
                    <a:pt x="156441" y="69976"/>
                    <a:pt x="144732" y="58567"/>
                  </a:cubicBezTo>
                  <a:cubicBezTo>
                    <a:pt x="133323" y="46858"/>
                    <a:pt x="117711" y="40554"/>
                    <a:pt x="101499" y="40854"/>
                  </a:cubicBezTo>
                  <a:cubicBezTo>
                    <a:pt x="85287" y="40554"/>
                    <a:pt x="69976" y="46858"/>
                    <a:pt x="58867" y="58567"/>
                  </a:cubicBezTo>
                  <a:cubicBezTo>
                    <a:pt x="46858" y="69976"/>
                    <a:pt x="40253" y="85588"/>
                    <a:pt x="40553" y="101800"/>
                  </a:cubicBezTo>
                  <a:lnTo>
                    <a:pt x="40553" y="120714"/>
                  </a:lnTo>
                  <a:cubicBezTo>
                    <a:pt x="40253" y="123716"/>
                    <a:pt x="42355" y="126418"/>
                    <a:pt x="45357" y="126719"/>
                  </a:cubicBezTo>
                  <a:cubicBezTo>
                    <a:pt x="45657" y="126719"/>
                    <a:pt x="46258" y="126719"/>
                    <a:pt x="46558" y="126719"/>
                  </a:cubicBezTo>
                  <a:lnTo>
                    <a:pt x="157041" y="126719"/>
                  </a:lnTo>
                  <a:cubicBezTo>
                    <a:pt x="160944" y="126719"/>
                    <a:pt x="162746" y="124617"/>
                    <a:pt x="162746" y="120714"/>
                  </a:cubicBezTo>
                  <a:lnTo>
                    <a:pt x="162746" y="101800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08" name="Forme libre : forme 207">
              <a:extLst>
                <a:ext uri="{FF2B5EF4-FFF2-40B4-BE49-F238E27FC236}">
                  <a16:creationId xmlns:a16="http://schemas.microsoft.com/office/drawing/2014/main" id="{E94D4579-F05D-43F4-A5DA-EFC27D932E05}"/>
                </a:ext>
              </a:extLst>
            </p:cNvPr>
            <p:cNvSpPr/>
            <p:nvPr/>
          </p:nvSpPr>
          <p:spPr>
            <a:xfrm>
              <a:off x="7334113" y="3998799"/>
              <a:ext cx="189143" cy="297224"/>
            </a:xfrm>
            <a:custGeom>
              <a:avLst/>
              <a:gdLst>
                <a:gd name="connsiteX0" fmla="*/ 18016 w 189142"/>
                <a:gd name="connsiteY0" fmla="*/ 238687 h 297224"/>
                <a:gd name="connsiteX1" fmla="*/ 102079 w 189142"/>
                <a:gd name="connsiteY1" fmla="*/ 260003 h 297224"/>
                <a:gd name="connsiteX2" fmla="*/ 135705 w 189142"/>
                <a:gd name="connsiteY2" fmla="*/ 245893 h 297224"/>
                <a:gd name="connsiteX3" fmla="*/ 149815 w 189142"/>
                <a:gd name="connsiteY3" fmla="*/ 212267 h 297224"/>
                <a:gd name="connsiteX4" fmla="*/ 140208 w 189142"/>
                <a:gd name="connsiteY4" fmla="*/ 185847 h 297224"/>
                <a:gd name="connsiteX5" fmla="*/ 116790 w 189142"/>
                <a:gd name="connsiteY5" fmla="*/ 169935 h 297224"/>
                <a:gd name="connsiteX6" fmla="*/ 57646 w 189142"/>
                <a:gd name="connsiteY6" fmla="*/ 153723 h 297224"/>
                <a:gd name="connsiteX7" fmla="*/ 2 w 189142"/>
                <a:gd name="connsiteY7" fmla="*/ 78967 h 297224"/>
                <a:gd name="connsiteX8" fmla="*/ 77761 w 189142"/>
                <a:gd name="connsiteY8" fmla="*/ 7 h 297224"/>
                <a:gd name="connsiteX9" fmla="*/ 79262 w 189142"/>
                <a:gd name="connsiteY9" fmla="*/ 7 h 297224"/>
                <a:gd name="connsiteX10" fmla="*/ 177136 w 189142"/>
                <a:gd name="connsiteY10" fmla="*/ 26427 h 297224"/>
                <a:gd name="connsiteX11" fmla="*/ 179538 w 189142"/>
                <a:gd name="connsiteY11" fmla="*/ 33633 h 297224"/>
                <a:gd name="connsiteX12" fmla="*/ 178637 w 189142"/>
                <a:gd name="connsiteY12" fmla="*/ 34834 h 297224"/>
                <a:gd name="connsiteX13" fmla="*/ 164226 w 189142"/>
                <a:gd name="connsiteY13" fmla="*/ 58852 h 297224"/>
                <a:gd name="connsiteX14" fmla="*/ 156420 w 189142"/>
                <a:gd name="connsiteY14" fmla="*/ 61554 h 297224"/>
                <a:gd name="connsiteX15" fmla="*/ 78361 w 189142"/>
                <a:gd name="connsiteY15" fmla="*/ 39637 h 297224"/>
                <a:gd name="connsiteX16" fmla="*/ 50740 w 189142"/>
                <a:gd name="connsiteY16" fmla="*/ 51046 h 297224"/>
                <a:gd name="connsiteX17" fmla="*/ 40232 w 189142"/>
                <a:gd name="connsiteY17" fmla="*/ 77466 h 297224"/>
                <a:gd name="connsiteX18" fmla="*/ 67553 w 189142"/>
                <a:gd name="connsiteY18" fmla="*/ 112892 h 297224"/>
                <a:gd name="connsiteX19" fmla="*/ 126398 w 189142"/>
                <a:gd name="connsiteY19" fmla="*/ 128504 h 297224"/>
                <a:gd name="connsiteX20" fmla="*/ 172933 w 189142"/>
                <a:gd name="connsiteY20" fmla="*/ 159427 h 297224"/>
                <a:gd name="connsiteX21" fmla="*/ 153418 w 189142"/>
                <a:gd name="connsiteY21" fmla="*/ 282821 h 297224"/>
                <a:gd name="connsiteX22" fmla="*/ 101779 w 189142"/>
                <a:gd name="connsiteY22" fmla="*/ 299633 h 297224"/>
                <a:gd name="connsiteX23" fmla="*/ 101779 w 189142"/>
                <a:gd name="connsiteY23" fmla="*/ 299633 h 297224"/>
                <a:gd name="connsiteX24" fmla="*/ 18016 w 189142"/>
                <a:gd name="connsiteY24" fmla="*/ 238687 h 297224"/>
                <a:gd name="connsiteX25" fmla="*/ 18016 w 189142"/>
                <a:gd name="connsiteY25" fmla="*/ 238687 h 297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9142" h="297224">
                  <a:moveTo>
                    <a:pt x="18016" y="238687"/>
                  </a:moveTo>
                  <a:cubicBezTo>
                    <a:pt x="43835" y="252498"/>
                    <a:pt x="72657" y="259703"/>
                    <a:pt x="102079" y="260003"/>
                  </a:cubicBezTo>
                  <a:cubicBezTo>
                    <a:pt x="114689" y="260304"/>
                    <a:pt x="126998" y="255200"/>
                    <a:pt x="135705" y="245893"/>
                  </a:cubicBezTo>
                  <a:cubicBezTo>
                    <a:pt x="144711" y="237186"/>
                    <a:pt x="149815" y="224877"/>
                    <a:pt x="149815" y="212267"/>
                  </a:cubicBezTo>
                  <a:cubicBezTo>
                    <a:pt x="149515" y="202660"/>
                    <a:pt x="146212" y="193353"/>
                    <a:pt x="140208" y="185847"/>
                  </a:cubicBezTo>
                  <a:cubicBezTo>
                    <a:pt x="134504" y="178042"/>
                    <a:pt x="126097" y="172637"/>
                    <a:pt x="116790" y="169935"/>
                  </a:cubicBezTo>
                  <a:lnTo>
                    <a:pt x="57646" y="153723"/>
                  </a:lnTo>
                  <a:cubicBezTo>
                    <a:pt x="23720" y="144716"/>
                    <a:pt x="2" y="114093"/>
                    <a:pt x="2" y="78967"/>
                  </a:cubicBezTo>
                  <a:cubicBezTo>
                    <a:pt x="-298" y="35734"/>
                    <a:pt x="34228" y="608"/>
                    <a:pt x="77761" y="7"/>
                  </a:cubicBezTo>
                  <a:cubicBezTo>
                    <a:pt x="78361" y="7"/>
                    <a:pt x="78962" y="7"/>
                    <a:pt x="79262" y="7"/>
                  </a:cubicBezTo>
                  <a:cubicBezTo>
                    <a:pt x="113788" y="-293"/>
                    <a:pt x="147413" y="8714"/>
                    <a:pt x="177136" y="26427"/>
                  </a:cubicBezTo>
                  <a:cubicBezTo>
                    <a:pt x="179838" y="27628"/>
                    <a:pt x="181039" y="30931"/>
                    <a:pt x="179538" y="33633"/>
                  </a:cubicBezTo>
                  <a:cubicBezTo>
                    <a:pt x="179237" y="33933"/>
                    <a:pt x="178937" y="34533"/>
                    <a:pt x="178637" y="34834"/>
                  </a:cubicBezTo>
                  <a:lnTo>
                    <a:pt x="164226" y="58852"/>
                  </a:lnTo>
                  <a:cubicBezTo>
                    <a:pt x="162124" y="62755"/>
                    <a:pt x="159122" y="63355"/>
                    <a:pt x="156420" y="61554"/>
                  </a:cubicBezTo>
                  <a:cubicBezTo>
                    <a:pt x="133002" y="47143"/>
                    <a:pt x="105982" y="39637"/>
                    <a:pt x="78361" y="39637"/>
                  </a:cubicBezTo>
                  <a:cubicBezTo>
                    <a:pt x="67853" y="39337"/>
                    <a:pt x="57946" y="43540"/>
                    <a:pt x="50740" y="51046"/>
                  </a:cubicBezTo>
                  <a:cubicBezTo>
                    <a:pt x="43835" y="57951"/>
                    <a:pt x="39932" y="67558"/>
                    <a:pt x="40232" y="77466"/>
                  </a:cubicBezTo>
                  <a:cubicBezTo>
                    <a:pt x="39031" y="94579"/>
                    <a:pt x="50740" y="109890"/>
                    <a:pt x="67553" y="112892"/>
                  </a:cubicBezTo>
                  <a:lnTo>
                    <a:pt x="126398" y="128504"/>
                  </a:lnTo>
                  <a:cubicBezTo>
                    <a:pt x="145011" y="133308"/>
                    <a:pt x="161524" y="144116"/>
                    <a:pt x="172933" y="159427"/>
                  </a:cubicBezTo>
                  <a:cubicBezTo>
                    <a:pt x="201754" y="198757"/>
                    <a:pt x="193048" y="253999"/>
                    <a:pt x="153418" y="282821"/>
                  </a:cubicBezTo>
                  <a:cubicBezTo>
                    <a:pt x="138407" y="293629"/>
                    <a:pt x="120393" y="299633"/>
                    <a:pt x="101779" y="299633"/>
                  </a:cubicBezTo>
                  <a:lnTo>
                    <a:pt x="101779" y="299633"/>
                  </a:lnTo>
                  <a:lnTo>
                    <a:pt x="18016" y="238687"/>
                  </a:lnTo>
                  <a:lnTo>
                    <a:pt x="18016" y="238687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09" name="Forme libre : forme 208">
              <a:extLst>
                <a:ext uri="{FF2B5EF4-FFF2-40B4-BE49-F238E27FC236}">
                  <a16:creationId xmlns:a16="http://schemas.microsoft.com/office/drawing/2014/main" id="{42A87569-3468-487F-B04D-E409BD79854C}"/>
                </a:ext>
              </a:extLst>
            </p:cNvPr>
            <p:cNvSpPr/>
            <p:nvPr/>
          </p:nvSpPr>
          <p:spPr>
            <a:xfrm>
              <a:off x="7700091" y="3921920"/>
              <a:ext cx="180136" cy="219165"/>
            </a:xfrm>
            <a:custGeom>
              <a:avLst/>
              <a:gdLst>
                <a:gd name="connsiteX0" fmla="*/ 44133 w 180136"/>
                <a:gd name="connsiteY0" fmla="*/ 219494 h 219165"/>
                <a:gd name="connsiteX1" fmla="*/ 44133 w 180136"/>
                <a:gd name="connsiteY1" fmla="*/ 132128 h 219165"/>
                <a:gd name="connsiteX2" fmla="*/ 38129 w 180136"/>
                <a:gd name="connsiteY2" fmla="*/ 126424 h 219165"/>
                <a:gd name="connsiteX3" fmla="*/ 6005 w 180136"/>
                <a:gd name="connsiteY3" fmla="*/ 126424 h 219165"/>
                <a:gd name="connsiteX4" fmla="*/ 0 w 180136"/>
                <a:gd name="connsiteY4" fmla="*/ 120419 h 219165"/>
                <a:gd name="connsiteX5" fmla="*/ 0 w 180136"/>
                <a:gd name="connsiteY5" fmla="*/ 91598 h 219165"/>
                <a:gd name="connsiteX6" fmla="*/ 6005 w 180136"/>
                <a:gd name="connsiteY6" fmla="*/ 86193 h 219165"/>
                <a:gd name="connsiteX7" fmla="*/ 37829 w 180136"/>
                <a:gd name="connsiteY7" fmla="*/ 86193 h 219165"/>
                <a:gd name="connsiteX8" fmla="*/ 43833 w 180136"/>
                <a:gd name="connsiteY8" fmla="*/ 81390 h 219165"/>
                <a:gd name="connsiteX9" fmla="*/ 43833 w 180136"/>
                <a:gd name="connsiteY9" fmla="*/ 80189 h 219165"/>
                <a:gd name="connsiteX10" fmla="*/ 43833 w 180136"/>
                <a:gd name="connsiteY10" fmla="*/ 6033 h 219165"/>
                <a:gd name="connsiteX11" fmla="*/ 48937 w 180136"/>
                <a:gd name="connsiteY11" fmla="*/ 28 h 219165"/>
                <a:gd name="connsiteX12" fmla="*/ 50138 w 180136"/>
                <a:gd name="connsiteY12" fmla="*/ 28 h 219165"/>
                <a:gd name="connsiteX13" fmla="*/ 78059 w 180136"/>
                <a:gd name="connsiteY13" fmla="*/ 28 h 219165"/>
                <a:gd name="connsiteX14" fmla="*/ 84064 w 180136"/>
                <a:gd name="connsiteY14" fmla="*/ 5132 h 219165"/>
                <a:gd name="connsiteX15" fmla="*/ 84064 w 180136"/>
                <a:gd name="connsiteY15" fmla="*/ 6333 h 219165"/>
                <a:gd name="connsiteX16" fmla="*/ 84064 w 180136"/>
                <a:gd name="connsiteY16" fmla="*/ 80189 h 219165"/>
                <a:gd name="connsiteX17" fmla="*/ 89167 w 180136"/>
                <a:gd name="connsiteY17" fmla="*/ 86193 h 219165"/>
                <a:gd name="connsiteX18" fmla="*/ 90368 w 180136"/>
                <a:gd name="connsiteY18" fmla="*/ 86193 h 219165"/>
                <a:gd name="connsiteX19" fmla="*/ 174732 w 180136"/>
                <a:gd name="connsiteY19" fmla="*/ 86193 h 219165"/>
                <a:gd name="connsiteX20" fmla="*/ 180737 w 180136"/>
                <a:gd name="connsiteY20" fmla="*/ 91598 h 219165"/>
                <a:gd name="connsiteX21" fmla="*/ 180737 w 180136"/>
                <a:gd name="connsiteY21" fmla="*/ 120419 h 219165"/>
                <a:gd name="connsiteX22" fmla="*/ 174732 w 180136"/>
                <a:gd name="connsiteY22" fmla="*/ 126424 h 219165"/>
                <a:gd name="connsiteX23" fmla="*/ 90068 w 180136"/>
                <a:gd name="connsiteY23" fmla="*/ 126424 h 219165"/>
                <a:gd name="connsiteX24" fmla="*/ 84064 w 180136"/>
                <a:gd name="connsiteY24" fmla="*/ 132128 h 219165"/>
                <a:gd name="connsiteX25" fmla="*/ 84064 w 180136"/>
                <a:gd name="connsiteY25" fmla="*/ 198778 h 219165"/>
                <a:gd name="connsiteX26" fmla="*/ 44133 w 180136"/>
                <a:gd name="connsiteY26" fmla="*/ 219494 h 219165"/>
                <a:gd name="connsiteX27" fmla="*/ 44133 w 180136"/>
                <a:gd name="connsiteY27" fmla="*/ 219494 h 219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80136" h="219165">
                  <a:moveTo>
                    <a:pt x="44133" y="219494"/>
                  </a:moveTo>
                  <a:lnTo>
                    <a:pt x="44133" y="132128"/>
                  </a:lnTo>
                  <a:cubicBezTo>
                    <a:pt x="44133" y="128225"/>
                    <a:pt x="42032" y="126424"/>
                    <a:pt x="38129" y="126424"/>
                  </a:cubicBezTo>
                  <a:lnTo>
                    <a:pt x="6005" y="126424"/>
                  </a:lnTo>
                  <a:cubicBezTo>
                    <a:pt x="1501" y="126424"/>
                    <a:pt x="0" y="124322"/>
                    <a:pt x="0" y="120419"/>
                  </a:cubicBezTo>
                  <a:lnTo>
                    <a:pt x="0" y="91598"/>
                  </a:lnTo>
                  <a:cubicBezTo>
                    <a:pt x="0" y="87695"/>
                    <a:pt x="1501" y="86193"/>
                    <a:pt x="6005" y="86193"/>
                  </a:cubicBezTo>
                  <a:lnTo>
                    <a:pt x="37829" y="86193"/>
                  </a:lnTo>
                  <a:cubicBezTo>
                    <a:pt x="40831" y="86494"/>
                    <a:pt x="43533" y="84392"/>
                    <a:pt x="43833" y="81390"/>
                  </a:cubicBezTo>
                  <a:cubicBezTo>
                    <a:pt x="43833" y="81090"/>
                    <a:pt x="43833" y="80489"/>
                    <a:pt x="43833" y="80189"/>
                  </a:cubicBezTo>
                  <a:lnTo>
                    <a:pt x="43833" y="6033"/>
                  </a:lnTo>
                  <a:cubicBezTo>
                    <a:pt x="43533" y="3031"/>
                    <a:pt x="45935" y="329"/>
                    <a:pt x="48937" y="28"/>
                  </a:cubicBezTo>
                  <a:cubicBezTo>
                    <a:pt x="49237" y="28"/>
                    <a:pt x="49537" y="28"/>
                    <a:pt x="50138" y="28"/>
                  </a:cubicBezTo>
                  <a:lnTo>
                    <a:pt x="78059" y="28"/>
                  </a:lnTo>
                  <a:cubicBezTo>
                    <a:pt x="81061" y="-272"/>
                    <a:pt x="83763" y="1830"/>
                    <a:pt x="84064" y="5132"/>
                  </a:cubicBezTo>
                  <a:cubicBezTo>
                    <a:pt x="84064" y="5433"/>
                    <a:pt x="84064" y="5733"/>
                    <a:pt x="84064" y="6333"/>
                  </a:cubicBezTo>
                  <a:lnTo>
                    <a:pt x="84064" y="80189"/>
                  </a:lnTo>
                  <a:cubicBezTo>
                    <a:pt x="83763" y="83191"/>
                    <a:pt x="86165" y="85893"/>
                    <a:pt x="89167" y="86193"/>
                  </a:cubicBezTo>
                  <a:cubicBezTo>
                    <a:pt x="89468" y="86193"/>
                    <a:pt x="89768" y="86193"/>
                    <a:pt x="90368" y="86193"/>
                  </a:cubicBezTo>
                  <a:lnTo>
                    <a:pt x="174732" y="86193"/>
                  </a:lnTo>
                  <a:cubicBezTo>
                    <a:pt x="179235" y="86193"/>
                    <a:pt x="180737" y="87695"/>
                    <a:pt x="180737" y="91598"/>
                  </a:cubicBezTo>
                  <a:lnTo>
                    <a:pt x="180737" y="120419"/>
                  </a:lnTo>
                  <a:cubicBezTo>
                    <a:pt x="180737" y="124322"/>
                    <a:pt x="179235" y="126424"/>
                    <a:pt x="174732" y="126424"/>
                  </a:cubicBezTo>
                  <a:lnTo>
                    <a:pt x="90068" y="126424"/>
                  </a:lnTo>
                  <a:cubicBezTo>
                    <a:pt x="86165" y="126424"/>
                    <a:pt x="84064" y="128225"/>
                    <a:pt x="84064" y="132128"/>
                  </a:cubicBezTo>
                  <a:lnTo>
                    <a:pt x="84064" y="198778"/>
                  </a:lnTo>
                  <a:lnTo>
                    <a:pt x="44133" y="219494"/>
                  </a:lnTo>
                  <a:lnTo>
                    <a:pt x="44133" y="219494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10" name="Forme libre : forme 209">
              <a:extLst>
                <a:ext uri="{FF2B5EF4-FFF2-40B4-BE49-F238E27FC236}">
                  <a16:creationId xmlns:a16="http://schemas.microsoft.com/office/drawing/2014/main" id="{8A480203-3BAE-4FB3-AFEF-BBBDA1B8A5D3}"/>
                </a:ext>
              </a:extLst>
            </p:cNvPr>
            <p:cNvSpPr/>
            <p:nvPr/>
          </p:nvSpPr>
          <p:spPr>
            <a:xfrm>
              <a:off x="6709034" y="4369579"/>
              <a:ext cx="183138" cy="288217"/>
            </a:xfrm>
            <a:custGeom>
              <a:avLst/>
              <a:gdLst>
                <a:gd name="connsiteX0" fmla="*/ 156127 w 183138"/>
                <a:gd name="connsiteY0" fmla="*/ 130306 h 288217"/>
                <a:gd name="connsiteX1" fmla="*/ 172039 w 183138"/>
                <a:gd name="connsiteY1" fmla="*/ 79568 h 288217"/>
                <a:gd name="connsiteX2" fmla="*/ 149221 w 183138"/>
                <a:gd name="connsiteY2" fmla="*/ 23425 h 288217"/>
                <a:gd name="connsiteX3" fmla="*/ 93980 w 183138"/>
                <a:gd name="connsiteY3" fmla="*/ 8 h 288217"/>
                <a:gd name="connsiteX4" fmla="*/ 17722 w 183138"/>
                <a:gd name="connsiteY4" fmla="*/ 8 h 288217"/>
                <a:gd name="connsiteX5" fmla="*/ 9 w 183138"/>
                <a:gd name="connsiteY5" fmla="*/ 17721 h 288217"/>
                <a:gd name="connsiteX6" fmla="*/ 9 w 183138"/>
                <a:gd name="connsiteY6" fmla="*/ 19222 h 288217"/>
                <a:gd name="connsiteX7" fmla="*/ 9 w 183138"/>
                <a:gd name="connsiteY7" fmla="*/ 271713 h 288217"/>
                <a:gd name="connsiteX8" fmla="*/ 16821 w 183138"/>
                <a:gd name="connsiteY8" fmla="*/ 290327 h 288217"/>
                <a:gd name="connsiteX9" fmla="*/ 18022 w 183138"/>
                <a:gd name="connsiteY9" fmla="*/ 290327 h 288217"/>
                <a:gd name="connsiteX10" fmla="*/ 103587 w 183138"/>
                <a:gd name="connsiteY10" fmla="*/ 290327 h 288217"/>
                <a:gd name="connsiteX11" fmla="*/ 160930 w 183138"/>
                <a:gd name="connsiteY11" fmla="*/ 266008 h 288217"/>
                <a:gd name="connsiteX12" fmla="*/ 185249 w 183138"/>
                <a:gd name="connsiteY12" fmla="*/ 207164 h 288217"/>
                <a:gd name="connsiteX13" fmla="*/ 185249 w 183138"/>
                <a:gd name="connsiteY13" fmla="*/ 195455 h 288217"/>
                <a:gd name="connsiteX14" fmla="*/ 172339 w 183138"/>
                <a:gd name="connsiteY14" fmla="*/ 148920 h 288217"/>
                <a:gd name="connsiteX15" fmla="*/ 157027 w 183138"/>
                <a:gd name="connsiteY15" fmla="*/ 130006 h 288217"/>
                <a:gd name="connsiteX16" fmla="*/ 111093 w 183138"/>
                <a:gd name="connsiteY16" fmla="*/ 100283 h 288217"/>
                <a:gd name="connsiteX17" fmla="*/ 90977 w 183138"/>
                <a:gd name="connsiteY17" fmla="*/ 107789 h 288217"/>
                <a:gd name="connsiteX18" fmla="*/ 53749 w 183138"/>
                <a:gd name="connsiteY18" fmla="*/ 107789 h 288217"/>
                <a:gd name="connsiteX19" fmla="*/ 53749 w 183138"/>
                <a:gd name="connsiteY19" fmla="*/ 55249 h 288217"/>
                <a:gd name="connsiteX20" fmla="*/ 93980 w 183138"/>
                <a:gd name="connsiteY20" fmla="*/ 55249 h 288217"/>
                <a:gd name="connsiteX21" fmla="*/ 110792 w 183138"/>
                <a:gd name="connsiteY21" fmla="*/ 61854 h 288217"/>
                <a:gd name="connsiteX22" fmla="*/ 117698 w 183138"/>
                <a:gd name="connsiteY22" fmla="*/ 78967 h 288217"/>
                <a:gd name="connsiteX23" fmla="*/ 110192 w 183138"/>
                <a:gd name="connsiteY23" fmla="*/ 99683 h 288217"/>
                <a:gd name="connsiteX24" fmla="*/ 53749 w 183138"/>
                <a:gd name="connsiteY24" fmla="*/ 163931 h 288217"/>
                <a:gd name="connsiteX25" fmla="*/ 99384 w 183138"/>
                <a:gd name="connsiteY25" fmla="*/ 163931 h 288217"/>
                <a:gd name="connsiteX26" fmla="*/ 121000 w 183138"/>
                <a:gd name="connsiteY26" fmla="*/ 173238 h 288217"/>
                <a:gd name="connsiteX27" fmla="*/ 130307 w 183138"/>
                <a:gd name="connsiteY27" fmla="*/ 195755 h 288217"/>
                <a:gd name="connsiteX28" fmla="*/ 130307 w 183138"/>
                <a:gd name="connsiteY28" fmla="*/ 206864 h 288217"/>
                <a:gd name="connsiteX29" fmla="*/ 122201 w 183138"/>
                <a:gd name="connsiteY29" fmla="*/ 226078 h 288217"/>
                <a:gd name="connsiteX30" fmla="*/ 102986 w 183138"/>
                <a:gd name="connsiteY30" fmla="*/ 234485 h 288217"/>
                <a:gd name="connsiteX31" fmla="*/ 53749 w 183138"/>
                <a:gd name="connsiteY31" fmla="*/ 234485 h 288217"/>
                <a:gd name="connsiteX32" fmla="*/ 53749 w 183138"/>
                <a:gd name="connsiteY32" fmla="*/ 163931 h 288217"/>
                <a:gd name="connsiteX33" fmla="*/ 53749 w 183138"/>
                <a:gd name="connsiteY33" fmla="*/ 163931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83138" h="288217">
                  <a:moveTo>
                    <a:pt x="156127" y="130306"/>
                  </a:moveTo>
                  <a:cubicBezTo>
                    <a:pt x="166935" y="115595"/>
                    <a:pt x="172639" y="97882"/>
                    <a:pt x="172039" y="79568"/>
                  </a:cubicBezTo>
                  <a:cubicBezTo>
                    <a:pt x="172339" y="58552"/>
                    <a:pt x="163933" y="38137"/>
                    <a:pt x="149221" y="23425"/>
                  </a:cubicBezTo>
                  <a:cubicBezTo>
                    <a:pt x="134811" y="8114"/>
                    <a:pt x="114996" y="-292"/>
                    <a:pt x="93980" y="8"/>
                  </a:cubicBezTo>
                  <a:lnTo>
                    <a:pt x="17722" y="8"/>
                  </a:lnTo>
                  <a:cubicBezTo>
                    <a:pt x="8115" y="8"/>
                    <a:pt x="309" y="7814"/>
                    <a:pt x="9" y="17721"/>
                  </a:cubicBezTo>
                  <a:cubicBezTo>
                    <a:pt x="9" y="18322"/>
                    <a:pt x="9" y="18922"/>
                    <a:pt x="9" y="19222"/>
                  </a:cubicBezTo>
                  <a:lnTo>
                    <a:pt x="9" y="271713"/>
                  </a:lnTo>
                  <a:cubicBezTo>
                    <a:pt x="-292" y="281620"/>
                    <a:pt x="7214" y="290027"/>
                    <a:pt x="16821" y="290327"/>
                  </a:cubicBezTo>
                  <a:cubicBezTo>
                    <a:pt x="17122" y="290327"/>
                    <a:pt x="17722" y="290327"/>
                    <a:pt x="18022" y="290327"/>
                  </a:cubicBezTo>
                  <a:lnTo>
                    <a:pt x="103587" y="290327"/>
                  </a:lnTo>
                  <a:cubicBezTo>
                    <a:pt x="125203" y="290627"/>
                    <a:pt x="145919" y="281920"/>
                    <a:pt x="160930" y="266008"/>
                  </a:cubicBezTo>
                  <a:cubicBezTo>
                    <a:pt x="176542" y="250697"/>
                    <a:pt x="185249" y="229381"/>
                    <a:pt x="185249" y="207164"/>
                  </a:cubicBezTo>
                  <a:lnTo>
                    <a:pt x="185249" y="195455"/>
                  </a:lnTo>
                  <a:cubicBezTo>
                    <a:pt x="185249" y="178943"/>
                    <a:pt x="180745" y="163031"/>
                    <a:pt x="172339" y="148920"/>
                  </a:cubicBezTo>
                  <a:cubicBezTo>
                    <a:pt x="168136" y="142015"/>
                    <a:pt x="163032" y="135410"/>
                    <a:pt x="157027" y="130006"/>
                  </a:cubicBezTo>
                  <a:moveTo>
                    <a:pt x="111093" y="100283"/>
                  </a:moveTo>
                  <a:cubicBezTo>
                    <a:pt x="105688" y="105687"/>
                    <a:pt x="98483" y="108389"/>
                    <a:pt x="90977" y="107789"/>
                  </a:cubicBezTo>
                  <a:lnTo>
                    <a:pt x="53749" y="107789"/>
                  </a:lnTo>
                  <a:lnTo>
                    <a:pt x="53749" y="55249"/>
                  </a:lnTo>
                  <a:lnTo>
                    <a:pt x="93980" y="55249"/>
                  </a:lnTo>
                  <a:cubicBezTo>
                    <a:pt x="100284" y="54949"/>
                    <a:pt x="106289" y="57351"/>
                    <a:pt x="110792" y="61854"/>
                  </a:cubicBezTo>
                  <a:cubicBezTo>
                    <a:pt x="115596" y="66358"/>
                    <a:pt x="117998" y="72663"/>
                    <a:pt x="117698" y="78967"/>
                  </a:cubicBezTo>
                  <a:cubicBezTo>
                    <a:pt x="117998" y="86773"/>
                    <a:pt x="115296" y="94279"/>
                    <a:pt x="110192" y="99683"/>
                  </a:cubicBezTo>
                  <a:moveTo>
                    <a:pt x="53749" y="163931"/>
                  </a:moveTo>
                  <a:lnTo>
                    <a:pt x="99384" y="163931"/>
                  </a:lnTo>
                  <a:cubicBezTo>
                    <a:pt x="107490" y="163931"/>
                    <a:pt x="115596" y="167234"/>
                    <a:pt x="121000" y="173238"/>
                  </a:cubicBezTo>
                  <a:cubicBezTo>
                    <a:pt x="127005" y="179243"/>
                    <a:pt x="130607" y="187349"/>
                    <a:pt x="130307" y="195755"/>
                  </a:cubicBezTo>
                  <a:lnTo>
                    <a:pt x="130307" y="206864"/>
                  </a:lnTo>
                  <a:cubicBezTo>
                    <a:pt x="130307" y="214069"/>
                    <a:pt x="127305" y="221275"/>
                    <a:pt x="122201" y="226078"/>
                  </a:cubicBezTo>
                  <a:cubicBezTo>
                    <a:pt x="117097" y="231482"/>
                    <a:pt x="110192" y="234485"/>
                    <a:pt x="102986" y="234485"/>
                  </a:cubicBezTo>
                  <a:lnTo>
                    <a:pt x="53749" y="234485"/>
                  </a:lnTo>
                  <a:lnTo>
                    <a:pt x="53749" y="163931"/>
                  </a:lnTo>
                  <a:lnTo>
                    <a:pt x="53749" y="163931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11" name="Forme libre : forme 210">
              <a:extLst>
                <a:ext uri="{FF2B5EF4-FFF2-40B4-BE49-F238E27FC236}">
                  <a16:creationId xmlns:a16="http://schemas.microsoft.com/office/drawing/2014/main" id="{2802A1C5-F8B8-472F-BA61-4CA64A6C5347}"/>
                </a:ext>
              </a:extLst>
            </p:cNvPr>
            <p:cNvSpPr/>
            <p:nvPr/>
          </p:nvSpPr>
          <p:spPr>
            <a:xfrm>
              <a:off x="6940511" y="4365677"/>
              <a:ext cx="189143" cy="297224"/>
            </a:xfrm>
            <a:custGeom>
              <a:avLst/>
              <a:gdLst>
                <a:gd name="connsiteX0" fmla="*/ 95479 w 189142"/>
                <a:gd name="connsiteY0" fmla="*/ 6 h 297224"/>
                <a:gd name="connsiteX1" fmla="*/ 27928 w 189142"/>
                <a:gd name="connsiteY1" fmla="*/ 28828 h 297224"/>
                <a:gd name="connsiteX2" fmla="*/ 7 w 189142"/>
                <a:gd name="connsiteY2" fmla="*/ 97880 h 297224"/>
                <a:gd name="connsiteX3" fmla="*/ 7 w 189142"/>
                <a:gd name="connsiteY3" fmla="*/ 200858 h 297224"/>
                <a:gd name="connsiteX4" fmla="*/ 27928 w 189142"/>
                <a:gd name="connsiteY4" fmla="*/ 269910 h 297224"/>
                <a:gd name="connsiteX5" fmla="*/ 162429 w 189142"/>
                <a:gd name="connsiteY5" fmla="*/ 270811 h 297224"/>
                <a:gd name="connsiteX6" fmla="*/ 163330 w 189142"/>
                <a:gd name="connsiteY6" fmla="*/ 269910 h 297224"/>
                <a:gd name="connsiteX7" fmla="*/ 191551 w 189142"/>
                <a:gd name="connsiteY7" fmla="*/ 200858 h 297224"/>
                <a:gd name="connsiteX8" fmla="*/ 191551 w 189142"/>
                <a:gd name="connsiteY8" fmla="*/ 97880 h 297224"/>
                <a:gd name="connsiteX9" fmla="*/ 163330 w 189142"/>
                <a:gd name="connsiteY9" fmla="*/ 28828 h 297224"/>
                <a:gd name="connsiteX10" fmla="*/ 95479 w 189142"/>
                <a:gd name="connsiteY10" fmla="*/ 6 h 297224"/>
                <a:gd name="connsiteX11" fmla="*/ 54348 w 189142"/>
                <a:gd name="connsiteY11" fmla="*/ 97880 h 297224"/>
                <a:gd name="connsiteX12" fmla="*/ 67257 w 189142"/>
                <a:gd name="connsiteY12" fmla="*/ 67858 h 297224"/>
                <a:gd name="connsiteX13" fmla="*/ 125501 w 189142"/>
                <a:gd name="connsiteY13" fmla="*/ 67858 h 297224"/>
                <a:gd name="connsiteX14" fmla="*/ 138411 w 189142"/>
                <a:gd name="connsiteY14" fmla="*/ 97880 h 297224"/>
                <a:gd name="connsiteX15" fmla="*/ 138411 w 189142"/>
                <a:gd name="connsiteY15" fmla="*/ 200858 h 297224"/>
                <a:gd name="connsiteX16" fmla="*/ 125501 w 189142"/>
                <a:gd name="connsiteY16" fmla="*/ 230580 h 297224"/>
                <a:gd name="connsiteX17" fmla="*/ 68458 w 189142"/>
                <a:gd name="connsiteY17" fmla="*/ 232081 h 297224"/>
                <a:gd name="connsiteX18" fmla="*/ 67257 w 189142"/>
                <a:gd name="connsiteY18" fmla="*/ 230580 h 297224"/>
                <a:gd name="connsiteX19" fmla="*/ 54948 w 189142"/>
                <a:gd name="connsiteY19" fmla="*/ 200858 h 297224"/>
                <a:gd name="connsiteX20" fmla="*/ 54348 w 189142"/>
                <a:gd name="connsiteY20" fmla="*/ 97880 h 297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9142" h="297224">
                  <a:moveTo>
                    <a:pt x="95479" y="6"/>
                  </a:moveTo>
                  <a:cubicBezTo>
                    <a:pt x="69959" y="-294"/>
                    <a:pt x="45641" y="9914"/>
                    <a:pt x="27928" y="28828"/>
                  </a:cubicBezTo>
                  <a:cubicBezTo>
                    <a:pt x="9614" y="47142"/>
                    <a:pt x="-294" y="72061"/>
                    <a:pt x="7" y="97880"/>
                  </a:cubicBezTo>
                  <a:lnTo>
                    <a:pt x="7" y="200858"/>
                  </a:lnTo>
                  <a:cubicBezTo>
                    <a:pt x="-294" y="226677"/>
                    <a:pt x="9914" y="251896"/>
                    <a:pt x="27928" y="269910"/>
                  </a:cubicBezTo>
                  <a:cubicBezTo>
                    <a:pt x="64856" y="307738"/>
                    <a:pt x="124901" y="308039"/>
                    <a:pt x="162429" y="270811"/>
                  </a:cubicBezTo>
                  <a:cubicBezTo>
                    <a:pt x="162730" y="270510"/>
                    <a:pt x="163030" y="270210"/>
                    <a:pt x="163330" y="269910"/>
                  </a:cubicBezTo>
                  <a:cubicBezTo>
                    <a:pt x="181644" y="251596"/>
                    <a:pt x="191852" y="226677"/>
                    <a:pt x="191551" y="200858"/>
                  </a:cubicBezTo>
                  <a:lnTo>
                    <a:pt x="191551" y="97880"/>
                  </a:lnTo>
                  <a:cubicBezTo>
                    <a:pt x="191852" y="71761"/>
                    <a:pt x="181644" y="46842"/>
                    <a:pt x="163330" y="28828"/>
                  </a:cubicBezTo>
                  <a:cubicBezTo>
                    <a:pt x="145617" y="9914"/>
                    <a:pt x="120998" y="-294"/>
                    <a:pt x="95479" y="6"/>
                  </a:cubicBezTo>
                  <a:moveTo>
                    <a:pt x="54348" y="97880"/>
                  </a:moveTo>
                  <a:cubicBezTo>
                    <a:pt x="54348" y="86472"/>
                    <a:pt x="58851" y="75363"/>
                    <a:pt x="67257" y="67858"/>
                  </a:cubicBezTo>
                  <a:cubicBezTo>
                    <a:pt x="83470" y="51645"/>
                    <a:pt x="109289" y="51645"/>
                    <a:pt x="125501" y="67858"/>
                  </a:cubicBezTo>
                  <a:cubicBezTo>
                    <a:pt x="133908" y="75663"/>
                    <a:pt x="138411" y="86472"/>
                    <a:pt x="138411" y="97880"/>
                  </a:cubicBezTo>
                  <a:lnTo>
                    <a:pt x="138411" y="200858"/>
                  </a:lnTo>
                  <a:cubicBezTo>
                    <a:pt x="138711" y="212267"/>
                    <a:pt x="133908" y="223075"/>
                    <a:pt x="125501" y="230580"/>
                  </a:cubicBezTo>
                  <a:cubicBezTo>
                    <a:pt x="110190" y="246793"/>
                    <a:pt x="84671" y="247393"/>
                    <a:pt x="68458" y="232081"/>
                  </a:cubicBezTo>
                  <a:cubicBezTo>
                    <a:pt x="67858" y="231781"/>
                    <a:pt x="67558" y="231181"/>
                    <a:pt x="67257" y="230580"/>
                  </a:cubicBezTo>
                  <a:cubicBezTo>
                    <a:pt x="59151" y="222774"/>
                    <a:pt x="54948" y="212267"/>
                    <a:pt x="54948" y="200858"/>
                  </a:cubicBezTo>
                  <a:lnTo>
                    <a:pt x="54348" y="97880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12" name="Forme libre : forme 211">
              <a:extLst>
                <a:ext uri="{FF2B5EF4-FFF2-40B4-BE49-F238E27FC236}">
                  <a16:creationId xmlns:a16="http://schemas.microsoft.com/office/drawing/2014/main" id="{352CA0BD-A178-47B9-AE2F-C156F1943F08}"/>
                </a:ext>
              </a:extLst>
            </p:cNvPr>
            <p:cNvSpPr/>
            <p:nvPr/>
          </p:nvSpPr>
          <p:spPr>
            <a:xfrm>
              <a:off x="7438285" y="4369280"/>
              <a:ext cx="183138" cy="288217"/>
            </a:xfrm>
            <a:custGeom>
              <a:avLst/>
              <a:gdLst>
                <a:gd name="connsiteX0" fmla="*/ 81070 w 183138"/>
                <a:gd name="connsiteY0" fmla="*/ 306 h 288217"/>
                <a:gd name="connsiteX1" fmla="*/ 18923 w 183138"/>
                <a:gd name="connsiteY1" fmla="*/ 306 h 288217"/>
                <a:gd name="connsiteX2" fmla="*/ 8 w 183138"/>
                <a:gd name="connsiteY2" fmla="*/ 16819 h 288217"/>
                <a:gd name="connsiteX3" fmla="*/ 8 w 183138"/>
                <a:gd name="connsiteY3" fmla="*/ 19521 h 288217"/>
                <a:gd name="connsiteX4" fmla="*/ 8 w 183138"/>
                <a:gd name="connsiteY4" fmla="*/ 272011 h 288217"/>
                <a:gd name="connsiteX5" fmla="*/ 17421 w 183138"/>
                <a:gd name="connsiteY5" fmla="*/ 290625 h 288217"/>
                <a:gd name="connsiteX6" fmla="*/ 18622 w 183138"/>
                <a:gd name="connsiteY6" fmla="*/ 290625 h 288217"/>
                <a:gd name="connsiteX7" fmla="*/ 90377 w 183138"/>
                <a:gd name="connsiteY7" fmla="*/ 290625 h 288217"/>
                <a:gd name="connsiteX8" fmla="*/ 157627 w 183138"/>
                <a:gd name="connsiteY8" fmla="*/ 262704 h 288217"/>
                <a:gd name="connsiteX9" fmla="*/ 185248 w 183138"/>
                <a:gd name="connsiteY9" fmla="*/ 194553 h 288217"/>
                <a:gd name="connsiteX10" fmla="*/ 185248 w 183138"/>
                <a:gd name="connsiteY10" fmla="*/ 104485 h 288217"/>
                <a:gd name="connsiteX11" fmla="*/ 154625 w 183138"/>
                <a:gd name="connsiteY11" fmla="*/ 30629 h 288217"/>
                <a:gd name="connsiteX12" fmla="*/ 80769 w 183138"/>
                <a:gd name="connsiteY12" fmla="*/ 6 h 288217"/>
                <a:gd name="connsiteX13" fmla="*/ 89776 w 183138"/>
                <a:gd name="connsiteY13" fmla="*/ 234483 h 288217"/>
                <a:gd name="connsiteX14" fmla="*/ 54950 w 183138"/>
                <a:gd name="connsiteY14" fmla="*/ 234483 h 288217"/>
                <a:gd name="connsiteX15" fmla="*/ 54950 w 183138"/>
                <a:gd name="connsiteY15" fmla="*/ 55848 h 288217"/>
                <a:gd name="connsiteX16" fmla="*/ 80469 w 183138"/>
                <a:gd name="connsiteY16" fmla="*/ 55848 h 288217"/>
                <a:gd name="connsiteX17" fmla="*/ 114995 w 183138"/>
                <a:gd name="connsiteY17" fmla="*/ 70259 h 288217"/>
                <a:gd name="connsiteX18" fmla="*/ 129706 w 183138"/>
                <a:gd name="connsiteY18" fmla="*/ 104485 h 288217"/>
                <a:gd name="connsiteX19" fmla="*/ 129706 w 183138"/>
                <a:gd name="connsiteY19" fmla="*/ 194553 h 288217"/>
                <a:gd name="connsiteX20" fmla="*/ 90076 w 183138"/>
                <a:gd name="connsiteY20" fmla="*/ 233882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3138" h="288217">
                  <a:moveTo>
                    <a:pt x="81070" y="306"/>
                  </a:moveTo>
                  <a:lnTo>
                    <a:pt x="18923" y="306"/>
                  </a:lnTo>
                  <a:cubicBezTo>
                    <a:pt x="9015" y="-294"/>
                    <a:pt x="609" y="7211"/>
                    <a:pt x="8" y="16819"/>
                  </a:cubicBezTo>
                  <a:cubicBezTo>
                    <a:pt x="8" y="17719"/>
                    <a:pt x="8" y="18620"/>
                    <a:pt x="8" y="19521"/>
                  </a:cubicBezTo>
                  <a:lnTo>
                    <a:pt x="8" y="272011"/>
                  </a:lnTo>
                  <a:cubicBezTo>
                    <a:pt x="-292" y="281919"/>
                    <a:pt x="7514" y="290325"/>
                    <a:pt x="17421" y="290625"/>
                  </a:cubicBezTo>
                  <a:cubicBezTo>
                    <a:pt x="17722" y="290625"/>
                    <a:pt x="18322" y="290625"/>
                    <a:pt x="18622" y="290625"/>
                  </a:cubicBezTo>
                  <a:lnTo>
                    <a:pt x="90377" y="290625"/>
                  </a:lnTo>
                  <a:cubicBezTo>
                    <a:pt x="115596" y="290925"/>
                    <a:pt x="139914" y="280718"/>
                    <a:pt x="157627" y="262704"/>
                  </a:cubicBezTo>
                  <a:cubicBezTo>
                    <a:pt x="175941" y="244690"/>
                    <a:pt x="185849" y="220072"/>
                    <a:pt x="185248" y="194553"/>
                  </a:cubicBezTo>
                  <a:lnTo>
                    <a:pt x="185248" y="104485"/>
                  </a:lnTo>
                  <a:cubicBezTo>
                    <a:pt x="185549" y="76864"/>
                    <a:pt x="174440" y="50144"/>
                    <a:pt x="154625" y="30629"/>
                  </a:cubicBezTo>
                  <a:cubicBezTo>
                    <a:pt x="135411" y="10814"/>
                    <a:pt x="108691" y="-294"/>
                    <a:pt x="80769" y="6"/>
                  </a:cubicBezTo>
                  <a:moveTo>
                    <a:pt x="89776" y="234483"/>
                  </a:moveTo>
                  <a:lnTo>
                    <a:pt x="54950" y="234483"/>
                  </a:lnTo>
                  <a:lnTo>
                    <a:pt x="54950" y="55848"/>
                  </a:lnTo>
                  <a:lnTo>
                    <a:pt x="80469" y="55848"/>
                  </a:lnTo>
                  <a:cubicBezTo>
                    <a:pt x="93379" y="55548"/>
                    <a:pt x="105988" y="60952"/>
                    <a:pt x="114995" y="70259"/>
                  </a:cubicBezTo>
                  <a:cubicBezTo>
                    <a:pt x="124603" y="79266"/>
                    <a:pt x="129706" y="91575"/>
                    <a:pt x="129706" y="104485"/>
                  </a:cubicBezTo>
                  <a:lnTo>
                    <a:pt x="129706" y="194553"/>
                  </a:lnTo>
                  <a:cubicBezTo>
                    <a:pt x="129406" y="216169"/>
                    <a:pt x="111693" y="233582"/>
                    <a:pt x="90076" y="233882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13" name="Forme libre : forme 212">
              <a:extLst>
                <a:ext uri="{FF2B5EF4-FFF2-40B4-BE49-F238E27FC236}">
                  <a16:creationId xmlns:a16="http://schemas.microsoft.com/office/drawing/2014/main" id="{DEED5057-310C-4699-BC49-F273FA789151}"/>
                </a:ext>
              </a:extLst>
            </p:cNvPr>
            <p:cNvSpPr/>
            <p:nvPr/>
          </p:nvSpPr>
          <p:spPr>
            <a:xfrm>
              <a:off x="7680868" y="4369878"/>
              <a:ext cx="159120" cy="288217"/>
            </a:xfrm>
            <a:custGeom>
              <a:avLst/>
              <a:gdLst>
                <a:gd name="connsiteX0" fmla="*/ 143517 w 159120"/>
                <a:gd name="connsiteY0" fmla="*/ 233584 h 288217"/>
                <a:gd name="connsiteX1" fmla="*/ 53449 w 159120"/>
                <a:gd name="connsiteY1" fmla="*/ 233584 h 288217"/>
                <a:gd name="connsiteX2" fmla="*/ 53449 w 159120"/>
                <a:gd name="connsiteY2" fmla="*/ 163331 h 288217"/>
                <a:gd name="connsiteX3" fmla="*/ 127905 w 159120"/>
                <a:gd name="connsiteY3" fmla="*/ 163331 h 288217"/>
                <a:gd name="connsiteX4" fmla="*/ 145619 w 159120"/>
                <a:gd name="connsiteY4" fmla="*/ 145318 h 288217"/>
                <a:gd name="connsiteX5" fmla="*/ 145619 w 159120"/>
                <a:gd name="connsiteY5" fmla="*/ 144417 h 288217"/>
                <a:gd name="connsiteX6" fmla="*/ 145619 w 159120"/>
                <a:gd name="connsiteY6" fmla="*/ 125503 h 288217"/>
                <a:gd name="connsiteX7" fmla="*/ 129707 w 159120"/>
                <a:gd name="connsiteY7" fmla="*/ 106889 h 288217"/>
                <a:gd name="connsiteX8" fmla="*/ 127905 w 159120"/>
                <a:gd name="connsiteY8" fmla="*/ 106889 h 288217"/>
                <a:gd name="connsiteX9" fmla="*/ 53449 w 159120"/>
                <a:gd name="connsiteY9" fmla="*/ 106889 h 288217"/>
                <a:gd name="connsiteX10" fmla="*/ 53449 w 159120"/>
                <a:gd name="connsiteY10" fmla="*/ 54349 h 288217"/>
                <a:gd name="connsiteX11" fmla="*/ 140515 w 159120"/>
                <a:gd name="connsiteY11" fmla="*/ 54349 h 288217"/>
                <a:gd name="connsiteX12" fmla="*/ 158528 w 159120"/>
                <a:gd name="connsiteY12" fmla="*/ 36636 h 288217"/>
                <a:gd name="connsiteX13" fmla="*/ 158528 w 159120"/>
                <a:gd name="connsiteY13" fmla="*/ 35735 h 288217"/>
                <a:gd name="connsiteX14" fmla="*/ 158528 w 159120"/>
                <a:gd name="connsiteY14" fmla="*/ 18622 h 288217"/>
                <a:gd name="connsiteX15" fmla="*/ 141716 w 159120"/>
                <a:gd name="connsiteY15" fmla="*/ 8 h 288217"/>
                <a:gd name="connsiteX16" fmla="*/ 140515 w 159120"/>
                <a:gd name="connsiteY16" fmla="*/ 8 h 288217"/>
                <a:gd name="connsiteX17" fmla="*/ 17722 w 159120"/>
                <a:gd name="connsiteY17" fmla="*/ 8 h 288217"/>
                <a:gd name="connsiteX18" fmla="*/ 9 w 159120"/>
                <a:gd name="connsiteY18" fmla="*/ 17421 h 288217"/>
                <a:gd name="connsiteX19" fmla="*/ 9 w 159120"/>
                <a:gd name="connsiteY19" fmla="*/ 18622 h 288217"/>
                <a:gd name="connsiteX20" fmla="*/ 9 w 159120"/>
                <a:gd name="connsiteY20" fmla="*/ 271113 h 288217"/>
                <a:gd name="connsiteX21" fmla="*/ 16822 w 159120"/>
                <a:gd name="connsiteY21" fmla="*/ 289727 h 288217"/>
                <a:gd name="connsiteX22" fmla="*/ 18022 w 159120"/>
                <a:gd name="connsiteY22" fmla="*/ 289727 h 288217"/>
                <a:gd name="connsiteX23" fmla="*/ 143217 w 159120"/>
                <a:gd name="connsiteY23" fmla="*/ 289727 h 288217"/>
                <a:gd name="connsiteX24" fmla="*/ 161231 w 159120"/>
                <a:gd name="connsiteY24" fmla="*/ 272313 h 288217"/>
                <a:gd name="connsiteX25" fmla="*/ 161231 w 159120"/>
                <a:gd name="connsiteY25" fmla="*/ 271113 h 288217"/>
                <a:gd name="connsiteX26" fmla="*/ 161231 w 159120"/>
                <a:gd name="connsiteY26" fmla="*/ 252799 h 288217"/>
                <a:gd name="connsiteX27" fmla="*/ 144418 w 159120"/>
                <a:gd name="connsiteY27" fmla="*/ 234185 h 288217"/>
                <a:gd name="connsiteX28" fmla="*/ 143217 w 159120"/>
                <a:gd name="connsiteY28" fmla="*/ 234185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9120" h="288217">
                  <a:moveTo>
                    <a:pt x="143517" y="233584"/>
                  </a:moveTo>
                  <a:lnTo>
                    <a:pt x="53449" y="233584"/>
                  </a:lnTo>
                  <a:lnTo>
                    <a:pt x="53449" y="163331"/>
                  </a:lnTo>
                  <a:lnTo>
                    <a:pt x="127905" y="163331"/>
                  </a:lnTo>
                  <a:cubicBezTo>
                    <a:pt x="137513" y="163331"/>
                    <a:pt x="145619" y="155525"/>
                    <a:pt x="145619" y="145318"/>
                  </a:cubicBezTo>
                  <a:cubicBezTo>
                    <a:pt x="145619" y="145017"/>
                    <a:pt x="145619" y="144717"/>
                    <a:pt x="145619" y="144417"/>
                  </a:cubicBezTo>
                  <a:lnTo>
                    <a:pt x="145619" y="125503"/>
                  </a:lnTo>
                  <a:cubicBezTo>
                    <a:pt x="146219" y="115895"/>
                    <a:pt x="139014" y="107489"/>
                    <a:pt x="129707" y="106889"/>
                  </a:cubicBezTo>
                  <a:cubicBezTo>
                    <a:pt x="129106" y="106889"/>
                    <a:pt x="128506" y="106889"/>
                    <a:pt x="127905" y="106889"/>
                  </a:cubicBezTo>
                  <a:lnTo>
                    <a:pt x="53449" y="106889"/>
                  </a:lnTo>
                  <a:lnTo>
                    <a:pt x="53449" y="54349"/>
                  </a:lnTo>
                  <a:lnTo>
                    <a:pt x="140515" y="54349"/>
                  </a:lnTo>
                  <a:cubicBezTo>
                    <a:pt x="150422" y="54649"/>
                    <a:pt x="158528" y="46543"/>
                    <a:pt x="158528" y="36636"/>
                  </a:cubicBezTo>
                  <a:cubicBezTo>
                    <a:pt x="158528" y="36335"/>
                    <a:pt x="158528" y="36035"/>
                    <a:pt x="158528" y="35735"/>
                  </a:cubicBezTo>
                  <a:lnTo>
                    <a:pt x="158528" y="18622"/>
                  </a:lnTo>
                  <a:cubicBezTo>
                    <a:pt x="158829" y="8715"/>
                    <a:pt x="151323" y="308"/>
                    <a:pt x="141716" y="8"/>
                  </a:cubicBezTo>
                  <a:cubicBezTo>
                    <a:pt x="141416" y="8"/>
                    <a:pt x="140815" y="8"/>
                    <a:pt x="140515" y="8"/>
                  </a:cubicBezTo>
                  <a:lnTo>
                    <a:pt x="17722" y="8"/>
                  </a:lnTo>
                  <a:cubicBezTo>
                    <a:pt x="8115" y="-292"/>
                    <a:pt x="309" y="7814"/>
                    <a:pt x="9" y="17421"/>
                  </a:cubicBezTo>
                  <a:cubicBezTo>
                    <a:pt x="9" y="17721"/>
                    <a:pt x="9" y="18322"/>
                    <a:pt x="9" y="18622"/>
                  </a:cubicBezTo>
                  <a:lnTo>
                    <a:pt x="9" y="271113"/>
                  </a:lnTo>
                  <a:cubicBezTo>
                    <a:pt x="-291" y="281020"/>
                    <a:pt x="7214" y="289426"/>
                    <a:pt x="16822" y="289727"/>
                  </a:cubicBezTo>
                  <a:cubicBezTo>
                    <a:pt x="17122" y="289727"/>
                    <a:pt x="17722" y="289727"/>
                    <a:pt x="18022" y="289727"/>
                  </a:cubicBezTo>
                  <a:lnTo>
                    <a:pt x="143217" y="289727"/>
                  </a:lnTo>
                  <a:cubicBezTo>
                    <a:pt x="152824" y="290027"/>
                    <a:pt x="160930" y="282221"/>
                    <a:pt x="161231" y="272313"/>
                  </a:cubicBezTo>
                  <a:cubicBezTo>
                    <a:pt x="161231" y="272013"/>
                    <a:pt x="161231" y="271413"/>
                    <a:pt x="161231" y="271113"/>
                  </a:cubicBezTo>
                  <a:lnTo>
                    <a:pt x="161231" y="252799"/>
                  </a:lnTo>
                  <a:cubicBezTo>
                    <a:pt x="161531" y="242891"/>
                    <a:pt x="154025" y="234485"/>
                    <a:pt x="144418" y="234185"/>
                  </a:cubicBezTo>
                  <a:cubicBezTo>
                    <a:pt x="144118" y="234185"/>
                    <a:pt x="143517" y="234185"/>
                    <a:pt x="143217" y="234185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14" name="Forme libre : forme 213">
              <a:extLst>
                <a:ext uri="{FF2B5EF4-FFF2-40B4-BE49-F238E27FC236}">
                  <a16:creationId xmlns:a16="http://schemas.microsoft.com/office/drawing/2014/main" id="{9512A7EE-B270-4EAC-A2BB-03EECA786568}"/>
                </a:ext>
              </a:extLst>
            </p:cNvPr>
            <p:cNvSpPr/>
            <p:nvPr/>
          </p:nvSpPr>
          <p:spPr>
            <a:xfrm>
              <a:off x="7885323" y="4369575"/>
              <a:ext cx="219166" cy="288217"/>
            </a:xfrm>
            <a:custGeom>
              <a:avLst/>
              <a:gdLst>
                <a:gd name="connsiteX0" fmla="*/ 144418 w 219165"/>
                <a:gd name="connsiteY0" fmla="*/ 13221 h 288217"/>
                <a:gd name="connsiteX1" fmla="*/ 127305 w 219165"/>
                <a:gd name="connsiteY1" fmla="*/ 11 h 288217"/>
                <a:gd name="connsiteX2" fmla="*/ 94280 w 219165"/>
                <a:gd name="connsiteY2" fmla="*/ 11 h 288217"/>
                <a:gd name="connsiteX3" fmla="*/ 76867 w 219165"/>
                <a:gd name="connsiteY3" fmla="*/ 13221 h 288217"/>
                <a:gd name="connsiteX4" fmla="*/ 1510 w 219165"/>
                <a:gd name="connsiteY4" fmla="*/ 264211 h 288217"/>
                <a:gd name="connsiteX5" fmla="*/ 9 w 219165"/>
                <a:gd name="connsiteY5" fmla="*/ 271716 h 288217"/>
                <a:gd name="connsiteX6" fmla="*/ 17121 w 219165"/>
                <a:gd name="connsiteY6" fmla="*/ 290330 h 288217"/>
                <a:gd name="connsiteX7" fmla="*/ 18322 w 219165"/>
                <a:gd name="connsiteY7" fmla="*/ 290330 h 288217"/>
                <a:gd name="connsiteX8" fmla="*/ 36636 w 219165"/>
                <a:gd name="connsiteY8" fmla="*/ 290330 h 288217"/>
                <a:gd name="connsiteX9" fmla="*/ 54050 w 219165"/>
                <a:gd name="connsiteY9" fmla="*/ 277120 h 288217"/>
                <a:gd name="connsiteX10" fmla="*/ 76266 w 219165"/>
                <a:gd name="connsiteY10" fmla="*/ 203565 h 288217"/>
                <a:gd name="connsiteX11" fmla="*/ 144118 w 219165"/>
                <a:gd name="connsiteY11" fmla="*/ 203565 h 288217"/>
                <a:gd name="connsiteX12" fmla="*/ 166635 w 219165"/>
                <a:gd name="connsiteY12" fmla="*/ 277721 h 288217"/>
                <a:gd name="connsiteX13" fmla="*/ 166635 w 219165"/>
                <a:gd name="connsiteY13" fmla="*/ 278922 h 288217"/>
                <a:gd name="connsiteX14" fmla="*/ 183747 w 219165"/>
                <a:gd name="connsiteY14" fmla="*/ 290630 h 288217"/>
                <a:gd name="connsiteX15" fmla="*/ 202361 w 219165"/>
                <a:gd name="connsiteY15" fmla="*/ 290630 h 288217"/>
                <a:gd name="connsiteX16" fmla="*/ 220675 w 219165"/>
                <a:gd name="connsiteY16" fmla="*/ 272617 h 288217"/>
                <a:gd name="connsiteX17" fmla="*/ 220675 w 219165"/>
                <a:gd name="connsiteY17" fmla="*/ 272016 h 288217"/>
                <a:gd name="connsiteX18" fmla="*/ 219474 w 219165"/>
                <a:gd name="connsiteY18" fmla="*/ 265111 h 288217"/>
                <a:gd name="connsiteX19" fmla="*/ 144418 w 219165"/>
                <a:gd name="connsiteY19" fmla="*/ 13221 h 288217"/>
                <a:gd name="connsiteX20" fmla="*/ 131208 w 219165"/>
                <a:gd name="connsiteY20" fmla="*/ 147723 h 288217"/>
                <a:gd name="connsiteX21" fmla="*/ 90677 w 219165"/>
                <a:gd name="connsiteY21" fmla="*/ 147723 h 288217"/>
                <a:gd name="connsiteX22" fmla="*/ 110792 w 219165"/>
                <a:gd name="connsiteY22" fmla="*/ 78370 h 288217"/>
                <a:gd name="connsiteX23" fmla="*/ 131208 w 219165"/>
                <a:gd name="connsiteY23" fmla="*/ 147723 h 288217"/>
                <a:gd name="connsiteX24" fmla="*/ 131208 w 219165"/>
                <a:gd name="connsiteY24" fmla="*/ 147723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19165" h="288217">
                  <a:moveTo>
                    <a:pt x="144418" y="13221"/>
                  </a:moveTo>
                  <a:cubicBezTo>
                    <a:pt x="142316" y="5415"/>
                    <a:pt x="135111" y="11"/>
                    <a:pt x="127305" y="11"/>
                  </a:cubicBezTo>
                  <a:lnTo>
                    <a:pt x="94280" y="11"/>
                  </a:lnTo>
                  <a:cubicBezTo>
                    <a:pt x="86174" y="-289"/>
                    <a:pt x="78968" y="5415"/>
                    <a:pt x="76867" y="13221"/>
                  </a:cubicBezTo>
                  <a:lnTo>
                    <a:pt x="1510" y="264211"/>
                  </a:lnTo>
                  <a:cubicBezTo>
                    <a:pt x="309" y="266612"/>
                    <a:pt x="9" y="269014"/>
                    <a:pt x="9" y="271716"/>
                  </a:cubicBezTo>
                  <a:cubicBezTo>
                    <a:pt x="-292" y="281624"/>
                    <a:pt x="7214" y="290030"/>
                    <a:pt x="17121" y="290330"/>
                  </a:cubicBezTo>
                  <a:cubicBezTo>
                    <a:pt x="17422" y="290330"/>
                    <a:pt x="18022" y="290330"/>
                    <a:pt x="18322" y="290330"/>
                  </a:cubicBezTo>
                  <a:lnTo>
                    <a:pt x="36636" y="290330"/>
                  </a:lnTo>
                  <a:cubicBezTo>
                    <a:pt x="44742" y="290630"/>
                    <a:pt x="51948" y="285226"/>
                    <a:pt x="54050" y="277120"/>
                  </a:cubicBezTo>
                  <a:lnTo>
                    <a:pt x="76266" y="203565"/>
                  </a:lnTo>
                  <a:lnTo>
                    <a:pt x="144118" y="203565"/>
                  </a:lnTo>
                  <a:lnTo>
                    <a:pt x="166635" y="277721"/>
                  </a:lnTo>
                  <a:lnTo>
                    <a:pt x="166635" y="278922"/>
                  </a:lnTo>
                  <a:cubicBezTo>
                    <a:pt x="169337" y="286127"/>
                    <a:pt x="176242" y="290931"/>
                    <a:pt x="183747" y="290630"/>
                  </a:cubicBezTo>
                  <a:lnTo>
                    <a:pt x="202361" y="290630"/>
                  </a:lnTo>
                  <a:cubicBezTo>
                    <a:pt x="212269" y="290630"/>
                    <a:pt x="220375" y="282825"/>
                    <a:pt x="220675" y="272617"/>
                  </a:cubicBezTo>
                  <a:cubicBezTo>
                    <a:pt x="220675" y="272317"/>
                    <a:pt x="220675" y="272317"/>
                    <a:pt x="220675" y="272016"/>
                  </a:cubicBezTo>
                  <a:cubicBezTo>
                    <a:pt x="220675" y="269615"/>
                    <a:pt x="220375" y="267213"/>
                    <a:pt x="219474" y="265111"/>
                  </a:cubicBezTo>
                  <a:lnTo>
                    <a:pt x="144418" y="13221"/>
                  </a:lnTo>
                  <a:close/>
                  <a:moveTo>
                    <a:pt x="131208" y="147723"/>
                  </a:moveTo>
                  <a:lnTo>
                    <a:pt x="90677" y="147723"/>
                  </a:lnTo>
                  <a:lnTo>
                    <a:pt x="110792" y="78370"/>
                  </a:lnTo>
                  <a:lnTo>
                    <a:pt x="131208" y="147723"/>
                  </a:lnTo>
                  <a:lnTo>
                    <a:pt x="131208" y="147723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15" name="Forme libre : forme 214">
              <a:extLst>
                <a:ext uri="{FF2B5EF4-FFF2-40B4-BE49-F238E27FC236}">
                  <a16:creationId xmlns:a16="http://schemas.microsoft.com/office/drawing/2014/main" id="{C8657F07-6965-4D50-B54E-9456798336BC}"/>
                </a:ext>
              </a:extLst>
            </p:cNvPr>
            <p:cNvSpPr/>
            <p:nvPr/>
          </p:nvSpPr>
          <p:spPr>
            <a:xfrm>
              <a:off x="8147703" y="4369554"/>
              <a:ext cx="180136" cy="294222"/>
            </a:xfrm>
            <a:custGeom>
              <a:avLst/>
              <a:gdLst>
                <a:gd name="connsiteX0" fmla="*/ 161849 w 180136"/>
                <a:gd name="connsiteY0" fmla="*/ 32 h 294221"/>
                <a:gd name="connsiteX1" fmla="*/ 143835 w 180136"/>
                <a:gd name="connsiteY1" fmla="*/ 32 h 294221"/>
                <a:gd name="connsiteX2" fmla="*/ 125221 w 180136"/>
                <a:gd name="connsiteY2" fmla="*/ 17145 h 294221"/>
                <a:gd name="connsiteX3" fmla="*/ 125221 w 180136"/>
                <a:gd name="connsiteY3" fmla="*/ 19247 h 294221"/>
                <a:gd name="connsiteX4" fmla="*/ 125221 w 180136"/>
                <a:gd name="connsiteY4" fmla="*/ 203286 h 294221"/>
                <a:gd name="connsiteX5" fmla="*/ 115013 w 180136"/>
                <a:gd name="connsiteY5" fmla="*/ 228805 h 294221"/>
                <a:gd name="connsiteX6" fmla="*/ 64575 w 180136"/>
                <a:gd name="connsiteY6" fmla="*/ 227904 h 294221"/>
                <a:gd name="connsiteX7" fmla="*/ 54668 w 180136"/>
                <a:gd name="connsiteY7" fmla="*/ 203286 h 294221"/>
                <a:gd name="connsiteX8" fmla="*/ 54668 w 180136"/>
                <a:gd name="connsiteY8" fmla="*/ 19247 h 294221"/>
                <a:gd name="connsiteX9" fmla="*/ 38155 w 180136"/>
                <a:gd name="connsiteY9" fmla="*/ 633 h 294221"/>
                <a:gd name="connsiteX10" fmla="*/ 36354 w 180136"/>
                <a:gd name="connsiteY10" fmla="*/ 633 h 294221"/>
                <a:gd name="connsiteX11" fmla="*/ 18341 w 180136"/>
                <a:gd name="connsiteY11" fmla="*/ 633 h 294221"/>
                <a:gd name="connsiteX12" fmla="*/ 27 w 180136"/>
                <a:gd name="connsiteY12" fmla="*/ 18046 h 294221"/>
                <a:gd name="connsiteX13" fmla="*/ 27 w 180136"/>
                <a:gd name="connsiteY13" fmla="*/ 19247 h 294221"/>
                <a:gd name="connsiteX14" fmla="*/ 27 w 180136"/>
                <a:gd name="connsiteY14" fmla="*/ 203286 h 294221"/>
                <a:gd name="connsiteX15" fmla="*/ 26146 w 180136"/>
                <a:gd name="connsiteY15" fmla="*/ 268135 h 294221"/>
                <a:gd name="connsiteX16" fmla="*/ 153443 w 180136"/>
                <a:gd name="connsiteY16" fmla="*/ 268735 h 294221"/>
                <a:gd name="connsiteX17" fmla="*/ 154043 w 180136"/>
                <a:gd name="connsiteY17" fmla="*/ 268135 h 294221"/>
                <a:gd name="connsiteX18" fmla="*/ 180163 w 180136"/>
                <a:gd name="connsiteY18" fmla="*/ 203286 h 294221"/>
                <a:gd name="connsiteX19" fmla="*/ 180163 w 180136"/>
                <a:gd name="connsiteY19" fmla="*/ 18947 h 294221"/>
                <a:gd name="connsiteX20" fmla="*/ 163350 w 180136"/>
                <a:gd name="connsiteY20" fmla="*/ 333 h 294221"/>
                <a:gd name="connsiteX21" fmla="*/ 161549 w 180136"/>
                <a:gd name="connsiteY21" fmla="*/ 333 h 294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80136" h="294221">
                  <a:moveTo>
                    <a:pt x="161849" y="32"/>
                  </a:moveTo>
                  <a:lnTo>
                    <a:pt x="143835" y="32"/>
                  </a:lnTo>
                  <a:cubicBezTo>
                    <a:pt x="133928" y="-568"/>
                    <a:pt x="125521" y="7238"/>
                    <a:pt x="125221" y="17145"/>
                  </a:cubicBezTo>
                  <a:cubicBezTo>
                    <a:pt x="125221" y="17746"/>
                    <a:pt x="125221" y="18646"/>
                    <a:pt x="125221" y="19247"/>
                  </a:cubicBezTo>
                  <a:lnTo>
                    <a:pt x="125221" y="203286"/>
                  </a:lnTo>
                  <a:cubicBezTo>
                    <a:pt x="125521" y="212893"/>
                    <a:pt x="121919" y="222200"/>
                    <a:pt x="115013" y="228805"/>
                  </a:cubicBezTo>
                  <a:cubicBezTo>
                    <a:pt x="100903" y="242615"/>
                    <a:pt x="78086" y="242315"/>
                    <a:pt x="64575" y="227904"/>
                  </a:cubicBezTo>
                  <a:cubicBezTo>
                    <a:pt x="58271" y="221299"/>
                    <a:pt x="54668" y="212593"/>
                    <a:pt x="54668" y="203286"/>
                  </a:cubicBezTo>
                  <a:lnTo>
                    <a:pt x="54668" y="19247"/>
                  </a:lnTo>
                  <a:cubicBezTo>
                    <a:pt x="55268" y="9640"/>
                    <a:pt x="48063" y="1233"/>
                    <a:pt x="38155" y="633"/>
                  </a:cubicBezTo>
                  <a:cubicBezTo>
                    <a:pt x="37555" y="633"/>
                    <a:pt x="36954" y="633"/>
                    <a:pt x="36354" y="633"/>
                  </a:cubicBezTo>
                  <a:lnTo>
                    <a:pt x="18341" y="633"/>
                  </a:lnTo>
                  <a:cubicBezTo>
                    <a:pt x="8433" y="333"/>
                    <a:pt x="327" y="8139"/>
                    <a:pt x="27" y="18046"/>
                  </a:cubicBezTo>
                  <a:cubicBezTo>
                    <a:pt x="27" y="18346"/>
                    <a:pt x="27" y="18947"/>
                    <a:pt x="27" y="19247"/>
                  </a:cubicBezTo>
                  <a:lnTo>
                    <a:pt x="27" y="203286"/>
                  </a:lnTo>
                  <a:cubicBezTo>
                    <a:pt x="-574" y="227604"/>
                    <a:pt x="9033" y="251022"/>
                    <a:pt x="26146" y="268135"/>
                  </a:cubicBezTo>
                  <a:cubicBezTo>
                    <a:pt x="60973" y="303862"/>
                    <a:pt x="118016" y="304162"/>
                    <a:pt x="153443" y="268735"/>
                  </a:cubicBezTo>
                  <a:cubicBezTo>
                    <a:pt x="153743" y="268435"/>
                    <a:pt x="154043" y="268135"/>
                    <a:pt x="154043" y="268135"/>
                  </a:cubicBezTo>
                  <a:cubicBezTo>
                    <a:pt x="171156" y="251022"/>
                    <a:pt x="180463" y="227604"/>
                    <a:pt x="180163" y="203286"/>
                  </a:cubicBezTo>
                  <a:lnTo>
                    <a:pt x="180163" y="18947"/>
                  </a:lnTo>
                  <a:cubicBezTo>
                    <a:pt x="180763" y="9039"/>
                    <a:pt x="173257" y="933"/>
                    <a:pt x="163350" y="333"/>
                  </a:cubicBezTo>
                  <a:cubicBezTo>
                    <a:pt x="162750" y="333"/>
                    <a:pt x="162149" y="333"/>
                    <a:pt x="161549" y="333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16" name="Forme libre : forme 215">
              <a:extLst>
                <a:ext uri="{FF2B5EF4-FFF2-40B4-BE49-F238E27FC236}">
                  <a16:creationId xmlns:a16="http://schemas.microsoft.com/office/drawing/2014/main" id="{60216A88-A3CF-47E8-9E0D-9C03722A156E}"/>
                </a:ext>
              </a:extLst>
            </p:cNvPr>
            <p:cNvSpPr/>
            <p:nvPr/>
          </p:nvSpPr>
          <p:spPr>
            <a:xfrm>
              <a:off x="8374774" y="4369858"/>
              <a:ext cx="189143" cy="285215"/>
            </a:xfrm>
            <a:custGeom>
              <a:avLst/>
              <a:gdLst>
                <a:gd name="connsiteX0" fmla="*/ 124821 w 189142"/>
                <a:gd name="connsiteY0" fmla="*/ 143236 h 285215"/>
                <a:gd name="connsiteX1" fmla="*/ 187869 w 189142"/>
                <a:gd name="connsiteY1" fmla="*/ 25848 h 285215"/>
                <a:gd name="connsiteX2" fmla="*/ 189070 w 189142"/>
                <a:gd name="connsiteY2" fmla="*/ 22545 h 285215"/>
                <a:gd name="connsiteX3" fmla="*/ 185767 w 189142"/>
                <a:gd name="connsiteY3" fmla="*/ 6633 h 285215"/>
                <a:gd name="connsiteX4" fmla="*/ 171657 w 189142"/>
                <a:gd name="connsiteY4" fmla="*/ 28 h 285215"/>
                <a:gd name="connsiteX5" fmla="*/ 153343 w 189142"/>
                <a:gd name="connsiteY5" fmla="*/ 28 h 285215"/>
                <a:gd name="connsiteX6" fmla="*/ 137131 w 189142"/>
                <a:gd name="connsiteY6" fmla="*/ 10536 h 285215"/>
                <a:gd name="connsiteX7" fmla="*/ 94799 w 189142"/>
                <a:gd name="connsiteY7" fmla="*/ 88895 h 285215"/>
                <a:gd name="connsiteX8" fmla="*/ 52767 w 189142"/>
                <a:gd name="connsiteY8" fmla="*/ 11137 h 285215"/>
                <a:gd name="connsiteX9" fmla="*/ 36254 w 189142"/>
                <a:gd name="connsiteY9" fmla="*/ 28 h 285215"/>
                <a:gd name="connsiteX10" fmla="*/ 18241 w 189142"/>
                <a:gd name="connsiteY10" fmla="*/ 28 h 285215"/>
                <a:gd name="connsiteX11" fmla="*/ 3830 w 189142"/>
                <a:gd name="connsiteY11" fmla="*/ 6033 h 285215"/>
                <a:gd name="connsiteX12" fmla="*/ 828 w 189142"/>
                <a:gd name="connsiteY12" fmla="*/ 22545 h 285215"/>
                <a:gd name="connsiteX13" fmla="*/ 2028 w 189142"/>
                <a:gd name="connsiteY13" fmla="*/ 25848 h 285215"/>
                <a:gd name="connsiteX14" fmla="*/ 65076 w 189142"/>
                <a:gd name="connsiteY14" fmla="*/ 143236 h 285215"/>
                <a:gd name="connsiteX15" fmla="*/ 2028 w 189142"/>
                <a:gd name="connsiteY15" fmla="*/ 259724 h 285215"/>
                <a:gd name="connsiteX16" fmla="*/ 1128 w 189142"/>
                <a:gd name="connsiteY16" fmla="*/ 262126 h 285215"/>
                <a:gd name="connsiteX17" fmla="*/ 3530 w 189142"/>
                <a:gd name="connsiteY17" fmla="*/ 278939 h 285215"/>
                <a:gd name="connsiteX18" fmla="*/ 18541 w 189142"/>
                <a:gd name="connsiteY18" fmla="*/ 286144 h 285215"/>
                <a:gd name="connsiteX19" fmla="*/ 37155 w 189142"/>
                <a:gd name="connsiteY19" fmla="*/ 286144 h 285215"/>
                <a:gd name="connsiteX20" fmla="*/ 53367 w 189142"/>
                <a:gd name="connsiteY20" fmla="*/ 275036 h 285215"/>
                <a:gd name="connsiteX21" fmla="*/ 94799 w 189142"/>
                <a:gd name="connsiteY21" fmla="*/ 197877 h 285215"/>
                <a:gd name="connsiteX22" fmla="*/ 136230 w 189142"/>
                <a:gd name="connsiteY22" fmla="*/ 274735 h 285215"/>
                <a:gd name="connsiteX23" fmla="*/ 152742 w 189142"/>
                <a:gd name="connsiteY23" fmla="*/ 285844 h 285215"/>
                <a:gd name="connsiteX24" fmla="*/ 171356 w 189142"/>
                <a:gd name="connsiteY24" fmla="*/ 285844 h 285215"/>
                <a:gd name="connsiteX25" fmla="*/ 186068 w 189142"/>
                <a:gd name="connsiteY25" fmla="*/ 278638 h 285215"/>
                <a:gd name="connsiteX26" fmla="*/ 188469 w 189142"/>
                <a:gd name="connsiteY26" fmla="*/ 261225 h 285215"/>
                <a:gd name="connsiteX27" fmla="*/ 124821 w 189142"/>
                <a:gd name="connsiteY27" fmla="*/ 143236 h 285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89142" h="285215">
                  <a:moveTo>
                    <a:pt x="124821" y="143236"/>
                  </a:moveTo>
                  <a:lnTo>
                    <a:pt x="187869" y="25848"/>
                  </a:lnTo>
                  <a:lnTo>
                    <a:pt x="189070" y="22545"/>
                  </a:lnTo>
                  <a:cubicBezTo>
                    <a:pt x="190571" y="16841"/>
                    <a:pt x="189370" y="11137"/>
                    <a:pt x="185767" y="6633"/>
                  </a:cubicBezTo>
                  <a:cubicBezTo>
                    <a:pt x="182465" y="2430"/>
                    <a:pt x="177061" y="-272"/>
                    <a:pt x="171657" y="28"/>
                  </a:cubicBezTo>
                  <a:lnTo>
                    <a:pt x="153343" y="28"/>
                  </a:lnTo>
                  <a:cubicBezTo>
                    <a:pt x="146137" y="-272"/>
                    <a:pt x="139833" y="3931"/>
                    <a:pt x="137131" y="10536"/>
                  </a:cubicBezTo>
                  <a:lnTo>
                    <a:pt x="94799" y="88895"/>
                  </a:lnTo>
                  <a:lnTo>
                    <a:pt x="52767" y="11137"/>
                  </a:lnTo>
                  <a:cubicBezTo>
                    <a:pt x="50065" y="4231"/>
                    <a:pt x="43460" y="28"/>
                    <a:pt x="36254" y="28"/>
                  </a:cubicBezTo>
                  <a:lnTo>
                    <a:pt x="18241" y="28"/>
                  </a:lnTo>
                  <a:cubicBezTo>
                    <a:pt x="12837" y="-272"/>
                    <a:pt x="7433" y="1830"/>
                    <a:pt x="3830" y="6033"/>
                  </a:cubicBezTo>
                  <a:cubicBezTo>
                    <a:pt x="227" y="10836"/>
                    <a:pt x="-974" y="16841"/>
                    <a:pt x="828" y="22545"/>
                  </a:cubicBezTo>
                  <a:lnTo>
                    <a:pt x="2028" y="25848"/>
                  </a:lnTo>
                  <a:lnTo>
                    <a:pt x="65076" y="143236"/>
                  </a:lnTo>
                  <a:lnTo>
                    <a:pt x="2028" y="259724"/>
                  </a:lnTo>
                  <a:lnTo>
                    <a:pt x="1128" y="262126"/>
                  </a:lnTo>
                  <a:cubicBezTo>
                    <a:pt x="-673" y="267830"/>
                    <a:pt x="227" y="274135"/>
                    <a:pt x="3530" y="278939"/>
                  </a:cubicBezTo>
                  <a:cubicBezTo>
                    <a:pt x="7132" y="283742"/>
                    <a:pt x="12536" y="286144"/>
                    <a:pt x="18541" y="286144"/>
                  </a:cubicBezTo>
                  <a:lnTo>
                    <a:pt x="37155" y="286144"/>
                  </a:lnTo>
                  <a:cubicBezTo>
                    <a:pt x="44361" y="286144"/>
                    <a:pt x="50665" y="281941"/>
                    <a:pt x="53367" y="275036"/>
                  </a:cubicBezTo>
                  <a:lnTo>
                    <a:pt x="94799" y="197877"/>
                  </a:lnTo>
                  <a:lnTo>
                    <a:pt x="136230" y="274735"/>
                  </a:lnTo>
                  <a:cubicBezTo>
                    <a:pt x="138932" y="281641"/>
                    <a:pt x="145537" y="285844"/>
                    <a:pt x="152742" y="285844"/>
                  </a:cubicBezTo>
                  <a:lnTo>
                    <a:pt x="171356" y="285844"/>
                  </a:lnTo>
                  <a:cubicBezTo>
                    <a:pt x="177061" y="286144"/>
                    <a:pt x="182765" y="283442"/>
                    <a:pt x="186068" y="278638"/>
                  </a:cubicBezTo>
                  <a:cubicBezTo>
                    <a:pt x="189670" y="273534"/>
                    <a:pt x="190571" y="267230"/>
                    <a:pt x="188469" y="261225"/>
                  </a:cubicBezTo>
                  <a:lnTo>
                    <a:pt x="124821" y="143236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17" name="Forme libre : forme 216">
              <a:extLst>
                <a:ext uri="{FF2B5EF4-FFF2-40B4-BE49-F238E27FC236}">
                  <a16:creationId xmlns:a16="http://schemas.microsoft.com/office/drawing/2014/main" id="{1BBBC77A-F437-4C7C-8E02-4997379CE2FA}"/>
                </a:ext>
              </a:extLst>
            </p:cNvPr>
            <p:cNvSpPr/>
            <p:nvPr/>
          </p:nvSpPr>
          <p:spPr>
            <a:xfrm>
              <a:off x="7191198" y="4369210"/>
              <a:ext cx="186141" cy="288217"/>
            </a:xfrm>
            <a:custGeom>
              <a:avLst/>
              <a:gdLst>
                <a:gd name="connsiteX0" fmla="*/ 186149 w 186140"/>
                <a:gd name="connsiteY0" fmla="*/ 264275 h 288217"/>
                <a:gd name="connsiteX1" fmla="*/ 136612 w 186140"/>
                <a:gd name="connsiteY1" fmla="*/ 167903 h 288217"/>
                <a:gd name="connsiteX2" fmla="*/ 154025 w 186140"/>
                <a:gd name="connsiteY2" fmla="*/ 154693 h 288217"/>
                <a:gd name="connsiteX3" fmla="*/ 177443 w 186140"/>
                <a:gd name="connsiteY3" fmla="*/ 97049 h 288217"/>
                <a:gd name="connsiteX4" fmla="*/ 177443 w 186140"/>
                <a:gd name="connsiteY4" fmla="*/ 82038 h 288217"/>
                <a:gd name="connsiteX5" fmla="*/ 154626 w 186140"/>
                <a:gd name="connsiteY5" fmla="*/ 23794 h 288217"/>
                <a:gd name="connsiteX6" fmla="*/ 98183 w 186140"/>
                <a:gd name="connsiteY6" fmla="*/ 76 h 288217"/>
                <a:gd name="connsiteX7" fmla="*/ 18923 w 186140"/>
                <a:gd name="connsiteY7" fmla="*/ 76 h 288217"/>
                <a:gd name="connsiteX8" fmla="*/ 9 w 186140"/>
                <a:gd name="connsiteY8" fmla="*/ 16288 h 288217"/>
                <a:gd name="connsiteX9" fmla="*/ 9 w 186140"/>
                <a:gd name="connsiteY9" fmla="*/ 19290 h 288217"/>
                <a:gd name="connsiteX10" fmla="*/ 9 w 186140"/>
                <a:gd name="connsiteY10" fmla="*/ 271781 h 288217"/>
                <a:gd name="connsiteX11" fmla="*/ 16821 w 186140"/>
                <a:gd name="connsiteY11" fmla="*/ 290395 h 288217"/>
                <a:gd name="connsiteX12" fmla="*/ 18022 w 186140"/>
                <a:gd name="connsiteY12" fmla="*/ 290395 h 288217"/>
                <a:gd name="connsiteX13" fmla="*/ 36036 w 186140"/>
                <a:gd name="connsiteY13" fmla="*/ 290395 h 288217"/>
                <a:gd name="connsiteX14" fmla="*/ 54050 w 186140"/>
                <a:gd name="connsiteY14" fmla="*/ 272381 h 288217"/>
                <a:gd name="connsiteX15" fmla="*/ 54050 w 186140"/>
                <a:gd name="connsiteY15" fmla="*/ 271781 h 288217"/>
                <a:gd name="connsiteX16" fmla="*/ 54050 w 186140"/>
                <a:gd name="connsiteY16" fmla="*/ 178410 h 288217"/>
                <a:gd name="connsiteX17" fmla="*/ 83171 w 186140"/>
                <a:gd name="connsiteY17" fmla="*/ 178410 h 288217"/>
                <a:gd name="connsiteX18" fmla="*/ 133910 w 186140"/>
                <a:gd name="connsiteY18" fmla="*/ 278086 h 288217"/>
                <a:gd name="connsiteX19" fmla="*/ 150422 w 186140"/>
                <a:gd name="connsiteY19" fmla="*/ 289494 h 288217"/>
                <a:gd name="connsiteX20" fmla="*/ 169036 w 186140"/>
                <a:gd name="connsiteY20" fmla="*/ 289494 h 288217"/>
                <a:gd name="connsiteX21" fmla="*/ 183747 w 186140"/>
                <a:gd name="connsiteY21" fmla="*/ 282289 h 288217"/>
                <a:gd name="connsiteX22" fmla="*/ 186149 w 186140"/>
                <a:gd name="connsiteY22" fmla="*/ 265176 h 288217"/>
                <a:gd name="connsiteX23" fmla="*/ 186149 w 186140"/>
                <a:gd name="connsiteY23" fmla="*/ 265176 h 288217"/>
                <a:gd name="connsiteX24" fmla="*/ 123402 w 186140"/>
                <a:gd name="connsiteY24" fmla="*/ 83539 h 288217"/>
                <a:gd name="connsiteX25" fmla="*/ 123402 w 186140"/>
                <a:gd name="connsiteY25" fmla="*/ 97950 h 288217"/>
                <a:gd name="connsiteX26" fmla="*/ 97582 w 186140"/>
                <a:gd name="connsiteY26" fmla="*/ 124370 h 288217"/>
                <a:gd name="connsiteX27" fmla="*/ 54050 w 186140"/>
                <a:gd name="connsiteY27" fmla="*/ 124370 h 288217"/>
                <a:gd name="connsiteX28" fmla="*/ 54050 w 186140"/>
                <a:gd name="connsiteY28" fmla="*/ 56218 h 288217"/>
                <a:gd name="connsiteX29" fmla="*/ 97582 w 186140"/>
                <a:gd name="connsiteY29" fmla="*/ 56218 h 288217"/>
                <a:gd name="connsiteX30" fmla="*/ 115296 w 186140"/>
                <a:gd name="connsiteY30" fmla="*/ 63424 h 288217"/>
                <a:gd name="connsiteX31" fmla="*/ 123102 w 186140"/>
                <a:gd name="connsiteY31" fmla="*/ 82338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86140" h="288217">
                  <a:moveTo>
                    <a:pt x="186149" y="264275"/>
                  </a:moveTo>
                  <a:lnTo>
                    <a:pt x="136612" y="167903"/>
                  </a:lnTo>
                  <a:cubicBezTo>
                    <a:pt x="142917" y="164300"/>
                    <a:pt x="148621" y="159796"/>
                    <a:pt x="154025" y="154693"/>
                  </a:cubicBezTo>
                  <a:cubicBezTo>
                    <a:pt x="169337" y="139681"/>
                    <a:pt x="177743" y="118665"/>
                    <a:pt x="177443" y="97049"/>
                  </a:cubicBezTo>
                  <a:lnTo>
                    <a:pt x="177443" y="82038"/>
                  </a:lnTo>
                  <a:cubicBezTo>
                    <a:pt x="178043" y="60422"/>
                    <a:pt x="169637" y="39105"/>
                    <a:pt x="154626" y="23794"/>
                  </a:cubicBezTo>
                  <a:cubicBezTo>
                    <a:pt x="139914" y="8182"/>
                    <a:pt x="119499" y="-224"/>
                    <a:pt x="98183" y="76"/>
                  </a:cubicBezTo>
                  <a:lnTo>
                    <a:pt x="18923" y="76"/>
                  </a:lnTo>
                  <a:cubicBezTo>
                    <a:pt x="9316" y="-825"/>
                    <a:pt x="909" y="6381"/>
                    <a:pt x="9" y="16288"/>
                  </a:cubicBezTo>
                  <a:cubicBezTo>
                    <a:pt x="9" y="17189"/>
                    <a:pt x="9" y="18390"/>
                    <a:pt x="9" y="19290"/>
                  </a:cubicBezTo>
                  <a:lnTo>
                    <a:pt x="9" y="271781"/>
                  </a:lnTo>
                  <a:cubicBezTo>
                    <a:pt x="-292" y="281688"/>
                    <a:pt x="7214" y="290095"/>
                    <a:pt x="16821" y="290395"/>
                  </a:cubicBezTo>
                  <a:cubicBezTo>
                    <a:pt x="17122" y="290395"/>
                    <a:pt x="17722" y="290395"/>
                    <a:pt x="18022" y="290395"/>
                  </a:cubicBezTo>
                  <a:lnTo>
                    <a:pt x="36036" y="290395"/>
                  </a:lnTo>
                  <a:cubicBezTo>
                    <a:pt x="45943" y="290395"/>
                    <a:pt x="54050" y="282589"/>
                    <a:pt x="54050" y="272381"/>
                  </a:cubicBezTo>
                  <a:cubicBezTo>
                    <a:pt x="54050" y="272081"/>
                    <a:pt x="54050" y="272081"/>
                    <a:pt x="54050" y="271781"/>
                  </a:cubicBezTo>
                  <a:lnTo>
                    <a:pt x="54050" y="178410"/>
                  </a:lnTo>
                  <a:lnTo>
                    <a:pt x="83171" y="178410"/>
                  </a:lnTo>
                  <a:lnTo>
                    <a:pt x="133910" y="278086"/>
                  </a:lnTo>
                  <a:cubicBezTo>
                    <a:pt x="136612" y="284991"/>
                    <a:pt x="143217" y="289494"/>
                    <a:pt x="150422" y="289494"/>
                  </a:cubicBezTo>
                  <a:lnTo>
                    <a:pt x="169036" y="289494"/>
                  </a:lnTo>
                  <a:cubicBezTo>
                    <a:pt x="174741" y="289795"/>
                    <a:pt x="180445" y="287092"/>
                    <a:pt x="183747" y="282289"/>
                  </a:cubicBezTo>
                  <a:cubicBezTo>
                    <a:pt x="187350" y="277185"/>
                    <a:pt x="188251" y="270880"/>
                    <a:pt x="186149" y="265176"/>
                  </a:cubicBezTo>
                  <a:lnTo>
                    <a:pt x="186149" y="265176"/>
                  </a:lnTo>
                  <a:moveTo>
                    <a:pt x="123402" y="83539"/>
                  </a:moveTo>
                  <a:lnTo>
                    <a:pt x="123402" y="97950"/>
                  </a:lnTo>
                  <a:cubicBezTo>
                    <a:pt x="123402" y="112361"/>
                    <a:pt x="111693" y="124370"/>
                    <a:pt x="97582" y="124370"/>
                  </a:cubicBezTo>
                  <a:lnTo>
                    <a:pt x="54050" y="124370"/>
                  </a:lnTo>
                  <a:lnTo>
                    <a:pt x="54050" y="56218"/>
                  </a:lnTo>
                  <a:lnTo>
                    <a:pt x="97582" y="56218"/>
                  </a:lnTo>
                  <a:cubicBezTo>
                    <a:pt x="104187" y="55918"/>
                    <a:pt x="110492" y="58620"/>
                    <a:pt x="115296" y="63424"/>
                  </a:cubicBezTo>
                  <a:cubicBezTo>
                    <a:pt x="120400" y="68227"/>
                    <a:pt x="123402" y="75133"/>
                    <a:pt x="123102" y="82338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18" name="Forme libre : forme 217">
              <a:extLst>
                <a:ext uri="{FF2B5EF4-FFF2-40B4-BE49-F238E27FC236}">
                  <a16:creationId xmlns:a16="http://schemas.microsoft.com/office/drawing/2014/main" id="{3F1EC6FE-FFB0-464B-9BD6-8962B8DD5036}"/>
                </a:ext>
              </a:extLst>
            </p:cNvPr>
            <p:cNvSpPr/>
            <p:nvPr/>
          </p:nvSpPr>
          <p:spPr>
            <a:xfrm>
              <a:off x="6485374" y="4373489"/>
              <a:ext cx="60045" cy="120091"/>
            </a:xfrm>
            <a:custGeom>
              <a:avLst/>
              <a:gdLst>
                <a:gd name="connsiteX0" fmla="*/ 60045 w 60045"/>
                <a:gd name="connsiteY0" fmla="*/ 120391 h 120090"/>
                <a:gd name="connsiteX1" fmla="*/ 54641 w 60045"/>
                <a:gd name="connsiteY1" fmla="*/ 120391 h 120090"/>
                <a:gd name="connsiteX2" fmla="*/ 52840 w 60045"/>
                <a:gd name="connsiteY2" fmla="*/ 118589 h 120090"/>
                <a:gd name="connsiteX3" fmla="*/ 52840 w 60045"/>
                <a:gd name="connsiteY3" fmla="*/ 117088 h 120090"/>
                <a:gd name="connsiteX4" fmla="*/ 51039 w 60045"/>
                <a:gd name="connsiteY4" fmla="*/ 115287 h 120090"/>
                <a:gd name="connsiteX5" fmla="*/ 50138 w 60045"/>
                <a:gd name="connsiteY5" fmla="*/ 115287 h 120090"/>
                <a:gd name="connsiteX6" fmla="*/ 6605 w 60045"/>
                <a:gd name="connsiteY6" fmla="*/ 109583 h 120090"/>
                <a:gd name="connsiteX7" fmla="*/ 0 w 60045"/>
                <a:gd name="connsiteY7" fmla="*/ 90368 h 120090"/>
                <a:gd name="connsiteX8" fmla="*/ 0 w 60045"/>
                <a:gd name="connsiteY8" fmla="*/ 64549 h 120090"/>
                <a:gd name="connsiteX9" fmla="*/ 9007 w 60045"/>
                <a:gd name="connsiteY9" fmla="*/ 43233 h 120090"/>
                <a:gd name="connsiteX10" fmla="*/ 30923 w 60045"/>
                <a:gd name="connsiteY10" fmla="*/ 33926 h 120090"/>
                <a:gd name="connsiteX11" fmla="*/ 47136 w 60045"/>
                <a:gd name="connsiteY11" fmla="*/ 38729 h 120090"/>
                <a:gd name="connsiteX12" fmla="*/ 48336 w 60045"/>
                <a:gd name="connsiteY12" fmla="*/ 38729 h 120090"/>
                <a:gd name="connsiteX13" fmla="*/ 49838 w 60045"/>
                <a:gd name="connsiteY13" fmla="*/ 37228 h 120090"/>
                <a:gd name="connsiteX14" fmla="*/ 49838 w 60045"/>
                <a:gd name="connsiteY14" fmla="*/ 1801 h 120090"/>
                <a:gd name="connsiteX15" fmla="*/ 51039 w 60045"/>
                <a:gd name="connsiteY15" fmla="*/ 0 h 120090"/>
                <a:gd name="connsiteX16" fmla="*/ 51639 w 60045"/>
                <a:gd name="connsiteY16" fmla="*/ 0 h 120090"/>
                <a:gd name="connsiteX17" fmla="*/ 60045 w 60045"/>
                <a:gd name="connsiteY17" fmla="*/ 0 h 120090"/>
                <a:gd name="connsiteX18" fmla="*/ 61546 w 60045"/>
                <a:gd name="connsiteY18" fmla="*/ 1801 h 120090"/>
                <a:gd name="connsiteX19" fmla="*/ 61546 w 60045"/>
                <a:gd name="connsiteY19" fmla="*/ 118589 h 120090"/>
                <a:gd name="connsiteX20" fmla="*/ 60045 w 60045"/>
                <a:gd name="connsiteY20" fmla="*/ 120391 h 120090"/>
                <a:gd name="connsiteX21" fmla="*/ 49838 w 60045"/>
                <a:gd name="connsiteY21" fmla="*/ 65449 h 120090"/>
                <a:gd name="connsiteX22" fmla="*/ 44133 w 60045"/>
                <a:gd name="connsiteY22" fmla="*/ 51639 h 120090"/>
                <a:gd name="connsiteX23" fmla="*/ 17113 w 60045"/>
                <a:gd name="connsiteY23" fmla="*/ 51639 h 120090"/>
                <a:gd name="connsiteX24" fmla="*/ 11409 w 60045"/>
                <a:gd name="connsiteY24" fmla="*/ 65449 h 120090"/>
                <a:gd name="connsiteX25" fmla="*/ 11409 w 60045"/>
                <a:gd name="connsiteY25" fmla="*/ 91269 h 120090"/>
                <a:gd name="connsiteX26" fmla="*/ 16813 w 60045"/>
                <a:gd name="connsiteY26" fmla="*/ 105379 h 120090"/>
                <a:gd name="connsiteX27" fmla="*/ 30623 w 60045"/>
                <a:gd name="connsiteY27" fmla="*/ 111084 h 120090"/>
                <a:gd name="connsiteX28" fmla="*/ 44133 w 60045"/>
                <a:gd name="connsiteY28" fmla="*/ 105379 h 120090"/>
                <a:gd name="connsiteX29" fmla="*/ 49838 w 60045"/>
                <a:gd name="connsiteY29" fmla="*/ 91269 h 120090"/>
                <a:gd name="connsiteX30" fmla="*/ 49838 w 60045"/>
                <a:gd name="connsiteY30" fmla="*/ 65449 h 120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60045" h="120090">
                  <a:moveTo>
                    <a:pt x="60045" y="120391"/>
                  </a:moveTo>
                  <a:lnTo>
                    <a:pt x="54641" y="120391"/>
                  </a:lnTo>
                  <a:cubicBezTo>
                    <a:pt x="53440" y="120391"/>
                    <a:pt x="52840" y="119490"/>
                    <a:pt x="52840" y="118589"/>
                  </a:cubicBezTo>
                  <a:lnTo>
                    <a:pt x="52840" y="117088"/>
                  </a:lnTo>
                  <a:cubicBezTo>
                    <a:pt x="52840" y="115587"/>
                    <a:pt x="52239" y="115287"/>
                    <a:pt x="51039" y="115287"/>
                  </a:cubicBezTo>
                  <a:cubicBezTo>
                    <a:pt x="49838" y="115287"/>
                    <a:pt x="50138" y="115287"/>
                    <a:pt x="50138" y="115287"/>
                  </a:cubicBezTo>
                  <a:cubicBezTo>
                    <a:pt x="36628" y="126095"/>
                    <a:pt x="17113" y="123693"/>
                    <a:pt x="6605" y="109583"/>
                  </a:cubicBezTo>
                  <a:cubicBezTo>
                    <a:pt x="2402" y="104179"/>
                    <a:pt x="0" y="97273"/>
                    <a:pt x="0" y="90368"/>
                  </a:cubicBezTo>
                  <a:lnTo>
                    <a:pt x="0" y="64549"/>
                  </a:lnTo>
                  <a:cubicBezTo>
                    <a:pt x="0" y="56443"/>
                    <a:pt x="3302" y="48937"/>
                    <a:pt x="9007" y="43233"/>
                  </a:cubicBezTo>
                  <a:cubicBezTo>
                    <a:pt x="14711" y="36928"/>
                    <a:pt x="22517" y="33625"/>
                    <a:pt x="30923" y="33926"/>
                  </a:cubicBezTo>
                  <a:cubicBezTo>
                    <a:pt x="36628" y="33926"/>
                    <a:pt x="42332" y="35427"/>
                    <a:pt x="47136" y="38729"/>
                  </a:cubicBezTo>
                  <a:lnTo>
                    <a:pt x="48336" y="38729"/>
                  </a:lnTo>
                  <a:cubicBezTo>
                    <a:pt x="49537" y="38729"/>
                    <a:pt x="49838" y="38729"/>
                    <a:pt x="49838" y="37228"/>
                  </a:cubicBezTo>
                  <a:lnTo>
                    <a:pt x="49838" y="1801"/>
                  </a:lnTo>
                  <a:cubicBezTo>
                    <a:pt x="49537" y="901"/>
                    <a:pt x="50138" y="300"/>
                    <a:pt x="51039" y="0"/>
                  </a:cubicBezTo>
                  <a:cubicBezTo>
                    <a:pt x="51339" y="0"/>
                    <a:pt x="51339" y="0"/>
                    <a:pt x="51639" y="0"/>
                  </a:cubicBezTo>
                  <a:lnTo>
                    <a:pt x="60045" y="0"/>
                  </a:lnTo>
                  <a:cubicBezTo>
                    <a:pt x="61246" y="0"/>
                    <a:pt x="61546" y="0"/>
                    <a:pt x="61546" y="1801"/>
                  </a:cubicBezTo>
                  <a:lnTo>
                    <a:pt x="61546" y="118589"/>
                  </a:lnTo>
                  <a:cubicBezTo>
                    <a:pt x="61546" y="119790"/>
                    <a:pt x="61546" y="120691"/>
                    <a:pt x="60045" y="120391"/>
                  </a:cubicBezTo>
                  <a:moveTo>
                    <a:pt x="49838" y="65449"/>
                  </a:moveTo>
                  <a:cubicBezTo>
                    <a:pt x="50138" y="60346"/>
                    <a:pt x="48036" y="55242"/>
                    <a:pt x="44133" y="51639"/>
                  </a:cubicBezTo>
                  <a:cubicBezTo>
                    <a:pt x="36628" y="43833"/>
                    <a:pt x="24619" y="44133"/>
                    <a:pt x="17113" y="51639"/>
                  </a:cubicBezTo>
                  <a:cubicBezTo>
                    <a:pt x="13510" y="55242"/>
                    <a:pt x="11409" y="60346"/>
                    <a:pt x="11409" y="65449"/>
                  </a:cubicBezTo>
                  <a:lnTo>
                    <a:pt x="11409" y="91269"/>
                  </a:lnTo>
                  <a:cubicBezTo>
                    <a:pt x="11409" y="96673"/>
                    <a:pt x="13210" y="101777"/>
                    <a:pt x="16813" y="105379"/>
                  </a:cubicBezTo>
                  <a:cubicBezTo>
                    <a:pt x="20415" y="109282"/>
                    <a:pt x="25219" y="111084"/>
                    <a:pt x="30623" y="111084"/>
                  </a:cubicBezTo>
                  <a:cubicBezTo>
                    <a:pt x="35727" y="111084"/>
                    <a:pt x="40531" y="108982"/>
                    <a:pt x="44133" y="105379"/>
                  </a:cubicBezTo>
                  <a:cubicBezTo>
                    <a:pt x="47736" y="101777"/>
                    <a:pt x="49838" y="96673"/>
                    <a:pt x="49838" y="91269"/>
                  </a:cubicBezTo>
                  <a:lnTo>
                    <a:pt x="49838" y="65449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19" name="Forme libre : forme 218">
              <a:extLst>
                <a:ext uri="{FF2B5EF4-FFF2-40B4-BE49-F238E27FC236}">
                  <a16:creationId xmlns:a16="http://schemas.microsoft.com/office/drawing/2014/main" id="{C68CE9AA-6FB7-44DB-BE11-BD8AF474D231}"/>
                </a:ext>
              </a:extLst>
            </p:cNvPr>
            <p:cNvSpPr/>
            <p:nvPr/>
          </p:nvSpPr>
          <p:spPr>
            <a:xfrm>
              <a:off x="6570319" y="4403924"/>
              <a:ext cx="57043" cy="93070"/>
            </a:xfrm>
            <a:custGeom>
              <a:avLst/>
              <a:gdLst>
                <a:gd name="connsiteX0" fmla="*/ 56762 w 57043"/>
                <a:gd name="connsiteY0" fmla="*/ 52728 h 93070"/>
                <a:gd name="connsiteX1" fmla="*/ 12929 w 57043"/>
                <a:gd name="connsiteY1" fmla="*/ 52728 h 93070"/>
                <a:gd name="connsiteX2" fmla="*/ 11127 w 57043"/>
                <a:gd name="connsiteY2" fmla="*/ 54229 h 93070"/>
                <a:gd name="connsiteX3" fmla="*/ 11127 w 57043"/>
                <a:gd name="connsiteY3" fmla="*/ 54529 h 93070"/>
                <a:gd name="connsiteX4" fmla="*/ 11127 w 57043"/>
                <a:gd name="connsiteY4" fmla="*/ 59933 h 93070"/>
                <a:gd name="connsiteX5" fmla="*/ 16832 w 57043"/>
                <a:gd name="connsiteY5" fmla="*/ 74644 h 93070"/>
                <a:gd name="connsiteX6" fmla="*/ 30642 w 57043"/>
                <a:gd name="connsiteY6" fmla="*/ 80949 h 93070"/>
                <a:gd name="connsiteX7" fmla="*/ 48956 w 57043"/>
                <a:gd name="connsiteY7" fmla="*/ 74644 h 93070"/>
                <a:gd name="connsiteX8" fmla="*/ 51057 w 57043"/>
                <a:gd name="connsiteY8" fmla="*/ 74644 h 93070"/>
                <a:gd name="connsiteX9" fmla="*/ 51057 w 57043"/>
                <a:gd name="connsiteY9" fmla="*/ 74644 h 93070"/>
                <a:gd name="connsiteX10" fmla="*/ 55861 w 57043"/>
                <a:gd name="connsiteY10" fmla="*/ 82150 h 93070"/>
                <a:gd name="connsiteX11" fmla="*/ 56161 w 57043"/>
                <a:gd name="connsiteY11" fmla="*/ 84552 h 93070"/>
                <a:gd name="connsiteX12" fmla="*/ 55861 w 57043"/>
                <a:gd name="connsiteY12" fmla="*/ 84852 h 93070"/>
                <a:gd name="connsiteX13" fmla="*/ 30942 w 57043"/>
                <a:gd name="connsiteY13" fmla="*/ 93558 h 93070"/>
                <a:gd name="connsiteX14" fmla="*/ 9026 w 57043"/>
                <a:gd name="connsiteY14" fmla="*/ 83651 h 93070"/>
                <a:gd name="connsiteX15" fmla="*/ 19 w 57043"/>
                <a:gd name="connsiteY15" fmla="*/ 59633 h 93070"/>
                <a:gd name="connsiteX16" fmla="*/ 19 w 57043"/>
                <a:gd name="connsiteY16" fmla="*/ 32012 h 93070"/>
                <a:gd name="connsiteX17" fmla="*/ 8725 w 57043"/>
                <a:gd name="connsiteY17" fmla="*/ 9195 h 93070"/>
                <a:gd name="connsiteX18" fmla="*/ 50457 w 57043"/>
                <a:gd name="connsiteY18" fmla="*/ 9495 h 93070"/>
                <a:gd name="connsiteX19" fmla="*/ 58863 w 57043"/>
                <a:gd name="connsiteY19" fmla="*/ 32012 h 93070"/>
                <a:gd name="connsiteX20" fmla="*/ 58863 w 57043"/>
                <a:gd name="connsiteY20" fmla="*/ 50626 h 93070"/>
                <a:gd name="connsiteX21" fmla="*/ 56762 w 57043"/>
                <a:gd name="connsiteY21" fmla="*/ 52728 h 93070"/>
                <a:gd name="connsiteX22" fmla="*/ 46854 w 57043"/>
                <a:gd name="connsiteY22" fmla="*/ 32312 h 93070"/>
                <a:gd name="connsiteX23" fmla="*/ 41750 w 57043"/>
                <a:gd name="connsiteY23" fmla="*/ 18802 h 93070"/>
                <a:gd name="connsiteX24" fmla="*/ 29141 w 57043"/>
                <a:gd name="connsiteY24" fmla="*/ 13398 h 93070"/>
                <a:gd name="connsiteX25" fmla="*/ 16531 w 57043"/>
                <a:gd name="connsiteY25" fmla="*/ 18802 h 93070"/>
                <a:gd name="connsiteX26" fmla="*/ 11127 w 57043"/>
                <a:gd name="connsiteY26" fmla="*/ 32312 h 93070"/>
                <a:gd name="connsiteX27" fmla="*/ 11127 w 57043"/>
                <a:gd name="connsiteY27" fmla="*/ 38017 h 93070"/>
                <a:gd name="connsiteX28" fmla="*/ 12328 w 57043"/>
                <a:gd name="connsiteY28" fmla="*/ 40118 h 93070"/>
                <a:gd name="connsiteX29" fmla="*/ 12628 w 57043"/>
                <a:gd name="connsiteY29" fmla="*/ 40118 h 93070"/>
                <a:gd name="connsiteX30" fmla="*/ 44452 w 57043"/>
                <a:gd name="connsiteY30" fmla="*/ 40118 h 93070"/>
                <a:gd name="connsiteX31" fmla="*/ 45954 w 57043"/>
                <a:gd name="connsiteY31" fmla="*/ 38017 h 93070"/>
                <a:gd name="connsiteX32" fmla="*/ 46854 w 57043"/>
                <a:gd name="connsiteY32" fmla="*/ 32312 h 93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57043" h="93070">
                  <a:moveTo>
                    <a:pt x="56762" y="52728"/>
                  </a:moveTo>
                  <a:lnTo>
                    <a:pt x="12929" y="52728"/>
                  </a:lnTo>
                  <a:cubicBezTo>
                    <a:pt x="12028" y="52728"/>
                    <a:pt x="11127" y="53328"/>
                    <a:pt x="11127" y="54229"/>
                  </a:cubicBezTo>
                  <a:cubicBezTo>
                    <a:pt x="11127" y="54229"/>
                    <a:pt x="11127" y="54529"/>
                    <a:pt x="11127" y="54529"/>
                  </a:cubicBezTo>
                  <a:lnTo>
                    <a:pt x="11127" y="59933"/>
                  </a:lnTo>
                  <a:cubicBezTo>
                    <a:pt x="11127" y="65637"/>
                    <a:pt x="13229" y="70741"/>
                    <a:pt x="16832" y="74644"/>
                  </a:cubicBezTo>
                  <a:cubicBezTo>
                    <a:pt x="20434" y="78547"/>
                    <a:pt x="25238" y="80949"/>
                    <a:pt x="30642" y="80949"/>
                  </a:cubicBezTo>
                  <a:cubicBezTo>
                    <a:pt x="37247" y="80949"/>
                    <a:pt x="43552" y="78847"/>
                    <a:pt x="48956" y="74644"/>
                  </a:cubicBezTo>
                  <a:cubicBezTo>
                    <a:pt x="49556" y="74044"/>
                    <a:pt x="50457" y="74044"/>
                    <a:pt x="51057" y="74644"/>
                  </a:cubicBezTo>
                  <a:cubicBezTo>
                    <a:pt x="51057" y="74644"/>
                    <a:pt x="51057" y="74644"/>
                    <a:pt x="51057" y="74644"/>
                  </a:cubicBezTo>
                  <a:lnTo>
                    <a:pt x="55861" y="82150"/>
                  </a:lnTo>
                  <a:cubicBezTo>
                    <a:pt x="56461" y="82750"/>
                    <a:pt x="56762" y="83651"/>
                    <a:pt x="56161" y="84552"/>
                  </a:cubicBezTo>
                  <a:cubicBezTo>
                    <a:pt x="56161" y="84552"/>
                    <a:pt x="55861" y="84852"/>
                    <a:pt x="55861" y="84852"/>
                  </a:cubicBezTo>
                  <a:cubicBezTo>
                    <a:pt x="48656" y="90556"/>
                    <a:pt x="39949" y="93558"/>
                    <a:pt x="30942" y="93558"/>
                  </a:cubicBezTo>
                  <a:cubicBezTo>
                    <a:pt x="22836" y="93558"/>
                    <a:pt x="14730" y="89956"/>
                    <a:pt x="9026" y="83651"/>
                  </a:cubicBezTo>
                  <a:cubicBezTo>
                    <a:pt x="3021" y="77346"/>
                    <a:pt x="-281" y="68640"/>
                    <a:pt x="19" y="59633"/>
                  </a:cubicBezTo>
                  <a:lnTo>
                    <a:pt x="19" y="32012"/>
                  </a:lnTo>
                  <a:cubicBezTo>
                    <a:pt x="19" y="23606"/>
                    <a:pt x="3021" y="15199"/>
                    <a:pt x="8725" y="9195"/>
                  </a:cubicBezTo>
                  <a:cubicBezTo>
                    <a:pt x="20434" y="-3115"/>
                    <a:pt x="39048" y="-3115"/>
                    <a:pt x="50457" y="9495"/>
                  </a:cubicBezTo>
                  <a:cubicBezTo>
                    <a:pt x="55861" y="15500"/>
                    <a:pt x="58863" y="23606"/>
                    <a:pt x="58863" y="32012"/>
                  </a:cubicBezTo>
                  <a:lnTo>
                    <a:pt x="58863" y="50626"/>
                  </a:lnTo>
                  <a:cubicBezTo>
                    <a:pt x="58863" y="52127"/>
                    <a:pt x="58863" y="52728"/>
                    <a:pt x="56762" y="52728"/>
                  </a:cubicBezTo>
                  <a:moveTo>
                    <a:pt x="46854" y="32312"/>
                  </a:moveTo>
                  <a:cubicBezTo>
                    <a:pt x="46854" y="27208"/>
                    <a:pt x="45053" y="22405"/>
                    <a:pt x="41750" y="18802"/>
                  </a:cubicBezTo>
                  <a:cubicBezTo>
                    <a:pt x="38448" y="15199"/>
                    <a:pt x="33944" y="13098"/>
                    <a:pt x="29141" y="13398"/>
                  </a:cubicBezTo>
                  <a:cubicBezTo>
                    <a:pt x="24337" y="13098"/>
                    <a:pt x="19834" y="15199"/>
                    <a:pt x="16531" y="18802"/>
                  </a:cubicBezTo>
                  <a:cubicBezTo>
                    <a:pt x="12929" y="22405"/>
                    <a:pt x="11127" y="27208"/>
                    <a:pt x="11127" y="32312"/>
                  </a:cubicBezTo>
                  <a:lnTo>
                    <a:pt x="11127" y="38017"/>
                  </a:lnTo>
                  <a:cubicBezTo>
                    <a:pt x="11127" y="38917"/>
                    <a:pt x="11728" y="39818"/>
                    <a:pt x="12328" y="40118"/>
                  </a:cubicBezTo>
                  <a:cubicBezTo>
                    <a:pt x="12328" y="40118"/>
                    <a:pt x="12628" y="40118"/>
                    <a:pt x="12628" y="40118"/>
                  </a:cubicBezTo>
                  <a:lnTo>
                    <a:pt x="44452" y="40118"/>
                  </a:lnTo>
                  <a:cubicBezTo>
                    <a:pt x="45653" y="40118"/>
                    <a:pt x="45954" y="39217"/>
                    <a:pt x="45954" y="38017"/>
                  </a:cubicBezTo>
                  <a:lnTo>
                    <a:pt x="46854" y="32312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20" name="Forme libre : forme 219">
              <a:extLst>
                <a:ext uri="{FF2B5EF4-FFF2-40B4-BE49-F238E27FC236}">
                  <a16:creationId xmlns:a16="http://schemas.microsoft.com/office/drawing/2014/main" id="{E6D00E63-D41E-4543-A013-A2A8C6E88E13}"/>
                </a:ext>
              </a:extLst>
            </p:cNvPr>
            <p:cNvSpPr/>
            <p:nvPr/>
          </p:nvSpPr>
          <p:spPr>
            <a:xfrm>
              <a:off x="5951546" y="4012317"/>
              <a:ext cx="195147" cy="288217"/>
            </a:xfrm>
            <a:custGeom>
              <a:avLst/>
              <a:gdLst>
                <a:gd name="connsiteX0" fmla="*/ 190368 w 195147"/>
                <a:gd name="connsiteY0" fmla="*/ 0 h 288217"/>
                <a:gd name="connsiteX1" fmla="*/ 161847 w 195147"/>
                <a:gd name="connsiteY1" fmla="*/ 0 h 288217"/>
                <a:gd name="connsiteX2" fmla="*/ 156443 w 195147"/>
                <a:gd name="connsiteY2" fmla="*/ 5404 h 288217"/>
                <a:gd name="connsiteX3" fmla="*/ 156443 w 195147"/>
                <a:gd name="connsiteY3" fmla="*/ 190344 h 288217"/>
                <a:gd name="connsiteX4" fmla="*/ 138729 w 195147"/>
                <a:gd name="connsiteY4" fmla="*/ 231775 h 288217"/>
                <a:gd name="connsiteX5" fmla="*/ 98199 w 195147"/>
                <a:gd name="connsiteY5" fmla="*/ 248888 h 288217"/>
                <a:gd name="connsiteX6" fmla="*/ 57067 w 195147"/>
                <a:gd name="connsiteY6" fmla="*/ 231775 h 288217"/>
                <a:gd name="connsiteX7" fmla="*/ 39955 w 195147"/>
                <a:gd name="connsiteY7" fmla="*/ 190344 h 288217"/>
                <a:gd name="connsiteX8" fmla="*/ 39955 w 195147"/>
                <a:gd name="connsiteY8" fmla="*/ 131499 h 288217"/>
                <a:gd name="connsiteX9" fmla="*/ 24 w 195147"/>
                <a:gd name="connsiteY9" fmla="*/ 147711 h 288217"/>
                <a:gd name="connsiteX10" fmla="*/ 24 w 195147"/>
                <a:gd name="connsiteY10" fmla="*/ 190644 h 288217"/>
                <a:gd name="connsiteX11" fmla="*/ 28546 w 195147"/>
                <a:gd name="connsiteY11" fmla="*/ 260597 h 288217"/>
                <a:gd name="connsiteX12" fmla="*/ 98199 w 195147"/>
                <a:gd name="connsiteY12" fmla="*/ 290019 h 288217"/>
                <a:gd name="connsiteX13" fmla="*/ 167251 w 195147"/>
                <a:gd name="connsiteY13" fmla="*/ 260296 h 288217"/>
                <a:gd name="connsiteX14" fmla="*/ 196373 w 195147"/>
                <a:gd name="connsiteY14" fmla="*/ 190344 h 288217"/>
                <a:gd name="connsiteX15" fmla="*/ 196373 w 195147"/>
                <a:gd name="connsiteY15" fmla="*/ 5404 h 288217"/>
                <a:gd name="connsiteX16" fmla="*/ 190368 w 195147"/>
                <a:gd name="connsiteY16" fmla="*/ 0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147" h="288217">
                  <a:moveTo>
                    <a:pt x="190368" y="0"/>
                  </a:moveTo>
                  <a:lnTo>
                    <a:pt x="161847" y="0"/>
                  </a:lnTo>
                  <a:cubicBezTo>
                    <a:pt x="157944" y="0"/>
                    <a:pt x="156443" y="1501"/>
                    <a:pt x="156443" y="5404"/>
                  </a:cubicBezTo>
                  <a:lnTo>
                    <a:pt x="156443" y="190344"/>
                  </a:lnTo>
                  <a:cubicBezTo>
                    <a:pt x="156443" y="205955"/>
                    <a:pt x="150138" y="220967"/>
                    <a:pt x="138729" y="231775"/>
                  </a:cubicBezTo>
                  <a:cubicBezTo>
                    <a:pt x="128221" y="243183"/>
                    <a:pt x="113510" y="249188"/>
                    <a:pt x="98199" y="248888"/>
                  </a:cubicBezTo>
                  <a:cubicBezTo>
                    <a:pt x="82587" y="249188"/>
                    <a:pt x="67575" y="243183"/>
                    <a:pt x="57067" y="231775"/>
                  </a:cubicBezTo>
                  <a:cubicBezTo>
                    <a:pt x="45959" y="220967"/>
                    <a:pt x="39654" y="205955"/>
                    <a:pt x="39955" y="190344"/>
                  </a:cubicBezTo>
                  <a:lnTo>
                    <a:pt x="39955" y="131499"/>
                  </a:lnTo>
                  <a:lnTo>
                    <a:pt x="24" y="147711"/>
                  </a:lnTo>
                  <a:lnTo>
                    <a:pt x="24" y="190644"/>
                  </a:lnTo>
                  <a:cubicBezTo>
                    <a:pt x="-576" y="216763"/>
                    <a:pt x="9932" y="241982"/>
                    <a:pt x="28546" y="260597"/>
                  </a:cubicBezTo>
                  <a:cubicBezTo>
                    <a:pt x="46860" y="279511"/>
                    <a:pt x="71779" y="290019"/>
                    <a:pt x="98199" y="290019"/>
                  </a:cubicBezTo>
                  <a:cubicBezTo>
                    <a:pt x="124318" y="290019"/>
                    <a:pt x="149237" y="279511"/>
                    <a:pt x="167251" y="260296"/>
                  </a:cubicBezTo>
                  <a:cubicBezTo>
                    <a:pt x="186165" y="241982"/>
                    <a:pt x="196673" y="216763"/>
                    <a:pt x="196373" y="190344"/>
                  </a:cubicBezTo>
                  <a:lnTo>
                    <a:pt x="196373" y="5404"/>
                  </a:lnTo>
                  <a:cubicBezTo>
                    <a:pt x="196073" y="1501"/>
                    <a:pt x="193971" y="0"/>
                    <a:pt x="190368" y="0"/>
                  </a:cubicBez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21" name="Forme libre : forme 220">
              <a:extLst>
                <a:ext uri="{FF2B5EF4-FFF2-40B4-BE49-F238E27FC236}">
                  <a16:creationId xmlns:a16="http://schemas.microsoft.com/office/drawing/2014/main" id="{C2474F43-3D6B-46AC-B182-F0307C87AE93}"/>
                </a:ext>
              </a:extLst>
            </p:cNvPr>
            <p:cNvSpPr/>
            <p:nvPr/>
          </p:nvSpPr>
          <p:spPr>
            <a:xfrm>
              <a:off x="6234678" y="3999143"/>
              <a:ext cx="198150" cy="288217"/>
            </a:xfrm>
            <a:custGeom>
              <a:avLst/>
              <a:gdLst>
                <a:gd name="connsiteX0" fmla="*/ 192452 w 198149"/>
                <a:gd name="connsiteY0" fmla="*/ 289382 h 288217"/>
                <a:gd name="connsiteX1" fmla="*/ 164230 w 198149"/>
                <a:gd name="connsiteY1" fmla="*/ 289382 h 288217"/>
                <a:gd name="connsiteX2" fmla="*/ 158226 w 198149"/>
                <a:gd name="connsiteY2" fmla="*/ 284578 h 288217"/>
                <a:gd name="connsiteX3" fmla="*/ 158226 w 198149"/>
                <a:gd name="connsiteY3" fmla="*/ 283377 h 288217"/>
                <a:gd name="connsiteX4" fmla="*/ 158226 w 198149"/>
                <a:gd name="connsiteY4" fmla="*/ 98438 h 288217"/>
                <a:gd name="connsiteX5" fmla="*/ 140813 w 198149"/>
                <a:gd name="connsiteY5" fmla="*/ 57307 h 288217"/>
                <a:gd name="connsiteX6" fmla="*/ 57950 w 198149"/>
                <a:gd name="connsiteY6" fmla="*/ 57006 h 288217"/>
                <a:gd name="connsiteX7" fmla="*/ 57650 w 198149"/>
                <a:gd name="connsiteY7" fmla="*/ 57307 h 288217"/>
                <a:gd name="connsiteX8" fmla="*/ 41137 w 198149"/>
                <a:gd name="connsiteY8" fmla="*/ 98438 h 288217"/>
                <a:gd name="connsiteX9" fmla="*/ 41137 w 198149"/>
                <a:gd name="connsiteY9" fmla="*/ 283377 h 288217"/>
                <a:gd name="connsiteX10" fmla="*/ 36634 w 198149"/>
                <a:gd name="connsiteY10" fmla="*/ 289382 h 288217"/>
                <a:gd name="connsiteX11" fmla="*/ 34833 w 198149"/>
                <a:gd name="connsiteY11" fmla="*/ 289382 h 288217"/>
                <a:gd name="connsiteX12" fmla="*/ 6011 w 198149"/>
                <a:gd name="connsiteY12" fmla="*/ 289382 h 288217"/>
                <a:gd name="connsiteX13" fmla="*/ 6 w 198149"/>
                <a:gd name="connsiteY13" fmla="*/ 284578 h 288217"/>
                <a:gd name="connsiteX14" fmla="*/ 6 w 198149"/>
                <a:gd name="connsiteY14" fmla="*/ 283377 h 288217"/>
                <a:gd name="connsiteX15" fmla="*/ 6 w 198149"/>
                <a:gd name="connsiteY15" fmla="*/ 98438 h 288217"/>
                <a:gd name="connsiteX16" fmla="*/ 29428 w 198149"/>
                <a:gd name="connsiteY16" fmla="*/ 28785 h 288217"/>
                <a:gd name="connsiteX17" fmla="*/ 168734 w 198149"/>
                <a:gd name="connsiteY17" fmla="*/ 28185 h 288217"/>
                <a:gd name="connsiteX18" fmla="*/ 169334 w 198149"/>
                <a:gd name="connsiteY18" fmla="*/ 28785 h 288217"/>
                <a:gd name="connsiteX19" fmla="*/ 198456 w 198149"/>
                <a:gd name="connsiteY19" fmla="*/ 98438 h 288217"/>
                <a:gd name="connsiteX20" fmla="*/ 198456 w 198149"/>
                <a:gd name="connsiteY20" fmla="*/ 283377 h 288217"/>
                <a:gd name="connsiteX21" fmla="*/ 193352 w 198149"/>
                <a:gd name="connsiteY21" fmla="*/ 289382 h 288217"/>
                <a:gd name="connsiteX22" fmla="*/ 192452 w 198149"/>
                <a:gd name="connsiteY22" fmla="*/ 289382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8149" h="288217">
                  <a:moveTo>
                    <a:pt x="192452" y="289382"/>
                  </a:moveTo>
                  <a:lnTo>
                    <a:pt x="164230" y="289382"/>
                  </a:lnTo>
                  <a:cubicBezTo>
                    <a:pt x="161228" y="289682"/>
                    <a:pt x="158526" y="287580"/>
                    <a:pt x="158226" y="284578"/>
                  </a:cubicBezTo>
                  <a:cubicBezTo>
                    <a:pt x="158226" y="284278"/>
                    <a:pt x="158226" y="283677"/>
                    <a:pt x="158226" y="283377"/>
                  </a:cubicBezTo>
                  <a:lnTo>
                    <a:pt x="158226" y="98438"/>
                  </a:lnTo>
                  <a:cubicBezTo>
                    <a:pt x="158526" y="82826"/>
                    <a:pt x="152221" y="68115"/>
                    <a:pt x="140813" y="57307"/>
                  </a:cubicBezTo>
                  <a:cubicBezTo>
                    <a:pt x="117995" y="34490"/>
                    <a:pt x="80767" y="34490"/>
                    <a:pt x="57950" y="57006"/>
                  </a:cubicBezTo>
                  <a:cubicBezTo>
                    <a:pt x="57950" y="57006"/>
                    <a:pt x="57650" y="57307"/>
                    <a:pt x="57650" y="57307"/>
                  </a:cubicBezTo>
                  <a:cubicBezTo>
                    <a:pt x="46842" y="68115"/>
                    <a:pt x="40837" y="83126"/>
                    <a:pt x="41137" y="98438"/>
                  </a:cubicBezTo>
                  <a:lnTo>
                    <a:pt x="41137" y="283377"/>
                  </a:lnTo>
                  <a:cubicBezTo>
                    <a:pt x="41738" y="286380"/>
                    <a:pt x="39636" y="289082"/>
                    <a:pt x="36634" y="289382"/>
                  </a:cubicBezTo>
                  <a:cubicBezTo>
                    <a:pt x="36033" y="289382"/>
                    <a:pt x="35433" y="289382"/>
                    <a:pt x="34833" y="289382"/>
                  </a:cubicBezTo>
                  <a:lnTo>
                    <a:pt x="6011" y="289382"/>
                  </a:lnTo>
                  <a:cubicBezTo>
                    <a:pt x="3009" y="289682"/>
                    <a:pt x="306" y="287580"/>
                    <a:pt x="6" y="284578"/>
                  </a:cubicBezTo>
                  <a:cubicBezTo>
                    <a:pt x="6" y="284278"/>
                    <a:pt x="6" y="283677"/>
                    <a:pt x="6" y="283377"/>
                  </a:cubicBezTo>
                  <a:lnTo>
                    <a:pt x="6" y="98438"/>
                  </a:lnTo>
                  <a:cubicBezTo>
                    <a:pt x="-294" y="72318"/>
                    <a:pt x="10214" y="47099"/>
                    <a:pt x="29428" y="28785"/>
                  </a:cubicBezTo>
                  <a:cubicBezTo>
                    <a:pt x="67858" y="-9344"/>
                    <a:pt x="130004" y="-9644"/>
                    <a:pt x="168734" y="28185"/>
                  </a:cubicBezTo>
                  <a:cubicBezTo>
                    <a:pt x="169034" y="28485"/>
                    <a:pt x="169034" y="28485"/>
                    <a:pt x="169334" y="28785"/>
                  </a:cubicBezTo>
                  <a:cubicBezTo>
                    <a:pt x="188248" y="47099"/>
                    <a:pt x="198756" y="72318"/>
                    <a:pt x="198456" y="98438"/>
                  </a:cubicBezTo>
                  <a:lnTo>
                    <a:pt x="198456" y="283377"/>
                  </a:lnTo>
                  <a:cubicBezTo>
                    <a:pt x="198756" y="286380"/>
                    <a:pt x="196355" y="289082"/>
                    <a:pt x="193352" y="289382"/>
                  </a:cubicBezTo>
                  <a:cubicBezTo>
                    <a:pt x="193052" y="289382"/>
                    <a:pt x="192752" y="289382"/>
                    <a:pt x="192452" y="289382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22" name="Forme libre : forme 221">
              <a:extLst>
                <a:ext uri="{FF2B5EF4-FFF2-40B4-BE49-F238E27FC236}">
                  <a16:creationId xmlns:a16="http://schemas.microsoft.com/office/drawing/2014/main" id="{14932DF6-990E-43CA-A33B-4AC8AB12DE70}"/>
                </a:ext>
              </a:extLst>
            </p:cNvPr>
            <p:cNvSpPr/>
            <p:nvPr/>
          </p:nvSpPr>
          <p:spPr>
            <a:xfrm>
              <a:off x="6523803" y="4111091"/>
              <a:ext cx="39029" cy="177134"/>
            </a:xfrm>
            <a:custGeom>
              <a:avLst/>
              <a:gdLst>
                <a:gd name="connsiteX0" fmla="*/ 39930 w 39029"/>
                <a:gd name="connsiteY0" fmla="*/ 37528 h 177133"/>
                <a:gd name="connsiteX1" fmla="*/ 39930 w 39029"/>
                <a:gd name="connsiteY1" fmla="*/ 173231 h 177133"/>
                <a:gd name="connsiteX2" fmla="*/ 34826 w 39029"/>
                <a:gd name="connsiteY2" fmla="*/ 179235 h 177133"/>
                <a:gd name="connsiteX3" fmla="*/ 33625 w 39029"/>
                <a:gd name="connsiteY3" fmla="*/ 179235 h 177133"/>
                <a:gd name="connsiteX4" fmla="*/ 6005 w 39029"/>
                <a:gd name="connsiteY4" fmla="*/ 179235 h 177133"/>
                <a:gd name="connsiteX5" fmla="*/ 0 w 39029"/>
                <a:gd name="connsiteY5" fmla="*/ 174732 h 177133"/>
                <a:gd name="connsiteX6" fmla="*/ 0 w 39029"/>
                <a:gd name="connsiteY6" fmla="*/ 172930 h 177133"/>
                <a:gd name="connsiteX7" fmla="*/ 0 w 39029"/>
                <a:gd name="connsiteY7" fmla="*/ 0 h 177133"/>
                <a:gd name="connsiteX8" fmla="*/ 39930 w 39029"/>
                <a:gd name="connsiteY8" fmla="*/ 37528 h 177133"/>
                <a:gd name="connsiteX9" fmla="*/ 39930 w 39029"/>
                <a:gd name="connsiteY9" fmla="*/ 37528 h 177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029" h="177133">
                  <a:moveTo>
                    <a:pt x="39930" y="37528"/>
                  </a:moveTo>
                  <a:lnTo>
                    <a:pt x="39930" y="173231"/>
                  </a:lnTo>
                  <a:cubicBezTo>
                    <a:pt x="40230" y="176233"/>
                    <a:pt x="38129" y="178935"/>
                    <a:pt x="34826" y="179235"/>
                  </a:cubicBezTo>
                  <a:cubicBezTo>
                    <a:pt x="34526" y="179235"/>
                    <a:pt x="34226" y="179235"/>
                    <a:pt x="33625" y="179235"/>
                  </a:cubicBezTo>
                  <a:lnTo>
                    <a:pt x="6005" y="179235"/>
                  </a:lnTo>
                  <a:cubicBezTo>
                    <a:pt x="3002" y="179836"/>
                    <a:pt x="300" y="177734"/>
                    <a:pt x="0" y="174732"/>
                  </a:cubicBezTo>
                  <a:cubicBezTo>
                    <a:pt x="0" y="174131"/>
                    <a:pt x="0" y="173531"/>
                    <a:pt x="0" y="172930"/>
                  </a:cubicBezTo>
                  <a:lnTo>
                    <a:pt x="0" y="0"/>
                  </a:lnTo>
                  <a:lnTo>
                    <a:pt x="39930" y="37528"/>
                  </a:lnTo>
                  <a:lnTo>
                    <a:pt x="39930" y="37528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23" name="Forme libre : forme 222">
              <a:extLst>
                <a:ext uri="{FF2B5EF4-FFF2-40B4-BE49-F238E27FC236}">
                  <a16:creationId xmlns:a16="http://schemas.microsoft.com/office/drawing/2014/main" id="{6CD20DC9-0C34-4C92-8BE4-482DC8087033}"/>
                </a:ext>
              </a:extLst>
            </p:cNvPr>
            <p:cNvSpPr/>
            <p:nvPr/>
          </p:nvSpPr>
          <p:spPr>
            <a:xfrm>
              <a:off x="6624477" y="4006913"/>
              <a:ext cx="192145" cy="282213"/>
            </a:xfrm>
            <a:custGeom>
              <a:avLst/>
              <a:gdLst>
                <a:gd name="connsiteX0" fmla="*/ 193248 w 192145"/>
                <a:gd name="connsiteY0" fmla="*/ 117989 h 282212"/>
                <a:gd name="connsiteX1" fmla="*/ 135004 w 192145"/>
                <a:gd name="connsiteY1" fmla="*/ 277709 h 282212"/>
                <a:gd name="connsiteX2" fmla="*/ 128699 w 192145"/>
                <a:gd name="connsiteY2" fmla="*/ 282813 h 282212"/>
                <a:gd name="connsiteX3" fmla="*/ 105882 w 192145"/>
                <a:gd name="connsiteY3" fmla="*/ 282813 h 282212"/>
                <a:gd name="connsiteX4" fmla="*/ 99577 w 192145"/>
                <a:gd name="connsiteY4" fmla="*/ 277709 h 282212"/>
                <a:gd name="connsiteX5" fmla="*/ 803 w 192145"/>
                <a:gd name="connsiteY5" fmla="*/ 8406 h 282212"/>
                <a:gd name="connsiteX6" fmla="*/ 6207 w 192145"/>
                <a:gd name="connsiteY6" fmla="*/ 0 h 282212"/>
                <a:gd name="connsiteX7" fmla="*/ 36230 w 192145"/>
                <a:gd name="connsiteY7" fmla="*/ 0 h 282212"/>
                <a:gd name="connsiteX8" fmla="*/ 43435 w 192145"/>
                <a:gd name="connsiteY8" fmla="*/ 5704 h 282212"/>
                <a:gd name="connsiteX9" fmla="*/ 112787 w 192145"/>
                <a:gd name="connsiteY9" fmla="*/ 195447 h 282212"/>
                <a:gd name="connsiteX10" fmla="*/ 116690 w 192145"/>
                <a:gd name="connsiteY10" fmla="*/ 198149 h 282212"/>
                <a:gd name="connsiteX11" fmla="*/ 121194 w 192145"/>
                <a:gd name="connsiteY11" fmla="*/ 195447 h 282212"/>
                <a:gd name="connsiteX12" fmla="*/ 167128 w 192145"/>
                <a:gd name="connsiteY12" fmla="*/ 69953 h 282212"/>
                <a:gd name="connsiteX13" fmla="*/ 193248 w 192145"/>
                <a:gd name="connsiteY13" fmla="*/ 117989 h 282212"/>
                <a:gd name="connsiteX14" fmla="*/ 193248 w 192145"/>
                <a:gd name="connsiteY14" fmla="*/ 117989 h 282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2145" h="282212">
                  <a:moveTo>
                    <a:pt x="193248" y="117989"/>
                  </a:moveTo>
                  <a:lnTo>
                    <a:pt x="135004" y="277709"/>
                  </a:lnTo>
                  <a:cubicBezTo>
                    <a:pt x="134404" y="280712"/>
                    <a:pt x="131702" y="282813"/>
                    <a:pt x="128699" y="282813"/>
                  </a:cubicBezTo>
                  <a:lnTo>
                    <a:pt x="105882" y="282813"/>
                  </a:lnTo>
                  <a:cubicBezTo>
                    <a:pt x="102580" y="282813"/>
                    <a:pt x="100778" y="281012"/>
                    <a:pt x="99577" y="277709"/>
                  </a:cubicBezTo>
                  <a:lnTo>
                    <a:pt x="803" y="8406"/>
                  </a:lnTo>
                  <a:cubicBezTo>
                    <a:pt x="-1299" y="3002"/>
                    <a:pt x="803" y="0"/>
                    <a:pt x="6207" y="0"/>
                  </a:cubicBezTo>
                  <a:lnTo>
                    <a:pt x="36230" y="0"/>
                  </a:lnTo>
                  <a:cubicBezTo>
                    <a:pt x="39832" y="0"/>
                    <a:pt x="42835" y="2402"/>
                    <a:pt x="43435" y="5704"/>
                  </a:cubicBezTo>
                  <a:lnTo>
                    <a:pt x="112787" y="195447"/>
                  </a:lnTo>
                  <a:cubicBezTo>
                    <a:pt x="113088" y="197249"/>
                    <a:pt x="114889" y="198450"/>
                    <a:pt x="116690" y="198149"/>
                  </a:cubicBezTo>
                  <a:cubicBezTo>
                    <a:pt x="118792" y="198450"/>
                    <a:pt x="120593" y="197249"/>
                    <a:pt x="121194" y="195447"/>
                  </a:cubicBezTo>
                  <a:lnTo>
                    <a:pt x="167128" y="69953"/>
                  </a:lnTo>
                  <a:lnTo>
                    <a:pt x="193248" y="117989"/>
                  </a:lnTo>
                  <a:lnTo>
                    <a:pt x="193248" y="117989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24" name="Forme libre : forme 223">
              <a:extLst>
                <a:ext uri="{FF2B5EF4-FFF2-40B4-BE49-F238E27FC236}">
                  <a16:creationId xmlns:a16="http://schemas.microsoft.com/office/drawing/2014/main" id="{94C7CC29-813D-4EE1-848B-FE490AB95F14}"/>
                </a:ext>
              </a:extLst>
            </p:cNvPr>
            <p:cNvSpPr/>
            <p:nvPr/>
          </p:nvSpPr>
          <p:spPr>
            <a:xfrm>
              <a:off x="6902066" y="3999101"/>
              <a:ext cx="201152" cy="297224"/>
            </a:xfrm>
            <a:custGeom>
              <a:avLst/>
              <a:gdLst>
                <a:gd name="connsiteX0" fmla="*/ 197872 w 201151"/>
                <a:gd name="connsiteY0" fmla="*/ 166632 h 297224"/>
                <a:gd name="connsiteX1" fmla="*/ 47158 w 201151"/>
                <a:gd name="connsiteY1" fmla="*/ 166632 h 297224"/>
                <a:gd name="connsiteX2" fmla="*/ 40853 w 201151"/>
                <a:gd name="connsiteY2" fmla="*/ 171736 h 297224"/>
                <a:gd name="connsiteX3" fmla="*/ 40853 w 201151"/>
                <a:gd name="connsiteY3" fmla="*/ 172937 h 297224"/>
                <a:gd name="connsiteX4" fmla="*/ 40853 w 201151"/>
                <a:gd name="connsiteY4" fmla="*/ 190049 h 297224"/>
                <a:gd name="connsiteX5" fmla="*/ 60368 w 201151"/>
                <a:gd name="connsiteY5" fmla="*/ 237185 h 297224"/>
                <a:gd name="connsiteX6" fmla="*/ 106903 w 201151"/>
                <a:gd name="connsiteY6" fmla="*/ 257000 h 297224"/>
                <a:gd name="connsiteX7" fmla="*/ 170251 w 201151"/>
                <a:gd name="connsiteY7" fmla="*/ 237185 h 297224"/>
                <a:gd name="connsiteX8" fmla="*/ 177156 w 201151"/>
                <a:gd name="connsiteY8" fmla="*/ 237185 h 297224"/>
                <a:gd name="connsiteX9" fmla="*/ 178057 w 201151"/>
                <a:gd name="connsiteY9" fmla="*/ 238386 h 297224"/>
                <a:gd name="connsiteX10" fmla="*/ 194570 w 201151"/>
                <a:gd name="connsiteY10" fmla="*/ 262404 h 297224"/>
                <a:gd name="connsiteX11" fmla="*/ 194269 w 201151"/>
                <a:gd name="connsiteY11" fmla="*/ 269609 h 297224"/>
                <a:gd name="connsiteX12" fmla="*/ 193068 w 201151"/>
                <a:gd name="connsiteY12" fmla="*/ 270510 h 297224"/>
                <a:gd name="connsiteX13" fmla="*/ 107204 w 201151"/>
                <a:gd name="connsiteY13" fmla="*/ 298131 h 297224"/>
                <a:gd name="connsiteX14" fmla="*/ 31546 w 201151"/>
                <a:gd name="connsiteY14" fmla="*/ 266607 h 297224"/>
                <a:gd name="connsiteX15" fmla="*/ 23 w 201151"/>
                <a:gd name="connsiteY15" fmla="*/ 190950 h 297224"/>
                <a:gd name="connsiteX16" fmla="*/ 23 w 201151"/>
                <a:gd name="connsiteY16" fmla="*/ 101483 h 297224"/>
                <a:gd name="connsiteX17" fmla="*/ 101499 w 201151"/>
                <a:gd name="connsiteY17" fmla="*/ 6 h 297224"/>
                <a:gd name="connsiteX18" fmla="*/ 173554 w 201151"/>
                <a:gd name="connsiteY18" fmla="*/ 30029 h 297224"/>
                <a:gd name="connsiteX19" fmla="*/ 202976 w 201151"/>
                <a:gd name="connsiteY19" fmla="*/ 101483 h 297224"/>
                <a:gd name="connsiteX20" fmla="*/ 202976 w 201151"/>
                <a:gd name="connsiteY20" fmla="*/ 160627 h 297224"/>
                <a:gd name="connsiteX21" fmla="*/ 197272 w 201151"/>
                <a:gd name="connsiteY21" fmla="*/ 166632 h 297224"/>
                <a:gd name="connsiteX22" fmla="*/ 162445 w 201151"/>
                <a:gd name="connsiteY22" fmla="*/ 101783 h 297224"/>
                <a:gd name="connsiteX23" fmla="*/ 102400 w 201151"/>
                <a:gd name="connsiteY23" fmla="*/ 40837 h 297224"/>
                <a:gd name="connsiteX24" fmla="*/ 101499 w 201151"/>
                <a:gd name="connsiteY24" fmla="*/ 40837 h 297224"/>
                <a:gd name="connsiteX25" fmla="*/ 58867 w 201151"/>
                <a:gd name="connsiteY25" fmla="*/ 58550 h 297224"/>
                <a:gd name="connsiteX26" fmla="*/ 41454 w 201151"/>
                <a:gd name="connsiteY26" fmla="*/ 101483 h 297224"/>
                <a:gd name="connsiteX27" fmla="*/ 41454 w 201151"/>
                <a:gd name="connsiteY27" fmla="*/ 120397 h 297224"/>
                <a:gd name="connsiteX28" fmla="*/ 46558 w 201151"/>
                <a:gd name="connsiteY28" fmla="*/ 126401 h 297224"/>
                <a:gd name="connsiteX29" fmla="*/ 47759 w 201151"/>
                <a:gd name="connsiteY29" fmla="*/ 126401 h 297224"/>
                <a:gd name="connsiteX30" fmla="*/ 157942 w 201151"/>
                <a:gd name="connsiteY30" fmla="*/ 126401 h 297224"/>
                <a:gd name="connsiteX31" fmla="*/ 163346 w 201151"/>
                <a:gd name="connsiteY31" fmla="*/ 120397 h 297224"/>
                <a:gd name="connsiteX32" fmla="*/ 162445 w 201151"/>
                <a:gd name="connsiteY32" fmla="*/ 101783 h 297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1151" h="297224">
                  <a:moveTo>
                    <a:pt x="197872" y="166632"/>
                  </a:moveTo>
                  <a:lnTo>
                    <a:pt x="47158" y="166632"/>
                  </a:lnTo>
                  <a:cubicBezTo>
                    <a:pt x="44156" y="166332"/>
                    <a:pt x="41154" y="168433"/>
                    <a:pt x="40853" y="171736"/>
                  </a:cubicBezTo>
                  <a:cubicBezTo>
                    <a:pt x="40853" y="172036"/>
                    <a:pt x="40853" y="172336"/>
                    <a:pt x="40853" y="172937"/>
                  </a:cubicBezTo>
                  <a:lnTo>
                    <a:pt x="40853" y="190049"/>
                  </a:lnTo>
                  <a:cubicBezTo>
                    <a:pt x="40553" y="207763"/>
                    <a:pt x="47458" y="224876"/>
                    <a:pt x="60368" y="237185"/>
                  </a:cubicBezTo>
                  <a:cubicBezTo>
                    <a:pt x="72377" y="249794"/>
                    <a:pt x="89490" y="257000"/>
                    <a:pt x="106903" y="257000"/>
                  </a:cubicBezTo>
                  <a:cubicBezTo>
                    <a:pt x="129420" y="257300"/>
                    <a:pt x="151637" y="250095"/>
                    <a:pt x="170251" y="237185"/>
                  </a:cubicBezTo>
                  <a:cubicBezTo>
                    <a:pt x="172053" y="235384"/>
                    <a:pt x="175055" y="235384"/>
                    <a:pt x="177156" y="237185"/>
                  </a:cubicBezTo>
                  <a:cubicBezTo>
                    <a:pt x="177457" y="237485"/>
                    <a:pt x="177757" y="237785"/>
                    <a:pt x="178057" y="238386"/>
                  </a:cubicBezTo>
                  <a:lnTo>
                    <a:pt x="194570" y="262404"/>
                  </a:lnTo>
                  <a:cubicBezTo>
                    <a:pt x="196671" y="264506"/>
                    <a:pt x="196371" y="267808"/>
                    <a:pt x="194269" y="269609"/>
                  </a:cubicBezTo>
                  <a:cubicBezTo>
                    <a:pt x="193969" y="269910"/>
                    <a:pt x="193369" y="270210"/>
                    <a:pt x="193068" y="270510"/>
                  </a:cubicBezTo>
                  <a:cubicBezTo>
                    <a:pt x="168150" y="288824"/>
                    <a:pt x="138127" y="298431"/>
                    <a:pt x="107204" y="298131"/>
                  </a:cubicBezTo>
                  <a:cubicBezTo>
                    <a:pt x="78682" y="298431"/>
                    <a:pt x="51361" y="287023"/>
                    <a:pt x="31546" y="266607"/>
                  </a:cubicBezTo>
                  <a:cubicBezTo>
                    <a:pt x="10831" y="246792"/>
                    <a:pt x="-578" y="219171"/>
                    <a:pt x="23" y="190950"/>
                  </a:cubicBezTo>
                  <a:lnTo>
                    <a:pt x="23" y="101483"/>
                  </a:lnTo>
                  <a:cubicBezTo>
                    <a:pt x="-278" y="45641"/>
                    <a:pt x="45357" y="306"/>
                    <a:pt x="101499" y="6"/>
                  </a:cubicBezTo>
                  <a:cubicBezTo>
                    <a:pt x="128820" y="-294"/>
                    <a:pt x="154940" y="10514"/>
                    <a:pt x="173554" y="30029"/>
                  </a:cubicBezTo>
                  <a:cubicBezTo>
                    <a:pt x="193068" y="48643"/>
                    <a:pt x="203576" y="74462"/>
                    <a:pt x="202976" y="101483"/>
                  </a:cubicBezTo>
                  <a:lnTo>
                    <a:pt x="202976" y="160627"/>
                  </a:lnTo>
                  <a:cubicBezTo>
                    <a:pt x="202976" y="164530"/>
                    <a:pt x="201175" y="166632"/>
                    <a:pt x="197272" y="166632"/>
                  </a:cubicBezTo>
                  <a:moveTo>
                    <a:pt x="162445" y="101783"/>
                  </a:moveTo>
                  <a:cubicBezTo>
                    <a:pt x="162746" y="68458"/>
                    <a:pt x="135725" y="41137"/>
                    <a:pt x="102400" y="40837"/>
                  </a:cubicBezTo>
                  <a:cubicBezTo>
                    <a:pt x="102100" y="40837"/>
                    <a:pt x="101799" y="40837"/>
                    <a:pt x="101499" y="40837"/>
                  </a:cubicBezTo>
                  <a:cubicBezTo>
                    <a:pt x="85287" y="40537"/>
                    <a:pt x="69975" y="46841"/>
                    <a:pt x="58867" y="58550"/>
                  </a:cubicBezTo>
                  <a:cubicBezTo>
                    <a:pt x="47458" y="69959"/>
                    <a:pt x="41154" y="85270"/>
                    <a:pt x="41454" y="101483"/>
                  </a:cubicBezTo>
                  <a:lnTo>
                    <a:pt x="41454" y="120397"/>
                  </a:lnTo>
                  <a:cubicBezTo>
                    <a:pt x="41154" y="123399"/>
                    <a:pt x="43555" y="126101"/>
                    <a:pt x="46558" y="126401"/>
                  </a:cubicBezTo>
                  <a:cubicBezTo>
                    <a:pt x="46858" y="126401"/>
                    <a:pt x="47158" y="126401"/>
                    <a:pt x="47759" y="126401"/>
                  </a:cubicBezTo>
                  <a:lnTo>
                    <a:pt x="157942" y="126401"/>
                  </a:lnTo>
                  <a:cubicBezTo>
                    <a:pt x="161845" y="126401"/>
                    <a:pt x="163346" y="124300"/>
                    <a:pt x="163346" y="120397"/>
                  </a:cubicBezTo>
                  <a:lnTo>
                    <a:pt x="162445" y="101783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25" name="Forme libre : forme 224">
              <a:extLst>
                <a:ext uri="{FF2B5EF4-FFF2-40B4-BE49-F238E27FC236}">
                  <a16:creationId xmlns:a16="http://schemas.microsoft.com/office/drawing/2014/main" id="{356AA647-C707-493E-97F9-A4C75EC09045}"/>
                </a:ext>
              </a:extLst>
            </p:cNvPr>
            <p:cNvSpPr/>
            <p:nvPr/>
          </p:nvSpPr>
          <p:spPr>
            <a:xfrm>
              <a:off x="7168089" y="4142015"/>
              <a:ext cx="39029" cy="147111"/>
            </a:xfrm>
            <a:custGeom>
              <a:avLst/>
              <a:gdLst>
                <a:gd name="connsiteX0" fmla="*/ 39630 w 39029"/>
                <a:gd name="connsiteY0" fmla="*/ 0 h 147110"/>
                <a:gd name="connsiteX1" fmla="*/ 39630 w 39029"/>
                <a:gd name="connsiteY1" fmla="*/ 143808 h 147110"/>
                <a:gd name="connsiteX2" fmla="*/ 34826 w 39029"/>
                <a:gd name="connsiteY2" fmla="*/ 149813 h 147110"/>
                <a:gd name="connsiteX3" fmla="*/ 33625 w 39029"/>
                <a:gd name="connsiteY3" fmla="*/ 149813 h 147110"/>
                <a:gd name="connsiteX4" fmla="*/ 6005 w 39029"/>
                <a:gd name="connsiteY4" fmla="*/ 149813 h 147110"/>
                <a:gd name="connsiteX5" fmla="*/ 0 w 39029"/>
                <a:gd name="connsiteY5" fmla="*/ 144709 h 147110"/>
                <a:gd name="connsiteX6" fmla="*/ 0 w 39029"/>
                <a:gd name="connsiteY6" fmla="*/ 143508 h 147110"/>
                <a:gd name="connsiteX7" fmla="*/ 0 w 39029"/>
                <a:gd name="connsiteY7" fmla="*/ 26720 h 147110"/>
                <a:gd name="connsiteX8" fmla="*/ 39630 w 39029"/>
                <a:gd name="connsiteY8" fmla="*/ 0 h 147110"/>
                <a:gd name="connsiteX9" fmla="*/ 39630 w 39029"/>
                <a:gd name="connsiteY9" fmla="*/ 0 h 147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029" h="147110">
                  <a:moveTo>
                    <a:pt x="39630" y="0"/>
                  </a:moveTo>
                  <a:lnTo>
                    <a:pt x="39630" y="143808"/>
                  </a:lnTo>
                  <a:cubicBezTo>
                    <a:pt x="39930" y="146811"/>
                    <a:pt x="37829" y="149513"/>
                    <a:pt x="34826" y="149813"/>
                  </a:cubicBezTo>
                  <a:cubicBezTo>
                    <a:pt x="34526" y="149813"/>
                    <a:pt x="33926" y="149813"/>
                    <a:pt x="33625" y="149813"/>
                  </a:cubicBezTo>
                  <a:lnTo>
                    <a:pt x="6005" y="149813"/>
                  </a:lnTo>
                  <a:cubicBezTo>
                    <a:pt x="3002" y="150113"/>
                    <a:pt x="300" y="148012"/>
                    <a:pt x="0" y="144709"/>
                  </a:cubicBezTo>
                  <a:cubicBezTo>
                    <a:pt x="0" y="144409"/>
                    <a:pt x="0" y="144109"/>
                    <a:pt x="0" y="143508"/>
                  </a:cubicBezTo>
                  <a:lnTo>
                    <a:pt x="0" y="26720"/>
                  </a:lnTo>
                  <a:lnTo>
                    <a:pt x="39630" y="0"/>
                  </a:lnTo>
                  <a:lnTo>
                    <a:pt x="39630" y="0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26" name="Forme libre : forme 225">
              <a:extLst>
                <a:ext uri="{FF2B5EF4-FFF2-40B4-BE49-F238E27FC236}">
                  <a16:creationId xmlns:a16="http://schemas.microsoft.com/office/drawing/2014/main" id="{64C7EBFB-4BF0-4855-A0C0-E1B5F1B9A32D}"/>
                </a:ext>
              </a:extLst>
            </p:cNvPr>
            <p:cNvSpPr/>
            <p:nvPr/>
          </p:nvSpPr>
          <p:spPr>
            <a:xfrm>
              <a:off x="7592289" y="3898809"/>
              <a:ext cx="51039" cy="390294"/>
            </a:xfrm>
            <a:custGeom>
              <a:avLst/>
              <a:gdLst>
                <a:gd name="connsiteX0" fmla="*/ 44454 w 51038"/>
                <a:gd name="connsiteY0" fmla="*/ 46558 h 390294"/>
                <a:gd name="connsiteX1" fmla="*/ 25840 w 51038"/>
                <a:gd name="connsiteY1" fmla="*/ 54964 h 390294"/>
                <a:gd name="connsiteX2" fmla="*/ 7827 w 51038"/>
                <a:gd name="connsiteY2" fmla="*/ 46558 h 390294"/>
                <a:gd name="connsiteX3" fmla="*/ 21 w 51038"/>
                <a:gd name="connsiteY3" fmla="*/ 27343 h 390294"/>
                <a:gd name="connsiteX4" fmla="*/ 7827 w 51038"/>
                <a:gd name="connsiteY4" fmla="*/ 7828 h 390294"/>
                <a:gd name="connsiteX5" fmla="*/ 25840 w 51038"/>
                <a:gd name="connsiteY5" fmla="*/ 23 h 390294"/>
                <a:gd name="connsiteX6" fmla="*/ 44454 w 51038"/>
                <a:gd name="connsiteY6" fmla="*/ 7828 h 390294"/>
                <a:gd name="connsiteX7" fmla="*/ 52560 w 51038"/>
                <a:gd name="connsiteY7" fmla="*/ 27343 h 390294"/>
                <a:gd name="connsiteX8" fmla="*/ 44454 w 51038"/>
                <a:gd name="connsiteY8" fmla="*/ 46558 h 390294"/>
                <a:gd name="connsiteX9" fmla="*/ 39651 w 51038"/>
                <a:gd name="connsiteY9" fmla="*/ 392719 h 390294"/>
                <a:gd name="connsiteX10" fmla="*/ 12630 w 51038"/>
                <a:gd name="connsiteY10" fmla="*/ 392719 h 390294"/>
                <a:gd name="connsiteX11" fmla="*/ 6926 w 51038"/>
                <a:gd name="connsiteY11" fmla="*/ 386714 h 390294"/>
                <a:gd name="connsiteX12" fmla="*/ 6926 w 51038"/>
                <a:gd name="connsiteY12" fmla="*/ 112307 h 390294"/>
                <a:gd name="connsiteX13" fmla="*/ 12630 w 51038"/>
                <a:gd name="connsiteY13" fmla="*/ 106603 h 390294"/>
                <a:gd name="connsiteX14" fmla="*/ 39651 w 51038"/>
                <a:gd name="connsiteY14" fmla="*/ 106603 h 390294"/>
                <a:gd name="connsiteX15" fmla="*/ 45655 w 51038"/>
                <a:gd name="connsiteY15" fmla="*/ 112307 h 390294"/>
                <a:gd name="connsiteX16" fmla="*/ 45655 w 51038"/>
                <a:gd name="connsiteY16" fmla="*/ 386414 h 390294"/>
                <a:gd name="connsiteX17" fmla="*/ 40852 w 51038"/>
                <a:gd name="connsiteY17" fmla="*/ 392418 h 390294"/>
                <a:gd name="connsiteX18" fmla="*/ 39651 w 51038"/>
                <a:gd name="connsiteY18" fmla="*/ 392719 h 390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1038" h="390294">
                  <a:moveTo>
                    <a:pt x="44454" y="46558"/>
                  </a:moveTo>
                  <a:cubicBezTo>
                    <a:pt x="39651" y="51962"/>
                    <a:pt x="33046" y="55264"/>
                    <a:pt x="25840" y="54964"/>
                  </a:cubicBezTo>
                  <a:cubicBezTo>
                    <a:pt x="18935" y="54964"/>
                    <a:pt x="12330" y="51962"/>
                    <a:pt x="7827" y="46558"/>
                  </a:cubicBezTo>
                  <a:cubicBezTo>
                    <a:pt x="2723" y="41754"/>
                    <a:pt x="-280" y="34849"/>
                    <a:pt x="21" y="27343"/>
                  </a:cubicBezTo>
                  <a:cubicBezTo>
                    <a:pt x="-280" y="19837"/>
                    <a:pt x="2723" y="12632"/>
                    <a:pt x="7827" y="7828"/>
                  </a:cubicBezTo>
                  <a:cubicBezTo>
                    <a:pt x="12330" y="2424"/>
                    <a:pt x="18935" y="-278"/>
                    <a:pt x="25840" y="23"/>
                  </a:cubicBezTo>
                  <a:cubicBezTo>
                    <a:pt x="32745" y="-278"/>
                    <a:pt x="39651" y="2424"/>
                    <a:pt x="44454" y="7828"/>
                  </a:cubicBezTo>
                  <a:cubicBezTo>
                    <a:pt x="49858" y="12932"/>
                    <a:pt x="52560" y="20138"/>
                    <a:pt x="52560" y="27343"/>
                  </a:cubicBezTo>
                  <a:cubicBezTo>
                    <a:pt x="52260" y="34849"/>
                    <a:pt x="49558" y="41754"/>
                    <a:pt x="44454" y="46558"/>
                  </a:cubicBezTo>
                  <a:moveTo>
                    <a:pt x="39651" y="392719"/>
                  </a:moveTo>
                  <a:lnTo>
                    <a:pt x="12630" y="392719"/>
                  </a:lnTo>
                  <a:cubicBezTo>
                    <a:pt x="8427" y="392719"/>
                    <a:pt x="6926" y="390617"/>
                    <a:pt x="6926" y="386714"/>
                  </a:cubicBezTo>
                  <a:lnTo>
                    <a:pt x="6926" y="112307"/>
                  </a:lnTo>
                  <a:cubicBezTo>
                    <a:pt x="6926" y="108404"/>
                    <a:pt x="8427" y="106603"/>
                    <a:pt x="12630" y="106603"/>
                  </a:cubicBezTo>
                  <a:lnTo>
                    <a:pt x="39651" y="106603"/>
                  </a:lnTo>
                  <a:cubicBezTo>
                    <a:pt x="43553" y="106603"/>
                    <a:pt x="45655" y="108404"/>
                    <a:pt x="45655" y="112307"/>
                  </a:cubicBezTo>
                  <a:lnTo>
                    <a:pt x="45655" y="386414"/>
                  </a:lnTo>
                  <a:cubicBezTo>
                    <a:pt x="45955" y="389416"/>
                    <a:pt x="43854" y="392118"/>
                    <a:pt x="40852" y="392418"/>
                  </a:cubicBezTo>
                  <a:cubicBezTo>
                    <a:pt x="40551" y="392719"/>
                    <a:pt x="39951" y="392719"/>
                    <a:pt x="39651" y="392719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27" name="Forme libre : forme 226">
              <a:extLst>
                <a:ext uri="{FF2B5EF4-FFF2-40B4-BE49-F238E27FC236}">
                  <a16:creationId xmlns:a16="http://schemas.microsoft.com/office/drawing/2014/main" id="{95681AFE-72CC-41F5-82EB-2958FCBCC1CB}"/>
                </a:ext>
              </a:extLst>
            </p:cNvPr>
            <p:cNvSpPr/>
            <p:nvPr/>
          </p:nvSpPr>
          <p:spPr>
            <a:xfrm>
              <a:off x="7927941" y="3999084"/>
              <a:ext cx="201152" cy="297224"/>
            </a:xfrm>
            <a:custGeom>
              <a:avLst/>
              <a:gdLst>
                <a:gd name="connsiteX0" fmla="*/ 197872 w 201151"/>
                <a:gd name="connsiteY0" fmla="*/ 166649 h 297224"/>
                <a:gd name="connsiteX1" fmla="*/ 46858 w 201151"/>
                <a:gd name="connsiteY1" fmla="*/ 166649 h 297224"/>
                <a:gd name="connsiteX2" fmla="*/ 40854 w 201151"/>
                <a:gd name="connsiteY2" fmla="*/ 171452 h 297224"/>
                <a:gd name="connsiteX3" fmla="*/ 40854 w 201151"/>
                <a:gd name="connsiteY3" fmla="*/ 172653 h 297224"/>
                <a:gd name="connsiteX4" fmla="*/ 40854 w 201151"/>
                <a:gd name="connsiteY4" fmla="*/ 189766 h 297224"/>
                <a:gd name="connsiteX5" fmla="*/ 60368 w 201151"/>
                <a:gd name="connsiteY5" fmla="*/ 236902 h 297224"/>
                <a:gd name="connsiteX6" fmla="*/ 107504 w 201151"/>
                <a:gd name="connsiteY6" fmla="*/ 256717 h 297224"/>
                <a:gd name="connsiteX7" fmla="*/ 170852 w 201151"/>
                <a:gd name="connsiteY7" fmla="*/ 236902 h 297224"/>
                <a:gd name="connsiteX8" fmla="*/ 177757 w 201151"/>
                <a:gd name="connsiteY8" fmla="*/ 236902 h 297224"/>
                <a:gd name="connsiteX9" fmla="*/ 178357 w 201151"/>
                <a:gd name="connsiteY9" fmla="*/ 237802 h 297224"/>
                <a:gd name="connsiteX10" fmla="*/ 194870 w 201151"/>
                <a:gd name="connsiteY10" fmla="*/ 261821 h 297224"/>
                <a:gd name="connsiteX11" fmla="*/ 194570 w 201151"/>
                <a:gd name="connsiteY11" fmla="*/ 269026 h 297224"/>
                <a:gd name="connsiteX12" fmla="*/ 193369 w 201151"/>
                <a:gd name="connsiteY12" fmla="*/ 269927 h 297224"/>
                <a:gd name="connsiteX13" fmla="*/ 107504 w 201151"/>
                <a:gd name="connsiteY13" fmla="*/ 297247 h 297224"/>
                <a:gd name="connsiteX14" fmla="*/ 31546 w 201151"/>
                <a:gd name="connsiteY14" fmla="*/ 265724 h 297224"/>
                <a:gd name="connsiteX15" fmla="*/ 23 w 201151"/>
                <a:gd name="connsiteY15" fmla="*/ 190066 h 297224"/>
                <a:gd name="connsiteX16" fmla="*/ 23 w 201151"/>
                <a:gd name="connsiteY16" fmla="*/ 101199 h 297224"/>
                <a:gd name="connsiteX17" fmla="*/ 101499 w 201151"/>
                <a:gd name="connsiteY17" fmla="*/ 23 h 297224"/>
                <a:gd name="connsiteX18" fmla="*/ 101499 w 201151"/>
                <a:gd name="connsiteY18" fmla="*/ 23 h 297224"/>
                <a:gd name="connsiteX19" fmla="*/ 173554 w 201151"/>
                <a:gd name="connsiteY19" fmla="*/ 29746 h 297224"/>
                <a:gd name="connsiteX20" fmla="*/ 202976 w 201151"/>
                <a:gd name="connsiteY20" fmla="*/ 101199 h 297224"/>
                <a:gd name="connsiteX21" fmla="*/ 202976 w 201151"/>
                <a:gd name="connsiteY21" fmla="*/ 160344 h 297224"/>
                <a:gd name="connsiteX22" fmla="*/ 197272 w 201151"/>
                <a:gd name="connsiteY22" fmla="*/ 166349 h 297224"/>
                <a:gd name="connsiteX23" fmla="*/ 162445 w 201151"/>
                <a:gd name="connsiteY23" fmla="*/ 101800 h 297224"/>
                <a:gd name="connsiteX24" fmla="*/ 144732 w 201151"/>
                <a:gd name="connsiteY24" fmla="*/ 58567 h 297224"/>
                <a:gd name="connsiteX25" fmla="*/ 101499 w 201151"/>
                <a:gd name="connsiteY25" fmla="*/ 40854 h 297224"/>
                <a:gd name="connsiteX26" fmla="*/ 58867 w 201151"/>
                <a:gd name="connsiteY26" fmla="*/ 58567 h 297224"/>
                <a:gd name="connsiteX27" fmla="*/ 40553 w 201151"/>
                <a:gd name="connsiteY27" fmla="*/ 101800 h 297224"/>
                <a:gd name="connsiteX28" fmla="*/ 40553 w 201151"/>
                <a:gd name="connsiteY28" fmla="*/ 120714 h 297224"/>
                <a:gd name="connsiteX29" fmla="*/ 45357 w 201151"/>
                <a:gd name="connsiteY29" fmla="*/ 126719 h 297224"/>
                <a:gd name="connsiteX30" fmla="*/ 46558 w 201151"/>
                <a:gd name="connsiteY30" fmla="*/ 126719 h 297224"/>
                <a:gd name="connsiteX31" fmla="*/ 157041 w 201151"/>
                <a:gd name="connsiteY31" fmla="*/ 126719 h 297224"/>
                <a:gd name="connsiteX32" fmla="*/ 162746 w 201151"/>
                <a:gd name="connsiteY32" fmla="*/ 120714 h 297224"/>
                <a:gd name="connsiteX33" fmla="*/ 162746 w 201151"/>
                <a:gd name="connsiteY33" fmla="*/ 101800 h 297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01151" h="297224">
                  <a:moveTo>
                    <a:pt x="197872" y="166649"/>
                  </a:moveTo>
                  <a:lnTo>
                    <a:pt x="46858" y="166649"/>
                  </a:lnTo>
                  <a:cubicBezTo>
                    <a:pt x="43856" y="166349"/>
                    <a:pt x="41154" y="168450"/>
                    <a:pt x="40854" y="171452"/>
                  </a:cubicBezTo>
                  <a:cubicBezTo>
                    <a:pt x="40854" y="171753"/>
                    <a:pt x="40854" y="172353"/>
                    <a:pt x="40854" y="172653"/>
                  </a:cubicBezTo>
                  <a:lnTo>
                    <a:pt x="40854" y="189766"/>
                  </a:lnTo>
                  <a:cubicBezTo>
                    <a:pt x="40553" y="207480"/>
                    <a:pt x="47459" y="224593"/>
                    <a:pt x="60368" y="236902"/>
                  </a:cubicBezTo>
                  <a:cubicBezTo>
                    <a:pt x="72677" y="249812"/>
                    <a:pt x="89790" y="257017"/>
                    <a:pt x="107504" y="256717"/>
                  </a:cubicBezTo>
                  <a:cubicBezTo>
                    <a:pt x="130021" y="257017"/>
                    <a:pt x="152238" y="249812"/>
                    <a:pt x="170852" y="236902"/>
                  </a:cubicBezTo>
                  <a:cubicBezTo>
                    <a:pt x="172953" y="235100"/>
                    <a:pt x="175956" y="235100"/>
                    <a:pt x="177757" y="236902"/>
                  </a:cubicBezTo>
                  <a:cubicBezTo>
                    <a:pt x="178057" y="237202"/>
                    <a:pt x="178357" y="237502"/>
                    <a:pt x="178357" y="237802"/>
                  </a:cubicBezTo>
                  <a:lnTo>
                    <a:pt x="194870" y="261821"/>
                  </a:lnTo>
                  <a:cubicBezTo>
                    <a:pt x="196671" y="263922"/>
                    <a:pt x="196671" y="267225"/>
                    <a:pt x="194570" y="269026"/>
                  </a:cubicBezTo>
                  <a:cubicBezTo>
                    <a:pt x="194269" y="269326"/>
                    <a:pt x="193669" y="269626"/>
                    <a:pt x="193369" y="269927"/>
                  </a:cubicBezTo>
                  <a:cubicBezTo>
                    <a:pt x="168450" y="288241"/>
                    <a:pt x="138427" y="297548"/>
                    <a:pt x="107504" y="297247"/>
                  </a:cubicBezTo>
                  <a:cubicBezTo>
                    <a:pt x="78682" y="297848"/>
                    <a:pt x="51061" y="286139"/>
                    <a:pt x="31546" y="265724"/>
                  </a:cubicBezTo>
                  <a:cubicBezTo>
                    <a:pt x="10831" y="245909"/>
                    <a:pt x="-578" y="218288"/>
                    <a:pt x="23" y="190066"/>
                  </a:cubicBezTo>
                  <a:lnTo>
                    <a:pt x="23" y="101199"/>
                  </a:lnTo>
                  <a:cubicBezTo>
                    <a:pt x="-278" y="45357"/>
                    <a:pt x="45357" y="323"/>
                    <a:pt x="101499" y="23"/>
                  </a:cubicBezTo>
                  <a:lnTo>
                    <a:pt x="101499" y="23"/>
                  </a:lnTo>
                  <a:cubicBezTo>
                    <a:pt x="128820" y="-577"/>
                    <a:pt x="154940" y="10531"/>
                    <a:pt x="173554" y="29746"/>
                  </a:cubicBezTo>
                  <a:cubicBezTo>
                    <a:pt x="193069" y="48360"/>
                    <a:pt x="203576" y="74179"/>
                    <a:pt x="202976" y="101199"/>
                  </a:cubicBezTo>
                  <a:lnTo>
                    <a:pt x="202976" y="160344"/>
                  </a:lnTo>
                  <a:cubicBezTo>
                    <a:pt x="202976" y="164247"/>
                    <a:pt x="201175" y="166349"/>
                    <a:pt x="197272" y="166349"/>
                  </a:cubicBezTo>
                  <a:moveTo>
                    <a:pt x="162445" y="101800"/>
                  </a:moveTo>
                  <a:cubicBezTo>
                    <a:pt x="162746" y="85588"/>
                    <a:pt x="156441" y="69976"/>
                    <a:pt x="144732" y="58567"/>
                  </a:cubicBezTo>
                  <a:cubicBezTo>
                    <a:pt x="133323" y="46858"/>
                    <a:pt x="117711" y="40554"/>
                    <a:pt x="101499" y="40854"/>
                  </a:cubicBezTo>
                  <a:cubicBezTo>
                    <a:pt x="85287" y="40554"/>
                    <a:pt x="69976" y="46858"/>
                    <a:pt x="58867" y="58567"/>
                  </a:cubicBezTo>
                  <a:cubicBezTo>
                    <a:pt x="46858" y="69976"/>
                    <a:pt x="40253" y="85588"/>
                    <a:pt x="40553" y="101800"/>
                  </a:cubicBezTo>
                  <a:lnTo>
                    <a:pt x="40553" y="120714"/>
                  </a:lnTo>
                  <a:cubicBezTo>
                    <a:pt x="40253" y="123716"/>
                    <a:pt x="42355" y="126418"/>
                    <a:pt x="45357" y="126719"/>
                  </a:cubicBezTo>
                  <a:cubicBezTo>
                    <a:pt x="45657" y="126719"/>
                    <a:pt x="46258" y="126719"/>
                    <a:pt x="46558" y="126719"/>
                  </a:cubicBezTo>
                  <a:lnTo>
                    <a:pt x="157041" y="126719"/>
                  </a:lnTo>
                  <a:cubicBezTo>
                    <a:pt x="160944" y="126719"/>
                    <a:pt x="162746" y="124617"/>
                    <a:pt x="162746" y="120714"/>
                  </a:cubicBezTo>
                  <a:lnTo>
                    <a:pt x="162746" y="101800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28" name="Forme libre : forme 227">
              <a:extLst>
                <a:ext uri="{FF2B5EF4-FFF2-40B4-BE49-F238E27FC236}">
                  <a16:creationId xmlns:a16="http://schemas.microsoft.com/office/drawing/2014/main" id="{783B00F1-95A1-4A69-98A5-6B6648439E4A}"/>
                </a:ext>
              </a:extLst>
            </p:cNvPr>
            <p:cNvSpPr/>
            <p:nvPr/>
          </p:nvSpPr>
          <p:spPr>
            <a:xfrm>
              <a:off x="7334113" y="3998799"/>
              <a:ext cx="189143" cy="297224"/>
            </a:xfrm>
            <a:custGeom>
              <a:avLst/>
              <a:gdLst>
                <a:gd name="connsiteX0" fmla="*/ 18016 w 189142"/>
                <a:gd name="connsiteY0" fmla="*/ 238687 h 297224"/>
                <a:gd name="connsiteX1" fmla="*/ 102079 w 189142"/>
                <a:gd name="connsiteY1" fmla="*/ 260003 h 297224"/>
                <a:gd name="connsiteX2" fmla="*/ 135705 w 189142"/>
                <a:gd name="connsiteY2" fmla="*/ 245893 h 297224"/>
                <a:gd name="connsiteX3" fmla="*/ 149815 w 189142"/>
                <a:gd name="connsiteY3" fmla="*/ 212267 h 297224"/>
                <a:gd name="connsiteX4" fmla="*/ 140208 w 189142"/>
                <a:gd name="connsiteY4" fmla="*/ 185847 h 297224"/>
                <a:gd name="connsiteX5" fmla="*/ 116790 w 189142"/>
                <a:gd name="connsiteY5" fmla="*/ 169935 h 297224"/>
                <a:gd name="connsiteX6" fmla="*/ 57646 w 189142"/>
                <a:gd name="connsiteY6" fmla="*/ 153723 h 297224"/>
                <a:gd name="connsiteX7" fmla="*/ 2 w 189142"/>
                <a:gd name="connsiteY7" fmla="*/ 78967 h 297224"/>
                <a:gd name="connsiteX8" fmla="*/ 77761 w 189142"/>
                <a:gd name="connsiteY8" fmla="*/ 7 h 297224"/>
                <a:gd name="connsiteX9" fmla="*/ 79262 w 189142"/>
                <a:gd name="connsiteY9" fmla="*/ 7 h 297224"/>
                <a:gd name="connsiteX10" fmla="*/ 177136 w 189142"/>
                <a:gd name="connsiteY10" fmla="*/ 26427 h 297224"/>
                <a:gd name="connsiteX11" fmla="*/ 179538 w 189142"/>
                <a:gd name="connsiteY11" fmla="*/ 33633 h 297224"/>
                <a:gd name="connsiteX12" fmla="*/ 178637 w 189142"/>
                <a:gd name="connsiteY12" fmla="*/ 34834 h 297224"/>
                <a:gd name="connsiteX13" fmla="*/ 164226 w 189142"/>
                <a:gd name="connsiteY13" fmla="*/ 58852 h 297224"/>
                <a:gd name="connsiteX14" fmla="*/ 156420 w 189142"/>
                <a:gd name="connsiteY14" fmla="*/ 61554 h 297224"/>
                <a:gd name="connsiteX15" fmla="*/ 78361 w 189142"/>
                <a:gd name="connsiteY15" fmla="*/ 39637 h 297224"/>
                <a:gd name="connsiteX16" fmla="*/ 50740 w 189142"/>
                <a:gd name="connsiteY16" fmla="*/ 51046 h 297224"/>
                <a:gd name="connsiteX17" fmla="*/ 40232 w 189142"/>
                <a:gd name="connsiteY17" fmla="*/ 77466 h 297224"/>
                <a:gd name="connsiteX18" fmla="*/ 67553 w 189142"/>
                <a:gd name="connsiteY18" fmla="*/ 112892 h 297224"/>
                <a:gd name="connsiteX19" fmla="*/ 126398 w 189142"/>
                <a:gd name="connsiteY19" fmla="*/ 128504 h 297224"/>
                <a:gd name="connsiteX20" fmla="*/ 172933 w 189142"/>
                <a:gd name="connsiteY20" fmla="*/ 159427 h 297224"/>
                <a:gd name="connsiteX21" fmla="*/ 153418 w 189142"/>
                <a:gd name="connsiteY21" fmla="*/ 282821 h 297224"/>
                <a:gd name="connsiteX22" fmla="*/ 101779 w 189142"/>
                <a:gd name="connsiteY22" fmla="*/ 299633 h 297224"/>
                <a:gd name="connsiteX23" fmla="*/ 101779 w 189142"/>
                <a:gd name="connsiteY23" fmla="*/ 299633 h 297224"/>
                <a:gd name="connsiteX24" fmla="*/ 18016 w 189142"/>
                <a:gd name="connsiteY24" fmla="*/ 238687 h 297224"/>
                <a:gd name="connsiteX25" fmla="*/ 18016 w 189142"/>
                <a:gd name="connsiteY25" fmla="*/ 238687 h 297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9142" h="297224">
                  <a:moveTo>
                    <a:pt x="18016" y="238687"/>
                  </a:moveTo>
                  <a:cubicBezTo>
                    <a:pt x="43835" y="252498"/>
                    <a:pt x="72657" y="259703"/>
                    <a:pt x="102079" y="260003"/>
                  </a:cubicBezTo>
                  <a:cubicBezTo>
                    <a:pt x="114689" y="260304"/>
                    <a:pt x="126998" y="255200"/>
                    <a:pt x="135705" y="245893"/>
                  </a:cubicBezTo>
                  <a:cubicBezTo>
                    <a:pt x="144711" y="237186"/>
                    <a:pt x="149815" y="224877"/>
                    <a:pt x="149815" y="212267"/>
                  </a:cubicBezTo>
                  <a:cubicBezTo>
                    <a:pt x="149515" y="202660"/>
                    <a:pt x="146212" y="193353"/>
                    <a:pt x="140208" y="185847"/>
                  </a:cubicBezTo>
                  <a:cubicBezTo>
                    <a:pt x="134504" y="178042"/>
                    <a:pt x="126097" y="172637"/>
                    <a:pt x="116790" y="169935"/>
                  </a:cubicBezTo>
                  <a:lnTo>
                    <a:pt x="57646" y="153723"/>
                  </a:lnTo>
                  <a:cubicBezTo>
                    <a:pt x="23720" y="144716"/>
                    <a:pt x="2" y="114093"/>
                    <a:pt x="2" y="78967"/>
                  </a:cubicBezTo>
                  <a:cubicBezTo>
                    <a:pt x="-298" y="35734"/>
                    <a:pt x="34228" y="608"/>
                    <a:pt x="77761" y="7"/>
                  </a:cubicBezTo>
                  <a:cubicBezTo>
                    <a:pt x="78361" y="7"/>
                    <a:pt x="78962" y="7"/>
                    <a:pt x="79262" y="7"/>
                  </a:cubicBezTo>
                  <a:cubicBezTo>
                    <a:pt x="113788" y="-293"/>
                    <a:pt x="147413" y="8714"/>
                    <a:pt x="177136" y="26427"/>
                  </a:cubicBezTo>
                  <a:cubicBezTo>
                    <a:pt x="179838" y="27628"/>
                    <a:pt x="181039" y="30931"/>
                    <a:pt x="179538" y="33633"/>
                  </a:cubicBezTo>
                  <a:cubicBezTo>
                    <a:pt x="179237" y="33933"/>
                    <a:pt x="178937" y="34533"/>
                    <a:pt x="178637" y="34834"/>
                  </a:cubicBezTo>
                  <a:lnTo>
                    <a:pt x="164226" y="58852"/>
                  </a:lnTo>
                  <a:cubicBezTo>
                    <a:pt x="162124" y="62755"/>
                    <a:pt x="159122" y="63355"/>
                    <a:pt x="156420" y="61554"/>
                  </a:cubicBezTo>
                  <a:cubicBezTo>
                    <a:pt x="133002" y="47143"/>
                    <a:pt x="105982" y="39637"/>
                    <a:pt x="78361" y="39637"/>
                  </a:cubicBezTo>
                  <a:cubicBezTo>
                    <a:pt x="67853" y="39337"/>
                    <a:pt x="57946" y="43540"/>
                    <a:pt x="50740" y="51046"/>
                  </a:cubicBezTo>
                  <a:cubicBezTo>
                    <a:pt x="43835" y="57951"/>
                    <a:pt x="39932" y="67558"/>
                    <a:pt x="40232" y="77466"/>
                  </a:cubicBezTo>
                  <a:cubicBezTo>
                    <a:pt x="39031" y="94579"/>
                    <a:pt x="50740" y="109890"/>
                    <a:pt x="67553" y="112892"/>
                  </a:cubicBezTo>
                  <a:lnTo>
                    <a:pt x="126398" y="128504"/>
                  </a:lnTo>
                  <a:cubicBezTo>
                    <a:pt x="145011" y="133308"/>
                    <a:pt x="161524" y="144116"/>
                    <a:pt x="172933" y="159427"/>
                  </a:cubicBezTo>
                  <a:cubicBezTo>
                    <a:pt x="201754" y="198757"/>
                    <a:pt x="193048" y="253999"/>
                    <a:pt x="153418" y="282821"/>
                  </a:cubicBezTo>
                  <a:cubicBezTo>
                    <a:pt x="138407" y="293629"/>
                    <a:pt x="120393" y="299633"/>
                    <a:pt x="101779" y="299633"/>
                  </a:cubicBezTo>
                  <a:lnTo>
                    <a:pt x="101779" y="299633"/>
                  </a:lnTo>
                  <a:lnTo>
                    <a:pt x="18016" y="238687"/>
                  </a:lnTo>
                  <a:lnTo>
                    <a:pt x="18016" y="238687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29" name="Forme libre : forme 228">
              <a:extLst>
                <a:ext uri="{FF2B5EF4-FFF2-40B4-BE49-F238E27FC236}">
                  <a16:creationId xmlns:a16="http://schemas.microsoft.com/office/drawing/2014/main" id="{794B9F09-C0B7-401F-8070-8C173E17DB69}"/>
                </a:ext>
              </a:extLst>
            </p:cNvPr>
            <p:cNvSpPr/>
            <p:nvPr/>
          </p:nvSpPr>
          <p:spPr>
            <a:xfrm>
              <a:off x="7700091" y="3921920"/>
              <a:ext cx="180136" cy="219165"/>
            </a:xfrm>
            <a:custGeom>
              <a:avLst/>
              <a:gdLst>
                <a:gd name="connsiteX0" fmla="*/ 44133 w 180136"/>
                <a:gd name="connsiteY0" fmla="*/ 219494 h 219165"/>
                <a:gd name="connsiteX1" fmla="*/ 44133 w 180136"/>
                <a:gd name="connsiteY1" fmla="*/ 132128 h 219165"/>
                <a:gd name="connsiteX2" fmla="*/ 38129 w 180136"/>
                <a:gd name="connsiteY2" fmla="*/ 126424 h 219165"/>
                <a:gd name="connsiteX3" fmla="*/ 6005 w 180136"/>
                <a:gd name="connsiteY3" fmla="*/ 126424 h 219165"/>
                <a:gd name="connsiteX4" fmla="*/ 0 w 180136"/>
                <a:gd name="connsiteY4" fmla="*/ 120419 h 219165"/>
                <a:gd name="connsiteX5" fmla="*/ 0 w 180136"/>
                <a:gd name="connsiteY5" fmla="*/ 91598 h 219165"/>
                <a:gd name="connsiteX6" fmla="*/ 6005 w 180136"/>
                <a:gd name="connsiteY6" fmla="*/ 86193 h 219165"/>
                <a:gd name="connsiteX7" fmla="*/ 37829 w 180136"/>
                <a:gd name="connsiteY7" fmla="*/ 86193 h 219165"/>
                <a:gd name="connsiteX8" fmla="*/ 43833 w 180136"/>
                <a:gd name="connsiteY8" fmla="*/ 81390 h 219165"/>
                <a:gd name="connsiteX9" fmla="*/ 43833 w 180136"/>
                <a:gd name="connsiteY9" fmla="*/ 80189 h 219165"/>
                <a:gd name="connsiteX10" fmla="*/ 43833 w 180136"/>
                <a:gd name="connsiteY10" fmla="*/ 6033 h 219165"/>
                <a:gd name="connsiteX11" fmla="*/ 48937 w 180136"/>
                <a:gd name="connsiteY11" fmla="*/ 28 h 219165"/>
                <a:gd name="connsiteX12" fmla="*/ 50138 w 180136"/>
                <a:gd name="connsiteY12" fmla="*/ 28 h 219165"/>
                <a:gd name="connsiteX13" fmla="*/ 78059 w 180136"/>
                <a:gd name="connsiteY13" fmla="*/ 28 h 219165"/>
                <a:gd name="connsiteX14" fmla="*/ 84064 w 180136"/>
                <a:gd name="connsiteY14" fmla="*/ 5132 h 219165"/>
                <a:gd name="connsiteX15" fmla="*/ 84064 w 180136"/>
                <a:gd name="connsiteY15" fmla="*/ 6333 h 219165"/>
                <a:gd name="connsiteX16" fmla="*/ 84064 w 180136"/>
                <a:gd name="connsiteY16" fmla="*/ 80189 h 219165"/>
                <a:gd name="connsiteX17" fmla="*/ 89167 w 180136"/>
                <a:gd name="connsiteY17" fmla="*/ 86193 h 219165"/>
                <a:gd name="connsiteX18" fmla="*/ 90368 w 180136"/>
                <a:gd name="connsiteY18" fmla="*/ 86193 h 219165"/>
                <a:gd name="connsiteX19" fmla="*/ 174732 w 180136"/>
                <a:gd name="connsiteY19" fmla="*/ 86193 h 219165"/>
                <a:gd name="connsiteX20" fmla="*/ 180737 w 180136"/>
                <a:gd name="connsiteY20" fmla="*/ 91598 h 219165"/>
                <a:gd name="connsiteX21" fmla="*/ 180737 w 180136"/>
                <a:gd name="connsiteY21" fmla="*/ 120419 h 219165"/>
                <a:gd name="connsiteX22" fmla="*/ 174732 w 180136"/>
                <a:gd name="connsiteY22" fmla="*/ 126424 h 219165"/>
                <a:gd name="connsiteX23" fmla="*/ 90068 w 180136"/>
                <a:gd name="connsiteY23" fmla="*/ 126424 h 219165"/>
                <a:gd name="connsiteX24" fmla="*/ 84064 w 180136"/>
                <a:gd name="connsiteY24" fmla="*/ 132128 h 219165"/>
                <a:gd name="connsiteX25" fmla="*/ 84064 w 180136"/>
                <a:gd name="connsiteY25" fmla="*/ 198778 h 219165"/>
                <a:gd name="connsiteX26" fmla="*/ 44133 w 180136"/>
                <a:gd name="connsiteY26" fmla="*/ 219494 h 219165"/>
                <a:gd name="connsiteX27" fmla="*/ 44133 w 180136"/>
                <a:gd name="connsiteY27" fmla="*/ 219494 h 219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80136" h="219165">
                  <a:moveTo>
                    <a:pt x="44133" y="219494"/>
                  </a:moveTo>
                  <a:lnTo>
                    <a:pt x="44133" y="132128"/>
                  </a:lnTo>
                  <a:cubicBezTo>
                    <a:pt x="44133" y="128225"/>
                    <a:pt x="42032" y="126424"/>
                    <a:pt x="38129" y="126424"/>
                  </a:cubicBezTo>
                  <a:lnTo>
                    <a:pt x="6005" y="126424"/>
                  </a:lnTo>
                  <a:cubicBezTo>
                    <a:pt x="1501" y="126424"/>
                    <a:pt x="0" y="124322"/>
                    <a:pt x="0" y="120419"/>
                  </a:cubicBezTo>
                  <a:lnTo>
                    <a:pt x="0" y="91598"/>
                  </a:lnTo>
                  <a:cubicBezTo>
                    <a:pt x="0" y="87695"/>
                    <a:pt x="1501" y="86193"/>
                    <a:pt x="6005" y="86193"/>
                  </a:cubicBezTo>
                  <a:lnTo>
                    <a:pt x="37829" y="86193"/>
                  </a:lnTo>
                  <a:cubicBezTo>
                    <a:pt x="40831" y="86494"/>
                    <a:pt x="43533" y="84392"/>
                    <a:pt x="43833" y="81390"/>
                  </a:cubicBezTo>
                  <a:cubicBezTo>
                    <a:pt x="43833" y="81090"/>
                    <a:pt x="43833" y="80489"/>
                    <a:pt x="43833" y="80189"/>
                  </a:cubicBezTo>
                  <a:lnTo>
                    <a:pt x="43833" y="6033"/>
                  </a:lnTo>
                  <a:cubicBezTo>
                    <a:pt x="43533" y="3031"/>
                    <a:pt x="45935" y="329"/>
                    <a:pt x="48937" y="28"/>
                  </a:cubicBezTo>
                  <a:cubicBezTo>
                    <a:pt x="49237" y="28"/>
                    <a:pt x="49537" y="28"/>
                    <a:pt x="50138" y="28"/>
                  </a:cubicBezTo>
                  <a:lnTo>
                    <a:pt x="78059" y="28"/>
                  </a:lnTo>
                  <a:cubicBezTo>
                    <a:pt x="81061" y="-272"/>
                    <a:pt x="83763" y="1830"/>
                    <a:pt x="84064" y="5132"/>
                  </a:cubicBezTo>
                  <a:cubicBezTo>
                    <a:pt x="84064" y="5433"/>
                    <a:pt x="84064" y="5733"/>
                    <a:pt x="84064" y="6333"/>
                  </a:cubicBezTo>
                  <a:lnTo>
                    <a:pt x="84064" y="80189"/>
                  </a:lnTo>
                  <a:cubicBezTo>
                    <a:pt x="83763" y="83191"/>
                    <a:pt x="86165" y="85893"/>
                    <a:pt x="89167" y="86193"/>
                  </a:cubicBezTo>
                  <a:cubicBezTo>
                    <a:pt x="89468" y="86193"/>
                    <a:pt x="89768" y="86193"/>
                    <a:pt x="90368" y="86193"/>
                  </a:cubicBezTo>
                  <a:lnTo>
                    <a:pt x="174732" y="86193"/>
                  </a:lnTo>
                  <a:cubicBezTo>
                    <a:pt x="179235" y="86193"/>
                    <a:pt x="180737" y="87695"/>
                    <a:pt x="180737" y="91598"/>
                  </a:cubicBezTo>
                  <a:lnTo>
                    <a:pt x="180737" y="120419"/>
                  </a:lnTo>
                  <a:cubicBezTo>
                    <a:pt x="180737" y="124322"/>
                    <a:pt x="179235" y="126424"/>
                    <a:pt x="174732" y="126424"/>
                  </a:cubicBezTo>
                  <a:lnTo>
                    <a:pt x="90068" y="126424"/>
                  </a:lnTo>
                  <a:cubicBezTo>
                    <a:pt x="86165" y="126424"/>
                    <a:pt x="84064" y="128225"/>
                    <a:pt x="84064" y="132128"/>
                  </a:cubicBezTo>
                  <a:lnTo>
                    <a:pt x="84064" y="198778"/>
                  </a:lnTo>
                  <a:lnTo>
                    <a:pt x="44133" y="219494"/>
                  </a:lnTo>
                  <a:lnTo>
                    <a:pt x="44133" y="219494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30" name="Forme libre : forme 229">
              <a:extLst>
                <a:ext uri="{FF2B5EF4-FFF2-40B4-BE49-F238E27FC236}">
                  <a16:creationId xmlns:a16="http://schemas.microsoft.com/office/drawing/2014/main" id="{6D72FB6F-B50E-4304-95C6-AC63A25682B0}"/>
                </a:ext>
              </a:extLst>
            </p:cNvPr>
            <p:cNvSpPr/>
            <p:nvPr/>
          </p:nvSpPr>
          <p:spPr>
            <a:xfrm>
              <a:off x="6709034" y="4369579"/>
              <a:ext cx="183138" cy="288217"/>
            </a:xfrm>
            <a:custGeom>
              <a:avLst/>
              <a:gdLst>
                <a:gd name="connsiteX0" fmla="*/ 156127 w 183138"/>
                <a:gd name="connsiteY0" fmla="*/ 130306 h 288217"/>
                <a:gd name="connsiteX1" fmla="*/ 172039 w 183138"/>
                <a:gd name="connsiteY1" fmla="*/ 79568 h 288217"/>
                <a:gd name="connsiteX2" fmla="*/ 149221 w 183138"/>
                <a:gd name="connsiteY2" fmla="*/ 23425 h 288217"/>
                <a:gd name="connsiteX3" fmla="*/ 93980 w 183138"/>
                <a:gd name="connsiteY3" fmla="*/ 8 h 288217"/>
                <a:gd name="connsiteX4" fmla="*/ 17722 w 183138"/>
                <a:gd name="connsiteY4" fmla="*/ 8 h 288217"/>
                <a:gd name="connsiteX5" fmla="*/ 9 w 183138"/>
                <a:gd name="connsiteY5" fmla="*/ 17721 h 288217"/>
                <a:gd name="connsiteX6" fmla="*/ 9 w 183138"/>
                <a:gd name="connsiteY6" fmla="*/ 19222 h 288217"/>
                <a:gd name="connsiteX7" fmla="*/ 9 w 183138"/>
                <a:gd name="connsiteY7" fmla="*/ 271713 h 288217"/>
                <a:gd name="connsiteX8" fmla="*/ 16821 w 183138"/>
                <a:gd name="connsiteY8" fmla="*/ 290327 h 288217"/>
                <a:gd name="connsiteX9" fmla="*/ 18022 w 183138"/>
                <a:gd name="connsiteY9" fmla="*/ 290327 h 288217"/>
                <a:gd name="connsiteX10" fmla="*/ 103587 w 183138"/>
                <a:gd name="connsiteY10" fmla="*/ 290327 h 288217"/>
                <a:gd name="connsiteX11" fmla="*/ 160930 w 183138"/>
                <a:gd name="connsiteY11" fmla="*/ 266008 h 288217"/>
                <a:gd name="connsiteX12" fmla="*/ 185249 w 183138"/>
                <a:gd name="connsiteY12" fmla="*/ 207164 h 288217"/>
                <a:gd name="connsiteX13" fmla="*/ 185249 w 183138"/>
                <a:gd name="connsiteY13" fmla="*/ 195455 h 288217"/>
                <a:gd name="connsiteX14" fmla="*/ 172339 w 183138"/>
                <a:gd name="connsiteY14" fmla="*/ 148920 h 288217"/>
                <a:gd name="connsiteX15" fmla="*/ 157027 w 183138"/>
                <a:gd name="connsiteY15" fmla="*/ 130006 h 288217"/>
                <a:gd name="connsiteX16" fmla="*/ 111093 w 183138"/>
                <a:gd name="connsiteY16" fmla="*/ 100283 h 288217"/>
                <a:gd name="connsiteX17" fmla="*/ 90977 w 183138"/>
                <a:gd name="connsiteY17" fmla="*/ 107789 h 288217"/>
                <a:gd name="connsiteX18" fmla="*/ 53749 w 183138"/>
                <a:gd name="connsiteY18" fmla="*/ 107789 h 288217"/>
                <a:gd name="connsiteX19" fmla="*/ 53749 w 183138"/>
                <a:gd name="connsiteY19" fmla="*/ 55249 h 288217"/>
                <a:gd name="connsiteX20" fmla="*/ 93980 w 183138"/>
                <a:gd name="connsiteY20" fmla="*/ 55249 h 288217"/>
                <a:gd name="connsiteX21" fmla="*/ 110792 w 183138"/>
                <a:gd name="connsiteY21" fmla="*/ 61854 h 288217"/>
                <a:gd name="connsiteX22" fmla="*/ 117698 w 183138"/>
                <a:gd name="connsiteY22" fmla="*/ 78967 h 288217"/>
                <a:gd name="connsiteX23" fmla="*/ 110192 w 183138"/>
                <a:gd name="connsiteY23" fmla="*/ 99683 h 288217"/>
                <a:gd name="connsiteX24" fmla="*/ 53749 w 183138"/>
                <a:gd name="connsiteY24" fmla="*/ 163931 h 288217"/>
                <a:gd name="connsiteX25" fmla="*/ 99384 w 183138"/>
                <a:gd name="connsiteY25" fmla="*/ 163931 h 288217"/>
                <a:gd name="connsiteX26" fmla="*/ 121000 w 183138"/>
                <a:gd name="connsiteY26" fmla="*/ 173238 h 288217"/>
                <a:gd name="connsiteX27" fmla="*/ 130307 w 183138"/>
                <a:gd name="connsiteY27" fmla="*/ 195755 h 288217"/>
                <a:gd name="connsiteX28" fmla="*/ 130307 w 183138"/>
                <a:gd name="connsiteY28" fmla="*/ 206864 h 288217"/>
                <a:gd name="connsiteX29" fmla="*/ 122201 w 183138"/>
                <a:gd name="connsiteY29" fmla="*/ 226078 h 288217"/>
                <a:gd name="connsiteX30" fmla="*/ 102986 w 183138"/>
                <a:gd name="connsiteY30" fmla="*/ 234485 h 288217"/>
                <a:gd name="connsiteX31" fmla="*/ 53749 w 183138"/>
                <a:gd name="connsiteY31" fmla="*/ 234485 h 288217"/>
                <a:gd name="connsiteX32" fmla="*/ 53749 w 183138"/>
                <a:gd name="connsiteY32" fmla="*/ 163931 h 288217"/>
                <a:gd name="connsiteX33" fmla="*/ 53749 w 183138"/>
                <a:gd name="connsiteY33" fmla="*/ 163931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83138" h="288217">
                  <a:moveTo>
                    <a:pt x="156127" y="130306"/>
                  </a:moveTo>
                  <a:cubicBezTo>
                    <a:pt x="166935" y="115595"/>
                    <a:pt x="172639" y="97882"/>
                    <a:pt x="172039" y="79568"/>
                  </a:cubicBezTo>
                  <a:cubicBezTo>
                    <a:pt x="172339" y="58552"/>
                    <a:pt x="163933" y="38137"/>
                    <a:pt x="149221" y="23425"/>
                  </a:cubicBezTo>
                  <a:cubicBezTo>
                    <a:pt x="134811" y="8114"/>
                    <a:pt x="114996" y="-292"/>
                    <a:pt x="93980" y="8"/>
                  </a:cubicBezTo>
                  <a:lnTo>
                    <a:pt x="17722" y="8"/>
                  </a:lnTo>
                  <a:cubicBezTo>
                    <a:pt x="8115" y="8"/>
                    <a:pt x="309" y="7814"/>
                    <a:pt x="9" y="17721"/>
                  </a:cubicBezTo>
                  <a:cubicBezTo>
                    <a:pt x="9" y="18322"/>
                    <a:pt x="9" y="18922"/>
                    <a:pt x="9" y="19222"/>
                  </a:cubicBezTo>
                  <a:lnTo>
                    <a:pt x="9" y="271713"/>
                  </a:lnTo>
                  <a:cubicBezTo>
                    <a:pt x="-292" y="281620"/>
                    <a:pt x="7214" y="290027"/>
                    <a:pt x="16821" y="290327"/>
                  </a:cubicBezTo>
                  <a:cubicBezTo>
                    <a:pt x="17122" y="290327"/>
                    <a:pt x="17722" y="290327"/>
                    <a:pt x="18022" y="290327"/>
                  </a:cubicBezTo>
                  <a:lnTo>
                    <a:pt x="103587" y="290327"/>
                  </a:lnTo>
                  <a:cubicBezTo>
                    <a:pt x="125203" y="290627"/>
                    <a:pt x="145919" y="281920"/>
                    <a:pt x="160930" y="266008"/>
                  </a:cubicBezTo>
                  <a:cubicBezTo>
                    <a:pt x="176542" y="250697"/>
                    <a:pt x="185249" y="229381"/>
                    <a:pt x="185249" y="207164"/>
                  </a:cubicBezTo>
                  <a:lnTo>
                    <a:pt x="185249" y="195455"/>
                  </a:lnTo>
                  <a:cubicBezTo>
                    <a:pt x="185249" y="178943"/>
                    <a:pt x="180745" y="163031"/>
                    <a:pt x="172339" y="148920"/>
                  </a:cubicBezTo>
                  <a:cubicBezTo>
                    <a:pt x="168136" y="142015"/>
                    <a:pt x="163032" y="135410"/>
                    <a:pt x="157027" y="130006"/>
                  </a:cubicBezTo>
                  <a:moveTo>
                    <a:pt x="111093" y="100283"/>
                  </a:moveTo>
                  <a:cubicBezTo>
                    <a:pt x="105688" y="105687"/>
                    <a:pt x="98483" y="108389"/>
                    <a:pt x="90977" y="107789"/>
                  </a:cubicBezTo>
                  <a:lnTo>
                    <a:pt x="53749" y="107789"/>
                  </a:lnTo>
                  <a:lnTo>
                    <a:pt x="53749" y="55249"/>
                  </a:lnTo>
                  <a:lnTo>
                    <a:pt x="93980" y="55249"/>
                  </a:lnTo>
                  <a:cubicBezTo>
                    <a:pt x="100284" y="54949"/>
                    <a:pt x="106289" y="57351"/>
                    <a:pt x="110792" y="61854"/>
                  </a:cubicBezTo>
                  <a:cubicBezTo>
                    <a:pt x="115596" y="66358"/>
                    <a:pt x="117998" y="72663"/>
                    <a:pt x="117698" y="78967"/>
                  </a:cubicBezTo>
                  <a:cubicBezTo>
                    <a:pt x="117998" y="86773"/>
                    <a:pt x="115296" y="94279"/>
                    <a:pt x="110192" y="99683"/>
                  </a:cubicBezTo>
                  <a:moveTo>
                    <a:pt x="53749" y="163931"/>
                  </a:moveTo>
                  <a:lnTo>
                    <a:pt x="99384" y="163931"/>
                  </a:lnTo>
                  <a:cubicBezTo>
                    <a:pt x="107490" y="163931"/>
                    <a:pt x="115596" y="167234"/>
                    <a:pt x="121000" y="173238"/>
                  </a:cubicBezTo>
                  <a:cubicBezTo>
                    <a:pt x="127005" y="179243"/>
                    <a:pt x="130607" y="187349"/>
                    <a:pt x="130307" y="195755"/>
                  </a:cubicBezTo>
                  <a:lnTo>
                    <a:pt x="130307" y="206864"/>
                  </a:lnTo>
                  <a:cubicBezTo>
                    <a:pt x="130307" y="214069"/>
                    <a:pt x="127305" y="221275"/>
                    <a:pt x="122201" y="226078"/>
                  </a:cubicBezTo>
                  <a:cubicBezTo>
                    <a:pt x="117097" y="231482"/>
                    <a:pt x="110192" y="234485"/>
                    <a:pt x="102986" y="234485"/>
                  </a:cubicBezTo>
                  <a:lnTo>
                    <a:pt x="53749" y="234485"/>
                  </a:lnTo>
                  <a:lnTo>
                    <a:pt x="53749" y="163931"/>
                  </a:lnTo>
                  <a:lnTo>
                    <a:pt x="53749" y="163931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31" name="Forme libre : forme 230">
              <a:extLst>
                <a:ext uri="{FF2B5EF4-FFF2-40B4-BE49-F238E27FC236}">
                  <a16:creationId xmlns:a16="http://schemas.microsoft.com/office/drawing/2014/main" id="{657E3F82-8F6D-4B3C-9CA0-B9A015FFE96A}"/>
                </a:ext>
              </a:extLst>
            </p:cNvPr>
            <p:cNvSpPr/>
            <p:nvPr/>
          </p:nvSpPr>
          <p:spPr>
            <a:xfrm>
              <a:off x="6940511" y="4365677"/>
              <a:ext cx="189143" cy="297224"/>
            </a:xfrm>
            <a:custGeom>
              <a:avLst/>
              <a:gdLst>
                <a:gd name="connsiteX0" fmla="*/ 95479 w 189142"/>
                <a:gd name="connsiteY0" fmla="*/ 6 h 297224"/>
                <a:gd name="connsiteX1" fmla="*/ 27928 w 189142"/>
                <a:gd name="connsiteY1" fmla="*/ 28828 h 297224"/>
                <a:gd name="connsiteX2" fmla="*/ 7 w 189142"/>
                <a:gd name="connsiteY2" fmla="*/ 97880 h 297224"/>
                <a:gd name="connsiteX3" fmla="*/ 7 w 189142"/>
                <a:gd name="connsiteY3" fmla="*/ 200858 h 297224"/>
                <a:gd name="connsiteX4" fmla="*/ 27928 w 189142"/>
                <a:gd name="connsiteY4" fmla="*/ 269910 h 297224"/>
                <a:gd name="connsiteX5" fmla="*/ 162429 w 189142"/>
                <a:gd name="connsiteY5" fmla="*/ 270811 h 297224"/>
                <a:gd name="connsiteX6" fmla="*/ 163330 w 189142"/>
                <a:gd name="connsiteY6" fmla="*/ 269910 h 297224"/>
                <a:gd name="connsiteX7" fmla="*/ 191551 w 189142"/>
                <a:gd name="connsiteY7" fmla="*/ 200858 h 297224"/>
                <a:gd name="connsiteX8" fmla="*/ 191551 w 189142"/>
                <a:gd name="connsiteY8" fmla="*/ 97880 h 297224"/>
                <a:gd name="connsiteX9" fmla="*/ 163330 w 189142"/>
                <a:gd name="connsiteY9" fmla="*/ 28828 h 297224"/>
                <a:gd name="connsiteX10" fmla="*/ 95479 w 189142"/>
                <a:gd name="connsiteY10" fmla="*/ 6 h 297224"/>
                <a:gd name="connsiteX11" fmla="*/ 54348 w 189142"/>
                <a:gd name="connsiteY11" fmla="*/ 97880 h 297224"/>
                <a:gd name="connsiteX12" fmla="*/ 67257 w 189142"/>
                <a:gd name="connsiteY12" fmla="*/ 67858 h 297224"/>
                <a:gd name="connsiteX13" fmla="*/ 125501 w 189142"/>
                <a:gd name="connsiteY13" fmla="*/ 67858 h 297224"/>
                <a:gd name="connsiteX14" fmla="*/ 138411 w 189142"/>
                <a:gd name="connsiteY14" fmla="*/ 97880 h 297224"/>
                <a:gd name="connsiteX15" fmla="*/ 138411 w 189142"/>
                <a:gd name="connsiteY15" fmla="*/ 200858 h 297224"/>
                <a:gd name="connsiteX16" fmla="*/ 125501 w 189142"/>
                <a:gd name="connsiteY16" fmla="*/ 230580 h 297224"/>
                <a:gd name="connsiteX17" fmla="*/ 68458 w 189142"/>
                <a:gd name="connsiteY17" fmla="*/ 232081 h 297224"/>
                <a:gd name="connsiteX18" fmla="*/ 67257 w 189142"/>
                <a:gd name="connsiteY18" fmla="*/ 230580 h 297224"/>
                <a:gd name="connsiteX19" fmla="*/ 54948 w 189142"/>
                <a:gd name="connsiteY19" fmla="*/ 200858 h 297224"/>
                <a:gd name="connsiteX20" fmla="*/ 54348 w 189142"/>
                <a:gd name="connsiteY20" fmla="*/ 97880 h 297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9142" h="297224">
                  <a:moveTo>
                    <a:pt x="95479" y="6"/>
                  </a:moveTo>
                  <a:cubicBezTo>
                    <a:pt x="69959" y="-294"/>
                    <a:pt x="45641" y="9914"/>
                    <a:pt x="27928" y="28828"/>
                  </a:cubicBezTo>
                  <a:cubicBezTo>
                    <a:pt x="9614" y="47142"/>
                    <a:pt x="-294" y="72061"/>
                    <a:pt x="7" y="97880"/>
                  </a:cubicBezTo>
                  <a:lnTo>
                    <a:pt x="7" y="200858"/>
                  </a:lnTo>
                  <a:cubicBezTo>
                    <a:pt x="-294" y="226677"/>
                    <a:pt x="9914" y="251896"/>
                    <a:pt x="27928" y="269910"/>
                  </a:cubicBezTo>
                  <a:cubicBezTo>
                    <a:pt x="64856" y="307738"/>
                    <a:pt x="124901" y="308039"/>
                    <a:pt x="162429" y="270811"/>
                  </a:cubicBezTo>
                  <a:cubicBezTo>
                    <a:pt x="162730" y="270510"/>
                    <a:pt x="163030" y="270210"/>
                    <a:pt x="163330" y="269910"/>
                  </a:cubicBezTo>
                  <a:cubicBezTo>
                    <a:pt x="181644" y="251596"/>
                    <a:pt x="191852" y="226677"/>
                    <a:pt x="191551" y="200858"/>
                  </a:cubicBezTo>
                  <a:lnTo>
                    <a:pt x="191551" y="97880"/>
                  </a:lnTo>
                  <a:cubicBezTo>
                    <a:pt x="191852" y="71761"/>
                    <a:pt x="181644" y="46842"/>
                    <a:pt x="163330" y="28828"/>
                  </a:cubicBezTo>
                  <a:cubicBezTo>
                    <a:pt x="145617" y="9914"/>
                    <a:pt x="120998" y="-294"/>
                    <a:pt x="95479" y="6"/>
                  </a:cubicBezTo>
                  <a:moveTo>
                    <a:pt x="54348" y="97880"/>
                  </a:moveTo>
                  <a:cubicBezTo>
                    <a:pt x="54348" y="86472"/>
                    <a:pt x="58851" y="75363"/>
                    <a:pt x="67257" y="67858"/>
                  </a:cubicBezTo>
                  <a:cubicBezTo>
                    <a:pt x="83470" y="51645"/>
                    <a:pt x="109289" y="51645"/>
                    <a:pt x="125501" y="67858"/>
                  </a:cubicBezTo>
                  <a:cubicBezTo>
                    <a:pt x="133908" y="75663"/>
                    <a:pt x="138411" y="86472"/>
                    <a:pt x="138411" y="97880"/>
                  </a:cubicBezTo>
                  <a:lnTo>
                    <a:pt x="138411" y="200858"/>
                  </a:lnTo>
                  <a:cubicBezTo>
                    <a:pt x="138711" y="212267"/>
                    <a:pt x="133908" y="223075"/>
                    <a:pt x="125501" y="230580"/>
                  </a:cubicBezTo>
                  <a:cubicBezTo>
                    <a:pt x="110190" y="246793"/>
                    <a:pt x="84671" y="247393"/>
                    <a:pt x="68458" y="232081"/>
                  </a:cubicBezTo>
                  <a:cubicBezTo>
                    <a:pt x="67858" y="231781"/>
                    <a:pt x="67558" y="231181"/>
                    <a:pt x="67257" y="230580"/>
                  </a:cubicBezTo>
                  <a:cubicBezTo>
                    <a:pt x="59151" y="222774"/>
                    <a:pt x="54948" y="212267"/>
                    <a:pt x="54948" y="200858"/>
                  </a:cubicBezTo>
                  <a:lnTo>
                    <a:pt x="54348" y="97880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32" name="Forme libre : forme 231">
              <a:extLst>
                <a:ext uri="{FF2B5EF4-FFF2-40B4-BE49-F238E27FC236}">
                  <a16:creationId xmlns:a16="http://schemas.microsoft.com/office/drawing/2014/main" id="{69A7FC27-F494-4135-A2FB-A1B28CFE8C5D}"/>
                </a:ext>
              </a:extLst>
            </p:cNvPr>
            <p:cNvSpPr/>
            <p:nvPr/>
          </p:nvSpPr>
          <p:spPr>
            <a:xfrm>
              <a:off x="7438285" y="4369280"/>
              <a:ext cx="183138" cy="288217"/>
            </a:xfrm>
            <a:custGeom>
              <a:avLst/>
              <a:gdLst>
                <a:gd name="connsiteX0" fmla="*/ 81070 w 183138"/>
                <a:gd name="connsiteY0" fmla="*/ 306 h 288217"/>
                <a:gd name="connsiteX1" fmla="*/ 18923 w 183138"/>
                <a:gd name="connsiteY1" fmla="*/ 306 h 288217"/>
                <a:gd name="connsiteX2" fmla="*/ 8 w 183138"/>
                <a:gd name="connsiteY2" fmla="*/ 16819 h 288217"/>
                <a:gd name="connsiteX3" fmla="*/ 8 w 183138"/>
                <a:gd name="connsiteY3" fmla="*/ 19521 h 288217"/>
                <a:gd name="connsiteX4" fmla="*/ 8 w 183138"/>
                <a:gd name="connsiteY4" fmla="*/ 272011 h 288217"/>
                <a:gd name="connsiteX5" fmla="*/ 17421 w 183138"/>
                <a:gd name="connsiteY5" fmla="*/ 290625 h 288217"/>
                <a:gd name="connsiteX6" fmla="*/ 18622 w 183138"/>
                <a:gd name="connsiteY6" fmla="*/ 290625 h 288217"/>
                <a:gd name="connsiteX7" fmla="*/ 90377 w 183138"/>
                <a:gd name="connsiteY7" fmla="*/ 290625 h 288217"/>
                <a:gd name="connsiteX8" fmla="*/ 157627 w 183138"/>
                <a:gd name="connsiteY8" fmla="*/ 262704 h 288217"/>
                <a:gd name="connsiteX9" fmla="*/ 185248 w 183138"/>
                <a:gd name="connsiteY9" fmla="*/ 194553 h 288217"/>
                <a:gd name="connsiteX10" fmla="*/ 185248 w 183138"/>
                <a:gd name="connsiteY10" fmla="*/ 104485 h 288217"/>
                <a:gd name="connsiteX11" fmla="*/ 154625 w 183138"/>
                <a:gd name="connsiteY11" fmla="*/ 30629 h 288217"/>
                <a:gd name="connsiteX12" fmla="*/ 80769 w 183138"/>
                <a:gd name="connsiteY12" fmla="*/ 6 h 288217"/>
                <a:gd name="connsiteX13" fmla="*/ 89776 w 183138"/>
                <a:gd name="connsiteY13" fmla="*/ 234483 h 288217"/>
                <a:gd name="connsiteX14" fmla="*/ 54950 w 183138"/>
                <a:gd name="connsiteY14" fmla="*/ 234483 h 288217"/>
                <a:gd name="connsiteX15" fmla="*/ 54950 w 183138"/>
                <a:gd name="connsiteY15" fmla="*/ 55848 h 288217"/>
                <a:gd name="connsiteX16" fmla="*/ 80469 w 183138"/>
                <a:gd name="connsiteY16" fmla="*/ 55848 h 288217"/>
                <a:gd name="connsiteX17" fmla="*/ 114995 w 183138"/>
                <a:gd name="connsiteY17" fmla="*/ 70259 h 288217"/>
                <a:gd name="connsiteX18" fmla="*/ 129706 w 183138"/>
                <a:gd name="connsiteY18" fmla="*/ 104485 h 288217"/>
                <a:gd name="connsiteX19" fmla="*/ 129706 w 183138"/>
                <a:gd name="connsiteY19" fmla="*/ 194553 h 288217"/>
                <a:gd name="connsiteX20" fmla="*/ 90076 w 183138"/>
                <a:gd name="connsiteY20" fmla="*/ 233882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3138" h="288217">
                  <a:moveTo>
                    <a:pt x="81070" y="306"/>
                  </a:moveTo>
                  <a:lnTo>
                    <a:pt x="18923" y="306"/>
                  </a:lnTo>
                  <a:cubicBezTo>
                    <a:pt x="9015" y="-294"/>
                    <a:pt x="609" y="7211"/>
                    <a:pt x="8" y="16819"/>
                  </a:cubicBezTo>
                  <a:cubicBezTo>
                    <a:pt x="8" y="17719"/>
                    <a:pt x="8" y="18620"/>
                    <a:pt x="8" y="19521"/>
                  </a:cubicBezTo>
                  <a:lnTo>
                    <a:pt x="8" y="272011"/>
                  </a:lnTo>
                  <a:cubicBezTo>
                    <a:pt x="-292" y="281919"/>
                    <a:pt x="7514" y="290325"/>
                    <a:pt x="17421" y="290625"/>
                  </a:cubicBezTo>
                  <a:cubicBezTo>
                    <a:pt x="17722" y="290625"/>
                    <a:pt x="18322" y="290625"/>
                    <a:pt x="18622" y="290625"/>
                  </a:cubicBezTo>
                  <a:lnTo>
                    <a:pt x="90377" y="290625"/>
                  </a:lnTo>
                  <a:cubicBezTo>
                    <a:pt x="115596" y="290925"/>
                    <a:pt x="139914" y="280718"/>
                    <a:pt x="157627" y="262704"/>
                  </a:cubicBezTo>
                  <a:cubicBezTo>
                    <a:pt x="175941" y="244690"/>
                    <a:pt x="185849" y="220072"/>
                    <a:pt x="185248" y="194553"/>
                  </a:cubicBezTo>
                  <a:lnTo>
                    <a:pt x="185248" y="104485"/>
                  </a:lnTo>
                  <a:cubicBezTo>
                    <a:pt x="185549" y="76864"/>
                    <a:pt x="174440" y="50144"/>
                    <a:pt x="154625" y="30629"/>
                  </a:cubicBezTo>
                  <a:cubicBezTo>
                    <a:pt x="135411" y="10814"/>
                    <a:pt x="108691" y="-294"/>
                    <a:pt x="80769" y="6"/>
                  </a:cubicBezTo>
                  <a:moveTo>
                    <a:pt x="89776" y="234483"/>
                  </a:moveTo>
                  <a:lnTo>
                    <a:pt x="54950" y="234483"/>
                  </a:lnTo>
                  <a:lnTo>
                    <a:pt x="54950" y="55848"/>
                  </a:lnTo>
                  <a:lnTo>
                    <a:pt x="80469" y="55848"/>
                  </a:lnTo>
                  <a:cubicBezTo>
                    <a:pt x="93379" y="55548"/>
                    <a:pt x="105988" y="60952"/>
                    <a:pt x="114995" y="70259"/>
                  </a:cubicBezTo>
                  <a:cubicBezTo>
                    <a:pt x="124603" y="79266"/>
                    <a:pt x="129706" y="91575"/>
                    <a:pt x="129706" y="104485"/>
                  </a:cubicBezTo>
                  <a:lnTo>
                    <a:pt x="129706" y="194553"/>
                  </a:lnTo>
                  <a:cubicBezTo>
                    <a:pt x="129406" y="216169"/>
                    <a:pt x="111693" y="233582"/>
                    <a:pt x="90076" y="233882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33" name="Forme libre : forme 232">
              <a:extLst>
                <a:ext uri="{FF2B5EF4-FFF2-40B4-BE49-F238E27FC236}">
                  <a16:creationId xmlns:a16="http://schemas.microsoft.com/office/drawing/2014/main" id="{AA9F809A-5225-465E-8789-C294D13B4FAC}"/>
                </a:ext>
              </a:extLst>
            </p:cNvPr>
            <p:cNvSpPr/>
            <p:nvPr/>
          </p:nvSpPr>
          <p:spPr>
            <a:xfrm>
              <a:off x="7680868" y="4369878"/>
              <a:ext cx="159120" cy="288217"/>
            </a:xfrm>
            <a:custGeom>
              <a:avLst/>
              <a:gdLst>
                <a:gd name="connsiteX0" fmla="*/ 143517 w 159120"/>
                <a:gd name="connsiteY0" fmla="*/ 233584 h 288217"/>
                <a:gd name="connsiteX1" fmla="*/ 53449 w 159120"/>
                <a:gd name="connsiteY1" fmla="*/ 233584 h 288217"/>
                <a:gd name="connsiteX2" fmla="*/ 53449 w 159120"/>
                <a:gd name="connsiteY2" fmla="*/ 163331 h 288217"/>
                <a:gd name="connsiteX3" fmla="*/ 127905 w 159120"/>
                <a:gd name="connsiteY3" fmla="*/ 163331 h 288217"/>
                <a:gd name="connsiteX4" fmla="*/ 145619 w 159120"/>
                <a:gd name="connsiteY4" fmla="*/ 145318 h 288217"/>
                <a:gd name="connsiteX5" fmla="*/ 145619 w 159120"/>
                <a:gd name="connsiteY5" fmla="*/ 144417 h 288217"/>
                <a:gd name="connsiteX6" fmla="*/ 145619 w 159120"/>
                <a:gd name="connsiteY6" fmla="*/ 125503 h 288217"/>
                <a:gd name="connsiteX7" fmla="*/ 129707 w 159120"/>
                <a:gd name="connsiteY7" fmla="*/ 106889 h 288217"/>
                <a:gd name="connsiteX8" fmla="*/ 127905 w 159120"/>
                <a:gd name="connsiteY8" fmla="*/ 106889 h 288217"/>
                <a:gd name="connsiteX9" fmla="*/ 53449 w 159120"/>
                <a:gd name="connsiteY9" fmla="*/ 106889 h 288217"/>
                <a:gd name="connsiteX10" fmla="*/ 53449 w 159120"/>
                <a:gd name="connsiteY10" fmla="*/ 54349 h 288217"/>
                <a:gd name="connsiteX11" fmla="*/ 140515 w 159120"/>
                <a:gd name="connsiteY11" fmla="*/ 54349 h 288217"/>
                <a:gd name="connsiteX12" fmla="*/ 158528 w 159120"/>
                <a:gd name="connsiteY12" fmla="*/ 36636 h 288217"/>
                <a:gd name="connsiteX13" fmla="*/ 158528 w 159120"/>
                <a:gd name="connsiteY13" fmla="*/ 35735 h 288217"/>
                <a:gd name="connsiteX14" fmla="*/ 158528 w 159120"/>
                <a:gd name="connsiteY14" fmla="*/ 18622 h 288217"/>
                <a:gd name="connsiteX15" fmla="*/ 141716 w 159120"/>
                <a:gd name="connsiteY15" fmla="*/ 8 h 288217"/>
                <a:gd name="connsiteX16" fmla="*/ 140515 w 159120"/>
                <a:gd name="connsiteY16" fmla="*/ 8 h 288217"/>
                <a:gd name="connsiteX17" fmla="*/ 17722 w 159120"/>
                <a:gd name="connsiteY17" fmla="*/ 8 h 288217"/>
                <a:gd name="connsiteX18" fmla="*/ 9 w 159120"/>
                <a:gd name="connsiteY18" fmla="*/ 17421 h 288217"/>
                <a:gd name="connsiteX19" fmla="*/ 9 w 159120"/>
                <a:gd name="connsiteY19" fmla="*/ 18622 h 288217"/>
                <a:gd name="connsiteX20" fmla="*/ 9 w 159120"/>
                <a:gd name="connsiteY20" fmla="*/ 271113 h 288217"/>
                <a:gd name="connsiteX21" fmla="*/ 16822 w 159120"/>
                <a:gd name="connsiteY21" fmla="*/ 289727 h 288217"/>
                <a:gd name="connsiteX22" fmla="*/ 18022 w 159120"/>
                <a:gd name="connsiteY22" fmla="*/ 289727 h 288217"/>
                <a:gd name="connsiteX23" fmla="*/ 143217 w 159120"/>
                <a:gd name="connsiteY23" fmla="*/ 289727 h 288217"/>
                <a:gd name="connsiteX24" fmla="*/ 161231 w 159120"/>
                <a:gd name="connsiteY24" fmla="*/ 272313 h 288217"/>
                <a:gd name="connsiteX25" fmla="*/ 161231 w 159120"/>
                <a:gd name="connsiteY25" fmla="*/ 271113 h 288217"/>
                <a:gd name="connsiteX26" fmla="*/ 161231 w 159120"/>
                <a:gd name="connsiteY26" fmla="*/ 252799 h 288217"/>
                <a:gd name="connsiteX27" fmla="*/ 144418 w 159120"/>
                <a:gd name="connsiteY27" fmla="*/ 234185 h 288217"/>
                <a:gd name="connsiteX28" fmla="*/ 143217 w 159120"/>
                <a:gd name="connsiteY28" fmla="*/ 234185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9120" h="288217">
                  <a:moveTo>
                    <a:pt x="143517" y="233584"/>
                  </a:moveTo>
                  <a:lnTo>
                    <a:pt x="53449" y="233584"/>
                  </a:lnTo>
                  <a:lnTo>
                    <a:pt x="53449" y="163331"/>
                  </a:lnTo>
                  <a:lnTo>
                    <a:pt x="127905" y="163331"/>
                  </a:lnTo>
                  <a:cubicBezTo>
                    <a:pt x="137513" y="163331"/>
                    <a:pt x="145619" y="155525"/>
                    <a:pt x="145619" y="145318"/>
                  </a:cubicBezTo>
                  <a:cubicBezTo>
                    <a:pt x="145619" y="145017"/>
                    <a:pt x="145619" y="144717"/>
                    <a:pt x="145619" y="144417"/>
                  </a:cubicBezTo>
                  <a:lnTo>
                    <a:pt x="145619" y="125503"/>
                  </a:lnTo>
                  <a:cubicBezTo>
                    <a:pt x="146219" y="115895"/>
                    <a:pt x="139014" y="107489"/>
                    <a:pt x="129707" y="106889"/>
                  </a:cubicBezTo>
                  <a:cubicBezTo>
                    <a:pt x="129106" y="106889"/>
                    <a:pt x="128506" y="106889"/>
                    <a:pt x="127905" y="106889"/>
                  </a:cubicBezTo>
                  <a:lnTo>
                    <a:pt x="53449" y="106889"/>
                  </a:lnTo>
                  <a:lnTo>
                    <a:pt x="53449" y="54349"/>
                  </a:lnTo>
                  <a:lnTo>
                    <a:pt x="140515" y="54349"/>
                  </a:lnTo>
                  <a:cubicBezTo>
                    <a:pt x="150422" y="54649"/>
                    <a:pt x="158528" y="46543"/>
                    <a:pt x="158528" y="36636"/>
                  </a:cubicBezTo>
                  <a:cubicBezTo>
                    <a:pt x="158528" y="36335"/>
                    <a:pt x="158528" y="36035"/>
                    <a:pt x="158528" y="35735"/>
                  </a:cubicBezTo>
                  <a:lnTo>
                    <a:pt x="158528" y="18622"/>
                  </a:lnTo>
                  <a:cubicBezTo>
                    <a:pt x="158829" y="8715"/>
                    <a:pt x="151323" y="308"/>
                    <a:pt x="141716" y="8"/>
                  </a:cubicBezTo>
                  <a:cubicBezTo>
                    <a:pt x="141416" y="8"/>
                    <a:pt x="140815" y="8"/>
                    <a:pt x="140515" y="8"/>
                  </a:cubicBezTo>
                  <a:lnTo>
                    <a:pt x="17722" y="8"/>
                  </a:lnTo>
                  <a:cubicBezTo>
                    <a:pt x="8115" y="-292"/>
                    <a:pt x="309" y="7814"/>
                    <a:pt x="9" y="17421"/>
                  </a:cubicBezTo>
                  <a:cubicBezTo>
                    <a:pt x="9" y="17721"/>
                    <a:pt x="9" y="18322"/>
                    <a:pt x="9" y="18622"/>
                  </a:cubicBezTo>
                  <a:lnTo>
                    <a:pt x="9" y="271113"/>
                  </a:lnTo>
                  <a:cubicBezTo>
                    <a:pt x="-291" y="281020"/>
                    <a:pt x="7214" y="289426"/>
                    <a:pt x="16822" y="289727"/>
                  </a:cubicBezTo>
                  <a:cubicBezTo>
                    <a:pt x="17122" y="289727"/>
                    <a:pt x="17722" y="289727"/>
                    <a:pt x="18022" y="289727"/>
                  </a:cubicBezTo>
                  <a:lnTo>
                    <a:pt x="143217" y="289727"/>
                  </a:lnTo>
                  <a:cubicBezTo>
                    <a:pt x="152824" y="290027"/>
                    <a:pt x="160930" y="282221"/>
                    <a:pt x="161231" y="272313"/>
                  </a:cubicBezTo>
                  <a:cubicBezTo>
                    <a:pt x="161231" y="272013"/>
                    <a:pt x="161231" y="271413"/>
                    <a:pt x="161231" y="271113"/>
                  </a:cubicBezTo>
                  <a:lnTo>
                    <a:pt x="161231" y="252799"/>
                  </a:lnTo>
                  <a:cubicBezTo>
                    <a:pt x="161531" y="242891"/>
                    <a:pt x="154025" y="234485"/>
                    <a:pt x="144418" y="234185"/>
                  </a:cubicBezTo>
                  <a:cubicBezTo>
                    <a:pt x="144118" y="234185"/>
                    <a:pt x="143517" y="234185"/>
                    <a:pt x="143217" y="234185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34" name="Forme libre : forme 233">
              <a:extLst>
                <a:ext uri="{FF2B5EF4-FFF2-40B4-BE49-F238E27FC236}">
                  <a16:creationId xmlns:a16="http://schemas.microsoft.com/office/drawing/2014/main" id="{0863FA8E-322B-45F9-9009-6AE9E6FA673B}"/>
                </a:ext>
              </a:extLst>
            </p:cNvPr>
            <p:cNvSpPr/>
            <p:nvPr/>
          </p:nvSpPr>
          <p:spPr>
            <a:xfrm>
              <a:off x="7885323" y="4369575"/>
              <a:ext cx="219166" cy="288217"/>
            </a:xfrm>
            <a:custGeom>
              <a:avLst/>
              <a:gdLst>
                <a:gd name="connsiteX0" fmla="*/ 144418 w 219165"/>
                <a:gd name="connsiteY0" fmla="*/ 13221 h 288217"/>
                <a:gd name="connsiteX1" fmla="*/ 127305 w 219165"/>
                <a:gd name="connsiteY1" fmla="*/ 11 h 288217"/>
                <a:gd name="connsiteX2" fmla="*/ 94280 w 219165"/>
                <a:gd name="connsiteY2" fmla="*/ 11 h 288217"/>
                <a:gd name="connsiteX3" fmla="*/ 76867 w 219165"/>
                <a:gd name="connsiteY3" fmla="*/ 13221 h 288217"/>
                <a:gd name="connsiteX4" fmla="*/ 1510 w 219165"/>
                <a:gd name="connsiteY4" fmla="*/ 264211 h 288217"/>
                <a:gd name="connsiteX5" fmla="*/ 9 w 219165"/>
                <a:gd name="connsiteY5" fmla="*/ 271716 h 288217"/>
                <a:gd name="connsiteX6" fmla="*/ 17121 w 219165"/>
                <a:gd name="connsiteY6" fmla="*/ 290330 h 288217"/>
                <a:gd name="connsiteX7" fmla="*/ 18322 w 219165"/>
                <a:gd name="connsiteY7" fmla="*/ 290330 h 288217"/>
                <a:gd name="connsiteX8" fmla="*/ 36636 w 219165"/>
                <a:gd name="connsiteY8" fmla="*/ 290330 h 288217"/>
                <a:gd name="connsiteX9" fmla="*/ 54050 w 219165"/>
                <a:gd name="connsiteY9" fmla="*/ 277120 h 288217"/>
                <a:gd name="connsiteX10" fmla="*/ 76266 w 219165"/>
                <a:gd name="connsiteY10" fmla="*/ 203565 h 288217"/>
                <a:gd name="connsiteX11" fmla="*/ 144118 w 219165"/>
                <a:gd name="connsiteY11" fmla="*/ 203565 h 288217"/>
                <a:gd name="connsiteX12" fmla="*/ 166635 w 219165"/>
                <a:gd name="connsiteY12" fmla="*/ 277721 h 288217"/>
                <a:gd name="connsiteX13" fmla="*/ 166635 w 219165"/>
                <a:gd name="connsiteY13" fmla="*/ 278922 h 288217"/>
                <a:gd name="connsiteX14" fmla="*/ 183747 w 219165"/>
                <a:gd name="connsiteY14" fmla="*/ 290630 h 288217"/>
                <a:gd name="connsiteX15" fmla="*/ 202361 w 219165"/>
                <a:gd name="connsiteY15" fmla="*/ 290630 h 288217"/>
                <a:gd name="connsiteX16" fmla="*/ 220675 w 219165"/>
                <a:gd name="connsiteY16" fmla="*/ 272617 h 288217"/>
                <a:gd name="connsiteX17" fmla="*/ 220675 w 219165"/>
                <a:gd name="connsiteY17" fmla="*/ 272016 h 288217"/>
                <a:gd name="connsiteX18" fmla="*/ 219474 w 219165"/>
                <a:gd name="connsiteY18" fmla="*/ 265111 h 288217"/>
                <a:gd name="connsiteX19" fmla="*/ 144418 w 219165"/>
                <a:gd name="connsiteY19" fmla="*/ 13221 h 288217"/>
                <a:gd name="connsiteX20" fmla="*/ 131208 w 219165"/>
                <a:gd name="connsiteY20" fmla="*/ 147723 h 288217"/>
                <a:gd name="connsiteX21" fmla="*/ 90677 w 219165"/>
                <a:gd name="connsiteY21" fmla="*/ 147723 h 288217"/>
                <a:gd name="connsiteX22" fmla="*/ 110792 w 219165"/>
                <a:gd name="connsiteY22" fmla="*/ 78370 h 288217"/>
                <a:gd name="connsiteX23" fmla="*/ 131208 w 219165"/>
                <a:gd name="connsiteY23" fmla="*/ 147723 h 288217"/>
                <a:gd name="connsiteX24" fmla="*/ 131208 w 219165"/>
                <a:gd name="connsiteY24" fmla="*/ 147723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19165" h="288217">
                  <a:moveTo>
                    <a:pt x="144418" y="13221"/>
                  </a:moveTo>
                  <a:cubicBezTo>
                    <a:pt x="142316" y="5415"/>
                    <a:pt x="135111" y="11"/>
                    <a:pt x="127305" y="11"/>
                  </a:cubicBezTo>
                  <a:lnTo>
                    <a:pt x="94280" y="11"/>
                  </a:lnTo>
                  <a:cubicBezTo>
                    <a:pt x="86174" y="-289"/>
                    <a:pt x="78968" y="5415"/>
                    <a:pt x="76867" y="13221"/>
                  </a:cubicBezTo>
                  <a:lnTo>
                    <a:pt x="1510" y="264211"/>
                  </a:lnTo>
                  <a:cubicBezTo>
                    <a:pt x="309" y="266612"/>
                    <a:pt x="9" y="269014"/>
                    <a:pt x="9" y="271716"/>
                  </a:cubicBezTo>
                  <a:cubicBezTo>
                    <a:pt x="-292" y="281624"/>
                    <a:pt x="7214" y="290030"/>
                    <a:pt x="17121" y="290330"/>
                  </a:cubicBezTo>
                  <a:cubicBezTo>
                    <a:pt x="17422" y="290330"/>
                    <a:pt x="18022" y="290330"/>
                    <a:pt x="18322" y="290330"/>
                  </a:cubicBezTo>
                  <a:lnTo>
                    <a:pt x="36636" y="290330"/>
                  </a:lnTo>
                  <a:cubicBezTo>
                    <a:pt x="44742" y="290630"/>
                    <a:pt x="51948" y="285226"/>
                    <a:pt x="54050" y="277120"/>
                  </a:cubicBezTo>
                  <a:lnTo>
                    <a:pt x="76266" y="203565"/>
                  </a:lnTo>
                  <a:lnTo>
                    <a:pt x="144118" y="203565"/>
                  </a:lnTo>
                  <a:lnTo>
                    <a:pt x="166635" y="277721"/>
                  </a:lnTo>
                  <a:lnTo>
                    <a:pt x="166635" y="278922"/>
                  </a:lnTo>
                  <a:cubicBezTo>
                    <a:pt x="169337" y="286127"/>
                    <a:pt x="176242" y="290931"/>
                    <a:pt x="183747" y="290630"/>
                  </a:cubicBezTo>
                  <a:lnTo>
                    <a:pt x="202361" y="290630"/>
                  </a:lnTo>
                  <a:cubicBezTo>
                    <a:pt x="212269" y="290630"/>
                    <a:pt x="220375" y="282825"/>
                    <a:pt x="220675" y="272617"/>
                  </a:cubicBezTo>
                  <a:cubicBezTo>
                    <a:pt x="220675" y="272317"/>
                    <a:pt x="220675" y="272317"/>
                    <a:pt x="220675" y="272016"/>
                  </a:cubicBezTo>
                  <a:cubicBezTo>
                    <a:pt x="220675" y="269615"/>
                    <a:pt x="220375" y="267213"/>
                    <a:pt x="219474" y="265111"/>
                  </a:cubicBezTo>
                  <a:lnTo>
                    <a:pt x="144418" y="13221"/>
                  </a:lnTo>
                  <a:close/>
                  <a:moveTo>
                    <a:pt x="131208" y="147723"/>
                  </a:moveTo>
                  <a:lnTo>
                    <a:pt x="90677" y="147723"/>
                  </a:lnTo>
                  <a:lnTo>
                    <a:pt x="110792" y="78370"/>
                  </a:lnTo>
                  <a:lnTo>
                    <a:pt x="131208" y="147723"/>
                  </a:lnTo>
                  <a:lnTo>
                    <a:pt x="131208" y="147723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35" name="Forme libre : forme 234">
              <a:extLst>
                <a:ext uri="{FF2B5EF4-FFF2-40B4-BE49-F238E27FC236}">
                  <a16:creationId xmlns:a16="http://schemas.microsoft.com/office/drawing/2014/main" id="{C227BB27-36AF-449B-A0FB-A7E648520D15}"/>
                </a:ext>
              </a:extLst>
            </p:cNvPr>
            <p:cNvSpPr/>
            <p:nvPr/>
          </p:nvSpPr>
          <p:spPr>
            <a:xfrm>
              <a:off x="8147703" y="4369554"/>
              <a:ext cx="180136" cy="294222"/>
            </a:xfrm>
            <a:custGeom>
              <a:avLst/>
              <a:gdLst>
                <a:gd name="connsiteX0" fmla="*/ 161849 w 180136"/>
                <a:gd name="connsiteY0" fmla="*/ 32 h 294221"/>
                <a:gd name="connsiteX1" fmla="*/ 143835 w 180136"/>
                <a:gd name="connsiteY1" fmla="*/ 32 h 294221"/>
                <a:gd name="connsiteX2" fmla="*/ 125221 w 180136"/>
                <a:gd name="connsiteY2" fmla="*/ 17145 h 294221"/>
                <a:gd name="connsiteX3" fmla="*/ 125221 w 180136"/>
                <a:gd name="connsiteY3" fmla="*/ 19247 h 294221"/>
                <a:gd name="connsiteX4" fmla="*/ 125221 w 180136"/>
                <a:gd name="connsiteY4" fmla="*/ 203286 h 294221"/>
                <a:gd name="connsiteX5" fmla="*/ 115013 w 180136"/>
                <a:gd name="connsiteY5" fmla="*/ 228805 h 294221"/>
                <a:gd name="connsiteX6" fmla="*/ 64575 w 180136"/>
                <a:gd name="connsiteY6" fmla="*/ 227904 h 294221"/>
                <a:gd name="connsiteX7" fmla="*/ 54668 w 180136"/>
                <a:gd name="connsiteY7" fmla="*/ 203286 h 294221"/>
                <a:gd name="connsiteX8" fmla="*/ 54668 w 180136"/>
                <a:gd name="connsiteY8" fmla="*/ 19247 h 294221"/>
                <a:gd name="connsiteX9" fmla="*/ 38155 w 180136"/>
                <a:gd name="connsiteY9" fmla="*/ 633 h 294221"/>
                <a:gd name="connsiteX10" fmla="*/ 36354 w 180136"/>
                <a:gd name="connsiteY10" fmla="*/ 633 h 294221"/>
                <a:gd name="connsiteX11" fmla="*/ 18341 w 180136"/>
                <a:gd name="connsiteY11" fmla="*/ 633 h 294221"/>
                <a:gd name="connsiteX12" fmla="*/ 27 w 180136"/>
                <a:gd name="connsiteY12" fmla="*/ 18046 h 294221"/>
                <a:gd name="connsiteX13" fmla="*/ 27 w 180136"/>
                <a:gd name="connsiteY13" fmla="*/ 19247 h 294221"/>
                <a:gd name="connsiteX14" fmla="*/ 27 w 180136"/>
                <a:gd name="connsiteY14" fmla="*/ 203286 h 294221"/>
                <a:gd name="connsiteX15" fmla="*/ 26146 w 180136"/>
                <a:gd name="connsiteY15" fmla="*/ 268135 h 294221"/>
                <a:gd name="connsiteX16" fmla="*/ 153443 w 180136"/>
                <a:gd name="connsiteY16" fmla="*/ 268735 h 294221"/>
                <a:gd name="connsiteX17" fmla="*/ 154043 w 180136"/>
                <a:gd name="connsiteY17" fmla="*/ 268135 h 294221"/>
                <a:gd name="connsiteX18" fmla="*/ 180163 w 180136"/>
                <a:gd name="connsiteY18" fmla="*/ 203286 h 294221"/>
                <a:gd name="connsiteX19" fmla="*/ 180163 w 180136"/>
                <a:gd name="connsiteY19" fmla="*/ 18947 h 294221"/>
                <a:gd name="connsiteX20" fmla="*/ 163350 w 180136"/>
                <a:gd name="connsiteY20" fmla="*/ 333 h 294221"/>
                <a:gd name="connsiteX21" fmla="*/ 161549 w 180136"/>
                <a:gd name="connsiteY21" fmla="*/ 333 h 294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80136" h="294221">
                  <a:moveTo>
                    <a:pt x="161849" y="32"/>
                  </a:moveTo>
                  <a:lnTo>
                    <a:pt x="143835" y="32"/>
                  </a:lnTo>
                  <a:cubicBezTo>
                    <a:pt x="133928" y="-568"/>
                    <a:pt x="125521" y="7238"/>
                    <a:pt x="125221" y="17145"/>
                  </a:cubicBezTo>
                  <a:cubicBezTo>
                    <a:pt x="125221" y="17746"/>
                    <a:pt x="125221" y="18646"/>
                    <a:pt x="125221" y="19247"/>
                  </a:cubicBezTo>
                  <a:lnTo>
                    <a:pt x="125221" y="203286"/>
                  </a:lnTo>
                  <a:cubicBezTo>
                    <a:pt x="125521" y="212893"/>
                    <a:pt x="121919" y="222200"/>
                    <a:pt x="115013" y="228805"/>
                  </a:cubicBezTo>
                  <a:cubicBezTo>
                    <a:pt x="100903" y="242615"/>
                    <a:pt x="78086" y="242315"/>
                    <a:pt x="64575" y="227904"/>
                  </a:cubicBezTo>
                  <a:cubicBezTo>
                    <a:pt x="58271" y="221299"/>
                    <a:pt x="54668" y="212593"/>
                    <a:pt x="54668" y="203286"/>
                  </a:cubicBezTo>
                  <a:lnTo>
                    <a:pt x="54668" y="19247"/>
                  </a:lnTo>
                  <a:cubicBezTo>
                    <a:pt x="55268" y="9640"/>
                    <a:pt x="48063" y="1233"/>
                    <a:pt x="38155" y="633"/>
                  </a:cubicBezTo>
                  <a:cubicBezTo>
                    <a:pt x="37555" y="633"/>
                    <a:pt x="36954" y="633"/>
                    <a:pt x="36354" y="633"/>
                  </a:cubicBezTo>
                  <a:lnTo>
                    <a:pt x="18341" y="633"/>
                  </a:lnTo>
                  <a:cubicBezTo>
                    <a:pt x="8433" y="333"/>
                    <a:pt x="327" y="8139"/>
                    <a:pt x="27" y="18046"/>
                  </a:cubicBezTo>
                  <a:cubicBezTo>
                    <a:pt x="27" y="18346"/>
                    <a:pt x="27" y="18947"/>
                    <a:pt x="27" y="19247"/>
                  </a:cubicBezTo>
                  <a:lnTo>
                    <a:pt x="27" y="203286"/>
                  </a:lnTo>
                  <a:cubicBezTo>
                    <a:pt x="-574" y="227604"/>
                    <a:pt x="9033" y="251022"/>
                    <a:pt x="26146" y="268135"/>
                  </a:cubicBezTo>
                  <a:cubicBezTo>
                    <a:pt x="60973" y="303862"/>
                    <a:pt x="118016" y="304162"/>
                    <a:pt x="153443" y="268735"/>
                  </a:cubicBezTo>
                  <a:cubicBezTo>
                    <a:pt x="153743" y="268435"/>
                    <a:pt x="154043" y="268135"/>
                    <a:pt x="154043" y="268135"/>
                  </a:cubicBezTo>
                  <a:cubicBezTo>
                    <a:pt x="171156" y="251022"/>
                    <a:pt x="180463" y="227604"/>
                    <a:pt x="180163" y="203286"/>
                  </a:cubicBezTo>
                  <a:lnTo>
                    <a:pt x="180163" y="18947"/>
                  </a:lnTo>
                  <a:cubicBezTo>
                    <a:pt x="180763" y="9039"/>
                    <a:pt x="173257" y="933"/>
                    <a:pt x="163350" y="333"/>
                  </a:cubicBezTo>
                  <a:cubicBezTo>
                    <a:pt x="162750" y="333"/>
                    <a:pt x="162149" y="333"/>
                    <a:pt x="161549" y="333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36" name="Forme libre : forme 235">
              <a:extLst>
                <a:ext uri="{FF2B5EF4-FFF2-40B4-BE49-F238E27FC236}">
                  <a16:creationId xmlns:a16="http://schemas.microsoft.com/office/drawing/2014/main" id="{E6A5DC08-05CA-466A-93F5-CF62315640AF}"/>
                </a:ext>
              </a:extLst>
            </p:cNvPr>
            <p:cNvSpPr/>
            <p:nvPr/>
          </p:nvSpPr>
          <p:spPr>
            <a:xfrm>
              <a:off x="8374774" y="4369858"/>
              <a:ext cx="189143" cy="285215"/>
            </a:xfrm>
            <a:custGeom>
              <a:avLst/>
              <a:gdLst>
                <a:gd name="connsiteX0" fmla="*/ 124821 w 189142"/>
                <a:gd name="connsiteY0" fmla="*/ 143236 h 285215"/>
                <a:gd name="connsiteX1" fmla="*/ 187869 w 189142"/>
                <a:gd name="connsiteY1" fmla="*/ 25848 h 285215"/>
                <a:gd name="connsiteX2" fmla="*/ 189070 w 189142"/>
                <a:gd name="connsiteY2" fmla="*/ 22545 h 285215"/>
                <a:gd name="connsiteX3" fmla="*/ 185767 w 189142"/>
                <a:gd name="connsiteY3" fmla="*/ 6633 h 285215"/>
                <a:gd name="connsiteX4" fmla="*/ 171657 w 189142"/>
                <a:gd name="connsiteY4" fmla="*/ 28 h 285215"/>
                <a:gd name="connsiteX5" fmla="*/ 153343 w 189142"/>
                <a:gd name="connsiteY5" fmla="*/ 28 h 285215"/>
                <a:gd name="connsiteX6" fmla="*/ 137131 w 189142"/>
                <a:gd name="connsiteY6" fmla="*/ 10536 h 285215"/>
                <a:gd name="connsiteX7" fmla="*/ 94799 w 189142"/>
                <a:gd name="connsiteY7" fmla="*/ 88895 h 285215"/>
                <a:gd name="connsiteX8" fmla="*/ 52767 w 189142"/>
                <a:gd name="connsiteY8" fmla="*/ 11137 h 285215"/>
                <a:gd name="connsiteX9" fmla="*/ 36254 w 189142"/>
                <a:gd name="connsiteY9" fmla="*/ 28 h 285215"/>
                <a:gd name="connsiteX10" fmla="*/ 18241 w 189142"/>
                <a:gd name="connsiteY10" fmla="*/ 28 h 285215"/>
                <a:gd name="connsiteX11" fmla="*/ 3830 w 189142"/>
                <a:gd name="connsiteY11" fmla="*/ 6033 h 285215"/>
                <a:gd name="connsiteX12" fmla="*/ 828 w 189142"/>
                <a:gd name="connsiteY12" fmla="*/ 22545 h 285215"/>
                <a:gd name="connsiteX13" fmla="*/ 2028 w 189142"/>
                <a:gd name="connsiteY13" fmla="*/ 25848 h 285215"/>
                <a:gd name="connsiteX14" fmla="*/ 65076 w 189142"/>
                <a:gd name="connsiteY14" fmla="*/ 143236 h 285215"/>
                <a:gd name="connsiteX15" fmla="*/ 2028 w 189142"/>
                <a:gd name="connsiteY15" fmla="*/ 259724 h 285215"/>
                <a:gd name="connsiteX16" fmla="*/ 1128 w 189142"/>
                <a:gd name="connsiteY16" fmla="*/ 262126 h 285215"/>
                <a:gd name="connsiteX17" fmla="*/ 3530 w 189142"/>
                <a:gd name="connsiteY17" fmla="*/ 278939 h 285215"/>
                <a:gd name="connsiteX18" fmla="*/ 18541 w 189142"/>
                <a:gd name="connsiteY18" fmla="*/ 286144 h 285215"/>
                <a:gd name="connsiteX19" fmla="*/ 37155 w 189142"/>
                <a:gd name="connsiteY19" fmla="*/ 286144 h 285215"/>
                <a:gd name="connsiteX20" fmla="*/ 53367 w 189142"/>
                <a:gd name="connsiteY20" fmla="*/ 275036 h 285215"/>
                <a:gd name="connsiteX21" fmla="*/ 94799 w 189142"/>
                <a:gd name="connsiteY21" fmla="*/ 197877 h 285215"/>
                <a:gd name="connsiteX22" fmla="*/ 136230 w 189142"/>
                <a:gd name="connsiteY22" fmla="*/ 274735 h 285215"/>
                <a:gd name="connsiteX23" fmla="*/ 152742 w 189142"/>
                <a:gd name="connsiteY23" fmla="*/ 285844 h 285215"/>
                <a:gd name="connsiteX24" fmla="*/ 171356 w 189142"/>
                <a:gd name="connsiteY24" fmla="*/ 285844 h 285215"/>
                <a:gd name="connsiteX25" fmla="*/ 186068 w 189142"/>
                <a:gd name="connsiteY25" fmla="*/ 278638 h 285215"/>
                <a:gd name="connsiteX26" fmla="*/ 188469 w 189142"/>
                <a:gd name="connsiteY26" fmla="*/ 261225 h 285215"/>
                <a:gd name="connsiteX27" fmla="*/ 124821 w 189142"/>
                <a:gd name="connsiteY27" fmla="*/ 143236 h 285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89142" h="285215">
                  <a:moveTo>
                    <a:pt x="124821" y="143236"/>
                  </a:moveTo>
                  <a:lnTo>
                    <a:pt x="187869" y="25848"/>
                  </a:lnTo>
                  <a:lnTo>
                    <a:pt x="189070" y="22545"/>
                  </a:lnTo>
                  <a:cubicBezTo>
                    <a:pt x="190571" y="16841"/>
                    <a:pt x="189370" y="11137"/>
                    <a:pt x="185767" y="6633"/>
                  </a:cubicBezTo>
                  <a:cubicBezTo>
                    <a:pt x="182465" y="2430"/>
                    <a:pt x="177061" y="-272"/>
                    <a:pt x="171657" y="28"/>
                  </a:cubicBezTo>
                  <a:lnTo>
                    <a:pt x="153343" y="28"/>
                  </a:lnTo>
                  <a:cubicBezTo>
                    <a:pt x="146137" y="-272"/>
                    <a:pt x="139833" y="3931"/>
                    <a:pt x="137131" y="10536"/>
                  </a:cubicBezTo>
                  <a:lnTo>
                    <a:pt x="94799" y="88895"/>
                  </a:lnTo>
                  <a:lnTo>
                    <a:pt x="52767" y="11137"/>
                  </a:lnTo>
                  <a:cubicBezTo>
                    <a:pt x="50065" y="4231"/>
                    <a:pt x="43460" y="28"/>
                    <a:pt x="36254" y="28"/>
                  </a:cubicBezTo>
                  <a:lnTo>
                    <a:pt x="18241" y="28"/>
                  </a:lnTo>
                  <a:cubicBezTo>
                    <a:pt x="12837" y="-272"/>
                    <a:pt x="7433" y="1830"/>
                    <a:pt x="3830" y="6033"/>
                  </a:cubicBezTo>
                  <a:cubicBezTo>
                    <a:pt x="227" y="10836"/>
                    <a:pt x="-974" y="16841"/>
                    <a:pt x="828" y="22545"/>
                  </a:cubicBezTo>
                  <a:lnTo>
                    <a:pt x="2028" y="25848"/>
                  </a:lnTo>
                  <a:lnTo>
                    <a:pt x="65076" y="143236"/>
                  </a:lnTo>
                  <a:lnTo>
                    <a:pt x="2028" y="259724"/>
                  </a:lnTo>
                  <a:lnTo>
                    <a:pt x="1128" y="262126"/>
                  </a:lnTo>
                  <a:cubicBezTo>
                    <a:pt x="-673" y="267830"/>
                    <a:pt x="227" y="274135"/>
                    <a:pt x="3530" y="278939"/>
                  </a:cubicBezTo>
                  <a:cubicBezTo>
                    <a:pt x="7132" y="283742"/>
                    <a:pt x="12536" y="286144"/>
                    <a:pt x="18541" y="286144"/>
                  </a:cubicBezTo>
                  <a:lnTo>
                    <a:pt x="37155" y="286144"/>
                  </a:lnTo>
                  <a:cubicBezTo>
                    <a:pt x="44361" y="286144"/>
                    <a:pt x="50665" y="281941"/>
                    <a:pt x="53367" y="275036"/>
                  </a:cubicBezTo>
                  <a:lnTo>
                    <a:pt x="94799" y="197877"/>
                  </a:lnTo>
                  <a:lnTo>
                    <a:pt x="136230" y="274735"/>
                  </a:lnTo>
                  <a:cubicBezTo>
                    <a:pt x="138932" y="281641"/>
                    <a:pt x="145537" y="285844"/>
                    <a:pt x="152742" y="285844"/>
                  </a:cubicBezTo>
                  <a:lnTo>
                    <a:pt x="171356" y="285844"/>
                  </a:lnTo>
                  <a:cubicBezTo>
                    <a:pt x="177061" y="286144"/>
                    <a:pt x="182765" y="283442"/>
                    <a:pt x="186068" y="278638"/>
                  </a:cubicBezTo>
                  <a:cubicBezTo>
                    <a:pt x="189670" y="273534"/>
                    <a:pt x="190571" y="267230"/>
                    <a:pt x="188469" y="261225"/>
                  </a:cubicBezTo>
                  <a:lnTo>
                    <a:pt x="124821" y="143236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37" name="Forme libre : forme 236">
              <a:extLst>
                <a:ext uri="{FF2B5EF4-FFF2-40B4-BE49-F238E27FC236}">
                  <a16:creationId xmlns:a16="http://schemas.microsoft.com/office/drawing/2014/main" id="{327DF8B0-8D2F-43F4-8A40-25C724D49306}"/>
                </a:ext>
              </a:extLst>
            </p:cNvPr>
            <p:cNvSpPr/>
            <p:nvPr/>
          </p:nvSpPr>
          <p:spPr>
            <a:xfrm>
              <a:off x="7191198" y="4369210"/>
              <a:ext cx="186141" cy="288217"/>
            </a:xfrm>
            <a:custGeom>
              <a:avLst/>
              <a:gdLst>
                <a:gd name="connsiteX0" fmla="*/ 186149 w 186140"/>
                <a:gd name="connsiteY0" fmla="*/ 264275 h 288217"/>
                <a:gd name="connsiteX1" fmla="*/ 136612 w 186140"/>
                <a:gd name="connsiteY1" fmla="*/ 167903 h 288217"/>
                <a:gd name="connsiteX2" fmla="*/ 154025 w 186140"/>
                <a:gd name="connsiteY2" fmla="*/ 154693 h 288217"/>
                <a:gd name="connsiteX3" fmla="*/ 177443 w 186140"/>
                <a:gd name="connsiteY3" fmla="*/ 97049 h 288217"/>
                <a:gd name="connsiteX4" fmla="*/ 177443 w 186140"/>
                <a:gd name="connsiteY4" fmla="*/ 82038 h 288217"/>
                <a:gd name="connsiteX5" fmla="*/ 154626 w 186140"/>
                <a:gd name="connsiteY5" fmla="*/ 23794 h 288217"/>
                <a:gd name="connsiteX6" fmla="*/ 98183 w 186140"/>
                <a:gd name="connsiteY6" fmla="*/ 76 h 288217"/>
                <a:gd name="connsiteX7" fmla="*/ 18923 w 186140"/>
                <a:gd name="connsiteY7" fmla="*/ 76 h 288217"/>
                <a:gd name="connsiteX8" fmla="*/ 9 w 186140"/>
                <a:gd name="connsiteY8" fmla="*/ 16288 h 288217"/>
                <a:gd name="connsiteX9" fmla="*/ 9 w 186140"/>
                <a:gd name="connsiteY9" fmla="*/ 19290 h 288217"/>
                <a:gd name="connsiteX10" fmla="*/ 9 w 186140"/>
                <a:gd name="connsiteY10" fmla="*/ 271781 h 288217"/>
                <a:gd name="connsiteX11" fmla="*/ 16821 w 186140"/>
                <a:gd name="connsiteY11" fmla="*/ 290395 h 288217"/>
                <a:gd name="connsiteX12" fmla="*/ 18022 w 186140"/>
                <a:gd name="connsiteY12" fmla="*/ 290395 h 288217"/>
                <a:gd name="connsiteX13" fmla="*/ 36036 w 186140"/>
                <a:gd name="connsiteY13" fmla="*/ 290395 h 288217"/>
                <a:gd name="connsiteX14" fmla="*/ 54050 w 186140"/>
                <a:gd name="connsiteY14" fmla="*/ 272381 h 288217"/>
                <a:gd name="connsiteX15" fmla="*/ 54050 w 186140"/>
                <a:gd name="connsiteY15" fmla="*/ 271781 h 288217"/>
                <a:gd name="connsiteX16" fmla="*/ 54050 w 186140"/>
                <a:gd name="connsiteY16" fmla="*/ 178410 h 288217"/>
                <a:gd name="connsiteX17" fmla="*/ 83171 w 186140"/>
                <a:gd name="connsiteY17" fmla="*/ 178410 h 288217"/>
                <a:gd name="connsiteX18" fmla="*/ 133910 w 186140"/>
                <a:gd name="connsiteY18" fmla="*/ 278086 h 288217"/>
                <a:gd name="connsiteX19" fmla="*/ 150422 w 186140"/>
                <a:gd name="connsiteY19" fmla="*/ 289494 h 288217"/>
                <a:gd name="connsiteX20" fmla="*/ 169036 w 186140"/>
                <a:gd name="connsiteY20" fmla="*/ 289494 h 288217"/>
                <a:gd name="connsiteX21" fmla="*/ 183747 w 186140"/>
                <a:gd name="connsiteY21" fmla="*/ 282289 h 288217"/>
                <a:gd name="connsiteX22" fmla="*/ 186149 w 186140"/>
                <a:gd name="connsiteY22" fmla="*/ 265176 h 288217"/>
                <a:gd name="connsiteX23" fmla="*/ 186149 w 186140"/>
                <a:gd name="connsiteY23" fmla="*/ 265176 h 288217"/>
                <a:gd name="connsiteX24" fmla="*/ 123402 w 186140"/>
                <a:gd name="connsiteY24" fmla="*/ 83539 h 288217"/>
                <a:gd name="connsiteX25" fmla="*/ 123402 w 186140"/>
                <a:gd name="connsiteY25" fmla="*/ 97950 h 288217"/>
                <a:gd name="connsiteX26" fmla="*/ 97582 w 186140"/>
                <a:gd name="connsiteY26" fmla="*/ 124370 h 288217"/>
                <a:gd name="connsiteX27" fmla="*/ 54050 w 186140"/>
                <a:gd name="connsiteY27" fmla="*/ 124370 h 288217"/>
                <a:gd name="connsiteX28" fmla="*/ 54050 w 186140"/>
                <a:gd name="connsiteY28" fmla="*/ 56218 h 288217"/>
                <a:gd name="connsiteX29" fmla="*/ 97582 w 186140"/>
                <a:gd name="connsiteY29" fmla="*/ 56218 h 288217"/>
                <a:gd name="connsiteX30" fmla="*/ 115296 w 186140"/>
                <a:gd name="connsiteY30" fmla="*/ 63424 h 288217"/>
                <a:gd name="connsiteX31" fmla="*/ 123102 w 186140"/>
                <a:gd name="connsiteY31" fmla="*/ 82338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86140" h="288217">
                  <a:moveTo>
                    <a:pt x="186149" y="264275"/>
                  </a:moveTo>
                  <a:lnTo>
                    <a:pt x="136612" y="167903"/>
                  </a:lnTo>
                  <a:cubicBezTo>
                    <a:pt x="142917" y="164300"/>
                    <a:pt x="148621" y="159796"/>
                    <a:pt x="154025" y="154693"/>
                  </a:cubicBezTo>
                  <a:cubicBezTo>
                    <a:pt x="169337" y="139681"/>
                    <a:pt x="177743" y="118665"/>
                    <a:pt x="177443" y="97049"/>
                  </a:cubicBezTo>
                  <a:lnTo>
                    <a:pt x="177443" y="82038"/>
                  </a:lnTo>
                  <a:cubicBezTo>
                    <a:pt x="178043" y="60422"/>
                    <a:pt x="169637" y="39105"/>
                    <a:pt x="154626" y="23794"/>
                  </a:cubicBezTo>
                  <a:cubicBezTo>
                    <a:pt x="139914" y="8182"/>
                    <a:pt x="119499" y="-224"/>
                    <a:pt x="98183" y="76"/>
                  </a:cubicBezTo>
                  <a:lnTo>
                    <a:pt x="18923" y="76"/>
                  </a:lnTo>
                  <a:cubicBezTo>
                    <a:pt x="9316" y="-825"/>
                    <a:pt x="909" y="6381"/>
                    <a:pt x="9" y="16288"/>
                  </a:cubicBezTo>
                  <a:cubicBezTo>
                    <a:pt x="9" y="17189"/>
                    <a:pt x="9" y="18390"/>
                    <a:pt x="9" y="19290"/>
                  </a:cubicBezTo>
                  <a:lnTo>
                    <a:pt x="9" y="271781"/>
                  </a:lnTo>
                  <a:cubicBezTo>
                    <a:pt x="-292" y="281688"/>
                    <a:pt x="7214" y="290095"/>
                    <a:pt x="16821" y="290395"/>
                  </a:cubicBezTo>
                  <a:cubicBezTo>
                    <a:pt x="17122" y="290395"/>
                    <a:pt x="17722" y="290395"/>
                    <a:pt x="18022" y="290395"/>
                  </a:cubicBezTo>
                  <a:lnTo>
                    <a:pt x="36036" y="290395"/>
                  </a:lnTo>
                  <a:cubicBezTo>
                    <a:pt x="45943" y="290395"/>
                    <a:pt x="54050" y="282589"/>
                    <a:pt x="54050" y="272381"/>
                  </a:cubicBezTo>
                  <a:cubicBezTo>
                    <a:pt x="54050" y="272081"/>
                    <a:pt x="54050" y="272081"/>
                    <a:pt x="54050" y="271781"/>
                  </a:cubicBezTo>
                  <a:lnTo>
                    <a:pt x="54050" y="178410"/>
                  </a:lnTo>
                  <a:lnTo>
                    <a:pt x="83171" y="178410"/>
                  </a:lnTo>
                  <a:lnTo>
                    <a:pt x="133910" y="278086"/>
                  </a:lnTo>
                  <a:cubicBezTo>
                    <a:pt x="136612" y="284991"/>
                    <a:pt x="143217" y="289494"/>
                    <a:pt x="150422" y="289494"/>
                  </a:cubicBezTo>
                  <a:lnTo>
                    <a:pt x="169036" y="289494"/>
                  </a:lnTo>
                  <a:cubicBezTo>
                    <a:pt x="174741" y="289795"/>
                    <a:pt x="180445" y="287092"/>
                    <a:pt x="183747" y="282289"/>
                  </a:cubicBezTo>
                  <a:cubicBezTo>
                    <a:pt x="187350" y="277185"/>
                    <a:pt x="188251" y="270880"/>
                    <a:pt x="186149" y="265176"/>
                  </a:cubicBezTo>
                  <a:lnTo>
                    <a:pt x="186149" y="265176"/>
                  </a:lnTo>
                  <a:moveTo>
                    <a:pt x="123402" y="83539"/>
                  </a:moveTo>
                  <a:lnTo>
                    <a:pt x="123402" y="97950"/>
                  </a:lnTo>
                  <a:cubicBezTo>
                    <a:pt x="123402" y="112361"/>
                    <a:pt x="111693" y="124370"/>
                    <a:pt x="97582" y="124370"/>
                  </a:cubicBezTo>
                  <a:lnTo>
                    <a:pt x="54050" y="124370"/>
                  </a:lnTo>
                  <a:lnTo>
                    <a:pt x="54050" y="56218"/>
                  </a:lnTo>
                  <a:lnTo>
                    <a:pt x="97582" y="56218"/>
                  </a:lnTo>
                  <a:cubicBezTo>
                    <a:pt x="104187" y="55918"/>
                    <a:pt x="110492" y="58620"/>
                    <a:pt x="115296" y="63424"/>
                  </a:cubicBezTo>
                  <a:cubicBezTo>
                    <a:pt x="120400" y="68227"/>
                    <a:pt x="123402" y="75133"/>
                    <a:pt x="123102" y="82338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38" name="Forme libre : forme 237">
              <a:extLst>
                <a:ext uri="{FF2B5EF4-FFF2-40B4-BE49-F238E27FC236}">
                  <a16:creationId xmlns:a16="http://schemas.microsoft.com/office/drawing/2014/main" id="{EE1A81AD-847E-4805-B99F-AB281DC9C67A}"/>
                </a:ext>
              </a:extLst>
            </p:cNvPr>
            <p:cNvSpPr/>
            <p:nvPr/>
          </p:nvSpPr>
          <p:spPr>
            <a:xfrm>
              <a:off x="6485374" y="4373489"/>
              <a:ext cx="60045" cy="120091"/>
            </a:xfrm>
            <a:custGeom>
              <a:avLst/>
              <a:gdLst>
                <a:gd name="connsiteX0" fmla="*/ 60045 w 60045"/>
                <a:gd name="connsiteY0" fmla="*/ 120391 h 120090"/>
                <a:gd name="connsiteX1" fmla="*/ 54641 w 60045"/>
                <a:gd name="connsiteY1" fmla="*/ 120391 h 120090"/>
                <a:gd name="connsiteX2" fmla="*/ 52840 w 60045"/>
                <a:gd name="connsiteY2" fmla="*/ 118589 h 120090"/>
                <a:gd name="connsiteX3" fmla="*/ 52840 w 60045"/>
                <a:gd name="connsiteY3" fmla="*/ 117088 h 120090"/>
                <a:gd name="connsiteX4" fmla="*/ 51039 w 60045"/>
                <a:gd name="connsiteY4" fmla="*/ 115287 h 120090"/>
                <a:gd name="connsiteX5" fmla="*/ 50138 w 60045"/>
                <a:gd name="connsiteY5" fmla="*/ 115287 h 120090"/>
                <a:gd name="connsiteX6" fmla="*/ 6605 w 60045"/>
                <a:gd name="connsiteY6" fmla="*/ 109583 h 120090"/>
                <a:gd name="connsiteX7" fmla="*/ 0 w 60045"/>
                <a:gd name="connsiteY7" fmla="*/ 90368 h 120090"/>
                <a:gd name="connsiteX8" fmla="*/ 0 w 60045"/>
                <a:gd name="connsiteY8" fmla="*/ 64549 h 120090"/>
                <a:gd name="connsiteX9" fmla="*/ 9007 w 60045"/>
                <a:gd name="connsiteY9" fmla="*/ 43233 h 120090"/>
                <a:gd name="connsiteX10" fmla="*/ 30923 w 60045"/>
                <a:gd name="connsiteY10" fmla="*/ 33926 h 120090"/>
                <a:gd name="connsiteX11" fmla="*/ 47136 w 60045"/>
                <a:gd name="connsiteY11" fmla="*/ 38729 h 120090"/>
                <a:gd name="connsiteX12" fmla="*/ 48336 w 60045"/>
                <a:gd name="connsiteY12" fmla="*/ 38729 h 120090"/>
                <a:gd name="connsiteX13" fmla="*/ 49838 w 60045"/>
                <a:gd name="connsiteY13" fmla="*/ 37228 h 120090"/>
                <a:gd name="connsiteX14" fmla="*/ 49838 w 60045"/>
                <a:gd name="connsiteY14" fmla="*/ 1801 h 120090"/>
                <a:gd name="connsiteX15" fmla="*/ 51039 w 60045"/>
                <a:gd name="connsiteY15" fmla="*/ 0 h 120090"/>
                <a:gd name="connsiteX16" fmla="*/ 51639 w 60045"/>
                <a:gd name="connsiteY16" fmla="*/ 0 h 120090"/>
                <a:gd name="connsiteX17" fmla="*/ 60045 w 60045"/>
                <a:gd name="connsiteY17" fmla="*/ 0 h 120090"/>
                <a:gd name="connsiteX18" fmla="*/ 61546 w 60045"/>
                <a:gd name="connsiteY18" fmla="*/ 1801 h 120090"/>
                <a:gd name="connsiteX19" fmla="*/ 61546 w 60045"/>
                <a:gd name="connsiteY19" fmla="*/ 118589 h 120090"/>
                <a:gd name="connsiteX20" fmla="*/ 60045 w 60045"/>
                <a:gd name="connsiteY20" fmla="*/ 120391 h 120090"/>
                <a:gd name="connsiteX21" fmla="*/ 49838 w 60045"/>
                <a:gd name="connsiteY21" fmla="*/ 65449 h 120090"/>
                <a:gd name="connsiteX22" fmla="*/ 44133 w 60045"/>
                <a:gd name="connsiteY22" fmla="*/ 51639 h 120090"/>
                <a:gd name="connsiteX23" fmla="*/ 17113 w 60045"/>
                <a:gd name="connsiteY23" fmla="*/ 51639 h 120090"/>
                <a:gd name="connsiteX24" fmla="*/ 11409 w 60045"/>
                <a:gd name="connsiteY24" fmla="*/ 65449 h 120090"/>
                <a:gd name="connsiteX25" fmla="*/ 11409 w 60045"/>
                <a:gd name="connsiteY25" fmla="*/ 91269 h 120090"/>
                <a:gd name="connsiteX26" fmla="*/ 16813 w 60045"/>
                <a:gd name="connsiteY26" fmla="*/ 105379 h 120090"/>
                <a:gd name="connsiteX27" fmla="*/ 30623 w 60045"/>
                <a:gd name="connsiteY27" fmla="*/ 111084 h 120090"/>
                <a:gd name="connsiteX28" fmla="*/ 44133 w 60045"/>
                <a:gd name="connsiteY28" fmla="*/ 105379 h 120090"/>
                <a:gd name="connsiteX29" fmla="*/ 49838 w 60045"/>
                <a:gd name="connsiteY29" fmla="*/ 91269 h 120090"/>
                <a:gd name="connsiteX30" fmla="*/ 49838 w 60045"/>
                <a:gd name="connsiteY30" fmla="*/ 65449 h 120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60045" h="120090">
                  <a:moveTo>
                    <a:pt x="60045" y="120391"/>
                  </a:moveTo>
                  <a:lnTo>
                    <a:pt x="54641" y="120391"/>
                  </a:lnTo>
                  <a:cubicBezTo>
                    <a:pt x="53440" y="120391"/>
                    <a:pt x="52840" y="119490"/>
                    <a:pt x="52840" y="118589"/>
                  </a:cubicBezTo>
                  <a:lnTo>
                    <a:pt x="52840" y="117088"/>
                  </a:lnTo>
                  <a:cubicBezTo>
                    <a:pt x="52840" y="115587"/>
                    <a:pt x="52239" y="115287"/>
                    <a:pt x="51039" y="115287"/>
                  </a:cubicBezTo>
                  <a:cubicBezTo>
                    <a:pt x="49838" y="115287"/>
                    <a:pt x="50138" y="115287"/>
                    <a:pt x="50138" y="115287"/>
                  </a:cubicBezTo>
                  <a:cubicBezTo>
                    <a:pt x="36628" y="126095"/>
                    <a:pt x="17113" y="123693"/>
                    <a:pt x="6605" y="109583"/>
                  </a:cubicBezTo>
                  <a:cubicBezTo>
                    <a:pt x="2402" y="104179"/>
                    <a:pt x="0" y="97273"/>
                    <a:pt x="0" y="90368"/>
                  </a:cubicBezTo>
                  <a:lnTo>
                    <a:pt x="0" y="64549"/>
                  </a:lnTo>
                  <a:cubicBezTo>
                    <a:pt x="0" y="56443"/>
                    <a:pt x="3302" y="48937"/>
                    <a:pt x="9007" y="43233"/>
                  </a:cubicBezTo>
                  <a:cubicBezTo>
                    <a:pt x="14711" y="36928"/>
                    <a:pt x="22517" y="33625"/>
                    <a:pt x="30923" y="33926"/>
                  </a:cubicBezTo>
                  <a:cubicBezTo>
                    <a:pt x="36628" y="33926"/>
                    <a:pt x="42332" y="35427"/>
                    <a:pt x="47136" y="38729"/>
                  </a:cubicBezTo>
                  <a:lnTo>
                    <a:pt x="48336" y="38729"/>
                  </a:lnTo>
                  <a:cubicBezTo>
                    <a:pt x="49537" y="38729"/>
                    <a:pt x="49838" y="38729"/>
                    <a:pt x="49838" y="37228"/>
                  </a:cubicBezTo>
                  <a:lnTo>
                    <a:pt x="49838" y="1801"/>
                  </a:lnTo>
                  <a:cubicBezTo>
                    <a:pt x="49537" y="901"/>
                    <a:pt x="50138" y="300"/>
                    <a:pt x="51039" y="0"/>
                  </a:cubicBezTo>
                  <a:cubicBezTo>
                    <a:pt x="51339" y="0"/>
                    <a:pt x="51339" y="0"/>
                    <a:pt x="51639" y="0"/>
                  </a:cubicBezTo>
                  <a:lnTo>
                    <a:pt x="60045" y="0"/>
                  </a:lnTo>
                  <a:cubicBezTo>
                    <a:pt x="61246" y="0"/>
                    <a:pt x="61546" y="0"/>
                    <a:pt x="61546" y="1801"/>
                  </a:cubicBezTo>
                  <a:lnTo>
                    <a:pt x="61546" y="118589"/>
                  </a:lnTo>
                  <a:cubicBezTo>
                    <a:pt x="61546" y="119790"/>
                    <a:pt x="61546" y="120691"/>
                    <a:pt x="60045" y="120391"/>
                  </a:cubicBezTo>
                  <a:moveTo>
                    <a:pt x="49838" y="65449"/>
                  </a:moveTo>
                  <a:cubicBezTo>
                    <a:pt x="50138" y="60346"/>
                    <a:pt x="48036" y="55242"/>
                    <a:pt x="44133" y="51639"/>
                  </a:cubicBezTo>
                  <a:cubicBezTo>
                    <a:pt x="36628" y="43833"/>
                    <a:pt x="24619" y="44133"/>
                    <a:pt x="17113" y="51639"/>
                  </a:cubicBezTo>
                  <a:cubicBezTo>
                    <a:pt x="13510" y="55242"/>
                    <a:pt x="11409" y="60346"/>
                    <a:pt x="11409" y="65449"/>
                  </a:cubicBezTo>
                  <a:lnTo>
                    <a:pt x="11409" y="91269"/>
                  </a:lnTo>
                  <a:cubicBezTo>
                    <a:pt x="11409" y="96673"/>
                    <a:pt x="13210" y="101777"/>
                    <a:pt x="16813" y="105379"/>
                  </a:cubicBezTo>
                  <a:cubicBezTo>
                    <a:pt x="20415" y="109282"/>
                    <a:pt x="25219" y="111084"/>
                    <a:pt x="30623" y="111084"/>
                  </a:cubicBezTo>
                  <a:cubicBezTo>
                    <a:pt x="35727" y="111084"/>
                    <a:pt x="40531" y="108982"/>
                    <a:pt x="44133" y="105379"/>
                  </a:cubicBezTo>
                  <a:cubicBezTo>
                    <a:pt x="47736" y="101777"/>
                    <a:pt x="49838" y="96673"/>
                    <a:pt x="49838" y="91269"/>
                  </a:cubicBezTo>
                  <a:lnTo>
                    <a:pt x="49838" y="65449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39" name="Forme libre : forme 238">
              <a:extLst>
                <a:ext uri="{FF2B5EF4-FFF2-40B4-BE49-F238E27FC236}">
                  <a16:creationId xmlns:a16="http://schemas.microsoft.com/office/drawing/2014/main" id="{5FEDD632-ED9C-4751-8335-351F78E28A7C}"/>
                </a:ext>
              </a:extLst>
            </p:cNvPr>
            <p:cNvSpPr/>
            <p:nvPr/>
          </p:nvSpPr>
          <p:spPr>
            <a:xfrm>
              <a:off x="6570319" y="4403924"/>
              <a:ext cx="57043" cy="93070"/>
            </a:xfrm>
            <a:custGeom>
              <a:avLst/>
              <a:gdLst>
                <a:gd name="connsiteX0" fmla="*/ 56762 w 57043"/>
                <a:gd name="connsiteY0" fmla="*/ 52728 h 93070"/>
                <a:gd name="connsiteX1" fmla="*/ 12929 w 57043"/>
                <a:gd name="connsiteY1" fmla="*/ 52728 h 93070"/>
                <a:gd name="connsiteX2" fmla="*/ 11127 w 57043"/>
                <a:gd name="connsiteY2" fmla="*/ 54229 h 93070"/>
                <a:gd name="connsiteX3" fmla="*/ 11127 w 57043"/>
                <a:gd name="connsiteY3" fmla="*/ 54529 h 93070"/>
                <a:gd name="connsiteX4" fmla="*/ 11127 w 57043"/>
                <a:gd name="connsiteY4" fmla="*/ 59933 h 93070"/>
                <a:gd name="connsiteX5" fmla="*/ 16832 w 57043"/>
                <a:gd name="connsiteY5" fmla="*/ 74644 h 93070"/>
                <a:gd name="connsiteX6" fmla="*/ 30642 w 57043"/>
                <a:gd name="connsiteY6" fmla="*/ 80949 h 93070"/>
                <a:gd name="connsiteX7" fmla="*/ 48956 w 57043"/>
                <a:gd name="connsiteY7" fmla="*/ 74644 h 93070"/>
                <a:gd name="connsiteX8" fmla="*/ 51057 w 57043"/>
                <a:gd name="connsiteY8" fmla="*/ 74644 h 93070"/>
                <a:gd name="connsiteX9" fmla="*/ 51057 w 57043"/>
                <a:gd name="connsiteY9" fmla="*/ 74644 h 93070"/>
                <a:gd name="connsiteX10" fmla="*/ 55861 w 57043"/>
                <a:gd name="connsiteY10" fmla="*/ 82150 h 93070"/>
                <a:gd name="connsiteX11" fmla="*/ 56161 w 57043"/>
                <a:gd name="connsiteY11" fmla="*/ 84552 h 93070"/>
                <a:gd name="connsiteX12" fmla="*/ 55861 w 57043"/>
                <a:gd name="connsiteY12" fmla="*/ 84852 h 93070"/>
                <a:gd name="connsiteX13" fmla="*/ 30942 w 57043"/>
                <a:gd name="connsiteY13" fmla="*/ 93558 h 93070"/>
                <a:gd name="connsiteX14" fmla="*/ 9026 w 57043"/>
                <a:gd name="connsiteY14" fmla="*/ 83651 h 93070"/>
                <a:gd name="connsiteX15" fmla="*/ 19 w 57043"/>
                <a:gd name="connsiteY15" fmla="*/ 59633 h 93070"/>
                <a:gd name="connsiteX16" fmla="*/ 19 w 57043"/>
                <a:gd name="connsiteY16" fmla="*/ 32012 h 93070"/>
                <a:gd name="connsiteX17" fmla="*/ 8725 w 57043"/>
                <a:gd name="connsiteY17" fmla="*/ 9195 h 93070"/>
                <a:gd name="connsiteX18" fmla="*/ 50457 w 57043"/>
                <a:gd name="connsiteY18" fmla="*/ 9495 h 93070"/>
                <a:gd name="connsiteX19" fmla="*/ 58863 w 57043"/>
                <a:gd name="connsiteY19" fmla="*/ 32012 h 93070"/>
                <a:gd name="connsiteX20" fmla="*/ 58863 w 57043"/>
                <a:gd name="connsiteY20" fmla="*/ 50626 h 93070"/>
                <a:gd name="connsiteX21" fmla="*/ 56762 w 57043"/>
                <a:gd name="connsiteY21" fmla="*/ 52728 h 93070"/>
                <a:gd name="connsiteX22" fmla="*/ 46854 w 57043"/>
                <a:gd name="connsiteY22" fmla="*/ 32312 h 93070"/>
                <a:gd name="connsiteX23" fmla="*/ 41750 w 57043"/>
                <a:gd name="connsiteY23" fmla="*/ 18802 h 93070"/>
                <a:gd name="connsiteX24" fmla="*/ 29141 w 57043"/>
                <a:gd name="connsiteY24" fmla="*/ 13398 h 93070"/>
                <a:gd name="connsiteX25" fmla="*/ 16531 w 57043"/>
                <a:gd name="connsiteY25" fmla="*/ 18802 h 93070"/>
                <a:gd name="connsiteX26" fmla="*/ 11127 w 57043"/>
                <a:gd name="connsiteY26" fmla="*/ 32312 h 93070"/>
                <a:gd name="connsiteX27" fmla="*/ 11127 w 57043"/>
                <a:gd name="connsiteY27" fmla="*/ 38017 h 93070"/>
                <a:gd name="connsiteX28" fmla="*/ 12328 w 57043"/>
                <a:gd name="connsiteY28" fmla="*/ 40118 h 93070"/>
                <a:gd name="connsiteX29" fmla="*/ 12628 w 57043"/>
                <a:gd name="connsiteY29" fmla="*/ 40118 h 93070"/>
                <a:gd name="connsiteX30" fmla="*/ 44452 w 57043"/>
                <a:gd name="connsiteY30" fmla="*/ 40118 h 93070"/>
                <a:gd name="connsiteX31" fmla="*/ 45954 w 57043"/>
                <a:gd name="connsiteY31" fmla="*/ 38017 h 93070"/>
                <a:gd name="connsiteX32" fmla="*/ 46854 w 57043"/>
                <a:gd name="connsiteY32" fmla="*/ 32312 h 93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57043" h="93070">
                  <a:moveTo>
                    <a:pt x="56762" y="52728"/>
                  </a:moveTo>
                  <a:lnTo>
                    <a:pt x="12929" y="52728"/>
                  </a:lnTo>
                  <a:cubicBezTo>
                    <a:pt x="12028" y="52728"/>
                    <a:pt x="11127" y="53328"/>
                    <a:pt x="11127" y="54229"/>
                  </a:cubicBezTo>
                  <a:cubicBezTo>
                    <a:pt x="11127" y="54229"/>
                    <a:pt x="11127" y="54529"/>
                    <a:pt x="11127" y="54529"/>
                  </a:cubicBezTo>
                  <a:lnTo>
                    <a:pt x="11127" y="59933"/>
                  </a:lnTo>
                  <a:cubicBezTo>
                    <a:pt x="11127" y="65637"/>
                    <a:pt x="13229" y="70741"/>
                    <a:pt x="16832" y="74644"/>
                  </a:cubicBezTo>
                  <a:cubicBezTo>
                    <a:pt x="20434" y="78547"/>
                    <a:pt x="25238" y="80949"/>
                    <a:pt x="30642" y="80949"/>
                  </a:cubicBezTo>
                  <a:cubicBezTo>
                    <a:pt x="37247" y="80949"/>
                    <a:pt x="43552" y="78847"/>
                    <a:pt x="48956" y="74644"/>
                  </a:cubicBezTo>
                  <a:cubicBezTo>
                    <a:pt x="49556" y="74044"/>
                    <a:pt x="50457" y="74044"/>
                    <a:pt x="51057" y="74644"/>
                  </a:cubicBezTo>
                  <a:cubicBezTo>
                    <a:pt x="51057" y="74644"/>
                    <a:pt x="51057" y="74644"/>
                    <a:pt x="51057" y="74644"/>
                  </a:cubicBezTo>
                  <a:lnTo>
                    <a:pt x="55861" y="82150"/>
                  </a:lnTo>
                  <a:cubicBezTo>
                    <a:pt x="56461" y="82750"/>
                    <a:pt x="56762" y="83651"/>
                    <a:pt x="56161" y="84552"/>
                  </a:cubicBezTo>
                  <a:cubicBezTo>
                    <a:pt x="56161" y="84552"/>
                    <a:pt x="55861" y="84852"/>
                    <a:pt x="55861" y="84852"/>
                  </a:cubicBezTo>
                  <a:cubicBezTo>
                    <a:pt x="48656" y="90556"/>
                    <a:pt x="39949" y="93558"/>
                    <a:pt x="30942" y="93558"/>
                  </a:cubicBezTo>
                  <a:cubicBezTo>
                    <a:pt x="22836" y="93558"/>
                    <a:pt x="14730" y="89956"/>
                    <a:pt x="9026" y="83651"/>
                  </a:cubicBezTo>
                  <a:cubicBezTo>
                    <a:pt x="3021" y="77346"/>
                    <a:pt x="-281" y="68640"/>
                    <a:pt x="19" y="59633"/>
                  </a:cubicBezTo>
                  <a:lnTo>
                    <a:pt x="19" y="32012"/>
                  </a:lnTo>
                  <a:cubicBezTo>
                    <a:pt x="19" y="23606"/>
                    <a:pt x="3021" y="15199"/>
                    <a:pt x="8725" y="9195"/>
                  </a:cubicBezTo>
                  <a:cubicBezTo>
                    <a:pt x="20434" y="-3115"/>
                    <a:pt x="39048" y="-3115"/>
                    <a:pt x="50457" y="9495"/>
                  </a:cubicBezTo>
                  <a:cubicBezTo>
                    <a:pt x="55861" y="15500"/>
                    <a:pt x="58863" y="23606"/>
                    <a:pt x="58863" y="32012"/>
                  </a:cubicBezTo>
                  <a:lnTo>
                    <a:pt x="58863" y="50626"/>
                  </a:lnTo>
                  <a:cubicBezTo>
                    <a:pt x="58863" y="52127"/>
                    <a:pt x="58863" y="52728"/>
                    <a:pt x="56762" y="52728"/>
                  </a:cubicBezTo>
                  <a:moveTo>
                    <a:pt x="46854" y="32312"/>
                  </a:moveTo>
                  <a:cubicBezTo>
                    <a:pt x="46854" y="27208"/>
                    <a:pt x="45053" y="22405"/>
                    <a:pt x="41750" y="18802"/>
                  </a:cubicBezTo>
                  <a:cubicBezTo>
                    <a:pt x="38448" y="15199"/>
                    <a:pt x="33944" y="13098"/>
                    <a:pt x="29141" y="13398"/>
                  </a:cubicBezTo>
                  <a:cubicBezTo>
                    <a:pt x="24337" y="13098"/>
                    <a:pt x="19834" y="15199"/>
                    <a:pt x="16531" y="18802"/>
                  </a:cubicBezTo>
                  <a:cubicBezTo>
                    <a:pt x="12929" y="22405"/>
                    <a:pt x="11127" y="27208"/>
                    <a:pt x="11127" y="32312"/>
                  </a:cubicBezTo>
                  <a:lnTo>
                    <a:pt x="11127" y="38017"/>
                  </a:lnTo>
                  <a:cubicBezTo>
                    <a:pt x="11127" y="38917"/>
                    <a:pt x="11728" y="39818"/>
                    <a:pt x="12328" y="40118"/>
                  </a:cubicBezTo>
                  <a:cubicBezTo>
                    <a:pt x="12328" y="40118"/>
                    <a:pt x="12628" y="40118"/>
                    <a:pt x="12628" y="40118"/>
                  </a:cubicBezTo>
                  <a:lnTo>
                    <a:pt x="44452" y="40118"/>
                  </a:lnTo>
                  <a:cubicBezTo>
                    <a:pt x="45653" y="40118"/>
                    <a:pt x="45954" y="39217"/>
                    <a:pt x="45954" y="38017"/>
                  </a:cubicBezTo>
                  <a:lnTo>
                    <a:pt x="46854" y="32312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40" name="Forme libre : forme 239">
              <a:extLst>
                <a:ext uri="{FF2B5EF4-FFF2-40B4-BE49-F238E27FC236}">
                  <a16:creationId xmlns:a16="http://schemas.microsoft.com/office/drawing/2014/main" id="{9F2B949D-579B-4C02-9CB9-20D20ABC55B6}"/>
                </a:ext>
              </a:extLst>
            </p:cNvPr>
            <p:cNvSpPr/>
            <p:nvPr/>
          </p:nvSpPr>
          <p:spPr>
            <a:xfrm>
              <a:off x="6495581" y="4006913"/>
              <a:ext cx="66050" cy="144109"/>
            </a:xfrm>
            <a:custGeom>
              <a:avLst/>
              <a:gdLst>
                <a:gd name="connsiteX0" fmla="*/ 68151 w 66049"/>
                <a:gd name="connsiteY0" fmla="*/ 0 h 144108"/>
                <a:gd name="connsiteX1" fmla="*/ 68151 w 66049"/>
                <a:gd name="connsiteY1" fmla="*/ 144409 h 144108"/>
                <a:gd name="connsiteX2" fmla="*/ 28522 w 66049"/>
                <a:gd name="connsiteY2" fmla="*/ 106280 h 144108"/>
                <a:gd name="connsiteX3" fmla="*/ 28522 w 66049"/>
                <a:gd name="connsiteY3" fmla="*/ 10808 h 144108"/>
                <a:gd name="connsiteX4" fmla="*/ 0 w 66049"/>
                <a:gd name="connsiteY4" fmla="*/ 10808 h 144108"/>
                <a:gd name="connsiteX5" fmla="*/ 0 w 66049"/>
                <a:gd name="connsiteY5" fmla="*/ 1501 h 144108"/>
                <a:gd name="connsiteX6" fmla="*/ 68151 w 66049"/>
                <a:gd name="connsiteY6" fmla="*/ 0 h 144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049" h="144108">
                  <a:moveTo>
                    <a:pt x="68151" y="0"/>
                  </a:moveTo>
                  <a:lnTo>
                    <a:pt x="68151" y="144409"/>
                  </a:lnTo>
                  <a:lnTo>
                    <a:pt x="28522" y="106280"/>
                  </a:lnTo>
                  <a:lnTo>
                    <a:pt x="28522" y="10808"/>
                  </a:lnTo>
                  <a:lnTo>
                    <a:pt x="0" y="10808"/>
                  </a:lnTo>
                  <a:lnTo>
                    <a:pt x="0" y="1501"/>
                  </a:lnTo>
                  <a:cubicBezTo>
                    <a:pt x="21616" y="2402"/>
                    <a:pt x="44133" y="600"/>
                    <a:pt x="68151" y="0"/>
                  </a:cubicBezTo>
                  <a:close/>
                </a:path>
              </a:pathLst>
            </a:custGeom>
            <a:solidFill>
              <a:srgbClr val="009FE3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sp>
        <p:nvSpPr>
          <p:cNvPr id="124" name="Rectangle 123">
            <a:hlinkClick r:id="rId2"/>
            <a:extLst>
              <a:ext uri="{FF2B5EF4-FFF2-40B4-BE49-F238E27FC236}">
                <a16:creationId xmlns:a16="http://schemas.microsoft.com/office/drawing/2014/main" id="{35F4AE06-723F-4907-A0C1-25C2A55668EF}"/>
              </a:ext>
            </a:extLst>
          </p:cNvPr>
          <p:cNvSpPr/>
          <p:nvPr userDrawn="1"/>
        </p:nvSpPr>
        <p:spPr>
          <a:xfrm>
            <a:off x="3294590" y="1121624"/>
            <a:ext cx="90922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schemeClr val="tx1"/>
                </a:solidFill>
              </a:rPr>
              <a:t>@</a:t>
            </a:r>
            <a:r>
              <a:rPr lang="fr-FR" sz="800" dirty="0" err="1">
                <a:solidFill>
                  <a:schemeClr val="tx1"/>
                </a:solidFill>
              </a:rPr>
              <a:t>univbordeaux</a:t>
            </a:r>
            <a:endParaRPr lang="fr-FR" sz="800" dirty="0">
              <a:solidFill>
                <a:schemeClr val="tx1"/>
              </a:solidFill>
            </a:endParaRPr>
          </a:p>
        </p:txBody>
      </p:sp>
      <p:pic>
        <p:nvPicPr>
          <p:cNvPr id="125" name="Graphique 124">
            <a:hlinkClick r:id="rId2"/>
            <a:extLst>
              <a:ext uri="{FF2B5EF4-FFF2-40B4-BE49-F238E27FC236}">
                <a16:creationId xmlns:a16="http://schemas.microsoft.com/office/drawing/2014/main" id="{C6FD32D5-7851-419E-B042-2C17E6452CA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69202" y="702273"/>
            <a:ext cx="360000" cy="360000"/>
          </a:xfrm>
          <a:prstGeom prst="rect">
            <a:avLst/>
          </a:prstGeom>
        </p:spPr>
      </p:pic>
      <p:pic>
        <p:nvPicPr>
          <p:cNvPr id="126" name="Graphique 125">
            <a:hlinkClick r:id="rId5"/>
            <a:extLst>
              <a:ext uri="{FF2B5EF4-FFF2-40B4-BE49-F238E27FC236}">
                <a16:creationId xmlns:a16="http://schemas.microsoft.com/office/drawing/2014/main" id="{AC4BA783-078F-4C6E-BE4E-E143E9F636D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894972" y="702273"/>
            <a:ext cx="360000" cy="360000"/>
          </a:xfrm>
          <a:prstGeom prst="rect">
            <a:avLst/>
          </a:prstGeom>
        </p:spPr>
      </p:pic>
      <p:sp>
        <p:nvSpPr>
          <p:cNvPr id="127" name="Rectangle 126">
            <a:hlinkClick r:id="rId5"/>
            <a:extLst>
              <a:ext uri="{FF2B5EF4-FFF2-40B4-BE49-F238E27FC236}">
                <a16:creationId xmlns:a16="http://schemas.microsoft.com/office/drawing/2014/main" id="{0DEFADA8-A00E-42F6-AAA8-08025CB38A01}"/>
              </a:ext>
            </a:extLst>
          </p:cNvPr>
          <p:cNvSpPr/>
          <p:nvPr userDrawn="1"/>
        </p:nvSpPr>
        <p:spPr>
          <a:xfrm>
            <a:off x="6620360" y="1121624"/>
            <a:ext cx="90922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schemeClr val="tx1"/>
                </a:solidFill>
              </a:rPr>
              <a:t>@</a:t>
            </a:r>
            <a:r>
              <a:rPr lang="fr-FR" sz="800" dirty="0" err="1">
                <a:solidFill>
                  <a:schemeClr val="tx1"/>
                </a:solidFill>
              </a:rPr>
              <a:t>univbordeaux</a:t>
            </a:r>
            <a:endParaRPr lang="fr-FR" sz="800" dirty="0">
              <a:solidFill>
                <a:schemeClr val="tx1"/>
              </a:solidFill>
            </a:endParaRPr>
          </a:p>
        </p:txBody>
      </p:sp>
      <p:sp>
        <p:nvSpPr>
          <p:cNvPr id="128" name="Rectangle 127">
            <a:hlinkClick r:id="rId8"/>
            <a:extLst>
              <a:ext uri="{FF2B5EF4-FFF2-40B4-BE49-F238E27FC236}">
                <a16:creationId xmlns:a16="http://schemas.microsoft.com/office/drawing/2014/main" id="{43060483-BA3F-4429-9DB5-CBA75DDBC66C}"/>
              </a:ext>
            </a:extLst>
          </p:cNvPr>
          <p:cNvSpPr/>
          <p:nvPr userDrawn="1"/>
        </p:nvSpPr>
        <p:spPr>
          <a:xfrm>
            <a:off x="2277866" y="2154670"/>
            <a:ext cx="127631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schemeClr val="tx1"/>
                </a:solidFill>
              </a:rPr>
              <a:t>@</a:t>
            </a:r>
            <a:r>
              <a:rPr lang="fr-FR" sz="800" dirty="0" err="1">
                <a:solidFill>
                  <a:schemeClr val="tx1"/>
                </a:solidFill>
              </a:rPr>
              <a:t>universitedebordeaux</a:t>
            </a:r>
            <a:endParaRPr lang="fr-FR" sz="800" dirty="0">
              <a:solidFill>
                <a:schemeClr val="tx1"/>
              </a:solidFill>
            </a:endParaRPr>
          </a:p>
        </p:txBody>
      </p:sp>
      <p:pic>
        <p:nvPicPr>
          <p:cNvPr id="129" name="Graphique 128">
            <a:hlinkClick r:id="rId8"/>
            <a:extLst>
              <a:ext uri="{FF2B5EF4-FFF2-40B4-BE49-F238E27FC236}">
                <a16:creationId xmlns:a16="http://schemas.microsoft.com/office/drawing/2014/main" id="{64F997C0-D043-4AC6-968A-B1C30BBB2282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736022" y="1735319"/>
            <a:ext cx="360000" cy="360000"/>
          </a:xfrm>
          <a:prstGeom prst="rect">
            <a:avLst/>
          </a:prstGeom>
        </p:spPr>
      </p:pic>
      <p:pic>
        <p:nvPicPr>
          <p:cNvPr id="130" name="Graphique 129">
            <a:hlinkClick r:id="rId11"/>
            <a:extLst>
              <a:ext uri="{FF2B5EF4-FFF2-40B4-BE49-F238E27FC236}">
                <a16:creationId xmlns:a16="http://schemas.microsoft.com/office/drawing/2014/main" id="{83FCBC0C-46CD-4319-932E-4A574B930242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232820" y="702273"/>
            <a:ext cx="360000" cy="360000"/>
          </a:xfrm>
          <a:prstGeom prst="rect">
            <a:avLst/>
          </a:prstGeom>
        </p:spPr>
      </p:pic>
      <p:pic>
        <p:nvPicPr>
          <p:cNvPr id="131" name="Graphique 130">
            <a:hlinkClick r:id="rId14"/>
            <a:extLst>
              <a:ext uri="{FF2B5EF4-FFF2-40B4-BE49-F238E27FC236}">
                <a16:creationId xmlns:a16="http://schemas.microsoft.com/office/drawing/2014/main" id="{1819CD89-E770-4FC4-A88B-BD521AE63294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904363" y="702273"/>
            <a:ext cx="360000" cy="360000"/>
          </a:xfrm>
          <a:prstGeom prst="rect">
            <a:avLst/>
          </a:prstGeom>
        </p:spPr>
      </p:pic>
      <p:sp>
        <p:nvSpPr>
          <p:cNvPr id="132" name="Rectangle 131">
            <a:hlinkClick r:id="rId14"/>
            <a:extLst>
              <a:ext uri="{FF2B5EF4-FFF2-40B4-BE49-F238E27FC236}">
                <a16:creationId xmlns:a16="http://schemas.microsoft.com/office/drawing/2014/main" id="{FD3B5232-D5E9-44F0-9C33-33247F54B052}"/>
              </a:ext>
            </a:extLst>
          </p:cNvPr>
          <p:cNvSpPr/>
          <p:nvPr userDrawn="1"/>
        </p:nvSpPr>
        <p:spPr>
          <a:xfrm>
            <a:off x="1560019" y="1121624"/>
            <a:ext cx="104868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schemeClr val="tx1"/>
                </a:solidFill>
              </a:rPr>
              <a:t>www.u-bordeaux.fr</a:t>
            </a:r>
          </a:p>
        </p:txBody>
      </p:sp>
      <p:pic>
        <p:nvPicPr>
          <p:cNvPr id="133" name="Graphique 132">
            <a:hlinkClick r:id="rId17"/>
            <a:extLst>
              <a:ext uri="{FF2B5EF4-FFF2-40B4-BE49-F238E27FC236}">
                <a16:creationId xmlns:a16="http://schemas.microsoft.com/office/drawing/2014/main" id="{5E1444FE-01A7-45A1-BCDA-AF5DE3864777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060942" y="1735319"/>
            <a:ext cx="360000" cy="360000"/>
          </a:xfrm>
          <a:prstGeom prst="rect">
            <a:avLst/>
          </a:prstGeom>
        </p:spPr>
      </p:pic>
      <p:pic>
        <p:nvPicPr>
          <p:cNvPr id="134" name="Graphique 133">
            <a:extLst>
              <a:ext uri="{FF2B5EF4-FFF2-40B4-BE49-F238E27FC236}">
                <a16:creationId xmlns:a16="http://schemas.microsoft.com/office/drawing/2014/main" id="{AE8061E4-BB31-415B-8A63-EE72EEB79D9C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4400221" y="1735319"/>
            <a:ext cx="360000" cy="360000"/>
          </a:xfrm>
          <a:prstGeom prst="rect">
            <a:avLst/>
          </a:prstGeom>
        </p:spPr>
      </p:pic>
      <p:sp>
        <p:nvSpPr>
          <p:cNvPr id="135" name="Rectangle 134">
            <a:extLst>
              <a:ext uri="{FF2B5EF4-FFF2-40B4-BE49-F238E27FC236}">
                <a16:creationId xmlns:a16="http://schemas.microsoft.com/office/drawing/2014/main" id="{C8AD63C4-784A-4776-9B5D-FA8BD25ACF8C}"/>
              </a:ext>
            </a:extLst>
          </p:cNvPr>
          <p:cNvSpPr/>
          <p:nvPr userDrawn="1"/>
        </p:nvSpPr>
        <p:spPr>
          <a:xfrm>
            <a:off x="4029281" y="2154670"/>
            <a:ext cx="108876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schemeClr val="tx1"/>
                </a:solidFill>
              </a:rPr>
              <a:t>Appli mobile </a:t>
            </a:r>
            <a:r>
              <a:rPr lang="fr-FR" sz="800" dirty="0" err="1">
                <a:solidFill>
                  <a:schemeClr val="tx1"/>
                </a:solidFill>
              </a:rPr>
              <a:t>U&amp;me</a:t>
            </a:r>
            <a:endParaRPr lang="fr-FR" sz="800" dirty="0">
              <a:solidFill>
                <a:schemeClr val="tx1"/>
              </a:solidFill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26C582E0-BC44-4452-B431-ACC02FF3B9A7}"/>
              </a:ext>
            </a:extLst>
          </p:cNvPr>
          <p:cNvSpPr/>
          <p:nvPr userDrawn="1"/>
        </p:nvSpPr>
        <p:spPr>
          <a:xfrm>
            <a:off x="5780492" y="2154670"/>
            <a:ext cx="90922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schemeClr val="tx1"/>
                </a:solidFill>
              </a:rPr>
              <a:t>@</a:t>
            </a:r>
            <a:r>
              <a:rPr lang="fr-FR" sz="800" dirty="0" err="1">
                <a:solidFill>
                  <a:schemeClr val="tx1"/>
                </a:solidFill>
              </a:rPr>
              <a:t>univbordeaux</a:t>
            </a:r>
            <a:endParaRPr lang="fr-FR" sz="800" dirty="0">
              <a:solidFill>
                <a:schemeClr val="tx1"/>
              </a:solidFill>
            </a:endParaRPr>
          </a:p>
        </p:txBody>
      </p:sp>
      <p:sp>
        <p:nvSpPr>
          <p:cNvPr id="137" name="Rectangle 136">
            <a:hlinkClick r:id="rId11"/>
            <a:extLst>
              <a:ext uri="{FF2B5EF4-FFF2-40B4-BE49-F238E27FC236}">
                <a16:creationId xmlns:a16="http://schemas.microsoft.com/office/drawing/2014/main" id="{191CC0A6-AEB3-4CFD-B3D3-4BB18C95F655}"/>
              </a:ext>
            </a:extLst>
          </p:cNvPr>
          <p:cNvSpPr/>
          <p:nvPr userDrawn="1"/>
        </p:nvSpPr>
        <p:spPr>
          <a:xfrm>
            <a:off x="4774665" y="1121624"/>
            <a:ext cx="127631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schemeClr val="tx1"/>
                </a:solidFill>
              </a:rPr>
              <a:t>@</a:t>
            </a:r>
            <a:r>
              <a:rPr lang="fr-FR" sz="800" dirty="0" err="1">
                <a:solidFill>
                  <a:schemeClr val="tx1"/>
                </a:solidFill>
              </a:rPr>
              <a:t>universitedebordeaux</a:t>
            </a:r>
            <a:endParaRPr lang="fr-FR" sz="800" dirty="0">
              <a:solidFill>
                <a:schemeClr val="tx1"/>
              </a:solidFill>
            </a:endParaRPr>
          </a:p>
        </p:txBody>
      </p:sp>
      <p:sp>
        <p:nvSpPr>
          <p:cNvPr id="141" name="Espace réservé du texte 140">
            <a:extLst>
              <a:ext uri="{FF2B5EF4-FFF2-40B4-BE49-F238E27FC236}">
                <a16:creationId xmlns:a16="http://schemas.microsoft.com/office/drawing/2014/main" id="{EE880427-05D3-40E0-A2B2-744B3528ADE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4417" y="2973427"/>
            <a:ext cx="5915166" cy="31393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algn="ctr" defTabSz="457200">
              <a:buNone/>
              <a:tabLst>
                <a:tab pos="2066925" algn="l"/>
              </a:tabLst>
              <a:defRPr lang="fr-FR" sz="1600" b="1" dirty="0" smtClean="0">
                <a:solidFill>
                  <a:schemeClr val="tx1"/>
                </a:solidFill>
              </a:defRPr>
            </a:lvl1pPr>
          </a:lstStyle>
          <a:p>
            <a:pPr marL="0" lvl="0" algn="ctr" defTabSz="457200"/>
            <a:r>
              <a:rPr lang="fr-FR" dirty="0"/>
              <a:t>Message / remerciement</a:t>
            </a:r>
          </a:p>
        </p:txBody>
      </p:sp>
      <p:sp>
        <p:nvSpPr>
          <p:cNvPr id="144" name="Espace réservé du texte 143">
            <a:extLst>
              <a:ext uri="{FF2B5EF4-FFF2-40B4-BE49-F238E27FC236}">
                <a16:creationId xmlns:a16="http://schemas.microsoft.com/office/drawing/2014/main" id="{C20905A2-6F02-47AA-AF2E-63158D48679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5689" y="1"/>
            <a:ext cx="457523" cy="2017735"/>
          </a:xfrm>
          <a:custGeom>
            <a:avLst/>
            <a:gdLst>
              <a:gd name="connsiteX0" fmla="*/ 0 w 457523"/>
              <a:gd name="connsiteY0" fmla="*/ 0 h 2017735"/>
              <a:gd name="connsiteX1" fmla="*/ 275802 w 457523"/>
              <a:gd name="connsiteY1" fmla="*/ 0 h 2017735"/>
              <a:gd name="connsiteX2" fmla="*/ 457523 w 457523"/>
              <a:gd name="connsiteY2" fmla="*/ 0 h 2017735"/>
              <a:gd name="connsiteX3" fmla="*/ 179667 w 457523"/>
              <a:gd name="connsiteY3" fmla="*/ 2017735 h 2017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7523" h="2017735">
                <a:moveTo>
                  <a:pt x="0" y="0"/>
                </a:moveTo>
                <a:lnTo>
                  <a:pt x="275802" y="0"/>
                </a:lnTo>
                <a:lnTo>
                  <a:pt x="457523" y="0"/>
                </a:lnTo>
                <a:lnTo>
                  <a:pt x="179667" y="2017735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grpSp>
        <p:nvGrpSpPr>
          <p:cNvPr id="267" name="Groupe 266">
            <a:extLst>
              <a:ext uri="{FF2B5EF4-FFF2-40B4-BE49-F238E27FC236}">
                <a16:creationId xmlns:a16="http://schemas.microsoft.com/office/drawing/2014/main" id="{5E1891F2-FAFB-45B7-ADB0-B4532A71DEC4}"/>
              </a:ext>
            </a:extLst>
          </p:cNvPr>
          <p:cNvGrpSpPr/>
          <p:nvPr userDrawn="1"/>
        </p:nvGrpSpPr>
        <p:grpSpPr>
          <a:xfrm flipV="1">
            <a:off x="-91485" y="12467"/>
            <a:ext cx="1008300" cy="5190499"/>
            <a:chOff x="-91485" y="-57106"/>
            <a:chExt cx="1008300" cy="5190499"/>
          </a:xfrm>
          <a:solidFill>
            <a:schemeClr val="bg2">
              <a:alpha val="10000"/>
            </a:schemeClr>
          </a:solidFill>
        </p:grpSpPr>
        <p:sp>
          <p:nvSpPr>
            <p:cNvPr id="268" name="Forme libre : forme 267">
              <a:extLst>
                <a:ext uri="{FF2B5EF4-FFF2-40B4-BE49-F238E27FC236}">
                  <a16:creationId xmlns:a16="http://schemas.microsoft.com/office/drawing/2014/main" id="{73F747AB-BDD9-4153-8A0F-81B6FADAE149}"/>
                </a:ext>
              </a:extLst>
            </p:cNvPr>
            <p:cNvSpPr/>
            <p:nvPr/>
          </p:nvSpPr>
          <p:spPr>
            <a:xfrm rot="8716295">
              <a:off x="617786" y="1780350"/>
              <a:ext cx="152726" cy="195873"/>
            </a:xfrm>
            <a:custGeom>
              <a:avLst/>
              <a:gdLst>
                <a:gd name="connsiteX0" fmla="*/ 39589 w 152726"/>
                <a:gd name="connsiteY0" fmla="*/ 195873 h 195873"/>
                <a:gd name="connsiteX1" fmla="*/ 0 w 152726"/>
                <a:gd name="connsiteY1" fmla="*/ 122219 h 195873"/>
                <a:gd name="connsiteX2" fmla="*/ 101089 w 152726"/>
                <a:gd name="connsiteY2" fmla="*/ 0 h 195873"/>
                <a:gd name="connsiteX3" fmla="*/ 152726 w 152726"/>
                <a:gd name="connsiteY3" fmla="*/ 0 h 195873"/>
                <a:gd name="connsiteX4" fmla="*/ 152726 w 152726"/>
                <a:gd name="connsiteY4" fmla="*/ 55323 h 195873"/>
                <a:gd name="connsiteX5" fmla="*/ 87934 w 152726"/>
                <a:gd name="connsiteY5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726" h="195873">
                  <a:moveTo>
                    <a:pt x="39589" y="195873"/>
                  </a:moveTo>
                  <a:lnTo>
                    <a:pt x="0" y="122219"/>
                  </a:lnTo>
                  <a:lnTo>
                    <a:pt x="101089" y="0"/>
                  </a:lnTo>
                  <a:lnTo>
                    <a:pt x="152726" y="0"/>
                  </a:lnTo>
                  <a:lnTo>
                    <a:pt x="152726" y="55323"/>
                  </a:lnTo>
                  <a:lnTo>
                    <a:pt x="87934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" name="Forme libre : forme 268">
              <a:extLst>
                <a:ext uri="{FF2B5EF4-FFF2-40B4-BE49-F238E27FC236}">
                  <a16:creationId xmlns:a16="http://schemas.microsoft.com/office/drawing/2014/main" id="{ABB68B3A-64E8-421E-A122-56A45C711E07}"/>
                </a:ext>
              </a:extLst>
            </p:cNvPr>
            <p:cNvSpPr/>
            <p:nvPr/>
          </p:nvSpPr>
          <p:spPr>
            <a:xfrm rot="8716295">
              <a:off x="534441" y="1654353"/>
              <a:ext cx="262864" cy="103234"/>
            </a:xfrm>
            <a:custGeom>
              <a:avLst/>
              <a:gdLst>
                <a:gd name="connsiteX0" fmla="*/ 0 w 262864"/>
                <a:gd name="connsiteY0" fmla="*/ 75341 h 103234"/>
                <a:gd name="connsiteX1" fmla="*/ 62316 w 262864"/>
                <a:gd name="connsiteY1" fmla="*/ 0 h 103234"/>
                <a:gd name="connsiteX2" fmla="*/ 65768 w 262864"/>
                <a:gd name="connsiteY2" fmla="*/ 14220 h 103234"/>
                <a:gd name="connsiteX3" fmla="*/ 136369 w 262864"/>
                <a:gd name="connsiteY3" fmla="*/ 53051 h 103234"/>
                <a:gd name="connsiteX4" fmla="*/ 189321 w 262864"/>
                <a:gd name="connsiteY4" fmla="*/ 43637 h 103234"/>
                <a:gd name="connsiteX5" fmla="*/ 261688 w 262864"/>
                <a:gd name="connsiteY5" fmla="*/ 14220 h 103234"/>
                <a:gd name="connsiteX6" fmla="*/ 262864 w 262864"/>
                <a:gd name="connsiteY6" fmla="*/ 21868 h 103234"/>
                <a:gd name="connsiteX7" fmla="*/ 262864 w 262864"/>
                <a:gd name="connsiteY7" fmla="*/ 27752 h 103234"/>
                <a:gd name="connsiteX8" fmla="*/ 69887 w 262864"/>
                <a:gd name="connsiteY8" fmla="*/ 103060 h 103234"/>
                <a:gd name="connsiteX9" fmla="*/ 30615 w 262864"/>
                <a:gd name="connsiteY9" fmla="*/ 96294 h 103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2864" h="103234">
                  <a:moveTo>
                    <a:pt x="0" y="75341"/>
                  </a:moveTo>
                  <a:lnTo>
                    <a:pt x="62316" y="0"/>
                  </a:lnTo>
                  <a:lnTo>
                    <a:pt x="65768" y="14220"/>
                  </a:lnTo>
                  <a:cubicBezTo>
                    <a:pt x="75182" y="40107"/>
                    <a:pt x="99304" y="53051"/>
                    <a:pt x="136369" y="53051"/>
                  </a:cubicBezTo>
                  <a:cubicBezTo>
                    <a:pt x="154609" y="52462"/>
                    <a:pt x="172259" y="48932"/>
                    <a:pt x="189321" y="43637"/>
                  </a:cubicBezTo>
                  <a:cubicBezTo>
                    <a:pt x="214031" y="35988"/>
                    <a:pt x="238154" y="25987"/>
                    <a:pt x="261688" y="14220"/>
                  </a:cubicBezTo>
                  <a:cubicBezTo>
                    <a:pt x="262276" y="16573"/>
                    <a:pt x="262864" y="19515"/>
                    <a:pt x="262864" y="21868"/>
                  </a:cubicBezTo>
                  <a:lnTo>
                    <a:pt x="262864" y="27752"/>
                  </a:lnTo>
                  <a:cubicBezTo>
                    <a:pt x="200500" y="81291"/>
                    <a:pt x="118719" y="100119"/>
                    <a:pt x="69887" y="103060"/>
                  </a:cubicBezTo>
                  <a:cubicBezTo>
                    <a:pt x="56355" y="103943"/>
                    <a:pt x="42970" y="101442"/>
                    <a:pt x="30615" y="9629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0" name="Forme libre : forme 269">
              <a:extLst>
                <a:ext uri="{FF2B5EF4-FFF2-40B4-BE49-F238E27FC236}">
                  <a16:creationId xmlns:a16="http://schemas.microsoft.com/office/drawing/2014/main" id="{053D4FF2-A9EA-4185-9507-77A0BB17DB0B}"/>
                </a:ext>
              </a:extLst>
            </p:cNvPr>
            <p:cNvSpPr/>
            <p:nvPr/>
          </p:nvSpPr>
          <p:spPr>
            <a:xfrm rot="8716295">
              <a:off x="632719" y="1232432"/>
              <a:ext cx="121558" cy="232388"/>
            </a:xfrm>
            <a:custGeom>
              <a:avLst/>
              <a:gdLst>
                <a:gd name="connsiteX0" fmla="*/ 60499 w 121558"/>
                <a:gd name="connsiteY0" fmla="*/ 232388 h 232388"/>
                <a:gd name="connsiteX1" fmla="*/ 60499 w 121558"/>
                <a:gd name="connsiteY1" fmla="*/ 69717 h 232388"/>
                <a:gd name="connsiteX2" fmla="*/ 60499 w 121558"/>
                <a:gd name="connsiteY2" fmla="*/ 65615 h 232388"/>
                <a:gd name="connsiteX3" fmla="*/ 39995 w 121558"/>
                <a:gd name="connsiteY3" fmla="*/ 50123 h 232388"/>
                <a:gd name="connsiteX4" fmla="*/ 0 w 121558"/>
                <a:gd name="connsiteY4" fmla="*/ 50123 h 232388"/>
                <a:gd name="connsiteX5" fmla="*/ 41457 w 121558"/>
                <a:gd name="connsiteY5" fmla="*/ 0 h 232388"/>
                <a:gd name="connsiteX6" fmla="*/ 64601 w 121558"/>
                <a:gd name="connsiteY6" fmla="*/ 0 h 232388"/>
                <a:gd name="connsiteX7" fmla="*/ 121558 w 121558"/>
                <a:gd name="connsiteY7" fmla="*/ 50123 h 232388"/>
                <a:gd name="connsiteX8" fmla="*/ 121558 w 121558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558" h="232388">
                  <a:moveTo>
                    <a:pt x="60499" y="232388"/>
                  </a:moveTo>
                  <a:lnTo>
                    <a:pt x="60499" y="69717"/>
                  </a:lnTo>
                  <a:cubicBezTo>
                    <a:pt x="60499" y="68349"/>
                    <a:pt x="60499" y="66983"/>
                    <a:pt x="60499" y="65615"/>
                  </a:cubicBezTo>
                  <a:cubicBezTo>
                    <a:pt x="59133" y="55591"/>
                    <a:pt x="50019" y="48756"/>
                    <a:pt x="39995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64601" y="0"/>
                  </a:lnTo>
                  <a:cubicBezTo>
                    <a:pt x="101509" y="0"/>
                    <a:pt x="121558" y="15948"/>
                    <a:pt x="121558" y="50123"/>
                  </a:cubicBezTo>
                  <a:lnTo>
                    <a:pt x="121558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1" name="Forme libre : forme 270">
              <a:extLst>
                <a:ext uri="{FF2B5EF4-FFF2-40B4-BE49-F238E27FC236}">
                  <a16:creationId xmlns:a16="http://schemas.microsoft.com/office/drawing/2014/main" id="{79A1F7C8-13AC-4C12-A1FD-013BA48F78A7}"/>
                </a:ext>
              </a:extLst>
            </p:cNvPr>
            <p:cNvSpPr/>
            <p:nvPr/>
          </p:nvSpPr>
          <p:spPr>
            <a:xfrm rot="8716295">
              <a:off x="763454" y="1474783"/>
              <a:ext cx="14143" cy="14319"/>
            </a:xfrm>
            <a:custGeom>
              <a:avLst/>
              <a:gdLst>
                <a:gd name="connsiteX0" fmla="*/ 0 w 14143"/>
                <a:gd name="connsiteY0" fmla="*/ 14319 h 14319"/>
                <a:gd name="connsiteX1" fmla="*/ 11843 w 14143"/>
                <a:gd name="connsiteY1" fmla="*/ 0 h 14319"/>
                <a:gd name="connsiteX2" fmla="*/ 14143 w 14143"/>
                <a:gd name="connsiteY2" fmla="*/ 7563 h 14319"/>
                <a:gd name="connsiteX3" fmla="*/ 14143 w 14143"/>
                <a:gd name="connsiteY3" fmla="*/ 13487 h 1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43" h="14319">
                  <a:moveTo>
                    <a:pt x="0" y="14319"/>
                  </a:moveTo>
                  <a:lnTo>
                    <a:pt x="11843" y="0"/>
                  </a:lnTo>
                  <a:lnTo>
                    <a:pt x="14143" y="7563"/>
                  </a:lnTo>
                  <a:lnTo>
                    <a:pt x="14143" y="1348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2" name="Forme libre : forme 271">
              <a:extLst>
                <a:ext uri="{FF2B5EF4-FFF2-40B4-BE49-F238E27FC236}">
                  <a16:creationId xmlns:a16="http://schemas.microsoft.com/office/drawing/2014/main" id="{C3E454D8-15B4-4672-8FB0-B86B805165E6}"/>
                </a:ext>
              </a:extLst>
            </p:cNvPr>
            <p:cNvSpPr/>
            <p:nvPr/>
          </p:nvSpPr>
          <p:spPr>
            <a:xfrm rot="8716295">
              <a:off x="672878" y="1171577"/>
              <a:ext cx="183964" cy="137618"/>
            </a:xfrm>
            <a:custGeom>
              <a:avLst/>
              <a:gdLst>
                <a:gd name="connsiteX0" fmla="*/ 0 w 183964"/>
                <a:gd name="connsiteY0" fmla="*/ 137618 h 137618"/>
                <a:gd name="connsiteX1" fmla="*/ 53346 w 183964"/>
                <a:gd name="connsiteY1" fmla="*/ 73121 h 137618"/>
                <a:gd name="connsiteX2" fmla="*/ 101034 w 183964"/>
                <a:gd name="connsiteY2" fmla="*/ 28251 h 137618"/>
                <a:gd name="connsiteX3" fmla="*/ 155713 w 183964"/>
                <a:gd name="connsiteY3" fmla="*/ 0 h 137618"/>
                <a:gd name="connsiteX4" fmla="*/ 183964 w 183964"/>
                <a:gd name="connsiteY4" fmla="*/ 33719 h 137618"/>
                <a:gd name="connsiteX5" fmla="*/ 157536 w 183964"/>
                <a:gd name="connsiteY5" fmla="*/ 69261 h 137618"/>
                <a:gd name="connsiteX6" fmla="*/ 157991 w 183964"/>
                <a:gd name="connsiteY6" fmla="*/ 69261 h 137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3964" h="137618">
                  <a:moveTo>
                    <a:pt x="0" y="137618"/>
                  </a:moveTo>
                  <a:lnTo>
                    <a:pt x="53346" y="73121"/>
                  </a:lnTo>
                  <a:lnTo>
                    <a:pt x="101034" y="28251"/>
                  </a:lnTo>
                  <a:cubicBezTo>
                    <a:pt x="114703" y="12303"/>
                    <a:pt x="134297" y="2278"/>
                    <a:pt x="155713" y="0"/>
                  </a:cubicBezTo>
                  <a:cubicBezTo>
                    <a:pt x="177585" y="0"/>
                    <a:pt x="183964" y="19138"/>
                    <a:pt x="183964" y="33719"/>
                  </a:cubicBezTo>
                  <a:cubicBezTo>
                    <a:pt x="182597" y="49667"/>
                    <a:pt x="172117" y="62881"/>
                    <a:pt x="157536" y="69261"/>
                  </a:cubicBezTo>
                  <a:lnTo>
                    <a:pt x="157991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3" name="Forme libre : forme 272">
              <a:extLst>
                <a:ext uri="{FF2B5EF4-FFF2-40B4-BE49-F238E27FC236}">
                  <a16:creationId xmlns:a16="http://schemas.microsoft.com/office/drawing/2014/main" id="{9C05EADF-BE0D-49AA-B420-B1EB4831C5FE}"/>
                </a:ext>
              </a:extLst>
            </p:cNvPr>
            <p:cNvSpPr/>
            <p:nvPr/>
          </p:nvSpPr>
          <p:spPr>
            <a:xfrm rot="8716295">
              <a:off x="519479" y="13148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4" name="Forme libre : forme 273">
              <a:extLst>
                <a:ext uri="{FF2B5EF4-FFF2-40B4-BE49-F238E27FC236}">
                  <a16:creationId xmlns:a16="http://schemas.microsoft.com/office/drawing/2014/main" id="{AB241E56-80DB-4C03-BDCB-013736737321}"/>
                </a:ext>
              </a:extLst>
            </p:cNvPr>
            <p:cNvSpPr/>
            <p:nvPr/>
          </p:nvSpPr>
          <p:spPr>
            <a:xfrm rot="8716295">
              <a:off x="394576" y="11061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5" name="Forme libre : forme 274">
              <a:extLst>
                <a:ext uri="{FF2B5EF4-FFF2-40B4-BE49-F238E27FC236}">
                  <a16:creationId xmlns:a16="http://schemas.microsoft.com/office/drawing/2014/main" id="{E447AC23-F520-414E-AA97-1E8F359564D9}"/>
                </a:ext>
              </a:extLst>
            </p:cNvPr>
            <p:cNvSpPr/>
            <p:nvPr/>
          </p:nvSpPr>
          <p:spPr>
            <a:xfrm rot="8716295">
              <a:off x="382524" y="96739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6" name="Forme libre : forme 275">
              <a:extLst>
                <a:ext uri="{FF2B5EF4-FFF2-40B4-BE49-F238E27FC236}">
                  <a16:creationId xmlns:a16="http://schemas.microsoft.com/office/drawing/2014/main" id="{64C6C88C-FD82-456D-9665-DF0FCE0E4C47}"/>
                </a:ext>
              </a:extLst>
            </p:cNvPr>
            <p:cNvSpPr/>
            <p:nvPr/>
          </p:nvSpPr>
          <p:spPr>
            <a:xfrm rot="8716295">
              <a:off x="609657" y="135579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7" name="Forme libre : forme 276">
              <a:extLst>
                <a:ext uri="{FF2B5EF4-FFF2-40B4-BE49-F238E27FC236}">
                  <a16:creationId xmlns:a16="http://schemas.microsoft.com/office/drawing/2014/main" id="{0A77A193-F583-4928-97AF-E64E8FF6DEAD}"/>
                </a:ext>
              </a:extLst>
            </p:cNvPr>
            <p:cNvSpPr/>
            <p:nvPr/>
          </p:nvSpPr>
          <p:spPr>
            <a:xfrm rot="8716295">
              <a:off x="683426" y="869567"/>
              <a:ext cx="156000" cy="195873"/>
            </a:xfrm>
            <a:custGeom>
              <a:avLst/>
              <a:gdLst>
                <a:gd name="connsiteX0" fmla="*/ 42863 w 156000"/>
                <a:gd name="connsiteY0" fmla="*/ 195873 h 195873"/>
                <a:gd name="connsiteX1" fmla="*/ 0 w 156000"/>
                <a:gd name="connsiteY1" fmla="*/ 116129 h 195873"/>
                <a:gd name="connsiteX2" fmla="*/ 5100 w 156000"/>
                <a:gd name="connsiteY2" fmla="*/ 101988 h 195873"/>
                <a:gd name="connsiteX3" fmla="*/ 89456 w 156000"/>
                <a:gd name="connsiteY3" fmla="*/ 0 h 195873"/>
                <a:gd name="connsiteX4" fmla="*/ 156000 w 156000"/>
                <a:gd name="connsiteY4" fmla="*/ 0 h 195873"/>
                <a:gd name="connsiteX5" fmla="*/ 156000 w 156000"/>
                <a:gd name="connsiteY5" fmla="*/ 55323 h 195873"/>
                <a:gd name="connsiteX6" fmla="*/ 91208 w 156000"/>
                <a:gd name="connsiteY6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000" h="195873">
                  <a:moveTo>
                    <a:pt x="42863" y="195873"/>
                  </a:moveTo>
                  <a:lnTo>
                    <a:pt x="0" y="116129"/>
                  </a:lnTo>
                  <a:lnTo>
                    <a:pt x="5100" y="101988"/>
                  </a:lnTo>
                  <a:lnTo>
                    <a:pt x="89456" y="0"/>
                  </a:lnTo>
                  <a:lnTo>
                    <a:pt x="156000" y="0"/>
                  </a:lnTo>
                  <a:lnTo>
                    <a:pt x="156000" y="55323"/>
                  </a:lnTo>
                  <a:lnTo>
                    <a:pt x="91208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8" name="Forme libre : forme 277">
              <a:extLst>
                <a:ext uri="{FF2B5EF4-FFF2-40B4-BE49-F238E27FC236}">
                  <a16:creationId xmlns:a16="http://schemas.microsoft.com/office/drawing/2014/main" id="{CF3F0AFD-D31B-4029-B3F3-E13BB8216AB9}"/>
                </a:ext>
              </a:extLst>
            </p:cNvPr>
            <p:cNvSpPr/>
            <p:nvPr/>
          </p:nvSpPr>
          <p:spPr>
            <a:xfrm rot="8716295">
              <a:off x="657305" y="95604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9" name="Forme libre : forme 278">
              <a:extLst>
                <a:ext uri="{FF2B5EF4-FFF2-40B4-BE49-F238E27FC236}">
                  <a16:creationId xmlns:a16="http://schemas.microsoft.com/office/drawing/2014/main" id="{4E0EA875-3BAB-4BDB-A5B0-808C38082217}"/>
                </a:ext>
              </a:extLst>
            </p:cNvPr>
            <p:cNvSpPr/>
            <p:nvPr/>
          </p:nvSpPr>
          <p:spPr>
            <a:xfrm rot="8716295">
              <a:off x="412774" y="56424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0" name="Forme libre : forme 279">
              <a:extLst>
                <a:ext uri="{FF2B5EF4-FFF2-40B4-BE49-F238E27FC236}">
                  <a16:creationId xmlns:a16="http://schemas.microsoft.com/office/drawing/2014/main" id="{842C3D6E-95C4-425C-8B38-D0EBD8DBD5E5}"/>
                </a:ext>
              </a:extLst>
            </p:cNvPr>
            <p:cNvSpPr/>
            <p:nvPr/>
          </p:nvSpPr>
          <p:spPr>
            <a:xfrm rot="8716295">
              <a:off x="502166" y="59348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1" name="Forme libre : forme 280">
              <a:extLst>
                <a:ext uri="{FF2B5EF4-FFF2-40B4-BE49-F238E27FC236}">
                  <a16:creationId xmlns:a16="http://schemas.microsoft.com/office/drawing/2014/main" id="{A75BA1B9-497A-4874-9158-409D833D072A}"/>
                </a:ext>
              </a:extLst>
            </p:cNvPr>
            <p:cNvSpPr/>
            <p:nvPr/>
          </p:nvSpPr>
          <p:spPr>
            <a:xfrm rot="8716295">
              <a:off x="457316" y="50720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2" name="Forme libre : forme 281">
              <a:extLst>
                <a:ext uri="{FF2B5EF4-FFF2-40B4-BE49-F238E27FC236}">
                  <a16:creationId xmlns:a16="http://schemas.microsoft.com/office/drawing/2014/main" id="{205B75CA-6160-44CB-AE0D-8B52A04FF9B7}"/>
                </a:ext>
              </a:extLst>
            </p:cNvPr>
            <p:cNvSpPr/>
            <p:nvPr/>
          </p:nvSpPr>
          <p:spPr>
            <a:xfrm rot="8716295">
              <a:off x="300540" y="65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3" name="Forme libre : forme 282">
              <a:extLst>
                <a:ext uri="{FF2B5EF4-FFF2-40B4-BE49-F238E27FC236}">
                  <a16:creationId xmlns:a16="http://schemas.microsoft.com/office/drawing/2014/main" id="{91186326-55D6-4548-B33F-3511BC925FE8}"/>
                </a:ext>
              </a:extLst>
            </p:cNvPr>
            <p:cNvSpPr/>
            <p:nvPr/>
          </p:nvSpPr>
          <p:spPr>
            <a:xfrm rot="8716295">
              <a:off x="175637" y="44411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4" name="Forme libre : forme 283">
              <a:extLst>
                <a:ext uri="{FF2B5EF4-FFF2-40B4-BE49-F238E27FC236}">
                  <a16:creationId xmlns:a16="http://schemas.microsoft.com/office/drawing/2014/main" id="{A2ED5F31-FCDD-430A-BE16-9B1EA12A7F4F}"/>
                </a:ext>
              </a:extLst>
            </p:cNvPr>
            <p:cNvSpPr/>
            <p:nvPr/>
          </p:nvSpPr>
          <p:spPr>
            <a:xfrm rot="8716295">
              <a:off x="163585" y="30533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5" name="Forme libre : forme 284">
              <a:extLst>
                <a:ext uri="{FF2B5EF4-FFF2-40B4-BE49-F238E27FC236}">
                  <a16:creationId xmlns:a16="http://schemas.microsoft.com/office/drawing/2014/main" id="{FEC22DEA-F709-420C-A439-1AC57EB74539}"/>
                </a:ext>
              </a:extLst>
            </p:cNvPr>
            <p:cNvSpPr/>
            <p:nvPr/>
          </p:nvSpPr>
          <p:spPr>
            <a:xfrm rot="8716295">
              <a:off x="390718" y="69374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6" name="Forme libre : forme 285">
              <a:extLst>
                <a:ext uri="{FF2B5EF4-FFF2-40B4-BE49-F238E27FC236}">
                  <a16:creationId xmlns:a16="http://schemas.microsoft.com/office/drawing/2014/main" id="{4DA790D9-C5B8-43BC-8AB6-4E888B07FAC5}"/>
                </a:ext>
              </a:extLst>
            </p:cNvPr>
            <p:cNvSpPr/>
            <p:nvPr/>
          </p:nvSpPr>
          <p:spPr>
            <a:xfrm rot="8716295">
              <a:off x="702015" y="317459"/>
              <a:ext cx="131260" cy="232388"/>
            </a:xfrm>
            <a:custGeom>
              <a:avLst/>
              <a:gdLst>
                <a:gd name="connsiteX0" fmla="*/ 70201 w 131260"/>
                <a:gd name="connsiteY0" fmla="*/ 232388 h 232388"/>
                <a:gd name="connsiteX1" fmla="*/ 70201 w 131260"/>
                <a:gd name="connsiteY1" fmla="*/ 69717 h 232388"/>
                <a:gd name="connsiteX2" fmla="*/ 70201 w 131260"/>
                <a:gd name="connsiteY2" fmla="*/ 65615 h 232388"/>
                <a:gd name="connsiteX3" fmla="*/ 49697 w 131260"/>
                <a:gd name="connsiteY3" fmla="*/ 50123 h 232388"/>
                <a:gd name="connsiteX4" fmla="*/ 0 w 131260"/>
                <a:gd name="connsiteY4" fmla="*/ 50123 h 232388"/>
                <a:gd name="connsiteX5" fmla="*/ 41457 w 131260"/>
                <a:gd name="connsiteY5" fmla="*/ 0 h 232388"/>
                <a:gd name="connsiteX6" fmla="*/ 74303 w 131260"/>
                <a:gd name="connsiteY6" fmla="*/ 0 h 232388"/>
                <a:gd name="connsiteX7" fmla="*/ 131260 w 131260"/>
                <a:gd name="connsiteY7" fmla="*/ 50123 h 232388"/>
                <a:gd name="connsiteX8" fmla="*/ 131260 w 131260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1260" h="232388">
                  <a:moveTo>
                    <a:pt x="70201" y="232388"/>
                  </a:moveTo>
                  <a:lnTo>
                    <a:pt x="70201" y="69717"/>
                  </a:lnTo>
                  <a:cubicBezTo>
                    <a:pt x="70201" y="68349"/>
                    <a:pt x="70201" y="66983"/>
                    <a:pt x="70201" y="65615"/>
                  </a:cubicBezTo>
                  <a:cubicBezTo>
                    <a:pt x="68835" y="55591"/>
                    <a:pt x="59721" y="48756"/>
                    <a:pt x="49697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74303" y="0"/>
                  </a:lnTo>
                  <a:cubicBezTo>
                    <a:pt x="111211" y="0"/>
                    <a:pt x="131260" y="15948"/>
                    <a:pt x="131260" y="50123"/>
                  </a:cubicBezTo>
                  <a:lnTo>
                    <a:pt x="131260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7" name="Forme libre : forme 286">
              <a:extLst>
                <a:ext uri="{FF2B5EF4-FFF2-40B4-BE49-F238E27FC236}">
                  <a16:creationId xmlns:a16="http://schemas.microsoft.com/office/drawing/2014/main" id="{091E5F9C-73C6-4CAB-93E5-EFA60788C51C}"/>
                </a:ext>
              </a:extLst>
            </p:cNvPr>
            <p:cNvSpPr/>
            <p:nvPr/>
          </p:nvSpPr>
          <p:spPr>
            <a:xfrm rot="8716295">
              <a:off x="834978" y="558357"/>
              <a:ext cx="24341" cy="23495"/>
            </a:xfrm>
            <a:custGeom>
              <a:avLst/>
              <a:gdLst>
                <a:gd name="connsiteX0" fmla="*/ 0 w 24341"/>
                <a:gd name="connsiteY0" fmla="*/ 23495 h 23495"/>
                <a:gd name="connsiteX1" fmla="*/ 19433 w 24341"/>
                <a:gd name="connsiteY1" fmla="*/ 0 h 23495"/>
                <a:gd name="connsiteX2" fmla="*/ 24341 w 24341"/>
                <a:gd name="connsiteY2" fmla="*/ 16139 h 23495"/>
                <a:gd name="connsiteX3" fmla="*/ 24341 w 24341"/>
                <a:gd name="connsiteY3" fmla="*/ 22063 h 23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41" h="23495">
                  <a:moveTo>
                    <a:pt x="0" y="23495"/>
                  </a:moveTo>
                  <a:lnTo>
                    <a:pt x="19433" y="0"/>
                  </a:lnTo>
                  <a:lnTo>
                    <a:pt x="24341" y="16139"/>
                  </a:lnTo>
                  <a:lnTo>
                    <a:pt x="24341" y="220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8" name="Forme libre : forme 287">
              <a:extLst>
                <a:ext uri="{FF2B5EF4-FFF2-40B4-BE49-F238E27FC236}">
                  <a16:creationId xmlns:a16="http://schemas.microsoft.com/office/drawing/2014/main" id="{93F3A654-B74E-499B-8487-8A2B2CC5A0EA}"/>
                </a:ext>
              </a:extLst>
            </p:cNvPr>
            <p:cNvSpPr/>
            <p:nvPr/>
          </p:nvSpPr>
          <p:spPr>
            <a:xfrm rot="8716295">
              <a:off x="589639" y="40263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9" name="Forme libre : forme 288">
              <a:extLst>
                <a:ext uri="{FF2B5EF4-FFF2-40B4-BE49-F238E27FC236}">
                  <a16:creationId xmlns:a16="http://schemas.microsoft.com/office/drawing/2014/main" id="{D0AE4335-4774-4A5C-9D6E-6AA33670DF96}"/>
                </a:ext>
              </a:extLst>
            </p:cNvPr>
            <p:cNvSpPr/>
            <p:nvPr/>
          </p:nvSpPr>
          <p:spPr>
            <a:xfrm rot="8716295">
              <a:off x="464737" y="19396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0" name="Forme libre : forme 289">
              <a:extLst>
                <a:ext uri="{FF2B5EF4-FFF2-40B4-BE49-F238E27FC236}">
                  <a16:creationId xmlns:a16="http://schemas.microsoft.com/office/drawing/2014/main" id="{2305D91E-CF26-4028-92DC-E2D20BB482D6}"/>
                </a:ext>
              </a:extLst>
            </p:cNvPr>
            <p:cNvSpPr/>
            <p:nvPr/>
          </p:nvSpPr>
          <p:spPr>
            <a:xfrm rot="8716295">
              <a:off x="679817" y="44358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1" name="Forme libre : forme 290">
              <a:extLst>
                <a:ext uri="{FF2B5EF4-FFF2-40B4-BE49-F238E27FC236}">
                  <a16:creationId xmlns:a16="http://schemas.microsoft.com/office/drawing/2014/main" id="{DF9C8202-D29B-450E-90FF-E46CAC2E7FA2}"/>
                </a:ext>
              </a:extLst>
            </p:cNvPr>
            <p:cNvSpPr/>
            <p:nvPr/>
          </p:nvSpPr>
          <p:spPr>
            <a:xfrm rot="8716295">
              <a:off x="438366" y="29398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2" name="Forme libre : forme 291">
              <a:extLst>
                <a:ext uri="{FF2B5EF4-FFF2-40B4-BE49-F238E27FC236}">
                  <a16:creationId xmlns:a16="http://schemas.microsoft.com/office/drawing/2014/main" id="{28FFA2F5-C74D-4918-B35E-56FAFD44D7DC}"/>
                </a:ext>
              </a:extLst>
            </p:cNvPr>
            <p:cNvSpPr/>
            <p:nvPr/>
          </p:nvSpPr>
          <p:spPr>
            <a:xfrm rot="7484129">
              <a:off x="811674" y="658874"/>
              <a:ext cx="31078" cy="46141"/>
            </a:xfrm>
            <a:custGeom>
              <a:avLst/>
              <a:gdLst>
                <a:gd name="connsiteX0" fmla="*/ 15207 w 31078"/>
                <a:gd name="connsiteY0" fmla="*/ 46141 h 46141"/>
                <a:gd name="connsiteX1" fmla="*/ 0 w 31078"/>
                <a:gd name="connsiteY1" fmla="*/ 17849 h 46141"/>
                <a:gd name="connsiteX2" fmla="*/ 31078 w 31078"/>
                <a:gd name="connsiteY2" fmla="*/ 0 h 46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078" h="46141">
                  <a:moveTo>
                    <a:pt x="15207" y="46141"/>
                  </a:moveTo>
                  <a:lnTo>
                    <a:pt x="0" y="17849"/>
                  </a:lnTo>
                  <a:lnTo>
                    <a:pt x="3107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3" name="Forme libre : forme 292">
              <a:extLst>
                <a:ext uri="{FF2B5EF4-FFF2-40B4-BE49-F238E27FC236}">
                  <a16:creationId xmlns:a16="http://schemas.microsoft.com/office/drawing/2014/main" id="{F7F1B592-6665-4DA1-B454-1D5C767BA63B}"/>
                </a:ext>
              </a:extLst>
            </p:cNvPr>
            <p:cNvSpPr/>
            <p:nvPr/>
          </p:nvSpPr>
          <p:spPr>
            <a:xfrm rot="8716295">
              <a:off x="780102" y="336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4" name="Forme libre : forme 293">
              <a:extLst>
                <a:ext uri="{FF2B5EF4-FFF2-40B4-BE49-F238E27FC236}">
                  <a16:creationId xmlns:a16="http://schemas.microsoft.com/office/drawing/2014/main" id="{33626504-CACB-4364-8AA4-F28F086A7B6A}"/>
                </a:ext>
              </a:extLst>
            </p:cNvPr>
            <p:cNvSpPr/>
            <p:nvPr/>
          </p:nvSpPr>
          <p:spPr>
            <a:xfrm rot="8716295">
              <a:off x="202348" y="-57106"/>
              <a:ext cx="142167" cy="186494"/>
            </a:xfrm>
            <a:custGeom>
              <a:avLst/>
              <a:gdLst>
                <a:gd name="connsiteX0" fmla="*/ 142167 w 142167"/>
                <a:gd name="connsiteY0" fmla="*/ 186494 h 186494"/>
                <a:gd name="connsiteX1" fmla="*/ 81108 w 142167"/>
                <a:gd name="connsiteY1" fmla="*/ 144170 h 186494"/>
                <a:gd name="connsiteX2" fmla="*/ 81108 w 142167"/>
                <a:gd name="connsiteY2" fmla="*/ 69717 h 186494"/>
                <a:gd name="connsiteX3" fmla="*/ 81108 w 142167"/>
                <a:gd name="connsiteY3" fmla="*/ 65615 h 186494"/>
                <a:gd name="connsiteX4" fmla="*/ 60603 w 142167"/>
                <a:gd name="connsiteY4" fmla="*/ 50123 h 186494"/>
                <a:gd name="connsiteX5" fmla="*/ 0 w 142167"/>
                <a:gd name="connsiteY5" fmla="*/ 50123 h 186494"/>
                <a:gd name="connsiteX6" fmla="*/ 0 w 142167"/>
                <a:gd name="connsiteY6" fmla="*/ 0 h 186494"/>
                <a:gd name="connsiteX7" fmla="*/ 85209 w 142167"/>
                <a:gd name="connsiteY7" fmla="*/ 0 h 186494"/>
                <a:gd name="connsiteX8" fmla="*/ 142167 w 142167"/>
                <a:gd name="connsiteY8" fmla="*/ 50123 h 186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86494">
                  <a:moveTo>
                    <a:pt x="142167" y="186494"/>
                  </a:moveTo>
                  <a:lnTo>
                    <a:pt x="81108" y="144170"/>
                  </a:lnTo>
                  <a:lnTo>
                    <a:pt x="81108" y="69717"/>
                  </a:lnTo>
                  <a:cubicBezTo>
                    <a:pt x="81108" y="68349"/>
                    <a:pt x="81108" y="66983"/>
                    <a:pt x="81108" y="65615"/>
                  </a:cubicBezTo>
                  <a:cubicBezTo>
                    <a:pt x="79741" y="55591"/>
                    <a:pt x="70628" y="48756"/>
                    <a:pt x="60603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5" name="Forme libre : forme 294">
              <a:extLst>
                <a:ext uri="{FF2B5EF4-FFF2-40B4-BE49-F238E27FC236}">
                  <a16:creationId xmlns:a16="http://schemas.microsoft.com/office/drawing/2014/main" id="{8B9EE4C0-9C2E-42BB-B294-381EB8F6C5DA}"/>
                </a:ext>
              </a:extLst>
            </p:cNvPr>
            <p:cNvSpPr/>
            <p:nvPr/>
          </p:nvSpPr>
          <p:spPr>
            <a:xfrm rot="8716295">
              <a:off x="298766" y="-5395"/>
              <a:ext cx="260639" cy="180054"/>
            </a:xfrm>
            <a:custGeom>
              <a:avLst/>
              <a:gdLst>
                <a:gd name="connsiteX0" fmla="*/ 111638 w 260639"/>
                <a:gd name="connsiteY0" fmla="*/ 180054 h 180054"/>
                <a:gd name="connsiteX1" fmla="*/ 51490 w 260639"/>
                <a:gd name="connsiteY1" fmla="*/ 138362 h 180054"/>
                <a:gd name="connsiteX2" fmla="*/ 51490 w 260639"/>
                <a:gd name="connsiteY2" fmla="*/ 45624 h 180054"/>
                <a:gd name="connsiteX3" fmla="*/ 0 w 260639"/>
                <a:gd name="connsiteY3" fmla="*/ 45624 h 180054"/>
                <a:gd name="connsiteX4" fmla="*/ 0 w 260639"/>
                <a:gd name="connsiteY4" fmla="*/ 1425 h 180054"/>
                <a:gd name="connsiteX5" fmla="*/ 104802 w 260639"/>
                <a:gd name="connsiteY5" fmla="*/ 1425 h 180054"/>
                <a:gd name="connsiteX6" fmla="*/ 104802 w 260639"/>
                <a:gd name="connsiteY6" fmla="*/ 75242 h 180054"/>
                <a:gd name="connsiteX7" fmla="*/ 106169 w 260639"/>
                <a:gd name="connsiteY7" fmla="*/ 75242 h 180054"/>
                <a:gd name="connsiteX8" fmla="*/ 154014 w 260639"/>
                <a:gd name="connsiteY8" fmla="*/ 5981 h 180054"/>
                <a:gd name="connsiteX9" fmla="*/ 185455 w 260639"/>
                <a:gd name="connsiteY9" fmla="*/ 57 h 180054"/>
                <a:gd name="connsiteX10" fmla="*/ 260639 w 260639"/>
                <a:gd name="connsiteY10" fmla="*/ 88456 h 180054"/>
                <a:gd name="connsiteX11" fmla="*/ 260639 w 260639"/>
                <a:gd name="connsiteY11" fmla="*/ 94380 h 180054"/>
                <a:gd name="connsiteX12" fmla="*/ 198669 w 260639"/>
                <a:gd name="connsiteY12" fmla="*/ 98025 h 180054"/>
                <a:gd name="connsiteX13" fmla="*/ 198669 w 260639"/>
                <a:gd name="connsiteY13" fmla="*/ 81621 h 180054"/>
                <a:gd name="connsiteX14" fmla="*/ 164950 w 260639"/>
                <a:gd name="connsiteY14" fmla="*/ 40156 h 180054"/>
                <a:gd name="connsiteX15" fmla="*/ 111638 w 260639"/>
                <a:gd name="connsiteY15" fmla="*/ 127643 h 180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0639" h="180054">
                  <a:moveTo>
                    <a:pt x="111638" y="180054"/>
                  </a:moveTo>
                  <a:lnTo>
                    <a:pt x="51490" y="138362"/>
                  </a:ln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6" name="Forme libre : forme 295">
              <a:extLst>
                <a:ext uri="{FF2B5EF4-FFF2-40B4-BE49-F238E27FC236}">
                  <a16:creationId xmlns:a16="http://schemas.microsoft.com/office/drawing/2014/main" id="{426417CD-8FE4-43C3-B84F-A51A46F7C7B1}"/>
                </a:ext>
              </a:extLst>
            </p:cNvPr>
            <p:cNvSpPr/>
            <p:nvPr/>
          </p:nvSpPr>
          <p:spPr>
            <a:xfrm rot="8716295">
              <a:off x="276903" y="-12823"/>
              <a:ext cx="36272" cy="27982"/>
            </a:xfrm>
            <a:custGeom>
              <a:avLst/>
              <a:gdLst>
                <a:gd name="connsiteX0" fmla="*/ 36272 w 36272"/>
                <a:gd name="connsiteY0" fmla="*/ 27982 h 27982"/>
                <a:gd name="connsiteX1" fmla="*/ 0 w 36272"/>
                <a:gd name="connsiteY1" fmla="*/ 2840 h 27982"/>
                <a:gd name="connsiteX2" fmla="*/ 9543 w 36272"/>
                <a:gd name="connsiteY2" fmla="*/ 0 h 27982"/>
                <a:gd name="connsiteX3" fmla="*/ 31871 w 36272"/>
                <a:gd name="connsiteY3" fmla="*/ 11392 h 27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272" h="27982">
                  <a:moveTo>
                    <a:pt x="36272" y="27982"/>
                  </a:moveTo>
                  <a:lnTo>
                    <a:pt x="0" y="2840"/>
                  </a:lnTo>
                  <a:lnTo>
                    <a:pt x="9543" y="0"/>
                  </a:lnTo>
                  <a:cubicBezTo>
                    <a:pt x="20479" y="0"/>
                    <a:pt x="27542" y="4784"/>
                    <a:pt x="31871" y="113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7" name="Forme libre : forme 296">
              <a:extLst>
                <a:ext uri="{FF2B5EF4-FFF2-40B4-BE49-F238E27FC236}">
                  <a16:creationId xmlns:a16="http://schemas.microsoft.com/office/drawing/2014/main" id="{2194BB82-FA83-4BF9-8EBD-D8D0328F9BDF}"/>
                </a:ext>
              </a:extLst>
            </p:cNvPr>
            <p:cNvSpPr/>
            <p:nvPr/>
          </p:nvSpPr>
          <p:spPr>
            <a:xfrm rot="8716295">
              <a:off x="74640" y="-9665"/>
              <a:ext cx="58068" cy="54772"/>
            </a:xfrm>
            <a:custGeom>
              <a:avLst/>
              <a:gdLst>
                <a:gd name="connsiteX0" fmla="*/ 37436 w 58068"/>
                <a:gd name="connsiteY0" fmla="*/ 54772 h 54772"/>
                <a:gd name="connsiteX1" fmla="*/ 0 w 58068"/>
                <a:gd name="connsiteY1" fmla="*/ 28823 h 54772"/>
                <a:gd name="connsiteX2" fmla="*/ 8515 w 58068"/>
                <a:gd name="connsiteY2" fmla="*/ 8658 h 54772"/>
                <a:gd name="connsiteX3" fmla="*/ 29020 w 58068"/>
                <a:gd name="connsiteY3" fmla="*/ 0 h 54772"/>
                <a:gd name="connsiteX4" fmla="*/ 49525 w 58068"/>
                <a:gd name="connsiteY4" fmla="*/ 8658 h 54772"/>
                <a:gd name="connsiteX5" fmla="*/ 49525 w 58068"/>
                <a:gd name="connsiteY5" fmla="*/ 49668 h 5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068" h="54772">
                  <a:moveTo>
                    <a:pt x="37436" y="54772"/>
                  </a:moveTo>
                  <a:lnTo>
                    <a:pt x="0" y="28823"/>
                  </a:lnTo>
                  <a:lnTo>
                    <a:pt x="8515" y="8658"/>
                  </a:lnTo>
                  <a:cubicBezTo>
                    <a:pt x="13983" y="3190"/>
                    <a:pt x="21273" y="0"/>
                    <a:pt x="29020" y="0"/>
                  </a:cubicBezTo>
                  <a:cubicBezTo>
                    <a:pt x="36766" y="0"/>
                    <a:pt x="44057" y="3190"/>
                    <a:pt x="49525" y="8658"/>
                  </a:cubicBezTo>
                  <a:cubicBezTo>
                    <a:pt x="60916" y="19594"/>
                    <a:pt x="60916" y="38276"/>
                    <a:pt x="49525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8" name="Forme libre : forme 297">
              <a:extLst>
                <a:ext uri="{FF2B5EF4-FFF2-40B4-BE49-F238E27FC236}">
                  <a16:creationId xmlns:a16="http://schemas.microsoft.com/office/drawing/2014/main" id="{1E2DA60E-6B88-4273-B8B8-20DC571CA2F9}"/>
                </a:ext>
              </a:extLst>
            </p:cNvPr>
            <p:cNvSpPr/>
            <p:nvPr/>
          </p:nvSpPr>
          <p:spPr>
            <a:xfrm rot="8716295">
              <a:off x="13802" y="-10406"/>
              <a:ext cx="30027" cy="20814"/>
            </a:xfrm>
            <a:custGeom>
              <a:avLst/>
              <a:gdLst>
                <a:gd name="connsiteX0" fmla="*/ 30027 w 30027"/>
                <a:gd name="connsiteY0" fmla="*/ 20814 h 20814"/>
                <a:gd name="connsiteX1" fmla="*/ 0 w 30027"/>
                <a:gd name="connsiteY1" fmla="*/ 0 h 20814"/>
                <a:gd name="connsiteX2" fmla="*/ 30027 w 30027"/>
                <a:gd name="connsiteY2" fmla="*/ 0 h 20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027" h="20814">
                  <a:moveTo>
                    <a:pt x="30027" y="20814"/>
                  </a:moveTo>
                  <a:lnTo>
                    <a:pt x="0" y="0"/>
                  </a:lnTo>
                  <a:lnTo>
                    <a:pt x="3002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9" name="Forme libre : forme 298">
              <a:extLst>
                <a:ext uri="{FF2B5EF4-FFF2-40B4-BE49-F238E27FC236}">
                  <a16:creationId xmlns:a16="http://schemas.microsoft.com/office/drawing/2014/main" id="{0B53881C-9CFA-4C7A-B7BB-D045B9F708A3}"/>
                </a:ext>
              </a:extLst>
            </p:cNvPr>
            <p:cNvSpPr/>
            <p:nvPr/>
          </p:nvSpPr>
          <p:spPr>
            <a:xfrm rot="8716295">
              <a:off x="168048" y="3032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0" name="Forme libre : forme 299">
              <a:extLst>
                <a:ext uri="{FF2B5EF4-FFF2-40B4-BE49-F238E27FC236}">
                  <a16:creationId xmlns:a16="http://schemas.microsoft.com/office/drawing/2014/main" id="{07B92E1C-0CE7-4A26-8278-C39DA02570AC}"/>
                </a:ext>
              </a:extLst>
            </p:cNvPr>
            <p:cNvSpPr/>
            <p:nvPr/>
          </p:nvSpPr>
          <p:spPr>
            <a:xfrm rot="7484129">
              <a:off x="562078" y="-284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1" name="Forme libre : forme 300">
              <a:extLst>
                <a:ext uri="{FF2B5EF4-FFF2-40B4-BE49-F238E27FC236}">
                  <a16:creationId xmlns:a16="http://schemas.microsoft.com/office/drawing/2014/main" id="{CAE7423C-0BBB-4D40-8F55-D1ED03A3FDDA}"/>
                </a:ext>
              </a:extLst>
            </p:cNvPr>
            <p:cNvSpPr/>
            <p:nvPr/>
          </p:nvSpPr>
          <p:spPr>
            <a:xfrm rot="13089394">
              <a:off x="767127" y="-2787"/>
              <a:ext cx="149688" cy="301067"/>
            </a:xfrm>
            <a:custGeom>
              <a:avLst/>
              <a:gdLst>
                <a:gd name="connsiteX0" fmla="*/ 149688 w 149688"/>
                <a:gd name="connsiteY0" fmla="*/ 279622 h 301067"/>
                <a:gd name="connsiteX1" fmla="*/ 122393 w 149688"/>
                <a:gd name="connsiteY1" fmla="*/ 301067 h 301067"/>
                <a:gd name="connsiteX2" fmla="*/ 0 w 149688"/>
                <a:gd name="connsiteY2" fmla="*/ 114672 h 301067"/>
                <a:gd name="connsiteX3" fmla="*/ 0 w 149688"/>
                <a:gd name="connsiteY3" fmla="*/ 38074 h 301067"/>
                <a:gd name="connsiteX4" fmla="*/ 73388 w 149688"/>
                <a:gd name="connsiteY4" fmla="*/ 0 h 301067"/>
                <a:gd name="connsiteX5" fmla="*/ 74492 w 149688"/>
                <a:gd name="connsiteY5" fmla="*/ 153950 h 301067"/>
                <a:gd name="connsiteX6" fmla="*/ 87734 w 149688"/>
                <a:gd name="connsiteY6" fmla="*/ 245547 h 301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9688" h="301067">
                  <a:moveTo>
                    <a:pt x="149688" y="279622"/>
                  </a:moveTo>
                  <a:lnTo>
                    <a:pt x="122393" y="301067"/>
                  </a:lnTo>
                  <a:lnTo>
                    <a:pt x="0" y="114672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2836" y="184850"/>
                    <a:pt x="77802" y="216302"/>
                    <a:pt x="87734" y="2455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2" name="Forme libre : forme 301">
              <a:extLst>
                <a:ext uri="{FF2B5EF4-FFF2-40B4-BE49-F238E27FC236}">
                  <a16:creationId xmlns:a16="http://schemas.microsoft.com/office/drawing/2014/main" id="{DE7F88C3-F95A-48EB-BC5C-94F46E2332ED}"/>
                </a:ext>
              </a:extLst>
            </p:cNvPr>
            <p:cNvSpPr/>
            <p:nvPr/>
          </p:nvSpPr>
          <p:spPr>
            <a:xfrm rot="8716295">
              <a:off x="212141" y="304502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3" name="Forme libre : forme 302">
              <a:extLst>
                <a:ext uri="{FF2B5EF4-FFF2-40B4-BE49-F238E27FC236}">
                  <a16:creationId xmlns:a16="http://schemas.microsoft.com/office/drawing/2014/main" id="{D55BD2D7-C439-4F43-96D6-CC4EB9C9A2CD}"/>
                </a:ext>
              </a:extLst>
            </p:cNvPr>
            <p:cNvSpPr/>
            <p:nvPr/>
          </p:nvSpPr>
          <p:spPr>
            <a:xfrm rot="8716295">
              <a:off x="301533" y="307427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4" name="Forme libre : forme 303">
              <a:extLst>
                <a:ext uri="{FF2B5EF4-FFF2-40B4-BE49-F238E27FC236}">
                  <a16:creationId xmlns:a16="http://schemas.microsoft.com/office/drawing/2014/main" id="{98520A64-DC7D-4391-9310-C02770ED1A94}"/>
                </a:ext>
              </a:extLst>
            </p:cNvPr>
            <p:cNvSpPr/>
            <p:nvPr/>
          </p:nvSpPr>
          <p:spPr>
            <a:xfrm rot="8716295">
              <a:off x="256683" y="298799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5" name="Forme libre : forme 304">
              <a:extLst>
                <a:ext uri="{FF2B5EF4-FFF2-40B4-BE49-F238E27FC236}">
                  <a16:creationId xmlns:a16="http://schemas.microsoft.com/office/drawing/2014/main" id="{F4D8F56B-62F1-42CF-A7A2-650DB4131292}"/>
                </a:ext>
              </a:extLst>
            </p:cNvPr>
            <p:cNvSpPr/>
            <p:nvPr/>
          </p:nvSpPr>
          <p:spPr>
            <a:xfrm rot="8716295">
              <a:off x="99907" y="31335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6" name="Forme libre : forme 305">
              <a:extLst>
                <a:ext uri="{FF2B5EF4-FFF2-40B4-BE49-F238E27FC236}">
                  <a16:creationId xmlns:a16="http://schemas.microsoft.com/office/drawing/2014/main" id="{0D43E076-CB6A-4FEE-A459-C1DE20E99E2F}"/>
                </a:ext>
              </a:extLst>
            </p:cNvPr>
            <p:cNvSpPr/>
            <p:nvPr/>
          </p:nvSpPr>
          <p:spPr>
            <a:xfrm rot="8716295">
              <a:off x="-24996" y="29248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7" name="Forme libre : forme 306">
              <a:extLst>
                <a:ext uri="{FF2B5EF4-FFF2-40B4-BE49-F238E27FC236}">
                  <a16:creationId xmlns:a16="http://schemas.microsoft.com/office/drawing/2014/main" id="{CA2035BC-118E-49FD-BF84-9E105EEC437B}"/>
                </a:ext>
              </a:extLst>
            </p:cNvPr>
            <p:cNvSpPr/>
            <p:nvPr/>
          </p:nvSpPr>
          <p:spPr>
            <a:xfrm rot="8716295">
              <a:off x="51899" y="2754602"/>
              <a:ext cx="189488" cy="350829"/>
            </a:xfrm>
            <a:custGeom>
              <a:avLst/>
              <a:gdLst>
                <a:gd name="connsiteX0" fmla="*/ 25299 w 189488"/>
                <a:gd name="connsiteY0" fmla="*/ 321238 h 350829"/>
                <a:gd name="connsiteX1" fmla="*/ 0 w 189488"/>
                <a:gd name="connsiteY1" fmla="*/ 220042 h 350829"/>
                <a:gd name="connsiteX2" fmla="*/ 0 w 189488"/>
                <a:gd name="connsiteY2" fmla="*/ 40596 h 350829"/>
                <a:gd name="connsiteX3" fmla="*/ 78250 w 189488"/>
                <a:gd name="connsiteY3" fmla="*/ 0 h 350829"/>
                <a:gd name="connsiteX4" fmla="*/ 79427 w 189488"/>
                <a:gd name="connsiteY4" fmla="*/ 164149 h 350829"/>
                <a:gd name="connsiteX5" fmla="*/ 93547 w 189488"/>
                <a:gd name="connsiteY5" fmla="*/ 261815 h 350829"/>
                <a:gd name="connsiteX6" fmla="*/ 164148 w 189488"/>
                <a:gd name="connsiteY6" fmla="*/ 300646 h 350829"/>
                <a:gd name="connsiteX7" fmla="*/ 189488 w 189488"/>
                <a:gd name="connsiteY7" fmla="*/ 296141 h 350829"/>
                <a:gd name="connsiteX8" fmla="*/ 160617 w 189488"/>
                <a:gd name="connsiteY8" fmla="*/ 337791 h 350829"/>
                <a:gd name="connsiteX9" fmla="*/ 97666 w 189488"/>
                <a:gd name="connsiteY9" fmla="*/ 350655 h 350829"/>
                <a:gd name="connsiteX10" fmla="*/ 25299 w 189488"/>
                <a:gd name="connsiteY10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9488" h="350829">
                  <a:moveTo>
                    <a:pt x="25299" y="321238"/>
                  </a:moveTo>
                  <a:cubicBezTo>
                    <a:pt x="5295" y="301823"/>
                    <a:pt x="0" y="268286"/>
                    <a:pt x="0" y="220042"/>
                  </a:cubicBez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8" y="300646"/>
                  </a:cubicBezTo>
                  <a:lnTo>
                    <a:pt x="189488" y="296141"/>
                  </a:lnTo>
                  <a:lnTo>
                    <a:pt x="160617" y="337791"/>
                  </a:lnTo>
                  <a:lnTo>
                    <a:pt x="97666" y="350655"/>
                  </a:ln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8" name="Forme libre : forme 307">
              <a:extLst>
                <a:ext uri="{FF2B5EF4-FFF2-40B4-BE49-F238E27FC236}">
                  <a16:creationId xmlns:a16="http://schemas.microsoft.com/office/drawing/2014/main" id="{E8F898AD-C8B7-4665-871C-0DD08867FE33}"/>
                </a:ext>
              </a:extLst>
            </p:cNvPr>
            <p:cNvSpPr/>
            <p:nvPr/>
          </p:nvSpPr>
          <p:spPr>
            <a:xfrm rot="8716295">
              <a:off x="190085" y="317452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9" name="Forme libre : forme 308">
              <a:extLst>
                <a:ext uri="{FF2B5EF4-FFF2-40B4-BE49-F238E27FC236}">
                  <a16:creationId xmlns:a16="http://schemas.microsoft.com/office/drawing/2014/main" id="{21447FE1-A29B-45A2-85C9-8C8BA929308B}"/>
                </a:ext>
              </a:extLst>
            </p:cNvPr>
            <p:cNvSpPr/>
            <p:nvPr/>
          </p:nvSpPr>
          <p:spPr>
            <a:xfrm rot="8716295">
              <a:off x="502599" y="2802136"/>
              <a:ext cx="117588" cy="232388"/>
            </a:xfrm>
            <a:custGeom>
              <a:avLst/>
              <a:gdLst>
                <a:gd name="connsiteX0" fmla="*/ 56529 w 117588"/>
                <a:gd name="connsiteY0" fmla="*/ 232388 h 232388"/>
                <a:gd name="connsiteX1" fmla="*/ 56529 w 117588"/>
                <a:gd name="connsiteY1" fmla="*/ 69717 h 232388"/>
                <a:gd name="connsiteX2" fmla="*/ 56529 w 117588"/>
                <a:gd name="connsiteY2" fmla="*/ 65615 h 232388"/>
                <a:gd name="connsiteX3" fmla="*/ 36025 w 117588"/>
                <a:gd name="connsiteY3" fmla="*/ 50123 h 232388"/>
                <a:gd name="connsiteX4" fmla="*/ 0 w 117588"/>
                <a:gd name="connsiteY4" fmla="*/ 50123 h 232388"/>
                <a:gd name="connsiteX5" fmla="*/ 41458 w 117588"/>
                <a:gd name="connsiteY5" fmla="*/ 0 h 232388"/>
                <a:gd name="connsiteX6" fmla="*/ 60630 w 117588"/>
                <a:gd name="connsiteY6" fmla="*/ 0 h 232388"/>
                <a:gd name="connsiteX7" fmla="*/ 117588 w 117588"/>
                <a:gd name="connsiteY7" fmla="*/ 50123 h 232388"/>
                <a:gd name="connsiteX8" fmla="*/ 117588 w 117588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7588" h="232388">
                  <a:moveTo>
                    <a:pt x="56529" y="232388"/>
                  </a:moveTo>
                  <a:lnTo>
                    <a:pt x="56529" y="69717"/>
                  </a:lnTo>
                  <a:cubicBezTo>
                    <a:pt x="56529" y="68349"/>
                    <a:pt x="56529" y="66983"/>
                    <a:pt x="56529" y="65615"/>
                  </a:cubicBezTo>
                  <a:cubicBezTo>
                    <a:pt x="55163" y="55591"/>
                    <a:pt x="46049" y="48756"/>
                    <a:pt x="36025" y="50123"/>
                  </a:cubicBezTo>
                  <a:lnTo>
                    <a:pt x="0" y="50123"/>
                  </a:lnTo>
                  <a:lnTo>
                    <a:pt x="41458" y="0"/>
                  </a:lnTo>
                  <a:lnTo>
                    <a:pt x="60630" y="0"/>
                  </a:lnTo>
                  <a:cubicBezTo>
                    <a:pt x="97539" y="0"/>
                    <a:pt x="117588" y="15948"/>
                    <a:pt x="117588" y="50123"/>
                  </a:cubicBezTo>
                  <a:lnTo>
                    <a:pt x="117588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0" name="Forme libre : forme 309">
              <a:extLst>
                <a:ext uri="{FF2B5EF4-FFF2-40B4-BE49-F238E27FC236}">
                  <a16:creationId xmlns:a16="http://schemas.microsoft.com/office/drawing/2014/main" id="{DC5CD014-032B-4188-8129-1BA9EDEB5E1C}"/>
                </a:ext>
              </a:extLst>
            </p:cNvPr>
            <p:cNvSpPr/>
            <p:nvPr/>
          </p:nvSpPr>
          <p:spPr>
            <a:xfrm rot="8716295">
              <a:off x="389006" y="2883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1" name="Forme libre : forme 310">
              <a:extLst>
                <a:ext uri="{FF2B5EF4-FFF2-40B4-BE49-F238E27FC236}">
                  <a16:creationId xmlns:a16="http://schemas.microsoft.com/office/drawing/2014/main" id="{4BFA54F9-8E75-4357-98AE-7842173849BD}"/>
                </a:ext>
              </a:extLst>
            </p:cNvPr>
            <p:cNvSpPr/>
            <p:nvPr/>
          </p:nvSpPr>
          <p:spPr>
            <a:xfrm rot="8716295">
              <a:off x="264104" y="267474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2" name="Forme libre : forme 311">
              <a:extLst>
                <a:ext uri="{FF2B5EF4-FFF2-40B4-BE49-F238E27FC236}">
                  <a16:creationId xmlns:a16="http://schemas.microsoft.com/office/drawing/2014/main" id="{D627B6F1-7278-4938-8513-4523BF111D7A}"/>
                </a:ext>
              </a:extLst>
            </p:cNvPr>
            <p:cNvSpPr/>
            <p:nvPr/>
          </p:nvSpPr>
          <p:spPr>
            <a:xfrm rot="8716295">
              <a:off x="479184" y="292437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3" name="Forme libre : forme 312">
              <a:extLst>
                <a:ext uri="{FF2B5EF4-FFF2-40B4-BE49-F238E27FC236}">
                  <a16:creationId xmlns:a16="http://schemas.microsoft.com/office/drawing/2014/main" id="{44A8C608-76B9-49F0-B8EA-9C07C31A92DA}"/>
                </a:ext>
              </a:extLst>
            </p:cNvPr>
            <p:cNvSpPr/>
            <p:nvPr/>
          </p:nvSpPr>
          <p:spPr>
            <a:xfrm rot="8716295">
              <a:off x="237733" y="277477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4" name="Forme libre : forme 313">
              <a:extLst>
                <a:ext uri="{FF2B5EF4-FFF2-40B4-BE49-F238E27FC236}">
                  <a16:creationId xmlns:a16="http://schemas.microsoft.com/office/drawing/2014/main" id="{31723CE5-0F31-4468-8030-5F9773A83A08}"/>
                </a:ext>
              </a:extLst>
            </p:cNvPr>
            <p:cNvSpPr/>
            <p:nvPr/>
          </p:nvSpPr>
          <p:spPr>
            <a:xfrm rot="7484129">
              <a:off x="609980" y="3142825"/>
              <a:ext cx="20881" cy="31001"/>
            </a:xfrm>
            <a:custGeom>
              <a:avLst/>
              <a:gdLst>
                <a:gd name="connsiteX0" fmla="*/ 10218 w 20881"/>
                <a:gd name="connsiteY0" fmla="*/ 31001 h 31001"/>
                <a:gd name="connsiteX1" fmla="*/ 0 w 20881"/>
                <a:gd name="connsiteY1" fmla="*/ 11992 h 31001"/>
                <a:gd name="connsiteX2" fmla="*/ 20881 w 20881"/>
                <a:gd name="connsiteY2" fmla="*/ 0 h 31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881" h="31001">
                  <a:moveTo>
                    <a:pt x="10218" y="31001"/>
                  </a:moveTo>
                  <a:lnTo>
                    <a:pt x="0" y="11992"/>
                  </a:lnTo>
                  <a:lnTo>
                    <a:pt x="2088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5" name="Forme libre : forme 314">
              <a:extLst>
                <a:ext uri="{FF2B5EF4-FFF2-40B4-BE49-F238E27FC236}">
                  <a16:creationId xmlns:a16="http://schemas.microsoft.com/office/drawing/2014/main" id="{0A1A01CF-9944-4EC3-883D-948C509B42CD}"/>
                </a:ext>
              </a:extLst>
            </p:cNvPr>
            <p:cNvSpPr/>
            <p:nvPr/>
          </p:nvSpPr>
          <p:spPr>
            <a:xfrm rot="8716295">
              <a:off x="579469" y="28172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6" name="Forme libre : forme 315">
              <a:extLst>
                <a:ext uri="{FF2B5EF4-FFF2-40B4-BE49-F238E27FC236}">
                  <a16:creationId xmlns:a16="http://schemas.microsoft.com/office/drawing/2014/main" id="{71717ABE-8C5B-4E08-B642-252D74033C89}"/>
                </a:ext>
              </a:extLst>
            </p:cNvPr>
            <p:cNvSpPr/>
            <p:nvPr/>
          </p:nvSpPr>
          <p:spPr>
            <a:xfrm rot="8716295">
              <a:off x="437995" y="3716235"/>
              <a:ext cx="102679" cy="232388"/>
            </a:xfrm>
            <a:custGeom>
              <a:avLst/>
              <a:gdLst>
                <a:gd name="connsiteX0" fmla="*/ 41620 w 102679"/>
                <a:gd name="connsiteY0" fmla="*/ 232388 h 232388"/>
                <a:gd name="connsiteX1" fmla="*/ 41620 w 102679"/>
                <a:gd name="connsiteY1" fmla="*/ 69717 h 232388"/>
                <a:gd name="connsiteX2" fmla="*/ 41620 w 102679"/>
                <a:gd name="connsiteY2" fmla="*/ 65615 h 232388"/>
                <a:gd name="connsiteX3" fmla="*/ 21116 w 102679"/>
                <a:gd name="connsiteY3" fmla="*/ 50123 h 232388"/>
                <a:gd name="connsiteX4" fmla="*/ 0 w 102679"/>
                <a:gd name="connsiteY4" fmla="*/ 50123 h 232388"/>
                <a:gd name="connsiteX5" fmla="*/ 41457 w 102679"/>
                <a:gd name="connsiteY5" fmla="*/ 0 h 232388"/>
                <a:gd name="connsiteX6" fmla="*/ 45721 w 102679"/>
                <a:gd name="connsiteY6" fmla="*/ 0 h 232388"/>
                <a:gd name="connsiteX7" fmla="*/ 102679 w 102679"/>
                <a:gd name="connsiteY7" fmla="*/ 50123 h 232388"/>
                <a:gd name="connsiteX8" fmla="*/ 102679 w 102679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2679" h="232388">
                  <a:moveTo>
                    <a:pt x="41620" y="232388"/>
                  </a:moveTo>
                  <a:lnTo>
                    <a:pt x="41620" y="69717"/>
                  </a:lnTo>
                  <a:cubicBezTo>
                    <a:pt x="41620" y="68349"/>
                    <a:pt x="41620" y="66983"/>
                    <a:pt x="41620" y="65615"/>
                  </a:cubicBezTo>
                  <a:cubicBezTo>
                    <a:pt x="40254" y="55591"/>
                    <a:pt x="31140" y="48756"/>
                    <a:pt x="21116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45721" y="0"/>
                  </a:lnTo>
                  <a:cubicBezTo>
                    <a:pt x="82630" y="0"/>
                    <a:pt x="102679" y="15948"/>
                    <a:pt x="102679" y="50123"/>
                  </a:cubicBezTo>
                  <a:lnTo>
                    <a:pt x="102679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7" name="Forme libre : forme 316">
              <a:extLst>
                <a:ext uri="{FF2B5EF4-FFF2-40B4-BE49-F238E27FC236}">
                  <a16:creationId xmlns:a16="http://schemas.microsoft.com/office/drawing/2014/main" id="{57F9E802-91E2-4CB8-8036-748B1071E3AB}"/>
                </a:ext>
              </a:extLst>
            </p:cNvPr>
            <p:cNvSpPr/>
            <p:nvPr/>
          </p:nvSpPr>
          <p:spPr>
            <a:xfrm rot="8716295">
              <a:off x="482715" y="3669965"/>
              <a:ext cx="154563" cy="124897"/>
            </a:xfrm>
            <a:custGeom>
              <a:avLst/>
              <a:gdLst>
                <a:gd name="connsiteX0" fmla="*/ 0 w 154563"/>
                <a:gd name="connsiteY0" fmla="*/ 124897 h 124897"/>
                <a:gd name="connsiteX1" fmla="*/ 95474 w 154563"/>
                <a:gd name="connsiteY1" fmla="*/ 9467 h 124897"/>
                <a:gd name="connsiteX2" fmla="*/ 96067 w 154563"/>
                <a:gd name="connsiteY2" fmla="*/ 9000 h 124897"/>
                <a:gd name="connsiteX3" fmla="*/ 126312 w 154563"/>
                <a:gd name="connsiteY3" fmla="*/ 0 h 124897"/>
                <a:gd name="connsiteX4" fmla="*/ 154563 w 154563"/>
                <a:gd name="connsiteY4" fmla="*/ 33719 h 124897"/>
                <a:gd name="connsiteX5" fmla="*/ 128135 w 154563"/>
                <a:gd name="connsiteY5" fmla="*/ 69261 h 124897"/>
                <a:gd name="connsiteX6" fmla="*/ 128590 w 154563"/>
                <a:gd name="connsiteY6" fmla="*/ 69261 h 12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4563" h="124897">
                  <a:moveTo>
                    <a:pt x="0" y="124897"/>
                  </a:moveTo>
                  <a:lnTo>
                    <a:pt x="95474" y="9467"/>
                  </a:lnTo>
                  <a:lnTo>
                    <a:pt x="96067" y="9000"/>
                  </a:lnTo>
                  <a:cubicBezTo>
                    <a:pt x="105351" y="4215"/>
                    <a:pt x="115604" y="1139"/>
                    <a:pt x="126312" y="0"/>
                  </a:cubicBezTo>
                  <a:cubicBezTo>
                    <a:pt x="148184" y="0"/>
                    <a:pt x="154563" y="19138"/>
                    <a:pt x="154563" y="33719"/>
                  </a:cubicBezTo>
                  <a:cubicBezTo>
                    <a:pt x="153196" y="49668"/>
                    <a:pt x="142715" y="62882"/>
                    <a:pt x="128135" y="69261"/>
                  </a:cubicBezTo>
                  <a:lnTo>
                    <a:pt x="128590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8" name="Forme libre : forme 317">
              <a:extLst>
                <a:ext uri="{FF2B5EF4-FFF2-40B4-BE49-F238E27FC236}">
                  <a16:creationId xmlns:a16="http://schemas.microsoft.com/office/drawing/2014/main" id="{844BD3AC-808C-49B6-9585-45AED27044D8}"/>
                </a:ext>
              </a:extLst>
            </p:cNvPr>
            <p:cNvSpPr/>
            <p:nvPr/>
          </p:nvSpPr>
          <p:spPr>
            <a:xfrm rot="8716295">
              <a:off x="323074" y="379327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9" name="Forme libre : forme 318">
              <a:extLst>
                <a:ext uri="{FF2B5EF4-FFF2-40B4-BE49-F238E27FC236}">
                  <a16:creationId xmlns:a16="http://schemas.microsoft.com/office/drawing/2014/main" id="{6610930E-080F-4669-B332-C11A7EDE2E69}"/>
                </a:ext>
              </a:extLst>
            </p:cNvPr>
            <p:cNvSpPr/>
            <p:nvPr/>
          </p:nvSpPr>
          <p:spPr>
            <a:xfrm rot="8716295">
              <a:off x="198171" y="358459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0" name="Forme libre : forme 319">
              <a:extLst>
                <a:ext uri="{FF2B5EF4-FFF2-40B4-BE49-F238E27FC236}">
                  <a16:creationId xmlns:a16="http://schemas.microsoft.com/office/drawing/2014/main" id="{BB6AE4FF-01F3-4791-9797-82B71A71685F}"/>
                </a:ext>
              </a:extLst>
            </p:cNvPr>
            <p:cNvSpPr/>
            <p:nvPr/>
          </p:nvSpPr>
          <p:spPr>
            <a:xfrm rot="8716295">
              <a:off x="186119" y="344581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1" name="Forme libre : forme 320">
              <a:extLst>
                <a:ext uri="{FF2B5EF4-FFF2-40B4-BE49-F238E27FC236}">
                  <a16:creationId xmlns:a16="http://schemas.microsoft.com/office/drawing/2014/main" id="{B2FBA9B1-476F-454A-86CF-CB8E10185C59}"/>
                </a:ext>
              </a:extLst>
            </p:cNvPr>
            <p:cNvSpPr/>
            <p:nvPr/>
          </p:nvSpPr>
          <p:spPr>
            <a:xfrm rot="8716295">
              <a:off x="410218" y="3834716"/>
              <a:ext cx="103435" cy="219174"/>
            </a:xfrm>
            <a:custGeom>
              <a:avLst/>
              <a:gdLst>
                <a:gd name="connsiteX0" fmla="*/ 103435 w 103435"/>
                <a:gd name="connsiteY0" fmla="*/ 219174 h 219174"/>
                <a:gd name="connsiteX1" fmla="*/ 43288 w 103435"/>
                <a:gd name="connsiteY1" fmla="*/ 161305 h 219174"/>
                <a:gd name="connsiteX2" fmla="*/ 43288 w 103435"/>
                <a:gd name="connsiteY2" fmla="*/ 16404 h 219174"/>
                <a:gd name="connsiteX3" fmla="*/ 0 w 103435"/>
                <a:gd name="connsiteY3" fmla="*/ 16404 h 219174"/>
                <a:gd name="connsiteX4" fmla="*/ 0 w 103435"/>
                <a:gd name="connsiteY4" fmla="*/ 16028 h 219174"/>
                <a:gd name="connsiteX5" fmla="*/ 11583 w 103435"/>
                <a:gd name="connsiteY5" fmla="*/ 2023 h 219174"/>
                <a:gd name="connsiteX6" fmla="*/ 103435 w 103435"/>
                <a:gd name="connsiteY6" fmla="*/ 0 h 219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19174">
                  <a:moveTo>
                    <a:pt x="103435" y="219174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16028"/>
                  </a:lnTo>
                  <a:lnTo>
                    <a:pt x="11583" y="2023"/>
                  </a:lnTo>
                  <a:lnTo>
                    <a:pt x="10343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2" name="Forme libre : forme 321">
              <a:extLst>
                <a:ext uri="{FF2B5EF4-FFF2-40B4-BE49-F238E27FC236}">
                  <a16:creationId xmlns:a16="http://schemas.microsoft.com/office/drawing/2014/main" id="{FC54D21D-2562-49FC-BEBE-B5E2AB5AF4EE}"/>
                </a:ext>
              </a:extLst>
            </p:cNvPr>
            <p:cNvSpPr/>
            <p:nvPr/>
          </p:nvSpPr>
          <p:spPr>
            <a:xfrm rot="8716295">
              <a:off x="487452" y="3349370"/>
              <a:ext cx="151162" cy="195873"/>
            </a:xfrm>
            <a:custGeom>
              <a:avLst/>
              <a:gdLst>
                <a:gd name="connsiteX0" fmla="*/ 38025 w 151162"/>
                <a:gd name="connsiteY0" fmla="*/ 195873 h 195873"/>
                <a:gd name="connsiteX1" fmla="*/ 0 w 151162"/>
                <a:gd name="connsiteY1" fmla="*/ 125130 h 195873"/>
                <a:gd name="connsiteX2" fmla="*/ 103497 w 151162"/>
                <a:gd name="connsiteY2" fmla="*/ 0 h 195873"/>
                <a:gd name="connsiteX3" fmla="*/ 151162 w 151162"/>
                <a:gd name="connsiteY3" fmla="*/ 0 h 195873"/>
                <a:gd name="connsiteX4" fmla="*/ 151162 w 151162"/>
                <a:gd name="connsiteY4" fmla="*/ 55323 h 195873"/>
                <a:gd name="connsiteX5" fmla="*/ 86370 w 151162"/>
                <a:gd name="connsiteY5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1162" h="195873">
                  <a:moveTo>
                    <a:pt x="38025" y="195873"/>
                  </a:moveTo>
                  <a:lnTo>
                    <a:pt x="0" y="125130"/>
                  </a:lnTo>
                  <a:lnTo>
                    <a:pt x="103497" y="0"/>
                  </a:lnTo>
                  <a:lnTo>
                    <a:pt x="151162" y="0"/>
                  </a:lnTo>
                  <a:lnTo>
                    <a:pt x="151162" y="55323"/>
                  </a:lnTo>
                  <a:lnTo>
                    <a:pt x="86370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3" name="Forme libre : forme 322">
              <a:extLst>
                <a:ext uri="{FF2B5EF4-FFF2-40B4-BE49-F238E27FC236}">
                  <a16:creationId xmlns:a16="http://schemas.microsoft.com/office/drawing/2014/main" id="{1800C2CB-54A6-4240-B3ED-11D6043BB03F}"/>
                </a:ext>
              </a:extLst>
            </p:cNvPr>
            <p:cNvSpPr/>
            <p:nvPr/>
          </p:nvSpPr>
          <p:spPr>
            <a:xfrm rot="8716295">
              <a:off x="460900" y="343447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4" name="Forme libre : forme 323">
              <a:extLst>
                <a:ext uri="{FF2B5EF4-FFF2-40B4-BE49-F238E27FC236}">
                  <a16:creationId xmlns:a16="http://schemas.microsoft.com/office/drawing/2014/main" id="{3EBD1C82-1557-40AF-96AD-1C870F5CE8D7}"/>
                </a:ext>
              </a:extLst>
            </p:cNvPr>
            <p:cNvSpPr/>
            <p:nvPr/>
          </p:nvSpPr>
          <p:spPr>
            <a:xfrm rot="8716295">
              <a:off x="417336" y="4258920"/>
              <a:ext cx="147637" cy="195874"/>
            </a:xfrm>
            <a:custGeom>
              <a:avLst/>
              <a:gdLst>
                <a:gd name="connsiteX0" fmla="*/ 34500 w 147637"/>
                <a:gd name="connsiteY0" fmla="*/ 195874 h 195874"/>
                <a:gd name="connsiteX1" fmla="*/ 0 w 147637"/>
                <a:gd name="connsiteY1" fmla="*/ 131688 h 195874"/>
                <a:gd name="connsiteX2" fmla="*/ 108921 w 147637"/>
                <a:gd name="connsiteY2" fmla="*/ 0 h 195874"/>
                <a:gd name="connsiteX3" fmla="*/ 147637 w 147637"/>
                <a:gd name="connsiteY3" fmla="*/ 0 h 195874"/>
                <a:gd name="connsiteX4" fmla="*/ 147637 w 147637"/>
                <a:gd name="connsiteY4" fmla="*/ 55323 h 195874"/>
                <a:gd name="connsiteX5" fmla="*/ 82845 w 147637"/>
                <a:gd name="connsiteY5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7637" h="195874">
                  <a:moveTo>
                    <a:pt x="34500" y="195874"/>
                  </a:moveTo>
                  <a:lnTo>
                    <a:pt x="0" y="131688"/>
                  </a:lnTo>
                  <a:lnTo>
                    <a:pt x="108921" y="0"/>
                  </a:lnTo>
                  <a:lnTo>
                    <a:pt x="147637" y="0"/>
                  </a:lnTo>
                  <a:lnTo>
                    <a:pt x="147637" y="55323"/>
                  </a:lnTo>
                  <a:lnTo>
                    <a:pt x="8284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5" name="Forme libre : forme 324">
              <a:extLst>
                <a:ext uri="{FF2B5EF4-FFF2-40B4-BE49-F238E27FC236}">
                  <a16:creationId xmlns:a16="http://schemas.microsoft.com/office/drawing/2014/main" id="{50FA5920-2CA1-4B57-AFE9-708172C7151C}"/>
                </a:ext>
              </a:extLst>
            </p:cNvPr>
            <p:cNvSpPr/>
            <p:nvPr/>
          </p:nvSpPr>
          <p:spPr>
            <a:xfrm rot="8716295">
              <a:off x="330834" y="4134902"/>
              <a:ext cx="254613" cy="91157"/>
            </a:xfrm>
            <a:custGeom>
              <a:avLst/>
              <a:gdLst>
                <a:gd name="connsiteX0" fmla="*/ 0 w 254613"/>
                <a:gd name="connsiteY0" fmla="*/ 68911 h 91157"/>
                <a:gd name="connsiteX1" fmla="*/ 56997 w 254613"/>
                <a:gd name="connsiteY1" fmla="*/ 0 h 91157"/>
                <a:gd name="connsiteX2" fmla="*/ 57517 w 254613"/>
                <a:gd name="connsiteY2" fmla="*/ 2143 h 91157"/>
                <a:gd name="connsiteX3" fmla="*/ 128118 w 254613"/>
                <a:gd name="connsiteY3" fmla="*/ 40974 h 91157"/>
                <a:gd name="connsiteX4" fmla="*/ 181070 w 254613"/>
                <a:gd name="connsiteY4" fmla="*/ 31560 h 91157"/>
                <a:gd name="connsiteX5" fmla="*/ 253437 w 254613"/>
                <a:gd name="connsiteY5" fmla="*/ 2143 h 91157"/>
                <a:gd name="connsiteX6" fmla="*/ 254613 w 254613"/>
                <a:gd name="connsiteY6" fmla="*/ 9791 h 91157"/>
                <a:gd name="connsiteX7" fmla="*/ 254613 w 254613"/>
                <a:gd name="connsiteY7" fmla="*/ 15674 h 91157"/>
                <a:gd name="connsiteX8" fmla="*/ 61636 w 254613"/>
                <a:gd name="connsiteY8" fmla="*/ 90983 h 91157"/>
                <a:gd name="connsiteX9" fmla="*/ 22363 w 254613"/>
                <a:gd name="connsiteY9" fmla="*/ 84217 h 91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4613" h="91157">
                  <a:moveTo>
                    <a:pt x="0" y="68911"/>
                  </a:moveTo>
                  <a:lnTo>
                    <a:pt x="56997" y="0"/>
                  </a:lnTo>
                  <a:lnTo>
                    <a:pt x="57517" y="2143"/>
                  </a:lnTo>
                  <a:cubicBezTo>
                    <a:pt x="66931" y="28030"/>
                    <a:pt x="91053" y="40974"/>
                    <a:pt x="128118" y="40974"/>
                  </a:cubicBezTo>
                  <a:cubicBezTo>
                    <a:pt x="146357" y="40385"/>
                    <a:pt x="164008" y="36855"/>
                    <a:pt x="181070" y="31560"/>
                  </a:cubicBezTo>
                  <a:cubicBezTo>
                    <a:pt x="205780" y="23912"/>
                    <a:pt x="229903" y="13910"/>
                    <a:pt x="253437" y="2143"/>
                  </a:cubicBezTo>
                  <a:cubicBezTo>
                    <a:pt x="254025" y="4496"/>
                    <a:pt x="254613" y="7438"/>
                    <a:pt x="254613" y="9791"/>
                  </a:cubicBezTo>
                  <a:lnTo>
                    <a:pt x="254613" y="15674"/>
                  </a:lnTo>
                  <a:cubicBezTo>
                    <a:pt x="192249" y="69215"/>
                    <a:pt x="110468" y="88042"/>
                    <a:pt x="61636" y="90983"/>
                  </a:cubicBezTo>
                  <a:cubicBezTo>
                    <a:pt x="48104" y="91866"/>
                    <a:pt x="34719" y="89365"/>
                    <a:pt x="22363" y="842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6" name="Forme libre : forme 325">
              <a:extLst>
                <a:ext uri="{FF2B5EF4-FFF2-40B4-BE49-F238E27FC236}">
                  <a16:creationId xmlns:a16="http://schemas.microsoft.com/office/drawing/2014/main" id="{E3EDD39B-7171-468B-A877-2CE2BD07726B}"/>
                </a:ext>
              </a:extLst>
            </p:cNvPr>
            <p:cNvSpPr/>
            <p:nvPr/>
          </p:nvSpPr>
          <p:spPr>
            <a:xfrm rot="8716295">
              <a:off x="-3428" y="2405990"/>
              <a:ext cx="142167" cy="208592"/>
            </a:xfrm>
            <a:custGeom>
              <a:avLst/>
              <a:gdLst>
                <a:gd name="connsiteX0" fmla="*/ 81108 w 142167"/>
                <a:gd name="connsiteY0" fmla="*/ 208592 h 208592"/>
                <a:gd name="connsiteX1" fmla="*/ 81108 w 142167"/>
                <a:gd name="connsiteY1" fmla="*/ 69717 h 208592"/>
                <a:gd name="connsiteX2" fmla="*/ 81108 w 142167"/>
                <a:gd name="connsiteY2" fmla="*/ 65615 h 208592"/>
                <a:gd name="connsiteX3" fmla="*/ 60604 w 142167"/>
                <a:gd name="connsiteY3" fmla="*/ 50123 h 208592"/>
                <a:gd name="connsiteX4" fmla="*/ 0 w 142167"/>
                <a:gd name="connsiteY4" fmla="*/ 50123 h 208592"/>
                <a:gd name="connsiteX5" fmla="*/ 0 w 142167"/>
                <a:gd name="connsiteY5" fmla="*/ 0 h 208592"/>
                <a:gd name="connsiteX6" fmla="*/ 85210 w 142167"/>
                <a:gd name="connsiteY6" fmla="*/ 0 h 208592"/>
                <a:gd name="connsiteX7" fmla="*/ 142167 w 142167"/>
                <a:gd name="connsiteY7" fmla="*/ 50123 h 208592"/>
                <a:gd name="connsiteX8" fmla="*/ 142167 w 142167"/>
                <a:gd name="connsiteY8" fmla="*/ 120504 h 20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08592">
                  <a:moveTo>
                    <a:pt x="81108" y="208592"/>
                  </a:moveTo>
                  <a:lnTo>
                    <a:pt x="81108" y="69717"/>
                  </a:lnTo>
                  <a:cubicBezTo>
                    <a:pt x="81108" y="68350"/>
                    <a:pt x="81108" y="66983"/>
                    <a:pt x="81108" y="65615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10" y="0"/>
                  </a:lnTo>
                  <a:cubicBezTo>
                    <a:pt x="122118" y="0"/>
                    <a:pt x="142167" y="15948"/>
                    <a:pt x="142167" y="50123"/>
                  </a:cubicBezTo>
                  <a:lnTo>
                    <a:pt x="142167" y="1205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7" name="Forme libre : forme 326">
              <a:extLst>
                <a:ext uri="{FF2B5EF4-FFF2-40B4-BE49-F238E27FC236}">
                  <a16:creationId xmlns:a16="http://schemas.microsoft.com/office/drawing/2014/main" id="{23F7EF39-C8FF-4CA7-9DED-AF0E47CA9C7E}"/>
                </a:ext>
              </a:extLst>
            </p:cNvPr>
            <p:cNvSpPr/>
            <p:nvPr/>
          </p:nvSpPr>
          <p:spPr>
            <a:xfrm rot="8716295">
              <a:off x="80015" y="241329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8" name="Forme libre : forme 327">
              <a:extLst>
                <a:ext uri="{FF2B5EF4-FFF2-40B4-BE49-F238E27FC236}">
                  <a16:creationId xmlns:a16="http://schemas.microsoft.com/office/drawing/2014/main" id="{FBC44AA7-6291-474B-9C67-ED7522250EEB}"/>
                </a:ext>
              </a:extLst>
            </p:cNvPr>
            <p:cNvSpPr/>
            <p:nvPr/>
          </p:nvSpPr>
          <p:spPr>
            <a:xfrm rot="8716295">
              <a:off x="35165" y="232701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9" name="Forme libre : forme 328">
              <a:extLst>
                <a:ext uri="{FF2B5EF4-FFF2-40B4-BE49-F238E27FC236}">
                  <a16:creationId xmlns:a16="http://schemas.microsoft.com/office/drawing/2014/main" id="{5EA7A5E2-9C29-45B6-9267-972B0EFC92AD}"/>
                </a:ext>
              </a:extLst>
            </p:cNvPr>
            <p:cNvSpPr/>
            <p:nvPr/>
          </p:nvSpPr>
          <p:spPr>
            <a:xfrm rot="8716295">
              <a:off x="-20257" y="2217087"/>
              <a:ext cx="78731" cy="180665"/>
            </a:xfrm>
            <a:custGeom>
              <a:avLst/>
              <a:gdLst>
                <a:gd name="connsiteX0" fmla="*/ 0 w 78731"/>
                <a:gd name="connsiteY0" fmla="*/ 180665 h 180665"/>
                <a:gd name="connsiteX1" fmla="*/ 0 w 78731"/>
                <a:gd name="connsiteY1" fmla="*/ 40596 h 180665"/>
                <a:gd name="connsiteX2" fmla="*/ 78250 w 78731"/>
                <a:gd name="connsiteY2" fmla="*/ 0 h 180665"/>
                <a:gd name="connsiteX3" fmla="*/ 78731 w 78731"/>
                <a:gd name="connsiteY3" fmla="*/ 67083 h 180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731" h="180665">
                  <a:moveTo>
                    <a:pt x="0" y="180665"/>
                  </a:moveTo>
                  <a:lnTo>
                    <a:pt x="0" y="40596"/>
                  </a:lnTo>
                  <a:lnTo>
                    <a:pt x="78250" y="0"/>
                  </a:lnTo>
                  <a:lnTo>
                    <a:pt x="78731" y="670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0" name="Forme libre : forme 329">
              <a:extLst>
                <a:ext uri="{FF2B5EF4-FFF2-40B4-BE49-F238E27FC236}">
                  <a16:creationId xmlns:a16="http://schemas.microsoft.com/office/drawing/2014/main" id="{29FF2476-3E2D-4E1C-AC58-09A8EA6AE16D}"/>
                </a:ext>
              </a:extLst>
            </p:cNvPr>
            <p:cNvSpPr/>
            <p:nvPr/>
          </p:nvSpPr>
          <p:spPr>
            <a:xfrm rot="8716295">
              <a:off x="-15341" y="2575209"/>
              <a:ext cx="103435" cy="152027"/>
            </a:xfrm>
            <a:custGeom>
              <a:avLst/>
              <a:gdLst>
                <a:gd name="connsiteX0" fmla="*/ 43288 w 103435"/>
                <a:gd name="connsiteY0" fmla="*/ 152027 h 152027"/>
                <a:gd name="connsiteX1" fmla="*/ 43288 w 103435"/>
                <a:gd name="connsiteY1" fmla="*/ 16404 h 152027"/>
                <a:gd name="connsiteX2" fmla="*/ 0 w 103435"/>
                <a:gd name="connsiteY2" fmla="*/ 16404 h 152027"/>
                <a:gd name="connsiteX3" fmla="*/ 0 w 103435"/>
                <a:gd name="connsiteY3" fmla="*/ 2278 h 152027"/>
                <a:gd name="connsiteX4" fmla="*/ 103435 w 103435"/>
                <a:gd name="connsiteY4" fmla="*/ 0 h 152027"/>
                <a:gd name="connsiteX5" fmla="*/ 103435 w 103435"/>
                <a:gd name="connsiteY5" fmla="*/ 65255 h 152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152027">
                  <a:moveTo>
                    <a:pt x="43288" y="152027"/>
                  </a:move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652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1" name="Forme libre : forme 330">
              <a:extLst>
                <a:ext uri="{FF2B5EF4-FFF2-40B4-BE49-F238E27FC236}">
                  <a16:creationId xmlns:a16="http://schemas.microsoft.com/office/drawing/2014/main" id="{75F88328-D448-4AA5-9E75-FE8115368C6C}"/>
                </a:ext>
              </a:extLst>
            </p:cNvPr>
            <p:cNvSpPr/>
            <p:nvPr/>
          </p:nvSpPr>
          <p:spPr>
            <a:xfrm rot="8716295">
              <a:off x="279722" y="21339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2" name="Forme libre : forme 331">
              <a:extLst>
                <a:ext uri="{FF2B5EF4-FFF2-40B4-BE49-F238E27FC236}">
                  <a16:creationId xmlns:a16="http://schemas.microsoft.com/office/drawing/2014/main" id="{426E2A9F-197F-4F75-8782-ED9A68D4D6C8}"/>
                </a:ext>
              </a:extLst>
            </p:cNvPr>
            <p:cNvSpPr/>
            <p:nvPr/>
          </p:nvSpPr>
          <p:spPr>
            <a:xfrm rot="8716295">
              <a:off x="369114" y="21631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3" name="Forme libre : forme 332">
              <a:extLst>
                <a:ext uri="{FF2B5EF4-FFF2-40B4-BE49-F238E27FC236}">
                  <a16:creationId xmlns:a16="http://schemas.microsoft.com/office/drawing/2014/main" id="{94DB51E7-8EDB-4900-9675-0F9A6F5C490B}"/>
                </a:ext>
              </a:extLst>
            </p:cNvPr>
            <p:cNvSpPr/>
            <p:nvPr/>
          </p:nvSpPr>
          <p:spPr>
            <a:xfrm rot="8716295">
              <a:off x="167488" y="22224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4" name="Forme libre : forme 333">
              <a:extLst>
                <a:ext uri="{FF2B5EF4-FFF2-40B4-BE49-F238E27FC236}">
                  <a16:creationId xmlns:a16="http://schemas.microsoft.com/office/drawing/2014/main" id="{2E5B2022-399F-4450-9579-1B2308763857}"/>
                </a:ext>
              </a:extLst>
            </p:cNvPr>
            <p:cNvSpPr/>
            <p:nvPr/>
          </p:nvSpPr>
          <p:spPr>
            <a:xfrm rot="8716295">
              <a:off x="42586" y="20137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5" name="Forme libre : forme 334">
              <a:extLst>
                <a:ext uri="{FF2B5EF4-FFF2-40B4-BE49-F238E27FC236}">
                  <a16:creationId xmlns:a16="http://schemas.microsoft.com/office/drawing/2014/main" id="{2929CE2C-2256-40A5-A8F3-3829812FC41F}"/>
                </a:ext>
              </a:extLst>
            </p:cNvPr>
            <p:cNvSpPr/>
            <p:nvPr/>
          </p:nvSpPr>
          <p:spPr>
            <a:xfrm rot="8716295">
              <a:off x="257666" y="226339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6" name="Forme libre : forme 335">
              <a:extLst>
                <a:ext uri="{FF2B5EF4-FFF2-40B4-BE49-F238E27FC236}">
                  <a16:creationId xmlns:a16="http://schemas.microsoft.com/office/drawing/2014/main" id="{5B080DE2-EB07-4251-8225-D8F835BCC870}"/>
                </a:ext>
              </a:extLst>
            </p:cNvPr>
            <p:cNvSpPr/>
            <p:nvPr/>
          </p:nvSpPr>
          <p:spPr>
            <a:xfrm rot="8716295">
              <a:off x="16215" y="211379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7" name="Forme libre : forme 336">
              <a:extLst>
                <a:ext uri="{FF2B5EF4-FFF2-40B4-BE49-F238E27FC236}">
                  <a16:creationId xmlns:a16="http://schemas.microsoft.com/office/drawing/2014/main" id="{CE30ADAD-6662-46CB-9F1B-B1109F31D2A1}"/>
                </a:ext>
              </a:extLst>
            </p:cNvPr>
            <p:cNvSpPr/>
            <p:nvPr/>
          </p:nvSpPr>
          <p:spPr>
            <a:xfrm rot="7484129">
              <a:off x="362597" y="245474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8" name="Forme libre : forme 337">
              <a:extLst>
                <a:ext uri="{FF2B5EF4-FFF2-40B4-BE49-F238E27FC236}">
                  <a16:creationId xmlns:a16="http://schemas.microsoft.com/office/drawing/2014/main" id="{E0EC12C4-DE16-425E-A187-948925CA8B78}"/>
                </a:ext>
              </a:extLst>
            </p:cNvPr>
            <p:cNvSpPr/>
            <p:nvPr/>
          </p:nvSpPr>
          <p:spPr>
            <a:xfrm rot="13089394">
              <a:off x="463440" y="2426400"/>
              <a:ext cx="272584" cy="319064"/>
            </a:xfrm>
            <a:custGeom>
              <a:avLst/>
              <a:gdLst>
                <a:gd name="connsiteX0" fmla="*/ 80445 w 272584"/>
                <a:gd name="connsiteY0" fmla="*/ 215518 h 319064"/>
                <a:gd name="connsiteX1" fmla="*/ 0 w 272584"/>
                <a:gd name="connsiteY1" fmla="*/ 93007 h 319064"/>
                <a:gd name="connsiteX2" fmla="*/ 0 w 272584"/>
                <a:gd name="connsiteY2" fmla="*/ 38074 h 319064"/>
                <a:gd name="connsiteX3" fmla="*/ 73388 w 272584"/>
                <a:gd name="connsiteY3" fmla="*/ 0 h 319064"/>
                <a:gd name="connsiteX4" fmla="*/ 74492 w 272584"/>
                <a:gd name="connsiteY4" fmla="*/ 153950 h 319064"/>
                <a:gd name="connsiteX5" fmla="*/ 76768 w 272584"/>
                <a:gd name="connsiteY5" fmla="*/ 200369 h 319064"/>
                <a:gd name="connsiteX6" fmla="*/ 272584 w 272584"/>
                <a:gd name="connsiteY6" fmla="*/ 258238 h 319064"/>
                <a:gd name="connsiteX7" fmla="*/ 177331 w 272584"/>
                <a:gd name="connsiteY7" fmla="*/ 311347 h 319064"/>
                <a:gd name="connsiteX8" fmla="*/ 148437 w 272584"/>
                <a:gd name="connsiteY8" fmla="*/ 319064 h 319064"/>
                <a:gd name="connsiteX9" fmla="*/ 119231 w 272584"/>
                <a:gd name="connsiteY9" fmla="*/ 274585 h 319064"/>
                <a:gd name="connsiteX10" fmla="*/ 153949 w 272584"/>
                <a:gd name="connsiteY10" fmla="*/ 281965 h 319064"/>
                <a:gd name="connsiteX11" fmla="*/ 203610 w 272584"/>
                <a:gd name="connsiteY11" fmla="*/ 273136 h 319064"/>
                <a:gd name="connsiteX12" fmla="*/ 271481 w 272584"/>
                <a:gd name="connsiteY12" fmla="*/ 245547 h 319064"/>
                <a:gd name="connsiteX13" fmla="*/ 272584 w 272584"/>
                <a:gd name="connsiteY13" fmla="*/ 252720 h 319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2584" h="319064">
                  <a:moveTo>
                    <a:pt x="80445" y="215518"/>
                  </a:moveTo>
                  <a:lnTo>
                    <a:pt x="0" y="93007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3664" y="169400"/>
                    <a:pt x="74492" y="184988"/>
                    <a:pt x="76768" y="200369"/>
                  </a:cubicBezTo>
                  <a:close/>
                  <a:moveTo>
                    <a:pt x="272584" y="258238"/>
                  </a:moveTo>
                  <a:cubicBezTo>
                    <a:pt x="243339" y="283344"/>
                    <a:pt x="209542" y="300312"/>
                    <a:pt x="177331" y="311347"/>
                  </a:cubicBezTo>
                  <a:lnTo>
                    <a:pt x="148437" y="319064"/>
                  </a:lnTo>
                  <a:lnTo>
                    <a:pt x="119231" y="274585"/>
                  </a:lnTo>
                  <a:lnTo>
                    <a:pt x="153949" y="281965"/>
                  </a:lnTo>
                  <a:cubicBezTo>
                    <a:pt x="171055" y="281413"/>
                    <a:pt x="187609" y="278102"/>
                    <a:pt x="203610" y="273136"/>
                  </a:cubicBezTo>
                  <a:cubicBezTo>
                    <a:pt x="226785" y="265963"/>
                    <a:pt x="249409" y="256583"/>
                    <a:pt x="271481" y="245547"/>
                  </a:cubicBezTo>
                  <a:cubicBezTo>
                    <a:pt x="272032" y="247754"/>
                    <a:pt x="272584" y="250513"/>
                    <a:pt x="272584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9" name="Forme libre : forme 338">
              <a:extLst>
                <a:ext uri="{FF2B5EF4-FFF2-40B4-BE49-F238E27FC236}">
                  <a16:creationId xmlns:a16="http://schemas.microsoft.com/office/drawing/2014/main" id="{0EBB3BF6-5F1A-4179-B16F-FF1F99B6BEAC}"/>
                </a:ext>
              </a:extLst>
            </p:cNvPr>
            <p:cNvSpPr/>
            <p:nvPr/>
          </p:nvSpPr>
          <p:spPr>
            <a:xfrm rot="8716295">
              <a:off x="675867" y="2357327"/>
              <a:ext cx="38012" cy="45752"/>
            </a:xfrm>
            <a:custGeom>
              <a:avLst/>
              <a:gdLst>
                <a:gd name="connsiteX0" fmla="*/ 0 w 38012"/>
                <a:gd name="connsiteY0" fmla="*/ 45752 h 45752"/>
                <a:gd name="connsiteX1" fmla="*/ 37842 w 38012"/>
                <a:gd name="connsiteY1" fmla="*/ 0 h 45752"/>
                <a:gd name="connsiteX2" fmla="*/ 38012 w 38012"/>
                <a:gd name="connsiteY2" fmla="*/ 641 h 45752"/>
                <a:gd name="connsiteX3" fmla="*/ 6841 w 38012"/>
                <a:gd name="connsiteY3" fmla="*/ 42560 h 45752"/>
                <a:gd name="connsiteX4" fmla="*/ 7378 w 38012"/>
                <a:gd name="connsiteY4" fmla="*/ 42560 h 45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012" h="45752">
                  <a:moveTo>
                    <a:pt x="0" y="45752"/>
                  </a:moveTo>
                  <a:lnTo>
                    <a:pt x="37842" y="0"/>
                  </a:lnTo>
                  <a:lnTo>
                    <a:pt x="38012" y="641"/>
                  </a:lnTo>
                  <a:cubicBezTo>
                    <a:pt x="36400" y="19451"/>
                    <a:pt x="24039" y="35036"/>
                    <a:pt x="6841" y="42560"/>
                  </a:cubicBezTo>
                  <a:lnTo>
                    <a:pt x="7378" y="425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0" name="Forme libre : forme 339">
              <a:extLst>
                <a:ext uri="{FF2B5EF4-FFF2-40B4-BE49-F238E27FC236}">
                  <a16:creationId xmlns:a16="http://schemas.microsoft.com/office/drawing/2014/main" id="{40BD2394-2E6A-43B3-8282-5AF2A68AFB55}"/>
                </a:ext>
              </a:extLst>
            </p:cNvPr>
            <p:cNvSpPr/>
            <p:nvPr/>
          </p:nvSpPr>
          <p:spPr>
            <a:xfrm rot="8716295">
              <a:off x="601197" y="21260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1" name="Forme libre : forme 340">
              <a:extLst>
                <a:ext uri="{FF2B5EF4-FFF2-40B4-BE49-F238E27FC236}">
                  <a16:creationId xmlns:a16="http://schemas.microsoft.com/office/drawing/2014/main" id="{98C4AC75-3010-49F3-9D48-1212A4D988F1}"/>
                </a:ext>
              </a:extLst>
            </p:cNvPr>
            <p:cNvSpPr/>
            <p:nvPr/>
          </p:nvSpPr>
          <p:spPr>
            <a:xfrm rot="8716295">
              <a:off x="357951" y="21562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2" name="Forme libre : forme 341">
              <a:extLst>
                <a:ext uri="{FF2B5EF4-FFF2-40B4-BE49-F238E27FC236}">
                  <a16:creationId xmlns:a16="http://schemas.microsoft.com/office/drawing/2014/main" id="{F44EFD0C-26D8-44AF-B8B7-34925D1881F3}"/>
                </a:ext>
              </a:extLst>
            </p:cNvPr>
            <p:cNvSpPr/>
            <p:nvPr/>
          </p:nvSpPr>
          <p:spPr>
            <a:xfrm rot="8716295">
              <a:off x="535403" y="199698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3" name="Forme libre : forme 342">
              <a:extLst>
                <a:ext uri="{FF2B5EF4-FFF2-40B4-BE49-F238E27FC236}">
                  <a16:creationId xmlns:a16="http://schemas.microsoft.com/office/drawing/2014/main" id="{1A320605-AC28-4E7D-BF63-1E3FD62FB21F}"/>
                </a:ext>
              </a:extLst>
            </p:cNvPr>
            <p:cNvSpPr/>
            <p:nvPr/>
          </p:nvSpPr>
          <p:spPr>
            <a:xfrm rot="8716295">
              <a:off x="-76043" y="1768178"/>
              <a:ext cx="197178" cy="215049"/>
            </a:xfrm>
            <a:custGeom>
              <a:avLst/>
              <a:gdLst>
                <a:gd name="connsiteX0" fmla="*/ 51490 w 197178"/>
                <a:gd name="connsiteY0" fmla="*/ 215049 h 215049"/>
                <a:gd name="connsiteX1" fmla="*/ 51490 w 197178"/>
                <a:gd name="connsiteY1" fmla="*/ 45624 h 215049"/>
                <a:gd name="connsiteX2" fmla="*/ 0 w 197178"/>
                <a:gd name="connsiteY2" fmla="*/ 45624 h 215049"/>
                <a:gd name="connsiteX3" fmla="*/ 0 w 197178"/>
                <a:gd name="connsiteY3" fmla="*/ 1424 h 215049"/>
                <a:gd name="connsiteX4" fmla="*/ 104803 w 197178"/>
                <a:gd name="connsiteY4" fmla="*/ 1425 h 215049"/>
                <a:gd name="connsiteX5" fmla="*/ 104803 w 197178"/>
                <a:gd name="connsiteY5" fmla="*/ 75242 h 215049"/>
                <a:gd name="connsiteX6" fmla="*/ 106169 w 197178"/>
                <a:gd name="connsiteY6" fmla="*/ 75242 h 215049"/>
                <a:gd name="connsiteX7" fmla="*/ 154014 w 197178"/>
                <a:gd name="connsiteY7" fmla="*/ 5981 h 215049"/>
                <a:gd name="connsiteX8" fmla="*/ 185455 w 197178"/>
                <a:gd name="connsiteY8" fmla="*/ 57 h 215049"/>
                <a:gd name="connsiteX9" fmla="*/ 197178 w 197178"/>
                <a:gd name="connsiteY9" fmla="*/ 4872 h 215049"/>
                <a:gd name="connsiteX10" fmla="*/ 170795 w 197178"/>
                <a:gd name="connsiteY10" fmla="*/ 42934 h 215049"/>
                <a:gd name="connsiteX11" fmla="*/ 164950 w 197178"/>
                <a:gd name="connsiteY11" fmla="*/ 40156 h 215049"/>
                <a:gd name="connsiteX12" fmla="*/ 111638 w 197178"/>
                <a:gd name="connsiteY12" fmla="*/ 127643 h 215049"/>
                <a:gd name="connsiteX13" fmla="*/ 111638 w 197178"/>
                <a:gd name="connsiteY13" fmla="*/ 128277 h 21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178" h="215049">
                  <a:moveTo>
                    <a:pt x="51490" y="215049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4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lnTo>
                    <a:pt x="197178" y="4872"/>
                  </a:lnTo>
                  <a:lnTo>
                    <a:pt x="170795" y="42934"/>
                  </a:lnTo>
                  <a:lnTo>
                    <a:pt x="164950" y="40156"/>
                  </a:ln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1282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4" name="Forme libre : forme 343">
              <a:extLst>
                <a:ext uri="{FF2B5EF4-FFF2-40B4-BE49-F238E27FC236}">
                  <a16:creationId xmlns:a16="http://schemas.microsoft.com/office/drawing/2014/main" id="{79B4D19B-E848-47AB-BAFE-59EBF555A6F5}"/>
                </a:ext>
              </a:extLst>
            </p:cNvPr>
            <p:cNvSpPr/>
            <p:nvPr/>
          </p:nvSpPr>
          <p:spPr>
            <a:xfrm rot="8716295">
              <a:off x="56555" y="14742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5" name="Forme libre : forme 344">
              <a:extLst>
                <a:ext uri="{FF2B5EF4-FFF2-40B4-BE49-F238E27FC236}">
                  <a16:creationId xmlns:a16="http://schemas.microsoft.com/office/drawing/2014/main" id="{0496B299-828A-4BBC-966F-5FA47083E3CE}"/>
                </a:ext>
              </a:extLst>
            </p:cNvPr>
            <p:cNvSpPr/>
            <p:nvPr/>
          </p:nvSpPr>
          <p:spPr>
            <a:xfrm rot="8716295">
              <a:off x="145947" y="15034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6" name="Forme libre : forme 345">
              <a:extLst>
                <a:ext uri="{FF2B5EF4-FFF2-40B4-BE49-F238E27FC236}">
                  <a16:creationId xmlns:a16="http://schemas.microsoft.com/office/drawing/2014/main" id="{47AF6C7D-4B3B-4997-9D6C-9505A068BCE6}"/>
                </a:ext>
              </a:extLst>
            </p:cNvPr>
            <p:cNvSpPr/>
            <p:nvPr/>
          </p:nvSpPr>
          <p:spPr>
            <a:xfrm rot="8716295">
              <a:off x="-21870" y="1443501"/>
              <a:ext cx="68614" cy="55323"/>
            </a:xfrm>
            <a:custGeom>
              <a:avLst/>
              <a:gdLst>
                <a:gd name="connsiteX0" fmla="*/ 0 w 68614"/>
                <a:gd name="connsiteY0" fmla="*/ 55323 h 55323"/>
                <a:gd name="connsiteX1" fmla="*/ 0 w 68614"/>
                <a:gd name="connsiteY1" fmla="*/ 0 h 55323"/>
                <a:gd name="connsiteX2" fmla="*/ 68614 w 68614"/>
                <a:gd name="connsiteY2" fmla="*/ 0 h 55323"/>
                <a:gd name="connsiteX3" fmla="*/ 30266 w 68614"/>
                <a:gd name="connsiteY3" fmla="*/ 55323 h 55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614" h="55323">
                  <a:moveTo>
                    <a:pt x="0" y="55323"/>
                  </a:moveTo>
                  <a:lnTo>
                    <a:pt x="0" y="0"/>
                  </a:lnTo>
                  <a:lnTo>
                    <a:pt x="68614" y="0"/>
                  </a:lnTo>
                  <a:lnTo>
                    <a:pt x="30266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7" name="Forme libre : forme 346">
              <a:extLst>
                <a:ext uri="{FF2B5EF4-FFF2-40B4-BE49-F238E27FC236}">
                  <a16:creationId xmlns:a16="http://schemas.microsoft.com/office/drawing/2014/main" id="{6A925E12-2BFF-4625-A0A6-B147409EE83D}"/>
                </a:ext>
              </a:extLst>
            </p:cNvPr>
            <p:cNvSpPr/>
            <p:nvPr/>
          </p:nvSpPr>
          <p:spPr>
            <a:xfrm rot="8716295">
              <a:off x="35817" y="1618109"/>
              <a:ext cx="103435" cy="203897"/>
            </a:xfrm>
            <a:custGeom>
              <a:avLst/>
              <a:gdLst>
                <a:gd name="connsiteX0" fmla="*/ 87556 w 103435"/>
                <a:gd name="connsiteY0" fmla="*/ 203897 h 203897"/>
                <a:gd name="connsiteX1" fmla="*/ 43288 w 103435"/>
                <a:gd name="connsiteY1" fmla="*/ 161305 h 203897"/>
                <a:gd name="connsiteX2" fmla="*/ 43288 w 103435"/>
                <a:gd name="connsiteY2" fmla="*/ 16404 h 203897"/>
                <a:gd name="connsiteX3" fmla="*/ 0 w 103435"/>
                <a:gd name="connsiteY3" fmla="*/ 16404 h 203897"/>
                <a:gd name="connsiteX4" fmla="*/ 0 w 103435"/>
                <a:gd name="connsiteY4" fmla="*/ 2278 h 203897"/>
                <a:gd name="connsiteX5" fmla="*/ 103435 w 103435"/>
                <a:gd name="connsiteY5" fmla="*/ 0 h 203897"/>
                <a:gd name="connsiteX6" fmla="*/ 103435 w 103435"/>
                <a:gd name="connsiteY6" fmla="*/ 180989 h 203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03897">
                  <a:moveTo>
                    <a:pt x="87556" y="203897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1809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8" name="Forme libre : forme 347">
              <a:extLst>
                <a:ext uri="{FF2B5EF4-FFF2-40B4-BE49-F238E27FC236}">
                  <a16:creationId xmlns:a16="http://schemas.microsoft.com/office/drawing/2014/main" id="{8F161AAD-ABF3-4F08-A5E7-178FA67C468C}"/>
                </a:ext>
              </a:extLst>
            </p:cNvPr>
            <p:cNvSpPr/>
            <p:nvPr/>
          </p:nvSpPr>
          <p:spPr>
            <a:xfrm rot="7484129">
              <a:off x="139430" y="17950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9" name="Forme libre : forme 348">
              <a:extLst>
                <a:ext uri="{FF2B5EF4-FFF2-40B4-BE49-F238E27FC236}">
                  <a16:creationId xmlns:a16="http://schemas.microsoft.com/office/drawing/2014/main" id="{2B2677AB-A960-4EDE-895B-90B39923E929}"/>
                </a:ext>
              </a:extLst>
            </p:cNvPr>
            <p:cNvSpPr/>
            <p:nvPr/>
          </p:nvSpPr>
          <p:spPr>
            <a:xfrm rot="13089394">
              <a:off x="244250" y="17615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0" name="Forme libre : forme 349">
              <a:extLst>
                <a:ext uri="{FF2B5EF4-FFF2-40B4-BE49-F238E27FC236}">
                  <a16:creationId xmlns:a16="http://schemas.microsoft.com/office/drawing/2014/main" id="{57CCAF2A-AD40-4587-8C0B-9AD3AA1B47B2}"/>
                </a:ext>
              </a:extLst>
            </p:cNvPr>
            <p:cNvSpPr/>
            <p:nvPr/>
          </p:nvSpPr>
          <p:spPr>
            <a:xfrm rot="8716295">
              <a:off x="429835" y="15699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1" name="Forme libre : forme 350">
              <a:extLst>
                <a:ext uri="{FF2B5EF4-FFF2-40B4-BE49-F238E27FC236}">
                  <a16:creationId xmlns:a16="http://schemas.microsoft.com/office/drawing/2014/main" id="{1CD46395-0105-4DB9-A258-02757ED2970C}"/>
                </a:ext>
              </a:extLst>
            </p:cNvPr>
            <p:cNvSpPr/>
            <p:nvPr/>
          </p:nvSpPr>
          <p:spPr>
            <a:xfrm rot="8716295">
              <a:off x="378030" y="14663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2" name="Forme libre : forme 351">
              <a:extLst>
                <a:ext uri="{FF2B5EF4-FFF2-40B4-BE49-F238E27FC236}">
                  <a16:creationId xmlns:a16="http://schemas.microsoft.com/office/drawing/2014/main" id="{792A22ED-7042-473B-B5F0-A8F38B0EAB40}"/>
                </a:ext>
              </a:extLst>
            </p:cNvPr>
            <p:cNvSpPr/>
            <p:nvPr/>
          </p:nvSpPr>
          <p:spPr>
            <a:xfrm rot="8716295">
              <a:off x="134784" y="14965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3" name="Forme libre : forme 352">
              <a:extLst>
                <a:ext uri="{FF2B5EF4-FFF2-40B4-BE49-F238E27FC236}">
                  <a16:creationId xmlns:a16="http://schemas.microsoft.com/office/drawing/2014/main" id="{F026E106-3ED5-479C-A7E5-1D0CF59276FB}"/>
                </a:ext>
              </a:extLst>
            </p:cNvPr>
            <p:cNvSpPr/>
            <p:nvPr/>
          </p:nvSpPr>
          <p:spPr>
            <a:xfrm rot="8716295">
              <a:off x="312236" y="13372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4" name="Forme libre : forme 353">
              <a:extLst>
                <a:ext uri="{FF2B5EF4-FFF2-40B4-BE49-F238E27FC236}">
                  <a16:creationId xmlns:a16="http://schemas.microsoft.com/office/drawing/2014/main" id="{A652AA44-0788-418A-BCB7-7692D06F9F9C}"/>
                </a:ext>
              </a:extLst>
            </p:cNvPr>
            <p:cNvSpPr/>
            <p:nvPr/>
          </p:nvSpPr>
          <p:spPr>
            <a:xfrm rot="8716295">
              <a:off x="-17798" y="949199"/>
              <a:ext cx="39526" cy="50123"/>
            </a:xfrm>
            <a:custGeom>
              <a:avLst/>
              <a:gdLst>
                <a:gd name="connsiteX0" fmla="*/ 0 w 39526"/>
                <a:gd name="connsiteY0" fmla="*/ 50123 h 50123"/>
                <a:gd name="connsiteX1" fmla="*/ 0 w 39526"/>
                <a:gd name="connsiteY1" fmla="*/ 0 h 50123"/>
                <a:gd name="connsiteX2" fmla="*/ 39526 w 39526"/>
                <a:gd name="connsiteY2" fmla="*/ 0 h 50123"/>
                <a:gd name="connsiteX3" fmla="*/ 4782 w 39526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26" h="50123">
                  <a:moveTo>
                    <a:pt x="0" y="50123"/>
                  </a:moveTo>
                  <a:lnTo>
                    <a:pt x="0" y="0"/>
                  </a:lnTo>
                  <a:lnTo>
                    <a:pt x="39526" y="0"/>
                  </a:lnTo>
                  <a:lnTo>
                    <a:pt x="4782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5" name="Forme libre : forme 354">
              <a:extLst>
                <a:ext uri="{FF2B5EF4-FFF2-40B4-BE49-F238E27FC236}">
                  <a16:creationId xmlns:a16="http://schemas.microsoft.com/office/drawing/2014/main" id="{CC7F2B2F-A9EF-4436-92EE-F187A921B5A2}"/>
                </a:ext>
              </a:extLst>
            </p:cNvPr>
            <p:cNvSpPr/>
            <p:nvPr/>
          </p:nvSpPr>
          <p:spPr>
            <a:xfrm rot="8716295">
              <a:off x="-64996" y="834728"/>
              <a:ext cx="249650" cy="254774"/>
            </a:xfrm>
            <a:custGeom>
              <a:avLst/>
              <a:gdLst>
                <a:gd name="connsiteX0" fmla="*/ 51490 w 249650"/>
                <a:gd name="connsiteY0" fmla="*/ 254774 h 254774"/>
                <a:gd name="connsiteX1" fmla="*/ 51490 w 249650"/>
                <a:gd name="connsiteY1" fmla="*/ 45624 h 254774"/>
                <a:gd name="connsiteX2" fmla="*/ 0 w 249650"/>
                <a:gd name="connsiteY2" fmla="*/ 45624 h 254774"/>
                <a:gd name="connsiteX3" fmla="*/ 0 w 249650"/>
                <a:gd name="connsiteY3" fmla="*/ 1425 h 254774"/>
                <a:gd name="connsiteX4" fmla="*/ 104803 w 249650"/>
                <a:gd name="connsiteY4" fmla="*/ 1425 h 254774"/>
                <a:gd name="connsiteX5" fmla="*/ 104803 w 249650"/>
                <a:gd name="connsiteY5" fmla="*/ 75242 h 254774"/>
                <a:gd name="connsiteX6" fmla="*/ 106169 w 249650"/>
                <a:gd name="connsiteY6" fmla="*/ 75242 h 254774"/>
                <a:gd name="connsiteX7" fmla="*/ 154014 w 249650"/>
                <a:gd name="connsiteY7" fmla="*/ 5981 h 254774"/>
                <a:gd name="connsiteX8" fmla="*/ 185455 w 249650"/>
                <a:gd name="connsiteY8" fmla="*/ 57 h 254774"/>
                <a:gd name="connsiteX9" fmla="*/ 240647 w 249650"/>
                <a:gd name="connsiteY9" fmla="*/ 22727 h 254774"/>
                <a:gd name="connsiteX10" fmla="*/ 249650 w 249650"/>
                <a:gd name="connsiteY10" fmla="*/ 52327 h 254774"/>
                <a:gd name="connsiteX11" fmla="*/ 218795 w 249650"/>
                <a:gd name="connsiteY11" fmla="*/ 96841 h 254774"/>
                <a:gd name="connsiteX12" fmla="*/ 198669 w 249650"/>
                <a:gd name="connsiteY12" fmla="*/ 98025 h 254774"/>
                <a:gd name="connsiteX13" fmla="*/ 198669 w 249650"/>
                <a:gd name="connsiteY13" fmla="*/ 81621 h 254774"/>
                <a:gd name="connsiteX14" fmla="*/ 164950 w 249650"/>
                <a:gd name="connsiteY14" fmla="*/ 40156 h 254774"/>
                <a:gd name="connsiteX15" fmla="*/ 111638 w 249650"/>
                <a:gd name="connsiteY15" fmla="*/ 127643 h 254774"/>
                <a:gd name="connsiteX16" fmla="*/ 111638 w 249650"/>
                <a:gd name="connsiteY16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9650" h="254774">
                  <a:moveTo>
                    <a:pt x="51490" y="254774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08922" y="-398"/>
                    <a:pt x="227718" y="7576"/>
                    <a:pt x="240647" y="22727"/>
                  </a:cubicBezTo>
                  <a:lnTo>
                    <a:pt x="249650" y="52327"/>
                  </a:lnTo>
                  <a:lnTo>
                    <a:pt x="218795" y="96841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6" name="Forme libre : forme 355">
              <a:extLst>
                <a:ext uri="{FF2B5EF4-FFF2-40B4-BE49-F238E27FC236}">
                  <a16:creationId xmlns:a16="http://schemas.microsoft.com/office/drawing/2014/main" id="{B491F0AE-2B60-457D-9F7E-DF3C2D622FF0}"/>
                </a:ext>
              </a:extLst>
            </p:cNvPr>
            <p:cNvSpPr/>
            <p:nvPr/>
          </p:nvSpPr>
          <p:spPr>
            <a:xfrm rot="7484129">
              <a:off x="-63314" y="1172497"/>
              <a:ext cx="203848" cy="146395"/>
            </a:xfrm>
            <a:custGeom>
              <a:avLst/>
              <a:gdLst>
                <a:gd name="connsiteX0" fmla="*/ 0 w 203848"/>
                <a:gd name="connsiteY0" fmla="*/ 55323 h 146395"/>
                <a:gd name="connsiteX1" fmla="*/ 0 w 203848"/>
                <a:gd name="connsiteY1" fmla="*/ 0 h 146395"/>
                <a:gd name="connsiteX2" fmla="*/ 203848 w 203848"/>
                <a:gd name="connsiteY2" fmla="*/ 0 h 146395"/>
                <a:gd name="connsiteX3" fmla="*/ 203847 w 203848"/>
                <a:gd name="connsiteY3" fmla="*/ 49512 h 146395"/>
                <a:gd name="connsiteX4" fmla="*/ 195466 w 203848"/>
                <a:gd name="connsiteY4" fmla="*/ 55323 h 146395"/>
                <a:gd name="connsiteX5" fmla="*/ 139055 w 203848"/>
                <a:gd name="connsiteY5" fmla="*/ 55323 h 146395"/>
                <a:gd name="connsiteX6" fmla="*/ 121388 w 203848"/>
                <a:gd name="connsiteY6" fmla="*/ 106685 h 146395"/>
                <a:gd name="connsiteX7" fmla="*/ 64115 w 203848"/>
                <a:gd name="connsiteY7" fmla="*/ 146395 h 146395"/>
                <a:gd name="connsiteX8" fmla="*/ 47847 w 203848"/>
                <a:gd name="connsiteY8" fmla="*/ 116129 h 146395"/>
                <a:gd name="connsiteX9" fmla="*/ 69777 w 203848"/>
                <a:gd name="connsiteY9" fmla="*/ 55323 h 146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848" h="146395">
                  <a:moveTo>
                    <a:pt x="0" y="55323"/>
                  </a:moveTo>
                  <a:lnTo>
                    <a:pt x="0" y="0"/>
                  </a:lnTo>
                  <a:lnTo>
                    <a:pt x="203848" y="0"/>
                  </a:lnTo>
                  <a:lnTo>
                    <a:pt x="203847" y="49512"/>
                  </a:lnTo>
                  <a:lnTo>
                    <a:pt x="195466" y="55323"/>
                  </a:lnTo>
                  <a:lnTo>
                    <a:pt x="139055" y="55323"/>
                  </a:lnTo>
                  <a:lnTo>
                    <a:pt x="121388" y="106685"/>
                  </a:lnTo>
                  <a:lnTo>
                    <a:pt x="64115" y="146395"/>
                  </a:lnTo>
                  <a:lnTo>
                    <a:pt x="47847" y="116129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7" name="Forme libre : forme 356">
              <a:extLst>
                <a:ext uri="{FF2B5EF4-FFF2-40B4-BE49-F238E27FC236}">
                  <a16:creationId xmlns:a16="http://schemas.microsoft.com/office/drawing/2014/main" id="{566B0F1B-76F2-42A3-83ED-13519BAD8E0C}"/>
                </a:ext>
              </a:extLst>
            </p:cNvPr>
            <p:cNvSpPr/>
            <p:nvPr/>
          </p:nvSpPr>
          <p:spPr>
            <a:xfrm rot="13089394">
              <a:off x="25311" y="109952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8" name="Forme libre : forme 357">
              <a:extLst>
                <a:ext uri="{FF2B5EF4-FFF2-40B4-BE49-F238E27FC236}">
                  <a16:creationId xmlns:a16="http://schemas.microsoft.com/office/drawing/2014/main" id="{6ACA7109-A9A0-4CC8-B8F0-2B22C7DA70BF}"/>
                </a:ext>
              </a:extLst>
            </p:cNvPr>
            <p:cNvSpPr/>
            <p:nvPr/>
          </p:nvSpPr>
          <p:spPr>
            <a:xfrm rot="8716295">
              <a:off x="210896" y="90784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9" name="Forme libre : forme 358">
              <a:extLst>
                <a:ext uri="{FF2B5EF4-FFF2-40B4-BE49-F238E27FC236}">
                  <a16:creationId xmlns:a16="http://schemas.microsoft.com/office/drawing/2014/main" id="{452ADC31-6E2B-47AB-819B-06E9BDE7841B}"/>
                </a:ext>
              </a:extLst>
            </p:cNvPr>
            <p:cNvSpPr/>
            <p:nvPr/>
          </p:nvSpPr>
          <p:spPr>
            <a:xfrm rot="8716295">
              <a:off x="159091" y="80425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0" name="Forme libre : forme 359">
              <a:extLst>
                <a:ext uri="{FF2B5EF4-FFF2-40B4-BE49-F238E27FC236}">
                  <a16:creationId xmlns:a16="http://schemas.microsoft.com/office/drawing/2014/main" id="{BCEE9B8C-AA03-4719-891E-01DB914C78AC}"/>
                </a:ext>
              </a:extLst>
            </p:cNvPr>
            <p:cNvSpPr/>
            <p:nvPr/>
          </p:nvSpPr>
          <p:spPr>
            <a:xfrm rot="8716295">
              <a:off x="93297" y="67523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1" name="Forme libre : forme 360">
              <a:extLst>
                <a:ext uri="{FF2B5EF4-FFF2-40B4-BE49-F238E27FC236}">
                  <a16:creationId xmlns:a16="http://schemas.microsoft.com/office/drawing/2014/main" id="{F9DD0D80-4138-4478-988E-136F3B8038CE}"/>
                </a:ext>
              </a:extLst>
            </p:cNvPr>
            <p:cNvSpPr/>
            <p:nvPr/>
          </p:nvSpPr>
          <p:spPr>
            <a:xfrm rot="8716295">
              <a:off x="-7001" y="316701"/>
              <a:ext cx="14001" cy="20198"/>
            </a:xfrm>
            <a:custGeom>
              <a:avLst/>
              <a:gdLst>
                <a:gd name="connsiteX0" fmla="*/ 0 w 14001"/>
                <a:gd name="connsiteY0" fmla="*/ 20198 h 20198"/>
                <a:gd name="connsiteX1" fmla="*/ 0 w 14001"/>
                <a:gd name="connsiteY1" fmla="*/ 0 h 20198"/>
                <a:gd name="connsiteX2" fmla="*/ 14001 w 14001"/>
                <a:gd name="connsiteY2" fmla="*/ 0 h 2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01" h="20198">
                  <a:moveTo>
                    <a:pt x="0" y="20198"/>
                  </a:moveTo>
                  <a:lnTo>
                    <a:pt x="0" y="0"/>
                  </a:lnTo>
                  <a:lnTo>
                    <a:pt x="1400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2" name="Forme libre : forme 361">
              <a:extLst>
                <a:ext uri="{FF2B5EF4-FFF2-40B4-BE49-F238E27FC236}">
                  <a16:creationId xmlns:a16="http://schemas.microsoft.com/office/drawing/2014/main" id="{DF35AC08-7EAC-4D88-B60D-06D59DB2131D}"/>
                </a:ext>
              </a:extLst>
            </p:cNvPr>
            <p:cNvSpPr/>
            <p:nvPr/>
          </p:nvSpPr>
          <p:spPr>
            <a:xfrm rot="13089394">
              <a:off x="-81658" y="472652"/>
              <a:ext cx="173631" cy="237684"/>
            </a:xfrm>
            <a:custGeom>
              <a:avLst/>
              <a:gdLst>
                <a:gd name="connsiteX0" fmla="*/ 173631 w 173631"/>
                <a:gd name="connsiteY0" fmla="*/ 220990 h 237684"/>
                <a:gd name="connsiteX1" fmla="*/ 130972 w 173631"/>
                <a:gd name="connsiteY1" fmla="*/ 232382 h 237684"/>
                <a:gd name="connsiteX2" fmla="*/ 91597 w 173631"/>
                <a:gd name="connsiteY2" fmla="*/ 237521 h 237684"/>
                <a:gd name="connsiteX3" fmla="*/ 23727 w 173631"/>
                <a:gd name="connsiteY3" fmla="*/ 209931 h 237684"/>
                <a:gd name="connsiteX4" fmla="*/ 0 w 173631"/>
                <a:gd name="connsiteY4" fmla="*/ 115023 h 237684"/>
                <a:gd name="connsiteX5" fmla="*/ 0 w 173631"/>
                <a:gd name="connsiteY5" fmla="*/ 0 h 237684"/>
                <a:gd name="connsiteX6" fmla="*/ 76176 w 173631"/>
                <a:gd name="connsiteY6" fmla="*/ 96953 h 237684"/>
                <a:gd name="connsiteX7" fmla="*/ 76768 w 173631"/>
                <a:gd name="connsiteY7" fmla="*/ 109023 h 237684"/>
                <a:gd name="connsiteX8" fmla="*/ 87734 w 173631"/>
                <a:gd name="connsiteY8" fmla="*/ 154201 h 237684"/>
                <a:gd name="connsiteX9" fmla="*/ 111117 w 173631"/>
                <a:gd name="connsiteY9" fmla="*/ 181514 h 237684"/>
                <a:gd name="connsiteX10" fmla="*/ 148930 w 173631"/>
                <a:gd name="connsiteY10" fmla="*/ 189552 h 237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3631" h="237684">
                  <a:moveTo>
                    <a:pt x="173631" y="220990"/>
                  </a:moveTo>
                  <a:lnTo>
                    <a:pt x="130972" y="232382"/>
                  </a:lnTo>
                  <a:cubicBezTo>
                    <a:pt x="116428" y="235210"/>
                    <a:pt x="103047" y="236831"/>
                    <a:pt x="91597" y="237521"/>
                  </a:cubicBezTo>
                  <a:cubicBezTo>
                    <a:pt x="66215" y="239176"/>
                    <a:pt x="41384" y="228141"/>
                    <a:pt x="23727" y="209931"/>
                  </a:cubicBezTo>
                  <a:cubicBezTo>
                    <a:pt x="4966" y="191722"/>
                    <a:pt x="0" y="160270"/>
                    <a:pt x="0" y="115023"/>
                  </a:cubicBezTo>
                  <a:lnTo>
                    <a:pt x="0" y="0"/>
                  </a:lnTo>
                  <a:lnTo>
                    <a:pt x="76176" y="96953"/>
                  </a:lnTo>
                  <a:lnTo>
                    <a:pt x="76768" y="109023"/>
                  </a:lnTo>
                  <a:cubicBezTo>
                    <a:pt x="79044" y="124404"/>
                    <a:pt x="82768" y="139578"/>
                    <a:pt x="87734" y="154201"/>
                  </a:cubicBezTo>
                  <a:cubicBezTo>
                    <a:pt x="92149" y="166340"/>
                    <a:pt x="100012" y="175445"/>
                    <a:pt x="111117" y="181514"/>
                  </a:cubicBezTo>
                  <a:lnTo>
                    <a:pt x="148930" y="1895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3" name="Forme libre : forme 362">
              <a:extLst>
                <a:ext uri="{FF2B5EF4-FFF2-40B4-BE49-F238E27FC236}">
                  <a16:creationId xmlns:a16="http://schemas.microsoft.com/office/drawing/2014/main" id="{9AFF3E46-2559-4C6F-8BF3-7DBBEBA30E07}"/>
                </a:ext>
              </a:extLst>
            </p:cNvPr>
            <p:cNvSpPr/>
            <p:nvPr/>
          </p:nvSpPr>
          <p:spPr>
            <a:xfrm rot="8716295">
              <a:off x="-11774" y="24443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4" name="Forme libre : forme 363">
              <a:extLst>
                <a:ext uri="{FF2B5EF4-FFF2-40B4-BE49-F238E27FC236}">
                  <a16:creationId xmlns:a16="http://schemas.microsoft.com/office/drawing/2014/main" id="{97E07195-EA95-4E14-9CB9-A69F34AE04C5}"/>
                </a:ext>
              </a:extLst>
            </p:cNvPr>
            <p:cNvSpPr/>
            <p:nvPr/>
          </p:nvSpPr>
          <p:spPr>
            <a:xfrm rot="8716295">
              <a:off x="-30092" y="143486"/>
              <a:ext cx="77721" cy="97260"/>
            </a:xfrm>
            <a:custGeom>
              <a:avLst/>
              <a:gdLst>
                <a:gd name="connsiteX0" fmla="*/ 15821 w 77721"/>
                <a:gd name="connsiteY0" fmla="*/ 97260 h 97260"/>
                <a:gd name="connsiteX1" fmla="*/ 0 w 77721"/>
                <a:gd name="connsiteY1" fmla="*/ 59790 h 97260"/>
                <a:gd name="connsiteX2" fmla="*/ 0 w 77721"/>
                <a:gd name="connsiteY2" fmla="*/ 58869 h 97260"/>
                <a:gd name="connsiteX3" fmla="*/ 17477 w 77721"/>
                <a:gd name="connsiteY3" fmla="*/ 17477 h 97260"/>
                <a:gd name="connsiteX4" fmla="*/ 58869 w 77721"/>
                <a:gd name="connsiteY4" fmla="*/ 0 h 97260"/>
                <a:gd name="connsiteX5" fmla="*/ 77721 w 77721"/>
                <a:gd name="connsiteY5" fmla="*/ 7960 h 97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721" h="97260">
                  <a:moveTo>
                    <a:pt x="15821" y="97260"/>
                  </a:moveTo>
                  <a:lnTo>
                    <a:pt x="0" y="59790"/>
                  </a:ln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lnTo>
                    <a:pt x="77721" y="79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5" name="Forme libre : forme 364">
              <a:extLst>
                <a:ext uri="{FF2B5EF4-FFF2-40B4-BE49-F238E27FC236}">
                  <a16:creationId xmlns:a16="http://schemas.microsoft.com/office/drawing/2014/main" id="{F46DA911-E7B0-4E9F-BFB6-93C98E7208E7}"/>
                </a:ext>
              </a:extLst>
            </p:cNvPr>
            <p:cNvSpPr/>
            <p:nvPr/>
          </p:nvSpPr>
          <p:spPr>
            <a:xfrm rot="8716295">
              <a:off x="-17797" y="3452694"/>
              <a:ext cx="58455" cy="44199"/>
            </a:xfrm>
            <a:custGeom>
              <a:avLst/>
              <a:gdLst>
                <a:gd name="connsiteX0" fmla="*/ 0 w 58455"/>
                <a:gd name="connsiteY0" fmla="*/ 44199 h 44199"/>
                <a:gd name="connsiteX1" fmla="*/ 0 w 58455"/>
                <a:gd name="connsiteY1" fmla="*/ 0 h 44199"/>
                <a:gd name="connsiteX2" fmla="*/ 58455 w 58455"/>
                <a:gd name="connsiteY2" fmla="*/ 0 h 44199"/>
                <a:gd name="connsiteX3" fmla="*/ 27817 w 58455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55" h="44199">
                  <a:moveTo>
                    <a:pt x="0" y="44199"/>
                  </a:moveTo>
                  <a:lnTo>
                    <a:pt x="0" y="0"/>
                  </a:lnTo>
                  <a:lnTo>
                    <a:pt x="58455" y="0"/>
                  </a:lnTo>
                  <a:lnTo>
                    <a:pt x="27817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6" name="Forme libre : forme 365">
              <a:extLst>
                <a:ext uri="{FF2B5EF4-FFF2-40B4-BE49-F238E27FC236}">
                  <a16:creationId xmlns:a16="http://schemas.microsoft.com/office/drawing/2014/main" id="{C1D02749-F8C1-46C8-BEE0-16746055E93D}"/>
                </a:ext>
              </a:extLst>
            </p:cNvPr>
            <p:cNvSpPr/>
            <p:nvPr/>
          </p:nvSpPr>
          <p:spPr>
            <a:xfrm rot="13089394">
              <a:off x="-91485" y="3601812"/>
              <a:ext cx="206527" cy="292654"/>
            </a:xfrm>
            <a:custGeom>
              <a:avLst/>
              <a:gdLst>
                <a:gd name="connsiteX0" fmla="*/ 206527 w 206527"/>
                <a:gd name="connsiteY0" fmla="*/ 258693 h 292654"/>
                <a:gd name="connsiteX1" fmla="*/ 177331 w 206527"/>
                <a:gd name="connsiteY1" fmla="*/ 274971 h 292654"/>
                <a:gd name="connsiteX2" fmla="*/ 91597 w 206527"/>
                <a:gd name="connsiteY2" fmla="*/ 292491 h 292654"/>
                <a:gd name="connsiteX3" fmla="*/ 23727 w 206527"/>
                <a:gd name="connsiteY3" fmla="*/ 264901 h 292654"/>
                <a:gd name="connsiteX4" fmla="*/ 0 w 206527"/>
                <a:gd name="connsiteY4" fmla="*/ 169993 h 292654"/>
                <a:gd name="connsiteX5" fmla="*/ 0 w 206527"/>
                <a:gd name="connsiteY5" fmla="*/ 1698 h 292654"/>
                <a:gd name="connsiteX6" fmla="*/ 3273 w 206527"/>
                <a:gd name="connsiteY6" fmla="*/ 0 h 292654"/>
                <a:gd name="connsiteX7" fmla="*/ 74297 w 206527"/>
                <a:gd name="connsiteY7" fmla="*/ 90396 h 292654"/>
                <a:gd name="connsiteX8" fmla="*/ 74492 w 206527"/>
                <a:gd name="connsiteY8" fmla="*/ 117574 h 292654"/>
                <a:gd name="connsiteX9" fmla="*/ 87734 w 206527"/>
                <a:gd name="connsiteY9" fmla="*/ 209171 h 292654"/>
                <a:gd name="connsiteX10" fmla="*/ 153949 w 206527"/>
                <a:gd name="connsiteY10" fmla="*/ 245589 h 292654"/>
                <a:gd name="connsiteX11" fmla="*/ 191049 w 206527"/>
                <a:gd name="connsiteY11" fmla="*/ 238993 h 292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527" h="292654">
                  <a:moveTo>
                    <a:pt x="206527" y="258693"/>
                  </a:moveTo>
                  <a:lnTo>
                    <a:pt x="177331" y="274971"/>
                  </a:lnTo>
                  <a:cubicBezTo>
                    <a:pt x="145121" y="286007"/>
                    <a:pt x="114496" y="291111"/>
                    <a:pt x="91597" y="292491"/>
                  </a:cubicBezTo>
                  <a:cubicBezTo>
                    <a:pt x="66215" y="294146"/>
                    <a:pt x="41385" y="283111"/>
                    <a:pt x="23727" y="264901"/>
                  </a:cubicBezTo>
                  <a:cubicBezTo>
                    <a:pt x="4966" y="246692"/>
                    <a:pt x="0" y="215240"/>
                    <a:pt x="0" y="169993"/>
                  </a:cubicBezTo>
                  <a:lnTo>
                    <a:pt x="0" y="1698"/>
                  </a:lnTo>
                  <a:lnTo>
                    <a:pt x="3273" y="0"/>
                  </a:lnTo>
                  <a:lnTo>
                    <a:pt x="74297" y="90396"/>
                  </a:lnTo>
                  <a:lnTo>
                    <a:pt x="74492" y="117574"/>
                  </a:lnTo>
                  <a:cubicBezTo>
                    <a:pt x="72836" y="148474"/>
                    <a:pt x="77802" y="179926"/>
                    <a:pt x="87734" y="209171"/>
                  </a:cubicBezTo>
                  <a:cubicBezTo>
                    <a:pt x="96564" y="233450"/>
                    <a:pt x="119187" y="245589"/>
                    <a:pt x="153949" y="245589"/>
                  </a:cubicBezTo>
                  <a:lnTo>
                    <a:pt x="191049" y="2389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7" name="Forme libre : forme 366">
              <a:extLst>
                <a:ext uri="{FF2B5EF4-FFF2-40B4-BE49-F238E27FC236}">
                  <a16:creationId xmlns:a16="http://schemas.microsoft.com/office/drawing/2014/main" id="{DE83541C-6C64-4EFA-96DA-32677B2F8AB7}"/>
                </a:ext>
              </a:extLst>
            </p:cNvPr>
            <p:cNvSpPr/>
            <p:nvPr/>
          </p:nvSpPr>
          <p:spPr>
            <a:xfrm rot="8716295">
              <a:off x="24761" y="33896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8" name="Forme libre : forme 367">
              <a:extLst>
                <a:ext uri="{FF2B5EF4-FFF2-40B4-BE49-F238E27FC236}">
                  <a16:creationId xmlns:a16="http://schemas.microsoft.com/office/drawing/2014/main" id="{97641E82-A92B-4DDB-9997-4330C2FFFC03}"/>
                </a:ext>
              </a:extLst>
            </p:cNvPr>
            <p:cNvSpPr/>
            <p:nvPr/>
          </p:nvSpPr>
          <p:spPr>
            <a:xfrm rot="8716295">
              <a:off x="-24047" y="3281741"/>
              <a:ext cx="106042" cy="113733"/>
            </a:xfrm>
            <a:custGeom>
              <a:avLst/>
              <a:gdLst>
                <a:gd name="connsiteX0" fmla="*/ 17477 w 106042"/>
                <a:gd name="connsiteY0" fmla="*/ 101182 h 113733"/>
                <a:gd name="connsiteX1" fmla="*/ 0 w 106042"/>
                <a:gd name="connsiteY1" fmla="*/ 59790 h 113733"/>
                <a:gd name="connsiteX2" fmla="*/ 0 w 106042"/>
                <a:gd name="connsiteY2" fmla="*/ 58869 h 113733"/>
                <a:gd name="connsiteX3" fmla="*/ 17477 w 106042"/>
                <a:gd name="connsiteY3" fmla="*/ 17477 h 113733"/>
                <a:gd name="connsiteX4" fmla="*/ 58869 w 106042"/>
                <a:gd name="connsiteY4" fmla="*/ 0 h 113733"/>
                <a:gd name="connsiteX5" fmla="*/ 100262 w 106042"/>
                <a:gd name="connsiteY5" fmla="*/ 17477 h 113733"/>
                <a:gd name="connsiteX6" fmla="*/ 106042 w 106042"/>
                <a:gd name="connsiteY6" fmla="*/ 31234 h 113733"/>
                <a:gd name="connsiteX7" fmla="*/ 48856 w 106042"/>
                <a:gd name="connsiteY7" fmla="*/ 113733 h 11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042" h="113733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cubicBezTo>
                    <a:pt x="74507" y="0"/>
                    <a:pt x="89224" y="6439"/>
                    <a:pt x="100262" y="17477"/>
                  </a:cubicBezTo>
                  <a:lnTo>
                    <a:pt x="106042" y="31234"/>
                  </a:lnTo>
                  <a:lnTo>
                    <a:pt x="48856" y="1137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9" name="Forme libre : forme 368">
              <a:extLst>
                <a:ext uri="{FF2B5EF4-FFF2-40B4-BE49-F238E27FC236}">
                  <a16:creationId xmlns:a16="http://schemas.microsoft.com/office/drawing/2014/main" id="{CA7B7E86-E158-4CCC-9F30-35FD45AC52DC}"/>
                </a:ext>
              </a:extLst>
            </p:cNvPr>
            <p:cNvSpPr/>
            <p:nvPr/>
          </p:nvSpPr>
          <p:spPr>
            <a:xfrm rot="8716295">
              <a:off x="-21924" y="3179872"/>
              <a:ext cx="45776" cy="62656"/>
            </a:xfrm>
            <a:custGeom>
              <a:avLst/>
              <a:gdLst>
                <a:gd name="connsiteX0" fmla="*/ 2345 w 45776"/>
                <a:gd name="connsiteY0" fmla="*/ 62656 h 62656"/>
                <a:gd name="connsiteX1" fmla="*/ 0 w 45776"/>
                <a:gd name="connsiteY1" fmla="*/ 57104 h 62656"/>
                <a:gd name="connsiteX2" fmla="*/ 0 w 45776"/>
                <a:gd name="connsiteY2" fmla="*/ 56183 h 62656"/>
                <a:gd name="connsiteX3" fmla="*/ 17477 w 45776"/>
                <a:gd name="connsiteY3" fmla="*/ 14791 h 62656"/>
                <a:gd name="connsiteX4" fmla="*/ 36449 w 45776"/>
                <a:gd name="connsiteY4" fmla="*/ 1913 h 62656"/>
                <a:gd name="connsiteX5" fmla="*/ 45776 w 45776"/>
                <a:gd name="connsiteY5" fmla="*/ 0 h 62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776" h="62656">
                  <a:moveTo>
                    <a:pt x="2345" y="62656"/>
                  </a:moveTo>
                  <a:lnTo>
                    <a:pt x="0" y="57104"/>
                  </a:lnTo>
                  <a:lnTo>
                    <a:pt x="0" y="56183"/>
                  </a:lnTo>
                  <a:cubicBezTo>
                    <a:pt x="0" y="40547"/>
                    <a:pt x="6439" y="25829"/>
                    <a:pt x="17477" y="14791"/>
                  </a:cubicBezTo>
                  <a:cubicBezTo>
                    <a:pt x="22996" y="9272"/>
                    <a:pt x="29435" y="4903"/>
                    <a:pt x="36449" y="1913"/>
                  </a:cubicBezTo>
                  <a:lnTo>
                    <a:pt x="4577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0" name="Forme libre : forme 369">
              <a:extLst>
                <a:ext uri="{FF2B5EF4-FFF2-40B4-BE49-F238E27FC236}">
                  <a16:creationId xmlns:a16="http://schemas.microsoft.com/office/drawing/2014/main" id="{B95921A2-46DE-49F9-9F14-5364CEEC2044}"/>
                </a:ext>
              </a:extLst>
            </p:cNvPr>
            <p:cNvSpPr/>
            <p:nvPr/>
          </p:nvSpPr>
          <p:spPr>
            <a:xfrm rot="8716295">
              <a:off x="-21324" y="4100649"/>
              <a:ext cx="79113" cy="50123"/>
            </a:xfrm>
            <a:custGeom>
              <a:avLst/>
              <a:gdLst>
                <a:gd name="connsiteX0" fmla="*/ 0 w 79113"/>
                <a:gd name="connsiteY0" fmla="*/ 50123 h 50123"/>
                <a:gd name="connsiteX1" fmla="*/ 0 w 79113"/>
                <a:gd name="connsiteY1" fmla="*/ 0 h 50123"/>
                <a:gd name="connsiteX2" fmla="*/ 79113 w 79113"/>
                <a:gd name="connsiteY2" fmla="*/ 0 h 50123"/>
                <a:gd name="connsiteX3" fmla="*/ 44369 w 79113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113" h="50123">
                  <a:moveTo>
                    <a:pt x="0" y="50123"/>
                  </a:moveTo>
                  <a:lnTo>
                    <a:pt x="0" y="0"/>
                  </a:lnTo>
                  <a:lnTo>
                    <a:pt x="79113" y="0"/>
                  </a:lnTo>
                  <a:lnTo>
                    <a:pt x="44369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1" name="Forme libre : forme 370">
              <a:extLst>
                <a:ext uri="{FF2B5EF4-FFF2-40B4-BE49-F238E27FC236}">
                  <a16:creationId xmlns:a16="http://schemas.microsoft.com/office/drawing/2014/main" id="{84FEE941-A7A7-41F0-870B-FF2E21B132E9}"/>
                </a:ext>
              </a:extLst>
            </p:cNvPr>
            <p:cNvSpPr/>
            <p:nvPr/>
          </p:nvSpPr>
          <p:spPr>
            <a:xfrm rot="8716295">
              <a:off x="-40457" y="398156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2" name="Forme libre : forme 371">
              <a:extLst>
                <a:ext uri="{FF2B5EF4-FFF2-40B4-BE49-F238E27FC236}">
                  <a16:creationId xmlns:a16="http://schemas.microsoft.com/office/drawing/2014/main" id="{ED05E8E5-B04C-426F-A5B3-FDFECB7FA8BB}"/>
                </a:ext>
              </a:extLst>
            </p:cNvPr>
            <p:cNvSpPr/>
            <p:nvPr/>
          </p:nvSpPr>
          <p:spPr>
            <a:xfrm rot="7484129">
              <a:off x="-46974" y="427316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3" name="Forme libre : forme 372">
              <a:extLst>
                <a:ext uri="{FF2B5EF4-FFF2-40B4-BE49-F238E27FC236}">
                  <a16:creationId xmlns:a16="http://schemas.microsoft.com/office/drawing/2014/main" id="{2455BBCE-F26C-4AF6-86DC-09C81861FE56}"/>
                </a:ext>
              </a:extLst>
            </p:cNvPr>
            <p:cNvSpPr/>
            <p:nvPr/>
          </p:nvSpPr>
          <p:spPr>
            <a:xfrm rot="13089394">
              <a:off x="57846" y="423970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4" name="Forme libre : forme 373">
              <a:extLst>
                <a:ext uri="{FF2B5EF4-FFF2-40B4-BE49-F238E27FC236}">
                  <a16:creationId xmlns:a16="http://schemas.microsoft.com/office/drawing/2014/main" id="{51373B92-194C-42B9-B764-40EA297AE7F9}"/>
                </a:ext>
              </a:extLst>
            </p:cNvPr>
            <p:cNvSpPr/>
            <p:nvPr/>
          </p:nvSpPr>
          <p:spPr>
            <a:xfrm rot="8716295">
              <a:off x="243431" y="404801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5" name="Forme libre : forme 374">
              <a:extLst>
                <a:ext uri="{FF2B5EF4-FFF2-40B4-BE49-F238E27FC236}">
                  <a16:creationId xmlns:a16="http://schemas.microsoft.com/office/drawing/2014/main" id="{F38EDEED-C414-448B-8D37-E62E6FF38F3A}"/>
                </a:ext>
              </a:extLst>
            </p:cNvPr>
            <p:cNvSpPr/>
            <p:nvPr/>
          </p:nvSpPr>
          <p:spPr>
            <a:xfrm rot="8716295">
              <a:off x="191626" y="39444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6" name="Forme libre : forme 375">
              <a:extLst>
                <a:ext uri="{FF2B5EF4-FFF2-40B4-BE49-F238E27FC236}">
                  <a16:creationId xmlns:a16="http://schemas.microsoft.com/office/drawing/2014/main" id="{1E970937-55EB-4E1D-94ED-92F0499DC22F}"/>
                </a:ext>
              </a:extLst>
            </p:cNvPr>
            <p:cNvSpPr/>
            <p:nvPr/>
          </p:nvSpPr>
          <p:spPr>
            <a:xfrm rot="8716295">
              <a:off x="125832" y="381540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7" name="Forme libre : forme 376">
              <a:extLst>
                <a:ext uri="{FF2B5EF4-FFF2-40B4-BE49-F238E27FC236}">
                  <a16:creationId xmlns:a16="http://schemas.microsoft.com/office/drawing/2014/main" id="{9890EDE8-10DA-45ED-AA77-40989F9FB014}"/>
                </a:ext>
              </a:extLst>
            </p:cNvPr>
            <p:cNvSpPr/>
            <p:nvPr/>
          </p:nvSpPr>
          <p:spPr>
            <a:xfrm rot="8716295">
              <a:off x="-73048" y="4876828"/>
              <a:ext cx="221382" cy="253349"/>
            </a:xfrm>
            <a:custGeom>
              <a:avLst/>
              <a:gdLst>
                <a:gd name="connsiteX0" fmla="*/ 51490 w 221382"/>
                <a:gd name="connsiteY0" fmla="*/ 253349 h 253349"/>
                <a:gd name="connsiteX1" fmla="*/ 51490 w 221382"/>
                <a:gd name="connsiteY1" fmla="*/ 44199 h 253349"/>
                <a:gd name="connsiteX2" fmla="*/ 0 w 221382"/>
                <a:gd name="connsiteY2" fmla="*/ 44199 h 253349"/>
                <a:gd name="connsiteX3" fmla="*/ 0 w 221382"/>
                <a:gd name="connsiteY3" fmla="*/ 0 h 253349"/>
                <a:gd name="connsiteX4" fmla="*/ 104803 w 221382"/>
                <a:gd name="connsiteY4" fmla="*/ 0 h 253349"/>
                <a:gd name="connsiteX5" fmla="*/ 104802 w 221382"/>
                <a:gd name="connsiteY5" fmla="*/ 73817 h 253349"/>
                <a:gd name="connsiteX6" fmla="*/ 106169 w 221382"/>
                <a:gd name="connsiteY6" fmla="*/ 73817 h 253349"/>
                <a:gd name="connsiteX7" fmla="*/ 154014 w 221382"/>
                <a:gd name="connsiteY7" fmla="*/ 4556 h 253349"/>
                <a:gd name="connsiteX8" fmla="*/ 174650 w 221382"/>
                <a:gd name="connsiteY8" fmla="*/ 668 h 253349"/>
                <a:gd name="connsiteX9" fmla="*/ 214075 w 221382"/>
                <a:gd name="connsiteY9" fmla="*/ 27996 h 253349"/>
                <a:gd name="connsiteX10" fmla="*/ 221382 w 221382"/>
                <a:gd name="connsiteY10" fmla="*/ 33060 h 253349"/>
                <a:gd name="connsiteX11" fmla="*/ 195540 w 221382"/>
                <a:gd name="connsiteY11" fmla="*/ 70341 h 253349"/>
                <a:gd name="connsiteX12" fmla="*/ 189157 w 221382"/>
                <a:gd name="connsiteY12" fmla="*/ 50236 h 253349"/>
                <a:gd name="connsiteX13" fmla="*/ 164950 w 221382"/>
                <a:gd name="connsiteY13" fmla="*/ 38731 h 253349"/>
                <a:gd name="connsiteX14" fmla="*/ 111638 w 221382"/>
                <a:gd name="connsiteY14" fmla="*/ 126218 h 253349"/>
                <a:gd name="connsiteX15" fmla="*/ 111638 w 221382"/>
                <a:gd name="connsiteY15" fmla="*/ 191383 h 253349"/>
                <a:gd name="connsiteX16" fmla="*/ 84096 w 221382"/>
                <a:gd name="connsiteY16" fmla="*/ 231117 h 253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1382" h="253349">
                  <a:moveTo>
                    <a:pt x="51490" y="253349"/>
                  </a:moveTo>
                  <a:lnTo>
                    <a:pt x="51490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104803" y="0"/>
                  </a:lnTo>
                  <a:lnTo>
                    <a:pt x="104802" y="73817"/>
                  </a:lnTo>
                  <a:lnTo>
                    <a:pt x="106169" y="73817"/>
                  </a:lnTo>
                  <a:cubicBezTo>
                    <a:pt x="120751" y="30529"/>
                    <a:pt x="132142" y="13670"/>
                    <a:pt x="154014" y="4556"/>
                  </a:cubicBezTo>
                  <a:lnTo>
                    <a:pt x="174650" y="668"/>
                  </a:lnTo>
                  <a:lnTo>
                    <a:pt x="214075" y="27996"/>
                  </a:lnTo>
                  <a:lnTo>
                    <a:pt x="221382" y="33060"/>
                  </a:lnTo>
                  <a:lnTo>
                    <a:pt x="195540" y="70341"/>
                  </a:lnTo>
                  <a:lnTo>
                    <a:pt x="189157" y="50236"/>
                  </a:lnTo>
                  <a:cubicBezTo>
                    <a:pt x="183177" y="42946"/>
                    <a:pt x="174747" y="38731"/>
                    <a:pt x="164950" y="38731"/>
                  </a:cubicBezTo>
                  <a:cubicBezTo>
                    <a:pt x="135788" y="38731"/>
                    <a:pt x="111638" y="77463"/>
                    <a:pt x="111638" y="126218"/>
                  </a:cubicBezTo>
                  <a:lnTo>
                    <a:pt x="111638" y="191383"/>
                  </a:lnTo>
                  <a:lnTo>
                    <a:pt x="84096" y="2311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8" name="Forme libre : forme 377">
              <a:extLst>
                <a:ext uri="{FF2B5EF4-FFF2-40B4-BE49-F238E27FC236}">
                  <a16:creationId xmlns:a16="http://schemas.microsoft.com/office/drawing/2014/main" id="{D89764C9-6568-42FB-A4A1-D9595395AB12}"/>
                </a:ext>
              </a:extLst>
            </p:cNvPr>
            <p:cNvSpPr/>
            <p:nvPr/>
          </p:nvSpPr>
          <p:spPr>
            <a:xfrm rot="8716295">
              <a:off x="93318" y="46120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9" name="Forme libre : forme 378">
              <a:extLst>
                <a:ext uri="{FF2B5EF4-FFF2-40B4-BE49-F238E27FC236}">
                  <a16:creationId xmlns:a16="http://schemas.microsoft.com/office/drawing/2014/main" id="{B3A51367-1D00-45C2-8806-45DE56D1374A}"/>
                </a:ext>
              </a:extLst>
            </p:cNvPr>
            <p:cNvSpPr/>
            <p:nvPr/>
          </p:nvSpPr>
          <p:spPr>
            <a:xfrm rot="8716295">
              <a:off x="182710" y="46412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0" name="Forme libre : forme 379">
              <a:extLst>
                <a:ext uri="{FF2B5EF4-FFF2-40B4-BE49-F238E27FC236}">
                  <a16:creationId xmlns:a16="http://schemas.microsoft.com/office/drawing/2014/main" id="{5796D538-9FA1-4B69-9ECE-72D45F20B58A}"/>
                </a:ext>
              </a:extLst>
            </p:cNvPr>
            <p:cNvSpPr/>
            <p:nvPr/>
          </p:nvSpPr>
          <p:spPr>
            <a:xfrm rot="8716295">
              <a:off x="-14524" y="4699631"/>
              <a:ext cx="49997" cy="54238"/>
            </a:xfrm>
            <a:custGeom>
              <a:avLst/>
              <a:gdLst>
                <a:gd name="connsiteX0" fmla="*/ 8658 w 49997"/>
                <a:gd name="connsiteY0" fmla="*/ 50123 h 54238"/>
                <a:gd name="connsiteX1" fmla="*/ 0 w 49997"/>
                <a:gd name="connsiteY1" fmla="*/ 29619 h 54238"/>
                <a:gd name="connsiteX2" fmla="*/ 0 w 49997"/>
                <a:gd name="connsiteY2" fmla="*/ 29162 h 54238"/>
                <a:gd name="connsiteX3" fmla="*/ 8658 w 49997"/>
                <a:gd name="connsiteY3" fmla="*/ 8658 h 54238"/>
                <a:gd name="connsiteX4" fmla="*/ 29163 w 49997"/>
                <a:gd name="connsiteY4" fmla="*/ 0 h 54238"/>
                <a:gd name="connsiteX5" fmla="*/ 49668 w 49997"/>
                <a:gd name="connsiteY5" fmla="*/ 8658 h 54238"/>
                <a:gd name="connsiteX6" fmla="*/ 49997 w 49997"/>
                <a:gd name="connsiteY6" fmla="*/ 9441 h 54238"/>
                <a:gd name="connsiteX7" fmla="*/ 18945 w 49997"/>
                <a:gd name="connsiteY7" fmla="*/ 54238 h 54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997" h="54238">
                  <a:moveTo>
                    <a:pt x="8658" y="50123"/>
                  </a:moveTo>
                  <a:cubicBezTo>
                    <a:pt x="3190" y="44655"/>
                    <a:pt x="0" y="37365"/>
                    <a:pt x="0" y="29619"/>
                  </a:cubicBezTo>
                  <a:lnTo>
                    <a:pt x="0" y="29162"/>
                  </a:lnTo>
                  <a:cubicBezTo>
                    <a:pt x="0" y="21417"/>
                    <a:pt x="3190" y="14126"/>
                    <a:pt x="8658" y="8658"/>
                  </a:cubicBezTo>
                  <a:cubicBezTo>
                    <a:pt x="14126" y="3190"/>
                    <a:pt x="21416" y="0"/>
                    <a:pt x="29163" y="0"/>
                  </a:cubicBezTo>
                  <a:cubicBezTo>
                    <a:pt x="36909" y="0"/>
                    <a:pt x="44200" y="3190"/>
                    <a:pt x="49668" y="8658"/>
                  </a:cubicBezTo>
                  <a:lnTo>
                    <a:pt x="49997" y="9441"/>
                  </a:lnTo>
                  <a:lnTo>
                    <a:pt x="18945" y="54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1" name="Forme libre : forme 380">
              <a:extLst>
                <a:ext uri="{FF2B5EF4-FFF2-40B4-BE49-F238E27FC236}">
                  <a16:creationId xmlns:a16="http://schemas.microsoft.com/office/drawing/2014/main" id="{0A8DEA12-3B5F-4B33-B7D9-E32E7E70ED9F}"/>
                </a:ext>
              </a:extLst>
            </p:cNvPr>
            <p:cNvSpPr/>
            <p:nvPr/>
          </p:nvSpPr>
          <p:spPr>
            <a:xfrm rot="8716295">
              <a:off x="-30327" y="4579755"/>
              <a:ext cx="113346" cy="71024"/>
            </a:xfrm>
            <a:custGeom>
              <a:avLst/>
              <a:gdLst>
                <a:gd name="connsiteX0" fmla="*/ 0 w 113346"/>
                <a:gd name="connsiteY0" fmla="*/ 55323 h 71024"/>
                <a:gd name="connsiteX1" fmla="*/ 0 w 113346"/>
                <a:gd name="connsiteY1" fmla="*/ 0 h 71024"/>
                <a:gd name="connsiteX2" fmla="*/ 113346 w 113346"/>
                <a:gd name="connsiteY2" fmla="*/ 0 h 71024"/>
                <a:gd name="connsiteX3" fmla="*/ 64114 w 113346"/>
                <a:gd name="connsiteY3" fmla="*/ 71024 h 71024"/>
                <a:gd name="connsiteX4" fmla="*/ 69777 w 113346"/>
                <a:gd name="connsiteY4" fmla="*/ 55323 h 7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346" h="71024">
                  <a:moveTo>
                    <a:pt x="0" y="55323"/>
                  </a:moveTo>
                  <a:lnTo>
                    <a:pt x="0" y="0"/>
                  </a:lnTo>
                  <a:lnTo>
                    <a:pt x="113346" y="0"/>
                  </a:lnTo>
                  <a:lnTo>
                    <a:pt x="64114" y="71024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2" name="Forme libre : forme 381">
              <a:extLst>
                <a:ext uri="{FF2B5EF4-FFF2-40B4-BE49-F238E27FC236}">
                  <a16:creationId xmlns:a16="http://schemas.microsoft.com/office/drawing/2014/main" id="{B639F843-6BAF-4B67-80B8-3D30C09BF5FB}"/>
                </a:ext>
              </a:extLst>
            </p:cNvPr>
            <p:cNvSpPr/>
            <p:nvPr/>
          </p:nvSpPr>
          <p:spPr>
            <a:xfrm rot="8716295">
              <a:off x="71262" y="47415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3" name="Forme libre : forme 382">
              <a:extLst>
                <a:ext uri="{FF2B5EF4-FFF2-40B4-BE49-F238E27FC236}">
                  <a16:creationId xmlns:a16="http://schemas.microsoft.com/office/drawing/2014/main" id="{D52BFECF-759E-4683-BE94-173DD8657338}"/>
                </a:ext>
              </a:extLst>
            </p:cNvPr>
            <p:cNvSpPr/>
            <p:nvPr/>
          </p:nvSpPr>
          <p:spPr>
            <a:xfrm rot="7484129">
              <a:off x="172059" y="493353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170341 w 203847"/>
                <a:gd name="connsiteY5" fmla="*/ 0 h 195874"/>
                <a:gd name="connsiteX6" fmla="*/ 203847 w 203847"/>
                <a:gd name="connsiteY6" fmla="*/ 48325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170341" y="0"/>
                  </a:lnTo>
                  <a:lnTo>
                    <a:pt x="203847" y="48325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4" name="Forme libre : forme 383">
              <a:extLst>
                <a:ext uri="{FF2B5EF4-FFF2-40B4-BE49-F238E27FC236}">
                  <a16:creationId xmlns:a16="http://schemas.microsoft.com/office/drawing/2014/main" id="{25A08FAE-A75C-4B2E-B0C7-527DE2D9E508}"/>
                </a:ext>
              </a:extLst>
            </p:cNvPr>
            <p:cNvSpPr/>
            <p:nvPr/>
          </p:nvSpPr>
          <p:spPr>
            <a:xfrm rot="13089394">
              <a:off x="313551" y="4906246"/>
              <a:ext cx="221827" cy="205098"/>
            </a:xfrm>
            <a:custGeom>
              <a:avLst/>
              <a:gdLst>
                <a:gd name="connsiteX0" fmla="*/ 24153 w 221827"/>
                <a:gd name="connsiteY0" fmla="*/ 55168 h 205098"/>
                <a:gd name="connsiteX1" fmla="*/ 0 w 221827"/>
                <a:gd name="connsiteY1" fmla="*/ 18385 h 205098"/>
                <a:gd name="connsiteX2" fmla="*/ 23400 w 221827"/>
                <a:gd name="connsiteY2" fmla="*/ 0 h 205098"/>
                <a:gd name="connsiteX3" fmla="*/ 23735 w 221827"/>
                <a:gd name="connsiteY3" fmla="*/ 46640 h 205098"/>
                <a:gd name="connsiteX4" fmla="*/ 221827 w 221827"/>
                <a:gd name="connsiteY4" fmla="*/ 150928 h 205098"/>
                <a:gd name="connsiteX5" fmla="*/ 126574 w 221827"/>
                <a:gd name="connsiteY5" fmla="*/ 204038 h 205098"/>
                <a:gd name="connsiteX6" fmla="*/ 122603 w 221827"/>
                <a:gd name="connsiteY6" fmla="*/ 205098 h 205098"/>
                <a:gd name="connsiteX7" fmla="*/ 102519 w 221827"/>
                <a:gd name="connsiteY7" fmla="*/ 174512 h 205098"/>
                <a:gd name="connsiteX8" fmla="*/ 103192 w 221827"/>
                <a:gd name="connsiteY8" fmla="*/ 174655 h 205098"/>
                <a:gd name="connsiteX9" fmla="*/ 152853 w 221827"/>
                <a:gd name="connsiteY9" fmla="*/ 165826 h 205098"/>
                <a:gd name="connsiteX10" fmla="*/ 220723 w 221827"/>
                <a:gd name="connsiteY10" fmla="*/ 138237 h 205098"/>
                <a:gd name="connsiteX11" fmla="*/ 221827 w 221827"/>
                <a:gd name="connsiteY11" fmla="*/ 145410 h 205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1827" h="205098">
                  <a:moveTo>
                    <a:pt x="24153" y="55168"/>
                  </a:moveTo>
                  <a:lnTo>
                    <a:pt x="0" y="18385"/>
                  </a:lnTo>
                  <a:lnTo>
                    <a:pt x="23400" y="0"/>
                  </a:lnTo>
                  <a:lnTo>
                    <a:pt x="23735" y="46640"/>
                  </a:lnTo>
                  <a:close/>
                  <a:moveTo>
                    <a:pt x="221827" y="150928"/>
                  </a:moveTo>
                  <a:cubicBezTo>
                    <a:pt x="192582" y="176035"/>
                    <a:pt x="158785" y="193002"/>
                    <a:pt x="126574" y="204038"/>
                  </a:cubicBezTo>
                  <a:lnTo>
                    <a:pt x="122603" y="205098"/>
                  </a:lnTo>
                  <a:lnTo>
                    <a:pt x="102519" y="174512"/>
                  </a:lnTo>
                  <a:lnTo>
                    <a:pt x="103192" y="174655"/>
                  </a:lnTo>
                  <a:cubicBezTo>
                    <a:pt x="120298" y="174103"/>
                    <a:pt x="136851" y="170792"/>
                    <a:pt x="152853" y="165826"/>
                  </a:cubicBezTo>
                  <a:cubicBezTo>
                    <a:pt x="176028" y="158653"/>
                    <a:pt x="198652" y="149273"/>
                    <a:pt x="220723" y="138237"/>
                  </a:cubicBezTo>
                  <a:cubicBezTo>
                    <a:pt x="221275" y="140444"/>
                    <a:pt x="221827" y="143203"/>
                    <a:pt x="221827" y="1454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5" name="Forme libre : forme 384">
              <a:extLst>
                <a:ext uri="{FF2B5EF4-FFF2-40B4-BE49-F238E27FC236}">
                  <a16:creationId xmlns:a16="http://schemas.microsoft.com/office/drawing/2014/main" id="{6B1D4FCF-4868-4FA7-803E-D1D00595788E}"/>
                </a:ext>
              </a:extLst>
            </p:cNvPr>
            <p:cNvSpPr/>
            <p:nvPr/>
          </p:nvSpPr>
          <p:spPr>
            <a:xfrm rot="8716295">
              <a:off x="406370" y="4600606"/>
              <a:ext cx="113655" cy="117117"/>
            </a:xfrm>
            <a:custGeom>
              <a:avLst/>
              <a:gdLst>
                <a:gd name="connsiteX0" fmla="*/ 13623 w 113655"/>
                <a:gd name="connsiteY0" fmla="*/ 100559 h 117117"/>
                <a:gd name="connsiteX1" fmla="*/ 0 w 113655"/>
                <a:gd name="connsiteY1" fmla="*/ 68296 h 117117"/>
                <a:gd name="connsiteX2" fmla="*/ 56488 w 113655"/>
                <a:gd name="connsiteY2" fmla="*/ 0 h 117117"/>
                <a:gd name="connsiteX3" fmla="*/ 96408 w 113655"/>
                <a:gd name="connsiteY3" fmla="*/ 16856 h 117117"/>
                <a:gd name="connsiteX4" fmla="*/ 96408 w 113655"/>
                <a:gd name="connsiteY4" fmla="*/ 99640 h 117117"/>
                <a:gd name="connsiteX5" fmla="*/ 55015 w 113655"/>
                <a:gd name="connsiteY5" fmla="*/ 117117 h 117117"/>
                <a:gd name="connsiteX6" fmla="*/ 13623 w 113655"/>
                <a:gd name="connsiteY6" fmla="*/ 100559 h 117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655" h="117117">
                  <a:moveTo>
                    <a:pt x="13623" y="100559"/>
                  </a:moveTo>
                  <a:lnTo>
                    <a:pt x="0" y="68296"/>
                  </a:lnTo>
                  <a:lnTo>
                    <a:pt x="56488" y="0"/>
                  </a:lnTo>
                  <a:lnTo>
                    <a:pt x="96408" y="16856"/>
                  </a:lnTo>
                  <a:cubicBezTo>
                    <a:pt x="119404" y="38931"/>
                    <a:pt x="119404" y="76644"/>
                    <a:pt x="96408" y="99640"/>
                  </a:cubicBezTo>
                  <a:cubicBezTo>
                    <a:pt x="85370" y="110678"/>
                    <a:pt x="70653" y="117116"/>
                    <a:pt x="55015" y="117117"/>
                  </a:cubicBezTo>
                  <a:cubicBezTo>
                    <a:pt x="39378" y="117117"/>
                    <a:pt x="24661" y="111597"/>
                    <a:pt x="13623" y="10055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6" name="Forme libre : forme 385">
              <a:extLst>
                <a:ext uri="{FF2B5EF4-FFF2-40B4-BE49-F238E27FC236}">
                  <a16:creationId xmlns:a16="http://schemas.microsoft.com/office/drawing/2014/main" id="{A521D2F6-3CA4-443B-AE06-E761EA9F7456}"/>
                </a:ext>
              </a:extLst>
            </p:cNvPr>
            <p:cNvSpPr/>
            <p:nvPr/>
          </p:nvSpPr>
          <p:spPr>
            <a:xfrm rot="8716295">
              <a:off x="171547" y="46343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7" name="Forme libre : forme 386">
              <a:extLst>
                <a:ext uri="{FF2B5EF4-FFF2-40B4-BE49-F238E27FC236}">
                  <a16:creationId xmlns:a16="http://schemas.microsoft.com/office/drawing/2014/main" id="{830F38CE-6CA7-4EBA-A5A4-58CB35926CD3}"/>
                </a:ext>
              </a:extLst>
            </p:cNvPr>
            <p:cNvSpPr/>
            <p:nvPr/>
          </p:nvSpPr>
          <p:spPr>
            <a:xfrm rot="8716295">
              <a:off x="348999" y="44751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4691459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uverture 1 - Foncé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que 2">
            <a:extLst>
              <a:ext uri="{FF2B5EF4-FFF2-40B4-BE49-F238E27FC236}">
                <a16:creationId xmlns:a16="http://schemas.microsoft.com/office/drawing/2014/main" id="{BCA76D0D-BBB6-4E20-BDA2-AF79702AE4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04432" y="2054979"/>
            <a:ext cx="3470194" cy="1035588"/>
          </a:xfrm>
          <a:prstGeom prst="rect">
            <a:avLst/>
          </a:prstGeom>
        </p:spPr>
      </p:pic>
      <p:sp>
        <p:nvSpPr>
          <p:cNvPr id="5" name="Forme libre : forme 4">
            <a:extLst>
              <a:ext uri="{FF2B5EF4-FFF2-40B4-BE49-F238E27FC236}">
                <a16:creationId xmlns:a16="http://schemas.microsoft.com/office/drawing/2014/main" id="{AEFD991A-ABBA-4F4C-98CF-1084947DFB28}"/>
              </a:ext>
            </a:extLst>
          </p:cNvPr>
          <p:cNvSpPr/>
          <p:nvPr userDrawn="1"/>
        </p:nvSpPr>
        <p:spPr>
          <a:xfrm>
            <a:off x="0" y="0"/>
            <a:ext cx="2476252" cy="5143500"/>
          </a:xfrm>
          <a:custGeom>
            <a:avLst/>
            <a:gdLst>
              <a:gd name="connsiteX0" fmla="*/ 0 w 2476252"/>
              <a:gd name="connsiteY0" fmla="*/ 0 h 5143500"/>
              <a:gd name="connsiteX1" fmla="*/ 2038350 w 2476252"/>
              <a:gd name="connsiteY1" fmla="*/ 0 h 5143500"/>
              <a:gd name="connsiteX2" fmla="*/ 2476252 w 2476252"/>
              <a:gd name="connsiteY2" fmla="*/ 0 h 5143500"/>
              <a:gd name="connsiteX3" fmla="*/ 2038350 w 2476252"/>
              <a:gd name="connsiteY3" fmla="*/ 5143500 h 5143500"/>
              <a:gd name="connsiteX4" fmla="*/ 0 w 2476252"/>
              <a:gd name="connsiteY4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76252" h="5143500">
                <a:moveTo>
                  <a:pt x="0" y="0"/>
                </a:moveTo>
                <a:lnTo>
                  <a:pt x="2038350" y="0"/>
                </a:lnTo>
                <a:lnTo>
                  <a:pt x="2476252" y="0"/>
                </a:lnTo>
                <a:lnTo>
                  <a:pt x="2038350" y="5143500"/>
                </a:lnTo>
                <a:lnTo>
                  <a:pt x="0" y="5143500"/>
                </a:lnTo>
                <a:close/>
              </a:path>
            </a:pathLst>
          </a:custGeom>
          <a:solidFill>
            <a:srgbClr val="3A1B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6" name="Forme libre : forme 5">
            <a:extLst>
              <a:ext uri="{FF2B5EF4-FFF2-40B4-BE49-F238E27FC236}">
                <a16:creationId xmlns:a16="http://schemas.microsoft.com/office/drawing/2014/main" id="{864821C3-7BAD-4585-9F8D-C119AC850133}"/>
              </a:ext>
            </a:extLst>
          </p:cNvPr>
          <p:cNvSpPr/>
          <p:nvPr userDrawn="1"/>
        </p:nvSpPr>
        <p:spPr>
          <a:xfrm flipH="1">
            <a:off x="2029641" y="2387470"/>
            <a:ext cx="614164" cy="2756031"/>
          </a:xfrm>
          <a:custGeom>
            <a:avLst/>
            <a:gdLst>
              <a:gd name="connsiteX0" fmla="*/ 379524 w 614164"/>
              <a:gd name="connsiteY0" fmla="*/ 0 h 2756031"/>
              <a:gd name="connsiteX1" fmla="*/ 0 w 614164"/>
              <a:gd name="connsiteY1" fmla="*/ 2756031 h 2756031"/>
              <a:gd name="connsiteX2" fmla="*/ 614164 w 614164"/>
              <a:gd name="connsiteY2" fmla="*/ 2756031 h 2756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14164" h="2756031">
                <a:moveTo>
                  <a:pt x="379524" y="0"/>
                </a:moveTo>
                <a:lnTo>
                  <a:pt x="0" y="2756031"/>
                </a:lnTo>
                <a:lnTo>
                  <a:pt x="614164" y="2756031"/>
                </a:lnTo>
                <a:close/>
              </a:path>
            </a:pathLst>
          </a:custGeom>
          <a:solidFill>
            <a:srgbClr val="009F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DA8CA9DB-B794-428D-9ECF-D4872FBA5C4C}"/>
              </a:ext>
            </a:extLst>
          </p:cNvPr>
          <p:cNvGrpSpPr/>
          <p:nvPr userDrawn="1"/>
        </p:nvGrpSpPr>
        <p:grpSpPr>
          <a:xfrm>
            <a:off x="-134707" y="-72828"/>
            <a:ext cx="2658992" cy="5335244"/>
            <a:chOff x="-134707" y="-72828"/>
            <a:chExt cx="2658992" cy="5335244"/>
          </a:xfrm>
          <a:solidFill>
            <a:schemeClr val="bg2">
              <a:alpha val="10000"/>
            </a:schemeClr>
          </a:solidFill>
        </p:grpSpPr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81E41836-E956-4188-9AAC-A83AE8900453}"/>
                </a:ext>
              </a:extLst>
            </p:cNvPr>
            <p:cNvSpPr/>
            <p:nvPr/>
          </p:nvSpPr>
          <p:spPr>
            <a:xfrm rot="8716295">
              <a:off x="1460344" y="348006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6217F1CC-5E84-40FC-88E7-C42A2398F84B}"/>
                </a:ext>
              </a:extLst>
            </p:cNvPr>
            <p:cNvSpPr/>
            <p:nvPr/>
          </p:nvSpPr>
          <p:spPr>
            <a:xfrm rot="8716295">
              <a:off x="1595642" y="352432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B80A1B59-7F4C-4E95-8CB7-0AACC6C05627}"/>
                </a:ext>
              </a:extLst>
            </p:cNvPr>
            <p:cNvSpPr/>
            <p:nvPr/>
          </p:nvSpPr>
          <p:spPr>
            <a:xfrm rot="8716295">
              <a:off x="1527760" y="339373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8728A690-34B9-4DFF-8734-9F6EBD35EBC5}"/>
                </a:ext>
              </a:extLst>
            </p:cNvPr>
            <p:cNvSpPr/>
            <p:nvPr/>
          </p:nvSpPr>
          <p:spPr>
            <a:xfrm rot="8716295">
              <a:off x="1290473" y="361408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2927191B-5C8D-4149-8DBA-718546C29906}"/>
                </a:ext>
              </a:extLst>
            </p:cNvPr>
            <p:cNvSpPr/>
            <p:nvPr/>
          </p:nvSpPr>
          <p:spPr>
            <a:xfrm rot="8716295">
              <a:off x="1101427" y="329824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375566C6-9E02-4DD8-8C3B-267A6C61A667}"/>
                </a:ext>
              </a:extLst>
            </p:cNvPr>
            <p:cNvSpPr/>
            <p:nvPr/>
          </p:nvSpPr>
          <p:spPr>
            <a:xfrm rot="8716295">
              <a:off x="1083185" y="3088198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1A3C2C2D-7CBE-4F9B-8B8B-959B1D778E3E}"/>
                </a:ext>
              </a:extLst>
            </p:cNvPr>
            <p:cNvSpPr/>
            <p:nvPr/>
          </p:nvSpPr>
          <p:spPr>
            <a:xfrm rot="8716295">
              <a:off x="1426961" y="367606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8EB673A3-36B5-4724-AE91-A9B8454C1396}"/>
                </a:ext>
              </a:extLst>
            </p:cNvPr>
            <p:cNvSpPr/>
            <p:nvPr/>
          </p:nvSpPr>
          <p:spPr>
            <a:xfrm rot="8716295">
              <a:off x="1897908" y="310145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F8EEA06C-B620-4C52-ACA9-B6AC8852992A}"/>
                </a:ext>
              </a:extLst>
            </p:cNvPr>
            <p:cNvSpPr/>
            <p:nvPr/>
          </p:nvSpPr>
          <p:spPr>
            <a:xfrm rot="8716295">
              <a:off x="2028620" y="3176625"/>
              <a:ext cx="305088" cy="336622"/>
            </a:xfrm>
            <a:custGeom>
              <a:avLst/>
              <a:gdLst>
                <a:gd name="connsiteX0" fmla="*/ 211294 w 305088"/>
                <a:gd name="connsiteY0" fmla="*/ 107197 h 336622"/>
                <a:gd name="connsiteX1" fmla="*/ 211294 w 305088"/>
                <a:gd name="connsiteY1" fmla="*/ 82369 h 336622"/>
                <a:gd name="connsiteX2" fmla="*/ 211017 w 305088"/>
                <a:gd name="connsiteY2" fmla="*/ 81498 h 336622"/>
                <a:gd name="connsiteX3" fmla="*/ 278425 w 305088"/>
                <a:gd name="connsiteY3" fmla="*/ 0 h 336622"/>
                <a:gd name="connsiteX4" fmla="*/ 297297 w 305088"/>
                <a:gd name="connsiteY4" fmla="*/ 35535 h 336622"/>
                <a:gd name="connsiteX5" fmla="*/ 305088 w 305088"/>
                <a:gd name="connsiteY5" fmla="*/ 92713 h 336622"/>
                <a:gd name="connsiteX6" fmla="*/ 305088 w 305088"/>
                <a:gd name="connsiteY6" fmla="*/ 101679 h 336622"/>
                <a:gd name="connsiteX7" fmla="*/ 0 w 305088"/>
                <a:gd name="connsiteY7" fmla="*/ 336622 h 336622"/>
                <a:gd name="connsiteX8" fmla="*/ 79568 w 305088"/>
                <a:gd name="connsiteY8" fmla="*/ 240423 h 336622"/>
                <a:gd name="connsiteX9" fmla="*/ 79568 w 305088"/>
                <a:gd name="connsiteY9" fmla="*/ 282372 h 33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5088" h="336622">
                  <a:moveTo>
                    <a:pt x="211294" y="107197"/>
                  </a:moveTo>
                  <a:lnTo>
                    <a:pt x="211294" y="82369"/>
                  </a:lnTo>
                  <a:lnTo>
                    <a:pt x="211017" y="81498"/>
                  </a:lnTo>
                  <a:lnTo>
                    <a:pt x="278425" y="0"/>
                  </a:lnTo>
                  <a:lnTo>
                    <a:pt x="297297" y="35535"/>
                  </a:lnTo>
                  <a:cubicBezTo>
                    <a:pt x="302416" y="52195"/>
                    <a:pt x="305088" y="71334"/>
                    <a:pt x="305088" y="92713"/>
                  </a:cubicBezTo>
                  <a:lnTo>
                    <a:pt x="305088" y="101679"/>
                  </a:lnTo>
                  <a:close/>
                  <a:moveTo>
                    <a:pt x="0" y="336622"/>
                  </a:moveTo>
                  <a:lnTo>
                    <a:pt x="79568" y="240423"/>
                  </a:lnTo>
                  <a:lnTo>
                    <a:pt x="79568" y="28237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84C08685-C991-44FD-898B-8BF95960C6B9}"/>
                </a:ext>
              </a:extLst>
            </p:cNvPr>
            <p:cNvSpPr/>
            <p:nvPr/>
          </p:nvSpPr>
          <p:spPr>
            <a:xfrm rot="8716295">
              <a:off x="1728037" y="323546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75F06F9A-B5F6-494A-BA46-78E41263CC81}"/>
                </a:ext>
              </a:extLst>
            </p:cNvPr>
            <p:cNvSpPr/>
            <p:nvPr/>
          </p:nvSpPr>
          <p:spPr>
            <a:xfrm rot="8716295">
              <a:off x="1538992" y="291963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CE3913D0-3ECC-49C2-BFCE-2E22945EB24B}"/>
                </a:ext>
              </a:extLst>
            </p:cNvPr>
            <p:cNvSpPr/>
            <p:nvPr/>
          </p:nvSpPr>
          <p:spPr>
            <a:xfrm rot="8716295">
              <a:off x="1864525" y="329745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ACF63173-E092-4F8A-A29A-250C09066948}"/>
                </a:ext>
              </a:extLst>
            </p:cNvPr>
            <p:cNvSpPr/>
            <p:nvPr/>
          </p:nvSpPr>
          <p:spPr>
            <a:xfrm rot="8716295">
              <a:off x="1499078" y="307102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7EFA26CA-A39B-4E8B-847D-F85F8518030F}"/>
                </a:ext>
              </a:extLst>
            </p:cNvPr>
            <p:cNvSpPr/>
            <p:nvPr/>
          </p:nvSpPr>
          <p:spPr>
            <a:xfrm rot="7484129">
              <a:off x="2004987" y="3639772"/>
              <a:ext cx="221889" cy="221665"/>
            </a:xfrm>
            <a:custGeom>
              <a:avLst/>
              <a:gdLst>
                <a:gd name="connsiteX0" fmla="*/ 206330 w 221889"/>
                <a:gd name="connsiteY0" fmla="*/ 8936 h 221665"/>
                <a:gd name="connsiteX1" fmla="*/ 221889 w 221889"/>
                <a:gd name="connsiteY1" fmla="*/ 0 h 221665"/>
                <a:gd name="connsiteX2" fmla="*/ 221889 w 221889"/>
                <a:gd name="connsiteY2" fmla="*/ 8936 h 221665"/>
                <a:gd name="connsiteX3" fmla="*/ 50650 w 221889"/>
                <a:gd name="connsiteY3" fmla="*/ 221665 h 221665"/>
                <a:gd name="connsiteX4" fmla="*/ 0 w 221889"/>
                <a:gd name="connsiteY4" fmla="*/ 127433 h 221665"/>
                <a:gd name="connsiteX5" fmla="*/ 103511 w 221889"/>
                <a:gd name="connsiteY5" fmla="*/ 67986 h 221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1889" h="221665">
                  <a:moveTo>
                    <a:pt x="206330" y="8936"/>
                  </a:moveTo>
                  <a:lnTo>
                    <a:pt x="221889" y="0"/>
                  </a:lnTo>
                  <a:lnTo>
                    <a:pt x="221889" y="8936"/>
                  </a:lnTo>
                  <a:close/>
                  <a:moveTo>
                    <a:pt x="50650" y="221665"/>
                  </a:moveTo>
                  <a:lnTo>
                    <a:pt x="0" y="127433"/>
                  </a:lnTo>
                  <a:lnTo>
                    <a:pt x="103511" y="6798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54CB42FE-32B8-4C2C-A4AB-C4F8B84705EC}"/>
                </a:ext>
              </a:extLst>
            </p:cNvPr>
            <p:cNvSpPr/>
            <p:nvPr/>
          </p:nvSpPr>
          <p:spPr>
            <a:xfrm rot="8716295">
              <a:off x="2016311" y="313524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B97467BE-761E-4E11-AD12-792548131E9F}"/>
                </a:ext>
              </a:extLst>
            </p:cNvPr>
            <p:cNvSpPr/>
            <p:nvPr/>
          </p:nvSpPr>
          <p:spPr>
            <a:xfrm rot="8716295">
              <a:off x="1796861" y="4478944"/>
              <a:ext cx="215176" cy="351729"/>
            </a:xfrm>
            <a:custGeom>
              <a:avLst/>
              <a:gdLst>
                <a:gd name="connsiteX0" fmla="*/ 122761 w 215176"/>
                <a:gd name="connsiteY0" fmla="*/ 351729 h 351729"/>
                <a:gd name="connsiteX1" fmla="*/ 122761 w 215176"/>
                <a:gd name="connsiteY1" fmla="*/ 105519 h 351729"/>
                <a:gd name="connsiteX2" fmla="*/ 122761 w 215176"/>
                <a:gd name="connsiteY2" fmla="*/ 99312 h 351729"/>
                <a:gd name="connsiteX3" fmla="*/ 91726 w 215176"/>
                <a:gd name="connsiteY3" fmla="*/ 75863 h 351729"/>
                <a:gd name="connsiteX4" fmla="*/ 0 w 215176"/>
                <a:gd name="connsiteY4" fmla="*/ 75863 h 351729"/>
                <a:gd name="connsiteX5" fmla="*/ 0 w 215176"/>
                <a:gd name="connsiteY5" fmla="*/ 31564 h 351729"/>
                <a:gd name="connsiteX6" fmla="*/ 26107 w 215176"/>
                <a:gd name="connsiteY6" fmla="*/ 0 h 351729"/>
                <a:gd name="connsiteX7" fmla="*/ 128968 w 215176"/>
                <a:gd name="connsiteY7" fmla="*/ 0 h 351729"/>
                <a:gd name="connsiteX8" fmla="*/ 215176 w 215176"/>
                <a:gd name="connsiteY8" fmla="*/ 75863 h 351729"/>
                <a:gd name="connsiteX9" fmla="*/ 215176 w 215176"/>
                <a:gd name="connsiteY9" fmla="*/ 315177 h 351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5176" h="351729">
                  <a:moveTo>
                    <a:pt x="122761" y="35172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31564"/>
                  </a:lnTo>
                  <a:lnTo>
                    <a:pt x="26107" y="0"/>
                  </a:lnTo>
                  <a:lnTo>
                    <a:pt x="128968" y="0"/>
                  </a:lnTo>
                  <a:cubicBezTo>
                    <a:pt x="184831" y="0"/>
                    <a:pt x="215176" y="24139"/>
                    <a:pt x="215176" y="75863"/>
                  </a:cubicBezTo>
                  <a:lnTo>
                    <a:pt x="215176" y="3151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8C358B06-CFB8-4D7E-B58B-64076A590B10}"/>
                </a:ext>
              </a:extLst>
            </p:cNvPr>
            <p:cNvSpPr/>
            <p:nvPr/>
          </p:nvSpPr>
          <p:spPr>
            <a:xfrm rot="8716295">
              <a:off x="1938756" y="4602084"/>
              <a:ext cx="253340" cy="284725"/>
            </a:xfrm>
            <a:custGeom>
              <a:avLst/>
              <a:gdLst>
                <a:gd name="connsiteX0" fmla="*/ 160632 w 253340"/>
                <a:gd name="connsiteY0" fmla="*/ 90518 h 284725"/>
                <a:gd name="connsiteX1" fmla="*/ 235501 w 253340"/>
                <a:gd name="connsiteY1" fmla="*/ 0 h 284725"/>
                <a:gd name="connsiteX2" fmla="*/ 245549 w 253340"/>
                <a:gd name="connsiteY2" fmla="*/ 18921 h 284725"/>
                <a:gd name="connsiteX3" fmla="*/ 253340 w 253340"/>
                <a:gd name="connsiteY3" fmla="*/ 76098 h 284725"/>
                <a:gd name="connsiteX4" fmla="*/ 253340 w 253340"/>
                <a:gd name="connsiteY4" fmla="*/ 85064 h 284725"/>
                <a:gd name="connsiteX5" fmla="*/ 0 w 253340"/>
                <a:gd name="connsiteY5" fmla="*/ 284725 h 284725"/>
                <a:gd name="connsiteX6" fmla="*/ 27820 w 253340"/>
                <a:gd name="connsiteY6" fmla="*/ 251090 h 284725"/>
                <a:gd name="connsiteX7" fmla="*/ 27820 w 253340"/>
                <a:gd name="connsiteY7" fmla="*/ 265757 h 28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3340" h="284725">
                  <a:moveTo>
                    <a:pt x="160632" y="90518"/>
                  </a:moveTo>
                  <a:lnTo>
                    <a:pt x="235501" y="0"/>
                  </a:lnTo>
                  <a:lnTo>
                    <a:pt x="245549" y="18921"/>
                  </a:lnTo>
                  <a:cubicBezTo>
                    <a:pt x="250668" y="35581"/>
                    <a:pt x="253340" y="54719"/>
                    <a:pt x="253340" y="76098"/>
                  </a:cubicBezTo>
                  <a:lnTo>
                    <a:pt x="253340" y="85064"/>
                  </a:lnTo>
                  <a:close/>
                  <a:moveTo>
                    <a:pt x="0" y="284725"/>
                  </a:moveTo>
                  <a:lnTo>
                    <a:pt x="27820" y="251090"/>
                  </a:lnTo>
                  <a:lnTo>
                    <a:pt x="27820" y="26575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55465226-9705-450D-9333-C6F18EA9DA5B}"/>
                </a:ext>
              </a:extLst>
            </p:cNvPr>
            <p:cNvSpPr/>
            <p:nvPr/>
          </p:nvSpPr>
          <p:spPr>
            <a:xfrm rot="8716295">
              <a:off x="1865533" y="439222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14393A34-234C-4F82-B937-651BE2C2EB26}"/>
                </a:ext>
              </a:extLst>
            </p:cNvPr>
            <p:cNvSpPr/>
            <p:nvPr/>
          </p:nvSpPr>
          <p:spPr>
            <a:xfrm rot="8716295">
              <a:off x="1628246" y="461256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C8A075BE-A4F2-4F84-B522-C6E43EFD2240}"/>
                </a:ext>
              </a:extLst>
            </p:cNvPr>
            <p:cNvSpPr/>
            <p:nvPr/>
          </p:nvSpPr>
          <p:spPr>
            <a:xfrm rot="8716295">
              <a:off x="1439200" y="42967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56AB483C-9DB6-4B2C-B13B-6356C19C1FBB}"/>
                </a:ext>
              </a:extLst>
            </p:cNvPr>
            <p:cNvSpPr/>
            <p:nvPr/>
          </p:nvSpPr>
          <p:spPr>
            <a:xfrm rot="8716295">
              <a:off x="1420958" y="408668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AFF52EFA-F302-42BC-851E-3ECAD5E2BCCE}"/>
                </a:ext>
              </a:extLst>
            </p:cNvPr>
            <p:cNvSpPr/>
            <p:nvPr/>
          </p:nvSpPr>
          <p:spPr>
            <a:xfrm rot="8716295">
              <a:off x="1764734" y="467454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DD8C6387-B92F-4AE3-84AA-9699909C3151}"/>
                </a:ext>
              </a:extLst>
            </p:cNvPr>
            <p:cNvSpPr/>
            <p:nvPr/>
          </p:nvSpPr>
          <p:spPr>
            <a:xfrm rot="8716295">
              <a:off x="2058111" y="4234218"/>
              <a:ext cx="77302" cy="80483"/>
            </a:xfrm>
            <a:custGeom>
              <a:avLst/>
              <a:gdLst>
                <a:gd name="connsiteX0" fmla="*/ 2300 w 77302"/>
                <a:gd name="connsiteY0" fmla="*/ 68069 h 80483"/>
                <a:gd name="connsiteX1" fmla="*/ 0 w 77302"/>
                <a:gd name="connsiteY1" fmla="*/ 62622 h 80483"/>
                <a:gd name="connsiteX2" fmla="*/ 51796 w 77302"/>
                <a:gd name="connsiteY2" fmla="*/ 0 h 80483"/>
                <a:gd name="connsiteX3" fmla="*/ 64371 w 77302"/>
                <a:gd name="connsiteY3" fmla="*/ 5309 h 80483"/>
                <a:gd name="connsiteX4" fmla="*/ 64371 w 77302"/>
                <a:gd name="connsiteY4" fmla="*/ 67380 h 80483"/>
                <a:gd name="connsiteX5" fmla="*/ 33335 w 77302"/>
                <a:gd name="connsiteY5" fmla="*/ 80483 h 80483"/>
                <a:gd name="connsiteX6" fmla="*/ 2300 w 77302"/>
                <a:gd name="connsiteY6" fmla="*/ 68069 h 80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7302" h="80483">
                  <a:moveTo>
                    <a:pt x="2300" y="68069"/>
                  </a:moveTo>
                  <a:lnTo>
                    <a:pt x="0" y="62622"/>
                  </a:lnTo>
                  <a:lnTo>
                    <a:pt x="51796" y="0"/>
                  </a:lnTo>
                  <a:lnTo>
                    <a:pt x="64371" y="5309"/>
                  </a:lnTo>
                  <a:cubicBezTo>
                    <a:pt x="81612" y="21861"/>
                    <a:pt x="81613" y="50138"/>
                    <a:pt x="64371" y="67380"/>
                  </a:cubicBezTo>
                  <a:cubicBezTo>
                    <a:pt x="56095" y="75656"/>
                    <a:pt x="45060" y="80483"/>
                    <a:pt x="33335" y="80483"/>
                  </a:cubicBezTo>
                  <a:cubicBezTo>
                    <a:pt x="21611" y="80483"/>
                    <a:pt x="10576" y="76345"/>
                    <a:pt x="2300" y="6806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7D76A85F-9EC7-4610-8B93-DADD647681CA}"/>
                </a:ext>
              </a:extLst>
            </p:cNvPr>
            <p:cNvSpPr/>
            <p:nvPr/>
          </p:nvSpPr>
          <p:spPr>
            <a:xfrm rot="8716295">
              <a:off x="1876235" y="3938134"/>
              <a:ext cx="237808" cy="296463"/>
            </a:xfrm>
            <a:custGeom>
              <a:avLst/>
              <a:gdLst>
                <a:gd name="connsiteX0" fmla="*/ 66569 w 237808"/>
                <a:gd name="connsiteY0" fmla="*/ 296463 h 296463"/>
                <a:gd name="connsiteX1" fmla="*/ 1694 w 237808"/>
                <a:gd name="connsiteY1" fmla="*/ 175766 h 296463"/>
                <a:gd name="connsiteX2" fmla="*/ 34886 w 237808"/>
                <a:gd name="connsiteY2" fmla="*/ 83734 h 296463"/>
                <a:gd name="connsiteX3" fmla="*/ 0 w 237808"/>
                <a:gd name="connsiteY3" fmla="*/ 83734 h 296463"/>
                <a:gd name="connsiteX4" fmla="*/ 69258 w 237808"/>
                <a:gd name="connsiteY4" fmla="*/ 0 h 296463"/>
                <a:gd name="connsiteX5" fmla="*/ 237808 w 237808"/>
                <a:gd name="connsiteY5" fmla="*/ 0 h 296463"/>
                <a:gd name="connsiteX6" fmla="*/ 237808 w 237808"/>
                <a:gd name="connsiteY6" fmla="*/ 83734 h 296463"/>
                <a:gd name="connsiteX7" fmla="*/ 139741 w 237808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7808" h="296463">
                  <a:moveTo>
                    <a:pt x="66569" y="296463"/>
                  </a:moveTo>
                  <a:lnTo>
                    <a:pt x="1694" y="175766"/>
                  </a:lnTo>
                  <a:lnTo>
                    <a:pt x="34886" y="83734"/>
                  </a:lnTo>
                  <a:lnTo>
                    <a:pt x="0" y="83734"/>
                  </a:lnTo>
                  <a:lnTo>
                    <a:pt x="69258" y="0"/>
                  </a:lnTo>
                  <a:lnTo>
                    <a:pt x="237808" y="0"/>
                  </a:lnTo>
                  <a:lnTo>
                    <a:pt x="237808" y="83734"/>
                  </a:lnTo>
                  <a:lnTo>
                    <a:pt x="139741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1D9CF1AF-A09A-459A-A4AB-D88D1905EA6F}"/>
                </a:ext>
              </a:extLst>
            </p:cNvPr>
            <p:cNvSpPr/>
            <p:nvPr/>
          </p:nvSpPr>
          <p:spPr>
            <a:xfrm rot="8716295">
              <a:off x="1836851" y="406950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33B04AAC-330F-42F9-9C1F-3BB73DEAD114}"/>
                </a:ext>
              </a:extLst>
            </p:cNvPr>
            <p:cNvSpPr/>
            <p:nvPr/>
          </p:nvSpPr>
          <p:spPr>
            <a:xfrm rot="8716295">
              <a:off x="1827832" y="5057264"/>
              <a:ext cx="219410" cy="140851"/>
            </a:xfrm>
            <a:custGeom>
              <a:avLst/>
              <a:gdLst>
                <a:gd name="connsiteX0" fmla="*/ 27373 w 219410"/>
                <a:gd name="connsiteY0" fmla="*/ 96063 h 140851"/>
                <a:gd name="connsiteX1" fmla="*/ 1953 w 219410"/>
                <a:gd name="connsiteY1" fmla="*/ 53941 h 140851"/>
                <a:gd name="connsiteX2" fmla="*/ 0 w 219410"/>
                <a:gd name="connsiteY2" fmla="*/ 43352 h 140851"/>
                <a:gd name="connsiteX3" fmla="*/ 35858 w 219410"/>
                <a:gd name="connsiteY3" fmla="*/ 0 h 140851"/>
                <a:gd name="connsiteX4" fmla="*/ 219410 w 219410"/>
                <a:gd name="connsiteY4" fmla="*/ 127232 h 140851"/>
                <a:gd name="connsiteX5" fmla="*/ 200448 w 219410"/>
                <a:gd name="connsiteY5" fmla="*/ 132296 h 140851"/>
                <a:gd name="connsiteX6" fmla="*/ 136904 w 219410"/>
                <a:gd name="connsiteY6" fmla="*/ 140588 h 140851"/>
                <a:gd name="connsiteX7" fmla="*/ 27373 w 219410"/>
                <a:gd name="connsiteY7" fmla="*/ 96063 h 140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9410" h="140851">
                  <a:moveTo>
                    <a:pt x="27373" y="96063"/>
                  </a:moveTo>
                  <a:cubicBezTo>
                    <a:pt x="16020" y="85043"/>
                    <a:pt x="7797" y="71018"/>
                    <a:pt x="1953" y="53941"/>
                  </a:cubicBezTo>
                  <a:lnTo>
                    <a:pt x="0" y="43352"/>
                  </a:lnTo>
                  <a:lnTo>
                    <a:pt x="35858" y="0"/>
                  </a:lnTo>
                  <a:lnTo>
                    <a:pt x="219410" y="127232"/>
                  </a:lnTo>
                  <a:lnTo>
                    <a:pt x="200448" y="132296"/>
                  </a:lnTo>
                  <a:cubicBezTo>
                    <a:pt x="176976" y="136859"/>
                    <a:pt x="155381" y="139475"/>
                    <a:pt x="136904" y="140588"/>
                  </a:cubicBezTo>
                  <a:cubicBezTo>
                    <a:pt x="95942" y="143260"/>
                    <a:pt x="55870" y="125450"/>
                    <a:pt x="27373" y="960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24E0BB53-945A-402E-838B-93267E59D513}"/>
                </a:ext>
              </a:extLst>
            </p:cNvPr>
            <p:cNvSpPr/>
            <p:nvPr/>
          </p:nvSpPr>
          <p:spPr>
            <a:xfrm rot="8716295">
              <a:off x="1125067" y="247965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6C251D8C-A5D9-4ECA-AD3B-1A05AB92D036}"/>
                </a:ext>
              </a:extLst>
            </p:cNvPr>
            <p:cNvSpPr/>
            <p:nvPr/>
          </p:nvSpPr>
          <p:spPr>
            <a:xfrm rot="8716295">
              <a:off x="1260365" y="252391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8B96FE87-2D5C-4688-844D-4E74C72A4B6C}"/>
                </a:ext>
              </a:extLst>
            </p:cNvPr>
            <p:cNvSpPr/>
            <p:nvPr/>
          </p:nvSpPr>
          <p:spPr>
            <a:xfrm rot="8716295">
              <a:off x="1192483" y="2393326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582D3CFC-4736-4E25-B369-A4CE70A870B5}"/>
                </a:ext>
              </a:extLst>
            </p:cNvPr>
            <p:cNvSpPr/>
            <p:nvPr/>
          </p:nvSpPr>
          <p:spPr>
            <a:xfrm rot="8716295">
              <a:off x="955196" y="261367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005E4ED8-B75C-4EF1-8BE9-2F684ADC8702}"/>
                </a:ext>
              </a:extLst>
            </p:cNvPr>
            <p:cNvSpPr/>
            <p:nvPr/>
          </p:nvSpPr>
          <p:spPr>
            <a:xfrm rot="8716295">
              <a:off x="766149" y="229783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AFABF28F-6E8A-4957-B94B-921C1E69A440}"/>
                </a:ext>
              </a:extLst>
            </p:cNvPr>
            <p:cNvSpPr/>
            <p:nvPr/>
          </p:nvSpPr>
          <p:spPr>
            <a:xfrm rot="8716295">
              <a:off x="747908" y="2087785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A9A47BF0-B3E6-4CA8-B1F1-FEC766FA52E5}"/>
                </a:ext>
              </a:extLst>
            </p:cNvPr>
            <p:cNvSpPr/>
            <p:nvPr/>
          </p:nvSpPr>
          <p:spPr>
            <a:xfrm rot="8716295">
              <a:off x="1091684" y="2675653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E9996FB1-6163-4708-89D3-37E7BECE1764}"/>
                </a:ext>
              </a:extLst>
            </p:cNvPr>
            <p:cNvSpPr/>
            <p:nvPr/>
          </p:nvSpPr>
          <p:spPr>
            <a:xfrm rot="8716295">
              <a:off x="1562630" y="210103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A1CE2F3B-6619-4775-85F0-1C1F8C974630}"/>
                </a:ext>
              </a:extLst>
            </p:cNvPr>
            <p:cNvSpPr/>
            <p:nvPr/>
          </p:nvSpPr>
          <p:spPr>
            <a:xfrm rot="8716295">
              <a:off x="1697929" y="214529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8284C668-CF6A-429F-A20E-B2542F51FB46}"/>
                </a:ext>
              </a:extLst>
            </p:cNvPr>
            <p:cNvSpPr/>
            <p:nvPr/>
          </p:nvSpPr>
          <p:spPr>
            <a:xfrm rot="8716295">
              <a:off x="1392759" y="223505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AA01786E-CED8-47C1-98FC-809C875C8CD9}"/>
                </a:ext>
              </a:extLst>
            </p:cNvPr>
            <p:cNvSpPr/>
            <p:nvPr/>
          </p:nvSpPr>
          <p:spPr>
            <a:xfrm rot="8716295">
              <a:off x="1203715" y="191921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2425A90E-FE44-45AD-B145-151A84FF9C22}"/>
                </a:ext>
              </a:extLst>
            </p:cNvPr>
            <p:cNvSpPr/>
            <p:nvPr/>
          </p:nvSpPr>
          <p:spPr>
            <a:xfrm rot="8716295">
              <a:off x="1529248" y="2297037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C0E93116-88EE-4D50-8215-854EE6AEF62E}"/>
                </a:ext>
              </a:extLst>
            </p:cNvPr>
            <p:cNvSpPr/>
            <p:nvPr/>
          </p:nvSpPr>
          <p:spPr>
            <a:xfrm rot="8716295">
              <a:off x="1163801" y="2070611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97447593-0A4C-444A-8AD1-F14699136B1C}"/>
                </a:ext>
              </a:extLst>
            </p:cNvPr>
            <p:cNvSpPr/>
            <p:nvPr/>
          </p:nvSpPr>
          <p:spPr>
            <a:xfrm rot="7484129">
              <a:off x="1688065" y="258665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E8FA1E58-23E1-4418-9B7C-2F5C67C32BDC}"/>
                </a:ext>
              </a:extLst>
            </p:cNvPr>
            <p:cNvSpPr/>
            <p:nvPr/>
          </p:nvSpPr>
          <p:spPr>
            <a:xfrm rot="13089394">
              <a:off x="1845023" y="2531236"/>
              <a:ext cx="412568" cy="496925"/>
            </a:xfrm>
            <a:custGeom>
              <a:avLst/>
              <a:gdLst>
                <a:gd name="connsiteX0" fmla="*/ 412568 w 412568"/>
                <a:gd name="connsiteY0" fmla="*/ 390854 h 496925"/>
                <a:gd name="connsiteX1" fmla="*/ 198232 w 412568"/>
                <a:gd name="connsiteY1" fmla="*/ 489977 h 496925"/>
                <a:gd name="connsiteX2" fmla="*/ 144991 w 412568"/>
                <a:gd name="connsiteY2" fmla="*/ 496925 h 496925"/>
                <a:gd name="connsiteX3" fmla="*/ 0 w 412568"/>
                <a:gd name="connsiteY3" fmla="*/ 276116 h 496925"/>
                <a:gd name="connsiteX4" fmla="*/ 0 w 412568"/>
                <a:gd name="connsiteY4" fmla="*/ 57626 h 496925"/>
                <a:gd name="connsiteX5" fmla="*/ 111075 w 412568"/>
                <a:gd name="connsiteY5" fmla="*/ 0 h 496925"/>
                <a:gd name="connsiteX6" fmla="*/ 112747 w 412568"/>
                <a:gd name="connsiteY6" fmla="*/ 233009 h 496925"/>
                <a:gd name="connsiteX7" fmla="*/ 132789 w 412568"/>
                <a:gd name="connsiteY7" fmla="*/ 371646 h 496925"/>
                <a:gd name="connsiteX8" fmla="*/ 233008 w 412568"/>
                <a:gd name="connsiteY8" fmla="*/ 426766 h 496925"/>
                <a:gd name="connsiteX9" fmla="*/ 308173 w 412568"/>
                <a:gd name="connsiteY9" fmla="*/ 413403 h 496925"/>
                <a:gd name="connsiteX10" fmla="*/ 410897 w 412568"/>
                <a:gd name="connsiteY10" fmla="*/ 371646 h 496925"/>
                <a:gd name="connsiteX11" fmla="*/ 412568 w 412568"/>
                <a:gd name="connsiteY11" fmla="*/ 382502 h 496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2568" h="496925">
                  <a:moveTo>
                    <a:pt x="412568" y="390854"/>
                  </a:moveTo>
                  <a:cubicBezTo>
                    <a:pt x="346173" y="447854"/>
                    <a:pt x="264275" y="477136"/>
                    <a:pt x="198232" y="489977"/>
                  </a:cubicBezTo>
                  <a:lnTo>
                    <a:pt x="144991" y="496925"/>
                  </a:lnTo>
                  <a:lnTo>
                    <a:pt x="0" y="276116"/>
                  </a:lnTo>
                  <a:lnTo>
                    <a:pt x="0" y="57626"/>
                  </a:lnTo>
                  <a:lnTo>
                    <a:pt x="111075" y="0"/>
                  </a:lnTo>
                  <a:lnTo>
                    <a:pt x="112747" y="233009"/>
                  </a:lnTo>
                  <a:cubicBezTo>
                    <a:pt x="110241" y="279778"/>
                    <a:pt x="117757" y="327382"/>
                    <a:pt x="132789" y="371646"/>
                  </a:cubicBezTo>
                  <a:cubicBezTo>
                    <a:pt x="146153" y="408393"/>
                    <a:pt x="180394" y="426766"/>
                    <a:pt x="233008" y="426766"/>
                  </a:cubicBezTo>
                  <a:cubicBezTo>
                    <a:pt x="258899" y="425930"/>
                    <a:pt x="283953" y="420919"/>
                    <a:pt x="308173" y="413403"/>
                  </a:cubicBezTo>
                  <a:cubicBezTo>
                    <a:pt x="343249" y="402546"/>
                    <a:pt x="377491" y="388349"/>
                    <a:pt x="410897" y="371646"/>
                  </a:cubicBezTo>
                  <a:cubicBezTo>
                    <a:pt x="411732" y="374986"/>
                    <a:pt x="412568" y="379161"/>
                    <a:pt x="412568" y="38250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18E16AF5-15DE-4CED-B67B-CF099D4DD885}"/>
                </a:ext>
              </a:extLst>
            </p:cNvPr>
            <p:cNvSpPr/>
            <p:nvPr/>
          </p:nvSpPr>
          <p:spPr>
            <a:xfrm rot="8716295">
              <a:off x="2147054" y="2332037"/>
              <a:ext cx="207668" cy="192886"/>
            </a:xfrm>
            <a:custGeom>
              <a:avLst/>
              <a:gdLst>
                <a:gd name="connsiteX0" fmla="*/ 0 w 207668"/>
                <a:gd name="connsiteY0" fmla="*/ 192886 h 192886"/>
                <a:gd name="connsiteX1" fmla="*/ 159539 w 207668"/>
                <a:gd name="connsiteY1" fmla="*/ 0 h 192886"/>
                <a:gd name="connsiteX2" fmla="*/ 181588 w 207668"/>
                <a:gd name="connsiteY2" fmla="*/ 5201 h 192886"/>
                <a:gd name="connsiteX3" fmla="*/ 207668 w 207668"/>
                <a:gd name="connsiteY3" fmla="*/ 59649 h 192886"/>
                <a:gd name="connsiteX4" fmla="*/ 160490 w 207668"/>
                <a:gd name="connsiteY4" fmla="*/ 123096 h 192886"/>
                <a:gd name="connsiteX5" fmla="*/ 161303 w 207668"/>
                <a:gd name="connsiteY5" fmla="*/ 123096 h 192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668" h="192886">
                  <a:moveTo>
                    <a:pt x="0" y="192886"/>
                  </a:moveTo>
                  <a:lnTo>
                    <a:pt x="159539" y="0"/>
                  </a:lnTo>
                  <a:lnTo>
                    <a:pt x="181588" y="5201"/>
                  </a:lnTo>
                  <a:cubicBezTo>
                    <a:pt x="201262" y="16029"/>
                    <a:pt x="207668" y="40127"/>
                    <a:pt x="207668" y="59649"/>
                  </a:cubicBezTo>
                  <a:cubicBezTo>
                    <a:pt x="205228" y="88119"/>
                    <a:pt x="186518" y="111708"/>
                    <a:pt x="160490" y="123096"/>
                  </a:cubicBezTo>
                  <a:lnTo>
                    <a:pt x="161303" y="1230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EE7EA580-766E-4570-A7DD-55A7181E9140}"/>
                </a:ext>
              </a:extLst>
            </p:cNvPr>
            <p:cNvSpPr/>
            <p:nvPr/>
          </p:nvSpPr>
          <p:spPr>
            <a:xfrm rot="8716295">
              <a:off x="2049197" y="208909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89C54D82-6DB7-45E9-8646-AF058AAE6AFE}"/>
                </a:ext>
              </a:extLst>
            </p:cNvPr>
            <p:cNvSpPr/>
            <p:nvPr/>
          </p:nvSpPr>
          <p:spPr>
            <a:xfrm rot="8716295">
              <a:off x="1681033" y="21348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350EA871-183D-437B-B28B-EF893E9A4930}"/>
                </a:ext>
              </a:extLst>
            </p:cNvPr>
            <p:cNvSpPr/>
            <p:nvPr/>
          </p:nvSpPr>
          <p:spPr>
            <a:xfrm rot="8716295">
              <a:off x="1949615" y="189381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7625BF35-EB3E-4083-8310-66A6ABEEBE81}"/>
                </a:ext>
              </a:extLst>
            </p:cNvPr>
            <p:cNvSpPr/>
            <p:nvPr/>
          </p:nvSpPr>
          <p:spPr>
            <a:xfrm rot="8716295">
              <a:off x="787294" y="148117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4A278F8F-FAFA-4D7A-877C-29D91BF541D4}"/>
                </a:ext>
              </a:extLst>
            </p:cNvPr>
            <p:cNvSpPr/>
            <p:nvPr/>
          </p:nvSpPr>
          <p:spPr>
            <a:xfrm rot="8716295">
              <a:off x="922592" y="152543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DB2610A3-31CF-45EF-B184-4657FD23CA44}"/>
                </a:ext>
              </a:extLst>
            </p:cNvPr>
            <p:cNvSpPr/>
            <p:nvPr/>
          </p:nvSpPr>
          <p:spPr>
            <a:xfrm rot="8716295">
              <a:off x="854710" y="1394843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2721DD24-E32D-474A-8AE8-CB1F5FEA63CC}"/>
                </a:ext>
              </a:extLst>
            </p:cNvPr>
            <p:cNvSpPr/>
            <p:nvPr/>
          </p:nvSpPr>
          <p:spPr>
            <a:xfrm rot="8716295">
              <a:off x="617423" y="161518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271ACC1B-5BC1-4C90-8744-187E477874EA}"/>
                </a:ext>
              </a:extLst>
            </p:cNvPr>
            <p:cNvSpPr/>
            <p:nvPr/>
          </p:nvSpPr>
          <p:spPr>
            <a:xfrm rot="8716295">
              <a:off x="428376" y="129935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09A9FE1D-6CB8-4187-8C52-59F1BA866B08}"/>
                </a:ext>
              </a:extLst>
            </p:cNvPr>
            <p:cNvSpPr/>
            <p:nvPr/>
          </p:nvSpPr>
          <p:spPr>
            <a:xfrm rot="8716295">
              <a:off x="410135" y="1089302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orme libre : forme 58">
              <a:extLst>
                <a:ext uri="{FF2B5EF4-FFF2-40B4-BE49-F238E27FC236}">
                  <a16:creationId xmlns:a16="http://schemas.microsoft.com/office/drawing/2014/main" id="{536CBB26-493E-4AF3-B817-10984C95D957}"/>
                </a:ext>
              </a:extLst>
            </p:cNvPr>
            <p:cNvSpPr/>
            <p:nvPr/>
          </p:nvSpPr>
          <p:spPr>
            <a:xfrm rot="8716295">
              <a:off x="753911" y="1677170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orme libre : forme 59">
              <a:extLst>
                <a:ext uri="{FF2B5EF4-FFF2-40B4-BE49-F238E27FC236}">
                  <a16:creationId xmlns:a16="http://schemas.microsoft.com/office/drawing/2014/main" id="{945CA62F-9E79-459F-9A9E-98D352B7F4FC}"/>
                </a:ext>
              </a:extLst>
            </p:cNvPr>
            <p:cNvSpPr/>
            <p:nvPr/>
          </p:nvSpPr>
          <p:spPr>
            <a:xfrm rot="8716295">
              <a:off x="1224858" y="1102556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orme libre : forme 60">
              <a:extLst>
                <a:ext uri="{FF2B5EF4-FFF2-40B4-BE49-F238E27FC236}">
                  <a16:creationId xmlns:a16="http://schemas.microsoft.com/office/drawing/2014/main" id="{369C3DB8-F103-4448-B156-2B184240310A}"/>
                </a:ext>
              </a:extLst>
            </p:cNvPr>
            <p:cNvSpPr/>
            <p:nvPr/>
          </p:nvSpPr>
          <p:spPr>
            <a:xfrm rot="8716295">
              <a:off x="1360156" y="1146815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orme libre : forme 61">
              <a:extLst>
                <a:ext uri="{FF2B5EF4-FFF2-40B4-BE49-F238E27FC236}">
                  <a16:creationId xmlns:a16="http://schemas.microsoft.com/office/drawing/2014/main" id="{18E1EF68-3C34-4AED-A042-F974F305FFA4}"/>
                </a:ext>
              </a:extLst>
            </p:cNvPr>
            <p:cNvSpPr/>
            <p:nvPr/>
          </p:nvSpPr>
          <p:spPr>
            <a:xfrm rot="8716295">
              <a:off x="1054986" y="123657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orme libre : forme 62">
              <a:extLst>
                <a:ext uri="{FF2B5EF4-FFF2-40B4-BE49-F238E27FC236}">
                  <a16:creationId xmlns:a16="http://schemas.microsoft.com/office/drawing/2014/main" id="{E6940BAB-7063-447D-9788-7A9EFB3FD540}"/>
                </a:ext>
              </a:extLst>
            </p:cNvPr>
            <p:cNvSpPr/>
            <p:nvPr/>
          </p:nvSpPr>
          <p:spPr>
            <a:xfrm rot="8716295">
              <a:off x="865942" y="92073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orme libre : forme 63">
              <a:extLst>
                <a:ext uri="{FF2B5EF4-FFF2-40B4-BE49-F238E27FC236}">
                  <a16:creationId xmlns:a16="http://schemas.microsoft.com/office/drawing/2014/main" id="{ACE5BF6F-DB4B-42E3-B1BA-145CDB9C3DF9}"/>
                </a:ext>
              </a:extLst>
            </p:cNvPr>
            <p:cNvSpPr/>
            <p:nvPr/>
          </p:nvSpPr>
          <p:spPr>
            <a:xfrm rot="8716295">
              <a:off x="1191475" y="1298554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orme libre : forme 64">
              <a:extLst>
                <a:ext uri="{FF2B5EF4-FFF2-40B4-BE49-F238E27FC236}">
                  <a16:creationId xmlns:a16="http://schemas.microsoft.com/office/drawing/2014/main" id="{652E743A-00B8-433E-B55D-34BA48EAC5CE}"/>
                </a:ext>
              </a:extLst>
            </p:cNvPr>
            <p:cNvSpPr/>
            <p:nvPr/>
          </p:nvSpPr>
          <p:spPr>
            <a:xfrm rot="8716295">
              <a:off x="826028" y="1072128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orme libre : forme 65">
              <a:extLst>
                <a:ext uri="{FF2B5EF4-FFF2-40B4-BE49-F238E27FC236}">
                  <a16:creationId xmlns:a16="http://schemas.microsoft.com/office/drawing/2014/main" id="{BACD1396-4989-4CCD-AB4F-6277B1FA025D}"/>
                </a:ext>
              </a:extLst>
            </p:cNvPr>
            <p:cNvSpPr/>
            <p:nvPr/>
          </p:nvSpPr>
          <p:spPr>
            <a:xfrm rot="7484129">
              <a:off x="1350292" y="158817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orme libre : forme 66">
              <a:extLst>
                <a:ext uri="{FF2B5EF4-FFF2-40B4-BE49-F238E27FC236}">
                  <a16:creationId xmlns:a16="http://schemas.microsoft.com/office/drawing/2014/main" id="{F1575DA2-DE7C-4BAF-AFB3-D8ACAD3FE8BB}"/>
                </a:ext>
              </a:extLst>
            </p:cNvPr>
            <p:cNvSpPr/>
            <p:nvPr/>
          </p:nvSpPr>
          <p:spPr>
            <a:xfrm rot="13089394">
              <a:off x="1508942" y="1537520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3D5C7C03-0DD7-4CE0-B323-2DBC8A33D724}"/>
                </a:ext>
              </a:extLst>
            </p:cNvPr>
            <p:cNvSpPr/>
            <p:nvPr/>
          </p:nvSpPr>
          <p:spPr>
            <a:xfrm rot="8716295">
              <a:off x="1789833" y="1247402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orme libre : forme 68">
              <a:extLst>
                <a:ext uri="{FF2B5EF4-FFF2-40B4-BE49-F238E27FC236}">
                  <a16:creationId xmlns:a16="http://schemas.microsoft.com/office/drawing/2014/main" id="{2A0940B5-3257-4C64-A206-488AFE286994}"/>
                </a:ext>
              </a:extLst>
            </p:cNvPr>
            <p:cNvSpPr/>
            <p:nvPr/>
          </p:nvSpPr>
          <p:spPr>
            <a:xfrm rot="8716295">
              <a:off x="1711424" y="109061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orme libre : forme 69">
              <a:extLst>
                <a:ext uri="{FF2B5EF4-FFF2-40B4-BE49-F238E27FC236}">
                  <a16:creationId xmlns:a16="http://schemas.microsoft.com/office/drawing/2014/main" id="{3166A607-68F9-4F3F-A5ED-4FA937BEECD1}"/>
                </a:ext>
              </a:extLst>
            </p:cNvPr>
            <p:cNvSpPr/>
            <p:nvPr/>
          </p:nvSpPr>
          <p:spPr>
            <a:xfrm rot="8716295">
              <a:off x="1343261" y="113635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orme libre : forme 70">
              <a:extLst>
                <a:ext uri="{FF2B5EF4-FFF2-40B4-BE49-F238E27FC236}">
                  <a16:creationId xmlns:a16="http://schemas.microsoft.com/office/drawing/2014/main" id="{E3E45D07-7F2E-45AC-8607-5306F45B7B5E}"/>
                </a:ext>
              </a:extLst>
            </p:cNvPr>
            <p:cNvSpPr/>
            <p:nvPr/>
          </p:nvSpPr>
          <p:spPr>
            <a:xfrm rot="8716295">
              <a:off x="1611842" y="89533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orme libre : forme 71">
              <a:extLst>
                <a:ext uri="{FF2B5EF4-FFF2-40B4-BE49-F238E27FC236}">
                  <a16:creationId xmlns:a16="http://schemas.microsoft.com/office/drawing/2014/main" id="{F61F2692-40B7-4A40-AE32-B2180297905C}"/>
                </a:ext>
              </a:extLst>
            </p:cNvPr>
            <p:cNvSpPr/>
            <p:nvPr/>
          </p:nvSpPr>
          <p:spPr>
            <a:xfrm rot="8716295">
              <a:off x="455920" y="47911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orme libre : forme 72">
              <a:extLst>
                <a:ext uri="{FF2B5EF4-FFF2-40B4-BE49-F238E27FC236}">
                  <a16:creationId xmlns:a16="http://schemas.microsoft.com/office/drawing/2014/main" id="{8D510AFD-E0B6-4C04-A231-06F0DA5461FE}"/>
                </a:ext>
              </a:extLst>
            </p:cNvPr>
            <p:cNvSpPr/>
            <p:nvPr/>
          </p:nvSpPr>
          <p:spPr>
            <a:xfrm rot="8716295">
              <a:off x="591219" y="52337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" name="Forme libre : forme 73">
              <a:extLst>
                <a:ext uri="{FF2B5EF4-FFF2-40B4-BE49-F238E27FC236}">
                  <a16:creationId xmlns:a16="http://schemas.microsoft.com/office/drawing/2014/main" id="{6B88DB4B-6413-485F-AD39-EF4AC1850A75}"/>
                </a:ext>
              </a:extLst>
            </p:cNvPr>
            <p:cNvSpPr/>
            <p:nvPr/>
          </p:nvSpPr>
          <p:spPr>
            <a:xfrm rot="8716295">
              <a:off x="523336" y="39278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" name="Forme libre : forme 74">
              <a:extLst>
                <a:ext uri="{FF2B5EF4-FFF2-40B4-BE49-F238E27FC236}">
                  <a16:creationId xmlns:a16="http://schemas.microsoft.com/office/drawing/2014/main" id="{985A4035-A707-4F38-A0C9-2533BF637BC9}"/>
                </a:ext>
              </a:extLst>
            </p:cNvPr>
            <p:cNvSpPr/>
            <p:nvPr/>
          </p:nvSpPr>
          <p:spPr>
            <a:xfrm rot="8716295">
              <a:off x="286049" y="6131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" name="Forme libre : forme 75">
              <a:extLst>
                <a:ext uri="{FF2B5EF4-FFF2-40B4-BE49-F238E27FC236}">
                  <a16:creationId xmlns:a16="http://schemas.microsoft.com/office/drawing/2014/main" id="{F8A46B91-F44C-4F7E-94A8-64349465DA46}"/>
                </a:ext>
              </a:extLst>
            </p:cNvPr>
            <p:cNvSpPr/>
            <p:nvPr/>
          </p:nvSpPr>
          <p:spPr>
            <a:xfrm rot="8716295">
              <a:off x="97003" y="2972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" name="Forme libre : forme 76">
              <a:extLst>
                <a:ext uri="{FF2B5EF4-FFF2-40B4-BE49-F238E27FC236}">
                  <a16:creationId xmlns:a16="http://schemas.microsoft.com/office/drawing/2014/main" id="{D98B2AD3-F200-4E21-B245-12CF6B31E044}"/>
                </a:ext>
              </a:extLst>
            </p:cNvPr>
            <p:cNvSpPr/>
            <p:nvPr/>
          </p:nvSpPr>
          <p:spPr>
            <a:xfrm rot="8716295">
              <a:off x="78761" y="87249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" name="Forme libre : forme 77">
              <a:extLst>
                <a:ext uri="{FF2B5EF4-FFF2-40B4-BE49-F238E27FC236}">
                  <a16:creationId xmlns:a16="http://schemas.microsoft.com/office/drawing/2014/main" id="{31F62124-299F-4960-8825-F200F77E89B1}"/>
                </a:ext>
              </a:extLst>
            </p:cNvPr>
            <p:cNvSpPr/>
            <p:nvPr/>
          </p:nvSpPr>
          <p:spPr>
            <a:xfrm rot="8716295">
              <a:off x="422537" y="67511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orme libre : forme 78">
              <a:extLst>
                <a:ext uri="{FF2B5EF4-FFF2-40B4-BE49-F238E27FC236}">
                  <a16:creationId xmlns:a16="http://schemas.microsoft.com/office/drawing/2014/main" id="{EE39F313-B670-444A-981C-E127C24D857F}"/>
                </a:ext>
              </a:extLst>
            </p:cNvPr>
            <p:cNvSpPr/>
            <p:nvPr/>
          </p:nvSpPr>
          <p:spPr>
            <a:xfrm rot="8716295">
              <a:off x="893484" y="10050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Forme libre : forme 79">
              <a:extLst>
                <a:ext uri="{FF2B5EF4-FFF2-40B4-BE49-F238E27FC236}">
                  <a16:creationId xmlns:a16="http://schemas.microsoft.com/office/drawing/2014/main" id="{9BFFA7AA-3FAD-4A4D-BF99-76B00FB2C288}"/>
                </a:ext>
              </a:extLst>
            </p:cNvPr>
            <p:cNvSpPr/>
            <p:nvPr/>
          </p:nvSpPr>
          <p:spPr>
            <a:xfrm rot="8716295">
              <a:off x="1028783" y="14476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" name="Forme libre : forme 80">
              <a:extLst>
                <a:ext uri="{FF2B5EF4-FFF2-40B4-BE49-F238E27FC236}">
                  <a16:creationId xmlns:a16="http://schemas.microsoft.com/office/drawing/2014/main" id="{1433DBAF-4AFA-4A86-A99F-428DB317C17F}"/>
                </a:ext>
              </a:extLst>
            </p:cNvPr>
            <p:cNvSpPr/>
            <p:nvPr/>
          </p:nvSpPr>
          <p:spPr>
            <a:xfrm rot="8716295">
              <a:off x="723613" y="23451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orme libre : forme 81">
              <a:extLst>
                <a:ext uri="{FF2B5EF4-FFF2-40B4-BE49-F238E27FC236}">
                  <a16:creationId xmlns:a16="http://schemas.microsoft.com/office/drawing/2014/main" id="{AF029D07-5D40-4341-9548-A67032BB1C77}"/>
                </a:ext>
              </a:extLst>
            </p:cNvPr>
            <p:cNvSpPr/>
            <p:nvPr/>
          </p:nvSpPr>
          <p:spPr>
            <a:xfrm rot="8716295">
              <a:off x="547803" y="-17289"/>
              <a:ext cx="308531" cy="226033"/>
            </a:xfrm>
            <a:custGeom>
              <a:avLst/>
              <a:gdLst>
                <a:gd name="connsiteX0" fmla="*/ 106716 w 203847"/>
                <a:gd name="connsiteY0" fmla="*/ 149340 h 149340"/>
                <a:gd name="connsiteX1" fmla="*/ 50038 w 203847"/>
                <a:gd name="connsiteY1" fmla="*/ 110053 h 149340"/>
                <a:gd name="connsiteX2" fmla="*/ 69777 w 203847"/>
                <a:gd name="connsiteY2" fmla="*/ 55323 h 149340"/>
                <a:gd name="connsiteX3" fmla="*/ 0 w 203847"/>
                <a:gd name="connsiteY3" fmla="*/ 55323 h 149340"/>
                <a:gd name="connsiteX4" fmla="*/ 0 w 203847"/>
                <a:gd name="connsiteY4" fmla="*/ 0 h 149340"/>
                <a:gd name="connsiteX5" fmla="*/ 203847 w 203847"/>
                <a:gd name="connsiteY5" fmla="*/ 0 h 149340"/>
                <a:gd name="connsiteX6" fmla="*/ 203847 w 203847"/>
                <a:gd name="connsiteY6" fmla="*/ 55323 h 149340"/>
                <a:gd name="connsiteX7" fmla="*/ 139055 w 203847"/>
                <a:gd name="connsiteY7" fmla="*/ 55323 h 14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49340">
                  <a:moveTo>
                    <a:pt x="106716" y="149340"/>
                  </a:moveTo>
                  <a:lnTo>
                    <a:pt x="50038" y="110053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Forme libre : forme 82">
              <a:extLst>
                <a:ext uri="{FF2B5EF4-FFF2-40B4-BE49-F238E27FC236}">
                  <a16:creationId xmlns:a16="http://schemas.microsoft.com/office/drawing/2014/main" id="{2932702E-E8E3-46BA-A87E-0ED0BC303BF9}"/>
                </a:ext>
              </a:extLst>
            </p:cNvPr>
            <p:cNvSpPr/>
            <p:nvPr/>
          </p:nvSpPr>
          <p:spPr>
            <a:xfrm rot="8716295">
              <a:off x="860101" y="29650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4" name="Forme libre : forme 83">
              <a:extLst>
                <a:ext uri="{FF2B5EF4-FFF2-40B4-BE49-F238E27FC236}">
                  <a16:creationId xmlns:a16="http://schemas.microsoft.com/office/drawing/2014/main" id="{69A563A2-99F0-4626-A5AF-E9AD22DC8484}"/>
                </a:ext>
              </a:extLst>
            </p:cNvPr>
            <p:cNvSpPr/>
            <p:nvPr/>
          </p:nvSpPr>
          <p:spPr>
            <a:xfrm rot="8716295">
              <a:off x="494655" y="7007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5" name="Forme libre : forme 84">
              <a:extLst>
                <a:ext uri="{FF2B5EF4-FFF2-40B4-BE49-F238E27FC236}">
                  <a16:creationId xmlns:a16="http://schemas.microsoft.com/office/drawing/2014/main" id="{B18A375D-EEA2-4D9B-96D1-D4924AE08EC7}"/>
                </a:ext>
              </a:extLst>
            </p:cNvPr>
            <p:cNvSpPr/>
            <p:nvPr/>
          </p:nvSpPr>
          <p:spPr>
            <a:xfrm rot="7484129">
              <a:off x="1018919" y="58611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6" name="Forme libre : forme 85">
              <a:extLst>
                <a:ext uri="{FF2B5EF4-FFF2-40B4-BE49-F238E27FC236}">
                  <a16:creationId xmlns:a16="http://schemas.microsoft.com/office/drawing/2014/main" id="{7717CD41-705F-4F28-B88E-73D27DF645C8}"/>
                </a:ext>
              </a:extLst>
            </p:cNvPr>
            <p:cNvSpPr/>
            <p:nvPr/>
          </p:nvSpPr>
          <p:spPr>
            <a:xfrm rot="13089394">
              <a:off x="1177568" y="53546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7" name="Forme libre : forme 86">
              <a:extLst>
                <a:ext uri="{FF2B5EF4-FFF2-40B4-BE49-F238E27FC236}">
                  <a16:creationId xmlns:a16="http://schemas.microsoft.com/office/drawing/2014/main" id="{285D68BE-9E3D-4F4C-AC96-578345571AC5}"/>
                </a:ext>
              </a:extLst>
            </p:cNvPr>
            <p:cNvSpPr/>
            <p:nvPr/>
          </p:nvSpPr>
          <p:spPr>
            <a:xfrm rot="8716295">
              <a:off x="1458459" y="24534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8" name="Forme libre : forme 87">
              <a:extLst>
                <a:ext uri="{FF2B5EF4-FFF2-40B4-BE49-F238E27FC236}">
                  <a16:creationId xmlns:a16="http://schemas.microsoft.com/office/drawing/2014/main" id="{83EDC7AF-2352-4CD0-B767-0567B99FAECC}"/>
                </a:ext>
              </a:extLst>
            </p:cNvPr>
            <p:cNvSpPr/>
            <p:nvPr/>
          </p:nvSpPr>
          <p:spPr>
            <a:xfrm rot="8716295">
              <a:off x="1380050" y="8855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9" name="Forme libre : forme 88">
              <a:extLst>
                <a:ext uri="{FF2B5EF4-FFF2-40B4-BE49-F238E27FC236}">
                  <a16:creationId xmlns:a16="http://schemas.microsoft.com/office/drawing/2014/main" id="{E853F8BE-90D5-4EB8-BCC9-E92102CA6DFE}"/>
                </a:ext>
              </a:extLst>
            </p:cNvPr>
            <p:cNvSpPr/>
            <p:nvPr/>
          </p:nvSpPr>
          <p:spPr>
            <a:xfrm rot="8716295">
              <a:off x="1011887" y="13429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" name="Forme libre : forme 89">
              <a:extLst>
                <a:ext uri="{FF2B5EF4-FFF2-40B4-BE49-F238E27FC236}">
                  <a16:creationId xmlns:a16="http://schemas.microsoft.com/office/drawing/2014/main" id="{42758375-22F2-40F5-8D40-436514F398B4}"/>
                </a:ext>
              </a:extLst>
            </p:cNvPr>
            <p:cNvSpPr/>
            <p:nvPr/>
          </p:nvSpPr>
          <p:spPr>
            <a:xfrm rot="8716295">
              <a:off x="1291652" y="-36449"/>
              <a:ext cx="134197" cy="106947"/>
            </a:xfrm>
            <a:custGeom>
              <a:avLst/>
              <a:gdLst>
                <a:gd name="connsiteX0" fmla="*/ 83649 w 88664"/>
                <a:gd name="connsiteY0" fmla="*/ 70660 h 70660"/>
                <a:gd name="connsiteX1" fmla="*/ 0 w 88664"/>
                <a:gd name="connsiteY1" fmla="*/ 12677 h 70660"/>
                <a:gd name="connsiteX2" fmla="*/ 30024 w 88664"/>
                <a:gd name="connsiteY2" fmla="*/ 0 h 70660"/>
                <a:gd name="connsiteX3" fmla="*/ 71417 w 88664"/>
                <a:gd name="connsiteY3" fmla="*/ 17477 h 70660"/>
                <a:gd name="connsiteX4" fmla="*/ 88664 w 88664"/>
                <a:gd name="connsiteY4" fmla="*/ 58525 h 70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664" h="70660">
                  <a:moveTo>
                    <a:pt x="83649" y="70660"/>
                  </a:moveTo>
                  <a:lnTo>
                    <a:pt x="0" y="12677"/>
                  </a:lnTo>
                  <a:lnTo>
                    <a:pt x="30024" y="0"/>
                  </a:lnTo>
                  <a:cubicBezTo>
                    <a:pt x="45662" y="0"/>
                    <a:pt x="60379" y="6439"/>
                    <a:pt x="71417" y="17477"/>
                  </a:cubicBezTo>
                  <a:cubicBezTo>
                    <a:pt x="82915" y="28515"/>
                    <a:pt x="88664" y="43462"/>
                    <a:pt x="88664" y="58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" name="Forme libre : forme 90">
              <a:extLst>
                <a:ext uri="{FF2B5EF4-FFF2-40B4-BE49-F238E27FC236}">
                  <a16:creationId xmlns:a16="http://schemas.microsoft.com/office/drawing/2014/main" id="{39402522-16DA-4E11-927D-0744A887E931}"/>
                </a:ext>
              </a:extLst>
            </p:cNvPr>
            <p:cNvSpPr/>
            <p:nvPr/>
          </p:nvSpPr>
          <p:spPr>
            <a:xfrm rot="13089394">
              <a:off x="990163" y="-39748"/>
              <a:ext cx="111277" cy="115595"/>
            </a:xfrm>
            <a:custGeom>
              <a:avLst/>
              <a:gdLst>
                <a:gd name="connsiteX0" fmla="*/ 73521 w 73521"/>
                <a:gd name="connsiteY0" fmla="*/ 18609 h 76374"/>
                <a:gd name="connsiteX1" fmla="*/ 0 w 73521"/>
                <a:gd name="connsiteY1" fmla="*/ 76374 h 76374"/>
                <a:gd name="connsiteX2" fmla="*/ 0 w 73521"/>
                <a:gd name="connsiteY2" fmla="*/ 38074 h 76374"/>
                <a:gd name="connsiteX3" fmla="*/ 73388 w 73521"/>
                <a:gd name="connsiteY3" fmla="*/ 0 h 7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521" h="76374">
                  <a:moveTo>
                    <a:pt x="73521" y="18609"/>
                  </a:moveTo>
                  <a:lnTo>
                    <a:pt x="0" y="76374"/>
                  </a:lnTo>
                  <a:lnTo>
                    <a:pt x="0" y="38074"/>
                  </a:lnTo>
                  <a:lnTo>
                    <a:pt x="7338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" name="Forme libre : forme 91">
              <a:extLst>
                <a:ext uri="{FF2B5EF4-FFF2-40B4-BE49-F238E27FC236}">
                  <a16:creationId xmlns:a16="http://schemas.microsoft.com/office/drawing/2014/main" id="{BA0CCCD1-A43A-4EDA-9AE2-2B760A750CB8}"/>
                </a:ext>
              </a:extLst>
            </p:cNvPr>
            <p:cNvSpPr/>
            <p:nvPr/>
          </p:nvSpPr>
          <p:spPr>
            <a:xfrm rot="8716295">
              <a:off x="121288" y="414134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" name="Forme libre : forme 92">
              <a:extLst>
                <a:ext uri="{FF2B5EF4-FFF2-40B4-BE49-F238E27FC236}">
                  <a16:creationId xmlns:a16="http://schemas.microsoft.com/office/drawing/2014/main" id="{B00F8218-3F51-4CFB-9D4D-4142207B942F}"/>
                </a:ext>
              </a:extLst>
            </p:cNvPr>
            <p:cNvSpPr/>
            <p:nvPr/>
          </p:nvSpPr>
          <p:spPr>
            <a:xfrm rot="8716295">
              <a:off x="256586" y="418560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" name="Forme libre : forme 93">
              <a:extLst>
                <a:ext uri="{FF2B5EF4-FFF2-40B4-BE49-F238E27FC236}">
                  <a16:creationId xmlns:a16="http://schemas.microsoft.com/office/drawing/2014/main" id="{59A33452-85A5-44B9-85E4-34DB64857691}"/>
                </a:ext>
              </a:extLst>
            </p:cNvPr>
            <p:cNvSpPr/>
            <p:nvPr/>
          </p:nvSpPr>
          <p:spPr>
            <a:xfrm rot="8716295">
              <a:off x="188704" y="405501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orme libre : forme 94">
              <a:extLst>
                <a:ext uri="{FF2B5EF4-FFF2-40B4-BE49-F238E27FC236}">
                  <a16:creationId xmlns:a16="http://schemas.microsoft.com/office/drawing/2014/main" id="{6EB29E53-18CD-42F3-9B37-2ECC6883F84C}"/>
                </a:ext>
              </a:extLst>
            </p:cNvPr>
            <p:cNvSpPr/>
            <p:nvPr/>
          </p:nvSpPr>
          <p:spPr>
            <a:xfrm rot="8716295">
              <a:off x="-22408" y="4278013"/>
              <a:ext cx="57413" cy="71926"/>
            </a:xfrm>
            <a:custGeom>
              <a:avLst/>
              <a:gdLst>
                <a:gd name="connsiteX0" fmla="*/ 11441 w 57413"/>
                <a:gd name="connsiteY0" fmla="*/ 71926 h 71926"/>
                <a:gd name="connsiteX1" fmla="*/ 0 w 57413"/>
                <a:gd name="connsiteY1" fmla="*/ 44829 h 71926"/>
                <a:gd name="connsiteX2" fmla="*/ 0 w 57413"/>
                <a:gd name="connsiteY2" fmla="*/ 44139 h 71926"/>
                <a:gd name="connsiteX3" fmla="*/ 13104 w 57413"/>
                <a:gd name="connsiteY3" fmla="*/ 13104 h 71926"/>
                <a:gd name="connsiteX4" fmla="*/ 44139 w 57413"/>
                <a:gd name="connsiteY4" fmla="*/ 0 h 71926"/>
                <a:gd name="connsiteX5" fmla="*/ 57413 w 57413"/>
                <a:gd name="connsiteY5" fmla="*/ 5605 h 71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413" h="71926">
                  <a:moveTo>
                    <a:pt x="11441" y="71926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lnTo>
                    <a:pt x="57413" y="5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Forme libre : forme 95">
              <a:extLst>
                <a:ext uri="{FF2B5EF4-FFF2-40B4-BE49-F238E27FC236}">
                  <a16:creationId xmlns:a16="http://schemas.microsoft.com/office/drawing/2014/main" id="{5DEA4AC8-B4A8-4210-932F-E61308CFB12D}"/>
                </a:ext>
              </a:extLst>
            </p:cNvPr>
            <p:cNvSpPr/>
            <p:nvPr/>
          </p:nvSpPr>
          <p:spPr>
            <a:xfrm rot="8716295">
              <a:off x="-36969" y="4107248"/>
              <a:ext cx="147272" cy="83734"/>
            </a:xfrm>
            <a:custGeom>
              <a:avLst/>
              <a:gdLst>
                <a:gd name="connsiteX0" fmla="*/ 0 w 147272"/>
                <a:gd name="connsiteY0" fmla="*/ 83734 h 83734"/>
                <a:gd name="connsiteX1" fmla="*/ 0 w 147272"/>
                <a:gd name="connsiteY1" fmla="*/ 0 h 83734"/>
                <a:gd name="connsiteX2" fmla="*/ 147272 w 147272"/>
                <a:gd name="connsiteY2" fmla="*/ 0 h 83734"/>
                <a:gd name="connsiteX3" fmla="*/ 89230 w 147272"/>
                <a:gd name="connsiteY3" fmla="*/ 83734 h 83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272" h="83734">
                  <a:moveTo>
                    <a:pt x="0" y="83734"/>
                  </a:moveTo>
                  <a:lnTo>
                    <a:pt x="0" y="0"/>
                  </a:lnTo>
                  <a:lnTo>
                    <a:pt x="147272" y="0"/>
                  </a:lnTo>
                  <a:lnTo>
                    <a:pt x="89230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" name="Forme libre : forme 96">
              <a:extLst>
                <a:ext uri="{FF2B5EF4-FFF2-40B4-BE49-F238E27FC236}">
                  <a16:creationId xmlns:a16="http://schemas.microsoft.com/office/drawing/2014/main" id="{B218914A-7EA1-40E4-B44A-2A3DBC972AF7}"/>
                </a:ext>
              </a:extLst>
            </p:cNvPr>
            <p:cNvSpPr/>
            <p:nvPr/>
          </p:nvSpPr>
          <p:spPr>
            <a:xfrm rot="8716295">
              <a:off x="43378" y="3712531"/>
              <a:ext cx="125537" cy="468763"/>
            </a:xfrm>
            <a:custGeom>
              <a:avLst/>
              <a:gdLst>
                <a:gd name="connsiteX0" fmla="*/ 29455 w 125537"/>
                <a:gd name="connsiteY0" fmla="*/ 468763 h 468763"/>
                <a:gd name="connsiteX1" fmla="*/ 7792 w 125537"/>
                <a:gd name="connsiteY1" fmla="*/ 425988 h 468763"/>
                <a:gd name="connsiteX2" fmla="*/ 0 w 125537"/>
                <a:gd name="connsiteY2" fmla="*/ 333043 h 468763"/>
                <a:gd name="connsiteX3" fmla="*/ 0 w 125537"/>
                <a:gd name="connsiteY3" fmla="*/ 61444 h 468763"/>
                <a:gd name="connsiteX4" fmla="*/ 118434 w 125537"/>
                <a:gd name="connsiteY4" fmla="*/ 0 h 468763"/>
                <a:gd name="connsiteX5" fmla="*/ 120216 w 125537"/>
                <a:gd name="connsiteY5" fmla="*/ 248447 h 468763"/>
                <a:gd name="connsiteX6" fmla="*/ 123889 w 125537"/>
                <a:gd name="connsiteY6" fmla="*/ 323359 h 468763"/>
                <a:gd name="connsiteX7" fmla="*/ 125537 w 125537"/>
                <a:gd name="connsiteY7" fmla="*/ 330150 h 468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537" h="468763">
                  <a:moveTo>
                    <a:pt x="29455" y="468763"/>
                  </a:moveTo>
                  <a:lnTo>
                    <a:pt x="7792" y="425988"/>
                  </a:lnTo>
                  <a:cubicBezTo>
                    <a:pt x="2003" y="400498"/>
                    <a:pt x="0" y="369553"/>
                    <a:pt x="0" y="333043"/>
                  </a:cubicBezTo>
                  <a:lnTo>
                    <a:pt x="0" y="61444"/>
                  </a:lnTo>
                  <a:lnTo>
                    <a:pt x="118434" y="0"/>
                  </a:lnTo>
                  <a:lnTo>
                    <a:pt x="120216" y="248447"/>
                  </a:lnTo>
                  <a:cubicBezTo>
                    <a:pt x="118880" y="273381"/>
                    <a:pt x="120216" y="298537"/>
                    <a:pt x="123889" y="323359"/>
                  </a:cubicBezTo>
                  <a:lnTo>
                    <a:pt x="125537" y="3301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" name="Forme libre : forme 97">
              <a:extLst>
                <a:ext uri="{FF2B5EF4-FFF2-40B4-BE49-F238E27FC236}">
                  <a16:creationId xmlns:a16="http://schemas.microsoft.com/office/drawing/2014/main" id="{B6F2924E-906C-4ED1-BF2D-C834372E14EF}"/>
                </a:ext>
              </a:extLst>
            </p:cNvPr>
            <p:cNvSpPr/>
            <p:nvPr/>
          </p:nvSpPr>
          <p:spPr>
            <a:xfrm rot="8716295">
              <a:off x="87905" y="4337347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" name="Forme libre : forme 98">
              <a:extLst>
                <a:ext uri="{FF2B5EF4-FFF2-40B4-BE49-F238E27FC236}">
                  <a16:creationId xmlns:a16="http://schemas.microsoft.com/office/drawing/2014/main" id="{0D75C9D9-5C3D-47E0-90AD-938F1B8E2F44}"/>
                </a:ext>
              </a:extLst>
            </p:cNvPr>
            <p:cNvSpPr/>
            <p:nvPr/>
          </p:nvSpPr>
          <p:spPr>
            <a:xfrm rot="8716295">
              <a:off x="558851" y="376273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orme libre : forme 99">
              <a:extLst>
                <a:ext uri="{FF2B5EF4-FFF2-40B4-BE49-F238E27FC236}">
                  <a16:creationId xmlns:a16="http://schemas.microsoft.com/office/drawing/2014/main" id="{FB753F16-18A9-4EF7-8A5C-AFE5FF2AAE20}"/>
                </a:ext>
              </a:extLst>
            </p:cNvPr>
            <p:cNvSpPr/>
            <p:nvPr/>
          </p:nvSpPr>
          <p:spPr>
            <a:xfrm rot="8716295">
              <a:off x="694150" y="380699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Forme libre : forme 100">
              <a:extLst>
                <a:ext uri="{FF2B5EF4-FFF2-40B4-BE49-F238E27FC236}">
                  <a16:creationId xmlns:a16="http://schemas.microsoft.com/office/drawing/2014/main" id="{3BF96335-BBEB-4DB5-9C46-1C3097EF0D59}"/>
                </a:ext>
              </a:extLst>
            </p:cNvPr>
            <p:cNvSpPr/>
            <p:nvPr/>
          </p:nvSpPr>
          <p:spPr>
            <a:xfrm rot="8716295">
              <a:off x="388980" y="389674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" name="Forme libre : forme 101">
              <a:extLst>
                <a:ext uri="{FF2B5EF4-FFF2-40B4-BE49-F238E27FC236}">
                  <a16:creationId xmlns:a16="http://schemas.microsoft.com/office/drawing/2014/main" id="{5E31C792-E11F-4ADA-B2CB-57C48077CBA4}"/>
                </a:ext>
              </a:extLst>
            </p:cNvPr>
            <p:cNvSpPr/>
            <p:nvPr/>
          </p:nvSpPr>
          <p:spPr>
            <a:xfrm rot="8716295">
              <a:off x="199936" y="358091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" name="Forme libre : forme 102">
              <a:extLst>
                <a:ext uri="{FF2B5EF4-FFF2-40B4-BE49-F238E27FC236}">
                  <a16:creationId xmlns:a16="http://schemas.microsoft.com/office/drawing/2014/main" id="{94FED6A4-8569-4EA9-A306-CB876E36FB03}"/>
                </a:ext>
              </a:extLst>
            </p:cNvPr>
            <p:cNvSpPr/>
            <p:nvPr/>
          </p:nvSpPr>
          <p:spPr>
            <a:xfrm rot="8716295">
              <a:off x="525469" y="3958731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" name="Forme libre : forme 103">
              <a:extLst>
                <a:ext uri="{FF2B5EF4-FFF2-40B4-BE49-F238E27FC236}">
                  <a16:creationId xmlns:a16="http://schemas.microsoft.com/office/drawing/2014/main" id="{980A1AA3-B52B-4C80-9AC4-D47CC78A5A3B}"/>
                </a:ext>
              </a:extLst>
            </p:cNvPr>
            <p:cNvSpPr/>
            <p:nvPr/>
          </p:nvSpPr>
          <p:spPr>
            <a:xfrm rot="8716295">
              <a:off x="160022" y="3732305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" name="Forme libre : forme 104">
              <a:extLst>
                <a:ext uri="{FF2B5EF4-FFF2-40B4-BE49-F238E27FC236}">
                  <a16:creationId xmlns:a16="http://schemas.microsoft.com/office/drawing/2014/main" id="{C66003E5-2553-46E6-8D65-9CD33FAF8398}"/>
                </a:ext>
              </a:extLst>
            </p:cNvPr>
            <p:cNvSpPr/>
            <p:nvPr/>
          </p:nvSpPr>
          <p:spPr>
            <a:xfrm rot="7484129">
              <a:off x="684286" y="424834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" name="Forme libre : forme 105">
              <a:extLst>
                <a:ext uri="{FF2B5EF4-FFF2-40B4-BE49-F238E27FC236}">
                  <a16:creationId xmlns:a16="http://schemas.microsoft.com/office/drawing/2014/main" id="{A5156F8D-1CAA-4650-BC6D-5AD5CAA0A30F}"/>
                </a:ext>
              </a:extLst>
            </p:cNvPr>
            <p:cNvSpPr/>
            <p:nvPr/>
          </p:nvSpPr>
          <p:spPr>
            <a:xfrm rot="13089394">
              <a:off x="842936" y="4197697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" name="Forme libre : forme 106">
              <a:extLst>
                <a:ext uri="{FF2B5EF4-FFF2-40B4-BE49-F238E27FC236}">
                  <a16:creationId xmlns:a16="http://schemas.microsoft.com/office/drawing/2014/main" id="{7A0FA012-A668-45E7-9A04-80DC4066A5EA}"/>
                </a:ext>
              </a:extLst>
            </p:cNvPr>
            <p:cNvSpPr/>
            <p:nvPr/>
          </p:nvSpPr>
          <p:spPr>
            <a:xfrm rot="8716295">
              <a:off x="1123827" y="390757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" name="Forme libre : forme 107">
              <a:extLst>
                <a:ext uri="{FF2B5EF4-FFF2-40B4-BE49-F238E27FC236}">
                  <a16:creationId xmlns:a16="http://schemas.microsoft.com/office/drawing/2014/main" id="{DE4CA035-6173-48AD-BD1D-D7ED5F77A322}"/>
                </a:ext>
              </a:extLst>
            </p:cNvPr>
            <p:cNvSpPr/>
            <p:nvPr/>
          </p:nvSpPr>
          <p:spPr>
            <a:xfrm rot="8716295">
              <a:off x="1045418" y="375078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" name="Forme libre : forme 108">
              <a:extLst>
                <a:ext uri="{FF2B5EF4-FFF2-40B4-BE49-F238E27FC236}">
                  <a16:creationId xmlns:a16="http://schemas.microsoft.com/office/drawing/2014/main" id="{40E22C8F-9A2F-4D96-8E60-B4FAE9625F7E}"/>
                </a:ext>
              </a:extLst>
            </p:cNvPr>
            <p:cNvSpPr/>
            <p:nvPr/>
          </p:nvSpPr>
          <p:spPr>
            <a:xfrm rot="8716295">
              <a:off x="677254" y="379652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" name="Forme libre : forme 109">
              <a:extLst>
                <a:ext uri="{FF2B5EF4-FFF2-40B4-BE49-F238E27FC236}">
                  <a16:creationId xmlns:a16="http://schemas.microsoft.com/office/drawing/2014/main" id="{0FB9706E-9855-492B-8609-A2F256591A28}"/>
                </a:ext>
              </a:extLst>
            </p:cNvPr>
            <p:cNvSpPr/>
            <p:nvPr/>
          </p:nvSpPr>
          <p:spPr>
            <a:xfrm rot="8716295">
              <a:off x="945836" y="355550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" name="Forme libre : forme 110">
              <a:extLst>
                <a:ext uri="{FF2B5EF4-FFF2-40B4-BE49-F238E27FC236}">
                  <a16:creationId xmlns:a16="http://schemas.microsoft.com/office/drawing/2014/main" id="{ADF55B74-AC60-4155-92FA-4565710C9BFA}"/>
                </a:ext>
              </a:extLst>
            </p:cNvPr>
            <p:cNvSpPr/>
            <p:nvPr/>
          </p:nvSpPr>
          <p:spPr>
            <a:xfrm rot="8716295">
              <a:off x="601570" y="5027951"/>
              <a:ext cx="169680" cy="113030"/>
            </a:xfrm>
            <a:custGeom>
              <a:avLst/>
              <a:gdLst>
                <a:gd name="connsiteX0" fmla="*/ 8965 w 169680"/>
                <a:gd name="connsiteY0" fmla="*/ 113030 h 113030"/>
                <a:gd name="connsiteX1" fmla="*/ 0 w 169680"/>
                <a:gd name="connsiteY1" fmla="*/ 100616 h 113030"/>
                <a:gd name="connsiteX2" fmla="*/ 106933 w 169680"/>
                <a:gd name="connsiteY2" fmla="*/ 0 h 113030"/>
                <a:gd name="connsiteX3" fmla="*/ 169680 w 169680"/>
                <a:gd name="connsiteY3" fmla="*/ 43494 h 113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680" h="113030">
                  <a:moveTo>
                    <a:pt x="8965" y="113030"/>
                  </a:moveTo>
                  <a:lnTo>
                    <a:pt x="0" y="100616"/>
                  </a:lnTo>
                  <a:lnTo>
                    <a:pt x="106933" y="0"/>
                  </a:lnTo>
                  <a:lnTo>
                    <a:pt x="169680" y="434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" name="Forme libre : forme 111">
              <a:extLst>
                <a:ext uri="{FF2B5EF4-FFF2-40B4-BE49-F238E27FC236}">
                  <a16:creationId xmlns:a16="http://schemas.microsoft.com/office/drawing/2014/main" id="{DDFE2301-223D-4F62-87C3-BBD61CFA4AE0}"/>
                </a:ext>
              </a:extLst>
            </p:cNvPr>
            <p:cNvSpPr/>
            <p:nvPr/>
          </p:nvSpPr>
          <p:spPr>
            <a:xfrm rot="8716295">
              <a:off x="197311" y="4925365"/>
              <a:ext cx="194366" cy="296463"/>
            </a:xfrm>
            <a:custGeom>
              <a:avLst/>
              <a:gdLst>
                <a:gd name="connsiteX0" fmla="*/ 137293 w 194366"/>
                <a:gd name="connsiteY0" fmla="*/ 296463 h 296463"/>
                <a:gd name="connsiteX1" fmla="*/ 72418 w 194366"/>
                <a:gd name="connsiteY1" fmla="*/ 175766 h 296463"/>
                <a:gd name="connsiteX2" fmla="*/ 105610 w 194366"/>
                <a:gd name="connsiteY2" fmla="*/ 83734 h 296463"/>
                <a:gd name="connsiteX3" fmla="*/ 0 w 194366"/>
                <a:gd name="connsiteY3" fmla="*/ 83734 h 296463"/>
                <a:gd name="connsiteX4" fmla="*/ 0 w 194366"/>
                <a:gd name="connsiteY4" fmla="*/ 0 h 296463"/>
                <a:gd name="connsiteX5" fmla="*/ 6043 w 194366"/>
                <a:gd name="connsiteY5" fmla="*/ 0 h 296463"/>
                <a:gd name="connsiteX6" fmla="*/ 194366 w 194366"/>
                <a:gd name="connsiteY6" fmla="*/ 130539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4366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6043" y="0"/>
                  </a:lnTo>
                  <a:lnTo>
                    <a:pt x="194366" y="1305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" name="Forme libre : forme 112">
              <a:extLst>
                <a:ext uri="{FF2B5EF4-FFF2-40B4-BE49-F238E27FC236}">
                  <a16:creationId xmlns:a16="http://schemas.microsoft.com/office/drawing/2014/main" id="{3377FDF7-2BED-4403-9821-41A8059D732F}"/>
                </a:ext>
              </a:extLst>
            </p:cNvPr>
            <p:cNvSpPr/>
            <p:nvPr/>
          </p:nvSpPr>
          <p:spPr>
            <a:xfrm rot="8716295">
              <a:off x="73168" y="4745087"/>
              <a:ext cx="439901" cy="517329"/>
            </a:xfrm>
            <a:custGeom>
              <a:avLst/>
              <a:gdLst>
                <a:gd name="connsiteX0" fmla="*/ 38290 w 439901"/>
                <a:gd name="connsiteY0" fmla="*/ 472541 h 517329"/>
                <a:gd name="connsiteX1" fmla="*/ 0 w 439901"/>
                <a:gd name="connsiteY1" fmla="*/ 319377 h 517329"/>
                <a:gd name="connsiteX2" fmla="*/ 0 w 439901"/>
                <a:gd name="connsiteY2" fmla="*/ 47778 h 517329"/>
                <a:gd name="connsiteX3" fmla="*/ 92094 w 439901"/>
                <a:gd name="connsiteY3" fmla="*/ 0 h 517329"/>
                <a:gd name="connsiteX4" fmla="*/ 118664 w 439901"/>
                <a:gd name="connsiteY4" fmla="*/ 18418 h 517329"/>
                <a:gd name="connsiteX5" fmla="*/ 120216 w 439901"/>
                <a:gd name="connsiteY5" fmla="*/ 234781 h 517329"/>
                <a:gd name="connsiteX6" fmla="*/ 141587 w 439901"/>
                <a:gd name="connsiteY6" fmla="*/ 382603 h 517329"/>
                <a:gd name="connsiteX7" fmla="*/ 248446 w 439901"/>
                <a:gd name="connsiteY7" fmla="*/ 441375 h 517329"/>
                <a:gd name="connsiteX8" fmla="*/ 328589 w 439901"/>
                <a:gd name="connsiteY8" fmla="*/ 427127 h 517329"/>
                <a:gd name="connsiteX9" fmla="*/ 438120 w 439901"/>
                <a:gd name="connsiteY9" fmla="*/ 382603 h 517329"/>
                <a:gd name="connsiteX10" fmla="*/ 439901 w 439901"/>
                <a:gd name="connsiteY10" fmla="*/ 394178 h 517329"/>
                <a:gd name="connsiteX11" fmla="*/ 439901 w 439901"/>
                <a:gd name="connsiteY11" fmla="*/ 403083 h 517329"/>
                <a:gd name="connsiteX12" fmla="*/ 147821 w 439901"/>
                <a:gd name="connsiteY12" fmla="*/ 517066 h 517329"/>
                <a:gd name="connsiteX13" fmla="*/ 38290 w 439901"/>
                <a:gd name="connsiteY13" fmla="*/ 472541 h 517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9901" h="517329">
                  <a:moveTo>
                    <a:pt x="38290" y="472541"/>
                  </a:moveTo>
                  <a:cubicBezTo>
                    <a:pt x="8014" y="443156"/>
                    <a:pt x="0" y="392397"/>
                    <a:pt x="0" y="319377"/>
                  </a:cubicBezTo>
                  <a:lnTo>
                    <a:pt x="0" y="47778"/>
                  </a:lnTo>
                  <a:lnTo>
                    <a:pt x="92094" y="0"/>
                  </a:lnTo>
                  <a:lnTo>
                    <a:pt x="118664" y="18418"/>
                  </a:lnTo>
                  <a:lnTo>
                    <a:pt x="120216" y="234781"/>
                  </a:lnTo>
                  <a:cubicBezTo>
                    <a:pt x="117544" y="284648"/>
                    <a:pt x="125558" y="335406"/>
                    <a:pt x="141587" y="382603"/>
                  </a:cubicBezTo>
                  <a:cubicBezTo>
                    <a:pt x="155836" y="421784"/>
                    <a:pt x="192345" y="441375"/>
                    <a:pt x="248446" y="441375"/>
                  </a:cubicBezTo>
                  <a:cubicBezTo>
                    <a:pt x="276051" y="440484"/>
                    <a:pt x="302766" y="435141"/>
                    <a:pt x="328589" y="427127"/>
                  </a:cubicBezTo>
                  <a:cubicBezTo>
                    <a:pt x="365990" y="415550"/>
                    <a:pt x="402500" y="400412"/>
                    <a:pt x="438120" y="382603"/>
                  </a:cubicBezTo>
                  <a:cubicBezTo>
                    <a:pt x="439010" y="386164"/>
                    <a:pt x="439901" y="390616"/>
                    <a:pt x="439901" y="394178"/>
                  </a:cubicBezTo>
                  <a:lnTo>
                    <a:pt x="439901" y="403083"/>
                  </a:lnTo>
                  <a:cubicBezTo>
                    <a:pt x="345509" y="484118"/>
                    <a:pt x="221731" y="512614"/>
                    <a:pt x="147821" y="517066"/>
                  </a:cubicBezTo>
                  <a:cubicBezTo>
                    <a:pt x="106859" y="519738"/>
                    <a:pt x="66787" y="501928"/>
                    <a:pt x="38290" y="47254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" name="Forme libre : forme 113">
              <a:extLst>
                <a:ext uri="{FF2B5EF4-FFF2-40B4-BE49-F238E27FC236}">
                  <a16:creationId xmlns:a16="http://schemas.microsoft.com/office/drawing/2014/main" id="{B93DC94C-820F-4572-BF0C-6383E8E9C877}"/>
                </a:ext>
              </a:extLst>
            </p:cNvPr>
            <p:cNvSpPr/>
            <p:nvPr/>
          </p:nvSpPr>
          <p:spPr>
            <a:xfrm rot="8716295">
              <a:off x="896624" y="4761216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" name="Forme libre : forme 114">
              <a:extLst>
                <a:ext uri="{FF2B5EF4-FFF2-40B4-BE49-F238E27FC236}">
                  <a16:creationId xmlns:a16="http://schemas.microsoft.com/office/drawing/2014/main" id="{46905971-2CA6-4786-88F6-6625CD1AC045}"/>
                </a:ext>
              </a:extLst>
            </p:cNvPr>
            <p:cNvSpPr/>
            <p:nvPr/>
          </p:nvSpPr>
          <p:spPr>
            <a:xfrm rot="8716295">
              <a:off x="1032483" y="4799006"/>
              <a:ext cx="389853" cy="383455"/>
            </a:xfrm>
            <a:custGeom>
              <a:avLst/>
              <a:gdLst>
                <a:gd name="connsiteX0" fmla="*/ 77932 w 389853"/>
                <a:gd name="connsiteY0" fmla="*/ 383455 h 383455"/>
                <a:gd name="connsiteX1" fmla="*/ 77932 w 389853"/>
                <a:gd name="connsiteY1" fmla="*/ 66898 h 383455"/>
                <a:gd name="connsiteX2" fmla="*/ 0 w 389853"/>
                <a:gd name="connsiteY2" fmla="*/ 66898 h 383455"/>
                <a:gd name="connsiteX3" fmla="*/ 0 w 389853"/>
                <a:gd name="connsiteY3" fmla="*/ 0 h 383455"/>
                <a:gd name="connsiteX4" fmla="*/ 158623 w 389853"/>
                <a:gd name="connsiteY4" fmla="*/ 0 h 383455"/>
                <a:gd name="connsiteX5" fmla="*/ 158623 w 389853"/>
                <a:gd name="connsiteY5" fmla="*/ 111726 h 383455"/>
                <a:gd name="connsiteX6" fmla="*/ 160692 w 389853"/>
                <a:gd name="connsiteY6" fmla="*/ 111726 h 383455"/>
                <a:gd name="connsiteX7" fmla="*/ 192762 w 389853"/>
                <a:gd name="connsiteY7" fmla="*/ 39914 h 383455"/>
                <a:gd name="connsiteX8" fmla="*/ 216292 w 389853"/>
                <a:gd name="connsiteY8" fmla="*/ 20658 h 383455"/>
                <a:gd name="connsiteX9" fmla="*/ 389853 w 389853"/>
                <a:gd name="connsiteY9" fmla="*/ 140965 h 383455"/>
                <a:gd name="connsiteX10" fmla="*/ 300695 w 389853"/>
                <a:gd name="connsiteY10" fmla="*/ 146210 h 383455"/>
                <a:gd name="connsiteX11" fmla="*/ 300694 w 389853"/>
                <a:gd name="connsiteY11" fmla="*/ 121382 h 383455"/>
                <a:gd name="connsiteX12" fmla="*/ 249659 w 389853"/>
                <a:gd name="connsiteY12" fmla="*/ 58622 h 383455"/>
                <a:gd name="connsiteX13" fmla="*/ 168969 w 389853"/>
                <a:gd name="connsiteY13" fmla="*/ 191038 h 383455"/>
                <a:gd name="connsiteX14" fmla="*/ 168969 w 389853"/>
                <a:gd name="connsiteY14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9853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71727" y="78967"/>
                    <a:pt x="181555" y="56208"/>
                    <a:pt x="192762" y="39914"/>
                  </a:cubicBezTo>
                  <a:lnTo>
                    <a:pt x="216292" y="20658"/>
                  </a:lnTo>
                  <a:lnTo>
                    <a:pt x="389853" y="140965"/>
                  </a:lnTo>
                  <a:lnTo>
                    <a:pt x="300695" y="146210"/>
                  </a:lnTo>
                  <a:lnTo>
                    <a:pt x="300694" y="121382"/>
                  </a:lnTo>
                  <a:cubicBezTo>
                    <a:pt x="300695" y="84140"/>
                    <a:pt x="279315" y="58621"/>
                    <a:pt x="249659" y="58622"/>
                  </a:cubicBezTo>
                  <a:cubicBezTo>
                    <a:pt x="205521" y="58621"/>
                    <a:pt x="168969" y="117244"/>
                    <a:pt x="168969" y="191038"/>
                  </a:cubicBez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" name="Forme libre : forme 115">
              <a:extLst>
                <a:ext uri="{FF2B5EF4-FFF2-40B4-BE49-F238E27FC236}">
                  <a16:creationId xmlns:a16="http://schemas.microsoft.com/office/drawing/2014/main" id="{8E2B23B6-FA24-4ECF-865C-D4B85991FB2B}"/>
                </a:ext>
              </a:extLst>
            </p:cNvPr>
            <p:cNvSpPr/>
            <p:nvPr/>
          </p:nvSpPr>
          <p:spPr>
            <a:xfrm rot="8716295">
              <a:off x="726753" y="489523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" name="Forme libre : forme 116">
              <a:extLst>
                <a:ext uri="{FF2B5EF4-FFF2-40B4-BE49-F238E27FC236}">
                  <a16:creationId xmlns:a16="http://schemas.microsoft.com/office/drawing/2014/main" id="{068C5BF4-ACAC-42CE-AE54-FD21152507C1}"/>
                </a:ext>
              </a:extLst>
            </p:cNvPr>
            <p:cNvSpPr/>
            <p:nvPr/>
          </p:nvSpPr>
          <p:spPr>
            <a:xfrm rot="8716295">
              <a:off x="537709" y="457939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" name="Forme libre : forme 117">
              <a:extLst>
                <a:ext uri="{FF2B5EF4-FFF2-40B4-BE49-F238E27FC236}">
                  <a16:creationId xmlns:a16="http://schemas.microsoft.com/office/drawing/2014/main" id="{0ACBCA4F-4DCF-49D0-8A3E-C12DE7B45BF0}"/>
                </a:ext>
              </a:extLst>
            </p:cNvPr>
            <p:cNvSpPr/>
            <p:nvPr/>
          </p:nvSpPr>
          <p:spPr>
            <a:xfrm rot="8716295">
              <a:off x="826576" y="4988476"/>
              <a:ext cx="91035" cy="198648"/>
            </a:xfrm>
            <a:custGeom>
              <a:avLst/>
              <a:gdLst>
                <a:gd name="connsiteX0" fmla="*/ 91035 w 91035"/>
                <a:gd name="connsiteY0" fmla="*/ 198648 h 198648"/>
                <a:gd name="connsiteX1" fmla="*/ 0 w 91035"/>
                <a:gd name="connsiteY1" fmla="*/ 111060 h 198648"/>
                <a:gd name="connsiteX2" fmla="*/ 0 w 91035"/>
                <a:gd name="connsiteY2" fmla="*/ 0 h 198648"/>
                <a:gd name="connsiteX3" fmla="*/ 91035 w 91035"/>
                <a:gd name="connsiteY3" fmla="*/ 63103 h 198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198648">
                  <a:moveTo>
                    <a:pt x="91035" y="198648"/>
                  </a:moveTo>
                  <a:lnTo>
                    <a:pt x="0" y="111060"/>
                  </a:lnTo>
                  <a:lnTo>
                    <a:pt x="0" y="0"/>
                  </a:lnTo>
                  <a:lnTo>
                    <a:pt x="91035" y="631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" name="Forme libre : forme 118">
              <a:extLst>
                <a:ext uri="{FF2B5EF4-FFF2-40B4-BE49-F238E27FC236}">
                  <a16:creationId xmlns:a16="http://schemas.microsoft.com/office/drawing/2014/main" id="{CF5DC784-7D69-46EA-A75B-D2ED877AA625}"/>
                </a:ext>
              </a:extLst>
            </p:cNvPr>
            <p:cNvSpPr/>
            <p:nvPr/>
          </p:nvSpPr>
          <p:spPr>
            <a:xfrm rot="8716295">
              <a:off x="497795" y="4730788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" name="Forme libre : forme 119">
              <a:extLst>
                <a:ext uri="{FF2B5EF4-FFF2-40B4-BE49-F238E27FC236}">
                  <a16:creationId xmlns:a16="http://schemas.microsoft.com/office/drawing/2014/main" id="{283C5FE9-EF8F-4940-9D13-7BC399536967}"/>
                </a:ext>
              </a:extLst>
            </p:cNvPr>
            <p:cNvSpPr/>
            <p:nvPr/>
          </p:nvSpPr>
          <p:spPr>
            <a:xfrm rot="8716295">
              <a:off x="1459248" y="4904357"/>
              <a:ext cx="328004" cy="223069"/>
            </a:xfrm>
            <a:custGeom>
              <a:avLst/>
              <a:gdLst>
                <a:gd name="connsiteX0" fmla="*/ 10574 w 328004"/>
                <a:gd name="connsiteY0" fmla="*/ 223069 h 223069"/>
                <a:gd name="connsiteX1" fmla="*/ 0 w 328004"/>
                <a:gd name="connsiteY1" fmla="*/ 208428 h 223069"/>
                <a:gd name="connsiteX2" fmla="*/ 192781 w 328004"/>
                <a:gd name="connsiteY2" fmla="*/ 27035 h 223069"/>
                <a:gd name="connsiteX3" fmla="*/ 227094 w 328004"/>
                <a:gd name="connsiteY3" fmla="*/ 0 h 223069"/>
                <a:gd name="connsiteX4" fmla="*/ 328004 w 328004"/>
                <a:gd name="connsiteY4" fmla="*/ 69948 h 223069"/>
                <a:gd name="connsiteX5" fmla="*/ 326080 w 328004"/>
                <a:gd name="connsiteY5" fmla="*/ 74925 h 223069"/>
                <a:gd name="connsiteX6" fmla="*/ 293645 w 328004"/>
                <a:gd name="connsiteY6" fmla="*/ 100243 h 223069"/>
                <a:gd name="connsiteX7" fmla="*/ 294458 w 328004"/>
                <a:gd name="connsiteY7" fmla="*/ 100243 h 223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8004" h="223069">
                  <a:moveTo>
                    <a:pt x="10574" y="223069"/>
                  </a:moveTo>
                  <a:lnTo>
                    <a:pt x="0" y="208428"/>
                  </a:lnTo>
                  <a:lnTo>
                    <a:pt x="192781" y="27035"/>
                  </a:lnTo>
                  <a:lnTo>
                    <a:pt x="227094" y="0"/>
                  </a:lnTo>
                  <a:lnTo>
                    <a:pt x="328004" y="69948"/>
                  </a:lnTo>
                  <a:lnTo>
                    <a:pt x="326080" y="74925"/>
                  </a:lnTo>
                  <a:cubicBezTo>
                    <a:pt x="317843" y="85805"/>
                    <a:pt x="306659" y="94549"/>
                    <a:pt x="293645" y="100243"/>
                  </a:cubicBezTo>
                  <a:lnTo>
                    <a:pt x="294458" y="10024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" name="Forme libre : forme 120">
              <a:extLst>
                <a:ext uri="{FF2B5EF4-FFF2-40B4-BE49-F238E27FC236}">
                  <a16:creationId xmlns:a16="http://schemas.microsoft.com/office/drawing/2014/main" id="{0B28DAC7-E1B5-4397-8312-3939C6181805}"/>
                </a:ext>
              </a:extLst>
            </p:cNvPr>
            <p:cNvSpPr/>
            <p:nvPr/>
          </p:nvSpPr>
          <p:spPr>
            <a:xfrm rot="8716295">
              <a:off x="1383191" y="474927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" name="Forme libre : forme 121">
              <a:extLst>
                <a:ext uri="{FF2B5EF4-FFF2-40B4-BE49-F238E27FC236}">
                  <a16:creationId xmlns:a16="http://schemas.microsoft.com/office/drawing/2014/main" id="{9B5900D5-EF58-45B1-849A-84D4EFAA76C9}"/>
                </a:ext>
              </a:extLst>
            </p:cNvPr>
            <p:cNvSpPr/>
            <p:nvPr/>
          </p:nvSpPr>
          <p:spPr>
            <a:xfrm rot="8716295">
              <a:off x="1015027" y="479501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" name="Forme libre : forme 122">
              <a:extLst>
                <a:ext uri="{FF2B5EF4-FFF2-40B4-BE49-F238E27FC236}">
                  <a16:creationId xmlns:a16="http://schemas.microsoft.com/office/drawing/2014/main" id="{31771F28-8680-4E6C-A8C1-BC66F7BF0BA9}"/>
                </a:ext>
              </a:extLst>
            </p:cNvPr>
            <p:cNvSpPr/>
            <p:nvPr/>
          </p:nvSpPr>
          <p:spPr>
            <a:xfrm rot="8716295">
              <a:off x="1283609" y="455399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" name="Forme libre : forme 123">
              <a:extLst>
                <a:ext uri="{FF2B5EF4-FFF2-40B4-BE49-F238E27FC236}">
                  <a16:creationId xmlns:a16="http://schemas.microsoft.com/office/drawing/2014/main" id="{AC2CE701-4BE3-4F79-917E-19B3C750B982}"/>
                </a:ext>
              </a:extLst>
            </p:cNvPr>
            <p:cNvSpPr/>
            <p:nvPr/>
          </p:nvSpPr>
          <p:spPr>
            <a:xfrm rot="8716295">
              <a:off x="-30381" y="3359388"/>
              <a:ext cx="98497" cy="75863"/>
            </a:xfrm>
            <a:custGeom>
              <a:avLst/>
              <a:gdLst>
                <a:gd name="connsiteX0" fmla="*/ 0 w 98497"/>
                <a:gd name="connsiteY0" fmla="*/ 75863 h 75863"/>
                <a:gd name="connsiteX1" fmla="*/ 0 w 98497"/>
                <a:gd name="connsiteY1" fmla="*/ 0 h 75863"/>
                <a:gd name="connsiteX2" fmla="*/ 98497 w 98497"/>
                <a:gd name="connsiteY2" fmla="*/ 0 h 75863"/>
                <a:gd name="connsiteX3" fmla="*/ 45911 w 98497"/>
                <a:gd name="connsiteY3" fmla="*/ 75863 h 75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497" h="75863">
                  <a:moveTo>
                    <a:pt x="0" y="75863"/>
                  </a:moveTo>
                  <a:lnTo>
                    <a:pt x="0" y="0"/>
                  </a:lnTo>
                  <a:lnTo>
                    <a:pt x="98497" y="0"/>
                  </a:lnTo>
                  <a:lnTo>
                    <a:pt x="45911" y="758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" name="Forme libre : forme 124">
              <a:extLst>
                <a:ext uri="{FF2B5EF4-FFF2-40B4-BE49-F238E27FC236}">
                  <a16:creationId xmlns:a16="http://schemas.microsoft.com/office/drawing/2014/main" id="{F4F0C1BC-FBE5-45A4-A80E-BAB3E52DE367}"/>
                </a:ext>
              </a:extLst>
            </p:cNvPr>
            <p:cNvSpPr/>
            <p:nvPr/>
          </p:nvSpPr>
          <p:spPr>
            <a:xfrm rot="8716295">
              <a:off x="-77334" y="3178477"/>
              <a:ext cx="389652" cy="385611"/>
            </a:xfrm>
            <a:custGeom>
              <a:avLst/>
              <a:gdLst>
                <a:gd name="connsiteX0" fmla="*/ 77932 w 389652"/>
                <a:gd name="connsiteY0" fmla="*/ 385611 h 385611"/>
                <a:gd name="connsiteX1" fmla="*/ 77932 w 389652"/>
                <a:gd name="connsiteY1" fmla="*/ 69054 h 385611"/>
                <a:gd name="connsiteX2" fmla="*/ 0 w 389652"/>
                <a:gd name="connsiteY2" fmla="*/ 69054 h 385611"/>
                <a:gd name="connsiteX3" fmla="*/ 0 w 389652"/>
                <a:gd name="connsiteY3" fmla="*/ 2156 h 385611"/>
                <a:gd name="connsiteX4" fmla="*/ 158623 w 389652"/>
                <a:gd name="connsiteY4" fmla="*/ 2156 h 385611"/>
                <a:gd name="connsiteX5" fmla="*/ 158623 w 389652"/>
                <a:gd name="connsiteY5" fmla="*/ 113882 h 385611"/>
                <a:gd name="connsiteX6" fmla="*/ 160692 w 389652"/>
                <a:gd name="connsiteY6" fmla="*/ 113882 h 385611"/>
                <a:gd name="connsiteX7" fmla="*/ 233107 w 389652"/>
                <a:gd name="connsiteY7" fmla="*/ 9053 h 385611"/>
                <a:gd name="connsiteX8" fmla="*/ 280694 w 389652"/>
                <a:gd name="connsiteY8" fmla="*/ 87 h 385611"/>
                <a:gd name="connsiteX9" fmla="*/ 364230 w 389652"/>
                <a:gd name="connsiteY9" fmla="*/ 34398 h 385611"/>
                <a:gd name="connsiteX10" fmla="*/ 389652 w 389652"/>
                <a:gd name="connsiteY10" fmla="*/ 117977 h 385611"/>
                <a:gd name="connsiteX11" fmla="*/ 371473 w 389652"/>
                <a:gd name="connsiteY11" fmla="*/ 144202 h 385611"/>
                <a:gd name="connsiteX12" fmla="*/ 300695 w 389652"/>
                <a:gd name="connsiteY12" fmla="*/ 148366 h 385611"/>
                <a:gd name="connsiteX13" fmla="*/ 300695 w 389652"/>
                <a:gd name="connsiteY13" fmla="*/ 123538 h 385611"/>
                <a:gd name="connsiteX14" fmla="*/ 249659 w 389652"/>
                <a:gd name="connsiteY14" fmla="*/ 60778 h 385611"/>
                <a:gd name="connsiteX15" fmla="*/ 168969 w 389652"/>
                <a:gd name="connsiteY15" fmla="*/ 193194 h 385611"/>
                <a:gd name="connsiteX16" fmla="*/ 168969 w 389652"/>
                <a:gd name="connsiteY16" fmla="*/ 323541 h 385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89652" h="385611">
                  <a:moveTo>
                    <a:pt x="77932" y="385611"/>
                  </a:moveTo>
                  <a:lnTo>
                    <a:pt x="77932" y="69054"/>
                  </a:lnTo>
                  <a:lnTo>
                    <a:pt x="0" y="69054"/>
                  </a:lnTo>
                  <a:lnTo>
                    <a:pt x="0" y="2156"/>
                  </a:lnTo>
                  <a:lnTo>
                    <a:pt x="158623" y="2156"/>
                  </a:lnTo>
                  <a:lnTo>
                    <a:pt x="158623" y="113882"/>
                  </a:lnTo>
                  <a:lnTo>
                    <a:pt x="160692" y="113882"/>
                  </a:lnTo>
                  <a:cubicBezTo>
                    <a:pt x="182762" y="48364"/>
                    <a:pt x="200003" y="22846"/>
                    <a:pt x="233107" y="9053"/>
                  </a:cubicBezTo>
                  <a:cubicBezTo>
                    <a:pt x="248280" y="2846"/>
                    <a:pt x="264142" y="-602"/>
                    <a:pt x="280694" y="87"/>
                  </a:cubicBezTo>
                  <a:cubicBezTo>
                    <a:pt x="316212" y="-603"/>
                    <a:pt x="344661" y="11466"/>
                    <a:pt x="364230" y="34398"/>
                  </a:cubicBezTo>
                  <a:lnTo>
                    <a:pt x="389652" y="117977"/>
                  </a:lnTo>
                  <a:lnTo>
                    <a:pt x="371473" y="144202"/>
                  </a:lnTo>
                  <a:lnTo>
                    <a:pt x="300695" y="148366"/>
                  </a:lnTo>
                  <a:lnTo>
                    <a:pt x="300695" y="123538"/>
                  </a:lnTo>
                  <a:cubicBezTo>
                    <a:pt x="300695" y="86296"/>
                    <a:pt x="279315" y="60778"/>
                    <a:pt x="249659" y="60778"/>
                  </a:cubicBezTo>
                  <a:cubicBezTo>
                    <a:pt x="205521" y="60778"/>
                    <a:pt x="168969" y="119400"/>
                    <a:pt x="168969" y="193194"/>
                  </a:cubicBezTo>
                  <a:lnTo>
                    <a:pt x="168969" y="3235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" name="Forme libre : forme 125">
              <a:extLst>
                <a:ext uri="{FF2B5EF4-FFF2-40B4-BE49-F238E27FC236}">
                  <a16:creationId xmlns:a16="http://schemas.microsoft.com/office/drawing/2014/main" id="{DD7E27D6-EDC4-4410-A8FD-B0AB28C9E1C2}"/>
                </a:ext>
              </a:extLst>
            </p:cNvPr>
            <p:cNvSpPr/>
            <p:nvPr/>
          </p:nvSpPr>
          <p:spPr>
            <a:xfrm rot="8716295">
              <a:off x="-71352" y="3029015"/>
              <a:ext cx="193594" cy="189959"/>
            </a:xfrm>
            <a:custGeom>
              <a:avLst/>
              <a:gdLst>
                <a:gd name="connsiteX0" fmla="*/ 8965 w 193594"/>
                <a:gd name="connsiteY0" fmla="*/ 189959 h 189959"/>
                <a:gd name="connsiteX1" fmla="*/ 0 w 193594"/>
                <a:gd name="connsiteY1" fmla="*/ 177545 h 189959"/>
                <a:gd name="connsiteX2" fmla="*/ 163451 w 193594"/>
                <a:gd name="connsiteY2" fmla="*/ 23749 h 189959"/>
                <a:gd name="connsiteX3" fmla="*/ 193594 w 193594"/>
                <a:gd name="connsiteY3" fmla="*/ 0 h 189959"/>
                <a:gd name="connsiteX4" fmla="*/ 84606 w 193594"/>
                <a:gd name="connsiteY4" fmla="*/ 157232 h 189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594" h="189959">
                  <a:moveTo>
                    <a:pt x="8965" y="189959"/>
                  </a:moveTo>
                  <a:lnTo>
                    <a:pt x="0" y="177545"/>
                  </a:lnTo>
                  <a:lnTo>
                    <a:pt x="163451" y="23749"/>
                  </a:lnTo>
                  <a:lnTo>
                    <a:pt x="193594" y="0"/>
                  </a:lnTo>
                  <a:lnTo>
                    <a:pt x="84606" y="15723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" name="Forme libre : forme 126">
              <a:extLst>
                <a:ext uri="{FF2B5EF4-FFF2-40B4-BE49-F238E27FC236}">
                  <a16:creationId xmlns:a16="http://schemas.microsoft.com/office/drawing/2014/main" id="{9053D84D-7FDB-4998-A81C-E5ABAA6EDE5E}"/>
                </a:ext>
              </a:extLst>
            </p:cNvPr>
            <p:cNvSpPr/>
            <p:nvPr/>
          </p:nvSpPr>
          <p:spPr>
            <a:xfrm rot="8716295">
              <a:off x="223574" y="276232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" name="Forme libre : forme 127">
              <a:extLst>
                <a:ext uri="{FF2B5EF4-FFF2-40B4-BE49-F238E27FC236}">
                  <a16:creationId xmlns:a16="http://schemas.microsoft.com/office/drawing/2014/main" id="{87AB580E-8F4B-47CD-9028-D46526078CE4}"/>
                </a:ext>
              </a:extLst>
            </p:cNvPr>
            <p:cNvSpPr/>
            <p:nvPr/>
          </p:nvSpPr>
          <p:spPr>
            <a:xfrm rot="8716295">
              <a:off x="358873" y="2806579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" name="Forme libre : forme 128">
              <a:extLst>
                <a:ext uri="{FF2B5EF4-FFF2-40B4-BE49-F238E27FC236}">
                  <a16:creationId xmlns:a16="http://schemas.microsoft.com/office/drawing/2014/main" id="{E19792CF-DDD1-4F4B-9682-435BC6CB8DED}"/>
                </a:ext>
              </a:extLst>
            </p:cNvPr>
            <p:cNvSpPr/>
            <p:nvPr/>
          </p:nvSpPr>
          <p:spPr>
            <a:xfrm rot="8716295">
              <a:off x="53703" y="2896335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" name="Forme libre : forme 129">
              <a:extLst>
                <a:ext uri="{FF2B5EF4-FFF2-40B4-BE49-F238E27FC236}">
                  <a16:creationId xmlns:a16="http://schemas.microsoft.com/office/drawing/2014/main" id="{BD0B65CA-A3C5-4B2A-8016-3FA0B6B241F4}"/>
                </a:ext>
              </a:extLst>
            </p:cNvPr>
            <p:cNvSpPr/>
            <p:nvPr/>
          </p:nvSpPr>
          <p:spPr>
            <a:xfrm rot="8716295">
              <a:off x="-92201" y="2622488"/>
              <a:ext cx="271732" cy="238722"/>
            </a:xfrm>
            <a:custGeom>
              <a:avLst/>
              <a:gdLst>
                <a:gd name="connsiteX0" fmla="*/ 106257 w 271732"/>
                <a:gd name="connsiteY0" fmla="*/ 238722 h 238722"/>
                <a:gd name="connsiteX1" fmla="*/ 72418 w 271732"/>
                <a:gd name="connsiteY1" fmla="*/ 175766 h 238722"/>
                <a:gd name="connsiteX2" fmla="*/ 105610 w 271732"/>
                <a:gd name="connsiteY2" fmla="*/ 83734 h 238722"/>
                <a:gd name="connsiteX3" fmla="*/ 0 w 271732"/>
                <a:gd name="connsiteY3" fmla="*/ 83734 h 238722"/>
                <a:gd name="connsiteX4" fmla="*/ 0 w 271732"/>
                <a:gd name="connsiteY4" fmla="*/ 0 h 238722"/>
                <a:gd name="connsiteX5" fmla="*/ 271732 w 271732"/>
                <a:gd name="connsiteY5" fmla="*/ 0 h 238722"/>
                <a:gd name="connsiteX6" fmla="*/ 213690 w 271732"/>
                <a:gd name="connsiteY6" fmla="*/ 83734 h 238722"/>
                <a:gd name="connsiteX7" fmla="*/ 210465 w 271732"/>
                <a:gd name="connsiteY7" fmla="*/ 83734 h 238722"/>
                <a:gd name="connsiteX8" fmla="*/ 207289 w 271732"/>
                <a:gd name="connsiteY8" fmla="*/ 92969 h 238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1732" h="238722">
                  <a:moveTo>
                    <a:pt x="106257" y="238722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71732" y="0"/>
                  </a:lnTo>
                  <a:lnTo>
                    <a:pt x="213690" y="83734"/>
                  </a:lnTo>
                  <a:lnTo>
                    <a:pt x="210465" y="83734"/>
                  </a:lnTo>
                  <a:lnTo>
                    <a:pt x="207289" y="929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" name="Forme libre : forme 130">
              <a:extLst>
                <a:ext uri="{FF2B5EF4-FFF2-40B4-BE49-F238E27FC236}">
                  <a16:creationId xmlns:a16="http://schemas.microsoft.com/office/drawing/2014/main" id="{A401047D-B75D-4F40-878E-D1BF52EA2F0E}"/>
                </a:ext>
              </a:extLst>
            </p:cNvPr>
            <p:cNvSpPr/>
            <p:nvPr/>
          </p:nvSpPr>
          <p:spPr>
            <a:xfrm rot="8716295">
              <a:off x="190192" y="2958318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" name="Forme libre : forme 131">
              <a:extLst>
                <a:ext uri="{FF2B5EF4-FFF2-40B4-BE49-F238E27FC236}">
                  <a16:creationId xmlns:a16="http://schemas.microsoft.com/office/drawing/2014/main" id="{0A764231-DFA5-45AC-9649-96FE00947629}"/>
                </a:ext>
              </a:extLst>
            </p:cNvPr>
            <p:cNvSpPr/>
            <p:nvPr/>
          </p:nvSpPr>
          <p:spPr>
            <a:xfrm rot="7484129">
              <a:off x="349009" y="324793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" name="Forme libre : forme 132">
              <a:extLst>
                <a:ext uri="{FF2B5EF4-FFF2-40B4-BE49-F238E27FC236}">
                  <a16:creationId xmlns:a16="http://schemas.microsoft.com/office/drawing/2014/main" id="{08367284-C420-422D-A59E-EC2B0D5CAF81}"/>
                </a:ext>
              </a:extLst>
            </p:cNvPr>
            <p:cNvSpPr/>
            <p:nvPr/>
          </p:nvSpPr>
          <p:spPr>
            <a:xfrm rot="13089394">
              <a:off x="507659" y="3197284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" name="Forme libre : forme 133">
              <a:extLst>
                <a:ext uri="{FF2B5EF4-FFF2-40B4-BE49-F238E27FC236}">
                  <a16:creationId xmlns:a16="http://schemas.microsoft.com/office/drawing/2014/main" id="{6E0CAE80-C507-4A7F-B64E-2B2322B07A4F}"/>
                </a:ext>
              </a:extLst>
            </p:cNvPr>
            <p:cNvSpPr/>
            <p:nvPr/>
          </p:nvSpPr>
          <p:spPr>
            <a:xfrm rot="8716295">
              <a:off x="788550" y="2907166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" name="Forme libre : forme 134">
              <a:extLst>
                <a:ext uri="{FF2B5EF4-FFF2-40B4-BE49-F238E27FC236}">
                  <a16:creationId xmlns:a16="http://schemas.microsoft.com/office/drawing/2014/main" id="{4935918E-F29D-4E02-AE1D-44610A8EABE6}"/>
                </a:ext>
              </a:extLst>
            </p:cNvPr>
            <p:cNvSpPr/>
            <p:nvPr/>
          </p:nvSpPr>
          <p:spPr>
            <a:xfrm rot="8716295">
              <a:off x="710141" y="275037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" name="Forme libre : forme 135">
              <a:extLst>
                <a:ext uri="{FF2B5EF4-FFF2-40B4-BE49-F238E27FC236}">
                  <a16:creationId xmlns:a16="http://schemas.microsoft.com/office/drawing/2014/main" id="{0186616C-3255-4138-99FF-17ACDEE12423}"/>
                </a:ext>
              </a:extLst>
            </p:cNvPr>
            <p:cNvSpPr/>
            <p:nvPr/>
          </p:nvSpPr>
          <p:spPr>
            <a:xfrm rot="8716295">
              <a:off x="341977" y="279611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" name="Forme libre : forme 136">
              <a:extLst>
                <a:ext uri="{FF2B5EF4-FFF2-40B4-BE49-F238E27FC236}">
                  <a16:creationId xmlns:a16="http://schemas.microsoft.com/office/drawing/2014/main" id="{00B7B22E-16FD-44D5-9219-31608DDFCC39}"/>
                </a:ext>
              </a:extLst>
            </p:cNvPr>
            <p:cNvSpPr/>
            <p:nvPr/>
          </p:nvSpPr>
          <p:spPr>
            <a:xfrm rot="8716295">
              <a:off x="610559" y="2555095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" name="Forme libre : forme 137">
              <a:extLst>
                <a:ext uri="{FF2B5EF4-FFF2-40B4-BE49-F238E27FC236}">
                  <a16:creationId xmlns:a16="http://schemas.microsoft.com/office/drawing/2014/main" id="{A6953B6D-6364-4054-88C6-74B273B65431}"/>
                </a:ext>
              </a:extLst>
            </p:cNvPr>
            <p:cNvSpPr/>
            <p:nvPr/>
          </p:nvSpPr>
          <p:spPr>
            <a:xfrm rot="8716295">
              <a:off x="-24305" y="2374348"/>
              <a:ext cx="58950" cy="66898"/>
            </a:xfrm>
            <a:custGeom>
              <a:avLst/>
              <a:gdLst>
                <a:gd name="connsiteX0" fmla="*/ 0 w 58950"/>
                <a:gd name="connsiteY0" fmla="*/ 66898 h 66898"/>
                <a:gd name="connsiteX1" fmla="*/ 0 w 58950"/>
                <a:gd name="connsiteY1" fmla="*/ 0 h 66898"/>
                <a:gd name="connsiteX2" fmla="*/ 58950 w 58950"/>
                <a:gd name="connsiteY2" fmla="*/ 0 h 66898"/>
                <a:gd name="connsiteX3" fmla="*/ 12579 w 58950"/>
                <a:gd name="connsiteY3" fmla="*/ 66898 h 6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950" h="66898">
                  <a:moveTo>
                    <a:pt x="0" y="66898"/>
                  </a:moveTo>
                  <a:lnTo>
                    <a:pt x="0" y="0"/>
                  </a:lnTo>
                  <a:lnTo>
                    <a:pt x="58950" y="0"/>
                  </a:lnTo>
                  <a:lnTo>
                    <a:pt x="12579" y="668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" name="Forme libre : forme 138">
              <a:extLst>
                <a:ext uri="{FF2B5EF4-FFF2-40B4-BE49-F238E27FC236}">
                  <a16:creationId xmlns:a16="http://schemas.microsoft.com/office/drawing/2014/main" id="{41AD4D21-E927-44C5-8A83-B759FDFF6D06}"/>
                </a:ext>
              </a:extLst>
            </p:cNvPr>
            <p:cNvSpPr/>
            <p:nvPr/>
          </p:nvSpPr>
          <p:spPr>
            <a:xfrm rot="8716295">
              <a:off x="-39593" y="1952072"/>
              <a:ext cx="198050" cy="140164"/>
            </a:xfrm>
            <a:custGeom>
              <a:avLst/>
              <a:gdLst>
                <a:gd name="connsiteX0" fmla="*/ 0 w 198050"/>
                <a:gd name="connsiteY0" fmla="*/ 75863 h 140164"/>
                <a:gd name="connsiteX1" fmla="*/ 0 w 198050"/>
                <a:gd name="connsiteY1" fmla="*/ 0 h 140164"/>
                <a:gd name="connsiteX2" fmla="*/ 128968 w 198050"/>
                <a:gd name="connsiteY2" fmla="*/ 0 h 140164"/>
                <a:gd name="connsiteX3" fmla="*/ 193021 w 198050"/>
                <a:gd name="connsiteY3" fmla="*/ 18535 h 140164"/>
                <a:gd name="connsiteX4" fmla="*/ 198050 w 198050"/>
                <a:gd name="connsiteY4" fmla="*/ 31548 h 140164"/>
                <a:gd name="connsiteX5" fmla="*/ 122761 w 198050"/>
                <a:gd name="connsiteY5" fmla="*/ 140164 h 140164"/>
                <a:gd name="connsiteX6" fmla="*/ 122761 w 198050"/>
                <a:gd name="connsiteY6" fmla="*/ 105519 h 140164"/>
                <a:gd name="connsiteX7" fmla="*/ 122761 w 198050"/>
                <a:gd name="connsiteY7" fmla="*/ 99312 h 140164"/>
                <a:gd name="connsiteX8" fmla="*/ 91726 w 198050"/>
                <a:gd name="connsiteY8" fmla="*/ 75863 h 140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8050" h="140164">
                  <a:moveTo>
                    <a:pt x="0" y="75863"/>
                  </a:moveTo>
                  <a:lnTo>
                    <a:pt x="0" y="0"/>
                  </a:lnTo>
                  <a:lnTo>
                    <a:pt x="128968" y="0"/>
                  </a:lnTo>
                  <a:cubicBezTo>
                    <a:pt x="156900" y="0"/>
                    <a:pt x="178452" y="6034"/>
                    <a:pt x="193021" y="18535"/>
                  </a:cubicBezTo>
                  <a:lnTo>
                    <a:pt x="198050" y="31548"/>
                  </a:lnTo>
                  <a:lnTo>
                    <a:pt x="122761" y="140164"/>
                  </a:ln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4"/>
                    <a:pt x="91726" y="758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" name="Forme libre : forme 139">
              <a:extLst>
                <a:ext uri="{FF2B5EF4-FFF2-40B4-BE49-F238E27FC236}">
                  <a16:creationId xmlns:a16="http://schemas.microsoft.com/office/drawing/2014/main" id="{B82C4F59-A689-41F2-8DD0-9745004AE675}"/>
                </a:ext>
              </a:extLst>
            </p:cNvPr>
            <p:cNvSpPr/>
            <p:nvPr/>
          </p:nvSpPr>
          <p:spPr>
            <a:xfrm rot="8716295">
              <a:off x="21100" y="1808096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" name="Forme libre : forme 140">
              <a:extLst>
                <a:ext uri="{FF2B5EF4-FFF2-40B4-BE49-F238E27FC236}">
                  <a16:creationId xmlns:a16="http://schemas.microsoft.com/office/drawing/2014/main" id="{FA2478B0-E5E2-4F32-8061-87C7FA11FBE0}"/>
                </a:ext>
              </a:extLst>
            </p:cNvPr>
            <p:cNvSpPr/>
            <p:nvPr/>
          </p:nvSpPr>
          <p:spPr>
            <a:xfrm rot="8716295">
              <a:off x="-24330" y="2197782"/>
              <a:ext cx="102508" cy="53362"/>
            </a:xfrm>
            <a:custGeom>
              <a:avLst/>
              <a:gdLst>
                <a:gd name="connsiteX0" fmla="*/ 0 w 102508"/>
                <a:gd name="connsiteY0" fmla="*/ 23637 h 53362"/>
                <a:gd name="connsiteX1" fmla="*/ 0 w 102508"/>
                <a:gd name="connsiteY1" fmla="*/ 2258 h 53362"/>
                <a:gd name="connsiteX2" fmla="*/ 102508 w 102508"/>
                <a:gd name="connsiteY2" fmla="*/ 0 h 53362"/>
                <a:gd name="connsiteX3" fmla="*/ 65519 w 102508"/>
                <a:gd name="connsiteY3" fmla="*/ 53362 h 53362"/>
                <a:gd name="connsiteX4" fmla="*/ 65519 w 102508"/>
                <a:gd name="connsiteY4" fmla="*/ 23637 h 5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508" h="53362">
                  <a:moveTo>
                    <a:pt x="0" y="23637"/>
                  </a:moveTo>
                  <a:lnTo>
                    <a:pt x="0" y="2258"/>
                  </a:lnTo>
                  <a:lnTo>
                    <a:pt x="102508" y="0"/>
                  </a:lnTo>
                  <a:lnTo>
                    <a:pt x="65519" y="53362"/>
                  </a:lnTo>
                  <a:lnTo>
                    <a:pt x="65519" y="2363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" name="Forme libre : forme 141">
              <a:extLst>
                <a:ext uri="{FF2B5EF4-FFF2-40B4-BE49-F238E27FC236}">
                  <a16:creationId xmlns:a16="http://schemas.microsoft.com/office/drawing/2014/main" id="{949053A5-7216-4B32-8AE1-A37ED2B2705A}"/>
                </a:ext>
              </a:extLst>
            </p:cNvPr>
            <p:cNvSpPr/>
            <p:nvPr/>
          </p:nvSpPr>
          <p:spPr>
            <a:xfrm rot="7484129">
              <a:off x="11236" y="224945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" name="Forme libre : forme 142">
              <a:extLst>
                <a:ext uri="{FF2B5EF4-FFF2-40B4-BE49-F238E27FC236}">
                  <a16:creationId xmlns:a16="http://schemas.microsoft.com/office/drawing/2014/main" id="{028B569C-B0FE-4A67-B111-B99F3950BB2A}"/>
                </a:ext>
              </a:extLst>
            </p:cNvPr>
            <p:cNvSpPr/>
            <p:nvPr/>
          </p:nvSpPr>
          <p:spPr>
            <a:xfrm rot="13089394">
              <a:off x="169886" y="2198801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4" name="Forme libre : forme 143">
              <a:extLst>
                <a:ext uri="{FF2B5EF4-FFF2-40B4-BE49-F238E27FC236}">
                  <a16:creationId xmlns:a16="http://schemas.microsoft.com/office/drawing/2014/main" id="{DDDAF86D-35C8-42A2-A70C-525D2D5475FD}"/>
                </a:ext>
              </a:extLst>
            </p:cNvPr>
            <p:cNvSpPr/>
            <p:nvPr/>
          </p:nvSpPr>
          <p:spPr>
            <a:xfrm rot="8716295">
              <a:off x="450777" y="1908683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5" name="Forme libre : forme 144">
              <a:extLst>
                <a:ext uri="{FF2B5EF4-FFF2-40B4-BE49-F238E27FC236}">
                  <a16:creationId xmlns:a16="http://schemas.microsoft.com/office/drawing/2014/main" id="{0456C75C-046A-4449-8D19-7B887B7670B6}"/>
                </a:ext>
              </a:extLst>
            </p:cNvPr>
            <p:cNvSpPr/>
            <p:nvPr/>
          </p:nvSpPr>
          <p:spPr>
            <a:xfrm rot="8716295">
              <a:off x="372368" y="175189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6" name="Forme libre : forme 145">
              <a:extLst>
                <a:ext uri="{FF2B5EF4-FFF2-40B4-BE49-F238E27FC236}">
                  <a16:creationId xmlns:a16="http://schemas.microsoft.com/office/drawing/2014/main" id="{9071FCAB-0728-4659-9A50-F1E4D3A34FCA}"/>
                </a:ext>
              </a:extLst>
            </p:cNvPr>
            <p:cNvSpPr/>
            <p:nvPr/>
          </p:nvSpPr>
          <p:spPr>
            <a:xfrm rot="8716295">
              <a:off x="4204" y="179763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7" name="Forme libre : forme 146">
              <a:extLst>
                <a:ext uri="{FF2B5EF4-FFF2-40B4-BE49-F238E27FC236}">
                  <a16:creationId xmlns:a16="http://schemas.microsoft.com/office/drawing/2014/main" id="{74F9CC45-BF7F-4E25-8F71-1BD6DA2F0E29}"/>
                </a:ext>
              </a:extLst>
            </p:cNvPr>
            <p:cNvSpPr/>
            <p:nvPr/>
          </p:nvSpPr>
          <p:spPr>
            <a:xfrm rot="8716295">
              <a:off x="272786" y="155661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8" name="Forme libre : forme 147">
              <a:extLst>
                <a:ext uri="{FF2B5EF4-FFF2-40B4-BE49-F238E27FC236}">
                  <a16:creationId xmlns:a16="http://schemas.microsoft.com/office/drawing/2014/main" id="{9BA7D72C-89C5-4ADB-A9D6-05B170E731F6}"/>
                </a:ext>
              </a:extLst>
            </p:cNvPr>
            <p:cNvSpPr/>
            <p:nvPr/>
          </p:nvSpPr>
          <p:spPr>
            <a:xfrm rot="8716295">
              <a:off x="-35149" y="938156"/>
              <a:ext cx="158623" cy="159016"/>
            </a:xfrm>
            <a:custGeom>
              <a:avLst/>
              <a:gdLst>
                <a:gd name="connsiteX0" fmla="*/ 77932 w 158623"/>
                <a:gd name="connsiteY0" fmla="*/ 159016 h 159016"/>
                <a:gd name="connsiteX1" fmla="*/ 77932 w 158623"/>
                <a:gd name="connsiteY1" fmla="*/ 66898 h 159016"/>
                <a:gd name="connsiteX2" fmla="*/ 0 w 158623"/>
                <a:gd name="connsiteY2" fmla="*/ 66898 h 159016"/>
                <a:gd name="connsiteX3" fmla="*/ 0 w 158623"/>
                <a:gd name="connsiteY3" fmla="*/ 0 h 159016"/>
                <a:gd name="connsiteX4" fmla="*/ 158623 w 158623"/>
                <a:gd name="connsiteY4" fmla="*/ 0 h 159016"/>
                <a:gd name="connsiteX5" fmla="*/ 158623 w 158623"/>
                <a:gd name="connsiteY5" fmla="*/ 42606 h 15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8623" h="159016">
                  <a:moveTo>
                    <a:pt x="77932" y="159016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4260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9" name="Forme libre : forme 148">
              <a:extLst>
                <a:ext uri="{FF2B5EF4-FFF2-40B4-BE49-F238E27FC236}">
                  <a16:creationId xmlns:a16="http://schemas.microsoft.com/office/drawing/2014/main" id="{049A796E-46A8-44F5-A685-EFE861D38A62}"/>
                </a:ext>
              </a:extLst>
            </p:cNvPr>
            <p:cNvSpPr/>
            <p:nvPr/>
          </p:nvSpPr>
          <p:spPr>
            <a:xfrm rot="7484129">
              <a:off x="-32979" y="1345537"/>
              <a:ext cx="65961" cy="45734"/>
            </a:xfrm>
            <a:custGeom>
              <a:avLst/>
              <a:gdLst>
                <a:gd name="connsiteX0" fmla="*/ 0 w 65961"/>
                <a:gd name="connsiteY0" fmla="*/ 45734 h 45734"/>
                <a:gd name="connsiteX1" fmla="*/ 0 w 65961"/>
                <a:gd name="connsiteY1" fmla="*/ 0 h 45734"/>
                <a:gd name="connsiteX2" fmla="*/ 65961 w 65961"/>
                <a:gd name="connsiteY2" fmla="*/ 0 h 45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5961" h="45734">
                  <a:moveTo>
                    <a:pt x="0" y="45734"/>
                  </a:moveTo>
                  <a:lnTo>
                    <a:pt x="0" y="0"/>
                  </a:lnTo>
                  <a:lnTo>
                    <a:pt x="6596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0" name="Forme libre : forme 149">
              <a:extLst>
                <a:ext uri="{FF2B5EF4-FFF2-40B4-BE49-F238E27FC236}">
                  <a16:creationId xmlns:a16="http://schemas.microsoft.com/office/drawing/2014/main" id="{5C3088F6-9CC3-48D3-A8B8-D590346DDC75}"/>
                </a:ext>
              </a:extLst>
            </p:cNvPr>
            <p:cNvSpPr/>
            <p:nvPr/>
          </p:nvSpPr>
          <p:spPr>
            <a:xfrm rot="13089394">
              <a:off x="-134707" y="1200752"/>
              <a:ext cx="386820" cy="481345"/>
            </a:xfrm>
            <a:custGeom>
              <a:avLst/>
              <a:gdLst>
                <a:gd name="connsiteX0" fmla="*/ 386820 w 386820"/>
                <a:gd name="connsiteY0" fmla="*/ 391818 h 481345"/>
                <a:gd name="connsiteX1" fmla="*/ 342166 w 386820"/>
                <a:gd name="connsiteY1" fmla="*/ 422376 h 481345"/>
                <a:gd name="connsiteX2" fmla="*/ 138636 w 386820"/>
                <a:gd name="connsiteY2" fmla="*/ 481098 h 481345"/>
                <a:gd name="connsiteX3" fmla="*/ 35911 w 386820"/>
                <a:gd name="connsiteY3" fmla="*/ 439340 h 481345"/>
                <a:gd name="connsiteX4" fmla="*/ 0 w 386820"/>
                <a:gd name="connsiteY4" fmla="*/ 295693 h 481345"/>
                <a:gd name="connsiteX5" fmla="*/ 0 w 386820"/>
                <a:gd name="connsiteY5" fmla="*/ 40970 h 481345"/>
                <a:gd name="connsiteX6" fmla="*/ 78970 w 386820"/>
                <a:gd name="connsiteY6" fmla="*/ 0 h 481345"/>
                <a:gd name="connsiteX7" fmla="*/ 111492 w 386820"/>
                <a:gd name="connsiteY7" fmla="*/ 41392 h 481345"/>
                <a:gd name="connsiteX8" fmla="*/ 112747 w 386820"/>
                <a:gd name="connsiteY8" fmla="*/ 216353 h 481345"/>
                <a:gd name="connsiteX9" fmla="*/ 132789 w 386820"/>
                <a:gd name="connsiteY9" fmla="*/ 354990 h 481345"/>
                <a:gd name="connsiteX10" fmla="*/ 233008 w 386820"/>
                <a:gd name="connsiteY10" fmla="*/ 410110 h 481345"/>
                <a:gd name="connsiteX11" fmla="*/ 308173 w 386820"/>
                <a:gd name="connsiteY11" fmla="*/ 396747 h 481345"/>
                <a:gd name="connsiteX12" fmla="*/ 370717 w 386820"/>
                <a:gd name="connsiteY12" fmla="*/ 371323 h 481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6820" h="481345">
                  <a:moveTo>
                    <a:pt x="386820" y="391818"/>
                  </a:moveTo>
                  <a:lnTo>
                    <a:pt x="342166" y="422376"/>
                  </a:lnTo>
                  <a:cubicBezTo>
                    <a:pt x="268920" y="462151"/>
                    <a:pt x="190624" y="477966"/>
                    <a:pt x="138636" y="481098"/>
                  </a:cubicBezTo>
                  <a:cubicBezTo>
                    <a:pt x="100219" y="483604"/>
                    <a:pt x="62637" y="466901"/>
                    <a:pt x="35911" y="439340"/>
                  </a:cubicBezTo>
                  <a:cubicBezTo>
                    <a:pt x="7516" y="411780"/>
                    <a:pt x="0" y="364176"/>
                    <a:pt x="0" y="295693"/>
                  </a:cubicBezTo>
                  <a:lnTo>
                    <a:pt x="0" y="40970"/>
                  </a:lnTo>
                  <a:lnTo>
                    <a:pt x="78970" y="0"/>
                  </a:lnTo>
                  <a:lnTo>
                    <a:pt x="111492" y="41392"/>
                  </a:lnTo>
                  <a:lnTo>
                    <a:pt x="112747" y="216353"/>
                  </a:lnTo>
                  <a:cubicBezTo>
                    <a:pt x="110241" y="263122"/>
                    <a:pt x="117757" y="310726"/>
                    <a:pt x="132789" y="354990"/>
                  </a:cubicBezTo>
                  <a:cubicBezTo>
                    <a:pt x="146153" y="391736"/>
                    <a:pt x="180394" y="410110"/>
                    <a:pt x="233008" y="410110"/>
                  </a:cubicBezTo>
                  <a:cubicBezTo>
                    <a:pt x="258899" y="409274"/>
                    <a:pt x="283953" y="404263"/>
                    <a:pt x="308173" y="396747"/>
                  </a:cubicBezTo>
                  <a:lnTo>
                    <a:pt x="370717" y="371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1" name="Forme libre : forme 150">
              <a:extLst>
                <a:ext uri="{FF2B5EF4-FFF2-40B4-BE49-F238E27FC236}">
                  <a16:creationId xmlns:a16="http://schemas.microsoft.com/office/drawing/2014/main" id="{45A3690F-0557-4DB0-94E4-7427021CEC86}"/>
                </a:ext>
              </a:extLst>
            </p:cNvPr>
            <p:cNvSpPr/>
            <p:nvPr/>
          </p:nvSpPr>
          <p:spPr>
            <a:xfrm rot="8716295">
              <a:off x="119403" y="90662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2" name="Forme libre : forme 151">
              <a:extLst>
                <a:ext uri="{FF2B5EF4-FFF2-40B4-BE49-F238E27FC236}">
                  <a16:creationId xmlns:a16="http://schemas.microsoft.com/office/drawing/2014/main" id="{1C3938EF-FACF-4118-88DE-3CA52114B602}"/>
                </a:ext>
              </a:extLst>
            </p:cNvPr>
            <p:cNvSpPr/>
            <p:nvPr/>
          </p:nvSpPr>
          <p:spPr>
            <a:xfrm rot="8716295">
              <a:off x="40994" y="74983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3" name="Forme libre : forme 152">
              <a:extLst>
                <a:ext uri="{FF2B5EF4-FFF2-40B4-BE49-F238E27FC236}">
                  <a16:creationId xmlns:a16="http://schemas.microsoft.com/office/drawing/2014/main" id="{DFC0458A-EB47-48D9-8C11-B6676E2C5CAE}"/>
                </a:ext>
              </a:extLst>
            </p:cNvPr>
            <p:cNvSpPr/>
            <p:nvPr/>
          </p:nvSpPr>
          <p:spPr>
            <a:xfrm rot="8716295">
              <a:off x="-44934" y="551941"/>
              <a:ext cx="152592" cy="165412"/>
            </a:xfrm>
            <a:custGeom>
              <a:avLst/>
              <a:gdLst>
                <a:gd name="connsiteX0" fmla="*/ 26453 w 152592"/>
                <a:gd name="connsiteY0" fmla="*/ 153143 h 165412"/>
                <a:gd name="connsiteX1" fmla="*/ 0 w 152592"/>
                <a:gd name="connsiteY1" fmla="*/ 90494 h 165412"/>
                <a:gd name="connsiteX2" fmla="*/ 0 w 152592"/>
                <a:gd name="connsiteY2" fmla="*/ 89101 h 165412"/>
                <a:gd name="connsiteX3" fmla="*/ 26453 w 152592"/>
                <a:gd name="connsiteY3" fmla="*/ 26453 h 165412"/>
                <a:gd name="connsiteX4" fmla="*/ 89101 w 152592"/>
                <a:gd name="connsiteY4" fmla="*/ 0 h 165412"/>
                <a:gd name="connsiteX5" fmla="*/ 151752 w 152592"/>
                <a:gd name="connsiteY5" fmla="*/ 26453 h 165412"/>
                <a:gd name="connsiteX6" fmla="*/ 152592 w 152592"/>
                <a:gd name="connsiteY6" fmla="*/ 27688 h 165412"/>
                <a:gd name="connsiteX7" fmla="*/ 57126 w 152592"/>
                <a:gd name="connsiteY7" fmla="*/ 165412 h 165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592" h="165412">
                  <a:moveTo>
                    <a:pt x="26453" y="153143"/>
                  </a:moveTo>
                  <a:cubicBezTo>
                    <a:pt x="9746" y="136436"/>
                    <a:pt x="0" y="114161"/>
                    <a:pt x="0" y="90494"/>
                  </a:cubicBezTo>
                  <a:lnTo>
                    <a:pt x="0" y="89101"/>
                  </a:lnTo>
                  <a:cubicBezTo>
                    <a:pt x="0" y="65434"/>
                    <a:pt x="9746" y="43159"/>
                    <a:pt x="26453" y="26453"/>
                  </a:cubicBezTo>
                  <a:cubicBezTo>
                    <a:pt x="43159" y="9746"/>
                    <a:pt x="65435" y="0"/>
                    <a:pt x="89101" y="0"/>
                  </a:cubicBezTo>
                  <a:cubicBezTo>
                    <a:pt x="112770" y="0"/>
                    <a:pt x="135045" y="9746"/>
                    <a:pt x="151752" y="26453"/>
                  </a:cubicBezTo>
                  <a:lnTo>
                    <a:pt x="152592" y="27688"/>
                  </a:lnTo>
                  <a:lnTo>
                    <a:pt x="57126" y="1654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4" name="Forme libre : forme 153">
              <a:extLst>
                <a:ext uri="{FF2B5EF4-FFF2-40B4-BE49-F238E27FC236}">
                  <a16:creationId xmlns:a16="http://schemas.microsoft.com/office/drawing/2014/main" id="{51206894-A2FA-4091-8709-9038ECFC9F62}"/>
                </a:ext>
              </a:extLst>
            </p:cNvPr>
            <p:cNvSpPr/>
            <p:nvPr/>
          </p:nvSpPr>
          <p:spPr>
            <a:xfrm rot="8716295">
              <a:off x="-69806" y="4587027"/>
              <a:ext cx="183810" cy="187594"/>
            </a:xfrm>
            <a:custGeom>
              <a:avLst/>
              <a:gdLst>
                <a:gd name="connsiteX0" fmla="*/ 10574 w 183810"/>
                <a:gd name="connsiteY0" fmla="*/ 187594 h 187594"/>
                <a:gd name="connsiteX1" fmla="*/ 0 w 183810"/>
                <a:gd name="connsiteY1" fmla="*/ 172952 h 187594"/>
                <a:gd name="connsiteX2" fmla="*/ 183810 w 183810"/>
                <a:gd name="connsiteY2" fmla="*/ 0 h 187594"/>
                <a:gd name="connsiteX3" fmla="*/ 72284 w 183810"/>
                <a:gd name="connsiteY3" fmla="*/ 160894 h 187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810" h="187594">
                  <a:moveTo>
                    <a:pt x="10574" y="187594"/>
                  </a:moveTo>
                  <a:lnTo>
                    <a:pt x="0" y="172952"/>
                  </a:lnTo>
                  <a:lnTo>
                    <a:pt x="183810" y="0"/>
                  </a:lnTo>
                  <a:lnTo>
                    <a:pt x="72284" y="1608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5" name="Forme libre : forme 154">
              <a:extLst>
                <a:ext uri="{FF2B5EF4-FFF2-40B4-BE49-F238E27FC236}">
                  <a16:creationId xmlns:a16="http://schemas.microsoft.com/office/drawing/2014/main" id="{75F36939-0C1D-4F35-A6F3-978C7845A7FE}"/>
                </a:ext>
              </a:extLst>
            </p:cNvPr>
            <p:cNvSpPr/>
            <p:nvPr/>
          </p:nvSpPr>
          <p:spPr>
            <a:xfrm rot="8716295">
              <a:off x="2260816" y="1871889"/>
              <a:ext cx="76563" cy="79800"/>
            </a:xfrm>
            <a:custGeom>
              <a:avLst/>
              <a:gdLst>
                <a:gd name="connsiteX0" fmla="*/ 1561 w 76563"/>
                <a:gd name="connsiteY0" fmla="*/ 67386 h 79800"/>
                <a:gd name="connsiteX1" fmla="*/ 0 w 76563"/>
                <a:gd name="connsiteY1" fmla="*/ 63688 h 79800"/>
                <a:gd name="connsiteX2" fmla="*/ 52676 w 76563"/>
                <a:gd name="connsiteY2" fmla="*/ 0 h 79800"/>
                <a:gd name="connsiteX3" fmla="*/ 63632 w 76563"/>
                <a:gd name="connsiteY3" fmla="*/ 4626 h 79800"/>
                <a:gd name="connsiteX4" fmla="*/ 63632 w 76563"/>
                <a:gd name="connsiteY4" fmla="*/ 66697 h 79800"/>
                <a:gd name="connsiteX5" fmla="*/ 32596 w 76563"/>
                <a:gd name="connsiteY5" fmla="*/ 79800 h 79800"/>
                <a:gd name="connsiteX6" fmla="*/ 1561 w 76563"/>
                <a:gd name="connsiteY6" fmla="*/ 67386 h 79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563" h="79800">
                  <a:moveTo>
                    <a:pt x="1561" y="67386"/>
                  </a:moveTo>
                  <a:lnTo>
                    <a:pt x="0" y="63688"/>
                  </a:lnTo>
                  <a:lnTo>
                    <a:pt x="52676" y="0"/>
                  </a:lnTo>
                  <a:lnTo>
                    <a:pt x="63632" y="4626"/>
                  </a:lnTo>
                  <a:cubicBezTo>
                    <a:pt x="80874" y="21178"/>
                    <a:pt x="80873" y="49455"/>
                    <a:pt x="63632" y="66697"/>
                  </a:cubicBezTo>
                  <a:cubicBezTo>
                    <a:pt x="55356" y="74973"/>
                    <a:pt x="44321" y="79800"/>
                    <a:pt x="32596" y="79800"/>
                  </a:cubicBezTo>
                  <a:cubicBezTo>
                    <a:pt x="20872" y="79800"/>
                    <a:pt x="9837" y="75662"/>
                    <a:pt x="1561" y="6738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6" name="Forme libre : forme 155">
              <a:extLst>
                <a:ext uri="{FF2B5EF4-FFF2-40B4-BE49-F238E27FC236}">
                  <a16:creationId xmlns:a16="http://schemas.microsoft.com/office/drawing/2014/main" id="{BD296649-E6F7-43B4-A921-2D9F25E09891}"/>
                </a:ext>
              </a:extLst>
            </p:cNvPr>
            <p:cNvSpPr/>
            <p:nvPr/>
          </p:nvSpPr>
          <p:spPr>
            <a:xfrm rot="8716295">
              <a:off x="2079218" y="1576016"/>
              <a:ext cx="236114" cy="296463"/>
            </a:xfrm>
            <a:custGeom>
              <a:avLst/>
              <a:gdLst>
                <a:gd name="connsiteX0" fmla="*/ 64875 w 236114"/>
                <a:gd name="connsiteY0" fmla="*/ 296463 h 296463"/>
                <a:gd name="connsiteX1" fmla="*/ 0 w 236114"/>
                <a:gd name="connsiteY1" fmla="*/ 175766 h 296463"/>
                <a:gd name="connsiteX2" fmla="*/ 33192 w 236114"/>
                <a:gd name="connsiteY2" fmla="*/ 83734 h 296463"/>
                <a:gd name="connsiteX3" fmla="*/ 489 w 236114"/>
                <a:gd name="connsiteY3" fmla="*/ 83734 h 296463"/>
                <a:gd name="connsiteX4" fmla="*/ 69747 w 236114"/>
                <a:gd name="connsiteY4" fmla="*/ 0 h 296463"/>
                <a:gd name="connsiteX5" fmla="*/ 236114 w 236114"/>
                <a:gd name="connsiteY5" fmla="*/ 0 h 296463"/>
                <a:gd name="connsiteX6" fmla="*/ 236114 w 236114"/>
                <a:gd name="connsiteY6" fmla="*/ 83734 h 296463"/>
                <a:gd name="connsiteX7" fmla="*/ 138047 w 236114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6114" h="296463">
                  <a:moveTo>
                    <a:pt x="64875" y="296463"/>
                  </a:moveTo>
                  <a:lnTo>
                    <a:pt x="0" y="175766"/>
                  </a:lnTo>
                  <a:lnTo>
                    <a:pt x="33192" y="83734"/>
                  </a:lnTo>
                  <a:lnTo>
                    <a:pt x="489" y="83734"/>
                  </a:lnTo>
                  <a:lnTo>
                    <a:pt x="69747" y="0"/>
                  </a:lnTo>
                  <a:lnTo>
                    <a:pt x="236114" y="0"/>
                  </a:lnTo>
                  <a:lnTo>
                    <a:pt x="236114" y="83734"/>
                  </a:lnTo>
                  <a:lnTo>
                    <a:pt x="138047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7" name="Forme libre : forme 156">
              <a:extLst>
                <a:ext uri="{FF2B5EF4-FFF2-40B4-BE49-F238E27FC236}">
                  <a16:creationId xmlns:a16="http://schemas.microsoft.com/office/drawing/2014/main" id="{6CA34F6D-826D-4D6C-B9D3-13816F14A2D6}"/>
                </a:ext>
              </a:extLst>
            </p:cNvPr>
            <p:cNvSpPr/>
            <p:nvPr/>
          </p:nvSpPr>
          <p:spPr>
            <a:xfrm rot="8716295">
              <a:off x="1975890" y="1368961"/>
              <a:ext cx="432296" cy="245571"/>
            </a:xfrm>
            <a:custGeom>
              <a:avLst/>
              <a:gdLst>
                <a:gd name="connsiteX0" fmla="*/ 30685 w 432296"/>
                <a:gd name="connsiteY0" fmla="*/ 200783 h 245571"/>
                <a:gd name="connsiteX1" fmla="*/ 187 w 432296"/>
                <a:gd name="connsiteY1" fmla="*/ 140564 h 245571"/>
                <a:gd name="connsiteX2" fmla="*/ 0 w 432296"/>
                <a:gd name="connsiteY2" fmla="*/ 138341 h 245571"/>
                <a:gd name="connsiteX3" fmla="*/ 114424 w 432296"/>
                <a:gd name="connsiteY3" fmla="*/ 0 h 245571"/>
                <a:gd name="connsiteX4" fmla="*/ 116284 w 432296"/>
                <a:gd name="connsiteY4" fmla="*/ 37935 h 245571"/>
                <a:gd name="connsiteX5" fmla="*/ 133982 w 432296"/>
                <a:gd name="connsiteY5" fmla="*/ 110844 h 245571"/>
                <a:gd name="connsiteX6" fmla="*/ 240841 w 432296"/>
                <a:gd name="connsiteY6" fmla="*/ 169617 h 245571"/>
                <a:gd name="connsiteX7" fmla="*/ 320985 w 432296"/>
                <a:gd name="connsiteY7" fmla="*/ 155369 h 245571"/>
                <a:gd name="connsiteX8" fmla="*/ 430515 w 432296"/>
                <a:gd name="connsiteY8" fmla="*/ 110844 h 245571"/>
                <a:gd name="connsiteX9" fmla="*/ 432296 w 432296"/>
                <a:gd name="connsiteY9" fmla="*/ 122420 h 245571"/>
                <a:gd name="connsiteX10" fmla="*/ 432296 w 432296"/>
                <a:gd name="connsiteY10" fmla="*/ 131325 h 245571"/>
                <a:gd name="connsiteX11" fmla="*/ 140216 w 432296"/>
                <a:gd name="connsiteY11" fmla="*/ 245308 h 245571"/>
                <a:gd name="connsiteX12" fmla="*/ 30685 w 432296"/>
                <a:gd name="connsiteY12" fmla="*/ 200783 h 245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32296" h="245571">
                  <a:moveTo>
                    <a:pt x="30685" y="200783"/>
                  </a:moveTo>
                  <a:cubicBezTo>
                    <a:pt x="15547" y="186091"/>
                    <a:pt x="5975" y="166054"/>
                    <a:pt x="187" y="140564"/>
                  </a:cubicBezTo>
                  <a:lnTo>
                    <a:pt x="0" y="138341"/>
                  </a:lnTo>
                  <a:lnTo>
                    <a:pt x="114424" y="0"/>
                  </a:lnTo>
                  <a:lnTo>
                    <a:pt x="116284" y="37935"/>
                  </a:lnTo>
                  <a:cubicBezTo>
                    <a:pt x="119957" y="62758"/>
                    <a:pt x="125968" y="87246"/>
                    <a:pt x="133982" y="110844"/>
                  </a:cubicBezTo>
                  <a:cubicBezTo>
                    <a:pt x="148231" y="150026"/>
                    <a:pt x="184740" y="169617"/>
                    <a:pt x="240841" y="169617"/>
                  </a:cubicBezTo>
                  <a:cubicBezTo>
                    <a:pt x="268446" y="168726"/>
                    <a:pt x="295161" y="163383"/>
                    <a:pt x="320985" y="155369"/>
                  </a:cubicBezTo>
                  <a:cubicBezTo>
                    <a:pt x="358385" y="143792"/>
                    <a:pt x="394895" y="128654"/>
                    <a:pt x="430515" y="110844"/>
                  </a:cubicBezTo>
                  <a:cubicBezTo>
                    <a:pt x="431405" y="114406"/>
                    <a:pt x="432296" y="118858"/>
                    <a:pt x="432296" y="122420"/>
                  </a:cubicBezTo>
                  <a:lnTo>
                    <a:pt x="432296" y="131325"/>
                  </a:lnTo>
                  <a:cubicBezTo>
                    <a:pt x="337904" y="212360"/>
                    <a:pt x="214126" y="240856"/>
                    <a:pt x="140216" y="245308"/>
                  </a:cubicBezTo>
                  <a:cubicBezTo>
                    <a:pt x="99254" y="247980"/>
                    <a:pt x="59182" y="230170"/>
                    <a:pt x="30685" y="2007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8" name="Forme libre : forme 157">
              <a:extLst>
                <a:ext uri="{FF2B5EF4-FFF2-40B4-BE49-F238E27FC236}">
                  <a16:creationId xmlns:a16="http://schemas.microsoft.com/office/drawing/2014/main" id="{1B5AAC38-2C08-40E5-95BE-5338A8CAC415}"/>
                </a:ext>
              </a:extLst>
            </p:cNvPr>
            <p:cNvSpPr/>
            <p:nvPr/>
          </p:nvSpPr>
          <p:spPr>
            <a:xfrm rot="8716295">
              <a:off x="2107141" y="73528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9" name="Forme libre : forme 158">
              <a:extLst>
                <a:ext uri="{FF2B5EF4-FFF2-40B4-BE49-F238E27FC236}">
                  <a16:creationId xmlns:a16="http://schemas.microsoft.com/office/drawing/2014/main" id="{A4125EC0-3011-4C53-83B6-DD287160F4E7}"/>
                </a:ext>
              </a:extLst>
            </p:cNvPr>
            <p:cNvSpPr/>
            <p:nvPr/>
          </p:nvSpPr>
          <p:spPr>
            <a:xfrm rot="8716295">
              <a:off x="2242282" y="832029"/>
              <a:ext cx="282003" cy="313470"/>
            </a:xfrm>
            <a:custGeom>
              <a:avLst/>
              <a:gdLst>
                <a:gd name="connsiteX0" fmla="*/ 188208 w 282003"/>
                <a:gd name="connsiteY0" fmla="*/ 99785 h 313470"/>
                <a:gd name="connsiteX1" fmla="*/ 188208 w 282003"/>
                <a:gd name="connsiteY1" fmla="*/ 85923 h 313470"/>
                <a:gd name="connsiteX2" fmla="*/ 259276 w 282003"/>
                <a:gd name="connsiteY2" fmla="*/ 0 h 313470"/>
                <a:gd name="connsiteX3" fmla="*/ 274211 w 282003"/>
                <a:gd name="connsiteY3" fmla="*/ 28123 h 313470"/>
                <a:gd name="connsiteX4" fmla="*/ 282003 w 282003"/>
                <a:gd name="connsiteY4" fmla="*/ 85301 h 313470"/>
                <a:gd name="connsiteX5" fmla="*/ 282002 w 282003"/>
                <a:gd name="connsiteY5" fmla="*/ 94267 h 313470"/>
                <a:gd name="connsiteX6" fmla="*/ 0 w 282003"/>
                <a:gd name="connsiteY6" fmla="*/ 313470 h 313470"/>
                <a:gd name="connsiteX7" fmla="*/ 56482 w 282003"/>
                <a:gd name="connsiteY7" fmla="*/ 245183 h 313470"/>
                <a:gd name="connsiteX8" fmla="*/ 56482 w 282003"/>
                <a:gd name="connsiteY8" fmla="*/ 274960 h 313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2003" h="313470">
                  <a:moveTo>
                    <a:pt x="188208" y="99785"/>
                  </a:moveTo>
                  <a:lnTo>
                    <a:pt x="188208" y="85923"/>
                  </a:lnTo>
                  <a:lnTo>
                    <a:pt x="259276" y="0"/>
                  </a:lnTo>
                  <a:lnTo>
                    <a:pt x="274211" y="28123"/>
                  </a:lnTo>
                  <a:cubicBezTo>
                    <a:pt x="279330" y="44783"/>
                    <a:pt x="282002" y="63922"/>
                    <a:pt x="282003" y="85301"/>
                  </a:cubicBezTo>
                  <a:lnTo>
                    <a:pt x="282002" y="94267"/>
                  </a:lnTo>
                  <a:close/>
                  <a:moveTo>
                    <a:pt x="0" y="313470"/>
                  </a:moveTo>
                  <a:lnTo>
                    <a:pt x="56482" y="245183"/>
                  </a:lnTo>
                  <a:lnTo>
                    <a:pt x="56482" y="2749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0" name="Forme libre : forme 159">
              <a:extLst>
                <a:ext uri="{FF2B5EF4-FFF2-40B4-BE49-F238E27FC236}">
                  <a16:creationId xmlns:a16="http://schemas.microsoft.com/office/drawing/2014/main" id="{FF9B0781-A82C-47AF-AC1C-21015974FDE2}"/>
                </a:ext>
              </a:extLst>
            </p:cNvPr>
            <p:cNvSpPr/>
            <p:nvPr/>
          </p:nvSpPr>
          <p:spPr>
            <a:xfrm rot="8716295">
              <a:off x="2174558" y="64895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1" name="Forme libre : forme 160">
              <a:extLst>
                <a:ext uri="{FF2B5EF4-FFF2-40B4-BE49-F238E27FC236}">
                  <a16:creationId xmlns:a16="http://schemas.microsoft.com/office/drawing/2014/main" id="{E647964A-EFA4-4875-8CBA-E79FD37F80FD}"/>
                </a:ext>
              </a:extLst>
            </p:cNvPr>
            <p:cNvSpPr/>
            <p:nvPr/>
          </p:nvSpPr>
          <p:spPr>
            <a:xfrm rot="8716295">
              <a:off x="1937270" y="86929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2" name="Forme libre : forme 161">
              <a:extLst>
                <a:ext uri="{FF2B5EF4-FFF2-40B4-BE49-F238E27FC236}">
                  <a16:creationId xmlns:a16="http://schemas.microsoft.com/office/drawing/2014/main" id="{92A84223-E9E1-4AA2-A477-395EEFC832F2}"/>
                </a:ext>
              </a:extLst>
            </p:cNvPr>
            <p:cNvSpPr/>
            <p:nvPr/>
          </p:nvSpPr>
          <p:spPr>
            <a:xfrm rot="8716295">
              <a:off x="1748224" y="55346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3" name="Forme libre : forme 162">
              <a:extLst>
                <a:ext uri="{FF2B5EF4-FFF2-40B4-BE49-F238E27FC236}">
                  <a16:creationId xmlns:a16="http://schemas.microsoft.com/office/drawing/2014/main" id="{25B16338-FDD7-4AA6-9D09-5C2DE296D9CE}"/>
                </a:ext>
              </a:extLst>
            </p:cNvPr>
            <p:cNvSpPr/>
            <p:nvPr/>
          </p:nvSpPr>
          <p:spPr>
            <a:xfrm rot="8716295">
              <a:off x="1729983" y="34341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4" name="Forme libre : forme 163">
              <a:extLst>
                <a:ext uri="{FF2B5EF4-FFF2-40B4-BE49-F238E27FC236}">
                  <a16:creationId xmlns:a16="http://schemas.microsoft.com/office/drawing/2014/main" id="{FD37B6C0-63BE-47FD-9D48-08E0F916E511}"/>
                </a:ext>
              </a:extLst>
            </p:cNvPr>
            <p:cNvSpPr/>
            <p:nvPr/>
          </p:nvSpPr>
          <p:spPr>
            <a:xfrm rot="8716295">
              <a:off x="2073759" y="93127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5" name="Forme libre : forme 164">
              <a:extLst>
                <a:ext uri="{FF2B5EF4-FFF2-40B4-BE49-F238E27FC236}">
                  <a16:creationId xmlns:a16="http://schemas.microsoft.com/office/drawing/2014/main" id="{93F06371-0361-4141-BEE3-CC9849B020E6}"/>
                </a:ext>
              </a:extLst>
            </p:cNvPr>
            <p:cNvSpPr/>
            <p:nvPr/>
          </p:nvSpPr>
          <p:spPr>
            <a:xfrm rot="8716295">
              <a:off x="2367873" y="489398"/>
              <a:ext cx="81526" cy="84395"/>
            </a:xfrm>
            <a:custGeom>
              <a:avLst/>
              <a:gdLst>
                <a:gd name="connsiteX0" fmla="*/ 6524 w 81526"/>
                <a:gd name="connsiteY0" fmla="*/ 71981 h 84395"/>
                <a:gd name="connsiteX1" fmla="*/ 0 w 81526"/>
                <a:gd name="connsiteY1" fmla="*/ 56529 h 84395"/>
                <a:gd name="connsiteX2" fmla="*/ 46756 w 81526"/>
                <a:gd name="connsiteY2" fmla="*/ 0 h 84395"/>
                <a:gd name="connsiteX3" fmla="*/ 68595 w 81526"/>
                <a:gd name="connsiteY3" fmla="*/ 9221 h 84395"/>
                <a:gd name="connsiteX4" fmla="*/ 68595 w 81526"/>
                <a:gd name="connsiteY4" fmla="*/ 71292 h 84395"/>
                <a:gd name="connsiteX5" fmla="*/ 37559 w 81526"/>
                <a:gd name="connsiteY5" fmla="*/ 84395 h 84395"/>
                <a:gd name="connsiteX6" fmla="*/ 6524 w 81526"/>
                <a:gd name="connsiteY6" fmla="*/ 71981 h 84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526" h="84395">
                  <a:moveTo>
                    <a:pt x="6524" y="71981"/>
                  </a:moveTo>
                  <a:lnTo>
                    <a:pt x="0" y="56529"/>
                  </a:lnTo>
                  <a:lnTo>
                    <a:pt x="46756" y="0"/>
                  </a:lnTo>
                  <a:lnTo>
                    <a:pt x="68595" y="9221"/>
                  </a:lnTo>
                  <a:cubicBezTo>
                    <a:pt x="85837" y="25773"/>
                    <a:pt x="85836" y="54050"/>
                    <a:pt x="68595" y="71292"/>
                  </a:cubicBezTo>
                  <a:cubicBezTo>
                    <a:pt x="60319" y="79568"/>
                    <a:pt x="49284" y="84395"/>
                    <a:pt x="37559" y="84395"/>
                  </a:cubicBezTo>
                  <a:cubicBezTo>
                    <a:pt x="25835" y="84395"/>
                    <a:pt x="14800" y="80257"/>
                    <a:pt x="6524" y="7198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6" name="Forme libre : forme 165">
              <a:extLst>
                <a:ext uri="{FF2B5EF4-FFF2-40B4-BE49-F238E27FC236}">
                  <a16:creationId xmlns:a16="http://schemas.microsoft.com/office/drawing/2014/main" id="{5196C23A-E9EE-4BB5-B0E6-FCA193386C5B}"/>
                </a:ext>
              </a:extLst>
            </p:cNvPr>
            <p:cNvSpPr/>
            <p:nvPr/>
          </p:nvSpPr>
          <p:spPr>
            <a:xfrm rot="8716295">
              <a:off x="2184146" y="191304"/>
              <a:ext cx="250306" cy="296463"/>
            </a:xfrm>
            <a:custGeom>
              <a:avLst/>
              <a:gdLst>
                <a:gd name="connsiteX0" fmla="*/ 79067 w 250306"/>
                <a:gd name="connsiteY0" fmla="*/ 296463 h 296463"/>
                <a:gd name="connsiteX1" fmla="*/ 14192 w 250306"/>
                <a:gd name="connsiteY1" fmla="*/ 175766 h 296463"/>
                <a:gd name="connsiteX2" fmla="*/ 47384 w 250306"/>
                <a:gd name="connsiteY2" fmla="*/ 83734 h 296463"/>
                <a:gd name="connsiteX3" fmla="*/ 0 w 250306"/>
                <a:gd name="connsiteY3" fmla="*/ 83734 h 296463"/>
                <a:gd name="connsiteX4" fmla="*/ 69257 w 250306"/>
                <a:gd name="connsiteY4" fmla="*/ 0 h 296463"/>
                <a:gd name="connsiteX5" fmla="*/ 250306 w 250306"/>
                <a:gd name="connsiteY5" fmla="*/ 0 h 296463"/>
                <a:gd name="connsiteX6" fmla="*/ 250306 w 250306"/>
                <a:gd name="connsiteY6" fmla="*/ 83734 h 296463"/>
                <a:gd name="connsiteX7" fmla="*/ 152239 w 250306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0306" h="296463">
                  <a:moveTo>
                    <a:pt x="79067" y="296463"/>
                  </a:moveTo>
                  <a:lnTo>
                    <a:pt x="14192" y="175766"/>
                  </a:lnTo>
                  <a:lnTo>
                    <a:pt x="47384" y="83734"/>
                  </a:lnTo>
                  <a:lnTo>
                    <a:pt x="0" y="83734"/>
                  </a:lnTo>
                  <a:lnTo>
                    <a:pt x="69257" y="0"/>
                  </a:lnTo>
                  <a:lnTo>
                    <a:pt x="250306" y="0"/>
                  </a:lnTo>
                  <a:lnTo>
                    <a:pt x="250306" y="83734"/>
                  </a:lnTo>
                  <a:lnTo>
                    <a:pt x="152239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7" name="Forme libre : forme 166">
              <a:extLst>
                <a:ext uri="{FF2B5EF4-FFF2-40B4-BE49-F238E27FC236}">
                  <a16:creationId xmlns:a16="http://schemas.microsoft.com/office/drawing/2014/main" id="{AF8BB132-EA68-41A8-B3E5-2FCCBDEB7D5A}"/>
                </a:ext>
              </a:extLst>
            </p:cNvPr>
            <p:cNvSpPr/>
            <p:nvPr/>
          </p:nvSpPr>
          <p:spPr>
            <a:xfrm rot="8716295">
              <a:off x="2145876" y="32623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8" name="Forme libre : forme 167">
              <a:extLst>
                <a:ext uri="{FF2B5EF4-FFF2-40B4-BE49-F238E27FC236}">
                  <a16:creationId xmlns:a16="http://schemas.microsoft.com/office/drawing/2014/main" id="{0C891817-7BA1-4E19-A5B6-7030FDA5B7F1}"/>
                </a:ext>
              </a:extLst>
            </p:cNvPr>
            <p:cNvSpPr/>
            <p:nvPr/>
          </p:nvSpPr>
          <p:spPr>
            <a:xfrm rot="8716295">
              <a:off x="1834766" y="-57684"/>
              <a:ext cx="186564" cy="129320"/>
            </a:xfrm>
            <a:custGeom>
              <a:avLst/>
              <a:gdLst>
                <a:gd name="connsiteX0" fmla="*/ 123263 w 123263"/>
                <a:gd name="connsiteY0" fmla="*/ 85442 h 85442"/>
                <a:gd name="connsiteX1" fmla="*/ 0 w 123263"/>
                <a:gd name="connsiteY1" fmla="*/ 0 h 85442"/>
                <a:gd name="connsiteX2" fmla="*/ 66305 w 123263"/>
                <a:gd name="connsiteY2" fmla="*/ 0 h 85442"/>
                <a:gd name="connsiteX3" fmla="*/ 123263 w 123263"/>
                <a:gd name="connsiteY3" fmla="*/ 50123 h 85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63" h="85442">
                  <a:moveTo>
                    <a:pt x="123263" y="85442"/>
                  </a:moveTo>
                  <a:lnTo>
                    <a:pt x="0" y="0"/>
                  </a:lnTo>
                  <a:lnTo>
                    <a:pt x="66305" y="0"/>
                  </a:lnTo>
                  <a:cubicBezTo>
                    <a:pt x="103214" y="0"/>
                    <a:pt x="123263" y="15948"/>
                    <a:pt x="123263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9" name="Forme libre : forme 168">
              <a:extLst>
                <a:ext uri="{FF2B5EF4-FFF2-40B4-BE49-F238E27FC236}">
                  <a16:creationId xmlns:a16="http://schemas.microsoft.com/office/drawing/2014/main" id="{4406013B-1E43-4380-98C9-594C282D12B3}"/>
                </a:ext>
              </a:extLst>
            </p:cNvPr>
            <p:cNvSpPr/>
            <p:nvPr/>
          </p:nvSpPr>
          <p:spPr>
            <a:xfrm rot="8716295">
              <a:off x="1969949" y="-13794"/>
              <a:ext cx="394488" cy="148365"/>
            </a:xfrm>
            <a:custGeom>
              <a:avLst/>
              <a:gdLst>
                <a:gd name="connsiteX0" fmla="*/ 104802 w 260639"/>
                <a:gd name="connsiteY0" fmla="*/ 74264 h 98025"/>
                <a:gd name="connsiteX1" fmla="*/ 0 w 260639"/>
                <a:gd name="connsiteY1" fmla="*/ 1618 h 98025"/>
                <a:gd name="connsiteX2" fmla="*/ 0 w 260639"/>
                <a:gd name="connsiteY2" fmla="*/ 1425 h 98025"/>
                <a:gd name="connsiteX3" fmla="*/ 104803 w 260639"/>
                <a:gd name="connsiteY3" fmla="*/ 1425 h 98025"/>
                <a:gd name="connsiteX4" fmla="*/ 122123 w 260639"/>
                <a:gd name="connsiteY4" fmla="*/ 86270 h 98025"/>
                <a:gd name="connsiteX5" fmla="*/ 106178 w 260639"/>
                <a:gd name="connsiteY5" fmla="*/ 75218 h 98025"/>
                <a:gd name="connsiteX6" fmla="*/ 116721 w 260639"/>
                <a:gd name="connsiteY6" fmla="*/ 47439 h 98025"/>
                <a:gd name="connsiteX7" fmla="*/ 154014 w 260639"/>
                <a:gd name="connsiteY7" fmla="*/ 5981 h 98025"/>
                <a:gd name="connsiteX8" fmla="*/ 185455 w 260639"/>
                <a:gd name="connsiteY8" fmla="*/ 57 h 98025"/>
                <a:gd name="connsiteX9" fmla="*/ 260639 w 260639"/>
                <a:gd name="connsiteY9" fmla="*/ 88456 h 98025"/>
                <a:gd name="connsiteX10" fmla="*/ 260639 w 260639"/>
                <a:gd name="connsiteY10" fmla="*/ 94380 h 98025"/>
                <a:gd name="connsiteX11" fmla="*/ 198669 w 260639"/>
                <a:gd name="connsiteY11" fmla="*/ 98025 h 98025"/>
                <a:gd name="connsiteX12" fmla="*/ 198669 w 260639"/>
                <a:gd name="connsiteY12" fmla="*/ 81621 h 98025"/>
                <a:gd name="connsiteX13" fmla="*/ 164950 w 260639"/>
                <a:gd name="connsiteY13" fmla="*/ 40156 h 98025"/>
                <a:gd name="connsiteX14" fmla="*/ 127358 w 260639"/>
                <a:gd name="connsiteY14" fmla="*/ 65616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60639" h="98025">
                  <a:moveTo>
                    <a:pt x="104802" y="74264"/>
                  </a:moveTo>
                  <a:lnTo>
                    <a:pt x="0" y="1618"/>
                  </a:lnTo>
                  <a:lnTo>
                    <a:pt x="0" y="1425"/>
                  </a:lnTo>
                  <a:lnTo>
                    <a:pt x="104803" y="1425"/>
                  </a:lnTo>
                  <a:close/>
                  <a:moveTo>
                    <a:pt x="122123" y="86270"/>
                  </a:moveTo>
                  <a:lnTo>
                    <a:pt x="106178" y="75218"/>
                  </a:lnTo>
                  <a:lnTo>
                    <a:pt x="116721" y="47439"/>
                  </a:lnTo>
                  <a:cubicBezTo>
                    <a:pt x="127102" y="24008"/>
                    <a:pt x="137610" y="12816"/>
                    <a:pt x="154014" y="5981"/>
                  </a:cubicBezTo>
                  <a:cubicBezTo>
                    <a:pt x="164038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50369" y="40156"/>
                    <a:pt x="137041" y="49839"/>
                    <a:pt x="127358" y="656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0" name="Forme libre : forme 169">
              <a:extLst>
                <a:ext uri="{FF2B5EF4-FFF2-40B4-BE49-F238E27FC236}">
                  <a16:creationId xmlns:a16="http://schemas.microsoft.com/office/drawing/2014/main" id="{697ACF89-8E3E-4CA4-96AD-ED3067ABB920}"/>
                </a:ext>
              </a:extLst>
            </p:cNvPr>
            <p:cNvSpPr/>
            <p:nvPr/>
          </p:nvSpPr>
          <p:spPr>
            <a:xfrm rot="8716295">
              <a:off x="1736738" y="-7282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1" name="Forme libre : forme 170">
              <a:extLst>
                <a:ext uri="{FF2B5EF4-FFF2-40B4-BE49-F238E27FC236}">
                  <a16:creationId xmlns:a16="http://schemas.microsoft.com/office/drawing/2014/main" id="{914F8714-5CD4-41D2-92D2-73A622448BB2}"/>
                </a:ext>
              </a:extLst>
            </p:cNvPr>
            <p:cNvSpPr/>
            <p:nvPr/>
          </p:nvSpPr>
          <p:spPr>
            <a:xfrm rot="7484129">
              <a:off x="2394733" y="32841"/>
              <a:ext cx="135077" cy="94074"/>
            </a:xfrm>
            <a:custGeom>
              <a:avLst/>
              <a:gdLst>
                <a:gd name="connsiteX0" fmla="*/ 100725 w 135077"/>
                <a:gd name="connsiteY0" fmla="*/ 19729 h 94074"/>
                <a:gd name="connsiteX1" fmla="*/ 135077 w 135077"/>
                <a:gd name="connsiteY1" fmla="*/ 0 h 94074"/>
                <a:gd name="connsiteX2" fmla="*/ 135077 w 135077"/>
                <a:gd name="connsiteY2" fmla="*/ 19729 h 94074"/>
                <a:gd name="connsiteX3" fmla="*/ 0 w 135077"/>
                <a:gd name="connsiteY3" fmla="*/ 77576 h 94074"/>
                <a:gd name="connsiteX4" fmla="*/ 21327 w 135077"/>
                <a:gd name="connsiteY4" fmla="*/ 65328 h 94074"/>
                <a:gd name="connsiteX5" fmla="*/ 11439 w 135077"/>
                <a:gd name="connsiteY5" fmla="*/ 94074 h 94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5077" h="94074">
                  <a:moveTo>
                    <a:pt x="100725" y="19729"/>
                  </a:moveTo>
                  <a:lnTo>
                    <a:pt x="135077" y="0"/>
                  </a:lnTo>
                  <a:lnTo>
                    <a:pt x="135077" y="19729"/>
                  </a:lnTo>
                  <a:close/>
                  <a:moveTo>
                    <a:pt x="0" y="77576"/>
                  </a:moveTo>
                  <a:lnTo>
                    <a:pt x="21327" y="65328"/>
                  </a:lnTo>
                  <a:lnTo>
                    <a:pt x="11439" y="940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674557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uverture 1 - C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e libre : forme 4">
            <a:extLst>
              <a:ext uri="{FF2B5EF4-FFF2-40B4-BE49-F238E27FC236}">
                <a16:creationId xmlns:a16="http://schemas.microsoft.com/office/drawing/2014/main" id="{AEFD991A-ABBA-4F4C-98CF-1084947DFB28}"/>
              </a:ext>
            </a:extLst>
          </p:cNvPr>
          <p:cNvSpPr/>
          <p:nvPr userDrawn="1"/>
        </p:nvSpPr>
        <p:spPr>
          <a:xfrm>
            <a:off x="0" y="0"/>
            <a:ext cx="2476252" cy="5143500"/>
          </a:xfrm>
          <a:custGeom>
            <a:avLst/>
            <a:gdLst>
              <a:gd name="connsiteX0" fmla="*/ 0 w 2476252"/>
              <a:gd name="connsiteY0" fmla="*/ 0 h 5143500"/>
              <a:gd name="connsiteX1" fmla="*/ 2038350 w 2476252"/>
              <a:gd name="connsiteY1" fmla="*/ 0 h 5143500"/>
              <a:gd name="connsiteX2" fmla="*/ 2476252 w 2476252"/>
              <a:gd name="connsiteY2" fmla="*/ 0 h 5143500"/>
              <a:gd name="connsiteX3" fmla="*/ 2038350 w 2476252"/>
              <a:gd name="connsiteY3" fmla="*/ 5143500 h 5143500"/>
              <a:gd name="connsiteX4" fmla="*/ 0 w 2476252"/>
              <a:gd name="connsiteY4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76252" h="5143500">
                <a:moveTo>
                  <a:pt x="0" y="0"/>
                </a:moveTo>
                <a:lnTo>
                  <a:pt x="2038350" y="0"/>
                </a:lnTo>
                <a:lnTo>
                  <a:pt x="2476252" y="0"/>
                </a:lnTo>
                <a:lnTo>
                  <a:pt x="2038350" y="5143500"/>
                </a:lnTo>
                <a:lnTo>
                  <a:pt x="0" y="5143500"/>
                </a:lnTo>
                <a:close/>
              </a:path>
            </a:pathLst>
          </a:custGeom>
          <a:solidFill>
            <a:srgbClr val="3A1B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6" name="Forme libre : forme 5">
            <a:extLst>
              <a:ext uri="{FF2B5EF4-FFF2-40B4-BE49-F238E27FC236}">
                <a16:creationId xmlns:a16="http://schemas.microsoft.com/office/drawing/2014/main" id="{864821C3-7BAD-4585-9F8D-C119AC850133}"/>
              </a:ext>
            </a:extLst>
          </p:cNvPr>
          <p:cNvSpPr/>
          <p:nvPr userDrawn="1"/>
        </p:nvSpPr>
        <p:spPr>
          <a:xfrm flipH="1">
            <a:off x="2029641" y="2387470"/>
            <a:ext cx="614164" cy="2756031"/>
          </a:xfrm>
          <a:custGeom>
            <a:avLst/>
            <a:gdLst>
              <a:gd name="connsiteX0" fmla="*/ 379524 w 614164"/>
              <a:gd name="connsiteY0" fmla="*/ 0 h 2756031"/>
              <a:gd name="connsiteX1" fmla="*/ 0 w 614164"/>
              <a:gd name="connsiteY1" fmla="*/ 2756031 h 2756031"/>
              <a:gd name="connsiteX2" fmla="*/ 614164 w 614164"/>
              <a:gd name="connsiteY2" fmla="*/ 2756031 h 2756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14164" h="2756031">
                <a:moveTo>
                  <a:pt x="379524" y="0"/>
                </a:moveTo>
                <a:lnTo>
                  <a:pt x="0" y="2756031"/>
                </a:lnTo>
                <a:lnTo>
                  <a:pt x="614164" y="2756031"/>
                </a:lnTo>
                <a:close/>
              </a:path>
            </a:pathLst>
          </a:custGeom>
          <a:solidFill>
            <a:srgbClr val="009F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DA8CA9DB-B794-428D-9ECF-D4872FBA5C4C}"/>
              </a:ext>
            </a:extLst>
          </p:cNvPr>
          <p:cNvGrpSpPr/>
          <p:nvPr userDrawn="1"/>
        </p:nvGrpSpPr>
        <p:grpSpPr>
          <a:xfrm>
            <a:off x="-134707" y="-72828"/>
            <a:ext cx="2658992" cy="5335244"/>
            <a:chOff x="-134707" y="-72828"/>
            <a:chExt cx="2658992" cy="5335244"/>
          </a:xfrm>
          <a:solidFill>
            <a:schemeClr val="bg2">
              <a:alpha val="10000"/>
            </a:schemeClr>
          </a:solidFill>
        </p:grpSpPr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81E41836-E956-4188-9AAC-A83AE8900453}"/>
                </a:ext>
              </a:extLst>
            </p:cNvPr>
            <p:cNvSpPr/>
            <p:nvPr/>
          </p:nvSpPr>
          <p:spPr>
            <a:xfrm rot="8716295">
              <a:off x="1460344" y="348006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6217F1CC-5E84-40FC-88E7-C42A2398F84B}"/>
                </a:ext>
              </a:extLst>
            </p:cNvPr>
            <p:cNvSpPr/>
            <p:nvPr/>
          </p:nvSpPr>
          <p:spPr>
            <a:xfrm rot="8716295">
              <a:off x="1595642" y="352432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B80A1B59-7F4C-4E95-8CB7-0AACC6C05627}"/>
                </a:ext>
              </a:extLst>
            </p:cNvPr>
            <p:cNvSpPr/>
            <p:nvPr/>
          </p:nvSpPr>
          <p:spPr>
            <a:xfrm rot="8716295">
              <a:off x="1527760" y="339373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8728A690-34B9-4DFF-8734-9F6EBD35EBC5}"/>
                </a:ext>
              </a:extLst>
            </p:cNvPr>
            <p:cNvSpPr/>
            <p:nvPr/>
          </p:nvSpPr>
          <p:spPr>
            <a:xfrm rot="8716295">
              <a:off x="1290473" y="361408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2927191B-5C8D-4149-8DBA-718546C29906}"/>
                </a:ext>
              </a:extLst>
            </p:cNvPr>
            <p:cNvSpPr/>
            <p:nvPr/>
          </p:nvSpPr>
          <p:spPr>
            <a:xfrm rot="8716295">
              <a:off x="1101427" y="329824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375566C6-9E02-4DD8-8C3B-267A6C61A667}"/>
                </a:ext>
              </a:extLst>
            </p:cNvPr>
            <p:cNvSpPr/>
            <p:nvPr/>
          </p:nvSpPr>
          <p:spPr>
            <a:xfrm rot="8716295">
              <a:off x="1083185" y="3088198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1A3C2C2D-7CBE-4F9B-8B8B-959B1D778E3E}"/>
                </a:ext>
              </a:extLst>
            </p:cNvPr>
            <p:cNvSpPr/>
            <p:nvPr/>
          </p:nvSpPr>
          <p:spPr>
            <a:xfrm rot="8716295">
              <a:off x="1426961" y="367606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8EB673A3-36B5-4724-AE91-A9B8454C1396}"/>
                </a:ext>
              </a:extLst>
            </p:cNvPr>
            <p:cNvSpPr/>
            <p:nvPr/>
          </p:nvSpPr>
          <p:spPr>
            <a:xfrm rot="8716295">
              <a:off x="1897908" y="310145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F8EEA06C-B620-4C52-ACA9-B6AC8852992A}"/>
                </a:ext>
              </a:extLst>
            </p:cNvPr>
            <p:cNvSpPr/>
            <p:nvPr/>
          </p:nvSpPr>
          <p:spPr>
            <a:xfrm rot="8716295">
              <a:off x="2028620" y="3176625"/>
              <a:ext cx="305088" cy="336622"/>
            </a:xfrm>
            <a:custGeom>
              <a:avLst/>
              <a:gdLst>
                <a:gd name="connsiteX0" fmla="*/ 211294 w 305088"/>
                <a:gd name="connsiteY0" fmla="*/ 107197 h 336622"/>
                <a:gd name="connsiteX1" fmla="*/ 211294 w 305088"/>
                <a:gd name="connsiteY1" fmla="*/ 82369 h 336622"/>
                <a:gd name="connsiteX2" fmla="*/ 211017 w 305088"/>
                <a:gd name="connsiteY2" fmla="*/ 81498 h 336622"/>
                <a:gd name="connsiteX3" fmla="*/ 278425 w 305088"/>
                <a:gd name="connsiteY3" fmla="*/ 0 h 336622"/>
                <a:gd name="connsiteX4" fmla="*/ 297297 w 305088"/>
                <a:gd name="connsiteY4" fmla="*/ 35535 h 336622"/>
                <a:gd name="connsiteX5" fmla="*/ 305088 w 305088"/>
                <a:gd name="connsiteY5" fmla="*/ 92713 h 336622"/>
                <a:gd name="connsiteX6" fmla="*/ 305088 w 305088"/>
                <a:gd name="connsiteY6" fmla="*/ 101679 h 336622"/>
                <a:gd name="connsiteX7" fmla="*/ 0 w 305088"/>
                <a:gd name="connsiteY7" fmla="*/ 336622 h 336622"/>
                <a:gd name="connsiteX8" fmla="*/ 79568 w 305088"/>
                <a:gd name="connsiteY8" fmla="*/ 240423 h 336622"/>
                <a:gd name="connsiteX9" fmla="*/ 79568 w 305088"/>
                <a:gd name="connsiteY9" fmla="*/ 282372 h 33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5088" h="336622">
                  <a:moveTo>
                    <a:pt x="211294" y="107197"/>
                  </a:moveTo>
                  <a:lnTo>
                    <a:pt x="211294" y="82369"/>
                  </a:lnTo>
                  <a:lnTo>
                    <a:pt x="211017" y="81498"/>
                  </a:lnTo>
                  <a:lnTo>
                    <a:pt x="278425" y="0"/>
                  </a:lnTo>
                  <a:lnTo>
                    <a:pt x="297297" y="35535"/>
                  </a:lnTo>
                  <a:cubicBezTo>
                    <a:pt x="302416" y="52195"/>
                    <a:pt x="305088" y="71334"/>
                    <a:pt x="305088" y="92713"/>
                  </a:cubicBezTo>
                  <a:lnTo>
                    <a:pt x="305088" y="101679"/>
                  </a:lnTo>
                  <a:close/>
                  <a:moveTo>
                    <a:pt x="0" y="336622"/>
                  </a:moveTo>
                  <a:lnTo>
                    <a:pt x="79568" y="240423"/>
                  </a:lnTo>
                  <a:lnTo>
                    <a:pt x="79568" y="28237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84C08685-C991-44FD-898B-8BF95960C6B9}"/>
                </a:ext>
              </a:extLst>
            </p:cNvPr>
            <p:cNvSpPr/>
            <p:nvPr/>
          </p:nvSpPr>
          <p:spPr>
            <a:xfrm rot="8716295">
              <a:off x="1728037" y="323546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75F06F9A-B5F6-494A-BA46-78E41263CC81}"/>
                </a:ext>
              </a:extLst>
            </p:cNvPr>
            <p:cNvSpPr/>
            <p:nvPr/>
          </p:nvSpPr>
          <p:spPr>
            <a:xfrm rot="8716295">
              <a:off x="1538992" y="291963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CE3913D0-3ECC-49C2-BFCE-2E22945EB24B}"/>
                </a:ext>
              </a:extLst>
            </p:cNvPr>
            <p:cNvSpPr/>
            <p:nvPr/>
          </p:nvSpPr>
          <p:spPr>
            <a:xfrm rot="8716295">
              <a:off x="1864525" y="329745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ACF63173-E092-4F8A-A29A-250C09066948}"/>
                </a:ext>
              </a:extLst>
            </p:cNvPr>
            <p:cNvSpPr/>
            <p:nvPr/>
          </p:nvSpPr>
          <p:spPr>
            <a:xfrm rot="8716295">
              <a:off x="1499078" y="307102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7EFA26CA-A39B-4E8B-847D-F85F8518030F}"/>
                </a:ext>
              </a:extLst>
            </p:cNvPr>
            <p:cNvSpPr/>
            <p:nvPr/>
          </p:nvSpPr>
          <p:spPr>
            <a:xfrm rot="7484129">
              <a:off x="2004987" y="3639772"/>
              <a:ext cx="221889" cy="221665"/>
            </a:xfrm>
            <a:custGeom>
              <a:avLst/>
              <a:gdLst>
                <a:gd name="connsiteX0" fmla="*/ 206330 w 221889"/>
                <a:gd name="connsiteY0" fmla="*/ 8936 h 221665"/>
                <a:gd name="connsiteX1" fmla="*/ 221889 w 221889"/>
                <a:gd name="connsiteY1" fmla="*/ 0 h 221665"/>
                <a:gd name="connsiteX2" fmla="*/ 221889 w 221889"/>
                <a:gd name="connsiteY2" fmla="*/ 8936 h 221665"/>
                <a:gd name="connsiteX3" fmla="*/ 50650 w 221889"/>
                <a:gd name="connsiteY3" fmla="*/ 221665 h 221665"/>
                <a:gd name="connsiteX4" fmla="*/ 0 w 221889"/>
                <a:gd name="connsiteY4" fmla="*/ 127433 h 221665"/>
                <a:gd name="connsiteX5" fmla="*/ 103511 w 221889"/>
                <a:gd name="connsiteY5" fmla="*/ 67986 h 221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1889" h="221665">
                  <a:moveTo>
                    <a:pt x="206330" y="8936"/>
                  </a:moveTo>
                  <a:lnTo>
                    <a:pt x="221889" y="0"/>
                  </a:lnTo>
                  <a:lnTo>
                    <a:pt x="221889" y="8936"/>
                  </a:lnTo>
                  <a:close/>
                  <a:moveTo>
                    <a:pt x="50650" y="221665"/>
                  </a:moveTo>
                  <a:lnTo>
                    <a:pt x="0" y="127433"/>
                  </a:lnTo>
                  <a:lnTo>
                    <a:pt x="103511" y="6798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54CB42FE-32B8-4C2C-A4AB-C4F8B84705EC}"/>
                </a:ext>
              </a:extLst>
            </p:cNvPr>
            <p:cNvSpPr/>
            <p:nvPr/>
          </p:nvSpPr>
          <p:spPr>
            <a:xfrm rot="8716295">
              <a:off x="2016311" y="313524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B97467BE-761E-4E11-AD12-792548131E9F}"/>
                </a:ext>
              </a:extLst>
            </p:cNvPr>
            <p:cNvSpPr/>
            <p:nvPr/>
          </p:nvSpPr>
          <p:spPr>
            <a:xfrm rot="8716295">
              <a:off x="1796861" y="4478944"/>
              <a:ext cx="215176" cy="351729"/>
            </a:xfrm>
            <a:custGeom>
              <a:avLst/>
              <a:gdLst>
                <a:gd name="connsiteX0" fmla="*/ 122761 w 215176"/>
                <a:gd name="connsiteY0" fmla="*/ 351729 h 351729"/>
                <a:gd name="connsiteX1" fmla="*/ 122761 w 215176"/>
                <a:gd name="connsiteY1" fmla="*/ 105519 h 351729"/>
                <a:gd name="connsiteX2" fmla="*/ 122761 w 215176"/>
                <a:gd name="connsiteY2" fmla="*/ 99312 h 351729"/>
                <a:gd name="connsiteX3" fmla="*/ 91726 w 215176"/>
                <a:gd name="connsiteY3" fmla="*/ 75863 h 351729"/>
                <a:gd name="connsiteX4" fmla="*/ 0 w 215176"/>
                <a:gd name="connsiteY4" fmla="*/ 75863 h 351729"/>
                <a:gd name="connsiteX5" fmla="*/ 0 w 215176"/>
                <a:gd name="connsiteY5" fmla="*/ 31564 h 351729"/>
                <a:gd name="connsiteX6" fmla="*/ 26107 w 215176"/>
                <a:gd name="connsiteY6" fmla="*/ 0 h 351729"/>
                <a:gd name="connsiteX7" fmla="*/ 128968 w 215176"/>
                <a:gd name="connsiteY7" fmla="*/ 0 h 351729"/>
                <a:gd name="connsiteX8" fmla="*/ 215176 w 215176"/>
                <a:gd name="connsiteY8" fmla="*/ 75863 h 351729"/>
                <a:gd name="connsiteX9" fmla="*/ 215176 w 215176"/>
                <a:gd name="connsiteY9" fmla="*/ 315177 h 351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5176" h="351729">
                  <a:moveTo>
                    <a:pt x="122761" y="35172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31564"/>
                  </a:lnTo>
                  <a:lnTo>
                    <a:pt x="26107" y="0"/>
                  </a:lnTo>
                  <a:lnTo>
                    <a:pt x="128968" y="0"/>
                  </a:lnTo>
                  <a:cubicBezTo>
                    <a:pt x="184831" y="0"/>
                    <a:pt x="215176" y="24139"/>
                    <a:pt x="215176" y="75863"/>
                  </a:cubicBezTo>
                  <a:lnTo>
                    <a:pt x="215176" y="3151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8C358B06-CFB8-4D7E-B58B-64076A590B10}"/>
                </a:ext>
              </a:extLst>
            </p:cNvPr>
            <p:cNvSpPr/>
            <p:nvPr/>
          </p:nvSpPr>
          <p:spPr>
            <a:xfrm rot="8716295">
              <a:off x="1938756" y="4602084"/>
              <a:ext cx="253340" cy="284725"/>
            </a:xfrm>
            <a:custGeom>
              <a:avLst/>
              <a:gdLst>
                <a:gd name="connsiteX0" fmla="*/ 160632 w 253340"/>
                <a:gd name="connsiteY0" fmla="*/ 90518 h 284725"/>
                <a:gd name="connsiteX1" fmla="*/ 235501 w 253340"/>
                <a:gd name="connsiteY1" fmla="*/ 0 h 284725"/>
                <a:gd name="connsiteX2" fmla="*/ 245549 w 253340"/>
                <a:gd name="connsiteY2" fmla="*/ 18921 h 284725"/>
                <a:gd name="connsiteX3" fmla="*/ 253340 w 253340"/>
                <a:gd name="connsiteY3" fmla="*/ 76098 h 284725"/>
                <a:gd name="connsiteX4" fmla="*/ 253340 w 253340"/>
                <a:gd name="connsiteY4" fmla="*/ 85064 h 284725"/>
                <a:gd name="connsiteX5" fmla="*/ 0 w 253340"/>
                <a:gd name="connsiteY5" fmla="*/ 284725 h 284725"/>
                <a:gd name="connsiteX6" fmla="*/ 27820 w 253340"/>
                <a:gd name="connsiteY6" fmla="*/ 251090 h 284725"/>
                <a:gd name="connsiteX7" fmla="*/ 27820 w 253340"/>
                <a:gd name="connsiteY7" fmla="*/ 265757 h 28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3340" h="284725">
                  <a:moveTo>
                    <a:pt x="160632" y="90518"/>
                  </a:moveTo>
                  <a:lnTo>
                    <a:pt x="235501" y="0"/>
                  </a:lnTo>
                  <a:lnTo>
                    <a:pt x="245549" y="18921"/>
                  </a:lnTo>
                  <a:cubicBezTo>
                    <a:pt x="250668" y="35581"/>
                    <a:pt x="253340" y="54719"/>
                    <a:pt x="253340" y="76098"/>
                  </a:cubicBezTo>
                  <a:lnTo>
                    <a:pt x="253340" y="85064"/>
                  </a:lnTo>
                  <a:close/>
                  <a:moveTo>
                    <a:pt x="0" y="284725"/>
                  </a:moveTo>
                  <a:lnTo>
                    <a:pt x="27820" y="251090"/>
                  </a:lnTo>
                  <a:lnTo>
                    <a:pt x="27820" y="26575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55465226-9705-450D-9333-C6F18EA9DA5B}"/>
                </a:ext>
              </a:extLst>
            </p:cNvPr>
            <p:cNvSpPr/>
            <p:nvPr/>
          </p:nvSpPr>
          <p:spPr>
            <a:xfrm rot="8716295">
              <a:off x="1865533" y="439222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14393A34-234C-4F82-B937-651BE2C2EB26}"/>
                </a:ext>
              </a:extLst>
            </p:cNvPr>
            <p:cNvSpPr/>
            <p:nvPr/>
          </p:nvSpPr>
          <p:spPr>
            <a:xfrm rot="8716295">
              <a:off x="1628246" y="461256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C8A075BE-A4F2-4F84-B522-C6E43EFD2240}"/>
                </a:ext>
              </a:extLst>
            </p:cNvPr>
            <p:cNvSpPr/>
            <p:nvPr/>
          </p:nvSpPr>
          <p:spPr>
            <a:xfrm rot="8716295">
              <a:off x="1439200" y="42967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56AB483C-9DB6-4B2C-B13B-6356C19C1FBB}"/>
                </a:ext>
              </a:extLst>
            </p:cNvPr>
            <p:cNvSpPr/>
            <p:nvPr/>
          </p:nvSpPr>
          <p:spPr>
            <a:xfrm rot="8716295">
              <a:off x="1420958" y="408668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AFF52EFA-F302-42BC-851E-3ECAD5E2BCCE}"/>
                </a:ext>
              </a:extLst>
            </p:cNvPr>
            <p:cNvSpPr/>
            <p:nvPr/>
          </p:nvSpPr>
          <p:spPr>
            <a:xfrm rot="8716295">
              <a:off x="1764734" y="467454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DD8C6387-B92F-4AE3-84AA-9699909C3151}"/>
                </a:ext>
              </a:extLst>
            </p:cNvPr>
            <p:cNvSpPr/>
            <p:nvPr/>
          </p:nvSpPr>
          <p:spPr>
            <a:xfrm rot="8716295">
              <a:off x="2058111" y="4234218"/>
              <a:ext cx="77302" cy="80483"/>
            </a:xfrm>
            <a:custGeom>
              <a:avLst/>
              <a:gdLst>
                <a:gd name="connsiteX0" fmla="*/ 2300 w 77302"/>
                <a:gd name="connsiteY0" fmla="*/ 68069 h 80483"/>
                <a:gd name="connsiteX1" fmla="*/ 0 w 77302"/>
                <a:gd name="connsiteY1" fmla="*/ 62622 h 80483"/>
                <a:gd name="connsiteX2" fmla="*/ 51796 w 77302"/>
                <a:gd name="connsiteY2" fmla="*/ 0 h 80483"/>
                <a:gd name="connsiteX3" fmla="*/ 64371 w 77302"/>
                <a:gd name="connsiteY3" fmla="*/ 5309 h 80483"/>
                <a:gd name="connsiteX4" fmla="*/ 64371 w 77302"/>
                <a:gd name="connsiteY4" fmla="*/ 67380 h 80483"/>
                <a:gd name="connsiteX5" fmla="*/ 33335 w 77302"/>
                <a:gd name="connsiteY5" fmla="*/ 80483 h 80483"/>
                <a:gd name="connsiteX6" fmla="*/ 2300 w 77302"/>
                <a:gd name="connsiteY6" fmla="*/ 68069 h 80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7302" h="80483">
                  <a:moveTo>
                    <a:pt x="2300" y="68069"/>
                  </a:moveTo>
                  <a:lnTo>
                    <a:pt x="0" y="62622"/>
                  </a:lnTo>
                  <a:lnTo>
                    <a:pt x="51796" y="0"/>
                  </a:lnTo>
                  <a:lnTo>
                    <a:pt x="64371" y="5309"/>
                  </a:lnTo>
                  <a:cubicBezTo>
                    <a:pt x="81612" y="21861"/>
                    <a:pt x="81613" y="50138"/>
                    <a:pt x="64371" y="67380"/>
                  </a:cubicBezTo>
                  <a:cubicBezTo>
                    <a:pt x="56095" y="75656"/>
                    <a:pt x="45060" y="80483"/>
                    <a:pt x="33335" y="80483"/>
                  </a:cubicBezTo>
                  <a:cubicBezTo>
                    <a:pt x="21611" y="80483"/>
                    <a:pt x="10576" y="76345"/>
                    <a:pt x="2300" y="6806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7D76A85F-9EC7-4610-8B93-DADD647681CA}"/>
                </a:ext>
              </a:extLst>
            </p:cNvPr>
            <p:cNvSpPr/>
            <p:nvPr/>
          </p:nvSpPr>
          <p:spPr>
            <a:xfrm rot="8716295">
              <a:off x="1876235" y="3938134"/>
              <a:ext cx="237808" cy="296463"/>
            </a:xfrm>
            <a:custGeom>
              <a:avLst/>
              <a:gdLst>
                <a:gd name="connsiteX0" fmla="*/ 66569 w 237808"/>
                <a:gd name="connsiteY0" fmla="*/ 296463 h 296463"/>
                <a:gd name="connsiteX1" fmla="*/ 1694 w 237808"/>
                <a:gd name="connsiteY1" fmla="*/ 175766 h 296463"/>
                <a:gd name="connsiteX2" fmla="*/ 34886 w 237808"/>
                <a:gd name="connsiteY2" fmla="*/ 83734 h 296463"/>
                <a:gd name="connsiteX3" fmla="*/ 0 w 237808"/>
                <a:gd name="connsiteY3" fmla="*/ 83734 h 296463"/>
                <a:gd name="connsiteX4" fmla="*/ 69258 w 237808"/>
                <a:gd name="connsiteY4" fmla="*/ 0 h 296463"/>
                <a:gd name="connsiteX5" fmla="*/ 237808 w 237808"/>
                <a:gd name="connsiteY5" fmla="*/ 0 h 296463"/>
                <a:gd name="connsiteX6" fmla="*/ 237808 w 237808"/>
                <a:gd name="connsiteY6" fmla="*/ 83734 h 296463"/>
                <a:gd name="connsiteX7" fmla="*/ 139741 w 237808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7808" h="296463">
                  <a:moveTo>
                    <a:pt x="66569" y="296463"/>
                  </a:moveTo>
                  <a:lnTo>
                    <a:pt x="1694" y="175766"/>
                  </a:lnTo>
                  <a:lnTo>
                    <a:pt x="34886" y="83734"/>
                  </a:lnTo>
                  <a:lnTo>
                    <a:pt x="0" y="83734"/>
                  </a:lnTo>
                  <a:lnTo>
                    <a:pt x="69258" y="0"/>
                  </a:lnTo>
                  <a:lnTo>
                    <a:pt x="237808" y="0"/>
                  </a:lnTo>
                  <a:lnTo>
                    <a:pt x="237808" y="83734"/>
                  </a:lnTo>
                  <a:lnTo>
                    <a:pt x="139741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1D9CF1AF-A09A-459A-A4AB-D88D1905EA6F}"/>
                </a:ext>
              </a:extLst>
            </p:cNvPr>
            <p:cNvSpPr/>
            <p:nvPr/>
          </p:nvSpPr>
          <p:spPr>
            <a:xfrm rot="8716295">
              <a:off x="1836851" y="406950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33B04AAC-330F-42F9-9C1F-3BB73DEAD114}"/>
                </a:ext>
              </a:extLst>
            </p:cNvPr>
            <p:cNvSpPr/>
            <p:nvPr/>
          </p:nvSpPr>
          <p:spPr>
            <a:xfrm rot="8716295">
              <a:off x="1827832" y="5057264"/>
              <a:ext cx="219410" cy="140851"/>
            </a:xfrm>
            <a:custGeom>
              <a:avLst/>
              <a:gdLst>
                <a:gd name="connsiteX0" fmla="*/ 27373 w 219410"/>
                <a:gd name="connsiteY0" fmla="*/ 96063 h 140851"/>
                <a:gd name="connsiteX1" fmla="*/ 1953 w 219410"/>
                <a:gd name="connsiteY1" fmla="*/ 53941 h 140851"/>
                <a:gd name="connsiteX2" fmla="*/ 0 w 219410"/>
                <a:gd name="connsiteY2" fmla="*/ 43352 h 140851"/>
                <a:gd name="connsiteX3" fmla="*/ 35858 w 219410"/>
                <a:gd name="connsiteY3" fmla="*/ 0 h 140851"/>
                <a:gd name="connsiteX4" fmla="*/ 219410 w 219410"/>
                <a:gd name="connsiteY4" fmla="*/ 127232 h 140851"/>
                <a:gd name="connsiteX5" fmla="*/ 200448 w 219410"/>
                <a:gd name="connsiteY5" fmla="*/ 132296 h 140851"/>
                <a:gd name="connsiteX6" fmla="*/ 136904 w 219410"/>
                <a:gd name="connsiteY6" fmla="*/ 140588 h 140851"/>
                <a:gd name="connsiteX7" fmla="*/ 27373 w 219410"/>
                <a:gd name="connsiteY7" fmla="*/ 96063 h 140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9410" h="140851">
                  <a:moveTo>
                    <a:pt x="27373" y="96063"/>
                  </a:moveTo>
                  <a:cubicBezTo>
                    <a:pt x="16020" y="85043"/>
                    <a:pt x="7797" y="71018"/>
                    <a:pt x="1953" y="53941"/>
                  </a:cubicBezTo>
                  <a:lnTo>
                    <a:pt x="0" y="43352"/>
                  </a:lnTo>
                  <a:lnTo>
                    <a:pt x="35858" y="0"/>
                  </a:lnTo>
                  <a:lnTo>
                    <a:pt x="219410" y="127232"/>
                  </a:lnTo>
                  <a:lnTo>
                    <a:pt x="200448" y="132296"/>
                  </a:lnTo>
                  <a:cubicBezTo>
                    <a:pt x="176976" y="136859"/>
                    <a:pt x="155381" y="139475"/>
                    <a:pt x="136904" y="140588"/>
                  </a:cubicBezTo>
                  <a:cubicBezTo>
                    <a:pt x="95942" y="143260"/>
                    <a:pt x="55870" y="125450"/>
                    <a:pt x="27373" y="960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24E0BB53-945A-402E-838B-93267E59D513}"/>
                </a:ext>
              </a:extLst>
            </p:cNvPr>
            <p:cNvSpPr/>
            <p:nvPr/>
          </p:nvSpPr>
          <p:spPr>
            <a:xfrm rot="8716295">
              <a:off x="1125067" y="247965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6C251D8C-A5D9-4ECA-AD3B-1A05AB92D036}"/>
                </a:ext>
              </a:extLst>
            </p:cNvPr>
            <p:cNvSpPr/>
            <p:nvPr/>
          </p:nvSpPr>
          <p:spPr>
            <a:xfrm rot="8716295">
              <a:off x="1260365" y="252391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8B96FE87-2D5C-4688-844D-4E74C72A4B6C}"/>
                </a:ext>
              </a:extLst>
            </p:cNvPr>
            <p:cNvSpPr/>
            <p:nvPr/>
          </p:nvSpPr>
          <p:spPr>
            <a:xfrm rot="8716295">
              <a:off x="1192483" y="2393326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582D3CFC-4736-4E25-B369-A4CE70A870B5}"/>
                </a:ext>
              </a:extLst>
            </p:cNvPr>
            <p:cNvSpPr/>
            <p:nvPr/>
          </p:nvSpPr>
          <p:spPr>
            <a:xfrm rot="8716295">
              <a:off x="955196" y="261367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005E4ED8-B75C-4EF1-8BE9-2F684ADC8702}"/>
                </a:ext>
              </a:extLst>
            </p:cNvPr>
            <p:cNvSpPr/>
            <p:nvPr/>
          </p:nvSpPr>
          <p:spPr>
            <a:xfrm rot="8716295">
              <a:off x="766149" y="229783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AFABF28F-6E8A-4957-B94B-921C1E69A440}"/>
                </a:ext>
              </a:extLst>
            </p:cNvPr>
            <p:cNvSpPr/>
            <p:nvPr/>
          </p:nvSpPr>
          <p:spPr>
            <a:xfrm rot="8716295">
              <a:off x="747908" y="2087785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A9A47BF0-B3E6-4CA8-B1F1-FEC766FA52E5}"/>
                </a:ext>
              </a:extLst>
            </p:cNvPr>
            <p:cNvSpPr/>
            <p:nvPr/>
          </p:nvSpPr>
          <p:spPr>
            <a:xfrm rot="8716295">
              <a:off x="1091684" y="2675653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E9996FB1-6163-4708-89D3-37E7BECE1764}"/>
                </a:ext>
              </a:extLst>
            </p:cNvPr>
            <p:cNvSpPr/>
            <p:nvPr/>
          </p:nvSpPr>
          <p:spPr>
            <a:xfrm rot="8716295">
              <a:off x="1562630" y="210103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A1CE2F3B-6619-4775-85F0-1C1F8C974630}"/>
                </a:ext>
              </a:extLst>
            </p:cNvPr>
            <p:cNvSpPr/>
            <p:nvPr/>
          </p:nvSpPr>
          <p:spPr>
            <a:xfrm rot="8716295">
              <a:off x="1697929" y="214529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8284C668-CF6A-429F-A20E-B2542F51FB46}"/>
                </a:ext>
              </a:extLst>
            </p:cNvPr>
            <p:cNvSpPr/>
            <p:nvPr/>
          </p:nvSpPr>
          <p:spPr>
            <a:xfrm rot="8716295">
              <a:off x="1392759" y="223505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AA01786E-CED8-47C1-98FC-809C875C8CD9}"/>
                </a:ext>
              </a:extLst>
            </p:cNvPr>
            <p:cNvSpPr/>
            <p:nvPr/>
          </p:nvSpPr>
          <p:spPr>
            <a:xfrm rot="8716295">
              <a:off x="1203715" y="191921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2425A90E-FE44-45AD-B145-151A84FF9C22}"/>
                </a:ext>
              </a:extLst>
            </p:cNvPr>
            <p:cNvSpPr/>
            <p:nvPr/>
          </p:nvSpPr>
          <p:spPr>
            <a:xfrm rot="8716295">
              <a:off x="1529248" y="2297037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C0E93116-88EE-4D50-8215-854EE6AEF62E}"/>
                </a:ext>
              </a:extLst>
            </p:cNvPr>
            <p:cNvSpPr/>
            <p:nvPr/>
          </p:nvSpPr>
          <p:spPr>
            <a:xfrm rot="8716295">
              <a:off x="1163801" y="2070611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97447593-0A4C-444A-8AD1-F14699136B1C}"/>
                </a:ext>
              </a:extLst>
            </p:cNvPr>
            <p:cNvSpPr/>
            <p:nvPr/>
          </p:nvSpPr>
          <p:spPr>
            <a:xfrm rot="7484129">
              <a:off x="1688065" y="258665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E8FA1E58-23E1-4418-9B7C-2F5C67C32BDC}"/>
                </a:ext>
              </a:extLst>
            </p:cNvPr>
            <p:cNvSpPr/>
            <p:nvPr/>
          </p:nvSpPr>
          <p:spPr>
            <a:xfrm rot="13089394">
              <a:off x="1845023" y="2531236"/>
              <a:ext cx="412568" cy="496925"/>
            </a:xfrm>
            <a:custGeom>
              <a:avLst/>
              <a:gdLst>
                <a:gd name="connsiteX0" fmla="*/ 412568 w 412568"/>
                <a:gd name="connsiteY0" fmla="*/ 390854 h 496925"/>
                <a:gd name="connsiteX1" fmla="*/ 198232 w 412568"/>
                <a:gd name="connsiteY1" fmla="*/ 489977 h 496925"/>
                <a:gd name="connsiteX2" fmla="*/ 144991 w 412568"/>
                <a:gd name="connsiteY2" fmla="*/ 496925 h 496925"/>
                <a:gd name="connsiteX3" fmla="*/ 0 w 412568"/>
                <a:gd name="connsiteY3" fmla="*/ 276116 h 496925"/>
                <a:gd name="connsiteX4" fmla="*/ 0 w 412568"/>
                <a:gd name="connsiteY4" fmla="*/ 57626 h 496925"/>
                <a:gd name="connsiteX5" fmla="*/ 111075 w 412568"/>
                <a:gd name="connsiteY5" fmla="*/ 0 h 496925"/>
                <a:gd name="connsiteX6" fmla="*/ 112747 w 412568"/>
                <a:gd name="connsiteY6" fmla="*/ 233009 h 496925"/>
                <a:gd name="connsiteX7" fmla="*/ 132789 w 412568"/>
                <a:gd name="connsiteY7" fmla="*/ 371646 h 496925"/>
                <a:gd name="connsiteX8" fmla="*/ 233008 w 412568"/>
                <a:gd name="connsiteY8" fmla="*/ 426766 h 496925"/>
                <a:gd name="connsiteX9" fmla="*/ 308173 w 412568"/>
                <a:gd name="connsiteY9" fmla="*/ 413403 h 496925"/>
                <a:gd name="connsiteX10" fmla="*/ 410897 w 412568"/>
                <a:gd name="connsiteY10" fmla="*/ 371646 h 496925"/>
                <a:gd name="connsiteX11" fmla="*/ 412568 w 412568"/>
                <a:gd name="connsiteY11" fmla="*/ 382502 h 496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2568" h="496925">
                  <a:moveTo>
                    <a:pt x="412568" y="390854"/>
                  </a:moveTo>
                  <a:cubicBezTo>
                    <a:pt x="346173" y="447854"/>
                    <a:pt x="264275" y="477136"/>
                    <a:pt x="198232" y="489977"/>
                  </a:cubicBezTo>
                  <a:lnTo>
                    <a:pt x="144991" y="496925"/>
                  </a:lnTo>
                  <a:lnTo>
                    <a:pt x="0" y="276116"/>
                  </a:lnTo>
                  <a:lnTo>
                    <a:pt x="0" y="57626"/>
                  </a:lnTo>
                  <a:lnTo>
                    <a:pt x="111075" y="0"/>
                  </a:lnTo>
                  <a:lnTo>
                    <a:pt x="112747" y="233009"/>
                  </a:lnTo>
                  <a:cubicBezTo>
                    <a:pt x="110241" y="279778"/>
                    <a:pt x="117757" y="327382"/>
                    <a:pt x="132789" y="371646"/>
                  </a:cubicBezTo>
                  <a:cubicBezTo>
                    <a:pt x="146153" y="408393"/>
                    <a:pt x="180394" y="426766"/>
                    <a:pt x="233008" y="426766"/>
                  </a:cubicBezTo>
                  <a:cubicBezTo>
                    <a:pt x="258899" y="425930"/>
                    <a:pt x="283953" y="420919"/>
                    <a:pt x="308173" y="413403"/>
                  </a:cubicBezTo>
                  <a:cubicBezTo>
                    <a:pt x="343249" y="402546"/>
                    <a:pt x="377491" y="388349"/>
                    <a:pt x="410897" y="371646"/>
                  </a:cubicBezTo>
                  <a:cubicBezTo>
                    <a:pt x="411732" y="374986"/>
                    <a:pt x="412568" y="379161"/>
                    <a:pt x="412568" y="38250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18E16AF5-15DE-4CED-B67B-CF099D4DD885}"/>
                </a:ext>
              </a:extLst>
            </p:cNvPr>
            <p:cNvSpPr/>
            <p:nvPr/>
          </p:nvSpPr>
          <p:spPr>
            <a:xfrm rot="8716295">
              <a:off x="2147054" y="2332037"/>
              <a:ext cx="207668" cy="192886"/>
            </a:xfrm>
            <a:custGeom>
              <a:avLst/>
              <a:gdLst>
                <a:gd name="connsiteX0" fmla="*/ 0 w 207668"/>
                <a:gd name="connsiteY0" fmla="*/ 192886 h 192886"/>
                <a:gd name="connsiteX1" fmla="*/ 159539 w 207668"/>
                <a:gd name="connsiteY1" fmla="*/ 0 h 192886"/>
                <a:gd name="connsiteX2" fmla="*/ 181588 w 207668"/>
                <a:gd name="connsiteY2" fmla="*/ 5201 h 192886"/>
                <a:gd name="connsiteX3" fmla="*/ 207668 w 207668"/>
                <a:gd name="connsiteY3" fmla="*/ 59649 h 192886"/>
                <a:gd name="connsiteX4" fmla="*/ 160490 w 207668"/>
                <a:gd name="connsiteY4" fmla="*/ 123096 h 192886"/>
                <a:gd name="connsiteX5" fmla="*/ 161303 w 207668"/>
                <a:gd name="connsiteY5" fmla="*/ 123096 h 192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668" h="192886">
                  <a:moveTo>
                    <a:pt x="0" y="192886"/>
                  </a:moveTo>
                  <a:lnTo>
                    <a:pt x="159539" y="0"/>
                  </a:lnTo>
                  <a:lnTo>
                    <a:pt x="181588" y="5201"/>
                  </a:lnTo>
                  <a:cubicBezTo>
                    <a:pt x="201262" y="16029"/>
                    <a:pt x="207668" y="40127"/>
                    <a:pt x="207668" y="59649"/>
                  </a:cubicBezTo>
                  <a:cubicBezTo>
                    <a:pt x="205228" y="88119"/>
                    <a:pt x="186518" y="111708"/>
                    <a:pt x="160490" y="123096"/>
                  </a:cubicBezTo>
                  <a:lnTo>
                    <a:pt x="161303" y="1230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EE7EA580-766E-4570-A7DD-55A7181E9140}"/>
                </a:ext>
              </a:extLst>
            </p:cNvPr>
            <p:cNvSpPr/>
            <p:nvPr/>
          </p:nvSpPr>
          <p:spPr>
            <a:xfrm rot="8716295">
              <a:off x="2049197" y="208909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89C54D82-6DB7-45E9-8646-AF058AAE6AFE}"/>
                </a:ext>
              </a:extLst>
            </p:cNvPr>
            <p:cNvSpPr/>
            <p:nvPr/>
          </p:nvSpPr>
          <p:spPr>
            <a:xfrm rot="8716295">
              <a:off x="1681033" y="21348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350EA871-183D-437B-B28B-EF893E9A4930}"/>
                </a:ext>
              </a:extLst>
            </p:cNvPr>
            <p:cNvSpPr/>
            <p:nvPr/>
          </p:nvSpPr>
          <p:spPr>
            <a:xfrm rot="8716295">
              <a:off x="1949615" y="189381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7625BF35-EB3E-4083-8310-66A6ABEEBE81}"/>
                </a:ext>
              </a:extLst>
            </p:cNvPr>
            <p:cNvSpPr/>
            <p:nvPr/>
          </p:nvSpPr>
          <p:spPr>
            <a:xfrm rot="8716295">
              <a:off x="787294" y="148117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4A278F8F-FAFA-4D7A-877C-29D91BF541D4}"/>
                </a:ext>
              </a:extLst>
            </p:cNvPr>
            <p:cNvSpPr/>
            <p:nvPr/>
          </p:nvSpPr>
          <p:spPr>
            <a:xfrm rot="8716295">
              <a:off x="922592" y="152543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DB2610A3-31CF-45EF-B184-4657FD23CA44}"/>
                </a:ext>
              </a:extLst>
            </p:cNvPr>
            <p:cNvSpPr/>
            <p:nvPr/>
          </p:nvSpPr>
          <p:spPr>
            <a:xfrm rot="8716295">
              <a:off x="854710" y="1394843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2721DD24-E32D-474A-8AE8-CB1F5FEA63CC}"/>
                </a:ext>
              </a:extLst>
            </p:cNvPr>
            <p:cNvSpPr/>
            <p:nvPr/>
          </p:nvSpPr>
          <p:spPr>
            <a:xfrm rot="8716295">
              <a:off x="617423" y="161518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271ACC1B-5BC1-4C90-8744-187E477874EA}"/>
                </a:ext>
              </a:extLst>
            </p:cNvPr>
            <p:cNvSpPr/>
            <p:nvPr/>
          </p:nvSpPr>
          <p:spPr>
            <a:xfrm rot="8716295">
              <a:off x="428376" y="129935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09A9FE1D-6CB8-4187-8C52-59F1BA866B08}"/>
                </a:ext>
              </a:extLst>
            </p:cNvPr>
            <p:cNvSpPr/>
            <p:nvPr/>
          </p:nvSpPr>
          <p:spPr>
            <a:xfrm rot="8716295">
              <a:off x="410135" y="1089302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orme libre : forme 58">
              <a:extLst>
                <a:ext uri="{FF2B5EF4-FFF2-40B4-BE49-F238E27FC236}">
                  <a16:creationId xmlns:a16="http://schemas.microsoft.com/office/drawing/2014/main" id="{536CBB26-493E-4AF3-B817-10984C95D957}"/>
                </a:ext>
              </a:extLst>
            </p:cNvPr>
            <p:cNvSpPr/>
            <p:nvPr/>
          </p:nvSpPr>
          <p:spPr>
            <a:xfrm rot="8716295">
              <a:off x="753911" y="1677170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orme libre : forme 59">
              <a:extLst>
                <a:ext uri="{FF2B5EF4-FFF2-40B4-BE49-F238E27FC236}">
                  <a16:creationId xmlns:a16="http://schemas.microsoft.com/office/drawing/2014/main" id="{945CA62F-9E79-459F-9A9E-98D352B7F4FC}"/>
                </a:ext>
              </a:extLst>
            </p:cNvPr>
            <p:cNvSpPr/>
            <p:nvPr/>
          </p:nvSpPr>
          <p:spPr>
            <a:xfrm rot="8716295">
              <a:off x="1224858" y="1102556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orme libre : forme 60">
              <a:extLst>
                <a:ext uri="{FF2B5EF4-FFF2-40B4-BE49-F238E27FC236}">
                  <a16:creationId xmlns:a16="http://schemas.microsoft.com/office/drawing/2014/main" id="{369C3DB8-F103-4448-B156-2B184240310A}"/>
                </a:ext>
              </a:extLst>
            </p:cNvPr>
            <p:cNvSpPr/>
            <p:nvPr/>
          </p:nvSpPr>
          <p:spPr>
            <a:xfrm rot="8716295">
              <a:off x="1360156" y="1146815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orme libre : forme 61">
              <a:extLst>
                <a:ext uri="{FF2B5EF4-FFF2-40B4-BE49-F238E27FC236}">
                  <a16:creationId xmlns:a16="http://schemas.microsoft.com/office/drawing/2014/main" id="{18E1EF68-3C34-4AED-A042-F974F305FFA4}"/>
                </a:ext>
              </a:extLst>
            </p:cNvPr>
            <p:cNvSpPr/>
            <p:nvPr/>
          </p:nvSpPr>
          <p:spPr>
            <a:xfrm rot="8716295">
              <a:off x="1054986" y="123657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orme libre : forme 62">
              <a:extLst>
                <a:ext uri="{FF2B5EF4-FFF2-40B4-BE49-F238E27FC236}">
                  <a16:creationId xmlns:a16="http://schemas.microsoft.com/office/drawing/2014/main" id="{E6940BAB-7063-447D-9788-7A9EFB3FD540}"/>
                </a:ext>
              </a:extLst>
            </p:cNvPr>
            <p:cNvSpPr/>
            <p:nvPr/>
          </p:nvSpPr>
          <p:spPr>
            <a:xfrm rot="8716295">
              <a:off x="865942" y="92073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orme libre : forme 63">
              <a:extLst>
                <a:ext uri="{FF2B5EF4-FFF2-40B4-BE49-F238E27FC236}">
                  <a16:creationId xmlns:a16="http://schemas.microsoft.com/office/drawing/2014/main" id="{ACE5BF6F-DB4B-42E3-B1BA-145CDB9C3DF9}"/>
                </a:ext>
              </a:extLst>
            </p:cNvPr>
            <p:cNvSpPr/>
            <p:nvPr/>
          </p:nvSpPr>
          <p:spPr>
            <a:xfrm rot="8716295">
              <a:off x="1191475" y="1298554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orme libre : forme 64">
              <a:extLst>
                <a:ext uri="{FF2B5EF4-FFF2-40B4-BE49-F238E27FC236}">
                  <a16:creationId xmlns:a16="http://schemas.microsoft.com/office/drawing/2014/main" id="{652E743A-00B8-433E-B55D-34BA48EAC5CE}"/>
                </a:ext>
              </a:extLst>
            </p:cNvPr>
            <p:cNvSpPr/>
            <p:nvPr/>
          </p:nvSpPr>
          <p:spPr>
            <a:xfrm rot="8716295">
              <a:off x="826028" y="1072128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orme libre : forme 65">
              <a:extLst>
                <a:ext uri="{FF2B5EF4-FFF2-40B4-BE49-F238E27FC236}">
                  <a16:creationId xmlns:a16="http://schemas.microsoft.com/office/drawing/2014/main" id="{BACD1396-4989-4CCD-AB4F-6277B1FA025D}"/>
                </a:ext>
              </a:extLst>
            </p:cNvPr>
            <p:cNvSpPr/>
            <p:nvPr/>
          </p:nvSpPr>
          <p:spPr>
            <a:xfrm rot="7484129">
              <a:off x="1350292" y="158817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orme libre : forme 66">
              <a:extLst>
                <a:ext uri="{FF2B5EF4-FFF2-40B4-BE49-F238E27FC236}">
                  <a16:creationId xmlns:a16="http://schemas.microsoft.com/office/drawing/2014/main" id="{F1575DA2-DE7C-4BAF-AFB3-D8ACAD3FE8BB}"/>
                </a:ext>
              </a:extLst>
            </p:cNvPr>
            <p:cNvSpPr/>
            <p:nvPr/>
          </p:nvSpPr>
          <p:spPr>
            <a:xfrm rot="13089394">
              <a:off x="1508942" y="1537520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3D5C7C03-0DD7-4CE0-B323-2DBC8A33D724}"/>
                </a:ext>
              </a:extLst>
            </p:cNvPr>
            <p:cNvSpPr/>
            <p:nvPr/>
          </p:nvSpPr>
          <p:spPr>
            <a:xfrm rot="8716295">
              <a:off x="1789833" y="1247402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orme libre : forme 68">
              <a:extLst>
                <a:ext uri="{FF2B5EF4-FFF2-40B4-BE49-F238E27FC236}">
                  <a16:creationId xmlns:a16="http://schemas.microsoft.com/office/drawing/2014/main" id="{2A0940B5-3257-4C64-A206-488AFE286994}"/>
                </a:ext>
              </a:extLst>
            </p:cNvPr>
            <p:cNvSpPr/>
            <p:nvPr/>
          </p:nvSpPr>
          <p:spPr>
            <a:xfrm rot="8716295">
              <a:off x="1711424" y="109061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orme libre : forme 69">
              <a:extLst>
                <a:ext uri="{FF2B5EF4-FFF2-40B4-BE49-F238E27FC236}">
                  <a16:creationId xmlns:a16="http://schemas.microsoft.com/office/drawing/2014/main" id="{3166A607-68F9-4F3F-A5ED-4FA937BEECD1}"/>
                </a:ext>
              </a:extLst>
            </p:cNvPr>
            <p:cNvSpPr/>
            <p:nvPr/>
          </p:nvSpPr>
          <p:spPr>
            <a:xfrm rot="8716295">
              <a:off x="1343261" y="113635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orme libre : forme 70">
              <a:extLst>
                <a:ext uri="{FF2B5EF4-FFF2-40B4-BE49-F238E27FC236}">
                  <a16:creationId xmlns:a16="http://schemas.microsoft.com/office/drawing/2014/main" id="{E3E45D07-7F2E-45AC-8607-5306F45B7B5E}"/>
                </a:ext>
              </a:extLst>
            </p:cNvPr>
            <p:cNvSpPr/>
            <p:nvPr/>
          </p:nvSpPr>
          <p:spPr>
            <a:xfrm rot="8716295">
              <a:off x="1611842" y="89533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orme libre : forme 71">
              <a:extLst>
                <a:ext uri="{FF2B5EF4-FFF2-40B4-BE49-F238E27FC236}">
                  <a16:creationId xmlns:a16="http://schemas.microsoft.com/office/drawing/2014/main" id="{F61F2692-40B7-4A40-AE32-B2180297905C}"/>
                </a:ext>
              </a:extLst>
            </p:cNvPr>
            <p:cNvSpPr/>
            <p:nvPr/>
          </p:nvSpPr>
          <p:spPr>
            <a:xfrm rot="8716295">
              <a:off x="455920" y="47911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orme libre : forme 72">
              <a:extLst>
                <a:ext uri="{FF2B5EF4-FFF2-40B4-BE49-F238E27FC236}">
                  <a16:creationId xmlns:a16="http://schemas.microsoft.com/office/drawing/2014/main" id="{8D510AFD-E0B6-4C04-A231-06F0DA5461FE}"/>
                </a:ext>
              </a:extLst>
            </p:cNvPr>
            <p:cNvSpPr/>
            <p:nvPr/>
          </p:nvSpPr>
          <p:spPr>
            <a:xfrm rot="8716295">
              <a:off x="591219" y="52337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" name="Forme libre : forme 73">
              <a:extLst>
                <a:ext uri="{FF2B5EF4-FFF2-40B4-BE49-F238E27FC236}">
                  <a16:creationId xmlns:a16="http://schemas.microsoft.com/office/drawing/2014/main" id="{6B88DB4B-6413-485F-AD39-EF4AC1850A75}"/>
                </a:ext>
              </a:extLst>
            </p:cNvPr>
            <p:cNvSpPr/>
            <p:nvPr/>
          </p:nvSpPr>
          <p:spPr>
            <a:xfrm rot="8716295">
              <a:off x="523336" y="39278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" name="Forme libre : forme 74">
              <a:extLst>
                <a:ext uri="{FF2B5EF4-FFF2-40B4-BE49-F238E27FC236}">
                  <a16:creationId xmlns:a16="http://schemas.microsoft.com/office/drawing/2014/main" id="{985A4035-A707-4F38-A0C9-2533BF637BC9}"/>
                </a:ext>
              </a:extLst>
            </p:cNvPr>
            <p:cNvSpPr/>
            <p:nvPr/>
          </p:nvSpPr>
          <p:spPr>
            <a:xfrm rot="8716295">
              <a:off x="286049" y="6131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" name="Forme libre : forme 75">
              <a:extLst>
                <a:ext uri="{FF2B5EF4-FFF2-40B4-BE49-F238E27FC236}">
                  <a16:creationId xmlns:a16="http://schemas.microsoft.com/office/drawing/2014/main" id="{F8A46B91-F44C-4F7E-94A8-64349465DA46}"/>
                </a:ext>
              </a:extLst>
            </p:cNvPr>
            <p:cNvSpPr/>
            <p:nvPr/>
          </p:nvSpPr>
          <p:spPr>
            <a:xfrm rot="8716295">
              <a:off x="97003" y="2972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" name="Forme libre : forme 76">
              <a:extLst>
                <a:ext uri="{FF2B5EF4-FFF2-40B4-BE49-F238E27FC236}">
                  <a16:creationId xmlns:a16="http://schemas.microsoft.com/office/drawing/2014/main" id="{D98B2AD3-F200-4E21-B245-12CF6B31E044}"/>
                </a:ext>
              </a:extLst>
            </p:cNvPr>
            <p:cNvSpPr/>
            <p:nvPr/>
          </p:nvSpPr>
          <p:spPr>
            <a:xfrm rot="8716295">
              <a:off x="78761" y="87249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" name="Forme libre : forme 77">
              <a:extLst>
                <a:ext uri="{FF2B5EF4-FFF2-40B4-BE49-F238E27FC236}">
                  <a16:creationId xmlns:a16="http://schemas.microsoft.com/office/drawing/2014/main" id="{31F62124-299F-4960-8825-F200F77E89B1}"/>
                </a:ext>
              </a:extLst>
            </p:cNvPr>
            <p:cNvSpPr/>
            <p:nvPr/>
          </p:nvSpPr>
          <p:spPr>
            <a:xfrm rot="8716295">
              <a:off x="422537" y="67511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orme libre : forme 78">
              <a:extLst>
                <a:ext uri="{FF2B5EF4-FFF2-40B4-BE49-F238E27FC236}">
                  <a16:creationId xmlns:a16="http://schemas.microsoft.com/office/drawing/2014/main" id="{EE39F313-B670-444A-981C-E127C24D857F}"/>
                </a:ext>
              </a:extLst>
            </p:cNvPr>
            <p:cNvSpPr/>
            <p:nvPr/>
          </p:nvSpPr>
          <p:spPr>
            <a:xfrm rot="8716295">
              <a:off x="893484" y="10050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Forme libre : forme 79">
              <a:extLst>
                <a:ext uri="{FF2B5EF4-FFF2-40B4-BE49-F238E27FC236}">
                  <a16:creationId xmlns:a16="http://schemas.microsoft.com/office/drawing/2014/main" id="{9BFFA7AA-3FAD-4A4D-BF99-76B00FB2C288}"/>
                </a:ext>
              </a:extLst>
            </p:cNvPr>
            <p:cNvSpPr/>
            <p:nvPr/>
          </p:nvSpPr>
          <p:spPr>
            <a:xfrm rot="8716295">
              <a:off x="1028783" y="14476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" name="Forme libre : forme 80">
              <a:extLst>
                <a:ext uri="{FF2B5EF4-FFF2-40B4-BE49-F238E27FC236}">
                  <a16:creationId xmlns:a16="http://schemas.microsoft.com/office/drawing/2014/main" id="{1433DBAF-4AFA-4A86-A99F-428DB317C17F}"/>
                </a:ext>
              </a:extLst>
            </p:cNvPr>
            <p:cNvSpPr/>
            <p:nvPr/>
          </p:nvSpPr>
          <p:spPr>
            <a:xfrm rot="8716295">
              <a:off x="723613" y="23451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orme libre : forme 81">
              <a:extLst>
                <a:ext uri="{FF2B5EF4-FFF2-40B4-BE49-F238E27FC236}">
                  <a16:creationId xmlns:a16="http://schemas.microsoft.com/office/drawing/2014/main" id="{AF029D07-5D40-4341-9548-A67032BB1C77}"/>
                </a:ext>
              </a:extLst>
            </p:cNvPr>
            <p:cNvSpPr/>
            <p:nvPr/>
          </p:nvSpPr>
          <p:spPr>
            <a:xfrm rot="8716295">
              <a:off x="547803" y="-17289"/>
              <a:ext cx="308531" cy="226033"/>
            </a:xfrm>
            <a:custGeom>
              <a:avLst/>
              <a:gdLst>
                <a:gd name="connsiteX0" fmla="*/ 106716 w 203847"/>
                <a:gd name="connsiteY0" fmla="*/ 149340 h 149340"/>
                <a:gd name="connsiteX1" fmla="*/ 50038 w 203847"/>
                <a:gd name="connsiteY1" fmla="*/ 110053 h 149340"/>
                <a:gd name="connsiteX2" fmla="*/ 69777 w 203847"/>
                <a:gd name="connsiteY2" fmla="*/ 55323 h 149340"/>
                <a:gd name="connsiteX3" fmla="*/ 0 w 203847"/>
                <a:gd name="connsiteY3" fmla="*/ 55323 h 149340"/>
                <a:gd name="connsiteX4" fmla="*/ 0 w 203847"/>
                <a:gd name="connsiteY4" fmla="*/ 0 h 149340"/>
                <a:gd name="connsiteX5" fmla="*/ 203847 w 203847"/>
                <a:gd name="connsiteY5" fmla="*/ 0 h 149340"/>
                <a:gd name="connsiteX6" fmla="*/ 203847 w 203847"/>
                <a:gd name="connsiteY6" fmla="*/ 55323 h 149340"/>
                <a:gd name="connsiteX7" fmla="*/ 139055 w 203847"/>
                <a:gd name="connsiteY7" fmla="*/ 55323 h 14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49340">
                  <a:moveTo>
                    <a:pt x="106716" y="149340"/>
                  </a:moveTo>
                  <a:lnTo>
                    <a:pt x="50038" y="110053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Forme libre : forme 82">
              <a:extLst>
                <a:ext uri="{FF2B5EF4-FFF2-40B4-BE49-F238E27FC236}">
                  <a16:creationId xmlns:a16="http://schemas.microsoft.com/office/drawing/2014/main" id="{2932702E-E8E3-46BA-A87E-0ED0BC303BF9}"/>
                </a:ext>
              </a:extLst>
            </p:cNvPr>
            <p:cNvSpPr/>
            <p:nvPr/>
          </p:nvSpPr>
          <p:spPr>
            <a:xfrm rot="8716295">
              <a:off x="860101" y="29650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4" name="Forme libre : forme 83">
              <a:extLst>
                <a:ext uri="{FF2B5EF4-FFF2-40B4-BE49-F238E27FC236}">
                  <a16:creationId xmlns:a16="http://schemas.microsoft.com/office/drawing/2014/main" id="{69A563A2-99F0-4626-A5AF-E9AD22DC8484}"/>
                </a:ext>
              </a:extLst>
            </p:cNvPr>
            <p:cNvSpPr/>
            <p:nvPr/>
          </p:nvSpPr>
          <p:spPr>
            <a:xfrm rot="8716295">
              <a:off x="494655" y="7007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5" name="Forme libre : forme 84">
              <a:extLst>
                <a:ext uri="{FF2B5EF4-FFF2-40B4-BE49-F238E27FC236}">
                  <a16:creationId xmlns:a16="http://schemas.microsoft.com/office/drawing/2014/main" id="{B18A375D-EEA2-4D9B-96D1-D4924AE08EC7}"/>
                </a:ext>
              </a:extLst>
            </p:cNvPr>
            <p:cNvSpPr/>
            <p:nvPr/>
          </p:nvSpPr>
          <p:spPr>
            <a:xfrm rot="7484129">
              <a:off x="1018919" y="58611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6" name="Forme libre : forme 85">
              <a:extLst>
                <a:ext uri="{FF2B5EF4-FFF2-40B4-BE49-F238E27FC236}">
                  <a16:creationId xmlns:a16="http://schemas.microsoft.com/office/drawing/2014/main" id="{7717CD41-705F-4F28-B88E-73D27DF645C8}"/>
                </a:ext>
              </a:extLst>
            </p:cNvPr>
            <p:cNvSpPr/>
            <p:nvPr/>
          </p:nvSpPr>
          <p:spPr>
            <a:xfrm rot="13089394">
              <a:off x="1177568" y="53546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7" name="Forme libre : forme 86">
              <a:extLst>
                <a:ext uri="{FF2B5EF4-FFF2-40B4-BE49-F238E27FC236}">
                  <a16:creationId xmlns:a16="http://schemas.microsoft.com/office/drawing/2014/main" id="{285D68BE-9E3D-4F4C-AC96-578345571AC5}"/>
                </a:ext>
              </a:extLst>
            </p:cNvPr>
            <p:cNvSpPr/>
            <p:nvPr/>
          </p:nvSpPr>
          <p:spPr>
            <a:xfrm rot="8716295">
              <a:off x="1458459" y="24534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8" name="Forme libre : forme 87">
              <a:extLst>
                <a:ext uri="{FF2B5EF4-FFF2-40B4-BE49-F238E27FC236}">
                  <a16:creationId xmlns:a16="http://schemas.microsoft.com/office/drawing/2014/main" id="{83EDC7AF-2352-4CD0-B767-0567B99FAECC}"/>
                </a:ext>
              </a:extLst>
            </p:cNvPr>
            <p:cNvSpPr/>
            <p:nvPr/>
          </p:nvSpPr>
          <p:spPr>
            <a:xfrm rot="8716295">
              <a:off x="1380050" y="8855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9" name="Forme libre : forme 88">
              <a:extLst>
                <a:ext uri="{FF2B5EF4-FFF2-40B4-BE49-F238E27FC236}">
                  <a16:creationId xmlns:a16="http://schemas.microsoft.com/office/drawing/2014/main" id="{E853F8BE-90D5-4EB8-BCC9-E92102CA6DFE}"/>
                </a:ext>
              </a:extLst>
            </p:cNvPr>
            <p:cNvSpPr/>
            <p:nvPr/>
          </p:nvSpPr>
          <p:spPr>
            <a:xfrm rot="8716295">
              <a:off x="1011887" y="13429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" name="Forme libre : forme 89">
              <a:extLst>
                <a:ext uri="{FF2B5EF4-FFF2-40B4-BE49-F238E27FC236}">
                  <a16:creationId xmlns:a16="http://schemas.microsoft.com/office/drawing/2014/main" id="{42758375-22F2-40F5-8D40-436514F398B4}"/>
                </a:ext>
              </a:extLst>
            </p:cNvPr>
            <p:cNvSpPr/>
            <p:nvPr/>
          </p:nvSpPr>
          <p:spPr>
            <a:xfrm rot="8716295">
              <a:off x="1291652" y="-36449"/>
              <a:ext cx="134197" cy="106947"/>
            </a:xfrm>
            <a:custGeom>
              <a:avLst/>
              <a:gdLst>
                <a:gd name="connsiteX0" fmla="*/ 83649 w 88664"/>
                <a:gd name="connsiteY0" fmla="*/ 70660 h 70660"/>
                <a:gd name="connsiteX1" fmla="*/ 0 w 88664"/>
                <a:gd name="connsiteY1" fmla="*/ 12677 h 70660"/>
                <a:gd name="connsiteX2" fmla="*/ 30024 w 88664"/>
                <a:gd name="connsiteY2" fmla="*/ 0 h 70660"/>
                <a:gd name="connsiteX3" fmla="*/ 71417 w 88664"/>
                <a:gd name="connsiteY3" fmla="*/ 17477 h 70660"/>
                <a:gd name="connsiteX4" fmla="*/ 88664 w 88664"/>
                <a:gd name="connsiteY4" fmla="*/ 58525 h 70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664" h="70660">
                  <a:moveTo>
                    <a:pt x="83649" y="70660"/>
                  </a:moveTo>
                  <a:lnTo>
                    <a:pt x="0" y="12677"/>
                  </a:lnTo>
                  <a:lnTo>
                    <a:pt x="30024" y="0"/>
                  </a:lnTo>
                  <a:cubicBezTo>
                    <a:pt x="45662" y="0"/>
                    <a:pt x="60379" y="6439"/>
                    <a:pt x="71417" y="17477"/>
                  </a:cubicBezTo>
                  <a:cubicBezTo>
                    <a:pt x="82915" y="28515"/>
                    <a:pt x="88664" y="43462"/>
                    <a:pt x="88664" y="58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" name="Forme libre : forme 90">
              <a:extLst>
                <a:ext uri="{FF2B5EF4-FFF2-40B4-BE49-F238E27FC236}">
                  <a16:creationId xmlns:a16="http://schemas.microsoft.com/office/drawing/2014/main" id="{39402522-16DA-4E11-927D-0744A887E931}"/>
                </a:ext>
              </a:extLst>
            </p:cNvPr>
            <p:cNvSpPr/>
            <p:nvPr/>
          </p:nvSpPr>
          <p:spPr>
            <a:xfrm rot="13089394">
              <a:off x="990163" y="-39748"/>
              <a:ext cx="111277" cy="115595"/>
            </a:xfrm>
            <a:custGeom>
              <a:avLst/>
              <a:gdLst>
                <a:gd name="connsiteX0" fmla="*/ 73521 w 73521"/>
                <a:gd name="connsiteY0" fmla="*/ 18609 h 76374"/>
                <a:gd name="connsiteX1" fmla="*/ 0 w 73521"/>
                <a:gd name="connsiteY1" fmla="*/ 76374 h 76374"/>
                <a:gd name="connsiteX2" fmla="*/ 0 w 73521"/>
                <a:gd name="connsiteY2" fmla="*/ 38074 h 76374"/>
                <a:gd name="connsiteX3" fmla="*/ 73388 w 73521"/>
                <a:gd name="connsiteY3" fmla="*/ 0 h 7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521" h="76374">
                  <a:moveTo>
                    <a:pt x="73521" y="18609"/>
                  </a:moveTo>
                  <a:lnTo>
                    <a:pt x="0" y="76374"/>
                  </a:lnTo>
                  <a:lnTo>
                    <a:pt x="0" y="38074"/>
                  </a:lnTo>
                  <a:lnTo>
                    <a:pt x="7338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" name="Forme libre : forme 91">
              <a:extLst>
                <a:ext uri="{FF2B5EF4-FFF2-40B4-BE49-F238E27FC236}">
                  <a16:creationId xmlns:a16="http://schemas.microsoft.com/office/drawing/2014/main" id="{BA0CCCD1-A43A-4EDA-9AE2-2B760A750CB8}"/>
                </a:ext>
              </a:extLst>
            </p:cNvPr>
            <p:cNvSpPr/>
            <p:nvPr/>
          </p:nvSpPr>
          <p:spPr>
            <a:xfrm rot="8716295">
              <a:off x="121288" y="414134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" name="Forme libre : forme 92">
              <a:extLst>
                <a:ext uri="{FF2B5EF4-FFF2-40B4-BE49-F238E27FC236}">
                  <a16:creationId xmlns:a16="http://schemas.microsoft.com/office/drawing/2014/main" id="{B00F8218-3F51-4CFB-9D4D-4142207B942F}"/>
                </a:ext>
              </a:extLst>
            </p:cNvPr>
            <p:cNvSpPr/>
            <p:nvPr/>
          </p:nvSpPr>
          <p:spPr>
            <a:xfrm rot="8716295">
              <a:off x="256586" y="418560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" name="Forme libre : forme 93">
              <a:extLst>
                <a:ext uri="{FF2B5EF4-FFF2-40B4-BE49-F238E27FC236}">
                  <a16:creationId xmlns:a16="http://schemas.microsoft.com/office/drawing/2014/main" id="{59A33452-85A5-44B9-85E4-34DB64857691}"/>
                </a:ext>
              </a:extLst>
            </p:cNvPr>
            <p:cNvSpPr/>
            <p:nvPr/>
          </p:nvSpPr>
          <p:spPr>
            <a:xfrm rot="8716295">
              <a:off x="188704" y="405501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orme libre : forme 94">
              <a:extLst>
                <a:ext uri="{FF2B5EF4-FFF2-40B4-BE49-F238E27FC236}">
                  <a16:creationId xmlns:a16="http://schemas.microsoft.com/office/drawing/2014/main" id="{6EB29E53-18CD-42F3-9B37-2ECC6883F84C}"/>
                </a:ext>
              </a:extLst>
            </p:cNvPr>
            <p:cNvSpPr/>
            <p:nvPr/>
          </p:nvSpPr>
          <p:spPr>
            <a:xfrm rot="8716295">
              <a:off x="-22408" y="4278013"/>
              <a:ext cx="57413" cy="71926"/>
            </a:xfrm>
            <a:custGeom>
              <a:avLst/>
              <a:gdLst>
                <a:gd name="connsiteX0" fmla="*/ 11441 w 57413"/>
                <a:gd name="connsiteY0" fmla="*/ 71926 h 71926"/>
                <a:gd name="connsiteX1" fmla="*/ 0 w 57413"/>
                <a:gd name="connsiteY1" fmla="*/ 44829 h 71926"/>
                <a:gd name="connsiteX2" fmla="*/ 0 w 57413"/>
                <a:gd name="connsiteY2" fmla="*/ 44139 h 71926"/>
                <a:gd name="connsiteX3" fmla="*/ 13104 w 57413"/>
                <a:gd name="connsiteY3" fmla="*/ 13104 h 71926"/>
                <a:gd name="connsiteX4" fmla="*/ 44139 w 57413"/>
                <a:gd name="connsiteY4" fmla="*/ 0 h 71926"/>
                <a:gd name="connsiteX5" fmla="*/ 57413 w 57413"/>
                <a:gd name="connsiteY5" fmla="*/ 5605 h 71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413" h="71926">
                  <a:moveTo>
                    <a:pt x="11441" y="71926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lnTo>
                    <a:pt x="57413" y="5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Forme libre : forme 95">
              <a:extLst>
                <a:ext uri="{FF2B5EF4-FFF2-40B4-BE49-F238E27FC236}">
                  <a16:creationId xmlns:a16="http://schemas.microsoft.com/office/drawing/2014/main" id="{5DEA4AC8-B4A8-4210-932F-E61308CFB12D}"/>
                </a:ext>
              </a:extLst>
            </p:cNvPr>
            <p:cNvSpPr/>
            <p:nvPr/>
          </p:nvSpPr>
          <p:spPr>
            <a:xfrm rot="8716295">
              <a:off x="-36969" y="4107248"/>
              <a:ext cx="147272" cy="83734"/>
            </a:xfrm>
            <a:custGeom>
              <a:avLst/>
              <a:gdLst>
                <a:gd name="connsiteX0" fmla="*/ 0 w 147272"/>
                <a:gd name="connsiteY0" fmla="*/ 83734 h 83734"/>
                <a:gd name="connsiteX1" fmla="*/ 0 w 147272"/>
                <a:gd name="connsiteY1" fmla="*/ 0 h 83734"/>
                <a:gd name="connsiteX2" fmla="*/ 147272 w 147272"/>
                <a:gd name="connsiteY2" fmla="*/ 0 h 83734"/>
                <a:gd name="connsiteX3" fmla="*/ 89230 w 147272"/>
                <a:gd name="connsiteY3" fmla="*/ 83734 h 83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272" h="83734">
                  <a:moveTo>
                    <a:pt x="0" y="83734"/>
                  </a:moveTo>
                  <a:lnTo>
                    <a:pt x="0" y="0"/>
                  </a:lnTo>
                  <a:lnTo>
                    <a:pt x="147272" y="0"/>
                  </a:lnTo>
                  <a:lnTo>
                    <a:pt x="89230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" name="Forme libre : forme 96">
              <a:extLst>
                <a:ext uri="{FF2B5EF4-FFF2-40B4-BE49-F238E27FC236}">
                  <a16:creationId xmlns:a16="http://schemas.microsoft.com/office/drawing/2014/main" id="{B218914A-7EA1-40E4-B44A-2A3DBC972AF7}"/>
                </a:ext>
              </a:extLst>
            </p:cNvPr>
            <p:cNvSpPr/>
            <p:nvPr/>
          </p:nvSpPr>
          <p:spPr>
            <a:xfrm rot="8716295">
              <a:off x="43378" y="3712531"/>
              <a:ext cx="125537" cy="468763"/>
            </a:xfrm>
            <a:custGeom>
              <a:avLst/>
              <a:gdLst>
                <a:gd name="connsiteX0" fmla="*/ 29455 w 125537"/>
                <a:gd name="connsiteY0" fmla="*/ 468763 h 468763"/>
                <a:gd name="connsiteX1" fmla="*/ 7792 w 125537"/>
                <a:gd name="connsiteY1" fmla="*/ 425988 h 468763"/>
                <a:gd name="connsiteX2" fmla="*/ 0 w 125537"/>
                <a:gd name="connsiteY2" fmla="*/ 333043 h 468763"/>
                <a:gd name="connsiteX3" fmla="*/ 0 w 125537"/>
                <a:gd name="connsiteY3" fmla="*/ 61444 h 468763"/>
                <a:gd name="connsiteX4" fmla="*/ 118434 w 125537"/>
                <a:gd name="connsiteY4" fmla="*/ 0 h 468763"/>
                <a:gd name="connsiteX5" fmla="*/ 120216 w 125537"/>
                <a:gd name="connsiteY5" fmla="*/ 248447 h 468763"/>
                <a:gd name="connsiteX6" fmla="*/ 123889 w 125537"/>
                <a:gd name="connsiteY6" fmla="*/ 323359 h 468763"/>
                <a:gd name="connsiteX7" fmla="*/ 125537 w 125537"/>
                <a:gd name="connsiteY7" fmla="*/ 330150 h 468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537" h="468763">
                  <a:moveTo>
                    <a:pt x="29455" y="468763"/>
                  </a:moveTo>
                  <a:lnTo>
                    <a:pt x="7792" y="425988"/>
                  </a:lnTo>
                  <a:cubicBezTo>
                    <a:pt x="2003" y="400498"/>
                    <a:pt x="0" y="369553"/>
                    <a:pt x="0" y="333043"/>
                  </a:cubicBezTo>
                  <a:lnTo>
                    <a:pt x="0" y="61444"/>
                  </a:lnTo>
                  <a:lnTo>
                    <a:pt x="118434" y="0"/>
                  </a:lnTo>
                  <a:lnTo>
                    <a:pt x="120216" y="248447"/>
                  </a:lnTo>
                  <a:cubicBezTo>
                    <a:pt x="118880" y="273381"/>
                    <a:pt x="120216" y="298537"/>
                    <a:pt x="123889" y="323359"/>
                  </a:cubicBezTo>
                  <a:lnTo>
                    <a:pt x="125537" y="3301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" name="Forme libre : forme 97">
              <a:extLst>
                <a:ext uri="{FF2B5EF4-FFF2-40B4-BE49-F238E27FC236}">
                  <a16:creationId xmlns:a16="http://schemas.microsoft.com/office/drawing/2014/main" id="{B6F2924E-906C-4ED1-BF2D-C834372E14EF}"/>
                </a:ext>
              </a:extLst>
            </p:cNvPr>
            <p:cNvSpPr/>
            <p:nvPr/>
          </p:nvSpPr>
          <p:spPr>
            <a:xfrm rot="8716295">
              <a:off x="87905" y="4337347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" name="Forme libre : forme 98">
              <a:extLst>
                <a:ext uri="{FF2B5EF4-FFF2-40B4-BE49-F238E27FC236}">
                  <a16:creationId xmlns:a16="http://schemas.microsoft.com/office/drawing/2014/main" id="{0D75C9D9-5C3D-47E0-90AD-938F1B8E2F44}"/>
                </a:ext>
              </a:extLst>
            </p:cNvPr>
            <p:cNvSpPr/>
            <p:nvPr/>
          </p:nvSpPr>
          <p:spPr>
            <a:xfrm rot="8716295">
              <a:off x="558851" y="376273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orme libre : forme 99">
              <a:extLst>
                <a:ext uri="{FF2B5EF4-FFF2-40B4-BE49-F238E27FC236}">
                  <a16:creationId xmlns:a16="http://schemas.microsoft.com/office/drawing/2014/main" id="{FB753F16-18A9-4EF7-8A5C-AFE5FF2AAE20}"/>
                </a:ext>
              </a:extLst>
            </p:cNvPr>
            <p:cNvSpPr/>
            <p:nvPr/>
          </p:nvSpPr>
          <p:spPr>
            <a:xfrm rot="8716295">
              <a:off x="694150" y="380699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Forme libre : forme 100">
              <a:extLst>
                <a:ext uri="{FF2B5EF4-FFF2-40B4-BE49-F238E27FC236}">
                  <a16:creationId xmlns:a16="http://schemas.microsoft.com/office/drawing/2014/main" id="{3BF96335-BBEB-4DB5-9C46-1C3097EF0D59}"/>
                </a:ext>
              </a:extLst>
            </p:cNvPr>
            <p:cNvSpPr/>
            <p:nvPr/>
          </p:nvSpPr>
          <p:spPr>
            <a:xfrm rot="8716295">
              <a:off x="388980" y="389674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" name="Forme libre : forme 101">
              <a:extLst>
                <a:ext uri="{FF2B5EF4-FFF2-40B4-BE49-F238E27FC236}">
                  <a16:creationId xmlns:a16="http://schemas.microsoft.com/office/drawing/2014/main" id="{5E31C792-E11F-4ADA-B2CB-57C48077CBA4}"/>
                </a:ext>
              </a:extLst>
            </p:cNvPr>
            <p:cNvSpPr/>
            <p:nvPr/>
          </p:nvSpPr>
          <p:spPr>
            <a:xfrm rot="8716295">
              <a:off x="199936" y="358091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" name="Forme libre : forme 102">
              <a:extLst>
                <a:ext uri="{FF2B5EF4-FFF2-40B4-BE49-F238E27FC236}">
                  <a16:creationId xmlns:a16="http://schemas.microsoft.com/office/drawing/2014/main" id="{94FED6A4-8569-4EA9-A306-CB876E36FB03}"/>
                </a:ext>
              </a:extLst>
            </p:cNvPr>
            <p:cNvSpPr/>
            <p:nvPr/>
          </p:nvSpPr>
          <p:spPr>
            <a:xfrm rot="8716295">
              <a:off x="525469" y="3958731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" name="Forme libre : forme 103">
              <a:extLst>
                <a:ext uri="{FF2B5EF4-FFF2-40B4-BE49-F238E27FC236}">
                  <a16:creationId xmlns:a16="http://schemas.microsoft.com/office/drawing/2014/main" id="{980A1AA3-B52B-4C80-9AC4-D47CC78A5A3B}"/>
                </a:ext>
              </a:extLst>
            </p:cNvPr>
            <p:cNvSpPr/>
            <p:nvPr/>
          </p:nvSpPr>
          <p:spPr>
            <a:xfrm rot="8716295">
              <a:off x="160022" y="3732305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" name="Forme libre : forme 104">
              <a:extLst>
                <a:ext uri="{FF2B5EF4-FFF2-40B4-BE49-F238E27FC236}">
                  <a16:creationId xmlns:a16="http://schemas.microsoft.com/office/drawing/2014/main" id="{C66003E5-2553-46E6-8D65-9CD33FAF8398}"/>
                </a:ext>
              </a:extLst>
            </p:cNvPr>
            <p:cNvSpPr/>
            <p:nvPr/>
          </p:nvSpPr>
          <p:spPr>
            <a:xfrm rot="7484129">
              <a:off x="684286" y="424834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" name="Forme libre : forme 105">
              <a:extLst>
                <a:ext uri="{FF2B5EF4-FFF2-40B4-BE49-F238E27FC236}">
                  <a16:creationId xmlns:a16="http://schemas.microsoft.com/office/drawing/2014/main" id="{A5156F8D-1CAA-4650-BC6D-5AD5CAA0A30F}"/>
                </a:ext>
              </a:extLst>
            </p:cNvPr>
            <p:cNvSpPr/>
            <p:nvPr/>
          </p:nvSpPr>
          <p:spPr>
            <a:xfrm rot="13089394">
              <a:off x="842936" y="4197697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" name="Forme libre : forme 106">
              <a:extLst>
                <a:ext uri="{FF2B5EF4-FFF2-40B4-BE49-F238E27FC236}">
                  <a16:creationId xmlns:a16="http://schemas.microsoft.com/office/drawing/2014/main" id="{7A0FA012-A668-45E7-9A04-80DC4066A5EA}"/>
                </a:ext>
              </a:extLst>
            </p:cNvPr>
            <p:cNvSpPr/>
            <p:nvPr/>
          </p:nvSpPr>
          <p:spPr>
            <a:xfrm rot="8716295">
              <a:off x="1123827" y="390757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" name="Forme libre : forme 107">
              <a:extLst>
                <a:ext uri="{FF2B5EF4-FFF2-40B4-BE49-F238E27FC236}">
                  <a16:creationId xmlns:a16="http://schemas.microsoft.com/office/drawing/2014/main" id="{DE4CA035-6173-48AD-BD1D-D7ED5F77A322}"/>
                </a:ext>
              </a:extLst>
            </p:cNvPr>
            <p:cNvSpPr/>
            <p:nvPr/>
          </p:nvSpPr>
          <p:spPr>
            <a:xfrm rot="8716295">
              <a:off x="1045418" y="375078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" name="Forme libre : forme 108">
              <a:extLst>
                <a:ext uri="{FF2B5EF4-FFF2-40B4-BE49-F238E27FC236}">
                  <a16:creationId xmlns:a16="http://schemas.microsoft.com/office/drawing/2014/main" id="{40E22C8F-9A2F-4D96-8E60-B4FAE9625F7E}"/>
                </a:ext>
              </a:extLst>
            </p:cNvPr>
            <p:cNvSpPr/>
            <p:nvPr/>
          </p:nvSpPr>
          <p:spPr>
            <a:xfrm rot="8716295">
              <a:off x="677254" y="379652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" name="Forme libre : forme 109">
              <a:extLst>
                <a:ext uri="{FF2B5EF4-FFF2-40B4-BE49-F238E27FC236}">
                  <a16:creationId xmlns:a16="http://schemas.microsoft.com/office/drawing/2014/main" id="{0FB9706E-9855-492B-8609-A2F256591A28}"/>
                </a:ext>
              </a:extLst>
            </p:cNvPr>
            <p:cNvSpPr/>
            <p:nvPr/>
          </p:nvSpPr>
          <p:spPr>
            <a:xfrm rot="8716295">
              <a:off x="945836" y="355550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" name="Forme libre : forme 110">
              <a:extLst>
                <a:ext uri="{FF2B5EF4-FFF2-40B4-BE49-F238E27FC236}">
                  <a16:creationId xmlns:a16="http://schemas.microsoft.com/office/drawing/2014/main" id="{ADF55B74-AC60-4155-92FA-4565710C9BFA}"/>
                </a:ext>
              </a:extLst>
            </p:cNvPr>
            <p:cNvSpPr/>
            <p:nvPr/>
          </p:nvSpPr>
          <p:spPr>
            <a:xfrm rot="8716295">
              <a:off x="601570" y="5027951"/>
              <a:ext cx="169680" cy="113030"/>
            </a:xfrm>
            <a:custGeom>
              <a:avLst/>
              <a:gdLst>
                <a:gd name="connsiteX0" fmla="*/ 8965 w 169680"/>
                <a:gd name="connsiteY0" fmla="*/ 113030 h 113030"/>
                <a:gd name="connsiteX1" fmla="*/ 0 w 169680"/>
                <a:gd name="connsiteY1" fmla="*/ 100616 h 113030"/>
                <a:gd name="connsiteX2" fmla="*/ 106933 w 169680"/>
                <a:gd name="connsiteY2" fmla="*/ 0 h 113030"/>
                <a:gd name="connsiteX3" fmla="*/ 169680 w 169680"/>
                <a:gd name="connsiteY3" fmla="*/ 43494 h 113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680" h="113030">
                  <a:moveTo>
                    <a:pt x="8965" y="113030"/>
                  </a:moveTo>
                  <a:lnTo>
                    <a:pt x="0" y="100616"/>
                  </a:lnTo>
                  <a:lnTo>
                    <a:pt x="106933" y="0"/>
                  </a:lnTo>
                  <a:lnTo>
                    <a:pt x="169680" y="434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" name="Forme libre : forme 111">
              <a:extLst>
                <a:ext uri="{FF2B5EF4-FFF2-40B4-BE49-F238E27FC236}">
                  <a16:creationId xmlns:a16="http://schemas.microsoft.com/office/drawing/2014/main" id="{DDFE2301-223D-4F62-87C3-BBD61CFA4AE0}"/>
                </a:ext>
              </a:extLst>
            </p:cNvPr>
            <p:cNvSpPr/>
            <p:nvPr/>
          </p:nvSpPr>
          <p:spPr>
            <a:xfrm rot="8716295">
              <a:off x="197311" y="4925365"/>
              <a:ext cx="194366" cy="296463"/>
            </a:xfrm>
            <a:custGeom>
              <a:avLst/>
              <a:gdLst>
                <a:gd name="connsiteX0" fmla="*/ 137293 w 194366"/>
                <a:gd name="connsiteY0" fmla="*/ 296463 h 296463"/>
                <a:gd name="connsiteX1" fmla="*/ 72418 w 194366"/>
                <a:gd name="connsiteY1" fmla="*/ 175766 h 296463"/>
                <a:gd name="connsiteX2" fmla="*/ 105610 w 194366"/>
                <a:gd name="connsiteY2" fmla="*/ 83734 h 296463"/>
                <a:gd name="connsiteX3" fmla="*/ 0 w 194366"/>
                <a:gd name="connsiteY3" fmla="*/ 83734 h 296463"/>
                <a:gd name="connsiteX4" fmla="*/ 0 w 194366"/>
                <a:gd name="connsiteY4" fmla="*/ 0 h 296463"/>
                <a:gd name="connsiteX5" fmla="*/ 6043 w 194366"/>
                <a:gd name="connsiteY5" fmla="*/ 0 h 296463"/>
                <a:gd name="connsiteX6" fmla="*/ 194366 w 194366"/>
                <a:gd name="connsiteY6" fmla="*/ 130539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4366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6043" y="0"/>
                  </a:lnTo>
                  <a:lnTo>
                    <a:pt x="194366" y="1305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" name="Forme libre : forme 112">
              <a:extLst>
                <a:ext uri="{FF2B5EF4-FFF2-40B4-BE49-F238E27FC236}">
                  <a16:creationId xmlns:a16="http://schemas.microsoft.com/office/drawing/2014/main" id="{3377FDF7-2BED-4403-9821-41A8059D732F}"/>
                </a:ext>
              </a:extLst>
            </p:cNvPr>
            <p:cNvSpPr/>
            <p:nvPr/>
          </p:nvSpPr>
          <p:spPr>
            <a:xfrm rot="8716295">
              <a:off x="73168" y="4745087"/>
              <a:ext cx="439901" cy="517329"/>
            </a:xfrm>
            <a:custGeom>
              <a:avLst/>
              <a:gdLst>
                <a:gd name="connsiteX0" fmla="*/ 38290 w 439901"/>
                <a:gd name="connsiteY0" fmla="*/ 472541 h 517329"/>
                <a:gd name="connsiteX1" fmla="*/ 0 w 439901"/>
                <a:gd name="connsiteY1" fmla="*/ 319377 h 517329"/>
                <a:gd name="connsiteX2" fmla="*/ 0 w 439901"/>
                <a:gd name="connsiteY2" fmla="*/ 47778 h 517329"/>
                <a:gd name="connsiteX3" fmla="*/ 92094 w 439901"/>
                <a:gd name="connsiteY3" fmla="*/ 0 h 517329"/>
                <a:gd name="connsiteX4" fmla="*/ 118664 w 439901"/>
                <a:gd name="connsiteY4" fmla="*/ 18418 h 517329"/>
                <a:gd name="connsiteX5" fmla="*/ 120216 w 439901"/>
                <a:gd name="connsiteY5" fmla="*/ 234781 h 517329"/>
                <a:gd name="connsiteX6" fmla="*/ 141587 w 439901"/>
                <a:gd name="connsiteY6" fmla="*/ 382603 h 517329"/>
                <a:gd name="connsiteX7" fmla="*/ 248446 w 439901"/>
                <a:gd name="connsiteY7" fmla="*/ 441375 h 517329"/>
                <a:gd name="connsiteX8" fmla="*/ 328589 w 439901"/>
                <a:gd name="connsiteY8" fmla="*/ 427127 h 517329"/>
                <a:gd name="connsiteX9" fmla="*/ 438120 w 439901"/>
                <a:gd name="connsiteY9" fmla="*/ 382603 h 517329"/>
                <a:gd name="connsiteX10" fmla="*/ 439901 w 439901"/>
                <a:gd name="connsiteY10" fmla="*/ 394178 h 517329"/>
                <a:gd name="connsiteX11" fmla="*/ 439901 w 439901"/>
                <a:gd name="connsiteY11" fmla="*/ 403083 h 517329"/>
                <a:gd name="connsiteX12" fmla="*/ 147821 w 439901"/>
                <a:gd name="connsiteY12" fmla="*/ 517066 h 517329"/>
                <a:gd name="connsiteX13" fmla="*/ 38290 w 439901"/>
                <a:gd name="connsiteY13" fmla="*/ 472541 h 517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9901" h="517329">
                  <a:moveTo>
                    <a:pt x="38290" y="472541"/>
                  </a:moveTo>
                  <a:cubicBezTo>
                    <a:pt x="8014" y="443156"/>
                    <a:pt x="0" y="392397"/>
                    <a:pt x="0" y="319377"/>
                  </a:cubicBezTo>
                  <a:lnTo>
                    <a:pt x="0" y="47778"/>
                  </a:lnTo>
                  <a:lnTo>
                    <a:pt x="92094" y="0"/>
                  </a:lnTo>
                  <a:lnTo>
                    <a:pt x="118664" y="18418"/>
                  </a:lnTo>
                  <a:lnTo>
                    <a:pt x="120216" y="234781"/>
                  </a:lnTo>
                  <a:cubicBezTo>
                    <a:pt x="117544" y="284648"/>
                    <a:pt x="125558" y="335406"/>
                    <a:pt x="141587" y="382603"/>
                  </a:cubicBezTo>
                  <a:cubicBezTo>
                    <a:pt x="155836" y="421784"/>
                    <a:pt x="192345" y="441375"/>
                    <a:pt x="248446" y="441375"/>
                  </a:cubicBezTo>
                  <a:cubicBezTo>
                    <a:pt x="276051" y="440484"/>
                    <a:pt x="302766" y="435141"/>
                    <a:pt x="328589" y="427127"/>
                  </a:cubicBezTo>
                  <a:cubicBezTo>
                    <a:pt x="365990" y="415550"/>
                    <a:pt x="402500" y="400412"/>
                    <a:pt x="438120" y="382603"/>
                  </a:cubicBezTo>
                  <a:cubicBezTo>
                    <a:pt x="439010" y="386164"/>
                    <a:pt x="439901" y="390616"/>
                    <a:pt x="439901" y="394178"/>
                  </a:cubicBezTo>
                  <a:lnTo>
                    <a:pt x="439901" y="403083"/>
                  </a:lnTo>
                  <a:cubicBezTo>
                    <a:pt x="345509" y="484118"/>
                    <a:pt x="221731" y="512614"/>
                    <a:pt x="147821" y="517066"/>
                  </a:cubicBezTo>
                  <a:cubicBezTo>
                    <a:pt x="106859" y="519738"/>
                    <a:pt x="66787" y="501928"/>
                    <a:pt x="38290" y="47254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" name="Forme libre : forme 113">
              <a:extLst>
                <a:ext uri="{FF2B5EF4-FFF2-40B4-BE49-F238E27FC236}">
                  <a16:creationId xmlns:a16="http://schemas.microsoft.com/office/drawing/2014/main" id="{B93DC94C-820F-4572-BF0C-6383E8E9C877}"/>
                </a:ext>
              </a:extLst>
            </p:cNvPr>
            <p:cNvSpPr/>
            <p:nvPr/>
          </p:nvSpPr>
          <p:spPr>
            <a:xfrm rot="8716295">
              <a:off x="896624" y="4761216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" name="Forme libre : forme 114">
              <a:extLst>
                <a:ext uri="{FF2B5EF4-FFF2-40B4-BE49-F238E27FC236}">
                  <a16:creationId xmlns:a16="http://schemas.microsoft.com/office/drawing/2014/main" id="{46905971-2CA6-4786-88F6-6625CD1AC045}"/>
                </a:ext>
              </a:extLst>
            </p:cNvPr>
            <p:cNvSpPr/>
            <p:nvPr/>
          </p:nvSpPr>
          <p:spPr>
            <a:xfrm rot="8716295">
              <a:off x="1032483" y="4799006"/>
              <a:ext cx="389853" cy="383455"/>
            </a:xfrm>
            <a:custGeom>
              <a:avLst/>
              <a:gdLst>
                <a:gd name="connsiteX0" fmla="*/ 77932 w 389853"/>
                <a:gd name="connsiteY0" fmla="*/ 383455 h 383455"/>
                <a:gd name="connsiteX1" fmla="*/ 77932 w 389853"/>
                <a:gd name="connsiteY1" fmla="*/ 66898 h 383455"/>
                <a:gd name="connsiteX2" fmla="*/ 0 w 389853"/>
                <a:gd name="connsiteY2" fmla="*/ 66898 h 383455"/>
                <a:gd name="connsiteX3" fmla="*/ 0 w 389853"/>
                <a:gd name="connsiteY3" fmla="*/ 0 h 383455"/>
                <a:gd name="connsiteX4" fmla="*/ 158623 w 389853"/>
                <a:gd name="connsiteY4" fmla="*/ 0 h 383455"/>
                <a:gd name="connsiteX5" fmla="*/ 158623 w 389853"/>
                <a:gd name="connsiteY5" fmla="*/ 111726 h 383455"/>
                <a:gd name="connsiteX6" fmla="*/ 160692 w 389853"/>
                <a:gd name="connsiteY6" fmla="*/ 111726 h 383455"/>
                <a:gd name="connsiteX7" fmla="*/ 192762 w 389853"/>
                <a:gd name="connsiteY7" fmla="*/ 39914 h 383455"/>
                <a:gd name="connsiteX8" fmla="*/ 216292 w 389853"/>
                <a:gd name="connsiteY8" fmla="*/ 20658 h 383455"/>
                <a:gd name="connsiteX9" fmla="*/ 389853 w 389853"/>
                <a:gd name="connsiteY9" fmla="*/ 140965 h 383455"/>
                <a:gd name="connsiteX10" fmla="*/ 300695 w 389853"/>
                <a:gd name="connsiteY10" fmla="*/ 146210 h 383455"/>
                <a:gd name="connsiteX11" fmla="*/ 300694 w 389853"/>
                <a:gd name="connsiteY11" fmla="*/ 121382 h 383455"/>
                <a:gd name="connsiteX12" fmla="*/ 249659 w 389853"/>
                <a:gd name="connsiteY12" fmla="*/ 58622 h 383455"/>
                <a:gd name="connsiteX13" fmla="*/ 168969 w 389853"/>
                <a:gd name="connsiteY13" fmla="*/ 191038 h 383455"/>
                <a:gd name="connsiteX14" fmla="*/ 168969 w 389853"/>
                <a:gd name="connsiteY14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9853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71727" y="78967"/>
                    <a:pt x="181555" y="56208"/>
                    <a:pt x="192762" y="39914"/>
                  </a:cubicBezTo>
                  <a:lnTo>
                    <a:pt x="216292" y="20658"/>
                  </a:lnTo>
                  <a:lnTo>
                    <a:pt x="389853" y="140965"/>
                  </a:lnTo>
                  <a:lnTo>
                    <a:pt x="300695" y="146210"/>
                  </a:lnTo>
                  <a:lnTo>
                    <a:pt x="300694" y="121382"/>
                  </a:lnTo>
                  <a:cubicBezTo>
                    <a:pt x="300695" y="84140"/>
                    <a:pt x="279315" y="58621"/>
                    <a:pt x="249659" y="58622"/>
                  </a:cubicBezTo>
                  <a:cubicBezTo>
                    <a:pt x="205521" y="58621"/>
                    <a:pt x="168969" y="117244"/>
                    <a:pt x="168969" y="191038"/>
                  </a:cubicBez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" name="Forme libre : forme 115">
              <a:extLst>
                <a:ext uri="{FF2B5EF4-FFF2-40B4-BE49-F238E27FC236}">
                  <a16:creationId xmlns:a16="http://schemas.microsoft.com/office/drawing/2014/main" id="{8E2B23B6-FA24-4ECF-865C-D4B85991FB2B}"/>
                </a:ext>
              </a:extLst>
            </p:cNvPr>
            <p:cNvSpPr/>
            <p:nvPr/>
          </p:nvSpPr>
          <p:spPr>
            <a:xfrm rot="8716295">
              <a:off x="726753" y="489523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" name="Forme libre : forme 116">
              <a:extLst>
                <a:ext uri="{FF2B5EF4-FFF2-40B4-BE49-F238E27FC236}">
                  <a16:creationId xmlns:a16="http://schemas.microsoft.com/office/drawing/2014/main" id="{068C5BF4-ACAC-42CE-AE54-FD21152507C1}"/>
                </a:ext>
              </a:extLst>
            </p:cNvPr>
            <p:cNvSpPr/>
            <p:nvPr/>
          </p:nvSpPr>
          <p:spPr>
            <a:xfrm rot="8716295">
              <a:off x="537709" y="457939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" name="Forme libre : forme 117">
              <a:extLst>
                <a:ext uri="{FF2B5EF4-FFF2-40B4-BE49-F238E27FC236}">
                  <a16:creationId xmlns:a16="http://schemas.microsoft.com/office/drawing/2014/main" id="{0ACBCA4F-4DCF-49D0-8A3E-C12DE7B45BF0}"/>
                </a:ext>
              </a:extLst>
            </p:cNvPr>
            <p:cNvSpPr/>
            <p:nvPr/>
          </p:nvSpPr>
          <p:spPr>
            <a:xfrm rot="8716295">
              <a:off x="826576" y="4988476"/>
              <a:ext cx="91035" cy="198648"/>
            </a:xfrm>
            <a:custGeom>
              <a:avLst/>
              <a:gdLst>
                <a:gd name="connsiteX0" fmla="*/ 91035 w 91035"/>
                <a:gd name="connsiteY0" fmla="*/ 198648 h 198648"/>
                <a:gd name="connsiteX1" fmla="*/ 0 w 91035"/>
                <a:gd name="connsiteY1" fmla="*/ 111060 h 198648"/>
                <a:gd name="connsiteX2" fmla="*/ 0 w 91035"/>
                <a:gd name="connsiteY2" fmla="*/ 0 h 198648"/>
                <a:gd name="connsiteX3" fmla="*/ 91035 w 91035"/>
                <a:gd name="connsiteY3" fmla="*/ 63103 h 198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198648">
                  <a:moveTo>
                    <a:pt x="91035" y="198648"/>
                  </a:moveTo>
                  <a:lnTo>
                    <a:pt x="0" y="111060"/>
                  </a:lnTo>
                  <a:lnTo>
                    <a:pt x="0" y="0"/>
                  </a:lnTo>
                  <a:lnTo>
                    <a:pt x="91035" y="631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" name="Forme libre : forme 118">
              <a:extLst>
                <a:ext uri="{FF2B5EF4-FFF2-40B4-BE49-F238E27FC236}">
                  <a16:creationId xmlns:a16="http://schemas.microsoft.com/office/drawing/2014/main" id="{CF5DC784-7D69-46EA-A75B-D2ED877AA625}"/>
                </a:ext>
              </a:extLst>
            </p:cNvPr>
            <p:cNvSpPr/>
            <p:nvPr/>
          </p:nvSpPr>
          <p:spPr>
            <a:xfrm rot="8716295">
              <a:off x="497795" y="4730788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" name="Forme libre : forme 119">
              <a:extLst>
                <a:ext uri="{FF2B5EF4-FFF2-40B4-BE49-F238E27FC236}">
                  <a16:creationId xmlns:a16="http://schemas.microsoft.com/office/drawing/2014/main" id="{283C5FE9-EF8F-4940-9D13-7BC399536967}"/>
                </a:ext>
              </a:extLst>
            </p:cNvPr>
            <p:cNvSpPr/>
            <p:nvPr/>
          </p:nvSpPr>
          <p:spPr>
            <a:xfrm rot="8716295">
              <a:off x="1459248" y="4904357"/>
              <a:ext cx="328004" cy="223069"/>
            </a:xfrm>
            <a:custGeom>
              <a:avLst/>
              <a:gdLst>
                <a:gd name="connsiteX0" fmla="*/ 10574 w 328004"/>
                <a:gd name="connsiteY0" fmla="*/ 223069 h 223069"/>
                <a:gd name="connsiteX1" fmla="*/ 0 w 328004"/>
                <a:gd name="connsiteY1" fmla="*/ 208428 h 223069"/>
                <a:gd name="connsiteX2" fmla="*/ 192781 w 328004"/>
                <a:gd name="connsiteY2" fmla="*/ 27035 h 223069"/>
                <a:gd name="connsiteX3" fmla="*/ 227094 w 328004"/>
                <a:gd name="connsiteY3" fmla="*/ 0 h 223069"/>
                <a:gd name="connsiteX4" fmla="*/ 328004 w 328004"/>
                <a:gd name="connsiteY4" fmla="*/ 69948 h 223069"/>
                <a:gd name="connsiteX5" fmla="*/ 326080 w 328004"/>
                <a:gd name="connsiteY5" fmla="*/ 74925 h 223069"/>
                <a:gd name="connsiteX6" fmla="*/ 293645 w 328004"/>
                <a:gd name="connsiteY6" fmla="*/ 100243 h 223069"/>
                <a:gd name="connsiteX7" fmla="*/ 294458 w 328004"/>
                <a:gd name="connsiteY7" fmla="*/ 100243 h 223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8004" h="223069">
                  <a:moveTo>
                    <a:pt x="10574" y="223069"/>
                  </a:moveTo>
                  <a:lnTo>
                    <a:pt x="0" y="208428"/>
                  </a:lnTo>
                  <a:lnTo>
                    <a:pt x="192781" y="27035"/>
                  </a:lnTo>
                  <a:lnTo>
                    <a:pt x="227094" y="0"/>
                  </a:lnTo>
                  <a:lnTo>
                    <a:pt x="328004" y="69948"/>
                  </a:lnTo>
                  <a:lnTo>
                    <a:pt x="326080" y="74925"/>
                  </a:lnTo>
                  <a:cubicBezTo>
                    <a:pt x="317843" y="85805"/>
                    <a:pt x="306659" y="94549"/>
                    <a:pt x="293645" y="100243"/>
                  </a:cubicBezTo>
                  <a:lnTo>
                    <a:pt x="294458" y="10024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" name="Forme libre : forme 120">
              <a:extLst>
                <a:ext uri="{FF2B5EF4-FFF2-40B4-BE49-F238E27FC236}">
                  <a16:creationId xmlns:a16="http://schemas.microsoft.com/office/drawing/2014/main" id="{0B28DAC7-E1B5-4397-8312-3939C6181805}"/>
                </a:ext>
              </a:extLst>
            </p:cNvPr>
            <p:cNvSpPr/>
            <p:nvPr/>
          </p:nvSpPr>
          <p:spPr>
            <a:xfrm rot="8716295">
              <a:off x="1383191" y="474927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" name="Forme libre : forme 121">
              <a:extLst>
                <a:ext uri="{FF2B5EF4-FFF2-40B4-BE49-F238E27FC236}">
                  <a16:creationId xmlns:a16="http://schemas.microsoft.com/office/drawing/2014/main" id="{9B5900D5-EF58-45B1-849A-84D4EFAA76C9}"/>
                </a:ext>
              </a:extLst>
            </p:cNvPr>
            <p:cNvSpPr/>
            <p:nvPr/>
          </p:nvSpPr>
          <p:spPr>
            <a:xfrm rot="8716295">
              <a:off x="1015027" y="479501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" name="Forme libre : forme 122">
              <a:extLst>
                <a:ext uri="{FF2B5EF4-FFF2-40B4-BE49-F238E27FC236}">
                  <a16:creationId xmlns:a16="http://schemas.microsoft.com/office/drawing/2014/main" id="{31771F28-8680-4E6C-A8C1-BC66F7BF0BA9}"/>
                </a:ext>
              </a:extLst>
            </p:cNvPr>
            <p:cNvSpPr/>
            <p:nvPr/>
          </p:nvSpPr>
          <p:spPr>
            <a:xfrm rot="8716295">
              <a:off x="1283609" y="455399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" name="Forme libre : forme 123">
              <a:extLst>
                <a:ext uri="{FF2B5EF4-FFF2-40B4-BE49-F238E27FC236}">
                  <a16:creationId xmlns:a16="http://schemas.microsoft.com/office/drawing/2014/main" id="{AC2CE701-4BE3-4F79-917E-19B3C750B982}"/>
                </a:ext>
              </a:extLst>
            </p:cNvPr>
            <p:cNvSpPr/>
            <p:nvPr/>
          </p:nvSpPr>
          <p:spPr>
            <a:xfrm rot="8716295">
              <a:off x="-30381" y="3359388"/>
              <a:ext cx="98497" cy="75863"/>
            </a:xfrm>
            <a:custGeom>
              <a:avLst/>
              <a:gdLst>
                <a:gd name="connsiteX0" fmla="*/ 0 w 98497"/>
                <a:gd name="connsiteY0" fmla="*/ 75863 h 75863"/>
                <a:gd name="connsiteX1" fmla="*/ 0 w 98497"/>
                <a:gd name="connsiteY1" fmla="*/ 0 h 75863"/>
                <a:gd name="connsiteX2" fmla="*/ 98497 w 98497"/>
                <a:gd name="connsiteY2" fmla="*/ 0 h 75863"/>
                <a:gd name="connsiteX3" fmla="*/ 45911 w 98497"/>
                <a:gd name="connsiteY3" fmla="*/ 75863 h 75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497" h="75863">
                  <a:moveTo>
                    <a:pt x="0" y="75863"/>
                  </a:moveTo>
                  <a:lnTo>
                    <a:pt x="0" y="0"/>
                  </a:lnTo>
                  <a:lnTo>
                    <a:pt x="98497" y="0"/>
                  </a:lnTo>
                  <a:lnTo>
                    <a:pt x="45911" y="758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" name="Forme libre : forme 124">
              <a:extLst>
                <a:ext uri="{FF2B5EF4-FFF2-40B4-BE49-F238E27FC236}">
                  <a16:creationId xmlns:a16="http://schemas.microsoft.com/office/drawing/2014/main" id="{F4F0C1BC-FBE5-45A4-A80E-BAB3E52DE367}"/>
                </a:ext>
              </a:extLst>
            </p:cNvPr>
            <p:cNvSpPr/>
            <p:nvPr/>
          </p:nvSpPr>
          <p:spPr>
            <a:xfrm rot="8716295">
              <a:off x="-77334" y="3178477"/>
              <a:ext cx="389652" cy="385611"/>
            </a:xfrm>
            <a:custGeom>
              <a:avLst/>
              <a:gdLst>
                <a:gd name="connsiteX0" fmla="*/ 77932 w 389652"/>
                <a:gd name="connsiteY0" fmla="*/ 385611 h 385611"/>
                <a:gd name="connsiteX1" fmla="*/ 77932 w 389652"/>
                <a:gd name="connsiteY1" fmla="*/ 69054 h 385611"/>
                <a:gd name="connsiteX2" fmla="*/ 0 w 389652"/>
                <a:gd name="connsiteY2" fmla="*/ 69054 h 385611"/>
                <a:gd name="connsiteX3" fmla="*/ 0 w 389652"/>
                <a:gd name="connsiteY3" fmla="*/ 2156 h 385611"/>
                <a:gd name="connsiteX4" fmla="*/ 158623 w 389652"/>
                <a:gd name="connsiteY4" fmla="*/ 2156 h 385611"/>
                <a:gd name="connsiteX5" fmla="*/ 158623 w 389652"/>
                <a:gd name="connsiteY5" fmla="*/ 113882 h 385611"/>
                <a:gd name="connsiteX6" fmla="*/ 160692 w 389652"/>
                <a:gd name="connsiteY6" fmla="*/ 113882 h 385611"/>
                <a:gd name="connsiteX7" fmla="*/ 233107 w 389652"/>
                <a:gd name="connsiteY7" fmla="*/ 9053 h 385611"/>
                <a:gd name="connsiteX8" fmla="*/ 280694 w 389652"/>
                <a:gd name="connsiteY8" fmla="*/ 87 h 385611"/>
                <a:gd name="connsiteX9" fmla="*/ 364230 w 389652"/>
                <a:gd name="connsiteY9" fmla="*/ 34398 h 385611"/>
                <a:gd name="connsiteX10" fmla="*/ 389652 w 389652"/>
                <a:gd name="connsiteY10" fmla="*/ 117977 h 385611"/>
                <a:gd name="connsiteX11" fmla="*/ 371473 w 389652"/>
                <a:gd name="connsiteY11" fmla="*/ 144202 h 385611"/>
                <a:gd name="connsiteX12" fmla="*/ 300695 w 389652"/>
                <a:gd name="connsiteY12" fmla="*/ 148366 h 385611"/>
                <a:gd name="connsiteX13" fmla="*/ 300695 w 389652"/>
                <a:gd name="connsiteY13" fmla="*/ 123538 h 385611"/>
                <a:gd name="connsiteX14" fmla="*/ 249659 w 389652"/>
                <a:gd name="connsiteY14" fmla="*/ 60778 h 385611"/>
                <a:gd name="connsiteX15" fmla="*/ 168969 w 389652"/>
                <a:gd name="connsiteY15" fmla="*/ 193194 h 385611"/>
                <a:gd name="connsiteX16" fmla="*/ 168969 w 389652"/>
                <a:gd name="connsiteY16" fmla="*/ 323541 h 385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89652" h="385611">
                  <a:moveTo>
                    <a:pt x="77932" y="385611"/>
                  </a:moveTo>
                  <a:lnTo>
                    <a:pt x="77932" y="69054"/>
                  </a:lnTo>
                  <a:lnTo>
                    <a:pt x="0" y="69054"/>
                  </a:lnTo>
                  <a:lnTo>
                    <a:pt x="0" y="2156"/>
                  </a:lnTo>
                  <a:lnTo>
                    <a:pt x="158623" y="2156"/>
                  </a:lnTo>
                  <a:lnTo>
                    <a:pt x="158623" y="113882"/>
                  </a:lnTo>
                  <a:lnTo>
                    <a:pt x="160692" y="113882"/>
                  </a:lnTo>
                  <a:cubicBezTo>
                    <a:pt x="182762" y="48364"/>
                    <a:pt x="200003" y="22846"/>
                    <a:pt x="233107" y="9053"/>
                  </a:cubicBezTo>
                  <a:cubicBezTo>
                    <a:pt x="248280" y="2846"/>
                    <a:pt x="264142" y="-602"/>
                    <a:pt x="280694" y="87"/>
                  </a:cubicBezTo>
                  <a:cubicBezTo>
                    <a:pt x="316212" y="-603"/>
                    <a:pt x="344661" y="11466"/>
                    <a:pt x="364230" y="34398"/>
                  </a:cubicBezTo>
                  <a:lnTo>
                    <a:pt x="389652" y="117977"/>
                  </a:lnTo>
                  <a:lnTo>
                    <a:pt x="371473" y="144202"/>
                  </a:lnTo>
                  <a:lnTo>
                    <a:pt x="300695" y="148366"/>
                  </a:lnTo>
                  <a:lnTo>
                    <a:pt x="300695" y="123538"/>
                  </a:lnTo>
                  <a:cubicBezTo>
                    <a:pt x="300695" y="86296"/>
                    <a:pt x="279315" y="60778"/>
                    <a:pt x="249659" y="60778"/>
                  </a:cubicBezTo>
                  <a:cubicBezTo>
                    <a:pt x="205521" y="60778"/>
                    <a:pt x="168969" y="119400"/>
                    <a:pt x="168969" y="193194"/>
                  </a:cubicBezTo>
                  <a:lnTo>
                    <a:pt x="168969" y="3235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" name="Forme libre : forme 125">
              <a:extLst>
                <a:ext uri="{FF2B5EF4-FFF2-40B4-BE49-F238E27FC236}">
                  <a16:creationId xmlns:a16="http://schemas.microsoft.com/office/drawing/2014/main" id="{DD7E27D6-EDC4-4410-A8FD-B0AB28C9E1C2}"/>
                </a:ext>
              </a:extLst>
            </p:cNvPr>
            <p:cNvSpPr/>
            <p:nvPr/>
          </p:nvSpPr>
          <p:spPr>
            <a:xfrm rot="8716295">
              <a:off x="-71352" y="3029015"/>
              <a:ext cx="193594" cy="189959"/>
            </a:xfrm>
            <a:custGeom>
              <a:avLst/>
              <a:gdLst>
                <a:gd name="connsiteX0" fmla="*/ 8965 w 193594"/>
                <a:gd name="connsiteY0" fmla="*/ 189959 h 189959"/>
                <a:gd name="connsiteX1" fmla="*/ 0 w 193594"/>
                <a:gd name="connsiteY1" fmla="*/ 177545 h 189959"/>
                <a:gd name="connsiteX2" fmla="*/ 163451 w 193594"/>
                <a:gd name="connsiteY2" fmla="*/ 23749 h 189959"/>
                <a:gd name="connsiteX3" fmla="*/ 193594 w 193594"/>
                <a:gd name="connsiteY3" fmla="*/ 0 h 189959"/>
                <a:gd name="connsiteX4" fmla="*/ 84606 w 193594"/>
                <a:gd name="connsiteY4" fmla="*/ 157232 h 189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594" h="189959">
                  <a:moveTo>
                    <a:pt x="8965" y="189959"/>
                  </a:moveTo>
                  <a:lnTo>
                    <a:pt x="0" y="177545"/>
                  </a:lnTo>
                  <a:lnTo>
                    <a:pt x="163451" y="23749"/>
                  </a:lnTo>
                  <a:lnTo>
                    <a:pt x="193594" y="0"/>
                  </a:lnTo>
                  <a:lnTo>
                    <a:pt x="84606" y="15723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" name="Forme libre : forme 126">
              <a:extLst>
                <a:ext uri="{FF2B5EF4-FFF2-40B4-BE49-F238E27FC236}">
                  <a16:creationId xmlns:a16="http://schemas.microsoft.com/office/drawing/2014/main" id="{9053D84D-7FDB-4998-A81C-E5ABAA6EDE5E}"/>
                </a:ext>
              </a:extLst>
            </p:cNvPr>
            <p:cNvSpPr/>
            <p:nvPr/>
          </p:nvSpPr>
          <p:spPr>
            <a:xfrm rot="8716295">
              <a:off x="223574" y="276232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" name="Forme libre : forme 127">
              <a:extLst>
                <a:ext uri="{FF2B5EF4-FFF2-40B4-BE49-F238E27FC236}">
                  <a16:creationId xmlns:a16="http://schemas.microsoft.com/office/drawing/2014/main" id="{87AB580E-8F4B-47CD-9028-D46526078CE4}"/>
                </a:ext>
              </a:extLst>
            </p:cNvPr>
            <p:cNvSpPr/>
            <p:nvPr/>
          </p:nvSpPr>
          <p:spPr>
            <a:xfrm rot="8716295">
              <a:off x="358873" y="2806579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" name="Forme libre : forme 128">
              <a:extLst>
                <a:ext uri="{FF2B5EF4-FFF2-40B4-BE49-F238E27FC236}">
                  <a16:creationId xmlns:a16="http://schemas.microsoft.com/office/drawing/2014/main" id="{E19792CF-DDD1-4F4B-9682-435BC6CB8DED}"/>
                </a:ext>
              </a:extLst>
            </p:cNvPr>
            <p:cNvSpPr/>
            <p:nvPr/>
          </p:nvSpPr>
          <p:spPr>
            <a:xfrm rot="8716295">
              <a:off x="53703" y="2896335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" name="Forme libre : forme 129">
              <a:extLst>
                <a:ext uri="{FF2B5EF4-FFF2-40B4-BE49-F238E27FC236}">
                  <a16:creationId xmlns:a16="http://schemas.microsoft.com/office/drawing/2014/main" id="{BD0B65CA-A3C5-4B2A-8016-3FA0B6B241F4}"/>
                </a:ext>
              </a:extLst>
            </p:cNvPr>
            <p:cNvSpPr/>
            <p:nvPr/>
          </p:nvSpPr>
          <p:spPr>
            <a:xfrm rot="8716295">
              <a:off x="-92201" y="2622488"/>
              <a:ext cx="271732" cy="238722"/>
            </a:xfrm>
            <a:custGeom>
              <a:avLst/>
              <a:gdLst>
                <a:gd name="connsiteX0" fmla="*/ 106257 w 271732"/>
                <a:gd name="connsiteY0" fmla="*/ 238722 h 238722"/>
                <a:gd name="connsiteX1" fmla="*/ 72418 w 271732"/>
                <a:gd name="connsiteY1" fmla="*/ 175766 h 238722"/>
                <a:gd name="connsiteX2" fmla="*/ 105610 w 271732"/>
                <a:gd name="connsiteY2" fmla="*/ 83734 h 238722"/>
                <a:gd name="connsiteX3" fmla="*/ 0 w 271732"/>
                <a:gd name="connsiteY3" fmla="*/ 83734 h 238722"/>
                <a:gd name="connsiteX4" fmla="*/ 0 w 271732"/>
                <a:gd name="connsiteY4" fmla="*/ 0 h 238722"/>
                <a:gd name="connsiteX5" fmla="*/ 271732 w 271732"/>
                <a:gd name="connsiteY5" fmla="*/ 0 h 238722"/>
                <a:gd name="connsiteX6" fmla="*/ 213690 w 271732"/>
                <a:gd name="connsiteY6" fmla="*/ 83734 h 238722"/>
                <a:gd name="connsiteX7" fmla="*/ 210465 w 271732"/>
                <a:gd name="connsiteY7" fmla="*/ 83734 h 238722"/>
                <a:gd name="connsiteX8" fmla="*/ 207289 w 271732"/>
                <a:gd name="connsiteY8" fmla="*/ 92969 h 238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1732" h="238722">
                  <a:moveTo>
                    <a:pt x="106257" y="238722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71732" y="0"/>
                  </a:lnTo>
                  <a:lnTo>
                    <a:pt x="213690" y="83734"/>
                  </a:lnTo>
                  <a:lnTo>
                    <a:pt x="210465" y="83734"/>
                  </a:lnTo>
                  <a:lnTo>
                    <a:pt x="207289" y="929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" name="Forme libre : forme 130">
              <a:extLst>
                <a:ext uri="{FF2B5EF4-FFF2-40B4-BE49-F238E27FC236}">
                  <a16:creationId xmlns:a16="http://schemas.microsoft.com/office/drawing/2014/main" id="{A401047D-B75D-4F40-878E-D1BF52EA2F0E}"/>
                </a:ext>
              </a:extLst>
            </p:cNvPr>
            <p:cNvSpPr/>
            <p:nvPr/>
          </p:nvSpPr>
          <p:spPr>
            <a:xfrm rot="8716295">
              <a:off x="190192" y="2958318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" name="Forme libre : forme 131">
              <a:extLst>
                <a:ext uri="{FF2B5EF4-FFF2-40B4-BE49-F238E27FC236}">
                  <a16:creationId xmlns:a16="http://schemas.microsoft.com/office/drawing/2014/main" id="{0A764231-DFA5-45AC-9649-96FE00947629}"/>
                </a:ext>
              </a:extLst>
            </p:cNvPr>
            <p:cNvSpPr/>
            <p:nvPr/>
          </p:nvSpPr>
          <p:spPr>
            <a:xfrm rot="7484129">
              <a:off x="349009" y="324793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" name="Forme libre : forme 132">
              <a:extLst>
                <a:ext uri="{FF2B5EF4-FFF2-40B4-BE49-F238E27FC236}">
                  <a16:creationId xmlns:a16="http://schemas.microsoft.com/office/drawing/2014/main" id="{08367284-C420-422D-A59E-EC2B0D5CAF81}"/>
                </a:ext>
              </a:extLst>
            </p:cNvPr>
            <p:cNvSpPr/>
            <p:nvPr/>
          </p:nvSpPr>
          <p:spPr>
            <a:xfrm rot="13089394">
              <a:off x="507659" y="3197284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" name="Forme libre : forme 133">
              <a:extLst>
                <a:ext uri="{FF2B5EF4-FFF2-40B4-BE49-F238E27FC236}">
                  <a16:creationId xmlns:a16="http://schemas.microsoft.com/office/drawing/2014/main" id="{6E0CAE80-C507-4A7F-B64E-2B2322B07A4F}"/>
                </a:ext>
              </a:extLst>
            </p:cNvPr>
            <p:cNvSpPr/>
            <p:nvPr/>
          </p:nvSpPr>
          <p:spPr>
            <a:xfrm rot="8716295">
              <a:off x="788550" y="2907166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" name="Forme libre : forme 134">
              <a:extLst>
                <a:ext uri="{FF2B5EF4-FFF2-40B4-BE49-F238E27FC236}">
                  <a16:creationId xmlns:a16="http://schemas.microsoft.com/office/drawing/2014/main" id="{4935918E-F29D-4E02-AE1D-44610A8EABE6}"/>
                </a:ext>
              </a:extLst>
            </p:cNvPr>
            <p:cNvSpPr/>
            <p:nvPr/>
          </p:nvSpPr>
          <p:spPr>
            <a:xfrm rot="8716295">
              <a:off x="710141" y="275037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" name="Forme libre : forme 135">
              <a:extLst>
                <a:ext uri="{FF2B5EF4-FFF2-40B4-BE49-F238E27FC236}">
                  <a16:creationId xmlns:a16="http://schemas.microsoft.com/office/drawing/2014/main" id="{0186616C-3255-4138-99FF-17ACDEE12423}"/>
                </a:ext>
              </a:extLst>
            </p:cNvPr>
            <p:cNvSpPr/>
            <p:nvPr/>
          </p:nvSpPr>
          <p:spPr>
            <a:xfrm rot="8716295">
              <a:off x="341977" y="279611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" name="Forme libre : forme 136">
              <a:extLst>
                <a:ext uri="{FF2B5EF4-FFF2-40B4-BE49-F238E27FC236}">
                  <a16:creationId xmlns:a16="http://schemas.microsoft.com/office/drawing/2014/main" id="{00B7B22E-16FD-44D5-9219-31608DDFCC39}"/>
                </a:ext>
              </a:extLst>
            </p:cNvPr>
            <p:cNvSpPr/>
            <p:nvPr/>
          </p:nvSpPr>
          <p:spPr>
            <a:xfrm rot="8716295">
              <a:off x="610559" y="2555095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" name="Forme libre : forme 137">
              <a:extLst>
                <a:ext uri="{FF2B5EF4-FFF2-40B4-BE49-F238E27FC236}">
                  <a16:creationId xmlns:a16="http://schemas.microsoft.com/office/drawing/2014/main" id="{A6953B6D-6364-4054-88C6-74B273B65431}"/>
                </a:ext>
              </a:extLst>
            </p:cNvPr>
            <p:cNvSpPr/>
            <p:nvPr/>
          </p:nvSpPr>
          <p:spPr>
            <a:xfrm rot="8716295">
              <a:off x="-24305" y="2374348"/>
              <a:ext cx="58950" cy="66898"/>
            </a:xfrm>
            <a:custGeom>
              <a:avLst/>
              <a:gdLst>
                <a:gd name="connsiteX0" fmla="*/ 0 w 58950"/>
                <a:gd name="connsiteY0" fmla="*/ 66898 h 66898"/>
                <a:gd name="connsiteX1" fmla="*/ 0 w 58950"/>
                <a:gd name="connsiteY1" fmla="*/ 0 h 66898"/>
                <a:gd name="connsiteX2" fmla="*/ 58950 w 58950"/>
                <a:gd name="connsiteY2" fmla="*/ 0 h 66898"/>
                <a:gd name="connsiteX3" fmla="*/ 12579 w 58950"/>
                <a:gd name="connsiteY3" fmla="*/ 66898 h 6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950" h="66898">
                  <a:moveTo>
                    <a:pt x="0" y="66898"/>
                  </a:moveTo>
                  <a:lnTo>
                    <a:pt x="0" y="0"/>
                  </a:lnTo>
                  <a:lnTo>
                    <a:pt x="58950" y="0"/>
                  </a:lnTo>
                  <a:lnTo>
                    <a:pt x="12579" y="668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" name="Forme libre : forme 138">
              <a:extLst>
                <a:ext uri="{FF2B5EF4-FFF2-40B4-BE49-F238E27FC236}">
                  <a16:creationId xmlns:a16="http://schemas.microsoft.com/office/drawing/2014/main" id="{41AD4D21-E927-44C5-8A83-B759FDFF6D06}"/>
                </a:ext>
              </a:extLst>
            </p:cNvPr>
            <p:cNvSpPr/>
            <p:nvPr/>
          </p:nvSpPr>
          <p:spPr>
            <a:xfrm rot="8716295">
              <a:off x="-39593" y="1952072"/>
              <a:ext cx="198050" cy="140164"/>
            </a:xfrm>
            <a:custGeom>
              <a:avLst/>
              <a:gdLst>
                <a:gd name="connsiteX0" fmla="*/ 0 w 198050"/>
                <a:gd name="connsiteY0" fmla="*/ 75863 h 140164"/>
                <a:gd name="connsiteX1" fmla="*/ 0 w 198050"/>
                <a:gd name="connsiteY1" fmla="*/ 0 h 140164"/>
                <a:gd name="connsiteX2" fmla="*/ 128968 w 198050"/>
                <a:gd name="connsiteY2" fmla="*/ 0 h 140164"/>
                <a:gd name="connsiteX3" fmla="*/ 193021 w 198050"/>
                <a:gd name="connsiteY3" fmla="*/ 18535 h 140164"/>
                <a:gd name="connsiteX4" fmla="*/ 198050 w 198050"/>
                <a:gd name="connsiteY4" fmla="*/ 31548 h 140164"/>
                <a:gd name="connsiteX5" fmla="*/ 122761 w 198050"/>
                <a:gd name="connsiteY5" fmla="*/ 140164 h 140164"/>
                <a:gd name="connsiteX6" fmla="*/ 122761 w 198050"/>
                <a:gd name="connsiteY6" fmla="*/ 105519 h 140164"/>
                <a:gd name="connsiteX7" fmla="*/ 122761 w 198050"/>
                <a:gd name="connsiteY7" fmla="*/ 99312 h 140164"/>
                <a:gd name="connsiteX8" fmla="*/ 91726 w 198050"/>
                <a:gd name="connsiteY8" fmla="*/ 75863 h 140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8050" h="140164">
                  <a:moveTo>
                    <a:pt x="0" y="75863"/>
                  </a:moveTo>
                  <a:lnTo>
                    <a:pt x="0" y="0"/>
                  </a:lnTo>
                  <a:lnTo>
                    <a:pt x="128968" y="0"/>
                  </a:lnTo>
                  <a:cubicBezTo>
                    <a:pt x="156900" y="0"/>
                    <a:pt x="178452" y="6034"/>
                    <a:pt x="193021" y="18535"/>
                  </a:cubicBezTo>
                  <a:lnTo>
                    <a:pt x="198050" y="31548"/>
                  </a:lnTo>
                  <a:lnTo>
                    <a:pt x="122761" y="140164"/>
                  </a:ln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4"/>
                    <a:pt x="91726" y="758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" name="Forme libre : forme 139">
              <a:extLst>
                <a:ext uri="{FF2B5EF4-FFF2-40B4-BE49-F238E27FC236}">
                  <a16:creationId xmlns:a16="http://schemas.microsoft.com/office/drawing/2014/main" id="{B82C4F59-A689-41F2-8DD0-9745004AE675}"/>
                </a:ext>
              </a:extLst>
            </p:cNvPr>
            <p:cNvSpPr/>
            <p:nvPr/>
          </p:nvSpPr>
          <p:spPr>
            <a:xfrm rot="8716295">
              <a:off x="21100" y="1808096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" name="Forme libre : forme 140">
              <a:extLst>
                <a:ext uri="{FF2B5EF4-FFF2-40B4-BE49-F238E27FC236}">
                  <a16:creationId xmlns:a16="http://schemas.microsoft.com/office/drawing/2014/main" id="{FA2478B0-E5E2-4F32-8061-87C7FA11FBE0}"/>
                </a:ext>
              </a:extLst>
            </p:cNvPr>
            <p:cNvSpPr/>
            <p:nvPr/>
          </p:nvSpPr>
          <p:spPr>
            <a:xfrm rot="8716295">
              <a:off x="-24330" y="2197782"/>
              <a:ext cx="102508" cy="53362"/>
            </a:xfrm>
            <a:custGeom>
              <a:avLst/>
              <a:gdLst>
                <a:gd name="connsiteX0" fmla="*/ 0 w 102508"/>
                <a:gd name="connsiteY0" fmla="*/ 23637 h 53362"/>
                <a:gd name="connsiteX1" fmla="*/ 0 w 102508"/>
                <a:gd name="connsiteY1" fmla="*/ 2258 h 53362"/>
                <a:gd name="connsiteX2" fmla="*/ 102508 w 102508"/>
                <a:gd name="connsiteY2" fmla="*/ 0 h 53362"/>
                <a:gd name="connsiteX3" fmla="*/ 65519 w 102508"/>
                <a:gd name="connsiteY3" fmla="*/ 53362 h 53362"/>
                <a:gd name="connsiteX4" fmla="*/ 65519 w 102508"/>
                <a:gd name="connsiteY4" fmla="*/ 23637 h 5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508" h="53362">
                  <a:moveTo>
                    <a:pt x="0" y="23637"/>
                  </a:moveTo>
                  <a:lnTo>
                    <a:pt x="0" y="2258"/>
                  </a:lnTo>
                  <a:lnTo>
                    <a:pt x="102508" y="0"/>
                  </a:lnTo>
                  <a:lnTo>
                    <a:pt x="65519" y="53362"/>
                  </a:lnTo>
                  <a:lnTo>
                    <a:pt x="65519" y="2363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" name="Forme libre : forme 141">
              <a:extLst>
                <a:ext uri="{FF2B5EF4-FFF2-40B4-BE49-F238E27FC236}">
                  <a16:creationId xmlns:a16="http://schemas.microsoft.com/office/drawing/2014/main" id="{949053A5-7216-4B32-8AE1-A37ED2B2705A}"/>
                </a:ext>
              </a:extLst>
            </p:cNvPr>
            <p:cNvSpPr/>
            <p:nvPr/>
          </p:nvSpPr>
          <p:spPr>
            <a:xfrm rot="7484129">
              <a:off x="11236" y="224945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" name="Forme libre : forme 142">
              <a:extLst>
                <a:ext uri="{FF2B5EF4-FFF2-40B4-BE49-F238E27FC236}">
                  <a16:creationId xmlns:a16="http://schemas.microsoft.com/office/drawing/2014/main" id="{028B569C-B0FE-4A67-B111-B99F3950BB2A}"/>
                </a:ext>
              </a:extLst>
            </p:cNvPr>
            <p:cNvSpPr/>
            <p:nvPr/>
          </p:nvSpPr>
          <p:spPr>
            <a:xfrm rot="13089394">
              <a:off x="169886" y="2198801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4" name="Forme libre : forme 143">
              <a:extLst>
                <a:ext uri="{FF2B5EF4-FFF2-40B4-BE49-F238E27FC236}">
                  <a16:creationId xmlns:a16="http://schemas.microsoft.com/office/drawing/2014/main" id="{DDDAF86D-35C8-42A2-A70C-525D2D5475FD}"/>
                </a:ext>
              </a:extLst>
            </p:cNvPr>
            <p:cNvSpPr/>
            <p:nvPr/>
          </p:nvSpPr>
          <p:spPr>
            <a:xfrm rot="8716295">
              <a:off x="450777" y="1908683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5" name="Forme libre : forme 144">
              <a:extLst>
                <a:ext uri="{FF2B5EF4-FFF2-40B4-BE49-F238E27FC236}">
                  <a16:creationId xmlns:a16="http://schemas.microsoft.com/office/drawing/2014/main" id="{0456C75C-046A-4449-8D19-7B887B7670B6}"/>
                </a:ext>
              </a:extLst>
            </p:cNvPr>
            <p:cNvSpPr/>
            <p:nvPr/>
          </p:nvSpPr>
          <p:spPr>
            <a:xfrm rot="8716295">
              <a:off x="372368" y="175189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6" name="Forme libre : forme 145">
              <a:extLst>
                <a:ext uri="{FF2B5EF4-FFF2-40B4-BE49-F238E27FC236}">
                  <a16:creationId xmlns:a16="http://schemas.microsoft.com/office/drawing/2014/main" id="{9071FCAB-0728-4659-9A50-F1E4D3A34FCA}"/>
                </a:ext>
              </a:extLst>
            </p:cNvPr>
            <p:cNvSpPr/>
            <p:nvPr/>
          </p:nvSpPr>
          <p:spPr>
            <a:xfrm rot="8716295">
              <a:off x="4204" y="179763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7" name="Forme libre : forme 146">
              <a:extLst>
                <a:ext uri="{FF2B5EF4-FFF2-40B4-BE49-F238E27FC236}">
                  <a16:creationId xmlns:a16="http://schemas.microsoft.com/office/drawing/2014/main" id="{74F9CC45-BF7F-4E25-8F71-1BD6DA2F0E29}"/>
                </a:ext>
              </a:extLst>
            </p:cNvPr>
            <p:cNvSpPr/>
            <p:nvPr/>
          </p:nvSpPr>
          <p:spPr>
            <a:xfrm rot="8716295">
              <a:off x="272786" y="155661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8" name="Forme libre : forme 147">
              <a:extLst>
                <a:ext uri="{FF2B5EF4-FFF2-40B4-BE49-F238E27FC236}">
                  <a16:creationId xmlns:a16="http://schemas.microsoft.com/office/drawing/2014/main" id="{9BA7D72C-89C5-4ADB-A9D6-05B170E731F6}"/>
                </a:ext>
              </a:extLst>
            </p:cNvPr>
            <p:cNvSpPr/>
            <p:nvPr/>
          </p:nvSpPr>
          <p:spPr>
            <a:xfrm rot="8716295">
              <a:off x="-35149" y="938156"/>
              <a:ext cx="158623" cy="159016"/>
            </a:xfrm>
            <a:custGeom>
              <a:avLst/>
              <a:gdLst>
                <a:gd name="connsiteX0" fmla="*/ 77932 w 158623"/>
                <a:gd name="connsiteY0" fmla="*/ 159016 h 159016"/>
                <a:gd name="connsiteX1" fmla="*/ 77932 w 158623"/>
                <a:gd name="connsiteY1" fmla="*/ 66898 h 159016"/>
                <a:gd name="connsiteX2" fmla="*/ 0 w 158623"/>
                <a:gd name="connsiteY2" fmla="*/ 66898 h 159016"/>
                <a:gd name="connsiteX3" fmla="*/ 0 w 158623"/>
                <a:gd name="connsiteY3" fmla="*/ 0 h 159016"/>
                <a:gd name="connsiteX4" fmla="*/ 158623 w 158623"/>
                <a:gd name="connsiteY4" fmla="*/ 0 h 159016"/>
                <a:gd name="connsiteX5" fmla="*/ 158623 w 158623"/>
                <a:gd name="connsiteY5" fmla="*/ 42606 h 15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8623" h="159016">
                  <a:moveTo>
                    <a:pt x="77932" y="159016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4260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9" name="Forme libre : forme 148">
              <a:extLst>
                <a:ext uri="{FF2B5EF4-FFF2-40B4-BE49-F238E27FC236}">
                  <a16:creationId xmlns:a16="http://schemas.microsoft.com/office/drawing/2014/main" id="{049A796E-46A8-44F5-A685-EFE861D38A62}"/>
                </a:ext>
              </a:extLst>
            </p:cNvPr>
            <p:cNvSpPr/>
            <p:nvPr/>
          </p:nvSpPr>
          <p:spPr>
            <a:xfrm rot="7484129">
              <a:off x="-32979" y="1345537"/>
              <a:ext cx="65961" cy="45734"/>
            </a:xfrm>
            <a:custGeom>
              <a:avLst/>
              <a:gdLst>
                <a:gd name="connsiteX0" fmla="*/ 0 w 65961"/>
                <a:gd name="connsiteY0" fmla="*/ 45734 h 45734"/>
                <a:gd name="connsiteX1" fmla="*/ 0 w 65961"/>
                <a:gd name="connsiteY1" fmla="*/ 0 h 45734"/>
                <a:gd name="connsiteX2" fmla="*/ 65961 w 65961"/>
                <a:gd name="connsiteY2" fmla="*/ 0 h 45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5961" h="45734">
                  <a:moveTo>
                    <a:pt x="0" y="45734"/>
                  </a:moveTo>
                  <a:lnTo>
                    <a:pt x="0" y="0"/>
                  </a:lnTo>
                  <a:lnTo>
                    <a:pt x="6596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0" name="Forme libre : forme 149">
              <a:extLst>
                <a:ext uri="{FF2B5EF4-FFF2-40B4-BE49-F238E27FC236}">
                  <a16:creationId xmlns:a16="http://schemas.microsoft.com/office/drawing/2014/main" id="{5C3088F6-9CC3-48D3-A8B8-D590346DDC75}"/>
                </a:ext>
              </a:extLst>
            </p:cNvPr>
            <p:cNvSpPr/>
            <p:nvPr/>
          </p:nvSpPr>
          <p:spPr>
            <a:xfrm rot="13089394">
              <a:off x="-134707" y="1200752"/>
              <a:ext cx="386820" cy="481345"/>
            </a:xfrm>
            <a:custGeom>
              <a:avLst/>
              <a:gdLst>
                <a:gd name="connsiteX0" fmla="*/ 386820 w 386820"/>
                <a:gd name="connsiteY0" fmla="*/ 391818 h 481345"/>
                <a:gd name="connsiteX1" fmla="*/ 342166 w 386820"/>
                <a:gd name="connsiteY1" fmla="*/ 422376 h 481345"/>
                <a:gd name="connsiteX2" fmla="*/ 138636 w 386820"/>
                <a:gd name="connsiteY2" fmla="*/ 481098 h 481345"/>
                <a:gd name="connsiteX3" fmla="*/ 35911 w 386820"/>
                <a:gd name="connsiteY3" fmla="*/ 439340 h 481345"/>
                <a:gd name="connsiteX4" fmla="*/ 0 w 386820"/>
                <a:gd name="connsiteY4" fmla="*/ 295693 h 481345"/>
                <a:gd name="connsiteX5" fmla="*/ 0 w 386820"/>
                <a:gd name="connsiteY5" fmla="*/ 40970 h 481345"/>
                <a:gd name="connsiteX6" fmla="*/ 78970 w 386820"/>
                <a:gd name="connsiteY6" fmla="*/ 0 h 481345"/>
                <a:gd name="connsiteX7" fmla="*/ 111492 w 386820"/>
                <a:gd name="connsiteY7" fmla="*/ 41392 h 481345"/>
                <a:gd name="connsiteX8" fmla="*/ 112747 w 386820"/>
                <a:gd name="connsiteY8" fmla="*/ 216353 h 481345"/>
                <a:gd name="connsiteX9" fmla="*/ 132789 w 386820"/>
                <a:gd name="connsiteY9" fmla="*/ 354990 h 481345"/>
                <a:gd name="connsiteX10" fmla="*/ 233008 w 386820"/>
                <a:gd name="connsiteY10" fmla="*/ 410110 h 481345"/>
                <a:gd name="connsiteX11" fmla="*/ 308173 w 386820"/>
                <a:gd name="connsiteY11" fmla="*/ 396747 h 481345"/>
                <a:gd name="connsiteX12" fmla="*/ 370717 w 386820"/>
                <a:gd name="connsiteY12" fmla="*/ 371323 h 481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6820" h="481345">
                  <a:moveTo>
                    <a:pt x="386820" y="391818"/>
                  </a:moveTo>
                  <a:lnTo>
                    <a:pt x="342166" y="422376"/>
                  </a:lnTo>
                  <a:cubicBezTo>
                    <a:pt x="268920" y="462151"/>
                    <a:pt x="190624" y="477966"/>
                    <a:pt x="138636" y="481098"/>
                  </a:cubicBezTo>
                  <a:cubicBezTo>
                    <a:pt x="100219" y="483604"/>
                    <a:pt x="62637" y="466901"/>
                    <a:pt x="35911" y="439340"/>
                  </a:cubicBezTo>
                  <a:cubicBezTo>
                    <a:pt x="7516" y="411780"/>
                    <a:pt x="0" y="364176"/>
                    <a:pt x="0" y="295693"/>
                  </a:cubicBezTo>
                  <a:lnTo>
                    <a:pt x="0" y="40970"/>
                  </a:lnTo>
                  <a:lnTo>
                    <a:pt x="78970" y="0"/>
                  </a:lnTo>
                  <a:lnTo>
                    <a:pt x="111492" y="41392"/>
                  </a:lnTo>
                  <a:lnTo>
                    <a:pt x="112747" y="216353"/>
                  </a:lnTo>
                  <a:cubicBezTo>
                    <a:pt x="110241" y="263122"/>
                    <a:pt x="117757" y="310726"/>
                    <a:pt x="132789" y="354990"/>
                  </a:cubicBezTo>
                  <a:cubicBezTo>
                    <a:pt x="146153" y="391736"/>
                    <a:pt x="180394" y="410110"/>
                    <a:pt x="233008" y="410110"/>
                  </a:cubicBezTo>
                  <a:cubicBezTo>
                    <a:pt x="258899" y="409274"/>
                    <a:pt x="283953" y="404263"/>
                    <a:pt x="308173" y="396747"/>
                  </a:cubicBezTo>
                  <a:lnTo>
                    <a:pt x="370717" y="371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1" name="Forme libre : forme 150">
              <a:extLst>
                <a:ext uri="{FF2B5EF4-FFF2-40B4-BE49-F238E27FC236}">
                  <a16:creationId xmlns:a16="http://schemas.microsoft.com/office/drawing/2014/main" id="{45A3690F-0557-4DB0-94E4-7427021CEC86}"/>
                </a:ext>
              </a:extLst>
            </p:cNvPr>
            <p:cNvSpPr/>
            <p:nvPr/>
          </p:nvSpPr>
          <p:spPr>
            <a:xfrm rot="8716295">
              <a:off x="119403" y="90662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2" name="Forme libre : forme 151">
              <a:extLst>
                <a:ext uri="{FF2B5EF4-FFF2-40B4-BE49-F238E27FC236}">
                  <a16:creationId xmlns:a16="http://schemas.microsoft.com/office/drawing/2014/main" id="{1C3938EF-FACF-4118-88DE-3CA52114B602}"/>
                </a:ext>
              </a:extLst>
            </p:cNvPr>
            <p:cNvSpPr/>
            <p:nvPr/>
          </p:nvSpPr>
          <p:spPr>
            <a:xfrm rot="8716295">
              <a:off x="40994" y="74983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3" name="Forme libre : forme 152">
              <a:extLst>
                <a:ext uri="{FF2B5EF4-FFF2-40B4-BE49-F238E27FC236}">
                  <a16:creationId xmlns:a16="http://schemas.microsoft.com/office/drawing/2014/main" id="{DFC0458A-EB47-48D9-8C11-B6676E2C5CAE}"/>
                </a:ext>
              </a:extLst>
            </p:cNvPr>
            <p:cNvSpPr/>
            <p:nvPr/>
          </p:nvSpPr>
          <p:spPr>
            <a:xfrm rot="8716295">
              <a:off x="-44934" y="551941"/>
              <a:ext cx="152592" cy="165412"/>
            </a:xfrm>
            <a:custGeom>
              <a:avLst/>
              <a:gdLst>
                <a:gd name="connsiteX0" fmla="*/ 26453 w 152592"/>
                <a:gd name="connsiteY0" fmla="*/ 153143 h 165412"/>
                <a:gd name="connsiteX1" fmla="*/ 0 w 152592"/>
                <a:gd name="connsiteY1" fmla="*/ 90494 h 165412"/>
                <a:gd name="connsiteX2" fmla="*/ 0 w 152592"/>
                <a:gd name="connsiteY2" fmla="*/ 89101 h 165412"/>
                <a:gd name="connsiteX3" fmla="*/ 26453 w 152592"/>
                <a:gd name="connsiteY3" fmla="*/ 26453 h 165412"/>
                <a:gd name="connsiteX4" fmla="*/ 89101 w 152592"/>
                <a:gd name="connsiteY4" fmla="*/ 0 h 165412"/>
                <a:gd name="connsiteX5" fmla="*/ 151752 w 152592"/>
                <a:gd name="connsiteY5" fmla="*/ 26453 h 165412"/>
                <a:gd name="connsiteX6" fmla="*/ 152592 w 152592"/>
                <a:gd name="connsiteY6" fmla="*/ 27688 h 165412"/>
                <a:gd name="connsiteX7" fmla="*/ 57126 w 152592"/>
                <a:gd name="connsiteY7" fmla="*/ 165412 h 165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592" h="165412">
                  <a:moveTo>
                    <a:pt x="26453" y="153143"/>
                  </a:moveTo>
                  <a:cubicBezTo>
                    <a:pt x="9746" y="136436"/>
                    <a:pt x="0" y="114161"/>
                    <a:pt x="0" y="90494"/>
                  </a:cubicBezTo>
                  <a:lnTo>
                    <a:pt x="0" y="89101"/>
                  </a:lnTo>
                  <a:cubicBezTo>
                    <a:pt x="0" y="65434"/>
                    <a:pt x="9746" y="43159"/>
                    <a:pt x="26453" y="26453"/>
                  </a:cubicBezTo>
                  <a:cubicBezTo>
                    <a:pt x="43159" y="9746"/>
                    <a:pt x="65435" y="0"/>
                    <a:pt x="89101" y="0"/>
                  </a:cubicBezTo>
                  <a:cubicBezTo>
                    <a:pt x="112770" y="0"/>
                    <a:pt x="135045" y="9746"/>
                    <a:pt x="151752" y="26453"/>
                  </a:cubicBezTo>
                  <a:lnTo>
                    <a:pt x="152592" y="27688"/>
                  </a:lnTo>
                  <a:lnTo>
                    <a:pt x="57126" y="1654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4" name="Forme libre : forme 153">
              <a:extLst>
                <a:ext uri="{FF2B5EF4-FFF2-40B4-BE49-F238E27FC236}">
                  <a16:creationId xmlns:a16="http://schemas.microsoft.com/office/drawing/2014/main" id="{51206894-A2FA-4091-8709-9038ECFC9F62}"/>
                </a:ext>
              </a:extLst>
            </p:cNvPr>
            <p:cNvSpPr/>
            <p:nvPr/>
          </p:nvSpPr>
          <p:spPr>
            <a:xfrm rot="8716295">
              <a:off x="-69806" y="4587027"/>
              <a:ext cx="183810" cy="187594"/>
            </a:xfrm>
            <a:custGeom>
              <a:avLst/>
              <a:gdLst>
                <a:gd name="connsiteX0" fmla="*/ 10574 w 183810"/>
                <a:gd name="connsiteY0" fmla="*/ 187594 h 187594"/>
                <a:gd name="connsiteX1" fmla="*/ 0 w 183810"/>
                <a:gd name="connsiteY1" fmla="*/ 172952 h 187594"/>
                <a:gd name="connsiteX2" fmla="*/ 183810 w 183810"/>
                <a:gd name="connsiteY2" fmla="*/ 0 h 187594"/>
                <a:gd name="connsiteX3" fmla="*/ 72284 w 183810"/>
                <a:gd name="connsiteY3" fmla="*/ 160894 h 187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810" h="187594">
                  <a:moveTo>
                    <a:pt x="10574" y="187594"/>
                  </a:moveTo>
                  <a:lnTo>
                    <a:pt x="0" y="172952"/>
                  </a:lnTo>
                  <a:lnTo>
                    <a:pt x="183810" y="0"/>
                  </a:lnTo>
                  <a:lnTo>
                    <a:pt x="72284" y="1608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5" name="Forme libre : forme 154">
              <a:extLst>
                <a:ext uri="{FF2B5EF4-FFF2-40B4-BE49-F238E27FC236}">
                  <a16:creationId xmlns:a16="http://schemas.microsoft.com/office/drawing/2014/main" id="{75F36939-0C1D-4F35-A6F3-978C7845A7FE}"/>
                </a:ext>
              </a:extLst>
            </p:cNvPr>
            <p:cNvSpPr/>
            <p:nvPr/>
          </p:nvSpPr>
          <p:spPr>
            <a:xfrm rot="8716295">
              <a:off x="2260816" y="1871889"/>
              <a:ext cx="76563" cy="79800"/>
            </a:xfrm>
            <a:custGeom>
              <a:avLst/>
              <a:gdLst>
                <a:gd name="connsiteX0" fmla="*/ 1561 w 76563"/>
                <a:gd name="connsiteY0" fmla="*/ 67386 h 79800"/>
                <a:gd name="connsiteX1" fmla="*/ 0 w 76563"/>
                <a:gd name="connsiteY1" fmla="*/ 63688 h 79800"/>
                <a:gd name="connsiteX2" fmla="*/ 52676 w 76563"/>
                <a:gd name="connsiteY2" fmla="*/ 0 h 79800"/>
                <a:gd name="connsiteX3" fmla="*/ 63632 w 76563"/>
                <a:gd name="connsiteY3" fmla="*/ 4626 h 79800"/>
                <a:gd name="connsiteX4" fmla="*/ 63632 w 76563"/>
                <a:gd name="connsiteY4" fmla="*/ 66697 h 79800"/>
                <a:gd name="connsiteX5" fmla="*/ 32596 w 76563"/>
                <a:gd name="connsiteY5" fmla="*/ 79800 h 79800"/>
                <a:gd name="connsiteX6" fmla="*/ 1561 w 76563"/>
                <a:gd name="connsiteY6" fmla="*/ 67386 h 79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563" h="79800">
                  <a:moveTo>
                    <a:pt x="1561" y="67386"/>
                  </a:moveTo>
                  <a:lnTo>
                    <a:pt x="0" y="63688"/>
                  </a:lnTo>
                  <a:lnTo>
                    <a:pt x="52676" y="0"/>
                  </a:lnTo>
                  <a:lnTo>
                    <a:pt x="63632" y="4626"/>
                  </a:lnTo>
                  <a:cubicBezTo>
                    <a:pt x="80874" y="21178"/>
                    <a:pt x="80873" y="49455"/>
                    <a:pt x="63632" y="66697"/>
                  </a:cubicBezTo>
                  <a:cubicBezTo>
                    <a:pt x="55356" y="74973"/>
                    <a:pt x="44321" y="79800"/>
                    <a:pt x="32596" y="79800"/>
                  </a:cubicBezTo>
                  <a:cubicBezTo>
                    <a:pt x="20872" y="79800"/>
                    <a:pt x="9837" y="75662"/>
                    <a:pt x="1561" y="6738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6" name="Forme libre : forme 155">
              <a:extLst>
                <a:ext uri="{FF2B5EF4-FFF2-40B4-BE49-F238E27FC236}">
                  <a16:creationId xmlns:a16="http://schemas.microsoft.com/office/drawing/2014/main" id="{BD296649-E6F7-43B4-A921-2D9F25E09891}"/>
                </a:ext>
              </a:extLst>
            </p:cNvPr>
            <p:cNvSpPr/>
            <p:nvPr/>
          </p:nvSpPr>
          <p:spPr>
            <a:xfrm rot="8716295">
              <a:off x="2079218" y="1576016"/>
              <a:ext cx="236114" cy="296463"/>
            </a:xfrm>
            <a:custGeom>
              <a:avLst/>
              <a:gdLst>
                <a:gd name="connsiteX0" fmla="*/ 64875 w 236114"/>
                <a:gd name="connsiteY0" fmla="*/ 296463 h 296463"/>
                <a:gd name="connsiteX1" fmla="*/ 0 w 236114"/>
                <a:gd name="connsiteY1" fmla="*/ 175766 h 296463"/>
                <a:gd name="connsiteX2" fmla="*/ 33192 w 236114"/>
                <a:gd name="connsiteY2" fmla="*/ 83734 h 296463"/>
                <a:gd name="connsiteX3" fmla="*/ 489 w 236114"/>
                <a:gd name="connsiteY3" fmla="*/ 83734 h 296463"/>
                <a:gd name="connsiteX4" fmla="*/ 69747 w 236114"/>
                <a:gd name="connsiteY4" fmla="*/ 0 h 296463"/>
                <a:gd name="connsiteX5" fmla="*/ 236114 w 236114"/>
                <a:gd name="connsiteY5" fmla="*/ 0 h 296463"/>
                <a:gd name="connsiteX6" fmla="*/ 236114 w 236114"/>
                <a:gd name="connsiteY6" fmla="*/ 83734 h 296463"/>
                <a:gd name="connsiteX7" fmla="*/ 138047 w 236114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6114" h="296463">
                  <a:moveTo>
                    <a:pt x="64875" y="296463"/>
                  </a:moveTo>
                  <a:lnTo>
                    <a:pt x="0" y="175766"/>
                  </a:lnTo>
                  <a:lnTo>
                    <a:pt x="33192" y="83734"/>
                  </a:lnTo>
                  <a:lnTo>
                    <a:pt x="489" y="83734"/>
                  </a:lnTo>
                  <a:lnTo>
                    <a:pt x="69747" y="0"/>
                  </a:lnTo>
                  <a:lnTo>
                    <a:pt x="236114" y="0"/>
                  </a:lnTo>
                  <a:lnTo>
                    <a:pt x="236114" y="83734"/>
                  </a:lnTo>
                  <a:lnTo>
                    <a:pt x="138047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7" name="Forme libre : forme 156">
              <a:extLst>
                <a:ext uri="{FF2B5EF4-FFF2-40B4-BE49-F238E27FC236}">
                  <a16:creationId xmlns:a16="http://schemas.microsoft.com/office/drawing/2014/main" id="{6CA34F6D-826D-4D6C-B9D3-13816F14A2D6}"/>
                </a:ext>
              </a:extLst>
            </p:cNvPr>
            <p:cNvSpPr/>
            <p:nvPr/>
          </p:nvSpPr>
          <p:spPr>
            <a:xfrm rot="8716295">
              <a:off x="1975890" y="1368961"/>
              <a:ext cx="432296" cy="245571"/>
            </a:xfrm>
            <a:custGeom>
              <a:avLst/>
              <a:gdLst>
                <a:gd name="connsiteX0" fmla="*/ 30685 w 432296"/>
                <a:gd name="connsiteY0" fmla="*/ 200783 h 245571"/>
                <a:gd name="connsiteX1" fmla="*/ 187 w 432296"/>
                <a:gd name="connsiteY1" fmla="*/ 140564 h 245571"/>
                <a:gd name="connsiteX2" fmla="*/ 0 w 432296"/>
                <a:gd name="connsiteY2" fmla="*/ 138341 h 245571"/>
                <a:gd name="connsiteX3" fmla="*/ 114424 w 432296"/>
                <a:gd name="connsiteY3" fmla="*/ 0 h 245571"/>
                <a:gd name="connsiteX4" fmla="*/ 116284 w 432296"/>
                <a:gd name="connsiteY4" fmla="*/ 37935 h 245571"/>
                <a:gd name="connsiteX5" fmla="*/ 133982 w 432296"/>
                <a:gd name="connsiteY5" fmla="*/ 110844 h 245571"/>
                <a:gd name="connsiteX6" fmla="*/ 240841 w 432296"/>
                <a:gd name="connsiteY6" fmla="*/ 169617 h 245571"/>
                <a:gd name="connsiteX7" fmla="*/ 320985 w 432296"/>
                <a:gd name="connsiteY7" fmla="*/ 155369 h 245571"/>
                <a:gd name="connsiteX8" fmla="*/ 430515 w 432296"/>
                <a:gd name="connsiteY8" fmla="*/ 110844 h 245571"/>
                <a:gd name="connsiteX9" fmla="*/ 432296 w 432296"/>
                <a:gd name="connsiteY9" fmla="*/ 122420 h 245571"/>
                <a:gd name="connsiteX10" fmla="*/ 432296 w 432296"/>
                <a:gd name="connsiteY10" fmla="*/ 131325 h 245571"/>
                <a:gd name="connsiteX11" fmla="*/ 140216 w 432296"/>
                <a:gd name="connsiteY11" fmla="*/ 245308 h 245571"/>
                <a:gd name="connsiteX12" fmla="*/ 30685 w 432296"/>
                <a:gd name="connsiteY12" fmla="*/ 200783 h 245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32296" h="245571">
                  <a:moveTo>
                    <a:pt x="30685" y="200783"/>
                  </a:moveTo>
                  <a:cubicBezTo>
                    <a:pt x="15547" y="186091"/>
                    <a:pt x="5975" y="166054"/>
                    <a:pt x="187" y="140564"/>
                  </a:cubicBezTo>
                  <a:lnTo>
                    <a:pt x="0" y="138341"/>
                  </a:lnTo>
                  <a:lnTo>
                    <a:pt x="114424" y="0"/>
                  </a:lnTo>
                  <a:lnTo>
                    <a:pt x="116284" y="37935"/>
                  </a:lnTo>
                  <a:cubicBezTo>
                    <a:pt x="119957" y="62758"/>
                    <a:pt x="125968" y="87246"/>
                    <a:pt x="133982" y="110844"/>
                  </a:cubicBezTo>
                  <a:cubicBezTo>
                    <a:pt x="148231" y="150026"/>
                    <a:pt x="184740" y="169617"/>
                    <a:pt x="240841" y="169617"/>
                  </a:cubicBezTo>
                  <a:cubicBezTo>
                    <a:pt x="268446" y="168726"/>
                    <a:pt x="295161" y="163383"/>
                    <a:pt x="320985" y="155369"/>
                  </a:cubicBezTo>
                  <a:cubicBezTo>
                    <a:pt x="358385" y="143792"/>
                    <a:pt x="394895" y="128654"/>
                    <a:pt x="430515" y="110844"/>
                  </a:cubicBezTo>
                  <a:cubicBezTo>
                    <a:pt x="431405" y="114406"/>
                    <a:pt x="432296" y="118858"/>
                    <a:pt x="432296" y="122420"/>
                  </a:cubicBezTo>
                  <a:lnTo>
                    <a:pt x="432296" y="131325"/>
                  </a:lnTo>
                  <a:cubicBezTo>
                    <a:pt x="337904" y="212360"/>
                    <a:pt x="214126" y="240856"/>
                    <a:pt x="140216" y="245308"/>
                  </a:cubicBezTo>
                  <a:cubicBezTo>
                    <a:pt x="99254" y="247980"/>
                    <a:pt x="59182" y="230170"/>
                    <a:pt x="30685" y="2007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8" name="Forme libre : forme 157">
              <a:extLst>
                <a:ext uri="{FF2B5EF4-FFF2-40B4-BE49-F238E27FC236}">
                  <a16:creationId xmlns:a16="http://schemas.microsoft.com/office/drawing/2014/main" id="{1B5AAC38-2C08-40E5-95BE-5338A8CAC415}"/>
                </a:ext>
              </a:extLst>
            </p:cNvPr>
            <p:cNvSpPr/>
            <p:nvPr/>
          </p:nvSpPr>
          <p:spPr>
            <a:xfrm rot="8716295">
              <a:off x="2107141" y="73528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9" name="Forme libre : forme 158">
              <a:extLst>
                <a:ext uri="{FF2B5EF4-FFF2-40B4-BE49-F238E27FC236}">
                  <a16:creationId xmlns:a16="http://schemas.microsoft.com/office/drawing/2014/main" id="{A4125EC0-3011-4C53-83B6-DD287160F4E7}"/>
                </a:ext>
              </a:extLst>
            </p:cNvPr>
            <p:cNvSpPr/>
            <p:nvPr/>
          </p:nvSpPr>
          <p:spPr>
            <a:xfrm rot="8716295">
              <a:off x="2242282" y="832029"/>
              <a:ext cx="282003" cy="313470"/>
            </a:xfrm>
            <a:custGeom>
              <a:avLst/>
              <a:gdLst>
                <a:gd name="connsiteX0" fmla="*/ 188208 w 282003"/>
                <a:gd name="connsiteY0" fmla="*/ 99785 h 313470"/>
                <a:gd name="connsiteX1" fmla="*/ 188208 w 282003"/>
                <a:gd name="connsiteY1" fmla="*/ 85923 h 313470"/>
                <a:gd name="connsiteX2" fmla="*/ 259276 w 282003"/>
                <a:gd name="connsiteY2" fmla="*/ 0 h 313470"/>
                <a:gd name="connsiteX3" fmla="*/ 274211 w 282003"/>
                <a:gd name="connsiteY3" fmla="*/ 28123 h 313470"/>
                <a:gd name="connsiteX4" fmla="*/ 282003 w 282003"/>
                <a:gd name="connsiteY4" fmla="*/ 85301 h 313470"/>
                <a:gd name="connsiteX5" fmla="*/ 282002 w 282003"/>
                <a:gd name="connsiteY5" fmla="*/ 94267 h 313470"/>
                <a:gd name="connsiteX6" fmla="*/ 0 w 282003"/>
                <a:gd name="connsiteY6" fmla="*/ 313470 h 313470"/>
                <a:gd name="connsiteX7" fmla="*/ 56482 w 282003"/>
                <a:gd name="connsiteY7" fmla="*/ 245183 h 313470"/>
                <a:gd name="connsiteX8" fmla="*/ 56482 w 282003"/>
                <a:gd name="connsiteY8" fmla="*/ 274960 h 313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2003" h="313470">
                  <a:moveTo>
                    <a:pt x="188208" y="99785"/>
                  </a:moveTo>
                  <a:lnTo>
                    <a:pt x="188208" y="85923"/>
                  </a:lnTo>
                  <a:lnTo>
                    <a:pt x="259276" y="0"/>
                  </a:lnTo>
                  <a:lnTo>
                    <a:pt x="274211" y="28123"/>
                  </a:lnTo>
                  <a:cubicBezTo>
                    <a:pt x="279330" y="44783"/>
                    <a:pt x="282002" y="63922"/>
                    <a:pt x="282003" y="85301"/>
                  </a:cubicBezTo>
                  <a:lnTo>
                    <a:pt x="282002" y="94267"/>
                  </a:lnTo>
                  <a:close/>
                  <a:moveTo>
                    <a:pt x="0" y="313470"/>
                  </a:moveTo>
                  <a:lnTo>
                    <a:pt x="56482" y="245183"/>
                  </a:lnTo>
                  <a:lnTo>
                    <a:pt x="56482" y="2749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0" name="Forme libre : forme 159">
              <a:extLst>
                <a:ext uri="{FF2B5EF4-FFF2-40B4-BE49-F238E27FC236}">
                  <a16:creationId xmlns:a16="http://schemas.microsoft.com/office/drawing/2014/main" id="{FF9B0781-A82C-47AF-AC1C-21015974FDE2}"/>
                </a:ext>
              </a:extLst>
            </p:cNvPr>
            <p:cNvSpPr/>
            <p:nvPr/>
          </p:nvSpPr>
          <p:spPr>
            <a:xfrm rot="8716295">
              <a:off x="2174558" y="64895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1" name="Forme libre : forme 160">
              <a:extLst>
                <a:ext uri="{FF2B5EF4-FFF2-40B4-BE49-F238E27FC236}">
                  <a16:creationId xmlns:a16="http://schemas.microsoft.com/office/drawing/2014/main" id="{E647964A-EFA4-4875-8CBA-E79FD37F80FD}"/>
                </a:ext>
              </a:extLst>
            </p:cNvPr>
            <p:cNvSpPr/>
            <p:nvPr/>
          </p:nvSpPr>
          <p:spPr>
            <a:xfrm rot="8716295">
              <a:off x="1937270" y="86929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2" name="Forme libre : forme 161">
              <a:extLst>
                <a:ext uri="{FF2B5EF4-FFF2-40B4-BE49-F238E27FC236}">
                  <a16:creationId xmlns:a16="http://schemas.microsoft.com/office/drawing/2014/main" id="{92A84223-E9E1-4AA2-A477-395EEFC832F2}"/>
                </a:ext>
              </a:extLst>
            </p:cNvPr>
            <p:cNvSpPr/>
            <p:nvPr/>
          </p:nvSpPr>
          <p:spPr>
            <a:xfrm rot="8716295">
              <a:off x="1748224" y="55346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3" name="Forme libre : forme 162">
              <a:extLst>
                <a:ext uri="{FF2B5EF4-FFF2-40B4-BE49-F238E27FC236}">
                  <a16:creationId xmlns:a16="http://schemas.microsoft.com/office/drawing/2014/main" id="{25B16338-FDD7-4AA6-9D09-5C2DE296D9CE}"/>
                </a:ext>
              </a:extLst>
            </p:cNvPr>
            <p:cNvSpPr/>
            <p:nvPr/>
          </p:nvSpPr>
          <p:spPr>
            <a:xfrm rot="8716295">
              <a:off x="1729983" y="34341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4" name="Forme libre : forme 163">
              <a:extLst>
                <a:ext uri="{FF2B5EF4-FFF2-40B4-BE49-F238E27FC236}">
                  <a16:creationId xmlns:a16="http://schemas.microsoft.com/office/drawing/2014/main" id="{FD37B6C0-63BE-47FD-9D48-08E0F916E511}"/>
                </a:ext>
              </a:extLst>
            </p:cNvPr>
            <p:cNvSpPr/>
            <p:nvPr/>
          </p:nvSpPr>
          <p:spPr>
            <a:xfrm rot="8716295">
              <a:off x="2073759" y="93127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5" name="Forme libre : forme 164">
              <a:extLst>
                <a:ext uri="{FF2B5EF4-FFF2-40B4-BE49-F238E27FC236}">
                  <a16:creationId xmlns:a16="http://schemas.microsoft.com/office/drawing/2014/main" id="{93F06371-0361-4141-BEE3-CC9849B020E6}"/>
                </a:ext>
              </a:extLst>
            </p:cNvPr>
            <p:cNvSpPr/>
            <p:nvPr/>
          </p:nvSpPr>
          <p:spPr>
            <a:xfrm rot="8716295">
              <a:off x="2367873" y="489398"/>
              <a:ext cx="81526" cy="84395"/>
            </a:xfrm>
            <a:custGeom>
              <a:avLst/>
              <a:gdLst>
                <a:gd name="connsiteX0" fmla="*/ 6524 w 81526"/>
                <a:gd name="connsiteY0" fmla="*/ 71981 h 84395"/>
                <a:gd name="connsiteX1" fmla="*/ 0 w 81526"/>
                <a:gd name="connsiteY1" fmla="*/ 56529 h 84395"/>
                <a:gd name="connsiteX2" fmla="*/ 46756 w 81526"/>
                <a:gd name="connsiteY2" fmla="*/ 0 h 84395"/>
                <a:gd name="connsiteX3" fmla="*/ 68595 w 81526"/>
                <a:gd name="connsiteY3" fmla="*/ 9221 h 84395"/>
                <a:gd name="connsiteX4" fmla="*/ 68595 w 81526"/>
                <a:gd name="connsiteY4" fmla="*/ 71292 h 84395"/>
                <a:gd name="connsiteX5" fmla="*/ 37559 w 81526"/>
                <a:gd name="connsiteY5" fmla="*/ 84395 h 84395"/>
                <a:gd name="connsiteX6" fmla="*/ 6524 w 81526"/>
                <a:gd name="connsiteY6" fmla="*/ 71981 h 84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526" h="84395">
                  <a:moveTo>
                    <a:pt x="6524" y="71981"/>
                  </a:moveTo>
                  <a:lnTo>
                    <a:pt x="0" y="56529"/>
                  </a:lnTo>
                  <a:lnTo>
                    <a:pt x="46756" y="0"/>
                  </a:lnTo>
                  <a:lnTo>
                    <a:pt x="68595" y="9221"/>
                  </a:lnTo>
                  <a:cubicBezTo>
                    <a:pt x="85837" y="25773"/>
                    <a:pt x="85836" y="54050"/>
                    <a:pt x="68595" y="71292"/>
                  </a:cubicBezTo>
                  <a:cubicBezTo>
                    <a:pt x="60319" y="79568"/>
                    <a:pt x="49284" y="84395"/>
                    <a:pt x="37559" y="84395"/>
                  </a:cubicBezTo>
                  <a:cubicBezTo>
                    <a:pt x="25835" y="84395"/>
                    <a:pt x="14800" y="80257"/>
                    <a:pt x="6524" y="7198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6" name="Forme libre : forme 165">
              <a:extLst>
                <a:ext uri="{FF2B5EF4-FFF2-40B4-BE49-F238E27FC236}">
                  <a16:creationId xmlns:a16="http://schemas.microsoft.com/office/drawing/2014/main" id="{5196C23A-E9EE-4BB5-B0E6-FCA193386C5B}"/>
                </a:ext>
              </a:extLst>
            </p:cNvPr>
            <p:cNvSpPr/>
            <p:nvPr/>
          </p:nvSpPr>
          <p:spPr>
            <a:xfrm rot="8716295">
              <a:off x="2184146" y="191304"/>
              <a:ext cx="250306" cy="296463"/>
            </a:xfrm>
            <a:custGeom>
              <a:avLst/>
              <a:gdLst>
                <a:gd name="connsiteX0" fmla="*/ 79067 w 250306"/>
                <a:gd name="connsiteY0" fmla="*/ 296463 h 296463"/>
                <a:gd name="connsiteX1" fmla="*/ 14192 w 250306"/>
                <a:gd name="connsiteY1" fmla="*/ 175766 h 296463"/>
                <a:gd name="connsiteX2" fmla="*/ 47384 w 250306"/>
                <a:gd name="connsiteY2" fmla="*/ 83734 h 296463"/>
                <a:gd name="connsiteX3" fmla="*/ 0 w 250306"/>
                <a:gd name="connsiteY3" fmla="*/ 83734 h 296463"/>
                <a:gd name="connsiteX4" fmla="*/ 69257 w 250306"/>
                <a:gd name="connsiteY4" fmla="*/ 0 h 296463"/>
                <a:gd name="connsiteX5" fmla="*/ 250306 w 250306"/>
                <a:gd name="connsiteY5" fmla="*/ 0 h 296463"/>
                <a:gd name="connsiteX6" fmla="*/ 250306 w 250306"/>
                <a:gd name="connsiteY6" fmla="*/ 83734 h 296463"/>
                <a:gd name="connsiteX7" fmla="*/ 152239 w 250306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0306" h="296463">
                  <a:moveTo>
                    <a:pt x="79067" y="296463"/>
                  </a:moveTo>
                  <a:lnTo>
                    <a:pt x="14192" y="175766"/>
                  </a:lnTo>
                  <a:lnTo>
                    <a:pt x="47384" y="83734"/>
                  </a:lnTo>
                  <a:lnTo>
                    <a:pt x="0" y="83734"/>
                  </a:lnTo>
                  <a:lnTo>
                    <a:pt x="69257" y="0"/>
                  </a:lnTo>
                  <a:lnTo>
                    <a:pt x="250306" y="0"/>
                  </a:lnTo>
                  <a:lnTo>
                    <a:pt x="250306" y="83734"/>
                  </a:lnTo>
                  <a:lnTo>
                    <a:pt x="152239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7" name="Forme libre : forme 166">
              <a:extLst>
                <a:ext uri="{FF2B5EF4-FFF2-40B4-BE49-F238E27FC236}">
                  <a16:creationId xmlns:a16="http://schemas.microsoft.com/office/drawing/2014/main" id="{AF8BB132-EA68-41A8-B3E5-2FCCBDEB7D5A}"/>
                </a:ext>
              </a:extLst>
            </p:cNvPr>
            <p:cNvSpPr/>
            <p:nvPr/>
          </p:nvSpPr>
          <p:spPr>
            <a:xfrm rot="8716295">
              <a:off x="2145876" y="32623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8" name="Forme libre : forme 167">
              <a:extLst>
                <a:ext uri="{FF2B5EF4-FFF2-40B4-BE49-F238E27FC236}">
                  <a16:creationId xmlns:a16="http://schemas.microsoft.com/office/drawing/2014/main" id="{0C891817-7BA1-4E19-A5B6-7030FDA5B7F1}"/>
                </a:ext>
              </a:extLst>
            </p:cNvPr>
            <p:cNvSpPr/>
            <p:nvPr/>
          </p:nvSpPr>
          <p:spPr>
            <a:xfrm rot="8716295">
              <a:off x="1834766" y="-57684"/>
              <a:ext cx="186564" cy="129320"/>
            </a:xfrm>
            <a:custGeom>
              <a:avLst/>
              <a:gdLst>
                <a:gd name="connsiteX0" fmla="*/ 123263 w 123263"/>
                <a:gd name="connsiteY0" fmla="*/ 85442 h 85442"/>
                <a:gd name="connsiteX1" fmla="*/ 0 w 123263"/>
                <a:gd name="connsiteY1" fmla="*/ 0 h 85442"/>
                <a:gd name="connsiteX2" fmla="*/ 66305 w 123263"/>
                <a:gd name="connsiteY2" fmla="*/ 0 h 85442"/>
                <a:gd name="connsiteX3" fmla="*/ 123263 w 123263"/>
                <a:gd name="connsiteY3" fmla="*/ 50123 h 85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63" h="85442">
                  <a:moveTo>
                    <a:pt x="123263" y="85442"/>
                  </a:moveTo>
                  <a:lnTo>
                    <a:pt x="0" y="0"/>
                  </a:lnTo>
                  <a:lnTo>
                    <a:pt x="66305" y="0"/>
                  </a:lnTo>
                  <a:cubicBezTo>
                    <a:pt x="103214" y="0"/>
                    <a:pt x="123263" y="15948"/>
                    <a:pt x="123263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9" name="Forme libre : forme 168">
              <a:extLst>
                <a:ext uri="{FF2B5EF4-FFF2-40B4-BE49-F238E27FC236}">
                  <a16:creationId xmlns:a16="http://schemas.microsoft.com/office/drawing/2014/main" id="{4406013B-1E43-4380-98C9-594C282D12B3}"/>
                </a:ext>
              </a:extLst>
            </p:cNvPr>
            <p:cNvSpPr/>
            <p:nvPr/>
          </p:nvSpPr>
          <p:spPr>
            <a:xfrm rot="8716295">
              <a:off x="1969949" y="-13794"/>
              <a:ext cx="394488" cy="148365"/>
            </a:xfrm>
            <a:custGeom>
              <a:avLst/>
              <a:gdLst>
                <a:gd name="connsiteX0" fmla="*/ 104802 w 260639"/>
                <a:gd name="connsiteY0" fmla="*/ 74264 h 98025"/>
                <a:gd name="connsiteX1" fmla="*/ 0 w 260639"/>
                <a:gd name="connsiteY1" fmla="*/ 1618 h 98025"/>
                <a:gd name="connsiteX2" fmla="*/ 0 w 260639"/>
                <a:gd name="connsiteY2" fmla="*/ 1425 h 98025"/>
                <a:gd name="connsiteX3" fmla="*/ 104803 w 260639"/>
                <a:gd name="connsiteY3" fmla="*/ 1425 h 98025"/>
                <a:gd name="connsiteX4" fmla="*/ 122123 w 260639"/>
                <a:gd name="connsiteY4" fmla="*/ 86270 h 98025"/>
                <a:gd name="connsiteX5" fmla="*/ 106178 w 260639"/>
                <a:gd name="connsiteY5" fmla="*/ 75218 h 98025"/>
                <a:gd name="connsiteX6" fmla="*/ 116721 w 260639"/>
                <a:gd name="connsiteY6" fmla="*/ 47439 h 98025"/>
                <a:gd name="connsiteX7" fmla="*/ 154014 w 260639"/>
                <a:gd name="connsiteY7" fmla="*/ 5981 h 98025"/>
                <a:gd name="connsiteX8" fmla="*/ 185455 w 260639"/>
                <a:gd name="connsiteY8" fmla="*/ 57 h 98025"/>
                <a:gd name="connsiteX9" fmla="*/ 260639 w 260639"/>
                <a:gd name="connsiteY9" fmla="*/ 88456 h 98025"/>
                <a:gd name="connsiteX10" fmla="*/ 260639 w 260639"/>
                <a:gd name="connsiteY10" fmla="*/ 94380 h 98025"/>
                <a:gd name="connsiteX11" fmla="*/ 198669 w 260639"/>
                <a:gd name="connsiteY11" fmla="*/ 98025 h 98025"/>
                <a:gd name="connsiteX12" fmla="*/ 198669 w 260639"/>
                <a:gd name="connsiteY12" fmla="*/ 81621 h 98025"/>
                <a:gd name="connsiteX13" fmla="*/ 164950 w 260639"/>
                <a:gd name="connsiteY13" fmla="*/ 40156 h 98025"/>
                <a:gd name="connsiteX14" fmla="*/ 127358 w 260639"/>
                <a:gd name="connsiteY14" fmla="*/ 65616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60639" h="98025">
                  <a:moveTo>
                    <a:pt x="104802" y="74264"/>
                  </a:moveTo>
                  <a:lnTo>
                    <a:pt x="0" y="1618"/>
                  </a:lnTo>
                  <a:lnTo>
                    <a:pt x="0" y="1425"/>
                  </a:lnTo>
                  <a:lnTo>
                    <a:pt x="104803" y="1425"/>
                  </a:lnTo>
                  <a:close/>
                  <a:moveTo>
                    <a:pt x="122123" y="86270"/>
                  </a:moveTo>
                  <a:lnTo>
                    <a:pt x="106178" y="75218"/>
                  </a:lnTo>
                  <a:lnTo>
                    <a:pt x="116721" y="47439"/>
                  </a:lnTo>
                  <a:cubicBezTo>
                    <a:pt x="127102" y="24008"/>
                    <a:pt x="137610" y="12816"/>
                    <a:pt x="154014" y="5981"/>
                  </a:cubicBezTo>
                  <a:cubicBezTo>
                    <a:pt x="164038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50369" y="40156"/>
                    <a:pt x="137041" y="49839"/>
                    <a:pt x="127358" y="656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0" name="Forme libre : forme 169">
              <a:extLst>
                <a:ext uri="{FF2B5EF4-FFF2-40B4-BE49-F238E27FC236}">
                  <a16:creationId xmlns:a16="http://schemas.microsoft.com/office/drawing/2014/main" id="{697ACF89-8E3E-4CA4-96AD-ED3067ABB920}"/>
                </a:ext>
              </a:extLst>
            </p:cNvPr>
            <p:cNvSpPr/>
            <p:nvPr/>
          </p:nvSpPr>
          <p:spPr>
            <a:xfrm rot="8716295">
              <a:off x="1736738" y="-7282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1" name="Forme libre : forme 170">
              <a:extLst>
                <a:ext uri="{FF2B5EF4-FFF2-40B4-BE49-F238E27FC236}">
                  <a16:creationId xmlns:a16="http://schemas.microsoft.com/office/drawing/2014/main" id="{914F8714-5CD4-41D2-92D2-73A622448BB2}"/>
                </a:ext>
              </a:extLst>
            </p:cNvPr>
            <p:cNvSpPr/>
            <p:nvPr/>
          </p:nvSpPr>
          <p:spPr>
            <a:xfrm rot="7484129">
              <a:off x="2394733" y="32841"/>
              <a:ext cx="135077" cy="94074"/>
            </a:xfrm>
            <a:custGeom>
              <a:avLst/>
              <a:gdLst>
                <a:gd name="connsiteX0" fmla="*/ 100725 w 135077"/>
                <a:gd name="connsiteY0" fmla="*/ 19729 h 94074"/>
                <a:gd name="connsiteX1" fmla="*/ 135077 w 135077"/>
                <a:gd name="connsiteY1" fmla="*/ 0 h 94074"/>
                <a:gd name="connsiteX2" fmla="*/ 135077 w 135077"/>
                <a:gd name="connsiteY2" fmla="*/ 19729 h 94074"/>
                <a:gd name="connsiteX3" fmla="*/ 0 w 135077"/>
                <a:gd name="connsiteY3" fmla="*/ 77576 h 94074"/>
                <a:gd name="connsiteX4" fmla="*/ 21327 w 135077"/>
                <a:gd name="connsiteY4" fmla="*/ 65328 h 94074"/>
                <a:gd name="connsiteX5" fmla="*/ 11439 w 135077"/>
                <a:gd name="connsiteY5" fmla="*/ 94074 h 94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5077" h="94074">
                  <a:moveTo>
                    <a:pt x="100725" y="19729"/>
                  </a:moveTo>
                  <a:lnTo>
                    <a:pt x="135077" y="0"/>
                  </a:lnTo>
                  <a:lnTo>
                    <a:pt x="135077" y="19729"/>
                  </a:lnTo>
                  <a:close/>
                  <a:moveTo>
                    <a:pt x="0" y="77576"/>
                  </a:moveTo>
                  <a:lnTo>
                    <a:pt x="21327" y="65328"/>
                  </a:lnTo>
                  <a:lnTo>
                    <a:pt x="11439" y="940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pic>
        <p:nvPicPr>
          <p:cNvPr id="172" name="Graphique 171">
            <a:extLst>
              <a:ext uri="{FF2B5EF4-FFF2-40B4-BE49-F238E27FC236}">
                <a16:creationId xmlns:a16="http://schemas.microsoft.com/office/drawing/2014/main" id="{EEB7B645-2A8D-4396-ACBA-9D90A74761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9935" y="2052251"/>
            <a:ext cx="3474258" cy="103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75393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uverture 2 - Foncé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que 2">
            <a:extLst>
              <a:ext uri="{FF2B5EF4-FFF2-40B4-BE49-F238E27FC236}">
                <a16:creationId xmlns:a16="http://schemas.microsoft.com/office/drawing/2014/main" id="{E7008A4A-56ED-4B79-8C76-07B31083E9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36903" y="2053956"/>
            <a:ext cx="3470194" cy="1035588"/>
          </a:xfrm>
          <a:prstGeom prst="rect">
            <a:avLst/>
          </a:prstGeom>
        </p:spPr>
      </p:pic>
      <p:sp>
        <p:nvSpPr>
          <p:cNvPr id="5" name="Forme libre : forme 4">
            <a:extLst>
              <a:ext uri="{FF2B5EF4-FFF2-40B4-BE49-F238E27FC236}">
                <a16:creationId xmlns:a16="http://schemas.microsoft.com/office/drawing/2014/main" id="{6BBA7953-6320-4985-B304-CAEF45B84CC1}"/>
              </a:ext>
            </a:extLst>
          </p:cNvPr>
          <p:cNvSpPr/>
          <p:nvPr userDrawn="1"/>
        </p:nvSpPr>
        <p:spPr>
          <a:xfrm rot="16200000">
            <a:off x="6276217" y="2274933"/>
            <a:ext cx="1037443" cy="4698124"/>
          </a:xfrm>
          <a:custGeom>
            <a:avLst/>
            <a:gdLst>
              <a:gd name="connsiteX0" fmla="*/ 1037443 w 1037443"/>
              <a:gd name="connsiteY0" fmla="*/ 4698124 h 4698124"/>
              <a:gd name="connsiteX1" fmla="*/ 0 w 1037443"/>
              <a:gd name="connsiteY1" fmla="*/ 4698124 h 4698124"/>
              <a:gd name="connsiteX2" fmla="*/ 386215 w 1037443"/>
              <a:gd name="connsiteY2" fmla="*/ 0 h 4698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37443" h="4698124">
                <a:moveTo>
                  <a:pt x="1037443" y="4698124"/>
                </a:moveTo>
                <a:lnTo>
                  <a:pt x="0" y="4698124"/>
                </a:lnTo>
                <a:lnTo>
                  <a:pt x="386215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48FA6A4C-949D-4D78-851A-5D85C0ACA219}"/>
              </a:ext>
            </a:extLst>
          </p:cNvPr>
          <p:cNvGrpSpPr/>
          <p:nvPr userDrawn="1"/>
        </p:nvGrpSpPr>
        <p:grpSpPr>
          <a:xfrm>
            <a:off x="4782105" y="4078441"/>
            <a:ext cx="4416497" cy="1125022"/>
            <a:chOff x="4782105" y="4078441"/>
            <a:chExt cx="4416497" cy="1125022"/>
          </a:xfrm>
          <a:solidFill>
            <a:schemeClr val="bg2">
              <a:alpha val="10000"/>
            </a:schemeClr>
          </a:solidFill>
        </p:grpSpPr>
        <p:sp>
          <p:nvSpPr>
            <p:cNvPr id="7" name="Forme libre : forme 6">
              <a:extLst>
                <a:ext uri="{FF2B5EF4-FFF2-40B4-BE49-F238E27FC236}">
                  <a16:creationId xmlns:a16="http://schemas.microsoft.com/office/drawing/2014/main" id="{791FB8C9-9221-4E4C-A4AC-2AAD9F08AE59}"/>
                </a:ext>
              </a:extLst>
            </p:cNvPr>
            <p:cNvSpPr/>
            <p:nvPr/>
          </p:nvSpPr>
          <p:spPr>
            <a:xfrm rot="8716295">
              <a:off x="8490768" y="467807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CAEA067D-BF83-4ED3-87B4-BB06FFFF2B66}"/>
                </a:ext>
              </a:extLst>
            </p:cNvPr>
            <p:cNvSpPr/>
            <p:nvPr/>
          </p:nvSpPr>
          <p:spPr>
            <a:xfrm rot="8716295">
              <a:off x="5559260" y="4523190"/>
              <a:ext cx="215177" cy="303156"/>
            </a:xfrm>
            <a:custGeom>
              <a:avLst/>
              <a:gdLst>
                <a:gd name="connsiteX0" fmla="*/ 122761 w 215177"/>
                <a:gd name="connsiteY0" fmla="*/ 256399 h 303156"/>
                <a:gd name="connsiteX1" fmla="*/ 122761 w 215177"/>
                <a:gd name="connsiteY1" fmla="*/ 105519 h 303156"/>
                <a:gd name="connsiteX2" fmla="*/ 122761 w 215177"/>
                <a:gd name="connsiteY2" fmla="*/ 99312 h 303156"/>
                <a:gd name="connsiteX3" fmla="*/ 91726 w 215177"/>
                <a:gd name="connsiteY3" fmla="*/ 75863 h 303156"/>
                <a:gd name="connsiteX4" fmla="*/ 0 w 215177"/>
                <a:gd name="connsiteY4" fmla="*/ 75863 h 303156"/>
                <a:gd name="connsiteX5" fmla="*/ 0 w 215177"/>
                <a:gd name="connsiteY5" fmla="*/ 0 h 303156"/>
                <a:gd name="connsiteX6" fmla="*/ 128968 w 215177"/>
                <a:gd name="connsiteY6" fmla="*/ 0 h 303156"/>
                <a:gd name="connsiteX7" fmla="*/ 215177 w 215177"/>
                <a:gd name="connsiteY7" fmla="*/ 75863 h 303156"/>
                <a:gd name="connsiteX8" fmla="*/ 215176 w 215177"/>
                <a:gd name="connsiteY8" fmla="*/ 303156 h 303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5177" h="303156">
                  <a:moveTo>
                    <a:pt x="122761" y="25639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0"/>
                  </a:lnTo>
                  <a:lnTo>
                    <a:pt x="128968" y="0"/>
                  </a:lnTo>
                  <a:cubicBezTo>
                    <a:pt x="184831" y="0"/>
                    <a:pt x="215176" y="24139"/>
                    <a:pt x="215177" y="75863"/>
                  </a:cubicBezTo>
                  <a:lnTo>
                    <a:pt x="215176" y="30315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ADF38186-185D-41F8-A6B1-FB10366A4CEE}"/>
                </a:ext>
              </a:extLst>
            </p:cNvPr>
            <p:cNvSpPr/>
            <p:nvPr/>
          </p:nvSpPr>
          <p:spPr>
            <a:xfrm rot="8716295">
              <a:off x="5692925" y="4561542"/>
              <a:ext cx="393603" cy="335006"/>
            </a:xfrm>
            <a:custGeom>
              <a:avLst/>
              <a:gdLst>
                <a:gd name="connsiteX0" fmla="*/ 77932 w 393603"/>
                <a:gd name="connsiteY0" fmla="*/ 299055 h 335006"/>
                <a:gd name="connsiteX1" fmla="*/ 77932 w 393603"/>
                <a:gd name="connsiteY1" fmla="*/ 66897 h 335006"/>
                <a:gd name="connsiteX2" fmla="*/ 0 w 393603"/>
                <a:gd name="connsiteY2" fmla="*/ 66898 h 335006"/>
                <a:gd name="connsiteX3" fmla="*/ 0 w 393603"/>
                <a:gd name="connsiteY3" fmla="*/ 0 h 335006"/>
                <a:gd name="connsiteX4" fmla="*/ 158623 w 393603"/>
                <a:gd name="connsiteY4" fmla="*/ 1 h 335006"/>
                <a:gd name="connsiteX5" fmla="*/ 158623 w 393603"/>
                <a:gd name="connsiteY5" fmla="*/ 111726 h 335006"/>
                <a:gd name="connsiteX6" fmla="*/ 160692 w 393603"/>
                <a:gd name="connsiteY6" fmla="*/ 111726 h 335006"/>
                <a:gd name="connsiteX7" fmla="*/ 192762 w 393603"/>
                <a:gd name="connsiteY7" fmla="*/ 39915 h 335006"/>
                <a:gd name="connsiteX8" fmla="*/ 231959 w 393603"/>
                <a:gd name="connsiteY8" fmla="*/ 7837 h 335006"/>
                <a:gd name="connsiteX9" fmla="*/ 393603 w 393603"/>
                <a:gd name="connsiteY9" fmla="*/ 140745 h 335006"/>
                <a:gd name="connsiteX10" fmla="*/ 300695 w 393603"/>
                <a:gd name="connsiteY10" fmla="*/ 146210 h 335006"/>
                <a:gd name="connsiteX11" fmla="*/ 300694 w 393603"/>
                <a:gd name="connsiteY11" fmla="*/ 121382 h 335006"/>
                <a:gd name="connsiteX12" fmla="*/ 249659 w 393603"/>
                <a:gd name="connsiteY12" fmla="*/ 58622 h 335006"/>
                <a:gd name="connsiteX13" fmla="*/ 168969 w 393603"/>
                <a:gd name="connsiteY13" fmla="*/ 191038 h 335006"/>
                <a:gd name="connsiteX14" fmla="*/ 168969 w 393603"/>
                <a:gd name="connsiteY14" fmla="*/ 321385 h 335006"/>
                <a:gd name="connsiteX15" fmla="*/ 148991 w 393603"/>
                <a:gd name="connsiteY15" fmla="*/ 335006 h 335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93603" h="335006">
                  <a:moveTo>
                    <a:pt x="77932" y="299055"/>
                  </a:moveTo>
                  <a:lnTo>
                    <a:pt x="77932" y="66897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1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71727" y="78967"/>
                    <a:pt x="181555" y="56208"/>
                    <a:pt x="192762" y="39915"/>
                  </a:cubicBezTo>
                  <a:lnTo>
                    <a:pt x="231959" y="7837"/>
                  </a:lnTo>
                  <a:lnTo>
                    <a:pt x="393603" y="140745"/>
                  </a:lnTo>
                  <a:lnTo>
                    <a:pt x="300695" y="146210"/>
                  </a:lnTo>
                  <a:lnTo>
                    <a:pt x="300694" y="121382"/>
                  </a:lnTo>
                  <a:cubicBezTo>
                    <a:pt x="300695" y="84140"/>
                    <a:pt x="279316" y="58622"/>
                    <a:pt x="249659" y="58622"/>
                  </a:cubicBezTo>
                  <a:cubicBezTo>
                    <a:pt x="205521" y="58621"/>
                    <a:pt x="168969" y="117244"/>
                    <a:pt x="168969" y="191038"/>
                  </a:cubicBezTo>
                  <a:lnTo>
                    <a:pt x="168969" y="321385"/>
                  </a:lnTo>
                  <a:lnTo>
                    <a:pt x="148991" y="33500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4B724F9D-95FF-4F02-B59A-7E5AC8B98AC8}"/>
                </a:ext>
              </a:extLst>
            </p:cNvPr>
            <p:cNvSpPr/>
            <p:nvPr/>
          </p:nvSpPr>
          <p:spPr>
            <a:xfrm rot="8716295">
              <a:off x="5659234" y="4556420"/>
              <a:ext cx="113018" cy="83608"/>
            </a:xfrm>
            <a:custGeom>
              <a:avLst/>
              <a:gdLst>
                <a:gd name="connsiteX0" fmla="*/ 0 w 113018"/>
                <a:gd name="connsiteY0" fmla="*/ 32910 h 83608"/>
                <a:gd name="connsiteX1" fmla="*/ 24482 w 113018"/>
                <a:gd name="connsiteY1" fmla="*/ 13621 h 83608"/>
                <a:gd name="connsiteX2" fmla="*/ 70259 w 113018"/>
                <a:gd name="connsiteY2" fmla="*/ 0 h 83608"/>
                <a:gd name="connsiteX3" fmla="*/ 113018 w 113018"/>
                <a:gd name="connsiteY3" fmla="*/ 51035 h 83608"/>
                <a:gd name="connsiteX4" fmla="*/ 100518 w 113018"/>
                <a:gd name="connsiteY4" fmla="*/ 83363 h 83608"/>
                <a:gd name="connsiteX5" fmla="*/ 100204 w 113018"/>
                <a:gd name="connsiteY5" fmla="*/ 83608 h 83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018" h="83608">
                  <a:moveTo>
                    <a:pt x="0" y="32910"/>
                  </a:moveTo>
                  <a:lnTo>
                    <a:pt x="24482" y="13621"/>
                  </a:lnTo>
                  <a:cubicBezTo>
                    <a:pt x="38534" y="6380"/>
                    <a:pt x="54052" y="1725"/>
                    <a:pt x="70259" y="0"/>
                  </a:cubicBezTo>
                  <a:cubicBezTo>
                    <a:pt x="103363" y="0"/>
                    <a:pt x="113018" y="28966"/>
                    <a:pt x="113018" y="51035"/>
                  </a:cubicBezTo>
                  <a:cubicBezTo>
                    <a:pt x="111984" y="63105"/>
                    <a:pt x="107501" y="74139"/>
                    <a:pt x="100518" y="83363"/>
                  </a:cubicBezTo>
                  <a:lnTo>
                    <a:pt x="100204" y="8360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D01436B5-D8EB-44DF-8B51-633BF4E9FB42}"/>
                </a:ext>
              </a:extLst>
            </p:cNvPr>
            <p:cNvSpPr/>
            <p:nvPr/>
          </p:nvSpPr>
          <p:spPr>
            <a:xfrm rot="8716295">
              <a:off x="5371633" y="4613095"/>
              <a:ext cx="88105" cy="83851"/>
            </a:xfrm>
            <a:custGeom>
              <a:avLst/>
              <a:gdLst>
                <a:gd name="connsiteX0" fmla="*/ 6112 w 88105"/>
                <a:gd name="connsiteY0" fmla="*/ 59305 h 83851"/>
                <a:gd name="connsiteX1" fmla="*/ 0 w 88105"/>
                <a:gd name="connsiteY1" fmla="*/ 44829 h 83851"/>
                <a:gd name="connsiteX2" fmla="*/ 0 w 88105"/>
                <a:gd name="connsiteY2" fmla="*/ 44139 h 83851"/>
                <a:gd name="connsiteX3" fmla="*/ 13104 w 88105"/>
                <a:gd name="connsiteY3" fmla="*/ 13104 h 83851"/>
                <a:gd name="connsiteX4" fmla="*/ 44139 w 88105"/>
                <a:gd name="connsiteY4" fmla="*/ 0 h 83851"/>
                <a:gd name="connsiteX5" fmla="*/ 75175 w 88105"/>
                <a:gd name="connsiteY5" fmla="*/ 13104 h 83851"/>
                <a:gd name="connsiteX6" fmla="*/ 75175 w 88105"/>
                <a:gd name="connsiteY6" fmla="*/ 75175 h 83851"/>
                <a:gd name="connsiteX7" fmla="*/ 54626 w 88105"/>
                <a:gd name="connsiteY7" fmla="*/ 83851 h 83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105" h="83851">
                  <a:moveTo>
                    <a:pt x="6112" y="59305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cubicBezTo>
                    <a:pt x="55864" y="0"/>
                    <a:pt x="66899" y="4828"/>
                    <a:pt x="75175" y="13104"/>
                  </a:cubicBezTo>
                  <a:cubicBezTo>
                    <a:pt x="92416" y="29657"/>
                    <a:pt x="92416" y="57933"/>
                    <a:pt x="75175" y="75175"/>
                  </a:cubicBezTo>
                  <a:lnTo>
                    <a:pt x="54626" y="8385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6F3BF20E-F037-4374-BB41-095B54D26F08}"/>
                </a:ext>
              </a:extLst>
            </p:cNvPr>
            <p:cNvSpPr/>
            <p:nvPr/>
          </p:nvSpPr>
          <p:spPr>
            <a:xfrm rot="8716295">
              <a:off x="5473646" y="4706746"/>
              <a:ext cx="91035" cy="188159"/>
            </a:xfrm>
            <a:custGeom>
              <a:avLst/>
              <a:gdLst>
                <a:gd name="connsiteX0" fmla="*/ 91035 w 91035"/>
                <a:gd name="connsiteY0" fmla="*/ 188159 h 188159"/>
                <a:gd name="connsiteX1" fmla="*/ 0 w 91035"/>
                <a:gd name="connsiteY1" fmla="*/ 100571 h 188159"/>
                <a:gd name="connsiteX2" fmla="*/ 0 w 91035"/>
                <a:gd name="connsiteY2" fmla="*/ 0 h 188159"/>
                <a:gd name="connsiteX3" fmla="*/ 91035 w 91035"/>
                <a:gd name="connsiteY3" fmla="*/ 74852 h 188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188159">
                  <a:moveTo>
                    <a:pt x="91035" y="188159"/>
                  </a:moveTo>
                  <a:lnTo>
                    <a:pt x="0" y="100571"/>
                  </a:lnTo>
                  <a:lnTo>
                    <a:pt x="0" y="0"/>
                  </a:lnTo>
                  <a:lnTo>
                    <a:pt x="91035" y="748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BBB1D061-FD31-402D-BCCB-6813149262F1}"/>
                </a:ext>
              </a:extLst>
            </p:cNvPr>
            <p:cNvSpPr/>
            <p:nvPr/>
          </p:nvSpPr>
          <p:spPr>
            <a:xfrm rot="8716295">
              <a:off x="6218962" y="4454620"/>
              <a:ext cx="171018" cy="106515"/>
            </a:xfrm>
            <a:custGeom>
              <a:avLst/>
              <a:gdLst>
                <a:gd name="connsiteX0" fmla="*/ 0 w 171018"/>
                <a:gd name="connsiteY0" fmla="*/ 19991 h 106515"/>
                <a:gd name="connsiteX1" fmla="*/ 13365 w 171018"/>
                <a:gd name="connsiteY1" fmla="*/ 9053 h 106515"/>
                <a:gd name="connsiteX2" fmla="*/ 60952 w 171018"/>
                <a:gd name="connsiteY2" fmla="*/ 87 h 106515"/>
                <a:gd name="connsiteX3" fmla="*/ 166956 w 171018"/>
                <a:gd name="connsiteY3" fmla="*/ 76705 h 106515"/>
                <a:gd name="connsiteX4" fmla="*/ 171018 w 171018"/>
                <a:gd name="connsiteY4" fmla="*/ 106515 h 106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018" h="106515">
                  <a:moveTo>
                    <a:pt x="0" y="19991"/>
                  </a:moveTo>
                  <a:lnTo>
                    <a:pt x="13365" y="9053"/>
                  </a:lnTo>
                  <a:cubicBezTo>
                    <a:pt x="28538" y="2846"/>
                    <a:pt x="44400" y="-602"/>
                    <a:pt x="60952" y="87"/>
                  </a:cubicBezTo>
                  <a:cubicBezTo>
                    <a:pt x="114229" y="-948"/>
                    <a:pt x="151600" y="26725"/>
                    <a:pt x="166956" y="76705"/>
                  </a:cubicBezTo>
                  <a:lnTo>
                    <a:pt x="171018" y="10651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B49834EB-4686-4A9A-AFBE-353B0A4BB9CC}"/>
                </a:ext>
              </a:extLst>
            </p:cNvPr>
            <p:cNvSpPr/>
            <p:nvPr/>
          </p:nvSpPr>
          <p:spPr>
            <a:xfrm rot="8716295">
              <a:off x="6005990" y="4487669"/>
              <a:ext cx="156555" cy="122067"/>
            </a:xfrm>
            <a:custGeom>
              <a:avLst/>
              <a:gdLst>
                <a:gd name="connsiteX0" fmla="*/ 65519 w 156555"/>
                <a:gd name="connsiteY0" fmla="*/ 76009 h 122067"/>
                <a:gd name="connsiteX1" fmla="*/ 65519 w 156555"/>
                <a:gd name="connsiteY1" fmla="*/ 24828 h 122067"/>
                <a:gd name="connsiteX2" fmla="*/ 0 w 156555"/>
                <a:gd name="connsiteY2" fmla="*/ 24828 h 122067"/>
                <a:gd name="connsiteX3" fmla="*/ 0 w 156555"/>
                <a:gd name="connsiteY3" fmla="*/ 3449 h 122067"/>
                <a:gd name="connsiteX4" fmla="*/ 156555 w 156555"/>
                <a:gd name="connsiteY4" fmla="*/ 0 h 122067"/>
                <a:gd name="connsiteX5" fmla="*/ 156554 w 156555"/>
                <a:gd name="connsiteY5" fmla="*/ 122067 h 122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6555" h="122067">
                  <a:moveTo>
                    <a:pt x="65519" y="76009"/>
                  </a:moveTo>
                  <a:lnTo>
                    <a:pt x="65519" y="24828"/>
                  </a:lnTo>
                  <a:lnTo>
                    <a:pt x="0" y="24828"/>
                  </a:lnTo>
                  <a:lnTo>
                    <a:pt x="0" y="3449"/>
                  </a:lnTo>
                  <a:cubicBezTo>
                    <a:pt x="49656" y="5517"/>
                    <a:pt x="101381" y="1379"/>
                    <a:pt x="156555" y="0"/>
                  </a:cubicBezTo>
                  <a:lnTo>
                    <a:pt x="156554" y="1220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676F5558-2730-4CE0-B993-EAC478371730}"/>
                </a:ext>
              </a:extLst>
            </p:cNvPr>
            <p:cNvSpPr/>
            <p:nvPr/>
          </p:nvSpPr>
          <p:spPr>
            <a:xfrm rot="7484129">
              <a:off x="6103422" y="4586563"/>
              <a:ext cx="308532" cy="296464"/>
            </a:xfrm>
            <a:custGeom>
              <a:avLst/>
              <a:gdLst>
                <a:gd name="connsiteX0" fmla="*/ 137293 w 308532"/>
                <a:gd name="connsiteY0" fmla="*/ 296464 h 296464"/>
                <a:gd name="connsiteX1" fmla="*/ 72419 w 308532"/>
                <a:gd name="connsiteY1" fmla="*/ 175766 h 296464"/>
                <a:gd name="connsiteX2" fmla="*/ 105610 w 308532"/>
                <a:gd name="connsiteY2" fmla="*/ 83734 h 296464"/>
                <a:gd name="connsiteX3" fmla="*/ 0 w 308532"/>
                <a:gd name="connsiteY3" fmla="*/ 83734 h 296464"/>
                <a:gd name="connsiteX4" fmla="*/ 0 w 308532"/>
                <a:gd name="connsiteY4" fmla="*/ 0 h 296464"/>
                <a:gd name="connsiteX5" fmla="*/ 265017 w 308532"/>
                <a:gd name="connsiteY5" fmla="*/ 0 h 296464"/>
                <a:gd name="connsiteX6" fmla="*/ 308532 w 308532"/>
                <a:gd name="connsiteY6" fmla="*/ 75260 h 296464"/>
                <a:gd name="connsiteX7" fmla="*/ 308532 w 308532"/>
                <a:gd name="connsiteY7" fmla="*/ 83734 h 296464"/>
                <a:gd name="connsiteX8" fmla="*/ 210466 w 308532"/>
                <a:gd name="connsiteY8" fmla="*/ 83734 h 296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532" h="296464">
                  <a:moveTo>
                    <a:pt x="137293" y="296464"/>
                  </a:moveTo>
                  <a:lnTo>
                    <a:pt x="72419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65017" y="0"/>
                  </a:lnTo>
                  <a:lnTo>
                    <a:pt x="308532" y="75260"/>
                  </a:lnTo>
                  <a:lnTo>
                    <a:pt x="308532" y="83734"/>
                  </a:lnTo>
                  <a:lnTo>
                    <a:pt x="210466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6446F284-DF3B-4BD3-84E9-63513197872A}"/>
                </a:ext>
              </a:extLst>
            </p:cNvPr>
            <p:cNvSpPr/>
            <p:nvPr/>
          </p:nvSpPr>
          <p:spPr>
            <a:xfrm rot="13089394">
              <a:off x="6309616" y="4543919"/>
              <a:ext cx="412568" cy="359948"/>
            </a:xfrm>
            <a:custGeom>
              <a:avLst/>
              <a:gdLst>
                <a:gd name="connsiteX0" fmla="*/ 412568 w 412568"/>
                <a:gd name="connsiteY0" fmla="*/ 252801 h 359948"/>
                <a:gd name="connsiteX1" fmla="*/ 138636 w 412568"/>
                <a:gd name="connsiteY1" fmla="*/ 359701 h 359948"/>
                <a:gd name="connsiteX2" fmla="*/ 35911 w 412568"/>
                <a:gd name="connsiteY2" fmla="*/ 317943 h 359948"/>
                <a:gd name="connsiteX3" fmla="*/ 0 w 412568"/>
                <a:gd name="connsiteY3" fmla="*/ 174296 h 359948"/>
                <a:gd name="connsiteX4" fmla="*/ 0 w 412568"/>
                <a:gd name="connsiteY4" fmla="*/ 74054 h 359948"/>
                <a:gd name="connsiteX5" fmla="*/ 112066 w 412568"/>
                <a:gd name="connsiteY5" fmla="*/ 0 h 359948"/>
                <a:gd name="connsiteX6" fmla="*/ 112747 w 412568"/>
                <a:gd name="connsiteY6" fmla="*/ 94956 h 359948"/>
                <a:gd name="connsiteX7" fmla="*/ 132789 w 412568"/>
                <a:gd name="connsiteY7" fmla="*/ 233593 h 359948"/>
                <a:gd name="connsiteX8" fmla="*/ 233008 w 412568"/>
                <a:gd name="connsiteY8" fmla="*/ 288713 h 359948"/>
                <a:gd name="connsiteX9" fmla="*/ 308172 w 412568"/>
                <a:gd name="connsiteY9" fmla="*/ 275351 h 359948"/>
                <a:gd name="connsiteX10" fmla="*/ 410898 w 412568"/>
                <a:gd name="connsiteY10" fmla="*/ 233593 h 359948"/>
                <a:gd name="connsiteX11" fmla="*/ 412568 w 412568"/>
                <a:gd name="connsiteY11" fmla="*/ 244449 h 359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2568" h="359948">
                  <a:moveTo>
                    <a:pt x="412568" y="252801"/>
                  </a:moveTo>
                  <a:cubicBezTo>
                    <a:pt x="324041" y="328800"/>
                    <a:pt x="207954" y="355526"/>
                    <a:pt x="138636" y="359701"/>
                  </a:cubicBezTo>
                  <a:cubicBezTo>
                    <a:pt x="100219" y="362207"/>
                    <a:pt x="62637" y="345504"/>
                    <a:pt x="35911" y="317943"/>
                  </a:cubicBezTo>
                  <a:cubicBezTo>
                    <a:pt x="7516" y="290383"/>
                    <a:pt x="0" y="242779"/>
                    <a:pt x="0" y="174296"/>
                  </a:cubicBezTo>
                  <a:lnTo>
                    <a:pt x="0" y="74054"/>
                  </a:lnTo>
                  <a:lnTo>
                    <a:pt x="112066" y="0"/>
                  </a:lnTo>
                  <a:lnTo>
                    <a:pt x="112747" y="94956"/>
                  </a:lnTo>
                  <a:cubicBezTo>
                    <a:pt x="110241" y="141725"/>
                    <a:pt x="117756" y="189329"/>
                    <a:pt x="132789" y="233593"/>
                  </a:cubicBezTo>
                  <a:cubicBezTo>
                    <a:pt x="146153" y="270339"/>
                    <a:pt x="180394" y="288713"/>
                    <a:pt x="233008" y="288713"/>
                  </a:cubicBezTo>
                  <a:cubicBezTo>
                    <a:pt x="258899" y="287878"/>
                    <a:pt x="283953" y="282866"/>
                    <a:pt x="308172" y="275351"/>
                  </a:cubicBezTo>
                  <a:cubicBezTo>
                    <a:pt x="343249" y="264493"/>
                    <a:pt x="377491" y="250296"/>
                    <a:pt x="410898" y="233593"/>
                  </a:cubicBezTo>
                  <a:cubicBezTo>
                    <a:pt x="411732" y="236933"/>
                    <a:pt x="412568" y="241109"/>
                    <a:pt x="412568" y="24444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88875692-D947-4058-8206-44233A06BFD3}"/>
                </a:ext>
              </a:extLst>
            </p:cNvPr>
            <p:cNvSpPr/>
            <p:nvPr/>
          </p:nvSpPr>
          <p:spPr>
            <a:xfrm rot="8716295">
              <a:off x="6597507" y="4422612"/>
              <a:ext cx="149044" cy="111064"/>
            </a:xfrm>
            <a:custGeom>
              <a:avLst/>
              <a:gdLst>
                <a:gd name="connsiteX0" fmla="*/ 0 w 149044"/>
                <a:gd name="connsiteY0" fmla="*/ 51375 h 111064"/>
                <a:gd name="connsiteX1" fmla="*/ 1002 w 149044"/>
                <a:gd name="connsiteY1" fmla="*/ 50432 h 111064"/>
                <a:gd name="connsiteX2" fmla="*/ 98612 w 149044"/>
                <a:gd name="connsiteY2" fmla="*/ 0 h 111064"/>
                <a:gd name="connsiteX3" fmla="*/ 149044 w 149044"/>
                <a:gd name="connsiteY3" fmla="*/ 60193 h 111064"/>
                <a:gd name="connsiteX4" fmla="*/ 134300 w 149044"/>
                <a:gd name="connsiteY4" fmla="*/ 98322 h 111064"/>
                <a:gd name="connsiteX5" fmla="*/ 117977 w 149044"/>
                <a:gd name="connsiteY5" fmla="*/ 111064 h 111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044" h="111064">
                  <a:moveTo>
                    <a:pt x="0" y="51375"/>
                  </a:moveTo>
                  <a:lnTo>
                    <a:pt x="1002" y="50432"/>
                  </a:lnTo>
                  <a:cubicBezTo>
                    <a:pt x="25404" y="21963"/>
                    <a:pt x="60381" y="4067"/>
                    <a:pt x="98612" y="0"/>
                  </a:cubicBezTo>
                  <a:cubicBezTo>
                    <a:pt x="137657" y="0"/>
                    <a:pt x="149044" y="34164"/>
                    <a:pt x="149044" y="60193"/>
                  </a:cubicBezTo>
                  <a:cubicBezTo>
                    <a:pt x="147824" y="74428"/>
                    <a:pt x="142536" y="87443"/>
                    <a:pt x="134300" y="98322"/>
                  </a:cubicBezTo>
                  <a:lnTo>
                    <a:pt x="117977" y="1110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371804DA-D0A5-4840-894B-07AAE1064663}"/>
                </a:ext>
              </a:extLst>
            </p:cNvPr>
            <p:cNvSpPr/>
            <p:nvPr/>
          </p:nvSpPr>
          <p:spPr>
            <a:xfrm rot="8716295">
              <a:off x="6708126" y="4876229"/>
              <a:ext cx="139286" cy="121327"/>
            </a:xfrm>
            <a:custGeom>
              <a:avLst/>
              <a:gdLst>
                <a:gd name="connsiteX0" fmla="*/ 26453 w 139286"/>
                <a:gd name="connsiteY0" fmla="*/ 96267 h 121327"/>
                <a:gd name="connsiteX1" fmla="*/ 0 w 139286"/>
                <a:gd name="connsiteY1" fmla="*/ 33618 h 121327"/>
                <a:gd name="connsiteX2" fmla="*/ 0 w 139286"/>
                <a:gd name="connsiteY2" fmla="*/ 32225 h 121327"/>
                <a:gd name="connsiteX3" fmla="*/ 13607 w 139286"/>
                <a:gd name="connsiteY3" fmla="*/ 0 h 121327"/>
                <a:gd name="connsiteX4" fmla="*/ 139286 w 139286"/>
                <a:gd name="connsiteY4" fmla="*/ 103337 h 121327"/>
                <a:gd name="connsiteX5" fmla="*/ 123037 w 139286"/>
                <a:gd name="connsiteY5" fmla="*/ 114366 h 121327"/>
                <a:gd name="connsiteX6" fmla="*/ 89101 w 139286"/>
                <a:gd name="connsiteY6" fmla="*/ 121327 h 121327"/>
                <a:gd name="connsiteX7" fmla="*/ 26453 w 139286"/>
                <a:gd name="connsiteY7" fmla="*/ 96267 h 121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9286" h="121327">
                  <a:moveTo>
                    <a:pt x="26453" y="96267"/>
                  </a:moveTo>
                  <a:cubicBezTo>
                    <a:pt x="9746" y="79561"/>
                    <a:pt x="0" y="57285"/>
                    <a:pt x="0" y="33618"/>
                  </a:cubicBezTo>
                  <a:lnTo>
                    <a:pt x="0" y="32225"/>
                  </a:lnTo>
                  <a:lnTo>
                    <a:pt x="13607" y="0"/>
                  </a:lnTo>
                  <a:lnTo>
                    <a:pt x="139286" y="103337"/>
                  </a:lnTo>
                  <a:lnTo>
                    <a:pt x="123037" y="114366"/>
                  </a:lnTo>
                  <a:cubicBezTo>
                    <a:pt x="112421" y="118890"/>
                    <a:pt x="100935" y="121327"/>
                    <a:pt x="89101" y="121327"/>
                  </a:cubicBezTo>
                  <a:cubicBezTo>
                    <a:pt x="65435" y="121327"/>
                    <a:pt x="43159" y="112973"/>
                    <a:pt x="26453" y="9626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6EEBC52A-3D14-419B-8366-97197098C604}"/>
                </a:ext>
              </a:extLst>
            </p:cNvPr>
            <p:cNvSpPr/>
            <p:nvPr/>
          </p:nvSpPr>
          <p:spPr>
            <a:xfrm rot="8716295">
              <a:off x="4782105" y="4823045"/>
              <a:ext cx="311921" cy="362797"/>
            </a:xfrm>
            <a:custGeom>
              <a:avLst/>
              <a:gdLst>
                <a:gd name="connsiteX0" fmla="*/ 311920 w 311921"/>
                <a:gd name="connsiteY0" fmla="*/ 120307 h 362797"/>
                <a:gd name="connsiteX1" fmla="*/ 138360 w 311921"/>
                <a:gd name="connsiteY1" fmla="*/ 1 h 362797"/>
                <a:gd name="connsiteX2" fmla="*/ 138360 w 311921"/>
                <a:gd name="connsiteY2" fmla="*/ 0 h 362797"/>
                <a:gd name="connsiteX3" fmla="*/ 311921 w 311921"/>
                <a:gd name="connsiteY3" fmla="*/ 120307 h 362797"/>
                <a:gd name="connsiteX4" fmla="*/ 0 w 311921"/>
                <a:gd name="connsiteY4" fmla="*/ 362797 h 362797"/>
                <a:gd name="connsiteX5" fmla="*/ 0 w 311921"/>
                <a:gd name="connsiteY5" fmla="*/ 320869 h 362797"/>
                <a:gd name="connsiteX6" fmla="*/ 27877 w 311921"/>
                <a:gd name="connsiteY6" fmla="*/ 343790 h 362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1921" h="362797">
                  <a:moveTo>
                    <a:pt x="311920" y="120307"/>
                  </a:moveTo>
                  <a:lnTo>
                    <a:pt x="138360" y="1"/>
                  </a:lnTo>
                  <a:lnTo>
                    <a:pt x="138360" y="0"/>
                  </a:lnTo>
                  <a:lnTo>
                    <a:pt x="311921" y="120307"/>
                  </a:lnTo>
                  <a:close/>
                  <a:moveTo>
                    <a:pt x="0" y="362797"/>
                  </a:moveTo>
                  <a:lnTo>
                    <a:pt x="0" y="320869"/>
                  </a:lnTo>
                  <a:lnTo>
                    <a:pt x="27877" y="34379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53F2D732-A25A-4CEE-B98E-E5DC8CC54158}"/>
                </a:ext>
              </a:extLst>
            </p:cNvPr>
            <p:cNvSpPr/>
            <p:nvPr/>
          </p:nvSpPr>
          <p:spPr>
            <a:xfrm rot="8716295">
              <a:off x="5132149" y="4738008"/>
              <a:ext cx="148614" cy="131720"/>
            </a:xfrm>
            <a:custGeom>
              <a:avLst/>
              <a:gdLst>
                <a:gd name="connsiteX0" fmla="*/ 26453 w 148614"/>
                <a:gd name="connsiteY0" fmla="*/ 106660 h 131720"/>
                <a:gd name="connsiteX1" fmla="*/ 0 w 148614"/>
                <a:gd name="connsiteY1" fmla="*/ 44011 h 131720"/>
                <a:gd name="connsiteX2" fmla="*/ 0 w 148614"/>
                <a:gd name="connsiteY2" fmla="*/ 42618 h 131720"/>
                <a:gd name="connsiteX3" fmla="*/ 17995 w 148614"/>
                <a:gd name="connsiteY3" fmla="*/ 0 h 131720"/>
                <a:gd name="connsiteX4" fmla="*/ 148614 w 148614"/>
                <a:gd name="connsiteY4" fmla="*/ 107398 h 131720"/>
                <a:gd name="connsiteX5" fmla="*/ 123037 w 148614"/>
                <a:gd name="connsiteY5" fmla="*/ 124759 h 131720"/>
                <a:gd name="connsiteX6" fmla="*/ 89101 w 148614"/>
                <a:gd name="connsiteY6" fmla="*/ 131720 h 131720"/>
                <a:gd name="connsiteX7" fmla="*/ 26453 w 148614"/>
                <a:gd name="connsiteY7" fmla="*/ 106660 h 13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8614" h="131720">
                  <a:moveTo>
                    <a:pt x="26453" y="106660"/>
                  </a:moveTo>
                  <a:cubicBezTo>
                    <a:pt x="9746" y="89954"/>
                    <a:pt x="0" y="67678"/>
                    <a:pt x="0" y="44011"/>
                  </a:cubicBezTo>
                  <a:lnTo>
                    <a:pt x="0" y="42618"/>
                  </a:lnTo>
                  <a:lnTo>
                    <a:pt x="17995" y="0"/>
                  </a:lnTo>
                  <a:lnTo>
                    <a:pt x="148614" y="107398"/>
                  </a:lnTo>
                  <a:lnTo>
                    <a:pt x="123037" y="124759"/>
                  </a:lnTo>
                  <a:cubicBezTo>
                    <a:pt x="112421" y="129283"/>
                    <a:pt x="100935" y="131720"/>
                    <a:pt x="89101" y="131720"/>
                  </a:cubicBezTo>
                  <a:cubicBezTo>
                    <a:pt x="65435" y="131720"/>
                    <a:pt x="43159" y="123366"/>
                    <a:pt x="26453" y="10666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937A52BD-510B-4C03-9C16-CD9D234ABB7D}"/>
                </a:ext>
              </a:extLst>
            </p:cNvPr>
            <p:cNvSpPr/>
            <p:nvPr/>
          </p:nvSpPr>
          <p:spPr>
            <a:xfrm rot="8716295">
              <a:off x="5043572" y="4624951"/>
              <a:ext cx="150722" cy="101024"/>
            </a:xfrm>
            <a:custGeom>
              <a:avLst/>
              <a:gdLst>
                <a:gd name="connsiteX0" fmla="*/ 0 w 150722"/>
                <a:gd name="connsiteY0" fmla="*/ 25991 h 101024"/>
                <a:gd name="connsiteX1" fmla="*/ 28034 w 150722"/>
                <a:gd name="connsiteY1" fmla="*/ 6961 h 101024"/>
                <a:gd name="connsiteX2" fmla="*/ 61968 w 150722"/>
                <a:gd name="connsiteY2" fmla="*/ 0 h 101024"/>
                <a:gd name="connsiteX3" fmla="*/ 124618 w 150722"/>
                <a:gd name="connsiteY3" fmla="*/ 26453 h 101024"/>
                <a:gd name="connsiteX4" fmla="*/ 150722 w 150722"/>
                <a:gd name="connsiteY4" fmla="*/ 88580 h 101024"/>
                <a:gd name="connsiteX5" fmla="*/ 148306 w 150722"/>
                <a:gd name="connsiteY5" fmla="*/ 101024 h 10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0722" h="101024">
                  <a:moveTo>
                    <a:pt x="0" y="25991"/>
                  </a:moveTo>
                  <a:lnTo>
                    <a:pt x="28034" y="6961"/>
                  </a:lnTo>
                  <a:cubicBezTo>
                    <a:pt x="38649" y="2437"/>
                    <a:pt x="50135" y="0"/>
                    <a:pt x="61968" y="0"/>
                  </a:cubicBezTo>
                  <a:cubicBezTo>
                    <a:pt x="85637" y="0"/>
                    <a:pt x="107912" y="9746"/>
                    <a:pt x="124618" y="26453"/>
                  </a:cubicBezTo>
                  <a:cubicBezTo>
                    <a:pt x="142021" y="43159"/>
                    <a:pt x="150722" y="65782"/>
                    <a:pt x="150722" y="88580"/>
                  </a:cubicBezTo>
                  <a:lnTo>
                    <a:pt x="148306" y="1010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C719F00E-5A8E-45CC-8F56-B823EE2F6BB7}"/>
                </a:ext>
              </a:extLst>
            </p:cNvPr>
            <p:cNvSpPr/>
            <p:nvPr/>
          </p:nvSpPr>
          <p:spPr>
            <a:xfrm rot="8716295">
              <a:off x="8546573" y="4108588"/>
              <a:ext cx="215176" cy="313567"/>
            </a:xfrm>
            <a:custGeom>
              <a:avLst/>
              <a:gdLst>
                <a:gd name="connsiteX0" fmla="*/ 122760 w 215176"/>
                <a:gd name="connsiteY0" fmla="*/ 266809 h 313567"/>
                <a:gd name="connsiteX1" fmla="*/ 122761 w 215176"/>
                <a:gd name="connsiteY1" fmla="*/ 105519 h 313567"/>
                <a:gd name="connsiteX2" fmla="*/ 122761 w 215176"/>
                <a:gd name="connsiteY2" fmla="*/ 99312 h 313567"/>
                <a:gd name="connsiteX3" fmla="*/ 91726 w 215176"/>
                <a:gd name="connsiteY3" fmla="*/ 75863 h 313567"/>
                <a:gd name="connsiteX4" fmla="*/ 0 w 215176"/>
                <a:gd name="connsiteY4" fmla="*/ 75863 h 313567"/>
                <a:gd name="connsiteX5" fmla="*/ 0 w 215176"/>
                <a:gd name="connsiteY5" fmla="*/ 0 h 313567"/>
                <a:gd name="connsiteX6" fmla="*/ 128968 w 215176"/>
                <a:gd name="connsiteY6" fmla="*/ 0 h 313567"/>
                <a:gd name="connsiteX7" fmla="*/ 215176 w 215176"/>
                <a:gd name="connsiteY7" fmla="*/ 75863 h 313567"/>
                <a:gd name="connsiteX8" fmla="*/ 215176 w 215176"/>
                <a:gd name="connsiteY8" fmla="*/ 313567 h 31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5176" h="313567">
                  <a:moveTo>
                    <a:pt x="122760" y="26680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0"/>
                  </a:lnTo>
                  <a:lnTo>
                    <a:pt x="128968" y="0"/>
                  </a:lnTo>
                  <a:cubicBezTo>
                    <a:pt x="184831" y="0"/>
                    <a:pt x="215177" y="24139"/>
                    <a:pt x="215176" y="75863"/>
                  </a:cubicBezTo>
                  <a:lnTo>
                    <a:pt x="215176" y="3135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25DD9CA0-AFE3-4B5F-B15D-E7FBAF734592}"/>
                </a:ext>
              </a:extLst>
            </p:cNvPr>
            <p:cNvSpPr/>
            <p:nvPr/>
          </p:nvSpPr>
          <p:spPr>
            <a:xfrm rot="8716295">
              <a:off x="8681306" y="4151041"/>
              <a:ext cx="394490" cy="343138"/>
            </a:xfrm>
            <a:custGeom>
              <a:avLst/>
              <a:gdLst>
                <a:gd name="connsiteX0" fmla="*/ 77932 w 394490"/>
                <a:gd name="connsiteY0" fmla="*/ 311621 h 343138"/>
                <a:gd name="connsiteX1" fmla="*/ 77932 w 394490"/>
                <a:gd name="connsiteY1" fmla="*/ 69053 h 343138"/>
                <a:gd name="connsiteX2" fmla="*/ 0 w 394490"/>
                <a:gd name="connsiteY2" fmla="*/ 69054 h 343138"/>
                <a:gd name="connsiteX3" fmla="*/ 0 w 394490"/>
                <a:gd name="connsiteY3" fmla="*/ 2156 h 343138"/>
                <a:gd name="connsiteX4" fmla="*/ 158623 w 394490"/>
                <a:gd name="connsiteY4" fmla="*/ 2157 h 343138"/>
                <a:gd name="connsiteX5" fmla="*/ 158624 w 394490"/>
                <a:gd name="connsiteY5" fmla="*/ 113882 h 343138"/>
                <a:gd name="connsiteX6" fmla="*/ 160692 w 394490"/>
                <a:gd name="connsiteY6" fmla="*/ 113882 h 343138"/>
                <a:gd name="connsiteX7" fmla="*/ 233107 w 394490"/>
                <a:gd name="connsiteY7" fmla="*/ 9053 h 343138"/>
                <a:gd name="connsiteX8" fmla="*/ 280694 w 394490"/>
                <a:gd name="connsiteY8" fmla="*/ 87 h 343138"/>
                <a:gd name="connsiteX9" fmla="*/ 394490 w 394490"/>
                <a:gd name="connsiteY9" fmla="*/ 133882 h 343138"/>
                <a:gd name="connsiteX10" fmla="*/ 394490 w 394490"/>
                <a:gd name="connsiteY10" fmla="*/ 142849 h 343138"/>
                <a:gd name="connsiteX11" fmla="*/ 300694 w 394490"/>
                <a:gd name="connsiteY11" fmla="*/ 148365 h 343138"/>
                <a:gd name="connsiteX12" fmla="*/ 300694 w 394490"/>
                <a:gd name="connsiteY12" fmla="*/ 123538 h 343138"/>
                <a:gd name="connsiteX13" fmla="*/ 249660 w 394490"/>
                <a:gd name="connsiteY13" fmla="*/ 60778 h 343138"/>
                <a:gd name="connsiteX14" fmla="*/ 168969 w 394490"/>
                <a:gd name="connsiteY14" fmla="*/ 193194 h 343138"/>
                <a:gd name="connsiteX15" fmla="*/ 168969 w 394490"/>
                <a:gd name="connsiteY15" fmla="*/ 323541 h 343138"/>
                <a:gd name="connsiteX16" fmla="*/ 140226 w 394490"/>
                <a:gd name="connsiteY16" fmla="*/ 343138 h 343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4490" h="343138">
                  <a:moveTo>
                    <a:pt x="77932" y="311621"/>
                  </a:moveTo>
                  <a:lnTo>
                    <a:pt x="77932" y="69053"/>
                  </a:lnTo>
                  <a:lnTo>
                    <a:pt x="0" y="69054"/>
                  </a:lnTo>
                  <a:lnTo>
                    <a:pt x="0" y="2156"/>
                  </a:lnTo>
                  <a:lnTo>
                    <a:pt x="158623" y="2157"/>
                  </a:lnTo>
                  <a:lnTo>
                    <a:pt x="158624" y="113882"/>
                  </a:lnTo>
                  <a:lnTo>
                    <a:pt x="160692" y="113882"/>
                  </a:lnTo>
                  <a:cubicBezTo>
                    <a:pt x="182762" y="48364"/>
                    <a:pt x="200003" y="22846"/>
                    <a:pt x="233107" y="9053"/>
                  </a:cubicBezTo>
                  <a:cubicBezTo>
                    <a:pt x="248280" y="2846"/>
                    <a:pt x="264142" y="-602"/>
                    <a:pt x="280694" y="87"/>
                  </a:cubicBezTo>
                  <a:cubicBezTo>
                    <a:pt x="351730" y="-1293"/>
                    <a:pt x="394490" y="48364"/>
                    <a:pt x="394490" y="133882"/>
                  </a:cubicBezTo>
                  <a:lnTo>
                    <a:pt x="394490" y="142849"/>
                  </a:lnTo>
                  <a:lnTo>
                    <a:pt x="300694" y="148365"/>
                  </a:lnTo>
                  <a:lnTo>
                    <a:pt x="300694" y="123538"/>
                  </a:lnTo>
                  <a:cubicBezTo>
                    <a:pt x="300695" y="86296"/>
                    <a:pt x="279316" y="60778"/>
                    <a:pt x="249660" y="60778"/>
                  </a:cubicBezTo>
                  <a:cubicBezTo>
                    <a:pt x="205521" y="60778"/>
                    <a:pt x="168968" y="119399"/>
                    <a:pt x="168969" y="193194"/>
                  </a:cubicBezTo>
                  <a:lnTo>
                    <a:pt x="168969" y="323541"/>
                  </a:lnTo>
                  <a:lnTo>
                    <a:pt x="140226" y="3431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24323A32-7D51-45A5-8D91-2223C2D14BC5}"/>
                </a:ext>
              </a:extLst>
            </p:cNvPr>
            <p:cNvSpPr/>
            <p:nvPr/>
          </p:nvSpPr>
          <p:spPr>
            <a:xfrm rot="8716295">
              <a:off x="8646997" y="4143256"/>
              <a:ext cx="121064" cy="89924"/>
            </a:xfrm>
            <a:custGeom>
              <a:avLst/>
              <a:gdLst>
                <a:gd name="connsiteX0" fmla="*/ 0 w 121064"/>
                <a:gd name="connsiteY0" fmla="*/ 39250 h 89924"/>
                <a:gd name="connsiteX1" fmla="*/ 32528 w 121064"/>
                <a:gd name="connsiteY1" fmla="*/ 13621 h 89924"/>
                <a:gd name="connsiteX2" fmla="*/ 78305 w 121064"/>
                <a:gd name="connsiteY2" fmla="*/ 0 h 89924"/>
                <a:gd name="connsiteX3" fmla="*/ 121064 w 121064"/>
                <a:gd name="connsiteY3" fmla="*/ 51035 h 89924"/>
                <a:gd name="connsiteX4" fmla="*/ 108563 w 121064"/>
                <a:gd name="connsiteY4" fmla="*/ 83363 h 89924"/>
                <a:gd name="connsiteX5" fmla="*/ 100159 w 121064"/>
                <a:gd name="connsiteY5" fmla="*/ 89924 h 89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1064" h="89924">
                  <a:moveTo>
                    <a:pt x="0" y="39250"/>
                  </a:moveTo>
                  <a:lnTo>
                    <a:pt x="32528" y="13621"/>
                  </a:lnTo>
                  <a:cubicBezTo>
                    <a:pt x="46580" y="6380"/>
                    <a:pt x="62098" y="1724"/>
                    <a:pt x="78305" y="0"/>
                  </a:cubicBezTo>
                  <a:cubicBezTo>
                    <a:pt x="111409" y="0"/>
                    <a:pt x="121065" y="28966"/>
                    <a:pt x="121064" y="51035"/>
                  </a:cubicBezTo>
                  <a:cubicBezTo>
                    <a:pt x="120030" y="63105"/>
                    <a:pt x="115546" y="74139"/>
                    <a:pt x="108563" y="83363"/>
                  </a:cubicBezTo>
                  <a:lnTo>
                    <a:pt x="100159" y="899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CF24F6A6-E56B-4B69-A6B4-F595B4AECDB5}"/>
                </a:ext>
              </a:extLst>
            </p:cNvPr>
            <p:cNvSpPr/>
            <p:nvPr/>
          </p:nvSpPr>
          <p:spPr>
            <a:xfrm rot="8716295">
              <a:off x="8360649" y="4203945"/>
              <a:ext cx="88105" cy="88278"/>
            </a:xfrm>
            <a:custGeom>
              <a:avLst/>
              <a:gdLst>
                <a:gd name="connsiteX0" fmla="*/ 11702 w 88105"/>
                <a:gd name="connsiteY0" fmla="*/ 72544 h 88278"/>
                <a:gd name="connsiteX1" fmla="*/ 0 w 88105"/>
                <a:gd name="connsiteY1" fmla="*/ 44829 h 88278"/>
                <a:gd name="connsiteX2" fmla="*/ 0 w 88105"/>
                <a:gd name="connsiteY2" fmla="*/ 44139 h 88278"/>
                <a:gd name="connsiteX3" fmla="*/ 13104 w 88105"/>
                <a:gd name="connsiteY3" fmla="*/ 13104 h 88278"/>
                <a:gd name="connsiteX4" fmla="*/ 44139 w 88105"/>
                <a:gd name="connsiteY4" fmla="*/ 0 h 88278"/>
                <a:gd name="connsiteX5" fmla="*/ 75175 w 88105"/>
                <a:gd name="connsiteY5" fmla="*/ 13104 h 88278"/>
                <a:gd name="connsiteX6" fmla="*/ 75175 w 88105"/>
                <a:gd name="connsiteY6" fmla="*/ 75175 h 88278"/>
                <a:gd name="connsiteX7" fmla="*/ 44139 w 88105"/>
                <a:gd name="connsiteY7" fmla="*/ 88278 h 88278"/>
                <a:gd name="connsiteX8" fmla="*/ 37752 w 88105"/>
                <a:gd name="connsiteY8" fmla="*/ 85724 h 88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8105" h="88278">
                  <a:moveTo>
                    <a:pt x="11702" y="72544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cubicBezTo>
                    <a:pt x="55864" y="0"/>
                    <a:pt x="66899" y="4828"/>
                    <a:pt x="75175" y="13104"/>
                  </a:cubicBezTo>
                  <a:cubicBezTo>
                    <a:pt x="92416" y="29657"/>
                    <a:pt x="92416" y="57933"/>
                    <a:pt x="75175" y="75175"/>
                  </a:cubicBezTo>
                  <a:cubicBezTo>
                    <a:pt x="66899" y="83451"/>
                    <a:pt x="55864" y="88278"/>
                    <a:pt x="44139" y="88278"/>
                  </a:cubicBezTo>
                  <a:lnTo>
                    <a:pt x="37752" y="857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823BDB41-A1E6-41AA-847A-64C2D14D0B20}"/>
                </a:ext>
              </a:extLst>
            </p:cNvPr>
            <p:cNvSpPr/>
            <p:nvPr/>
          </p:nvSpPr>
          <p:spPr>
            <a:xfrm rot="8716295">
              <a:off x="8270439" y="4208809"/>
              <a:ext cx="54467" cy="27557"/>
            </a:xfrm>
            <a:custGeom>
              <a:avLst/>
              <a:gdLst>
                <a:gd name="connsiteX0" fmla="*/ 0 w 54467"/>
                <a:gd name="connsiteY0" fmla="*/ 0 h 27557"/>
                <a:gd name="connsiteX1" fmla="*/ 54467 w 54467"/>
                <a:gd name="connsiteY1" fmla="*/ 0 h 27557"/>
                <a:gd name="connsiteX2" fmla="*/ 54467 w 54467"/>
                <a:gd name="connsiteY2" fmla="*/ 27557 h 27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467" h="27557">
                  <a:moveTo>
                    <a:pt x="0" y="0"/>
                  </a:moveTo>
                  <a:lnTo>
                    <a:pt x="54467" y="0"/>
                  </a:lnTo>
                  <a:lnTo>
                    <a:pt x="54467" y="2755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C4D7300C-5B1D-4389-9C36-32D5B08AA75A}"/>
                </a:ext>
              </a:extLst>
            </p:cNvPr>
            <p:cNvSpPr/>
            <p:nvPr/>
          </p:nvSpPr>
          <p:spPr>
            <a:xfrm rot="8716295">
              <a:off x="8503577" y="4269431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A57703A1-63B4-443D-A8D6-A43C23AB9B28}"/>
                </a:ext>
              </a:extLst>
            </p:cNvPr>
            <p:cNvSpPr/>
            <p:nvPr/>
          </p:nvSpPr>
          <p:spPr>
            <a:xfrm rot="8716295">
              <a:off x="8994983" y="4078441"/>
              <a:ext cx="137688" cy="132478"/>
            </a:xfrm>
            <a:custGeom>
              <a:avLst/>
              <a:gdLst>
                <a:gd name="connsiteX0" fmla="*/ 46653 w 137688"/>
                <a:gd name="connsiteY0" fmla="*/ 86420 h 132478"/>
                <a:gd name="connsiteX1" fmla="*/ 46653 w 137688"/>
                <a:gd name="connsiteY1" fmla="*/ 24828 h 132478"/>
                <a:gd name="connsiteX2" fmla="*/ 0 w 137688"/>
                <a:gd name="connsiteY2" fmla="*/ 24828 h 132478"/>
                <a:gd name="connsiteX3" fmla="*/ 15342 w 137688"/>
                <a:gd name="connsiteY3" fmla="*/ 2695 h 132478"/>
                <a:gd name="connsiteX4" fmla="*/ 137688 w 137688"/>
                <a:gd name="connsiteY4" fmla="*/ 0 h 132478"/>
                <a:gd name="connsiteX5" fmla="*/ 137688 w 137688"/>
                <a:gd name="connsiteY5" fmla="*/ 132478 h 132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7688" h="132478">
                  <a:moveTo>
                    <a:pt x="46653" y="86420"/>
                  </a:moveTo>
                  <a:lnTo>
                    <a:pt x="46653" y="24828"/>
                  </a:lnTo>
                  <a:lnTo>
                    <a:pt x="0" y="24828"/>
                  </a:lnTo>
                  <a:lnTo>
                    <a:pt x="15342" y="2695"/>
                  </a:lnTo>
                  <a:lnTo>
                    <a:pt x="137688" y="0"/>
                  </a:lnTo>
                  <a:lnTo>
                    <a:pt x="137688" y="13247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46727CBF-18BC-4939-8F2B-40813E13A972}"/>
                </a:ext>
              </a:extLst>
            </p:cNvPr>
            <p:cNvSpPr/>
            <p:nvPr/>
          </p:nvSpPr>
          <p:spPr>
            <a:xfrm rot="7484129">
              <a:off x="9136824" y="4228704"/>
              <a:ext cx="8392" cy="13068"/>
            </a:xfrm>
            <a:custGeom>
              <a:avLst/>
              <a:gdLst>
                <a:gd name="connsiteX0" fmla="*/ 3897 w 8392"/>
                <a:gd name="connsiteY0" fmla="*/ 13068 h 13068"/>
                <a:gd name="connsiteX1" fmla="*/ 0 w 8392"/>
                <a:gd name="connsiteY1" fmla="*/ 5818 h 13068"/>
                <a:gd name="connsiteX2" fmla="*/ 8392 w 8392"/>
                <a:gd name="connsiteY2" fmla="*/ 0 h 13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2" h="13068">
                  <a:moveTo>
                    <a:pt x="3897" y="13068"/>
                  </a:moveTo>
                  <a:lnTo>
                    <a:pt x="0" y="5818"/>
                  </a:lnTo>
                  <a:lnTo>
                    <a:pt x="839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D9037FA7-ED1D-4D57-8F2C-1298751D415A}"/>
                </a:ext>
              </a:extLst>
            </p:cNvPr>
            <p:cNvSpPr/>
            <p:nvPr/>
          </p:nvSpPr>
          <p:spPr>
            <a:xfrm rot="8716295">
              <a:off x="8839311" y="5117279"/>
              <a:ext cx="37096" cy="40385"/>
            </a:xfrm>
            <a:custGeom>
              <a:avLst/>
              <a:gdLst>
                <a:gd name="connsiteX0" fmla="*/ 37095 w 37096"/>
                <a:gd name="connsiteY0" fmla="*/ 25713 h 40385"/>
                <a:gd name="connsiteX1" fmla="*/ 0 w 37096"/>
                <a:gd name="connsiteY1" fmla="*/ 0 h 40385"/>
                <a:gd name="connsiteX2" fmla="*/ 0 w 37096"/>
                <a:gd name="connsiteY2" fmla="*/ 0 h 40385"/>
                <a:gd name="connsiteX3" fmla="*/ 37096 w 37096"/>
                <a:gd name="connsiteY3" fmla="*/ 25713 h 40385"/>
                <a:gd name="connsiteX4" fmla="*/ 0 w 37096"/>
                <a:gd name="connsiteY4" fmla="*/ 40385 h 40385"/>
                <a:gd name="connsiteX5" fmla="*/ 0 w 37096"/>
                <a:gd name="connsiteY5" fmla="*/ 28525 h 40385"/>
                <a:gd name="connsiteX6" fmla="*/ 9740 w 37096"/>
                <a:gd name="connsiteY6" fmla="*/ 36533 h 40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096" h="40385">
                  <a:moveTo>
                    <a:pt x="37095" y="25713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37096" y="25713"/>
                  </a:lnTo>
                  <a:close/>
                  <a:moveTo>
                    <a:pt x="0" y="40385"/>
                  </a:moveTo>
                  <a:lnTo>
                    <a:pt x="0" y="28525"/>
                  </a:lnTo>
                  <a:lnTo>
                    <a:pt x="9740" y="365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7762AEC2-4809-4723-B4B8-AD709205FF29}"/>
                </a:ext>
              </a:extLst>
            </p:cNvPr>
            <p:cNvSpPr/>
            <p:nvPr/>
          </p:nvSpPr>
          <p:spPr>
            <a:xfrm rot="8716295">
              <a:off x="8967255" y="4971567"/>
              <a:ext cx="231347" cy="158649"/>
            </a:xfrm>
            <a:custGeom>
              <a:avLst/>
              <a:gdLst>
                <a:gd name="connsiteX0" fmla="*/ 8965 w 231347"/>
                <a:gd name="connsiteY0" fmla="*/ 158649 h 158649"/>
                <a:gd name="connsiteX1" fmla="*/ 0 w 231347"/>
                <a:gd name="connsiteY1" fmla="*/ 146235 h 158649"/>
                <a:gd name="connsiteX2" fmla="*/ 155416 w 231347"/>
                <a:gd name="connsiteY2" fmla="*/ 0 h 158649"/>
                <a:gd name="connsiteX3" fmla="*/ 231347 w 231347"/>
                <a:gd name="connsiteY3" fmla="*/ 62433 h 158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347" h="158649">
                  <a:moveTo>
                    <a:pt x="8965" y="158649"/>
                  </a:moveTo>
                  <a:lnTo>
                    <a:pt x="0" y="146235"/>
                  </a:lnTo>
                  <a:lnTo>
                    <a:pt x="155416" y="0"/>
                  </a:lnTo>
                  <a:lnTo>
                    <a:pt x="231347" y="624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45E00815-1C71-4483-8D7E-4D817A5C21EF}"/>
                </a:ext>
              </a:extLst>
            </p:cNvPr>
            <p:cNvSpPr/>
            <p:nvPr/>
          </p:nvSpPr>
          <p:spPr>
            <a:xfrm rot="8716295">
              <a:off x="8555937" y="4871188"/>
              <a:ext cx="249519" cy="296463"/>
            </a:xfrm>
            <a:custGeom>
              <a:avLst/>
              <a:gdLst>
                <a:gd name="connsiteX0" fmla="*/ 249516 w 249519"/>
                <a:gd name="connsiteY0" fmla="*/ 83734 h 296463"/>
                <a:gd name="connsiteX1" fmla="*/ 128718 w 249519"/>
                <a:gd name="connsiteY1" fmla="*/ 0 h 296463"/>
                <a:gd name="connsiteX2" fmla="*/ 128719 w 249519"/>
                <a:gd name="connsiteY2" fmla="*/ 0 h 296463"/>
                <a:gd name="connsiteX3" fmla="*/ 249519 w 249519"/>
                <a:gd name="connsiteY3" fmla="*/ 83734 h 296463"/>
                <a:gd name="connsiteX4" fmla="*/ 137293 w 249519"/>
                <a:gd name="connsiteY4" fmla="*/ 296463 h 296463"/>
                <a:gd name="connsiteX5" fmla="*/ 72418 w 249519"/>
                <a:gd name="connsiteY5" fmla="*/ 175766 h 296463"/>
                <a:gd name="connsiteX6" fmla="*/ 105610 w 249519"/>
                <a:gd name="connsiteY6" fmla="*/ 83734 h 296463"/>
                <a:gd name="connsiteX7" fmla="*/ 0 w 249519"/>
                <a:gd name="connsiteY7" fmla="*/ 83734 h 296463"/>
                <a:gd name="connsiteX8" fmla="*/ 0 w 249519"/>
                <a:gd name="connsiteY8" fmla="*/ 0 h 296463"/>
                <a:gd name="connsiteX9" fmla="*/ 78196 w 249519"/>
                <a:gd name="connsiteY9" fmla="*/ 0 h 296463"/>
                <a:gd name="connsiteX10" fmla="*/ 203756 w 249519"/>
                <a:gd name="connsiteY10" fmla="*/ 103239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519" h="296463">
                  <a:moveTo>
                    <a:pt x="249516" y="83734"/>
                  </a:moveTo>
                  <a:lnTo>
                    <a:pt x="128718" y="0"/>
                  </a:lnTo>
                  <a:lnTo>
                    <a:pt x="128719" y="0"/>
                  </a:lnTo>
                  <a:lnTo>
                    <a:pt x="249519" y="83734"/>
                  </a:lnTo>
                  <a:close/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78196" y="0"/>
                  </a:lnTo>
                  <a:lnTo>
                    <a:pt x="203756" y="1032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58E38A6F-A61D-44CF-B900-AC3229C6053D}"/>
                </a:ext>
              </a:extLst>
            </p:cNvPr>
            <p:cNvSpPr/>
            <p:nvPr/>
          </p:nvSpPr>
          <p:spPr>
            <a:xfrm rot="8716295">
              <a:off x="9124182" y="4842281"/>
              <a:ext cx="37059" cy="48941"/>
            </a:xfrm>
            <a:custGeom>
              <a:avLst/>
              <a:gdLst>
                <a:gd name="connsiteX0" fmla="*/ 0 w 37059"/>
                <a:gd name="connsiteY0" fmla="*/ 48941 h 48941"/>
                <a:gd name="connsiteX1" fmla="*/ 33925 w 37059"/>
                <a:gd name="connsiteY1" fmla="*/ 0 h 48941"/>
                <a:gd name="connsiteX2" fmla="*/ 37059 w 37059"/>
                <a:gd name="connsiteY2" fmla="*/ 7460 h 48941"/>
                <a:gd name="connsiteX3" fmla="*/ 24128 w 37059"/>
                <a:gd name="connsiteY3" fmla="*/ 38754 h 48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059" h="48941">
                  <a:moveTo>
                    <a:pt x="0" y="48941"/>
                  </a:moveTo>
                  <a:lnTo>
                    <a:pt x="33925" y="0"/>
                  </a:lnTo>
                  <a:lnTo>
                    <a:pt x="37059" y="7460"/>
                  </a:lnTo>
                  <a:cubicBezTo>
                    <a:pt x="37059" y="18753"/>
                    <a:pt x="32749" y="30133"/>
                    <a:pt x="24128" y="3875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0438BEFE-52E9-475C-AF5B-D887CDB606B3}"/>
                </a:ext>
              </a:extLst>
            </p:cNvPr>
            <p:cNvSpPr/>
            <p:nvPr/>
          </p:nvSpPr>
          <p:spPr>
            <a:xfrm rot="8716295">
              <a:off x="8946271" y="4530250"/>
              <a:ext cx="235267" cy="296463"/>
            </a:xfrm>
            <a:custGeom>
              <a:avLst/>
              <a:gdLst>
                <a:gd name="connsiteX0" fmla="*/ 64028 w 235267"/>
                <a:gd name="connsiteY0" fmla="*/ 296463 h 296463"/>
                <a:gd name="connsiteX1" fmla="*/ 0 w 235267"/>
                <a:gd name="connsiteY1" fmla="*/ 177341 h 296463"/>
                <a:gd name="connsiteX2" fmla="*/ 122928 w 235267"/>
                <a:gd name="connsiteY2" fmla="*/ 0 h 296463"/>
                <a:gd name="connsiteX3" fmla="*/ 235266 w 235267"/>
                <a:gd name="connsiteY3" fmla="*/ 0 h 296463"/>
                <a:gd name="connsiteX4" fmla="*/ 235267 w 235267"/>
                <a:gd name="connsiteY4" fmla="*/ 83734 h 296463"/>
                <a:gd name="connsiteX5" fmla="*/ 137200 w 235267"/>
                <a:gd name="connsiteY5" fmla="*/ 83735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5267" h="296463">
                  <a:moveTo>
                    <a:pt x="64028" y="296463"/>
                  </a:moveTo>
                  <a:lnTo>
                    <a:pt x="0" y="177341"/>
                  </a:lnTo>
                  <a:lnTo>
                    <a:pt x="122928" y="0"/>
                  </a:lnTo>
                  <a:lnTo>
                    <a:pt x="235266" y="0"/>
                  </a:lnTo>
                  <a:lnTo>
                    <a:pt x="235267" y="83734"/>
                  </a:lnTo>
                  <a:lnTo>
                    <a:pt x="137200" y="837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D3F9B5D8-06D4-4B43-BC6C-7C19EABDD1C4}"/>
                </a:ext>
              </a:extLst>
            </p:cNvPr>
            <p:cNvSpPr/>
            <p:nvPr/>
          </p:nvSpPr>
          <p:spPr>
            <a:xfrm rot="8716295">
              <a:off x="8906661" y="466090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71905357-F1DF-411B-B59B-0F032583384E}"/>
                </a:ext>
              </a:extLst>
            </p:cNvPr>
            <p:cNvSpPr/>
            <p:nvPr/>
          </p:nvSpPr>
          <p:spPr>
            <a:xfrm rot="13089394">
              <a:off x="7765620" y="4253518"/>
              <a:ext cx="72828" cy="75543"/>
            </a:xfrm>
            <a:custGeom>
              <a:avLst/>
              <a:gdLst>
                <a:gd name="connsiteX0" fmla="*/ 0 w 72828"/>
                <a:gd name="connsiteY0" fmla="*/ 75543 h 75543"/>
                <a:gd name="connsiteX1" fmla="*/ 0 w 72828"/>
                <a:gd name="connsiteY1" fmla="*/ 37783 h 75543"/>
                <a:gd name="connsiteX2" fmla="*/ 72828 w 72828"/>
                <a:gd name="connsiteY2" fmla="*/ 0 h 7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828" h="75543">
                  <a:moveTo>
                    <a:pt x="0" y="75543"/>
                  </a:moveTo>
                  <a:lnTo>
                    <a:pt x="0" y="37783"/>
                  </a:lnTo>
                  <a:lnTo>
                    <a:pt x="7282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9CC70003-388A-4ED2-9C78-B5584C3B43A2}"/>
                </a:ext>
              </a:extLst>
            </p:cNvPr>
            <p:cNvSpPr/>
            <p:nvPr/>
          </p:nvSpPr>
          <p:spPr>
            <a:xfrm rot="8716295">
              <a:off x="7196646" y="4735107"/>
              <a:ext cx="215177" cy="351729"/>
            </a:xfrm>
            <a:custGeom>
              <a:avLst/>
              <a:gdLst>
                <a:gd name="connsiteX0" fmla="*/ 122761 w 215177"/>
                <a:gd name="connsiteY0" fmla="*/ 351729 h 351729"/>
                <a:gd name="connsiteX1" fmla="*/ 122761 w 215177"/>
                <a:gd name="connsiteY1" fmla="*/ 105519 h 351729"/>
                <a:gd name="connsiteX2" fmla="*/ 122761 w 215177"/>
                <a:gd name="connsiteY2" fmla="*/ 99312 h 351729"/>
                <a:gd name="connsiteX3" fmla="*/ 91726 w 215177"/>
                <a:gd name="connsiteY3" fmla="*/ 75863 h 351729"/>
                <a:gd name="connsiteX4" fmla="*/ 0 w 215177"/>
                <a:gd name="connsiteY4" fmla="*/ 75863 h 351729"/>
                <a:gd name="connsiteX5" fmla="*/ 0 w 215177"/>
                <a:gd name="connsiteY5" fmla="*/ 0 h 351729"/>
                <a:gd name="connsiteX6" fmla="*/ 20033 w 215177"/>
                <a:gd name="connsiteY6" fmla="*/ 0 h 351729"/>
                <a:gd name="connsiteX7" fmla="*/ 215177 w 215177"/>
                <a:gd name="connsiteY7" fmla="*/ 160452 h 351729"/>
                <a:gd name="connsiteX8" fmla="*/ 215176 w 215177"/>
                <a:gd name="connsiteY8" fmla="*/ 315177 h 351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5177" h="351729">
                  <a:moveTo>
                    <a:pt x="122761" y="35172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0"/>
                  </a:lnTo>
                  <a:lnTo>
                    <a:pt x="20033" y="0"/>
                  </a:lnTo>
                  <a:lnTo>
                    <a:pt x="215177" y="160452"/>
                  </a:lnTo>
                  <a:lnTo>
                    <a:pt x="215176" y="3151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E46A29A2-07B5-4D69-A57A-B7E84F78585B}"/>
                </a:ext>
              </a:extLst>
            </p:cNvPr>
            <p:cNvSpPr/>
            <p:nvPr/>
          </p:nvSpPr>
          <p:spPr>
            <a:xfrm rot="8716295">
              <a:off x="7519762" y="4714342"/>
              <a:ext cx="185667" cy="383455"/>
            </a:xfrm>
            <a:custGeom>
              <a:avLst/>
              <a:gdLst>
                <a:gd name="connsiteX0" fmla="*/ 77932 w 185667"/>
                <a:gd name="connsiteY0" fmla="*/ 383455 h 383455"/>
                <a:gd name="connsiteX1" fmla="*/ 77932 w 185667"/>
                <a:gd name="connsiteY1" fmla="*/ 66898 h 383455"/>
                <a:gd name="connsiteX2" fmla="*/ 0 w 185667"/>
                <a:gd name="connsiteY2" fmla="*/ 66898 h 383455"/>
                <a:gd name="connsiteX3" fmla="*/ 0 w 185667"/>
                <a:gd name="connsiteY3" fmla="*/ 0 h 383455"/>
                <a:gd name="connsiteX4" fmla="*/ 33456 w 185667"/>
                <a:gd name="connsiteY4" fmla="*/ 0 h 383455"/>
                <a:gd name="connsiteX5" fmla="*/ 158623 w 185667"/>
                <a:gd name="connsiteY5" fmla="*/ 102916 h 383455"/>
                <a:gd name="connsiteX6" fmla="*/ 158623 w 185667"/>
                <a:gd name="connsiteY6" fmla="*/ 111726 h 383455"/>
                <a:gd name="connsiteX7" fmla="*/ 160692 w 185667"/>
                <a:gd name="connsiteY7" fmla="*/ 111726 h 383455"/>
                <a:gd name="connsiteX8" fmla="*/ 162749 w 185667"/>
                <a:gd name="connsiteY8" fmla="*/ 106308 h 383455"/>
                <a:gd name="connsiteX9" fmla="*/ 185667 w 185667"/>
                <a:gd name="connsiteY9" fmla="*/ 125152 h 383455"/>
                <a:gd name="connsiteX10" fmla="*/ 168969 w 185667"/>
                <a:gd name="connsiteY10" fmla="*/ 191038 h 383455"/>
                <a:gd name="connsiteX11" fmla="*/ 168969 w 185667"/>
                <a:gd name="connsiteY11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5667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33456" y="0"/>
                  </a:lnTo>
                  <a:lnTo>
                    <a:pt x="158623" y="102916"/>
                  </a:lnTo>
                  <a:lnTo>
                    <a:pt x="158623" y="111726"/>
                  </a:lnTo>
                  <a:lnTo>
                    <a:pt x="160692" y="111726"/>
                  </a:lnTo>
                  <a:lnTo>
                    <a:pt x="162749" y="106308"/>
                  </a:lnTo>
                  <a:lnTo>
                    <a:pt x="185667" y="125152"/>
                  </a:lnTo>
                  <a:lnTo>
                    <a:pt x="168969" y="191038"/>
                  </a:ln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BB2B590A-BBED-49DF-BE0A-D7CDB8C7EA53}"/>
                </a:ext>
              </a:extLst>
            </p:cNvPr>
            <p:cNvSpPr/>
            <p:nvPr/>
          </p:nvSpPr>
          <p:spPr>
            <a:xfrm rot="8716295">
              <a:off x="7265319" y="4648384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7838B053-EE23-465E-B80C-0FDB953D8E9F}"/>
                </a:ext>
              </a:extLst>
            </p:cNvPr>
            <p:cNvSpPr/>
            <p:nvPr/>
          </p:nvSpPr>
          <p:spPr>
            <a:xfrm rot="8716295">
              <a:off x="7028032" y="486872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46F2EA92-FAA0-4CBD-8D20-0B7AF9B36906}"/>
                </a:ext>
              </a:extLst>
            </p:cNvPr>
            <p:cNvSpPr/>
            <p:nvPr/>
          </p:nvSpPr>
          <p:spPr>
            <a:xfrm rot="8716295">
              <a:off x="6838986" y="455289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C33E7506-2F8D-4DC7-82BD-DA6D9CD10C11}"/>
                </a:ext>
              </a:extLst>
            </p:cNvPr>
            <p:cNvSpPr/>
            <p:nvPr/>
          </p:nvSpPr>
          <p:spPr>
            <a:xfrm rot="8716295">
              <a:off x="6821466" y="4356542"/>
              <a:ext cx="439901" cy="511464"/>
            </a:xfrm>
            <a:custGeom>
              <a:avLst/>
              <a:gdLst>
                <a:gd name="connsiteX0" fmla="*/ 1873 w 439901"/>
                <a:gd name="connsiteY0" fmla="*/ 384681 h 511464"/>
                <a:gd name="connsiteX1" fmla="*/ 1725 w 439901"/>
                <a:gd name="connsiteY1" fmla="*/ 383648 h 511464"/>
                <a:gd name="connsiteX2" fmla="*/ 0 w 439901"/>
                <a:gd name="connsiteY2" fmla="*/ 333043 h 511464"/>
                <a:gd name="connsiteX3" fmla="*/ 0 w 439901"/>
                <a:gd name="connsiteY3" fmla="*/ 61444 h 511464"/>
                <a:gd name="connsiteX4" fmla="*/ 118434 w 439901"/>
                <a:gd name="connsiteY4" fmla="*/ 0 h 511464"/>
                <a:gd name="connsiteX5" fmla="*/ 120216 w 439901"/>
                <a:gd name="connsiteY5" fmla="*/ 248447 h 511464"/>
                <a:gd name="connsiteX6" fmla="*/ 141587 w 439901"/>
                <a:gd name="connsiteY6" fmla="*/ 396268 h 511464"/>
                <a:gd name="connsiteX7" fmla="*/ 248446 w 439901"/>
                <a:gd name="connsiteY7" fmla="*/ 455041 h 511464"/>
                <a:gd name="connsiteX8" fmla="*/ 328590 w 439901"/>
                <a:gd name="connsiteY8" fmla="*/ 440793 h 511464"/>
                <a:gd name="connsiteX9" fmla="*/ 438120 w 439901"/>
                <a:gd name="connsiteY9" fmla="*/ 396268 h 511464"/>
                <a:gd name="connsiteX10" fmla="*/ 439901 w 439901"/>
                <a:gd name="connsiteY10" fmla="*/ 407844 h 511464"/>
                <a:gd name="connsiteX11" fmla="*/ 439901 w 439901"/>
                <a:gd name="connsiteY11" fmla="*/ 416749 h 511464"/>
                <a:gd name="connsiteX12" fmla="*/ 286180 w 439901"/>
                <a:gd name="connsiteY12" fmla="*/ 502459 h 511464"/>
                <a:gd name="connsiteX13" fmla="*/ 252462 w 439901"/>
                <a:gd name="connsiteY13" fmla="*/ 511464 h 511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9901" h="511464">
                  <a:moveTo>
                    <a:pt x="1873" y="384681"/>
                  </a:moveTo>
                  <a:lnTo>
                    <a:pt x="1725" y="383648"/>
                  </a:lnTo>
                  <a:cubicBezTo>
                    <a:pt x="501" y="368162"/>
                    <a:pt x="0" y="351298"/>
                    <a:pt x="0" y="333043"/>
                  </a:cubicBezTo>
                  <a:lnTo>
                    <a:pt x="0" y="61444"/>
                  </a:lnTo>
                  <a:lnTo>
                    <a:pt x="118434" y="0"/>
                  </a:lnTo>
                  <a:lnTo>
                    <a:pt x="120216" y="248447"/>
                  </a:lnTo>
                  <a:cubicBezTo>
                    <a:pt x="117545" y="298315"/>
                    <a:pt x="125558" y="349072"/>
                    <a:pt x="141587" y="396268"/>
                  </a:cubicBezTo>
                  <a:cubicBezTo>
                    <a:pt x="155836" y="435450"/>
                    <a:pt x="192346" y="455041"/>
                    <a:pt x="248446" y="455041"/>
                  </a:cubicBezTo>
                  <a:cubicBezTo>
                    <a:pt x="276051" y="454150"/>
                    <a:pt x="302766" y="448807"/>
                    <a:pt x="328590" y="440793"/>
                  </a:cubicBezTo>
                  <a:cubicBezTo>
                    <a:pt x="365990" y="429216"/>
                    <a:pt x="402501" y="414078"/>
                    <a:pt x="438120" y="396268"/>
                  </a:cubicBezTo>
                  <a:cubicBezTo>
                    <a:pt x="439010" y="399830"/>
                    <a:pt x="439901" y="404282"/>
                    <a:pt x="439901" y="407844"/>
                  </a:cubicBezTo>
                  <a:lnTo>
                    <a:pt x="439901" y="416749"/>
                  </a:lnTo>
                  <a:cubicBezTo>
                    <a:pt x="392705" y="457267"/>
                    <a:pt x="338163" y="484649"/>
                    <a:pt x="286180" y="502459"/>
                  </a:cubicBezTo>
                  <a:lnTo>
                    <a:pt x="252462" y="5114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F0039EE6-19E5-4457-84A9-3D50560FF71B}"/>
                </a:ext>
              </a:extLst>
            </p:cNvPr>
            <p:cNvSpPr/>
            <p:nvPr/>
          </p:nvSpPr>
          <p:spPr>
            <a:xfrm rot="8716295">
              <a:off x="7635467" y="435609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62946C15-BE3C-45DF-BB3D-128249E4D1A5}"/>
                </a:ext>
              </a:extLst>
            </p:cNvPr>
            <p:cNvSpPr/>
            <p:nvPr/>
          </p:nvSpPr>
          <p:spPr>
            <a:xfrm rot="8716295">
              <a:off x="7770766" y="440035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3C27B629-4EE2-46C6-9535-F5382300825F}"/>
                </a:ext>
              </a:extLst>
            </p:cNvPr>
            <p:cNvSpPr/>
            <p:nvPr/>
          </p:nvSpPr>
          <p:spPr>
            <a:xfrm rot="8716295">
              <a:off x="7465596" y="44901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6592736C-E2B7-4AAA-9132-CE6867AFB7E6}"/>
                </a:ext>
              </a:extLst>
            </p:cNvPr>
            <p:cNvSpPr/>
            <p:nvPr/>
          </p:nvSpPr>
          <p:spPr>
            <a:xfrm rot="8716295">
              <a:off x="7313509" y="4314181"/>
              <a:ext cx="308532" cy="142740"/>
            </a:xfrm>
            <a:custGeom>
              <a:avLst/>
              <a:gdLst>
                <a:gd name="connsiteX0" fmla="*/ 0 w 308532"/>
                <a:gd name="connsiteY0" fmla="*/ 46525 h 142740"/>
                <a:gd name="connsiteX1" fmla="*/ 0 w 308532"/>
                <a:gd name="connsiteY1" fmla="*/ 0 h 142740"/>
                <a:gd name="connsiteX2" fmla="*/ 308532 w 308532"/>
                <a:gd name="connsiteY2" fmla="*/ 0 h 142740"/>
                <a:gd name="connsiteX3" fmla="*/ 308532 w 308532"/>
                <a:gd name="connsiteY3" fmla="*/ 83734 h 142740"/>
                <a:gd name="connsiteX4" fmla="*/ 210465 w 308532"/>
                <a:gd name="connsiteY4" fmla="*/ 83734 h 142740"/>
                <a:gd name="connsiteX5" fmla="*/ 190169 w 308532"/>
                <a:gd name="connsiteY5" fmla="*/ 142740 h 142740"/>
                <a:gd name="connsiteX6" fmla="*/ 100662 w 308532"/>
                <a:gd name="connsiteY6" fmla="*/ 97454 h 142740"/>
                <a:gd name="connsiteX7" fmla="*/ 105610 w 308532"/>
                <a:gd name="connsiteY7" fmla="*/ 83734 h 142740"/>
                <a:gd name="connsiteX8" fmla="*/ 73544 w 308532"/>
                <a:gd name="connsiteY8" fmla="*/ 83734 h 142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532" h="142740">
                  <a:moveTo>
                    <a:pt x="0" y="46525"/>
                  </a:moveTo>
                  <a:lnTo>
                    <a:pt x="0" y="0"/>
                  </a:lnTo>
                  <a:lnTo>
                    <a:pt x="308532" y="0"/>
                  </a:lnTo>
                  <a:lnTo>
                    <a:pt x="308532" y="83734"/>
                  </a:lnTo>
                  <a:lnTo>
                    <a:pt x="210465" y="83734"/>
                  </a:lnTo>
                  <a:lnTo>
                    <a:pt x="190169" y="142740"/>
                  </a:lnTo>
                  <a:lnTo>
                    <a:pt x="100662" y="97454"/>
                  </a:lnTo>
                  <a:lnTo>
                    <a:pt x="105610" y="83734"/>
                  </a:lnTo>
                  <a:lnTo>
                    <a:pt x="73544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39B2926A-51C6-4DDF-86D8-072C96B838B0}"/>
                </a:ext>
              </a:extLst>
            </p:cNvPr>
            <p:cNvSpPr/>
            <p:nvPr/>
          </p:nvSpPr>
          <p:spPr>
            <a:xfrm rot="8716295">
              <a:off x="7602084" y="4552096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A5226D1B-39C8-4DB7-A39D-DE8AE96085BA}"/>
                </a:ext>
              </a:extLst>
            </p:cNvPr>
            <p:cNvSpPr/>
            <p:nvPr/>
          </p:nvSpPr>
          <p:spPr>
            <a:xfrm rot="8716295">
              <a:off x="7233779" y="4339176"/>
              <a:ext cx="112931" cy="98229"/>
            </a:xfrm>
            <a:custGeom>
              <a:avLst/>
              <a:gdLst>
                <a:gd name="connsiteX0" fmla="*/ 0 w 112931"/>
                <a:gd name="connsiteY0" fmla="*/ 49475 h 98229"/>
                <a:gd name="connsiteX1" fmla="*/ 13559 w 112931"/>
                <a:gd name="connsiteY1" fmla="*/ 17362 h 98229"/>
                <a:gd name="connsiteX2" fmla="*/ 54678 w 112931"/>
                <a:gd name="connsiteY2" fmla="*/ 0 h 98229"/>
                <a:gd name="connsiteX3" fmla="*/ 95798 w 112931"/>
                <a:gd name="connsiteY3" fmla="*/ 17362 h 98229"/>
                <a:gd name="connsiteX4" fmla="*/ 112931 w 112931"/>
                <a:gd name="connsiteY4" fmla="*/ 58139 h 98229"/>
                <a:gd name="connsiteX5" fmla="*/ 96365 w 112931"/>
                <a:gd name="connsiteY5" fmla="*/ 98229 h 98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931" h="98229">
                  <a:moveTo>
                    <a:pt x="0" y="49475"/>
                  </a:moveTo>
                  <a:lnTo>
                    <a:pt x="13559" y="17362"/>
                  </a:lnTo>
                  <a:cubicBezTo>
                    <a:pt x="24524" y="6397"/>
                    <a:pt x="39145" y="0"/>
                    <a:pt x="54678" y="0"/>
                  </a:cubicBezTo>
                  <a:cubicBezTo>
                    <a:pt x="70213" y="0"/>
                    <a:pt x="84833" y="6397"/>
                    <a:pt x="95798" y="17362"/>
                  </a:cubicBezTo>
                  <a:cubicBezTo>
                    <a:pt x="107220" y="28327"/>
                    <a:pt x="112931" y="43176"/>
                    <a:pt x="112931" y="58139"/>
                  </a:cubicBezTo>
                  <a:lnTo>
                    <a:pt x="96365" y="9822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B8D891A1-7C58-4828-B849-358D4D72EA90}"/>
                </a:ext>
              </a:extLst>
            </p:cNvPr>
            <p:cNvSpPr/>
            <p:nvPr/>
          </p:nvSpPr>
          <p:spPr>
            <a:xfrm rot="7484129">
              <a:off x="7765134" y="4837237"/>
              <a:ext cx="295167" cy="296463"/>
            </a:xfrm>
            <a:custGeom>
              <a:avLst/>
              <a:gdLst>
                <a:gd name="connsiteX0" fmla="*/ 295165 w 295167"/>
                <a:gd name="connsiteY0" fmla="*/ 83734 h 296463"/>
                <a:gd name="connsiteX1" fmla="*/ 237109 w 295167"/>
                <a:gd name="connsiteY1" fmla="*/ 0 h 296463"/>
                <a:gd name="connsiteX2" fmla="*/ 237110 w 295167"/>
                <a:gd name="connsiteY2" fmla="*/ 0 h 296463"/>
                <a:gd name="connsiteX3" fmla="*/ 295167 w 295167"/>
                <a:gd name="connsiteY3" fmla="*/ 83734 h 296463"/>
                <a:gd name="connsiteX4" fmla="*/ 137293 w 295167"/>
                <a:gd name="connsiteY4" fmla="*/ 296463 h 296463"/>
                <a:gd name="connsiteX5" fmla="*/ 72418 w 295167"/>
                <a:gd name="connsiteY5" fmla="*/ 175766 h 296463"/>
                <a:gd name="connsiteX6" fmla="*/ 105610 w 295167"/>
                <a:gd name="connsiteY6" fmla="*/ 83734 h 296463"/>
                <a:gd name="connsiteX7" fmla="*/ 0 w 295167"/>
                <a:gd name="connsiteY7" fmla="*/ 83734 h 296463"/>
                <a:gd name="connsiteX8" fmla="*/ 0 w 295167"/>
                <a:gd name="connsiteY8" fmla="*/ 0 h 296463"/>
                <a:gd name="connsiteX9" fmla="*/ 126381 w 295167"/>
                <a:gd name="connsiteY9" fmla="*/ 0 h 296463"/>
                <a:gd name="connsiteX10" fmla="*/ 197160 w 295167"/>
                <a:gd name="connsiteY10" fmla="*/ 122416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5167" h="296463">
                  <a:moveTo>
                    <a:pt x="295165" y="83734"/>
                  </a:moveTo>
                  <a:lnTo>
                    <a:pt x="237109" y="0"/>
                  </a:lnTo>
                  <a:lnTo>
                    <a:pt x="237110" y="0"/>
                  </a:lnTo>
                  <a:lnTo>
                    <a:pt x="295167" y="83734"/>
                  </a:lnTo>
                  <a:close/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126381" y="0"/>
                  </a:lnTo>
                  <a:lnTo>
                    <a:pt x="197160" y="1224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527B4309-024C-4B07-A449-12F7536748C5}"/>
                </a:ext>
              </a:extLst>
            </p:cNvPr>
            <p:cNvSpPr/>
            <p:nvPr/>
          </p:nvSpPr>
          <p:spPr>
            <a:xfrm rot="13089394">
              <a:off x="8005038" y="4814171"/>
              <a:ext cx="409104" cy="218063"/>
            </a:xfrm>
            <a:custGeom>
              <a:avLst/>
              <a:gdLst>
                <a:gd name="connsiteX0" fmla="*/ 409104 w 409104"/>
                <a:gd name="connsiteY0" fmla="*/ 110916 h 218063"/>
                <a:gd name="connsiteX1" fmla="*/ 135172 w 409104"/>
                <a:gd name="connsiteY1" fmla="*/ 217816 h 218063"/>
                <a:gd name="connsiteX2" fmla="*/ 32447 w 409104"/>
                <a:gd name="connsiteY2" fmla="*/ 176058 h 218063"/>
                <a:gd name="connsiteX3" fmla="*/ 3843 w 409104"/>
                <a:gd name="connsiteY3" fmla="*/ 119581 h 218063"/>
                <a:gd name="connsiteX4" fmla="*/ 0 w 409104"/>
                <a:gd name="connsiteY4" fmla="*/ 73735 h 218063"/>
                <a:gd name="connsiteX5" fmla="*/ 111583 w 409104"/>
                <a:gd name="connsiteY5" fmla="*/ 0 h 218063"/>
                <a:gd name="connsiteX6" fmla="*/ 112727 w 409104"/>
                <a:gd name="connsiteY6" fmla="*/ 23329 h 218063"/>
                <a:gd name="connsiteX7" fmla="*/ 129325 w 409104"/>
                <a:gd name="connsiteY7" fmla="*/ 91708 h 218063"/>
                <a:gd name="connsiteX8" fmla="*/ 229544 w 409104"/>
                <a:gd name="connsiteY8" fmla="*/ 146828 h 218063"/>
                <a:gd name="connsiteX9" fmla="*/ 304708 w 409104"/>
                <a:gd name="connsiteY9" fmla="*/ 133466 h 218063"/>
                <a:gd name="connsiteX10" fmla="*/ 407434 w 409104"/>
                <a:gd name="connsiteY10" fmla="*/ 91708 h 218063"/>
                <a:gd name="connsiteX11" fmla="*/ 409104 w 409104"/>
                <a:gd name="connsiteY11" fmla="*/ 102564 h 218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9104" h="218063">
                  <a:moveTo>
                    <a:pt x="409104" y="110916"/>
                  </a:moveTo>
                  <a:cubicBezTo>
                    <a:pt x="320577" y="186915"/>
                    <a:pt x="204490" y="213641"/>
                    <a:pt x="135172" y="217816"/>
                  </a:cubicBezTo>
                  <a:cubicBezTo>
                    <a:pt x="96755" y="220322"/>
                    <a:pt x="59173" y="203619"/>
                    <a:pt x="32447" y="176058"/>
                  </a:cubicBezTo>
                  <a:cubicBezTo>
                    <a:pt x="18249" y="162278"/>
                    <a:pt x="9272" y="143487"/>
                    <a:pt x="3843" y="119581"/>
                  </a:cubicBezTo>
                  <a:lnTo>
                    <a:pt x="0" y="73735"/>
                  </a:lnTo>
                  <a:lnTo>
                    <a:pt x="111583" y="0"/>
                  </a:lnTo>
                  <a:lnTo>
                    <a:pt x="112727" y="23329"/>
                  </a:lnTo>
                  <a:cubicBezTo>
                    <a:pt x="116171" y="46609"/>
                    <a:pt x="121808" y="69576"/>
                    <a:pt x="129325" y="91708"/>
                  </a:cubicBezTo>
                  <a:cubicBezTo>
                    <a:pt x="142689" y="128454"/>
                    <a:pt x="176930" y="146828"/>
                    <a:pt x="229544" y="146828"/>
                  </a:cubicBezTo>
                  <a:cubicBezTo>
                    <a:pt x="255435" y="145993"/>
                    <a:pt x="280489" y="140981"/>
                    <a:pt x="304708" y="133466"/>
                  </a:cubicBezTo>
                  <a:cubicBezTo>
                    <a:pt x="339785" y="122608"/>
                    <a:pt x="374027" y="108411"/>
                    <a:pt x="407434" y="91708"/>
                  </a:cubicBezTo>
                  <a:cubicBezTo>
                    <a:pt x="408268" y="95048"/>
                    <a:pt x="409104" y="99224"/>
                    <a:pt x="409104" y="10256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A6665952-BEBA-4083-8857-192589F92F66}"/>
                </a:ext>
              </a:extLst>
            </p:cNvPr>
            <p:cNvSpPr/>
            <p:nvPr/>
          </p:nvSpPr>
          <p:spPr>
            <a:xfrm rot="8716295">
              <a:off x="8200443" y="4500944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48E8912F-96AC-4641-B68F-1FAC8423EE44}"/>
                </a:ext>
              </a:extLst>
            </p:cNvPr>
            <p:cNvSpPr/>
            <p:nvPr/>
          </p:nvSpPr>
          <p:spPr>
            <a:xfrm rot="8716295">
              <a:off x="8122034" y="434415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53758D6F-45BC-4683-9BA4-5F935E950CCD}"/>
                </a:ext>
              </a:extLst>
            </p:cNvPr>
            <p:cNvSpPr/>
            <p:nvPr/>
          </p:nvSpPr>
          <p:spPr>
            <a:xfrm rot="8716295">
              <a:off x="7753870" y="438989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3D33FD22-12AD-4D1A-88D7-5F0D534CAA44}"/>
                </a:ext>
              </a:extLst>
            </p:cNvPr>
            <p:cNvSpPr/>
            <p:nvPr/>
          </p:nvSpPr>
          <p:spPr>
            <a:xfrm rot="8716295">
              <a:off x="8030791" y="4210054"/>
              <a:ext cx="154744" cy="110503"/>
            </a:xfrm>
            <a:custGeom>
              <a:avLst/>
              <a:gdLst>
                <a:gd name="connsiteX0" fmla="*/ 0 w 154744"/>
                <a:gd name="connsiteY0" fmla="*/ 34366 h 110503"/>
                <a:gd name="connsiteX1" fmla="*/ 3342 w 154744"/>
                <a:gd name="connsiteY1" fmla="*/ 26453 h 110503"/>
                <a:gd name="connsiteX2" fmla="*/ 65990 w 154744"/>
                <a:gd name="connsiteY2" fmla="*/ 0 h 110503"/>
                <a:gd name="connsiteX3" fmla="*/ 128640 w 154744"/>
                <a:gd name="connsiteY3" fmla="*/ 26453 h 110503"/>
                <a:gd name="connsiteX4" fmla="*/ 154744 w 154744"/>
                <a:gd name="connsiteY4" fmla="*/ 88580 h 110503"/>
                <a:gd name="connsiteX5" fmla="*/ 150487 w 154744"/>
                <a:gd name="connsiteY5" fmla="*/ 110503 h 110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4744" h="110503">
                  <a:moveTo>
                    <a:pt x="0" y="34366"/>
                  </a:moveTo>
                  <a:lnTo>
                    <a:pt x="3342" y="26453"/>
                  </a:lnTo>
                  <a:cubicBezTo>
                    <a:pt x="20048" y="9746"/>
                    <a:pt x="42323" y="0"/>
                    <a:pt x="65990" y="0"/>
                  </a:cubicBezTo>
                  <a:cubicBezTo>
                    <a:pt x="89659" y="0"/>
                    <a:pt x="111934" y="9746"/>
                    <a:pt x="128640" y="26453"/>
                  </a:cubicBezTo>
                  <a:cubicBezTo>
                    <a:pt x="146043" y="43159"/>
                    <a:pt x="154744" y="65782"/>
                    <a:pt x="154744" y="88580"/>
                  </a:cubicBezTo>
                  <a:lnTo>
                    <a:pt x="150487" y="1105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55" name="Rectangle 7">
            <a:extLst>
              <a:ext uri="{FF2B5EF4-FFF2-40B4-BE49-F238E27FC236}">
                <a16:creationId xmlns:a16="http://schemas.microsoft.com/office/drawing/2014/main" id="{88941299-7323-4585-91C3-38C1B71800C4}"/>
              </a:ext>
            </a:extLst>
          </p:cNvPr>
          <p:cNvSpPr/>
          <p:nvPr userDrawn="1"/>
        </p:nvSpPr>
        <p:spPr>
          <a:xfrm>
            <a:off x="0" y="4391025"/>
            <a:ext cx="9153528" cy="752475"/>
          </a:xfrm>
          <a:custGeom>
            <a:avLst/>
            <a:gdLst>
              <a:gd name="connsiteX0" fmla="*/ 0 w 9153528"/>
              <a:gd name="connsiteY0" fmla="*/ 0 h 752475"/>
              <a:gd name="connsiteX1" fmla="*/ 9153528 w 9153528"/>
              <a:gd name="connsiteY1" fmla="*/ 0 h 752475"/>
              <a:gd name="connsiteX2" fmla="*/ 9153528 w 9153528"/>
              <a:gd name="connsiteY2" fmla="*/ 752475 h 752475"/>
              <a:gd name="connsiteX3" fmla="*/ 0 w 9153528"/>
              <a:gd name="connsiteY3" fmla="*/ 752475 h 752475"/>
              <a:gd name="connsiteX4" fmla="*/ 0 w 9153528"/>
              <a:gd name="connsiteY4" fmla="*/ 0 h 752475"/>
              <a:gd name="connsiteX0" fmla="*/ 0 w 9153528"/>
              <a:gd name="connsiteY0" fmla="*/ 0 h 752475"/>
              <a:gd name="connsiteX1" fmla="*/ 9153528 w 9153528"/>
              <a:gd name="connsiteY1" fmla="*/ 752475 h 752475"/>
              <a:gd name="connsiteX2" fmla="*/ 0 w 9153528"/>
              <a:gd name="connsiteY2" fmla="*/ 752475 h 752475"/>
              <a:gd name="connsiteX3" fmla="*/ 0 w 9153528"/>
              <a:gd name="connsiteY3" fmla="*/ 0 h 752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53528" h="752475">
                <a:moveTo>
                  <a:pt x="0" y="0"/>
                </a:moveTo>
                <a:lnTo>
                  <a:pt x="9153528" y="752475"/>
                </a:lnTo>
                <a:lnTo>
                  <a:pt x="0" y="752475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87522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 2 avec image - Foncé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Forme libre : forme 69">
            <a:extLst>
              <a:ext uri="{FF2B5EF4-FFF2-40B4-BE49-F238E27FC236}">
                <a16:creationId xmlns:a16="http://schemas.microsoft.com/office/drawing/2014/main" id="{7A9D45F7-F6EE-4110-A350-96F73BCE90D1}"/>
              </a:ext>
            </a:extLst>
          </p:cNvPr>
          <p:cNvSpPr/>
          <p:nvPr userDrawn="1"/>
        </p:nvSpPr>
        <p:spPr>
          <a:xfrm>
            <a:off x="0" y="3708637"/>
            <a:ext cx="9153528" cy="1434863"/>
          </a:xfrm>
          <a:custGeom>
            <a:avLst/>
            <a:gdLst>
              <a:gd name="connsiteX0" fmla="*/ 0 w 9153528"/>
              <a:gd name="connsiteY0" fmla="*/ 0 h 1434863"/>
              <a:gd name="connsiteX1" fmla="*/ 9097717 w 9153528"/>
              <a:gd name="connsiteY1" fmla="*/ 747887 h 1434863"/>
              <a:gd name="connsiteX2" fmla="*/ 9153528 w 9153528"/>
              <a:gd name="connsiteY2" fmla="*/ 747887 h 1434863"/>
              <a:gd name="connsiteX3" fmla="*/ 9153528 w 9153528"/>
              <a:gd name="connsiteY3" fmla="*/ 752475 h 1434863"/>
              <a:gd name="connsiteX4" fmla="*/ 9153528 w 9153528"/>
              <a:gd name="connsiteY4" fmla="*/ 1434863 h 1434863"/>
              <a:gd name="connsiteX5" fmla="*/ 0 w 9153528"/>
              <a:gd name="connsiteY5" fmla="*/ 1434863 h 1434863"/>
              <a:gd name="connsiteX6" fmla="*/ 0 w 9153528"/>
              <a:gd name="connsiteY6" fmla="*/ 752475 h 1434863"/>
              <a:gd name="connsiteX7" fmla="*/ 0 w 9153528"/>
              <a:gd name="connsiteY7" fmla="*/ 747887 h 1434863"/>
              <a:gd name="connsiteX0" fmla="*/ 0 w 9153528"/>
              <a:gd name="connsiteY0" fmla="*/ 0 h 1434863"/>
              <a:gd name="connsiteX1" fmla="*/ 9097717 w 9153528"/>
              <a:gd name="connsiteY1" fmla="*/ 747887 h 1434863"/>
              <a:gd name="connsiteX2" fmla="*/ 9153528 w 9153528"/>
              <a:gd name="connsiteY2" fmla="*/ 752475 h 1434863"/>
              <a:gd name="connsiteX3" fmla="*/ 9153528 w 9153528"/>
              <a:gd name="connsiteY3" fmla="*/ 1434863 h 1434863"/>
              <a:gd name="connsiteX4" fmla="*/ 0 w 9153528"/>
              <a:gd name="connsiteY4" fmla="*/ 1434863 h 1434863"/>
              <a:gd name="connsiteX5" fmla="*/ 0 w 9153528"/>
              <a:gd name="connsiteY5" fmla="*/ 752475 h 1434863"/>
              <a:gd name="connsiteX6" fmla="*/ 0 w 9153528"/>
              <a:gd name="connsiteY6" fmla="*/ 747887 h 1434863"/>
              <a:gd name="connsiteX7" fmla="*/ 0 w 9153528"/>
              <a:gd name="connsiteY7" fmla="*/ 0 h 1434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53528" h="1434863">
                <a:moveTo>
                  <a:pt x="0" y="0"/>
                </a:moveTo>
                <a:lnTo>
                  <a:pt x="9097717" y="747887"/>
                </a:lnTo>
                <a:lnTo>
                  <a:pt x="9153528" y="752475"/>
                </a:lnTo>
                <a:lnTo>
                  <a:pt x="9153528" y="1434863"/>
                </a:lnTo>
                <a:lnTo>
                  <a:pt x="0" y="1434863"/>
                </a:lnTo>
                <a:lnTo>
                  <a:pt x="0" y="752475"/>
                </a:lnTo>
                <a:lnTo>
                  <a:pt x="0" y="747887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48FA6A4C-949D-4D78-851A-5D85C0ACA219}"/>
              </a:ext>
            </a:extLst>
          </p:cNvPr>
          <p:cNvGrpSpPr/>
          <p:nvPr userDrawn="1"/>
        </p:nvGrpSpPr>
        <p:grpSpPr>
          <a:xfrm>
            <a:off x="4782105" y="3396053"/>
            <a:ext cx="4416497" cy="1125022"/>
            <a:chOff x="4782105" y="4078441"/>
            <a:chExt cx="4416497" cy="1125022"/>
          </a:xfrm>
          <a:solidFill>
            <a:schemeClr val="bg2">
              <a:alpha val="10000"/>
            </a:schemeClr>
          </a:solidFill>
        </p:grpSpPr>
        <p:sp>
          <p:nvSpPr>
            <p:cNvPr id="7" name="Forme libre : forme 6">
              <a:extLst>
                <a:ext uri="{FF2B5EF4-FFF2-40B4-BE49-F238E27FC236}">
                  <a16:creationId xmlns:a16="http://schemas.microsoft.com/office/drawing/2014/main" id="{791FB8C9-9221-4E4C-A4AC-2AAD9F08AE59}"/>
                </a:ext>
              </a:extLst>
            </p:cNvPr>
            <p:cNvSpPr/>
            <p:nvPr/>
          </p:nvSpPr>
          <p:spPr>
            <a:xfrm rot="8716295">
              <a:off x="8490768" y="467807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CAEA067D-BF83-4ED3-87B4-BB06FFFF2B66}"/>
                </a:ext>
              </a:extLst>
            </p:cNvPr>
            <p:cNvSpPr/>
            <p:nvPr/>
          </p:nvSpPr>
          <p:spPr>
            <a:xfrm rot="8716295">
              <a:off x="5559260" y="4523190"/>
              <a:ext cx="215177" cy="303156"/>
            </a:xfrm>
            <a:custGeom>
              <a:avLst/>
              <a:gdLst>
                <a:gd name="connsiteX0" fmla="*/ 122761 w 215177"/>
                <a:gd name="connsiteY0" fmla="*/ 256399 h 303156"/>
                <a:gd name="connsiteX1" fmla="*/ 122761 w 215177"/>
                <a:gd name="connsiteY1" fmla="*/ 105519 h 303156"/>
                <a:gd name="connsiteX2" fmla="*/ 122761 w 215177"/>
                <a:gd name="connsiteY2" fmla="*/ 99312 h 303156"/>
                <a:gd name="connsiteX3" fmla="*/ 91726 w 215177"/>
                <a:gd name="connsiteY3" fmla="*/ 75863 h 303156"/>
                <a:gd name="connsiteX4" fmla="*/ 0 w 215177"/>
                <a:gd name="connsiteY4" fmla="*/ 75863 h 303156"/>
                <a:gd name="connsiteX5" fmla="*/ 0 w 215177"/>
                <a:gd name="connsiteY5" fmla="*/ 0 h 303156"/>
                <a:gd name="connsiteX6" fmla="*/ 128968 w 215177"/>
                <a:gd name="connsiteY6" fmla="*/ 0 h 303156"/>
                <a:gd name="connsiteX7" fmla="*/ 215177 w 215177"/>
                <a:gd name="connsiteY7" fmla="*/ 75863 h 303156"/>
                <a:gd name="connsiteX8" fmla="*/ 215176 w 215177"/>
                <a:gd name="connsiteY8" fmla="*/ 303156 h 303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5177" h="303156">
                  <a:moveTo>
                    <a:pt x="122761" y="25639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0"/>
                  </a:lnTo>
                  <a:lnTo>
                    <a:pt x="128968" y="0"/>
                  </a:lnTo>
                  <a:cubicBezTo>
                    <a:pt x="184831" y="0"/>
                    <a:pt x="215176" y="24139"/>
                    <a:pt x="215177" y="75863"/>
                  </a:cubicBezTo>
                  <a:lnTo>
                    <a:pt x="215176" y="30315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ADF38186-185D-41F8-A6B1-FB10366A4CEE}"/>
                </a:ext>
              </a:extLst>
            </p:cNvPr>
            <p:cNvSpPr/>
            <p:nvPr/>
          </p:nvSpPr>
          <p:spPr>
            <a:xfrm rot="8716295">
              <a:off x="5692925" y="4561542"/>
              <a:ext cx="393603" cy="335006"/>
            </a:xfrm>
            <a:custGeom>
              <a:avLst/>
              <a:gdLst>
                <a:gd name="connsiteX0" fmla="*/ 77932 w 393603"/>
                <a:gd name="connsiteY0" fmla="*/ 299055 h 335006"/>
                <a:gd name="connsiteX1" fmla="*/ 77932 w 393603"/>
                <a:gd name="connsiteY1" fmla="*/ 66897 h 335006"/>
                <a:gd name="connsiteX2" fmla="*/ 0 w 393603"/>
                <a:gd name="connsiteY2" fmla="*/ 66898 h 335006"/>
                <a:gd name="connsiteX3" fmla="*/ 0 w 393603"/>
                <a:gd name="connsiteY3" fmla="*/ 0 h 335006"/>
                <a:gd name="connsiteX4" fmla="*/ 158623 w 393603"/>
                <a:gd name="connsiteY4" fmla="*/ 1 h 335006"/>
                <a:gd name="connsiteX5" fmla="*/ 158623 w 393603"/>
                <a:gd name="connsiteY5" fmla="*/ 111726 h 335006"/>
                <a:gd name="connsiteX6" fmla="*/ 160692 w 393603"/>
                <a:gd name="connsiteY6" fmla="*/ 111726 h 335006"/>
                <a:gd name="connsiteX7" fmla="*/ 192762 w 393603"/>
                <a:gd name="connsiteY7" fmla="*/ 39915 h 335006"/>
                <a:gd name="connsiteX8" fmla="*/ 231959 w 393603"/>
                <a:gd name="connsiteY8" fmla="*/ 7837 h 335006"/>
                <a:gd name="connsiteX9" fmla="*/ 393603 w 393603"/>
                <a:gd name="connsiteY9" fmla="*/ 140745 h 335006"/>
                <a:gd name="connsiteX10" fmla="*/ 300695 w 393603"/>
                <a:gd name="connsiteY10" fmla="*/ 146210 h 335006"/>
                <a:gd name="connsiteX11" fmla="*/ 300694 w 393603"/>
                <a:gd name="connsiteY11" fmla="*/ 121382 h 335006"/>
                <a:gd name="connsiteX12" fmla="*/ 249659 w 393603"/>
                <a:gd name="connsiteY12" fmla="*/ 58622 h 335006"/>
                <a:gd name="connsiteX13" fmla="*/ 168969 w 393603"/>
                <a:gd name="connsiteY13" fmla="*/ 191038 h 335006"/>
                <a:gd name="connsiteX14" fmla="*/ 168969 w 393603"/>
                <a:gd name="connsiteY14" fmla="*/ 321385 h 335006"/>
                <a:gd name="connsiteX15" fmla="*/ 148991 w 393603"/>
                <a:gd name="connsiteY15" fmla="*/ 335006 h 335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93603" h="335006">
                  <a:moveTo>
                    <a:pt x="77932" y="299055"/>
                  </a:moveTo>
                  <a:lnTo>
                    <a:pt x="77932" y="66897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1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71727" y="78967"/>
                    <a:pt x="181555" y="56208"/>
                    <a:pt x="192762" y="39915"/>
                  </a:cubicBezTo>
                  <a:lnTo>
                    <a:pt x="231959" y="7837"/>
                  </a:lnTo>
                  <a:lnTo>
                    <a:pt x="393603" y="140745"/>
                  </a:lnTo>
                  <a:lnTo>
                    <a:pt x="300695" y="146210"/>
                  </a:lnTo>
                  <a:lnTo>
                    <a:pt x="300694" y="121382"/>
                  </a:lnTo>
                  <a:cubicBezTo>
                    <a:pt x="300695" y="84140"/>
                    <a:pt x="279316" y="58622"/>
                    <a:pt x="249659" y="58622"/>
                  </a:cubicBezTo>
                  <a:cubicBezTo>
                    <a:pt x="205521" y="58621"/>
                    <a:pt x="168969" y="117244"/>
                    <a:pt x="168969" y="191038"/>
                  </a:cubicBezTo>
                  <a:lnTo>
                    <a:pt x="168969" y="321385"/>
                  </a:lnTo>
                  <a:lnTo>
                    <a:pt x="148991" y="33500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4B724F9D-95FF-4F02-B59A-7E5AC8B98AC8}"/>
                </a:ext>
              </a:extLst>
            </p:cNvPr>
            <p:cNvSpPr/>
            <p:nvPr/>
          </p:nvSpPr>
          <p:spPr>
            <a:xfrm rot="8716295">
              <a:off x="5659234" y="4556420"/>
              <a:ext cx="113018" cy="83608"/>
            </a:xfrm>
            <a:custGeom>
              <a:avLst/>
              <a:gdLst>
                <a:gd name="connsiteX0" fmla="*/ 0 w 113018"/>
                <a:gd name="connsiteY0" fmla="*/ 32910 h 83608"/>
                <a:gd name="connsiteX1" fmla="*/ 24482 w 113018"/>
                <a:gd name="connsiteY1" fmla="*/ 13621 h 83608"/>
                <a:gd name="connsiteX2" fmla="*/ 70259 w 113018"/>
                <a:gd name="connsiteY2" fmla="*/ 0 h 83608"/>
                <a:gd name="connsiteX3" fmla="*/ 113018 w 113018"/>
                <a:gd name="connsiteY3" fmla="*/ 51035 h 83608"/>
                <a:gd name="connsiteX4" fmla="*/ 100518 w 113018"/>
                <a:gd name="connsiteY4" fmla="*/ 83363 h 83608"/>
                <a:gd name="connsiteX5" fmla="*/ 100204 w 113018"/>
                <a:gd name="connsiteY5" fmla="*/ 83608 h 83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018" h="83608">
                  <a:moveTo>
                    <a:pt x="0" y="32910"/>
                  </a:moveTo>
                  <a:lnTo>
                    <a:pt x="24482" y="13621"/>
                  </a:lnTo>
                  <a:cubicBezTo>
                    <a:pt x="38534" y="6380"/>
                    <a:pt x="54052" y="1725"/>
                    <a:pt x="70259" y="0"/>
                  </a:cubicBezTo>
                  <a:cubicBezTo>
                    <a:pt x="103363" y="0"/>
                    <a:pt x="113018" y="28966"/>
                    <a:pt x="113018" y="51035"/>
                  </a:cubicBezTo>
                  <a:cubicBezTo>
                    <a:pt x="111984" y="63105"/>
                    <a:pt x="107501" y="74139"/>
                    <a:pt x="100518" y="83363"/>
                  </a:cubicBezTo>
                  <a:lnTo>
                    <a:pt x="100204" y="8360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D01436B5-D8EB-44DF-8B51-633BF4E9FB42}"/>
                </a:ext>
              </a:extLst>
            </p:cNvPr>
            <p:cNvSpPr/>
            <p:nvPr/>
          </p:nvSpPr>
          <p:spPr>
            <a:xfrm rot="8716295">
              <a:off x="5371633" y="4613095"/>
              <a:ext cx="88105" cy="83851"/>
            </a:xfrm>
            <a:custGeom>
              <a:avLst/>
              <a:gdLst>
                <a:gd name="connsiteX0" fmla="*/ 6112 w 88105"/>
                <a:gd name="connsiteY0" fmla="*/ 59305 h 83851"/>
                <a:gd name="connsiteX1" fmla="*/ 0 w 88105"/>
                <a:gd name="connsiteY1" fmla="*/ 44829 h 83851"/>
                <a:gd name="connsiteX2" fmla="*/ 0 w 88105"/>
                <a:gd name="connsiteY2" fmla="*/ 44139 h 83851"/>
                <a:gd name="connsiteX3" fmla="*/ 13104 w 88105"/>
                <a:gd name="connsiteY3" fmla="*/ 13104 h 83851"/>
                <a:gd name="connsiteX4" fmla="*/ 44139 w 88105"/>
                <a:gd name="connsiteY4" fmla="*/ 0 h 83851"/>
                <a:gd name="connsiteX5" fmla="*/ 75175 w 88105"/>
                <a:gd name="connsiteY5" fmla="*/ 13104 h 83851"/>
                <a:gd name="connsiteX6" fmla="*/ 75175 w 88105"/>
                <a:gd name="connsiteY6" fmla="*/ 75175 h 83851"/>
                <a:gd name="connsiteX7" fmla="*/ 54626 w 88105"/>
                <a:gd name="connsiteY7" fmla="*/ 83851 h 83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105" h="83851">
                  <a:moveTo>
                    <a:pt x="6112" y="59305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cubicBezTo>
                    <a:pt x="55864" y="0"/>
                    <a:pt x="66899" y="4828"/>
                    <a:pt x="75175" y="13104"/>
                  </a:cubicBezTo>
                  <a:cubicBezTo>
                    <a:pt x="92416" y="29657"/>
                    <a:pt x="92416" y="57933"/>
                    <a:pt x="75175" y="75175"/>
                  </a:cubicBezTo>
                  <a:lnTo>
                    <a:pt x="54626" y="8385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6F3BF20E-F037-4374-BB41-095B54D26F08}"/>
                </a:ext>
              </a:extLst>
            </p:cNvPr>
            <p:cNvSpPr/>
            <p:nvPr/>
          </p:nvSpPr>
          <p:spPr>
            <a:xfrm rot="8716295">
              <a:off x="5473646" y="4706746"/>
              <a:ext cx="91035" cy="188159"/>
            </a:xfrm>
            <a:custGeom>
              <a:avLst/>
              <a:gdLst>
                <a:gd name="connsiteX0" fmla="*/ 91035 w 91035"/>
                <a:gd name="connsiteY0" fmla="*/ 188159 h 188159"/>
                <a:gd name="connsiteX1" fmla="*/ 0 w 91035"/>
                <a:gd name="connsiteY1" fmla="*/ 100571 h 188159"/>
                <a:gd name="connsiteX2" fmla="*/ 0 w 91035"/>
                <a:gd name="connsiteY2" fmla="*/ 0 h 188159"/>
                <a:gd name="connsiteX3" fmla="*/ 91035 w 91035"/>
                <a:gd name="connsiteY3" fmla="*/ 74852 h 188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188159">
                  <a:moveTo>
                    <a:pt x="91035" y="188159"/>
                  </a:moveTo>
                  <a:lnTo>
                    <a:pt x="0" y="100571"/>
                  </a:lnTo>
                  <a:lnTo>
                    <a:pt x="0" y="0"/>
                  </a:lnTo>
                  <a:lnTo>
                    <a:pt x="91035" y="748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BBB1D061-FD31-402D-BCCB-6813149262F1}"/>
                </a:ext>
              </a:extLst>
            </p:cNvPr>
            <p:cNvSpPr/>
            <p:nvPr/>
          </p:nvSpPr>
          <p:spPr>
            <a:xfrm rot="8716295">
              <a:off x="6218962" y="4454620"/>
              <a:ext cx="171018" cy="106515"/>
            </a:xfrm>
            <a:custGeom>
              <a:avLst/>
              <a:gdLst>
                <a:gd name="connsiteX0" fmla="*/ 0 w 171018"/>
                <a:gd name="connsiteY0" fmla="*/ 19991 h 106515"/>
                <a:gd name="connsiteX1" fmla="*/ 13365 w 171018"/>
                <a:gd name="connsiteY1" fmla="*/ 9053 h 106515"/>
                <a:gd name="connsiteX2" fmla="*/ 60952 w 171018"/>
                <a:gd name="connsiteY2" fmla="*/ 87 h 106515"/>
                <a:gd name="connsiteX3" fmla="*/ 166956 w 171018"/>
                <a:gd name="connsiteY3" fmla="*/ 76705 h 106515"/>
                <a:gd name="connsiteX4" fmla="*/ 171018 w 171018"/>
                <a:gd name="connsiteY4" fmla="*/ 106515 h 106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018" h="106515">
                  <a:moveTo>
                    <a:pt x="0" y="19991"/>
                  </a:moveTo>
                  <a:lnTo>
                    <a:pt x="13365" y="9053"/>
                  </a:lnTo>
                  <a:cubicBezTo>
                    <a:pt x="28538" y="2846"/>
                    <a:pt x="44400" y="-602"/>
                    <a:pt x="60952" y="87"/>
                  </a:cubicBezTo>
                  <a:cubicBezTo>
                    <a:pt x="114229" y="-948"/>
                    <a:pt x="151600" y="26725"/>
                    <a:pt x="166956" y="76705"/>
                  </a:cubicBezTo>
                  <a:lnTo>
                    <a:pt x="171018" y="10651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B49834EB-4686-4A9A-AFBE-353B0A4BB9CC}"/>
                </a:ext>
              </a:extLst>
            </p:cNvPr>
            <p:cNvSpPr/>
            <p:nvPr/>
          </p:nvSpPr>
          <p:spPr>
            <a:xfrm rot="8716295">
              <a:off x="6005990" y="4487669"/>
              <a:ext cx="156555" cy="122067"/>
            </a:xfrm>
            <a:custGeom>
              <a:avLst/>
              <a:gdLst>
                <a:gd name="connsiteX0" fmla="*/ 65519 w 156555"/>
                <a:gd name="connsiteY0" fmla="*/ 76009 h 122067"/>
                <a:gd name="connsiteX1" fmla="*/ 65519 w 156555"/>
                <a:gd name="connsiteY1" fmla="*/ 24828 h 122067"/>
                <a:gd name="connsiteX2" fmla="*/ 0 w 156555"/>
                <a:gd name="connsiteY2" fmla="*/ 24828 h 122067"/>
                <a:gd name="connsiteX3" fmla="*/ 0 w 156555"/>
                <a:gd name="connsiteY3" fmla="*/ 3449 h 122067"/>
                <a:gd name="connsiteX4" fmla="*/ 156555 w 156555"/>
                <a:gd name="connsiteY4" fmla="*/ 0 h 122067"/>
                <a:gd name="connsiteX5" fmla="*/ 156554 w 156555"/>
                <a:gd name="connsiteY5" fmla="*/ 122067 h 122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6555" h="122067">
                  <a:moveTo>
                    <a:pt x="65519" y="76009"/>
                  </a:moveTo>
                  <a:lnTo>
                    <a:pt x="65519" y="24828"/>
                  </a:lnTo>
                  <a:lnTo>
                    <a:pt x="0" y="24828"/>
                  </a:lnTo>
                  <a:lnTo>
                    <a:pt x="0" y="3449"/>
                  </a:lnTo>
                  <a:cubicBezTo>
                    <a:pt x="49656" y="5517"/>
                    <a:pt x="101381" y="1379"/>
                    <a:pt x="156555" y="0"/>
                  </a:cubicBezTo>
                  <a:lnTo>
                    <a:pt x="156554" y="1220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676F5558-2730-4CE0-B993-EAC478371730}"/>
                </a:ext>
              </a:extLst>
            </p:cNvPr>
            <p:cNvSpPr/>
            <p:nvPr/>
          </p:nvSpPr>
          <p:spPr>
            <a:xfrm rot="7484129">
              <a:off x="6103422" y="4586563"/>
              <a:ext cx="308532" cy="296464"/>
            </a:xfrm>
            <a:custGeom>
              <a:avLst/>
              <a:gdLst>
                <a:gd name="connsiteX0" fmla="*/ 137293 w 308532"/>
                <a:gd name="connsiteY0" fmla="*/ 296464 h 296464"/>
                <a:gd name="connsiteX1" fmla="*/ 72419 w 308532"/>
                <a:gd name="connsiteY1" fmla="*/ 175766 h 296464"/>
                <a:gd name="connsiteX2" fmla="*/ 105610 w 308532"/>
                <a:gd name="connsiteY2" fmla="*/ 83734 h 296464"/>
                <a:gd name="connsiteX3" fmla="*/ 0 w 308532"/>
                <a:gd name="connsiteY3" fmla="*/ 83734 h 296464"/>
                <a:gd name="connsiteX4" fmla="*/ 0 w 308532"/>
                <a:gd name="connsiteY4" fmla="*/ 0 h 296464"/>
                <a:gd name="connsiteX5" fmla="*/ 265017 w 308532"/>
                <a:gd name="connsiteY5" fmla="*/ 0 h 296464"/>
                <a:gd name="connsiteX6" fmla="*/ 308532 w 308532"/>
                <a:gd name="connsiteY6" fmla="*/ 75260 h 296464"/>
                <a:gd name="connsiteX7" fmla="*/ 308532 w 308532"/>
                <a:gd name="connsiteY7" fmla="*/ 83734 h 296464"/>
                <a:gd name="connsiteX8" fmla="*/ 210466 w 308532"/>
                <a:gd name="connsiteY8" fmla="*/ 83734 h 296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532" h="296464">
                  <a:moveTo>
                    <a:pt x="137293" y="296464"/>
                  </a:moveTo>
                  <a:lnTo>
                    <a:pt x="72419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65017" y="0"/>
                  </a:lnTo>
                  <a:lnTo>
                    <a:pt x="308532" y="75260"/>
                  </a:lnTo>
                  <a:lnTo>
                    <a:pt x="308532" y="83734"/>
                  </a:lnTo>
                  <a:lnTo>
                    <a:pt x="210466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6446F284-DF3B-4BD3-84E9-63513197872A}"/>
                </a:ext>
              </a:extLst>
            </p:cNvPr>
            <p:cNvSpPr/>
            <p:nvPr/>
          </p:nvSpPr>
          <p:spPr>
            <a:xfrm rot="13089394">
              <a:off x="6309616" y="4543919"/>
              <a:ext cx="412568" cy="359948"/>
            </a:xfrm>
            <a:custGeom>
              <a:avLst/>
              <a:gdLst>
                <a:gd name="connsiteX0" fmla="*/ 412568 w 412568"/>
                <a:gd name="connsiteY0" fmla="*/ 252801 h 359948"/>
                <a:gd name="connsiteX1" fmla="*/ 138636 w 412568"/>
                <a:gd name="connsiteY1" fmla="*/ 359701 h 359948"/>
                <a:gd name="connsiteX2" fmla="*/ 35911 w 412568"/>
                <a:gd name="connsiteY2" fmla="*/ 317943 h 359948"/>
                <a:gd name="connsiteX3" fmla="*/ 0 w 412568"/>
                <a:gd name="connsiteY3" fmla="*/ 174296 h 359948"/>
                <a:gd name="connsiteX4" fmla="*/ 0 w 412568"/>
                <a:gd name="connsiteY4" fmla="*/ 74054 h 359948"/>
                <a:gd name="connsiteX5" fmla="*/ 112066 w 412568"/>
                <a:gd name="connsiteY5" fmla="*/ 0 h 359948"/>
                <a:gd name="connsiteX6" fmla="*/ 112747 w 412568"/>
                <a:gd name="connsiteY6" fmla="*/ 94956 h 359948"/>
                <a:gd name="connsiteX7" fmla="*/ 132789 w 412568"/>
                <a:gd name="connsiteY7" fmla="*/ 233593 h 359948"/>
                <a:gd name="connsiteX8" fmla="*/ 233008 w 412568"/>
                <a:gd name="connsiteY8" fmla="*/ 288713 h 359948"/>
                <a:gd name="connsiteX9" fmla="*/ 308172 w 412568"/>
                <a:gd name="connsiteY9" fmla="*/ 275351 h 359948"/>
                <a:gd name="connsiteX10" fmla="*/ 410898 w 412568"/>
                <a:gd name="connsiteY10" fmla="*/ 233593 h 359948"/>
                <a:gd name="connsiteX11" fmla="*/ 412568 w 412568"/>
                <a:gd name="connsiteY11" fmla="*/ 244449 h 359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2568" h="359948">
                  <a:moveTo>
                    <a:pt x="412568" y="252801"/>
                  </a:moveTo>
                  <a:cubicBezTo>
                    <a:pt x="324041" y="328800"/>
                    <a:pt x="207954" y="355526"/>
                    <a:pt x="138636" y="359701"/>
                  </a:cubicBezTo>
                  <a:cubicBezTo>
                    <a:pt x="100219" y="362207"/>
                    <a:pt x="62637" y="345504"/>
                    <a:pt x="35911" y="317943"/>
                  </a:cubicBezTo>
                  <a:cubicBezTo>
                    <a:pt x="7516" y="290383"/>
                    <a:pt x="0" y="242779"/>
                    <a:pt x="0" y="174296"/>
                  </a:cubicBezTo>
                  <a:lnTo>
                    <a:pt x="0" y="74054"/>
                  </a:lnTo>
                  <a:lnTo>
                    <a:pt x="112066" y="0"/>
                  </a:lnTo>
                  <a:lnTo>
                    <a:pt x="112747" y="94956"/>
                  </a:lnTo>
                  <a:cubicBezTo>
                    <a:pt x="110241" y="141725"/>
                    <a:pt x="117756" y="189329"/>
                    <a:pt x="132789" y="233593"/>
                  </a:cubicBezTo>
                  <a:cubicBezTo>
                    <a:pt x="146153" y="270339"/>
                    <a:pt x="180394" y="288713"/>
                    <a:pt x="233008" y="288713"/>
                  </a:cubicBezTo>
                  <a:cubicBezTo>
                    <a:pt x="258899" y="287878"/>
                    <a:pt x="283953" y="282866"/>
                    <a:pt x="308172" y="275351"/>
                  </a:cubicBezTo>
                  <a:cubicBezTo>
                    <a:pt x="343249" y="264493"/>
                    <a:pt x="377491" y="250296"/>
                    <a:pt x="410898" y="233593"/>
                  </a:cubicBezTo>
                  <a:cubicBezTo>
                    <a:pt x="411732" y="236933"/>
                    <a:pt x="412568" y="241109"/>
                    <a:pt x="412568" y="24444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88875692-D947-4058-8206-44233A06BFD3}"/>
                </a:ext>
              </a:extLst>
            </p:cNvPr>
            <p:cNvSpPr/>
            <p:nvPr/>
          </p:nvSpPr>
          <p:spPr>
            <a:xfrm rot="8716295">
              <a:off x="6597507" y="4422612"/>
              <a:ext cx="149044" cy="111064"/>
            </a:xfrm>
            <a:custGeom>
              <a:avLst/>
              <a:gdLst>
                <a:gd name="connsiteX0" fmla="*/ 0 w 149044"/>
                <a:gd name="connsiteY0" fmla="*/ 51375 h 111064"/>
                <a:gd name="connsiteX1" fmla="*/ 1002 w 149044"/>
                <a:gd name="connsiteY1" fmla="*/ 50432 h 111064"/>
                <a:gd name="connsiteX2" fmla="*/ 98612 w 149044"/>
                <a:gd name="connsiteY2" fmla="*/ 0 h 111064"/>
                <a:gd name="connsiteX3" fmla="*/ 149044 w 149044"/>
                <a:gd name="connsiteY3" fmla="*/ 60193 h 111064"/>
                <a:gd name="connsiteX4" fmla="*/ 134300 w 149044"/>
                <a:gd name="connsiteY4" fmla="*/ 98322 h 111064"/>
                <a:gd name="connsiteX5" fmla="*/ 117977 w 149044"/>
                <a:gd name="connsiteY5" fmla="*/ 111064 h 111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044" h="111064">
                  <a:moveTo>
                    <a:pt x="0" y="51375"/>
                  </a:moveTo>
                  <a:lnTo>
                    <a:pt x="1002" y="50432"/>
                  </a:lnTo>
                  <a:cubicBezTo>
                    <a:pt x="25404" y="21963"/>
                    <a:pt x="60381" y="4067"/>
                    <a:pt x="98612" y="0"/>
                  </a:cubicBezTo>
                  <a:cubicBezTo>
                    <a:pt x="137657" y="0"/>
                    <a:pt x="149044" y="34164"/>
                    <a:pt x="149044" y="60193"/>
                  </a:cubicBezTo>
                  <a:cubicBezTo>
                    <a:pt x="147824" y="74428"/>
                    <a:pt x="142536" y="87443"/>
                    <a:pt x="134300" y="98322"/>
                  </a:cubicBezTo>
                  <a:lnTo>
                    <a:pt x="117977" y="1110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371804DA-D0A5-4840-894B-07AAE1064663}"/>
                </a:ext>
              </a:extLst>
            </p:cNvPr>
            <p:cNvSpPr/>
            <p:nvPr/>
          </p:nvSpPr>
          <p:spPr>
            <a:xfrm rot="8716295">
              <a:off x="6708126" y="4876229"/>
              <a:ext cx="139286" cy="121327"/>
            </a:xfrm>
            <a:custGeom>
              <a:avLst/>
              <a:gdLst>
                <a:gd name="connsiteX0" fmla="*/ 26453 w 139286"/>
                <a:gd name="connsiteY0" fmla="*/ 96267 h 121327"/>
                <a:gd name="connsiteX1" fmla="*/ 0 w 139286"/>
                <a:gd name="connsiteY1" fmla="*/ 33618 h 121327"/>
                <a:gd name="connsiteX2" fmla="*/ 0 w 139286"/>
                <a:gd name="connsiteY2" fmla="*/ 32225 h 121327"/>
                <a:gd name="connsiteX3" fmla="*/ 13607 w 139286"/>
                <a:gd name="connsiteY3" fmla="*/ 0 h 121327"/>
                <a:gd name="connsiteX4" fmla="*/ 139286 w 139286"/>
                <a:gd name="connsiteY4" fmla="*/ 103337 h 121327"/>
                <a:gd name="connsiteX5" fmla="*/ 123037 w 139286"/>
                <a:gd name="connsiteY5" fmla="*/ 114366 h 121327"/>
                <a:gd name="connsiteX6" fmla="*/ 89101 w 139286"/>
                <a:gd name="connsiteY6" fmla="*/ 121327 h 121327"/>
                <a:gd name="connsiteX7" fmla="*/ 26453 w 139286"/>
                <a:gd name="connsiteY7" fmla="*/ 96267 h 121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9286" h="121327">
                  <a:moveTo>
                    <a:pt x="26453" y="96267"/>
                  </a:moveTo>
                  <a:cubicBezTo>
                    <a:pt x="9746" y="79561"/>
                    <a:pt x="0" y="57285"/>
                    <a:pt x="0" y="33618"/>
                  </a:cubicBezTo>
                  <a:lnTo>
                    <a:pt x="0" y="32225"/>
                  </a:lnTo>
                  <a:lnTo>
                    <a:pt x="13607" y="0"/>
                  </a:lnTo>
                  <a:lnTo>
                    <a:pt x="139286" y="103337"/>
                  </a:lnTo>
                  <a:lnTo>
                    <a:pt x="123037" y="114366"/>
                  </a:lnTo>
                  <a:cubicBezTo>
                    <a:pt x="112421" y="118890"/>
                    <a:pt x="100935" y="121327"/>
                    <a:pt x="89101" y="121327"/>
                  </a:cubicBezTo>
                  <a:cubicBezTo>
                    <a:pt x="65435" y="121327"/>
                    <a:pt x="43159" y="112973"/>
                    <a:pt x="26453" y="9626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6EEBC52A-3D14-419B-8366-97197098C604}"/>
                </a:ext>
              </a:extLst>
            </p:cNvPr>
            <p:cNvSpPr/>
            <p:nvPr/>
          </p:nvSpPr>
          <p:spPr>
            <a:xfrm rot="8716295">
              <a:off x="4782105" y="4823045"/>
              <a:ext cx="311921" cy="362797"/>
            </a:xfrm>
            <a:custGeom>
              <a:avLst/>
              <a:gdLst>
                <a:gd name="connsiteX0" fmla="*/ 311920 w 311921"/>
                <a:gd name="connsiteY0" fmla="*/ 120307 h 362797"/>
                <a:gd name="connsiteX1" fmla="*/ 138360 w 311921"/>
                <a:gd name="connsiteY1" fmla="*/ 1 h 362797"/>
                <a:gd name="connsiteX2" fmla="*/ 138360 w 311921"/>
                <a:gd name="connsiteY2" fmla="*/ 0 h 362797"/>
                <a:gd name="connsiteX3" fmla="*/ 311921 w 311921"/>
                <a:gd name="connsiteY3" fmla="*/ 120307 h 362797"/>
                <a:gd name="connsiteX4" fmla="*/ 0 w 311921"/>
                <a:gd name="connsiteY4" fmla="*/ 362797 h 362797"/>
                <a:gd name="connsiteX5" fmla="*/ 0 w 311921"/>
                <a:gd name="connsiteY5" fmla="*/ 320869 h 362797"/>
                <a:gd name="connsiteX6" fmla="*/ 27877 w 311921"/>
                <a:gd name="connsiteY6" fmla="*/ 343790 h 362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1921" h="362797">
                  <a:moveTo>
                    <a:pt x="311920" y="120307"/>
                  </a:moveTo>
                  <a:lnTo>
                    <a:pt x="138360" y="1"/>
                  </a:lnTo>
                  <a:lnTo>
                    <a:pt x="138360" y="0"/>
                  </a:lnTo>
                  <a:lnTo>
                    <a:pt x="311921" y="120307"/>
                  </a:lnTo>
                  <a:close/>
                  <a:moveTo>
                    <a:pt x="0" y="362797"/>
                  </a:moveTo>
                  <a:lnTo>
                    <a:pt x="0" y="320869"/>
                  </a:lnTo>
                  <a:lnTo>
                    <a:pt x="27877" y="34379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53F2D732-A25A-4CEE-B98E-E5DC8CC54158}"/>
                </a:ext>
              </a:extLst>
            </p:cNvPr>
            <p:cNvSpPr/>
            <p:nvPr/>
          </p:nvSpPr>
          <p:spPr>
            <a:xfrm rot="8716295">
              <a:off x="5132149" y="4738008"/>
              <a:ext cx="148614" cy="131720"/>
            </a:xfrm>
            <a:custGeom>
              <a:avLst/>
              <a:gdLst>
                <a:gd name="connsiteX0" fmla="*/ 26453 w 148614"/>
                <a:gd name="connsiteY0" fmla="*/ 106660 h 131720"/>
                <a:gd name="connsiteX1" fmla="*/ 0 w 148614"/>
                <a:gd name="connsiteY1" fmla="*/ 44011 h 131720"/>
                <a:gd name="connsiteX2" fmla="*/ 0 w 148614"/>
                <a:gd name="connsiteY2" fmla="*/ 42618 h 131720"/>
                <a:gd name="connsiteX3" fmla="*/ 17995 w 148614"/>
                <a:gd name="connsiteY3" fmla="*/ 0 h 131720"/>
                <a:gd name="connsiteX4" fmla="*/ 148614 w 148614"/>
                <a:gd name="connsiteY4" fmla="*/ 107398 h 131720"/>
                <a:gd name="connsiteX5" fmla="*/ 123037 w 148614"/>
                <a:gd name="connsiteY5" fmla="*/ 124759 h 131720"/>
                <a:gd name="connsiteX6" fmla="*/ 89101 w 148614"/>
                <a:gd name="connsiteY6" fmla="*/ 131720 h 131720"/>
                <a:gd name="connsiteX7" fmla="*/ 26453 w 148614"/>
                <a:gd name="connsiteY7" fmla="*/ 106660 h 13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8614" h="131720">
                  <a:moveTo>
                    <a:pt x="26453" y="106660"/>
                  </a:moveTo>
                  <a:cubicBezTo>
                    <a:pt x="9746" y="89954"/>
                    <a:pt x="0" y="67678"/>
                    <a:pt x="0" y="44011"/>
                  </a:cubicBezTo>
                  <a:lnTo>
                    <a:pt x="0" y="42618"/>
                  </a:lnTo>
                  <a:lnTo>
                    <a:pt x="17995" y="0"/>
                  </a:lnTo>
                  <a:lnTo>
                    <a:pt x="148614" y="107398"/>
                  </a:lnTo>
                  <a:lnTo>
                    <a:pt x="123037" y="124759"/>
                  </a:lnTo>
                  <a:cubicBezTo>
                    <a:pt x="112421" y="129283"/>
                    <a:pt x="100935" y="131720"/>
                    <a:pt x="89101" y="131720"/>
                  </a:cubicBezTo>
                  <a:cubicBezTo>
                    <a:pt x="65435" y="131720"/>
                    <a:pt x="43159" y="123366"/>
                    <a:pt x="26453" y="10666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937A52BD-510B-4C03-9C16-CD9D234ABB7D}"/>
                </a:ext>
              </a:extLst>
            </p:cNvPr>
            <p:cNvSpPr/>
            <p:nvPr/>
          </p:nvSpPr>
          <p:spPr>
            <a:xfrm rot="8716295">
              <a:off x="5043572" y="4624951"/>
              <a:ext cx="150722" cy="101024"/>
            </a:xfrm>
            <a:custGeom>
              <a:avLst/>
              <a:gdLst>
                <a:gd name="connsiteX0" fmla="*/ 0 w 150722"/>
                <a:gd name="connsiteY0" fmla="*/ 25991 h 101024"/>
                <a:gd name="connsiteX1" fmla="*/ 28034 w 150722"/>
                <a:gd name="connsiteY1" fmla="*/ 6961 h 101024"/>
                <a:gd name="connsiteX2" fmla="*/ 61968 w 150722"/>
                <a:gd name="connsiteY2" fmla="*/ 0 h 101024"/>
                <a:gd name="connsiteX3" fmla="*/ 124618 w 150722"/>
                <a:gd name="connsiteY3" fmla="*/ 26453 h 101024"/>
                <a:gd name="connsiteX4" fmla="*/ 150722 w 150722"/>
                <a:gd name="connsiteY4" fmla="*/ 88580 h 101024"/>
                <a:gd name="connsiteX5" fmla="*/ 148306 w 150722"/>
                <a:gd name="connsiteY5" fmla="*/ 101024 h 10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0722" h="101024">
                  <a:moveTo>
                    <a:pt x="0" y="25991"/>
                  </a:moveTo>
                  <a:lnTo>
                    <a:pt x="28034" y="6961"/>
                  </a:lnTo>
                  <a:cubicBezTo>
                    <a:pt x="38649" y="2437"/>
                    <a:pt x="50135" y="0"/>
                    <a:pt x="61968" y="0"/>
                  </a:cubicBezTo>
                  <a:cubicBezTo>
                    <a:pt x="85637" y="0"/>
                    <a:pt x="107912" y="9746"/>
                    <a:pt x="124618" y="26453"/>
                  </a:cubicBezTo>
                  <a:cubicBezTo>
                    <a:pt x="142021" y="43159"/>
                    <a:pt x="150722" y="65782"/>
                    <a:pt x="150722" y="88580"/>
                  </a:cubicBezTo>
                  <a:lnTo>
                    <a:pt x="148306" y="1010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C719F00E-5A8E-45CC-8F56-B823EE2F6BB7}"/>
                </a:ext>
              </a:extLst>
            </p:cNvPr>
            <p:cNvSpPr/>
            <p:nvPr/>
          </p:nvSpPr>
          <p:spPr>
            <a:xfrm rot="8716295">
              <a:off x="8546573" y="4108588"/>
              <a:ext cx="215176" cy="313567"/>
            </a:xfrm>
            <a:custGeom>
              <a:avLst/>
              <a:gdLst>
                <a:gd name="connsiteX0" fmla="*/ 122760 w 215176"/>
                <a:gd name="connsiteY0" fmla="*/ 266809 h 313567"/>
                <a:gd name="connsiteX1" fmla="*/ 122761 w 215176"/>
                <a:gd name="connsiteY1" fmla="*/ 105519 h 313567"/>
                <a:gd name="connsiteX2" fmla="*/ 122761 w 215176"/>
                <a:gd name="connsiteY2" fmla="*/ 99312 h 313567"/>
                <a:gd name="connsiteX3" fmla="*/ 91726 w 215176"/>
                <a:gd name="connsiteY3" fmla="*/ 75863 h 313567"/>
                <a:gd name="connsiteX4" fmla="*/ 0 w 215176"/>
                <a:gd name="connsiteY4" fmla="*/ 75863 h 313567"/>
                <a:gd name="connsiteX5" fmla="*/ 0 w 215176"/>
                <a:gd name="connsiteY5" fmla="*/ 0 h 313567"/>
                <a:gd name="connsiteX6" fmla="*/ 128968 w 215176"/>
                <a:gd name="connsiteY6" fmla="*/ 0 h 313567"/>
                <a:gd name="connsiteX7" fmla="*/ 215176 w 215176"/>
                <a:gd name="connsiteY7" fmla="*/ 75863 h 313567"/>
                <a:gd name="connsiteX8" fmla="*/ 215176 w 215176"/>
                <a:gd name="connsiteY8" fmla="*/ 313567 h 31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5176" h="313567">
                  <a:moveTo>
                    <a:pt x="122760" y="26680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0"/>
                  </a:lnTo>
                  <a:lnTo>
                    <a:pt x="128968" y="0"/>
                  </a:lnTo>
                  <a:cubicBezTo>
                    <a:pt x="184831" y="0"/>
                    <a:pt x="215177" y="24139"/>
                    <a:pt x="215176" y="75863"/>
                  </a:cubicBezTo>
                  <a:lnTo>
                    <a:pt x="215176" y="3135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25DD9CA0-AFE3-4B5F-B15D-E7FBAF734592}"/>
                </a:ext>
              </a:extLst>
            </p:cNvPr>
            <p:cNvSpPr/>
            <p:nvPr/>
          </p:nvSpPr>
          <p:spPr>
            <a:xfrm rot="8716295">
              <a:off x="8681306" y="4151041"/>
              <a:ext cx="394490" cy="343138"/>
            </a:xfrm>
            <a:custGeom>
              <a:avLst/>
              <a:gdLst>
                <a:gd name="connsiteX0" fmla="*/ 77932 w 394490"/>
                <a:gd name="connsiteY0" fmla="*/ 311621 h 343138"/>
                <a:gd name="connsiteX1" fmla="*/ 77932 w 394490"/>
                <a:gd name="connsiteY1" fmla="*/ 69053 h 343138"/>
                <a:gd name="connsiteX2" fmla="*/ 0 w 394490"/>
                <a:gd name="connsiteY2" fmla="*/ 69054 h 343138"/>
                <a:gd name="connsiteX3" fmla="*/ 0 w 394490"/>
                <a:gd name="connsiteY3" fmla="*/ 2156 h 343138"/>
                <a:gd name="connsiteX4" fmla="*/ 158623 w 394490"/>
                <a:gd name="connsiteY4" fmla="*/ 2157 h 343138"/>
                <a:gd name="connsiteX5" fmla="*/ 158624 w 394490"/>
                <a:gd name="connsiteY5" fmla="*/ 113882 h 343138"/>
                <a:gd name="connsiteX6" fmla="*/ 160692 w 394490"/>
                <a:gd name="connsiteY6" fmla="*/ 113882 h 343138"/>
                <a:gd name="connsiteX7" fmla="*/ 233107 w 394490"/>
                <a:gd name="connsiteY7" fmla="*/ 9053 h 343138"/>
                <a:gd name="connsiteX8" fmla="*/ 280694 w 394490"/>
                <a:gd name="connsiteY8" fmla="*/ 87 h 343138"/>
                <a:gd name="connsiteX9" fmla="*/ 394490 w 394490"/>
                <a:gd name="connsiteY9" fmla="*/ 133882 h 343138"/>
                <a:gd name="connsiteX10" fmla="*/ 394490 w 394490"/>
                <a:gd name="connsiteY10" fmla="*/ 142849 h 343138"/>
                <a:gd name="connsiteX11" fmla="*/ 300694 w 394490"/>
                <a:gd name="connsiteY11" fmla="*/ 148365 h 343138"/>
                <a:gd name="connsiteX12" fmla="*/ 300694 w 394490"/>
                <a:gd name="connsiteY12" fmla="*/ 123538 h 343138"/>
                <a:gd name="connsiteX13" fmla="*/ 249660 w 394490"/>
                <a:gd name="connsiteY13" fmla="*/ 60778 h 343138"/>
                <a:gd name="connsiteX14" fmla="*/ 168969 w 394490"/>
                <a:gd name="connsiteY14" fmla="*/ 193194 h 343138"/>
                <a:gd name="connsiteX15" fmla="*/ 168969 w 394490"/>
                <a:gd name="connsiteY15" fmla="*/ 323541 h 343138"/>
                <a:gd name="connsiteX16" fmla="*/ 140226 w 394490"/>
                <a:gd name="connsiteY16" fmla="*/ 343138 h 343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4490" h="343138">
                  <a:moveTo>
                    <a:pt x="77932" y="311621"/>
                  </a:moveTo>
                  <a:lnTo>
                    <a:pt x="77932" y="69053"/>
                  </a:lnTo>
                  <a:lnTo>
                    <a:pt x="0" y="69054"/>
                  </a:lnTo>
                  <a:lnTo>
                    <a:pt x="0" y="2156"/>
                  </a:lnTo>
                  <a:lnTo>
                    <a:pt x="158623" y="2157"/>
                  </a:lnTo>
                  <a:lnTo>
                    <a:pt x="158624" y="113882"/>
                  </a:lnTo>
                  <a:lnTo>
                    <a:pt x="160692" y="113882"/>
                  </a:lnTo>
                  <a:cubicBezTo>
                    <a:pt x="182762" y="48364"/>
                    <a:pt x="200003" y="22846"/>
                    <a:pt x="233107" y="9053"/>
                  </a:cubicBezTo>
                  <a:cubicBezTo>
                    <a:pt x="248280" y="2846"/>
                    <a:pt x="264142" y="-602"/>
                    <a:pt x="280694" y="87"/>
                  </a:cubicBezTo>
                  <a:cubicBezTo>
                    <a:pt x="351730" y="-1293"/>
                    <a:pt x="394490" y="48364"/>
                    <a:pt x="394490" y="133882"/>
                  </a:cubicBezTo>
                  <a:lnTo>
                    <a:pt x="394490" y="142849"/>
                  </a:lnTo>
                  <a:lnTo>
                    <a:pt x="300694" y="148365"/>
                  </a:lnTo>
                  <a:lnTo>
                    <a:pt x="300694" y="123538"/>
                  </a:lnTo>
                  <a:cubicBezTo>
                    <a:pt x="300695" y="86296"/>
                    <a:pt x="279316" y="60778"/>
                    <a:pt x="249660" y="60778"/>
                  </a:cubicBezTo>
                  <a:cubicBezTo>
                    <a:pt x="205521" y="60778"/>
                    <a:pt x="168968" y="119399"/>
                    <a:pt x="168969" y="193194"/>
                  </a:cubicBezTo>
                  <a:lnTo>
                    <a:pt x="168969" y="323541"/>
                  </a:lnTo>
                  <a:lnTo>
                    <a:pt x="140226" y="3431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24323A32-7D51-45A5-8D91-2223C2D14BC5}"/>
                </a:ext>
              </a:extLst>
            </p:cNvPr>
            <p:cNvSpPr/>
            <p:nvPr/>
          </p:nvSpPr>
          <p:spPr>
            <a:xfrm rot="8716295">
              <a:off x="8646997" y="4143256"/>
              <a:ext cx="121064" cy="89924"/>
            </a:xfrm>
            <a:custGeom>
              <a:avLst/>
              <a:gdLst>
                <a:gd name="connsiteX0" fmla="*/ 0 w 121064"/>
                <a:gd name="connsiteY0" fmla="*/ 39250 h 89924"/>
                <a:gd name="connsiteX1" fmla="*/ 32528 w 121064"/>
                <a:gd name="connsiteY1" fmla="*/ 13621 h 89924"/>
                <a:gd name="connsiteX2" fmla="*/ 78305 w 121064"/>
                <a:gd name="connsiteY2" fmla="*/ 0 h 89924"/>
                <a:gd name="connsiteX3" fmla="*/ 121064 w 121064"/>
                <a:gd name="connsiteY3" fmla="*/ 51035 h 89924"/>
                <a:gd name="connsiteX4" fmla="*/ 108563 w 121064"/>
                <a:gd name="connsiteY4" fmla="*/ 83363 h 89924"/>
                <a:gd name="connsiteX5" fmla="*/ 100159 w 121064"/>
                <a:gd name="connsiteY5" fmla="*/ 89924 h 89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1064" h="89924">
                  <a:moveTo>
                    <a:pt x="0" y="39250"/>
                  </a:moveTo>
                  <a:lnTo>
                    <a:pt x="32528" y="13621"/>
                  </a:lnTo>
                  <a:cubicBezTo>
                    <a:pt x="46580" y="6380"/>
                    <a:pt x="62098" y="1724"/>
                    <a:pt x="78305" y="0"/>
                  </a:cubicBezTo>
                  <a:cubicBezTo>
                    <a:pt x="111409" y="0"/>
                    <a:pt x="121065" y="28966"/>
                    <a:pt x="121064" y="51035"/>
                  </a:cubicBezTo>
                  <a:cubicBezTo>
                    <a:pt x="120030" y="63105"/>
                    <a:pt x="115546" y="74139"/>
                    <a:pt x="108563" y="83363"/>
                  </a:cubicBezTo>
                  <a:lnTo>
                    <a:pt x="100159" y="899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CF24F6A6-E56B-4B69-A6B4-F595B4AECDB5}"/>
                </a:ext>
              </a:extLst>
            </p:cNvPr>
            <p:cNvSpPr/>
            <p:nvPr/>
          </p:nvSpPr>
          <p:spPr>
            <a:xfrm rot="8716295">
              <a:off x="8360649" y="4203945"/>
              <a:ext cx="88105" cy="88278"/>
            </a:xfrm>
            <a:custGeom>
              <a:avLst/>
              <a:gdLst>
                <a:gd name="connsiteX0" fmla="*/ 11702 w 88105"/>
                <a:gd name="connsiteY0" fmla="*/ 72544 h 88278"/>
                <a:gd name="connsiteX1" fmla="*/ 0 w 88105"/>
                <a:gd name="connsiteY1" fmla="*/ 44829 h 88278"/>
                <a:gd name="connsiteX2" fmla="*/ 0 w 88105"/>
                <a:gd name="connsiteY2" fmla="*/ 44139 h 88278"/>
                <a:gd name="connsiteX3" fmla="*/ 13104 w 88105"/>
                <a:gd name="connsiteY3" fmla="*/ 13104 h 88278"/>
                <a:gd name="connsiteX4" fmla="*/ 44139 w 88105"/>
                <a:gd name="connsiteY4" fmla="*/ 0 h 88278"/>
                <a:gd name="connsiteX5" fmla="*/ 75175 w 88105"/>
                <a:gd name="connsiteY5" fmla="*/ 13104 h 88278"/>
                <a:gd name="connsiteX6" fmla="*/ 75175 w 88105"/>
                <a:gd name="connsiteY6" fmla="*/ 75175 h 88278"/>
                <a:gd name="connsiteX7" fmla="*/ 44139 w 88105"/>
                <a:gd name="connsiteY7" fmla="*/ 88278 h 88278"/>
                <a:gd name="connsiteX8" fmla="*/ 37752 w 88105"/>
                <a:gd name="connsiteY8" fmla="*/ 85724 h 88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8105" h="88278">
                  <a:moveTo>
                    <a:pt x="11702" y="72544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cubicBezTo>
                    <a:pt x="55864" y="0"/>
                    <a:pt x="66899" y="4828"/>
                    <a:pt x="75175" y="13104"/>
                  </a:cubicBezTo>
                  <a:cubicBezTo>
                    <a:pt x="92416" y="29657"/>
                    <a:pt x="92416" y="57933"/>
                    <a:pt x="75175" y="75175"/>
                  </a:cubicBezTo>
                  <a:cubicBezTo>
                    <a:pt x="66899" y="83451"/>
                    <a:pt x="55864" y="88278"/>
                    <a:pt x="44139" y="88278"/>
                  </a:cubicBezTo>
                  <a:lnTo>
                    <a:pt x="37752" y="857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823BDB41-A1E6-41AA-847A-64C2D14D0B20}"/>
                </a:ext>
              </a:extLst>
            </p:cNvPr>
            <p:cNvSpPr/>
            <p:nvPr/>
          </p:nvSpPr>
          <p:spPr>
            <a:xfrm rot="8716295">
              <a:off x="8270439" y="4208809"/>
              <a:ext cx="54467" cy="27557"/>
            </a:xfrm>
            <a:custGeom>
              <a:avLst/>
              <a:gdLst>
                <a:gd name="connsiteX0" fmla="*/ 0 w 54467"/>
                <a:gd name="connsiteY0" fmla="*/ 0 h 27557"/>
                <a:gd name="connsiteX1" fmla="*/ 54467 w 54467"/>
                <a:gd name="connsiteY1" fmla="*/ 0 h 27557"/>
                <a:gd name="connsiteX2" fmla="*/ 54467 w 54467"/>
                <a:gd name="connsiteY2" fmla="*/ 27557 h 27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467" h="27557">
                  <a:moveTo>
                    <a:pt x="0" y="0"/>
                  </a:moveTo>
                  <a:lnTo>
                    <a:pt x="54467" y="0"/>
                  </a:lnTo>
                  <a:lnTo>
                    <a:pt x="54467" y="2755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C4D7300C-5B1D-4389-9C36-32D5B08AA75A}"/>
                </a:ext>
              </a:extLst>
            </p:cNvPr>
            <p:cNvSpPr/>
            <p:nvPr/>
          </p:nvSpPr>
          <p:spPr>
            <a:xfrm rot="8716295">
              <a:off x="8503577" y="4269431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A57703A1-63B4-443D-A8D6-A43C23AB9B28}"/>
                </a:ext>
              </a:extLst>
            </p:cNvPr>
            <p:cNvSpPr/>
            <p:nvPr/>
          </p:nvSpPr>
          <p:spPr>
            <a:xfrm rot="8716295">
              <a:off x="8994983" y="4078441"/>
              <a:ext cx="137688" cy="132478"/>
            </a:xfrm>
            <a:custGeom>
              <a:avLst/>
              <a:gdLst>
                <a:gd name="connsiteX0" fmla="*/ 46653 w 137688"/>
                <a:gd name="connsiteY0" fmla="*/ 86420 h 132478"/>
                <a:gd name="connsiteX1" fmla="*/ 46653 w 137688"/>
                <a:gd name="connsiteY1" fmla="*/ 24828 h 132478"/>
                <a:gd name="connsiteX2" fmla="*/ 0 w 137688"/>
                <a:gd name="connsiteY2" fmla="*/ 24828 h 132478"/>
                <a:gd name="connsiteX3" fmla="*/ 15342 w 137688"/>
                <a:gd name="connsiteY3" fmla="*/ 2695 h 132478"/>
                <a:gd name="connsiteX4" fmla="*/ 137688 w 137688"/>
                <a:gd name="connsiteY4" fmla="*/ 0 h 132478"/>
                <a:gd name="connsiteX5" fmla="*/ 137688 w 137688"/>
                <a:gd name="connsiteY5" fmla="*/ 132478 h 132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7688" h="132478">
                  <a:moveTo>
                    <a:pt x="46653" y="86420"/>
                  </a:moveTo>
                  <a:lnTo>
                    <a:pt x="46653" y="24828"/>
                  </a:lnTo>
                  <a:lnTo>
                    <a:pt x="0" y="24828"/>
                  </a:lnTo>
                  <a:lnTo>
                    <a:pt x="15342" y="2695"/>
                  </a:lnTo>
                  <a:lnTo>
                    <a:pt x="137688" y="0"/>
                  </a:lnTo>
                  <a:lnTo>
                    <a:pt x="137688" y="13247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46727CBF-18BC-4939-8F2B-40813E13A972}"/>
                </a:ext>
              </a:extLst>
            </p:cNvPr>
            <p:cNvSpPr/>
            <p:nvPr/>
          </p:nvSpPr>
          <p:spPr>
            <a:xfrm rot="7484129">
              <a:off x="9136824" y="4228704"/>
              <a:ext cx="8392" cy="13068"/>
            </a:xfrm>
            <a:custGeom>
              <a:avLst/>
              <a:gdLst>
                <a:gd name="connsiteX0" fmla="*/ 3897 w 8392"/>
                <a:gd name="connsiteY0" fmla="*/ 13068 h 13068"/>
                <a:gd name="connsiteX1" fmla="*/ 0 w 8392"/>
                <a:gd name="connsiteY1" fmla="*/ 5818 h 13068"/>
                <a:gd name="connsiteX2" fmla="*/ 8392 w 8392"/>
                <a:gd name="connsiteY2" fmla="*/ 0 h 13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2" h="13068">
                  <a:moveTo>
                    <a:pt x="3897" y="13068"/>
                  </a:moveTo>
                  <a:lnTo>
                    <a:pt x="0" y="5818"/>
                  </a:lnTo>
                  <a:lnTo>
                    <a:pt x="839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D9037FA7-ED1D-4D57-8F2C-1298751D415A}"/>
                </a:ext>
              </a:extLst>
            </p:cNvPr>
            <p:cNvSpPr/>
            <p:nvPr/>
          </p:nvSpPr>
          <p:spPr>
            <a:xfrm rot="8716295">
              <a:off x="8839311" y="5117279"/>
              <a:ext cx="37096" cy="40385"/>
            </a:xfrm>
            <a:custGeom>
              <a:avLst/>
              <a:gdLst>
                <a:gd name="connsiteX0" fmla="*/ 37095 w 37096"/>
                <a:gd name="connsiteY0" fmla="*/ 25713 h 40385"/>
                <a:gd name="connsiteX1" fmla="*/ 0 w 37096"/>
                <a:gd name="connsiteY1" fmla="*/ 0 h 40385"/>
                <a:gd name="connsiteX2" fmla="*/ 0 w 37096"/>
                <a:gd name="connsiteY2" fmla="*/ 0 h 40385"/>
                <a:gd name="connsiteX3" fmla="*/ 37096 w 37096"/>
                <a:gd name="connsiteY3" fmla="*/ 25713 h 40385"/>
                <a:gd name="connsiteX4" fmla="*/ 0 w 37096"/>
                <a:gd name="connsiteY4" fmla="*/ 40385 h 40385"/>
                <a:gd name="connsiteX5" fmla="*/ 0 w 37096"/>
                <a:gd name="connsiteY5" fmla="*/ 28525 h 40385"/>
                <a:gd name="connsiteX6" fmla="*/ 9740 w 37096"/>
                <a:gd name="connsiteY6" fmla="*/ 36533 h 40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096" h="40385">
                  <a:moveTo>
                    <a:pt x="37095" y="25713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37096" y="25713"/>
                  </a:lnTo>
                  <a:close/>
                  <a:moveTo>
                    <a:pt x="0" y="40385"/>
                  </a:moveTo>
                  <a:lnTo>
                    <a:pt x="0" y="28525"/>
                  </a:lnTo>
                  <a:lnTo>
                    <a:pt x="9740" y="365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7762AEC2-4809-4723-B4B8-AD709205FF29}"/>
                </a:ext>
              </a:extLst>
            </p:cNvPr>
            <p:cNvSpPr/>
            <p:nvPr/>
          </p:nvSpPr>
          <p:spPr>
            <a:xfrm rot="8716295">
              <a:off x="8967255" y="4971567"/>
              <a:ext cx="231347" cy="158649"/>
            </a:xfrm>
            <a:custGeom>
              <a:avLst/>
              <a:gdLst>
                <a:gd name="connsiteX0" fmla="*/ 8965 w 231347"/>
                <a:gd name="connsiteY0" fmla="*/ 158649 h 158649"/>
                <a:gd name="connsiteX1" fmla="*/ 0 w 231347"/>
                <a:gd name="connsiteY1" fmla="*/ 146235 h 158649"/>
                <a:gd name="connsiteX2" fmla="*/ 155416 w 231347"/>
                <a:gd name="connsiteY2" fmla="*/ 0 h 158649"/>
                <a:gd name="connsiteX3" fmla="*/ 231347 w 231347"/>
                <a:gd name="connsiteY3" fmla="*/ 62433 h 158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347" h="158649">
                  <a:moveTo>
                    <a:pt x="8965" y="158649"/>
                  </a:moveTo>
                  <a:lnTo>
                    <a:pt x="0" y="146235"/>
                  </a:lnTo>
                  <a:lnTo>
                    <a:pt x="155416" y="0"/>
                  </a:lnTo>
                  <a:lnTo>
                    <a:pt x="231347" y="624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45E00815-1C71-4483-8D7E-4D817A5C21EF}"/>
                </a:ext>
              </a:extLst>
            </p:cNvPr>
            <p:cNvSpPr/>
            <p:nvPr/>
          </p:nvSpPr>
          <p:spPr>
            <a:xfrm rot="8716295">
              <a:off x="8555937" y="4871188"/>
              <a:ext cx="249519" cy="296463"/>
            </a:xfrm>
            <a:custGeom>
              <a:avLst/>
              <a:gdLst>
                <a:gd name="connsiteX0" fmla="*/ 249516 w 249519"/>
                <a:gd name="connsiteY0" fmla="*/ 83734 h 296463"/>
                <a:gd name="connsiteX1" fmla="*/ 128718 w 249519"/>
                <a:gd name="connsiteY1" fmla="*/ 0 h 296463"/>
                <a:gd name="connsiteX2" fmla="*/ 128719 w 249519"/>
                <a:gd name="connsiteY2" fmla="*/ 0 h 296463"/>
                <a:gd name="connsiteX3" fmla="*/ 249519 w 249519"/>
                <a:gd name="connsiteY3" fmla="*/ 83734 h 296463"/>
                <a:gd name="connsiteX4" fmla="*/ 137293 w 249519"/>
                <a:gd name="connsiteY4" fmla="*/ 296463 h 296463"/>
                <a:gd name="connsiteX5" fmla="*/ 72418 w 249519"/>
                <a:gd name="connsiteY5" fmla="*/ 175766 h 296463"/>
                <a:gd name="connsiteX6" fmla="*/ 105610 w 249519"/>
                <a:gd name="connsiteY6" fmla="*/ 83734 h 296463"/>
                <a:gd name="connsiteX7" fmla="*/ 0 w 249519"/>
                <a:gd name="connsiteY7" fmla="*/ 83734 h 296463"/>
                <a:gd name="connsiteX8" fmla="*/ 0 w 249519"/>
                <a:gd name="connsiteY8" fmla="*/ 0 h 296463"/>
                <a:gd name="connsiteX9" fmla="*/ 78196 w 249519"/>
                <a:gd name="connsiteY9" fmla="*/ 0 h 296463"/>
                <a:gd name="connsiteX10" fmla="*/ 203756 w 249519"/>
                <a:gd name="connsiteY10" fmla="*/ 103239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519" h="296463">
                  <a:moveTo>
                    <a:pt x="249516" y="83734"/>
                  </a:moveTo>
                  <a:lnTo>
                    <a:pt x="128718" y="0"/>
                  </a:lnTo>
                  <a:lnTo>
                    <a:pt x="128719" y="0"/>
                  </a:lnTo>
                  <a:lnTo>
                    <a:pt x="249519" y="83734"/>
                  </a:lnTo>
                  <a:close/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78196" y="0"/>
                  </a:lnTo>
                  <a:lnTo>
                    <a:pt x="203756" y="1032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58E38A6F-A61D-44CF-B900-AC3229C6053D}"/>
                </a:ext>
              </a:extLst>
            </p:cNvPr>
            <p:cNvSpPr/>
            <p:nvPr/>
          </p:nvSpPr>
          <p:spPr>
            <a:xfrm rot="8716295">
              <a:off x="9124182" y="4842281"/>
              <a:ext cx="37059" cy="48941"/>
            </a:xfrm>
            <a:custGeom>
              <a:avLst/>
              <a:gdLst>
                <a:gd name="connsiteX0" fmla="*/ 0 w 37059"/>
                <a:gd name="connsiteY0" fmla="*/ 48941 h 48941"/>
                <a:gd name="connsiteX1" fmla="*/ 33925 w 37059"/>
                <a:gd name="connsiteY1" fmla="*/ 0 h 48941"/>
                <a:gd name="connsiteX2" fmla="*/ 37059 w 37059"/>
                <a:gd name="connsiteY2" fmla="*/ 7460 h 48941"/>
                <a:gd name="connsiteX3" fmla="*/ 24128 w 37059"/>
                <a:gd name="connsiteY3" fmla="*/ 38754 h 48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059" h="48941">
                  <a:moveTo>
                    <a:pt x="0" y="48941"/>
                  </a:moveTo>
                  <a:lnTo>
                    <a:pt x="33925" y="0"/>
                  </a:lnTo>
                  <a:lnTo>
                    <a:pt x="37059" y="7460"/>
                  </a:lnTo>
                  <a:cubicBezTo>
                    <a:pt x="37059" y="18753"/>
                    <a:pt x="32749" y="30133"/>
                    <a:pt x="24128" y="3875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0438BEFE-52E9-475C-AF5B-D887CDB606B3}"/>
                </a:ext>
              </a:extLst>
            </p:cNvPr>
            <p:cNvSpPr/>
            <p:nvPr/>
          </p:nvSpPr>
          <p:spPr>
            <a:xfrm rot="8716295">
              <a:off x="8946271" y="4530250"/>
              <a:ext cx="235267" cy="296463"/>
            </a:xfrm>
            <a:custGeom>
              <a:avLst/>
              <a:gdLst>
                <a:gd name="connsiteX0" fmla="*/ 64028 w 235267"/>
                <a:gd name="connsiteY0" fmla="*/ 296463 h 296463"/>
                <a:gd name="connsiteX1" fmla="*/ 0 w 235267"/>
                <a:gd name="connsiteY1" fmla="*/ 177341 h 296463"/>
                <a:gd name="connsiteX2" fmla="*/ 122928 w 235267"/>
                <a:gd name="connsiteY2" fmla="*/ 0 h 296463"/>
                <a:gd name="connsiteX3" fmla="*/ 235266 w 235267"/>
                <a:gd name="connsiteY3" fmla="*/ 0 h 296463"/>
                <a:gd name="connsiteX4" fmla="*/ 235267 w 235267"/>
                <a:gd name="connsiteY4" fmla="*/ 83734 h 296463"/>
                <a:gd name="connsiteX5" fmla="*/ 137200 w 235267"/>
                <a:gd name="connsiteY5" fmla="*/ 83735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5267" h="296463">
                  <a:moveTo>
                    <a:pt x="64028" y="296463"/>
                  </a:moveTo>
                  <a:lnTo>
                    <a:pt x="0" y="177341"/>
                  </a:lnTo>
                  <a:lnTo>
                    <a:pt x="122928" y="0"/>
                  </a:lnTo>
                  <a:lnTo>
                    <a:pt x="235266" y="0"/>
                  </a:lnTo>
                  <a:lnTo>
                    <a:pt x="235267" y="83734"/>
                  </a:lnTo>
                  <a:lnTo>
                    <a:pt x="137200" y="837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D3F9B5D8-06D4-4B43-BC6C-7C19EABDD1C4}"/>
                </a:ext>
              </a:extLst>
            </p:cNvPr>
            <p:cNvSpPr/>
            <p:nvPr/>
          </p:nvSpPr>
          <p:spPr>
            <a:xfrm rot="8716295">
              <a:off x="8906661" y="466090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71905357-F1DF-411B-B59B-0F032583384E}"/>
                </a:ext>
              </a:extLst>
            </p:cNvPr>
            <p:cNvSpPr/>
            <p:nvPr/>
          </p:nvSpPr>
          <p:spPr>
            <a:xfrm rot="13089394">
              <a:off x="7765620" y="4253518"/>
              <a:ext cx="72828" cy="75543"/>
            </a:xfrm>
            <a:custGeom>
              <a:avLst/>
              <a:gdLst>
                <a:gd name="connsiteX0" fmla="*/ 0 w 72828"/>
                <a:gd name="connsiteY0" fmla="*/ 75543 h 75543"/>
                <a:gd name="connsiteX1" fmla="*/ 0 w 72828"/>
                <a:gd name="connsiteY1" fmla="*/ 37783 h 75543"/>
                <a:gd name="connsiteX2" fmla="*/ 72828 w 72828"/>
                <a:gd name="connsiteY2" fmla="*/ 0 h 7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828" h="75543">
                  <a:moveTo>
                    <a:pt x="0" y="75543"/>
                  </a:moveTo>
                  <a:lnTo>
                    <a:pt x="0" y="37783"/>
                  </a:lnTo>
                  <a:lnTo>
                    <a:pt x="7282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9CC70003-388A-4ED2-9C78-B5584C3B43A2}"/>
                </a:ext>
              </a:extLst>
            </p:cNvPr>
            <p:cNvSpPr/>
            <p:nvPr/>
          </p:nvSpPr>
          <p:spPr>
            <a:xfrm rot="8716295">
              <a:off x="7196646" y="4735107"/>
              <a:ext cx="215177" cy="351729"/>
            </a:xfrm>
            <a:custGeom>
              <a:avLst/>
              <a:gdLst>
                <a:gd name="connsiteX0" fmla="*/ 122761 w 215177"/>
                <a:gd name="connsiteY0" fmla="*/ 351729 h 351729"/>
                <a:gd name="connsiteX1" fmla="*/ 122761 w 215177"/>
                <a:gd name="connsiteY1" fmla="*/ 105519 h 351729"/>
                <a:gd name="connsiteX2" fmla="*/ 122761 w 215177"/>
                <a:gd name="connsiteY2" fmla="*/ 99312 h 351729"/>
                <a:gd name="connsiteX3" fmla="*/ 91726 w 215177"/>
                <a:gd name="connsiteY3" fmla="*/ 75863 h 351729"/>
                <a:gd name="connsiteX4" fmla="*/ 0 w 215177"/>
                <a:gd name="connsiteY4" fmla="*/ 75863 h 351729"/>
                <a:gd name="connsiteX5" fmla="*/ 0 w 215177"/>
                <a:gd name="connsiteY5" fmla="*/ 0 h 351729"/>
                <a:gd name="connsiteX6" fmla="*/ 20033 w 215177"/>
                <a:gd name="connsiteY6" fmla="*/ 0 h 351729"/>
                <a:gd name="connsiteX7" fmla="*/ 215177 w 215177"/>
                <a:gd name="connsiteY7" fmla="*/ 160452 h 351729"/>
                <a:gd name="connsiteX8" fmla="*/ 215176 w 215177"/>
                <a:gd name="connsiteY8" fmla="*/ 315177 h 351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5177" h="351729">
                  <a:moveTo>
                    <a:pt x="122761" y="35172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0"/>
                  </a:lnTo>
                  <a:lnTo>
                    <a:pt x="20033" y="0"/>
                  </a:lnTo>
                  <a:lnTo>
                    <a:pt x="215177" y="160452"/>
                  </a:lnTo>
                  <a:lnTo>
                    <a:pt x="215176" y="3151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E46A29A2-07B5-4D69-A57A-B7E84F78585B}"/>
                </a:ext>
              </a:extLst>
            </p:cNvPr>
            <p:cNvSpPr/>
            <p:nvPr/>
          </p:nvSpPr>
          <p:spPr>
            <a:xfrm rot="8716295">
              <a:off x="7519762" y="4714342"/>
              <a:ext cx="185667" cy="383455"/>
            </a:xfrm>
            <a:custGeom>
              <a:avLst/>
              <a:gdLst>
                <a:gd name="connsiteX0" fmla="*/ 77932 w 185667"/>
                <a:gd name="connsiteY0" fmla="*/ 383455 h 383455"/>
                <a:gd name="connsiteX1" fmla="*/ 77932 w 185667"/>
                <a:gd name="connsiteY1" fmla="*/ 66898 h 383455"/>
                <a:gd name="connsiteX2" fmla="*/ 0 w 185667"/>
                <a:gd name="connsiteY2" fmla="*/ 66898 h 383455"/>
                <a:gd name="connsiteX3" fmla="*/ 0 w 185667"/>
                <a:gd name="connsiteY3" fmla="*/ 0 h 383455"/>
                <a:gd name="connsiteX4" fmla="*/ 33456 w 185667"/>
                <a:gd name="connsiteY4" fmla="*/ 0 h 383455"/>
                <a:gd name="connsiteX5" fmla="*/ 158623 w 185667"/>
                <a:gd name="connsiteY5" fmla="*/ 102916 h 383455"/>
                <a:gd name="connsiteX6" fmla="*/ 158623 w 185667"/>
                <a:gd name="connsiteY6" fmla="*/ 111726 h 383455"/>
                <a:gd name="connsiteX7" fmla="*/ 160692 w 185667"/>
                <a:gd name="connsiteY7" fmla="*/ 111726 h 383455"/>
                <a:gd name="connsiteX8" fmla="*/ 162749 w 185667"/>
                <a:gd name="connsiteY8" fmla="*/ 106308 h 383455"/>
                <a:gd name="connsiteX9" fmla="*/ 185667 w 185667"/>
                <a:gd name="connsiteY9" fmla="*/ 125152 h 383455"/>
                <a:gd name="connsiteX10" fmla="*/ 168969 w 185667"/>
                <a:gd name="connsiteY10" fmla="*/ 191038 h 383455"/>
                <a:gd name="connsiteX11" fmla="*/ 168969 w 185667"/>
                <a:gd name="connsiteY11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5667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33456" y="0"/>
                  </a:lnTo>
                  <a:lnTo>
                    <a:pt x="158623" y="102916"/>
                  </a:lnTo>
                  <a:lnTo>
                    <a:pt x="158623" y="111726"/>
                  </a:lnTo>
                  <a:lnTo>
                    <a:pt x="160692" y="111726"/>
                  </a:lnTo>
                  <a:lnTo>
                    <a:pt x="162749" y="106308"/>
                  </a:lnTo>
                  <a:lnTo>
                    <a:pt x="185667" y="125152"/>
                  </a:lnTo>
                  <a:lnTo>
                    <a:pt x="168969" y="191038"/>
                  </a:ln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BB2B590A-BBED-49DF-BE0A-D7CDB8C7EA53}"/>
                </a:ext>
              </a:extLst>
            </p:cNvPr>
            <p:cNvSpPr/>
            <p:nvPr/>
          </p:nvSpPr>
          <p:spPr>
            <a:xfrm rot="8716295">
              <a:off x="7265319" y="4648384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7838B053-EE23-465E-B80C-0FDB953D8E9F}"/>
                </a:ext>
              </a:extLst>
            </p:cNvPr>
            <p:cNvSpPr/>
            <p:nvPr/>
          </p:nvSpPr>
          <p:spPr>
            <a:xfrm rot="8716295">
              <a:off x="7028032" y="486872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46F2EA92-FAA0-4CBD-8D20-0B7AF9B36906}"/>
                </a:ext>
              </a:extLst>
            </p:cNvPr>
            <p:cNvSpPr/>
            <p:nvPr/>
          </p:nvSpPr>
          <p:spPr>
            <a:xfrm rot="8716295">
              <a:off x="6838986" y="455289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C33E7506-2F8D-4DC7-82BD-DA6D9CD10C11}"/>
                </a:ext>
              </a:extLst>
            </p:cNvPr>
            <p:cNvSpPr/>
            <p:nvPr/>
          </p:nvSpPr>
          <p:spPr>
            <a:xfrm rot="8716295">
              <a:off x="6821466" y="4356542"/>
              <a:ext cx="439901" cy="511464"/>
            </a:xfrm>
            <a:custGeom>
              <a:avLst/>
              <a:gdLst>
                <a:gd name="connsiteX0" fmla="*/ 1873 w 439901"/>
                <a:gd name="connsiteY0" fmla="*/ 384681 h 511464"/>
                <a:gd name="connsiteX1" fmla="*/ 1725 w 439901"/>
                <a:gd name="connsiteY1" fmla="*/ 383648 h 511464"/>
                <a:gd name="connsiteX2" fmla="*/ 0 w 439901"/>
                <a:gd name="connsiteY2" fmla="*/ 333043 h 511464"/>
                <a:gd name="connsiteX3" fmla="*/ 0 w 439901"/>
                <a:gd name="connsiteY3" fmla="*/ 61444 h 511464"/>
                <a:gd name="connsiteX4" fmla="*/ 118434 w 439901"/>
                <a:gd name="connsiteY4" fmla="*/ 0 h 511464"/>
                <a:gd name="connsiteX5" fmla="*/ 120216 w 439901"/>
                <a:gd name="connsiteY5" fmla="*/ 248447 h 511464"/>
                <a:gd name="connsiteX6" fmla="*/ 141587 w 439901"/>
                <a:gd name="connsiteY6" fmla="*/ 396268 h 511464"/>
                <a:gd name="connsiteX7" fmla="*/ 248446 w 439901"/>
                <a:gd name="connsiteY7" fmla="*/ 455041 h 511464"/>
                <a:gd name="connsiteX8" fmla="*/ 328590 w 439901"/>
                <a:gd name="connsiteY8" fmla="*/ 440793 h 511464"/>
                <a:gd name="connsiteX9" fmla="*/ 438120 w 439901"/>
                <a:gd name="connsiteY9" fmla="*/ 396268 h 511464"/>
                <a:gd name="connsiteX10" fmla="*/ 439901 w 439901"/>
                <a:gd name="connsiteY10" fmla="*/ 407844 h 511464"/>
                <a:gd name="connsiteX11" fmla="*/ 439901 w 439901"/>
                <a:gd name="connsiteY11" fmla="*/ 416749 h 511464"/>
                <a:gd name="connsiteX12" fmla="*/ 286180 w 439901"/>
                <a:gd name="connsiteY12" fmla="*/ 502459 h 511464"/>
                <a:gd name="connsiteX13" fmla="*/ 252462 w 439901"/>
                <a:gd name="connsiteY13" fmla="*/ 511464 h 511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9901" h="511464">
                  <a:moveTo>
                    <a:pt x="1873" y="384681"/>
                  </a:moveTo>
                  <a:lnTo>
                    <a:pt x="1725" y="383648"/>
                  </a:lnTo>
                  <a:cubicBezTo>
                    <a:pt x="501" y="368162"/>
                    <a:pt x="0" y="351298"/>
                    <a:pt x="0" y="333043"/>
                  </a:cubicBezTo>
                  <a:lnTo>
                    <a:pt x="0" y="61444"/>
                  </a:lnTo>
                  <a:lnTo>
                    <a:pt x="118434" y="0"/>
                  </a:lnTo>
                  <a:lnTo>
                    <a:pt x="120216" y="248447"/>
                  </a:lnTo>
                  <a:cubicBezTo>
                    <a:pt x="117545" y="298315"/>
                    <a:pt x="125558" y="349072"/>
                    <a:pt x="141587" y="396268"/>
                  </a:cubicBezTo>
                  <a:cubicBezTo>
                    <a:pt x="155836" y="435450"/>
                    <a:pt x="192346" y="455041"/>
                    <a:pt x="248446" y="455041"/>
                  </a:cubicBezTo>
                  <a:cubicBezTo>
                    <a:pt x="276051" y="454150"/>
                    <a:pt x="302766" y="448807"/>
                    <a:pt x="328590" y="440793"/>
                  </a:cubicBezTo>
                  <a:cubicBezTo>
                    <a:pt x="365990" y="429216"/>
                    <a:pt x="402501" y="414078"/>
                    <a:pt x="438120" y="396268"/>
                  </a:cubicBezTo>
                  <a:cubicBezTo>
                    <a:pt x="439010" y="399830"/>
                    <a:pt x="439901" y="404282"/>
                    <a:pt x="439901" y="407844"/>
                  </a:cubicBezTo>
                  <a:lnTo>
                    <a:pt x="439901" y="416749"/>
                  </a:lnTo>
                  <a:cubicBezTo>
                    <a:pt x="392705" y="457267"/>
                    <a:pt x="338163" y="484649"/>
                    <a:pt x="286180" y="502459"/>
                  </a:cubicBezTo>
                  <a:lnTo>
                    <a:pt x="252462" y="5114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F0039EE6-19E5-4457-84A9-3D50560FF71B}"/>
                </a:ext>
              </a:extLst>
            </p:cNvPr>
            <p:cNvSpPr/>
            <p:nvPr/>
          </p:nvSpPr>
          <p:spPr>
            <a:xfrm rot="8716295">
              <a:off x="7635467" y="435609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62946C15-BE3C-45DF-BB3D-128249E4D1A5}"/>
                </a:ext>
              </a:extLst>
            </p:cNvPr>
            <p:cNvSpPr/>
            <p:nvPr/>
          </p:nvSpPr>
          <p:spPr>
            <a:xfrm rot="8716295">
              <a:off x="7770766" y="440035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3C27B629-4EE2-46C6-9535-F5382300825F}"/>
                </a:ext>
              </a:extLst>
            </p:cNvPr>
            <p:cNvSpPr/>
            <p:nvPr/>
          </p:nvSpPr>
          <p:spPr>
            <a:xfrm rot="8716295">
              <a:off x="7465596" y="44901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6592736C-E2B7-4AAA-9132-CE6867AFB7E6}"/>
                </a:ext>
              </a:extLst>
            </p:cNvPr>
            <p:cNvSpPr/>
            <p:nvPr/>
          </p:nvSpPr>
          <p:spPr>
            <a:xfrm rot="8716295">
              <a:off x="7313509" y="4314181"/>
              <a:ext cx="308532" cy="142740"/>
            </a:xfrm>
            <a:custGeom>
              <a:avLst/>
              <a:gdLst>
                <a:gd name="connsiteX0" fmla="*/ 0 w 308532"/>
                <a:gd name="connsiteY0" fmla="*/ 46525 h 142740"/>
                <a:gd name="connsiteX1" fmla="*/ 0 w 308532"/>
                <a:gd name="connsiteY1" fmla="*/ 0 h 142740"/>
                <a:gd name="connsiteX2" fmla="*/ 308532 w 308532"/>
                <a:gd name="connsiteY2" fmla="*/ 0 h 142740"/>
                <a:gd name="connsiteX3" fmla="*/ 308532 w 308532"/>
                <a:gd name="connsiteY3" fmla="*/ 83734 h 142740"/>
                <a:gd name="connsiteX4" fmla="*/ 210465 w 308532"/>
                <a:gd name="connsiteY4" fmla="*/ 83734 h 142740"/>
                <a:gd name="connsiteX5" fmla="*/ 190169 w 308532"/>
                <a:gd name="connsiteY5" fmla="*/ 142740 h 142740"/>
                <a:gd name="connsiteX6" fmla="*/ 100662 w 308532"/>
                <a:gd name="connsiteY6" fmla="*/ 97454 h 142740"/>
                <a:gd name="connsiteX7" fmla="*/ 105610 w 308532"/>
                <a:gd name="connsiteY7" fmla="*/ 83734 h 142740"/>
                <a:gd name="connsiteX8" fmla="*/ 73544 w 308532"/>
                <a:gd name="connsiteY8" fmla="*/ 83734 h 142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532" h="142740">
                  <a:moveTo>
                    <a:pt x="0" y="46525"/>
                  </a:moveTo>
                  <a:lnTo>
                    <a:pt x="0" y="0"/>
                  </a:lnTo>
                  <a:lnTo>
                    <a:pt x="308532" y="0"/>
                  </a:lnTo>
                  <a:lnTo>
                    <a:pt x="308532" y="83734"/>
                  </a:lnTo>
                  <a:lnTo>
                    <a:pt x="210465" y="83734"/>
                  </a:lnTo>
                  <a:lnTo>
                    <a:pt x="190169" y="142740"/>
                  </a:lnTo>
                  <a:lnTo>
                    <a:pt x="100662" y="97454"/>
                  </a:lnTo>
                  <a:lnTo>
                    <a:pt x="105610" y="83734"/>
                  </a:lnTo>
                  <a:lnTo>
                    <a:pt x="73544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39B2926A-51C6-4DDF-86D8-072C96B838B0}"/>
                </a:ext>
              </a:extLst>
            </p:cNvPr>
            <p:cNvSpPr/>
            <p:nvPr/>
          </p:nvSpPr>
          <p:spPr>
            <a:xfrm rot="8716295">
              <a:off x="7602084" y="4552096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A5226D1B-39C8-4DB7-A39D-DE8AE96085BA}"/>
                </a:ext>
              </a:extLst>
            </p:cNvPr>
            <p:cNvSpPr/>
            <p:nvPr/>
          </p:nvSpPr>
          <p:spPr>
            <a:xfrm rot="8716295">
              <a:off x="7233779" y="4339176"/>
              <a:ext cx="112931" cy="98229"/>
            </a:xfrm>
            <a:custGeom>
              <a:avLst/>
              <a:gdLst>
                <a:gd name="connsiteX0" fmla="*/ 0 w 112931"/>
                <a:gd name="connsiteY0" fmla="*/ 49475 h 98229"/>
                <a:gd name="connsiteX1" fmla="*/ 13559 w 112931"/>
                <a:gd name="connsiteY1" fmla="*/ 17362 h 98229"/>
                <a:gd name="connsiteX2" fmla="*/ 54678 w 112931"/>
                <a:gd name="connsiteY2" fmla="*/ 0 h 98229"/>
                <a:gd name="connsiteX3" fmla="*/ 95798 w 112931"/>
                <a:gd name="connsiteY3" fmla="*/ 17362 h 98229"/>
                <a:gd name="connsiteX4" fmla="*/ 112931 w 112931"/>
                <a:gd name="connsiteY4" fmla="*/ 58139 h 98229"/>
                <a:gd name="connsiteX5" fmla="*/ 96365 w 112931"/>
                <a:gd name="connsiteY5" fmla="*/ 98229 h 98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931" h="98229">
                  <a:moveTo>
                    <a:pt x="0" y="49475"/>
                  </a:moveTo>
                  <a:lnTo>
                    <a:pt x="13559" y="17362"/>
                  </a:lnTo>
                  <a:cubicBezTo>
                    <a:pt x="24524" y="6397"/>
                    <a:pt x="39145" y="0"/>
                    <a:pt x="54678" y="0"/>
                  </a:cubicBezTo>
                  <a:cubicBezTo>
                    <a:pt x="70213" y="0"/>
                    <a:pt x="84833" y="6397"/>
                    <a:pt x="95798" y="17362"/>
                  </a:cubicBezTo>
                  <a:cubicBezTo>
                    <a:pt x="107220" y="28327"/>
                    <a:pt x="112931" y="43176"/>
                    <a:pt x="112931" y="58139"/>
                  </a:cubicBezTo>
                  <a:lnTo>
                    <a:pt x="96365" y="9822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B8D891A1-7C58-4828-B849-358D4D72EA90}"/>
                </a:ext>
              </a:extLst>
            </p:cNvPr>
            <p:cNvSpPr/>
            <p:nvPr/>
          </p:nvSpPr>
          <p:spPr>
            <a:xfrm rot="7484129">
              <a:off x="7765134" y="4837237"/>
              <a:ext cx="295167" cy="296463"/>
            </a:xfrm>
            <a:custGeom>
              <a:avLst/>
              <a:gdLst>
                <a:gd name="connsiteX0" fmla="*/ 295165 w 295167"/>
                <a:gd name="connsiteY0" fmla="*/ 83734 h 296463"/>
                <a:gd name="connsiteX1" fmla="*/ 237109 w 295167"/>
                <a:gd name="connsiteY1" fmla="*/ 0 h 296463"/>
                <a:gd name="connsiteX2" fmla="*/ 237110 w 295167"/>
                <a:gd name="connsiteY2" fmla="*/ 0 h 296463"/>
                <a:gd name="connsiteX3" fmla="*/ 295167 w 295167"/>
                <a:gd name="connsiteY3" fmla="*/ 83734 h 296463"/>
                <a:gd name="connsiteX4" fmla="*/ 137293 w 295167"/>
                <a:gd name="connsiteY4" fmla="*/ 296463 h 296463"/>
                <a:gd name="connsiteX5" fmla="*/ 72418 w 295167"/>
                <a:gd name="connsiteY5" fmla="*/ 175766 h 296463"/>
                <a:gd name="connsiteX6" fmla="*/ 105610 w 295167"/>
                <a:gd name="connsiteY6" fmla="*/ 83734 h 296463"/>
                <a:gd name="connsiteX7" fmla="*/ 0 w 295167"/>
                <a:gd name="connsiteY7" fmla="*/ 83734 h 296463"/>
                <a:gd name="connsiteX8" fmla="*/ 0 w 295167"/>
                <a:gd name="connsiteY8" fmla="*/ 0 h 296463"/>
                <a:gd name="connsiteX9" fmla="*/ 126381 w 295167"/>
                <a:gd name="connsiteY9" fmla="*/ 0 h 296463"/>
                <a:gd name="connsiteX10" fmla="*/ 197160 w 295167"/>
                <a:gd name="connsiteY10" fmla="*/ 122416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5167" h="296463">
                  <a:moveTo>
                    <a:pt x="295165" y="83734"/>
                  </a:moveTo>
                  <a:lnTo>
                    <a:pt x="237109" y="0"/>
                  </a:lnTo>
                  <a:lnTo>
                    <a:pt x="237110" y="0"/>
                  </a:lnTo>
                  <a:lnTo>
                    <a:pt x="295167" y="83734"/>
                  </a:lnTo>
                  <a:close/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126381" y="0"/>
                  </a:lnTo>
                  <a:lnTo>
                    <a:pt x="197160" y="1224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527B4309-024C-4B07-A449-12F7536748C5}"/>
                </a:ext>
              </a:extLst>
            </p:cNvPr>
            <p:cNvSpPr/>
            <p:nvPr/>
          </p:nvSpPr>
          <p:spPr>
            <a:xfrm rot="13089394">
              <a:off x="8005038" y="4814171"/>
              <a:ext cx="409104" cy="218063"/>
            </a:xfrm>
            <a:custGeom>
              <a:avLst/>
              <a:gdLst>
                <a:gd name="connsiteX0" fmla="*/ 409104 w 409104"/>
                <a:gd name="connsiteY0" fmla="*/ 110916 h 218063"/>
                <a:gd name="connsiteX1" fmla="*/ 135172 w 409104"/>
                <a:gd name="connsiteY1" fmla="*/ 217816 h 218063"/>
                <a:gd name="connsiteX2" fmla="*/ 32447 w 409104"/>
                <a:gd name="connsiteY2" fmla="*/ 176058 h 218063"/>
                <a:gd name="connsiteX3" fmla="*/ 3843 w 409104"/>
                <a:gd name="connsiteY3" fmla="*/ 119581 h 218063"/>
                <a:gd name="connsiteX4" fmla="*/ 0 w 409104"/>
                <a:gd name="connsiteY4" fmla="*/ 73735 h 218063"/>
                <a:gd name="connsiteX5" fmla="*/ 111583 w 409104"/>
                <a:gd name="connsiteY5" fmla="*/ 0 h 218063"/>
                <a:gd name="connsiteX6" fmla="*/ 112727 w 409104"/>
                <a:gd name="connsiteY6" fmla="*/ 23329 h 218063"/>
                <a:gd name="connsiteX7" fmla="*/ 129325 w 409104"/>
                <a:gd name="connsiteY7" fmla="*/ 91708 h 218063"/>
                <a:gd name="connsiteX8" fmla="*/ 229544 w 409104"/>
                <a:gd name="connsiteY8" fmla="*/ 146828 h 218063"/>
                <a:gd name="connsiteX9" fmla="*/ 304708 w 409104"/>
                <a:gd name="connsiteY9" fmla="*/ 133466 h 218063"/>
                <a:gd name="connsiteX10" fmla="*/ 407434 w 409104"/>
                <a:gd name="connsiteY10" fmla="*/ 91708 h 218063"/>
                <a:gd name="connsiteX11" fmla="*/ 409104 w 409104"/>
                <a:gd name="connsiteY11" fmla="*/ 102564 h 218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9104" h="218063">
                  <a:moveTo>
                    <a:pt x="409104" y="110916"/>
                  </a:moveTo>
                  <a:cubicBezTo>
                    <a:pt x="320577" y="186915"/>
                    <a:pt x="204490" y="213641"/>
                    <a:pt x="135172" y="217816"/>
                  </a:cubicBezTo>
                  <a:cubicBezTo>
                    <a:pt x="96755" y="220322"/>
                    <a:pt x="59173" y="203619"/>
                    <a:pt x="32447" y="176058"/>
                  </a:cubicBezTo>
                  <a:cubicBezTo>
                    <a:pt x="18249" y="162278"/>
                    <a:pt x="9272" y="143487"/>
                    <a:pt x="3843" y="119581"/>
                  </a:cubicBezTo>
                  <a:lnTo>
                    <a:pt x="0" y="73735"/>
                  </a:lnTo>
                  <a:lnTo>
                    <a:pt x="111583" y="0"/>
                  </a:lnTo>
                  <a:lnTo>
                    <a:pt x="112727" y="23329"/>
                  </a:lnTo>
                  <a:cubicBezTo>
                    <a:pt x="116171" y="46609"/>
                    <a:pt x="121808" y="69576"/>
                    <a:pt x="129325" y="91708"/>
                  </a:cubicBezTo>
                  <a:cubicBezTo>
                    <a:pt x="142689" y="128454"/>
                    <a:pt x="176930" y="146828"/>
                    <a:pt x="229544" y="146828"/>
                  </a:cubicBezTo>
                  <a:cubicBezTo>
                    <a:pt x="255435" y="145993"/>
                    <a:pt x="280489" y="140981"/>
                    <a:pt x="304708" y="133466"/>
                  </a:cubicBezTo>
                  <a:cubicBezTo>
                    <a:pt x="339785" y="122608"/>
                    <a:pt x="374027" y="108411"/>
                    <a:pt x="407434" y="91708"/>
                  </a:cubicBezTo>
                  <a:cubicBezTo>
                    <a:pt x="408268" y="95048"/>
                    <a:pt x="409104" y="99224"/>
                    <a:pt x="409104" y="10256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A6665952-BEBA-4083-8857-192589F92F66}"/>
                </a:ext>
              </a:extLst>
            </p:cNvPr>
            <p:cNvSpPr/>
            <p:nvPr/>
          </p:nvSpPr>
          <p:spPr>
            <a:xfrm rot="8716295">
              <a:off x="8200443" y="4500944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48E8912F-96AC-4641-B68F-1FAC8423EE44}"/>
                </a:ext>
              </a:extLst>
            </p:cNvPr>
            <p:cNvSpPr/>
            <p:nvPr/>
          </p:nvSpPr>
          <p:spPr>
            <a:xfrm rot="8716295">
              <a:off x="8122034" y="434415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53758D6F-45BC-4683-9BA4-5F935E950CCD}"/>
                </a:ext>
              </a:extLst>
            </p:cNvPr>
            <p:cNvSpPr/>
            <p:nvPr/>
          </p:nvSpPr>
          <p:spPr>
            <a:xfrm rot="8716295">
              <a:off x="7753870" y="438989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3D33FD22-12AD-4D1A-88D7-5F0D534CAA44}"/>
                </a:ext>
              </a:extLst>
            </p:cNvPr>
            <p:cNvSpPr/>
            <p:nvPr/>
          </p:nvSpPr>
          <p:spPr>
            <a:xfrm rot="8716295">
              <a:off x="8030791" y="4210054"/>
              <a:ext cx="154744" cy="110503"/>
            </a:xfrm>
            <a:custGeom>
              <a:avLst/>
              <a:gdLst>
                <a:gd name="connsiteX0" fmla="*/ 0 w 154744"/>
                <a:gd name="connsiteY0" fmla="*/ 34366 h 110503"/>
                <a:gd name="connsiteX1" fmla="*/ 3342 w 154744"/>
                <a:gd name="connsiteY1" fmla="*/ 26453 h 110503"/>
                <a:gd name="connsiteX2" fmla="*/ 65990 w 154744"/>
                <a:gd name="connsiteY2" fmla="*/ 0 h 110503"/>
                <a:gd name="connsiteX3" fmla="*/ 128640 w 154744"/>
                <a:gd name="connsiteY3" fmla="*/ 26453 h 110503"/>
                <a:gd name="connsiteX4" fmla="*/ 154744 w 154744"/>
                <a:gd name="connsiteY4" fmla="*/ 88580 h 110503"/>
                <a:gd name="connsiteX5" fmla="*/ 150487 w 154744"/>
                <a:gd name="connsiteY5" fmla="*/ 110503 h 110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4744" h="110503">
                  <a:moveTo>
                    <a:pt x="0" y="34366"/>
                  </a:moveTo>
                  <a:lnTo>
                    <a:pt x="3342" y="26453"/>
                  </a:lnTo>
                  <a:cubicBezTo>
                    <a:pt x="20048" y="9746"/>
                    <a:pt x="42323" y="0"/>
                    <a:pt x="65990" y="0"/>
                  </a:cubicBezTo>
                  <a:cubicBezTo>
                    <a:pt x="89659" y="0"/>
                    <a:pt x="111934" y="9746"/>
                    <a:pt x="128640" y="26453"/>
                  </a:cubicBezTo>
                  <a:cubicBezTo>
                    <a:pt x="146043" y="43159"/>
                    <a:pt x="154744" y="65782"/>
                    <a:pt x="154744" y="88580"/>
                  </a:cubicBezTo>
                  <a:lnTo>
                    <a:pt x="150487" y="1105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69" name="Espace réservé pour une image  68">
            <a:extLst>
              <a:ext uri="{FF2B5EF4-FFF2-40B4-BE49-F238E27FC236}">
                <a16:creationId xmlns:a16="http://schemas.microsoft.com/office/drawing/2014/main" id="{407212D0-4ACD-410B-8E9A-EE07511F0C4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9153528" cy="4075643"/>
          </a:xfrm>
          <a:custGeom>
            <a:avLst/>
            <a:gdLst>
              <a:gd name="connsiteX0" fmla="*/ 0 w 9153528"/>
              <a:gd name="connsiteY0" fmla="*/ 5143499 h 5143500"/>
              <a:gd name="connsiteX1" fmla="*/ 9153528 w 9153528"/>
              <a:gd name="connsiteY1" fmla="*/ 5143499 h 5143500"/>
              <a:gd name="connsiteX2" fmla="*/ 9153528 w 9153528"/>
              <a:gd name="connsiteY2" fmla="*/ 5143500 h 5143500"/>
              <a:gd name="connsiteX3" fmla="*/ 0 w 9153528"/>
              <a:gd name="connsiteY3" fmla="*/ 5143500 h 5143500"/>
              <a:gd name="connsiteX4" fmla="*/ 0 w 9153528"/>
              <a:gd name="connsiteY4" fmla="*/ 0 h 5143500"/>
              <a:gd name="connsiteX5" fmla="*/ 9153528 w 9153528"/>
              <a:gd name="connsiteY5" fmla="*/ 0 h 5143500"/>
              <a:gd name="connsiteX6" fmla="*/ 9153528 w 9153528"/>
              <a:gd name="connsiteY6" fmla="*/ 4204192 h 5143500"/>
              <a:gd name="connsiteX7" fmla="*/ 9145341 w 9153528"/>
              <a:gd name="connsiteY7" fmla="*/ 4199282 h 5143500"/>
              <a:gd name="connsiteX8" fmla="*/ 9144001 w 9153528"/>
              <a:gd name="connsiteY8" fmla="*/ 4198735 h 5143500"/>
              <a:gd name="connsiteX9" fmla="*/ 9144001 w 9153528"/>
              <a:gd name="connsiteY9" fmla="*/ 3426281 h 5143500"/>
              <a:gd name="connsiteX10" fmla="*/ 4464473 w 9153528"/>
              <a:gd name="connsiteY10" fmla="*/ 4075643 h 5143500"/>
              <a:gd name="connsiteX11" fmla="*/ 0 w 9153528"/>
              <a:gd name="connsiteY11" fmla="*/ 3708636 h 5143500"/>
              <a:gd name="connsiteX0" fmla="*/ 0 w 9153528"/>
              <a:gd name="connsiteY0" fmla="*/ 5143499 h 5143500"/>
              <a:gd name="connsiteX1" fmla="*/ 9153528 w 9153528"/>
              <a:gd name="connsiteY1" fmla="*/ 5143499 h 5143500"/>
              <a:gd name="connsiteX2" fmla="*/ 9153528 w 9153528"/>
              <a:gd name="connsiteY2" fmla="*/ 5143500 h 5143500"/>
              <a:gd name="connsiteX3" fmla="*/ 0 w 9153528"/>
              <a:gd name="connsiteY3" fmla="*/ 5143500 h 5143500"/>
              <a:gd name="connsiteX4" fmla="*/ 0 w 9153528"/>
              <a:gd name="connsiteY4" fmla="*/ 5143499 h 5143500"/>
              <a:gd name="connsiteX5" fmla="*/ 0 w 9153528"/>
              <a:gd name="connsiteY5" fmla="*/ 0 h 5143500"/>
              <a:gd name="connsiteX6" fmla="*/ 9153528 w 9153528"/>
              <a:gd name="connsiteY6" fmla="*/ 0 h 5143500"/>
              <a:gd name="connsiteX7" fmla="*/ 9153528 w 9153528"/>
              <a:gd name="connsiteY7" fmla="*/ 4204192 h 5143500"/>
              <a:gd name="connsiteX8" fmla="*/ 9145341 w 9153528"/>
              <a:gd name="connsiteY8" fmla="*/ 4199282 h 5143500"/>
              <a:gd name="connsiteX9" fmla="*/ 9144001 w 9153528"/>
              <a:gd name="connsiteY9" fmla="*/ 3426281 h 5143500"/>
              <a:gd name="connsiteX10" fmla="*/ 4464473 w 9153528"/>
              <a:gd name="connsiteY10" fmla="*/ 4075643 h 5143500"/>
              <a:gd name="connsiteX11" fmla="*/ 0 w 9153528"/>
              <a:gd name="connsiteY11" fmla="*/ 3708636 h 5143500"/>
              <a:gd name="connsiteX12" fmla="*/ 0 w 9153528"/>
              <a:gd name="connsiteY12" fmla="*/ 0 h 5143500"/>
              <a:gd name="connsiteX0" fmla="*/ 0 w 9153528"/>
              <a:gd name="connsiteY0" fmla="*/ 5143499 h 5143500"/>
              <a:gd name="connsiteX1" fmla="*/ 9153528 w 9153528"/>
              <a:gd name="connsiteY1" fmla="*/ 5143499 h 5143500"/>
              <a:gd name="connsiteX2" fmla="*/ 9153528 w 9153528"/>
              <a:gd name="connsiteY2" fmla="*/ 5143500 h 5143500"/>
              <a:gd name="connsiteX3" fmla="*/ 0 w 9153528"/>
              <a:gd name="connsiteY3" fmla="*/ 5143500 h 5143500"/>
              <a:gd name="connsiteX4" fmla="*/ 0 w 9153528"/>
              <a:gd name="connsiteY4" fmla="*/ 5143499 h 5143500"/>
              <a:gd name="connsiteX5" fmla="*/ 0 w 9153528"/>
              <a:gd name="connsiteY5" fmla="*/ 0 h 5143500"/>
              <a:gd name="connsiteX6" fmla="*/ 9153528 w 9153528"/>
              <a:gd name="connsiteY6" fmla="*/ 0 h 5143500"/>
              <a:gd name="connsiteX7" fmla="*/ 9153528 w 9153528"/>
              <a:gd name="connsiteY7" fmla="*/ 4204192 h 5143500"/>
              <a:gd name="connsiteX8" fmla="*/ 9144001 w 9153528"/>
              <a:gd name="connsiteY8" fmla="*/ 3426281 h 5143500"/>
              <a:gd name="connsiteX9" fmla="*/ 4464473 w 9153528"/>
              <a:gd name="connsiteY9" fmla="*/ 4075643 h 5143500"/>
              <a:gd name="connsiteX10" fmla="*/ 0 w 9153528"/>
              <a:gd name="connsiteY10" fmla="*/ 3708636 h 5143500"/>
              <a:gd name="connsiteX11" fmla="*/ 0 w 9153528"/>
              <a:gd name="connsiteY11" fmla="*/ 0 h 5143500"/>
              <a:gd name="connsiteX0" fmla="*/ 0 w 9153528"/>
              <a:gd name="connsiteY0" fmla="*/ 5143499 h 5143500"/>
              <a:gd name="connsiteX1" fmla="*/ 9153528 w 9153528"/>
              <a:gd name="connsiteY1" fmla="*/ 5143499 h 5143500"/>
              <a:gd name="connsiteX2" fmla="*/ 9153528 w 9153528"/>
              <a:gd name="connsiteY2" fmla="*/ 5143500 h 5143500"/>
              <a:gd name="connsiteX3" fmla="*/ 0 w 9153528"/>
              <a:gd name="connsiteY3" fmla="*/ 5143500 h 5143500"/>
              <a:gd name="connsiteX4" fmla="*/ 0 w 9153528"/>
              <a:gd name="connsiteY4" fmla="*/ 5143499 h 5143500"/>
              <a:gd name="connsiteX5" fmla="*/ 0 w 9153528"/>
              <a:gd name="connsiteY5" fmla="*/ 0 h 5143500"/>
              <a:gd name="connsiteX6" fmla="*/ 9153528 w 9153528"/>
              <a:gd name="connsiteY6" fmla="*/ 0 h 5143500"/>
              <a:gd name="connsiteX7" fmla="*/ 9144001 w 9153528"/>
              <a:gd name="connsiteY7" fmla="*/ 3426281 h 5143500"/>
              <a:gd name="connsiteX8" fmla="*/ 4464473 w 9153528"/>
              <a:gd name="connsiteY8" fmla="*/ 4075643 h 5143500"/>
              <a:gd name="connsiteX9" fmla="*/ 0 w 9153528"/>
              <a:gd name="connsiteY9" fmla="*/ 3708636 h 5143500"/>
              <a:gd name="connsiteX10" fmla="*/ 0 w 9153528"/>
              <a:gd name="connsiteY10" fmla="*/ 0 h 5143500"/>
              <a:gd name="connsiteX0" fmla="*/ 0 w 9153528"/>
              <a:gd name="connsiteY0" fmla="*/ 5143499 h 5143500"/>
              <a:gd name="connsiteX1" fmla="*/ 9153528 w 9153528"/>
              <a:gd name="connsiteY1" fmla="*/ 5143499 h 5143500"/>
              <a:gd name="connsiteX2" fmla="*/ 0 w 9153528"/>
              <a:gd name="connsiteY2" fmla="*/ 5143500 h 5143500"/>
              <a:gd name="connsiteX3" fmla="*/ 0 w 9153528"/>
              <a:gd name="connsiteY3" fmla="*/ 5143499 h 5143500"/>
              <a:gd name="connsiteX4" fmla="*/ 0 w 9153528"/>
              <a:gd name="connsiteY4" fmla="*/ 0 h 5143500"/>
              <a:gd name="connsiteX5" fmla="*/ 9153528 w 9153528"/>
              <a:gd name="connsiteY5" fmla="*/ 0 h 5143500"/>
              <a:gd name="connsiteX6" fmla="*/ 9144001 w 9153528"/>
              <a:gd name="connsiteY6" fmla="*/ 3426281 h 5143500"/>
              <a:gd name="connsiteX7" fmla="*/ 4464473 w 9153528"/>
              <a:gd name="connsiteY7" fmla="*/ 4075643 h 5143500"/>
              <a:gd name="connsiteX8" fmla="*/ 0 w 9153528"/>
              <a:gd name="connsiteY8" fmla="*/ 3708636 h 5143500"/>
              <a:gd name="connsiteX9" fmla="*/ 0 w 9153528"/>
              <a:gd name="connsiteY9" fmla="*/ 0 h 5143500"/>
              <a:gd name="connsiteX0" fmla="*/ 0 w 9153528"/>
              <a:gd name="connsiteY0" fmla="*/ 5143499 h 5143500"/>
              <a:gd name="connsiteX1" fmla="*/ 0 w 9153528"/>
              <a:gd name="connsiteY1" fmla="*/ 5143500 h 5143500"/>
              <a:gd name="connsiteX2" fmla="*/ 0 w 9153528"/>
              <a:gd name="connsiteY2" fmla="*/ 5143499 h 5143500"/>
              <a:gd name="connsiteX3" fmla="*/ 0 w 9153528"/>
              <a:gd name="connsiteY3" fmla="*/ 0 h 5143500"/>
              <a:gd name="connsiteX4" fmla="*/ 9153528 w 9153528"/>
              <a:gd name="connsiteY4" fmla="*/ 0 h 5143500"/>
              <a:gd name="connsiteX5" fmla="*/ 9144001 w 9153528"/>
              <a:gd name="connsiteY5" fmla="*/ 3426281 h 5143500"/>
              <a:gd name="connsiteX6" fmla="*/ 4464473 w 9153528"/>
              <a:gd name="connsiteY6" fmla="*/ 4075643 h 5143500"/>
              <a:gd name="connsiteX7" fmla="*/ 0 w 9153528"/>
              <a:gd name="connsiteY7" fmla="*/ 3708636 h 5143500"/>
              <a:gd name="connsiteX8" fmla="*/ 0 w 9153528"/>
              <a:gd name="connsiteY8" fmla="*/ 0 h 5143500"/>
              <a:gd name="connsiteX0" fmla="*/ 0 w 9153528"/>
              <a:gd name="connsiteY0" fmla="*/ 0 h 4075643"/>
              <a:gd name="connsiteX1" fmla="*/ 9153528 w 9153528"/>
              <a:gd name="connsiteY1" fmla="*/ 0 h 4075643"/>
              <a:gd name="connsiteX2" fmla="*/ 9144001 w 9153528"/>
              <a:gd name="connsiteY2" fmla="*/ 3426281 h 4075643"/>
              <a:gd name="connsiteX3" fmla="*/ 4464473 w 9153528"/>
              <a:gd name="connsiteY3" fmla="*/ 4075643 h 4075643"/>
              <a:gd name="connsiteX4" fmla="*/ 0 w 9153528"/>
              <a:gd name="connsiteY4" fmla="*/ 3708636 h 4075643"/>
              <a:gd name="connsiteX5" fmla="*/ 0 w 9153528"/>
              <a:gd name="connsiteY5" fmla="*/ 0 h 4075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53528" h="4075643">
                <a:moveTo>
                  <a:pt x="0" y="0"/>
                </a:moveTo>
                <a:lnTo>
                  <a:pt x="9153528" y="0"/>
                </a:lnTo>
                <a:cubicBezTo>
                  <a:pt x="9150352" y="1142094"/>
                  <a:pt x="9147177" y="2284187"/>
                  <a:pt x="9144001" y="3426281"/>
                </a:cubicBezTo>
                <a:lnTo>
                  <a:pt x="4464473" y="4075643"/>
                </a:lnTo>
                <a:lnTo>
                  <a:pt x="0" y="3708636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  <p:pic>
        <p:nvPicPr>
          <p:cNvPr id="3" name="Graphique 2">
            <a:extLst>
              <a:ext uri="{FF2B5EF4-FFF2-40B4-BE49-F238E27FC236}">
                <a16:creationId xmlns:a16="http://schemas.microsoft.com/office/drawing/2014/main" id="{E7008A4A-56ED-4B79-8C76-07B31083E9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6275" y="4150109"/>
            <a:ext cx="2174263" cy="648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46799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uverture 2 - C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e libre : forme 4">
            <a:extLst>
              <a:ext uri="{FF2B5EF4-FFF2-40B4-BE49-F238E27FC236}">
                <a16:creationId xmlns:a16="http://schemas.microsoft.com/office/drawing/2014/main" id="{6BBA7953-6320-4985-B304-CAEF45B84CC1}"/>
              </a:ext>
            </a:extLst>
          </p:cNvPr>
          <p:cNvSpPr/>
          <p:nvPr userDrawn="1"/>
        </p:nvSpPr>
        <p:spPr>
          <a:xfrm rot="16200000">
            <a:off x="6276217" y="2274933"/>
            <a:ext cx="1037443" cy="4698124"/>
          </a:xfrm>
          <a:custGeom>
            <a:avLst/>
            <a:gdLst>
              <a:gd name="connsiteX0" fmla="*/ 1037443 w 1037443"/>
              <a:gd name="connsiteY0" fmla="*/ 4698124 h 4698124"/>
              <a:gd name="connsiteX1" fmla="*/ 0 w 1037443"/>
              <a:gd name="connsiteY1" fmla="*/ 4698124 h 4698124"/>
              <a:gd name="connsiteX2" fmla="*/ 386215 w 1037443"/>
              <a:gd name="connsiteY2" fmla="*/ 0 h 4698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37443" h="4698124">
                <a:moveTo>
                  <a:pt x="1037443" y="4698124"/>
                </a:moveTo>
                <a:lnTo>
                  <a:pt x="0" y="4698124"/>
                </a:lnTo>
                <a:lnTo>
                  <a:pt x="386215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48FA6A4C-949D-4D78-851A-5D85C0ACA219}"/>
              </a:ext>
            </a:extLst>
          </p:cNvPr>
          <p:cNvGrpSpPr/>
          <p:nvPr userDrawn="1"/>
        </p:nvGrpSpPr>
        <p:grpSpPr>
          <a:xfrm>
            <a:off x="4782105" y="4078441"/>
            <a:ext cx="4416497" cy="1125022"/>
            <a:chOff x="4782105" y="4078441"/>
            <a:chExt cx="4416497" cy="1125022"/>
          </a:xfrm>
          <a:solidFill>
            <a:schemeClr val="bg2">
              <a:alpha val="10000"/>
            </a:schemeClr>
          </a:solidFill>
        </p:grpSpPr>
        <p:sp>
          <p:nvSpPr>
            <p:cNvPr id="7" name="Forme libre : forme 6">
              <a:extLst>
                <a:ext uri="{FF2B5EF4-FFF2-40B4-BE49-F238E27FC236}">
                  <a16:creationId xmlns:a16="http://schemas.microsoft.com/office/drawing/2014/main" id="{791FB8C9-9221-4E4C-A4AC-2AAD9F08AE59}"/>
                </a:ext>
              </a:extLst>
            </p:cNvPr>
            <p:cNvSpPr/>
            <p:nvPr/>
          </p:nvSpPr>
          <p:spPr>
            <a:xfrm rot="8716295">
              <a:off x="8490768" y="467807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CAEA067D-BF83-4ED3-87B4-BB06FFFF2B66}"/>
                </a:ext>
              </a:extLst>
            </p:cNvPr>
            <p:cNvSpPr/>
            <p:nvPr/>
          </p:nvSpPr>
          <p:spPr>
            <a:xfrm rot="8716295">
              <a:off x="5559260" y="4523190"/>
              <a:ext cx="215177" cy="303156"/>
            </a:xfrm>
            <a:custGeom>
              <a:avLst/>
              <a:gdLst>
                <a:gd name="connsiteX0" fmla="*/ 122761 w 215177"/>
                <a:gd name="connsiteY0" fmla="*/ 256399 h 303156"/>
                <a:gd name="connsiteX1" fmla="*/ 122761 w 215177"/>
                <a:gd name="connsiteY1" fmla="*/ 105519 h 303156"/>
                <a:gd name="connsiteX2" fmla="*/ 122761 w 215177"/>
                <a:gd name="connsiteY2" fmla="*/ 99312 h 303156"/>
                <a:gd name="connsiteX3" fmla="*/ 91726 w 215177"/>
                <a:gd name="connsiteY3" fmla="*/ 75863 h 303156"/>
                <a:gd name="connsiteX4" fmla="*/ 0 w 215177"/>
                <a:gd name="connsiteY4" fmla="*/ 75863 h 303156"/>
                <a:gd name="connsiteX5" fmla="*/ 0 w 215177"/>
                <a:gd name="connsiteY5" fmla="*/ 0 h 303156"/>
                <a:gd name="connsiteX6" fmla="*/ 128968 w 215177"/>
                <a:gd name="connsiteY6" fmla="*/ 0 h 303156"/>
                <a:gd name="connsiteX7" fmla="*/ 215177 w 215177"/>
                <a:gd name="connsiteY7" fmla="*/ 75863 h 303156"/>
                <a:gd name="connsiteX8" fmla="*/ 215176 w 215177"/>
                <a:gd name="connsiteY8" fmla="*/ 303156 h 303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5177" h="303156">
                  <a:moveTo>
                    <a:pt x="122761" y="25639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0"/>
                  </a:lnTo>
                  <a:lnTo>
                    <a:pt x="128968" y="0"/>
                  </a:lnTo>
                  <a:cubicBezTo>
                    <a:pt x="184831" y="0"/>
                    <a:pt x="215176" y="24139"/>
                    <a:pt x="215177" y="75863"/>
                  </a:cubicBezTo>
                  <a:lnTo>
                    <a:pt x="215176" y="30315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ADF38186-185D-41F8-A6B1-FB10366A4CEE}"/>
                </a:ext>
              </a:extLst>
            </p:cNvPr>
            <p:cNvSpPr/>
            <p:nvPr/>
          </p:nvSpPr>
          <p:spPr>
            <a:xfrm rot="8716295">
              <a:off x="5692925" y="4561542"/>
              <a:ext cx="393603" cy="335006"/>
            </a:xfrm>
            <a:custGeom>
              <a:avLst/>
              <a:gdLst>
                <a:gd name="connsiteX0" fmla="*/ 77932 w 393603"/>
                <a:gd name="connsiteY0" fmla="*/ 299055 h 335006"/>
                <a:gd name="connsiteX1" fmla="*/ 77932 w 393603"/>
                <a:gd name="connsiteY1" fmla="*/ 66897 h 335006"/>
                <a:gd name="connsiteX2" fmla="*/ 0 w 393603"/>
                <a:gd name="connsiteY2" fmla="*/ 66898 h 335006"/>
                <a:gd name="connsiteX3" fmla="*/ 0 w 393603"/>
                <a:gd name="connsiteY3" fmla="*/ 0 h 335006"/>
                <a:gd name="connsiteX4" fmla="*/ 158623 w 393603"/>
                <a:gd name="connsiteY4" fmla="*/ 1 h 335006"/>
                <a:gd name="connsiteX5" fmla="*/ 158623 w 393603"/>
                <a:gd name="connsiteY5" fmla="*/ 111726 h 335006"/>
                <a:gd name="connsiteX6" fmla="*/ 160692 w 393603"/>
                <a:gd name="connsiteY6" fmla="*/ 111726 h 335006"/>
                <a:gd name="connsiteX7" fmla="*/ 192762 w 393603"/>
                <a:gd name="connsiteY7" fmla="*/ 39915 h 335006"/>
                <a:gd name="connsiteX8" fmla="*/ 231959 w 393603"/>
                <a:gd name="connsiteY8" fmla="*/ 7837 h 335006"/>
                <a:gd name="connsiteX9" fmla="*/ 393603 w 393603"/>
                <a:gd name="connsiteY9" fmla="*/ 140745 h 335006"/>
                <a:gd name="connsiteX10" fmla="*/ 300695 w 393603"/>
                <a:gd name="connsiteY10" fmla="*/ 146210 h 335006"/>
                <a:gd name="connsiteX11" fmla="*/ 300694 w 393603"/>
                <a:gd name="connsiteY11" fmla="*/ 121382 h 335006"/>
                <a:gd name="connsiteX12" fmla="*/ 249659 w 393603"/>
                <a:gd name="connsiteY12" fmla="*/ 58622 h 335006"/>
                <a:gd name="connsiteX13" fmla="*/ 168969 w 393603"/>
                <a:gd name="connsiteY13" fmla="*/ 191038 h 335006"/>
                <a:gd name="connsiteX14" fmla="*/ 168969 w 393603"/>
                <a:gd name="connsiteY14" fmla="*/ 321385 h 335006"/>
                <a:gd name="connsiteX15" fmla="*/ 148991 w 393603"/>
                <a:gd name="connsiteY15" fmla="*/ 335006 h 335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93603" h="335006">
                  <a:moveTo>
                    <a:pt x="77932" y="299055"/>
                  </a:moveTo>
                  <a:lnTo>
                    <a:pt x="77932" y="66897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1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71727" y="78967"/>
                    <a:pt x="181555" y="56208"/>
                    <a:pt x="192762" y="39915"/>
                  </a:cubicBezTo>
                  <a:lnTo>
                    <a:pt x="231959" y="7837"/>
                  </a:lnTo>
                  <a:lnTo>
                    <a:pt x="393603" y="140745"/>
                  </a:lnTo>
                  <a:lnTo>
                    <a:pt x="300695" y="146210"/>
                  </a:lnTo>
                  <a:lnTo>
                    <a:pt x="300694" y="121382"/>
                  </a:lnTo>
                  <a:cubicBezTo>
                    <a:pt x="300695" y="84140"/>
                    <a:pt x="279316" y="58622"/>
                    <a:pt x="249659" y="58622"/>
                  </a:cubicBezTo>
                  <a:cubicBezTo>
                    <a:pt x="205521" y="58621"/>
                    <a:pt x="168969" y="117244"/>
                    <a:pt x="168969" y="191038"/>
                  </a:cubicBezTo>
                  <a:lnTo>
                    <a:pt x="168969" y="321385"/>
                  </a:lnTo>
                  <a:lnTo>
                    <a:pt x="148991" y="33500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4B724F9D-95FF-4F02-B59A-7E5AC8B98AC8}"/>
                </a:ext>
              </a:extLst>
            </p:cNvPr>
            <p:cNvSpPr/>
            <p:nvPr/>
          </p:nvSpPr>
          <p:spPr>
            <a:xfrm rot="8716295">
              <a:off x="5659234" y="4556420"/>
              <a:ext cx="113018" cy="83608"/>
            </a:xfrm>
            <a:custGeom>
              <a:avLst/>
              <a:gdLst>
                <a:gd name="connsiteX0" fmla="*/ 0 w 113018"/>
                <a:gd name="connsiteY0" fmla="*/ 32910 h 83608"/>
                <a:gd name="connsiteX1" fmla="*/ 24482 w 113018"/>
                <a:gd name="connsiteY1" fmla="*/ 13621 h 83608"/>
                <a:gd name="connsiteX2" fmla="*/ 70259 w 113018"/>
                <a:gd name="connsiteY2" fmla="*/ 0 h 83608"/>
                <a:gd name="connsiteX3" fmla="*/ 113018 w 113018"/>
                <a:gd name="connsiteY3" fmla="*/ 51035 h 83608"/>
                <a:gd name="connsiteX4" fmla="*/ 100518 w 113018"/>
                <a:gd name="connsiteY4" fmla="*/ 83363 h 83608"/>
                <a:gd name="connsiteX5" fmla="*/ 100204 w 113018"/>
                <a:gd name="connsiteY5" fmla="*/ 83608 h 83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018" h="83608">
                  <a:moveTo>
                    <a:pt x="0" y="32910"/>
                  </a:moveTo>
                  <a:lnTo>
                    <a:pt x="24482" y="13621"/>
                  </a:lnTo>
                  <a:cubicBezTo>
                    <a:pt x="38534" y="6380"/>
                    <a:pt x="54052" y="1725"/>
                    <a:pt x="70259" y="0"/>
                  </a:cubicBezTo>
                  <a:cubicBezTo>
                    <a:pt x="103363" y="0"/>
                    <a:pt x="113018" y="28966"/>
                    <a:pt x="113018" y="51035"/>
                  </a:cubicBezTo>
                  <a:cubicBezTo>
                    <a:pt x="111984" y="63105"/>
                    <a:pt x="107501" y="74139"/>
                    <a:pt x="100518" y="83363"/>
                  </a:cubicBezTo>
                  <a:lnTo>
                    <a:pt x="100204" y="8360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D01436B5-D8EB-44DF-8B51-633BF4E9FB42}"/>
                </a:ext>
              </a:extLst>
            </p:cNvPr>
            <p:cNvSpPr/>
            <p:nvPr/>
          </p:nvSpPr>
          <p:spPr>
            <a:xfrm rot="8716295">
              <a:off x="5371633" y="4613095"/>
              <a:ext cx="88105" cy="83851"/>
            </a:xfrm>
            <a:custGeom>
              <a:avLst/>
              <a:gdLst>
                <a:gd name="connsiteX0" fmla="*/ 6112 w 88105"/>
                <a:gd name="connsiteY0" fmla="*/ 59305 h 83851"/>
                <a:gd name="connsiteX1" fmla="*/ 0 w 88105"/>
                <a:gd name="connsiteY1" fmla="*/ 44829 h 83851"/>
                <a:gd name="connsiteX2" fmla="*/ 0 w 88105"/>
                <a:gd name="connsiteY2" fmla="*/ 44139 h 83851"/>
                <a:gd name="connsiteX3" fmla="*/ 13104 w 88105"/>
                <a:gd name="connsiteY3" fmla="*/ 13104 h 83851"/>
                <a:gd name="connsiteX4" fmla="*/ 44139 w 88105"/>
                <a:gd name="connsiteY4" fmla="*/ 0 h 83851"/>
                <a:gd name="connsiteX5" fmla="*/ 75175 w 88105"/>
                <a:gd name="connsiteY5" fmla="*/ 13104 h 83851"/>
                <a:gd name="connsiteX6" fmla="*/ 75175 w 88105"/>
                <a:gd name="connsiteY6" fmla="*/ 75175 h 83851"/>
                <a:gd name="connsiteX7" fmla="*/ 54626 w 88105"/>
                <a:gd name="connsiteY7" fmla="*/ 83851 h 83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105" h="83851">
                  <a:moveTo>
                    <a:pt x="6112" y="59305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cubicBezTo>
                    <a:pt x="55864" y="0"/>
                    <a:pt x="66899" y="4828"/>
                    <a:pt x="75175" y="13104"/>
                  </a:cubicBezTo>
                  <a:cubicBezTo>
                    <a:pt x="92416" y="29657"/>
                    <a:pt x="92416" y="57933"/>
                    <a:pt x="75175" y="75175"/>
                  </a:cubicBezTo>
                  <a:lnTo>
                    <a:pt x="54626" y="8385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6F3BF20E-F037-4374-BB41-095B54D26F08}"/>
                </a:ext>
              </a:extLst>
            </p:cNvPr>
            <p:cNvSpPr/>
            <p:nvPr/>
          </p:nvSpPr>
          <p:spPr>
            <a:xfrm rot="8716295">
              <a:off x="5473646" y="4706746"/>
              <a:ext cx="91035" cy="188159"/>
            </a:xfrm>
            <a:custGeom>
              <a:avLst/>
              <a:gdLst>
                <a:gd name="connsiteX0" fmla="*/ 91035 w 91035"/>
                <a:gd name="connsiteY0" fmla="*/ 188159 h 188159"/>
                <a:gd name="connsiteX1" fmla="*/ 0 w 91035"/>
                <a:gd name="connsiteY1" fmla="*/ 100571 h 188159"/>
                <a:gd name="connsiteX2" fmla="*/ 0 w 91035"/>
                <a:gd name="connsiteY2" fmla="*/ 0 h 188159"/>
                <a:gd name="connsiteX3" fmla="*/ 91035 w 91035"/>
                <a:gd name="connsiteY3" fmla="*/ 74852 h 188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188159">
                  <a:moveTo>
                    <a:pt x="91035" y="188159"/>
                  </a:moveTo>
                  <a:lnTo>
                    <a:pt x="0" y="100571"/>
                  </a:lnTo>
                  <a:lnTo>
                    <a:pt x="0" y="0"/>
                  </a:lnTo>
                  <a:lnTo>
                    <a:pt x="91035" y="748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BBB1D061-FD31-402D-BCCB-6813149262F1}"/>
                </a:ext>
              </a:extLst>
            </p:cNvPr>
            <p:cNvSpPr/>
            <p:nvPr/>
          </p:nvSpPr>
          <p:spPr>
            <a:xfrm rot="8716295">
              <a:off x="6218962" y="4454620"/>
              <a:ext cx="171018" cy="106515"/>
            </a:xfrm>
            <a:custGeom>
              <a:avLst/>
              <a:gdLst>
                <a:gd name="connsiteX0" fmla="*/ 0 w 171018"/>
                <a:gd name="connsiteY0" fmla="*/ 19991 h 106515"/>
                <a:gd name="connsiteX1" fmla="*/ 13365 w 171018"/>
                <a:gd name="connsiteY1" fmla="*/ 9053 h 106515"/>
                <a:gd name="connsiteX2" fmla="*/ 60952 w 171018"/>
                <a:gd name="connsiteY2" fmla="*/ 87 h 106515"/>
                <a:gd name="connsiteX3" fmla="*/ 166956 w 171018"/>
                <a:gd name="connsiteY3" fmla="*/ 76705 h 106515"/>
                <a:gd name="connsiteX4" fmla="*/ 171018 w 171018"/>
                <a:gd name="connsiteY4" fmla="*/ 106515 h 106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018" h="106515">
                  <a:moveTo>
                    <a:pt x="0" y="19991"/>
                  </a:moveTo>
                  <a:lnTo>
                    <a:pt x="13365" y="9053"/>
                  </a:lnTo>
                  <a:cubicBezTo>
                    <a:pt x="28538" y="2846"/>
                    <a:pt x="44400" y="-602"/>
                    <a:pt x="60952" y="87"/>
                  </a:cubicBezTo>
                  <a:cubicBezTo>
                    <a:pt x="114229" y="-948"/>
                    <a:pt x="151600" y="26725"/>
                    <a:pt x="166956" y="76705"/>
                  </a:cubicBezTo>
                  <a:lnTo>
                    <a:pt x="171018" y="10651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B49834EB-4686-4A9A-AFBE-353B0A4BB9CC}"/>
                </a:ext>
              </a:extLst>
            </p:cNvPr>
            <p:cNvSpPr/>
            <p:nvPr/>
          </p:nvSpPr>
          <p:spPr>
            <a:xfrm rot="8716295">
              <a:off x="6005990" y="4487669"/>
              <a:ext cx="156555" cy="122067"/>
            </a:xfrm>
            <a:custGeom>
              <a:avLst/>
              <a:gdLst>
                <a:gd name="connsiteX0" fmla="*/ 65519 w 156555"/>
                <a:gd name="connsiteY0" fmla="*/ 76009 h 122067"/>
                <a:gd name="connsiteX1" fmla="*/ 65519 w 156555"/>
                <a:gd name="connsiteY1" fmla="*/ 24828 h 122067"/>
                <a:gd name="connsiteX2" fmla="*/ 0 w 156555"/>
                <a:gd name="connsiteY2" fmla="*/ 24828 h 122067"/>
                <a:gd name="connsiteX3" fmla="*/ 0 w 156555"/>
                <a:gd name="connsiteY3" fmla="*/ 3449 h 122067"/>
                <a:gd name="connsiteX4" fmla="*/ 156555 w 156555"/>
                <a:gd name="connsiteY4" fmla="*/ 0 h 122067"/>
                <a:gd name="connsiteX5" fmla="*/ 156554 w 156555"/>
                <a:gd name="connsiteY5" fmla="*/ 122067 h 122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6555" h="122067">
                  <a:moveTo>
                    <a:pt x="65519" y="76009"/>
                  </a:moveTo>
                  <a:lnTo>
                    <a:pt x="65519" y="24828"/>
                  </a:lnTo>
                  <a:lnTo>
                    <a:pt x="0" y="24828"/>
                  </a:lnTo>
                  <a:lnTo>
                    <a:pt x="0" y="3449"/>
                  </a:lnTo>
                  <a:cubicBezTo>
                    <a:pt x="49656" y="5517"/>
                    <a:pt x="101381" y="1379"/>
                    <a:pt x="156555" y="0"/>
                  </a:cubicBezTo>
                  <a:lnTo>
                    <a:pt x="156554" y="1220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676F5558-2730-4CE0-B993-EAC478371730}"/>
                </a:ext>
              </a:extLst>
            </p:cNvPr>
            <p:cNvSpPr/>
            <p:nvPr/>
          </p:nvSpPr>
          <p:spPr>
            <a:xfrm rot="7484129">
              <a:off x="6103422" y="4586563"/>
              <a:ext cx="308532" cy="296464"/>
            </a:xfrm>
            <a:custGeom>
              <a:avLst/>
              <a:gdLst>
                <a:gd name="connsiteX0" fmla="*/ 137293 w 308532"/>
                <a:gd name="connsiteY0" fmla="*/ 296464 h 296464"/>
                <a:gd name="connsiteX1" fmla="*/ 72419 w 308532"/>
                <a:gd name="connsiteY1" fmla="*/ 175766 h 296464"/>
                <a:gd name="connsiteX2" fmla="*/ 105610 w 308532"/>
                <a:gd name="connsiteY2" fmla="*/ 83734 h 296464"/>
                <a:gd name="connsiteX3" fmla="*/ 0 w 308532"/>
                <a:gd name="connsiteY3" fmla="*/ 83734 h 296464"/>
                <a:gd name="connsiteX4" fmla="*/ 0 w 308532"/>
                <a:gd name="connsiteY4" fmla="*/ 0 h 296464"/>
                <a:gd name="connsiteX5" fmla="*/ 265017 w 308532"/>
                <a:gd name="connsiteY5" fmla="*/ 0 h 296464"/>
                <a:gd name="connsiteX6" fmla="*/ 308532 w 308532"/>
                <a:gd name="connsiteY6" fmla="*/ 75260 h 296464"/>
                <a:gd name="connsiteX7" fmla="*/ 308532 w 308532"/>
                <a:gd name="connsiteY7" fmla="*/ 83734 h 296464"/>
                <a:gd name="connsiteX8" fmla="*/ 210466 w 308532"/>
                <a:gd name="connsiteY8" fmla="*/ 83734 h 296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532" h="296464">
                  <a:moveTo>
                    <a:pt x="137293" y="296464"/>
                  </a:moveTo>
                  <a:lnTo>
                    <a:pt x="72419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65017" y="0"/>
                  </a:lnTo>
                  <a:lnTo>
                    <a:pt x="308532" y="75260"/>
                  </a:lnTo>
                  <a:lnTo>
                    <a:pt x="308532" y="83734"/>
                  </a:lnTo>
                  <a:lnTo>
                    <a:pt x="210466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6446F284-DF3B-4BD3-84E9-63513197872A}"/>
                </a:ext>
              </a:extLst>
            </p:cNvPr>
            <p:cNvSpPr/>
            <p:nvPr/>
          </p:nvSpPr>
          <p:spPr>
            <a:xfrm rot="13089394">
              <a:off x="6309616" y="4543919"/>
              <a:ext cx="412568" cy="359948"/>
            </a:xfrm>
            <a:custGeom>
              <a:avLst/>
              <a:gdLst>
                <a:gd name="connsiteX0" fmla="*/ 412568 w 412568"/>
                <a:gd name="connsiteY0" fmla="*/ 252801 h 359948"/>
                <a:gd name="connsiteX1" fmla="*/ 138636 w 412568"/>
                <a:gd name="connsiteY1" fmla="*/ 359701 h 359948"/>
                <a:gd name="connsiteX2" fmla="*/ 35911 w 412568"/>
                <a:gd name="connsiteY2" fmla="*/ 317943 h 359948"/>
                <a:gd name="connsiteX3" fmla="*/ 0 w 412568"/>
                <a:gd name="connsiteY3" fmla="*/ 174296 h 359948"/>
                <a:gd name="connsiteX4" fmla="*/ 0 w 412568"/>
                <a:gd name="connsiteY4" fmla="*/ 74054 h 359948"/>
                <a:gd name="connsiteX5" fmla="*/ 112066 w 412568"/>
                <a:gd name="connsiteY5" fmla="*/ 0 h 359948"/>
                <a:gd name="connsiteX6" fmla="*/ 112747 w 412568"/>
                <a:gd name="connsiteY6" fmla="*/ 94956 h 359948"/>
                <a:gd name="connsiteX7" fmla="*/ 132789 w 412568"/>
                <a:gd name="connsiteY7" fmla="*/ 233593 h 359948"/>
                <a:gd name="connsiteX8" fmla="*/ 233008 w 412568"/>
                <a:gd name="connsiteY8" fmla="*/ 288713 h 359948"/>
                <a:gd name="connsiteX9" fmla="*/ 308172 w 412568"/>
                <a:gd name="connsiteY9" fmla="*/ 275351 h 359948"/>
                <a:gd name="connsiteX10" fmla="*/ 410898 w 412568"/>
                <a:gd name="connsiteY10" fmla="*/ 233593 h 359948"/>
                <a:gd name="connsiteX11" fmla="*/ 412568 w 412568"/>
                <a:gd name="connsiteY11" fmla="*/ 244449 h 359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2568" h="359948">
                  <a:moveTo>
                    <a:pt x="412568" y="252801"/>
                  </a:moveTo>
                  <a:cubicBezTo>
                    <a:pt x="324041" y="328800"/>
                    <a:pt x="207954" y="355526"/>
                    <a:pt x="138636" y="359701"/>
                  </a:cubicBezTo>
                  <a:cubicBezTo>
                    <a:pt x="100219" y="362207"/>
                    <a:pt x="62637" y="345504"/>
                    <a:pt x="35911" y="317943"/>
                  </a:cubicBezTo>
                  <a:cubicBezTo>
                    <a:pt x="7516" y="290383"/>
                    <a:pt x="0" y="242779"/>
                    <a:pt x="0" y="174296"/>
                  </a:cubicBezTo>
                  <a:lnTo>
                    <a:pt x="0" y="74054"/>
                  </a:lnTo>
                  <a:lnTo>
                    <a:pt x="112066" y="0"/>
                  </a:lnTo>
                  <a:lnTo>
                    <a:pt x="112747" y="94956"/>
                  </a:lnTo>
                  <a:cubicBezTo>
                    <a:pt x="110241" y="141725"/>
                    <a:pt x="117756" y="189329"/>
                    <a:pt x="132789" y="233593"/>
                  </a:cubicBezTo>
                  <a:cubicBezTo>
                    <a:pt x="146153" y="270339"/>
                    <a:pt x="180394" y="288713"/>
                    <a:pt x="233008" y="288713"/>
                  </a:cubicBezTo>
                  <a:cubicBezTo>
                    <a:pt x="258899" y="287878"/>
                    <a:pt x="283953" y="282866"/>
                    <a:pt x="308172" y="275351"/>
                  </a:cubicBezTo>
                  <a:cubicBezTo>
                    <a:pt x="343249" y="264493"/>
                    <a:pt x="377491" y="250296"/>
                    <a:pt x="410898" y="233593"/>
                  </a:cubicBezTo>
                  <a:cubicBezTo>
                    <a:pt x="411732" y="236933"/>
                    <a:pt x="412568" y="241109"/>
                    <a:pt x="412568" y="24444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88875692-D947-4058-8206-44233A06BFD3}"/>
                </a:ext>
              </a:extLst>
            </p:cNvPr>
            <p:cNvSpPr/>
            <p:nvPr/>
          </p:nvSpPr>
          <p:spPr>
            <a:xfrm rot="8716295">
              <a:off x="6597507" y="4422612"/>
              <a:ext cx="149044" cy="111064"/>
            </a:xfrm>
            <a:custGeom>
              <a:avLst/>
              <a:gdLst>
                <a:gd name="connsiteX0" fmla="*/ 0 w 149044"/>
                <a:gd name="connsiteY0" fmla="*/ 51375 h 111064"/>
                <a:gd name="connsiteX1" fmla="*/ 1002 w 149044"/>
                <a:gd name="connsiteY1" fmla="*/ 50432 h 111064"/>
                <a:gd name="connsiteX2" fmla="*/ 98612 w 149044"/>
                <a:gd name="connsiteY2" fmla="*/ 0 h 111064"/>
                <a:gd name="connsiteX3" fmla="*/ 149044 w 149044"/>
                <a:gd name="connsiteY3" fmla="*/ 60193 h 111064"/>
                <a:gd name="connsiteX4" fmla="*/ 134300 w 149044"/>
                <a:gd name="connsiteY4" fmla="*/ 98322 h 111064"/>
                <a:gd name="connsiteX5" fmla="*/ 117977 w 149044"/>
                <a:gd name="connsiteY5" fmla="*/ 111064 h 111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044" h="111064">
                  <a:moveTo>
                    <a:pt x="0" y="51375"/>
                  </a:moveTo>
                  <a:lnTo>
                    <a:pt x="1002" y="50432"/>
                  </a:lnTo>
                  <a:cubicBezTo>
                    <a:pt x="25404" y="21963"/>
                    <a:pt x="60381" y="4067"/>
                    <a:pt x="98612" y="0"/>
                  </a:cubicBezTo>
                  <a:cubicBezTo>
                    <a:pt x="137657" y="0"/>
                    <a:pt x="149044" y="34164"/>
                    <a:pt x="149044" y="60193"/>
                  </a:cubicBezTo>
                  <a:cubicBezTo>
                    <a:pt x="147824" y="74428"/>
                    <a:pt x="142536" y="87443"/>
                    <a:pt x="134300" y="98322"/>
                  </a:cubicBezTo>
                  <a:lnTo>
                    <a:pt x="117977" y="1110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371804DA-D0A5-4840-894B-07AAE1064663}"/>
                </a:ext>
              </a:extLst>
            </p:cNvPr>
            <p:cNvSpPr/>
            <p:nvPr/>
          </p:nvSpPr>
          <p:spPr>
            <a:xfrm rot="8716295">
              <a:off x="6708126" y="4876229"/>
              <a:ext cx="139286" cy="121327"/>
            </a:xfrm>
            <a:custGeom>
              <a:avLst/>
              <a:gdLst>
                <a:gd name="connsiteX0" fmla="*/ 26453 w 139286"/>
                <a:gd name="connsiteY0" fmla="*/ 96267 h 121327"/>
                <a:gd name="connsiteX1" fmla="*/ 0 w 139286"/>
                <a:gd name="connsiteY1" fmla="*/ 33618 h 121327"/>
                <a:gd name="connsiteX2" fmla="*/ 0 w 139286"/>
                <a:gd name="connsiteY2" fmla="*/ 32225 h 121327"/>
                <a:gd name="connsiteX3" fmla="*/ 13607 w 139286"/>
                <a:gd name="connsiteY3" fmla="*/ 0 h 121327"/>
                <a:gd name="connsiteX4" fmla="*/ 139286 w 139286"/>
                <a:gd name="connsiteY4" fmla="*/ 103337 h 121327"/>
                <a:gd name="connsiteX5" fmla="*/ 123037 w 139286"/>
                <a:gd name="connsiteY5" fmla="*/ 114366 h 121327"/>
                <a:gd name="connsiteX6" fmla="*/ 89101 w 139286"/>
                <a:gd name="connsiteY6" fmla="*/ 121327 h 121327"/>
                <a:gd name="connsiteX7" fmla="*/ 26453 w 139286"/>
                <a:gd name="connsiteY7" fmla="*/ 96267 h 121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9286" h="121327">
                  <a:moveTo>
                    <a:pt x="26453" y="96267"/>
                  </a:moveTo>
                  <a:cubicBezTo>
                    <a:pt x="9746" y="79561"/>
                    <a:pt x="0" y="57285"/>
                    <a:pt x="0" y="33618"/>
                  </a:cubicBezTo>
                  <a:lnTo>
                    <a:pt x="0" y="32225"/>
                  </a:lnTo>
                  <a:lnTo>
                    <a:pt x="13607" y="0"/>
                  </a:lnTo>
                  <a:lnTo>
                    <a:pt x="139286" y="103337"/>
                  </a:lnTo>
                  <a:lnTo>
                    <a:pt x="123037" y="114366"/>
                  </a:lnTo>
                  <a:cubicBezTo>
                    <a:pt x="112421" y="118890"/>
                    <a:pt x="100935" y="121327"/>
                    <a:pt x="89101" y="121327"/>
                  </a:cubicBezTo>
                  <a:cubicBezTo>
                    <a:pt x="65435" y="121327"/>
                    <a:pt x="43159" y="112973"/>
                    <a:pt x="26453" y="9626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6EEBC52A-3D14-419B-8366-97197098C604}"/>
                </a:ext>
              </a:extLst>
            </p:cNvPr>
            <p:cNvSpPr/>
            <p:nvPr/>
          </p:nvSpPr>
          <p:spPr>
            <a:xfrm rot="8716295">
              <a:off x="4782105" y="4823045"/>
              <a:ext cx="311921" cy="362797"/>
            </a:xfrm>
            <a:custGeom>
              <a:avLst/>
              <a:gdLst>
                <a:gd name="connsiteX0" fmla="*/ 311920 w 311921"/>
                <a:gd name="connsiteY0" fmla="*/ 120307 h 362797"/>
                <a:gd name="connsiteX1" fmla="*/ 138360 w 311921"/>
                <a:gd name="connsiteY1" fmla="*/ 1 h 362797"/>
                <a:gd name="connsiteX2" fmla="*/ 138360 w 311921"/>
                <a:gd name="connsiteY2" fmla="*/ 0 h 362797"/>
                <a:gd name="connsiteX3" fmla="*/ 311921 w 311921"/>
                <a:gd name="connsiteY3" fmla="*/ 120307 h 362797"/>
                <a:gd name="connsiteX4" fmla="*/ 0 w 311921"/>
                <a:gd name="connsiteY4" fmla="*/ 362797 h 362797"/>
                <a:gd name="connsiteX5" fmla="*/ 0 w 311921"/>
                <a:gd name="connsiteY5" fmla="*/ 320869 h 362797"/>
                <a:gd name="connsiteX6" fmla="*/ 27877 w 311921"/>
                <a:gd name="connsiteY6" fmla="*/ 343790 h 362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1921" h="362797">
                  <a:moveTo>
                    <a:pt x="311920" y="120307"/>
                  </a:moveTo>
                  <a:lnTo>
                    <a:pt x="138360" y="1"/>
                  </a:lnTo>
                  <a:lnTo>
                    <a:pt x="138360" y="0"/>
                  </a:lnTo>
                  <a:lnTo>
                    <a:pt x="311921" y="120307"/>
                  </a:lnTo>
                  <a:close/>
                  <a:moveTo>
                    <a:pt x="0" y="362797"/>
                  </a:moveTo>
                  <a:lnTo>
                    <a:pt x="0" y="320869"/>
                  </a:lnTo>
                  <a:lnTo>
                    <a:pt x="27877" y="34379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53F2D732-A25A-4CEE-B98E-E5DC8CC54158}"/>
                </a:ext>
              </a:extLst>
            </p:cNvPr>
            <p:cNvSpPr/>
            <p:nvPr/>
          </p:nvSpPr>
          <p:spPr>
            <a:xfrm rot="8716295">
              <a:off x="5132149" y="4738008"/>
              <a:ext cx="148614" cy="131720"/>
            </a:xfrm>
            <a:custGeom>
              <a:avLst/>
              <a:gdLst>
                <a:gd name="connsiteX0" fmla="*/ 26453 w 148614"/>
                <a:gd name="connsiteY0" fmla="*/ 106660 h 131720"/>
                <a:gd name="connsiteX1" fmla="*/ 0 w 148614"/>
                <a:gd name="connsiteY1" fmla="*/ 44011 h 131720"/>
                <a:gd name="connsiteX2" fmla="*/ 0 w 148614"/>
                <a:gd name="connsiteY2" fmla="*/ 42618 h 131720"/>
                <a:gd name="connsiteX3" fmla="*/ 17995 w 148614"/>
                <a:gd name="connsiteY3" fmla="*/ 0 h 131720"/>
                <a:gd name="connsiteX4" fmla="*/ 148614 w 148614"/>
                <a:gd name="connsiteY4" fmla="*/ 107398 h 131720"/>
                <a:gd name="connsiteX5" fmla="*/ 123037 w 148614"/>
                <a:gd name="connsiteY5" fmla="*/ 124759 h 131720"/>
                <a:gd name="connsiteX6" fmla="*/ 89101 w 148614"/>
                <a:gd name="connsiteY6" fmla="*/ 131720 h 131720"/>
                <a:gd name="connsiteX7" fmla="*/ 26453 w 148614"/>
                <a:gd name="connsiteY7" fmla="*/ 106660 h 13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8614" h="131720">
                  <a:moveTo>
                    <a:pt x="26453" y="106660"/>
                  </a:moveTo>
                  <a:cubicBezTo>
                    <a:pt x="9746" y="89954"/>
                    <a:pt x="0" y="67678"/>
                    <a:pt x="0" y="44011"/>
                  </a:cubicBezTo>
                  <a:lnTo>
                    <a:pt x="0" y="42618"/>
                  </a:lnTo>
                  <a:lnTo>
                    <a:pt x="17995" y="0"/>
                  </a:lnTo>
                  <a:lnTo>
                    <a:pt x="148614" y="107398"/>
                  </a:lnTo>
                  <a:lnTo>
                    <a:pt x="123037" y="124759"/>
                  </a:lnTo>
                  <a:cubicBezTo>
                    <a:pt x="112421" y="129283"/>
                    <a:pt x="100935" y="131720"/>
                    <a:pt x="89101" y="131720"/>
                  </a:cubicBezTo>
                  <a:cubicBezTo>
                    <a:pt x="65435" y="131720"/>
                    <a:pt x="43159" y="123366"/>
                    <a:pt x="26453" y="10666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937A52BD-510B-4C03-9C16-CD9D234ABB7D}"/>
                </a:ext>
              </a:extLst>
            </p:cNvPr>
            <p:cNvSpPr/>
            <p:nvPr/>
          </p:nvSpPr>
          <p:spPr>
            <a:xfrm rot="8716295">
              <a:off x="5043572" y="4624951"/>
              <a:ext cx="150722" cy="101024"/>
            </a:xfrm>
            <a:custGeom>
              <a:avLst/>
              <a:gdLst>
                <a:gd name="connsiteX0" fmla="*/ 0 w 150722"/>
                <a:gd name="connsiteY0" fmla="*/ 25991 h 101024"/>
                <a:gd name="connsiteX1" fmla="*/ 28034 w 150722"/>
                <a:gd name="connsiteY1" fmla="*/ 6961 h 101024"/>
                <a:gd name="connsiteX2" fmla="*/ 61968 w 150722"/>
                <a:gd name="connsiteY2" fmla="*/ 0 h 101024"/>
                <a:gd name="connsiteX3" fmla="*/ 124618 w 150722"/>
                <a:gd name="connsiteY3" fmla="*/ 26453 h 101024"/>
                <a:gd name="connsiteX4" fmla="*/ 150722 w 150722"/>
                <a:gd name="connsiteY4" fmla="*/ 88580 h 101024"/>
                <a:gd name="connsiteX5" fmla="*/ 148306 w 150722"/>
                <a:gd name="connsiteY5" fmla="*/ 101024 h 10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0722" h="101024">
                  <a:moveTo>
                    <a:pt x="0" y="25991"/>
                  </a:moveTo>
                  <a:lnTo>
                    <a:pt x="28034" y="6961"/>
                  </a:lnTo>
                  <a:cubicBezTo>
                    <a:pt x="38649" y="2437"/>
                    <a:pt x="50135" y="0"/>
                    <a:pt x="61968" y="0"/>
                  </a:cubicBezTo>
                  <a:cubicBezTo>
                    <a:pt x="85637" y="0"/>
                    <a:pt x="107912" y="9746"/>
                    <a:pt x="124618" y="26453"/>
                  </a:cubicBezTo>
                  <a:cubicBezTo>
                    <a:pt x="142021" y="43159"/>
                    <a:pt x="150722" y="65782"/>
                    <a:pt x="150722" y="88580"/>
                  </a:cubicBezTo>
                  <a:lnTo>
                    <a:pt x="148306" y="1010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C719F00E-5A8E-45CC-8F56-B823EE2F6BB7}"/>
                </a:ext>
              </a:extLst>
            </p:cNvPr>
            <p:cNvSpPr/>
            <p:nvPr/>
          </p:nvSpPr>
          <p:spPr>
            <a:xfrm rot="8716295">
              <a:off x="8546573" y="4108588"/>
              <a:ext cx="215176" cy="313567"/>
            </a:xfrm>
            <a:custGeom>
              <a:avLst/>
              <a:gdLst>
                <a:gd name="connsiteX0" fmla="*/ 122760 w 215176"/>
                <a:gd name="connsiteY0" fmla="*/ 266809 h 313567"/>
                <a:gd name="connsiteX1" fmla="*/ 122761 w 215176"/>
                <a:gd name="connsiteY1" fmla="*/ 105519 h 313567"/>
                <a:gd name="connsiteX2" fmla="*/ 122761 w 215176"/>
                <a:gd name="connsiteY2" fmla="*/ 99312 h 313567"/>
                <a:gd name="connsiteX3" fmla="*/ 91726 w 215176"/>
                <a:gd name="connsiteY3" fmla="*/ 75863 h 313567"/>
                <a:gd name="connsiteX4" fmla="*/ 0 w 215176"/>
                <a:gd name="connsiteY4" fmla="*/ 75863 h 313567"/>
                <a:gd name="connsiteX5" fmla="*/ 0 w 215176"/>
                <a:gd name="connsiteY5" fmla="*/ 0 h 313567"/>
                <a:gd name="connsiteX6" fmla="*/ 128968 w 215176"/>
                <a:gd name="connsiteY6" fmla="*/ 0 h 313567"/>
                <a:gd name="connsiteX7" fmla="*/ 215176 w 215176"/>
                <a:gd name="connsiteY7" fmla="*/ 75863 h 313567"/>
                <a:gd name="connsiteX8" fmla="*/ 215176 w 215176"/>
                <a:gd name="connsiteY8" fmla="*/ 313567 h 31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5176" h="313567">
                  <a:moveTo>
                    <a:pt x="122760" y="26680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0"/>
                  </a:lnTo>
                  <a:lnTo>
                    <a:pt x="128968" y="0"/>
                  </a:lnTo>
                  <a:cubicBezTo>
                    <a:pt x="184831" y="0"/>
                    <a:pt x="215177" y="24139"/>
                    <a:pt x="215176" y="75863"/>
                  </a:cubicBezTo>
                  <a:lnTo>
                    <a:pt x="215176" y="3135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25DD9CA0-AFE3-4B5F-B15D-E7FBAF734592}"/>
                </a:ext>
              </a:extLst>
            </p:cNvPr>
            <p:cNvSpPr/>
            <p:nvPr/>
          </p:nvSpPr>
          <p:spPr>
            <a:xfrm rot="8716295">
              <a:off x="8681306" y="4151041"/>
              <a:ext cx="394490" cy="343138"/>
            </a:xfrm>
            <a:custGeom>
              <a:avLst/>
              <a:gdLst>
                <a:gd name="connsiteX0" fmla="*/ 77932 w 394490"/>
                <a:gd name="connsiteY0" fmla="*/ 311621 h 343138"/>
                <a:gd name="connsiteX1" fmla="*/ 77932 w 394490"/>
                <a:gd name="connsiteY1" fmla="*/ 69053 h 343138"/>
                <a:gd name="connsiteX2" fmla="*/ 0 w 394490"/>
                <a:gd name="connsiteY2" fmla="*/ 69054 h 343138"/>
                <a:gd name="connsiteX3" fmla="*/ 0 w 394490"/>
                <a:gd name="connsiteY3" fmla="*/ 2156 h 343138"/>
                <a:gd name="connsiteX4" fmla="*/ 158623 w 394490"/>
                <a:gd name="connsiteY4" fmla="*/ 2157 h 343138"/>
                <a:gd name="connsiteX5" fmla="*/ 158624 w 394490"/>
                <a:gd name="connsiteY5" fmla="*/ 113882 h 343138"/>
                <a:gd name="connsiteX6" fmla="*/ 160692 w 394490"/>
                <a:gd name="connsiteY6" fmla="*/ 113882 h 343138"/>
                <a:gd name="connsiteX7" fmla="*/ 233107 w 394490"/>
                <a:gd name="connsiteY7" fmla="*/ 9053 h 343138"/>
                <a:gd name="connsiteX8" fmla="*/ 280694 w 394490"/>
                <a:gd name="connsiteY8" fmla="*/ 87 h 343138"/>
                <a:gd name="connsiteX9" fmla="*/ 394490 w 394490"/>
                <a:gd name="connsiteY9" fmla="*/ 133882 h 343138"/>
                <a:gd name="connsiteX10" fmla="*/ 394490 w 394490"/>
                <a:gd name="connsiteY10" fmla="*/ 142849 h 343138"/>
                <a:gd name="connsiteX11" fmla="*/ 300694 w 394490"/>
                <a:gd name="connsiteY11" fmla="*/ 148365 h 343138"/>
                <a:gd name="connsiteX12" fmla="*/ 300694 w 394490"/>
                <a:gd name="connsiteY12" fmla="*/ 123538 h 343138"/>
                <a:gd name="connsiteX13" fmla="*/ 249660 w 394490"/>
                <a:gd name="connsiteY13" fmla="*/ 60778 h 343138"/>
                <a:gd name="connsiteX14" fmla="*/ 168969 w 394490"/>
                <a:gd name="connsiteY14" fmla="*/ 193194 h 343138"/>
                <a:gd name="connsiteX15" fmla="*/ 168969 w 394490"/>
                <a:gd name="connsiteY15" fmla="*/ 323541 h 343138"/>
                <a:gd name="connsiteX16" fmla="*/ 140226 w 394490"/>
                <a:gd name="connsiteY16" fmla="*/ 343138 h 343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4490" h="343138">
                  <a:moveTo>
                    <a:pt x="77932" y="311621"/>
                  </a:moveTo>
                  <a:lnTo>
                    <a:pt x="77932" y="69053"/>
                  </a:lnTo>
                  <a:lnTo>
                    <a:pt x="0" y="69054"/>
                  </a:lnTo>
                  <a:lnTo>
                    <a:pt x="0" y="2156"/>
                  </a:lnTo>
                  <a:lnTo>
                    <a:pt x="158623" y="2157"/>
                  </a:lnTo>
                  <a:lnTo>
                    <a:pt x="158624" y="113882"/>
                  </a:lnTo>
                  <a:lnTo>
                    <a:pt x="160692" y="113882"/>
                  </a:lnTo>
                  <a:cubicBezTo>
                    <a:pt x="182762" y="48364"/>
                    <a:pt x="200003" y="22846"/>
                    <a:pt x="233107" y="9053"/>
                  </a:cubicBezTo>
                  <a:cubicBezTo>
                    <a:pt x="248280" y="2846"/>
                    <a:pt x="264142" y="-602"/>
                    <a:pt x="280694" y="87"/>
                  </a:cubicBezTo>
                  <a:cubicBezTo>
                    <a:pt x="351730" y="-1293"/>
                    <a:pt x="394490" y="48364"/>
                    <a:pt x="394490" y="133882"/>
                  </a:cubicBezTo>
                  <a:lnTo>
                    <a:pt x="394490" y="142849"/>
                  </a:lnTo>
                  <a:lnTo>
                    <a:pt x="300694" y="148365"/>
                  </a:lnTo>
                  <a:lnTo>
                    <a:pt x="300694" y="123538"/>
                  </a:lnTo>
                  <a:cubicBezTo>
                    <a:pt x="300695" y="86296"/>
                    <a:pt x="279316" y="60778"/>
                    <a:pt x="249660" y="60778"/>
                  </a:cubicBezTo>
                  <a:cubicBezTo>
                    <a:pt x="205521" y="60778"/>
                    <a:pt x="168968" y="119399"/>
                    <a:pt x="168969" y="193194"/>
                  </a:cubicBezTo>
                  <a:lnTo>
                    <a:pt x="168969" y="323541"/>
                  </a:lnTo>
                  <a:lnTo>
                    <a:pt x="140226" y="3431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24323A32-7D51-45A5-8D91-2223C2D14BC5}"/>
                </a:ext>
              </a:extLst>
            </p:cNvPr>
            <p:cNvSpPr/>
            <p:nvPr/>
          </p:nvSpPr>
          <p:spPr>
            <a:xfrm rot="8716295">
              <a:off x="8646997" y="4143256"/>
              <a:ext cx="121064" cy="89924"/>
            </a:xfrm>
            <a:custGeom>
              <a:avLst/>
              <a:gdLst>
                <a:gd name="connsiteX0" fmla="*/ 0 w 121064"/>
                <a:gd name="connsiteY0" fmla="*/ 39250 h 89924"/>
                <a:gd name="connsiteX1" fmla="*/ 32528 w 121064"/>
                <a:gd name="connsiteY1" fmla="*/ 13621 h 89924"/>
                <a:gd name="connsiteX2" fmla="*/ 78305 w 121064"/>
                <a:gd name="connsiteY2" fmla="*/ 0 h 89924"/>
                <a:gd name="connsiteX3" fmla="*/ 121064 w 121064"/>
                <a:gd name="connsiteY3" fmla="*/ 51035 h 89924"/>
                <a:gd name="connsiteX4" fmla="*/ 108563 w 121064"/>
                <a:gd name="connsiteY4" fmla="*/ 83363 h 89924"/>
                <a:gd name="connsiteX5" fmla="*/ 100159 w 121064"/>
                <a:gd name="connsiteY5" fmla="*/ 89924 h 89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1064" h="89924">
                  <a:moveTo>
                    <a:pt x="0" y="39250"/>
                  </a:moveTo>
                  <a:lnTo>
                    <a:pt x="32528" y="13621"/>
                  </a:lnTo>
                  <a:cubicBezTo>
                    <a:pt x="46580" y="6380"/>
                    <a:pt x="62098" y="1724"/>
                    <a:pt x="78305" y="0"/>
                  </a:cubicBezTo>
                  <a:cubicBezTo>
                    <a:pt x="111409" y="0"/>
                    <a:pt x="121065" y="28966"/>
                    <a:pt x="121064" y="51035"/>
                  </a:cubicBezTo>
                  <a:cubicBezTo>
                    <a:pt x="120030" y="63105"/>
                    <a:pt x="115546" y="74139"/>
                    <a:pt x="108563" y="83363"/>
                  </a:cubicBezTo>
                  <a:lnTo>
                    <a:pt x="100159" y="899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CF24F6A6-E56B-4B69-A6B4-F595B4AECDB5}"/>
                </a:ext>
              </a:extLst>
            </p:cNvPr>
            <p:cNvSpPr/>
            <p:nvPr/>
          </p:nvSpPr>
          <p:spPr>
            <a:xfrm rot="8716295">
              <a:off x="8360649" y="4203945"/>
              <a:ext cx="88105" cy="88278"/>
            </a:xfrm>
            <a:custGeom>
              <a:avLst/>
              <a:gdLst>
                <a:gd name="connsiteX0" fmla="*/ 11702 w 88105"/>
                <a:gd name="connsiteY0" fmla="*/ 72544 h 88278"/>
                <a:gd name="connsiteX1" fmla="*/ 0 w 88105"/>
                <a:gd name="connsiteY1" fmla="*/ 44829 h 88278"/>
                <a:gd name="connsiteX2" fmla="*/ 0 w 88105"/>
                <a:gd name="connsiteY2" fmla="*/ 44139 h 88278"/>
                <a:gd name="connsiteX3" fmla="*/ 13104 w 88105"/>
                <a:gd name="connsiteY3" fmla="*/ 13104 h 88278"/>
                <a:gd name="connsiteX4" fmla="*/ 44139 w 88105"/>
                <a:gd name="connsiteY4" fmla="*/ 0 h 88278"/>
                <a:gd name="connsiteX5" fmla="*/ 75175 w 88105"/>
                <a:gd name="connsiteY5" fmla="*/ 13104 h 88278"/>
                <a:gd name="connsiteX6" fmla="*/ 75175 w 88105"/>
                <a:gd name="connsiteY6" fmla="*/ 75175 h 88278"/>
                <a:gd name="connsiteX7" fmla="*/ 44139 w 88105"/>
                <a:gd name="connsiteY7" fmla="*/ 88278 h 88278"/>
                <a:gd name="connsiteX8" fmla="*/ 37752 w 88105"/>
                <a:gd name="connsiteY8" fmla="*/ 85724 h 88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8105" h="88278">
                  <a:moveTo>
                    <a:pt x="11702" y="72544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cubicBezTo>
                    <a:pt x="55864" y="0"/>
                    <a:pt x="66899" y="4828"/>
                    <a:pt x="75175" y="13104"/>
                  </a:cubicBezTo>
                  <a:cubicBezTo>
                    <a:pt x="92416" y="29657"/>
                    <a:pt x="92416" y="57933"/>
                    <a:pt x="75175" y="75175"/>
                  </a:cubicBezTo>
                  <a:cubicBezTo>
                    <a:pt x="66899" y="83451"/>
                    <a:pt x="55864" y="88278"/>
                    <a:pt x="44139" y="88278"/>
                  </a:cubicBezTo>
                  <a:lnTo>
                    <a:pt x="37752" y="857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823BDB41-A1E6-41AA-847A-64C2D14D0B20}"/>
                </a:ext>
              </a:extLst>
            </p:cNvPr>
            <p:cNvSpPr/>
            <p:nvPr/>
          </p:nvSpPr>
          <p:spPr>
            <a:xfrm rot="8716295">
              <a:off x="8270439" y="4208809"/>
              <a:ext cx="54467" cy="27557"/>
            </a:xfrm>
            <a:custGeom>
              <a:avLst/>
              <a:gdLst>
                <a:gd name="connsiteX0" fmla="*/ 0 w 54467"/>
                <a:gd name="connsiteY0" fmla="*/ 0 h 27557"/>
                <a:gd name="connsiteX1" fmla="*/ 54467 w 54467"/>
                <a:gd name="connsiteY1" fmla="*/ 0 h 27557"/>
                <a:gd name="connsiteX2" fmla="*/ 54467 w 54467"/>
                <a:gd name="connsiteY2" fmla="*/ 27557 h 27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467" h="27557">
                  <a:moveTo>
                    <a:pt x="0" y="0"/>
                  </a:moveTo>
                  <a:lnTo>
                    <a:pt x="54467" y="0"/>
                  </a:lnTo>
                  <a:lnTo>
                    <a:pt x="54467" y="2755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C4D7300C-5B1D-4389-9C36-32D5B08AA75A}"/>
                </a:ext>
              </a:extLst>
            </p:cNvPr>
            <p:cNvSpPr/>
            <p:nvPr/>
          </p:nvSpPr>
          <p:spPr>
            <a:xfrm rot="8716295">
              <a:off x="8503577" y="4269431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A57703A1-63B4-443D-A8D6-A43C23AB9B28}"/>
                </a:ext>
              </a:extLst>
            </p:cNvPr>
            <p:cNvSpPr/>
            <p:nvPr/>
          </p:nvSpPr>
          <p:spPr>
            <a:xfrm rot="8716295">
              <a:off x="8994983" y="4078441"/>
              <a:ext cx="137688" cy="132478"/>
            </a:xfrm>
            <a:custGeom>
              <a:avLst/>
              <a:gdLst>
                <a:gd name="connsiteX0" fmla="*/ 46653 w 137688"/>
                <a:gd name="connsiteY0" fmla="*/ 86420 h 132478"/>
                <a:gd name="connsiteX1" fmla="*/ 46653 w 137688"/>
                <a:gd name="connsiteY1" fmla="*/ 24828 h 132478"/>
                <a:gd name="connsiteX2" fmla="*/ 0 w 137688"/>
                <a:gd name="connsiteY2" fmla="*/ 24828 h 132478"/>
                <a:gd name="connsiteX3" fmla="*/ 15342 w 137688"/>
                <a:gd name="connsiteY3" fmla="*/ 2695 h 132478"/>
                <a:gd name="connsiteX4" fmla="*/ 137688 w 137688"/>
                <a:gd name="connsiteY4" fmla="*/ 0 h 132478"/>
                <a:gd name="connsiteX5" fmla="*/ 137688 w 137688"/>
                <a:gd name="connsiteY5" fmla="*/ 132478 h 132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7688" h="132478">
                  <a:moveTo>
                    <a:pt x="46653" y="86420"/>
                  </a:moveTo>
                  <a:lnTo>
                    <a:pt x="46653" y="24828"/>
                  </a:lnTo>
                  <a:lnTo>
                    <a:pt x="0" y="24828"/>
                  </a:lnTo>
                  <a:lnTo>
                    <a:pt x="15342" y="2695"/>
                  </a:lnTo>
                  <a:lnTo>
                    <a:pt x="137688" y="0"/>
                  </a:lnTo>
                  <a:lnTo>
                    <a:pt x="137688" y="13247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46727CBF-18BC-4939-8F2B-40813E13A972}"/>
                </a:ext>
              </a:extLst>
            </p:cNvPr>
            <p:cNvSpPr/>
            <p:nvPr/>
          </p:nvSpPr>
          <p:spPr>
            <a:xfrm rot="7484129">
              <a:off x="9136824" y="4228704"/>
              <a:ext cx="8392" cy="13068"/>
            </a:xfrm>
            <a:custGeom>
              <a:avLst/>
              <a:gdLst>
                <a:gd name="connsiteX0" fmla="*/ 3897 w 8392"/>
                <a:gd name="connsiteY0" fmla="*/ 13068 h 13068"/>
                <a:gd name="connsiteX1" fmla="*/ 0 w 8392"/>
                <a:gd name="connsiteY1" fmla="*/ 5818 h 13068"/>
                <a:gd name="connsiteX2" fmla="*/ 8392 w 8392"/>
                <a:gd name="connsiteY2" fmla="*/ 0 h 13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2" h="13068">
                  <a:moveTo>
                    <a:pt x="3897" y="13068"/>
                  </a:moveTo>
                  <a:lnTo>
                    <a:pt x="0" y="5818"/>
                  </a:lnTo>
                  <a:lnTo>
                    <a:pt x="839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D9037FA7-ED1D-4D57-8F2C-1298751D415A}"/>
                </a:ext>
              </a:extLst>
            </p:cNvPr>
            <p:cNvSpPr/>
            <p:nvPr/>
          </p:nvSpPr>
          <p:spPr>
            <a:xfrm rot="8716295">
              <a:off x="8839311" y="5117279"/>
              <a:ext cx="37096" cy="40385"/>
            </a:xfrm>
            <a:custGeom>
              <a:avLst/>
              <a:gdLst>
                <a:gd name="connsiteX0" fmla="*/ 37095 w 37096"/>
                <a:gd name="connsiteY0" fmla="*/ 25713 h 40385"/>
                <a:gd name="connsiteX1" fmla="*/ 0 w 37096"/>
                <a:gd name="connsiteY1" fmla="*/ 0 h 40385"/>
                <a:gd name="connsiteX2" fmla="*/ 0 w 37096"/>
                <a:gd name="connsiteY2" fmla="*/ 0 h 40385"/>
                <a:gd name="connsiteX3" fmla="*/ 37096 w 37096"/>
                <a:gd name="connsiteY3" fmla="*/ 25713 h 40385"/>
                <a:gd name="connsiteX4" fmla="*/ 0 w 37096"/>
                <a:gd name="connsiteY4" fmla="*/ 40385 h 40385"/>
                <a:gd name="connsiteX5" fmla="*/ 0 w 37096"/>
                <a:gd name="connsiteY5" fmla="*/ 28525 h 40385"/>
                <a:gd name="connsiteX6" fmla="*/ 9740 w 37096"/>
                <a:gd name="connsiteY6" fmla="*/ 36533 h 40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096" h="40385">
                  <a:moveTo>
                    <a:pt x="37095" y="25713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37096" y="25713"/>
                  </a:lnTo>
                  <a:close/>
                  <a:moveTo>
                    <a:pt x="0" y="40385"/>
                  </a:moveTo>
                  <a:lnTo>
                    <a:pt x="0" y="28525"/>
                  </a:lnTo>
                  <a:lnTo>
                    <a:pt x="9740" y="365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7762AEC2-4809-4723-B4B8-AD709205FF29}"/>
                </a:ext>
              </a:extLst>
            </p:cNvPr>
            <p:cNvSpPr/>
            <p:nvPr/>
          </p:nvSpPr>
          <p:spPr>
            <a:xfrm rot="8716295">
              <a:off x="8967255" y="4971567"/>
              <a:ext cx="231347" cy="158649"/>
            </a:xfrm>
            <a:custGeom>
              <a:avLst/>
              <a:gdLst>
                <a:gd name="connsiteX0" fmla="*/ 8965 w 231347"/>
                <a:gd name="connsiteY0" fmla="*/ 158649 h 158649"/>
                <a:gd name="connsiteX1" fmla="*/ 0 w 231347"/>
                <a:gd name="connsiteY1" fmla="*/ 146235 h 158649"/>
                <a:gd name="connsiteX2" fmla="*/ 155416 w 231347"/>
                <a:gd name="connsiteY2" fmla="*/ 0 h 158649"/>
                <a:gd name="connsiteX3" fmla="*/ 231347 w 231347"/>
                <a:gd name="connsiteY3" fmla="*/ 62433 h 158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347" h="158649">
                  <a:moveTo>
                    <a:pt x="8965" y="158649"/>
                  </a:moveTo>
                  <a:lnTo>
                    <a:pt x="0" y="146235"/>
                  </a:lnTo>
                  <a:lnTo>
                    <a:pt x="155416" y="0"/>
                  </a:lnTo>
                  <a:lnTo>
                    <a:pt x="231347" y="624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45E00815-1C71-4483-8D7E-4D817A5C21EF}"/>
                </a:ext>
              </a:extLst>
            </p:cNvPr>
            <p:cNvSpPr/>
            <p:nvPr/>
          </p:nvSpPr>
          <p:spPr>
            <a:xfrm rot="8716295">
              <a:off x="8555937" y="4871188"/>
              <a:ext cx="249519" cy="296463"/>
            </a:xfrm>
            <a:custGeom>
              <a:avLst/>
              <a:gdLst>
                <a:gd name="connsiteX0" fmla="*/ 249516 w 249519"/>
                <a:gd name="connsiteY0" fmla="*/ 83734 h 296463"/>
                <a:gd name="connsiteX1" fmla="*/ 128718 w 249519"/>
                <a:gd name="connsiteY1" fmla="*/ 0 h 296463"/>
                <a:gd name="connsiteX2" fmla="*/ 128719 w 249519"/>
                <a:gd name="connsiteY2" fmla="*/ 0 h 296463"/>
                <a:gd name="connsiteX3" fmla="*/ 249519 w 249519"/>
                <a:gd name="connsiteY3" fmla="*/ 83734 h 296463"/>
                <a:gd name="connsiteX4" fmla="*/ 137293 w 249519"/>
                <a:gd name="connsiteY4" fmla="*/ 296463 h 296463"/>
                <a:gd name="connsiteX5" fmla="*/ 72418 w 249519"/>
                <a:gd name="connsiteY5" fmla="*/ 175766 h 296463"/>
                <a:gd name="connsiteX6" fmla="*/ 105610 w 249519"/>
                <a:gd name="connsiteY6" fmla="*/ 83734 h 296463"/>
                <a:gd name="connsiteX7" fmla="*/ 0 w 249519"/>
                <a:gd name="connsiteY7" fmla="*/ 83734 h 296463"/>
                <a:gd name="connsiteX8" fmla="*/ 0 w 249519"/>
                <a:gd name="connsiteY8" fmla="*/ 0 h 296463"/>
                <a:gd name="connsiteX9" fmla="*/ 78196 w 249519"/>
                <a:gd name="connsiteY9" fmla="*/ 0 h 296463"/>
                <a:gd name="connsiteX10" fmla="*/ 203756 w 249519"/>
                <a:gd name="connsiteY10" fmla="*/ 103239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519" h="296463">
                  <a:moveTo>
                    <a:pt x="249516" y="83734"/>
                  </a:moveTo>
                  <a:lnTo>
                    <a:pt x="128718" y="0"/>
                  </a:lnTo>
                  <a:lnTo>
                    <a:pt x="128719" y="0"/>
                  </a:lnTo>
                  <a:lnTo>
                    <a:pt x="249519" y="83734"/>
                  </a:lnTo>
                  <a:close/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78196" y="0"/>
                  </a:lnTo>
                  <a:lnTo>
                    <a:pt x="203756" y="1032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58E38A6F-A61D-44CF-B900-AC3229C6053D}"/>
                </a:ext>
              </a:extLst>
            </p:cNvPr>
            <p:cNvSpPr/>
            <p:nvPr/>
          </p:nvSpPr>
          <p:spPr>
            <a:xfrm rot="8716295">
              <a:off x="9124182" y="4842281"/>
              <a:ext cx="37059" cy="48941"/>
            </a:xfrm>
            <a:custGeom>
              <a:avLst/>
              <a:gdLst>
                <a:gd name="connsiteX0" fmla="*/ 0 w 37059"/>
                <a:gd name="connsiteY0" fmla="*/ 48941 h 48941"/>
                <a:gd name="connsiteX1" fmla="*/ 33925 w 37059"/>
                <a:gd name="connsiteY1" fmla="*/ 0 h 48941"/>
                <a:gd name="connsiteX2" fmla="*/ 37059 w 37059"/>
                <a:gd name="connsiteY2" fmla="*/ 7460 h 48941"/>
                <a:gd name="connsiteX3" fmla="*/ 24128 w 37059"/>
                <a:gd name="connsiteY3" fmla="*/ 38754 h 48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059" h="48941">
                  <a:moveTo>
                    <a:pt x="0" y="48941"/>
                  </a:moveTo>
                  <a:lnTo>
                    <a:pt x="33925" y="0"/>
                  </a:lnTo>
                  <a:lnTo>
                    <a:pt x="37059" y="7460"/>
                  </a:lnTo>
                  <a:cubicBezTo>
                    <a:pt x="37059" y="18753"/>
                    <a:pt x="32749" y="30133"/>
                    <a:pt x="24128" y="3875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0438BEFE-52E9-475C-AF5B-D887CDB606B3}"/>
                </a:ext>
              </a:extLst>
            </p:cNvPr>
            <p:cNvSpPr/>
            <p:nvPr/>
          </p:nvSpPr>
          <p:spPr>
            <a:xfrm rot="8716295">
              <a:off x="8946271" y="4530250"/>
              <a:ext cx="235267" cy="296463"/>
            </a:xfrm>
            <a:custGeom>
              <a:avLst/>
              <a:gdLst>
                <a:gd name="connsiteX0" fmla="*/ 64028 w 235267"/>
                <a:gd name="connsiteY0" fmla="*/ 296463 h 296463"/>
                <a:gd name="connsiteX1" fmla="*/ 0 w 235267"/>
                <a:gd name="connsiteY1" fmla="*/ 177341 h 296463"/>
                <a:gd name="connsiteX2" fmla="*/ 122928 w 235267"/>
                <a:gd name="connsiteY2" fmla="*/ 0 h 296463"/>
                <a:gd name="connsiteX3" fmla="*/ 235266 w 235267"/>
                <a:gd name="connsiteY3" fmla="*/ 0 h 296463"/>
                <a:gd name="connsiteX4" fmla="*/ 235267 w 235267"/>
                <a:gd name="connsiteY4" fmla="*/ 83734 h 296463"/>
                <a:gd name="connsiteX5" fmla="*/ 137200 w 235267"/>
                <a:gd name="connsiteY5" fmla="*/ 83735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5267" h="296463">
                  <a:moveTo>
                    <a:pt x="64028" y="296463"/>
                  </a:moveTo>
                  <a:lnTo>
                    <a:pt x="0" y="177341"/>
                  </a:lnTo>
                  <a:lnTo>
                    <a:pt x="122928" y="0"/>
                  </a:lnTo>
                  <a:lnTo>
                    <a:pt x="235266" y="0"/>
                  </a:lnTo>
                  <a:lnTo>
                    <a:pt x="235267" y="83734"/>
                  </a:lnTo>
                  <a:lnTo>
                    <a:pt x="137200" y="837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D3F9B5D8-06D4-4B43-BC6C-7C19EABDD1C4}"/>
                </a:ext>
              </a:extLst>
            </p:cNvPr>
            <p:cNvSpPr/>
            <p:nvPr/>
          </p:nvSpPr>
          <p:spPr>
            <a:xfrm rot="8716295">
              <a:off x="8906661" y="466090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71905357-F1DF-411B-B59B-0F032583384E}"/>
                </a:ext>
              </a:extLst>
            </p:cNvPr>
            <p:cNvSpPr/>
            <p:nvPr/>
          </p:nvSpPr>
          <p:spPr>
            <a:xfrm rot="13089394">
              <a:off x="7765620" y="4253518"/>
              <a:ext cx="72828" cy="75543"/>
            </a:xfrm>
            <a:custGeom>
              <a:avLst/>
              <a:gdLst>
                <a:gd name="connsiteX0" fmla="*/ 0 w 72828"/>
                <a:gd name="connsiteY0" fmla="*/ 75543 h 75543"/>
                <a:gd name="connsiteX1" fmla="*/ 0 w 72828"/>
                <a:gd name="connsiteY1" fmla="*/ 37783 h 75543"/>
                <a:gd name="connsiteX2" fmla="*/ 72828 w 72828"/>
                <a:gd name="connsiteY2" fmla="*/ 0 h 7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828" h="75543">
                  <a:moveTo>
                    <a:pt x="0" y="75543"/>
                  </a:moveTo>
                  <a:lnTo>
                    <a:pt x="0" y="37783"/>
                  </a:lnTo>
                  <a:lnTo>
                    <a:pt x="7282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9CC70003-388A-4ED2-9C78-B5584C3B43A2}"/>
                </a:ext>
              </a:extLst>
            </p:cNvPr>
            <p:cNvSpPr/>
            <p:nvPr/>
          </p:nvSpPr>
          <p:spPr>
            <a:xfrm rot="8716295">
              <a:off x="7196646" y="4735107"/>
              <a:ext cx="215177" cy="351729"/>
            </a:xfrm>
            <a:custGeom>
              <a:avLst/>
              <a:gdLst>
                <a:gd name="connsiteX0" fmla="*/ 122761 w 215177"/>
                <a:gd name="connsiteY0" fmla="*/ 351729 h 351729"/>
                <a:gd name="connsiteX1" fmla="*/ 122761 w 215177"/>
                <a:gd name="connsiteY1" fmla="*/ 105519 h 351729"/>
                <a:gd name="connsiteX2" fmla="*/ 122761 w 215177"/>
                <a:gd name="connsiteY2" fmla="*/ 99312 h 351729"/>
                <a:gd name="connsiteX3" fmla="*/ 91726 w 215177"/>
                <a:gd name="connsiteY3" fmla="*/ 75863 h 351729"/>
                <a:gd name="connsiteX4" fmla="*/ 0 w 215177"/>
                <a:gd name="connsiteY4" fmla="*/ 75863 h 351729"/>
                <a:gd name="connsiteX5" fmla="*/ 0 w 215177"/>
                <a:gd name="connsiteY5" fmla="*/ 0 h 351729"/>
                <a:gd name="connsiteX6" fmla="*/ 20033 w 215177"/>
                <a:gd name="connsiteY6" fmla="*/ 0 h 351729"/>
                <a:gd name="connsiteX7" fmla="*/ 215177 w 215177"/>
                <a:gd name="connsiteY7" fmla="*/ 160452 h 351729"/>
                <a:gd name="connsiteX8" fmla="*/ 215176 w 215177"/>
                <a:gd name="connsiteY8" fmla="*/ 315177 h 351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5177" h="351729">
                  <a:moveTo>
                    <a:pt x="122761" y="35172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0"/>
                  </a:lnTo>
                  <a:lnTo>
                    <a:pt x="20033" y="0"/>
                  </a:lnTo>
                  <a:lnTo>
                    <a:pt x="215177" y="160452"/>
                  </a:lnTo>
                  <a:lnTo>
                    <a:pt x="215176" y="3151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E46A29A2-07B5-4D69-A57A-B7E84F78585B}"/>
                </a:ext>
              </a:extLst>
            </p:cNvPr>
            <p:cNvSpPr/>
            <p:nvPr/>
          </p:nvSpPr>
          <p:spPr>
            <a:xfrm rot="8716295">
              <a:off x="7519762" y="4714342"/>
              <a:ext cx="185667" cy="383455"/>
            </a:xfrm>
            <a:custGeom>
              <a:avLst/>
              <a:gdLst>
                <a:gd name="connsiteX0" fmla="*/ 77932 w 185667"/>
                <a:gd name="connsiteY0" fmla="*/ 383455 h 383455"/>
                <a:gd name="connsiteX1" fmla="*/ 77932 w 185667"/>
                <a:gd name="connsiteY1" fmla="*/ 66898 h 383455"/>
                <a:gd name="connsiteX2" fmla="*/ 0 w 185667"/>
                <a:gd name="connsiteY2" fmla="*/ 66898 h 383455"/>
                <a:gd name="connsiteX3" fmla="*/ 0 w 185667"/>
                <a:gd name="connsiteY3" fmla="*/ 0 h 383455"/>
                <a:gd name="connsiteX4" fmla="*/ 33456 w 185667"/>
                <a:gd name="connsiteY4" fmla="*/ 0 h 383455"/>
                <a:gd name="connsiteX5" fmla="*/ 158623 w 185667"/>
                <a:gd name="connsiteY5" fmla="*/ 102916 h 383455"/>
                <a:gd name="connsiteX6" fmla="*/ 158623 w 185667"/>
                <a:gd name="connsiteY6" fmla="*/ 111726 h 383455"/>
                <a:gd name="connsiteX7" fmla="*/ 160692 w 185667"/>
                <a:gd name="connsiteY7" fmla="*/ 111726 h 383455"/>
                <a:gd name="connsiteX8" fmla="*/ 162749 w 185667"/>
                <a:gd name="connsiteY8" fmla="*/ 106308 h 383455"/>
                <a:gd name="connsiteX9" fmla="*/ 185667 w 185667"/>
                <a:gd name="connsiteY9" fmla="*/ 125152 h 383455"/>
                <a:gd name="connsiteX10" fmla="*/ 168969 w 185667"/>
                <a:gd name="connsiteY10" fmla="*/ 191038 h 383455"/>
                <a:gd name="connsiteX11" fmla="*/ 168969 w 185667"/>
                <a:gd name="connsiteY11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5667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33456" y="0"/>
                  </a:lnTo>
                  <a:lnTo>
                    <a:pt x="158623" y="102916"/>
                  </a:lnTo>
                  <a:lnTo>
                    <a:pt x="158623" y="111726"/>
                  </a:lnTo>
                  <a:lnTo>
                    <a:pt x="160692" y="111726"/>
                  </a:lnTo>
                  <a:lnTo>
                    <a:pt x="162749" y="106308"/>
                  </a:lnTo>
                  <a:lnTo>
                    <a:pt x="185667" y="125152"/>
                  </a:lnTo>
                  <a:lnTo>
                    <a:pt x="168969" y="191038"/>
                  </a:ln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BB2B590A-BBED-49DF-BE0A-D7CDB8C7EA53}"/>
                </a:ext>
              </a:extLst>
            </p:cNvPr>
            <p:cNvSpPr/>
            <p:nvPr/>
          </p:nvSpPr>
          <p:spPr>
            <a:xfrm rot="8716295">
              <a:off x="7265319" y="4648384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7838B053-EE23-465E-B80C-0FDB953D8E9F}"/>
                </a:ext>
              </a:extLst>
            </p:cNvPr>
            <p:cNvSpPr/>
            <p:nvPr/>
          </p:nvSpPr>
          <p:spPr>
            <a:xfrm rot="8716295">
              <a:off x="7028032" y="486872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46F2EA92-FAA0-4CBD-8D20-0B7AF9B36906}"/>
                </a:ext>
              </a:extLst>
            </p:cNvPr>
            <p:cNvSpPr/>
            <p:nvPr/>
          </p:nvSpPr>
          <p:spPr>
            <a:xfrm rot="8716295">
              <a:off x="6838986" y="455289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C33E7506-2F8D-4DC7-82BD-DA6D9CD10C11}"/>
                </a:ext>
              </a:extLst>
            </p:cNvPr>
            <p:cNvSpPr/>
            <p:nvPr/>
          </p:nvSpPr>
          <p:spPr>
            <a:xfrm rot="8716295">
              <a:off x="6821466" y="4356542"/>
              <a:ext cx="439901" cy="511464"/>
            </a:xfrm>
            <a:custGeom>
              <a:avLst/>
              <a:gdLst>
                <a:gd name="connsiteX0" fmla="*/ 1873 w 439901"/>
                <a:gd name="connsiteY0" fmla="*/ 384681 h 511464"/>
                <a:gd name="connsiteX1" fmla="*/ 1725 w 439901"/>
                <a:gd name="connsiteY1" fmla="*/ 383648 h 511464"/>
                <a:gd name="connsiteX2" fmla="*/ 0 w 439901"/>
                <a:gd name="connsiteY2" fmla="*/ 333043 h 511464"/>
                <a:gd name="connsiteX3" fmla="*/ 0 w 439901"/>
                <a:gd name="connsiteY3" fmla="*/ 61444 h 511464"/>
                <a:gd name="connsiteX4" fmla="*/ 118434 w 439901"/>
                <a:gd name="connsiteY4" fmla="*/ 0 h 511464"/>
                <a:gd name="connsiteX5" fmla="*/ 120216 w 439901"/>
                <a:gd name="connsiteY5" fmla="*/ 248447 h 511464"/>
                <a:gd name="connsiteX6" fmla="*/ 141587 w 439901"/>
                <a:gd name="connsiteY6" fmla="*/ 396268 h 511464"/>
                <a:gd name="connsiteX7" fmla="*/ 248446 w 439901"/>
                <a:gd name="connsiteY7" fmla="*/ 455041 h 511464"/>
                <a:gd name="connsiteX8" fmla="*/ 328590 w 439901"/>
                <a:gd name="connsiteY8" fmla="*/ 440793 h 511464"/>
                <a:gd name="connsiteX9" fmla="*/ 438120 w 439901"/>
                <a:gd name="connsiteY9" fmla="*/ 396268 h 511464"/>
                <a:gd name="connsiteX10" fmla="*/ 439901 w 439901"/>
                <a:gd name="connsiteY10" fmla="*/ 407844 h 511464"/>
                <a:gd name="connsiteX11" fmla="*/ 439901 w 439901"/>
                <a:gd name="connsiteY11" fmla="*/ 416749 h 511464"/>
                <a:gd name="connsiteX12" fmla="*/ 286180 w 439901"/>
                <a:gd name="connsiteY12" fmla="*/ 502459 h 511464"/>
                <a:gd name="connsiteX13" fmla="*/ 252462 w 439901"/>
                <a:gd name="connsiteY13" fmla="*/ 511464 h 511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9901" h="511464">
                  <a:moveTo>
                    <a:pt x="1873" y="384681"/>
                  </a:moveTo>
                  <a:lnTo>
                    <a:pt x="1725" y="383648"/>
                  </a:lnTo>
                  <a:cubicBezTo>
                    <a:pt x="501" y="368162"/>
                    <a:pt x="0" y="351298"/>
                    <a:pt x="0" y="333043"/>
                  </a:cubicBezTo>
                  <a:lnTo>
                    <a:pt x="0" y="61444"/>
                  </a:lnTo>
                  <a:lnTo>
                    <a:pt x="118434" y="0"/>
                  </a:lnTo>
                  <a:lnTo>
                    <a:pt x="120216" y="248447"/>
                  </a:lnTo>
                  <a:cubicBezTo>
                    <a:pt x="117545" y="298315"/>
                    <a:pt x="125558" y="349072"/>
                    <a:pt x="141587" y="396268"/>
                  </a:cubicBezTo>
                  <a:cubicBezTo>
                    <a:pt x="155836" y="435450"/>
                    <a:pt x="192346" y="455041"/>
                    <a:pt x="248446" y="455041"/>
                  </a:cubicBezTo>
                  <a:cubicBezTo>
                    <a:pt x="276051" y="454150"/>
                    <a:pt x="302766" y="448807"/>
                    <a:pt x="328590" y="440793"/>
                  </a:cubicBezTo>
                  <a:cubicBezTo>
                    <a:pt x="365990" y="429216"/>
                    <a:pt x="402501" y="414078"/>
                    <a:pt x="438120" y="396268"/>
                  </a:cubicBezTo>
                  <a:cubicBezTo>
                    <a:pt x="439010" y="399830"/>
                    <a:pt x="439901" y="404282"/>
                    <a:pt x="439901" y="407844"/>
                  </a:cubicBezTo>
                  <a:lnTo>
                    <a:pt x="439901" y="416749"/>
                  </a:lnTo>
                  <a:cubicBezTo>
                    <a:pt x="392705" y="457267"/>
                    <a:pt x="338163" y="484649"/>
                    <a:pt x="286180" y="502459"/>
                  </a:cubicBezTo>
                  <a:lnTo>
                    <a:pt x="252462" y="5114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F0039EE6-19E5-4457-84A9-3D50560FF71B}"/>
                </a:ext>
              </a:extLst>
            </p:cNvPr>
            <p:cNvSpPr/>
            <p:nvPr/>
          </p:nvSpPr>
          <p:spPr>
            <a:xfrm rot="8716295">
              <a:off x="7635467" y="435609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62946C15-BE3C-45DF-BB3D-128249E4D1A5}"/>
                </a:ext>
              </a:extLst>
            </p:cNvPr>
            <p:cNvSpPr/>
            <p:nvPr/>
          </p:nvSpPr>
          <p:spPr>
            <a:xfrm rot="8716295">
              <a:off x="7770766" y="440035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3C27B629-4EE2-46C6-9535-F5382300825F}"/>
                </a:ext>
              </a:extLst>
            </p:cNvPr>
            <p:cNvSpPr/>
            <p:nvPr/>
          </p:nvSpPr>
          <p:spPr>
            <a:xfrm rot="8716295">
              <a:off x="7465596" y="44901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6592736C-E2B7-4AAA-9132-CE6867AFB7E6}"/>
                </a:ext>
              </a:extLst>
            </p:cNvPr>
            <p:cNvSpPr/>
            <p:nvPr/>
          </p:nvSpPr>
          <p:spPr>
            <a:xfrm rot="8716295">
              <a:off x="7313509" y="4314181"/>
              <a:ext cx="308532" cy="142740"/>
            </a:xfrm>
            <a:custGeom>
              <a:avLst/>
              <a:gdLst>
                <a:gd name="connsiteX0" fmla="*/ 0 w 308532"/>
                <a:gd name="connsiteY0" fmla="*/ 46525 h 142740"/>
                <a:gd name="connsiteX1" fmla="*/ 0 w 308532"/>
                <a:gd name="connsiteY1" fmla="*/ 0 h 142740"/>
                <a:gd name="connsiteX2" fmla="*/ 308532 w 308532"/>
                <a:gd name="connsiteY2" fmla="*/ 0 h 142740"/>
                <a:gd name="connsiteX3" fmla="*/ 308532 w 308532"/>
                <a:gd name="connsiteY3" fmla="*/ 83734 h 142740"/>
                <a:gd name="connsiteX4" fmla="*/ 210465 w 308532"/>
                <a:gd name="connsiteY4" fmla="*/ 83734 h 142740"/>
                <a:gd name="connsiteX5" fmla="*/ 190169 w 308532"/>
                <a:gd name="connsiteY5" fmla="*/ 142740 h 142740"/>
                <a:gd name="connsiteX6" fmla="*/ 100662 w 308532"/>
                <a:gd name="connsiteY6" fmla="*/ 97454 h 142740"/>
                <a:gd name="connsiteX7" fmla="*/ 105610 w 308532"/>
                <a:gd name="connsiteY7" fmla="*/ 83734 h 142740"/>
                <a:gd name="connsiteX8" fmla="*/ 73544 w 308532"/>
                <a:gd name="connsiteY8" fmla="*/ 83734 h 142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532" h="142740">
                  <a:moveTo>
                    <a:pt x="0" y="46525"/>
                  </a:moveTo>
                  <a:lnTo>
                    <a:pt x="0" y="0"/>
                  </a:lnTo>
                  <a:lnTo>
                    <a:pt x="308532" y="0"/>
                  </a:lnTo>
                  <a:lnTo>
                    <a:pt x="308532" y="83734"/>
                  </a:lnTo>
                  <a:lnTo>
                    <a:pt x="210465" y="83734"/>
                  </a:lnTo>
                  <a:lnTo>
                    <a:pt x="190169" y="142740"/>
                  </a:lnTo>
                  <a:lnTo>
                    <a:pt x="100662" y="97454"/>
                  </a:lnTo>
                  <a:lnTo>
                    <a:pt x="105610" y="83734"/>
                  </a:lnTo>
                  <a:lnTo>
                    <a:pt x="73544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39B2926A-51C6-4DDF-86D8-072C96B838B0}"/>
                </a:ext>
              </a:extLst>
            </p:cNvPr>
            <p:cNvSpPr/>
            <p:nvPr/>
          </p:nvSpPr>
          <p:spPr>
            <a:xfrm rot="8716295">
              <a:off x="7602084" y="4552096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A5226D1B-39C8-4DB7-A39D-DE8AE96085BA}"/>
                </a:ext>
              </a:extLst>
            </p:cNvPr>
            <p:cNvSpPr/>
            <p:nvPr/>
          </p:nvSpPr>
          <p:spPr>
            <a:xfrm rot="8716295">
              <a:off x="7233779" y="4339176"/>
              <a:ext cx="112931" cy="98229"/>
            </a:xfrm>
            <a:custGeom>
              <a:avLst/>
              <a:gdLst>
                <a:gd name="connsiteX0" fmla="*/ 0 w 112931"/>
                <a:gd name="connsiteY0" fmla="*/ 49475 h 98229"/>
                <a:gd name="connsiteX1" fmla="*/ 13559 w 112931"/>
                <a:gd name="connsiteY1" fmla="*/ 17362 h 98229"/>
                <a:gd name="connsiteX2" fmla="*/ 54678 w 112931"/>
                <a:gd name="connsiteY2" fmla="*/ 0 h 98229"/>
                <a:gd name="connsiteX3" fmla="*/ 95798 w 112931"/>
                <a:gd name="connsiteY3" fmla="*/ 17362 h 98229"/>
                <a:gd name="connsiteX4" fmla="*/ 112931 w 112931"/>
                <a:gd name="connsiteY4" fmla="*/ 58139 h 98229"/>
                <a:gd name="connsiteX5" fmla="*/ 96365 w 112931"/>
                <a:gd name="connsiteY5" fmla="*/ 98229 h 98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931" h="98229">
                  <a:moveTo>
                    <a:pt x="0" y="49475"/>
                  </a:moveTo>
                  <a:lnTo>
                    <a:pt x="13559" y="17362"/>
                  </a:lnTo>
                  <a:cubicBezTo>
                    <a:pt x="24524" y="6397"/>
                    <a:pt x="39145" y="0"/>
                    <a:pt x="54678" y="0"/>
                  </a:cubicBezTo>
                  <a:cubicBezTo>
                    <a:pt x="70213" y="0"/>
                    <a:pt x="84833" y="6397"/>
                    <a:pt x="95798" y="17362"/>
                  </a:cubicBezTo>
                  <a:cubicBezTo>
                    <a:pt x="107220" y="28327"/>
                    <a:pt x="112931" y="43176"/>
                    <a:pt x="112931" y="58139"/>
                  </a:cubicBezTo>
                  <a:lnTo>
                    <a:pt x="96365" y="9822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B8D891A1-7C58-4828-B849-358D4D72EA90}"/>
                </a:ext>
              </a:extLst>
            </p:cNvPr>
            <p:cNvSpPr/>
            <p:nvPr/>
          </p:nvSpPr>
          <p:spPr>
            <a:xfrm rot="7484129">
              <a:off x="7765134" y="4837237"/>
              <a:ext cx="295167" cy="296463"/>
            </a:xfrm>
            <a:custGeom>
              <a:avLst/>
              <a:gdLst>
                <a:gd name="connsiteX0" fmla="*/ 295165 w 295167"/>
                <a:gd name="connsiteY0" fmla="*/ 83734 h 296463"/>
                <a:gd name="connsiteX1" fmla="*/ 237109 w 295167"/>
                <a:gd name="connsiteY1" fmla="*/ 0 h 296463"/>
                <a:gd name="connsiteX2" fmla="*/ 237110 w 295167"/>
                <a:gd name="connsiteY2" fmla="*/ 0 h 296463"/>
                <a:gd name="connsiteX3" fmla="*/ 295167 w 295167"/>
                <a:gd name="connsiteY3" fmla="*/ 83734 h 296463"/>
                <a:gd name="connsiteX4" fmla="*/ 137293 w 295167"/>
                <a:gd name="connsiteY4" fmla="*/ 296463 h 296463"/>
                <a:gd name="connsiteX5" fmla="*/ 72418 w 295167"/>
                <a:gd name="connsiteY5" fmla="*/ 175766 h 296463"/>
                <a:gd name="connsiteX6" fmla="*/ 105610 w 295167"/>
                <a:gd name="connsiteY6" fmla="*/ 83734 h 296463"/>
                <a:gd name="connsiteX7" fmla="*/ 0 w 295167"/>
                <a:gd name="connsiteY7" fmla="*/ 83734 h 296463"/>
                <a:gd name="connsiteX8" fmla="*/ 0 w 295167"/>
                <a:gd name="connsiteY8" fmla="*/ 0 h 296463"/>
                <a:gd name="connsiteX9" fmla="*/ 126381 w 295167"/>
                <a:gd name="connsiteY9" fmla="*/ 0 h 296463"/>
                <a:gd name="connsiteX10" fmla="*/ 197160 w 295167"/>
                <a:gd name="connsiteY10" fmla="*/ 122416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5167" h="296463">
                  <a:moveTo>
                    <a:pt x="295165" y="83734"/>
                  </a:moveTo>
                  <a:lnTo>
                    <a:pt x="237109" y="0"/>
                  </a:lnTo>
                  <a:lnTo>
                    <a:pt x="237110" y="0"/>
                  </a:lnTo>
                  <a:lnTo>
                    <a:pt x="295167" y="83734"/>
                  </a:lnTo>
                  <a:close/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126381" y="0"/>
                  </a:lnTo>
                  <a:lnTo>
                    <a:pt x="197160" y="1224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527B4309-024C-4B07-A449-12F7536748C5}"/>
                </a:ext>
              </a:extLst>
            </p:cNvPr>
            <p:cNvSpPr/>
            <p:nvPr/>
          </p:nvSpPr>
          <p:spPr>
            <a:xfrm rot="13089394">
              <a:off x="8005038" y="4814171"/>
              <a:ext cx="409104" cy="218063"/>
            </a:xfrm>
            <a:custGeom>
              <a:avLst/>
              <a:gdLst>
                <a:gd name="connsiteX0" fmla="*/ 409104 w 409104"/>
                <a:gd name="connsiteY0" fmla="*/ 110916 h 218063"/>
                <a:gd name="connsiteX1" fmla="*/ 135172 w 409104"/>
                <a:gd name="connsiteY1" fmla="*/ 217816 h 218063"/>
                <a:gd name="connsiteX2" fmla="*/ 32447 w 409104"/>
                <a:gd name="connsiteY2" fmla="*/ 176058 h 218063"/>
                <a:gd name="connsiteX3" fmla="*/ 3843 w 409104"/>
                <a:gd name="connsiteY3" fmla="*/ 119581 h 218063"/>
                <a:gd name="connsiteX4" fmla="*/ 0 w 409104"/>
                <a:gd name="connsiteY4" fmla="*/ 73735 h 218063"/>
                <a:gd name="connsiteX5" fmla="*/ 111583 w 409104"/>
                <a:gd name="connsiteY5" fmla="*/ 0 h 218063"/>
                <a:gd name="connsiteX6" fmla="*/ 112727 w 409104"/>
                <a:gd name="connsiteY6" fmla="*/ 23329 h 218063"/>
                <a:gd name="connsiteX7" fmla="*/ 129325 w 409104"/>
                <a:gd name="connsiteY7" fmla="*/ 91708 h 218063"/>
                <a:gd name="connsiteX8" fmla="*/ 229544 w 409104"/>
                <a:gd name="connsiteY8" fmla="*/ 146828 h 218063"/>
                <a:gd name="connsiteX9" fmla="*/ 304708 w 409104"/>
                <a:gd name="connsiteY9" fmla="*/ 133466 h 218063"/>
                <a:gd name="connsiteX10" fmla="*/ 407434 w 409104"/>
                <a:gd name="connsiteY10" fmla="*/ 91708 h 218063"/>
                <a:gd name="connsiteX11" fmla="*/ 409104 w 409104"/>
                <a:gd name="connsiteY11" fmla="*/ 102564 h 218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9104" h="218063">
                  <a:moveTo>
                    <a:pt x="409104" y="110916"/>
                  </a:moveTo>
                  <a:cubicBezTo>
                    <a:pt x="320577" y="186915"/>
                    <a:pt x="204490" y="213641"/>
                    <a:pt x="135172" y="217816"/>
                  </a:cubicBezTo>
                  <a:cubicBezTo>
                    <a:pt x="96755" y="220322"/>
                    <a:pt x="59173" y="203619"/>
                    <a:pt x="32447" y="176058"/>
                  </a:cubicBezTo>
                  <a:cubicBezTo>
                    <a:pt x="18249" y="162278"/>
                    <a:pt x="9272" y="143487"/>
                    <a:pt x="3843" y="119581"/>
                  </a:cubicBezTo>
                  <a:lnTo>
                    <a:pt x="0" y="73735"/>
                  </a:lnTo>
                  <a:lnTo>
                    <a:pt x="111583" y="0"/>
                  </a:lnTo>
                  <a:lnTo>
                    <a:pt x="112727" y="23329"/>
                  </a:lnTo>
                  <a:cubicBezTo>
                    <a:pt x="116171" y="46609"/>
                    <a:pt x="121808" y="69576"/>
                    <a:pt x="129325" y="91708"/>
                  </a:cubicBezTo>
                  <a:cubicBezTo>
                    <a:pt x="142689" y="128454"/>
                    <a:pt x="176930" y="146828"/>
                    <a:pt x="229544" y="146828"/>
                  </a:cubicBezTo>
                  <a:cubicBezTo>
                    <a:pt x="255435" y="145993"/>
                    <a:pt x="280489" y="140981"/>
                    <a:pt x="304708" y="133466"/>
                  </a:cubicBezTo>
                  <a:cubicBezTo>
                    <a:pt x="339785" y="122608"/>
                    <a:pt x="374027" y="108411"/>
                    <a:pt x="407434" y="91708"/>
                  </a:cubicBezTo>
                  <a:cubicBezTo>
                    <a:pt x="408268" y="95048"/>
                    <a:pt x="409104" y="99224"/>
                    <a:pt x="409104" y="10256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A6665952-BEBA-4083-8857-192589F92F66}"/>
                </a:ext>
              </a:extLst>
            </p:cNvPr>
            <p:cNvSpPr/>
            <p:nvPr/>
          </p:nvSpPr>
          <p:spPr>
            <a:xfrm rot="8716295">
              <a:off x="8200443" y="4500944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48E8912F-96AC-4641-B68F-1FAC8423EE44}"/>
                </a:ext>
              </a:extLst>
            </p:cNvPr>
            <p:cNvSpPr/>
            <p:nvPr/>
          </p:nvSpPr>
          <p:spPr>
            <a:xfrm rot="8716295">
              <a:off x="8122034" y="434415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53758D6F-45BC-4683-9BA4-5F935E950CCD}"/>
                </a:ext>
              </a:extLst>
            </p:cNvPr>
            <p:cNvSpPr/>
            <p:nvPr/>
          </p:nvSpPr>
          <p:spPr>
            <a:xfrm rot="8716295">
              <a:off x="7753870" y="438989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3D33FD22-12AD-4D1A-88D7-5F0D534CAA44}"/>
                </a:ext>
              </a:extLst>
            </p:cNvPr>
            <p:cNvSpPr/>
            <p:nvPr/>
          </p:nvSpPr>
          <p:spPr>
            <a:xfrm rot="8716295">
              <a:off x="8030791" y="4210054"/>
              <a:ext cx="154744" cy="110503"/>
            </a:xfrm>
            <a:custGeom>
              <a:avLst/>
              <a:gdLst>
                <a:gd name="connsiteX0" fmla="*/ 0 w 154744"/>
                <a:gd name="connsiteY0" fmla="*/ 34366 h 110503"/>
                <a:gd name="connsiteX1" fmla="*/ 3342 w 154744"/>
                <a:gd name="connsiteY1" fmla="*/ 26453 h 110503"/>
                <a:gd name="connsiteX2" fmla="*/ 65990 w 154744"/>
                <a:gd name="connsiteY2" fmla="*/ 0 h 110503"/>
                <a:gd name="connsiteX3" fmla="*/ 128640 w 154744"/>
                <a:gd name="connsiteY3" fmla="*/ 26453 h 110503"/>
                <a:gd name="connsiteX4" fmla="*/ 154744 w 154744"/>
                <a:gd name="connsiteY4" fmla="*/ 88580 h 110503"/>
                <a:gd name="connsiteX5" fmla="*/ 150487 w 154744"/>
                <a:gd name="connsiteY5" fmla="*/ 110503 h 110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4744" h="110503">
                  <a:moveTo>
                    <a:pt x="0" y="34366"/>
                  </a:moveTo>
                  <a:lnTo>
                    <a:pt x="3342" y="26453"/>
                  </a:lnTo>
                  <a:cubicBezTo>
                    <a:pt x="20048" y="9746"/>
                    <a:pt x="42323" y="0"/>
                    <a:pt x="65990" y="0"/>
                  </a:cubicBezTo>
                  <a:cubicBezTo>
                    <a:pt x="89659" y="0"/>
                    <a:pt x="111934" y="9746"/>
                    <a:pt x="128640" y="26453"/>
                  </a:cubicBezTo>
                  <a:cubicBezTo>
                    <a:pt x="146043" y="43159"/>
                    <a:pt x="154744" y="65782"/>
                    <a:pt x="154744" y="88580"/>
                  </a:cubicBezTo>
                  <a:lnTo>
                    <a:pt x="150487" y="1105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55" name="Rectangle 7">
            <a:extLst>
              <a:ext uri="{FF2B5EF4-FFF2-40B4-BE49-F238E27FC236}">
                <a16:creationId xmlns:a16="http://schemas.microsoft.com/office/drawing/2014/main" id="{88941299-7323-4585-91C3-38C1B71800C4}"/>
              </a:ext>
            </a:extLst>
          </p:cNvPr>
          <p:cNvSpPr/>
          <p:nvPr userDrawn="1"/>
        </p:nvSpPr>
        <p:spPr>
          <a:xfrm>
            <a:off x="0" y="4391025"/>
            <a:ext cx="9153528" cy="752475"/>
          </a:xfrm>
          <a:custGeom>
            <a:avLst/>
            <a:gdLst>
              <a:gd name="connsiteX0" fmla="*/ 0 w 9153528"/>
              <a:gd name="connsiteY0" fmla="*/ 0 h 752475"/>
              <a:gd name="connsiteX1" fmla="*/ 9153528 w 9153528"/>
              <a:gd name="connsiteY1" fmla="*/ 0 h 752475"/>
              <a:gd name="connsiteX2" fmla="*/ 9153528 w 9153528"/>
              <a:gd name="connsiteY2" fmla="*/ 752475 h 752475"/>
              <a:gd name="connsiteX3" fmla="*/ 0 w 9153528"/>
              <a:gd name="connsiteY3" fmla="*/ 752475 h 752475"/>
              <a:gd name="connsiteX4" fmla="*/ 0 w 9153528"/>
              <a:gd name="connsiteY4" fmla="*/ 0 h 752475"/>
              <a:gd name="connsiteX0" fmla="*/ 0 w 9153528"/>
              <a:gd name="connsiteY0" fmla="*/ 0 h 752475"/>
              <a:gd name="connsiteX1" fmla="*/ 9153528 w 9153528"/>
              <a:gd name="connsiteY1" fmla="*/ 752475 h 752475"/>
              <a:gd name="connsiteX2" fmla="*/ 0 w 9153528"/>
              <a:gd name="connsiteY2" fmla="*/ 752475 h 752475"/>
              <a:gd name="connsiteX3" fmla="*/ 0 w 9153528"/>
              <a:gd name="connsiteY3" fmla="*/ 0 h 752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53528" h="752475">
                <a:moveTo>
                  <a:pt x="0" y="0"/>
                </a:moveTo>
                <a:lnTo>
                  <a:pt x="9153528" y="752475"/>
                </a:lnTo>
                <a:lnTo>
                  <a:pt x="0" y="752475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pic>
        <p:nvPicPr>
          <p:cNvPr id="56" name="Graphique 55">
            <a:extLst>
              <a:ext uri="{FF2B5EF4-FFF2-40B4-BE49-F238E27FC236}">
                <a16:creationId xmlns:a16="http://schemas.microsoft.com/office/drawing/2014/main" id="{A88B7565-C7DC-40EA-B5DD-A4245568A9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34871" y="2053350"/>
            <a:ext cx="3474258" cy="103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331333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itre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>
            <a:extLst>
              <a:ext uri="{FF2B5EF4-FFF2-40B4-BE49-F238E27FC236}">
                <a16:creationId xmlns:a16="http://schemas.microsoft.com/office/drawing/2014/main" id="{6A348ADD-AB0E-41AD-9203-40019D501D09}"/>
              </a:ext>
            </a:extLst>
          </p:cNvPr>
          <p:cNvGrpSpPr/>
          <p:nvPr userDrawn="1"/>
        </p:nvGrpSpPr>
        <p:grpSpPr>
          <a:xfrm>
            <a:off x="-134707" y="-108618"/>
            <a:ext cx="6284502" cy="5381969"/>
            <a:chOff x="-134707" y="-108618"/>
            <a:chExt cx="6284502" cy="5381969"/>
          </a:xfrm>
          <a:solidFill>
            <a:schemeClr val="bg2">
              <a:alpha val="10000"/>
            </a:schemeClr>
          </a:solidFill>
        </p:grpSpPr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4588E603-EA6D-4A8D-ABC7-9DE29315EF7F}"/>
                </a:ext>
              </a:extLst>
            </p:cNvPr>
            <p:cNvSpPr/>
            <p:nvPr/>
          </p:nvSpPr>
          <p:spPr>
            <a:xfrm rot="8716295">
              <a:off x="1460344" y="348006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8D98135C-BBC2-4D16-96A0-7D0791CBF234}"/>
                </a:ext>
              </a:extLst>
            </p:cNvPr>
            <p:cNvSpPr/>
            <p:nvPr/>
          </p:nvSpPr>
          <p:spPr>
            <a:xfrm rot="8716295">
              <a:off x="1595642" y="352432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99CC6255-5792-4F9C-BE71-CF421386A627}"/>
                </a:ext>
              </a:extLst>
            </p:cNvPr>
            <p:cNvSpPr/>
            <p:nvPr/>
          </p:nvSpPr>
          <p:spPr>
            <a:xfrm rot="8716295">
              <a:off x="1527760" y="339373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4D44D8C2-4775-4ED6-AF57-EBCE00D0B723}"/>
                </a:ext>
              </a:extLst>
            </p:cNvPr>
            <p:cNvSpPr/>
            <p:nvPr/>
          </p:nvSpPr>
          <p:spPr>
            <a:xfrm rot="8716295">
              <a:off x="1290473" y="361408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EC13E85B-F308-4A84-A6BC-C18C71386F58}"/>
                </a:ext>
              </a:extLst>
            </p:cNvPr>
            <p:cNvSpPr/>
            <p:nvPr/>
          </p:nvSpPr>
          <p:spPr>
            <a:xfrm rot="8716295">
              <a:off x="1101427" y="329824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6E015BB2-4D35-4CF4-A5C2-59649EEBFF40}"/>
                </a:ext>
              </a:extLst>
            </p:cNvPr>
            <p:cNvSpPr/>
            <p:nvPr/>
          </p:nvSpPr>
          <p:spPr>
            <a:xfrm rot="8716295">
              <a:off x="1083185" y="3088198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9BFD4E55-95DB-4948-9F11-510807EC9D8A}"/>
                </a:ext>
              </a:extLst>
            </p:cNvPr>
            <p:cNvSpPr/>
            <p:nvPr/>
          </p:nvSpPr>
          <p:spPr>
            <a:xfrm rot="8716295">
              <a:off x="1426961" y="367606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4A110395-765E-4DD5-AC3E-A28545974AAB}"/>
                </a:ext>
              </a:extLst>
            </p:cNvPr>
            <p:cNvSpPr/>
            <p:nvPr/>
          </p:nvSpPr>
          <p:spPr>
            <a:xfrm rot="8716295">
              <a:off x="1897908" y="310145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752DD23B-ED4C-4692-9CB0-792B6E8C38E8}"/>
                </a:ext>
              </a:extLst>
            </p:cNvPr>
            <p:cNvSpPr/>
            <p:nvPr/>
          </p:nvSpPr>
          <p:spPr>
            <a:xfrm rot="8716295">
              <a:off x="2033206" y="314571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407B9478-6D17-4EBC-AE18-7FD28A2FC874}"/>
                </a:ext>
              </a:extLst>
            </p:cNvPr>
            <p:cNvSpPr/>
            <p:nvPr/>
          </p:nvSpPr>
          <p:spPr>
            <a:xfrm rot="8716295">
              <a:off x="1728037" y="323546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DDF2324E-ABD3-44DC-8D06-AD3B881C1A39}"/>
                </a:ext>
              </a:extLst>
            </p:cNvPr>
            <p:cNvSpPr/>
            <p:nvPr/>
          </p:nvSpPr>
          <p:spPr>
            <a:xfrm rot="8716295">
              <a:off x="1538992" y="291963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EF0C42E5-DDE5-4434-B96B-A910A8DADC60}"/>
                </a:ext>
              </a:extLst>
            </p:cNvPr>
            <p:cNvSpPr/>
            <p:nvPr/>
          </p:nvSpPr>
          <p:spPr>
            <a:xfrm rot="8716295">
              <a:off x="1864525" y="329745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1AF80BC5-2FE2-47AB-8E9C-E26EB916D016}"/>
                </a:ext>
              </a:extLst>
            </p:cNvPr>
            <p:cNvSpPr/>
            <p:nvPr/>
          </p:nvSpPr>
          <p:spPr>
            <a:xfrm rot="8716295">
              <a:off x="1499078" y="307102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B1E25E5F-E250-4318-97CF-E3EF2CD18D72}"/>
                </a:ext>
              </a:extLst>
            </p:cNvPr>
            <p:cNvSpPr/>
            <p:nvPr/>
          </p:nvSpPr>
          <p:spPr>
            <a:xfrm rot="7484129">
              <a:off x="2023343" y="358706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3240DB54-B585-4364-A4CC-E94E9F63B7D1}"/>
                </a:ext>
              </a:extLst>
            </p:cNvPr>
            <p:cNvSpPr/>
            <p:nvPr/>
          </p:nvSpPr>
          <p:spPr>
            <a:xfrm rot="13089394">
              <a:off x="2181992" y="353641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273F70D5-0FDD-4CE1-814B-D9312EE2ED7C}"/>
                </a:ext>
              </a:extLst>
            </p:cNvPr>
            <p:cNvSpPr/>
            <p:nvPr/>
          </p:nvSpPr>
          <p:spPr>
            <a:xfrm rot="8716295">
              <a:off x="2462883" y="3246298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C7DAFD7E-6F4A-40E6-A59C-00BDC917B87B}"/>
                </a:ext>
              </a:extLst>
            </p:cNvPr>
            <p:cNvSpPr/>
            <p:nvPr/>
          </p:nvSpPr>
          <p:spPr>
            <a:xfrm rot="8716295">
              <a:off x="2384474" y="308950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48BC9105-C681-433B-8AF1-4FE2E6AF7484}"/>
                </a:ext>
              </a:extLst>
            </p:cNvPr>
            <p:cNvSpPr/>
            <p:nvPr/>
          </p:nvSpPr>
          <p:spPr>
            <a:xfrm rot="8716295">
              <a:off x="2016311" y="313524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1A014423-3778-467F-945D-40491D2DDC50}"/>
                </a:ext>
              </a:extLst>
            </p:cNvPr>
            <p:cNvSpPr/>
            <p:nvPr/>
          </p:nvSpPr>
          <p:spPr>
            <a:xfrm rot="8716295">
              <a:off x="2284892" y="289422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754E4A02-6646-4EF0-8CC5-B9030AE2C233}"/>
                </a:ext>
              </a:extLst>
            </p:cNvPr>
            <p:cNvSpPr/>
            <p:nvPr/>
          </p:nvSpPr>
          <p:spPr>
            <a:xfrm rot="8716295">
              <a:off x="1798117" y="447855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84764706-CB95-4A07-B328-B801005B7146}"/>
                </a:ext>
              </a:extLst>
            </p:cNvPr>
            <p:cNvSpPr/>
            <p:nvPr/>
          </p:nvSpPr>
          <p:spPr>
            <a:xfrm rot="8716295">
              <a:off x="1933415" y="452281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B1C7133F-9245-4557-9366-3880E57EEB00}"/>
                </a:ext>
              </a:extLst>
            </p:cNvPr>
            <p:cNvSpPr/>
            <p:nvPr/>
          </p:nvSpPr>
          <p:spPr>
            <a:xfrm rot="8716295">
              <a:off x="1865533" y="439222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34C731BB-8709-4827-B371-DEB3D84B9346}"/>
                </a:ext>
              </a:extLst>
            </p:cNvPr>
            <p:cNvSpPr/>
            <p:nvPr/>
          </p:nvSpPr>
          <p:spPr>
            <a:xfrm rot="8716295">
              <a:off x="1628246" y="461256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800CC594-61C3-4799-9C62-0BE95617F0FD}"/>
                </a:ext>
              </a:extLst>
            </p:cNvPr>
            <p:cNvSpPr/>
            <p:nvPr/>
          </p:nvSpPr>
          <p:spPr>
            <a:xfrm rot="8716295">
              <a:off x="1439200" y="42967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6F690A0E-19E3-4512-B7F9-01EE4EBA9F6E}"/>
                </a:ext>
              </a:extLst>
            </p:cNvPr>
            <p:cNvSpPr/>
            <p:nvPr/>
          </p:nvSpPr>
          <p:spPr>
            <a:xfrm rot="8716295">
              <a:off x="1420958" y="408668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2D91E14E-69D9-458E-AA57-95A8078F1A19}"/>
                </a:ext>
              </a:extLst>
            </p:cNvPr>
            <p:cNvSpPr/>
            <p:nvPr/>
          </p:nvSpPr>
          <p:spPr>
            <a:xfrm rot="8716295">
              <a:off x="1764734" y="467454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4AA00D19-4A76-4DED-BF30-5DD56557E862}"/>
                </a:ext>
              </a:extLst>
            </p:cNvPr>
            <p:cNvSpPr/>
            <p:nvPr/>
          </p:nvSpPr>
          <p:spPr>
            <a:xfrm rot="8716295">
              <a:off x="2235681" y="409993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CBB48ABD-C4EA-4731-A8E5-5C6B6C5A0C84}"/>
                </a:ext>
              </a:extLst>
            </p:cNvPr>
            <p:cNvSpPr/>
            <p:nvPr/>
          </p:nvSpPr>
          <p:spPr>
            <a:xfrm rot="8716295">
              <a:off x="2370979" y="414419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FCD4CF90-F0E0-483F-9CE2-EAEE6404C598}"/>
                </a:ext>
              </a:extLst>
            </p:cNvPr>
            <p:cNvSpPr/>
            <p:nvPr/>
          </p:nvSpPr>
          <p:spPr>
            <a:xfrm rot="8716295">
              <a:off x="2065810" y="423395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F3A52091-BF4B-4E28-BD12-E3FE0875DBCF}"/>
                </a:ext>
              </a:extLst>
            </p:cNvPr>
            <p:cNvSpPr/>
            <p:nvPr/>
          </p:nvSpPr>
          <p:spPr>
            <a:xfrm rot="8716295">
              <a:off x="1876765" y="391811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75F64C77-DBE2-4786-9809-DB042689E4B6}"/>
                </a:ext>
              </a:extLst>
            </p:cNvPr>
            <p:cNvSpPr/>
            <p:nvPr/>
          </p:nvSpPr>
          <p:spPr>
            <a:xfrm rot="8716295">
              <a:off x="2202298" y="4295933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12F37080-96E6-4BE1-9E48-2B02CD2E20C4}"/>
                </a:ext>
              </a:extLst>
            </p:cNvPr>
            <p:cNvSpPr/>
            <p:nvPr/>
          </p:nvSpPr>
          <p:spPr>
            <a:xfrm rot="8716295">
              <a:off x="1836851" y="406950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BA151B90-2B5B-4D4D-A2AA-26322C46F857}"/>
                </a:ext>
              </a:extLst>
            </p:cNvPr>
            <p:cNvSpPr/>
            <p:nvPr/>
          </p:nvSpPr>
          <p:spPr>
            <a:xfrm rot="7484129">
              <a:off x="2361116" y="458555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0655C4A9-132B-4E8E-AB50-E63B4234234E}"/>
                </a:ext>
              </a:extLst>
            </p:cNvPr>
            <p:cNvSpPr/>
            <p:nvPr/>
          </p:nvSpPr>
          <p:spPr>
            <a:xfrm rot="13089394">
              <a:off x="2519765" y="4534899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51BD05F6-BFFD-42CC-A6C8-403F5F81023E}"/>
                </a:ext>
              </a:extLst>
            </p:cNvPr>
            <p:cNvSpPr/>
            <p:nvPr/>
          </p:nvSpPr>
          <p:spPr>
            <a:xfrm rot="8716295">
              <a:off x="2800656" y="4244781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609B85C6-C9FE-4876-9C99-F8DA190549CF}"/>
                </a:ext>
              </a:extLst>
            </p:cNvPr>
            <p:cNvSpPr/>
            <p:nvPr/>
          </p:nvSpPr>
          <p:spPr>
            <a:xfrm rot="8716295">
              <a:off x="2722247" y="4087989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AB57FACB-9405-4A22-84F1-4CDEB84773AC}"/>
                </a:ext>
              </a:extLst>
            </p:cNvPr>
            <p:cNvSpPr/>
            <p:nvPr/>
          </p:nvSpPr>
          <p:spPr>
            <a:xfrm rot="8716295">
              <a:off x="2354084" y="413373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65AC372A-885B-4835-966A-B09A3AC7B1A3}"/>
                </a:ext>
              </a:extLst>
            </p:cNvPr>
            <p:cNvSpPr/>
            <p:nvPr/>
          </p:nvSpPr>
          <p:spPr>
            <a:xfrm rot="8716295">
              <a:off x="2622665" y="389271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16EC5E3E-C2D3-4E46-B9F8-A7FD4A85025F}"/>
                </a:ext>
              </a:extLst>
            </p:cNvPr>
            <p:cNvSpPr/>
            <p:nvPr/>
          </p:nvSpPr>
          <p:spPr>
            <a:xfrm rot="8716295">
              <a:off x="1836002" y="5051565"/>
              <a:ext cx="229466" cy="172677"/>
            </a:xfrm>
            <a:custGeom>
              <a:avLst/>
              <a:gdLst>
                <a:gd name="connsiteX0" fmla="*/ 37429 w 229466"/>
                <a:gd name="connsiteY0" fmla="*/ 127889 h 172677"/>
                <a:gd name="connsiteX1" fmla="*/ 864 w 229466"/>
                <a:gd name="connsiteY1" fmla="*/ 25330 h 172677"/>
                <a:gd name="connsiteX2" fmla="*/ 0 w 229466"/>
                <a:gd name="connsiteY2" fmla="*/ 0 h 172677"/>
                <a:gd name="connsiteX3" fmla="*/ 229466 w 229466"/>
                <a:gd name="connsiteY3" fmla="*/ 159058 h 172677"/>
                <a:gd name="connsiteX4" fmla="*/ 210504 w 229466"/>
                <a:gd name="connsiteY4" fmla="*/ 164122 h 172677"/>
                <a:gd name="connsiteX5" fmla="*/ 146960 w 229466"/>
                <a:gd name="connsiteY5" fmla="*/ 172414 h 172677"/>
                <a:gd name="connsiteX6" fmla="*/ 37429 w 229466"/>
                <a:gd name="connsiteY6" fmla="*/ 127889 h 172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9466" h="172677">
                  <a:moveTo>
                    <a:pt x="37429" y="127889"/>
                  </a:moveTo>
                  <a:cubicBezTo>
                    <a:pt x="14722" y="105850"/>
                    <a:pt x="4537" y="71789"/>
                    <a:pt x="864" y="25330"/>
                  </a:cubicBezTo>
                  <a:lnTo>
                    <a:pt x="0" y="0"/>
                  </a:lnTo>
                  <a:lnTo>
                    <a:pt x="229466" y="159058"/>
                  </a:lnTo>
                  <a:lnTo>
                    <a:pt x="210504" y="164122"/>
                  </a:lnTo>
                  <a:cubicBezTo>
                    <a:pt x="187032" y="168685"/>
                    <a:pt x="165437" y="171301"/>
                    <a:pt x="146960" y="172414"/>
                  </a:cubicBezTo>
                  <a:cubicBezTo>
                    <a:pt x="105998" y="175086"/>
                    <a:pt x="65926" y="157276"/>
                    <a:pt x="37429" y="12788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F08DD499-2506-4E8C-B26B-EF1D8CEA3AA9}"/>
                </a:ext>
              </a:extLst>
            </p:cNvPr>
            <p:cNvSpPr/>
            <p:nvPr/>
          </p:nvSpPr>
          <p:spPr>
            <a:xfrm rot="8716295">
              <a:off x="2865171" y="5107739"/>
              <a:ext cx="36955" cy="50812"/>
            </a:xfrm>
            <a:custGeom>
              <a:avLst/>
              <a:gdLst>
                <a:gd name="connsiteX0" fmla="*/ 0 w 36955"/>
                <a:gd name="connsiteY0" fmla="*/ 50812 h 50812"/>
                <a:gd name="connsiteX1" fmla="*/ 0 w 36955"/>
                <a:gd name="connsiteY1" fmla="*/ 0 h 50812"/>
                <a:gd name="connsiteX2" fmla="*/ 36955 w 36955"/>
                <a:gd name="connsiteY2" fmla="*/ 25616 h 50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955" h="50812">
                  <a:moveTo>
                    <a:pt x="0" y="50812"/>
                  </a:moveTo>
                  <a:lnTo>
                    <a:pt x="0" y="0"/>
                  </a:lnTo>
                  <a:lnTo>
                    <a:pt x="36955" y="256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D6EEB4E8-6237-4C85-A670-00A3A02268AB}"/>
                </a:ext>
              </a:extLst>
            </p:cNvPr>
            <p:cNvSpPr/>
            <p:nvPr/>
          </p:nvSpPr>
          <p:spPr>
            <a:xfrm rot="8716295">
              <a:off x="2291544" y="4886156"/>
              <a:ext cx="209028" cy="296463"/>
            </a:xfrm>
            <a:custGeom>
              <a:avLst/>
              <a:gdLst>
                <a:gd name="connsiteX0" fmla="*/ 137293 w 209028"/>
                <a:gd name="connsiteY0" fmla="*/ 296463 h 296463"/>
                <a:gd name="connsiteX1" fmla="*/ 72418 w 209028"/>
                <a:gd name="connsiteY1" fmla="*/ 175766 h 296463"/>
                <a:gd name="connsiteX2" fmla="*/ 105610 w 209028"/>
                <a:gd name="connsiteY2" fmla="*/ 83734 h 296463"/>
                <a:gd name="connsiteX3" fmla="*/ 0 w 209028"/>
                <a:gd name="connsiteY3" fmla="*/ 83734 h 296463"/>
                <a:gd name="connsiteX4" fmla="*/ 0 w 209028"/>
                <a:gd name="connsiteY4" fmla="*/ 0 h 296463"/>
                <a:gd name="connsiteX5" fmla="*/ 82199 w 209028"/>
                <a:gd name="connsiteY5" fmla="*/ 0 h 296463"/>
                <a:gd name="connsiteX6" fmla="*/ 209028 w 209028"/>
                <a:gd name="connsiteY6" fmla="*/ 87913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028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82199" y="0"/>
                  </a:lnTo>
                  <a:lnTo>
                    <a:pt x="209028" y="8791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75A29BD1-A3F5-48BC-80D8-DAC3DEE5842D}"/>
                </a:ext>
              </a:extLst>
            </p:cNvPr>
            <p:cNvSpPr/>
            <p:nvPr/>
          </p:nvSpPr>
          <p:spPr>
            <a:xfrm rot="8716295">
              <a:off x="2159594" y="5061280"/>
              <a:ext cx="112869" cy="105684"/>
            </a:xfrm>
            <a:custGeom>
              <a:avLst/>
              <a:gdLst>
                <a:gd name="connsiteX0" fmla="*/ 17362 w 112869"/>
                <a:gd name="connsiteY0" fmla="*/ 89236 h 105684"/>
                <a:gd name="connsiteX1" fmla="*/ 0 w 112869"/>
                <a:gd name="connsiteY1" fmla="*/ 48117 h 105684"/>
                <a:gd name="connsiteX2" fmla="*/ 0 w 112869"/>
                <a:gd name="connsiteY2" fmla="*/ 47203 h 105684"/>
                <a:gd name="connsiteX3" fmla="*/ 17362 w 112869"/>
                <a:gd name="connsiteY3" fmla="*/ 6084 h 105684"/>
                <a:gd name="connsiteX4" fmla="*/ 31771 w 112869"/>
                <a:gd name="connsiteY4" fmla="*/ 0 h 105684"/>
                <a:gd name="connsiteX5" fmla="*/ 112869 w 112869"/>
                <a:gd name="connsiteY5" fmla="*/ 56215 h 105684"/>
                <a:gd name="connsiteX6" fmla="*/ 99601 w 112869"/>
                <a:gd name="connsiteY6" fmla="*/ 88323 h 105684"/>
                <a:gd name="connsiteX7" fmla="*/ 58481 w 112869"/>
                <a:gd name="connsiteY7" fmla="*/ 105684 h 105684"/>
                <a:gd name="connsiteX8" fmla="*/ 17362 w 112869"/>
                <a:gd name="connsiteY8" fmla="*/ 89236 h 105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869" h="105684">
                  <a:moveTo>
                    <a:pt x="17362" y="89236"/>
                  </a:moveTo>
                  <a:cubicBezTo>
                    <a:pt x="6397" y="78271"/>
                    <a:pt x="0" y="63651"/>
                    <a:pt x="0" y="48117"/>
                  </a:cubicBezTo>
                  <a:lnTo>
                    <a:pt x="0" y="47203"/>
                  </a:lnTo>
                  <a:cubicBezTo>
                    <a:pt x="0" y="31669"/>
                    <a:pt x="6397" y="17049"/>
                    <a:pt x="17362" y="6084"/>
                  </a:cubicBezTo>
                  <a:lnTo>
                    <a:pt x="31771" y="0"/>
                  </a:lnTo>
                  <a:lnTo>
                    <a:pt x="112869" y="56215"/>
                  </a:lnTo>
                  <a:lnTo>
                    <a:pt x="99601" y="88323"/>
                  </a:lnTo>
                  <a:cubicBezTo>
                    <a:pt x="88636" y="99288"/>
                    <a:pt x="74015" y="105684"/>
                    <a:pt x="58481" y="105684"/>
                  </a:cubicBezTo>
                  <a:cubicBezTo>
                    <a:pt x="42947" y="105684"/>
                    <a:pt x="28327" y="100202"/>
                    <a:pt x="17362" y="8923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758380ED-469C-45F2-855D-EE8309CFADD8}"/>
                </a:ext>
              </a:extLst>
            </p:cNvPr>
            <p:cNvSpPr/>
            <p:nvPr/>
          </p:nvSpPr>
          <p:spPr>
            <a:xfrm rot="8716295">
              <a:off x="3051941" y="5073759"/>
              <a:ext cx="145251" cy="115110"/>
            </a:xfrm>
            <a:custGeom>
              <a:avLst/>
              <a:gdLst>
                <a:gd name="connsiteX0" fmla="*/ 26453 w 145251"/>
                <a:gd name="connsiteY0" fmla="*/ 90050 h 115110"/>
                <a:gd name="connsiteX1" fmla="*/ 0 w 145251"/>
                <a:gd name="connsiteY1" fmla="*/ 27401 h 115110"/>
                <a:gd name="connsiteX2" fmla="*/ 0 w 145251"/>
                <a:gd name="connsiteY2" fmla="*/ 26008 h 115110"/>
                <a:gd name="connsiteX3" fmla="*/ 10982 w 145251"/>
                <a:gd name="connsiteY3" fmla="*/ 0 h 115110"/>
                <a:gd name="connsiteX4" fmla="*/ 145251 w 145251"/>
                <a:gd name="connsiteY4" fmla="*/ 93071 h 115110"/>
                <a:gd name="connsiteX5" fmla="*/ 123037 w 145251"/>
                <a:gd name="connsiteY5" fmla="*/ 108149 h 115110"/>
                <a:gd name="connsiteX6" fmla="*/ 89101 w 145251"/>
                <a:gd name="connsiteY6" fmla="*/ 115110 h 115110"/>
                <a:gd name="connsiteX7" fmla="*/ 26453 w 145251"/>
                <a:gd name="connsiteY7" fmla="*/ 90050 h 11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5251" h="115110">
                  <a:moveTo>
                    <a:pt x="26453" y="90050"/>
                  </a:moveTo>
                  <a:cubicBezTo>
                    <a:pt x="9746" y="73344"/>
                    <a:pt x="0" y="51068"/>
                    <a:pt x="0" y="27401"/>
                  </a:cubicBezTo>
                  <a:lnTo>
                    <a:pt x="0" y="26008"/>
                  </a:lnTo>
                  <a:lnTo>
                    <a:pt x="10982" y="0"/>
                  </a:lnTo>
                  <a:lnTo>
                    <a:pt x="145251" y="93071"/>
                  </a:lnTo>
                  <a:lnTo>
                    <a:pt x="123037" y="108149"/>
                  </a:lnTo>
                  <a:cubicBezTo>
                    <a:pt x="112421" y="112674"/>
                    <a:pt x="100936" y="115110"/>
                    <a:pt x="89101" y="115110"/>
                  </a:cubicBezTo>
                  <a:cubicBezTo>
                    <a:pt x="65434" y="115110"/>
                    <a:pt x="43159" y="106756"/>
                    <a:pt x="26453" y="900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D2FD6770-3791-4A82-87D2-F41D30AA61F3}"/>
                </a:ext>
              </a:extLst>
            </p:cNvPr>
            <p:cNvSpPr/>
            <p:nvPr/>
          </p:nvSpPr>
          <p:spPr>
            <a:xfrm rot="8716295">
              <a:off x="2953631" y="488922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109B9DB6-A180-42FF-BEBB-6114EE67841E}"/>
                </a:ext>
              </a:extLst>
            </p:cNvPr>
            <p:cNvSpPr/>
            <p:nvPr/>
          </p:nvSpPr>
          <p:spPr>
            <a:xfrm rot="8716295">
              <a:off x="1125067" y="247965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D4702D56-6C32-4790-8116-5036F59380ED}"/>
                </a:ext>
              </a:extLst>
            </p:cNvPr>
            <p:cNvSpPr/>
            <p:nvPr/>
          </p:nvSpPr>
          <p:spPr>
            <a:xfrm rot="8716295">
              <a:off x="1260365" y="252391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55878CEF-C667-4CA0-83B8-66D034466A4C}"/>
                </a:ext>
              </a:extLst>
            </p:cNvPr>
            <p:cNvSpPr/>
            <p:nvPr/>
          </p:nvSpPr>
          <p:spPr>
            <a:xfrm rot="8716295">
              <a:off x="1192483" y="2393326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E6E1C2BC-10AA-4F2A-83E2-85D799983A4B}"/>
                </a:ext>
              </a:extLst>
            </p:cNvPr>
            <p:cNvSpPr/>
            <p:nvPr/>
          </p:nvSpPr>
          <p:spPr>
            <a:xfrm rot="8716295">
              <a:off x="955196" y="261367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6DA02057-79DE-4340-93FA-D8616C8993CD}"/>
                </a:ext>
              </a:extLst>
            </p:cNvPr>
            <p:cNvSpPr/>
            <p:nvPr/>
          </p:nvSpPr>
          <p:spPr>
            <a:xfrm rot="8716295">
              <a:off x="766149" y="229783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F3D3F9A3-B786-4BB9-92E8-BAA2206B9AFB}"/>
                </a:ext>
              </a:extLst>
            </p:cNvPr>
            <p:cNvSpPr/>
            <p:nvPr/>
          </p:nvSpPr>
          <p:spPr>
            <a:xfrm rot="8716295">
              <a:off x="747908" y="2087785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777BD4C8-2DD8-47D0-9247-9DDE2E15298C}"/>
                </a:ext>
              </a:extLst>
            </p:cNvPr>
            <p:cNvSpPr/>
            <p:nvPr/>
          </p:nvSpPr>
          <p:spPr>
            <a:xfrm rot="8716295">
              <a:off x="1091684" y="2675653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orme libre : forme 58">
              <a:extLst>
                <a:ext uri="{FF2B5EF4-FFF2-40B4-BE49-F238E27FC236}">
                  <a16:creationId xmlns:a16="http://schemas.microsoft.com/office/drawing/2014/main" id="{A1948EB1-3E61-48E9-872F-CED3F8D5CC5E}"/>
                </a:ext>
              </a:extLst>
            </p:cNvPr>
            <p:cNvSpPr/>
            <p:nvPr/>
          </p:nvSpPr>
          <p:spPr>
            <a:xfrm rot="8716295">
              <a:off x="1562630" y="210103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orme libre : forme 59">
              <a:extLst>
                <a:ext uri="{FF2B5EF4-FFF2-40B4-BE49-F238E27FC236}">
                  <a16:creationId xmlns:a16="http://schemas.microsoft.com/office/drawing/2014/main" id="{AF9F2A1A-5C85-4204-9B23-373EE49CB276}"/>
                </a:ext>
              </a:extLst>
            </p:cNvPr>
            <p:cNvSpPr/>
            <p:nvPr/>
          </p:nvSpPr>
          <p:spPr>
            <a:xfrm rot="8716295">
              <a:off x="1697929" y="214529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orme libre : forme 60">
              <a:extLst>
                <a:ext uri="{FF2B5EF4-FFF2-40B4-BE49-F238E27FC236}">
                  <a16:creationId xmlns:a16="http://schemas.microsoft.com/office/drawing/2014/main" id="{4763868B-B7EF-4B8B-B818-D645A2592C05}"/>
                </a:ext>
              </a:extLst>
            </p:cNvPr>
            <p:cNvSpPr/>
            <p:nvPr/>
          </p:nvSpPr>
          <p:spPr>
            <a:xfrm rot="8716295">
              <a:off x="1392759" y="223505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orme libre : forme 61">
              <a:extLst>
                <a:ext uri="{FF2B5EF4-FFF2-40B4-BE49-F238E27FC236}">
                  <a16:creationId xmlns:a16="http://schemas.microsoft.com/office/drawing/2014/main" id="{046CA86F-6D3D-407A-B321-54764D2D59CB}"/>
                </a:ext>
              </a:extLst>
            </p:cNvPr>
            <p:cNvSpPr/>
            <p:nvPr/>
          </p:nvSpPr>
          <p:spPr>
            <a:xfrm rot="8716295">
              <a:off x="1203715" y="191921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orme libre : forme 62">
              <a:extLst>
                <a:ext uri="{FF2B5EF4-FFF2-40B4-BE49-F238E27FC236}">
                  <a16:creationId xmlns:a16="http://schemas.microsoft.com/office/drawing/2014/main" id="{AFD12AFD-CB5D-4640-9FE9-92C355A72778}"/>
                </a:ext>
              </a:extLst>
            </p:cNvPr>
            <p:cNvSpPr/>
            <p:nvPr/>
          </p:nvSpPr>
          <p:spPr>
            <a:xfrm rot="8716295">
              <a:off x="1529248" y="2297037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orme libre : forme 63">
              <a:extLst>
                <a:ext uri="{FF2B5EF4-FFF2-40B4-BE49-F238E27FC236}">
                  <a16:creationId xmlns:a16="http://schemas.microsoft.com/office/drawing/2014/main" id="{59BA9B88-1225-4DFD-8724-1F80AE18C3C2}"/>
                </a:ext>
              </a:extLst>
            </p:cNvPr>
            <p:cNvSpPr/>
            <p:nvPr/>
          </p:nvSpPr>
          <p:spPr>
            <a:xfrm rot="8716295">
              <a:off x="1163801" y="2070611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orme libre : forme 64">
              <a:extLst>
                <a:ext uri="{FF2B5EF4-FFF2-40B4-BE49-F238E27FC236}">
                  <a16:creationId xmlns:a16="http://schemas.microsoft.com/office/drawing/2014/main" id="{1F6A3148-93CD-4912-914F-8421DD424A09}"/>
                </a:ext>
              </a:extLst>
            </p:cNvPr>
            <p:cNvSpPr/>
            <p:nvPr/>
          </p:nvSpPr>
          <p:spPr>
            <a:xfrm rot="7484129">
              <a:off x="1688065" y="258665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orme libre : forme 65">
              <a:extLst>
                <a:ext uri="{FF2B5EF4-FFF2-40B4-BE49-F238E27FC236}">
                  <a16:creationId xmlns:a16="http://schemas.microsoft.com/office/drawing/2014/main" id="{0BDE36BD-7206-4F9A-9356-56E83345F790}"/>
                </a:ext>
              </a:extLst>
            </p:cNvPr>
            <p:cNvSpPr/>
            <p:nvPr/>
          </p:nvSpPr>
          <p:spPr>
            <a:xfrm rot="13089394">
              <a:off x="1846715" y="2536003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orme libre : forme 66">
              <a:extLst>
                <a:ext uri="{FF2B5EF4-FFF2-40B4-BE49-F238E27FC236}">
                  <a16:creationId xmlns:a16="http://schemas.microsoft.com/office/drawing/2014/main" id="{6239D104-F777-403D-9315-E21DA6A3EEC6}"/>
                </a:ext>
              </a:extLst>
            </p:cNvPr>
            <p:cNvSpPr/>
            <p:nvPr/>
          </p:nvSpPr>
          <p:spPr>
            <a:xfrm rot="8716295">
              <a:off x="2127606" y="2245885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7D0AE68E-C325-4D34-A9E9-2281E6887FAE}"/>
                </a:ext>
              </a:extLst>
            </p:cNvPr>
            <p:cNvSpPr/>
            <p:nvPr/>
          </p:nvSpPr>
          <p:spPr>
            <a:xfrm rot="8716295">
              <a:off x="2049197" y="208909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orme libre : forme 68">
              <a:extLst>
                <a:ext uri="{FF2B5EF4-FFF2-40B4-BE49-F238E27FC236}">
                  <a16:creationId xmlns:a16="http://schemas.microsoft.com/office/drawing/2014/main" id="{951597CD-8FD0-420C-8BE6-25D28A25DDE8}"/>
                </a:ext>
              </a:extLst>
            </p:cNvPr>
            <p:cNvSpPr/>
            <p:nvPr/>
          </p:nvSpPr>
          <p:spPr>
            <a:xfrm rot="8716295">
              <a:off x="1681033" y="21348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orme libre : forme 69">
              <a:extLst>
                <a:ext uri="{FF2B5EF4-FFF2-40B4-BE49-F238E27FC236}">
                  <a16:creationId xmlns:a16="http://schemas.microsoft.com/office/drawing/2014/main" id="{A7CD329F-8CED-4DA2-A304-EE2009E4062D}"/>
                </a:ext>
              </a:extLst>
            </p:cNvPr>
            <p:cNvSpPr/>
            <p:nvPr/>
          </p:nvSpPr>
          <p:spPr>
            <a:xfrm rot="8716295">
              <a:off x="1949615" y="189381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orme libre : forme 70">
              <a:extLst>
                <a:ext uri="{FF2B5EF4-FFF2-40B4-BE49-F238E27FC236}">
                  <a16:creationId xmlns:a16="http://schemas.microsoft.com/office/drawing/2014/main" id="{D4BADD55-B2B9-4053-A92A-A804648D0A9D}"/>
                </a:ext>
              </a:extLst>
            </p:cNvPr>
            <p:cNvSpPr/>
            <p:nvPr/>
          </p:nvSpPr>
          <p:spPr>
            <a:xfrm rot="8716295">
              <a:off x="787294" y="148117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orme libre : forme 71">
              <a:extLst>
                <a:ext uri="{FF2B5EF4-FFF2-40B4-BE49-F238E27FC236}">
                  <a16:creationId xmlns:a16="http://schemas.microsoft.com/office/drawing/2014/main" id="{313FE4B5-4E98-415B-AE99-26EEB0846C87}"/>
                </a:ext>
              </a:extLst>
            </p:cNvPr>
            <p:cNvSpPr/>
            <p:nvPr/>
          </p:nvSpPr>
          <p:spPr>
            <a:xfrm rot="8716295">
              <a:off x="922592" y="152543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orme libre : forme 72">
              <a:extLst>
                <a:ext uri="{FF2B5EF4-FFF2-40B4-BE49-F238E27FC236}">
                  <a16:creationId xmlns:a16="http://schemas.microsoft.com/office/drawing/2014/main" id="{2E069437-A0B3-49B8-BC79-1EE3FD296BEA}"/>
                </a:ext>
              </a:extLst>
            </p:cNvPr>
            <p:cNvSpPr/>
            <p:nvPr/>
          </p:nvSpPr>
          <p:spPr>
            <a:xfrm rot="8716295">
              <a:off x="854710" y="1394843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" name="Forme libre : forme 73">
              <a:extLst>
                <a:ext uri="{FF2B5EF4-FFF2-40B4-BE49-F238E27FC236}">
                  <a16:creationId xmlns:a16="http://schemas.microsoft.com/office/drawing/2014/main" id="{6B76B21D-C865-4228-A4DA-51B112FED31F}"/>
                </a:ext>
              </a:extLst>
            </p:cNvPr>
            <p:cNvSpPr/>
            <p:nvPr/>
          </p:nvSpPr>
          <p:spPr>
            <a:xfrm rot="8716295">
              <a:off x="617423" y="161518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" name="Forme libre : forme 74">
              <a:extLst>
                <a:ext uri="{FF2B5EF4-FFF2-40B4-BE49-F238E27FC236}">
                  <a16:creationId xmlns:a16="http://schemas.microsoft.com/office/drawing/2014/main" id="{9C509C7D-5C6F-42FB-9A15-E611792EFEA1}"/>
                </a:ext>
              </a:extLst>
            </p:cNvPr>
            <p:cNvSpPr/>
            <p:nvPr/>
          </p:nvSpPr>
          <p:spPr>
            <a:xfrm rot="8716295">
              <a:off x="428376" y="129935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" name="Forme libre : forme 75">
              <a:extLst>
                <a:ext uri="{FF2B5EF4-FFF2-40B4-BE49-F238E27FC236}">
                  <a16:creationId xmlns:a16="http://schemas.microsoft.com/office/drawing/2014/main" id="{25514701-F05E-45CE-9E8C-F263D950578E}"/>
                </a:ext>
              </a:extLst>
            </p:cNvPr>
            <p:cNvSpPr/>
            <p:nvPr/>
          </p:nvSpPr>
          <p:spPr>
            <a:xfrm rot="8716295">
              <a:off x="410135" y="1089302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" name="Forme libre : forme 76">
              <a:extLst>
                <a:ext uri="{FF2B5EF4-FFF2-40B4-BE49-F238E27FC236}">
                  <a16:creationId xmlns:a16="http://schemas.microsoft.com/office/drawing/2014/main" id="{4F1DD0BF-A36A-4AF7-BAF7-588D33FE30E2}"/>
                </a:ext>
              </a:extLst>
            </p:cNvPr>
            <p:cNvSpPr/>
            <p:nvPr/>
          </p:nvSpPr>
          <p:spPr>
            <a:xfrm rot="8716295">
              <a:off x="753911" y="1677170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" name="Forme libre : forme 77">
              <a:extLst>
                <a:ext uri="{FF2B5EF4-FFF2-40B4-BE49-F238E27FC236}">
                  <a16:creationId xmlns:a16="http://schemas.microsoft.com/office/drawing/2014/main" id="{86EB67B0-A057-4D07-8844-7A83556C99CC}"/>
                </a:ext>
              </a:extLst>
            </p:cNvPr>
            <p:cNvSpPr/>
            <p:nvPr/>
          </p:nvSpPr>
          <p:spPr>
            <a:xfrm rot="8716295">
              <a:off x="1224858" y="1102556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orme libre : forme 78">
              <a:extLst>
                <a:ext uri="{FF2B5EF4-FFF2-40B4-BE49-F238E27FC236}">
                  <a16:creationId xmlns:a16="http://schemas.microsoft.com/office/drawing/2014/main" id="{8B1E7611-C4A8-43A8-BF26-46C4341A14DB}"/>
                </a:ext>
              </a:extLst>
            </p:cNvPr>
            <p:cNvSpPr/>
            <p:nvPr/>
          </p:nvSpPr>
          <p:spPr>
            <a:xfrm rot="8716295">
              <a:off x="1360156" y="1146815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Forme libre : forme 79">
              <a:extLst>
                <a:ext uri="{FF2B5EF4-FFF2-40B4-BE49-F238E27FC236}">
                  <a16:creationId xmlns:a16="http://schemas.microsoft.com/office/drawing/2014/main" id="{BEBD671E-1FA5-4603-8F2B-FA9516AF8638}"/>
                </a:ext>
              </a:extLst>
            </p:cNvPr>
            <p:cNvSpPr/>
            <p:nvPr/>
          </p:nvSpPr>
          <p:spPr>
            <a:xfrm rot="8716295">
              <a:off x="1054986" y="123657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" name="Forme libre : forme 80">
              <a:extLst>
                <a:ext uri="{FF2B5EF4-FFF2-40B4-BE49-F238E27FC236}">
                  <a16:creationId xmlns:a16="http://schemas.microsoft.com/office/drawing/2014/main" id="{F6AD6C56-BF4C-4518-8F9A-D5095F4E40C8}"/>
                </a:ext>
              </a:extLst>
            </p:cNvPr>
            <p:cNvSpPr/>
            <p:nvPr/>
          </p:nvSpPr>
          <p:spPr>
            <a:xfrm rot="8716295">
              <a:off x="865942" y="92073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orme libre : forme 81">
              <a:extLst>
                <a:ext uri="{FF2B5EF4-FFF2-40B4-BE49-F238E27FC236}">
                  <a16:creationId xmlns:a16="http://schemas.microsoft.com/office/drawing/2014/main" id="{4181F286-2CA0-4AF5-9316-EE2B4FDBB08E}"/>
                </a:ext>
              </a:extLst>
            </p:cNvPr>
            <p:cNvSpPr/>
            <p:nvPr/>
          </p:nvSpPr>
          <p:spPr>
            <a:xfrm rot="8716295">
              <a:off x="1191475" y="1298554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Forme libre : forme 82">
              <a:extLst>
                <a:ext uri="{FF2B5EF4-FFF2-40B4-BE49-F238E27FC236}">
                  <a16:creationId xmlns:a16="http://schemas.microsoft.com/office/drawing/2014/main" id="{6E154404-167F-4146-9BEC-311C41267A4F}"/>
                </a:ext>
              </a:extLst>
            </p:cNvPr>
            <p:cNvSpPr/>
            <p:nvPr/>
          </p:nvSpPr>
          <p:spPr>
            <a:xfrm rot="8716295">
              <a:off x="826028" y="1072128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4" name="Forme libre : forme 83">
              <a:extLst>
                <a:ext uri="{FF2B5EF4-FFF2-40B4-BE49-F238E27FC236}">
                  <a16:creationId xmlns:a16="http://schemas.microsoft.com/office/drawing/2014/main" id="{E6806809-8D8F-4EE1-BB26-3F2C826B2E90}"/>
                </a:ext>
              </a:extLst>
            </p:cNvPr>
            <p:cNvSpPr/>
            <p:nvPr/>
          </p:nvSpPr>
          <p:spPr>
            <a:xfrm rot="7484129">
              <a:off x="1350292" y="158817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5" name="Forme libre : forme 84">
              <a:extLst>
                <a:ext uri="{FF2B5EF4-FFF2-40B4-BE49-F238E27FC236}">
                  <a16:creationId xmlns:a16="http://schemas.microsoft.com/office/drawing/2014/main" id="{8AA32DBC-713F-46C2-9609-C454BB2EBAAE}"/>
                </a:ext>
              </a:extLst>
            </p:cNvPr>
            <p:cNvSpPr/>
            <p:nvPr/>
          </p:nvSpPr>
          <p:spPr>
            <a:xfrm rot="13089394">
              <a:off x="1508942" y="1537520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6" name="Forme libre : forme 85">
              <a:extLst>
                <a:ext uri="{FF2B5EF4-FFF2-40B4-BE49-F238E27FC236}">
                  <a16:creationId xmlns:a16="http://schemas.microsoft.com/office/drawing/2014/main" id="{51EBFD3A-7611-46FF-AE7D-0AC9AF9511B5}"/>
                </a:ext>
              </a:extLst>
            </p:cNvPr>
            <p:cNvSpPr/>
            <p:nvPr/>
          </p:nvSpPr>
          <p:spPr>
            <a:xfrm rot="8716295">
              <a:off x="1789833" y="1247402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7" name="Forme libre : forme 86">
              <a:extLst>
                <a:ext uri="{FF2B5EF4-FFF2-40B4-BE49-F238E27FC236}">
                  <a16:creationId xmlns:a16="http://schemas.microsoft.com/office/drawing/2014/main" id="{7BC619E6-2AA2-4557-84AC-D6D182B996C5}"/>
                </a:ext>
              </a:extLst>
            </p:cNvPr>
            <p:cNvSpPr/>
            <p:nvPr/>
          </p:nvSpPr>
          <p:spPr>
            <a:xfrm rot="8716295">
              <a:off x="1711424" y="109061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8" name="Forme libre : forme 87">
              <a:extLst>
                <a:ext uri="{FF2B5EF4-FFF2-40B4-BE49-F238E27FC236}">
                  <a16:creationId xmlns:a16="http://schemas.microsoft.com/office/drawing/2014/main" id="{F81A7437-8336-4876-95A7-BD572FAED152}"/>
                </a:ext>
              </a:extLst>
            </p:cNvPr>
            <p:cNvSpPr/>
            <p:nvPr/>
          </p:nvSpPr>
          <p:spPr>
            <a:xfrm rot="8716295">
              <a:off x="1343261" y="113635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9" name="Forme libre : forme 88">
              <a:extLst>
                <a:ext uri="{FF2B5EF4-FFF2-40B4-BE49-F238E27FC236}">
                  <a16:creationId xmlns:a16="http://schemas.microsoft.com/office/drawing/2014/main" id="{B70DD9BD-1FC9-4B98-8769-B37CAAFCEC17}"/>
                </a:ext>
              </a:extLst>
            </p:cNvPr>
            <p:cNvSpPr/>
            <p:nvPr/>
          </p:nvSpPr>
          <p:spPr>
            <a:xfrm rot="8716295">
              <a:off x="1611842" y="89533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" name="Forme libre : forme 89">
              <a:extLst>
                <a:ext uri="{FF2B5EF4-FFF2-40B4-BE49-F238E27FC236}">
                  <a16:creationId xmlns:a16="http://schemas.microsoft.com/office/drawing/2014/main" id="{DC2940E5-7415-40BB-B706-4016B27C3DB2}"/>
                </a:ext>
              </a:extLst>
            </p:cNvPr>
            <p:cNvSpPr/>
            <p:nvPr/>
          </p:nvSpPr>
          <p:spPr>
            <a:xfrm rot="8716295">
              <a:off x="455920" y="47911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" name="Forme libre : forme 90">
              <a:extLst>
                <a:ext uri="{FF2B5EF4-FFF2-40B4-BE49-F238E27FC236}">
                  <a16:creationId xmlns:a16="http://schemas.microsoft.com/office/drawing/2014/main" id="{52585AAE-B2D0-438C-BC9F-C750F15F890C}"/>
                </a:ext>
              </a:extLst>
            </p:cNvPr>
            <p:cNvSpPr/>
            <p:nvPr/>
          </p:nvSpPr>
          <p:spPr>
            <a:xfrm rot="8716295">
              <a:off x="591219" y="52337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" name="Forme libre : forme 91">
              <a:extLst>
                <a:ext uri="{FF2B5EF4-FFF2-40B4-BE49-F238E27FC236}">
                  <a16:creationId xmlns:a16="http://schemas.microsoft.com/office/drawing/2014/main" id="{E63C71D8-D175-46A8-AA42-AB77BF57CFF3}"/>
                </a:ext>
              </a:extLst>
            </p:cNvPr>
            <p:cNvSpPr/>
            <p:nvPr/>
          </p:nvSpPr>
          <p:spPr>
            <a:xfrm rot="8716295">
              <a:off x="523336" y="39278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" name="Forme libre : forme 92">
              <a:extLst>
                <a:ext uri="{FF2B5EF4-FFF2-40B4-BE49-F238E27FC236}">
                  <a16:creationId xmlns:a16="http://schemas.microsoft.com/office/drawing/2014/main" id="{C200F3C8-A4FA-4E06-9F43-7329A49AF0A1}"/>
                </a:ext>
              </a:extLst>
            </p:cNvPr>
            <p:cNvSpPr/>
            <p:nvPr/>
          </p:nvSpPr>
          <p:spPr>
            <a:xfrm rot="8716295">
              <a:off x="286049" y="6131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" name="Forme libre : forme 93">
              <a:extLst>
                <a:ext uri="{FF2B5EF4-FFF2-40B4-BE49-F238E27FC236}">
                  <a16:creationId xmlns:a16="http://schemas.microsoft.com/office/drawing/2014/main" id="{154A22C5-EC1E-43BA-ACAF-79BC6F3D576D}"/>
                </a:ext>
              </a:extLst>
            </p:cNvPr>
            <p:cNvSpPr/>
            <p:nvPr/>
          </p:nvSpPr>
          <p:spPr>
            <a:xfrm rot="8716295">
              <a:off x="97003" y="2972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orme libre : forme 94">
              <a:extLst>
                <a:ext uri="{FF2B5EF4-FFF2-40B4-BE49-F238E27FC236}">
                  <a16:creationId xmlns:a16="http://schemas.microsoft.com/office/drawing/2014/main" id="{046AC798-93FA-43CE-B018-2724737AFAB7}"/>
                </a:ext>
              </a:extLst>
            </p:cNvPr>
            <p:cNvSpPr/>
            <p:nvPr/>
          </p:nvSpPr>
          <p:spPr>
            <a:xfrm rot="8716295">
              <a:off x="78761" y="87249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Forme libre : forme 95">
              <a:extLst>
                <a:ext uri="{FF2B5EF4-FFF2-40B4-BE49-F238E27FC236}">
                  <a16:creationId xmlns:a16="http://schemas.microsoft.com/office/drawing/2014/main" id="{7EB63D12-C97A-4806-9B7E-492DAF5A8D97}"/>
                </a:ext>
              </a:extLst>
            </p:cNvPr>
            <p:cNvSpPr/>
            <p:nvPr/>
          </p:nvSpPr>
          <p:spPr>
            <a:xfrm rot="8716295">
              <a:off x="422537" y="67511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" name="Forme libre : forme 96">
              <a:extLst>
                <a:ext uri="{FF2B5EF4-FFF2-40B4-BE49-F238E27FC236}">
                  <a16:creationId xmlns:a16="http://schemas.microsoft.com/office/drawing/2014/main" id="{1806B75B-8705-4074-AEFF-3715A3B4A58C}"/>
                </a:ext>
              </a:extLst>
            </p:cNvPr>
            <p:cNvSpPr/>
            <p:nvPr/>
          </p:nvSpPr>
          <p:spPr>
            <a:xfrm rot="8716295">
              <a:off x="893484" y="10050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" name="Forme libre : forme 97">
              <a:extLst>
                <a:ext uri="{FF2B5EF4-FFF2-40B4-BE49-F238E27FC236}">
                  <a16:creationId xmlns:a16="http://schemas.microsoft.com/office/drawing/2014/main" id="{AB690B93-68A6-412B-BE9D-7BF4A62DFBAE}"/>
                </a:ext>
              </a:extLst>
            </p:cNvPr>
            <p:cNvSpPr/>
            <p:nvPr/>
          </p:nvSpPr>
          <p:spPr>
            <a:xfrm rot="8716295">
              <a:off x="1028783" y="14476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" name="Forme libre : forme 98">
              <a:extLst>
                <a:ext uri="{FF2B5EF4-FFF2-40B4-BE49-F238E27FC236}">
                  <a16:creationId xmlns:a16="http://schemas.microsoft.com/office/drawing/2014/main" id="{CF4399C2-6A4B-4B09-A803-90528B9B6BB5}"/>
                </a:ext>
              </a:extLst>
            </p:cNvPr>
            <p:cNvSpPr/>
            <p:nvPr/>
          </p:nvSpPr>
          <p:spPr>
            <a:xfrm rot="8716295">
              <a:off x="723613" y="23451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orme libre : forme 99">
              <a:extLst>
                <a:ext uri="{FF2B5EF4-FFF2-40B4-BE49-F238E27FC236}">
                  <a16:creationId xmlns:a16="http://schemas.microsoft.com/office/drawing/2014/main" id="{244D8443-8208-40F5-B1CF-110ABB79D7E7}"/>
                </a:ext>
              </a:extLst>
            </p:cNvPr>
            <p:cNvSpPr/>
            <p:nvPr/>
          </p:nvSpPr>
          <p:spPr>
            <a:xfrm rot="8716295">
              <a:off x="547803" y="-17289"/>
              <a:ext cx="308531" cy="226033"/>
            </a:xfrm>
            <a:custGeom>
              <a:avLst/>
              <a:gdLst>
                <a:gd name="connsiteX0" fmla="*/ 106716 w 203847"/>
                <a:gd name="connsiteY0" fmla="*/ 149340 h 149340"/>
                <a:gd name="connsiteX1" fmla="*/ 50038 w 203847"/>
                <a:gd name="connsiteY1" fmla="*/ 110053 h 149340"/>
                <a:gd name="connsiteX2" fmla="*/ 69777 w 203847"/>
                <a:gd name="connsiteY2" fmla="*/ 55323 h 149340"/>
                <a:gd name="connsiteX3" fmla="*/ 0 w 203847"/>
                <a:gd name="connsiteY3" fmla="*/ 55323 h 149340"/>
                <a:gd name="connsiteX4" fmla="*/ 0 w 203847"/>
                <a:gd name="connsiteY4" fmla="*/ 0 h 149340"/>
                <a:gd name="connsiteX5" fmla="*/ 203847 w 203847"/>
                <a:gd name="connsiteY5" fmla="*/ 0 h 149340"/>
                <a:gd name="connsiteX6" fmla="*/ 203847 w 203847"/>
                <a:gd name="connsiteY6" fmla="*/ 55323 h 149340"/>
                <a:gd name="connsiteX7" fmla="*/ 139055 w 203847"/>
                <a:gd name="connsiteY7" fmla="*/ 55323 h 14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49340">
                  <a:moveTo>
                    <a:pt x="106716" y="149340"/>
                  </a:moveTo>
                  <a:lnTo>
                    <a:pt x="50038" y="110053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Forme libre : forme 100">
              <a:extLst>
                <a:ext uri="{FF2B5EF4-FFF2-40B4-BE49-F238E27FC236}">
                  <a16:creationId xmlns:a16="http://schemas.microsoft.com/office/drawing/2014/main" id="{1DC1AB77-DFBD-48D5-BA47-D445EDCA0CEF}"/>
                </a:ext>
              </a:extLst>
            </p:cNvPr>
            <p:cNvSpPr/>
            <p:nvPr/>
          </p:nvSpPr>
          <p:spPr>
            <a:xfrm rot="8716295">
              <a:off x="860101" y="29650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" name="Forme libre : forme 101">
              <a:extLst>
                <a:ext uri="{FF2B5EF4-FFF2-40B4-BE49-F238E27FC236}">
                  <a16:creationId xmlns:a16="http://schemas.microsoft.com/office/drawing/2014/main" id="{F59B8FC1-4AE7-4990-AF75-539F5B58458B}"/>
                </a:ext>
              </a:extLst>
            </p:cNvPr>
            <p:cNvSpPr/>
            <p:nvPr/>
          </p:nvSpPr>
          <p:spPr>
            <a:xfrm rot="8716295">
              <a:off x="494655" y="7007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" name="Forme libre : forme 102">
              <a:extLst>
                <a:ext uri="{FF2B5EF4-FFF2-40B4-BE49-F238E27FC236}">
                  <a16:creationId xmlns:a16="http://schemas.microsoft.com/office/drawing/2014/main" id="{868AEFC4-250F-471C-A43A-28F6923BB61D}"/>
                </a:ext>
              </a:extLst>
            </p:cNvPr>
            <p:cNvSpPr/>
            <p:nvPr/>
          </p:nvSpPr>
          <p:spPr>
            <a:xfrm rot="7484129">
              <a:off x="1018919" y="58611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" name="Forme libre : forme 103">
              <a:extLst>
                <a:ext uri="{FF2B5EF4-FFF2-40B4-BE49-F238E27FC236}">
                  <a16:creationId xmlns:a16="http://schemas.microsoft.com/office/drawing/2014/main" id="{7720FECD-8541-443F-AFBA-99868EB29B55}"/>
                </a:ext>
              </a:extLst>
            </p:cNvPr>
            <p:cNvSpPr/>
            <p:nvPr/>
          </p:nvSpPr>
          <p:spPr>
            <a:xfrm rot="13089394">
              <a:off x="1177568" y="53546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" name="Forme libre : forme 104">
              <a:extLst>
                <a:ext uri="{FF2B5EF4-FFF2-40B4-BE49-F238E27FC236}">
                  <a16:creationId xmlns:a16="http://schemas.microsoft.com/office/drawing/2014/main" id="{EC21D4C1-E07B-4E45-A18C-FDC88EB32F75}"/>
                </a:ext>
              </a:extLst>
            </p:cNvPr>
            <p:cNvSpPr/>
            <p:nvPr/>
          </p:nvSpPr>
          <p:spPr>
            <a:xfrm rot="8716295">
              <a:off x="1458459" y="24534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" name="Forme libre : forme 105">
              <a:extLst>
                <a:ext uri="{FF2B5EF4-FFF2-40B4-BE49-F238E27FC236}">
                  <a16:creationId xmlns:a16="http://schemas.microsoft.com/office/drawing/2014/main" id="{F27332C2-A714-4595-B5C0-9F2B9BA6FD2B}"/>
                </a:ext>
              </a:extLst>
            </p:cNvPr>
            <p:cNvSpPr/>
            <p:nvPr/>
          </p:nvSpPr>
          <p:spPr>
            <a:xfrm rot="8716295">
              <a:off x="1380050" y="8855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" name="Forme libre : forme 106">
              <a:extLst>
                <a:ext uri="{FF2B5EF4-FFF2-40B4-BE49-F238E27FC236}">
                  <a16:creationId xmlns:a16="http://schemas.microsoft.com/office/drawing/2014/main" id="{674A78BA-4944-4138-B4F5-A2FBC8048D50}"/>
                </a:ext>
              </a:extLst>
            </p:cNvPr>
            <p:cNvSpPr/>
            <p:nvPr/>
          </p:nvSpPr>
          <p:spPr>
            <a:xfrm rot="8716295">
              <a:off x="1011887" y="13429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" name="Forme libre : forme 107">
              <a:extLst>
                <a:ext uri="{FF2B5EF4-FFF2-40B4-BE49-F238E27FC236}">
                  <a16:creationId xmlns:a16="http://schemas.microsoft.com/office/drawing/2014/main" id="{7D76DD03-F270-4ACF-B774-06410BC28EE6}"/>
                </a:ext>
              </a:extLst>
            </p:cNvPr>
            <p:cNvSpPr/>
            <p:nvPr/>
          </p:nvSpPr>
          <p:spPr>
            <a:xfrm rot="8716295">
              <a:off x="1291652" y="-36449"/>
              <a:ext cx="134197" cy="106947"/>
            </a:xfrm>
            <a:custGeom>
              <a:avLst/>
              <a:gdLst>
                <a:gd name="connsiteX0" fmla="*/ 83649 w 88664"/>
                <a:gd name="connsiteY0" fmla="*/ 70660 h 70660"/>
                <a:gd name="connsiteX1" fmla="*/ 0 w 88664"/>
                <a:gd name="connsiteY1" fmla="*/ 12677 h 70660"/>
                <a:gd name="connsiteX2" fmla="*/ 30024 w 88664"/>
                <a:gd name="connsiteY2" fmla="*/ 0 h 70660"/>
                <a:gd name="connsiteX3" fmla="*/ 71417 w 88664"/>
                <a:gd name="connsiteY3" fmla="*/ 17477 h 70660"/>
                <a:gd name="connsiteX4" fmla="*/ 88664 w 88664"/>
                <a:gd name="connsiteY4" fmla="*/ 58525 h 70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664" h="70660">
                  <a:moveTo>
                    <a:pt x="83649" y="70660"/>
                  </a:moveTo>
                  <a:lnTo>
                    <a:pt x="0" y="12677"/>
                  </a:lnTo>
                  <a:lnTo>
                    <a:pt x="30024" y="0"/>
                  </a:lnTo>
                  <a:cubicBezTo>
                    <a:pt x="45662" y="0"/>
                    <a:pt x="60379" y="6439"/>
                    <a:pt x="71417" y="17477"/>
                  </a:cubicBezTo>
                  <a:cubicBezTo>
                    <a:pt x="82915" y="28515"/>
                    <a:pt x="88664" y="43462"/>
                    <a:pt x="88664" y="58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" name="Forme libre : forme 108">
              <a:extLst>
                <a:ext uri="{FF2B5EF4-FFF2-40B4-BE49-F238E27FC236}">
                  <a16:creationId xmlns:a16="http://schemas.microsoft.com/office/drawing/2014/main" id="{3E28A378-29F9-4E63-8D2F-7910EE2CA370}"/>
                </a:ext>
              </a:extLst>
            </p:cNvPr>
            <p:cNvSpPr/>
            <p:nvPr/>
          </p:nvSpPr>
          <p:spPr>
            <a:xfrm rot="13089394">
              <a:off x="990163" y="-39748"/>
              <a:ext cx="111277" cy="115595"/>
            </a:xfrm>
            <a:custGeom>
              <a:avLst/>
              <a:gdLst>
                <a:gd name="connsiteX0" fmla="*/ 73521 w 73521"/>
                <a:gd name="connsiteY0" fmla="*/ 18609 h 76374"/>
                <a:gd name="connsiteX1" fmla="*/ 0 w 73521"/>
                <a:gd name="connsiteY1" fmla="*/ 76374 h 76374"/>
                <a:gd name="connsiteX2" fmla="*/ 0 w 73521"/>
                <a:gd name="connsiteY2" fmla="*/ 38074 h 76374"/>
                <a:gd name="connsiteX3" fmla="*/ 73388 w 73521"/>
                <a:gd name="connsiteY3" fmla="*/ 0 h 7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521" h="76374">
                  <a:moveTo>
                    <a:pt x="73521" y="18609"/>
                  </a:moveTo>
                  <a:lnTo>
                    <a:pt x="0" y="76374"/>
                  </a:lnTo>
                  <a:lnTo>
                    <a:pt x="0" y="38074"/>
                  </a:lnTo>
                  <a:lnTo>
                    <a:pt x="7338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" name="Forme libre : forme 109">
              <a:extLst>
                <a:ext uri="{FF2B5EF4-FFF2-40B4-BE49-F238E27FC236}">
                  <a16:creationId xmlns:a16="http://schemas.microsoft.com/office/drawing/2014/main" id="{F1CC83E5-A4EB-42DD-9A17-370BFA21AAE9}"/>
                </a:ext>
              </a:extLst>
            </p:cNvPr>
            <p:cNvSpPr/>
            <p:nvPr/>
          </p:nvSpPr>
          <p:spPr>
            <a:xfrm rot="8716295">
              <a:off x="121288" y="414134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" name="Forme libre : forme 110">
              <a:extLst>
                <a:ext uri="{FF2B5EF4-FFF2-40B4-BE49-F238E27FC236}">
                  <a16:creationId xmlns:a16="http://schemas.microsoft.com/office/drawing/2014/main" id="{9526DB8B-159A-416E-9CE4-0D6F2D18F32F}"/>
                </a:ext>
              </a:extLst>
            </p:cNvPr>
            <p:cNvSpPr/>
            <p:nvPr/>
          </p:nvSpPr>
          <p:spPr>
            <a:xfrm rot="8716295">
              <a:off x="256586" y="418560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" name="Forme libre : forme 111">
              <a:extLst>
                <a:ext uri="{FF2B5EF4-FFF2-40B4-BE49-F238E27FC236}">
                  <a16:creationId xmlns:a16="http://schemas.microsoft.com/office/drawing/2014/main" id="{8B12B296-AAE6-463A-B5CB-324F979AE957}"/>
                </a:ext>
              </a:extLst>
            </p:cNvPr>
            <p:cNvSpPr/>
            <p:nvPr/>
          </p:nvSpPr>
          <p:spPr>
            <a:xfrm rot="8716295">
              <a:off x="188704" y="405501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" name="Forme libre : forme 112">
              <a:extLst>
                <a:ext uri="{FF2B5EF4-FFF2-40B4-BE49-F238E27FC236}">
                  <a16:creationId xmlns:a16="http://schemas.microsoft.com/office/drawing/2014/main" id="{9A3F4C45-E84E-45F4-A1D8-E67A24057076}"/>
                </a:ext>
              </a:extLst>
            </p:cNvPr>
            <p:cNvSpPr/>
            <p:nvPr/>
          </p:nvSpPr>
          <p:spPr>
            <a:xfrm rot="8716295">
              <a:off x="-22408" y="4278013"/>
              <a:ext cx="57413" cy="71926"/>
            </a:xfrm>
            <a:custGeom>
              <a:avLst/>
              <a:gdLst>
                <a:gd name="connsiteX0" fmla="*/ 11441 w 57413"/>
                <a:gd name="connsiteY0" fmla="*/ 71926 h 71926"/>
                <a:gd name="connsiteX1" fmla="*/ 0 w 57413"/>
                <a:gd name="connsiteY1" fmla="*/ 44829 h 71926"/>
                <a:gd name="connsiteX2" fmla="*/ 0 w 57413"/>
                <a:gd name="connsiteY2" fmla="*/ 44139 h 71926"/>
                <a:gd name="connsiteX3" fmla="*/ 13104 w 57413"/>
                <a:gd name="connsiteY3" fmla="*/ 13104 h 71926"/>
                <a:gd name="connsiteX4" fmla="*/ 44139 w 57413"/>
                <a:gd name="connsiteY4" fmla="*/ 0 h 71926"/>
                <a:gd name="connsiteX5" fmla="*/ 57413 w 57413"/>
                <a:gd name="connsiteY5" fmla="*/ 5605 h 71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413" h="71926">
                  <a:moveTo>
                    <a:pt x="11441" y="71926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lnTo>
                    <a:pt x="57413" y="5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" name="Forme libre : forme 113">
              <a:extLst>
                <a:ext uri="{FF2B5EF4-FFF2-40B4-BE49-F238E27FC236}">
                  <a16:creationId xmlns:a16="http://schemas.microsoft.com/office/drawing/2014/main" id="{9EDF78AD-4158-4BDF-B490-2317803ACA6E}"/>
                </a:ext>
              </a:extLst>
            </p:cNvPr>
            <p:cNvSpPr/>
            <p:nvPr/>
          </p:nvSpPr>
          <p:spPr>
            <a:xfrm rot="8716295">
              <a:off x="-36969" y="4107248"/>
              <a:ext cx="147272" cy="83734"/>
            </a:xfrm>
            <a:custGeom>
              <a:avLst/>
              <a:gdLst>
                <a:gd name="connsiteX0" fmla="*/ 0 w 147272"/>
                <a:gd name="connsiteY0" fmla="*/ 83734 h 83734"/>
                <a:gd name="connsiteX1" fmla="*/ 0 w 147272"/>
                <a:gd name="connsiteY1" fmla="*/ 0 h 83734"/>
                <a:gd name="connsiteX2" fmla="*/ 147272 w 147272"/>
                <a:gd name="connsiteY2" fmla="*/ 0 h 83734"/>
                <a:gd name="connsiteX3" fmla="*/ 89230 w 147272"/>
                <a:gd name="connsiteY3" fmla="*/ 83734 h 83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272" h="83734">
                  <a:moveTo>
                    <a:pt x="0" y="83734"/>
                  </a:moveTo>
                  <a:lnTo>
                    <a:pt x="0" y="0"/>
                  </a:lnTo>
                  <a:lnTo>
                    <a:pt x="147272" y="0"/>
                  </a:lnTo>
                  <a:lnTo>
                    <a:pt x="89230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" name="Forme libre : forme 114">
              <a:extLst>
                <a:ext uri="{FF2B5EF4-FFF2-40B4-BE49-F238E27FC236}">
                  <a16:creationId xmlns:a16="http://schemas.microsoft.com/office/drawing/2014/main" id="{18A6ED0C-2A06-421B-B360-5120C1917E60}"/>
                </a:ext>
              </a:extLst>
            </p:cNvPr>
            <p:cNvSpPr/>
            <p:nvPr/>
          </p:nvSpPr>
          <p:spPr>
            <a:xfrm rot="8716295">
              <a:off x="43378" y="3712531"/>
              <a:ext cx="125537" cy="468763"/>
            </a:xfrm>
            <a:custGeom>
              <a:avLst/>
              <a:gdLst>
                <a:gd name="connsiteX0" fmla="*/ 29455 w 125537"/>
                <a:gd name="connsiteY0" fmla="*/ 468763 h 468763"/>
                <a:gd name="connsiteX1" fmla="*/ 7792 w 125537"/>
                <a:gd name="connsiteY1" fmla="*/ 425988 h 468763"/>
                <a:gd name="connsiteX2" fmla="*/ 0 w 125537"/>
                <a:gd name="connsiteY2" fmla="*/ 333043 h 468763"/>
                <a:gd name="connsiteX3" fmla="*/ 0 w 125537"/>
                <a:gd name="connsiteY3" fmla="*/ 61444 h 468763"/>
                <a:gd name="connsiteX4" fmla="*/ 118434 w 125537"/>
                <a:gd name="connsiteY4" fmla="*/ 0 h 468763"/>
                <a:gd name="connsiteX5" fmla="*/ 120216 w 125537"/>
                <a:gd name="connsiteY5" fmla="*/ 248447 h 468763"/>
                <a:gd name="connsiteX6" fmla="*/ 123889 w 125537"/>
                <a:gd name="connsiteY6" fmla="*/ 323359 h 468763"/>
                <a:gd name="connsiteX7" fmla="*/ 125537 w 125537"/>
                <a:gd name="connsiteY7" fmla="*/ 330150 h 468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537" h="468763">
                  <a:moveTo>
                    <a:pt x="29455" y="468763"/>
                  </a:moveTo>
                  <a:lnTo>
                    <a:pt x="7792" y="425988"/>
                  </a:lnTo>
                  <a:cubicBezTo>
                    <a:pt x="2003" y="400498"/>
                    <a:pt x="0" y="369553"/>
                    <a:pt x="0" y="333043"/>
                  </a:cubicBezTo>
                  <a:lnTo>
                    <a:pt x="0" y="61444"/>
                  </a:lnTo>
                  <a:lnTo>
                    <a:pt x="118434" y="0"/>
                  </a:lnTo>
                  <a:lnTo>
                    <a:pt x="120216" y="248447"/>
                  </a:lnTo>
                  <a:cubicBezTo>
                    <a:pt x="118880" y="273381"/>
                    <a:pt x="120216" y="298537"/>
                    <a:pt x="123889" y="323359"/>
                  </a:cubicBezTo>
                  <a:lnTo>
                    <a:pt x="125537" y="3301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" name="Forme libre : forme 115">
              <a:extLst>
                <a:ext uri="{FF2B5EF4-FFF2-40B4-BE49-F238E27FC236}">
                  <a16:creationId xmlns:a16="http://schemas.microsoft.com/office/drawing/2014/main" id="{E0FDC8EF-8848-4C0A-9102-11E05499477A}"/>
                </a:ext>
              </a:extLst>
            </p:cNvPr>
            <p:cNvSpPr/>
            <p:nvPr/>
          </p:nvSpPr>
          <p:spPr>
            <a:xfrm rot="8716295">
              <a:off x="87905" y="4337347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" name="Forme libre : forme 116">
              <a:extLst>
                <a:ext uri="{FF2B5EF4-FFF2-40B4-BE49-F238E27FC236}">
                  <a16:creationId xmlns:a16="http://schemas.microsoft.com/office/drawing/2014/main" id="{5A06B087-2ED7-4364-B770-117460F6509C}"/>
                </a:ext>
              </a:extLst>
            </p:cNvPr>
            <p:cNvSpPr/>
            <p:nvPr/>
          </p:nvSpPr>
          <p:spPr>
            <a:xfrm rot="8716295">
              <a:off x="558851" y="376273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" name="Forme libre : forme 117">
              <a:extLst>
                <a:ext uri="{FF2B5EF4-FFF2-40B4-BE49-F238E27FC236}">
                  <a16:creationId xmlns:a16="http://schemas.microsoft.com/office/drawing/2014/main" id="{A9CE4EB9-9050-492E-8BE3-E347F06FFDC2}"/>
                </a:ext>
              </a:extLst>
            </p:cNvPr>
            <p:cNvSpPr/>
            <p:nvPr/>
          </p:nvSpPr>
          <p:spPr>
            <a:xfrm rot="8716295">
              <a:off x="694150" y="380699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" name="Forme libre : forme 118">
              <a:extLst>
                <a:ext uri="{FF2B5EF4-FFF2-40B4-BE49-F238E27FC236}">
                  <a16:creationId xmlns:a16="http://schemas.microsoft.com/office/drawing/2014/main" id="{760AB253-194C-499B-8D42-794DA9755956}"/>
                </a:ext>
              </a:extLst>
            </p:cNvPr>
            <p:cNvSpPr/>
            <p:nvPr/>
          </p:nvSpPr>
          <p:spPr>
            <a:xfrm rot="8716295">
              <a:off x="388980" y="389674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" name="Forme libre : forme 119">
              <a:extLst>
                <a:ext uri="{FF2B5EF4-FFF2-40B4-BE49-F238E27FC236}">
                  <a16:creationId xmlns:a16="http://schemas.microsoft.com/office/drawing/2014/main" id="{40898D3E-1FCF-4F50-8E01-1AFEA6AF3C33}"/>
                </a:ext>
              </a:extLst>
            </p:cNvPr>
            <p:cNvSpPr/>
            <p:nvPr/>
          </p:nvSpPr>
          <p:spPr>
            <a:xfrm rot="8716295">
              <a:off x="199936" y="358091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" name="Forme libre : forme 120">
              <a:extLst>
                <a:ext uri="{FF2B5EF4-FFF2-40B4-BE49-F238E27FC236}">
                  <a16:creationId xmlns:a16="http://schemas.microsoft.com/office/drawing/2014/main" id="{D3FAD429-F566-4023-B7BD-D5217FAA5D96}"/>
                </a:ext>
              </a:extLst>
            </p:cNvPr>
            <p:cNvSpPr/>
            <p:nvPr/>
          </p:nvSpPr>
          <p:spPr>
            <a:xfrm rot="8716295">
              <a:off x="525469" y="3958731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" name="Forme libre : forme 121">
              <a:extLst>
                <a:ext uri="{FF2B5EF4-FFF2-40B4-BE49-F238E27FC236}">
                  <a16:creationId xmlns:a16="http://schemas.microsoft.com/office/drawing/2014/main" id="{D20A67B5-6AA2-4AB0-B207-C07057BDE093}"/>
                </a:ext>
              </a:extLst>
            </p:cNvPr>
            <p:cNvSpPr/>
            <p:nvPr/>
          </p:nvSpPr>
          <p:spPr>
            <a:xfrm rot="8716295">
              <a:off x="160022" y="3732305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" name="Forme libre : forme 122">
              <a:extLst>
                <a:ext uri="{FF2B5EF4-FFF2-40B4-BE49-F238E27FC236}">
                  <a16:creationId xmlns:a16="http://schemas.microsoft.com/office/drawing/2014/main" id="{91FEBD80-6813-4F8F-ACF7-9087BB051204}"/>
                </a:ext>
              </a:extLst>
            </p:cNvPr>
            <p:cNvSpPr/>
            <p:nvPr/>
          </p:nvSpPr>
          <p:spPr>
            <a:xfrm rot="7484129">
              <a:off x="684286" y="424834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" name="Forme libre : forme 123">
              <a:extLst>
                <a:ext uri="{FF2B5EF4-FFF2-40B4-BE49-F238E27FC236}">
                  <a16:creationId xmlns:a16="http://schemas.microsoft.com/office/drawing/2014/main" id="{4CAAD98F-1BEB-4716-B4A0-F4F1C4393647}"/>
                </a:ext>
              </a:extLst>
            </p:cNvPr>
            <p:cNvSpPr/>
            <p:nvPr/>
          </p:nvSpPr>
          <p:spPr>
            <a:xfrm rot="13089394">
              <a:off x="842936" y="4197697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" name="Forme libre : forme 124">
              <a:extLst>
                <a:ext uri="{FF2B5EF4-FFF2-40B4-BE49-F238E27FC236}">
                  <a16:creationId xmlns:a16="http://schemas.microsoft.com/office/drawing/2014/main" id="{B934D86F-56B5-4940-9189-1F845F67AF3D}"/>
                </a:ext>
              </a:extLst>
            </p:cNvPr>
            <p:cNvSpPr/>
            <p:nvPr/>
          </p:nvSpPr>
          <p:spPr>
            <a:xfrm rot="8716295">
              <a:off x="1123827" y="390757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" name="Forme libre : forme 125">
              <a:extLst>
                <a:ext uri="{FF2B5EF4-FFF2-40B4-BE49-F238E27FC236}">
                  <a16:creationId xmlns:a16="http://schemas.microsoft.com/office/drawing/2014/main" id="{0BB740E0-5261-47F5-A043-EC9887338951}"/>
                </a:ext>
              </a:extLst>
            </p:cNvPr>
            <p:cNvSpPr/>
            <p:nvPr/>
          </p:nvSpPr>
          <p:spPr>
            <a:xfrm rot="8716295">
              <a:off x="1045418" y="375078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" name="Forme libre : forme 126">
              <a:extLst>
                <a:ext uri="{FF2B5EF4-FFF2-40B4-BE49-F238E27FC236}">
                  <a16:creationId xmlns:a16="http://schemas.microsoft.com/office/drawing/2014/main" id="{07B02AA0-438E-4A9F-9E86-C7798EAE77E1}"/>
                </a:ext>
              </a:extLst>
            </p:cNvPr>
            <p:cNvSpPr/>
            <p:nvPr/>
          </p:nvSpPr>
          <p:spPr>
            <a:xfrm rot="8716295">
              <a:off x="677254" y="379652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" name="Forme libre : forme 127">
              <a:extLst>
                <a:ext uri="{FF2B5EF4-FFF2-40B4-BE49-F238E27FC236}">
                  <a16:creationId xmlns:a16="http://schemas.microsoft.com/office/drawing/2014/main" id="{500903EF-2A49-42E8-AD78-049F43A296FF}"/>
                </a:ext>
              </a:extLst>
            </p:cNvPr>
            <p:cNvSpPr/>
            <p:nvPr/>
          </p:nvSpPr>
          <p:spPr>
            <a:xfrm rot="8716295">
              <a:off x="945836" y="355550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" name="Forme libre : forme 128">
              <a:extLst>
                <a:ext uri="{FF2B5EF4-FFF2-40B4-BE49-F238E27FC236}">
                  <a16:creationId xmlns:a16="http://schemas.microsoft.com/office/drawing/2014/main" id="{480AF78A-BA1A-4D97-9E00-1B9DCCFB07D3}"/>
                </a:ext>
              </a:extLst>
            </p:cNvPr>
            <p:cNvSpPr/>
            <p:nvPr/>
          </p:nvSpPr>
          <p:spPr>
            <a:xfrm rot="8716295">
              <a:off x="601570" y="5027951"/>
              <a:ext cx="169680" cy="113030"/>
            </a:xfrm>
            <a:custGeom>
              <a:avLst/>
              <a:gdLst>
                <a:gd name="connsiteX0" fmla="*/ 8965 w 169680"/>
                <a:gd name="connsiteY0" fmla="*/ 113030 h 113030"/>
                <a:gd name="connsiteX1" fmla="*/ 0 w 169680"/>
                <a:gd name="connsiteY1" fmla="*/ 100616 h 113030"/>
                <a:gd name="connsiteX2" fmla="*/ 106933 w 169680"/>
                <a:gd name="connsiteY2" fmla="*/ 0 h 113030"/>
                <a:gd name="connsiteX3" fmla="*/ 169680 w 169680"/>
                <a:gd name="connsiteY3" fmla="*/ 43494 h 113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680" h="113030">
                  <a:moveTo>
                    <a:pt x="8965" y="113030"/>
                  </a:moveTo>
                  <a:lnTo>
                    <a:pt x="0" y="100616"/>
                  </a:lnTo>
                  <a:lnTo>
                    <a:pt x="106933" y="0"/>
                  </a:lnTo>
                  <a:lnTo>
                    <a:pt x="169680" y="434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" name="Forme libre : forme 129">
              <a:extLst>
                <a:ext uri="{FF2B5EF4-FFF2-40B4-BE49-F238E27FC236}">
                  <a16:creationId xmlns:a16="http://schemas.microsoft.com/office/drawing/2014/main" id="{EE8617F6-3CC3-49C7-A836-7CB9E4E540AD}"/>
                </a:ext>
              </a:extLst>
            </p:cNvPr>
            <p:cNvSpPr/>
            <p:nvPr/>
          </p:nvSpPr>
          <p:spPr>
            <a:xfrm rot="8716295">
              <a:off x="197311" y="4925365"/>
              <a:ext cx="194366" cy="296463"/>
            </a:xfrm>
            <a:custGeom>
              <a:avLst/>
              <a:gdLst>
                <a:gd name="connsiteX0" fmla="*/ 137293 w 194366"/>
                <a:gd name="connsiteY0" fmla="*/ 296463 h 296463"/>
                <a:gd name="connsiteX1" fmla="*/ 72418 w 194366"/>
                <a:gd name="connsiteY1" fmla="*/ 175766 h 296463"/>
                <a:gd name="connsiteX2" fmla="*/ 105610 w 194366"/>
                <a:gd name="connsiteY2" fmla="*/ 83734 h 296463"/>
                <a:gd name="connsiteX3" fmla="*/ 0 w 194366"/>
                <a:gd name="connsiteY3" fmla="*/ 83734 h 296463"/>
                <a:gd name="connsiteX4" fmla="*/ 0 w 194366"/>
                <a:gd name="connsiteY4" fmla="*/ 0 h 296463"/>
                <a:gd name="connsiteX5" fmla="*/ 6043 w 194366"/>
                <a:gd name="connsiteY5" fmla="*/ 0 h 296463"/>
                <a:gd name="connsiteX6" fmla="*/ 194366 w 194366"/>
                <a:gd name="connsiteY6" fmla="*/ 130539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4366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6043" y="0"/>
                  </a:lnTo>
                  <a:lnTo>
                    <a:pt x="194366" y="1305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" name="Forme libre : forme 130">
              <a:extLst>
                <a:ext uri="{FF2B5EF4-FFF2-40B4-BE49-F238E27FC236}">
                  <a16:creationId xmlns:a16="http://schemas.microsoft.com/office/drawing/2014/main" id="{7A3770F8-0F14-4D5B-BC93-8BDF0237ED5F}"/>
                </a:ext>
              </a:extLst>
            </p:cNvPr>
            <p:cNvSpPr/>
            <p:nvPr/>
          </p:nvSpPr>
          <p:spPr>
            <a:xfrm rot="8716295">
              <a:off x="81902" y="4747962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" name="Forme libre : forme 131">
              <a:extLst>
                <a:ext uri="{FF2B5EF4-FFF2-40B4-BE49-F238E27FC236}">
                  <a16:creationId xmlns:a16="http://schemas.microsoft.com/office/drawing/2014/main" id="{6F3531E0-325E-4C4E-9F22-978D3BA0B1C2}"/>
                </a:ext>
              </a:extLst>
            </p:cNvPr>
            <p:cNvSpPr/>
            <p:nvPr/>
          </p:nvSpPr>
          <p:spPr>
            <a:xfrm rot="8716295">
              <a:off x="896624" y="4761216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" name="Forme libre : forme 132">
              <a:extLst>
                <a:ext uri="{FF2B5EF4-FFF2-40B4-BE49-F238E27FC236}">
                  <a16:creationId xmlns:a16="http://schemas.microsoft.com/office/drawing/2014/main" id="{0B981DC2-26C2-44B6-A24A-4014CF42843D}"/>
                </a:ext>
              </a:extLst>
            </p:cNvPr>
            <p:cNvSpPr/>
            <p:nvPr/>
          </p:nvSpPr>
          <p:spPr>
            <a:xfrm rot="8716295">
              <a:off x="1032483" y="4799006"/>
              <a:ext cx="389853" cy="383455"/>
            </a:xfrm>
            <a:custGeom>
              <a:avLst/>
              <a:gdLst>
                <a:gd name="connsiteX0" fmla="*/ 77932 w 389853"/>
                <a:gd name="connsiteY0" fmla="*/ 383455 h 383455"/>
                <a:gd name="connsiteX1" fmla="*/ 77932 w 389853"/>
                <a:gd name="connsiteY1" fmla="*/ 66898 h 383455"/>
                <a:gd name="connsiteX2" fmla="*/ 0 w 389853"/>
                <a:gd name="connsiteY2" fmla="*/ 66898 h 383455"/>
                <a:gd name="connsiteX3" fmla="*/ 0 w 389853"/>
                <a:gd name="connsiteY3" fmla="*/ 0 h 383455"/>
                <a:gd name="connsiteX4" fmla="*/ 158623 w 389853"/>
                <a:gd name="connsiteY4" fmla="*/ 0 h 383455"/>
                <a:gd name="connsiteX5" fmla="*/ 158623 w 389853"/>
                <a:gd name="connsiteY5" fmla="*/ 111726 h 383455"/>
                <a:gd name="connsiteX6" fmla="*/ 160692 w 389853"/>
                <a:gd name="connsiteY6" fmla="*/ 111726 h 383455"/>
                <a:gd name="connsiteX7" fmla="*/ 192762 w 389853"/>
                <a:gd name="connsiteY7" fmla="*/ 39914 h 383455"/>
                <a:gd name="connsiteX8" fmla="*/ 216292 w 389853"/>
                <a:gd name="connsiteY8" fmla="*/ 20658 h 383455"/>
                <a:gd name="connsiteX9" fmla="*/ 389853 w 389853"/>
                <a:gd name="connsiteY9" fmla="*/ 140965 h 383455"/>
                <a:gd name="connsiteX10" fmla="*/ 300695 w 389853"/>
                <a:gd name="connsiteY10" fmla="*/ 146210 h 383455"/>
                <a:gd name="connsiteX11" fmla="*/ 300694 w 389853"/>
                <a:gd name="connsiteY11" fmla="*/ 121382 h 383455"/>
                <a:gd name="connsiteX12" fmla="*/ 249659 w 389853"/>
                <a:gd name="connsiteY12" fmla="*/ 58622 h 383455"/>
                <a:gd name="connsiteX13" fmla="*/ 168969 w 389853"/>
                <a:gd name="connsiteY13" fmla="*/ 191038 h 383455"/>
                <a:gd name="connsiteX14" fmla="*/ 168969 w 389853"/>
                <a:gd name="connsiteY14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9853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71727" y="78967"/>
                    <a:pt x="181555" y="56208"/>
                    <a:pt x="192762" y="39914"/>
                  </a:cubicBezTo>
                  <a:lnTo>
                    <a:pt x="216292" y="20658"/>
                  </a:lnTo>
                  <a:lnTo>
                    <a:pt x="389853" y="140965"/>
                  </a:lnTo>
                  <a:lnTo>
                    <a:pt x="300695" y="146210"/>
                  </a:lnTo>
                  <a:lnTo>
                    <a:pt x="300694" y="121382"/>
                  </a:lnTo>
                  <a:cubicBezTo>
                    <a:pt x="300695" y="84140"/>
                    <a:pt x="279315" y="58621"/>
                    <a:pt x="249659" y="58622"/>
                  </a:cubicBezTo>
                  <a:cubicBezTo>
                    <a:pt x="205521" y="58621"/>
                    <a:pt x="168969" y="117244"/>
                    <a:pt x="168969" y="191038"/>
                  </a:cubicBez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" name="Forme libre : forme 133">
              <a:extLst>
                <a:ext uri="{FF2B5EF4-FFF2-40B4-BE49-F238E27FC236}">
                  <a16:creationId xmlns:a16="http://schemas.microsoft.com/office/drawing/2014/main" id="{A3972FDD-BF94-4723-9E5F-9672CBFB9038}"/>
                </a:ext>
              </a:extLst>
            </p:cNvPr>
            <p:cNvSpPr/>
            <p:nvPr/>
          </p:nvSpPr>
          <p:spPr>
            <a:xfrm rot="8716295">
              <a:off x="726753" y="489523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" name="Forme libre : forme 134">
              <a:extLst>
                <a:ext uri="{FF2B5EF4-FFF2-40B4-BE49-F238E27FC236}">
                  <a16:creationId xmlns:a16="http://schemas.microsoft.com/office/drawing/2014/main" id="{53E7288B-8855-433D-88B5-BB9A05F8E9B6}"/>
                </a:ext>
              </a:extLst>
            </p:cNvPr>
            <p:cNvSpPr/>
            <p:nvPr/>
          </p:nvSpPr>
          <p:spPr>
            <a:xfrm rot="8716295">
              <a:off x="537709" y="457939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" name="Forme libre : forme 135">
              <a:extLst>
                <a:ext uri="{FF2B5EF4-FFF2-40B4-BE49-F238E27FC236}">
                  <a16:creationId xmlns:a16="http://schemas.microsoft.com/office/drawing/2014/main" id="{6D0BADDB-ADF9-4A5A-9268-3F374A71F372}"/>
                </a:ext>
              </a:extLst>
            </p:cNvPr>
            <p:cNvSpPr/>
            <p:nvPr/>
          </p:nvSpPr>
          <p:spPr>
            <a:xfrm rot="8716295">
              <a:off x="826576" y="4988476"/>
              <a:ext cx="91035" cy="198648"/>
            </a:xfrm>
            <a:custGeom>
              <a:avLst/>
              <a:gdLst>
                <a:gd name="connsiteX0" fmla="*/ 91035 w 91035"/>
                <a:gd name="connsiteY0" fmla="*/ 198648 h 198648"/>
                <a:gd name="connsiteX1" fmla="*/ 0 w 91035"/>
                <a:gd name="connsiteY1" fmla="*/ 111060 h 198648"/>
                <a:gd name="connsiteX2" fmla="*/ 0 w 91035"/>
                <a:gd name="connsiteY2" fmla="*/ 0 h 198648"/>
                <a:gd name="connsiteX3" fmla="*/ 91035 w 91035"/>
                <a:gd name="connsiteY3" fmla="*/ 63103 h 198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198648">
                  <a:moveTo>
                    <a:pt x="91035" y="198648"/>
                  </a:moveTo>
                  <a:lnTo>
                    <a:pt x="0" y="111060"/>
                  </a:lnTo>
                  <a:lnTo>
                    <a:pt x="0" y="0"/>
                  </a:lnTo>
                  <a:lnTo>
                    <a:pt x="91035" y="631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" name="Forme libre : forme 136">
              <a:extLst>
                <a:ext uri="{FF2B5EF4-FFF2-40B4-BE49-F238E27FC236}">
                  <a16:creationId xmlns:a16="http://schemas.microsoft.com/office/drawing/2014/main" id="{7A0A28EA-B520-49BA-800F-B4282BF0ECB8}"/>
                </a:ext>
              </a:extLst>
            </p:cNvPr>
            <p:cNvSpPr/>
            <p:nvPr/>
          </p:nvSpPr>
          <p:spPr>
            <a:xfrm rot="8716295">
              <a:off x="497795" y="4730788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" name="Forme libre : forme 137">
              <a:extLst>
                <a:ext uri="{FF2B5EF4-FFF2-40B4-BE49-F238E27FC236}">
                  <a16:creationId xmlns:a16="http://schemas.microsoft.com/office/drawing/2014/main" id="{8781DCBF-8301-4C81-B93D-E186016AF47F}"/>
                </a:ext>
              </a:extLst>
            </p:cNvPr>
            <p:cNvSpPr/>
            <p:nvPr/>
          </p:nvSpPr>
          <p:spPr>
            <a:xfrm rot="8716295">
              <a:off x="1459248" y="4904357"/>
              <a:ext cx="328004" cy="223069"/>
            </a:xfrm>
            <a:custGeom>
              <a:avLst/>
              <a:gdLst>
                <a:gd name="connsiteX0" fmla="*/ 10574 w 328004"/>
                <a:gd name="connsiteY0" fmla="*/ 223069 h 223069"/>
                <a:gd name="connsiteX1" fmla="*/ 0 w 328004"/>
                <a:gd name="connsiteY1" fmla="*/ 208428 h 223069"/>
                <a:gd name="connsiteX2" fmla="*/ 192781 w 328004"/>
                <a:gd name="connsiteY2" fmla="*/ 27035 h 223069"/>
                <a:gd name="connsiteX3" fmla="*/ 227094 w 328004"/>
                <a:gd name="connsiteY3" fmla="*/ 0 h 223069"/>
                <a:gd name="connsiteX4" fmla="*/ 328004 w 328004"/>
                <a:gd name="connsiteY4" fmla="*/ 69948 h 223069"/>
                <a:gd name="connsiteX5" fmla="*/ 326080 w 328004"/>
                <a:gd name="connsiteY5" fmla="*/ 74925 h 223069"/>
                <a:gd name="connsiteX6" fmla="*/ 293645 w 328004"/>
                <a:gd name="connsiteY6" fmla="*/ 100243 h 223069"/>
                <a:gd name="connsiteX7" fmla="*/ 294458 w 328004"/>
                <a:gd name="connsiteY7" fmla="*/ 100243 h 223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8004" h="223069">
                  <a:moveTo>
                    <a:pt x="10574" y="223069"/>
                  </a:moveTo>
                  <a:lnTo>
                    <a:pt x="0" y="208428"/>
                  </a:lnTo>
                  <a:lnTo>
                    <a:pt x="192781" y="27035"/>
                  </a:lnTo>
                  <a:lnTo>
                    <a:pt x="227094" y="0"/>
                  </a:lnTo>
                  <a:lnTo>
                    <a:pt x="328004" y="69948"/>
                  </a:lnTo>
                  <a:lnTo>
                    <a:pt x="326080" y="74925"/>
                  </a:lnTo>
                  <a:cubicBezTo>
                    <a:pt x="317843" y="85805"/>
                    <a:pt x="306659" y="94549"/>
                    <a:pt x="293645" y="100243"/>
                  </a:cubicBezTo>
                  <a:lnTo>
                    <a:pt x="294458" y="10024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" name="Forme libre : forme 138">
              <a:extLst>
                <a:ext uri="{FF2B5EF4-FFF2-40B4-BE49-F238E27FC236}">
                  <a16:creationId xmlns:a16="http://schemas.microsoft.com/office/drawing/2014/main" id="{3ED78FC6-709C-4AA3-BB63-2CC979D6E8FB}"/>
                </a:ext>
              </a:extLst>
            </p:cNvPr>
            <p:cNvSpPr/>
            <p:nvPr/>
          </p:nvSpPr>
          <p:spPr>
            <a:xfrm rot="8716295">
              <a:off x="1383191" y="474927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" name="Forme libre : forme 139">
              <a:extLst>
                <a:ext uri="{FF2B5EF4-FFF2-40B4-BE49-F238E27FC236}">
                  <a16:creationId xmlns:a16="http://schemas.microsoft.com/office/drawing/2014/main" id="{AC25FEFC-06C2-45EF-9330-9EAB676F1680}"/>
                </a:ext>
              </a:extLst>
            </p:cNvPr>
            <p:cNvSpPr/>
            <p:nvPr/>
          </p:nvSpPr>
          <p:spPr>
            <a:xfrm rot="8716295">
              <a:off x="1015027" y="479501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" name="Forme libre : forme 140">
              <a:extLst>
                <a:ext uri="{FF2B5EF4-FFF2-40B4-BE49-F238E27FC236}">
                  <a16:creationId xmlns:a16="http://schemas.microsoft.com/office/drawing/2014/main" id="{6FCEE809-B78B-468F-8A4F-11AD6B5B5DFE}"/>
                </a:ext>
              </a:extLst>
            </p:cNvPr>
            <p:cNvSpPr/>
            <p:nvPr/>
          </p:nvSpPr>
          <p:spPr>
            <a:xfrm rot="8716295">
              <a:off x="1283609" y="455399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" name="Forme libre : forme 141">
              <a:extLst>
                <a:ext uri="{FF2B5EF4-FFF2-40B4-BE49-F238E27FC236}">
                  <a16:creationId xmlns:a16="http://schemas.microsoft.com/office/drawing/2014/main" id="{4D7B8EF3-5C2F-4403-A58E-C6455E9DC2F8}"/>
                </a:ext>
              </a:extLst>
            </p:cNvPr>
            <p:cNvSpPr/>
            <p:nvPr/>
          </p:nvSpPr>
          <p:spPr>
            <a:xfrm rot="8716295">
              <a:off x="-30381" y="3359388"/>
              <a:ext cx="98497" cy="75863"/>
            </a:xfrm>
            <a:custGeom>
              <a:avLst/>
              <a:gdLst>
                <a:gd name="connsiteX0" fmla="*/ 0 w 98497"/>
                <a:gd name="connsiteY0" fmla="*/ 75863 h 75863"/>
                <a:gd name="connsiteX1" fmla="*/ 0 w 98497"/>
                <a:gd name="connsiteY1" fmla="*/ 0 h 75863"/>
                <a:gd name="connsiteX2" fmla="*/ 98497 w 98497"/>
                <a:gd name="connsiteY2" fmla="*/ 0 h 75863"/>
                <a:gd name="connsiteX3" fmla="*/ 45911 w 98497"/>
                <a:gd name="connsiteY3" fmla="*/ 75863 h 75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497" h="75863">
                  <a:moveTo>
                    <a:pt x="0" y="75863"/>
                  </a:moveTo>
                  <a:lnTo>
                    <a:pt x="0" y="0"/>
                  </a:lnTo>
                  <a:lnTo>
                    <a:pt x="98497" y="0"/>
                  </a:lnTo>
                  <a:lnTo>
                    <a:pt x="45911" y="758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" name="Forme libre : forme 142">
              <a:extLst>
                <a:ext uri="{FF2B5EF4-FFF2-40B4-BE49-F238E27FC236}">
                  <a16:creationId xmlns:a16="http://schemas.microsoft.com/office/drawing/2014/main" id="{E1CB3E01-5CB9-4779-88E3-4FF297370B3E}"/>
                </a:ext>
              </a:extLst>
            </p:cNvPr>
            <p:cNvSpPr/>
            <p:nvPr/>
          </p:nvSpPr>
          <p:spPr>
            <a:xfrm rot="8716295">
              <a:off x="-77334" y="3178477"/>
              <a:ext cx="389652" cy="385611"/>
            </a:xfrm>
            <a:custGeom>
              <a:avLst/>
              <a:gdLst>
                <a:gd name="connsiteX0" fmla="*/ 77932 w 389652"/>
                <a:gd name="connsiteY0" fmla="*/ 385611 h 385611"/>
                <a:gd name="connsiteX1" fmla="*/ 77932 w 389652"/>
                <a:gd name="connsiteY1" fmla="*/ 69054 h 385611"/>
                <a:gd name="connsiteX2" fmla="*/ 0 w 389652"/>
                <a:gd name="connsiteY2" fmla="*/ 69054 h 385611"/>
                <a:gd name="connsiteX3" fmla="*/ 0 w 389652"/>
                <a:gd name="connsiteY3" fmla="*/ 2156 h 385611"/>
                <a:gd name="connsiteX4" fmla="*/ 158623 w 389652"/>
                <a:gd name="connsiteY4" fmla="*/ 2156 h 385611"/>
                <a:gd name="connsiteX5" fmla="*/ 158623 w 389652"/>
                <a:gd name="connsiteY5" fmla="*/ 113882 h 385611"/>
                <a:gd name="connsiteX6" fmla="*/ 160692 w 389652"/>
                <a:gd name="connsiteY6" fmla="*/ 113882 h 385611"/>
                <a:gd name="connsiteX7" fmla="*/ 233107 w 389652"/>
                <a:gd name="connsiteY7" fmla="*/ 9053 h 385611"/>
                <a:gd name="connsiteX8" fmla="*/ 280694 w 389652"/>
                <a:gd name="connsiteY8" fmla="*/ 87 h 385611"/>
                <a:gd name="connsiteX9" fmla="*/ 364230 w 389652"/>
                <a:gd name="connsiteY9" fmla="*/ 34398 h 385611"/>
                <a:gd name="connsiteX10" fmla="*/ 389652 w 389652"/>
                <a:gd name="connsiteY10" fmla="*/ 117977 h 385611"/>
                <a:gd name="connsiteX11" fmla="*/ 371473 w 389652"/>
                <a:gd name="connsiteY11" fmla="*/ 144202 h 385611"/>
                <a:gd name="connsiteX12" fmla="*/ 300695 w 389652"/>
                <a:gd name="connsiteY12" fmla="*/ 148366 h 385611"/>
                <a:gd name="connsiteX13" fmla="*/ 300695 w 389652"/>
                <a:gd name="connsiteY13" fmla="*/ 123538 h 385611"/>
                <a:gd name="connsiteX14" fmla="*/ 249659 w 389652"/>
                <a:gd name="connsiteY14" fmla="*/ 60778 h 385611"/>
                <a:gd name="connsiteX15" fmla="*/ 168969 w 389652"/>
                <a:gd name="connsiteY15" fmla="*/ 193194 h 385611"/>
                <a:gd name="connsiteX16" fmla="*/ 168969 w 389652"/>
                <a:gd name="connsiteY16" fmla="*/ 323541 h 385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89652" h="385611">
                  <a:moveTo>
                    <a:pt x="77932" y="385611"/>
                  </a:moveTo>
                  <a:lnTo>
                    <a:pt x="77932" y="69054"/>
                  </a:lnTo>
                  <a:lnTo>
                    <a:pt x="0" y="69054"/>
                  </a:lnTo>
                  <a:lnTo>
                    <a:pt x="0" y="2156"/>
                  </a:lnTo>
                  <a:lnTo>
                    <a:pt x="158623" y="2156"/>
                  </a:lnTo>
                  <a:lnTo>
                    <a:pt x="158623" y="113882"/>
                  </a:lnTo>
                  <a:lnTo>
                    <a:pt x="160692" y="113882"/>
                  </a:lnTo>
                  <a:cubicBezTo>
                    <a:pt x="182762" y="48364"/>
                    <a:pt x="200003" y="22846"/>
                    <a:pt x="233107" y="9053"/>
                  </a:cubicBezTo>
                  <a:cubicBezTo>
                    <a:pt x="248280" y="2846"/>
                    <a:pt x="264142" y="-602"/>
                    <a:pt x="280694" y="87"/>
                  </a:cubicBezTo>
                  <a:cubicBezTo>
                    <a:pt x="316212" y="-603"/>
                    <a:pt x="344661" y="11466"/>
                    <a:pt x="364230" y="34398"/>
                  </a:cubicBezTo>
                  <a:lnTo>
                    <a:pt x="389652" y="117977"/>
                  </a:lnTo>
                  <a:lnTo>
                    <a:pt x="371473" y="144202"/>
                  </a:lnTo>
                  <a:lnTo>
                    <a:pt x="300695" y="148366"/>
                  </a:lnTo>
                  <a:lnTo>
                    <a:pt x="300695" y="123538"/>
                  </a:lnTo>
                  <a:cubicBezTo>
                    <a:pt x="300695" y="86296"/>
                    <a:pt x="279315" y="60778"/>
                    <a:pt x="249659" y="60778"/>
                  </a:cubicBezTo>
                  <a:cubicBezTo>
                    <a:pt x="205521" y="60778"/>
                    <a:pt x="168969" y="119400"/>
                    <a:pt x="168969" y="193194"/>
                  </a:cubicBezTo>
                  <a:lnTo>
                    <a:pt x="168969" y="3235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4" name="Forme libre : forme 143">
              <a:extLst>
                <a:ext uri="{FF2B5EF4-FFF2-40B4-BE49-F238E27FC236}">
                  <a16:creationId xmlns:a16="http://schemas.microsoft.com/office/drawing/2014/main" id="{693C3616-465F-40B5-99BD-A4355895EC1C}"/>
                </a:ext>
              </a:extLst>
            </p:cNvPr>
            <p:cNvSpPr/>
            <p:nvPr/>
          </p:nvSpPr>
          <p:spPr>
            <a:xfrm rot="8716295">
              <a:off x="-71352" y="3029015"/>
              <a:ext cx="193594" cy="189959"/>
            </a:xfrm>
            <a:custGeom>
              <a:avLst/>
              <a:gdLst>
                <a:gd name="connsiteX0" fmla="*/ 8965 w 193594"/>
                <a:gd name="connsiteY0" fmla="*/ 189959 h 189959"/>
                <a:gd name="connsiteX1" fmla="*/ 0 w 193594"/>
                <a:gd name="connsiteY1" fmla="*/ 177545 h 189959"/>
                <a:gd name="connsiteX2" fmla="*/ 163451 w 193594"/>
                <a:gd name="connsiteY2" fmla="*/ 23749 h 189959"/>
                <a:gd name="connsiteX3" fmla="*/ 193594 w 193594"/>
                <a:gd name="connsiteY3" fmla="*/ 0 h 189959"/>
                <a:gd name="connsiteX4" fmla="*/ 84606 w 193594"/>
                <a:gd name="connsiteY4" fmla="*/ 157232 h 189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594" h="189959">
                  <a:moveTo>
                    <a:pt x="8965" y="189959"/>
                  </a:moveTo>
                  <a:lnTo>
                    <a:pt x="0" y="177545"/>
                  </a:lnTo>
                  <a:lnTo>
                    <a:pt x="163451" y="23749"/>
                  </a:lnTo>
                  <a:lnTo>
                    <a:pt x="193594" y="0"/>
                  </a:lnTo>
                  <a:lnTo>
                    <a:pt x="84606" y="15723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5" name="Forme libre : forme 144">
              <a:extLst>
                <a:ext uri="{FF2B5EF4-FFF2-40B4-BE49-F238E27FC236}">
                  <a16:creationId xmlns:a16="http://schemas.microsoft.com/office/drawing/2014/main" id="{24B29AA9-322C-494E-97CF-CB28B697D24F}"/>
                </a:ext>
              </a:extLst>
            </p:cNvPr>
            <p:cNvSpPr/>
            <p:nvPr/>
          </p:nvSpPr>
          <p:spPr>
            <a:xfrm rot="8716295">
              <a:off x="223574" y="276232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6" name="Forme libre : forme 145">
              <a:extLst>
                <a:ext uri="{FF2B5EF4-FFF2-40B4-BE49-F238E27FC236}">
                  <a16:creationId xmlns:a16="http://schemas.microsoft.com/office/drawing/2014/main" id="{F8DE088E-7554-4812-9E9E-4D30E041F578}"/>
                </a:ext>
              </a:extLst>
            </p:cNvPr>
            <p:cNvSpPr/>
            <p:nvPr/>
          </p:nvSpPr>
          <p:spPr>
            <a:xfrm rot="8716295">
              <a:off x="358873" y="2806579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7" name="Forme libre : forme 146">
              <a:extLst>
                <a:ext uri="{FF2B5EF4-FFF2-40B4-BE49-F238E27FC236}">
                  <a16:creationId xmlns:a16="http://schemas.microsoft.com/office/drawing/2014/main" id="{B9E26502-E7AD-4DA1-9955-0A4E18FDB87E}"/>
                </a:ext>
              </a:extLst>
            </p:cNvPr>
            <p:cNvSpPr/>
            <p:nvPr/>
          </p:nvSpPr>
          <p:spPr>
            <a:xfrm rot="8716295">
              <a:off x="53703" y="2896335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8" name="Forme libre : forme 147">
              <a:extLst>
                <a:ext uri="{FF2B5EF4-FFF2-40B4-BE49-F238E27FC236}">
                  <a16:creationId xmlns:a16="http://schemas.microsoft.com/office/drawing/2014/main" id="{916CFE5B-3405-43DB-8C30-699019D1BD67}"/>
                </a:ext>
              </a:extLst>
            </p:cNvPr>
            <p:cNvSpPr/>
            <p:nvPr/>
          </p:nvSpPr>
          <p:spPr>
            <a:xfrm rot="8716295">
              <a:off x="-92201" y="2622488"/>
              <a:ext cx="271732" cy="238722"/>
            </a:xfrm>
            <a:custGeom>
              <a:avLst/>
              <a:gdLst>
                <a:gd name="connsiteX0" fmla="*/ 106257 w 271732"/>
                <a:gd name="connsiteY0" fmla="*/ 238722 h 238722"/>
                <a:gd name="connsiteX1" fmla="*/ 72418 w 271732"/>
                <a:gd name="connsiteY1" fmla="*/ 175766 h 238722"/>
                <a:gd name="connsiteX2" fmla="*/ 105610 w 271732"/>
                <a:gd name="connsiteY2" fmla="*/ 83734 h 238722"/>
                <a:gd name="connsiteX3" fmla="*/ 0 w 271732"/>
                <a:gd name="connsiteY3" fmla="*/ 83734 h 238722"/>
                <a:gd name="connsiteX4" fmla="*/ 0 w 271732"/>
                <a:gd name="connsiteY4" fmla="*/ 0 h 238722"/>
                <a:gd name="connsiteX5" fmla="*/ 271732 w 271732"/>
                <a:gd name="connsiteY5" fmla="*/ 0 h 238722"/>
                <a:gd name="connsiteX6" fmla="*/ 213690 w 271732"/>
                <a:gd name="connsiteY6" fmla="*/ 83734 h 238722"/>
                <a:gd name="connsiteX7" fmla="*/ 210465 w 271732"/>
                <a:gd name="connsiteY7" fmla="*/ 83734 h 238722"/>
                <a:gd name="connsiteX8" fmla="*/ 207289 w 271732"/>
                <a:gd name="connsiteY8" fmla="*/ 92969 h 238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1732" h="238722">
                  <a:moveTo>
                    <a:pt x="106257" y="238722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71732" y="0"/>
                  </a:lnTo>
                  <a:lnTo>
                    <a:pt x="213690" y="83734"/>
                  </a:lnTo>
                  <a:lnTo>
                    <a:pt x="210465" y="83734"/>
                  </a:lnTo>
                  <a:lnTo>
                    <a:pt x="207289" y="929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9" name="Forme libre : forme 148">
              <a:extLst>
                <a:ext uri="{FF2B5EF4-FFF2-40B4-BE49-F238E27FC236}">
                  <a16:creationId xmlns:a16="http://schemas.microsoft.com/office/drawing/2014/main" id="{D3C330C6-8ED8-4019-9D23-534F7E32B7C3}"/>
                </a:ext>
              </a:extLst>
            </p:cNvPr>
            <p:cNvSpPr/>
            <p:nvPr/>
          </p:nvSpPr>
          <p:spPr>
            <a:xfrm rot="8716295">
              <a:off x="190192" y="2958318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0" name="Forme libre : forme 149">
              <a:extLst>
                <a:ext uri="{FF2B5EF4-FFF2-40B4-BE49-F238E27FC236}">
                  <a16:creationId xmlns:a16="http://schemas.microsoft.com/office/drawing/2014/main" id="{7556479F-3BE7-4641-97C7-A31999C980CD}"/>
                </a:ext>
              </a:extLst>
            </p:cNvPr>
            <p:cNvSpPr/>
            <p:nvPr/>
          </p:nvSpPr>
          <p:spPr>
            <a:xfrm rot="7484129">
              <a:off x="349009" y="324793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1" name="Forme libre : forme 150">
              <a:extLst>
                <a:ext uri="{FF2B5EF4-FFF2-40B4-BE49-F238E27FC236}">
                  <a16:creationId xmlns:a16="http://schemas.microsoft.com/office/drawing/2014/main" id="{C9126667-6906-4254-B833-2535AC138F99}"/>
                </a:ext>
              </a:extLst>
            </p:cNvPr>
            <p:cNvSpPr/>
            <p:nvPr/>
          </p:nvSpPr>
          <p:spPr>
            <a:xfrm rot="13089394">
              <a:off x="507659" y="3197284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2" name="Forme libre : forme 151">
              <a:extLst>
                <a:ext uri="{FF2B5EF4-FFF2-40B4-BE49-F238E27FC236}">
                  <a16:creationId xmlns:a16="http://schemas.microsoft.com/office/drawing/2014/main" id="{EB63A53B-C558-41C6-87D3-6E3EEB414D38}"/>
                </a:ext>
              </a:extLst>
            </p:cNvPr>
            <p:cNvSpPr/>
            <p:nvPr/>
          </p:nvSpPr>
          <p:spPr>
            <a:xfrm rot="8716295">
              <a:off x="788550" y="2907166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3" name="Forme libre : forme 152">
              <a:extLst>
                <a:ext uri="{FF2B5EF4-FFF2-40B4-BE49-F238E27FC236}">
                  <a16:creationId xmlns:a16="http://schemas.microsoft.com/office/drawing/2014/main" id="{EBE3A45E-76C2-41F7-84F5-A2A181D50E91}"/>
                </a:ext>
              </a:extLst>
            </p:cNvPr>
            <p:cNvSpPr/>
            <p:nvPr/>
          </p:nvSpPr>
          <p:spPr>
            <a:xfrm rot="8716295">
              <a:off x="710141" y="275037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4" name="Forme libre : forme 153">
              <a:extLst>
                <a:ext uri="{FF2B5EF4-FFF2-40B4-BE49-F238E27FC236}">
                  <a16:creationId xmlns:a16="http://schemas.microsoft.com/office/drawing/2014/main" id="{871F770F-4D72-4427-86D1-F18744993E05}"/>
                </a:ext>
              </a:extLst>
            </p:cNvPr>
            <p:cNvSpPr/>
            <p:nvPr/>
          </p:nvSpPr>
          <p:spPr>
            <a:xfrm rot="8716295">
              <a:off x="341977" y="279611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5" name="Forme libre : forme 154">
              <a:extLst>
                <a:ext uri="{FF2B5EF4-FFF2-40B4-BE49-F238E27FC236}">
                  <a16:creationId xmlns:a16="http://schemas.microsoft.com/office/drawing/2014/main" id="{CBA9ADD5-0B79-42BB-A803-7DD5C3582812}"/>
                </a:ext>
              </a:extLst>
            </p:cNvPr>
            <p:cNvSpPr/>
            <p:nvPr/>
          </p:nvSpPr>
          <p:spPr>
            <a:xfrm rot="8716295">
              <a:off x="610559" y="2555095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6" name="Forme libre : forme 155">
              <a:extLst>
                <a:ext uri="{FF2B5EF4-FFF2-40B4-BE49-F238E27FC236}">
                  <a16:creationId xmlns:a16="http://schemas.microsoft.com/office/drawing/2014/main" id="{7B5F712C-46C4-40C0-B35F-823DEC5DC95D}"/>
                </a:ext>
              </a:extLst>
            </p:cNvPr>
            <p:cNvSpPr/>
            <p:nvPr/>
          </p:nvSpPr>
          <p:spPr>
            <a:xfrm rot="8716295">
              <a:off x="-24305" y="2374348"/>
              <a:ext cx="58950" cy="66898"/>
            </a:xfrm>
            <a:custGeom>
              <a:avLst/>
              <a:gdLst>
                <a:gd name="connsiteX0" fmla="*/ 0 w 58950"/>
                <a:gd name="connsiteY0" fmla="*/ 66898 h 66898"/>
                <a:gd name="connsiteX1" fmla="*/ 0 w 58950"/>
                <a:gd name="connsiteY1" fmla="*/ 0 h 66898"/>
                <a:gd name="connsiteX2" fmla="*/ 58950 w 58950"/>
                <a:gd name="connsiteY2" fmla="*/ 0 h 66898"/>
                <a:gd name="connsiteX3" fmla="*/ 12579 w 58950"/>
                <a:gd name="connsiteY3" fmla="*/ 66898 h 6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950" h="66898">
                  <a:moveTo>
                    <a:pt x="0" y="66898"/>
                  </a:moveTo>
                  <a:lnTo>
                    <a:pt x="0" y="0"/>
                  </a:lnTo>
                  <a:lnTo>
                    <a:pt x="58950" y="0"/>
                  </a:lnTo>
                  <a:lnTo>
                    <a:pt x="12579" y="668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7" name="Forme libre : forme 156">
              <a:extLst>
                <a:ext uri="{FF2B5EF4-FFF2-40B4-BE49-F238E27FC236}">
                  <a16:creationId xmlns:a16="http://schemas.microsoft.com/office/drawing/2014/main" id="{7F46186A-3310-4CD5-864B-686D76F3E8C2}"/>
                </a:ext>
              </a:extLst>
            </p:cNvPr>
            <p:cNvSpPr/>
            <p:nvPr/>
          </p:nvSpPr>
          <p:spPr>
            <a:xfrm rot="8716295">
              <a:off x="-39593" y="1952072"/>
              <a:ext cx="198050" cy="140164"/>
            </a:xfrm>
            <a:custGeom>
              <a:avLst/>
              <a:gdLst>
                <a:gd name="connsiteX0" fmla="*/ 0 w 198050"/>
                <a:gd name="connsiteY0" fmla="*/ 75863 h 140164"/>
                <a:gd name="connsiteX1" fmla="*/ 0 w 198050"/>
                <a:gd name="connsiteY1" fmla="*/ 0 h 140164"/>
                <a:gd name="connsiteX2" fmla="*/ 128968 w 198050"/>
                <a:gd name="connsiteY2" fmla="*/ 0 h 140164"/>
                <a:gd name="connsiteX3" fmla="*/ 193021 w 198050"/>
                <a:gd name="connsiteY3" fmla="*/ 18535 h 140164"/>
                <a:gd name="connsiteX4" fmla="*/ 198050 w 198050"/>
                <a:gd name="connsiteY4" fmla="*/ 31548 h 140164"/>
                <a:gd name="connsiteX5" fmla="*/ 122761 w 198050"/>
                <a:gd name="connsiteY5" fmla="*/ 140164 h 140164"/>
                <a:gd name="connsiteX6" fmla="*/ 122761 w 198050"/>
                <a:gd name="connsiteY6" fmla="*/ 105519 h 140164"/>
                <a:gd name="connsiteX7" fmla="*/ 122761 w 198050"/>
                <a:gd name="connsiteY7" fmla="*/ 99312 h 140164"/>
                <a:gd name="connsiteX8" fmla="*/ 91726 w 198050"/>
                <a:gd name="connsiteY8" fmla="*/ 75863 h 140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8050" h="140164">
                  <a:moveTo>
                    <a:pt x="0" y="75863"/>
                  </a:moveTo>
                  <a:lnTo>
                    <a:pt x="0" y="0"/>
                  </a:lnTo>
                  <a:lnTo>
                    <a:pt x="128968" y="0"/>
                  </a:lnTo>
                  <a:cubicBezTo>
                    <a:pt x="156900" y="0"/>
                    <a:pt x="178452" y="6034"/>
                    <a:pt x="193021" y="18535"/>
                  </a:cubicBezTo>
                  <a:lnTo>
                    <a:pt x="198050" y="31548"/>
                  </a:lnTo>
                  <a:lnTo>
                    <a:pt x="122761" y="140164"/>
                  </a:ln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4"/>
                    <a:pt x="91726" y="758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8" name="Forme libre : forme 157">
              <a:extLst>
                <a:ext uri="{FF2B5EF4-FFF2-40B4-BE49-F238E27FC236}">
                  <a16:creationId xmlns:a16="http://schemas.microsoft.com/office/drawing/2014/main" id="{A7D40018-F0E5-4DC0-8F24-CC5DD724ED71}"/>
                </a:ext>
              </a:extLst>
            </p:cNvPr>
            <p:cNvSpPr/>
            <p:nvPr/>
          </p:nvSpPr>
          <p:spPr>
            <a:xfrm rot="8716295">
              <a:off x="21100" y="1808096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9" name="Forme libre : forme 158">
              <a:extLst>
                <a:ext uri="{FF2B5EF4-FFF2-40B4-BE49-F238E27FC236}">
                  <a16:creationId xmlns:a16="http://schemas.microsoft.com/office/drawing/2014/main" id="{DE6A0D39-0B43-4DC3-9F56-137223FC9AF7}"/>
                </a:ext>
              </a:extLst>
            </p:cNvPr>
            <p:cNvSpPr/>
            <p:nvPr/>
          </p:nvSpPr>
          <p:spPr>
            <a:xfrm rot="8716295">
              <a:off x="-24330" y="2197782"/>
              <a:ext cx="102508" cy="53362"/>
            </a:xfrm>
            <a:custGeom>
              <a:avLst/>
              <a:gdLst>
                <a:gd name="connsiteX0" fmla="*/ 0 w 102508"/>
                <a:gd name="connsiteY0" fmla="*/ 23637 h 53362"/>
                <a:gd name="connsiteX1" fmla="*/ 0 w 102508"/>
                <a:gd name="connsiteY1" fmla="*/ 2258 h 53362"/>
                <a:gd name="connsiteX2" fmla="*/ 102508 w 102508"/>
                <a:gd name="connsiteY2" fmla="*/ 0 h 53362"/>
                <a:gd name="connsiteX3" fmla="*/ 65519 w 102508"/>
                <a:gd name="connsiteY3" fmla="*/ 53362 h 53362"/>
                <a:gd name="connsiteX4" fmla="*/ 65519 w 102508"/>
                <a:gd name="connsiteY4" fmla="*/ 23637 h 5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508" h="53362">
                  <a:moveTo>
                    <a:pt x="0" y="23637"/>
                  </a:moveTo>
                  <a:lnTo>
                    <a:pt x="0" y="2258"/>
                  </a:lnTo>
                  <a:lnTo>
                    <a:pt x="102508" y="0"/>
                  </a:lnTo>
                  <a:lnTo>
                    <a:pt x="65519" y="53362"/>
                  </a:lnTo>
                  <a:lnTo>
                    <a:pt x="65519" y="2363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0" name="Forme libre : forme 159">
              <a:extLst>
                <a:ext uri="{FF2B5EF4-FFF2-40B4-BE49-F238E27FC236}">
                  <a16:creationId xmlns:a16="http://schemas.microsoft.com/office/drawing/2014/main" id="{53869A83-F18C-41C3-A8D6-8AA2F169F6A9}"/>
                </a:ext>
              </a:extLst>
            </p:cNvPr>
            <p:cNvSpPr/>
            <p:nvPr/>
          </p:nvSpPr>
          <p:spPr>
            <a:xfrm rot="7484129">
              <a:off x="11236" y="224945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1" name="Forme libre : forme 160">
              <a:extLst>
                <a:ext uri="{FF2B5EF4-FFF2-40B4-BE49-F238E27FC236}">
                  <a16:creationId xmlns:a16="http://schemas.microsoft.com/office/drawing/2014/main" id="{47FF6EA9-61FE-4C53-86BC-F03ADA0CF577}"/>
                </a:ext>
              </a:extLst>
            </p:cNvPr>
            <p:cNvSpPr/>
            <p:nvPr/>
          </p:nvSpPr>
          <p:spPr>
            <a:xfrm rot="13089394">
              <a:off x="169886" y="2198801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2" name="Forme libre : forme 161">
              <a:extLst>
                <a:ext uri="{FF2B5EF4-FFF2-40B4-BE49-F238E27FC236}">
                  <a16:creationId xmlns:a16="http://schemas.microsoft.com/office/drawing/2014/main" id="{6ED294D2-DD3A-4323-ADB4-4D2A485D31FA}"/>
                </a:ext>
              </a:extLst>
            </p:cNvPr>
            <p:cNvSpPr/>
            <p:nvPr/>
          </p:nvSpPr>
          <p:spPr>
            <a:xfrm rot="8716295">
              <a:off x="450777" y="1908683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3" name="Forme libre : forme 162">
              <a:extLst>
                <a:ext uri="{FF2B5EF4-FFF2-40B4-BE49-F238E27FC236}">
                  <a16:creationId xmlns:a16="http://schemas.microsoft.com/office/drawing/2014/main" id="{4D7140F9-06B5-4BA8-BEAB-23BD75B9DD53}"/>
                </a:ext>
              </a:extLst>
            </p:cNvPr>
            <p:cNvSpPr/>
            <p:nvPr/>
          </p:nvSpPr>
          <p:spPr>
            <a:xfrm rot="8716295">
              <a:off x="372368" y="175189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4" name="Forme libre : forme 163">
              <a:extLst>
                <a:ext uri="{FF2B5EF4-FFF2-40B4-BE49-F238E27FC236}">
                  <a16:creationId xmlns:a16="http://schemas.microsoft.com/office/drawing/2014/main" id="{068812F1-37A6-4A0A-A392-F4B3E8D2782D}"/>
                </a:ext>
              </a:extLst>
            </p:cNvPr>
            <p:cNvSpPr/>
            <p:nvPr/>
          </p:nvSpPr>
          <p:spPr>
            <a:xfrm rot="8716295">
              <a:off x="4204" y="179763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5" name="Forme libre : forme 164">
              <a:extLst>
                <a:ext uri="{FF2B5EF4-FFF2-40B4-BE49-F238E27FC236}">
                  <a16:creationId xmlns:a16="http://schemas.microsoft.com/office/drawing/2014/main" id="{B62F2753-FDB5-4835-8322-FC678E060DC4}"/>
                </a:ext>
              </a:extLst>
            </p:cNvPr>
            <p:cNvSpPr/>
            <p:nvPr/>
          </p:nvSpPr>
          <p:spPr>
            <a:xfrm rot="8716295">
              <a:off x="272786" y="155661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6" name="Forme libre : forme 165">
              <a:extLst>
                <a:ext uri="{FF2B5EF4-FFF2-40B4-BE49-F238E27FC236}">
                  <a16:creationId xmlns:a16="http://schemas.microsoft.com/office/drawing/2014/main" id="{16BB8F81-6062-4A6D-AD9A-0C3CC09E65D3}"/>
                </a:ext>
              </a:extLst>
            </p:cNvPr>
            <p:cNvSpPr/>
            <p:nvPr/>
          </p:nvSpPr>
          <p:spPr>
            <a:xfrm rot="8716295">
              <a:off x="-35149" y="938156"/>
              <a:ext cx="158623" cy="159016"/>
            </a:xfrm>
            <a:custGeom>
              <a:avLst/>
              <a:gdLst>
                <a:gd name="connsiteX0" fmla="*/ 77932 w 158623"/>
                <a:gd name="connsiteY0" fmla="*/ 159016 h 159016"/>
                <a:gd name="connsiteX1" fmla="*/ 77932 w 158623"/>
                <a:gd name="connsiteY1" fmla="*/ 66898 h 159016"/>
                <a:gd name="connsiteX2" fmla="*/ 0 w 158623"/>
                <a:gd name="connsiteY2" fmla="*/ 66898 h 159016"/>
                <a:gd name="connsiteX3" fmla="*/ 0 w 158623"/>
                <a:gd name="connsiteY3" fmla="*/ 0 h 159016"/>
                <a:gd name="connsiteX4" fmla="*/ 158623 w 158623"/>
                <a:gd name="connsiteY4" fmla="*/ 0 h 159016"/>
                <a:gd name="connsiteX5" fmla="*/ 158623 w 158623"/>
                <a:gd name="connsiteY5" fmla="*/ 42606 h 15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8623" h="159016">
                  <a:moveTo>
                    <a:pt x="77932" y="159016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4260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7" name="Forme libre : forme 166">
              <a:extLst>
                <a:ext uri="{FF2B5EF4-FFF2-40B4-BE49-F238E27FC236}">
                  <a16:creationId xmlns:a16="http://schemas.microsoft.com/office/drawing/2014/main" id="{102294D5-AEAF-4B56-AF06-6647D3303B85}"/>
                </a:ext>
              </a:extLst>
            </p:cNvPr>
            <p:cNvSpPr/>
            <p:nvPr/>
          </p:nvSpPr>
          <p:spPr>
            <a:xfrm rot="7484129">
              <a:off x="-32979" y="1345537"/>
              <a:ext cx="65961" cy="45734"/>
            </a:xfrm>
            <a:custGeom>
              <a:avLst/>
              <a:gdLst>
                <a:gd name="connsiteX0" fmla="*/ 0 w 65961"/>
                <a:gd name="connsiteY0" fmla="*/ 45734 h 45734"/>
                <a:gd name="connsiteX1" fmla="*/ 0 w 65961"/>
                <a:gd name="connsiteY1" fmla="*/ 0 h 45734"/>
                <a:gd name="connsiteX2" fmla="*/ 65961 w 65961"/>
                <a:gd name="connsiteY2" fmla="*/ 0 h 45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5961" h="45734">
                  <a:moveTo>
                    <a:pt x="0" y="45734"/>
                  </a:moveTo>
                  <a:lnTo>
                    <a:pt x="0" y="0"/>
                  </a:lnTo>
                  <a:lnTo>
                    <a:pt x="6596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8" name="Forme libre : forme 167">
              <a:extLst>
                <a:ext uri="{FF2B5EF4-FFF2-40B4-BE49-F238E27FC236}">
                  <a16:creationId xmlns:a16="http://schemas.microsoft.com/office/drawing/2014/main" id="{6A1A2358-10CF-4FD5-A4AA-FC64164263AF}"/>
                </a:ext>
              </a:extLst>
            </p:cNvPr>
            <p:cNvSpPr/>
            <p:nvPr/>
          </p:nvSpPr>
          <p:spPr>
            <a:xfrm rot="13089394">
              <a:off x="-134707" y="1200752"/>
              <a:ext cx="386820" cy="481345"/>
            </a:xfrm>
            <a:custGeom>
              <a:avLst/>
              <a:gdLst>
                <a:gd name="connsiteX0" fmla="*/ 386820 w 386820"/>
                <a:gd name="connsiteY0" fmla="*/ 391818 h 481345"/>
                <a:gd name="connsiteX1" fmla="*/ 342166 w 386820"/>
                <a:gd name="connsiteY1" fmla="*/ 422376 h 481345"/>
                <a:gd name="connsiteX2" fmla="*/ 138636 w 386820"/>
                <a:gd name="connsiteY2" fmla="*/ 481098 h 481345"/>
                <a:gd name="connsiteX3" fmla="*/ 35911 w 386820"/>
                <a:gd name="connsiteY3" fmla="*/ 439340 h 481345"/>
                <a:gd name="connsiteX4" fmla="*/ 0 w 386820"/>
                <a:gd name="connsiteY4" fmla="*/ 295693 h 481345"/>
                <a:gd name="connsiteX5" fmla="*/ 0 w 386820"/>
                <a:gd name="connsiteY5" fmla="*/ 40970 h 481345"/>
                <a:gd name="connsiteX6" fmla="*/ 78970 w 386820"/>
                <a:gd name="connsiteY6" fmla="*/ 0 h 481345"/>
                <a:gd name="connsiteX7" fmla="*/ 111492 w 386820"/>
                <a:gd name="connsiteY7" fmla="*/ 41392 h 481345"/>
                <a:gd name="connsiteX8" fmla="*/ 112747 w 386820"/>
                <a:gd name="connsiteY8" fmla="*/ 216353 h 481345"/>
                <a:gd name="connsiteX9" fmla="*/ 132789 w 386820"/>
                <a:gd name="connsiteY9" fmla="*/ 354990 h 481345"/>
                <a:gd name="connsiteX10" fmla="*/ 233008 w 386820"/>
                <a:gd name="connsiteY10" fmla="*/ 410110 h 481345"/>
                <a:gd name="connsiteX11" fmla="*/ 308173 w 386820"/>
                <a:gd name="connsiteY11" fmla="*/ 396747 h 481345"/>
                <a:gd name="connsiteX12" fmla="*/ 370717 w 386820"/>
                <a:gd name="connsiteY12" fmla="*/ 371323 h 481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6820" h="481345">
                  <a:moveTo>
                    <a:pt x="386820" y="391818"/>
                  </a:moveTo>
                  <a:lnTo>
                    <a:pt x="342166" y="422376"/>
                  </a:lnTo>
                  <a:cubicBezTo>
                    <a:pt x="268920" y="462151"/>
                    <a:pt x="190624" y="477966"/>
                    <a:pt x="138636" y="481098"/>
                  </a:cubicBezTo>
                  <a:cubicBezTo>
                    <a:pt x="100219" y="483604"/>
                    <a:pt x="62637" y="466901"/>
                    <a:pt x="35911" y="439340"/>
                  </a:cubicBezTo>
                  <a:cubicBezTo>
                    <a:pt x="7516" y="411780"/>
                    <a:pt x="0" y="364176"/>
                    <a:pt x="0" y="295693"/>
                  </a:cubicBezTo>
                  <a:lnTo>
                    <a:pt x="0" y="40970"/>
                  </a:lnTo>
                  <a:lnTo>
                    <a:pt x="78970" y="0"/>
                  </a:lnTo>
                  <a:lnTo>
                    <a:pt x="111492" y="41392"/>
                  </a:lnTo>
                  <a:lnTo>
                    <a:pt x="112747" y="216353"/>
                  </a:lnTo>
                  <a:cubicBezTo>
                    <a:pt x="110241" y="263122"/>
                    <a:pt x="117757" y="310726"/>
                    <a:pt x="132789" y="354990"/>
                  </a:cubicBezTo>
                  <a:cubicBezTo>
                    <a:pt x="146153" y="391736"/>
                    <a:pt x="180394" y="410110"/>
                    <a:pt x="233008" y="410110"/>
                  </a:cubicBezTo>
                  <a:cubicBezTo>
                    <a:pt x="258899" y="409274"/>
                    <a:pt x="283953" y="404263"/>
                    <a:pt x="308173" y="396747"/>
                  </a:cubicBezTo>
                  <a:lnTo>
                    <a:pt x="370717" y="371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9" name="Forme libre : forme 168">
              <a:extLst>
                <a:ext uri="{FF2B5EF4-FFF2-40B4-BE49-F238E27FC236}">
                  <a16:creationId xmlns:a16="http://schemas.microsoft.com/office/drawing/2014/main" id="{EA80D635-6F53-4857-9F50-4111495DC12C}"/>
                </a:ext>
              </a:extLst>
            </p:cNvPr>
            <p:cNvSpPr/>
            <p:nvPr/>
          </p:nvSpPr>
          <p:spPr>
            <a:xfrm rot="8716295">
              <a:off x="119403" y="90662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0" name="Forme libre : forme 169">
              <a:extLst>
                <a:ext uri="{FF2B5EF4-FFF2-40B4-BE49-F238E27FC236}">
                  <a16:creationId xmlns:a16="http://schemas.microsoft.com/office/drawing/2014/main" id="{40670C43-A49A-4C3B-A39B-628E23BE1E4B}"/>
                </a:ext>
              </a:extLst>
            </p:cNvPr>
            <p:cNvSpPr/>
            <p:nvPr/>
          </p:nvSpPr>
          <p:spPr>
            <a:xfrm rot="8716295">
              <a:off x="40994" y="74983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1" name="Forme libre : forme 170">
              <a:extLst>
                <a:ext uri="{FF2B5EF4-FFF2-40B4-BE49-F238E27FC236}">
                  <a16:creationId xmlns:a16="http://schemas.microsoft.com/office/drawing/2014/main" id="{A1E0B69E-7457-4A6E-B80C-0CDACC682BEC}"/>
                </a:ext>
              </a:extLst>
            </p:cNvPr>
            <p:cNvSpPr/>
            <p:nvPr/>
          </p:nvSpPr>
          <p:spPr>
            <a:xfrm rot="8716295">
              <a:off x="-44934" y="551941"/>
              <a:ext cx="152592" cy="165412"/>
            </a:xfrm>
            <a:custGeom>
              <a:avLst/>
              <a:gdLst>
                <a:gd name="connsiteX0" fmla="*/ 26453 w 152592"/>
                <a:gd name="connsiteY0" fmla="*/ 153143 h 165412"/>
                <a:gd name="connsiteX1" fmla="*/ 0 w 152592"/>
                <a:gd name="connsiteY1" fmla="*/ 90494 h 165412"/>
                <a:gd name="connsiteX2" fmla="*/ 0 w 152592"/>
                <a:gd name="connsiteY2" fmla="*/ 89101 h 165412"/>
                <a:gd name="connsiteX3" fmla="*/ 26453 w 152592"/>
                <a:gd name="connsiteY3" fmla="*/ 26453 h 165412"/>
                <a:gd name="connsiteX4" fmla="*/ 89101 w 152592"/>
                <a:gd name="connsiteY4" fmla="*/ 0 h 165412"/>
                <a:gd name="connsiteX5" fmla="*/ 151752 w 152592"/>
                <a:gd name="connsiteY5" fmla="*/ 26453 h 165412"/>
                <a:gd name="connsiteX6" fmla="*/ 152592 w 152592"/>
                <a:gd name="connsiteY6" fmla="*/ 27688 h 165412"/>
                <a:gd name="connsiteX7" fmla="*/ 57126 w 152592"/>
                <a:gd name="connsiteY7" fmla="*/ 165412 h 165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592" h="165412">
                  <a:moveTo>
                    <a:pt x="26453" y="153143"/>
                  </a:moveTo>
                  <a:cubicBezTo>
                    <a:pt x="9746" y="136436"/>
                    <a:pt x="0" y="114161"/>
                    <a:pt x="0" y="90494"/>
                  </a:cubicBezTo>
                  <a:lnTo>
                    <a:pt x="0" y="89101"/>
                  </a:lnTo>
                  <a:cubicBezTo>
                    <a:pt x="0" y="65434"/>
                    <a:pt x="9746" y="43159"/>
                    <a:pt x="26453" y="26453"/>
                  </a:cubicBezTo>
                  <a:cubicBezTo>
                    <a:pt x="43159" y="9746"/>
                    <a:pt x="65435" y="0"/>
                    <a:pt x="89101" y="0"/>
                  </a:cubicBezTo>
                  <a:cubicBezTo>
                    <a:pt x="112770" y="0"/>
                    <a:pt x="135045" y="9746"/>
                    <a:pt x="151752" y="26453"/>
                  </a:cubicBezTo>
                  <a:lnTo>
                    <a:pt x="152592" y="27688"/>
                  </a:lnTo>
                  <a:lnTo>
                    <a:pt x="57126" y="1654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2" name="Forme libre : forme 171">
              <a:extLst>
                <a:ext uri="{FF2B5EF4-FFF2-40B4-BE49-F238E27FC236}">
                  <a16:creationId xmlns:a16="http://schemas.microsoft.com/office/drawing/2014/main" id="{8305DDDC-A62B-4F5B-99D8-968A303BB880}"/>
                </a:ext>
              </a:extLst>
            </p:cNvPr>
            <p:cNvSpPr/>
            <p:nvPr/>
          </p:nvSpPr>
          <p:spPr>
            <a:xfrm rot="8716295">
              <a:off x="-69806" y="4587027"/>
              <a:ext cx="183810" cy="187594"/>
            </a:xfrm>
            <a:custGeom>
              <a:avLst/>
              <a:gdLst>
                <a:gd name="connsiteX0" fmla="*/ 10574 w 183810"/>
                <a:gd name="connsiteY0" fmla="*/ 187594 h 187594"/>
                <a:gd name="connsiteX1" fmla="*/ 0 w 183810"/>
                <a:gd name="connsiteY1" fmla="*/ 172952 h 187594"/>
                <a:gd name="connsiteX2" fmla="*/ 183810 w 183810"/>
                <a:gd name="connsiteY2" fmla="*/ 0 h 187594"/>
                <a:gd name="connsiteX3" fmla="*/ 72284 w 183810"/>
                <a:gd name="connsiteY3" fmla="*/ 160894 h 187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810" h="187594">
                  <a:moveTo>
                    <a:pt x="10574" y="187594"/>
                  </a:moveTo>
                  <a:lnTo>
                    <a:pt x="0" y="172952"/>
                  </a:lnTo>
                  <a:lnTo>
                    <a:pt x="183810" y="0"/>
                  </a:lnTo>
                  <a:lnTo>
                    <a:pt x="72284" y="1608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3" name="Forme libre : forme 172">
              <a:extLst>
                <a:ext uri="{FF2B5EF4-FFF2-40B4-BE49-F238E27FC236}">
                  <a16:creationId xmlns:a16="http://schemas.microsoft.com/office/drawing/2014/main" id="{1A0E6ECB-8294-4BA3-8422-8334524ECB58}"/>
                </a:ext>
              </a:extLst>
            </p:cNvPr>
            <p:cNvSpPr/>
            <p:nvPr/>
          </p:nvSpPr>
          <p:spPr>
            <a:xfrm rot="8716295">
              <a:off x="4450621" y="307495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4" name="Forme libre : forme 173">
              <a:extLst>
                <a:ext uri="{FF2B5EF4-FFF2-40B4-BE49-F238E27FC236}">
                  <a16:creationId xmlns:a16="http://schemas.microsoft.com/office/drawing/2014/main" id="{01833036-FD07-46D7-82C2-88C1FC05C85F}"/>
                </a:ext>
              </a:extLst>
            </p:cNvPr>
            <p:cNvSpPr/>
            <p:nvPr/>
          </p:nvSpPr>
          <p:spPr>
            <a:xfrm rot="8716295">
              <a:off x="4585920" y="3119209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5" name="Forme libre : forme 174">
              <a:extLst>
                <a:ext uri="{FF2B5EF4-FFF2-40B4-BE49-F238E27FC236}">
                  <a16:creationId xmlns:a16="http://schemas.microsoft.com/office/drawing/2014/main" id="{B278615F-BCB7-43C6-82A0-33FD907351F5}"/>
                </a:ext>
              </a:extLst>
            </p:cNvPr>
            <p:cNvSpPr/>
            <p:nvPr/>
          </p:nvSpPr>
          <p:spPr>
            <a:xfrm rot="8716295">
              <a:off x="4518038" y="2988621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6" name="Forme libre : forme 175">
              <a:extLst>
                <a:ext uri="{FF2B5EF4-FFF2-40B4-BE49-F238E27FC236}">
                  <a16:creationId xmlns:a16="http://schemas.microsoft.com/office/drawing/2014/main" id="{A4CB9629-4E70-40F0-ADB7-98AF33E8FA82}"/>
                </a:ext>
              </a:extLst>
            </p:cNvPr>
            <p:cNvSpPr/>
            <p:nvPr/>
          </p:nvSpPr>
          <p:spPr>
            <a:xfrm rot="8716295">
              <a:off x="4280750" y="3208965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7" name="Forme libre : forme 176">
              <a:extLst>
                <a:ext uri="{FF2B5EF4-FFF2-40B4-BE49-F238E27FC236}">
                  <a16:creationId xmlns:a16="http://schemas.microsoft.com/office/drawing/2014/main" id="{DCB1DF66-902F-43AF-B912-90C47BAC4CD5}"/>
                </a:ext>
              </a:extLst>
            </p:cNvPr>
            <p:cNvSpPr/>
            <p:nvPr/>
          </p:nvSpPr>
          <p:spPr>
            <a:xfrm rot="8716295">
              <a:off x="4091704" y="289313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8" name="Forme libre : forme 177">
              <a:extLst>
                <a:ext uri="{FF2B5EF4-FFF2-40B4-BE49-F238E27FC236}">
                  <a16:creationId xmlns:a16="http://schemas.microsoft.com/office/drawing/2014/main" id="{206347F6-E053-48F4-AFC6-9C0856F4BFCC}"/>
                </a:ext>
              </a:extLst>
            </p:cNvPr>
            <p:cNvSpPr/>
            <p:nvPr/>
          </p:nvSpPr>
          <p:spPr>
            <a:xfrm rot="8716295">
              <a:off x="4073463" y="2683080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9" name="Forme libre : forme 178">
              <a:extLst>
                <a:ext uri="{FF2B5EF4-FFF2-40B4-BE49-F238E27FC236}">
                  <a16:creationId xmlns:a16="http://schemas.microsoft.com/office/drawing/2014/main" id="{8D2A26C7-C64C-4331-AB8E-BC64F42E6746}"/>
                </a:ext>
              </a:extLst>
            </p:cNvPr>
            <p:cNvSpPr/>
            <p:nvPr/>
          </p:nvSpPr>
          <p:spPr>
            <a:xfrm rot="8716295">
              <a:off x="4417239" y="327094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0" name="Forme libre : forme 179">
              <a:extLst>
                <a:ext uri="{FF2B5EF4-FFF2-40B4-BE49-F238E27FC236}">
                  <a16:creationId xmlns:a16="http://schemas.microsoft.com/office/drawing/2014/main" id="{71D50DC1-7D15-42D6-980A-E78799DC451B}"/>
                </a:ext>
              </a:extLst>
            </p:cNvPr>
            <p:cNvSpPr/>
            <p:nvPr/>
          </p:nvSpPr>
          <p:spPr>
            <a:xfrm rot="8716295">
              <a:off x="4888185" y="2696334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" name="Forme libre : forme 180">
              <a:extLst>
                <a:ext uri="{FF2B5EF4-FFF2-40B4-BE49-F238E27FC236}">
                  <a16:creationId xmlns:a16="http://schemas.microsoft.com/office/drawing/2014/main" id="{EB82C4E3-BE8E-4F27-B36D-E48F91D55981}"/>
                </a:ext>
              </a:extLst>
            </p:cNvPr>
            <p:cNvSpPr/>
            <p:nvPr/>
          </p:nvSpPr>
          <p:spPr>
            <a:xfrm rot="8716295">
              <a:off x="5023484" y="2740593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" name="Forme libre : forme 181">
              <a:extLst>
                <a:ext uri="{FF2B5EF4-FFF2-40B4-BE49-F238E27FC236}">
                  <a16:creationId xmlns:a16="http://schemas.microsoft.com/office/drawing/2014/main" id="{8CF0FAB3-0C6A-450B-9525-29BB7A59C040}"/>
                </a:ext>
              </a:extLst>
            </p:cNvPr>
            <p:cNvSpPr/>
            <p:nvPr/>
          </p:nvSpPr>
          <p:spPr>
            <a:xfrm rot="8716295">
              <a:off x="4718314" y="283034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" name="Forme libre : forme 182">
              <a:extLst>
                <a:ext uri="{FF2B5EF4-FFF2-40B4-BE49-F238E27FC236}">
                  <a16:creationId xmlns:a16="http://schemas.microsoft.com/office/drawing/2014/main" id="{10FB87B4-C488-45C6-AE08-E0AAB6025014}"/>
                </a:ext>
              </a:extLst>
            </p:cNvPr>
            <p:cNvSpPr/>
            <p:nvPr/>
          </p:nvSpPr>
          <p:spPr>
            <a:xfrm rot="8716295">
              <a:off x="4529270" y="251451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" name="Forme libre : forme 183">
              <a:extLst>
                <a:ext uri="{FF2B5EF4-FFF2-40B4-BE49-F238E27FC236}">
                  <a16:creationId xmlns:a16="http://schemas.microsoft.com/office/drawing/2014/main" id="{780E062E-8239-40E1-A336-E5540670A1BD}"/>
                </a:ext>
              </a:extLst>
            </p:cNvPr>
            <p:cNvSpPr/>
            <p:nvPr/>
          </p:nvSpPr>
          <p:spPr>
            <a:xfrm rot="8716295">
              <a:off x="4854803" y="2892332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" name="Forme libre : forme 184">
              <a:extLst>
                <a:ext uri="{FF2B5EF4-FFF2-40B4-BE49-F238E27FC236}">
                  <a16:creationId xmlns:a16="http://schemas.microsoft.com/office/drawing/2014/main" id="{DF4CDF9E-3E83-42B9-8060-460760813751}"/>
                </a:ext>
              </a:extLst>
            </p:cNvPr>
            <p:cNvSpPr/>
            <p:nvPr/>
          </p:nvSpPr>
          <p:spPr>
            <a:xfrm rot="8716295">
              <a:off x="4489356" y="2665906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" name="Forme libre : forme 185">
              <a:extLst>
                <a:ext uri="{FF2B5EF4-FFF2-40B4-BE49-F238E27FC236}">
                  <a16:creationId xmlns:a16="http://schemas.microsoft.com/office/drawing/2014/main" id="{0A35FA8D-2DA5-4890-87D4-1B3451916FA9}"/>
                </a:ext>
              </a:extLst>
            </p:cNvPr>
            <p:cNvSpPr/>
            <p:nvPr/>
          </p:nvSpPr>
          <p:spPr>
            <a:xfrm rot="7484129">
              <a:off x="5013620" y="318195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" name="Forme libre : forme 186">
              <a:extLst>
                <a:ext uri="{FF2B5EF4-FFF2-40B4-BE49-F238E27FC236}">
                  <a16:creationId xmlns:a16="http://schemas.microsoft.com/office/drawing/2014/main" id="{E6A0D96F-008F-4023-A0B6-38102FB3F884}"/>
                </a:ext>
              </a:extLst>
            </p:cNvPr>
            <p:cNvSpPr/>
            <p:nvPr/>
          </p:nvSpPr>
          <p:spPr>
            <a:xfrm rot="13089394">
              <a:off x="5172270" y="3131298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" name="Forme libre : forme 187">
              <a:extLst>
                <a:ext uri="{FF2B5EF4-FFF2-40B4-BE49-F238E27FC236}">
                  <a16:creationId xmlns:a16="http://schemas.microsoft.com/office/drawing/2014/main" id="{34516B6B-1C6B-4061-A441-0A96C5F85F2D}"/>
                </a:ext>
              </a:extLst>
            </p:cNvPr>
            <p:cNvSpPr/>
            <p:nvPr/>
          </p:nvSpPr>
          <p:spPr>
            <a:xfrm rot="8716295">
              <a:off x="5453161" y="2841180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" name="Forme libre : forme 188">
              <a:extLst>
                <a:ext uri="{FF2B5EF4-FFF2-40B4-BE49-F238E27FC236}">
                  <a16:creationId xmlns:a16="http://schemas.microsoft.com/office/drawing/2014/main" id="{25C5FA48-0926-4D19-8036-167D5A8A0B0F}"/>
                </a:ext>
              </a:extLst>
            </p:cNvPr>
            <p:cNvSpPr/>
            <p:nvPr/>
          </p:nvSpPr>
          <p:spPr>
            <a:xfrm rot="8716295">
              <a:off x="5374752" y="268438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" name="Forme libre : forme 189">
              <a:extLst>
                <a:ext uri="{FF2B5EF4-FFF2-40B4-BE49-F238E27FC236}">
                  <a16:creationId xmlns:a16="http://schemas.microsoft.com/office/drawing/2014/main" id="{DAF894AD-B4B7-410F-8EC1-02725EF382CF}"/>
                </a:ext>
              </a:extLst>
            </p:cNvPr>
            <p:cNvSpPr/>
            <p:nvPr/>
          </p:nvSpPr>
          <p:spPr>
            <a:xfrm rot="8716295">
              <a:off x="5006588" y="273012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" name="Forme libre : forme 190">
              <a:extLst>
                <a:ext uri="{FF2B5EF4-FFF2-40B4-BE49-F238E27FC236}">
                  <a16:creationId xmlns:a16="http://schemas.microsoft.com/office/drawing/2014/main" id="{050039E8-AFBF-4BD9-96DB-778F55B5F2C4}"/>
                </a:ext>
              </a:extLst>
            </p:cNvPr>
            <p:cNvSpPr/>
            <p:nvPr/>
          </p:nvSpPr>
          <p:spPr>
            <a:xfrm rot="8716295">
              <a:off x="5275170" y="2489109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" name="Forme libre : forme 191">
              <a:extLst>
                <a:ext uri="{FF2B5EF4-FFF2-40B4-BE49-F238E27FC236}">
                  <a16:creationId xmlns:a16="http://schemas.microsoft.com/office/drawing/2014/main" id="{BAF5AA66-DC18-43A5-AAAE-6EB312E4E790}"/>
                </a:ext>
              </a:extLst>
            </p:cNvPr>
            <p:cNvSpPr/>
            <p:nvPr/>
          </p:nvSpPr>
          <p:spPr>
            <a:xfrm rot="8716295">
              <a:off x="4788394" y="407343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" name="Forme libre : forme 192">
              <a:extLst>
                <a:ext uri="{FF2B5EF4-FFF2-40B4-BE49-F238E27FC236}">
                  <a16:creationId xmlns:a16="http://schemas.microsoft.com/office/drawing/2014/main" id="{780EC621-519F-489B-BFBA-B49F228A0641}"/>
                </a:ext>
              </a:extLst>
            </p:cNvPr>
            <p:cNvSpPr/>
            <p:nvPr/>
          </p:nvSpPr>
          <p:spPr>
            <a:xfrm rot="8716295">
              <a:off x="4923693" y="411769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" name="Forme libre : forme 193">
              <a:extLst>
                <a:ext uri="{FF2B5EF4-FFF2-40B4-BE49-F238E27FC236}">
                  <a16:creationId xmlns:a16="http://schemas.microsoft.com/office/drawing/2014/main" id="{56C02974-8A88-4B14-998C-3296551B1E9D}"/>
                </a:ext>
              </a:extLst>
            </p:cNvPr>
            <p:cNvSpPr/>
            <p:nvPr/>
          </p:nvSpPr>
          <p:spPr>
            <a:xfrm rot="8716295">
              <a:off x="4855811" y="3987104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" name="Forme libre : forme 194">
              <a:extLst>
                <a:ext uri="{FF2B5EF4-FFF2-40B4-BE49-F238E27FC236}">
                  <a16:creationId xmlns:a16="http://schemas.microsoft.com/office/drawing/2014/main" id="{1315A3F8-95CA-4F67-BF42-435167A25A7A}"/>
                </a:ext>
              </a:extLst>
            </p:cNvPr>
            <p:cNvSpPr/>
            <p:nvPr/>
          </p:nvSpPr>
          <p:spPr>
            <a:xfrm rot="8716295">
              <a:off x="4618523" y="420744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" name="Forme libre : forme 195">
              <a:extLst>
                <a:ext uri="{FF2B5EF4-FFF2-40B4-BE49-F238E27FC236}">
                  <a16:creationId xmlns:a16="http://schemas.microsoft.com/office/drawing/2014/main" id="{5FBA9E77-EEAF-4196-9EB3-AAB7591C02B4}"/>
                </a:ext>
              </a:extLst>
            </p:cNvPr>
            <p:cNvSpPr/>
            <p:nvPr/>
          </p:nvSpPr>
          <p:spPr>
            <a:xfrm rot="8716295">
              <a:off x="4429477" y="389161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" name="Forme libre : forme 196">
              <a:extLst>
                <a:ext uri="{FF2B5EF4-FFF2-40B4-BE49-F238E27FC236}">
                  <a16:creationId xmlns:a16="http://schemas.microsoft.com/office/drawing/2014/main" id="{9640743B-2A63-41D0-B596-466D8A1999D1}"/>
                </a:ext>
              </a:extLst>
            </p:cNvPr>
            <p:cNvSpPr/>
            <p:nvPr/>
          </p:nvSpPr>
          <p:spPr>
            <a:xfrm rot="8716295">
              <a:off x="4411236" y="3681563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" name="Forme libre : forme 197">
              <a:extLst>
                <a:ext uri="{FF2B5EF4-FFF2-40B4-BE49-F238E27FC236}">
                  <a16:creationId xmlns:a16="http://schemas.microsoft.com/office/drawing/2014/main" id="{58E0BAB6-4A71-4FD6-9833-700BF9E78B7C}"/>
                </a:ext>
              </a:extLst>
            </p:cNvPr>
            <p:cNvSpPr/>
            <p:nvPr/>
          </p:nvSpPr>
          <p:spPr>
            <a:xfrm rot="8716295">
              <a:off x="4755012" y="4269431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" name="Forme libre : forme 198">
              <a:extLst>
                <a:ext uri="{FF2B5EF4-FFF2-40B4-BE49-F238E27FC236}">
                  <a16:creationId xmlns:a16="http://schemas.microsoft.com/office/drawing/2014/main" id="{75BB7597-AEE7-44BA-A895-6BF134870ADB}"/>
                </a:ext>
              </a:extLst>
            </p:cNvPr>
            <p:cNvSpPr/>
            <p:nvPr/>
          </p:nvSpPr>
          <p:spPr>
            <a:xfrm rot="8716295">
              <a:off x="5225958" y="3694817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" name="Forme libre : forme 199">
              <a:extLst>
                <a:ext uri="{FF2B5EF4-FFF2-40B4-BE49-F238E27FC236}">
                  <a16:creationId xmlns:a16="http://schemas.microsoft.com/office/drawing/2014/main" id="{EEB3834C-1DBD-4E8A-80F2-2243D4B0C7C6}"/>
                </a:ext>
              </a:extLst>
            </p:cNvPr>
            <p:cNvSpPr/>
            <p:nvPr/>
          </p:nvSpPr>
          <p:spPr>
            <a:xfrm rot="8716295">
              <a:off x="5364349" y="3753375"/>
              <a:ext cx="325540" cy="385611"/>
            </a:xfrm>
            <a:custGeom>
              <a:avLst/>
              <a:gdLst>
                <a:gd name="connsiteX0" fmla="*/ 8983 w 325540"/>
                <a:gd name="connsiteY0" fmla="*/ 385611 h 385611"/>
                <a:gd name="connsiteX1" fmla="*/ 8983 w 325540"/>
                <a:gd name="connsiteY1" fmla="*/ 69053 h 385611"/>
                <a:gd name="connsiteX2" fmla="*/ 0 w 325540"/>
                <a:gd name="connsiteY2" fmla="*/ 69053 h 385611"/>
                <a:gd name="connsiteX3" fmla="*/ 55019 w 325540"/>
                <a:gd name="connsiteY3" fmla="*/ 2157 h 385611"/>
                <a:gd name="connsiteX4" fmla="*/ 89675 w 325540"/>
                <a:gd name="connsiteY4" fmla="*/ 2156 h 385611"/>
                <a:gd name="connsiteX5" fmla="*/ 89674 w 325540"/>
                <a:gd name="connsiteY5" fmla="*/ 113882 h 385611"/>
                <a:gd name="connsiteX6" fmla="*/ 91743 w 325540"/>
                <a:gd name="connsiteY6" fmla="*/ 113882 h 385611"/>
                <a:gd name="connsiteX7" fmla="*/ 164159 w 325540"/>
                <a:gd name="connsiteY7" fmla="*/ 9053 h 385611"/>
                <a:gd name="connsiteX8" fmla="*/ 211745 w 325540"/>
                <a:gd name="connsiteY8" fmla="*/ 87 h 385611"/>
                <a:gd name="connsiteX9" fmla="*/ 325540 w 325540"/>
                <a:gd name="connsiteY9" fmla="*/ 133882 h 385611"/>
                <a:gd name="connsiteX10" fmla="*/ 325540 w 325540"/>
                <a:gd name="connsiteY10" fmla="*/ 142848 h 385611"/>
                <a:gd name="connsiteX11" fmla="*/ 231746 w 325540"/>
                <a:gd name="connsiteY11" fmla="*/ 148366 h 385611"/>
                <a:gd name="connsiteX12" fmla="*/ 231746 w 325540"/>
                <a:gd name="connsiteY12" fmla="*/ 123538 h 385611"/>
                <a:gd name="connsiteX13" fmla="*/ 180710 w 325540"/>
                <a:gd name="connsiteY13" fmla="*/ 60778 h 385611"/>
                <a:gd name="connsiteX14" fmla="*/ 100020 w 325540"/>
                <a:gd name="connsiteY14" fmla="*/ 193194 h 385611"/>
                <a:gd name="connsiteX15" fmla="*/ 100020 w 325540"/>
                <a:gd name="connsiteY15" fmla="*/ 323541 h 385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5540" h="385611">
                  <a:moveTo>
                    <a:pt x="8983" y="385611"/>
                  </a:moveTo>
                  <a:lnTo>
                    <a:pt x="8983" y="69053"/>
                  </a:lnTo>
                  <a:lnTo>
                    <a:pt x="0" y="69053"/>
                  </a:lnTo>
                  <a:lnTo>
                    <a:pt x="55019" y="2157"/>
                  </a:lnTo>
                  <a:lnTo>
                    <a:pt x="89675" y="2156"/>
                  </a:lnTo>
                  <a:lnTo>
                    <a:pt x="89674" y="113882"/>
                  </a:lnTo>
                  <a:lnTo>
                    <a:pt x="91743" y="113882"/>
                  </a:lnTo>
                  <a:cubicBezTo>
                    <a:pt x="113813" y="48363"/>
                    <a:pt x="131055" y="22846"/>
                    <a:pt x="164159" y="9053"/>
                  </a:cubicBezTo>
                  <a:cubicBezTo>
                    <a:pt x="179331" y="2846"/>
                    <a:pt x="195193" y="-602"/>
                    <a:pt x="211745" y="87"/>
                  </a:cubicBezTo>
                  <a:cubicBezTo>
                    <a:pt x="282781" y="-1293"/>
                    <a:pt x="325540" y="48363"/>
                    <a:pt x="325540" y="133882"/>
                  </a:cubicBezTo>
                  <a:lnTo>
                    <a:pt x="325540" y="142848"/>
                  </a:lnTo>
                  <a:lnTo>
                    <a:pt x="231746" y="148366"/>
                  </a:lnTo>
                  <a:lnTo>
                    <a:pt x="231746" y="123538"/>
                  </a:lnTo>
                  <a:cubicBezTo>
                    <a:pt x="231746" y="86296"/>
                    <a:pt x="210367" y="60778"/>
                    <a:pt x="180710" y="60778"/>
                  </a:cubicBezTo>
                  <a:cubicBezTo>
                    <a:pt x="136572" y="60777"/>
                    <a:pt x="100020" y="119400"/>
                    <a:pt x="100020" y="193194"/>
                  </a:cubicBezTo>
                  <a:lnTo>
                    <a:pt x="100020" y="3235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" name="Forme libre : forme 200">
              <a:extLst>
                <a:ext uri="{FF2B5EF4-FFF2-40B4-BE49-F238E27FC236}">
                  <a16:creationId xmlns:a16="http://schemas.microsoft.com/office/drawing/2014/main" id="{372D1467-D2E3-4216-9E90-20982CF5734F}"/>
                </a:ext>
              </a:extLst>
            </p:cNvPr>
            <p:cNvSpPr/>
            <p:nvPr/>
          </p:nvSpPr>
          <p:spPr>
            <a:xfrm rot="8716295">
              <a:off x="5056087" y="382883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" name="Forme libre : forme 201">
              <a:extLst>
                <a:ext uri="{FF2B5EF4-FFF2-40B4-BE49-F238E27FC236}">
                  <a16:creationId xmlns:a16="http://schemas.microsoft.com/office/drawing/2014/main" id="{B604E5DA-CBD2-466D-A47E-4EAA9B5B7623}"/>
                </a:ext>
              </a:extLst>
            </p:cNvPr>
            <p:cNvSpPr/>
            <p:nvPr/>
          </p:nvSpPr>
          <p:spPr>
            <a:xfrm rot="8716295">
              <a:off x="4867043" y="351299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" name="Forme libre : forme 202">
              <a:extLst>
                <a:ext uri="{FF2B5EF4-FFF2-40B4-BE49-F238E27FC236}">
                  <a16:creationId xmlns:a16="http://schemas.microsoft.com/office/drawing/2014/main" id="{E20F76FB-79A8-44FD-A97E-07BAE8CB93F0}"/>
                </a:ext>
              </a:extLst>
            </p:cNvPr>
            <p:cNvSpPr/>
            <p:nvPr/>
          </p:nvSpPr>
          <p:spPr>
            <a:xfrm rot="8716295">
              <a:off x="5192576" y="3890815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" name="Forme libre : forme 203">
              <a:extLst>
                <a:ext uri="{FF2B5EF4-FFF2-40B4-BE49-F238E27FC236}">
                  <a16:creationId xmlns:a16="http://schemas.microsoft.com/office/drawing/2014/main" id="{07DA70CF-480A-435C-9C90-6F5E70E02F28}"/>
                </a:ext>
              </a:extLst>
            </p:cNvPr>
            <p:cNvSpPr/>
            <p:nvPr/>
          </p:nvSpPr>
          <p:spPr>
            <a:xfrm rot="8716295">
              <a:off x="4827129" y="3664389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" name="Forme libre : forme 204">
              <a:extLst>
                <a:ext uri="{FF2B5EF4-FFF2-40B4-BE49-F238E27FC236}">
                  <a16:creationId xmlns:a16="http://schemas.microsoft.com/office/drawing/2014/main" id="{EFCDF1BC-CE63-46A7-BBB7-A0FD6C01682D}"/>
                </a:ext>
              </a:extLst>
            </p:cNvPr>
            <p:cNvSpPr/>
            <p:nvPr/>
          </p:nvSpPr>
          <p:spPr>
            <a:xfrm rot="7484129">
              <a:off x="5351393" y="418043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" name="Forme libre : forme 205">
              <a:extLst>
                <a:ext uri="{FF2B5EF4-FFF2-40B4-BE49-F238E27FC236}">
                  <a16:creationId xmlns:a16="http://schemas.microsoft.com/office/drawing/2014/main" id="{DC92A656-7063-4EB8-9B18-5A621F03BDBB}"/>
                </a:ext>
              </a:extLst>
            </p:cNvPr>
            <p:cNvSpPr/>
            <p:nvPr/>
          </p:nvSpPr>
          <p:spPr>
            <a:xfrm rot="13089394">
              <a:off x="5497067" y="4157639"/>
              <a:ext cx="336155" cy="433969"/>
            </a:xfrm>
            <a:custGeom>
              <a:avLst/>
              <a:gdLst>
                <a:gd name="connsiteX0" fmla="*/ 23241 w 222098"/>
                <a:gd name="connsiteY0" fmla="*/ 47275 h 286724"/>
                <a:gd name="connsiteX1" fmla="*/ 0 w 222098"/>
                <a:gd name="connsiteY1" fmla="*/ 11882 h 286724"/>
                <a:gd name="connsiteX2" fmla="*/ 22902 w 222098"/>
                <a:gd name="connsiteY2" fmla="*/ 0 h 286724"/>
                <a:gd name="connsiteX3" fmla="*/ 222098 w 222098"/>
                <a:gd name="connsiteY3" fmla="*/ 258238 h 286724"/>
                <a:gd name="connsiteX4" fmla="*/ 180472 w 222098"/>
                <a:gd name="connsiteY4" fmla="*/ 286724 h 286724"/>
                <a:gd name="connsiteX5" fmla="*/ 167667 w 222098"/>
                <a:gd name="connsiteY5" fmla="*/ 267224 h 286724"/>
                <a:gd name="connsiteX6" fmla="*/ 220995 w 222098"/>
                <a:gd name="connsiteY6" fmla="*/ 245547 h 286724"/>
                <a:gd name="connsiteX7" fmla="*/ 222098 w 222098"/>
                <a:gd name="connsiteY7" fmla="*/ 252720 h 286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2098" h="286724">
                  <a:moveTo>
                    <a:pt x="23241" y="47275"/>
                  </a:moveTo>
                  <a:lnTo>
                    <a:pt x="0" y="11882"/>
                  </a:lnTo>
                  <a:lnTo>
                    <a:pt x="22902" y="0"/>
                  </a:lnTo>
                  <a:close/>
                  <a:moveTo>
                    <a:pt x="222098" y="258238"/>
                  </a:moveTo>
                  <a:lnTo>
                    <a:pt x="180472" y="286724"/>
                  </a:lnTo>
                  <a:lnTo>
                    <a:pt x="167667" y="267224"/>
                  </a:lnTo>
                  <a:lnTo>
                    <a:pt x="220995" y="245547"/>
                  </a:lnTo>
                  <a:cubicBezTo>
                    <a:pt x="221546" y="247754"/>
                    <a:pt x="222098" y="250513"/>
                    <a:pt x="222098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" name="Forme libre : forme 206">
              <a:extLst>
                <a:ext uri="{FF2B5EF4-FFF2-40B4-BE49-F238E27FC236}">
                  <a16:creationId xmlns:a16="http://schemas.microsoft.com/office/drawing/2014/main" id="{5B6131FF-A409-4EA9-81CC-0C3D2782942F}"/>
                </a:ext>
              </a:extLst>
            </p:cNvPr>
            <p:cNvSpPr/>
            <p:nvPr/>
          </p:nvSpPr>
          <p:spPr>
            <a:xfrm rot="8716295">
              <a:off x="5689139" y="3701707"/>
              <a:ext cx="105382" cy="119090"/>
            </a:xfrm>
            <a:custGeom>
              <a:avLst/>
              <a:gdLst>
                <a:gd name="connsiteX0" fmla="*/ 0 w 69626"/>
                <a:gd name="connsiteY0" fmla="*/ 74288 h 78683"/>
                <a:gd name="connsiteX1" fmla="*/ 61446 w 69626"/>
                <a:gd name="connsiteY1" fmla="*/ 0 h 78683"/>
                <a:gd name="connsiteX2" fmla="*/ 69626 w 69626"/>
                <a:gd name="connsiteY2" fmla="*/ 19468 h 78683"/>
                <a:gd name="connsiteX3" fmla="*/ 52380 w 69626"/>
                <a:gd name="connsiteY3" fmla="*/ 61206 h 78683"/>
                <a:gd name="connsiteX4" fmla="*/ 10986 w 69626"/>
                <a:gd name="connsiteY4" fmla="*/ 78683 h 78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626" h="78683">
                  <a:moveTo>
                    <a:pt x="0" y="74288"/>
                  </a:moveTo>
                  <a:lnTo>
                    <a:pt x="61446" y="0"/>
                  </a:lnTo>
                  <a:lnTo>
                    <a:pt x="69626" y="19468"/>
                  </a:lnTo>
                  <a:cubicBezTo>
                    <a:pt x="69626" y="34531"/>
                    <a:pt x="63877" y="49708"/>
                    <a:pt x="52380" y="61206"/>
                  </a:cubicBezTo>
                  <a:cubicBezTo>
                    <a:pt x="41341" y="72244"/>
                    <a:pt x="26624" y="78683"/>
                    <a:pt x="10986" y="786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" name="Forme libre : forme 207">
              <a:extLst>
                <a:ext uri="{FF2B5EF4-FFF2-40B4-BE49-F238E27FC236}">
                  <a16:creationId xmlns:a16="http://schemas.microsoft.com/office/drawing/2014/main" id="{F418276D-8E57-4C97-A0E3-69608568D520}"/>
                </a:ext>
              </a:extLst>
            </p:cNvPr>
            <p:cNvSpPr/>
            <p:nvPr/>
          </p:nvSpPr>
          <p:spPr>
            <a:xfrm rot="8716295">
              <a:off x="5344361" y="372861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" name="Forme libre : forme 208">
              <a:extLst>
                <a:ext uri="{FF2B5EF4-FFF2-40B4-BE49-F238E27FC236}">
                  <a16:creationId xmlns:a16="http://schemas.microsoft.com/office/drawing/2014/main" id="{18CB7434-4843-4498-9ECE-196E31359917}"/>
                </a:ext>
              </a:extLst>
            </p:cNvPr>
            <p:cNvSpPr/>
            <p:nvPr/>
          </p:nvSpPr>
          <p:spPr>
            <a:xfrm rot="8716295">
              <a:off x="5599943" y="3480521"/>
              <a:ext cx="177855" cy="178203"/>
            </a:xfrm>
            <a:custGeom>
              <a:avLst/>
              <a:gdLst>
                <a:gd name="connsiteX0" fmla="*/ 17477 w 117509"/>
                <a:gd name="connsiteY0" fmla="*/ 101182 h 117739"/>
                <a:gd name="connsiteX1" fmla="*/ 0 w 117509"/>
                <a:gd name="connsiteY1" fmla="*/ 59790 h 117739"/>
                <a:gd name="connsiteX2" fmla="*/ 0 w 117509"/>
                <a:gd name="connsiteY2" fmla="*/ 58869 h 117739"/>
                <a:gd name="connsiteX3" fmla="*/ 2091 w 117509"/>
                <a:gd name="connsiteY3" fmla="*/ 48678 h 117739"/>
                <a:gd name="connsiteX4" fmla="*/ 38978 w 117509"/>
                <a:gd name="connsiteY4" fmla="*/ 4080 h 117739"/>
                <a:gd name="connsiteX5" fmla="*/ 58869 w 117509"/>
                <a:gd name="connsiteY5" fmla="*/ 0 h 117739"/>
                <a:gd name="connsiteX6" fmla="*/ 100263 w 117509"/>
                <a:gd name="connsiteY6" fmla="*/ 17477 h 117739"/>
                <a:gd name="connsiteX7" fmla="*/ 100263 w 117509"/>
                <a:gd name="connsiteY7" fmla="*/ 100262 h 117739"/>
                <a:gd name="connsiteX8" fmla="*/ 58869 w 117509"/>
                <a:gd name="connsiteY8" fmla="*/ 117739 h 117739"/>
                <a:gd name="connsiteX9" fmla="*/ 17477 w 117509"/>
                <a:gd name="connsiteY9" fmla="*/ 101182 h 117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09" h="117739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lnTo>
                    <a:pt x="2091" y="48678"/>
                  </a:lnTo>
                  <a:lnTo>
                    <a:pt x="38978" y="4080"/>
                  </a:lnTo>
                  <a:lnTo>
                    <a:pt x="58869" y="0"/>
                  </a:lnTo>
                  <a:cubicBezTo>
                    <a:pt x="74507" y="0"/>
                    <a:pt x="89224" y="6439"/>
                    <a:pt x="100263" y="17477"/>
                  </a:cubicBezTo>
                  <a:cubicBezTo>
                    <a:pt x="123258" y="39553"/>
                    <a:pt x="123258" y="77266"/>
                    <a:pt x="100263" y="100262"/>
                  </a:cubicBezTo>
                  <a:cubicBezTo>
                    <a:pt x="89224" y="111300"/>
                    <a:pt x="74507" y="117739"/>
                    <a:pt x="58869" y="117739"/>
                  </a:cubicBezTo>
                  <a:cubicBezTo>
                    <a:pt x="43233" y="117739"/>
                    <a:pt x="28515" y="112220"/>
                    <a:pt x="17477" y="10118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" name="Forme libre : forme 209">
              <a:extLst>
                <a:ext uri="{FF2B5EF4-FFF2-40B4-BE49-F238E27FC236}">
                  <a16:creationId xmlns:a16="http://schemas.microsoft.com/office/drawing/2014/main" id="{80007C47-775F-43EE-9BFF-1043A7C3649A}"/>
                </a:ext>
              </a:extLst>
            </p:cNvPr>
            <p:cNvSpPr/>
            <p:nvPr/>
          </p:nvSpPr>
          <p:spPr>
            <a:xfrm rot="8716295">
              <a:off x="5090746" y="5117279"/>
              <a:ext cx="37096" cy="40385"/>
            </a:xfrm>
            <a:custGeom>
              <a:avLst/>
              <a:gdLst>
                <a:gd name="connsiteX0" fmla="*/ 0 w 37096"/>
                <a:gd name="connsiteY0" fmla="*/ 40385 h 40385"/>
                <a:gd name="connsiteX1" fmla="*/ 0 w 37096"/>
                <a:gd name="connsiteY1" fmla="*/ 0 h 40385"/>
                <a:gd name="connsiteX2" fmla="*/ 37096 w 37096"/>
                <a:gd name="connsiteY2" fmla="*/ 25713 h 40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096" h="40385">
                  <a:moveTo>
                    <a:pt x="0" y="40385"/>
                  </a:moveTo>
                  <a:lnTo>
                    <a:pt x="0" y="0"/>
                  </a:lnTo>
                  <a:lnTo>
                    <a:pt x="37096" y="2571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" name="Forme libre : forme 210">
              <a:extLst>
                <a:ext uri="{FF2B5EF4-FFF2-40B4-BE49-F238E27FC236}">
                  <a16:creationId xmlns:a16="http://schemas.microsoft.com/office/drawing/2014/main" id="{5820CA8C-9225-440D-B86D-A9CE799D1C39}"/>
                </a:ext>
              </a:extLst>
            </p:cNvPr>
            <p:cNvSpPr/>
            <p:nvPr/>
          </p:nvSpPr>
          <p:spPr>
            <a:xfrm rot="8716295">
              <a:off x="5405706" y="5085046"/>
              <a:ext cx="60406" cy="83058"/>
            </a:xfrm>
            <a:custGeom>
              <a:avLst/>
              <a:gdLst>
                <a:gd name="connsiteX0" fmla="*/ 0 w 60406"/>
                <a:gd name="connsiteY0" fmla="*/ 83058 h 83058"/>
                <a:gd name="connsiteX1" fmla="*/ 0 w 60406"/>
                <a:gd name="connsiteY1" fmla="*/ 0 h 83058"/>
                <a:gd name="connsiteX2" fmla="*/ 60406 w 60406"/>
                <a:gd name="connsiteY2" fmla="*/ 41872 h 83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406" h="83058">
                  <a:moveTo>
                    <a:pt x="0" y="83058"/>
                  </a:moveTo>
                  <a:lnTo>
                    <a:pt x="0" y="0"/>
                  </a:lnTo>
                  <a:lnTo>
                    <a:pt x="60406" y="4187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" name="Forme libre : forme 211">
              <a:extLst>
                <a:ext uri="{FF2B5EF4-FFF2-40B4-BE49-F238E27FC236}">
                  <a16:creationId xmlns:a16="http://schemas.microsoft.com/office/drawing/2014/main" id="{14119B8B-36AC-4498-96E0-570BA8C54C01}"/>
                </a:ext>
              </a:extLst>
            </p:cNvPr>
            <p:cNvSpPr/>
            <p:nvPr/>
          </p:nvSpPr>
          <p:spPr>
            <a:xfrm rot="8716295">
              <a:off x="5207014" y="4975218"/>
              <a:ext cx="245211" cy="161994"/>
            </a:xfrm>
            <a:custGeom>
              <a:avLst/>
              <a:gdLst>
                <a:gd name="connsiteX0" fmla="*/ 8965 w 245211"/>
                <a:gd name="connsiteY0" fmla="*/ 161994 h 161994"/>
                <a:gd name="connsiteX1" fmla="*/ 0 w 245211"/>
                <a:gd name="connsiteY1" fmla="*/ 149580 h 161994"/>
                <a:gd name="connsiteX2" fmla="*/ 158971 w 245211"/>
                <a:gd name="connsiteY2" fmla="*/ 0 h 161994"/>
                <a:gd name="connsiteX3" fmla="*/ 245211 w 245211"/>
                <a:gd name="connsiteY3" fmla="*/ 59779 h 161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211" h="161994">
                  <a:moveTo>
                    <a:pt x="8965" y="161994"/>
                  </a:moveTo>
                  <a:lnTo>
                    <a:pt x="0" y="149580"/>
                  </a:lnTo>
                  <a:lnTo>
                    <a:pt x="158971" y="0"/>
                  </a:lnTo>
                  <a:lnTo>
                    <a:pt x="245211" y="5977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" name="Forme libre : forme 212">
              <a:extLst>
                <a:ext uri="{FF2B5EF4-FFF2-40B4-BE49-F238E27FC236}">
                  <a16:creationId xmlns:a16="http://schemas.microsoft.com/office/drawing/2014/main" id="{4FCFFEE2-AEF7-46AC-BCAB-E4AB6356A9CD}"/>
                </a:ext>
              </a:extLst>
            </p:cNvPr>
            <p:cNvSpPr/>
            <p:nvPr/>
          </p:nvSpPr>
          <p:spPr>
            <a:xfrm rot="8716295">
              <a:off x="4807372" y="4871188"/>
              <a:ext cx="249519" cy="296463"/>
            </a:xfrm>
            <a:custGeom>
              <a:avLst/>
              <a:gdLst>
                <a:gd name="connsiteX0" fmla="*/ 137293 w 249519"/>
                <a:gd name="connsiteY0" fmla="*/ 296463 h 296463"/>
                <a:gd name="connsiteX1" fmla="*/ 72418 w 249519"/>
                <a:gd name="connsiteY1" fmla="*/ 175766 h 296463"/>
                <a:gd name="connsiteX2" fmla="*/ 105610 w 249519"/>
                <a:gd name="connsiteY2" fmla="*/ 83734 h 296463"/>
                <a:gd name="connsiteX3" fmla="*/ 0 w 249519"/>
                <a:gd name="connsiteY3" fmla="*/ 83734 h 296463"/>
                <a:gd name="connsiteX4" fmla="*/ 0 w 249519"/>
                <a:gd name="connsiteY4" fmla="*/ 0 h 296463"/>
                <a:gd name="connsiteX5" fmla="*/ 128719 w 249519"/>
                <a:gd name="connsiteY5" fmla="*/ 0 h 296463"/>
                <a:gd name="connsiteX6" fmla="*/ 249519 w 249519"/>
                <a:gd name="connsiteY6" fmla="*/ 83734 h 296463"/>
                <a:gd name="connsiteX7" fmla="*/ 210465 w 249519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9519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128719" y="0"/>
                  </a:lnTo>
                  <a:lnTo>
                    <a:pt x="249519" y="83734"/>
                  </a:lnTo>
                  <a:lnTo>
                    <a:pt x="210465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" name="Forme libre : forme 213">
              <a:extLst>
                <a:ext uri="{FF2B5EF4-FFF2-40B4-BE49-F238E27FC236}">
                  <a16:creationId xmlns:a16="http://schemas.microsoft.com/office/drawing/2014/main" id="{1B41E071-0693-46BD-92E2-292036356EEC}"/>
                </a:ext>
              </a:extLst>
            </p:cNvPr>
            <p:cNvSpPr/>
            <p:nvPr/>
          </p:nvSpPr>
          <p:spPr>
            <a:xfrm rot="8716295">
              <a:off x="4742203" y="467807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" name="Forme libre : forme 214">
              <a:extLst>
                <a:ext uri="{FF2B5EF4-FFF2-40B4-BE49-F238E27FC236}">
                  <a16:creationId xmlns:a16="http://schemas.microsoft.com/office/drawing/2014/main" id="{3D04A71D-E109-4B4F-89C3-FA4AB19F4E1D}"/>
                </a:ext>
              </a:extLst>
            </p:cNvPr>
            <p:cNvSpPr/>
            <p:nvPr/>
          </p:nvSpPr>
          <p:spPr>
            <a:xfrm rot="8716295">
              <a:off x="5548192" y="4732447"/>
              <a:ext cx="92415" cy="287093"/>
            </a:xfrm>
            <a:custGeom>
              <a:avLst/>
              <a:gdLst>
                <a:gd name="connsiteX0" fmla="*/ 0 w 61059"/>
                <a:gd name="connsiteY0" fmla="*/ 189683 h 189683"/>
                <a:gd name="connsiteX1" fmla="*/ 1 w 61059"/>
                <a:gd name="connsiteY1" fmla="*/ 70355 h 189683"/>
                <a:gd name="connsiteX2" fmla="*/ 58192 w 61059"/>
                <a:gd name="connsiteY2" fmla="*/ 0 h 189683"/>
                <a:gd name="connsiteX3" fmla="*/ 61059 w 61059"/>
                <a:gd name="connsiteY3" fmla="*/ 7418 h 189683"/>
                <a:gd name="connsiteX4" fmla="*/ 61059 w 61059"/>
                <a:gd name="connsiteY4" fmla="*/ 165533 h 189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59" h="189683">
                  <a:moveTo>
                    <a:pt x="0" y="189683"/>
                  </a:moveTo>
                  <a:lnTo>
                    <a:pt x="1" y="70355"/>
                  </a:lnTo>
                  <a:lnTo>
                    <a:pt x="58192" y="0"/>
                  </a:lnTo>
                  <a:lnTo>
                    <a:pt x="61059" y="7418"/>
                  </a:lnTo>
                  <a:lnTo>
                    <a:pt x="61059" y="1655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" name="Forme libre : forme 215">
              <a:extLst>
                <a:ext uri="{FF2B5EF4-FFF2-40B4-BE49-F238E27FC236}">
                  <a16:creationId xmlns:a16="http://schemas.microsoft.com/office/drawing/2014/main" id="{AAC7FAB2-F735-42A2-BE55-7C8B153DECE5}"/>
                </a:ext>
              </a:extLst>
            </p:cNvPr>
            <p:cNvSpPr/>
            <p:nvPr/>
          </p:nvSpPr>
          <p:spPr>
            <a:xfrm rot="8716295">
              <a:off x="5387054" y="482534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" name="Forme libre : forme 216">
              <a:extLst>
                <a:ext uri="{FF2B5EF4-FFF2-40B4-BE49-F238E27FC236}">
                  <a16:creationId xmlns:a16="http://schemas.microsoft.com/office/drawing/2014/main" id="{4B03EBBE-E237-4565-BE6F-56E70942310E}"/>
                </a:ext>
              </a:extLst>
            </p:cNvPr>
            <p:cNvSpPr/>
            <p:nvPr/>
          </p:nvSpPr>
          <p:spPr>
            <a:xfrm rot="8716295">
              <a:off x="5198009" y="450950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" name="Forme libre : forme 217">
              <a:extLst>
                <a:ext uri="{FF2B5EF4-FFF2-40B4-BE49-F238E27FC236}">
                  <a16:creationId xmlns:a16="http://schemas.microsoft.com/office/drawing/2014/main" id="{230714BC-B4D4-483B-9F0B-D1990593F59D}"/>
                </a:ext>
              </a:extLst>
            </p:cNvPr>
            <p:cNvSpPr/>
            <p:nvPr/>
          </p:nvSpPr>
          <p:spPr>
            <a:xfrm rot="8716295">
              <a:off x="5503997" y="4913234"/>
              <a:ext cx="91035" cy="258752"/>
            </a:xfrm>
            <a:custGeom>
              <a:avLst/>
              <a:gdLst>
                <a:gd name="connsiteX0" fmla="*/ 91035 w 91035"/>
                <a:gd name="connsiteY0" fmla="*/ 258752 h 258752"/>
                <a:gd name="connsiteX1" fmla="*/ 0 w 91035"/>
                <a:gd name="connsiteY1" fmla="*/ 171163 h 258752"/>
                <a:gd name="connsiteX2" fmla="*/ 0 w 91035"/>
                <a:gd name="connsiteY2" fmla="*/ 43487 h 258752"/>
                <a:gd name="connsiteX3" fmla="*/ 35968 w 91035"/>
                <a:gd name="connsiteY3" fmla="*/ 0 h 258752"/>
                <a:gd name="connsiteX4" fmla="*/ 91035 w 91035"/>
                <a:gd name="connsiteY4" fmla="*/ 38170 h 258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035" h="258752">
                  <a:moveTo>
                    <a:pt x="91035" y="258752"/>
                  </a:moveTo>
                  <a:lnTo>
                    <a:pt x="0" y="171163"/>
                  </a:lnTo>
                  <a:lnTo>
                    <a:pt x="0" y="43487"/>
                  </a:lnTo>
                  <a:lnTo>
                    <a:pt x="35968" y="0"/>
                  </a:lnTo>
                  <a:lnTo>
                    <a:pt x="91035" y="3817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" name="Forme libre : forme 218">
              <a:extLst>
                <a:ext uri="{FF2B5EF4-FFF2-40B4-BE49-F238E27FC236}">
                  <a16:creationId xmlns:a16="http://schemas.microsoft.com/office/drawing/2014/main" id="{14A36AFC-3634-423C-BC16-BDB2283C28B3}"/>
                </a:ext>
              </a:extLst>
            </p:cNvPr>
            <p:cNvSpPr/>
            <p:nvPr/>
          </p:nvSpPr>
          <p:spPr>
            <a:xfrm rot="8716295">
              <a:off x="5158096" y="466090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" name="Forme libre : forme 219">
              <a:extLst>
                <a:ext uri="{FF2B5EF4-FFF2-40B4-BE49-F238E27FC236}">
                  <a16:creationId xmlns:a16="http://schemas.microsoft.com/office/drawing/2014/main" id="{BC237E43-FDD5-4FDC-8C88-3D3E992DDCCE}"/>
                </a:ext>
              </a:extLst>
            </p:cNvPr>
            <p:cNvSpPr/>
            <p:nvPr/>
          </p:nvSpPr>
          <p:spPr>
            <a:xfrm rot="8716295">
              <a:off x="4115344" y="2074537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" name="Forme libre : forme 220">
              <a:extLst>
                <a:ext uri="{FF2B5EF4-FFF2-40B4-BE49-F238E27FC236}">
                  <a16:creationId xmlns:a16="http://schemas.microsoft.com/office/drawing/2014/main" id="{74F2CD5F-27E1-4B05-BDE3-F9CAEE63E34B}"/>
                </a:ext>
              </a:extLst>
            </p:cNvPr>
            <p:cNvSpPr/>
            <p:nvPr/>
          </p:nvSpPr>
          <p:spPr>
            <a:xfrm rot="8716295">
              <a:off x="4250643" y="2118796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" name="Forme libre : forme 221">
              <a:extLst>
                <a:ext uri="{FF2B5EF4-FFF2-40B4-BE49-F238E27FC236}">
                  <a16:creationId xmlns:a16="http://schemas.microsoft.com/office/drawing/2014/main" id="{3D2EAE98-2CEC-4E31-BF79-1D13D51EDB3B}"/>
                </a:ext>
              </a:extLst>
            </p:cNvPr>
            <p:cNvSpPr/>
            <p:nvPr/>
          </p:nvSpPr>
          <p:spPr>
            <a:xfrm rot="8716295">
              <a:off x="4182761" y="1988208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" name="Forme libre : forme 222">
              <a:extLst>
                <a:ext uri="{FF2B5EF4-FFF2-40B4-BE49-F238E27FC236}">
                  <a16:creationId xmlns:a16="http://schemas.microsoft.com/office/drawing/2014/main" id="{F7C21745-E98A-49A1-BB89-EF4C58D2B535}"/>
                </a:ext>
              </a:extLst>
            </p:cNvPr>
            <p:cNvSpPr/>
            <p:nvPr/>
          </p:nvSpPr>
          <p:spPr>
            <a:xfrm rot="8716295">
              <a:off x="3945473" y="220855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" name="Forme libre : forme 223">
              <a:extLst>
                <a:ext uri="{FF2B5EF4-FFF2-40B4-BE49-F238E27FC236}">
                  <a16:creationId xmlns:a16="http://schemas.microsoft.com/office/drawing/2014/main" id="{3C933A0E-48CB-40A4-AD69-869889C9C116}"/>
                </a:ext>
              </a:extLst>
            </p:cNvPr>
            <p:cNvSpPr/>
            <p:nvPr/>
          </p:nvSpPr>
          <p:spPr>
            <a:xfrm rot="8716295">
              <a:off x="3756427" y="189271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" name="Forme libre : forme 224">
              <a:extLst>
                <a:ext uri="{FF2B5EF4-FFF2-40B4-BE49-F238E27FC236}">
                  <a16:creationId xmlns:a16="http://schemas.microsoft.com/office/drawing/2014/main" id="{A02DB2FC-04B5-4966-BEE6-FB30AD9722F6}"/>
                </a:ext>
              </a:extLst>
            </p:cNvPr>
            <p:cNvSpPr/>
            <p:nvPr/>
          </p:nvSpPr>
          <p:spPr>
            <a:xfrm rot="8716295">
              <a:off x="3738186" y="1682667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" name="Forme libre : forme 225">
              <a:extLst>
                <a:ext uri="{FF2B5EF4-FFF2-40B4-BE49-F238E27FC236}">
                  <a16:creationId xmlns:a16="http://schemas.microsoft.com/office/drawing/2014/main" id="{F8510F0D-1176-4749-A0F4-7938F16AABD4}"/>
                </a:ext>
              </a:extLst>
            </p:cNvPr>
            <p:cNvSpPr/>
            <p:nvPr/>
          </p:nvSpPr>
          <p:spPr>
            <a:xfrm rot="8716295">
              <a:off x="4081962" y="2270535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" name="Forme libre : forme 226">
              <a:extLst>
                <a:ext uri="{FF2B5EF4-FFF2-40B4-BE49-F238E27FC236}">
                  <a16:creationId xmlns:a16="http://schemas.microsoft.com/office/drawing/2014/main" id="{7359A2E2-1A1C-4AB5-9888-9A67C8F381ED}"/>
                </a:ext>
              </a:extLst>
            </p:cNvPr>
            <p:cNvSpPr/>
            <p:nvPr/>
          </p:nvSpPr>
          <p:spPr>
            <a:xfrm rot="8716295">
              <a:off x="4552908" y="169592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" name="Forme libre : forme 227">
              <a:extLst>
                <a:ext uri="{FF2B5EF4-FFF2-40B4-BE49-F238E27FC236}">
                  <a16:creationId xmlns:a16="http://schemas.microsoft.com/office/drawing/2014/main" id="{F162CF17-3696-46D1-BBA9-E595114BD290}"/>
                </a:ext>
              </a:extLst>
            </p:cNvPr>
            <p:cNvSpPr/>
            <p:nvPr/>
          </p:nvSpPr>
          <p:spPr>
            <a:xfrm rot="8716295">
              <a:off x="4688207" y="174018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" name="Forme libre : forme 228">
              <a:extLst>
                <a:ext uri="{FF2B5EF4-FFF2-40B4-BE49-F238E27FC236}">
                  <a16:creationId xmlns:a16="http://schemas.microsoft.com/office/drawing/2014/main" id="{CB7640C0-A77D-4C20-99F3-99AC8C5EA399}"/>
                </a:ext>
              </a:extLst>
            </p:cNvPr>
            <p:cNvSpPr/>
            <p:nvPr/>
          </p:nvSpPr>
          <p:spPr>
            <a:xfrm rot="8716295">
              <a:off x="4383037" y="182993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" name="Forme libre : forme 229">
              <a:extLst>
                <a:ext uri="{FF2B5EF4-FFF2-40B4-BE49-F238E27FC236}">
                  <a16:creationId xmlns:a16="http://schemas.microsoft.com/office/drawing/2014/main" id="{7221721D-60FE-4C4C-9396-20240CB24747}"/>
                </a:ext>
              </a:extLst>
            </p:cNvPr>
            <p:cNvSpPr/>
            <p:nvPr/>
          </p:nvSpPr>
          <p:spPr>
            <a:xfrm rot="8716295">
              <a:off x="4193993" y="151410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" name="Forme libre : forme 230">
              <a:extLst>
                <a:ext uri="{FF2B5EF4-FFF2-40B4-BE49-F238E27FC236}">
                  <a16:creationId xmlns:a16="http://schemas.microsoft.com/office/drawing/2014/main" id="{72815BA9-45F4-424C-8C61-85FB1E0CD670}"/>
                </a:ext>
              </a:extLst>
            </p:cNvPr>
            <p:cNvSpPr/>
            <p:nvPr/>
          </p:nvSpPr>
          <p:spPr>
            <a:xfrm rot="8716295">
              <a:off x="4519525" y="1891919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" name="Forme libre : forme 231">
              <a:extLst>
                <a:ext uri="{FF2B5EF4-FFF2-40B4-BE49-F238E27FC236}">
                  <a16:creationId xmlns:a16="http://schemas.microsoft.com/office/drawing/2014/main" id="{2386F46E-7D0B-4733-83CE-A3BA85A841D0}"/>
                </a:ext>
              </a:extLst>
            </p:cNvPr>
            <p:cNvSpPr/>
            <p:nvPr/>
          </p:nvSpPr>
          <p:spPr>
            <a:xfrm rot="8716295">
              <a:off x="4154079" y="1665493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" name="Forme libre : forme 232">
              <a:extLst>
                <a:ext uri="{FF2B5EF4-FFF2-40B4-BE49-F238E27FC236}">
                  <a16:creationId xmlns:a16="http://schemas.microsoft.com/office/drawing/2014/main" id="{7C49EAA5-EA80-4FD2-B8EE-8A5326A137F1}"/>
                </a:ext>
              </a:extLst>
            </p:cNvPr>
            <p:cNvSpPr/>
            <p:nvPr/>
          </p:nvSpPr>
          <p:spPr>
            <a:xfrm rot="7484129">
              <a:off x="4678343" y="218153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" name="Forme libre : forme 233">
              <a:extLst>
                <a:ext uri="{FF2B5EF4-FFF2-40B4-BE49-F238E27FC236}">
                  <a16:creationId xmlns:a16="http://schemas.microsoft.com/office/drawing/2014/main" id="{E5F42144-89A8-465A-AA8E-5830C7BF1E60}"/>
                </a:ext>
              </a:extLst>
            </p:cNvPr>
            <p:cNvSpPr/>
            <p:nvPr/>
          </p:nvSpPr>
          <p:spPr>
            <a:xfrm rot="13089394">
              <a:off x="4836993" y="2130885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" name="Forme libre : forme 234">
              <a:extLst>
                <a:ext uri="{FF2B5EF4-FFF2-40B4-BE49-F238E27FC236}">
                  <a16:creationId xmlns:a16="http://schemas.microsoft.com/office/drawing/2014/main" id="{4B643A7D-0F4D-44EF-8082-E475252D919E}"/>
                </a:ext>
              </a:extLst>
            </p:cNvPr>
            <p:cNvSpPr/>
            <p:nvPr/>
          </p:nvSpPr>
          <p:spPr>
            <a:xfrm rot="8716295">
              <a:off x="5117884" y="1840767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" name="Forme libre : forme 235">
              <a:extLst>
                <a:ext uri="{FF2B5EF4-FFF2-40B4-BE49-F238E27FC236}">
                  <a16:creationId xmlns:a16="http://schemas.microsoft.com/office/drawing/2014/main" id="{A286EB77-2A92-49EB-B662-F67A780E72C3}"/>
                </a:ext>
              </a:extLst>
            </p:cNvPr>
            <p:cNvSpPr/>
            <p:nvPr/>
          </p:nvSpPr>
          <p:spPr>
            <a:xfrm rot="8716295">
              <a:off x="5039475" y="1683975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" name="Forme libre : forme 236">
              <a:extLst>
                <a:ext uri="{FF2B5EF4-FFF2-40B4-BE49-F238E27FC236}">
                  <a16:creationId xmlns:a16="http://schemas.microsoft.com/office/drawing/2014/main" id="{D76415DF-3D0E-46A1-A992-CAEF6C90F935}"/>
                </a:ext>
              </a:extLst>
            </p:cNvPr>
            <p:cNvSpPr/>
            <p:nvPr/>
          </p:nvSpPr>
          <p:spPr>
            <a:xfrm rot="8716295">
              <a:off x="4671311" y="172971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" name="Forme libre : forme 237">
              <a:extLst>
                <a:ext uri="{FF2B5EF4-FFF2-40B4-BE49-F238E27FC236}">
                  <a16:creationId xmlns:a16="http://schemas.microsoft.com/office/drawing/2014/main" id="{22B5BB48-3533-4C75-B095-5C6392290E1E}"/>
                </a:ext>
              </a:extLst>
            </p:cNvPr>
            <p:cNvSpPr/>
            <p:nvPr/>
          </p:nvSpPr>
          <p:spPr>
            <a:xfrm rot="8716295">
              <a:off x="4939893" y="148869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" name="Forme libre : forme 238">
              <a:extLst>
                <a:ext uri="{FF2B5EF4-FFF2-40B4-BE49-F238E27FC236}">
                  <a16:creationId xmlns:a16="http://schemas.microsoft.com/office/drawing/2014/main" id="{D4F7953A-EB21-471D-9CE6-DFD037BB3D9B}"/>
                </a:ext>
              </a:extLst>
            </p:cNvPr>
            <p:cNvSpPr/>
            <p:nvPr/>
          </p:nvSpPr>
          <p:spPr>
            <a:xfrm rot="8716295">
              <a:off x="3777571" y="1076054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" name="Forme libre : forme 239">
              <a:extLst>
                <a:ext uri="{FF2B5EF4-FFF2-40B4-BE49-F238E27FC236}">
                  <a16:creationId xmlns:a16="http://schemas.microsoft.com/office/drawing/2014/main" id="{B31F3CAF-6E5C-4883-9D56-37A77E8E54A5}"/>
                </a:ext>
              </a:extLst>
            </p:cNvPr>
            <p:cNvSpPr/>
            <p:nvPr/>
          </p:nvSpPr>
          <p:spPr>
            <a:xfrm rot="8716295">
              <a:off x="3912870" y="1120313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" name="Forme libre : forme 240">
              <a:extLst>
                <a:ext uri="{FF2B5EF4-FFF2-40B4-BE49-F238E27FC236}">
                  <a16:creationId xmlns:a16="http://schemas.microsoft.com/office/drawing/2014/main" id="{C147FD5B-3693-4B4F-88B4-175EF4DCAB5D}"/>
                </a:ext>
              </a:extLst>
            </p:cNvPr>
            <p:cNvSpPr/>
            <p:nvPr/>
          </p:nvSpPr>
          <p:spPr>
            <a:xfrm rot="8716295">
              <a:off x="3844988" y="989725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" name="Forme libre : forme 241">
              <a:extLst>
                <a:ext uri="{FF2B5EF4-FFF2-40B4-BE49-F238E27FC236}">
                  <a16:creationId xmlns:a16="http://schemas.microsoft.com/office/drawing/2014/main" id="{ADDA2175-F82B-4C1C-A775-DCF7ED389EE1}"/>
                </a:ext>
              </a:extLst>
            </p:cNvPr>
            <p:cNvSpPr/>
            <p:nvPr/>
          </p:nvSpPr>
          <p:spPr>
            <a:xfrm rot="8716295">
              <a:off x="3607700" y="121006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" name="Forme libre : forme 242">
              <a:extLst>
                <a:ext uri="{FF2B5EF4-FFF2-40B4-BE49-F238E27FC236}">
                  <a16:creationId xmlns:a16="http://schemas.microsoft.com/office/drawing/2014/main" id="{3DA66E2A-B271-4CA4-B9FF-6AFE032DC966}"/>
                </a:ext>
              </a:extLst>
            </p:cNvPr>
            <p:cNvSpPr/>
            <p:nvPr/>
          </p:nvSpPr>
          <p:spPr>
            <a:xfrm rot="8716295">
              <a:off x="3418654" y="89423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" name="Forme libre : forme 243">
              <a:extLst>
                <a:ext uri="{FF2B5EF4-FFF2-40B4-BE49-F238E27FC236}">
                  <a16:creationId xmlns:a16="http://schemas.microsoft.com/office/drawing/2014/main" id="{5F0B065E-4F1B-43F1-9813-90200634675E}"/>
                </a:ext>
              </a:extLst>
            </p:cNvPr>
            <p:cNvSpPr/>
            <p:nvPr/>
          </p:nvSpPr>
          <p:spPr>
            <a:xfrm rot="8716295">
              <a:off x="3400413" y="68418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" name="Forme libre : forme 244">
              <a:extLst>
                <a:ext uri="{FF2B5EF4-FFF2-40B4-BE49-F238E27FC236}">
                  <a16:creationId xmlns:a16="http://schemas.microsoft.com/office/drawing/2014/main" id="{20854BC4-5849-4EDA-A9AD-8A9CB02779EC}"/>
                </a:ext>
              </a:extLst>
            </p:cNvPr>
            <p:cNvSpPr/>
            <p:nvPr/>
          </p:nvSpPr>
          <p:spPr>
            <a:xfrm rot="8716295">
              <a:off x="3744189" y="1272052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" name="Forme libre : forme 245">
              <a:extLst>
                <a:ext uri="{FF2B5EF4-FFF2-40B4-BE49-F238E27FC236}">
                  <a16:creationId xmlns:a16="http://schemas.microsoft.com/office/drawing/2014/main" id="{7833AF6E-AF2A-42B3-84D3-9F8F342AAC2A}"/>
                </a:ext>
              </a:extLst>
            </p:cNvPr>
            <p:cNvSpPr/>
            <p:nvPr/>
          </p:nvSpPr>
          <p:spPr>
            <a:xfrm rot="8716295">
              <a:off x="4215135" y="69743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" name="Forme libre : forme 246">
              <a:extLst>
                <a:ext uri="{FF2B5EF4-FFF2-40B4-BE49-F238E27FC236}">
                  <a16:creationId xmlns:a16="http://schemas.microsoft.com/office/drawing/2014/main" id="{5CCDB5E7-FFA9-4665-85A4-71445280D93D}"/>
                </a:ext>
              </a:extLst>
            </p:cNvPr>
            <p:cNvSpPr/>
            <p:nvPr/>
          </p:nvSpPr>
          <p:spPr>
            <a:xfrm rot="8716295">
              <a:off x="4350434" y="74169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" name="Forme libre : forme 247">
              <a:extLst>
                <a:ext uri="{FF2B5EF4-FFF2-40B4-BE49-F238E27FC236}">
                  <a16:creationId xmlns:a16="http://schemas.microsoft.com/office/drawing/2014/main" id="{2DD39E77-D511-475C-B9A4-1F96A0A8FEEA}"/>
                </a:ext>
              </a:extLst>
            </p:cNvPr>
            <p:cNvSpPr/>
            <p:nvPr/>
          </p:nvSpPr>
          <p:spPr>
            <a:xfrm rot="8716295">
              <a:off x="4045264" y="83145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" name="Forme libre : forme 248">
              <a:extLst>
                <a:ext uri="{FF2B5EF4-FFF2-40B4-BE49-F238E27FC236}">
                  <a16:creationId xmlns:a16="http://schemas.microsoft.com/office/drawing/2014/main" id="{37119436-3DF5-44F0-88C8-59BCDF9BA3E8}"/>
                </a:ext>
              </a:extLst>
            </p:cNvPr>
            <p:cNvSpPr/>
            <p:nvPr/>
          </p:nvSpPr>
          <p:spPr>
            <a:xfrm rot="8716295">
              <a:off x="3856220" y="51561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" name="Forme libre : forme 249">
              <a:extLst>
                <a:ext uri="{FF2B5EF4-FFF2-40B4-BE49-F238E27FC236}">
                  <a16:creationId xmlns:a16="http://schemas.microsoft.com/office/drawing/2014/main" id="{5EFF1AF7-D116-4A78-8A60-0881E3BE9924}"/>
                </a:ext>
              </a:extLst>
            </p:cNvPr>
            <p:cNvSpPr/>
            <p:nvPr/>
          </p:nvSpPr>
          <p:spPr>
            <a:xfrm rot="8716295">
              <a:off x="4181753" y="893436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" name="Forme libre : forme 250">
              <a:extLst>
                <a:ext uri="{FF2B5EF4-FFF2-40B4-BE49-F238E27FC236}">
                  <a16:creationId xmlns:a16="http://schemas.microsoft.com/office/drawing/2014/main" id="{C38BBAB8-EA94-46A9-B44D-F77A303742D6}"/>
                </a:ext>
              </a:extLst>
            </p:cNvPr>
            <p:cNvSpPr/>
            <p:nvPr/>
          </p:nvSpPr>
          <p:spPr>
            <a:xfrm rot="8716295">
              <a:off x="3816306" y="66701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" name="Forme libre : forme 251">
              <a:extLst>
                <a:ext uri="{FF2B5EF4-FFF2-40B4-BE49-F238E27FC236}">
                  <a16:creationId xmlns:a16="http://schemas.microsoft.com/office/drawing/2014/main" id="{726FB4EE-DE4A-475E-B9CA-BDA728B96056}"/>
                </a:ext>
              </a:extLst>
            </p:cNvPr>
            <p:cNvSpPr/>
            <p:nvPr/>
          </p:nvSpPr>
          <p:spPr>
            <a:xfrm rot="7484129">
              <a:off x="4340570" y="118305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" name="Forme libre : forme 252">
              <a:extLst>
                <a:ext uri="{FF2B5EF4-FFF2-40B4-BE49-F238E27FC236}">
                  <a16:creationId xmlns:a16="http://schemas.microsoft.com/office/drawing/2014/main" id="{3778C4A8-DD8F-40FB-BF36-85A62335E025}"/>
                </a:ext>
              </a:extLst>
            </p:cNvPr>
            <p:cNvSpPr/>
            <p:nvPr/>
          </p:nvSpPr>
          <p:spPr>
            <a:xfrm rot="13089394">
              <a:off x="4499220" y="1132402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" name="Forme libre : forme 253">
              <a:extLst>
                <a:ext uri="{FF2B5EF4-FFF2-40B4-BE49-F238E27FC236}">
                  <a16:creationId xmlns:a16="http://schemas.microsoft.com/office/drawing/2014/main" id="{E67B04C4-DF6C-4AF3-A306-EC57702A7EA7}"/>
                </a:ext>
              </a:extLst>
            </p:cNvPr>
            <p:cNvSpPr/>
            <p:nvPr/>
          </p:nvSpPr>
          <p:spPr>
            <a:xfrm rot="8716295">
              <a:off x="4780111" y="842284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" name="Forme libre : forme 254">
              <a:extLst>
                <a:ext uri="{FF2B5EF4-FFF2-40B4-BE49-F238E27FC236}">
                  <a16:creationId xmlns:a16="http://schemas.microsoft.com/office/drawing/2014/main" id="{0C3B947F-A89B-45FB-9A8F-3A9BCC6CD484}"/>
                </a:ext>
              </a:extLst>
            </p:cNvPr>
            <p:cNvSpPr/>
            <p:nvPr/>
          </p:nvSpPr>
          <p:spPr>
            <a:xfrm rot="8716295">
              <a:off x="4701702" y="68549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" name="Forme libre : forme 255">
              <a:extLst>
                <a:ext uri="{FF2B5EF4-FFF2-40B4-BE49-F238E27FC236}">
                  <a16:creationId xmlns:a16="http://schemas.microsoft.com/office/drawing/2014/main" id="{65FF4858-B1A0-42D2-ADCA-DB484EB1FE6D}"/>
                </a:ext>
              </a:extLst>
            </p:cNvPr>
            <p:cNvSpPr/>
            <p:nvPr/>
          </p:nvSpPr>
          <p:spPr>
            <a:xfrm rot="8716295">
              <a:off x="4333538" y="73123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" name="Forme libre : forme 256">
              <a:extLst>
                <a:ext uri="{FF2B5EF4-FFF2-40B4-BE49-F238E27FC236}">
                  <a16:creationId xmlns:a16="http://schemas.microsoft.com/office/drawing/2014/main" id="{28C1BE2D-A511-4E2F-AC16-ED6DA95D0016}"/>
                </a:ext>
              </a:extLst>
            </p:cNvPr>
            <p:cNvSpPr/>
            <p:nvPr/>
          </p:nvSpPr>
          <p:spPr>
            <a:xfrm rot="8716295">
              <a:off x="4602120" y="49021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" name="Forme libre : forme 257">
              <a:extLst>
                <a:ext uri="{FF2B5EF4-FFF2-40B4-BE49-F238E27FC236}">
                  <a16:creationId xmlns:a16="http://schemas.microsoft.com/office/drawing/2014/main" id="{414A6022-94D3-4CA0-800F-BAEAE0FC105C}"/>
                </a:ext>
              </a:extLst>
            </p:cNvPr>
            <p:cNvSpPr/>
            <p:nvPr/>
          </p:nvSpPr>
          <p:spPr>
            <a:xfrm rot="8716295">
              <a:off x="3446198" y="7400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" name="Forme libre : forme 258">
              <a:extLst>
                <a:ext uri="{FF2B5EF4-FFF2-40B4-BE49-F238E27FC236}">
                  <a16:creationId xmlns:a16="http://schemas.microsoft.com/office/drawing/2014/main" id="{2CDD9144-31FA-487A-AF8B-34A135FB089A}"/>
                </a:ext>
              </a:extLst>
            </p:cNvPr>
            <p:cNvSpPr/>
            <p:nvPr/>
          </p:nvSpPr>
          <p:spPr>
            <a:xfrm rot="8716295">
              <a:off x="3581496" y="11826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" name="Forme libre : forme 259">
              <a:extLst>
                <a:ext uri="{FF2B5EF4-FFF2-40B4-BE49-F238E27FC236}">
                  <a16:creationId xmlns:a16="http://schemas.microsoft.com/office/drawing/2014/main" id="{7FE16051-BF2A-4B51-837A-7B2C211B57E4}"/>
                </a:ext>
              </a:extLst>
            </p:cNvPr>
            <p:cNvSpPr/>
            <p:nvPr/>
          </p:nvSpPr>
          <p:spPr>
            <a:xfrm rot="8716295">
              <a:off x="3522597" y="36248"/>
              <a:ext cx="234675" cy="172489"/>
            </a:xfrm>
            <a:custGeom>
              <a:avLst/>
              <a:gdLst>
                <a:gd name="connsiteX0" fmla="*/ 25756 w 155050"/>
                <a:gd name="connsiteY0" fmla="*/ 113964 h 113964"/>
                <a:gd name="connsiteX1" fmla="*/ 0 w 155050"/>
                <a:gd name="connsiteY1" fmla="*/ 96110 h 113964"/>
                <a:gd name="connsiteX2" fmla="*/ 72120 w 155050"/>
                <a:gd name="connsiteY2" fmla="*/ 28251 h 113964"/>
                <a:gd name="connsiteX3" fmla="*/ 126799 w 155050"/>
                <a:gd name="connsiteY3" fmla="*/ 0 h 113964"/>
                <a:gd name="connsiteX4" fmla="*/ 155050 w 155050"/>
                <a:gd name="connsiteY4" fmla="*/ 33719 h 113964"/>
                <a:gd name="connsiteX5" fmla="*/ 128622 w 155050"/>
                <a:gd name="connsiteY5" fmla="*/ 69261 h 113964"/>
                <a:gd name="connsiteX6" fmla="*/ 129077 w 155050"/>
                <a:gd name="connsiteY6" fmla="*/ 69261 h 113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5050" h="113964">
                  <a:moveTo>
                    <a:pt x="25756" y="113964"/>
                  </a:moveTo>
                  <a:lnTo>
                    <a:pt x="0" y="96110"/>
                  </a:lnTo>
                  <a:lnTo>
                    <a:pt x="72120" y="28251"/>
                  </a:lnTo>
                  <a:cubicBezTo>
                    <a:pt x="85790" y="12303"/>
                    <a:pt x="105383" y="2279"/>
                    <a:pt x="126799" y="0"/>
                  </a:cubicBezTo>
                  <a:cubicBezTo>
                    <a:pt x="148671" y="0"/>
                    <a:pt x="155050" y="19138"/>
                    <a:pt x="155050" y="33719"/>
                  </a:cubicBezTo>
                  <a:cubicBezTo>
                    <a:pt x="153683" y="49668"/>
                    <a:pt x="143203" y="62882"/>
                    <a:pt x="128622" y="69261"/>
                  </a:cubicBezTo>
                  <a:lnTo>
                    <a:pt x="129077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" name="Forme libre : forme 260">
              <a:extLst>
                <a:ext uri="{FF2B5EF4-FFF2-40B4-BE49-F238E27FC236}">
                  <a16:creationId xmlns:a16="http://schemas.microsoft.com/office/drawing/2014/main" id="{FB6AA26B-D49A-416A-8CAC-16E489B31447}"/>
                </a:ext>
              </a:extLst>
            </p:cNvPr>
            <p:cNvSpPr/>
            <p:nvPr/>
          </p:nvSpPr>
          <p:spPr>
            <a:xfrm rot="8716295">
              <a:off x="3276327" y="20801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" name="Forme libre : forme 261">
              <a:extLst>
                <a:ext uri="{FF2B5EF4-FFF2-40B4-BE49-F238E27FC236}">
                  <a16:creationId xmlns:a16="http://schemas.microsoft.com/office/drawing/2014/main" id="{28AC6B7B-6FBF-49BE-A75A-A0128A514084}"/>
                </a:ext>
              </a:extLst>
            </p:cNvPr>
            <p:cNvSpPr/>
            <p:nvPr/>
          </p:nvSpPr>
          <p:spPr>
            <a:xfrm rot="8716295">
              <a:off x="3107933" y="-20072"/>
              <a:ext cx="308531" cy="199994"/>
            </a:xfrm>
            <a:custGeom>
              <a:avLst/>
              <a:gdLst>
                <a:gd name="connsiteX0" fmla="*/ 112633 w 203847"/>
                <a:gd name="connsiteY0" fmla="*/ 132136 h 132136"/>
                <a:gd name="connsiteX1" fmla="*/ 56185 w 203847"/>
                <a:gd name="connsiteY1" fmla="*/ 93008 h 132136"/>
                <a:gd name="connsiteX2" fmla="*/ 69777 w 203847"/>
                <a:gd name="connsiteY2" fmla="*/ 55323 h 132136"/>
                <a:gd name="connsiteX3" fmla="*/ 1818 w 203847"/>
                <a:gd name="connsiteY3" fmla="*/ 55323 h 132136"/>
                <a:gd name="connsiteX4" fmla="*/ 0 w 203847"/>
                <a:gd name="connsiteY4" fmla="*/ 54062 h 132136"/>
                <a:gd name="connsiteX5" fmla="*/ 0 w 203847"/>
                <a:gd name="connsiteY5" fmla="*/ 0 h 132136"/>
                <a:gd name="connsiteX6" fmla="*/ 203847 w 203847"/>
                <a:gd name="connsiteY6" fmla="*/ 0 h 132136"/>
                <a:gd name="connsiteX7" fmla="*/ 203847 w 203847"/>
                <a:gd name="connsiteY7" fmla="*/ 55323 h 132136"/>
                <a:gd name="connsiteX8" fmla="*/ 139055 w 203847"/>
                <a:gd name="connsiteY8" fmla="*/ 55323 h 132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32136">
                  <a:moveTo>
                    <a:pt x="112633" y="132136"/>
                  </a:moveTo>
                  <a:lnTo>
                    <a:pt x="56185" y="93008"/>
                  </a:lnTo>
                  <a:lnTo>
                    <a:pt x="69777" y="55323"/>
                  </a:lnTo>
                  <a:lnTo>
                    <a:pt x="1818" y="55323"/>
                  </a:lnTo>
                  <a:lnTo>
                    <a:pt x="0" y="54062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" name="Forme libre : forme 262">
              <a:extLst>
                <a:ext uri="{FF2B5EF4-FFF2-40B4-BE49-F238E27FC236}">
                  <a16:creationId xmlns:a16="http://schemas.microsoft.com/office/drawing/2014/main" id="{CE04BDAF-0764-44CB-B173-496F062D8434}"/>
                </a:ext>
              </a:extLst>
            </p:cNvPr>
            <p:cNvSpPr/>
            <p:nvPr/>
          </p:nvSpPr>
          <p:spPr>
            <a:xfrm rot="8716295">
              <a:off x="3475628" y="-31540"/>
              <a:ext cx="98161" cy="118527"/>
            </a:xfrm>
            <a:custGeom>
              <a:avLst/>
              <a:gdLst>
                <a:gd name="connsiteX0" fmla="*/ 64855 w 64855"/>
                <a:gd name="connsiteY0" fmla="*/ 78311 h 78311"/>
                <a:gd name="connsiteX1" fmla="*/ 0 w 64855"/>
                <a:gd name="connsiteY1" fmla="*/ 33356 h 78311"/>
                <a:gd name="connsiteX2" fmla="*/ 64294 w 64855"/>
                <a:gd name="connsiteY2" fmla="*/ 0 h 78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855" h="78311">
                  <a:moveTo>
                    <a:pt x="64855" y="78311"/>
                  </a:moveTo>
                  <a:lnTo>
                    <a:pt x="0" y="33356"/>
                  </a:lnTo>
                  <a:lnTo>
                    <a:pt x="64294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" name="Forme libre : forme 263">
              <a:extLst>
                <a:ext uri="{FF2B5EF4-FFF2-40B4-BE49-F238E27FC236}">
                  <a16:creationId xmlns:a16="http://schemas.microsoft.com/office/drawing/2014/main" id="{79FA5AFC-AB70-4D92-BC44-1181877F58C8}"/>
                </a:ext>
              </a:extLst>
            </p:cNvPr>
            <p:cNvSpPr/>
            <p:nvPr/>
          </p:nvSpPr>
          <p:spPr>
            <a:xfrm rot="8716295">
              <a:off x="3412815" y="26999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" name="Forme libre : forme 264">
              <a:extLst>
                <a:ext uri="{FF2B5EF4-FFF2-40B4-BE49-F238E27FC236}">
                  <a16:creationId xmlns:a16="http://schemas.microsoft.com/office/drawing/2014/main" id="{3C1D95D8-2F29-45A0-9BA8-42D88BD37B32}"/>
                </a:ext>
              </a:extLst>
            </p:cNvPr>
            <p:cNvSpPr/>
            <p:nvPr/>
          </p:nvSpPr>
          <p:spPr>
            <a:xfrm rot="8716295">
              <a:off x="3966406" y="-35912"/>
              <a:ext cx="123741" cy="85774"/>
            </a:xfrm>
            <a:custGeom>
              <a:avLst/>
              <a:gdLst>
                <a:gd name="connsiteX0" fmla="*/ 81756 w 81756"/>
                <a:gd name="connsiteY0" fmla="*/ 56671 h 56671"/>
                <a:gd name="connsiteX1" fmla="*/ 0 w 81756"/>
                <a:gd name="connsiteY1" fmla="*/ 0 h 56671"/>
                <a:gd name="connsiteX2" fmla="*/ 24798 w 81756"/>
                <a:gd name="connsiteY2" fmla="*/ 0 h 56671"/>
                <a:gd name="connsiteX3" fmla="*/ 81756 w 81756"/>
                <a:gd name="connsiteY3" fmla="*/ 50123 h 56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1756" h="56671">
                  <a:moveTo>
                    <a:pt x="81756" y="56671"/>
                  </a:moveTo>
                  <a:lnTo>
                    <a:pt x="0" y="0"/>
                  </a:lnTo>
                  <a:lnTo>
                    <a:pt x="24798" y="0"/>
                  </a:lnTo>
                  <a:cubicBezTo>
                    <a:pt x="61707" y="0"/>
                    <a:pt x="81756" y="15949"/>
                    <a:pt x="81756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" name="Forme libre : forme 265">
              <a:extLst>
                <a:ext uri="{FF2B5EF4-FFF2-40B4-BE49-F238E27FC236}">
                  <a16:creationId xmlns:a16="http://schemas.microsoft.com/office/drawing/2014/main" id="{58EB0588-BD8B-459E-AF8B-F1A7C9A84E72}"/>
                </a:ext>
              </a:extLst>
            </p:cNvPr>
            <p:cNvSpPr/>
            <p:nvPr/>
          </p:nvSpPr>
          <p:spPr>
            <a:xfrm rot="8716295">
              <a:off x="4089146" y="-31808"/>
              <a:ext cx="332088" cy="148365"/>
            </a:xfrm>
            <a:custGeom>
              <a:avLst/>
              <a:gdLst>
                <a:gd name="connsiteX0" fmla="*/ 63575 w 219411"/>
                <a:gd name="connsiteY0" fmla="*/ 45493 h 98025"/>
                <a:gd name="connsiteX1" fmla="*/ 0 w 219411"/>
                <a:gd name="connsiteY1" fmla="*/ 1425 h 98025"/>
                <a:gd name="connsiteX2" fmla="*/ 63575 w 219411"/>
                <a:gd name="connsiteY2" fmla="*/ 1425 h 98025"/>
                <a:gd name="connsiteX3" fmla="*/ 88634 w 219411"/>
                <a:gd name="connsiteY3" fmla="*/ 62863 h 98025"/>
                <a:gd name="connsiteX4" fmla="*/ 73596 w 219411"/>
                <a:gd name="connsiteY4" fmla="*/ 52439 h 98025"/>
                <a:gd name="connsiteX5" fmla="*/ 75493 w 219411"/>
                <a:gd name="connsiteY5" fmla="*/ 47439 h 98025"/>
                <a:gd name="connsiteX6" fmla="*/ 112786 w 219411"/>
                <a:gd name="connsiteY6" fmla="*/ 5981 h 98025"/>
                <a:gd name="connsiteX7" fmla="*/ 144227 w 219411"/>
                <a:gd name="connsiteY7" fmla="*/ 57 h 98025"/>
                <a:gd name="connsiteX8" fmla="*/ 219411 w 219411"/>
                <a:gd name="connsiteY8" fmla="*/ 88456 h 98025"/>
                <a:gd name="connsiteX9" fmla="*/ 219411 w 219411"/>
                <a:gd name="connsiteY9" fmla="*/ 94380 h 98025"/>
                <a:gd name="connsiteX10" fmla="*/ 157441 w 219411"/>
                <a:gd name="connsiteY10" fmla="*/ 98025 h 98025"/>
                <a:gd name="connsiteX11" fmla="*/ 157441 w 219411"/>
                <a:gd name="connsiteY11" fmla="*/ 81621 h 98025"/>
                <a:gd name="connsiteX12" fmla="*/ 123722 w 219411"/>
                <a:gd name="connsiteY12" fmla="*/ 40156 h 98025"/>
                <a:gd name="connsiteX13" fmla="*/ 103089 w 219411"/>
                <a:gd name="connsiteY13" fmla="*/ 46969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9411" h="98025">
                  <a:moveTo>
                    <a:pt x="63575" y="45493"/>
                  </a:moveTo>
                  <a:lnTo>
                    <a:pt x="0" y="1425"/>
                  </a:lnTo>
                  <a:lnTo>
                    <a:pt x="63575" y="1425"/>
                  </a:lnTo>
                  <a:close/>
                  <a:moveTo>
                    <a:pt x="88634" y="62863"/>
                  </a:moveTo>
                  <a:lnTo>
                    <a:pt x="73596" y="52439"/>
                  </a:lnTo>
                  <a:lnTo>
                    <a:pt x="75493" y="47439"/>
                  </a:lnTo>
                  <a:cubicBezTo>
                    <a:pt x="85874" y="24008"/>
                    <a:pt x="96382" y="12816"/>
                    <a:pt x="112786" y="5981"/>
                  </a:cubicBezTo>
                  <a:cubicBezTo>
                    <a:pt x="122811" y="1880"/>
                    <a:pt x="133291" y="-398"/>
                    <a:pt x="144227" y="57"/>
                  </a:cubicBezTo>
                  <a:cubicBezTo>
                    <a:pt x="191160" y="-854"/>
                    <a:pt x="219411" y="31954"/>
                    <a:pt x="219411" y="88456"/>
                  </a:cubicBezTo>
                  <a:lnTo>
                    <a:pt x="219411" y="94380"/>
                  </a:lnTo>
                  <a:lnTo>
                    <a:pt x="157441" y="98025"/>
                  </a:lnTo>
                  <a:lnTo>
                    <a:pt x="157441" y="81621"/>
                  </a:lnTo>
                  <a:cubicBezTo>
                    <a:pt x="157441" y="57016"/>
                    <a:pt x="143316" y="40156"/>
                    <a:pt x="123722" y="40156"/>
                  </a:cubicBezTo>
                  <a:cubicBezTo>
                    <a:pt x="116431" y="40156"/>
                    <a:pt x="109454" y="42577"/>
                    <a:pt x="103089" y="4696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" name="Forme libre : forme 266">
              <a:extLst>
                <a:ext uri="{FF2B5EF4-FFF2-40B4-BE49-F238E27FC236}">
                  <a16:creationId xmlns:a16="http://schemas.microsoft.com/office/drawing/2014/main" id="{8BF71B65-6E28-4BBD-90CF-EB6990FA2B3D}"/>
                </a:ext>
              </a:extLst>
            </p:cNvPr>
            <p:cNvSpPr/>
            <p:nvPr/>
          </p:nvSpPr>
          <p:spPr>
            <a:xfrm rot="8716295">
              <a:off x="3850379" y="-108618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" name="Forme libre : forme 267">
              <a:extLst>
                <a:ext uri="{FF2B5EF4-FFF2-40B4-BE49-F238E27FC236}">
                  <a16:creationId xmlns:a16="http://schemas.microsoft.com/office/drawing/2014/main" id="{C234B460-A852-4BC6-9223-625373ACE475}"/>
                </a:ext>
              </a:extLst>
            </p:cNvPr>
            <p:cNvSpPr/>
            <p:nvPr/>
          </p:nvSpPr>
          <p:spPr>
            <a:xfrm rot="7484129">
              <a:off x="4009196" y="18100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" name="Forme libre : forme 268">
              <a:extLst>
                <a:ext uri="{FF2B5EF4-FFF2-40B4-BE49-F238E27FC236}">
                  <a16:creationId xmlns:a16="http://schemas.microsoft.com/office/drawing/2014/main" id="{ED1521F3-7A8A-439A-8C00-B7EE31751298}"/>
                </a:ext>
              </a:extLst>
            </p:cNvPr>
            <p:cNvSpPr/>
            <p:nvPr/>
          </p:nvSpPr>
          <p:spPr>
            <a:xfrm rot="13089394">
              <a:off x="4167846" y="130348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0" name="Forme libre : forme 269">
              <a:extLst>
                <a:ext uri="{FF2B5EF4-FFF2-40B4-BE49-F238E27FC236}">
                  <a16:creationId xmlns:a16="http://schemas.microsoft.com/office/drawing/2014/main" id="{33189A82-B861-4219-AF6A-9F08FA6A03EE}"/>
                </a:ext>
              </a:extLst>
            </p:cNvPr>
            <p:cNvSpPr/>
            <p:nvPr/>
          </p:nvSpPr>
          <p:spPr>
            <a:xfrm rot="8716295">
              <a:off x="4488057" y="-10608"/>
              <a:ext cx="169580" cy="136116"/>
            </a:xfrm>
            <a:custGeom>
              <a:avLst/>
              <a:gdLst>
                <a:gd name="connsiteX0" fmla="*/ 62355 w 112042"/>
                <a:gd name="connsiteY0" fmla="*/ 89932 h 89932"/>
                <a:gd name="connsiteX1" fmla="*/ 0 w 112042"/>
                <a:gd name="connsiteY1" fmla="*/ 46710 h 89932"/>
                <a:gd name="connsiteX2" fmla="*/ 14231 w 112042"/>
                <a:gd name="connsiteY2" fmla="*/ 33321 h 89932"/>
                <a:gd name="connsiteX3" fmla="*/ 78722 w 112042"/>
                <a:gd name="connsiteY3" fmla="*/ 0 h 89932"/>
                <a:gd name="connsiteX4" fmla="*/ 112042 w 112042"/>
                <a:gd name="connsiteY4" fmla="*/ 39770 h 89932"/>
                <a:gd name="connsiteX5" fmla="*/ 80872 w 112042"/>
                <a:gd name="connsiteY5" fmla="*/ 81689 h 89932"/>
                <a:gd name="connsiteX6" fmla="*/ 81408 w 112042"/>
                <a:gd name="connsiteY6" fmla="*/ 81689 h 89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2042" h="89932">
                  <a:moveTo>
                    <a:pt x="62355" y="89932"/>
                  </a:moveTo>
                  <a:lnTo>
                    <a:pt x="0" y="46710"/>
                  </a:lnTo>
                  <a:lnTo>
                    <a:pt x="14231" y="33321"/>
                  </a:lnTo>
                  <a:cubicBezTo>
                    <a:pt x="30353" y="14511"/>
                    <a:pt x="53462" y="2687"/>
                    <a:pt x="78722" y="0"/>
                  </a:cubicBezTo>
                  <a:cubicBezTo>
                    <a:pt x="104518" y="0"/>
                    <a:pt x="112042" y="22572"/>
                    <a:pt x="112042" y="39770"/>
                  </a:cubicBezTo>
                  <a:cubicBezTo>
                    <a:pt x="110429" y="58580"/>
                    <a:pt x="98068" y="74165"/>
                    <a:pt x="80872" y="81689"/>
                  </a:cubicBezTo>
                  <a:lnTo>
                    <a:pt x="81408" y="816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1" name="Forme libre : forme 270">
              <a:extLst>
                <a:ext uri="{FF2B5EF4-FFF2-40B4-BE49-F238E27FC236}">
                  <a16:creationId xmlns:a16="http://schemas.microsoft.com/office/drawing/2014/main" id="{1EF7387F-9F93-4D5B-AD0B-A9B5B150D750}"/>
                </a:ext>
              </a:extLst>
            </p:cNvPr>
            <p:cNvSpPr/>
            <p:nvPr/>
          </p:nvSpPr>
          <p:spPr>
            <a:xfrm rot="8716295">
              <a:off x="3111565" y="373623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2" name="Forme libre : forme 271">
              <a:extLst>
                <a:ext uri="{FF2B5EF4-FFF2-40B4-BE49-F238E27FC236}">
                  <a16:creationId xmlns:a16="http://schemas.microsoft.com/office/drawing/2014/main" id="{B4768996-8D29-4ED8-9892-576EE6810B22}"/>
                </a:ext>
              </a:extLst>
            </p:cNvPr>
            <p:cNvSpPr/>
            <p:nvPr/>
          </p:nvSpPr>
          <p:spPr>
            <a:xfrm rot="8716295">
              <a:off x="3246864" y="378049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3" name="Forme libre : forme 272">
              <a:extLst>
                <a:ext uri="{FF2B5EF4-FFF2-40B4-BE49-F238E27FC236}">
                  <a16:creationId xmlns:a16="http://schemas.microsoft.com/office/drawing/2014/main" id="{303FB1DD-DCD5-4C62-8A14-00277F3DAA40}"/>
                </a:ext>
              </a:extLst>
            </p:cNvPr>
            <p:cNvSpPr/>
            <p:nvPr/>
          </p:nvSpPr>
          <p:spPr>
            <a:xfrm rot="8716295">
              <a:off x="3178981" y="3649901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4" name="Forme libre : forme 273">
              <a:extLst>
                <a:ext uri="{FF2B5EF4-FFF2-40B4-BE49-F238E27FC236}">
                  <a16:creationId xmlns:a16="http://schemas.microsoft.com/office/drawing/2014/main" id="{FE02E440-C3F4-4D87-B8DD-6EFE0A4EF84D}"/>
                </a:ext>
              </a:extLst>
            </p:cNvPr>
            <p:cNvSpPr/>
            <p:nvPr/>
          </p:nvSpPr>
          <p:spPr>
            <a:xfrm rot="8716295">
              <a:off x="2941694" y="387024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5" name="Forme libre : forme 274">
              <a:extLst>
                <a:ext uri="{FF2B5EF4-FFF2-40B4-BE49-F238E27FC236}">
                  <a16:creationId xmlns:a16="http://schemas.microsoft.com/office/drawing/2014/main" id="{79A8277D-0F31-4A40-BC3D-FDA2697AD79E}"/>
                </a:ext>
              </a:extLst>
            </p:cNvPr>
            <p:cNvSpPr/>
            <p:nvPr/>
          </p:nvSpPr>
          <p:spPr>
            <a:xfrm rot="8716295">
              <a:off x="2752648" y="355441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6" name="Forme libre : forme 275">
              <a:extLst>
                <a:ext uri="{FF2B5EF4-FFF2-40B4-BE49-F238E27FC236}">
                  <a16:creationId xmlns:a16="http://schemas.microsoft.com/office/drawing/2014/main" id="{FDF6C6F6-1950-4480-853C-710CE9CA14A1}"/>
                </a:ext>
              </a:extLst>
            </p:cNvPr>
            <p:cNvSpPr/>
            <p:nvPr/>
          </p:nvSpPr>
          <p:spPr>
            <a:xfrm rot="8716295">
              <a:off x="2734407" y="334436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7" name="Forme libre : forme 276">
              <a:extLst>
                <a:ext uri="{FF2B5EF4-FFF2-40B4-BE49-F238E27FC236}">
                  <a16:creationId xmlns:a16="http://schemas.microsoft.com/office/drawing/2014/main" id="{F7DE91C7-8472-4B32-8DA3-B40AD12704F7}"/>
                </a:ext>
              </a:extLst>
            </p:cNvPr>
            <p:cNvSpPr/>
            <p:nvPr/>
          </p:nvSpPr>
          <p:spPr>
            <a:xfrm rot="8716295">
              <a:off x="3078183" y="393222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8" name="Forme libre : forme 277">
              <a:extLst>
                <a:ext uri="{FF2B5EF4-FFF2-40B4-BE49-F238E27FC236}">
                  <a16:creationId xmlns:a16="http://schemas.microsoft.com/office/drawing/2014/main" id="{56FC047B-D272-4172-A288-45148C4BFE0D}"/>
                </a:ext>
              </a:extLst>
            </p:cNvPr>
            <p:cNvSpPr/>
            <p:nvPr/>
          </p:nvSpPr>
          <p:spPr>
            <a:xfrm rot="8716295">
              <a:off x="3549129" y="335761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9" name="Forme libre : forme 278">
              <a:extLst>
                <a:ext uri="{FF2B5EF4-FFF2-40B4-BE49-F238E27FC236}">
                  <a16:creationId xmlns:a16="http://schemas.microsoft.com/office/drawing/2014/main" id="{B13EC7A5-2676-4C63-B64E-8B2F38021996}"/>
                </a:ext>
              </a:extLst>
            </p:cNvPr>
            <p:cNvSpPr/>
            <p:nvPr/>
          </p:nvSpPr>
          <p:spPr>
            <a:xfrm rot="8716295">
              <a:off x="3684428" y="340187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0" name="Forme libre : forme 279">
              <a:extLst>
                <a:ext uri="{FF2B5EF4-FFF2-40B4-BE49-F238E27FC236}">
                  <a16:creationId xmlns:a16="http://schemas.microsoft.com/office/drawing/2014/main" id="{6ECF7C58-1973-4F69-8DD3-556AA77C8D04}"/>
                </a:ext>
              </a:extLst>
            </p:cNvPr>
            <p:cNvSpPr/>
            <p:nvPr/>
          </p:nvSpPr>
          <p:spPr>
            <a:xfrm rot="8716295">
              <a:off x="3379258" y="349163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1" name="Forme libre : forme 280">
              <a:extLst>
                <a:ext uri="{FF2B5EF4-FFF2-40B4-BE49-F238E27FC236}">
                  <a16:creationId xmlns:a16="http://schemas.microsoft.com/office/drawing/2014/main" id="{2B29EFE5-ACFF-4048-807E-18A0A68A503E}"/>
                </a:ext>
              </a:extLst>
            </p:cNvPr>
            <p:cNvSpPr/>
            <p:nvPr/>
          </p:nvSpPr>
          <p:spPr>
            <a:xfrm rot="8716295">
              <a:off x="3190213" y="317579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2" name="Forme libre : forme 281">
              <a:extLst>
                <a:ext uri="{FF2B5EF4-FFF2-40B4-BE49-F238E27FC236}">
                  <a16:creationId xmlns:a16="http://schemas.microsoft.com/office/drawing/2014/main" id="{09E572E1-09FC-45A6-A1BF-D06157BE552F}"/>
                </a:ext>
              </a:extLst>
            </p:cNvPr>
            <p:cNvSpPr/>
            <p:nvPr/>
          </p:nvSpPr>
          <p:spPr>
            <a:xfrm rot="8716295">
              <a:off x="3515746" y="3553613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3" name="Forme libre : forme 282">
              <a:extLst>
                <a:ext uri="{FF2B5EF4-FFF2-40B4-BE49-F238E27FC236}">
                  <a16:creationId xmlns:a16="http://schemas.microsoft.com/office/drawing/2014/main" id="{85DB8E68-2D02-4177-B998-21F4EDDAA547}"/>
                </a:ext>
              </a:extLst>
            </p:cNvPr>
            <p:cNvSpPr/>
            <p:nvPr/>
          </p:nvSpPr>
          <p:spPr>
            <a:xfrm rot="8716295">
              <a:off x="3150300" y="332718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4" name="Forme libre : forme 283">
              <a:extLst>
                <a:ext uri="{FF2B5EF4-FFF2-40B4-BE49-F238E27FC236}">
                  <a16:creationId xmlns:a16="http://schemas.microsoft.com/office/drawing/2014/main" id="{833C9746-3293-4FB8-8420-FBDB2ADD8FDE}"/>
                </a:ext>
              </a:extLst>
            </p:cNvPr>
            <p:cNvSpPr/>
            <p:nvPr/>
          </p:nvSpPr>
          <p:spPr>
            <a:xfrm rot="7484129">
              <a:off x="3674564" y="38432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5" name="Forme libre : forme 284">
              <a:extLst>
                <a:ext uri="{FF2B5EF4-FFF2-40B4-BE49-F238E27FC236}">
                  <a16:creationId xmlns:a16="http://schemas.microsoft.com/office/drawing/2014/main" id="{F36C90B8-C19D-40C0-9F6E-8BC40DAF6680}"/>
                </a:ext>
              </a:extLst>
            </p:cNvPr>
            <p:cNvSpPr/>
            <p:nvPr/>
          </p:nvSpPr>
          <p:spPr>
            <a:xfrm rot="13089394">
              <a:off x="3833214" y="3792578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6" name="Forme libre : forme 285">
              <a:extLst>
                <a:ext uri="{FF2B5EF4-FFF2-40B4-BE49-F238E27FC236}">
                  <a16:creationId xmlns:a16="http://schemas.microsoft.com/office/drawing/2014/main" id="{25D579E4-7F89-49C7-A73E-844BD68A125D}"/>
                </a:ext>
              </a:extLst>
            </p:cNvPr>
            <p:cNvSpPr/>
            <p:nvPr/>
          </p:nvSpPr>
          <p:spPr>
            <a:xfrm rot="8716295">
              <a:off x="4114105" y="3502461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7" name="Forme libre : forme 286">
              <a:extLst>
                <a:ext uri="{FF2B5EF4-FFF2-40B4-BE49-F238E27FC236}">
                  <a16:creationId xmlns:a16="http://schemas.microsoft.com/office/drawing/2014/main" id="{3F032AF9-E492-4124-9A15-3F5109B4E944}"/>
                </a:ext>
              </a:extLst>
            </p:cNvPr>
            <p:cNvSpPr/>
            <p:nvPr/>
          </p:nvSpPr>
          <p:spPr>
            <a:xfrm rot="8716295">
              <a:off x="4035696" y="334566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8" name="Forme libre : forme 287">
              <a:extLst>
                <a:ext uri="{FF2B5EF4-FFF2-40B4-BE49-F238E27FC236}">
                  <a16:creationId xmlns:a16="http://schemas.microsoft.com/office/drawing/2014/main" id="{AB866341-425E-43E2-A992-45F1B8F969FA}"/>
                </a:ext>
              </a:extLst>
            </p:cNvPr>
            <p:cNvSpPr/>
            <p:nvPr/>
          </p:nvSpPr>
          <p:spPr>
            <a:xfrm rot="8716295">
              <a:off x="3667532" y="339140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9" name="Forme libre : forme 288">
              <a:extLst>
                <a:ext uri="{FF2B5EF4-FFF2-40B4-BE49-F238E27FC236}">
                  <a16:creationId xmlns:a16="http://schemas.microsoft.com/office/drawing/2014/main" id="{6CDA98C5-481F-4686-9DE1-F1AA20FC6223}"/>
                </a:ext>
              </a:extLst>
            </p:cNvPr>
            <p:cNvSpPr/>
            <p:nvPr/>
          </p:nvSpPr>
          <p:spPr>
            <a:xfrm rot="8716295">
              <a:off x="3936113" y="315039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0" name="Forme libre : forme 289">
              <a:extLst>
                <a:ext uri="{FF2B5EF4-FFF2-40B4-BE49-F238E27FC236}">
                  <a16:creationId xmlns:a16="http://schemas.microsoft.com/office/drawing/2014/main" id="{13373414-24F1-4D1B-ADBB-1E220625DF7D}"/>
                </a:ext>
              </a:extLst>
            </p:cNvPr>
            <p:cNvSpPr/>
            <p:nvPr/>
          </p:nvSpPr>
          <p:spPr>
            <a:xfrm rot="8716295">
              <a:off x="3449338" y="4734714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1" name="Forme libre : forme 290">
              <a:extLst>
                <a:ext uri="{FF2B5EF4-FFF2-40B4-BE49-F238E27FC236}">
                  <a16:creationId xmlns:a16="http://schemas.microsoft.com/office/drawing/2014/main" id="{B70E33AD-70BB-4576-ADCA-5363A243B741}"/>
                </a:ext>
              </a:extLst>
            </p:cNvPr>
            <p:cNvSpPr/>
            <p:nvPr/>
          </p:nvSpPr>
          <p:spPr>
            <a:xfrm rot="8716295">
              <a:off x="3580975" y="4773824"/>
              <a:ext cx="394489" cy="383455"/>
            </a:xfrm>
            <a:custGeom>
              <a:avLst/>
              <a:gdLst>
                <a:gd name="connsiteX0" fmla="*/ 77932 w 394489"/>
                <a:gd name="connsiteY0" fmla="*/ 383455 h 383455"/>
                <a:gd name="connsiteX1" fmla="*/ 77932 w 394489"/>
                <a:gd name="connsiteY1" fmla="*/ 66898 h 383455"/>
                <a:gd name="connsiteX2" fmla="*/ 0 w 394489"/>
                <a:gd name="connsiteY2" fmla="*/ 66898 h 383455"/>
                <a:gd name="connsiteX3" fmla="*/ 0 w 394489"/>
                <a:gd name="connsiteY3" fmla="*/ 0 h 383455"/>
                <a:gd name="connsiteX4" fmla="*/ 158623 w 394489"/>
                <a:gd name="connsiteY4" fmla="*/ 0 h 383455"/>
                <a:gd name="connsiteX5" fmla="*/ 158623 w 394489"/>
                <a:gd name="connsiteY5" fmla="*/ 111726 h 383455"/>
                <a:gd name="connsiteX6" fmla="*/ 160692 w 394489"/>
                <a:gd name="connsiteY6" fmla="*/ 111726 h 383455"/>
                <a:gd name="connsiteX7" fmla="*/ 233107 w 394489"/>
                <a:gd name="connsiteY7" fmla="*/ 6897 h 383455"/>
                <a:gd name="connsiteX8" fmla="*/ 240854 w 394489"/>
                <a:gd name="connsiteY8" fmla="*/ 5438 h 383455"/>
                <a:gd name="connsiteX9" fmla="*/ 391511 w 394489"/>
                <a:gd name="connsiteY9" fmla="*/ 109868 h 383455"/>
                <a:gd name="connsiteX10" fmla="*/ 394489 w 394489"/>
                <a:gd name="connsiteY10" fmla="*/ 131726 h 383455"/>
                <a:gd name="connsiteX11" fmla="*/ 394489 w 394489"/>
                <a:gd name="connsiteY11" fmla="*/ 140692 h 383455"/>
                <a:gd name="connsiteX12" fmla="*/ 300695 w 394489"/>
                <a:gd name="connsiteY12" fmla="*/ 146210 h 383455"/>
                <a:gd name="connsiteX13" fmla="*/ 300695 w 394489"/>
                <a:gd name="connsiteY13" fmla="*/ 121382 h 383455"/>
                <a:gd name="connsiteX14" fmla="*/ 249659 w 394489"/>
                <a:gd name="connsiteY14" fmla="*/ 58622 h 383455"/>
                <a:gd name="connsiteX15" fmla="*/ 168969 w 394489"/>
                <a:gd name="connsiteY15" fmla="*/ 191038 h 383455"/>
                <a:gd name="connsiteX16" fmla="*/ 168969 w 394489"/>
                <a:gd name="connsiteY16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4489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82762" y="46208"/>
                    <a:pt x="200003" y="20690"/>
                    <a:pt x="233107" y="6897"/>
                  </a:cubicBezTo>
                  <a:lnTo>
                    <a:pt x="240854" y="5438"/>
                  </a:lnTo>
                  <a:lnTo>
                    <a:pt x="391511" y="109868"/>
                  </a:lnTo>
                  <a:lnTo>
                    <a:pt x="394489" y="131726"/>
                  </a:lnTo>
                  <a:lnTo>
                    <a:pt x="394489" y="140692"/>
                  </a:lnTo>
                  <a:lnTo>
                    <a:pt x="300695" y="146210"/>
                  </a:lnTo>
                  <a:lnTo>
                    <a:pt x="300695" y="121382"/>
                  </a:lnTo>
                  <a:cubicBezTo>
                    <a:pt x="300695" y="84140"/>
                    <a:pt x="279315" y="58621"/>
                    <a:pt x="249659" y="58622"/>
                  </a:cubicBezTo>
                  <a:cubicBezTo>
                    <a:pt x="205521" y="58622"/>
                    <a:pt x="168969" y="117244"/>
                    <a:pt x="168969" y="191038"/>
                  </a:cubicBez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2" name="Forme libre : forme 291">
              <a:extLst>
                <a:ext uri="{FF2B5EF4-FFF2-40B4-BE49-F238E27FC236}">
                  <a16:creationId xmlns:a16="http://schemas.microsoft.com/office/drawing/2014/main" id="{00B826E8-9537-4128-8AFA-9DB695ED94E7}"/>
                </a:ext>
              </a:extLst>
            </p:cNvPr>
            <p:cNvSpPr/>
            <p:nvPr/>
          </p:nvSpPr>
          <p:spPr>
            <a:xfrm rot="8716295">
              <a:off x="3516754" y="4648384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3" name="Forme libre : forme 292">
              <a:extLst>
                <a:ext uri="{FF2B5EF4-FFF2-40B4-BE49-F238E27FC236}">
                  <a16:creationId xmlns:a16="http://schemas.microsoft.com/office/drawing/2014/main" id="{FFE48F5E-5149-4118-92C8-4116821F574B}"/>
                </a:ext>
              </a:extLst>
            </p:cNvPr>
            <p:cNvSpPr/>
            <p:nvPr/>
          </p:nvSpPr>
          <p:spPr>
            <a:xfrm rot="8716295">
              <a:off x="3279467" y="486872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4" name="Forme libre : forme 293">
              <a:extLst>
                <a:ext uri="{FF2B5EF4-FFF2-40B4-BE49-F238E27FC236}">
                  <a16:creationId xmlns:a16="http://schemas.microsoft.com/office/drawing/2014/main" id="{890C4AC4-E0F9-4914-B99E-81FA866D2C0A}"/>
                </a:ext>
              </a:extLst>
            </p:cNvPr>
            <p:cNvSpPr/>
            <p:nvPr/>
          </p:nvSpPr>
          <p:spPr>
            <a:xfrm rot="8716295">
              <a:off x="3090421" y="455289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5" name="Forme libre : forme 294">
              <a:extLst>
                <a:ext uri="{FF2B5EF4-FFF2-40B4-BE49-F238E27FC236}">
                  <a16:creationId xmlns:a16="http://schemas.microsoft.com/office/drawing/2014/main" id="{9E7C0995-D53C-4E22-B438-2332B5C132C7}"/>
                </a:ext>
              </a:extLst>
            </p:cNvPr>
            <p:cNvSpPr/>
            <p:nvPr/>
          </p:nvSpPr>
          <p:spPr>
            <a:xfrm rot="8716295">
              <a:off x="3072180" y="434284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6" name="Forme libre : forme 295">
              <a:extLst>
                <a:ext uri="{FF2B5EF4-FFF2-40B4-BE49-F238E27FC236}">
                  <a16:creationId xmlns:a16="http://schemas.microsoft.com/office/drawing/2014/main" id="{B2DA7643-AE8F-4F78-929C-4968C3EC4902}"/>
                </a:ext>
              </a:extLst>
            </p:cNvPr>
            <p:cNvSpPr/>
            <p:nvPr/>
          </p:nvSpPr>
          <p:spPr>
            <a:xfrm rot="8716295">
              <a:off x="3388475" y="4959102"/>
              <a:ext cx="91035" cy="230894"/>
            </a:xfrm>
            <a:custGeom>
              <a:avLst/>
              <a:gdLst>
                <a:gd name="connsiteX0" fmla="*/ 91035 w 91035"/>
                <a:gd name="connsiteY0" fmla="*/ 230894 h 230894"/>
                <a:gd name="connsiteX1" fmla="*/ 0 w 91035"/>
                <a:gd name="connsiteY1" fmla="*/ 143306 h 230894"/>
                <a:gd name="connsiteX2" fmla="*/ 0 w 91035"/>
                <a:gd name="connsiteY2" fmla="*/ 0 h 230894"/>
                <a:gd name="connsiteX3" fmla="*/ 91035 w 91035"/>
                <a:gd name="connsiteY3" fmla="*/ 63103 h 230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230894">
                  <a:moveTo>
                    <a:pt x="91035" y="230894"/>
                  </a:moveTo>
                  <a:lnTo>
                    <a:pt x="0" y="143306"/>
                  </a:lnTo>
                  <a:lnTo>
                    <a:pt x="0" y="0"/>
                  </a:lnTo>
                  <a:lnTo>
                    <a:pt x="91035" y="631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7" name="Forme libre : forme 296">
              <a:extLst>
                <a:ext uri="{FF2B5EF4-FFF2-40B4-BE49-F238E27FC236}">
                  <a16:creationId xmlns:a16="http://schemas.microsoft.com/office/drawing/2014/main" id="{93603EC3-AC55-411D-BFDF-9FDB7506B4C7}"/>
                </a:ext>
              </a:extLst>
            </p:cNvPr>
            <p:cNvSpPr/>
            <p:nvPr/>
          </p:nvSpPr>
          <p:spPr>
            <a:xfrm rot="8716295">
              <a:off x="3886902" y="435609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8" name="Forme libre : forme 297">
              <a:extLst>
                <a:ext uri="{FF2B5EF4-FFF2-40B4-BE49-F238E27FC236}">
                  <a16:creationId xmlns:a16="http://schemas.microsoft.com/office/drawing/2014/main" id="{08CBBA4D-FF43-40D2-8BFA-84CB4DCCF31B}"/>
                </a:ext>
              </a:extLst>
            </p:cNvPr>
            <p:cNvSpPr/>
            <p:nvPr/>
          </p:nvSpPr>
          <p:spPr>
            <a:xfrm rot="8716295">
              <a:off x="4022201" y="440035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9" name="Forme libre : forme 298">
              <a:extLst>
                <a:ext uri="{FF2B5EF4-FFF2-40B4-BE49-F238E27FC236}">
                  <a16:creationId xmlns:a16="http://schemas.microsoft.com/office/drawing/2014/main" id="{835E253D-33C4-431B-B8C8-357E6AAC9C52}"/>
                </a:ext>
              </a:extLst>
            </p:cNvPr>
            <p:cNvSpPr/>
            <p:nvPr/>
          </p:nvSpPr>
          <p:spPr>
            <a:xfrm rot="8716295">
              <a:off x="3717031" y="44901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0" name="Forme libre : forme 299">
              <a:extLst>
                <a:ext uri="{FF2B5EF4-FFF2-40B4-BE49-F238E27FC236}">
                  <a16:creationId xmlns:a16="http://schemas.microsoft.com/office/drawing/2014/main" id="{22AF57EC-DC68-40A4-9C71-BCBD0C50FBE3}"/>
                </a:ext>
              </a:extLst>
            </p:cNvPr>
            <p:cNvSpPr/>
            <p:nvPr/>
          </p:nvSpPr>
          <p:spPr>
            <a:xfrm rot="8716295">
              <a:off x="3527986" y="417427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1" name="Forme libre : forme 300">
              <a:extLst>
                <a:ext uri="{FF2B5EF4-FFF2-40B4-BE49-F238E27FC236}">
                  <a16:creationId xmlns:a16="http://schemas.microsoft.com/office/drawing/2014/main" id="{7AC81511-7180-4392-A0BB-C0785E6FFDB2}"/>
                </a:ext>
              </a:extLst>
            </p:cNvPr>
            <p:cNvSpPr/>
            <p:nvPr/>
          </p:nvSpPr>
          <p:spPr>
            <a:xfrm rot="8716295">
              <a:off x="3853519" y="4552096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2" name="Forme libre : forme 301">
              <a:extLst>
                <a:ext uri="{FF2B5EF4-FFF2-40B4-BE49-F238E27FC236}">
                  <a16:creationId xmlns:a16="http://schemas.microsoft.com/office/drawing/2014/main" id="{1EACC1C7-884B-4139-9EC6-9BA9AA34D223}"/>
                </a:ext>
              </a:extLst>
            </p:cNvPr>
            <p:cNvSpPr/>
            <p:nvPr/>
          </p:nvSpPr>
          <p:spPr>
            <a:xfrm rot="8716295">
              <a:off x="3488073" y="432567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3" name="Forme libre : forme 302">
              <a:extLst>
                <a:ext uri="{FF2B5EF4-FFF2-40B4-BE49-F238E27FC236}">
                  <a16:creationId xmlns:a16="http://schemas.microsoft.com/office/drawing/2014/main" id="{8A54AD41-7272-4697-A5DB-CEFCE19789FC}"/>
                </a:ext>
              </a:extLst>
            </p:cNvPr>
            <p:cNvSpPr/>
            <p:nvPr/>
          </p:nvSpPr>
          <p:spPr>
            <a:xfrm rot="7484129">
              <a:off x="4016569" y="4837237"/>
              <a:ext cx="295167" cy="296463"/>
            </a:xfrm>
            <a:custGeom>
              <a:avLst/>
              <a:gdLst>
                <a:gd name="connsiteX0" fmla="*/ 137293 w 295167"/>
                <a:gd name="connsiteY0" fmla="*/ 296463 h 296463"/>
                <a:gd name="connsiteX1" fmla="*/ 72418 w 295167"/>
                <a:gd name="connsiteY1" fmla="*/ 175766 h 296463"/>
                <a:gd name="connsiteX2" fmla="*/ 105610 w 295167"/>
                <a:gd name="connsiteY2" fmla="*/ 83734 h 296463"/>
                <a:gd name="connsiteX3" fmla="*/ 0 w 295167"/>
                <a:gd name="connsiteY3" fmla="*/ 83734 h 296463"/>
                <a:gd name="connsiteX4" fmla="*/ 0 w 295167"/>
                <a:gd name="connsiteY4" fmla="*/ 0 h 296463"/>
                <a:gd name="connsiteX5" fmla="*/ 237110 w 295167"/>
                <a:gd name="connsiteY5" fmla="*/ 0 h 296463"/>
                <a:gd name="connsiteX6" fmla="*/ 295167 w 295167"/>
                <a:gd name="connsiteY6" fmla="*/ 83734 h 296463"/>
                <a:gd name="connsiteX7" fmla="*/ 210466 w 295167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5167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37110" y="0"/>
                  </a:lnTo>
                  <a:lnTo>
                    <a:pt x="295167" y="83734"/>
                  </a:lnTo>
                  <a:lnTo>
                    <a:pt x="210466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4" name="Forme libre : forme 303">
              <a:extLst>
                <a:ext uri="{FF2B5EF4-FFF2-40B4-BE49-F238E27FC236}">
                  <a16:creationId xmlns:a16="http://schemas.microsoft.com/office/drawing/2014/main" id="{B0BB4A2B-6236-4AB8-8AEF-499FEFD9934C}"/>
                </a:ext>
              </a:extLst>
            </p:cNvPr>
            <p:cNvSpPr/>
            <p:nvPr/>
          </p:nvSpPr>
          <p:spPr>
            <a:xfrm rot="13089394">
              <a:off x="4226447" y="4804985"/>
              <a:ext cx="412568" cy="314062"/>
            </a:xfrm>
            <a:custGeom>
              <a:avLst/>
              <a:gdLst>
                <a:gd name="connsiteX0" fmla="*/ 412568 w 412568"/>
                <a:gd name="connsiteY0" fmla="*/ 206915 h 314062"/>
                <a:gd name="connsiteX1" fmla="*/ 138636 w 412568"/>
                <a:gd name="connsiteY1" fmla="*/ 313815 h 314062"/>
                <a:gd name="connsiteX2" fmla="*/ 35911 w 412568"/>
                <a:gd name="connsiteY2" fmla="*/ 272057 h 314062"/>
                <a:gd name="connsiteX3" fmla="*/ 0 w 412568"/>
                <a:gd name="connsiteY3" fmla="*/ 128410 h 314062"/>
                <a:gd name="connsiteX4" fmla="*/ 0 w 412568"/>
                <a:gd name="connsiteY4" fmla="*/ 88308 h 314062"/>
                <a:gd name="connsiteX5" fmla="*/ 112395 w 412568"/>
                <a:gd name="connsiteY5" fmla="*/ 0 h 314062"/>
                <a:gd name="connsiteX6" fmla="*/ 112747 w 412568"/>
                <a:gd name="connsiteY6" fmla="*/ 49070 h 314062"/>
                <a:gd name="connsiteX7" fmla="*/ 132789 w 412568"/>
                <a:gd name="connsiteY7" fmla="*/ 187707 h 314062"/>
                <a:gd name="connsiteX8" fmla="*/ 233008 w 412568"/>
                <a:gd name="connsiteY8" fmla="*/ 242827 h 314062"/>
                <a:gd name="connsiteX9" fmla="*/ 308172 w 412568"/>
                <a:gd name="connsiteY9" fmla="*/ 229465 h 314062"/>
                <a:gd name="connsiteX10" fmla="*/ 410898 w 412568"/>
                <a:gd name="connsiteY10" fmla="*/ 187707 h 314062"/>
                <a:gd name="connsiteX11" fmla="*/ 412568 w 412568"/>
                <a:gd name="connsiteY11" fmla="*/ 198563 h 314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2568" h="314062">
                  <a:moveTo>
                    <a:pt x="412568" y="206915"/>
                  </a:moveTo>
                  <a:cubicBezTo>
                    <a:pt x="324041" y="282914"/>
                    <a:pt x="207954" y="309640"/>
                    <a:pt x="138636" y="313815"/>
                  </a:cubicBezTo>
                  <a:cubicBezTo>
                    <a:pt x="100219" y="316321"/>
                    <a:pt x="62637" y="299618"/>
                    <a:pt x="35911" y="272057"/>
                  </a:cubicBezTo>
                  <a:cubicBezTo>
                    <a:pt x="7516" y="244497"/>
                    <a:pt x="0" y="196893"/>
                    <a:pt x="0" y="128410"/>
                  </a:cubicBezTo>
                  <a:lnTo>
                    <a:pt x="0" y="88308"/>
                  </a:lnTo>
                  <a:lnTo>
                    <a:pt x="112395" y="0"/>
                  </a:lnTo>
                  <a:lnTo>
                    <a:pt x="112747" y="49070"/>
                  </a:lnTo>
                  <a:cubicBezTo>
                    <a:pt x="110241" y="95839"/>
                    <a:pt x="117756" y="143443"/>
                    <a:pt x="132789" y="187707"/>
                  </a:cubicBezTo>
                  <a:cubicBezTo>
                    <a:pt x="146153" y="224453"/>
                    <a:pt x="180394" y="242827"/>
                    <a:pt x="233008" y="242827"/>
                  </a:cubicBezTo>
                  <a:cubicBezTo>
                    <a:pt x="258899" y="241992"/>
                    <a:pt x="283953" y="236980"/>
                    <a:pt x="308172" y="229465"/>
                  </a:cubicBezTo>
                  <a:cubicBezTo>
                    <a:pt x="343249" y="218607"/>
                    <a:pt x="377491" y="204410"/>
                    <a:pt x="410898" y="187707"/>
                  </a:cubicBezTo>
                  <a:cubicBezTo>
                    <a:pt x="411732" y="191047"/>
                    <a:pt x="412568" y="195223"/>
                    <a:pt x="412568" y="1985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5" name="Forme libre : forme 304">
              <a:extLst>
                <a:ext uri="{FF2B5EF4-FFF2-40B4-BE49-F238E27FC236}">
                  <a16:creationId xmlns:a16="http://schemas.microsoft.com/office/drawing/2014/main" id="{41417B88-C9BD-4BA9-91EE-73AA587DB73F}"/>
                </a:ext>
              </a:extLst>
            </p:cNvPr>
            <p:cNvSpPr/>
            <p:nvPr/>
          </p:nvSpPr>
          <p:spPr>
            <a:xfrm rot="8716295">
              <a:off x="4451878" y="4500944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6" name="Forme libre : forme 305">
              <a:extLst>
                <a:ext uri="{FF2B5EF4-FFF2-40B4-BE49-F238E27FC236}">
                  <a16:creationId xmlns:a16="http://schemas.microsoft.com/office/drawing/2014/main" id="{BE88A8B4-3593-449C-B0AC-26CECAA3950B}"/>
                </a:ext>
              </a:extLst>
            </p:cNvPr>
            <p:cNvSpPr/>
            <p:nvPr/>
          </p:nvSpPr>
          <p:spPr>
            <a:xfrm rot="8716295">
              <a:off x="4373469" y="434415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7" name="Forme libre : forme 306">
              <a:extLst>
                <a:ext uri="{FF2B5EF4-FFF2-40B4-BE49-F238E27FC236}">
                  <a16:creationId xmlns:a16="http://schemas.microsoft.com/office/drawing/2014/main" id="{3E1F62FF-668F-4B24-81E3-7F413DC37761}"/>
                </a:ext>
              </a:extLst>
            </p:cNvPr>
            <p:cNvSpPr/>
            <p:nvPr/>
          </p:nvSpPr>
          <p:spPr>
            <a:xfrm rot="8716295">
              <a:off x="4005305" y="438989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8" name="Forme libre : forme 307">
              <a:extLst>
                <a:ext uri="{FF2B5EF4-FFF2-40B4-BE49-F238E27FC236}">
                  <a16:creationId xmlns:a16="http://schemas.microsoft.com/office/drawing/2014/main" id="{271936E6-CFC4-4CBF-80D3-0DD03A6DA43A}"/>
                </a:ext>
              </a:extLst>
            </p:cNvPr>
            <p:cNvSpPr/>
            <p:nvPr/>
          </p:nvSpPr>
          <p:spPr>
            <a:xfrm rot="8716295">
              <a:off x="4273886" y="414887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9" name="Forme libre : forme 308">
              <a:extLst>
                <a:ext uri="{FF2B5EF4-FFF2-40B4-BE49-F238E27FC236}">
                  <a16:creationId xmlns:a16="http://schemas.microsoft.com/office/drawing/2014/main" id="{BA906EC6-3DC5-4DE2-8F95-209D99503493}"/>
                </a:ext>
              </a:extLst>
            </p:cNvPr>
            <p:cNvSpPr/>
            <p:nvPr/>
          </p:nvSpPr>
          <p:spPr>
            <a:xfrm rot="8716295">
              <a:off x="2776288" y="273581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0" name="Forme libre : forme 309">
              <a:extLst>
                <a:ext uri="{FF2B5EF4-FFF2-40B4-BE49-F238E27FC236}">
                  <a16:creationId xmlns:a16="http://schemas.microsoft.com/office/drawing/2014/main" id="{86353AD3-86B9-454E-8316-ED48EDD5C43A}"/>
                </a:ext>
              </a:extLst>
            </p:cNvPr>
            <p:cNvSpPr/>
            <p:nvPr/>
          </p:nvSpPr>
          <p:spPr>
            <a:xfrm rot="8716295">
              <a:off x="2911587" y="278007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1" name="Forme libre : forme 310">
              <a:extLst>
                <a:ext uri="{FF2B5EF4-FFF2-40B4-BE49-F238E27FC236}">
                  <a16:creationId xmlns:a16="http://schemas.microsoft.com/office/drawing/2014/main" id="{0B2A58FB-010E-417B-8E1C-9997876763AE}"/>
                </a:ext>
              </a:extLst>
            </p:cNvPr>
            <p:cNvSpPr/>
            <p:nvPr/>
          </p:nvSpPr>
          <p:spPr>
            <a:xfrm rot="8716295">
              <a:off x="2843704" y="2649488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2" name="Forme libre : forme 311">
              <a:extLst>
                <a:ext uri="{FF2B5EF4-FFF2-40B4-BE49-F238E27FC236}">
                  <a16:creationId xmlns:a16="http://schemas.microsoft.com/office/drawing/2014/main" id="{487219BD-DC26-4E15-BDA1-CA5CCE916C41}"/>
                </a:ext>
              </a:extLst>
            </p:cNvPr>
            <p:cNvSpPr/>
            <p:nvPr/>
          </p:nvSpPr>
          <p:spPr>
            <a:xfrm rot="8716295">
              <a:off x="2606417" y="286983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3" name="Forme libre : forme 312">
              <a:extLst>
                <a:ext uri="{FF2B5EF4-FFF2-40B4-BE49-F238E27FC236}">
                  <a16:creationId xmlns:a16="http://schemas.microsoft.com/office/drawing/2014/main" id="{E49C695E-663D-4558-8A6D-FAB5771CCDF7}"/>
                </a:ext>
              </a:extLst>
            </p:cNvPr>
            <p:cNvSpPr/>
            <p:nvPr/>
          </p:nvSpPr>
          <p:spPr>
            <a:xfrm rot="8716295">
              <a:off x="2417371" y="255399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4" name="Forme libre : forme 313">
              <a:extLst>
                <a:ext uri="{FF2B5EF4-FFF2-40B4-BE49-F238E27FC236}">
                  <a16:creationId xmlns:a16="http://schemas.microsoft.com/office/drawing/2014/main" id="{33F36FCD-6977-4A63-8D14-D1E1625E9D31}"/>
                </a:ext>
              </a:extLst>
            </p:cNvPr>
            <p:cNvSpPr/>
            <p:nvPr/>
          </p:nvSpPr>
          <p:spPr>
            <a:xfrm rot="8716295">
              <a:off x="2399130" y="2343948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5" name="Forme libre : forme 314">
              <a:extLst>
                <a:ext uri="{FF2B5EF4-FFF2-40B4-BE49-F238E27FC236}">
                  <a16:creationId xmlns:a16="http://schemas.microsoft.com/office/drawing/2014/main" id="{B3474DC3-02FE-406E-A9DB-66680A910D3C}"/>
                </a:ext>
              </a:extLst>
            </p:cNvPr>
            <p:cNvSpPr/>
            <p:nvPr/>
          </p:nvSpPr>
          <p:spPr>
            <a:xfrm rot="8716295">
              <a:off x="2742905" y="293181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6" name="Forme libre : forme 315">
              <a:extLst>
                <a:ext uri="{FF2B5EF4-FFF2-40B4-BE49-F238E27FC236}">
                  <a16:creationId xmlns:a16="http://schemas.microsoft.com/office/drawing/2014/main" id="{A49C2E0F-EE8D-44EF-9BA8-BEBCE07245A7}"/>
                </a:ext>
              </a:extLst>
            </p:cNvPr>
            <p:cNvSpPr/>
            <p:nvPr/>
          </p:nvSpPr>
          <p:spPr>
            <a:xfrm rot="8716295">
              <a:off x="3213852" y="235720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7" name="Forme libre : forme 316">
              <a:extLst>
                <a:ext uri="{FF2B5EF4-FFF2-40B4-BE49-F238E27FC236}">
                  <a16:creationId xmlns:a16="http://schemas.microsoft.com/office/drawing/2014/main" id="{F24F931D-D0BA-4754-8EFA-1E41547520B4}"/>
                </a:ext>
              </a:extLst>
            </p:cNvPr>
            <p:cNvSpPr/>
            <p:nvPr/>
          </p:nvSpPr>
          <p:spPr>
            <a:xfrm rot="8716295">
              <a:off x="3349151" y="240146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8" name="Forme libre : forme 317">
              <a:extLst>
                <a:ext uri="{FF2B5EF4-FFF2-40B4-BE49-F238E27FC236}">
                  <a16:creationId xmlns:a16="http://schemas.microsoft.com/office/drawing/2014/main" id="{77E8D478-ED04-4063-AB60-82AA395CE7E1}"/>
                </a:ext>
              </a:extLst>
            </p:cNvPr>
            <p:cNvSpPr/>
            <p:nvPr/>
          </p:nvSpPr>
          <p:spPr>
            <a:xfrm rot="8716295">
              <a:off x="3043981" y="249121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9" name="Forme libre : forme 318">
              <a:extLst>
                <a:ext uri="{FF2B5EF4-FFF2-40B4-BE49-F238E27FC236}">
                  <a16:creationId xmlns:a16="http://schemas.microsoft.com/office/drawing/2014/main" id="{D68F4A66-E6DC-4D6F-A05F-B0ED1AAF9752}"/>
                </a:ext>
              </a:extLst>
            </p:cNvPr>
            <p:cNvSpPr/>
            <p:nvPr/>
          </p:nvSpPr>
          <p:spPr>
            <a:xfrm rot="8716295">
              <a:off x="2854936" y="217538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0" name="Forme libre : forme 319">
              <a:extLst>
                <a:ext uri="{FF2B5EF4-FFF2-40B4-BE49-F238E27FC236}">
                  <a16:creationId xmlns:a16="http://schemas.microsoft.com/office/drawing/2014/main" id="{2E7E02DC-19A7-4427-8DD0-9CBD70741C55}"/>
                </a:ext>
              </a:extLst>
            </p:cNvPr>
            <p:cNvSpPr/>
            <p:nvPr/>
          </p:nvSpPr>
          <p:spPr>
            <a:xfrm rot="8716295">
              <a:off x="3180469" y="255320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1" name="Forme libre : forme 320">
              <a:extLst>
                <a:ext uri="{FF2B5EF4-FFF2-40B4-BE49-F238E27FC236}">
                  <a16:creationId xmlns:a16="http://schemas.microsoft.com/office/drawing/2014/main" id="{5F22C34B-662E-4288-A98A-07600645D826}"/>
                </a:ext>
              </a:extLst>
            </p:cNvPr>
            <p:cNvSpPr/>
            <p:nvPr/>
          </p:nvSpPr>
          <p:spPr>
            <a:xfrm rot="8716295">
              <a:off x="2815023" y="232677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2" name="Forme libre : forme 321">
              <a:extLst>
                <a:ext uri="{FF2B5EF4-FFF2-40B4-BE49-F238E27FC236}">
                  <a16:creationId xmlns:a16="http://schemas.microsoft.com/office/drawing/2014/main" id="{F9C4954F-8E31-441D-8E0D-8B0514C0CCEA}"/>
                </a:ext>
              </a:extLst>
            </p:cNvPr>
            <p:cNvSpPr/>
            <p:nvPr/>
          </p:nvSpPr>
          <p:spPr>
            <a:xfrm rot="7484129">
              <a:off x="3339287" y="284281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3" name="Forme libre : forme 322">
              <a:extLst>
                <a:ext uri="{FF2B5EF4-FFF2-40B4-BE49-F238E27FC236}">
                  <a16:creationId xmlns:a16="http://schemas.microsoft.com/office/drawing/2014/main" id="{96BDAC49-7C90-455C-A6A8-F21767004646}"/>
                </a:ext>
              </a:extLst>
            </p:cNvPr>
            <p:cNvSpPr/>
            <p:nvPr/>
          </p:nvSpPr>
          <p:spPr>
            <a:xfrm rot="13089394">
              <a:off x="3497937" y="279216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4" name="Forme libre : forme 323">
              <a:extLst>
                <a:ext uri="{FF2B5EF4-FFF2-40B4-BE49-F238E27FC236}">
                  <a16:creationId xmlns:a16="http://schemas.microsoft.com/office/drawing/2014/main" id="{EE32A375-D70E-46A2-83EF-D2C25C11FC27}"/>
                </a:ext>
              </a:extLst>
            </p:cNvPr>
            <p:cNvSpPr/>
            <p:nvPr/>
          </p:nvSpPr>
          <p:spPr>
            <a:xfrm rot="8716295">
              <a:off x="3778828" y="2502048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5" name="Forme libre : forme 324">
              <a:extLst>
                <a:ext uri="{FF2B5EF4-FFF2-40B4-BE49-F238E27FC236}">
                  <a16:creationId xmlns:a16="http://schemas.microsoft.com/office/drawing/2014/main" id="{1FF92686-85A8-4017-922B-2458FE401EB8}"/>
                </a:ext>
              </a:extLst>
            </p:cNvPr>
            <p:cNvSpPr/>
            <p:nvPr/>
          </p:nvSpPr>
          <p:spPr>
            <a:xfrm rot="8716295">
              <a:off x="3700418" y="234525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6" name="Forme libre : forme 325">
              <a:extLst>
                <a:ext uri="{FF2B5EF4-FFF2-40B4-BE49-F238E27FC236}">
                  <a16:creationId xmlns:a16="http://schemas.microsoft.com/office/drawing/2014/main" id="{D45E52B0-C4FD-4155-A0DD-45195433970C}"/>
                </a:ext>
              </a:extLst>
            </p:cNvPr>
            <p:cNvSpPr/>
            <p:nvPr/>
          </p:nvSpPr>
          <p:spPr>
            <a:xfrm rot="8716295">
              <a:off x="3332255" y="239099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7" name="Forme libre : forme 326">
              <a:extLst>
                <a:ext uri="{FF2B5EF4-FFF2-40B4-BE49-F238E27FC236}">
                  <a16:creationId xmlns:a16="http://schemas.microsoft.com/office/drawing/2014/main" id="{F21AB6E7-AC7E-4350-A5BF-CDF7EE2573C5}"/>
                </a:ext>
              </a:extLst>
            </p:cNvPr>
            <p:cNvSpPr/>
            <p:nvPr/>
          </p:nvSpPr>
          <p:spPr>
            <a:xfrm rot="8716295">
              <a:off x="3600836" y="214997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8" name="Forme libre : forme 327">
              <a:extLst>
                <a:ext uri="{FF2B5EF4-FFF2-40B4-BE49-F238E27FC236}">
                  <a16:creationId xmlns:a16="http://schemas.microsoft.com/office/drawing/2014/main" id="{81ADFF02-63EB-4A30-B800-167FCE598798}"/>
                </a:ext>
              </a:extLst>
            </p:cNvPr>
            <p:cNvSpPr/>
            <p:nvPr/>
          </p:nvSpPr>
          <p:spPr>
            <a:xfrm rot="8716295">
              <a:off x="2438515" y="173733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9" name="Forme libre : forme 328">
              <a:extLst>
                <a:ext uri="{FF2B5EF4-FFF2-40B4-BE49-F238E27FC236}">
                  <a16:creationId xmlns:a16="http://schemas.microsoft.com/office/drawing/2014/main" id="{FEEE40D0-1ED4-4D89-A553-8246351195B7}"/>
                </a:ext>
              </a:extLst>
            </p:cNvPr>
            <p:cNvSpPr/>
            <p:nvPr/>
          </p:nvSpPr>
          <p:spPr>
            <a:xfrm rot="8716295">
              <a:off x="2573814" y="178159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0" name="Forme libre : forme 329">
              <a:extLst>
                <a:ext uri="{FF2B5EF4-FFF2-40B4-BE49-F238E27FC236}">
                  <a16:creationId xmlns:a16="http://schemas.microsoft.com/office/drawing/2014/main" id="{AA5B5D88-69C3-43FC-A9FF-1BC20CA01055}"/>
                </a:ext>
              </a:extLst>
            </p:cNvPr>
            <p:cNvSpPr/>
            <p:nvPr/>
          </p:nvSpPr>
          <p:spPr>
            <a:xfrm rot="8716295">
              <a:off x="2505931" y="1651005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1" name="Forme libre : forme 330">
              <a:extLst>
                <a:ext uri="{FF2B5EF4-FFF2-40B4-BE49-F238E27FC236}">
                  <a16:creationId xmlns:a16="http://schemas.microsoft.com/office/drawing/2014/main" id="{3433A715-4852-4C6F-BD57-E5BFC48256EE}"/>
                </a:ext>
              </a:extLst>
            </p:cNvPr>
            <p:cNvSpPr/>
            <p:nvPr/>
          </p:nvSpPr>
          <p:spPr>
            <a:xfrm rot="8716295">
              <a:off x="2268644" y="187135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2" name="Forme libre : forme 331">
              <a:extLst>
                <a:ext uri="{FF2B5EF4-FFF2-40B4-BE49-F238E27FC236}">
                  <a16:creationId xmlns:a16="http://schemas.microsoft.com/office/drawing/2014/main" id="{AA3826BF-36B5-4F42-9A9C-0857F8AFC9E9}"/>
                </a:ext>
              </a:extLst>
            </p:cNvPr>
            <p:cNvSpPr/>
            <p:nvPr/>
          </p:nvSpPr>
          <p:spPr>
            <a:xfrm rot="8716295">
              <a:off x="2079598" y="155551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3" name="Forme libre : forme 332">
              <a:extLst>
                <a:ext uri="{FF2B5EF4-FFF2-40B4-BE49-F238E27FC236}">
                  <a16:creationId xmlns:a16="http://schemas.microsoft.com/office/drawing/2014/main" id="{6B18E7D7-D7AA-4E20-850E-3799436161FA}"/>
                </a:ext>
              </a:extLst>
            </p:cNvPr>
            <p:cNvSpPr/>
            <p:nvPr/>
          </p:nvSpPr>
          <p:spPr>
            <a:xfrm rot="8716295">
              <a:off x="2061357" y="1345465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4" name="Forme libre : forme 333">
              <a:extLst>
                <a:ext uri="{FF2B5EF4-FFF2-40B4-BE49-F238E27FC236}">
                  <a16:creationId xmlns:a16="http://schemas.microsoft.com/office/drawing/2014/main" id="{43032E37-9C7A-492A-8A2C-109CA7245F5F}"/>
                </a:ext>
              </a:extLst>
            </p:cNvPr>
            <p:cNvSpPr/>
            <p:nvPr/>
          </p:nvSpPr>
          <p:spPr>
            <a:xfrm rot="8716295">
              <a:off x="2405132" y="1933333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5" name="Forme libre : forme 334">
              <a:extLst>
                <a:ext uri="{FF2B5EF4-FFF2-40B4-BE49-F238E27FC236}">
                  <a16:creationId xmlns:a16="http://schemas.microsoft.com/office/drawing/2014/main" id="{17B53965-E3A1-4010-BB29-B66E80C0AA24}"/>
                </a:ext>
              </a:extLst>
            </p:cNvPr>
            <p:cNvSpPr/>
            <p:nvPr/>
          </p:nvSpPr>
          <p:spPr>
            <a:xfrm rot="8716295">
              <a:off x="2876079" y="135871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6" name="Forme libre : forme 335">
              <a:extLst>
                <a:ext uri="{FF2B5EF4-FFF2-40B4-BE49-F238E27FC236}">
                  <a16:creationId xmlns:a16="http://schemas.microsoft.com/office/drawing/2014/main" id="{5A10F28E-8329-4CB2-9E8E-AF5ADC5D984D}"/>
                </a:ext>
              </a:extLst>
            </p:cNvPr>
            <p:cNvSpPr/>
            <p:nvPr/>
          </p:nvSpPr>
          <p:spPr>
            <a:xfrm rot="8716295">
              <a:off x="3011378" y="140297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7" name="Forme libre : forme 336">
              <a:extLst>
                <a:ext uri="{FF2B5EF4-FFF2-40B4-BE49-F238E27FC236}">
                  <a16:creationId xmlns:a16="http://schemas.microsoft.com/office/drawing/2014/main" id="{A3E6B7D3-30F0-4F00-9AE4-FB7C5336C17B}"/>
                </a:ext>
              </a:extLst>
            </p:cNvPr>
            <p:cNvSpPr/>
            <p:nvPr/>
          </p:nvSpPr>
          <p:spPr>
            <a:xfrm rot="8716295">
              <a:off x="2706208" y="14927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8" name="Forme libre : forme 337">
              <a:extLst>
                <a:ext uri="{FF2B5EF4-FFF2-40B4-BE49-F238E27FC236}">
                  <a16:creationId xmlns:a16="http://schemas.microsoft.com/office/drawing/2014/main" id="{632D1FEF-F08F-4C8C-8E0E-3985E6CFB126}"/>
                </a:ext>
              </a:extLst>
            </p:cNvPr>
            <p:cNvSpPr/>
            <p:nvPr/>
          </p:nvSpPr>
          <p:spPr>
            <a:xfrm rot="8716295">
              <a:off x="2517163" y="11768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9" name="Forme libre : forme 338">
              <a:extLst>
                <a:ext uri="{FF2B5EF4-FFF2-40B4-BE49-F238E27FC236}">
                  <a16:creationId xmlns:a16="http://schemas.microsoft.com/office/drawing/2014/main" id="{12813E1E-715D-4101-9BCD-409373887F04}"/>
                </a:ext>
              </a:extLst>
            </p:cNvPr>
            <p:cNvSpPr/>
            <p:nvPr/>
          </p:nvSpPr>
          <p:spPr>
            <a:xfrm rot="8716295">
              <a:off x="2842696" y="1554717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0" name="Forme libre : forme 339">
              <a:extLst>
                <a:ext uri="{FF2B5EF4-FFF2-40B4-BE49-F238E27FC236}">
                  <a16:creationId xmlns:a16="http://schemas.microsoft.com/office/drawing/2014/main" id="{AA2FCEEA-252F-42A1-A6F0-2BDC14E98266}"/>
                </a:ext>
              </a:extLst>
            </p:cNvPr>
            <p:cNvSpPr/>
            <p:nvPr/>
          </p:nvSpPr>
          <p:spPr>
            <a:xfrm rot="8716295">
              <a:off x="2477250" y="1328291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1" name="Forme libre : forme 340">
              <a:extLst>
                <a:ext uri="{FF2B5EF4-FFF2-40B4-BE49-F238E27FC236}">
                  <a16:creationId xmlns:a16="http://schemas.microsoft.com/office/drawing/2014/main" id="{884AD109-F04C-43C6-A88C-32CD36BAA4FA}"/>
                </a:ext>
              </a:extLst>
            </p:cNvPr>
            <p:cNvSpPr/>
            <p:nvPr/>
          </p:nvSpPr>
          <p:spPr>
            <a:xfrm rot="7484129">
              <a:off x="3001514" y="184433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2" name="Forme libre : forme 341">
              <a:extLst>
                <a:ext uri="{FF2B5EF4-FFF2-40B4-BE49-F238E27FC236}">
                  <a16:creationId xmlns:a16="http://schemas.microsoft.com/office/drawing/2014/main" id="{E48D40E2-82AD-4B99-AF4E-871FA4B10FDC}"/>
                </a:ext>
              </a:extLst>
            </p:cNvPr>
            <p:cNvSpPr/>
            <p:nvPr/>
          </p:nvSpPr>
          <p:spPr>
            <a:xfrm rot="13089394">
              <a:off x="3160164" y="1793683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3" name="Forme libre : forme 342">
              <a:extLst>
                <a:ext uri="{FF2B5EF4-FFF2-40B4-BE49-F238E27FC236}">
                  <a16:creationId xmlns:a16="http://schemas.microsoft.com/office/drawing/2014/main" id="{5110A4C9-803C-4F01-A8FB-E8911DB784FA}"/>
                </a:ext>
              </a:extLst>
            </p:cNvPr>
            <p:cNvSpPr/>
            <p:nvPr/>
          </p:nvSpPr>
          <p:spPr>
            <a:xfrm rot="8716295">
              <a:off x="3441055" y="1503565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4" name="Forme libre : forme 343">
              <a:extLst>
                <a:ext uri="{FF2B5EF4-FFF2-40B4-BE49-F238E27FC236}">
                  <a16:creationId xmlns:a16="http://schemas.microsoft.com/office/drawing/2014/main" id="{4B71D1CA-954E-40F5-BAE1-391BC7E00EAC}"/>
                </a:ext>
              </a:extLst>
            </p:cNvPr>
            <p:cNvSpPr/>
            <p:nvPr/>
          </p:nvSpPr>
          <p:spPr>
            <a:xfrm rot="8716295">
              <a:off x="3362645" y="134677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5" name="Forme libre : forme 344">
              <a:extLst>
                <a:ext uri="{FF2B5EF4-FFF2-40B4-BE49-F238E27FC236}">
                  <a16:creationId xmlns:a16="http://schemas.microsoft.com/office/drawing/2014/main" id="{778C13D4-A0D9-47A6-97AC-A7265054F880}"/>
                </a:ext>
              </a:extLst>
            </p:cNvPr>
            <p:cNvSpPr/>
            <p:nvPr/>
          </p:nvSpPr>
          <p:spPr>
            <a:xfrm rot="8716295">
              <a:off x="2994482" y="13925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6" name="Forme libre : forme 345">
              <a:extLst>
                <a:ext uri="{FF2B5EF4-FFF2-40B4-BE49-F238E27FC236}">
                  <a16:creationId xmlns:a16="http://schemas.microsoft.com/office/drawing/2014/main" id="{018BC788-46BE-420C-AA9D-351862A75FA9}"/>
                </a:ext>
              </a:extLst>
            </p:cNvPr>
            <p:cNvSpPr/>
            <p:nvPr/>
          </p:nvSpPr>
          <p:spPr>
            <a:xfrm rot="8716295">
              <a:off x="3263063" y="115149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7" name="Forme libre : forme 346">
              <a:extLst>
                <a:ext uri="{FF2B5EF4-FFF2-40B4-BE49-F238E27FC236}">
                  <a16:creationId xmlns:a16="http://schemas.microsoft.com/office/drawing/2014/main" id="{0E9463B7-1F06-4DEB-A058-446E8844EA8B}"/>
                </a:ext>
              </a:extLst>
            </p:cNvPr>
            <p:cNvSpPr/>
            <p:nvPr/>
          </p:nvSpPr>
          <p:spPr>
            <a:xfrm rot="8716295">
              <a:off x="2107141" y="73528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8" name="Forme libre : forme 347">
              <a:extLst>
                <a:ext uri="{FF2B5EF4-FFF2-40B4-BE49-F238E27FC236}">
                  <a16:creationId xmlns:a16="http://schemas.microsoft.com/office/drawing/2014/main" id="{73CCCCE8-C732-40A3-953D-8C4E26ECE894}"/>
                </a:ext>
              </a:extLst>
            </p:cNvPr>
            <p:cNvSpPr/>
            <p:nvPr/>
          </p:nvSpPr>
          <p:spPr>
            <a:xfrm rot="8716295">
              <a:off x="2242440" y="77954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9" name="Forme libre : forme 348">
              <a:extLst>
                <a:ext uri="{FF2B5EF4-FFF2-40B4-BE49-F238E27FC236}">
                  <a16:creationId xmlns:a16="http://schemas.microsoft.com/office/drawing/2014/main" id="{46418248-47C2-468E-8F48-18C4C7CDB219}"/>
                </a:ext>
              </a:extLst>
            </p:cNvPr>
            <p:cNvSpPr/>
            <p:nvPr/>
          </p:nvSpPr>
          <p:spPr>
            <a:xfrm rot="8716295">
              <a:off x="2174558" y="64895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0" name="Forme libre : forme 349">
              <a:extLst>
                <a:ext uri="{FF2B5EF4-FFF2-40B4-BE49-F238E27FC236}">
                  <a16:creationId xmlns:a16="http://schemas.microsoft.com/office/drawing/2014/main" id="{CF6485DD-C84B-431E-B394-8EC27CA6D055}"/>
                </a:ext>
              </a:extLst>
            </p:cNvPr>
            <p:cNvSpPr/>
            <p:nvPr/>
          </p:nvSpPr>
          <p:spPr>
            <a:xfrm rot="8716295">
              <a:off x="1937270" y="86929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1" name="Forme libre : forme 350">
              <a:extLst>
                <a:ext uri="{FF2B5EF4-FFF2-40B4-BE49-F238E27FC236}">
                  <a16:creationId xmlns:a16="http://schemas.microsoft.com/office/drawing/2014/main" id="{C462C7C6-AFD1-4D6E-868F-DFD5908371AE}"/>
                </a:ext>
              </a:extLst>
            </p:cNvPr>
            <p:cNvSpPr/>
            <p:nvPr/>
          </p:nvSpPr>
          <p:spPr>
            <a:xfrm rot="8716295">
              <a:off x="1748224" y="55346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2" name="Forme libre : forme 351">
              <a:extLst>
                <a:ext uri="{FF2B5EF4-FFF2-40B4-BE49-F238E27FC236}">
                  <a16:creationId xmlns:a16="http://schemas.microsoft.com/office/drawing/2014/main" id="{3BF602CB-BB96-4BFD-9890-5020E5C70107}"/>
                </a:ext>
              </a:extLst>
            </p:cNvPr>
            <p:cNvSpPr/>
            <p:nvPr/>
          </p:nvSpPr>
          <p:spPr>
            <a:xfrm rot="8716295">
              <a:off x="1729983" y="34341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3" name="Forme libre : forme 352">
              <a:extLst>
                <a:ext uri="{FF2B5EF4-FFF2-40B4-BE49-F238E27FC236}">
                  <a16:creationId xmlns:a16="http://schemas.microsoft.com/office/drawing/2014/main" id="{D123FE48-43A2-4EF2-A75E-82641468BE05}"/>
                </a:ext>
              </a:extLst>
            </p:cNvPr>
            <p:cNvSpPr/>
            <p:nvPr/>
          </p:nvSpPr>
          <p:spPr>
            <a:xfrm rot="8716295">
              <a:off x="2073759" y="93127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4" name="Forme libre : forme 353">
              <a:extLst>
                <a:ext uri="{FF2B5EF4-FFF2-40B4-BE49-F238E27FC236}">
                  <a16:creationId xmlns:a16="http://schemas.microsoft.com/office/drawing/2014/main" id="{9368862D-396D-4FD2-B4BF-9090111F2572}"/>
                </a:ext>
              </a:extLst>
            </p:cNvPr>
            <p:cNvSpPr/>
            <p:nvPr/>
          </p:nvSpPr>
          <p:spPr>
            <a:xfrm rot="8716295">
              <a:off x="2544705" y="35666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5" name="Forme libre : forme 354">
              <a:extLst>
                <a:ext uri="{FF2B5EF4-FFF2-40B4-BE49-F238E27FC236}">
                  <a16:creationId xmlns:a16="http://schemas.microsoft.com/office/drawing/2014/main" id="{08DA4440-5C40-4A9D-A195-E7F5A36FB8E5}"/>
                </a:ext>
              </a:extLst>
            </p:cNvPr>
            <p:cNvSpPr/>
            <p:nvPr/>
          </p:nvSpPr>
          <p:spPr>
            <a:xfrm rot="8716295">
              <a:off x="2680004" y="40092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6" name="Forme libre : forme 355">
              <a:extLst>
                <a:ext uri="{FF2B5EF4-FFF2-40B4-BE49-F238E27FC236}">
                  <a16:creationId xmlns:a16="http://schemas.microsoft.com/office/drawing/2014/main" id="{499C4215-CE78-4D06-B1F1-0EFC66D2B8A8}"/>
                </a:ext>
              </a:extLst>
            </p:cNvPr>
            <p:cNvSpPr/>
            <p:nvPr/>
          </p:nvSpPr>
          <p:spPr>
            <a:xfrm rot="8716295">
              <a:off x="2374834" y="49068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7" name="Forme libre : forme 356">
              <a:extLst>
                <a:ext uri="{FF2B5EF4-FFF2-40B4-BE49-F238E27FC236}">
                  <a16:creationId xmlns:a16="http://schemas.microsoft.com/office/drawing/2014/main" id="{0DF46042-A994-48E9-AACA-0079FAE5D34F}"/>
                </a:ext>
              </a:extLst>
            </p:cNvPr>
            <p:cNvSpPr/>
            <p:nvPr/>
          </p:nvSpPr>
          <p:spPr>
            <a:xfrm rot="8716295">
              <a:off x="2185790" y="17484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8" name="Forme libre : forme 357">
              <a:extLst>
                <a:ext uri="{FF2B5EF4-FFF2-40B4-BE49-F238E27FC236}">
                  <a16:creationId xmlns:a16="http://schemas.microsoft.com/office/drawing/2014/main" id="{C56CBFD7-CE58-4F68-AE5F-EEAC0B0B2F26}"/>
                </a:ext>
              </a:extLst>
            </p:cNvPr>
            <p:cNvSpPr/>
            <p:nvPr/>
          </p:nvSpPr>
          <p:spPr>
            <a:xfrm rot="8716295">
              <a:off x="2511323" y="552663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9" name="Forme libre : forme 358">
              <a:extLst>
                <a:ext uri="{FF2B5EF4-FFF2-40B4-BE49-F238E27FC236}">
                  <a16:creationId xmlns:a16="http://schemas.microsoft.com/office/drawing/2014/main" id="{5026E243-7CAA-469D-B3FD-2DEEF3B52A6D}"/>
                </a:ext>
              </a:extLst>
            </p:cNvPr>
            <p:cNvSpPr/>
            <p:nvPr/>
          </p:nvSpPr>
          <p:spPr>
            <a:xfrm rot="8716295">
              <a:off x="2145876" y="32623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0" name="Forme libre : forme 359">
              <a:extLst>
                <a:ext uri="{FF2B5EF4-FFF2-40B4-BE49-F238E27FC236}">
                  <a16:creationId xmlns:a16="http://schemas.microsoft.com/office/drawing/2014/main" id="{69635373-7069-4076-9294-1FD2A4827397}"/>
                </a:ext>
              </a:extLst>
            </p:cNvPr>
            <p:cNvSpPr/>
            <p:nvPr/>
          </p:nvSpPr>
          <p:spPr>
            <a:xfrm rot="7484129">
              <a:off x="2670140" y="84228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1" name="Forme libre : forme 360">
              <a:extLst>
                <a:ext uri="{FF2B5EF4-FFF2-40B4-BE49-F238E27FC236}">
                  <a16:creationId xmlns:a16="http://schemas.microsoft.com/office/drawing/2014/main" id="{65F0089C-08D4-41A5-B19D-05C5D2A763BC}"/>
                </a:ext>
              </a:extLst>
            </p:cNvPr>
            <p:cNvSpPr/>
            <p:nvPr/>
          </p:nvSpPr>
          <p:spPr>
            <a:xfrm rot="13089394">
              <a:off x="2828790" y="791629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2" name="Forme libre : forme 361">
              <a:extLst>
                <a:ext uri="{FF2B5EF4-FFF2-40B4-BE49-F238E27FC236}">
                  <a16:creationId xmlns:a16="http://schemas.microsoft.com/office/drawing/2014/main" id="{10F0587B-FBC8-4526-B416-2C74092E74E3}"/>
                </a:ext>
              </a:extLst>
            </p:cNvPr>
            <p:cNvSpPr/>
            <p:nvPr/>
          </p:nvSpPr>
          <p:spPr>
            <a:xfrm rot="8716295">
              <a:off x="3109681" y="501511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3" name="Forme libre : forme 362">
              <a:extLst>
                <a:ext uri="{FF2B5EF4-FFF2-40B4-BE49-F238E27FC236}">
                  <a16:creationId xmlns:a16="http://schemas.microsoft.com/office/drawing/2014/main" id="{2065DAB7-B994-4ECC-90EA-43FF767C9150}"/>
                </a:ext>
              </a:extLst>
            </p:cNvPr>
            <p:cNvSpPr/>
            <p:nvPr/>
          </p:nvSpPr>
          <p:spPr>
            <a:xfrm rot="8716295">
              <a:off x="3031272" y="344719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4" name="Forme libre : forme 363">
              <a:extLst>
                <a:ext uri="{FF2B5EF4-FFF2-40B4-BE49-F238E27FC236}">
                  <a16:creationId xmlns:a16="http://schemas.microsoft.com/office/drawing/2014/main" id="{06C29BA8-D38F-498C-9EF2-99B1FD452BF5}"/>
                </a:ext>
              </a:extLst>
            </p:cNvPr>
            <p:cNvSpPr/>
            <p:nvPr/>
          </p:nvSpPr>
          <p:spPr>
            <a:xfrm rot="8716295">
              <a:off x="2663108" y="39046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5" name="Forme libre : forme 364">
              <a:extLst>
                <a:ext uri="{FF2B5EF4-FFF2-40B4-BE49-F238E27FC236}">
                  <a16:creationId xmlns:a16="http://schemas.microsoft.com/office/drawing/2014/main" id="{19957925-F105-47F6-A52F-63EE7BCADA72}"/>
                </a:ext>
              </a:extLst>
            </p:cNvPr>
            <p:cNvSpPr/>
            <p:nvPr/>
          </p:nvSpPr>
          <p:spPr>
            <a:xfrm rot="8716295">
              <a:off x="2931690" y="14944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6" name="Forme libre : forme 365">
              <a:extLst>
                <a:ext uri="{FF2B5EF4-FFF2-40B4-BE49-F238E27FC236}">
                  <a16:creationId xmlns:a16="http://schemas.microsoft.com/office/drawing/2014/main" id="{E0E33F2F-8222-4600-9D1F-1A85DBD9DDB6}"/>
                </a:ext>
              </a:extLst>
            </p:cNvPr>
            <p:cNvSpPr/>
            <p:nvPr/>
          </p:nvSpPr>
          <p:spPr>
            <a:xfrm rot="8716295">
              <a:off x="1834766" y="-57684"/>
              <a:ext cx="186564" cy="129320"/>
            </a:xfrm>
            <a:custGeom>
              <a:avLst/>
              <a:gdLst>
                <a:gd name="connsiteX0" fmla="*/ 123263 w 123263"/>
                <a:gd name="connsiteY0" fmla="*/ 85442 h 85442"/>
                <a:gd name="connsiteX1" fmla="*/ 0 w 123263"/>
                <a:gd name="connsiteY1" fmla="*/ 0 h 85442"/>
                <a:gd name="connsiteX2" fmla="*/ 66305 w 123263"/>
                <a:gd name="connsiteY2" fmla="*/ 0 h 85442"/>
                <a:gd name="connsiteX3" fmla="*/ 123263 w 123263"/>
                <a:gd name="connsiteY3" fmla="*/ 50123 h 85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63" h="85442">
                  <a:moveTo>
                    <a:pt x="123263" y="85442"/>
                  </a:moveTo>
                  <a:lnTo>
                    <a:pt x="0" y="0"/>
                  </a:lnTo>
                  <a:lnTo>
                    <a:pt x="66305" y="0"/>
                  </a:lnTo>
                  <a:cubicBezTo>
                    <a:pt x="103214" y="0"/>
                    <a:pt x="123263" y="15948"/>
                    <a:pt x="123263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7" name="Forme libre : forme 366">
              <a:extLst>
                <a:ext uri="{FF2B5EF4-FFF2-40B4-BE49-F238E27FC236}">
                  <a16:creationId xmlns:a16="http://schemas.microsoft.com/office/drawing/2014/main" id="{85E9DB2D-8095-4090-AC49-070A81C428A4}"/>
                </a:ext>
              </a:extLst>
            </p:cNvPr>
            <p:cNvSpPr/>
            <p:nvPr/>
          </p:nvSpPr>
          <p:spPr>
            <a:xfrm rot="8716295">
              <a:off x="1969949" y="-13794"/>
              <a:ext cx="394488" cy="148365"/>
            </a:xfrm>
            <a:custGeom>
              <a:avLst/>
              <a:gdLst>
                <a:gd name="connsiteX0" fmla="*/ 104802 w 260639"/>
                <a:gd name="connsiteY0" fmla="*/ 74264 h 98025"/>
                <a:gd name="connsiteX1" fmla="*/ 0 w 260639"/>
                <a:gd name="connsiteY1" fmla="*/ 1618 h 98025"/>
                <a:gd name="connsiteX2" fmla="*/ 0 w 260639"/>
                <a:gd name="connsiteY2" fmla="*/ 1425 h 98025"/>
                <a:gd name="connsiteX3" fmla="*/ 104803 w 260639"/>
                <a:gd name="connsiteY3" fmla="*/ 1425 h 98025"/>
                <a:gd name="connsiteX4" fmla="*/ 122123 w 260639"/>
                <a:gd name="connsiteY4" fmla="*/ 86270 h 98025"/>
                <a:gd name="connsiteX5" fmla="*/ 106178 w 260639"/>
                <a:gd name="connsiteY5" fmla="*/ 75218 h 98025"/>
                <a:gd name="connsiteX6" fmla="*/ 116721 w 260639"/>
                <a:gd name="connsiteY6" fmla="*/ 47439 h 98025"/>
                <a:gd name="connsiteX7" fmla="*/ 154014 w 260639"/>
                <a:gd name="connsiteY7" fmla="*/ 5981 h 98025"/>
                <a:gd name="connsiteX8" fmla="*/ 185455 w 260639"/>
                <a:gd name="connsiteY8" fmla="*/ 57 h 98025"/>
                <a:gd name="connsiteX9" fmla="*/ 260639 w 260639"/>
                <a:gd name="connsiteY9" fmla="*/ 88456 h 98025"/>
                <a:gd name="connsiteX10" fmla="*/ 260639 w 260639"/>
                <a:gd name="connsiteY10" fmla="*/ 94380 h 98025"/>
                <a:gd name="connsiteX11" fmla="*/ 198669 w 260639"/>
                <a:gd name="connsiteY11" fmla="*/ 98025 h 98025"/>
                <a:gd name="connsiteX12" fmla="*/ 198669 w 260639"/>
                <a:gd name="connsiteY12" fmla="*/ 81621 h 98025"/>
                <a:gd name="connsiteX13" fmla="*/ 164950 w 260639"/>
                <a:gd name="connsiteY13" fmla="*/ 40156 h 98025"/>
                <a:gd name="connsiteX14" fmla="*/ 127358 w 260639"/>
                <a:gd name="connsiteY14" fmla="*/ 65616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60639" h="98025">
                  <a:moveTo>
                    <a:pt x="104802" y="74264"/>
                  </a:moveTo>
                  <a:lnTo>
                    <a:pt x="0" y="1618"/>
                  </a:lnTo>
                  <a:lnTo>
                    <a:pt x="0" y="1425"/>
                  </a:lnTo>
                  <a:lnTo>
                    <a:pt x="104803" y="1425"/>
                  </a:lnTo>
                  <a:close/>
                  <a:moveTo>
                    <a:pt x="122123" y="86270"/>
                  </a:moveTo>
                  <a:lnTo>
                    <a:pt x="106178" y="75218"/>
                  </a:lnTo>
                  <a:lnTo>
                    <a:pt x="116721" y="47439"/>
                  </a:lnTo>
                  <a:cubicBezTo>
                    <a:pt x="127102" y="24008"/>
                    <a:pt x="137610" y="12816"/>
                    <a:pt x="154014" y="5981"/>
                  </a:cubicBezTo>
                  <a:cubicBezTo>
                    <a:pt x="164038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50369" y="40156"/>
                    <a:pt x="137041" y="49839"/>
                    <a:pt x="127358" y="656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8" name="Forme libre : forme 367">
              <a:extLst>
                <a:ext uri="{FF2B5EF4-FFF2-40B4-BE49-F238E27FC236}">
                  <a16:creationId xmlns:a16="http://schemas.microsoft.com/office/drawing/2014/main" id="{2112AB6E-ECBC-48CC-8F85-503CE29BF697}"/>
                </a:ext>
              </a:extLst>
            </p:cNvPr>
            <p:cNvSpPr/>
            <p:nvPr/>
          </p:nvSpPr>
          <p:spPr>
            <a:xfrm rot="8716295">
              <a:off x="1736738" y="-7282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9" name="Forme libre : forme 368">
              <a:extLst>
                <a:ext uri="{FF2B5EF4-FFF2-40B4-BE49-F238E27FC236}">
                  <a16:creationId xmlns:a16="http://schemas.microsoft.com/office/drawing/2014/main" id="{0CED55EE-2402-40E1-B7FC-4C64963DE5BE}"/>
                </a:ext>
              </a:extLst>
            </p:cNvPr>
            <p:cNvSpPr/>
            <p:nvPr/>
          </p:nvSpPr>
          <p:spPr>
            <a:xfrm rot="7484129">
              <a:off x="2399917" y="-21262"/>
              <a:ext cx="233243" cy="158079"/>
            </a:xfrm>
            <a:custGeom>
              <a:avLst/>
              <a:gdLst>
                <a:gd name="connsiteX0" fmla="*/ 72416 w 154104"/>
                <a:gd name="connsiteY0" fmla="*/ 104443 h 104443"/>
                <a:gd name="connsiteX1" fmla="*/ 0 w 154104"/>
                <a:gd name="connsiteY1" fmla="*/ 0 h 104443"/>
                <a:gd name="connsiteX2" fmla="*/ 154104 w 154104"/>
                <a:gd name="connsiteY2" fmla="*/ 0 h 104443"/>
                <a:gd name="connsiteX3" fmla="*/ 154104 w 154104"/>
                <a:gd name="connsiteY3" fmla="*/ 55323 h 104443"/>
                <a:gd name="connsiteX4" fmla="*/ 89312 w 154104"/>
                <a:gd name="connsiteY4" fmla="*/ 55323 h 104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4104" h="104443">
                  <a:moveTo>
                    <a:pt x="72416" y="104443"/>
                  </a:moveTo>
                  <a:lnTo>
                    <a:pt x="0" y="0"/>
                  </a:lnTo>
                  <a:lnTo>
                    <a:pt x="154104" y="0"/>
                  </a:lnTo>
                  <a:lnTo>
                    <a:pt x="154104" y="55323"/>
                  </a:lnTo>
                  <a:lnTo>
                    <a:pt x="89312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0" name="Forme libre : forme 369">
              <a:extLst>
                <a:ext uri="{FF2B5EF4-FFF2-40B4-BE49-F238E27FC236}">
                  <a16:creationId xmlns:a16="http://schemas.microsoft.com/office/drawing/2014/main" id="{2AB77741-1425-4B03-9370-5D34269ACC61}"/>
                </a:ext>
              </a:extLst>
            </p:cNvPr>
            <p:cNvSpPr/>
            <p:nvPr/>
          </p:nvSpPr>
          <p:spPr>
            <a:xfrm rot="13089394">
              <a:off x="2721869" y="-65503"/>
              <a:ext cx="128296" cy="425348"/>
            </a:xfrm>
            <a:custGeom>
              <a:avLst/>
              <a:gdLst>
                <a:gd name="connsiteX0" fmla="*/ 84765 w 84765"/>
                <a:gd name="connsiteY0" fmla="*/ 225012 h 281028"/>
                <a:gd name="connsiteX1" fmla="*/ 13471 w 84765"/>
                <a:gd name="connsiteY1" fmla="*/ 281028 h 281028"/>
                <a:gd name="connsiteX2" fmla="*/ 4828 w 84765"/>
                <a:gd name="connsiteY2" fmla="*/ 263963 h 281028"/>
                <a:gd name="connsiteX3" fmla="*/ 0 w 84765"/>
                <a:gd name="connsiteY3" fmla="*/ 206370 h 281028"/>
                <a:gd name="connsiteX4" fmla="*/ 0 w 84765"/>
                <a:gd name="connsiteY4" fmla="*/ 38074 h 281028"/>
                <a:gd name="connsiteX5" fmla="*/ 73388 w 84765"/>
                <a:gd name="connsiteY5" fmla="*/ 0 h 281028"/>
                <a:gd name="connsiteX6" fmla="*/ 74492 w 84765"/>
                <a:gd name="connsiteY6" fmla="*/ 153950 h 281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4765" h="281028">
                  <a:moveTo>
                    <a:pt x="84765" y="225012"/>
                  </a:moveTo>
                  <a:lnTo>
                    <a:pt x="13471" y="281028"/>
                  </a:lnTo>
                  <a:lnTo>
                    <a:pt x="4828" y="263963"/>
                  </a:lnTo>
                  <a:cubicBezTo>
                    <a:pt x="1241" y="248168"/>
                    <a:pt x="0" y="228993"/>
                    <a:pt x="0" y="206370"/>
                  </a:cubicBez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1" name="Forme libre : forme 370">
              <a:extLst>
                <a:ext uri="{FF2B5EF4-FFF2-40B4-BE49-F238E27FC236}">
                  <a16:creationId xmlns:a16="http://schemas.microsoft.com/office/drawing/2014/main" id="{FAA815E1-BD11-411E-A301-A66D6E5B5B5D}"/>
                </a:ext>
              </a:extLst>
            </p:cNvPr>
            <p:cNvSpPr/>
            <p:nvPr/>
          </p:nvSpPr>
          <p:spPr>
            <a:xfrm rot="8716295">
              <a:off x="5604774" y="3024342"/>
              <a:ext cx="274455" cy="132163"/>
            </a:xfrm>
            <a:custGeom>
              <a:avLst/>
              <a:gdLst>
                <a:gd name="connsiteX0" fmla="*/ 0 w 181333"/>
                <a:gd name="connsiteY0" fmla="*/ 87320 h 87320"/>
                <a:gd name="connsiteX1" fmla="*/ 42309 w 181333"/>
                <a:gd name="connsiteY1" fmla="*/ 36168 h 87320"/>
                <a:gd name="connsiteX2" fmla="*/ 54839 w 181333"/>
                <a:gd name="connsiteY2" fmla="*/ 38831 h 87320"/>
                <a:gd name="connsiteX3" fmla="*/ 107790 w 181333"/>
                <a:gd name="connsiteY3" fmla="*/ 29417 h 87320"/>
                <a:gd name="connsiteX4" fmla="*/ 180157 w 181333"/>
                <a:gd name="connsiteY4" fmla="*/ 0 h 87320"/>
                <a:gd name="connsiteX5" fmla="*/ 181333 w 181333"/>
                <a:gd name="connsiteY5" fmla="*/ 7648 h 87320"/>
                <a:gd name="connsiteX6" fmla="*/ 181333 w 181333"/>
                <a:gd name="connsiteY6" fmla="*/ 13532 h 87320"/>
                <a:gd name="connsiteX7" fmla="*/ 30340 w 181333"/>
                <a:gd name="connsiteY7" fmla="*/ 83361 h 87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333" h="87320">
                  <a:moveTo>
                    <a:pt x="0" y="87320"/>
                  </a:moveTo>
                  <a:lnTo>
                    <a:pt x="42309" y="36168"/>
                  </a:lnTo>
                  <a:lnTo>
                    <a:pt x="54839" y="38831"/>
                  </a:lnTo>
                  <a:cubicBezTo>
                    <a:pt x="73078" y="38242"/>
                    <a:pt x="90728" y="34712"/>
                    <a:pt x="107790" y="29417"/>
                  </a:cubicBezTo>
                  <a:cubicBezTo>
                    <a:pt x="132500" y="21768"/>
                    <a:pt x="156623" y="11767"/>
                    <a:pt x="180157" y="0"/>
                  </a:cubicBezTo>
                  <a:cubicBezTo>
                    <a:pt x="180745" y="2353"/>
                    <a:pt x="181333" y="5295"/>
                    <a:pt x="181333" y="7648"/>
                  </a:cubicBezTo>
                  <a:lnTo>
                    <a:pt x="181333" y="13532"/>
                  </a:lnTo>
                  <a:cubicBezTo>
                    <a:pt x="134560" y="53687"/>
                    <a:pt x="76865" y="74315"/>
                    <a:pt x="30340" y="833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2" name="Forme libre : forme 371">
              <a:extLst>
                <a:ext uri="{FF2B5EF4-FFF2-40B4-BE49-F238E27FC236}">
                  <a16:creationId xmlns:a16="http://schemas.microsoft.com/office/drawing/2014/main" id="{0B206B84-4FE5-4D53-9D1E-DD02DB41D254}"/>
                </a:ext>
              </a:extLst>
            </p:cNvPr>
            <p:cNvSpPr/>
            <p:nvPr/>
          </p:nvSpPr>
          <p:spPr>
            <a:xfrm rot="8716295">
              <a:off x="5742786" y="2375436"/>
              <a:ext cx="92417" cy="296278"/>
            </a:xfrm>
            <a:custGeom>
              <a:avLst/>
              <a:gdLst>
                <a:gd name="connsiteX0" fmla="*/ 0 w 61060"/>
                <a:gd name="connsiteY0" fmla="*/ 195751 h 195751"/>
                <a:gd name="connsiteX1" fmla="*/ 0 w 61060"/>
                <a:gd name="connsiteY1" fmla="*/ 67520 h 195751"/>
                <a:gd name="connsiteX2" fmla="*/ 55847 w 61060"/>
                <a:gd name="connsiteY2" fmla="*/ 0 h 195751"/>
                <a:gd name="connsiteX3" fmla="*/ 61059 w 61060"/>
                <a:gd name="connsiteY3" fmla="*/ 13486 h 195751"/>
                <a:gd name="connsiteX4" fmla="*/ 61060 w 61060"/>
                <a:gd name="connsiteY4" fmla="*/ 171601 h 195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60" h="195751">
                  <a:moveTo>
                    <a:pt x="0" y="195751"/>
                  </a:moveTo>
                  <a:lnTo>
                    <a:pt x="0" y="67520"/>
                  </a:lnTo>
                  <a:lnTo>
                    <a:pt x="55847" y="0"/>
                  </a:lnTo>
                  <a:lnTo>
                    <a:pt x="61059" y="13486"/>
                  </a:lnTo>
                  <a:lnTo>
                    <a:pt x="61060" y="17160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3" name="Forme libre : forme 372">
              <a:extLst>
                <a:ext uri="{FF2B5EF4-FFF2-40B4-BE49-F238E27FC236}">
                  <a16:creationId xmlns:a16="http://schemas.microsoft.com/office/drawing/2014/main" id="{77194E30-CE70-4AEC-BB0F-106D75678D26}"/>
                </a:ext>
              </a:extLst>
            </p:cNvPr>
            <p:cNvSpPr/>
            <p:nvPr/>
          </p:nvSpPr>
          <p:spPr>
            <a:xfrm rot="8716295">
              <a:off x="5579033" y="246915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4" name="Forme libre : forme 373">
              <a:extLst>
                <a:ext uri="{FF2B5EF4-FFF2-40B4-BE49-F238E27FC236}">
                  <a16:creationId xmlns:a16="http://schemas.microsoft.com/office/drawing/2014/main" id="{F8F32B20-B35C-4702-8768-E6EC077080C3}"/>
                </a:ext>
              </a:extLst>
            </p:cNvPr>
            <p:cNvSpPr/>
            <p:nvPr/>
          </p:nvSpPr>
          <p:spPr>
            <a:xfrm rot="8716295">
              <a:off x="5389987" y="215331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5" name="Forme libre : forme 374">
              <a:extLst>
                <a:ext uri="{FF2B5EF4-FFF2-40B4-BE49-F238E27FC236}">
                  <a16:creationId xmlns:a16="http://schemas.microsoft.com/office/drawing/2014/main" id="{03FB5FAB-F686-40AC-9940-1E92242C962D}"/>
                </a:ext>
              </a:extLst>
            </p:cNvPr>
            <p:cNvSpPr/>
            <p:nvPr/>
          </p:nvSpPr>
          <p:spPr>
            <a:xfrm rot="8716295">
              <a:off x="5371746" y="194326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6" name="Forme libre : forme 375">
              <a:extLst>
                <a:ext uri="{FF2B5EF4-FFF2-40B4-BE49-F238E27FC236}">
                  <a16:creationId xmlns:a16="http://schemas.microsoft.com/office/drawing/2014/main" id="{7697AE3D-D280-4B41-97E4-E67BBE2838D4}"/>
                </a:ext>
              </a:extLst>
            </p:cNvPr>
            <p:cNvSpPr/>
            <p:nvPr/>
          </p:nvSpPr>
          <p:spPr>
            <a:xfrm rot="8716295">
              <a:off x="5716764" y="2550542"/>
              <a:ext cx="91035" cy="331729"/>
            </a:xfrm>
            <a:custGeom>
              <a:avLst/>
              <a:gdLst>
                <a:gd name="connsiteX0" fmla="*/ 60147 w 60147"/>
                <a:gd name="connsiteY0" fmla="*/ 219174 h 219174"/>
                <a:gd name="connsiteX1" fmla="*/ 0 w 60147"/>
                <a:gd name="connsiteY1" fmla="*/ 161304 h 219174"/>
                <a:gd name="connsiteX2" fmla="*/ 0 w 60147"/>
                <a:gd name="connsiteY2" fmla="*/ 68045 h 219174"/>
                <a:gd name="connsiteX3" fmla="*/ 56210 w 60147"/>
                <a:gd name="connsiteY3" fmla="*/ 87 h 219174"/>
                <a:gd name="connsiteX4" fmla="*/ 60147 w 60147"/>
                <a:gd name="connsiteY4" fmla="*/ 0 h 219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47" h="219174">
                  <a:moveTo>
                    <a:pt x="60147" y="219174"/>
                  </a:moveTo>
                  <a:lnTo>
                    <a:pt x="0" y="161304"/>
                  </a:lnTo>
                  <a:lnTo>
                    <a:pt x="0" y="68045"/>
                  </a:lnTo>
                  <a:lnTo>
                    <a:pt x="56210" y="87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7" name="Forme libre : forme 376">
              <a:extLst>
                <a:ext uri="{FF2B5EF4-FFF2-40B4-BE49-F238E27FC236}">
                  <a16:creationId xmlns:a16="http://schemas.microsoft.com/office/drawing/2014/main" id="{46E8B4E6-46F9-4CF4-A6B7-A87039F21F77}"/>
                </a:ext>
              </a:extLst>
            </p:cNvPr>
            <p:cNvSpPr/>
            <p:nvPr/>
          </p:nvSpPr>
          <p:spPr>
            <a:xfrm rot="8716295">
              <a:off x="5787639" y="192609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8" name="Forme libre : forme 377">
              <a:extLst>
                <a:ext uri="{FF2B5EF4-FFF2-40B4-BE49-F238E27FC236}">
                  <a16:creationId xmlns:a16="http://schemas.microsoft.com/office/drawing/2014/main" id="{CE3A86F3-9EF3-4CAC-BAE7-301BACB20DC2}"/>
                </a:ext>
              </a:extLst>
            </p:cNvPr>
            <p:cNvSpPr/>
            <p:nvPr/>
          </p:nvSpPr>
          <p:spPr>
            <a:xfrm rot="8716295">
              <a:off x="5411131" y="133665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9" name="Forme libre : forme 378">
              <a:extLst>
                <a:ext uri="{FF2B5EF4-FFF2-40B4-BE49-F238E27FC236}">
                  <a16:creationId xmlns:a16="http://schemas.microsoft.com/office/drawing/2014/main" id="{5ADA9701-4026-4003-B92A-BE45A4B58CA1}"/>
                </a:ext>
              </a:extLst>
            </p:cNvPr>
            <p:cNvSpPr/>
            <p:nvPr/>
          </p:nvSpPr>
          <p:spPr>
            <a:xfrm rot="8716295">
              <a:off x="5547629" y="1389153"/>
              <a:ext cx="346795" cy="385612"/>
            </a:xfrm>
            <a:custGeom>
              <a:avLst/>
              <a:gdLst>
                <a:gd name="connsiteX0" fmla="*/ 19979 w 229128"/>
                <a:gd name="connsiteY0" fmla="*/ 254774 h 254774"/>
                <a:gd name="connsiteX1" fmla="*/ 19979 w 229128"/>
                <a:gd name="connsiteY1" fmla="*/ 45624 h 254774"/>
                <a:gd name="connsiteX2" fmla="*/ 0 w 229128"/>
                <a:gd name="connsiteY2" fmla="*/ 45624 h 254774"/>
                <a:gd name="connsiteX3" fmla="*/ 36558 w 229128"/>
                <a:gd name="connsiteY3" fmla="*/ 1425 h 254774"/>
                <a:gd name="connsiteX4" fmla="*/ 73292 w 229128"/>
                <a:gd name="connsiteY4" fmla="*/ 1425 h 254774"/>
                <a:gd name="connsiteX5" fmla="*/ 73292 w 229128"/>
                <a:gd name="connsiteY5" fmla="*/ 75242 h 254774"/>
                <a:gd name="connsiteX6" fmla="*/ 74658 w 229128"/>
                <a:gd name="connsiteY6" fmla="*/ 75242 h 254774"/>
                <a:gd name="connsiteX7" fmla="*/ 122503 w 229128"/>
                <a:gd name="connsiteY7" fmla="*/ 5981 h 254774"/>
                <a:gd name="connsiteX8" fmla="*/ 153944 w 229128"/>
                <a:gd name="connsiteY8" fmla="*/ 57 h 254774"/>
                <a:gd name="connsiteX9" fmla="*/ 229128 w 229128"/>
                <a:gd name="connsiteY9" fmla="*/ 88456 h 254774"/>
                <a:gd name="connsiteX10" fmla="*/ 229128 w 229128"/>
                <a:gd name="connsiteY10" fmla="*/ 94380 h 254774"/>
                <a:gd name="connsiteX11" fmla="*/ 167158 w 229128"/>
                <a:gd name="connsiteY11" fmla="*/ 98025 h 254774"/>
                <a:gd name="connsiteX12" fmla="*/ 167158 w 229128"/>
                <a:gd name="connsiteY12" fmla="*/ 81621 h 254774"/>
                <a:gd name="connsiteX13" fmla="*/ 133439 w 229128"/>
                <a:gd name="connsiteY13" fmla="*/ 40156 h 254774"/>
                <a:gd name="connsiteX14" fmla="*/ 80127 w 229128"/>
                <a:gd name="connsiteY14" fmla="*/ 127643 h 254774"/>
                <a:gd name="connsiteX15" fmla="*/ 80127 w 229128"/>
                <a:gd name="connsiteY15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29128" h="254774">
                  <a:moveTo>
                    <a:pt x="19979" y="254774"/>
                  </a:moveTo>
                  <a:lnTo>
                    <a:pt x="19979" y="45624"/>
                  </a:lnTo>
                  <a:lnTo>
                    <a:pt x="0" y="45624"/>
                  </a:lnTo>
                  <a:lnTo>
                    <a:pt x="36558" y="1425"/>
                  </a:lnTo>
                  <a:lnTo>
                    <a:pt x="73292" y="1425"/>
                  </a:lnTo>
                  <a:lnTo>
                    <a:pt x="73292" y="75242"/>
                  </a:lnTo>
                  <a:lnTo>
                    <a:pt x="74658" y="75242"/>
                  </a:lnTo>
                  <a:cubicBezTo>
                    <a:pt x="89240" y="31954"/>
                    <a:pt x="100631" y="15094"/>
                    <a:pt x="122503" y="5981"/>
                  </a:cubicBezTo>
                  <a:cubicBezTo>
                    <a:pt x="132528" y="1880"/>
                    <a:pt x="143008" y="-398"/>
                    <a:pt x="153944" y="57"/>
                  </a:cubicBezTo>
                  <a:cubicBezTo>
                    <a:pt x="200877" y="-854"/>
                    <a:pt x="229128" y="31954"/>
                    <a:pt x="229128" y="88456"/>
                  </a:cubicBezTo>
                  <a:lnTo>
                    <a:pt x="229128" y="94380"/>
                  </a:lnTo>
                  <a:lnTo>
                    <a:pt x="167158" y="98025"/>
                  </a:lnTo>
                  <a:lnTo>
                    <a:pt x="167158" y="81621"/>
                  </a:lnTo>
                  <a:cubicBezTo>
                    <a:pt x="167158" y="57016"/>
                    <a:pt x="153033" y="40156"/>
                    <a:pt x="133439" y="40156"/>
                  </a:cubicBezTo>
                  <a:cubicBezTo>
                    <a:pt x="104277" y="40156"/>
                    <a:pt x="80127" y="78887"/>
                    <a:pt x="80127" y="127643"/>
                  </a:cubicBezTo>
                  <a:lnTo>
                    <a:pt x="80127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0" name="Forme libre : forme 379">
              <a:extLst>
                <a:ext uri="{FF2B5EF4-FFF2-40B4-BE49-F238E27FC236}">
                  <a16:creationId xmlns:a16="http://schemas.microsoft.com/office/drawing/2014/main" id="{3801A8FD-71D9-43D4-9A13-F62B93652117}"/>
                </a:ext>
              </a:extLst>
            </p:cNvPr>
            <p:cNvSpPr/>
            <p:nvPr/>
          </p:nvSpPr>
          <p:spPr>
            <a:xfrm rot="8716295">
              <a:off x="5478548" y="125032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1" name="Forme libre : forme 380">
              <a:extLst>
                <a:ext uri="{FF2B5EF4-FFF2-40B4-BE49-F238E27FC236}">
                  <a16:creationId xmlns:a16="http://schemas.microsoft.com/office/drawing/2014/main" id="{4CC9B929-E3B4-4677-AB6A-C1B0E025204C}"/>
                </a:ext>
              </a:extLst>
            </p:cNvPr>
            <p:cNvSpPr/>
            <p:nvPr/>
          </p:nvSpPr>
          <p:spPr>
            <a:xfrm rot="8716295">
              <a:off x="5241260" y="147066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2" name="Forme libre : forme 381">
              <a:extLst>
                <a:ext uri="{FF2B5EF4-FFF2-40B4-BE49-F238E27FC236}">
                  <a16:creationId xmlns:a16="http://schemas.microsoft.com/office/drawing/2014/main" id="{43D5D927-BA42-496D-BC4E-8674E3CE6A51}"/>
                </a:ext>
              </a:extLst>
            </p:cNvPr>
            <p:cNvSpPr/>
            <p:nvPr/>
          </p:nvSpPr>
          <p:spPr>
            <a:xfrm rot="8716295">
              <a:off x="5052214" y="11548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3" name="Forme libre : forme 382">
              <a:extLst>
                <a:ext uri="{FF2B5EF4-FFF2-40B4-BE49-F238E27FC236}">
                  <a16:creationId xmlns:a16="http://schemas.microsoft.com/office/drawing/2014/main" id="{A9CA7264-4BDA-4273-8C76-8511057A1B85}"/>
                </a:ext>
              </a:extLst>
            </p:cNvPr>
            <p:cNvSpPr/>
            <p:nvPr/>
          </p:nvSpPr>
          <p:spPr>
            <a:xfrm rot="8716295">
              <a:off x="5033973" y="94478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4" name="Forme libre : forme 383">
              <a:extLst>
                <a:ext uri="{FF2B5EF4-FFF2-40B4-BE49-F238E27FC236}">
                  <a16:creationId xmlns:a16="http://schemas.microsoft.com/office/drawing/2014/main" id="{5E95C0C0-B211-4D78-A1DF-BE4FC385DAC5}"/>
                </a:ext>
              </a:extLst>
            </p:cNvPr>
            <p:cNvSpPr/>
            <p:nvPr/>
          </p:nvSpPr>
          <p:spPr>
            <a:xfrm rot="8716295">
              <a:off x="5377749" y="153264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5" name="Forme libre : forme 384">
              <a:extLst>
                <a:ext uri="{FF2B5EF4-FFF2-40B4-BE49-F238E27FC236}">
                  <a16:creationId xmlns:a16="http://schemas.microsoft.com/office/drawing/2014/main" id="{299B9701-5011-4B98-BC25-888CE3D4A261}"/>
                </a:ext>
              </a:extLst>
            </p:cNvPr>
            <p:cNvSpPr/>
            <p:nvPr/>
          </p:nvSpPr>
          <p:spPr>
            <a:xfrm rot="8716295">
              <a:off x="5847873" y="996679"/>
              <a:ext cx="92417" cy="314872"/>
            </a:xfrm>
            <a:custGeom>
              <a:avLst/>
              <a:gdLst>
                <a:gd name="connsiteX0" fmla="*/ 0 w 61060"/>
                <a:gd name="connsiteY0" fmla="*/ 208036 h 208036"/>
                <a:gd name="connsiteX1" fmla="*/ 1 w 61060"/>
                <a:gd name="connsiteY1" fmla="*/ 61780 h 208036"/>
                <a:gd name="connsiteX2" fmla="*/ 51100 w 61060"/>
                <a:gd name="connsiteY2" fmla="*/ 0 h 208036"/>
                <a:gd name="connsiteX3" fmla="*/ 61059 w 61060"/>
                <a:gd name="connsiteY3" fmla="*/ 25771 h 208036"/>
                <a:gd name="connsiteX4" fmla="*/ 61060 w 61060"/>
                <a:gd name="connsiteY4" fmla="*/ 183886 h 208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60" h="208036">
                  <a:moveTo>
                    <a:pt x="0" y="208036"/>
                  </a:moveTo>
                  <a:lnTo>
                    <a:pt x="1" y="61780"/>
                  </a:lnTo>
                  <a:lnTo>
                    <a:pt x="51100" y="0"/>
                  </a:lnTo>
                  <a:lnTo>
                    <a:pt x="61059" y="25771"/>
                  </a:lnTo>
                  <a:lnTo>
                    <a:pt x="61060" y="18388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6" name="Forme libre : forme 385">
              <a:extLst>
                <a:ext uri="{FF2B5EF4-FFF2-40B4-BE49-F238E27FC236}">
                  <a16:creationId xmlns:a16="http://schemas.microsoft.com/office/drawing/2014/main" id="{D1B55AC6-0E14-4AD6-A463-2BC5AB8BBB90}"/>
                </a:ext>
              </a:extLst>
            </p:cNvPr>
            <p:cNvSpPr/>
            <p:nvPr/>
          </p:nvSpPr>
          <p:spPr>
            <a:xfrm rot="8716295">
              <a:off x="5678824" y="109205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7" name="Forme libre : forme 386">
              <a:extLst>
                <a:ext uri="{FF2B5EF4-FFF2-40B4-BE49-F238E27FC236}">
                  <a16:creationId xmlns:a16="http://schemas.microsoft.com/office/drawing/2014/main" id="{35C0CB49-4515-4D6B-805D-6EE1D83F55CD}"/>
                </a:ext>
              </a:extLst>
            </p:cNvPr>
            <p:cNvSpPr/>
            <p:nvPr/>
          </p:nvSpPr>
          <p:spPr>
            <a:xfrm rot="8716295">
              <a:off x="5489780" y="77621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8" name="Forme libre : forme 387">
              <a:extLst>
                <a:ext uri="{FF2B5EF4-FFF2-40B4-BE49-F238E27FC236}">
                  <a16:creationId xmlns:a16="http://schemas.microsoft.com/office/drawing/2014/main" id="{393CE68B-9315-410C-84F0-0D845DB03A75}"/>
                </a:ext>
              </a:extLst>
            </p:cNvPr>
            <p:cNvSpPr/>
            <p:nvPr/>
          </p:nvSpPr>
          <p:spPr>
            <a:xfrm rot="8716295">
              <a:off x="5816554" y="1173443"/>
              <a:ext cx="91037" cy="331731"/>
            </a:xfrm>
            <a:custGeom>
              <a:avLst/>
              <a:gdLst>
                <a:gd name="connsiteX0" fmla="*/ 60148 w 60148"/>
                <a:gd name="connsiteY0" fmla="*/ 219175 h 219175"/>
                <a:gd name="connsiteX1" fmla="*/ 0 w 60148"/>
                <a:gd name="connsiteY1" fmla="*/ 161305 h 219175"/>
                <a:gd name="connsiteX2" fmla="*/ 0 w 60148"/>
                <a:gd name="connsiteY2" fmla="*/ 50021 h 219175"/>
                <a:gd name="connsiteX3" fmla="*/ 41025 w 60148"/>
                <a:gd name="connsiteY3" fmla="*/ 421 h 219175"/>
                <a:gd name="connsiteX4" fmla="*/ 60147 w 60148"/>
                <a:gd name="connsiteY4" fmla="*/ 0 h 219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48" h="219175">
                  <a:moveTo>
                    <a:pt x="60148" y="219175"/>
                  </a:moveTo>
                  <a:lnTo>
                    <a:pt x="0" y="161305"/>
                  </a:lnTo>
                  <a:lnTo>
                    <a:pt x="0" y="50021"/>
                  </a:lnTo>
                  <a:lnTo>
                    <a:pt x="41025" y="421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9" name="Forme libre : forme 388">
              <a:extLst>
                <a:ext uri="{FF2B5EF4-FFF2-40B4-BE49-F238E27FC236}">
                  <a16:creationId xmlns:a16="http://schemas.microsoft.com/office/drawing/2014/main" id="{B917A23A-4403-425A-9C2A-27DE35CB443E}"/>
                </a:ext>
              </a:extLst>
            </p:cNvPr>
            <p:cNvSpPr/>
            <p:nvPr/>
          </p:nvSpPr>
          <p:spPr>
            <a:xfrm rot="8716295">
              <a:off x="5449866" y="92760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0" name="Forme libre : forme 389">
              <a:extLst>
                <a:ext uri="{FF2B5EF4-FFF2-40B4-BE49-F238E27FC236}">
                  <a16:creationId xmlns:a16="http://schemas.microsoft.com/office/drawing/2014/main" id="{8689535D-A8DA-4F0E-9DBC-CBAFC078B2CB}"/>
                </a:ext>
              </a:extLst>
            </p:cNvPr>
            <p:cNvSpPr/>
            <p:nvPr/>
          </p:nvSpPr>
          <p:spPr>
            <a:xfrm rot="8716295">
              <a:off x="5954717" y="1002572"/>
              <a:ext cx="48491" cy="55034"/>
            </a:xfrm>
            <a:custGeom>
              <a:avLst/>
              <a:gdLst>
                <a:gd name="connsiteX0" fmla="*/ 0 w 32038"/>
                <a:gd name="connsiteY0" fmla="*/ 35166 h 36361"/>
                <a:gd name="connsiteX1" fmla="*/ 29086 w 32038"/>
                <a:gd name="connsiteY1" fmla="*/ 0 h 36361"/>
                <a:gd name="connsiteX2" fmla="*/ 32038 w 32038"/>
                <a:gd name="connsiteY2" fmla="*/ 7028 h 36361"/>
                <a:gd name="connsiteX3" fmla="*/ 23495 w 32038"/>
                <a:gd name="connsiteY3" fmla="*/ 27704 h 36361"/>
                <a:gd name="connsiteX4" fmla="*/ 2990 w 32038"/>
                <a:gd name="connsiteY4" fmla="*/ 36361 h 36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038" h="36361">
                  <a:moveTo>
                    <a:pt x="0" y="35166"/>
                  </a:moveTo>
                  <a:lnTo>
                    <a:pt x="29086" y="0"/>
                  </a:lnTo>
                  <a:lnTo>
                    <a:pt x="32038" y="7028"/>
                  </a:lnTo>
                  <a:cubicBezTo>
                    <a:pt x="32039" y="14489"/>
                    <a:pt x="29191" y="22008"/>
                    <a:pt x="23495" y="27704"/>
                  </a:cubicBezTo>
                  <a:cubicBezTo>
                    <a:pt x="18027" y="33172"/>
                    <a:pt x="10736" y="36361"/>
                    <a:pt x="2990" y="363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1" name="Forme libre : forme 390">
              <a:extLst>
                <a:ext uri="{FF2B5EF4-FFF2-40B4-BE49-F238E27FC236}">
                  <a16:creationId xmlns:a16="http://schemas.microsoft.com/office/drawing/2014/main" id="{4277FFB2-58A8-4A02-AADF-E018D5998562}"/>
                </a:ext>
              </a:extLst>
            </p:cNvPr>
            <p:cNvSpPr/>
            <p:nvPr/>
          </p:nvSpPr>
          <p:spPr>
            <a:xfrm rot="8716295">
              <a:off x="5079758" y="33459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2" name="Forme libre : forme 391">
              <a:extLst>
                <a:ext uri="{FF2B5EF4-FFF2-40B4-BE49-F238E27FC236}">
                  <a16:creationId xmlns:a16="http://schemas.microsoft.com/office/drawing/2014/main" id="{EA35B526-89AB-4A06-AA35-B12BC8F0AB1F}"/>
                </a:ext>
              </a:extLst>
            </p:cNvPr>
            <p:cNvSpPr/>
            <p:nvPr/>
          </p:nvSpPr>
          <p:spPr>
            <a:xfrm rot="8716295">
              <a:off x="5215056" y="37885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3" name="Forme libre : forme 392">
              <a:extLst>
                <a:ext uri="{FF2B5EF4-FFF2-40B4-BE49-F238E27FC236}">
                  <a16:creationId xmlns:a16="http://schemas.microsoft.com/office/drawing/2014/main" id="{0E946C4C-ED44-46D8-8F43-896DC93007DB}"/>
                </a:ext>
              </a:extLst>
            </p:cNvPr>
            <p:cNvSpPr/>
            <p:nvPr/>
          </p:nvSpPr>
          <p:spPr>
            <a:xfrm rot="8716295">
              <a:off x="5147174" y="248268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4" name="Forme libre : forme 393">
              <a:extLst>
                <a:ext uri="{FF2B5EF4-FFF2-40B4-BE49-F238E27FC236}">
                  <a16:creationId xmlns:a16="http://schemas.microsoft.com/office/drawing/2014/main" id="{8B9BAAAD-4871-45E0-9808-B6AF30F7C6CF}"/>
                </a:ext>
              </a:extLst>
            </p:cNvPr>
            <p:cNvSpPr/>
            <p:nvPr/>
          </p:nvSpPr>
          <p:spPr>
            <a:xfrm rot="8716295">
              <a:off x="4909887" y="4686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5" name="Forme libre : forme 394">
              <a:extLst>
                <a:ext uri="{FF2B5EF4-FFF2-40B4-BE49-F238E27FC236}">
                  <a16:creationId xmlns:a16="http://schemas.microsoft.com/office/drawing/2014/main" id="{7D346B9D-669B-40E6-8A36-5A7046F06D7F}"/>
                </a:ext>
              </a:extLst>
            </p:cNvPr>
            <p:cNvSpPr/>
            <p:nvPr/>
          </p:nvSpPr>
          <p:spPr>
            <a:xfrm rot="8716295">
              <a:off x="4720840" y="15277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6" name="Forme libre : forme 395">
              <a:extLst>
                <a:ext uri="{FF2B5EF4-FFF2-40B4-BE49-F238E27FC236}">
                  <a16:creationId xmlns:a16="http://schemas.microsoft.com/office/drawing/2014/main" id="{66103F96-93DC-4231-9A89-20615F9DAE20}"/>
                </a:ext>
              </a:extLst>
            </p:cNvPr>
            <p:cNvSpPr/>
            <p:nvPr/>
          </p:nvSpPr>
          <p:spPr>
            <a:xfrm rot="8716295">
              <a:off x="4702019" y="-47743"/>
              <a:ext cx="439901" cy="516041"/>
            </a:xfrm>
            <a:custGeom>
              <a:avLst/>
              <a:gdLst>
                <a:gd name="connsiteX0" fmla="*/ 155476 w 290643"/>
                <a:gd name="connsiteY0" fmla="*/ 340949 h 340949"/>
                <a:gd name="connsiteX1" fmla="*/ 1169 w 290643"/>
                <a:gd name="connsiteY1" fmla="*/ 233989 h 340949"/>
                <a:gd name="connsiteX2" fmla="*/ 0 w 290643"/>
                <a:gd name="connsiteY2" fmla="*/ 220042 h 340949"/>
                <a:gd name="connsiteX3" fmla="*/ 0 w 290643"/>
                <a:gd name="connsiteY3" fmla="*/ 40596 h 340949"/>
                <a:gd name="connsiteX4" fmla="*/ 78250 w 290643"/>
                <a:gd name="connsiteY4" fmla="*/ 0 h 340949"/>
                <a:gd name="connsiteX5" fmla="*/ 79427 w 290643"/>
                <a:gd name="connsiteY5" fmla="*/ 164149 h 340949"/>
                <a:gd name="connsiteX6" fmla="*/ 93547 w 290643"/>
                <a:gd name="connsiteY6" fmla="*/ 261815 h 340949"/>
                <a:gd name="connsiteX7" fmla="*/ 164149 w 290643"/>
                <a:gd name="connsiteY7" fmla="*/ 300646 h 340949"/>
                <a:gd name="connsiteX8" fmla="*/ 217100 w 290643"/>
                <a:gd name="connsiteY8" fmla="*/ 291232 h 340949"/>
                <a:gd name="connsiteX9" fmla="*/ 289467 w 290643"/>
                <a:gd name="connsiteY9" fmla="*/ 261815 h 340949"/>
                <a:gd name="connsiteX10" fmla="*/ 290643 w 290643"/>
                <a:gd name="connsiteY10" fmla="*/ 269463 h 340949"/>
                <a:gd name="connsiteX11" fmla="*/ 290643 w 290643"/>
                <a:gd name="connsiteY11" fmla="*/ 275347 h 340949"/>
                <a:gd name="connsiteX12" fmla="*/ 189080 w 290643"/>
                <a:gd name="connsiteY12" fmla="*/ 331975 h 340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0643" h="340949">
                  <a:moveTo>
                    <a:pt x="155476" y="340949"/>
                  </a:moveTo>
                  <a:lnTo>
                    <a:pt x="1169" y="233989"/>
                  </a:lnTo>
                  <a:lnTo>
                    <a:pt x="0" y="220042"/>
                  </a:ln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9" y="300646"/>
                  </a:cubicBezTo>
                  <a:cubicBezTo>
                    <a:pt x="182388" y="300057"/>
                    <a:pt x="200038" y="296527"/>
                    <a:pt x="217100" y="291232"/>
                  </a:cubicBezTo>
                  <a:cubicBezTo>
                    <a:pt x="241810" y="283584"/>
                    <a:pt x="265933" y="273582"/>
                    <a:pt x="289467" y="261815"/>
                  </a:cubicBezTo>
                  <a:cubicBezTo>
                    <a:pt x="290055" y="264168"/>
                    <a:pt x="290643" y="267110"/>
                    <a:pt x="290643" y="269463"/>
                  </a:cubicBezTo>
                  <a:lnTo>
                    <a:pt x="290643" y="275347"/>
                  </a:lnTo>
                  <a:cubicBezTo>
                    <a:pt x="259461" y="302117"/>
                    <a:pt x="223425" y="320208"/>
                    <a:pt x="189080" y="3319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7" name="Forme libre : forme 396">
              <a:extLst>
                <a:ext uri="{FF2B5EF4-FFF2-40B4-BE49-F238E27FC236}">
                  <a16:creationId xmlns:a16="http://schemas.microsoft.com/office/drawing/2014/main" id="{E7200A70-679E-46A4-89BB-E2CFE2F1D7AE}"/>
                </a:ext>
              </a:extLst>
            </p:cNvPr>
            <p:cNvSpPr/>
            <p:nvPr/>
          </p:nvSpPr>
          <p:spPr>
            <a:xfrm rot="8716295">
              <a:off x="5046375" y="53059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8" name="Forme libre : forme 397">
              <a:extLst>
                <a:ext uri="{FF2B5EF4-FFF2-40B4-BE49-F238E27FC236}">
                  <a16:creationId xmlns:a16="http://schemas.microsoft.com/office/drawing/2014/main" id="{5D528D3B-7826-4D4D-96B5-43ADE18F1EA6}"/>
                </a:ext>
              </a:extLst>
            </p:cNvPr>
            <p:cNvSpPr/>
            <p:nvPr/>
          </p:nvSpPr>
          <p:spPr>
            <a:xfrm rot="8716295">
              <a:off x="5517321" y="-4401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9" name="Forme libre : forme 398">
              <a:extLst>
                <a:ext uri="{FF2B5EF4-FFF2-40B4-BE49-F238E27FC236}">
                  <a16:creationId xmlns:a16="http://schemas.microsoft.com/office/drawing/2014/main" id="{2614F3E9-F724-4FC2-90FF-F1B58DCC0522}"/>
                </a:ext>
              </a:extLst>
            </p:cNvPr>
            <p:cNvSpPr/>
            <p:nvPr/>
          </p:nvSpPr>
          <p:spPr>
            <a:xfrm rot="8716295">
              <a:off x="5660365" y="29418"/>
              <a:ext cx="361480" cy="358038"/>
            </a:xfrm>
            <a:custGeom>
              <a:avLst/>
              <a:gdLst>
                <a:gd name="connsiteX0" fmla="*/ 56401 w 238830"/>
                <a:gd name="connsiteY0" fmla="*/ 236556 h 236556"/>
                <a:gd name="connsiteX1" fmla="*/ 29681 w 238830"/>
                <a:gd name="connsiteY1" fmla="*/ 218034 h 236556"/>
                <a:gd name="connsiteX2" fmla="*/ 29681 w 238830"/>
                <a:gd name="connsiteY2" fmla="*/ 45624 h 236556"/>
                <a:gd name="connsiteX3" fmla="*/ 0 w 238830"/>
                <a:gd name="connsiteY3" fmla="*/ 45624 h 236556"/>
                <a:gd name="connsiteX4" fmla="*/ 36558 w 238830"/>
                <a:gd name="connsiteY4" fmla="*/ 1425 h 236556"/>
                <a:gd name="connsiteX5" fmla="*/ 82994 w 238830"/>
                <a:gd name="connsiteY5" fmla="*/ 1425 h 236556"/>
                <a:gd name="connsiteX6" fmla="*/ 82994 w 238830"/>
                <a:gd name="connsiteY6" fmla="*/ 75242 h 236556"/>
                <a:gd name="connsiteX7" fmla="*/ 84360 w 238830"/>
                <a:gd name="connsiteY7" fmla="*/ 75242 h 236556"/>
                <a:gd name="connsiteX8" fmla="*/ 132205 w 238830"/>
                <a:gd name="connsiteY8" fmla="*/ 5981 h 236556"/>
                <a:gd name="connsiteX9" fmla="*/ 163646 w 238830"/>
                <a:gd name="connsiteY9" fmla="*/ 57 h 236556"/>
                <a:gd name="connsiteX10" fmla="*/ 238830 w 238830"/>
                <a:gd name="connsiteY10" fmla="*/ 88456 h 236556"/>
                <a:gd name="connsiteX11" fmla="*/ 238830 w 238830"/>
                <a:gd name="connsiteY11" fmla="*/ 94380 h 236556"/>
                <a:gd name="connsiteX12" fmla="*/ 176860 w 238830"/>
                <a:gd name="connsiteY12" fmla="*/ 98025 h 236556"/>
                <a:gd name="connsiteX13" fmla="*/ 176860 w 238830"/>
                <a:gd name="connsiteY13" fmla="*/ 81621 h 236556"/>
                <a:gd name="connsiteX14" fmla="*/ 143141 w 238830"/>
                <a:gd name="connsiteY14" fmla="*/ 40156 h 236556"/>
                <a:gd name="connsiteX15" fmla="*/ 89829 w 238830"/>
                <a:gd name="connsiteY15" fmla="*/ 127643 h 236556"/>
                <a:gd name="connsiteX16" fmla="*/ 89829 w 238830"/>
                <a:gd name="connsiteY16" fmla="*/ 213764 h 236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8830" h="236556">
                  <a:moveTo>
                    <a:pt x="56401" y="236556"/>
                  </a:moveTo>
                  <a:lnTo>
                    <a:pt x="29681" y="218034"/>
                  </a:lnTo>
                  <a:lnTo>
                    <a:pt x="29681" y="45624"/>
                  </a:lnTo>
                  <a:lnTo>
                    <a:pt x="0" y="45624"/>
                  </a:lnTo>
                  <a:lnTo>
                    <a:pt x="36558" y="1425"/>
                  </a:lnTo>
                  <a:lnTo>
                    <a:pt x="82994" y="1425"/>
                  </a:lnTo>
                  <a:lnTo>
                    <a:pt x="82994" y="75242"/>
                  </a:lnTo>
                  <a:lnTo>
                    <a:pt x="84360" y="75242"/>
                  </a:lnTo>
                  <a:cubicBezTo>
                    <a:pt x="98942" y="31954"/>
                    <a:pt x="110333" y="15095"/>
                    <a:pt x="132205" y="5981"/>
                  </a:cubicBezTo>
                  <a:cubicBezTo>
                    <a:pt x="142230" y="1880"/>
                    <a:pt x="152710" y="-398"/>
                    <a:pt x="163646" y="57"/>
                  </a:cubicBezTo>
                  <a:cubicBezTo>
                    <a:pt x="210579" y="-854"/>
                    <a:pt x="238830" y="31954"/>
                    <a:pt x="238830" y="88456"/>
                  </a:cubicBezTo>
                  <a:lnTo>
                    <a:pt x="238830" y="94380"/>
                  </a:lnTo>
                  <a:lnTo>
                    <a:pt x="176860" y="98025"/>
                  </a:lnTo>
                  <a:lnTo>
                    <a:pt x="176860" y="81621"/>
                  </a:lnTo>
                  <a:cubicBezTo>
                    <a:pt x="176860" y="57016"/>
                    <a:pt x="162735" y="40156"/>
                    <a:pt x="143141" y="40156"/>
                  </a:cubicBezTo>
                  <a:cubicBezTo>
                    <a:pt x="113979" y="40156"/>
                    <a:pt x="89829" y="78887"/>
                    <a:pt x="89829" y="127643"/>
                  </a:cubicBezTo>
                  <a:lnTo>
                    <a:pt x="89829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0" name="Forme libre : forme 399">
              <a:extLst>
                <a:ext uri="{FF2B5EF4-FFF2-40B4-BE49-F238E27FC236}">
                  <a16:creationId xmlns:a16="http://schemas.microsoft.com/office/drawing/2014/main" id="{30961414-E4AD-4BB3-9FB3-626F7F1FE23D}"/>
                </a:ext>
              </a:extLst>
            </p:cNvPr>
            <p:cNvSpPr/>
            <p:nvPr/>
          </p:nvSpPr>
          <p:spPr>
            <a:xfrm rot="8716295">
              <a:off x="5347450" y="8999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1" name="Forme libre : forme 400">
              <a:extLst>
                <a:ext uri="{FF2B5EF4-FFF2-40B4-BE49-F238E27FC236}">
                  <a16:creationId xmlns:a16="http://schemas.microsoft.com/office/drawing/2014/main" id="{30769E12-B50E-4874-9A5A-F158D8D6A603}"/>
                </a:ext>
              </a:extLst>
            </p:cNvPr>
            <p:cNvSpPr/>
            <p:nvPr/>
          </p:nvSpPr>
          <p:spPr>
            <a:xfrm rot="8716295">
              <a:off x="5220022" y="-7080"/>
              <a:ext cx="219414" cy="84041"/>
            </a:xfrm>
            <a:custGeom>
              <a:avLst/>
              <a:gdLst>
                <a:gd name="connsiteX0" fmla="*/ 80105 w 144967"/>
                <a:gd name="connsiteY0" fmla="*/ 55526 h 55526"/>
                <a:gd name="connsiteX1" fmla="*/ 0 w 144967"/>
                <a:gd name="connsiteY1" fmla="*/ 0 h 55526"/>
                <a:gd name="connsiteX2" fmla="*/ 144967 w 144967"/>
                <a:gd name="connsiteY2" fmla="*/ 0 h 55526"/>
                <a:gd name="connsiteX3" fmla="*/ 144967 w 144967"/>
                <a:gd name="connsiteY3" fmla="*/ 55323 h 55526"/>
                <a:gd name="connsiteX4" fmla="*/ 80175 w 144967"/>
                <a:gd name="connsiteY4" fmla="*/ 55323 h 55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967" h="55526">
                  <a:moveTo>
                    <a:pt x="80105" y="55526"/>
                  </a:moveTo>
                  <a:lnTo>
                    <a:pt x="0" y="0"/>
                  </a:lnTo>
                  <a:lnTo>
                    <a:pt x="144967" y="0"/>
                  </a:lnTo>
                  <a:lnTo>
                    <a:pt x="144967" y="55323"/>
                  </a:lnTo>
                  <a:lnTo>
                    <a:pt x="8017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2" name="Forme libre : forme 401">
              <a:extLst>
                <a:ext uri="{FF2B5EF4-FFF2-40B4-BE49-F238E27FC236}">
                  <a16:creationId xmlns:a16="http://schemas.microsoft.com/office/drawing/2014/main" id="{DED468EA-B834-46DE-9EEF-86FA34FB4D87}"/>
                </a:ext>
              </a:extLst>
            </p:cNvPr>
            <p:cNvSpPr/>
            <p:nvPr/>
          </p:nvSpPr>
          <p:spPr>
            <a:xfrm rot="8716295">
              <a:off x="5483939" y="15198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3" name="Forme libre : forme 402">
              <a:extLst>
                <a:ext uri="{FF2B5EF4-FFF2-40B4-BE49-F238E27FC236}">
                  <a16:creationId xmlns:a16="http://schemas.microsoft.com/office/drawing/2014/main" id="{3C1561C2-2060-4974-8514-2DC34975F6D4}"/>
                </a:ext>
              </a:extLst>
            </p:cNvPr>
            <p:cNvSpPr/>
            <p:nvPr/>
          </p:nvSpPr>
          <p:spPr>
            <a:xfrm rot="8716295">
              <a:off x="5128323" y="-20358"/>
              <a:ext cx="80664" cy="63766"/>
            </a:xfrm>
            <a:custGeom>
              <a:avLst/>
              <a:gdLst>
                <a:gd name="connsiteX0" fmla="*/ 51759 w 53295"/>
                <a:gd name="connsiteY0" fmla="*/ 42130 h 42130"/>
                <a:gd name="connsiteX1" fmla="*/ 0 w 53295"/>
                <a:gd name="connsiteY1" fmla="*/ 6252 h 42130"/>
                <a:gd name="connsiteX2" fmla="*/ 14807 w 53295"/>
                <a:gd name="connsiteY2" fmla="*/ 0 h 42130"/>
                <a:gd name="connsiteX3" fmla="*/ 41975 w 53295"/>
                <a:gd name="connsiteY3" fmla="*/ 11471 h 42130"/>
                <a:gd name="connsiteX4" fmla="*/ 53295 w 53295"/>
                <a:gd name="connsiteY4" fmla="*/ 38412 h 42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295" h="42130">
                  <a:moveTo>
                    <a:pt x="51759" y="42130"/>
                  </a:moveTo>
                  <a:lnTo>
                    <a:pt x="0" y="6252"/>
                  </a:lnTo>
                  <a:lnTo>
                    <a:pt x="14807" y="0"/>
                  </a:lnTo>
                  <a:cubicBezTo>
                    <a:pt x="25071" y="0"/>
                    <a:pt x="34731" y="4226"/>
                    <a:pt x="41975" y="11471"/>
                  </a:cubicBezTo>
                  <a:cubicBezTo>
                    <a:pt x="49522" y="18716"/>
                    <a:pt x="53295" y="28526"/>
                    <a:pt x="53295" y="3841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4" name="Forme libre : forme 403">
              <a:extLst>
                <a:ext uri="{FF2B5EF4-FFF2-40B4-BE49-F238E27FC236}">
                  <a16:creationId xmlns:a16="http://schemas.microsoft.com/office/drawing/2014/main" id="{BE3C9C9C-FBEC-4353-AF9E-1F8508D75B04}"/>
                </a:ext>
              </a:extLst>
            </p:cNvPr>
            <p:cNvSpPr/>
            <p:nvPr/>
          </p:nvSpPr>
          <p:spPr>
            <a:xfrm rot="7484129">
              <a:off x="5642756" y="4415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5" name="Forme libre : forme 404">
              <a:extLst>
                <a:ext uri="{FF2B5EF4-FFF2-40B4-BE49-F238E27FC236}">
                  <a16:creationId xmlns:a16="http://schemas.microsoft.com/office/drawing/2014/main" id="{8A4BC53C-40CB-4B8B-A2E3-E4599AA1DEB7}"/>
                </a:ext>
              </a:extLst>
            </p:cNvPr>
            <p:cNvSpPr/>
            <p:nvPr/>
          </p:nvSpPr>
          <p:spPr>
            <a:xfrm rot="13089394">
              <a:off x="5789679" y="415199"/>
              <a:ext cx="360116" cy="446294"/>
            </a:xfrm>
            <a:custGeom>
              <a:avLst/>
              <a:gdLst>
                <a:gd name="connsiteX0" fmla="*/ 39306 w 237929"/>
                <a:gd name="connsiteY0" fmla="*/ 79955 h 294867"/>
                <a:gd name="connsiteX1" fmla="*/ 0 w 237929"/>
                <a:gd name="connsiteY1" fmla="*/ 20095 h 294867"/>
                <a:gd name="connsiteX2" fmla="*/ 38733 w 237929"/>
                <a:gd name="connsiteY2" fmla="*/ 0 h 294867"/>
                <a:gd name="connsiteX3" fmla="*/ 237929 w 237929"/>
                <a:gd name="connsiteY3" fmla="*/ 258238 h 294867"/>
                <a:gd name="connsiteX4" fmla="*/ 191415 w 237929"/>
                <a:gd name="connsiteY4" fmla="*/ 290069 h 294867"/>
                <a:gd name="connsiteX5" fmla="*/ 180425 w 237929"/>
                <a:gd name="connsiteY5" fmla="*/ 294867 h 294867"/>
                <a:gd name="connsiteX6" fmla="*/ 166448 w 237929"/>
                <a:gd name="connsiteY6" fmla="*/ 273582 h 294867"/>
                <a:gd name="connsiteX7" fmla="*/ 168955 w 237929"/>
                <a:gd name="connsiteY7" fmla="*/ 273136 h 294867"/>
                <a:gd name="connsiteX8" fmla="*/ 236826 w 237929"/>
                <a:gd name="connsiteY8" fmla="*/ 245547 h 294867"/>
                <a:gd name="connsiteX9" fmla="*/ 237929 w 237929"/>
                <a:gd name="connsiteY9" fmla="*/ 252720 h 294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7929" h="294867">
                  <a:moveTo>
                    <a:pt x="39306" y="79955"/>
                  </a:moveTo>
                  <a:lnTo>
                    <a:pt x="0" y="20095"/>
                  </a:lnTo>
                  <a:lnTo>
                    <a:pt x="38733" y="0"/>
                  </a:lnTo>
                  <a:close/>
                  <a:moveTo>
                    <a:pt x="237929" y="258238"/>
                  </a:moveTo>
                  <a:cubicBezTo>
                    <a:pt x="223307" y="270791"/>
                    <a:pt x="207546" y="281309"/>
                    <a:pt x="191415" y="290069"/>
                  </a:cubicBezTo>
                  <a:lnTo>
                    <a:pt x="180425" y="294867"/>
                  </a:lnTo>
                  <a:lnTo>
                    <a:pt x="166448" y="273582"/>
                  </a:lnTo>
                  <a:lnTo>
                    <a:pt x="168955" y="273136"/>
                  </a:lnTo>
                  <a:cubicBezTo>
                    <a:pt x="192130" y="265963"/>
                    <a:pt x="214754" y="256582"/>
                    <a:pt x="236826" y="245547"/>
                  </a:cubicBezTo>
                  <a:cubicBezTo>
                    <a:pt x="237377" y="247754"/>
                    <a:pt x="237929" y="250513"/>
                    <a:pt x="237929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6" name="Forme libre : forme 405">
              <a:extLst>
                <a:ext uri="{FF2B5EF4-FFF2-40B4-BE49-F238E27FC236}">
                  <a16:creationId xmlns:a16="http://schemas.microsoft.com/office/drawing/2014/main" id="{800D034F-ECF4-4F0F-8FF6-C97DAD2143D3}"/>
                </a:ext>
              </a:extLst>
            </p:cNvPr>
            <p:cNvSpPr/>
            <p:nvPr/>
          </p:nvSpPr>
          <p:spPr>
            <a:xfrm rot="8716295">
              <a:off x="5996886" y="-12676"/>
              <a:ext cx="90399" cy="122140"/>
            </a:xfrm>
            <a:custGeom>
              <a:avLst/>
              <a:gdLst>
                <a:gd name="connsiteX0" fmla="*/ 0 w 59727"/>
                <a:gd name="connsiteY0" fmla="*/ 52945 h 80698"/>
                <a:gd name="connsiteX1" fmla="*/ 43791 w 59727"/>
                <a:gd name="connsiteY1" fmla="*/ 0 h 80698"/>
                <a:gd name="connsiteX2" fmla="*/ 59727 w 59727"/>
                <a:gd name="connsiteY2" fmla="*/ 37928 h 80698"/>
                <a:gd name="connsiteX3" fmla="*/ 42480 w 59727"/>
                <a:gd name="connsiteY3" fmla="*/ 79666 h 80698"/>
                <a:gd name="connsiteX4" fmla="*/ 40038 w 59727"/>
                <a:gd name="connsiteY4" fmla="*/ 80698 h 80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727" h="80698">
                  <a:moveTo>
                    <a:pt x="0" y="52945"/>
                  </a:moveTo>
                  <a:lnTo>
                    <a:pt x="43791" y="0"/>
                  </a:lnTo>
                  <a:lnTo>
                    <a:pt x="59727" y="37928"/>
                  </a:lnTo>
                  <a:cubicBezTo>
                    <a:pt x="59727" y="52991"/>
                    <a:pt x="53978" y="68168"/>
                    <a:pt x="42480" y="79666"/>
                  </a:cubicBezTo>
                  <a:lnTo>
                    <a:pt x="40038" y="806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7" name="Forme libre : forme 406">
              <a:extLst>
                <a:ext uri="{FF2B5EF4-FFF2-40B4-BE49-F238E27FC236}">
                  <a16:creationId xmlns:a16="http://schemas.microsoft.com/office/drawing/2014/main" id="{3B32A0F8-96EA-444F-A5F3-4315A6F0F2B6}"/>
                </a:ext>
              </a:extLst>
            </p:cNvPr>
            <p:cNvSpPr/>
            <p:nvPr/>
          </p:nvSpPr>
          <p:spPr>
            <a:xfrm rot="8716295">
              <a:off x="5631023" y="-8174"/>
              <a:ext cx="87445" cy="82387"/>
            </a:xfrm>
            <a:custGeom>
              <a:avLst/>
              <a:gdLst>
                <a:gd name="connsiteX0" fmla="*/ 37946 w 57775"/>
                <a:gd name="connsiteY0" fmla="*/ 54433 h 54433"/>
                <a:gd name="connsiteX1" fmla="*/ 0 w 57775"/>
                <a:gd name="connsiteY1" fmla="*/ 28130 h 54433"/>
                <a:gd name="connsiteX2" fmla="*/ 8222 w 57775"/>
                <a:gd name="connsiteY2" fmla="*/ 8658 h 54433"/>
                <a:gd name="connsiteX3" fmla="*/ 28726 w 57775"/>
                <a:gd name="connsiteY3" fmla="*/ 0 h 54433"/>
                <a:gd name="connsiteX4" fmla="*/ 49232 w 57775"/>
                <a:gd name="connsiteY4" fmla="*/ 8658 h 54433"/>
                <a:gd name="connsiteX5" fmla="*/ 49232 w 57775"/>
                <a:gd name="connsiteY5" fmla="*/ 49668 h 54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775" h="54433">
                  <a:moveTo>
                    <a:pt x="37946" y="54433"/>
                  </a:moveTo>
                  <a:lnTo>
                    <a:pt x="0" y="28130"/>
                  </a:lnTo>
                  <a:lnTo>
                    <a:pt x="8222" y="8658"/>
                  </a:lnTo>
                  <a:cubicBezTo>
                    <a:pt x="13690" y="3190"/>
                    <a:pt x="20981" y="0"/>
                    <a:pt x="28726" y="0"/>
                  </a:cubicBezTo>
                  <a:cubicBezTo>
                    <a:pt x="36473" y="0"/>
                    <a:pt x="43764" y="3190"/>
                    <a:pt x="49232" y="8658"/>
                  </a:cubicBezTo>
                  <a:cubicBezTo>
                    <a:pt x="60624" y="19594"/>
                    <a:pt x="60623" y="38276"/>
                    <a:pt x="49232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pic>
        <p:nvPicPr>
          <p:cNvPr id="408" name="Graphique 407">
            <a:extLst>
              <a:ext uri="{FF2B5EF4-FFF2-40B4-BE49-F238E27FC236}">
                <a16:creationId xmlns:a16="http://schemas.microsoft.com/office/drawing/2014/main" id="{448F94F4-8E31-46DD-9D3E-E96498FF82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97194" y="3988359"/>
            <a:ext cx="2255854" cy="673200"/>
          </a:xfrm>
          <a:prstGeom prst="rect">
            <a:avLst/>
          </a:prstGeom>
        </p:spPr>
      </p:pic>
      <p:sp>
        <p:nvSpPr>
          <p:cNvPr id="411" name="Espace réservé du texte 410">
            <a:extLst>
              <a:ext uri="{FF2B5EF4-FFF2-40B4-BE49-F238E27FC236}">
                <a16:creationId xmlns:a16="http://schemas.microsoft.com/office/drawing/2014/main" id="{E014E6DC-AD19-40E5-A2B7-DF68385EE1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3141" y="526470"/>
            <a:ext cx="7379432" cy="29918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1pPr>
            <a:lvl2pPr marL="0" indent="0" algn="r">
              <a:buNone/>
              <a:defRPr sz="5400" b="1" cap="all" normalizeH="0" baseline="0">
                <a:solidFill>
                  <a:srgbClr val="009FE3"/>
                </a:solidFill>
              </a:defRPr>
            </a:lvl2pPr>
          </a:lstStyle>
          <a:p>
            <a:pPr lvl="0"/>
            <a:r>
              <a:rPr lang="fr-FR" dirty="0"/>
              <a:t>Titre de la présentation</a:t>
            </a:r>
          </a:p>
          <a:p>
            <a:pPr lvl="1"/>
            <a:r>
              <a:rPr lang="fr-FR" dirty="0"/>
              <a:t>exergue</a:t>
            </a:r>
          </a:p>
        </p:txBody>
      </p:sp>
    </p:spTree>
    <p:extLst>
      <p:ext uri="{BB962C8B-B14F-4D97-AF65-F5344CB8AC3E}">
        <p14:creationId xmlns:p14="http://schemas.microsoft.com/office/powerpoint/2010/main" val="33399476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itr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4" name="Groupe 413">
            <a:extLst>
              <a:ext uri="{FF2B5EF4-FFF2-40B4-BE49-F238E27FC236}">
                <a16:creationId xmlns:a16="http://schemas.microsoft.com/office/drawing/2014/main" id="{2644C3EB-70A8-4825-90FB-0BA5647C44C3}"/>
              </a:ext>
            </a:extLst>
          </p:cNvPr>
          <p:cNvGrpSpPr/>
          <p:nvPr userDrawn="1"/>
        </p:nvGrpSpPr>
        <p:grpSpPr>
          <a:xfrm>
            <a:off x="-134707" y="-108618"/>
            <a:ext cx="6284502" cy="5381969"/>
            <a:chOff x="-134707" y="-108618"/>
            <a:chExt cx="6284502" cy="5381969"/>
          </a:xfrm>
          <a:solidFill>
            <a:schemeClr val="bg2">
              <a:alpha val="10000"/>
            </a:schemeClr>
          </a:solidFill>
        </p:grpSpPr>
        <p:sp>
          <p:nvSpPr>
            <p:cNvPr id="415" name="Forme libre : forme 414">
              <a:extLst>
                <a:ext uri="{FF2B5EF4-FFF2-40B4-BE49-F238E27FC236}">
                  <a16:creationId xmlns:a16="http://schemas.microsoft.com/office/drawing/2014/main" id="{26D76879-6717-4423-9F18-EA639E20D75F}"/>
                </a:ext>
              </a:extLst>
            </p:cNvPr>
            <p:cNvSpPr/>
            <p:nvPr/>
          </p:nvSpPr>
          <p:spPr>
            <a:xfrm rot="8716295">
              <a:off x="1460344" y="348006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6" name="Forme libre : forme 415">
              <a:extLst>
                <a:ext uri="{FF2B5EF4-FFF2-40B4-BE49-F238E27FC236}">
                  <a16:creationId xmlns:a16="http://schemas.microsoft.com/office/drawing/2014/main" id="{6F6CD235-6DDC-4933-9FDE-9403C4655E9F}"/>
                </a:ext>
              </a:extLst>
            </p:cNvPr>
            <p:cNvSpPr/>
            <p:nvPr/>
          </p:nvSpPr>
          <p:spPr>
            <a:xfrm rot="8716295">
              <a:off x="1595642" y="352432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7" name="Forme libre : forme 416">
              <a:extLst>
                <a:ext uri="{FF2B5EF4-FFF2-40B4-BE49-F238E27FC236}">
                  <a16:creationId xmlns:a16="http://schemas.microsoft.com/office/drawing/2014/main" id="{1DE6B810-CC68-4D75-A0DA-3AB15B93C310}"/>
                </a:ext>
              </a:extLst>
            </p:cNvPr>
            <p:cNvSpPr/>
            <p:nvPr/>
          </p:nvSpPr>
          <p:spPr>
            <a:xfrm rot="8716295">
              <a:off x="1527760" y="339373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8" name="Forme libre : forme 417">
              <a:extLst>
                <a:ext uri="{FF2B5EF4-FFF2-40B4-BE49-F238E27FC236}">
                  <a16:creationId xmlns:a16="http://schemas.microsoft.com/office/drawing/2014/main" id="{B2F3E872-B9FB-4C1E-8FFB-A353888D6487}"/>
                </a:ext>
              </a:extLst>
            </p:cNvPr>
            <p:cNvSpPr/>
            <p:nvPr/>
          </p:nvSpPr>
          <p:spPr>
            <a:xfrm rot="8716295">
              <a:off x="1290473" y="361408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9" name="Forme libre : forme 418">
              <a:extLst>
                <a:ext uri="{FF2B5EF4-FFF2-40B4-BE49-F238E27FC236}">
                  <a16:creationId xmlns:a16="http://schemas.microsoft.com/office/drawing/2014/main" id="{58C1A8CA-96AF-45F6-BEF0-2F79DFAA8D08}"/>
                </a:ext>
              </a:extLst>
            </p:cNvPr>
            <p:cNvSpPr/>
            <p:nvPr/>
          </p:nvSpPr>
          <p:spPr>
            <a:xfrm rot="8716295">
              <a:off x="1101427" y="329824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0" name="Forme libre : forme 419">
              <a:extLst>
                <a:ext uri="{FF2B5EF4-FFF2-40B4-BE49-F238E27FC236}">
                  <a16:creationId xmlns:a16="http://schemas.microsoft.com/office/drawing/2014/main" id="{E4D6370E-93EF-40F5-A0C4-77E41F8C5928}"/>
                </a:ext>
              </a:extLst>
            </p:cNvPr>
            <p:cNvSpPr/>
            <p:nvPr/>
          </p:nvSpPr>
          <p:spPr>
            <a:xfrm rot="8716295">
              <a:off x="1083185" y="3088198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1" name="Forme libre : forme 420">
              <a:extLst>
                <a:ext uri="{FF2B5EF4-FFF2-40B4-BE49-F238E27FC236}">
                  <a16:creationId xmlns:a16="http://schemas.microsoft.com/office/drawing/2014/main" id="{75EE660D-490C-4E91-B35C-9971F1A8A457}"/>
                </a:ext>
              </a:extLst>
            </p:cNvPr>
            <p:cNvSpPr/>
            <p:nvPr/>
          </p:nvSpPr>
          <p:spPr>
            <a:xfrm rot="8716295">
              <a:off x="1426961" y="367606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2" name="Forme libre : forme 421">
              <a:extLst>
                <a:ext uri="{FF2B5EF4-FFF2-40B4-BE49-F238E27FC236}">
                  <a16:creationId xmlns:a16="http://schemas.microsoft.com/office/drawing/2014/main" id="{D1E2AD0B-852D-4FB3-B735-8BDD01079661}"/>
                </a:ext>
              </a:extLst>
            </p:cNvPr>
            <p:cNvSpPr/>
            <p:nvPr/>
          </p:nvSpPr>
          <p:spPr>
            <a:xfrm rot="8716295">
              <a:off x="1897908" y="310145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3" name="Forme libre : forme 422">
              <a:extLst>
                <a:ext uri="{FF2B5EF4-FFF2-40B4-BE49-F238E27FC236}">
                  <a16:creationId xmlns:a16="http://schemas.microsoft.com/office/drawing/2014/main" id="{429C4CB7-99F5-4D34-89E6-B179CBB2792F}"/>
                </a:ext>
              </a:extLst>
            </p:cNvPr>
            <p:cNvSpPr/>
            <p:nvPr/>
          </p:nvSpPr>
          <p:spPr>
            <a:xfrm rot="8716295">
              <a:off x="2033206" y="314571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4" name="Forme libre : forme 423">
              <a:extLst>
                <a:ext uri="{FF2B5EF4-FFF2-40B4-BE49-F238E27FC236}">
                  <a16:creationId xmlns:a16="http://schemas.microsoft.com/office/drawing/2014/main" id="{33EC79B0-46E8-4552-B0C2-EA4BA94B076A}"/>
                </a:ext>
              </a:extLst>
            </p:cNvPr>
            <p:cNvSpPr/>
            <p:nvPr/>
          </p:nvSpPr>
          <p:spPr>
            <a:xfrm rot="8716295">
              <a:off x="1728037" y="323546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5" name="Forme libre : forme 424">
              <a:extLst>
                <a:ext uri="{FF2B5EF4-FFF2-40B4-BE49-F238E27FC236}">
                  <a16:creationId xmlns:a16="http://schemas.microsoft.com/office/drawing/2014/main" id="{F11F5A76-7590-43AE-A2CA-DBD4FA198BE7}"/>
                </a:ext>
              </a:extLst>
            </p:cNvPr>
            <p:cNvSpPr/>
            <p:nvPr/>
          </p:nvSpPr>
          <p:spPr>
            <a:xfrm rot="8716295">
              <a:off x="1538992" y="291963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6" name="Forme libre : forme 425">
              <a:extLst>
                <a:ext uri="{FF2B5EF4-FFF2-40B4-BE49-F238E27FC236}">
                  <a16:creationId xmlns:a16="http://schemas.microsoft.com/office/drawing/2014/main" id="{4B4E85B8-2719-4100-97B6-FA850AC933E3}"/>
                </a:ext>
              </a:extLst>
            </p:cNvPr>
            <p:cNvSpPr/>
            <p:nvPr/>
          </p:nvSpPr>
          <p:spPr>
            <a:xfrm rot="8716295">
              <a:off x="1864525" y="329745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7" name="Forme libre : forme 426">
              <a:extLst>
                <a:ext uri="{FF2B5EF4-FFF2-40B4-BE49-F238E27FC236}">
                  <a16:creationId xmlns:a16="http://schemas.microsoft.com/office/drawing/2014/main" id="{A27E076C-BF8A-4B98-AA33-E1406E0774AD}"/>
                </a:ext>
              </a:extLst>
            </p:cNvPr>
            <p:cNvSpPr/>
            <p:nvPr/>
          </p:nvSpPr>
          <p:spPr>
            <a:xfrm rot="8716295">
              <a:off x="1499078" y="307102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8" name="Forme libre : forme 427">
              <a:extLst>
                <a:ext uri="{FF2B5EF4-FFF2-40B4-BE49-F238E27FC236}">
                  <a16:creationId xmlns:a16="http://schemas.microsoft.com/office/drawing/2014/main" id="{D95DFA88-032A-4498-8D4C-A6BC58A967C4}"/>
                </a:ext>
              </a:extLst>
            </p:cNvPr>
            <p:cNvSpPr/>
            <p:nvPr/>
          </p:nvSpPr>
          <p:spPr>
            <a:xfrm rot="7484129">
              <a:off x="2023343" y="358706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9" name="Forme libre : forme 428">
              <a:extLst>
                <a:ext uri="{FF2B5EF4-FFF2-40B4-BE49-F238E27FC236}">
                  <a16:creationId xmlns:a16="http://schemas.microsoft.com/office/drawing/2014/main" id="{2D20AB0B-B576-4C51-BD2C-ADE38038FD4A}"/>
                </a:ext>
              </a:extLst>
            </p:cNvPr>
            <p:cNvSpPr/>
            <p:nvPr/>
          </p:nvSpPr>
          <p:spPr>
            <a:xfrm rot="13089394">
              <a:off x="2181992" y="353641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0" name="Forme libre : forme 429">
              <a:extLst>
                <a:ext uri="{FF2B5EF4-FFF2-40B4-BE49-F238E27FC236}">
                  <a16:creationId xmlns:a16="http://schemas.microsoft.com/office/drawing/2014/main" id="{9F954357-46D8-4091-9893-D6D2863074FC}"/>
                </a:ext>
              </a:extLst>
            </p:cNvPr>
            <p:cNvSpPr/>
            <p:nvPr/>
          </p:nvSpPr>
          <p:spPr>
            <a:xfrm rot="8716295">
              <a:off x="2462883" y="3246298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1" name="Forme libre : forme 430">
              <a:extLst>
                <a:ext uri="{FF2B5EF4-FFF2-40B4-BE49-F238E27FC236}">
                  <a16:creationId xmlns:a16="http://schemas.microsoft.com/office/drawing/2014/main" id="{6CD2C382-A770-4048-AFF9-571A0AF515B2}"/>
                </a:ext>
              </a:extLst>
            </p:cNvPr>
            <p:cNvSpPr/>
            <p:nvPr/>
          </p:nvSpPr>
          <p:spPr>
            <a:xfrm rot="8716295">
              <a:off x="2384474" y="308950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2" name="Forme libre : forme 431">
              <a:extLst>
                <a:ext uri="{FF2B5EF4-FFF2-40B4-BE49-F238E27FC236}">
                  <a16:creationId xmlns:a16="http://schemas.microsoft.com/office/drawing/2014/main" id="{43A496C9-D536-4357-8044-8DE46896BD6D}"/>
                </a:ext>
              </a:extLst>
            </p:cNvPr>
            <p:cNvSpPr/>
            <p:nvPr/>
          </p:nvSpPr>
          <p:spPr>
            <a:xfrm rot="8716295">
              <a:off x="2016311" y="313524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3" name="Forme libre : forme 432">
              <a:extLst>
                <a:ext uri="{FF2B5EF4-FFF2-40B4-BE49-F238E27FC236}">
                  <a16:creationId xmlns:a16="http://schemas.microsoft.com/office/drawing/2014/main" id="{F97B172E-F70A-4826-9B46-D11622283D88}"/>
                </a:ext>
              </a:extLst>
            </p:cNvPr>
            <p:cNvSpPr/>
            <p:nvPr/>
          </p:nvSpPr>
          <p:spPr>
            <a:xfrm rot="8716295">
              <a:off x="2284892" y="289422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4" name="Forme libre : forme 433">
              <a:extLst>
                <a:ext uri="{FF2B5EF4-FFF2-40B4-BE49-F238E27FC236}">
                  <a16:creationId xmlns:a16="http://schemas.microsoft.com/office/drawing/2014/main" id="{DBE1C2D7-8DEA-409D-8977-EC4395FEE5AE}"/>
                </a:ext>
              </a:extLst>
            </p:cNvPr>
            <p:cNvSpPr/>
            <p:nvPr/>
          </p:nvSpPr>
          <p:spPr>
            <a:xfrm rot="8716295">
              <a:off x="1798117" y="447855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5" name="Forme libre : forme 434">
              <a:extLst>
                <a:ext uri="{FF2B5EF4-FFF2-40B4-BE49-F238E27FC236}">
                  <a16:creationId xmlns:a16="http://schemas.microsoft.com/office/drawing/2014/main" id="{6CCD94BF-3540-4400-ADAD-029941EA6E42}"/>
                </a:ext>
              </a:extLst>
            </p:cNvPr>
            <p:cNvSpPr/>
            <p:nvPr/>
          </p:nvSpPr>
          <p:spPr>
            <a:xfrm rot="8716295">
              <a:off x="1933415" y="452281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6" name="Forme libre : forme 435">
              <a:extLst>
                <a:ext uri="{FF2B5EF4-FFF2-40B4-BE49-F238E27FC236}">
                  <a16:creationId xmlns:a16="http://schemas.microsoft.com/office/drawing/2014/main" id="{6A711F46-BB76-441D-BBB2-E8BB742A8FA0}"/>
                </a:ext>
              </a:extLst>
            </p:cNvPr>
            <p:cNvSpPr/>
            <p:nvPr/>
          </p:nvSpPr>
          <p:spPr>
            <a:xfrm rot="8716295">
              <a:off x="1865533" y="439222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7" name="Forme libre : forme 436">
              <a:extLst>
                <a:ext uri="{FF2B5EF4-FFF2-40B4-BE49-F238E27FC236}">
                  <a16:creationId xmlns:a16="http://schemas.microsoft.com/office/drawing/2014/main" id="{080AD499-612A-4324-9D7F-432F8DA35F24}"/>
                </a:ext>
              </a:extLst>
            </p:cNvPr>
            <p:cNvSpPr/>
            <p:nvPr/>
          </p:nvSpPr>
          <p:spPr>
            <a:xfrm rot="8716295">
              <a:off x="1628246" y="461256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8" name="Forme libre : forme 437">
              <a:extLst>
                <a:ext uri="{FF2B5EF4-FFF2-40B4-BE49-F238E27FC236}">
                  <a16:creationId xmlns:a16="http://schemas.microsoft.com/office/drawing/2014/main" id="{F65DE21A-C7F5-490D-803A-5E27AE79387F}"/>
                </a:ext>
              </a:extLst>
            </p:cNvPr>
            <p:cNvSpPr/>
            <p:nvPr/>
          </p:nvSpPr>
          <p:spPr>
            <a:xfrm rot="8716295">
              <a:off x="1439200" y="42967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9" name="Forme libre : forme 438">
              <a:extLst>
                <a:ext uri="{FF2B5EF4-FFF2-40B4-BE49-F238E27FC236}">
                  <a16:creationId xmlns:a16="http://schemas.microsoft.com/office/drawing/2014/main" id="{4870EC0D-8313-4FB2-9F0D-D062D3F8FE46}"/>
                </a:ext>
              </a:extLst>
            </p:cNvPr>
            <p:cNvSpPr/>
            <p:nvPr/>
          </p:nvSpPr>
          <p:spPr>
            <a:xfrm rot="8716295">
              <a:off x="1420958" y="408668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0" name="Forme libre : forme 439">
              <a:extLst>
                <a:ext uri="{FF2B5EF4-FFF2-40B4-BE49-F238E27FC236}">
                  <a16:creationId xmlns:a16="http://schemas.microsoft.com/office/drawing/2014/main" id="{1C3E68D2-805A-4614-B9F0-EF8296EB21E7}"/>
                </a:ext>
              </a:extLst>
            </p:cNvPr>
            <p:cNvSpPr/>
            <p:nvPr/>
          </p:nvSpPr>
          <p:spPr>
            <a:xfrm rot="8716295">
              <a:off x="1764734" y="467454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1" name="Forme libre : forme 440">
              <a:extLst>
                <a:ext uri="{FF2B5EF4-FFF2-40B4-BE49-F238E27FC236}">
                  <a16:creationId xmlns:a16="http://schemas.microsoft.com/office/drawing/2014/main" id="{7D006425-5A7F-45EC-8C07-6540BE529EFF}"/>
                </a:ext>
              </a:extLst>
            </p:cNvPr>
            <p:cNvSpPr/>
            <p:nvPr/>
          </p:nvSpPr>
          <p:spPr>
            <a:xfrm rot="8716295">
              <a:off x="2235681" y="409993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2" name="Forme libre : forme 441">
              <a:extLst>
                <a:ext uri="{FF2B5EF4-FFF2-40B4-BE49-F238E27FC236}">
                  <a16:creationId xmlns:a16="http://schemas.microsoft.com/office/drawing/2014/main" id="{EEBCE819-4C86-43C8-A8FD-538E58BE173E}"/>
                </a:ext>
              </a:extLst>
            </p:cNvPr>
            <p:cNvSpPr/>
            <p:nvPr/>
          </p:nvSpPr>
          <p:spPr>
            <a:xfrm rot="8716295">
              <a:off x="2370979" y="414419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3" name="Forme libre : forme 442">
              <a:extLst>
                <a:ext uri="{FF2B5EF4-FFF2-40B4-BE49-F238E27FC236}">
                  <a16:creationId xmlns:a16="http://schemas.microsoft.com/office/drawing/2014/main" id="{5925BB99-2A21-4A4D-AEE9-C74CAEFFF456}"/>
                </a:ext>
              </a:extLst>
            </p:cNvPr>
            <p:cNvSpPr/>
            <p:nvPr/>
          </p:nvSpPr>
          <p:spPr>
            <a:xfrm rot="8716295">
              <a:off x="2065810" y="423395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4" name="Forme libre : forme 443">
              <a:extLst>
                <a:ext uri="{FF2B5EF4-FFF2-40B4-BE49-F238E27FC236}">
                  <a16:creationId xmlns:a16="http://schemas.microsoft.com/office/drawing/2014/main" id="{D90AB38E-9535-4B07-A3B0-C983BFD87309}"/>
                </a:ext>
              </a:extLst>
            </p:cNvPr>
            <p:cNvSpPr/>
            <p:nvPr/>
          </p:nvSpPr>
          <p:spPr>
            <a:xfrm rot="8716295">
              <a:off x="1876765" y="391811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5" name="Forme libre : forme 444">
              <a:extLst>
                <a:ext uri="{FF2B5EF4-FFF2-40B4-BE49-F238E27FC236}">
                  <a16:creationId xmlns:a16="http://schemas.microsoft.com/office/drawing/2014/main" id="{C3701EF3-1A02-4242-AC07-BCBDBF764E8D}"/>
                </a:ext>
              </a:extLst>
            </p:cNvPr>
            <p:cNvSpPr/>
            <p:nvPr/>
          </p:nvSpPr>
          <p:spPr>
            <a:xfrm rot="8716295">
              <a:off x="2202298" y="4295933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6" name="Forme libre : forme 445">
              <a:extLst>
                <a:ext uri="{FF2B5EF4-FFF2-40B4-BE49-F238E27FC236}">
                  <a16:creationId xmlns:a16="http://schemas.microsoft.com/office/drawing/2014/main" id="{AF59F773-3F62-40D5-B816-693C7D75563E}"/>
                </a:ext>
              </a:extLst>
            </p:cNvPr>
            <p:cNvSpPr/>
            <p:nvPr/>
          </p:nvSpPr>
          <p:spPr>
            <a:xfrm rot="8716295">
              <a:off x="1836851" y="406950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7" name="Forme libre : forme 446">
              <a:extLst>
                <a:ext uri="{FF2B5EF4-FFF2-40B4-BE49-F238E27FC236}">
                  <a16:creationId xmlns:a16="http://schemas.microsoft.com/office/drawing/2014/main" id="{FE3D7341-86E2-4F15-99E5-17E65F18A557}"/>
                </a:ext>
              </a:extLst>
            </p:cNvPr>
            <p:cNvSpPr/>
            <p:nvPr/>
          </p:nvSpPr>
          <p:spPr>
            <a:xfrm rot="7484129">
              <a:off x="2361116" y="458555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8" name="Forme libre : forme 447">
              <a:extLst>
                <a:ext uri="{FF2B5EF4-FFF2-40B4-BE49-F238E27FC236}">
                  <a16:creationId xmlns:a16="http://schemas.microsoft.com/office/drawing/2014/main" id="{5C1D71A6-936B-459D-9722-F2C5B66EA99D}"/>
                </a:ext>
              </a:extLst>
            </p:cNvPr>
            <p:cNvSpPr/>
            <p:nvPr/>
          </p:nvSpPr>
          <p:spPr>
            <a:xfrm rot="13089394">
              <a:off x="2519765" y="4534899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9" name="Forme libre : forme 448">
              <a:extLst>
                <a:ext uri="{FF2B5EF4-FFF2-40B4-BE49-F238E27FC236}">
                  <a16:creationId xmlns:a16="http://schemas.microsoft.com/office/drawing/2014/main" id="{239A055E-FAA5-4946-B5AA-160CD0F24098}"/>
                </a:ext>
              </a:extLst>
            </p:cNvPr>
            <p:cNvSpPr/>
            <p:nvPr/>
          </p:nvSpPr>
          <p:spPr>
            <a:xfrm rot="8716295">
              <a:off x="2800656" y="4244781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0" name="Forme libre : forme 449">
              <a:extLst>
                <a:ext uri="{FF2B5EF4-FFF2-40B4-BE49-F238E27FC236}">
                  <a16:creationId xmlns:a16="http://schemas.microsoft.com/office/drawing/2014/main" id="{C61941C7-A0C9-4F01-BFEB-50DC9178AB17}"/>
                </a:ext>
              </a:extLst>
            </p:cNvPr>
            <p:cNvSpPr/>
            <p:nvPr/>
          </p:nvSpPr>
          <p:spPr>
            <a:xfrm rot="8716295">
              <a:off x="2722247" y="4087989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1" name="Forme libre : forme 450">
              <a:extLst>
                <a:ext uri="{FF2B5EF4-FFF2-40B4-BE49-F238E27FC236}">
                  <a16:creationId xmlns:a16="http://schemas.microsoft.com/office/drawing/2014/main" id="{1C15DEFB-74F4-471B-9873-5AB46E67254D}"/>
                </a:ext>
              </a:extLst>
            </p:cNvPr>
            <p:cNvSpPr/>
            <p:nvPr/>
          </p:nvSpPr>
          <p:spPr>
            <a:xfrm rot="8716295">
              <a:off x="2354084" y="413373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2" name="Forme libre : forme 451">
              <a:extLst>
                <a:ext uri="{FF2B5EF4-FFF2-40B4-BE49-F238E27FC236}">
                  <a16:creationId xmlns:a16="http://schemas.microsoft.com/office/drawing/2014/main" id="{9F9771F8-06F4-4F00-A689-90F319B4F22E}"/>
                </a:ext>
              </a:extLst>
            </p:cNvPr>
            <p:cNvSpPr/>
            <p:nvPr/>
          </p:nvSpPr>
          <p:spPr>
            <a:xfrm rot="8716295">
              <a:off x="2622665" y="389271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3" name="Forme libre : forme 452">
              <a:extLst>
                <a:ext uri="{FF2B5EF4-FFF2-40B4-BE49-F238E27FC236}">
                  <a16:creationId xmlns:a16="http://schemas.microsoft.com/office/drawing/2014/main" id="{F08877F6-FFCF-44A0-9498-6A62589B37A0}"/>
                </a:ext>
              </a:extLst>
            </p:cNvPr>
            <p:cNvSpPr/>
            <p:nvPr/>
          </p:nvSpPr>
          <p:spPr>
            <a:xfrm rot="8716295">
              <a:off x="1836002" y="5051565"/>
              <a:ext cx="229466" cy="172677"/>
            </a:xfrm>
            <a:custGeom>
              <a:avLst/>
              <a:gdLst>
                <a:gd name="connsiteX0" fmla="*/ 37429 w 229466"/>
                <a:gd name="connsiteY0" fmla="*/ 127889 h 172677"/>
                <a:gd name="connsiteX1" fmla="*/ 864 w 229466"/>
                <a:gd name="connsiteY1" fmla="*/ 25330 h 172677"/>
                <a:gd name="connsiteX2" fmla="*/ 0 w 229466"/>
                <a:gd name="connsiteY2" fmla="*/ 0 h 172677"/>
                <a:gd name="connsiteX3" fmla="*/ 229466 w 229466"/>
                <a:gd name="connsiteY3" fmla="*/ 159058 h 172677"/>
                <a:gd name="connsiteX4" fmla="*/ 210504 w 229466"/>
                <a:gd name="connsiteY4" fmla="*/ 164122 h 172677"/>
                <a:gd name="connsiteX5" fmla="*/ 146960 w 229466"/>
                <a:gd name="connsiteY5" fmla="*/ 172414 h 172677"/>
                <a:gd name="connsiteX6" fmla="*/ 37429 w 229466"/>
                <a:gd name="connsiteY6" fmla="*/ 127889 h 172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9466" h="172677">
                  <a:moveTo>
                    <a:pt x="37429" y="127889"/>
                  </a:moveTo>
                  <a:cubicBezTo>
                    <a:pt x="14722" y="105850"/>
                    <a:pt x="4537" y="71789"/>
                    <a:pt x="864" y="25330"/>
                  </a:cubicBezTo>
                  <a:lnTo>
                    <a:pt x="0" y="0"/>
                  </a:lnTo>
                  <a:lnTo>
                    <a:pt x="229466" y="159058"/>
                  </a:lnTo>
                  <a:lnTo>
                    <a:pt x="210504" y="164122"/>
                  </a:lnTo>
                  <a:cubicBezTo>
                    <a:pt x="187032" y="168685"/>
                    <a:pt x="165437" y="171301"/>
                    <a:pt x="146960" y="172414"/>
                  </a:cubicBezTo>
                  <a:cubicBezTo>
                    <a:pt x="105998" y="175086"/>
                    <a:pt x="65926" y="157276"/>
                    <a:pt x="37429" y="12788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4" name="Forme libre : forme 453">
              <a:extLst>
                <a:ext uri="{FF2B5EF4-FFF2-40B4-BE49-F238E27FC236}">
                  <a16:creationId xmlns:a16="http://schemas.microsoft.com/office/drawing/2014/main" id="{2206BB34-A379-4319-86EE-02F9BAF96CEF}"/>
                </a:ext>
              </a:extLst>
            </p:cNvPr>
            <p:cNvSpPr/>
            <p:nvPr/>
          </p:nvSpPr>
          <p:spPr>
            <a:xfrm rot="8716295">
              <a:off x="2865171" y="5107739"/>
              <a:ext cx="36955" cy="50812"/>
            </a:xfrm>
            <a:custGeom>
              <a:avLst/>
              <a:gdLst>
                <a:gd name="connsiteX0" fmla="*/ 0 w 36955"/>
                <a:gd name="connsiteY0" fmla="*/ 50812 h 50812"/>
                <a:gd name="connsiteX1" fmla="*/ 0 w 36955"/>
                <a:gd name="connsiteY1" fmla="*/ 0 h 50812"/>
                <a:gd name="connsiteX2" fmla="*/ 36955 w 36955"/>
                <a:gd name="connsiteY2" fmla="*/ 25616 h 50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955" h="50812">
                  <a:moveTo>
                    <a:pt x="0" y="50812"/>
                  </a:moveTo>
                  <a:lnTo>
                    <a:pt x="0" y="0"/>
                  </a:lnTo>
                  <a:lnTo>
                    <a:pt x="36955" y="256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5" name="Forme libre : forme 454">
              <a:extLst>
                <a:ext uri="{FF2B5EF4-FFF2-40B4-BE49-F238E27FC236}">
                  <a16:creationId xmlns:a16="http://schemas.microsoft.com/office/drawing/2014/main" id="{90C6BA39-5B60-4C98-B3CF-8834D6D8FD79}"/>
                </a:ext>
              </a:extLst>
            </p:cNvPr>
            <p:cNvSpPr/>
            <p:nvPr/>
          </p:nvSpPr>
          <p:spPr>
            <a:xfrm rot="8716295">
              <a:off x="2291544" y="4886156"/>
              <a:ext cx="209028" cy="296463"/>
            </a:xfrm>
            <a:custGeom>
              <a:avLst/>
              <a:gdLst>
                <a:gd name="connsiteX0" fmla="*/ 137293 w 209028"/>
                <a:gd name="connsiteY0" fmla="*/ 296463 h 296463"/>
                <a:gd name="connsiteX1" fmla="*/ 72418 w 209028"/>
                <a:gd name="connsiteY1" fmla="*/ 175766 h 296463"/>
                <a:gd name="connsiteX2" fmla="*/ 105610 w 209028"/>
                <a:gd name="connsiteY2" fmla="*/ 83734 h 296463"/>
                <a:gd name="connsiteX3" fmla="*/ 0 w 209028"/>
                <a:gd name="connsiteY3" fmla="*/ 83734 h 296463"/>
                <a:gd name="connsiteX4" fmla="*/ 0 w 209028"/>
                <a:gd name="connsiteY4" fmla="*/ 0 h 296463"/>
                <a:gd name="connsiteX5" fmla="*/ 82199 w 209028"/>
                <a:gd name="connsiteY5" fmla="*/ 0 h 296463"/>
                <a:gd name="connsiteX6" fmla="*/ 209028 w 209028"/>
                <a:gd name="connsiteY6" fmla="*/ 87913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028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82199" y="0"/>
                  </a:lnTo>
                  <a:lnTo>
                    <a:pt x="209028" y="8791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6" name="Forme libre : forme 455">
              <a:extLst>
                <a:ext uri="{FF2B5EF4-FFF2-40B4-BE49-F238E27FC236}">
                  <a16:creationId xmlns:a16="http://schemas.microsoft.com/office/drawing/2014/main" id="{AAE782AF-C820-4904-B08F-997B904CDC4A}"/>
                </a:ext>
              </a:extLst>
            </p:cNvPr>
            <p:cNvSpPr/>
            <p:nvPr/>
          </p:nvSpPr>
          <p:spPr>
            <a:xfrm rot="8716295">
              <a:off x="2159594" y="5061280"/>
              <a:ext cx="112869" cy="105684"/>
            </a:xfrm>
            <a:custGeom>
              <a:avLst/>
              <a:gdLst>
                <a:gd name="connsiteX0" fmla="*/ 17362 w 112869"/>
                <a:gd name="connsiteY0" fmla="*/ 89236 h 105684"/>
                <a:gd name="connsiteX1" fmla="*/ 0 w 112869"/>
                <a:gd name="connsiteY1" fmla="*/ 48117 h 105684"/>
                <a:gd name="connsiteX2" fmla="*/ 0 w 112869"/>
                <a:gd name="connsiteY2" fmla="*/ 47203 h 105684"/>
                <a:gd name="connsiteX3" fmla="*/ 17362 w 112869"/>
                <a:gd name="connsiteY3" fmla="*/ 6084 h 105684"/>
                <a:gd name="connsiteX4" fmla="*/ 31771 w 112869"/>
                <a:gd name="connsiteY4" fmla="*/ 0 h 105684"/>
                <a:gd name="connsiteX5" fmla="*/ 112869 w 112869"/>
                <a:gd name="connsiteY5" fmla="*/ 56215 h 105684"/>
                <a:gd name="connsiteX6" fmla="*/ 99601 w 112869"/>
                <a:gd name="connsiteY6" fmla="*/ 88323 h 105684"/>
                <a:gd name="connsiteX7" fmla="*/ 58481 w 112869"/>
                <a:gd name="connsiteY7" fmla="*/ 105684 h 105684"/>
                <a:gd name="connsiteX8" fmla="*/ 17362 w 112869"/>
                <a:gd name="connsiteY8" fmla="*/ 89236 h 105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869" h="105684">
                  <a:moveTo>
                    <a:pt x="17362" y="89236"/>
                  </a:moveTo>
                  <a:cubicBezTo>
                    <a:pt x="6397" y="78271"/>
                    <a:pt x="0" y="63651"/>
                    <a:pt x="0" y="48117"/>
                  </a:cubicBezTo>
                  <a:lnTo>
                    <a:pt x="0" y="47203"/>
                  </a:lnTo>
                  <a:cubicBezTo>
                    <a:pt x="0" y="31669"/>
                    <a:pt x="6397" y="17049"/>
                    <a:pt x="17362" y="6084"/>
                  </a:cubicBezTo>
                  <a:lnTo>
                    <a:pt x="31771" y="0"/>
                  </a:lnTo>
                  <a:lnTo>
                    <a:pt x="112869" y="56215"/>
                  </a:lnTo>
                  <a:lnTo>
                    <a:pt x="99601" y="88323"/>
                  </a:lnTo>
                  <a:cubicBezTo>
                    <a:pt x="88636" y="99288"/>
                    <a:pt x="74015" y="105684"/>
                    <a:pt x="58481" y="105684"/>
                  </a:cubicBezTo>
                  <a:cubicBezTo>
                    <a:pt x="42947" y="105684"/>
                    <a:pt x="28327" y="100202"/>
                    <a:pt x="17362" y="8923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7" name="Forme libre : forme 456">
              <a:extLst>
                <a:ext uri="{FF2B5EF4-FFF2-40B4-BE49-F238E27FC236}">
                  <a16:creationId xmlns:a16="http://schemas.microsoft.com/office/drawing/2014/main" id="{DEEDD910-88E0-46A6-9511-30F91F188D7C}"/>
                </a:ext>
              </a:extLst>
            </p:cNvPr>
            <p:cNvSpPr/>
            <p:nvPr/>
          </p:nvSpPr>
          <p:spPr>
            <a:xfrm rot="8716295">
              <a:off x="3051941" y="5073759"/>
              <a:ext cx="145251" cy="115110"/>
            </a:xfrm>
            <a:custGeom>
              <a:avLst/>
              <a:gdLst>
                <a:gd name="connsiteX0" fmla="*/ 26453 w 145251"/>
                <a:gd name="connsiteY0" fmla="*/ 90050 h 115110"/>
                <a:gd name="connsiteX1" fmla="*/ 0 w 145251"/>
                <a:gd name="connsiteY1" fmla="*/ 27401 h 115110"/>
                <a:gd name="connsiteX2" fmla="*/ 0 w 145251"/>
                <a:gd name="connsiteY2" fmla="*/ 26008 h 115110"/>
                <a:gd name="connsiteX3" fmla="*/ 10982 w 145251"/>
                <a:gd name="connsiteY3" fmla="*/ 0 h 115110"/>
                <a:gd name="connsiteX4" fmla="*/ 145251 w 145251"/>
                <a:gd name="connsiteY4" fmla="*/ 93071 h 115110"/>
                <a:gd name="connsiteX5" fmla="*/ 123037 w 145251"/>
                <a:gd name="connsiteY5" fmla="*/ 108149 h 115110"/>
                <a:gd name="connsiteX6" fmla="*/ 89101 w 145251"/>
                <a:gd name="connsiteY6" fmla="*/ 115110 h 115110"/>
                <a:gd name="connsiteX7" fmla="*/ 26453 w 145251"/>
                <a:gd name="connsiteY7" fmla="*/ 90050 h 11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5251" h="115110">
                  <a:moveTo>
                    <a:pt x="26453" y="90050"/>
                  </a:moveTo>
                  <a:cubicBezTo>
                    <a:pt x="9746" y="73344"/>
                    <a:pt x="0" y="51068"/>
                    <a:pt x="0" y="27401"/>
                  </a:cubicBezTo>
                  <a:lnTo>
                    <a:pt x="0" y="26008"/>
                  </a:lnTo>
                  <a:lnTo>
                    <a:pt x="10982" y="0"/>
                  </a:lnTo>
                  <a:lnTo>
                    <a:pt x="145251" y="93071"/>
                  </a:lnTo>
                  <a:lnTo>
                    <a:pt x="123037" y="108149"/>
                  </a:lnTo>
                  <a:cubicBezTo>
                    <a:pt x="112421" y="112674"/>
                    <a:pt x="100936" y="115110"/>
                    <a:pt x="89101" y="115110"/>
                  </a:cubicBezTo>
                  <a:cubicBezTo>
                    <a:pt x="65434" y="115110"/>
                    <a:pt x="43159" y="106756"/>
                    <a:pt x="26453" y="900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8" name="Forme libre : forme 457">
              <a:extLst>
                <a:ext uri="{FF2B5EF4-FFF2-40B4-BE49-F238E27FC236}">
                  <a16:creationId xmlns:a16="http://schemas.microsoft.com/office/drawing/2014/main" id="{43CB19E1-F549-45B3-BD6D-2F3BBB712FCF}"/>
                </a:ext>
              </a:extLst>
            </p:cNvPr>
            <p:cNvSpPr/>
            <p:nvPr/>
          </p:nvSpPr>
          <p:spPr>
            <a:xfrm rot="8716295">
              <a:off x="2953631" y="488922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9" name="Forme libre : forme 458">
              <a:extLst>
                <a:ext uri="{FF2B5EF4-FFF2-40B4-BE49-F238E27FC236}">
                  <a16:creationId xmlns:a16="http://schemas.microsoft.com/office/drawing/2014/main" id="{62ED84A3-6167-4C83-A181-D227CFE89DEE}"/>
                </a:ext>
              </a:extLst>
            </p:cNvPr>
            <p:cNvSpPr/>
            <p:nvPr/>
          </p:nvSpPr>
          <p:spPr>
            <a:xfrm rot="8716295">
              <a:off x="1125067" y="247965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0" name="Forme libre : forme 459">
              <a:extLst>
                <a:ext uri="{FF2B5EF4-FFF2-40B4-BE49-F238E27FC236}">
                  <a16:creationId xmlns:a16="http://schemas.microsoft.com/office/drawing/2014/main" id="{6629C390-204C-4458-B724-2A6C51816D1A}"/>
                </a:ext>
              </a:extLst>
            </p:cNvPr>
            <p:cNvSpPr/>
            <p:nvPr/>
          </p:nvSpPr>
          <p:spPr>
            <a:xfrm rot="8716295">
              <a:off x="1260365" y="252391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1" name="Forme libre : forme 460">
              <a:extLst>
                <a:ext uri="{FF2B5EF4-FFF2-40B4-BE49-F238E27FC236}">
                  <a16:creationId xmlns:a16="http://schemas.microsoft.com/office/drawing/2014/main" id="{97B7B890-581D-4115-8816-FCD753CF66AD}"/>
                </a:ext>
              </a:extLst>
            </p:cNvPr>
            <p:cNvSpPr/>
            <p:nvPr/>
          </p:nvSpPr>
          <p:spPr>
            <a:xfrm rot="8716295">
              <a:off x="1192483" y="2393326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2" name="Forme libre : forme 461">
              <a:extLst>
                <a:ext uri="{FF2B5EF4-FFF2-40B4-BE49-F238E27FC236}">
                  <a16:creationId xmlns:a16="http://schemas.microsoft.com/office/drawing/2014/main" id="{BD8D3F38-EB27-45DE-9B7A-0BBD45B7402D}"/>
                </a:ext>
              </a:extLst>
            </p:cNvPr>
            <p:cNvSpPr/>
            <p:nvPr/>
          </p:nvSpPr>
          <p:spPr>
            <a:xfrm rot="8716295">
              <a:off x="955196" y="261367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3" name="Forme libre : forme 462">
              <a:extLst>
                <a:ext uri="{FF2B5EF4-FFF2-40B4-BE49-F238E27FC236}">
                  <a16:creationId xmlns:a16="http://schemas.microsoft.com/office/drawing/2014/main" id="{5B75726D-49A3-4FF8-933B-6C7B899241CE}"/>
                </a:ext>
              </a:extLst>
            </p:cNvPr>
            <p:cNvSpPr/>
            <p:nvPr/>
          </p:nvSpPr>
          <p:spPr>
            <a:xfrm rot="8716295">
              <a:off x="766149" y="229783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4" name="Forme libre : forme 463">
              <a:extLst>
                <a:ext uri="{FF2B5EF4-FFF2-40B4-BE49-F238E27FC236}">
                  <a16:creationId xmlns:a16="http://schemas.microsoft.com/office/drawing/2014/main" id="{E24EBA4F-EA30-42CA-AE82-25AD970D7646}"/>
                </a:ext>
              </a:extLst>
            </p:cNvPr>
            <p:cNvSpPr/>
            <p:nvPr/>
          </p:nvSpPr>
          <p:spPr>
            <a:xfrm rot="8716295">
              <a:off x="747908" y="2087785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5" name="Forme libre : forme 464">
              <a:extLst>
                <a:ext uri="{FF2B5EF4-FFF2-40B4-BE49-F238E27FC236}">
                  <a16:creationId xmlns:a16="http://schemas.microsoft.com/office/drawing/2014/main" id="{E2A695D6-7168-4A61-BBE4-65A85205EC8D}"/>
                </a:ext>
              </a:extLst>
            </p:cNvPr>
            <p:cNvSpPr/>
            <p:nvPr/>
          </p:nvSpPr>
          <p:spPr>
            <a:xfrm rot="8716295">
              <a:off x="1091684" y="2675653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6" name="Forme libre : forme 465">
              <a:extLst>
                <a:ext uri="{FF2B5EF4-FFF2-40B4-BE49-F238E27FC236}">
                  <a16:creationId xmlns:a16="http://schemas.microsoft.com/office/drawing/2014/main" id="{E30794E6-5983-41A0-85F7-1177811DAA69}"/>
                </a:ext>
              </a:extLst>
            </p:cNvPr>
            <p:cNvSpPr/>
            <p:nvPr/>
          </p:nvSpPr>
          <p:spPr>
            <a:xfrm rot="8716295">
              <a:off x="1562630" y="210103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7" name="Forme libre : forme 466">
              <a:extLst>
                <a:ext uri="{FF2B5EF4-FFF2-40B4-BE49-F238E27FC236}">
                  <a16:creationId xmlns:a16="http://schemas.microsoft.com/office/drawing/2014/main" id="{AB100FB8-5A47-45FF-A736-AC13181C693F}"/>
                </a:ext>
              </a:extLst>
            </p:cNvPr>
            <p:cNvSpPr/>
            <p:nvPr/>
          </p:nvSpPr>
          <p:spPr>
            <a:xfrm rot="8716295">
              <a:off x="1697929" y="214529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8" name="Forme libre : forme 467">
              <a:extLst>
                <a:ext uri="{FF2B5EF4-FFF2-40B4-BE49-F238E27FC236}">
                  <a16:creationId xmlns:a16="http://schemas.microsoft.com/office/drawing/2014/main" id="{81FCAA69-A703-43D5-90B2-A5FE09CDC15A}"/>
                </a:ext>
              </a:extLst>
            </p:cNvPr>
            <p:cNvSpPr/>
            <p:nvPr/>
          </p:nvSpPr>
          <p:spPr>
            <a:xfrm rot="8716295">
              <a:off x="1392759" y="223505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9" name="Forme libre : forme 468">
              <a:extLst>
                <a:ext uri="{FF2B5EF4-FFF2-40B4-BE49-F238E27FC236}">
                  <a16:creationId xmlns:a16="http://schemas.microsoft.com/office/drawing/2014/main" id="{F72C6E00-EB30-4F27-B358-913C2822A889}"/>
                </a:ext>
              </a:extLst>
            </p:cNvPr>
            <p:cNvSpPr/>
            <p:nvPr/>
          </p:nvSpPr>
          <p:spPr>
            <a:xfrm rot="8716295">
              <a:off x="1203715" y="191921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0" name="Forme libre : forme 469">
              <a:extLst>
                <a:ext uri="{FF2B5EF4-FFF2-40B4-BE49-F238E27FC236}">
                  <a16:creationId xmlns:a16="http://schemas.microsoft.com/office/drawing/2014/main" id="{361BE4A3-8069-446D-90C4-26FC3152CCE0}"/>
                </a:ext>
              </a:extLst>
            </p:cNvPr>
            <p:cNvSpPr/>
            <p:nvPr/>
          </p:nvSpPr>
          <p:spPr>
            <a:xfrm rot="8716295">
              <a:off x="1529248" y="2297037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1" name="Forme libre : forme 470">
              <a:extLst>
                <a:ext uri="{FF2B5EF4-FFF2-40B4-BE49-F238E27FC236}">
                  <a16:creationId xmlns:a16="http://schemas.microsoft.com/office/drawing/2014/main" id="{A6315079-AF63-4B06-AD9B-40EEFE3B3E8B}"/>
                </a:ext>
              </a:extLst>
            </p:cNvPr>
            <p:cNvSpPr/>
            <p:nvPr/>
          </p:nvSpPr>
          <p:spPr>
            <a:xfrm rot="8716295">
              <a:off x="1163801" y="2070611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2" name="Forme libre : forme 471">
              <a:extLst>
                <a:ext uri="{FF2B5EF4-FFF2-40B4-BE49-F238E27FC236}">
                  <a16:creationId xmlns:a16="http://schemas.microsoft.com/office/drawing/2014/main" id="{2C75BE5F-5979-4F78-A59E-3840B80E9CA3}"/>
                </a:ext>
              </a:extLst>
            </p:cNvPr>
            <p:cNvSpPr/>
            <p:nvPr/>
          </p:nvSpPr>
          <p:spPr>
            <a:xfrm rot="7484129">
              <a:off x="1688065" y="258665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3" name="Forme libre : forme 472">
              <a:extLst>
                <a:ext uri="{FF2B5EF4-FFF2-40B4-BE49-F238E27FC236}">
                  <a16:creationId xmlns:a16="http://schemas.microsoft.com/office/drawing/2014/main" id="{F508FCB0-FB88-480F-9341-2213C529AF00}"/>
                </a:ext>
              </a:extLst>
            </p:cNvPr>
            <p:cNvSpPr/>
            <p:nvPr/>
          </p:nvSpPr>
          <p:spPr>
            <a:xfrm rot="13089394">
              <a:off x="1846715" y="2536003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4" name="Forme libre : forme 473">
              <a:extLst>
                <a:ext uri="{FF2B5EF4-FFF2-40B4-BE49-F238E27FC236}">
                  <a16:creationId xmlns:a16="http://schemas.microsoft.com/office/drawing/2014/main" id="{B959FEB1-DFD0-4DE6-B296-0E35D4323808}"/>
                </a:ext>
              </a:extLst>
            </p:cNvPr>
            <p:cNvSpPr/>
            <p:nvPr/>
          </p:nvSpPr>
          <p:spPr>
            <a:xfrm rot="8716295">
              <a:off x="2127606" y="2245885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5" name="Forme libre : forme 474">
              <a:extLst>
                <a:ext uri="{FF2B5EF4-FFF2-40B4-BE49-F238E27FC236}">
                  <a16:creationId xmlns:a16="http://schemas.microsoft.com/office/drawing/2014/main" id="{67FA008A-954F-42E5-B276-F1C227A67F8E}"/>
                </a:ext>
              </a:extLst>
            </p:cNvPr>
            <p:cNvSpPr/>
            <p:nvPr/>
          </p:nvSpPr>
          <p:spPr>
            <a:xfrm rot="8716295">
              <a:off x="2049197" y="208909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6" name="Forme libre : forme 475">
              <a:extLst>
                <a:ext uri="{FF2B5EF4-FFF2-40B4-BE49-F238E27FC236}">
                  <a16:creationId xmlns:a16="http://schemas.microsoft.com/office/drawing/2014/main" id="{F2F193F6-2E0D-41E8-95C5-8F1192FDE740}"/>
                </a:ext>
              </a:extLst>
            </p:cNvPr>
            <p:cNvSpPr/>
            <p:nvPr/>
          </p:nvSpPr>
          <p:spPr>
            <a:xfrm rot="8716295">
              <a:off x="1681033" y="21348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7" name="Forme libre : forme 476">
              <a:extLst>
                <a:ext uri="{FF2B5EF4-FFF2-40B4-BE49-F238E27FC236}">
                  <a16:creationId xmlns:a16="http://schemas.microsoft.com/office/drawing/2014/main" id="{A96550A6-B207-45AD-A7BA-4B8953554164}"/>
                </a:ext>
              </a:extLst>
            </p:cNvPr>
            <p:cNvSpPr/>
            <p:nvPr/>
          </p:nvSpPr>
          <p:spPr>
            <a:xfrm rot="8716295">
              <a:off x="1949615" y="189381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8" name="Forme libre : forme 477">
              <a:extLst>
                <a:ext uri="{FF2B5EF4-FFF2-40B4-BE49-F238E27FC236}">
                  <a16:creationId xmlns:a16="http://schemas.microsoft.com/office/drawing/2014/main" id="{6F37CD06-4319-4DC6-9617-4E1A5DB80D5C}"/>
                </a:ext>
              </a:extLst>
            </p:cNvPr>
            <p:cNvSpPr/>
            <p:nvPr/>
          </p:nvSpPr>
          <p:spPr>
            <a:xfrm rot="8716295">
              <a:off x="787294" y="148117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9" name="Forme libre : forme 478">
              <a:extLst>
                <a:ext uri="{FF2B5EF4-FFF2-40B4-BE49-F238E27FC236}">
                  <a16:creationId xmlns:a16="http://schemas.microsoft.com/office/drawing/2014/main" id="{1D10C06F-21E5-4932-8315-49C11C1DF8B1}"/>
                </a:ext>
              </a:extLst>
            </p:cNvPr>
            <p:cNvSpPr/>
            <p:nvPr/>
          </p:nvSpPr>
          <p:spPr>
            <a:xfrm rot="8716295">
              <a:off x="922592" y="152543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0" name="Forme libre : forme 479">
              <a:extLst>
                <a:ext uri="{FF2B5EF4-FFF2-40B4-BE49-F238E27FC236}">
                  <a16:creationId xmlns:a16="http://schemas.microsoft.com/office/drawing/2014/main" id="{38C358EC-E58C-4C5E-9C0A-AF30964E5E3F}"/>
                </a:ext>
              </a:extLst>
            </p:cNvPr>
            <p:cNvSpPr/>
            <p:nvPr/>
          </p:nvSpPr>
          <p:spPr>
            <a:xfrm rot="8716295">
              <a:off x="854710" y="1394843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1" name="Forme libre : forme 480">
              <a:extLst>
                <a:ext uri="{FF2B5EF4-FFF2-40B4-BE49-F238E27FC236}">
                  <a16:creationId xmlns:a16="http://schemas.microsoft.com/office/drawing/2014/main" id="{67BF3E00-6BD7-4B0A-BB51-FD922EDEE623}"/>
                </a:ext>
              </a:extLst>
            </p:cNvPr>
            <p:cNvSpPr/>
            <p:nvPr/>
          </p:nvSpPr>
          <p:spPr>
            <a:xfrm rot="8716295">
              <a:off x="617423" y="161518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2" name="Forme libre : forme 481">
              <a:extLst>
                <a:ext uri="{FF2B5EF4-FFF2-40B4-BE49-F238E27FC236}">
                  <a16:creationId xmlns:a16="http://schemas.microsoft.com/office/drawing/2014/main" id="{E3A6DB3D-9EF4-4413-8FD5-EEC3980C3376}"/>
                </a:ext>
              </a:extLst>
            </p:cNvPr>
            <p:cNvSpPr/>
            <p:nvPr/>
          </p:nvSpPr>
          <p:spPr>
            <a:xfrm rot="8716295">
              <a:off x="428376" y="129935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3" name="Forme libre : forme 482">
              <a:extLst>
                <a:ext uri="{FF2B5EF4-FFF2-40B4-BE49-F238E27FC236}">
                  <a16:creationId xmlns:a16="http://schemas.microsoft.com/office/drawing/2014/main" id="{6D423D62-7B8A-436E-AD6C-850B60BB03AE}"/>
                </a:ext>
              </a:extLst>
            </p:cNvPr>
            <p:cNvSpPr/>
            <p:nvPr/>
          </p:nvSpPr>
          <p:spPr>
            <a:xfrm rot="8716295">
              <a:off x="410135" y="1089302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4" name="Forme libre : forme 483">
              <a:extLst>
                <a:ext uri="{FF2B5EF4-FFF2-40B4-BE49-F238E27FC236}">
                  <a16:creationId xmlns:a16="http://schemas.microsoft.com/office/drawing/2014/main" id="{D0C637D4-3E92-4154-B446-44CE8B7CE721}"/>
                </a:ext>
              </a:extLst>
            </p:cNvPr>
            <p:cNvSpPr/>
            <p:nvPr/>
          </p:nvSpPr>
          <p:spPr>
            <a:xfrm rot="8716295">
              <a:off x="753911" y="1677170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5" name="Forme libre : forme 484">
              <a:extLst>
                <a:ext uri="{FF2B5EF4-FFF2-40B4-BE49-F238E27FC236}">
                  <a16:creationId xmlns:a16="http://schemas.microsoft.com/office/drawing/2014/main" id="{84081F2F-BF8F-4E91-A344-93A6DA6FC1E0}"/>
                </a:ext>
              </a:extLst>
            </p:cNvPr>
            <p:cNvSpPr/>
            <p:nvPr/>
          </p:nvSpPr>
          <p:spPr>
            <a:xfrm rot="8716295">
              <a:off x="1224858" y="1102556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6" name="Forme libre : forme 485">
              <a:extLst>
                <a:ext uri="{FF2B5EF4-FFF2-40B4-BE49-F238E27FC236}">
                  <a16:creationId xmlns:a16="http://schemas.microsoft.com/office/drawing/2014/main" id="{7C9184F4-BF5B-4DA9-A062-83FD3655E3F6}"/>
                </a:ext>
              </a:extLst>
            </p:cNvPr>
            <p:cNvSpPr/>
            <p:nvPr/>
          </p:nvSpPr>
          <p:spPr>
            <a:xfrm rot="8716295">
              <a:off x="1360156" y="1146815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7" name="Forme libre : forme 486">
              <a:extLst>
                <a:ext uri="{FF2B5EF4-FFF2-40B4-BE49-F238E27FC236}">
                  <a16:creationId xmlns:a16="http://schemas.microsoft.com/office/drawing/2014/main" id="{B8ECE7A3-302A-4D3D-9B90-035B6382DA0C}"/>
                </a:ext>
              </a:extLst>
            </p:cNvPr>
            <p:cNvSpPr/>
            <p:nvPr/>
          </p:nvSpPr>
          <p:spPr>
            <a:xfrm rot="8716295">
              <a:off x="1054986" y="123657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8" name="Forme libre : forme 487">
              <a:extLst>
                <a:ext uri="{FF2B5EF4-FFF2-40B4-BE49-F238E27FC236}">
                  <a16:creationId xmlns:a16="http://schemas.microsoft.com/office/drawing/2014/main" id="{E0DF77FC-C3A0-462E-8020-761B7D4843AA}"/>
                </a:ext>
              </a:extLst>
            </p:cNvPr>
            <p:cNvSpPr/>
            <p:nvPr/>
          </p:nvSpPr>
          <p:spPr>
            <a:xfrm rot="8716295">
              <a:off x="865942" y="92073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9" name="Forme libre : forme 488">
              <a:extLst>
                <a:ext uri="{FF2B5EF4-FFF2-40B4-BE49-F238E27FC236}">
                  <a16:creationId xmlns:a16="http://schemas.microsoft.com/office/drawing/2014/main" id="{52D29D01-2445-47B5-91EF-D02F08E5948B}"/>
                </a:ext>
              </a:extLst>
            </p:cNvPr>
            <p:cNvSpPr/>
            <p:nvPr/>
          </p:nvSpPr>
          <p:spPr>
            <a:xfrm rot="8716295">
              <a:off x="1191475" y="1298554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0" name="Forme libre : forme 489">
              <a:extLst>
                <a:ext uri="{FF2B5EF4-FFF2-40B4-BE49-F238E27FC236}">
                  <a16:creationId xmlns:a16="http://schemas.microsoft.com/office/drawing/2014/main" id="{31533B8B-357B-4036-93FD-FF1E10E0FE0E}"/>
                </a:ext>
              </a:extLst>
            </p:cNvPr>
            <p:cNvSpPr/>
            <p:nvPr/>
          </p:nvSpPr>
          <p:spPr>
            <a:xfrm rot="8716295">
              <a:off x="826028" y="1072128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1" name="Forme libre : forme 490">
              <a:extLst>
                <a:ext uri="{FF2B5EF4-FFF2-40B4-BE49-F238E27FC236}">
                  <a16:creationId xmlns:a16="http://schemas.microsoft.com/office/drawing/2014/main" id="{0319CBD7-2844-4889-A47B-BEF0E4A2AACF}"/>
                </a:ext>
              </a:extLst>
            </p:cNvPr>
            <p:cNvSpPr/>
            <p:nvPr/>
          </p:nvSpPr>
          <p:spPr>
            <a:xfrm rot="7484129">
              <a:off x="1350292" y="158817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2" name="Forme libre : forme 491">
              <a:extLst>
                <a:ext uri="{FF2B5EF4-FFF2-40B4-BE49-F238E27FC236}">
                  <a16:creationId xmlns:a16="http://schemas.microsoft.com/office/drawing/2014/main" id="{537AE2C1-B9DD-443D-860F-907323537C0F}"/>
                </a:ext>
              </a:extLst>
            </p:cNvPr>
            <p:cNvSpPr/>
            <p:nvPr/>
          </p:nvSpPr>
          <p:spPr>
            <a:xfrm rot="13089394">
              <a:off x="1508942" y="1537520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3" name="Forme libre : forme 492">
              <a:extLst>
                <a:ext uri="{FF2B5EF4-FFF2-40B4-BE49-F238E27FC236}">
                  <a16:creationId xmlns:a16="http://schemas.microsoft.com/office/drawing/2014/main" id="{62070BB3-5EB6-454F-8436-ED4636F6C6C0}"/>
                </a:ext>
              </a:extLst>
            </p:cNvPr>
            <p:cNvSpPr/>
            <p:nvPr/>
          </p:nvSpPr>
          <p:spPr>
            <a:xfrm rot="8716295">
              <a:off x="1789833" y="1247402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4" name="Forme libre : forme 493">
              <a:extLst>
                <a:ext uri="{FF2B5EF4-FFF2-40B4-BE49-F238E27FC236}">
                  <a16:creationId xmlns:a16="http://schemas.microsoft.com/office/drawing/2014/main" id="{63D06019-DB35-49E7-9B75-C5C677486C47}"/>
                </a:ext>
              </a:extLst>
            </p:cNvPr>
            <p:cNvSpPr/>
            <p:nvPr/>
          </p:nvSpPr>
          <p:spPr>
            <a:xfrm rot="8716295">
              <a:off x="1711424" y="109061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5" name="Forme libre : forme 494">
              <a:extLst>
                <a:ext uri="{FF2B5EF4-FFF2-40B4-BE49-F238E27FC236}">
                  <a16:creationId xmlns:a16="http://schemas.microsoft.com/office/drawing/2014/main" id="{AC35D58D-6BCA-422D-A84A-C08AE882F755}"/>
                </a:ext>
              </a:extLst>
            </p:cNvPr>
            <p:cNvSpPr/>
            <p:nvPr/>
          </p:nvSpPr>
          <p:spPr>
            <a:xfrm rot="8716295">
              <a:off x="1343261" y="113635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6" name="Forme libre : forme 495">
              <a:extLst>
                <a:ext uri="{FF2B5EF4-FFF2-40B4-BE49-F238E27FC236}">
                  <a16:creationId xmlns:a16="http://schemas.microsoft.com/office/drawing/2014/main" id="{C3F0E063-06D9-403B-99E6-BB3237996E1B}"/>
                </a:ext>
              </a:extLst>
            </p:cNvPr>
            <p:cNvSpPr/>
            <p:nvPr/>
          </p:nvSpPr>
          <p:spPr>
            <a:xfrm rot="8716295">
              <a:off x="1611842" y="89533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7" name="Forme libre : forme 496">
              <a:extLst>
                <a:ext uri="{FF2B5EF4-FFF2-40B4-BE49-F238E27FC236}">
                  <a16:creationId xmlns:a16="http://schemas.microsoft.com/office/drawing/2014/main" id="{83B9BD85-375F-4AB1-BC95-AAD81C50A908}"/>
                </a:ext>
              </a:extLst>
            </p:cNvPr>
            <p:cNvSpPr/>
            <p:nvPr/>
          </p:nvSpPr>
          <p:spPr>
            <a:xfrm rot="8716295">
              <a:off x="455920" y="47911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8" name="Forme libre : forme 497">
              <a:extLst>
                <a:ext uri="{FF2B5EF4-FFF2-40B4-BE49-F238E27FC236}">
                  <a16:creationId xmlns:a16="http://schemas.microsoft.com/office/drawing/2014/main" id="{FC92AE50-339F-438A-B507-6C2370C5AFF3}"/>
                </a:ext>
              </a:extLst>
            </p:cNvPr>
            <p:cNvSpPr/>
            <p:nvPr/>
          </p:nvSpPr>
          <p:spPr>
            <a:xfrm rot="8716295">
              <a:off x="591219" y="52337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9" name="Forme libre : forme 498">
              <a:extLst>
                <a:ext uri="{FF2B5EF4-FFF2-40B4-BE49-F238E27FC236}">
                  <a16:creationId xmlns:a16="http://schemas.microsoft.com/office/drawing/2014/main" id="{54C59C12-6A91-48F2-87DB-0682382DD09D}"/>
                </a:ext>
              </a:extLst>
            </p:cNvPr>
            <p:cNvSpPr/>
            <p:nvPr/>
          </p:nvSpPr>
          <p:spPr>
            <a:xfrm rot="8716295">
              <a:off x="523336" y="39278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0" name="Forme libre : forme 499">
              <a:extLst>
                <a:ext uri="{FF2B5EF4-FFF2-40B4-BE49-F238E27FC236}">
                  <a16:creationId xmlns:a16="http://schemas.microsoft.com/office/drawing/2014/main" id="{F0F22371-A174-4D4A-8A0A-5D19546D786C}"/>
                </a:ext>
              </a:extLst>
            </p:cNvPr>
            <p:cNvSpPr/>
            <p:nvPr/>
          </p:nvSpPr>
          <p:spPr>
            <a:xfrm rot="8716295">
              <a:off x="286049" y="6131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1" name="Forme libre : forme 500">
              <a:extLst>
                <a:ext uri="{FF2B5EF4-FFF2-40B4-BE49-F238E27FC236}">
                  <a16:creationId xmlns:a16="http://schemas.microsoft.com/office/drawing/2014/main" id="{D0BB4669-780F-4E5E-B642-FB1F4E6F67B9}"/>
                </a:ext>
              </a:extLst>
            </p:cNvPr>
            <p:cNvSpPr/>
            <p:nvPr/>
          </p:nvSpPr>
          <p:spPr>
            <a:xfrm rot="8716295">
              <a:off x="97003" y="2972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2" name="Forme libre : forme 501">
              <a:extLst>
                <a:ext uri="{FF2B5EF4-FFF2-40B4-BE49-F238E27FC236}">
                  <a16:creationId xmlns:a16="http://schemas.microsoft.com/office/drawing/2014/main" id="{78FC04FC-3C5A-4110-BA92-C74135DB8751}"/>
                </a:ext>
              </a:extLst>
            </p:cNvPr>
            <p:cNvSpPr/>
            <p:nvPr/>
          </p:nvSpPr>
          <p:spPr>
            <a:xfrm rot="8716295">
              <a:off x="78761" y="87249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3" name="Forme libre : forme 502">
              <a:extLst>
                <a:ext uri="{FF2B5EF4-FFF2-40B4-BE49-F238E27FC236}">
                  <a16:creationId xmlns:a16="http://schemas.microsoft.com/office/drawing/2014/main" id="{C2E6CE4F-5F3A-4543-9D9D-2001E6575F77}"/>
                </a:ext>
              </a:extLst>
            </p:cNvPr>
            <p:cNvSpPr/>
            <p:nvPr/>
          </p:nvSpPr>
          <p:spPr>
            <a:xfrm rot="8716295">
              <a:off x="422537" y="67511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4" name="Forme libre : forme 503">
              <a:extLst>
                <a:ext uri="{FF2B5EF4-FFF2-40B4-BE49-F238E27FC236}">
                  <a16:creationId xmlns:a16="http://schemas.microsoft.com/office/drawing/2014/main" id="{19E20CB2-4A2B-49CF-9B17-B00F225DAA21}"/>
                </a:ext>
              </a:extLst>
            </p:cNvPr>
            <p:cNvSpPr/>
            <p:nvPr/>
          </p:nvSpPr>
          <p:spPr>
            <a:xfrm rot="8716295">
              <a:off x="893484" y="10050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5" name="Forme libre : forme 504">
              <a:extLst>
                <a:ext uri="{FF2B5EF4-FFF2-40B4-BE49-F238E27FC236}">
                  <a16:creationId xmlns:a16="http://schemas.microsoft.com/office/drawing/2014/main" id="{7B6646AF-3F73-4CC0-A23D-AB23A3A10661}"/>
                </a:ext>
              </a:extLst>
            </p:cNvPr>
            <p:cNvSpPr/>
            <p:nvPr/>
          </p:nvSpPr>
          <p:spPr>
            <a:xfrm rot="8716295">
              <a:off x="1028783" y="14476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6" name="Forme libre : forme 505">
              <a:extLst>
                <a:ext uri="{FF2B5EF4-FFF2-40B4-BE49-F238E27FC236}">
                  <a16:creationId xmlns:a16="http://schemas.microsoft.com/office/drawing/2014/main" id="{73DB9AE6-8F32-4BD7-8EF8-F9845AE6D585}"/>
                </a:ext>
              </a:extLst>
            </p:cNvPr>
            <p:cNvSpPr/>
            <p:nvPr/>
          </p:nvSpPr>
          <p:spPr>
            <a:xfrm rot="8716295">
              <a:off x="723613" y="23451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7" name="Forme libre : forme 506">
              <a:extLst>
                <a:ext uri="{FF2B5EF4-FFF2-40B4-BE49-F238E27FC236}">
                  <a16:creationId xmlns:a16="http://schemas.microsoft.com/office/drawing/2014/main" id="{8B1BC984-37F5-4C1C-AA88-33F4EF21408C}"/>
                </a:ext>
              </a:extLst>
            </p:cNvPr>
            <p:cNvSpPr/>
            <p:nvPr/>
          </p:nvSpPr>
          <p:spPr>
            <a:xfrm rot="8716295">
              <a:off x="547803" y="-17289"/>
              <a:ext cx="308531" cy="226033"/>
            </a:xfrm>
            <a:custGeom>
              <a:avLst/>
              <a:gdLst>
                <a:gd name="connsiteX0" fmla="*/ 106716 w 203847"/>
                <a:gd name="connsiteY0" fmla="*/ 149340 h 149340"/>
                <a:gd name="connsiteX1" fmla="*/ 50038 w 203847"/>
                <a:gd name="connsiteY1" fmla="*/ 110053 h 149340"/>
                <a:gd name="connsiteX2" fmla="*/ 69777 w 203847"/>
                <a:gd name="connsiteY2" fmla="*/ 55323 h 149340"/>
                <a:gd name="connsiteX3" fmla="*/ 0 w 203847"/>
                <a:gd name="connsiteY3" fmla="*/ 55323 h 149340"/>
                <a:gd name="connsiteX4" fmla="*/ 0 w 203847"/>
                <a:gd name="connsiteY4" fmla="*/ 0 h 149340"/>
                <a:gd name="connsiteX5" fmla="*/ 203847 w 203847"/>
                <a:gd name="connsiteY5" fmla="*/ 0 h 149340"/>
                <a:gd name="connsiteX6" fmla="*/ 203847 w 203847"/>
                <a:gd name="connsiteY6" fmla="*/ 55323 h 149340"/>
                <a:gd name="connsiteX7" fmla="*/ 139055 w 203847"/>
                <a:gd name="connsiteY7" fmla="*/ 55323 h 14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49340">
                  <a:moveTo>
                    <a:pt x="106716" y="149340"/>
                  </a:moveTo>
                  <a:lnTo>
                    <a:pt x="50038" y="110053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8" name="Forme libre : forme 507">
              <a:extLst>
                <a:ext uri="{FF2B5EF4-FFF2-40B4-BE49-F238E27FC236}">
                  <a16:creationId xmlns:a16="http://schemas.microsoft.com/office/drawing/2014/main" id="{AA6E9B9A-88DC-4BB7-810B-97399B40FACE}"/>
                </a:ext>
              </a:extLst>
            </p:cNvPr>
            <p:cNvSpPr/>
            <p:nvPr/>
          </p:nvSpPr>
          <p:spPr>
            <a:xfrm rot="8716295">
              <a:off x="860101" y="29650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9" name="Forme libre : forme 508">
              <a:extLst>
                <a:ext uri="{FF2B5EF4-FFF2-40B4-BE49-F238E27FC236}">
                  <a16:creationId xmlns:a16="http://schemas.microsoft.com/office/drawing/2014/main" id="{C2E3FBE5-FDDF-4B02-AD4F-2ADFB2584906}"/>
                </a:ext>
              </a:extLst>
            </p:cNvPr>
            <p:cNvSpPr/>
            <p:nvPr/>
          </p:nvSpPr>
          <p:spPr>
            <a:xfrm rot="8716295">
              <a:off x="494655" y="7007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0" name="Forme libre : forme 509">
              <a:extLst>
                <a:ext uri="{FF2B5EF4-FFF2-40B4-BE49-F238E27FC236}">
                  <a16:creationId xmlns:a16="http://schemas.microsoft.com/office/drawing/2014/main" id="{8D7DCA7A-0D6F-4030-B7E0-0EA6D8ACDAA6}"/>
                </a:ext>
              </a:extLst>
            </p:cNvPr>
            <p:cNvSpPr/>
            <p:nvPr/>
          </p:nvSpPr>
          <p:spPr>
            <a:xfrm rot="7484129">
              <a:off x="1018919" y="58611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1" name="Forme libre : forme 510">
              <a:extLst>
                <a:ext uri="{FF2B5EF4-FFF2-40B4-BE49-F238E27FC236}">
                  <a16:creationId xmlns:a16="http://schemas.microsoft.com/office/drawing/2014/main" id="{6D4EAF04-5D5F-44DD-A3E0-0E1DDC2042FF}"/>
                </a:ext>
              </a:extLst>
            </p:cNvPr>
            <p:cNvSpPr/>
            <p:nvPr/>
          </p:nvSpPr>
          <p:spPr>
            <a:xfrm rot="13089394">
              <a:off x="1177568" y="53546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2" name="Forme libre : forme 511">
              <a:extLst>
                <a:ext uri="{FF2B5EF4-FFF2-40B4-BE49-F238E27FC236}">
                  <a16:creationId xmlns:a16="http://schemas.microsoft.com/office/drawing/2014/main" id="{200143E0-7D80-44AE-AF14-B3CC222BC375}"/>
                </a:ext>
              </a:extLst>
            </p:cNvPr>
            <p:cNvSpPr/>
            <p:nvPr/>
          </p:nvSpPr>
          <p:spPr>
            <a:xfrm rot="8716295">
              <a:off x="1458459" y="24534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3" name="Forme libre : forme 512">
              <a:extLst>
                <a:ext uri="{FF2B5EF4-FFF2-40B4-BE49-F238E27FC236}">
                  <a16:creationId xmlns:a16="http://schemas.microsoft.com/office/drawing/2014/main" id="{9CE5AF88-C20D-48EF-AF58-A03290B7BA4C}"/>
                </a:ext>
              </a:extLst>
            </p:cNvPr>
            <p:cNvSpPr/>
            <p:nvPr/>
          </p:nvSpPr>
          <p:spPr>
            <a:xfrm rot="8716295">
              <a:off x="1380050" y="8855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4" name="Forme libre : forme 513">
              <a:extLst>
                <a:ext uri="{FF2B5EF4-FFF2-40B4-BE49-F238E27FC236}">
                  <a16:creationId xmlns:a16="http://schemas.microsoft.com/office/drawing/2014/main" id="{99B484F1-3CA8-4FD2-BC39-A8183120B894}"/>
                </a:ext>
              </a:extLst>
            </p:cNvPr>
            <p:cNvSpPr/>
            <p:nvPr/>
          </p:nvSpPr>
          <p:spPr>
            <a:xfrm rot="8716295">
              <a:off x="1011887" y="13429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5" name="Forme libre : forme 514">
              <a:extLst>
                <a:ext uri="{FF2B5EF4-FFF2-40B4-BE49-F238E27FC236}">
                  <a16:creationId xmlns:a16="http://schemas.microsoft.com/office/drawing/2014/main" id="{1253AC62-0DE9-44F9-9AB2-21C92FCEF50A}"/>
                </a:ext>
              </a:extLst>
            </p:cNvPr>
            <p:cNvSpPr/>
            <p:nvPr/>
          </p:nvSpPr>
          <p:spPr>
            <a:xfrm rot="8716295">
              <a:off x="1291652" y="-36449"/>
              <a:ext cx="134197" cy="106947"/>
            </a:xfrm>
            <a:custGeom>
              <a:avLst/>
              <a:gdLst>
                <a:gd name="connsiteX0" fmla="*/ 83649 w 88664"/>
                <a:gd name="connsiteY0" fmla="*/ 70660 h 70660"/>
                <a:gd name="connsiteX1" fmla="*/ 0 w 88664"/>
                <a:gd name="connsiteY1" fmla="*/ 12677 h 70660"/>
                <a:gd name="connsiteX2" fmla="*/ 30024 w 88664"/>
                <a:gd name="connsiteY2" fmla="*/ 0 h 70660"/>
                <a:gd name="connsiteX3" fmla="*/ 71417 w 88664"/>
                <a:gd name="connsiteY3" fmla="*/ 17477 h 70660"/>
                <a:gd name="connsiteX4" fmla="*/ 88664 w 88664"/>
                <a:gd name="connsiteY4" fmla="*/ 58525 h 70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664" h="70660">
                  <a:moveTo>
                    <a:pt x="83649" y="70660"/>
                  </a:moveTo>
                  <a:lnTo>
                    <a:pt x="0" y="12677"/>
                  </a:lnTo>
                  <a:lnTo>
                    <a:pt x="30024" y="0"/>
                  </a:lnTo>
                  <a:cubicBezTo>
                    <a:pt x="45662" y="0"/>
                    <a:pt x="60379" y="6439"/>
                    <a:pt x="71417" y="17477"/>
                  </a:cubicBezTo>
                  <a:cubicBezTo>
                    <a:pt x="82915" y="28515"/>
                    <a:pt x="88664" y="43462"/>
                    <a:pt x="88664" y="58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6" name="Forme libre : forme 515">
              <a:extLst>
                <a:ext uri="{FF2B5EF4-FFF2-40B4-BE49-F238E27FC236}">
                  <a16:creationId xmlns:a16="http://schemas.microsoft.com/office/drawing/2014/main" id="{73FDFCAD-75A6-474E-8BA1-4C60FF021A16}"/>
                </a:ext>
              </a:extLst>
            </p:cNvPr>
            <p:cNvSpPr/>
            <p:nvPr/>
          </p:nvSpPr>
          <p:spPr>
            <a:xfrm rot="13089394">
              <a:off x="990163" y="-39748"/>
              <a:ext cx="111277" cy="115595"/>
            </a:xfrm>
            <a:custGeom>
              <a:avLst/>
              <a:gdLst>
                <a:gd name="connsiteX0" fmla="*/ 73521 w 73521"/>
                <a:gd name="connsiteY0" fmla="*/ 18609 h 76374"/>
                <a:gd name="connsiteX1" fmla="*/ 0 w 73521"/>
                <a:gd name="connsiteY1" fmla="*/ 76374 h 76374"/>
                <a:gd name="connsiteX2" fmla="*/ 0 w 73521"/>
                <a:gd name="connsiteY2" fmla="*/ 38074 h 76374"/>
                <a:gd name="connsiteX3" fmla="*/ 73388 w 73521"/>
                <a:gd name="connsiteY3" fmla="*/ 0 h 7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521" h="76374">
                  <a:moveTo>
                    <a:pt x="73521" y="18609"/>
                  </a:moveTo>
                  <a:lnTo>
                    <a:pt x="0" y="76374"/>
                  </a:lnTo>
                  <a:lnTo>
                    <a:pt x="0" y="38074"/>
                  </a:lnTo>
                  <a:lnTo>
                    <a:pt x="7338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7" name="Forme libre : forme 516">
              <a:extLst>
                <a:ext uri="{FF2B5EF4-FFF2-40B4-BE49-F238E27FC236}">
                  <a16:creationId xmlns:a16="http://schemas.microsoft.com/office/drawing/2014/main" id="{BE611C7D-8BA6-43CB-A58B-F8EA1A27689B}"/>
                </a:ext>
              </a:extLst>
            </p:cNvPr>
            <p:cNvSpPr/>
            <p:nvPr/>
          </p:nvSpPr>
          <p:spPr>
            <a:xfrm rot="8716295">
              <a:off x="121288" y="414134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8" name="Forme libre : forme 517">
              <a:extLst>
                <a:ext uri="{FF2B5EF4-FFF2-40B4-BE49-F238E27FC236}">
                  <a16:creationId xmlns:a16="http://schemas.microsoft.com/office/drawing/2014/main" id="{537B7576-15D7-45FC-9504-149B076B9937}"/>
                </a:ext>
              </a:extLst>
            </p:cNvPr>
            <p:cNvSpPr/>
            <p:nvPr/>
          </p:nvSpPr>
          <p:spPr>
            <a:xfrm rot="8716295">
              <a:off x="256586" y="418560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9" name="Forme libre : forme 518">
              <a:extLst>
                <a:ext uri="{FF2B5EF4-FFF2-40B4-BE49-F238E27FC236}">
                  <a16:creationId xmlns:a16="http://schemas.microsoft.com/office/drawing/2014/main" id="{0A1143F2-3F82-47D4-91E8-F0134D901FA7}"/>
                </a:ext>
              </a:extLst>
            </p:cNvPr>
            <p:cNvSpPr/>
            <p:nvPr/>
          </p:nvSpPr>
          <p:spPr>
            <a:xfrm rot="8716295">
              <a:off x="188704" y="405501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0" name="Forme libre : forme 519">
              <a:extLst>
                <a:ext uri="{FF2B5EF4-FFF2-40B4-BE49-F238E27FC236}">
                  <a16:creationId xmlns:a16="http://schemas.microsoft.com/office/drawing/2014/main" id="{B5D55B28-879B-49A7-B221-37C39BC82601}"/>
                </a:ext>
              </a:extLst>
            </p:cNvPr>
            <p:cNvSpPr/>
            <p:nvPr/>
          </p:nvSpPr>
          <p:spPr>
            <a:xfrm rot="8716295">
              <a:off x="-22408" y="4278013"/>
              <a:ext cx="57413" cy="71926"/>
            </a:xfrm>
            <a:custGeom>
              <a:avLst/>
              <a:gdLst>
                <a:gd name="connsiteX0" fmla="*/ 11441 w 57413"/>
                <a:gd name="connsiteY0" fmla="*/ 71926 h 71926"/>
                <a:gd name="connsiteX1" fmla="*/ 0 w 57413"/>
                <a:gd name="connsiteY1" fmla="*/ 44829 h 71926"/>
                <a:gd name="connsiteX2" fmla="*/ 0 w 57413"/>
                <a:gd name="connsiteY2" fmla="*/ 44139 h 71926"/>
                <a:gd name="connsiteX3" fmla="*/ 13104 w 57413"/>
                <a:gd name="connsiteY3" fmla="*/ 13104 h 71926"/>
                <a:gd name="connsiteX4" fmla="*/ 44139 w 57413"/>
                <a:gd name="connsiteY4" fmla="*/ 0 h 71926"/>
                <a:gd name="connsiteX5" fmla="*/ 57413 w 57413"/>
                <a:gd name="connsiteY5" fmla="*/ 5605 h 71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413" h="71926">
                  <a:moveTo>
                    <a:pt x="11441" y="71926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lnTo>
                    <a:pt x="57413" y="5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1" name="Forme libre : forme 520">
              <a:extLst>
                <a:ext uri="{FF2B5EF4-FFF2-40B4-BE49-F238E27FC236}">
                  <a16:creationId xmlns:a16="http://schemas.microsoft.com/office/drawing/2014/main" id="{7E605206-C485-4E6D-8FEE-341C14E73705}"/>
                </a:ext>
              </a:extLst>
            </p:cNvPr>
            <p:cNvSpPr/>
            <p:nvPr/>
          </p:nvSpPr>
          <p:spPr>
            <a:xfrm rot="8716295">
              <a:off x="-36969" y="4107248"/>
              <a:ext cx="147272" cy="83734"/>
            </a:xfrm>
            <a:custGeom>
              <a:avLst/>
              <a:gdLst>
                <a:gd name="connsiteX0" fmla="*/ 0 w 147272"/>
                <a:gd name="connsiteY0" fmla="*/ 83734 h 83734"/>
                <a:gd name="connsiteX1" fmla="*/ 0 w 147272"/>
                <a:gd name="connsiteY1" fmla="*/ 0 h 83734"/>
                <a:gd name="connsiteX2" fmla="*/ 147272 w 147272"/>
                <a:gd name="connsiteY2" fmla="*/ 0 h 83734"/>
                <a:gd name="connsiteX3" fmla="*/ 89230 w 147272"/>
                <a:gd name="connsiteY3" fmla="*/ 83734 h 83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272" h="83734">
                  <a:moveTo>
                    <a:pt x="0" y="83734"/>
                  </a:moveTo>
                  <a:lnTo>
                    <a:pt x="0" y="0"/>
                  </a:lnTo>
                  <a:lnTo>
                    <a:pt x="147272" y="0"/>
                  </a:lnTo>
                  <a:lnTo>
                    <a:pt x="89230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2" name="Forme libre : forme 521">
              <a:extLst>
                <a:ext uri="{FF2B5EF4-FFF2-40B4-BE49-F238E27FC236}">
                  <a16:creationId xmlns:a16="http://schemas.microsoft.com/office/drawing/2014/main" id="{9262118B-C43E-403C-A844-12CE419F6DFC}"/>
                </a:ext>
              </a:extLst>
            </p:cNvPr>
            <p:cNvSpPr/>
            <p:nvPr/>
          </p:nvSpPr>
          <p:spPr>
            <a:xfrm rot="8716295">
              <a:off x="43378" y="3712531"/>
              <a:ext cx="125537" cy="468763"/>
            </a:xfrm>
            <a:custGeom>
              <a:avLst/>
              <a:gdLst>
                <a:gd name="connsiteX0" fmla="*/ 29455 w 125537"/>
                <a:gd name="connsiteY0" fmla="*/ 468763 h 468763"/>
                <a:gd name="connsiteX1" fmla="*/ 7792 w 125537"/>
                <a:gd name="connsiteY1" fmla="*/ 425988 h 468763"/>
                <a:gd name="connsiteX2" fmla="*/ 0 w 125537"/>
                <a:gd name="connsiteY2" fmla="*/ 333043 h 468763"/>
                <a:gd name="connsiteX3" fmla="*/ 0 w 125537"/>
                <a:gd name="connsiteY3" fmla="*/ 61444 h 468763"/>
                <a:gd name="connsiteX4" fmla="*/ 118434 w 125537"/>
                <a:gd name="connsiteY4" fmla="*/ 0 h 468763"/>
                <a:gd name="connsiteX5" fmla="*/ 120216 w 125537"/>
                <a:gd name="connsiteY5" fmla="*/ 248447 h 468763"/>
                <a:gd name="connsiteX6" fmla="*/ 123889 w 125537"/>
                <a:gd name="connsiteY6" fmla="*/ 323359 h 468763"/>
                <a:gd name="connsiteX7" fmla="*/ 125537 w 125537"/>
                <a:gd name="connsiteY7" fmla="*/ 330150 h 468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537" h="468763">
                  <a:moveTo>
                    <a:pt x="29455" y="468763"/>
                  </a:moveTo>
                  <a:lnTo>
                    <a:pt x="7792" y="425988"/>
                  </a:lnTo>
                  <a:cubicBezTo>
                    <a:pt x="2003" y="400498"/>
                    <a:pt x="0" y="369553"/>
                    <a:pt x="0" y="333043"/>
                  </a:cubicBezTo>
                  <a:lnTo>
                    <a:pt x="0" y="61444"/>
                  </a:lnTo>
                  <a:lnTo>
                    <a:pt x="118434" y="0"/>
                  </a:lnTo>
                  <a:lnTo>
                    <a:pt x="120216" y="248447"/>
                  </a:lnTo>
                  <a:cubicBezTo>
                    <a:pt x="118880" y="273381"/>
                    <a:pt x="120216" y="298537"/>
                    <a:pt x="123889" y="323359"/>
                  </a:cubicBezTo>
                  <a:lnTo>
                    <a:pt x="125537" y="3301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3" name="Forme libre : forme 522">
              <a:extLst>
                <a:ext uri="{FF2B5EF4-FFF2-40B4-BE49-F238E27FC236}">
                  <a16:creationId xmlns:a16="http://schemas.microsoft.com/office/drawing/2014/main" id="{4BDDBD24-F9E2-4370-BF1B-2A9C91E4A4FF}"/>
                </a:ext>
              </a:extLst>
            </p:cNvPr>
            <p:cNvSpPr/>
            <p:nvPr/>
          </p:nvSpPr>
          <p:spPr>
            <a:xfrm rot="8716295">
              <a:off x="87905" y="4337347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4" name="Forme libre : forme 523">
              <a:extLst>
                <a:ext uri="{FF2B5EF4-FFF2-40B4-BE49-F238E27FC236}">
                  <a16:creationId xmlns:a16="http://schemas.microsoft.com/office/drawing/2014/main" id="{E770B9C9-EE23-473B-B01E-6BB3712BE82B}"/>
                </a:ext>
              </a:extLst>
            </p:cNvPr>
            <p:cNvSpPr/>
            <p:nvPr/>
          </p:nvSpPr>
          <p:spPr>
            <a:xfrm rot="8716295">
              <a:off x="558851" y="376273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5" name="Forme libre : forme 524">
              <a:extLst>
                <a:ext uri="{FF2B5EF4-FFF2-40B4-BE49-F238E27FC236}">
                  <a16:creationId xmlns:a16="http://schemas.microsoft.com/office/drawing/2014/main" id="{69CD1B6A-90CE-49F4-8CA4-B80659E38C5D}"/>
                </a:ext>
              </a:extLst>
            </p:cNvPr>
            <p:cNvSpPr/>
            <p:nvPr/>
          </p:nvSpPr>
          <p:spPr>
            <a:xfrm rot="8716295">
              <a:off x="694150" y="380699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6" name="Forme libre : forme 525">
              <a:extLst>
                <a:ext uri="{FF2B5EF4-FFF2-40B4-BE49-F238E27FC236}">
                  <a16:creationId xmlns:a16="http://schemas.microsoft.com/office/drawing/2014/main" id="{354B8CCD-805B-4819-BC93-507146A6D2AC}"/>
                </a:ext>
              </a:extLst>
            </p:cNvPr>
            <p:cNvSpPr/>
            <p:nvPr/>
          </p:nvSpPr>
          <p:spPr>
            <a:xfrm rot="8716295">
              <a:off x="388980" y="389674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7" name="Forme libre : forme 526">
              <a:extLst>
                <a:ext uri="{FF2B5EF4-FFF2-40B4-BE49-F238E27FC236}">
                  <a16:creationId xmlns:a16="http://schemas.microsoft.com/office/drawing/2014/main" id="{FCD4B19E-37FF-4C42-AA11-3F7471268AD4}"/>
                </a:ext>
              </a:extLst>
            </p:cNvPr>
            <p:cNvSpPr/>
            <p:nvPr/>
          </p:nvSpPr>
          <p:spPr>
            <a:xfrm rot="8716295">
              <a:off x="199936" y="358091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8" name="Forme libre : forme 527">
              <a:extLst>
                <a:ext uri="{FF2B5EF4-FFF2-40B4-BE49-F238E27FC236}">
                  <a16:creationId xmlns:a16="http://schemas.microsoft.com/office/drawing/2014/main" id="{7B22B143-3C4D-4536-9820-8662B8F3F3CC}"/>
                </a:ext>
              </a:extLst>
            </p:cNvPr>
            <p:cNvSpPr/>
            <p:nvPr/>
          </p:nvSpPr>
          <p:spPr>
            <a:xfrm rot="8716295">
              <a:off x="525469" y="3958731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9" name="Forme libre : forme 528">
              <a:extLst>
                <a:ext uri="{FF2B5EF4-FFF2-40B4-BE49-F238E27FC236}">
                  <a16:creationId xmlns:a16="http://schemas.microsoft.com/office/drawing/2014/main" id="{3BFA5721-0E15-4A36-915F-A957BACB9B6B}"/>
                </a:ext>
              </a:extLst>
            </p:cNvPr>
            <p:cNvSpPr/>
            <p:nvPr/>
          </p:nvSpPr>
          <p:spPr>
            <a:xfrm rot="8716295">
              <a:off x="160022" y="3732305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0" name="Forme libre : forme 529">
              <a:extLst>
                <a:ext uri="{FF2B5EF4-FFF2-40B4-BE49-F238E27FC236}">
                  <a16:creationId xmlns:a16="http://schemas.microsoft.com/office/drawing/2014/main" id="{350A0875-8913-4861-A26B-5026CC870AB7}"/>
                </a:ext>
              </a:extLst>
            </p:cNvPr>
            <p:cNvSpPr/>
            <p:nvPr/>
          </p:nvSpPr>
          <p:spPr>
            <a:xfrm rot="7484129">
              <a:off x="684286" y="424834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1" name="Forme libre : forme 530">
              <a:extLst>
                <a:ext uri="{FF2B5EF4-FFF2-40B4-BE49-F238E27FC236}">
                  <a16:creationId xmlns:a16="http://schemas.microsoft.com/office/drawing/2014/main" id="{180B0A13-53B0-43A7-9AB8-C87CD24102F1}"/>
                </a:ext>
              </a:extLst>
            </p:cNvPr>
            <p:cNvSpPr/>
            <p:nvPr/>
          </p:nvSpPr>
          <p:spPr>
            <a:xfrm rot="13089394">
              <a:off x="842936" y="4197697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2" name="Forme libre : forme 531">
              <a:extLst>
                <a:ext uri="{FF2B5EF4-FFF2-40B4-BE49-F238E27FC236}">
                  <a16:creationId xmlns:a16="http://schemas.microsoft.com/office/drawing/2014/main" id="{977134C1-FB1A-4DF1-BB49-2753CD9EFE64}"/>
                </a:ext>
              </a:extLst>
            </p:cNvPr>
            <p:cNvSpPr/>
            <p:nvPr/>
          </p:nvSpPr>
          <p:spPr>
            <a:xfrm rot="8716295">
              <a:off x="1123827" y="390757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3" name="Forme libre : forme 532">
              <a:extLst>
                <a:ext uri="{FF2B5EF4-FFF2-40B4-BE49-F238E27FC236}">
                  <a16:creationId xmlns:a16="http://schemas.microsoft.com/office/drawing/2014/main" id="{995F6F00-62E2-46A6-B6D6-2E24CC951A9A}"/>
                </a:ext>
              </a:extLst>
            </p:cNvPr>
            <p:cNvSpPr/>
            <p:nvPr/>
          </p:nvSpPr>
          <p:spPr>
            <a:xfrm rot="8716295">
              <a:off x="1045418" y="375078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4" name="Forme libre : forme 533">
              <a:extLst>
                <a:ext uri="{FF2B5EF4-FFF2-40B4-BE49-F238E27FC236}">
                  <a16:creationId xmlns:a16="http://schemas.microsoft.com/office/drawing/2014/main" id="{A3F1DE5A-4286-4044-969C-2885B786F6A8}"/>
                </a:ext>
              </a:extLst>
            </p:cNvPr>
            <p:cNvSpPr/>
            <p:nvPr/>
          </p:nvSpPr>
          <p:spPr>
            <a:xfrm rot="8716295">
              <a:off x="677254" y="379652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5" name="Forme libre : forme 534">
              <a:extLst>
                <a:ext uri="{FF2B5EF4-FFF2-40B4-BE49-F238E27FC236}">
                  <a16:creationId xmlns:a16="http://schemas.microsoft.com/office/drawing/2014/main" id="{94E18040-33C6-4F17-A913-2CCF3B22084B}"/>
                </a:ext>
              </a:extLst>
            </p:cNvPr>
            <p:cNvSpPr/>
            <p:nvPr/>
          </p:nvSpPr>
          <p:spPr>
            <a:xfrm rot="8716295">
              <a:off x="945836" y="355550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6" name="Forme libre : forme 535">
              <a:extLst>
                <a:ext uri="{FF2B5EF4-FFF2-40B4-BE49-F238E27FC236}">
                  <a16:creationId xmlns:a16="http://schemas.microsoft.com/office/drawing/2014/main" id="{A9C222B1-4EB2-4073-B2D7-C74FB6F4EB84}"/>
                </a:ext>
              </a:extLst>
            </p:cNvPr>
            <p:cNvSpPr/>
            <p:nvPr/>
          </p:nvSpPr>
          <p:spPr>
            <a:xfrm rot="8716295">
              <a:off x="601570" y="5027951"/>
              <a:ext cx="169680" cy="113030"/>
            </a:xfrm>
            <a:custGeom>
              <a:avLst/>
              <a:gdLst>
                <a:gd name="connsiteX0" fmla="*/ 8965 w 169680"/>
                <a:gd name="connsiteY0" fmla="*/ 113030 h 113030"/>
                <a:gd name="connsiteX1" fmla="*/ 0 w 169680"/>
                <a:gd name="connsiteY1" fmla="*/ 100616 h 113030"/>
                <a:gd name="connsiteX2" fmla="*/ 106933 w 169680"/>
                <a:gd name="connsiteY2" fmla="*/ 0 h 113030"/>
                <a:gd name="connsiteX3" fmla="*/ 169680 w 169680"/>
                <a:gd name="connsiteY3" fmla="*/ 43494 h 113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680" h="113030">
                  <a:moveTo>
                    <a:pt x="8965" y="113030"/>
                  </a:moveTo>
                  <a:lnTo>
                    <a:pt x="0" y="100616"/>
                  </a:lnTo>
                  <a:lnTo>
                    <a:pt x="106933" y="0"/>
                  </a:lnTo>
                  <a:lnTo>
                    <a:pt x="169680" y="434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7" name="Forme libre : forme 536">
              <a:extLst>
                <a:ext uri="{FF2B5EF4-FFF2-40B4-BE49-F238E27FC236}">
                  <a16:creationId xmlns:a16="http://schemas.microsoft.com/office/drawing/2014/main" id="{44BF5385-3A6A-43AF-83DC-C028C02E5E2C}"/>
                </a:ext>
              </a:extLst>
            </p:cNvPr>
            <p:cNvSpPr/>
            <p:nvPr/>
          </p:nvSpPr>
          <p:spPr>
            <a:xfrm rot="8716295">
              <a:off x="197311" y="4925365"/>
              <a:ext cx="194366" cy="296463"/>
            </a:xfrm>
            <a:custGeom>
              <a:avLst/>
              <a:gdLst>
                <a:gd name="connsiteX0" fmla="*/ 137293 w 194366"/>
                <a:gd name="connsiteY0" fmla="*/ 296463 h 296463"/>
                <a:gd name="connsiteX1" fmla="*/ 72418 w 194366"/>
                <a:gd name="connsiteY1" fmla="*/ 175766 h 296463"/>
                <a:gd name="connsiteX2" fmla="*/ 105610 w 194366"/>
                <a:gd name="connsiteY2" fmla="*/ 83734 h 296463"/>
                <a:gd name="connsiteX3" fmla="*/ 0 w 194366"/>
                <a:gd name="connsiteY3" fmla="*/ 83734 h 296463"/>
                <a:gd name="connsiteX4" fmla="*/ 0 w 194366"/>
                <a:gd name="connsiteY4" fmla="*/ 0 h 296463"/>
                <a:gd name="connsiteX5" fmla="*/ 6043 w 194366"/>
                <a:gd name="connsiteY5" fmla="*/ 0 h 296463"/>
                <a:gd name="connsiteX6" fmla="*/ 194366 w 194366"/>
                <a:gd name="connsiteY6" fmla="*/ 130539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4366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6043" y="0"/>
                  </a:lnTo>
                  <a:lnTo>
                    <a:pt x="194366" y="1305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8" name="Forme libre : forme 537">
              <a:extLst>
                <a:ext uri="{FF2B5EF4-FFF2-40B4-BE49-F238E27FC236}">
                  <a16:creationId xmlns:a16="http://schemas.microsoft.com/office/drawing/2014/main" id="{5CF1CD9D-552A-4CCB-B9A3-0F1972CF10E7}"/>
                </a:ext>
              </a:extLst>
            </p:cNvPr>
            <p:cNvSpPr/>
            <p:nvPr/>
          </p:nvSpPr>
          <p:spPr>
            <a:xfrm rot="8716295">
              <a:off x="81902" y="4747962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9" name="Forme libre : forme 538">
              <a:extLst>
                <a:ext uri="{FF2B5EF4-FFF2-40B4-BE49-F238E27FC236}">
                  <a16:creationId xmlns:a16="http://schemas.microsoft.com/office/drawing/2014/main" id="{89D63773-02CD-4D03-8182-ECDC8799BAA4}"/>
                </a:ext>
              </a:extLst>
            </p:cNvPr>
            <p:cNvSpPr/>
            <p:nvPr/>
          </p:nvSpPr>
          <p:spPr>
            <a:xfrm rot="8716295">
              <a:off x="896624" y="4761216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0" name="Forme libre : forme 539">
              <a:extLst>
                <a:ext uri="{FF2B5EF4-FFF2-40B4-BE49-F238E27FC236}">
                  <a16:creationId xmlns:a16="http://schemas.microsoft.com/office/drawing/2014/main" id="{33BF861B-C1D8-40D6-A4A6-F4A4F57DC0A7}"/>
                </a:ext>
              </a:extLst>
            </p:cNvPr>
            <p:cNvSpPr/>
            <p:nvPr/>
          </p:nvSpPr>
          <p:spPr>
            <a:xfrm rot="8716295">
              <a:off x="1032483" y="4799006"/>
              <a:ext cx="389853" cy="383455"/>
            </a:xfrm>
            <a:custGeom>
              <a:avLst/>
              <a:gdLst>
                <a:gd name="connsiteX0" fmla="*/ 77932 w 389853"/>
                <a:gd name="connsiteY0" fmla="*/ 383455 h 383455"/>
                <a:gd name="connsiteX1" fmla="*/ 77932 w 389853"/>
                <a:gd name="connsiteY1" fmla="*/ 66898 h 383455"/>
                <a:gd name="connsiteX2" fmla="*/ 0 w 389853"/>
                <a:gd name="connsiteY2" fmla="*/ 66898 h 383455"/>
                <a:gd name="connsiteX3" fmla="*/ 0 w 389853"/>
                <a:gd name="connsiteY3" fmla="*/ 0 h 383455"/>
                <a:gd name="connsiteX4" fmla="*/ 158623 w 389853"/>
                <a:gd name="connsiteY4" fmla="*/ 0 h 383455"/>
                <a:gd name="connsiteX5" fmla="*/ 158623 w 389853"/>
                <a:gd name="connsiteY5" fmla="*/ 111726 h 383455"/>
                <a:gd name="connsiteX6" fmla="*/ 160692 w 389853"/>
                <a:gd name="connsiteY6" fmla="*/ 111726 h 383455"/>
                <a:gd name="connsiteX7" fmla="*/ 192762 w 389853"/>
                <a:gd name="connsiteY7" fmla="*/ 39914 h 383455"/>
                <a:gd name="connsiteX8" fmla="*/ 216292 w 389853"/>
                <a:gd name="connsiteY8" fmla="*/ 20658 h 383455"/>
                <a:gd name="connsiteX9" fmla="*/ 389853 w 389853"/>
                <a:gd name="connsiteY9" fmla="*/ 140965 h 383455"/>
                <a:gd name="connsiteX10" fmla="*/ 300695 w 389853"/>
                <a:gd name="connsiteY10" fmla="*/ 146210 h 383455"/>
                <a:gd name="connsiteX11" fmla="*/ 300694 w 389853"/>
                <a:gd name="connsiteY11" fmla="*/ 121382 h 383455"/>
                <a:gd name="connsiteX12" fmla="*/ 249659 w 389853"/>
                <a:gd name="connsiteY12" fmla="*/ 58622 h 383455"/>
                <a:gd name="connsiteX13" fmla="*/ 168969 w 389853"/>
                <a:gd name="connsiteY13" fmla="*/ 191038 h 383455"/>
                <a:gd name="connsiteX14" fmla="*/ 168969 w 389853"/>
                <a:gd name="connsiteY14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9853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71727" y="78967"/>
                    <a:pt x="181555" y="56208"/>
                    <a:pt x="192762" y="39914"/>
                  </a:cubicBezTo>
                  <a:lnTo>
                    <a:pt x="216292" y="20658"/>
                  </a:lnTo>
                  <a:lnTo>
                    <a:pt x="389853" y="140965"/>
                  </a:lnTo>
                  <a:lnTo>
                    <a:pt x="300695" y="146210"/>
                  </a:lnTo>
                  <a:lnTo>
                    <a:pt x="300694" y="121382"/>
                  </a:lnTo>
                  <a:cubicBezTo>
                    <a:pt x="300695" y="84140"/>
                    <a:pt x="279315" y="58621"/>
                    <a:pt x="249659" y="58622"/>
                  </a:cubicBezTo>
                  <a:cubicBezTo>
                    <a:pt x="205521" y="58621"/>
                    <a:pt x="168969" y="117244"/>
                    <a:pt x="168969" y="191038"/>
                  </a:cubicBez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1" name="Forme libre : forme 540">
              <a:extLst>
                <a:ext uri="{FF2B5EF4-FFF2-40B4-BE49-F238E27FC236}">
                  <a16:creationId xmlns:a16="http://schemas.microsoft.com/office/drawing/2014/main" id="{C420EFCB-7AD0-4F78-ABFA-EF93E239A8B5}"/>
                </a:ext>
              </a:extLst>
            </p:cNvPr>
            <p:cNvSpPr/>
            <p:nvPr/>
          </p:nvSpPr>
          <p:spPr>
            <a:xfrm rot="8716295">
              <a:off x="726753" y="489523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2" name="Forme libre : forme 541">
              <a:extLst>
                <a:ext uri="{FF2B5EF4-FFF2-40B4-BE49-F238E27FC236}">
                  <a16:creationId xmlns:a16="http://schemas.microsoft.com/office/drawing/2014/main" id="{0A5B3530-D6C0-4EE2-8CA9-FA8536749993}"/>
                </a:ext>
              </a:extLst>
            </p:cNvPr>
            <p:cNvSpPr/>
            <p:nvPr/>
          </p:nvSpPr>
          <p:spPr>
            <a:xfrm rot="8716295">
              <a:off x="537709" y="457939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3" name="Forme libre : forme 542">
              <a:extLst>
                <a:ext uri="{FF2B5EF4-FFF2-40B4-BE49-F238E27FC236}">
                  <a16:creationId xmlns:a16="http://schemas.microsoft.com/office/drawing/2014/main" id="{4CBF89FF-5526-4991-BDD9-741DD1ACD91A}"/>
                </a:ext>
              </a:extLst>
            </p:cNvPr>
            <p:cNvSpPr/>
            <p:nvPr/>
          </p:nvSpPr>
          <p:spPr>
            <a:xfrm rot="8716295">
              <a:off x="826576" y="4988476"/>
              <a:ext cx="91035" cy="198648"/>
            </a:xfrm>
            <a:custGeom>
              <a:avLst/>
              <a:gdLst>
                <a:gd name="connsiteX0" fmla="*/ 91035 w 91035"/>
                <a:gd name="connsiteY0" fmla="*/ 198648 h 198648"/>
                <a:gd name="connsiteX1" fmla="*/ 0 w 91035"/>
                <a:gd name="connsiteY1" fmla="*/ 111060 h 198648"/>
                <a:gd name="connsiteX2" fmla="*/ 0 w 91035"/>
                <a:gd name="connsiteY2" fmla="*/ 0 h 198648"/>
                <a:gd name="connsiteX3" fmla="*/ 91035 w 91035"/>
                <a:gd name="connsiteY3" fmla="*/ 63103 h 198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198648">
                  <a:moveTo>
                    <a:pt x="91035" y="198648"/>
                  </a:moveTo>
                  <a:lnTo>
                    <a:pt x="0" y="111060"/>
                  </a:lnTo>
                  <a:lnTo>
                    <a:pt x="0" y="0"/>
                  </a:lnTo>
                  <a:lnTo>
                    <a:pt x="91035" y="631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4" name="Forme libre : forme 543">
              <a:extLst>
                <a:ext uri="{FF2B5EF4-FFF2-40B4-BE49-F238E27FC236}">
                  <a16:creationId xmlns:a16="http://schemas.microsoft.com/office/drawing/2014/main" id="{2B19B256-A6B8-458D-8003-2780D79D3EB3}"/>
                </a:ext>
              </a:extLst>
            </p:cNvPr>
            <p:cNvSpPr/>
            <p:nvPr/>
          </p:nvSpPr>
          <p:spPr>
            <a:xfrm rot="8716295">
              <a:off x="497795" y="4730788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5" name="Forme libre : forme 544">
              <a:extLst>
                <a:ext uri="{FF2B5EF4-FFF2-40B4-BE49-F238E27FC236}">
                  <a16:creationId xmlns:a16="http://schemas.microsoft.com/office/drawing/2014/main" id="{38C331B5-12FF-441E-AFC8-4295F59727BE}"/>
                </a:ext>
              </a:extLst>
            </p:cNvPr>
            <p:cNvSpPr/>
            <p:nvPr/>
          </p:nvSpPr>
          <p:spPr>
            <a:xfrm rot="8716295">
              <a:off x="1459248" y="4904357"/>
              <a:ext cx="328004" cy="223069"/>
            </a:xfrm>
            <a:custGeom>
              <a:avLst/>
              <a:gdLst>
                <a:gd name="connsiteX0" fmla="*/ 10574 w 328004"/>
                <a:gd name="connsiteY0" fmla="*/ 223069 h 223069"/>
                <a:gd name="connsiteX1" fmla="*/ 0 w 328004"/>
                <a:gd name="connsiteY1" fmla="*/ 208428 h 223069"/>
                <a:gd name="connsiteX2" fmla="*/ 192781 w 328004"/>
                <a:gd name="connsiteY2" fmla="*/ 27035 h 223069"/>
                <a:gd name="connsiteX3" fmla="*/ 227094 w 328004"/>
                <a:gd name="connsiteY3" fmla="*/ 0 h 223069"/>
                <a:gd name="connsiteX4" fmla="*/ 328004 w 328004"/>
                <a:gd name="connsiteY4" fmla="*/ 69948 h 223069"/>
                <a:gd name="connsiteX5" fmla="*/ 326080 w 328004"/>
                <a:gd name="connsiteY5" fmla="*/ 74925 h 223069"/>
                <a:gd name="connsiteX6" fmla="*/ 293645 w 328004"/>
                <a:gd name="connsiteY6" fmla="*/ 100243 h 223069"/>
                <a:gd name="connsiteX7" fmla="*/ 294458 w 328004"/>
                <a:gd name="connsiteY7" fmla="*/ 100243 h 223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8004" h="223069">
                  <a:moveTo>
                    <a:pt x="10574" y="223069"/>
                  </a:moveTo>
                  <a:lnTo>
                    <a:pt x="0" y="208428"/>
                  </a:lnTo>
                  <a:lnTo>
                    <a:pt x="192781" y="27035"/>
                  </a:lnTo>
                  <a:lnTo>
                    <a:pt x="227094" y="0"/>
                  </a:lnTo>
                  <a:lnTo>
                    <a:pt x="328004" y="69948"/>
                  </a:lnTo>
                  <a:lnTo>
                    <a:pt x="326080" y="74925"/>
                  </a:lnTo>
                  <a:cubicBezTo>
                    <a:pt x="317843" y="85805"/>
                    <a:pt x="306659" y="94549"/>
                    <a:pt x="293645" y="100243"/>
                  </a:cubicBezTo>
                  <a:lnTo>
                    <a:pt x="294458" y="10024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6" name="Forme libre : forme 545">
              <a:extLst>
                <a:ext uri="{FF2B5EF4-FFF2-40B4-BE49-F238E27FC236}">
                  <a16:creationId xmlns:a16="http://schemas.microsoft.com/office/drawing/2014/main" id="{2EF13EE3-4590-46FE-815C-89B113D51647}"/>
                </a:ext>
              </a:extLst>
            </p:cNvPr>
            <p:cNvSpPr/>
            <p:nvPr/>
          </p:nvSpPr>
          <p:spPr>
            <a:xfrm rot="8716295">
              <a:off x="1383191" y="474927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7" name="Forme libre : forme 546">
              <a:extLst>
                <a:ext uri="{FF2B5EF4-FFF2-40B4-BE49-F238E27FC236}">
                  <a16:creationId xmlns:a16="http://schemas.microsoft.com/office/drawing/2014/main" id="{ACF317BC-C487-48DA-AAF1-A734E1B80AFC}"/>
                </a:ext>
              </a:extLst>
            </p:cNvPr>
            <p:cNvSpPr/>
            <p:nvPr/>
          </p:nvSpPr>
          <p:spPr>
            <a:xfrm rot="8716295">
              <a:off x="1015027" y="479501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8" name="Forme libre : forme 547">
              <a:extLst>
                <a:ext uri="{FF2B5EF4-FFF2-40B4-BE49-F238E27FC236}">
                  <a16:creationId xmlns:a16="http://schemas.microsoft.com/office/drawing/2014/main" id="{B791FEAA-DC33-4F32-8880-340A058FD832}"/>
                </a:ext>
              </a:extLst>
            </p:cNvPr>
            <p:cNvSpPr/>
            <p:nvPr/>
          </p:nvSpPr>
          <p:spPr>
            <a:xfrm rot="8716295">
              <a:off x="1283609" y="455399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9" name="Forme libre : forme 548">
              <a:extLst>
                <a:ext uri="{FF2B5EF4-FFF2-40B4-BE49-F238E27FC236}">
                  <a16:creationId xmlns:a16="http://schemas.microsoft.com/office/drawing/2014/main" id="{E17616AF-8BAE-4050-B11F-682C7E2BF991}"/>
                </a:ext>
              </a:extLst>
            </p:cNvPr>
            <p:cNvSpPr/>
            <p:nvPr/>
          </p:nvSpPr>
          <p:spPr>
            <a:xfrm rot="8716295">
              <a:off x="-30381" y="3359388"/>
              <a:ext cx="98497" cy="75863"/>
            </a:xfrm>
            <a:custGeom>
              <a:avLst/>
              <a:gdLst>
                <a:gd name="connsiteX0" fmla="*/ 0 w 98497"/>
                <a:gd name="connsiteY0" fmla="*/ 75863 h 75863"/>
                <a:gd name="connsiteX1" fmla="*/ 0 w 98497"/>
                <a:gd name="connsiteY1" fmla="*/ 0 h 75863"/>
                <a:gd name="connsiteX2" fmla="*/ 98497 w 98497"/>
                <a:gd name="connsiteY2" fmla="*/ 0 h 75863"/>
                <a:gd name="connsiteX3" fmla="*/ 45911 w 98497"/>
                <a:gd name="connsiteY3" fmla="*/ 75863 h 75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497" h="75863">
                  <a:moveTo>
                    <a:pt x="0" y="75863"/>
                  </a:moveTo>
                  <a:lnTo>
                    <a:pt x="0" y="0"/>
                  </a:lnTo>
                  <a:lnTo>
                    <a:pt x="98497" y="0"/>
                  </a:lnTo>
                  <a:lnTo>
                    <a:pt x="45911" y="758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0" name="Forme libre : forme 549">
              <a:extLst>
                <a:ext uri="{FF2B5EF4-FFF2-40B4-BE49-F238E27FC236}">
                  <a16:creationId xmlns:a16="http://schemas.microsoft.com/office/drawing/2014/main" id="{F7A06632-7A82-4771-B4F7-5A48BC7BBB8C}"/>
                </a:ext>
              </a:extLst>
            </p:cNvPr>
            <p:cNvSpPr/>
            <p:nvPr/>
          </p:nvSpPr>
          <p:spPr>
            <a:xfrm rot="8716295">
              <a:off x="-77334" y="3178477"/>
              <a:ext cx="389652" cy="385611"/>
            </a:xfrm>
            <a:custGeom>
              <a:avLst/>
              <a:gdLst>
                <a:gd name="connsiteX0" fmla="*/ 77932 w 389652"/>
                <a:gd name="connsiteY0" fmla="*/ 385611 h 385611"/>
                <a:gd name="connsiteX1" fmla="*/ 77932 w 389652"/>
                <a:gd name="connsiteY1" fmla="*/ 69054 h 385611"/>
                <a:gd name="connsiteX2" fmla="*/ 0 w 389652"/>
                <a:gd name="connsiteY2" fmla="*/ 69054 h 385611"/>
                <a:gd name="connsiteX3" fmla="*/ 0 w 389652"/>
                <a:gd name="connsiteY3" fmla="*/ 2156 h 385611"/>
                <a:gd name="connsiteX4" fmla="*/ 158623 w 389652"/>
                <a:gd name="connsiteY4" fmla="*/ 2156 h 385611"/>
                <a:gd name="connsiteX5" fmla="*/ 158623 w 389652"/>
                <a:gd name="connsiteY5" fmla="*/ 113882 h 385611"/>
                <a:gd name="connsiteX6" fmla="*/ 160692 w 389652"/>
                <a:gd name="connsiteY6" fmla="*/ 113882 h 385611"/>
                <a:gd name="connsiteX7" fmla="*/ 233107 w 389652"/>
                <a:gd name="connsiteY7" fmla="*/ 9053 h 385611"/>
                <a:gd name="connsiteX8" fmla="*/ 280694 w 389652"/>
                <a:gd name="connsiteY8" fmla="*/ 87 h 385611"/>
                <a:gd name="connsiteX9" fmla="*/ 364230 w 389652"/>
                <a:gd name="connsiteY9" fmla="*/ 34398 h 385611"/>
                <a:gd name="connsiteX10" fmla="*/ 389652 w 389652"/>
                <a:gd name="connsiteY10" fmla="*/ 117977 h 385611"/>
                <a:gd name="connsiteX11" fmla="*/ 371473 w 389652"/>
                <a:gd name="connsiteY11" fmla="*/ 144202 h 385611"/>
                <a:gd name="connsiteX12" fmla="*/ 300695 w 389652"/>
                <a:gd name="connsiteY12" fmla="*/ 148366 h 385611"/>
                <a:gd name="connsiteX13" fmla="*/ 300695 w 389652"/>
                <a:gd name="connsiteY13" fmla="*/ 123538 h 385611"/>
                <a:gd name="connsiteX14" fmla="*/ 249659 w 389652"/>
                <a:gd name="connsiteY14" fmla="*/ 60778 h 385611"/>
                <a:gd name="connsiteX15" fmla="*/ 168969 w 389652"/>
                <a:gd name="connsiteY15" fmla="*/ 193194 h 385611"/>
                <a:gd name="connsiteX16" fmla="*/ 168969 w 389652"/>
                <a:gd name="connsiteY16" fmla="*/ 323541 h 385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89652" h="385611">
                  <a:moveTo>
                    <a:pt x="77932" y="385611"/>
                  </a:moveTo>
                  <a:lnTo>
                    <a:pt x="77932" y="69054"/>
                  </a:lnTo>
                  <a:lnTo>
                    <a:pt x="0" y="69054"/>
                  </a:lnTo>
                  <a:lnTo>
                    <a:pt x="0" y="2156"/>
                  </a:lnTo>
                  <a:lnTo>
                    <a:pt x="158623" y="2156"/>
                  </a:lnTo>
                  <a:lnTo>
                    <a:pt x="158623" y="113882"/>
                  </a:lnTo>
                  <a:lnTo>
                    <a:pt x="160692" y="113882"/>
                  </a:lnTo>
                  <a:cubicBezTo>
                    <a:pt x="182762" y="48364"/>
                    <a:pt x="200003" y="22846"/>
                    <a:pt x="233107" y="9053"/>
                  </a:cubicBezTo>
                  <a:cubicBezTo>
                    <a:pt x="248280" y="2846"/>
                    <a:pt x="264142" y="-602"/>
                    <a:pt x="280694" y="87"/>
                  </a:cubicBezTo>
                  <a:cubicBezTo>
                    <a:pt x="316212" y="-603"/>
                    <a:pt x="344661" y="11466"/>
                    <a:pt x="364230" y="34398"/>
                  </a:cubicBezTo>
                  <a:lnTo>
                    <a:pt x="389652" y="117977"/>
                  </a:lnTo>
                  <a:lnTo>
                    <a:pt x="371473" y="144202"/>
                  </a:lnTo>
                  <a:lnTo>
                    <a:pt x="300695" y="148366"/>
                  </a:lnTo>
                  <a:lnTo>
                    <a:pt x="300695" y="123538"/>
                  </a:lnTo>
                  <a:cubicBezTo>
                    <a:pt x="300695" y="86296"/>
                    <a:pt x="279315" y="60778"/>
                    <a:pt x="249659" y="60778"/>
                  </a:cubicBezTo>
                  <a:cubicBezTo>
                    <a:pt x="205521" y="60778"/>
                    <a:pt x="168969" y="119400"/>
                    <a:pt x="168969" y="193194"/>
                  </a:cubicBezTo>
                  <a:lnTo>
                    <a:pt x="168969" y="3235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1" name="Forme libre : forme 550">
              <a:extLst>
                <a:ext uri="{FF2B5EF4-FFF2-40B4-BE49-F238E27FC236}">
                  <a16:creationId xmlns:a16="http://schemas.microsoft.com/office/drawing/2014/main" id="{497925DD-6E6C-4259-BA1E-97C604ADFD78}"/>
                </a:ext>
              </a:extLst>
            </p:cNvPr>
            <p:cNvSpPr/>
            <p:nvPr/>
          </p:nvSpPr>
          <p:spPr>
            <a:xfrm rot="8716295">
              <a:off x="-71352" y="3029015"/>
              <a:ext cx="193594" cy="189959"/>
            </a:xfrm>
            <a:custGeom>
              <a:avLst/>
              <a:gdLst>
                <a:gd name="connsiteX0" fmla="*/ 8965 w 193594"/>
                <a:gd name="connsiteY0" fmla="*/ 189959 h 189959"/>
                <a:gd name="connsiteX1" fmla="*/ 0 w 193594"/>
                <a:gd name="connsiteY1" fmla="*/ 177545 h 189959"/>
                <a:gd name="connsiteX2" fmla="*/ 163451 w 193594"/>
                <a:gd name="connsiteY2" fmla="*/ 23749 h 189959"/>
                <a:gd name="connsiteX3" fmla="*/ 193594 w 193594"/>
                <a:gd name="connsiteY3" fmla="*/ 0 h 189959"/>
                <a:gd name="connsiteX4" fmla="*/ 84606 w 193594"/>
                <a:gd name="connsiteY4" fmla="*/ 157232 h 189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594" h="189959">
                  <a:moveTo>
                    <a:pt x="8965" y="189959"/>
                  </a:moveTo>
                  <a:lnTo>
                    <a:pt x="0" y="177545"/>
                  </a:lnTo>
                  <a:lnTo>
                    <a:pt x="163451" y="23749"/>
                  </a:lnTo>
                  <a:lnTo>
                    <a:pt x="193594" y="0"/>
                  </a:lnTo>
                  <a:lnTo>
                    <a:pt x="84606" y="15723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2" name="Forme libre : forme 551">
              <a:extLst>
                <a:ext uri="{FF2B5EF4-FFF2-40B4-BE49-F238E27FC236}">
                  <a16:creationId xmlns:a16="http://schemas.microsoft.com/office/drawing/2014/main" id="{E29BD41D-2F5C-497A-8BF9-AF2F5B2427C3}"/>
                </a:ext>
              </a:extLst>
            </p:cNvPr>
            <p:cNvSpPr/>
            <p:nvPr/>
          </p:nvSpPr>
          <p:spPr>
            <a:xfrm rot="8716295">
              <a:off x="223574" y="276232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3" name="Forme libre : forme 552">
              <a:extLst>
                <a:ext uri="{FF2B5EF4-FFF2-40B4-BE49-F238E27FC236}">
                  <a16:creationId xmlns:a16="http://schemas.microsoft.com/office/drawing/2014/main" id="{6A4C14F3-A2C0-4F87-AC82-3B459E04B788}"/>
                </a:ext>
              </a:extLst>
            </p:cNvPr>
            <p:cNvSpPr/>
            <p:nvPr/>
          </p:nvSpPr>
          <p:spPr>
            <a:xfrm rot="8716295">
              <a:off x="358873" y="2806579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4" name="Forme libre : forme 553">
              <a:extLst>
                <a:ext uri="{FF2B5EF4-FFF2-40B4-BE49-F238E27FC236}">
                  <a16:creationId xmlns:a16="http://schemas.microsoft.com/office/drawing/2014/main" id="{935BD79C-492F-44F8-B4F1-B103EB9A56A0}"/>
                </a:ext>
              </a:extLst>
            </p:cNvPr>
            <p:cNvSpPr/>
            <p:nvPr/>
          </p:nvSpPr>
          <p:spPr>
            <a:xfrm rot="8716295">
              <a:off x="53703" y="2896335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5" name="Forme libre : forme 554">
              <a:extLst>
                <a:ext uri="{FF2B5EF4-FFF2-40B4-BE49-F238E27FC236}">
                  <a16:creationId xmlns:a16="http://schemas.microsoft.com/office/drawing/2014/main" id="{20269E7A-5297-42E3-A791-BAD958B2ADF9}"/>
                </a:ext>
              </a:extLst>
            </p:cNvPr>
            <p:cNvSpPr/>
            <p:nvPr/>
          </p:nvSpPr>
          <p:spPr>
            <a:xfrm rot="8716295">
              <a:off x="-92201" y="2622488"/>
              <a:ext cx="271732" cy="238722"/>
            </a:xfrm>
            <a:custGeom>
              <a:avLst/>
              <a:gdLst>
                <a:gd name="connsiteX0" fmla="*/ 106257 w 271732"/>
                <a:gd name="connsiteY0" fmla="*/ 238722 h 238722"/>
                <a:gd name="connsiteX1" fmla="*/ 72418 w 271732"/>
                <a:gd name="connsiteY1" fmla="*/ 175766 h 238722"/>
                <a:gd name="connsiteX2" fmla="*/ 105610 w 271732"/>
                <a:gd name="connsiteY2" fmla="*/ 83734 h 238722"/>
                <a:gd name="connsiteX3" fmla="*/ 0 w 271732"/>
                <a:gd name="connsiteY3" fmla="*/ 83734 h 238722"/>
                <a:gd name="connsiteX4" fmla="*/ 0 w 271732"/>
                <a:gd name="connsiteY4" fmla="*/ 0 h 238722"/>
                <a:gd name="connsiteX5" fmla="*/ 271732 w 271732"/>
                <a:gd name="connsiteY5" fmla="*/ 0 h 238722"/>
                <a:gd name="connsiteX6" fmla="*/ 213690 w 271732"/>
                <a:gd name="connsiteY6" fmla="*/ 83734 h 238722"/>
                <a:gd name="connsiteX7" fmla="*/ 210465 w 271732"/>
                <a:gd name="connsiteY7" fmla="*/ 83734 h 238722"/>
                <a:gd name="connsiteX8" fmla="*/ 207289 w 271732"/>
                <a:gd name="connsiteY8" fmla="*/ 92969 h 238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1732" h="238722">
                  <a:moveTo>
                    <a:pt x="106257" y="238722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71732" y="0"/>
                  </a:lnTo>
                  <a:lnTo>
                    <a:pt x="213690" y="83734"/>
                  </a:lnTo>
                  <a:lnTo>
                    <a:pt x="210465" y="83734"/>
                  </a:lnTo>
                  <a:lnTo>
                    <a:pt x="207289" y="929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6" name="Forme libre : forme 555">
              <a:extLst>
                <a:ext uri="{FF2B5EF4-FFF2-40B4-BE49-F238E27FC236}">
                  <a16:creationId xmlns:a16="http://schemas.microsoft.com/office/drawing/2014/main" id="{F59E69C4-B8C8-4B2C-9ACE-4F40F98BFC84}"/>
                </a:ext>
              </a:extLst>
            </p:cNvPr>
            <p:cNvSpPr/>
            <p:nvPr/>
          </p:nvSpPr>
          <p:spPr>
            <a:xfrm rot="8716295">
              <a:off x="190192" y="2958318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7" name="Forme libre : forme 556">
              <a:extLst>
                <a:ext uri="{FF2B5EF4-FFF2-40B4-BE49-F238E27FC236}">
                  <a16:creationId xmlns:a16="http://schemas.microsoft.com/office/drawing/2014/main" id="{60A06DA4-F392-4C9B-B810-DC33F0E06EF7}"/>
                </a:ext>
              </a:extLst>
            </p:cNvPr>
            <p:cNvSpPr/>
            <p:nvPr/>
          </p:nvSpPr>
          <p:spPr>
            <a:xfrm rot="7484129">
              <a:off x="349009" y="324793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8" name="Forme libre : forme 557">
              <a:extLst>
                <a:ext uri="{FF2B5EF4-FFF2-40B4-BE49-F238E27FC236}">
                  <a16:creationId xmlns:a16="http://schemas.microsoft.com/office/drawing/2014/main" id="{AB6A2932-14BD-4774-A352-7D5D644B3B5A}"/>
                </a:ext>
              </a:extLst>
            </p:cNvPr>
            <p:cNvSpPr/>
            <p:nvPr/>
          </p:nvSpPr>
          <p:spPr>
            <a:xfrm rot="13089394">
              <a:off x="507659" y="3197284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9" name="Forme libre : forme 558">
              <a:extLst>
                <a:ext uri="{FF2B5EF4-FFF2-40B4-BE49-F238E27FC236}">
                  <a16:creationId xmlns:a16="http://schemas.microsoft.com/office/drawing/2014/main" id="{B0C0F300-8F87-4878-A242-83480CD0F594}"/>
                </a:ext>
              </a:extLst>
            </p:cNvPr>
            <p:cNvSpPr/>
            <p:nvPr/>
          </p:nvSpPr>
          <p:spPr>
            <a:xfrm rot="8716295">
              <a:off x="788550" y="2907166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0" name="Forme libre : forme 559">
              <a:extLst>
                <a:ext uri="{FF2B5EF4-FFF2-40B4-BE49-F238E27FC236}">
                  <a16:creationId xmlns:a16="http://schemas.microsoft.com/office/drawing/2014/main" id="{51D26EC8-7FBF-4DE9-AD62-79231B0281F0}"/>
                </a:ext>
              </a:extLst>
            </p:cNvPr>
            <p:cNvSpPr/>
            <p:nvPr/>
          </p:nvSpPr>
          <p:spPr>
            <a:xfrm rot="8716295">
              <a:off x="710141" y="275037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1" name="Forme libre : forme 560">
              <a:extLst>
                <a:ext uri="{FF2B5EF4-FFF2-40B4-BE49-F238E27FC236}">
                  <a16:creationId xmlns:a16="http://schemas.microsoft.com/office/drawing/2014/main" id="{DED5A4F2-08F4-473E-85B0-2FEDFE194CE3}"/>
                </a:ext>
              </a:extLst>
            </p:cNvPr>
            <p:cNvSpPr/>
            <p:nvPr/>
          </p:nvSpPr>
          <p:spPr>
            <a:xfrm rot="8716295">
              <a:off x="341977" y="279611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2" name="Forme libre : forme 561">
              <a:extLst>
                <a:ext uri="{FF2B5EF4-FFF2-40B4-BE49-F238E27FC236}">
                  <a16:creationId xmlns:a16="http://schemas.microsoft.com/office/drawing/2014/main" id="{8A2A6A83-C634-477C-AA7B-D4BF2D37CB9F}"/>
                </a:ext>
              </a:extLst>
            </p:cNvPr>
            <p:cNvSpPr/>
            <p:nvPr/>
          </p:nvSpPr>
          <p:spPr>
            <a:xfrm rot="8716295">
              <a:off x="610559" y="2555095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3" name="Forme libre : forme 562">
              <a:extLst>
                <a:ext uri="{FF2B5EF4-FFF2-40B4-BE49-F238E27FC236}">
                  <a16:creationId xmlns:a16="http://schemas.microsoft.com/office/drawing/2014/main" id="{C7E28CB5-C215-4110-A37F-DBD52F99C5AA}"/>
                </a:ext>
              </a:extLst>
            </p:cNvPr>
            <p:cNvSpPr/>
            <p:nvPr/>
          </p:nvSpPr>
          <p:spPr>
            <a:xfrm rot="8716295">
              <a:off x="-24305" y="2374348"/>
              <a:ext cx="58950" cy="66898"/>
            </a:xfrm>
            <a:custGeom>
              <a:avLst/>
              <a:gdLst>
                <a:gd name="connsiteX0" fmla="*/ 0 w 58950"/>
                <a:gd name="connsiteY0" fmla="*/ 66898 h 66898"/>
                <a:gd name="connsiteX1" fmla="*/ 0 w 58950"/>
                <a:gd name="connsiteY1" fmla="*/ 0 h 66898"/>
                <a:gd name="connsiteX2" fmla="*/ 58950 w 58950"/>
                <a:gd name="connsiteY2" fmla="*/ 0 h 66898"/>
                <a:gd name="connsiteX3" fmla="*/ 12579 w 58950"/>
                <a:gd name="connsiteY3" fmla="*/ 66898 h 6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950" h="66898">
                  <a:moveTo>
                    <a:pt x="0" y="66898"/>
                  </a:moveTo>
                  <a:lnTo>
                    <a:pt x="0" y="0"/>
                  </a:lnTo>
                  <a:lnTo>
                    <a:pt x="58950" y="0"/>
                  </a:lnTo>
                  <a:lnTo>
                    <a:pt x="12579" y="668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4" name="Forme libre : forme 563">
              <a:extLst>
                <a:ext uri="{FF2B5EF4-FFF2-40B4-BE49-F238E27FC236}">
                  <a16:creationId xmlns:a16="http://schemas.microsoft.com/office/drawing/2014/main" id="{446F17DC-5A7F-43EF-8C54-EB403552B710}"/>
                </a:ext>
              </a:extLst>
            </p:cNvPr>
            <p:cNvSpPr/>
            <p:nvPr/>
          </p:nvSpPr>
          <p:spPr>
            <a:xfrm rot="8716295">
              <a:off x="-39593" y="1952072"/>
              <a:ext cx="198050" cy="140164"/>
            </a:xfrm>
            <a:custGeom>
              <a:avLst/>
              <a:gdLst>
                <a:gd name="connsiteX0" fmla="*/ 0 w 198050"/>
                <a:gd name="connsiteY0" fmla="*/ 75863 h 140164"/>
                <a:gd name="connsiteX1" fmla="*/ 0 w 198050"/>
                <a:gd name="connsiteY1" fmla="*/ 0 h 140164"/>
                <a:gd name="connsiteX2" fmla="*/ 128968 w 198050"/>
                <a:gd name="connsiteY2" fmla="*/ 0 h 140164"/>
                <a:gd name="connsiteX3" fmla="*/ 193021 w 198050"/>
                <a:gd name="connsiteY3" fmla="*/ 18535 h 140164"/>
                <a:gd name="connsiteX4" fmla="*/ 198050 w 198050"/>
                <a:gd name="connsiteY4" fmla="*/ 31548 h 140164"/>
                <a:gd name="connsiteX5" fmla="*/ 122761 w 198050"/>
                <a:gd name="connsiteY5" fmla="*/ 140164 h 140164"/>
                <a:gd name="connsiteX6" fmla="*/ 122761 w 198050"/>
                <a:gd name="connsiteY6" fmla="*/ 105519 h 140164"/>
                <a:gd name="connsiteX7" fmla="*/ 122761 w 198050"/>
                <a:gd name="connsiteY7" fmla="*/ 99312 h 140164"/>
                <a:gd name="connsiteX8" fmla="*/ 91726 w 198050"/>
                <a:gd name="connsiteY8" fmla="*/ 75863 h 140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8050" h="140164">
                  <a:moveTo>
                    <a:pt x="0" y="75863"/>
                  </a:moveTo>
                  <a:lnTo>
                    <a:pt x="0" y="0"/>
                  </a:lnTo>
                  <a:lnTo>
                    <a:pt x="128968" y="0"/>
                  </a:lnTo>
                  <a:cubicBezTo>
                    <a:pt x="156900" y="0"/>
                    <a:pt x="178452" y="6034"/>
                    <a:pt x="193021" y="18535"/>
                  </a:cubicBezTo>
                  <a:lnTo>
                    <a:pt x="198050" y="31548"/>
                  </a:lnTo>
                  <a:lnTo>
                    <a:pt x="122761" y="140164"/>
                  </a:ln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4"/>
                    <a:pt x="91726" y="758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5" name="Forme libre : forme 564">
              <a:extLst>
                <a:ext uri="{FF2B5EF4-FFF2-40B4-BE49-F238E27FC236}">
                  <a16:creationId xmlns:a16="http://schemas.microsoft.com/office/drawing/2014/main" id="{CE6D21DD-4C35-491F-883F-DFE604B382BF}"/>
                </a:ext>
              </a:extLst>
            </p:cNvPr>
            <p:cNvSpPr/>
            <p:nvPr/>
          </p:nvSpPr>
          <p:spPr>
            <a:xfrm rot="8716295">
              <a:off x="21100" y="1808096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6" name="Forme libre : forme 565">
              <a:extLst>
                <a:ext uri="{FF2B5EF4-FFF2-40B4-BE49-F238E27FC236}">
                  <a16:creationId xmlns:a16="http://schemas.microsoft.com/office/drawing/2014/main" id="{162C0E93-A925-40E7-B101-4C145B43E018}"/>
                </a:ext>
              </a:extLst>
            </p:cNvPr>
            <p:cNvSpPr/>
            <p:nvPr/>
          </p:nvSpPr>
          <p:spPr>
            <a:xfrm rot="8716295">
              <a:off x="-24330" y="2197782"/>
              <a:ext cx="102508" cy="53362"/>
            </a:xfrm>
            <a:custGeom>
              <a:avLst/>
              <a:gdLst>
                <a:gd name="connsiteX0" fmla="*/ 0 w 102508"/>
                <a:gd name="connsiteY0" fmla="*/ 23637 h 53362"/>
                <a:gd name="connsiteX1" fmla="*/ 0 w 102508"/>
                <a:gd name="connsiteY1" fmla="*/ 2258 h 53362"/>
                <a:gd name="connsiteX2" fmla="*/ 102508 w 102508"/>
                <a:gd name="connsiteY2" fmla="*/ 0 h 53362"/>
                <a:gd name="connsiteX3" fmla="*/ 65519 w 102508"/>
                <a:gd name="connsiteY3" fmla="*/ 53362 h 53362"/>
                <a:gd name="connsiteX4" fmla="*/ 65519 w 102508"/>
                <a:gd name="connsiteY4" fmla="*/ 23637 h 5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508" h="53362">
                  <a:moveTo>
                    <a:pt x="0" y="23637"/>
                  </a:moveTo>
                  <a:lnTo>
                    <a:pt x="0" y="2258"/>
                  </a:lnTo>
                  <a:lnTo>
                    <a:pt x="102508" y="0"/>
                  </a:lnTo>
                  <a:lnTo>
                    <a:pt x="65519" y="53362"/>
                  </a:lnTo>
                  <a:lnTo>
                    <a:pt x="65519" y="2363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7" name="Forme libre : forme 566">
              <a:extLst>
                <a:ext uri="{FF2B5EF4-FFF2-40B4-BE49-F238E27FC236}">
                  <a16:creationId xmlns:a16="http://schemas.microsoft.com/office/drawing/2014/main" id="{39C657D0-D62F-4F7C-A612-53DB4B79E5E3}"/>
                </a:ext>
              </a:extLst>
            </p:cNvPr>
            <p:cNvSpPr/>
            <p:nvPr/>
          </p:nvSpPr>
          <p:spPr>
            <a:xfrm rot="7484129">
              <a:off x="11236" y="224945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8" name="Forme libre : forme 567">
              <a:extLst>
                <a:ext uri="{FF2B5EF4-FFF2-40B4-BE49-F238E27FC236}">
                  <a16:creationId xmlns:a16="http://schemas.microsoft.com/office/drawing/2014/main" id="{23C2327F-1812-4891-A555-8CFAF24BC9F9}"/>
                </a:ext>
              </a:extLst>
            </p:cNvPr>
            <p:cNvSpPr/>
            <p:nvPr/>
          </p:nvSpPr>
          <p:spPr>
            <a:xfrm rot="13089394">
              <a:off x="169886" y="2198801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9" name="Forme libre : forme 568">
              <a:extLst>
                <a:ext uri="{FF2B5EF4-FFF2-40B4-BE49-F238E27FC236}">
                  <a16:creationId xmlns:a16="http://schemas.microsoft.com/office/drawing/2014/main" id="{E72BEF7B-6435-411F-BE32-BB8EAB9D905E}"/>
                </a:ext>
              </a:extLst>
            </p:cNvPr>
            <p:cNvSpPr/>
            <p:nvPr/>
          </p:nvSpPr>
          <p:spPr>
            <a:xfrm rot="8716295">
              <a:off x="450777" y="1908683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0" name="Forme libre : forme 569">
              <a:extLst>
                <a:ext uri="{FF2B5EF4-FFF2-40B4-BE49-F238E27FC236}">
                  <a16:creationId xmlns:a16="http://schemas.microsoft.com/office/drawing/2014/main" id="{DE1DA05C-2419-4744-8AE0-392B948F57E7}"/>
                </a:ext>
              </a:extLst>
            </p:cNvPr>
            <p:cNvSpPr/>
            <p:nvPr/>
          </p:nvSpPr>
          <p:spPr>
            <a:xfrm rot="8716295">
              <a:off x="372368" y="175189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1" name="Forme libre : forme 570">
              <a:extLst>
                <a:ext uri="{FF2B5EF4-FFF2-40B4-BE49-F238E27FC236}">
                  <a16:creationId xmlns:a16="http://schemas.microsoft.com/office/drawing/2014/main" id="{337322B4-128F-4422-98A6-2E33A9550E4C}"/>
                </a:ext>
              </a:extLst>
            </p:cNvPr>
            <p:cNvSpPr/>
            <p:nvPr/>
          </p:nvSpPr>
          <p:spPr>
            <a:xfrm rot="8716295">
              <a:off x="4204" y="179763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2" name="Forme libre : forme 571">
              <a:extLst>
                <a:ext uri="{FF2B5EF4-FFF2-40B4-BE49-F238E27FC236}">
                  <a16:creationId xmlns:a16="http://schemas.microsoft.com/office/drawing/2014/main" id="{595DF5B3-B2D1-4308-B916-9800ADEDFEAC}"/>
                </a:ext>
              </a:extLst>
            </p:cNvPr>
            <p:cNvSpPr/>
            <p:nvPr/>
          </p:nvSpPr>
          <p:spPr>
            <a:xfrm rot="8716295">
              <a:off x="272786" y="155661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3" name="Forme libre : forme 572">
              <a:extLst>
                <a:ext uri="{FF2B5EF4-FFF2-40B4-BE49-F238E27FC236}">
                  <a16:creationId xmlns:a16="http://schemas.microsoft.com/office/drawing/2014/main" id="{93A9ECEA-4D95-4585-ACB4-69C0DE623EDA}"/>
                </a:ext>
              </a:extLst>
            </p:cNvPr>
            <p:cNvSpPr/>
            <p:nvPr/>
          </p:nvSpPr>
          <p:spPr>
            <a:xfrm rot="8716295">
              <a:off x="-35149" y="938156"/>
              <a:ext cx="158623" cy="159016"/>
            </a:xfrm>
            <a:custGeom>
              <a:avLst/>
              <a:gdLst>
                <a:gd name="connsiteX0" fmla="*/ 77932 w 158623"/>
                <a:gd name="connsiteY0" fmla="*/ 159016 h 159016"/>
                <a:gd name="connsiteX1" fmla="*/ 77932 w 158623"/>
                <a:gd name="connsiteY1" fmla="*/ 66898 h 159016"/>
                <a:gd name="connsiteX2" fmla="*/ 0 w 158623"/>
                <a:gd name="connsiteY2" fmla="*/ 66898 h 159016"/>
                <a:gd name="connsiteX3" fmla="*/ 0 w 158623"/>
                <a:gd name="connsiteY3" fmla="*/ 0 h 159016"/>
                <a:gd name="connsiteX4" fmla="*/ 158623 w 158623"/>
                <a:gd name="connsiteY4" fmla="*/ 0 h 159016"/>
                <a:gd name="connsiteX5" fmla="*/ 158623 w 158623"/>
                <a:gd name="connsiteY5" fmla="*/ 42606 h 15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8623" h="159016">
                  <a:moveTo>
                    <a:pt x="77932" y="159016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4260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4" name="Forme libre : forme 573">
              <a:extLst>
                <a:ext uri="{FF2B5EF4-FFF2-40B4-BE49-F238E27FC236}">
                  <a16:creationId xmlns:a16="http://schemas.microsoft.com/office/drawing/2014/main" id="{8B3F0D63-11FD-4E8B-94AA-29A3E1B840B5}"/>
                </a:ext>
              </a:extLst>
            </p:cNvPr>
            <p:cNvSpPr/>
            <p:nvPr/>
          </p:nvSpPr>
          <p:spPr>
            <a:xfrm rot="7484129">
              <a:off x="-32979" y="1345537"/>
              <a:ext cx="65961" cy="45734"/>
            </a:xfrm>
            <a:custGeom>
              <a:avLst/>
              <a:gdLst>
                <a:gd name="connsiteX0" fmla="*/ 0 w 65961"/>
                <a:gd name="connsiteY0" fmla="*/ 45734 h 45734"/>
                <a:gd name="connsiteX1" fmla="*/ 0 w 65961"/>
                <a:gd name="connsiteY1" fmla="*/ 0 h 45734"/>
                <a:gd name="connsiteX2" fmla="*/ 65961 w 65961"/>
                <a:gd name="connsiteY2" fmla="*/ 0 h 45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5961" h="45734">
                  <a:moveTo>
                    <a:pt x="0" y="45734"/>
                  </a:moveTo>
                  <a:lnTo>
                    <a:pt x="0" y="0"/>
                  </a:lnTo>
                  <a:lnTo>
                    <a:pt x="6596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5" name="Forme libre : forme 574">
              <a:extLst>
                <a:ext uri="{FF2B5EF4-FFF2-40B4-BE49-F238E27FC236}">
                  <a16:creationId xmlns:a16="http://schemas.microsoft.com/office/drawing/2014/main" id="{3995846C-C66B-490D-8C5F-179A05C89C6A}"/>
                </a:ext>
              </a:extLst>
            </p:cNvPr>
            <p:cNvSpPr/>
            <p:nvPr/>
          </p:nvSpPr>
          <p:spPr>
            <a:xfrm rot="13089394">
              <a:off x="-134707" y="1200752"/>
              <a:ext cx="386820" cy="481345"/>
            </a:xfrm>
            <a:custGeom>
              <a:avLst/>
              <a:gdLst>
                <a:gd name="connsiteX0" fmla="*/ 386820 w 386820"/>
                <a:gd name="connsiteY0" fmla="*/ 391818 h 481345"/>
                <a:gd name="connsiteX1" fmla="*/ 342166 w 386820"/>
                <a:gd name="connsiteY1" fmla="*/ 422376 h 481345"/>
                <a:gd name="connsiteX2" fmla="*/ 138636 w 386820"/>
                <a:gd name="connsiteY2" fmla="*/ 481098 h 481345"/>
                <a:gd name="connsiteX3" fmla="*/ 35911 w 386820"/>
                <a:gd name="connsiteY3" fmla="*/ 439340 h 481345"/>
                <a:gd name="connsiteX4" fmla="*/ 0 w 386820"/>
                <a:gd name="connsiteY4" fmla="*/ 295693 h 481345"/>
                <a:gd name="connsiteX5" fmla="*/ 0 w 386820"/>
                <a:gd name="connsiteY5" fmla="*/ 40970 h 481345"/>
                <a:gd name="connsiteX6" fmla="*/ 78970 w 386820"/>
                <a:gd name="connsiteY6" fmla="*/ 0 h 481345"/>
                <a:gd name="connsiteX7" fmla="*/ 111492 w 386820"/>
                <a:gd name="connsiteY7" fmla="*/ 41392 h 481345"/>
                <a:gd name="connsiteX8" fmla="*/ 112747 w 386820"/>
                <a:gd name="connsiteY8" fmla="*/ 216353 h 481345"/>
                <a:gd name="connsiteX9" fmla="*/ 132789 w 386820"/>
                <a:gd name="connsiteY9" fmla="*/ 354990 h 481345"/>
                <a:gd name="connsiteX10" fmla="*/ 233008 w 386820"/>
                <a:gd name="connsiteY10" fmla="*/ 410110 h 481345"/>
                <a:gd name="connsiteX11" fmla="*/ 308173 w 386820"/>
                <a:gd name="connsiteY11" fmla="*/ 396747 h 481345"/>
                <a:gd name="connsiteX12" fmla="*/ 370717 w 386820"/>
                <a:gd name="connsiteY12" fmla="*/ 371323 h 481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6820" h="481345">
                  <a:moveTo>
                    <a:pt x="386820" y="391818"/>
                  </a:moveTo>
                  <a:lnTo>
                    <a:pt x="342166" y="422376"/>
                  </a:lnTo>
                  <a:cubicBezTo>
                    <a:pt x="268920" y="462151"/>
                    <a:pt x="190624" y="477966"/>
                    <a:pt x="138636" y="481098"/>
                  </a:cubicBezTo>
                  <a:cubicBezTo>
                    <a:pt x="100219" y="483604"/>
                    <a:pt x="62637" y="466901"/>
                    <a:pt x="35911" y="439340"/>
                  </a:cubicBezTo>
                  <a:cubicBezTo>
                    <a:pt x="7516" y="411780"/>
                    <a:pt x="0" y="364176"/>
                    <a:pt x="0" y="295693"/>
                  </a:cubicBezTo>
                  <a:lnTo>
                    <a:pt x="0" y="40970"/>
                  </a:lnTo>
                  <a:lnTo>
                    <a:pt x="78970" y="0"/>
                  </a:lnTo>
                  <a:lnTo>
                    <a:pt x="111492" y="41392"/>
                  </a:lnTo>
                  <a:lnTo>
                    <a:pt x="112747" y="216353"/>
                  </a:lnTo>
                  <a:cubicBezTo>
                    <a:pt x="110241" y="263122"/>
                    <a:pt x="117757" y="310726"/>
                    <a:pt x="132789" y="354990"/>
                  </a:cubicBezTo>
                  <a:cubicBezTo>
                    <a:pt x="146153" y="391736"/>
                    <a:pt x="180394" y="410110"/>
                    <a:pt x="233008" y="410110"/>
                  </a:cubicBezTo>
                  <a:cubicBezTo>
                    <a:pt x="258899" y="409274"/>
                    <a:pt x="283953" y="404263"/>
                    <a:pt x="308173" y="396747"/>
                  </a:cubicBezTo>
                  <a:lnTo>
                    <a:pt x="370717" y="371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6" name="Forme libre : forme 575">
              <a:extLst>
                <a:ext uri="{FF2B5EF4-FFF2-40B4-BE49-F238E27FC236}">
                  <a16:creationId xmlns:a16="http://schemas.microsoft.com/office/drawing/2014/main" id="{526F0D4E-209F-45B7-8D0B-5F52AEBBFFB5}"/>
                </a:ext>
              </a:extLst>
            </p:cNvPr>
            <p:cNvSpPr/>
            <p:nvPr/>
          </p:nvSpPr>
          <p:spPr>
            <a:xfrm rot="8716295">
              <a:off x="119403" y="90662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7" name="Forme libre : forme 576">
              <a:extLst>
                <a:ext uri="{FF2B5EF4-FFF2-40B4-BE49-F238E27FC236}">
                  <a16:creationId xmlns:a16="http://schemas.microsoft.com/office/drawing/2014/main" id="{E4487EF6-2C0D-4ADC-9B8D-2F6D6193CD68}"/>
                </a:ext>
              </a:extLst>
            </p:cNvPr>
            <p:cNvSpPr/>
            <p:nvPr/>
          </p:nvSpPr>
          <p:spPr>
            <a:xfrm rot="8716295">
              <a:off x="40994" y="74983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8" name="Forme libre : forme 577">
              <a:extLst>
                <a:ext uri="{FF2B5EF4-FFF2-40B4-BE49-F238E27FC236}">
                  <a16:creationId xmlns:a16="http://schemas.microsoft.com/office/drawing/2014/main" id="{7C0A915F-CAC9-450A-B192-FAACB7FBD55B}"/>
                </a:ext>
              </a:extLst>
            </p:cNvPr>
            <p:cNvSpPr/>
            <p:nvPr/>
          </p:nvSpPr>
          <p:spPr>
            <a:xfrm rot="8716295">
              <a:off x="-44934" y="551941"/>
              <a:ext cx="152592" cy="165412"/>
            </a:xfrm>
            <a:custGeom>
              <a:avLst/>
              <a:gdLst>
                <a:gd name="connsiteX0" fmla="*/ 26453 w 152592"/>
                <a:gd name="connsiteY0" fmla="*/ 153143 h 165412"/>
                <a:gd name="connsiteX1" fmla="*/ 0 w 152592"/>
                <a:gd name="connsiteY1" fmla="*/ 90494 h 165412"/>
                <a:gd name="connsiteX2" fmla="*/ 0 w 152592"/>
                <a:gd name="connsiteY2" fmla="*/ 89101 h 165412"/>
                <a:gd name="connsiteX3" fmla="*/ 26453 w 152592"/>
                <a:gd name="connsiteY3" fmla="*/ 26453 h 165412"/>
                <a:gd name="connsiteX4" fmla="*/ 89101 w 152592"/>
                <a:gd name="connsiteY4" fmla="*/ 0 h 165412"/>
                <a:gd name="connsiteX5" fmla="*/ 151752 w 152592"/>
                <a:gd name="connsiteY5" fmla="*/ 26453 h 165412"/>
                <a:gd name="connsiteX6" fmla="*/ 152592 w 152592"/>
                <a:gd name="connsiteY6" fmla="*/ 27688 h 165412"/>
                <a:gd name="connsiteX7" fmla="*/ 57126 w 152592"/>
                <a:gd name="connsiteY7" fmla="*/ 165412 h 165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592" h="165412">
                  <a:moveTo>
                    <a:pt x="26453" y="153143"/>
                  </a:moveTo>
                  <a:cubicBezTo>
                    <a:pt x="9746" y="136436"/>
                    <a:pt x="0" y="114161"/>
                    <a:pt x="0" y="90494"/>
                  </a:cubicBezTo>
                  <a:lnTo>
                    <a:pt x="0" y="89101"/>
                  </a:lnTo>
                  <a:cubicBezTo>
                    <a:pt x="0" y="65434"/>
                    <a:pt x="9746" y="43159"/>
                    <a:pt x="26453" y="26453"/>
                  </a:cubicBezTo>
                  <a:cubicBezTo>
                    <a:pt x="43159" y="9746"/>
                    <a:pt x="65435" y="0"/>
                    <a:pt x="89101" y="0"/>
                  </a:cubicBezTo>
                  <a:cubicBezTo>
                    <a:pt x="112770" y="0"/>
                    <a:pt x="135045" y="9746"/>
                    <a:pt x="151752" y="26453"/>
                  </a:cubicBezTo>
                  <a:lnTo>
                    <a:pt x="152592" y="27688"/>
                  </a:lnTo>
                  <a:lnTo>
                    <a:pt x="57126" y="1654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9" name="Forme libre : forme 578">
              <a:extLst>
                <a:ext uri="{FF2B5EF4-FFF2-40B4-BE49-F238E27FC236}">
                  <a16:creationId xmlns:a16="http://schemas.microsoft.com/office/drawing/2014/main" id="{F58403BF-2302-4726-985B-EDA0C69E1FA1}"/>
                </a:ext>
              </a:extLst>
            </p:cNvPr>
            <p:cNvSpPr/>
            <p:nvPr/>
          </p:nvSpPr>
          <p:spPr>
            <a:xfrm rot="8716295">
              <a:off x="-69806" y="4587027"/>
              <a:ext cx="183810" cy="187594"/>
            </a:xfrm>
            <a:custGeom>
              <a:avLst/>
              <a:gdLst>
                <a:gd name="connsiteX0" fmla="*/ 10574 w 183810"/>
                <a:gd name="connsiteY0" fmla="*/ 187594 h 187594"/>
                <a:gd name="connsiteX1" fmla="*/ 0 w 183810"/>
                <a:gd name="connsiteY1" fmla="*/ 172952 h 187594"/>
                <a:gd name="connsiteX2" fmla="*/ 183810 w 183810"/>
                <a:gd name="connsiteY2" fmla="*/ 0 h 187594"/>
                <a:gd name="connsiteX3" fmla="*/ 72284 w 183810"/>
                <a:gd name="connsiteY3" fmla="*/ 160894 h 187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810" h="187594">
                  <a:moveTo>
                    <a:pt x="10574" y="187594"/>
                  </a:moveTo>
                  <a:lnTo>
                    <a:pt x="0" y="172952"/>
                  </a:lnTo>
                  <a:lnTo>
                    <a:pt x="183810" y="0"/>
                  </a:lnTo>
                  <a:lnTo>
                    <a:pt x="72284" y="1608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0" name="Forme libre : forme 579">
              <a:extLst>
                <a:ext uri="{FF2B5EF4-FFF2-40B4-BE49-F238E27FC236}">
                  <a16:creationId xmlns:a16="http://schemas.microsoft.com/office/drawing/2014/main" id="{BDEDB1D6-CD3F-4286-9F37-FC31932639CB}"/>
                </a:ext>
              </a:extLst>
            </p:cNvPr>
            <p:cNvSpPr/>
            <p:nvPr/>
          </p:nvSpPr>
          <p:spPr>
            <a:xfrm rot="8716295">
              <a:off x="4450621" y="307495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1" name="Forme libre : forme 580">
              <a:extLst>
                <a:ext uri="{FF2B5EF4-FFF2-40B4-BE49-F238E27FC236}">
                  <a16:creationId xmlns:a16="http://schemas.microsoft.com/office/drawing/2014/main" id="{4AAFF489-2EF8-4A1D-A5BE-9FFA1F256B78}"/>
                </a:ext>
              </a:extLst>
            </p:cNvPr>
            <p:cNvSpPr/>
            <p:nvPr/>
          </p:nvSpPr>
          <p:spPr>
            <a:xfrm rot="8716295">
              <a:off x="4585920" y="3119209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2" name="Forme libre : forme 581">
              <a:extLst>
                <a:ext uri="{FF2B5EF4-FFF2-40B4-BE49-F238E27FC236}">
                  <a16:creationId xmlns:a16="http://schemas.microsoft.com/office/drawing/2014/main" id="{08C5AAF3-2EAB-4F45-9664-88E9C0000541}"/>
                </a:ext>
              </a:extLst>
            </p:cNvPr>
            <p:cNvSpPr/>
            <p:nvPr/>
          </p:nvSpPr>
          <p:spPr>
            <a:xfrm rot="8716295">
              <a:off x="4518038" y="2988621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3" name="Forme libre : forme 582">
              <a:extLst>
                <a:ext uri="{FF2B5EF4-FFF2-40B4-BE49-F238E27FC236}">
                  <a16:creationId xmlns:a16="http://schemas.microsoft.com/office/drawing/2014/main" id="{638603A9-A80C-466B-8956-7709A279FB5A}"/>
                </a:ext>
              </a:extLst>
            </p:cNvPr>
            <p:cNvSpPr/>
            <p:nvPr/>
          </p:nvSpPr>
          <p:spPr>
            <a:xfrm rot="8716295">
              <a:off x="4280750" y="3208965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4" name="Forme libre : forme 583">
              <a:extLst>
                <a:ext uri="{FF2B5EF4-FFF2-40B4-BE49-F238E27FC236}">
                  <a16:creationId xmlns:a16="http://schemas.microsoft.com/office/drawing/2014/main" id="{A8E33E04-89D6-4F98-BAEF-EDE8630206B1}"/>
                </a:ext>
              </a:extLst>
            </p:cNvPr>
            <p:cNvSpPr/>
            <p:nvPr/>
          </p:nvSpPr>
          <p:spPr>
            <a:xfrm rot="8716295">
              <a:off x="4091704" y="289313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5" name="Forme libre : forme 584">
              <a:extLst>
                <a:ext uri="{FF2B5EF4-FFF2-40B4-BE49-F238E27FC236}">
                  <a16:creationId xmlns:a16="http://schemas.microsoft.com/office/drawing/2014/main" id="{A7666627-38C9-4B80-8E99-5407F0D530DB}"/>
                </a:ext>
              </a:extLst>
            </p:cNvPr>
            <p:cNvSpPr/>
            <p:nvPr/>
          </p:nvSpPr>
          <p:spPr>
            <a:xfrm rot="8716295">
              <a:off x="4073463" y="2683080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6" name="Forme libre : forme 585">
              <a:extLst>
                <a:ext uri="{FF2B5EF4-FFF2-40B4-BE49-F238E27FC236}">
                  <a16:creationId xmlns:a16="http://schemas.microsoft.com/office/drawing/2014/main" id="{898A3276-9FA7-4E65-A5A0-224B87B17902}"/>
                </a:ext>
              </a:extLst>
            </p:cNvPr>
            <p:cNvSpPr/>
            <p:nvPr/>
          </p:nvSpPr>
          <p:spPr>
            <a:xfrm rot="8716295">
              <a:off x="4417239" y="327094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7" name="Forme libre : forme 586">
              <a:extLst>
                <a:ext uri="{FF2B5EF4-FFF2-40B4-BE49-F238E27FC236}">
                  <a16:creationId xmlns:a16="http://schemas.microsoft.com/office/drawing/2014/main" id="{CF0A1147-FB9D-46F4-871B-248D48678B41}"/>
                </a:ext>
              </a:extLst>
            </p:cNvPr>
            <p:cNvSpPr/>
            <p:nvPr/>
          </p:nvSpPr>
          <p:spPr>
            <a:xfrm rot="8716295">
              <a:off x="4888185" y="2696334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8" name="Forme libre : forme 587">
              <a:extLst>
                <a:ext uri="{FF2B5EF4-FFF2-40B4-BE49-F238E27FC236}">
                  <a16:creationId xmlns:a16="http://schemas.microsoft.com/office/drawing/2014/main" id="{6D3AA320-C4A1-450B-B139-FAA6B857C782}"/>
                </a:ext>
              </a:extLst>
            </p:cNvPr>
            <p:cNvSpPr/>
            <p:nvPr/>
          </p:nvSpPr>
          <p:spPr>
            <a:xfrm rot="8716295">
              <a:off x="5023484" y="2740593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9" name="Forme libre : forme 588">
              <a:extLst>
                <a:ext uri="{FF2B5EF4-FFF2-40B4-BE49-F238E27FC236}">
                  <a16:creationId xmlns:a16="http://schemas.microsoft.com/office/drawing/2014/main" id="{2F150BFB-64B1-4976-855B-5F1B82B29D1E}"/>
                </a:ext>
              </a:extLst>
            </p:cNvPr>
            <p:cNvSpPr/>
            <p:nvPr/>
          </p:nvSpPr>
          <p:spPr>
            <a:xfrm rot="8716295">
              <a:off x="4718314" y="283034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0" name="Forme libre : forme 589">
              <a:extLst>
                <a:ext uri="{FF2B5EF4-FFF2-40B4-BE49-F238E27FC236}">
                  <a16:creationId xmlns:a16="http://schemas.microsoft.com/office/drawing/2014/main" id="{8612B4F0-1F44-4CE1-88B9-E057888AB1EF}"/>
                </a:ext>
              </a:extLst>
            </p:cNvPr>
            <p:cNvSpPr/>
            <p:nvPr/>
          </p:nvSpPr>
          <p:spPr>
            <a:xfrm rot="8716295">
              <a:off x="4529270" y="251451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1" name="Forme libre : forme 590">
              <a:extLst>
                <a:ext uri="{FF2B5EF4-FFF2-40B4-BE49-F238E27FC236}">
                  <a16:creationId xmlns:a16="http://schemas.microsoft.com/office/drawing/2014/main" id="{AEBD3D06-0DA7-425C-875C-E411E70FF11D}"/>
                </a:ext>
              </a:extLst>
            </p:cNvPr>
            <p:cNvSpPr/>
            <p:nvPr/>
          </p:nvSpPr>
          <p:spPr>
            <a:xfrm rot="8716295">
              <a:off x="4854803" y="2892332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2" name="Forme libre : forme 591">
              <a:extLst>
                <a:ext uri="{FF2B5EF4-FFF2-40B4-BE49-F238E27FC236}">
                  <a16:creationId xmlns:a16="http://schemas.microsoft.com/office/drawing/2014/main" id="{9199237A-0E56-4FAF-BB9D-EF00685C58E3}"/>
                </a:ext>
              </a:extLst>
            </p:cNvPr>
            <p:cNvSpPr/>
            <p:nvPr/>
          </p:nvSpPr>
          <p:spPr>
            <a:xfrm rot="8716295">
              <a:off x="4489356" y="2665906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3" name="Forme libre : forme 592">
              <a:extLst>
                <a:ext uri="{FF2B5EF4-FFF2-40B4-BE49-F238E27FC236}">
                  <a16:creationId xmlns:a16="http://schemas.microsoft.com/office/drawing/2014/main" id="{E963605C-F6B8-4C5B-92E3-0FAFE8235053}"/>
                </a:ext>
              </a:extLst>
            </p:cNvPr>
            <p:cNvSpPr/>
            <p:nvPr/>
          </p:nvSpPr>
          <p:spPr>
            <a:xfrm rot="7484129">
              <a:off x="5013620" y="318195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4" name="Forme libre : forme 593">
              <a:extLst>
                <a:ext uri="{FF2B5EF4-FFF2-40B4-BE49-F238E27FC236}">
                  <a16:creationId xmlns:a16="http://schemas.microsoft.com/office/drawing/2014/main" id="{1392E43B-D559-4A8D-AB98-72C488E4E1E8}"/>
                </a:ext>
              </a:extLst>
            </p:cNvPr>
            <p:cNvSpPr/>
            <p:nvPr/>
          </p:nvSpPr>
          <p:spPr>
            <a:xfrm rot="13089394">
              <a:off x="5172270" y="3131298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5" name="Forme libre : forme 594">
              <a:extLst>
                <a:ext uri="{FF2B5EF4-FFF2-40B4-BE49-F238E27FC236}">
                  <a16:creationId xmlns:a16="http://schemas.microsoft.com/office/drawing/2014/main" id="{EB748E85-117E-4407-87DE-3644DEF09573}"/>
                </a:ext>
              </a:extLst>
            </p:cNvPr>
            <p:cNvSpPr/>
            <p:nvPr/>
          </p:nvSpPr>
          <p:spPr>
            <a:xfrm rot="8716295">
              <a:off x="5453161" y="2841180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6" name="Forme libre : forme 595">
              <a:extLst>
                <a:ext uri="{FF2B5EF4-FFF2-40B4-BE49-F238E27FC236}">
                  <a16:creationId xmlns:a16="http://schemas.microsoft.com/office/drawing/2014/main" id="{22573B7D-D596-4F8E-9E39-A045BCC2CF63}"/>
                </a:ext>
              </a:extLst>
            </p:cNvPr>
            <p:cNvSpPr/>
            <p:nvPr/>
          </p:nvSpPr>
          <p:spPr>
            <a:xfrm rot="8716295">
              <a:off x="5374752" y="268438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7" name="Forme libre : forme 596">
              <a:extLst>
                <a:ext uri="{FF2B5EF4-FFF2-40B4-BE49-F238E27FC236}">
                  <a16:creationId xmlns:a16="http://schemas.microsoft.com/office/drawing/2014/main" id="{4677ED04-0D7E-49F5-B71E-0D622A62ADD4}"/>
                </a:ext>
              </a:extLst>
            </p:cNvPr>
            <p:cNvSpPr/>
            <p:nvPr/>
          </p:nvSpPr>
          <p:spPr>
            <a:xfrm rot="8716295">
              <a:off x="5006588" y="273012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8" name="Forme libre : forme 597">
              <a:extLst>
                <a:ext uri="{FF2B5EF4-FFF2-40B4-BE49-F238E27FC236}">
                  <a16:creationId xmlns:a16="http://schemas.microsoft.com/office/drawing/2014/main" id="{D2F582D4-EF44-4379-A334-2FAC2AC458E7}"/>
                </a:ext>
              </a:extLst>
            </p:cNvPr>
            <p:cNvSpPr/>
            <p:nvPr/>
          </p:nvSpPr>
          <p:spPr>
            <a:xfrm rot="8716295">
              <a:off x="5275170" y="2489109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9" name="Forme libre : forme 598">
              <a:extLst>
                <a:ext uri="{FF2B5EF4-FFF2-40B4-BE49-F238E27FC236}">
                  <a16:creationId xmlns:a16="http://schemas.microsoft.com/office/drawing/2014/main" id="{84900379-879C-4E94-8EC3-3B7984623CAD}"/>
                </a:ext>
              </a:extLst>
            </p:cNvPr>
            <p:cNvSpPr/>
            <p:nvPr/>
          </p:nvSpPr>
          <p:spPr>
            <a:xfrm rot="8716295">
              <a:off x="4788394" y="407343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0" name="Forme libre : forme 599">
              <a:extLst>
                <a:ext uri="{FF2B5EF4-FFF2-40B4-BE49-F238E27FC236}">
                  <a16:creationId xmlns:a16="http://schemas.microsoft.com/office/drawing/2014/main" id="{4DC88A19-D799-4F8F-A66E-7F483954A8CF}"/>
                </a:ext>
              </a:extLst>
            </p:cNvPr>
            <p:cNvSpPr/>
            <p:nvPr/>
          </p:nvSpPr>
          <p:spPr>
            <a:xfrm rot="8716295">
              <a:off x="4923693" y="411769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1" name="Forme libre : forme 600">
              <a:extLst>
                <a:ext uri="{FF2B5EF4-FFF2-40B4-BE49-F238E27FC236}">
                  <a16:creationId xmlns:a16="http://schemas.microsoft.com/office/drawing/2014/main" id="{CC17534A-6773-4440-8E50-D7605DA4316B}"/>
                </a:ext>
              </a:extLst>
            </p:cNvPr>
            <p:cNvSpPr/>
            <p:nvPr/>
          </p:nvSpPr>
          <p:spPr>
            <a:xfrm rot="8716295">
              <a:off x="4855811" y="3987104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2" name="Forme libre : forme 601">
              <a:extLst>
                <a:ext uri="{FF2B5EF4-FFF2-40B4-BE49-F238E27FC236}">
                  <a16:creationId xmlns:a16="http://schemas.microsoft.com/office/drawing/2014/main" id="{72B2A07E-B506-443A-AB4D-FF9B71599735}"/>
                </a:ext>
              </a:extLst>
            </p:cNvPr>
            <p:cNvSpPr/>
            <p:nvPr/>
          </p:nvSpPr>
          <p:spPr>
            <a:xfrm rot="8716295">
              <a:off x="4618523" y="420744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3" name="Forme libre : forme 602">
              <a:extLst>
                <a:ext uri="{FF2B5EF4-FFF2-40B4-BE49-F238E27FC236}">
                  <a16:creationId xmlns:a16="http://schemas.microsoft.com/office/drawing/2014/main" id="{D19F9C0D-4352-499E-998A-34B9B0D7C7E9}"/>
                </a:ext>
              </a:extLst>
            </p:cNvPr>
            <p:cNvSpPr/>
            <p:nvPr/>
          </p:nvSpPr>
          <p:spPr>
            <a:xfrm rot="8716295">
              <a:off x="4429477" y="389161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4" name="Forme libre : forme 603">
              <a:extLst>
                <a:ext uri="{FF2B5EF4-FFF2-40B4-BE49-F238E27FC236}">
                  <a16:creationId xmlns:a16="http://schemas.microsoft.com/office/drawing/2014/main" id="{9C16ADD0-4CDE-43CE-BCE7-346E01482261}"/>
                </a:ext>
              </a:extLst>
            </p:cNvPr>
            <p:cNvSpPr/>
            <p:nvPr/>
          </p:nvSpPr>
          <p:spPr>
            <a:xfrm rot="8716295">
              <a:off x="4411236" y="3681563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5" name="Forme libre : forme 604">
              <a:extLst>
                <a:ext uri="{FF2B5EF4-FFF2-40B4-BE49-F238E27FC236}">
                  <a16:creationId xmlns:a16="http://schemas.microsoft.com/office/drawing/2014/main" id="{DF85051C-5928-4ACB-ABB6-0438F99C942D}"/>
                </a:ext>
              </a:extLst>
            </p:cNvPr>
            <p:cNvSpPr/>
            <p:nvPr/>
          </p:nvSpPr>
          <p:spPr>
            <a:xfrm rot="8716295">
              <a:off x="4755012" y="4269431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6" name="Forme libre : forme 605">
              <a:extLst>
                <a:ext uri="{FF2B5EF4-FFF2-40B4-BE49-F238E27FC236}">
                  <a16:creationId xmlns:a16="http://schemas.microsoft.com/office/drawing/2014/main" id="{8C93F37A-4AE0-46A6-B51D-241F87B310EC}"/>
                </a:ext>
              </a:extLst>
            </p:cNvPr>
            <p:cNvSpPr/>
            <p:nvPr/>
          </p:nvSpPr>
          <p:spPr>
            <a:xfrm rot="8716295">
              <a:off x="5225958" y="3694817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7" name="Forme libre : forme 606">
              <a:extLst>
                <a:ext uri="{FF2B5EF4-FFF2-40B4-BE49-F238E27FC236}">
                  <a16:creationId xmlns:a16="http://schemas.microsoft.com/office/drawing/2014/main" id="{D8EF92CC-16CE-4344-A7B3-112501178C1C}"/>
                </a:ext>
              </a:extLst>
            </p:cNvPr>
            <p:cNvSpPr/>
            <p:nvPr/>
          </p:nvSpPr>
          <p:spPr>
            <a:xfrm rot="8716295">
              <a:off x="5364349" y="3753375"/>
              <a:ext cx="325540" cy="385611"/>
            </a:xfrm>
            <a:custGeom>
              <a:avLst/>
              <a:gdLst>
                <a:gd name="connsiteX0" fmla="*/ 8983 w 325540"/>
                <a:gd name="connsiteY0" fmla="*/ 385611 h 385611"/>
                <a:gd name="connsiteX1" fmla="*/ 8983 w 325540"/>
                <a:gd name="connsiteY1" fmla="*/ 69053 h 385611"/>
                <a:gd name="connsiteX2" fmla="*/ 0 w 325540"/>
                <a:gd name="connsiteY2" fmla="*/ 69053 h 385611"/>
                <a:gd name="connsiteX3" fmla="*/ 55019 w 325540"/>
                <a:gd name="connsiteY3" fmla="*/ 2157 h 385611"/>
                <a:gd name="connsiteX4" fmla="*/ 89675 w 325540"/>
                <a:gd name="connsiteY4" fmla="*/ 2156 h 385611"/>
                <a:gd name="connsiteX5" fmla="*/ 89674 w 325540"/>
                <a:gd name="connsiteY5" fmla="*/ 113882 h 385611"/>
                <a:gd name="connsiteX6" fmla="*/ 91743 w 325540"/>
                <a:gd name="connsiteY6" fmla="*/ 113882 h 385611"/>
                <a:gd name="connsiteX7" fmla="*/ 164159 w 325540"/>
                <a:gd name="connsiteY7" fmla="*/ 9053 h 385611"/>
                <a:gd name="connsiteX8" fmla="*/ 211745 w 325540"/>
                <a:gd name="connsiteY8" fmla="*/ 87 h 385611"/>
                <a:gd name="connsiteX9" fmla="*/ 325540 w 325540"/>
                <a:gd name="connsiteY9" fmla="*/ 133882 h 385611"/>
                <a:gd name="connsiteX10" fmla="*/ 325540 w 325540"/>
                <a:gd name="connsiteY10" fmla="*/ 142848 h 385611"/>
                <a:gd name="connsiteX11" fmla="*/ 231746 w 325540"/>
                <a:gd name="connsiteY11" fmla="*/ 148366 h 385611"/>
                <a:gd name="connsiteX12" fmla="*/ 231746 w 325540"/>
                <a:gd name="connsiteY12" fmla="*/ 123538 h 385611"/>
                <a:gd name="connsiteX13" fmla="*/ 180710 w 325540"/>
                <a:gd name="connsiteY13" fmla="*/ 60778 h 385611"/>
                <a:gd name="connsiteX14" fmla="*/ 100020 w 325540"/>
                <a:gd name="connsiteY14" fmla="*/ 193194 h 385611"/>
                <a:gd name="connsiteX15" fmla="*/ 100020 w 325540"/>
                <a:gd name="connsiteY15" fmla="*/ 323541 h 385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5540" h="385611">
                  <a:moveTo>
                    <a:pt x="8983" y="385611"/>
                  </a:moveTo>
                  <a:lnTo>
                    <a:pt x="8983" y="69053"/>
                  </a:lnTo>
                  <a:lnTo>
                    <a:pt x="0" y="69053"/>
                  </a:lnTo>
                  <a:lnTo>
                    <a:pt x="55019" y="2157"/>
                  </a:lnTo>
                  <a:lnTo>
                    <a:pt x="89675" y="2156"/>
                  </a:lnTo>
                  <a:lnTo>
                    <a:pt x="89674" y="113882"/>
                  </a:lnTo>
                  <a:lnTo>
                    <a:pt x="91743" y="113882"/>
                  </a:lnTo>
                  <a:cubicBezTo>
                    <a:pt x="113813" y="48363"/>
                    <a:pt x="131055" y="22846"/>
                    <a:pt x="164159" y="9053"/>
                  </a:cubicBezTo>
                  <a:cubicBezTo>
                    <a:pt x="179331" y="2846"/>
                    <a:pt x="195193" y="-602"/>
                    <a:pt x="211745" y="87"/>
                  </a:cubicBezTo>
                  <a:cubicBezTo>
                    <a:pt x="282781" y="-1293"/>
                    <a:pt x="325540" y="48363"/>
                    <a:pt x="325540" y="133882"/>
                  </a:cubicBezTo>
                  <a:lnTo>
                    <a:pt x="325540" y="142848"/>
                  </a:lnTo>
                  <a:lnTo>
                    <a:pt x="231746" y="148366"/>
                  </a:lnTo>
                  <a:lnTo>
                    <a:pt x="231746" y="123538"/>
                  </a:lnTo>
                  <a:cubicBezTo>
                    <a:pt x="231746" y="86296"/>
                    <a:pt x="210367" y="60778"/>
                    <a:pt x="180710" y="60778"/>
                  </a:cubicBezTo>
                  <a:cubicBezTo>
                    <a:pt x="136572" y="60777"/>
                    <a:pt x="100020" y="119400"/>
                    <a:pt x="100020" y="193194"/>
                  </a:cubicBezTo>
                  <a:lnTo>
                    <a:pt x="100020" y="3235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8" name="Forme libre : forme 607">
              <a:extLst>
                <a:ext uri="{FF2B5EF4-FFF2-40B4-BE49-F238E27FC236}">
                  <a16:creationId xmlns:a16="http://schemas.microsoft.com/office/drawing/2014/main" id="{18839B14-F1F7-42D0-B065-28068F2B762B}"/>
                </a:ext>
              </a:extLst>
            </p:cNvPr>
            <p:cNvSpPr/>
            <p:nvPr/>
          </p:nvSpPr>
          <p:spPr>
            <a:xfrm rot="8716295">
              <a:off x="5056087" y="382883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9" name="Forme libre : forme 608">
              <a:extLst>
                <a:ext uri="{FF2B5EF4-FFF2-40B4-BE49-F238E27FC236}">
                  <a16:creationId xmlns:a16="http://schemas.microsoft.com/office/drawing/2014/main" id="{CCDA1945-4FFF-4C89-8478-EEDA05E07334}"/>
                </a:ext>
              </a:extLst>
            </p:cNvPr>
            <p:cNvSpPr/>
            <p:nvPr/>
          </p:nvSpPr>
          <p:spPr>
            <a:xfrm rot="8716295">
              <a:off x="4867043" y="351299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0" name="Forme libre : forme 609">
              <a:extLst>
                <a:ext uri="{FF2B5EF4-FFF2-40B4-BE49-F238E27FC236}">
                  <a16:creationId xmlns:a16="http://schemas.microsoft.com/office/drawing/2014/main" id="{62D52373-0C12-4466-A8A9-9FB4F9E50F37}"/>
                </a:ext>
              </a:extLst>
            </p:cNvPr>
            <p:cNvSpPr/>
            <p:nvPr/>
          </p:nvSpPr>
          <p:spPr>
            <a:xfrm rot="8716295">
              <a:off x="5192576" y="3890815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1" name="Forme libre : forme 610">
              <a:extLst>
                <a:ext uri="{FF2B5EF4-FFF2-40B4-BE49-F238E27FC236}">
                  <a16:creationId xmlns:a16="http://schemas.microsoft.com/office/drawing/2014/main" id="{9271E668-535D-45B8-BD34-6BB53627D632}"/>
                </a:ext>
              </a:extLst>
            </p:cNvPr>
            <p:cNvSpPr/>
            <p:nvPr/>
          </p:nvSpPr>
          <p:spPr>
            <a:xfrm rot="8716295">
              <a:off x="4827129" y="3664389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2" name="Forme libre : forme 611">
              <a:extLst>
                <a:ext uri="{FF2B5EF4-FFF2-40B4-BE49-F238E27FC236}">
                  <a16:creationId xmlns:a16="http://schemas.microsoft.com/office/drawing/2014/main" id="{68DD2D01-279E-4C98-9559-7C375E83C268}"/>
                </a:ext>
              </a:extLst>
            </p:cNvPr>
            <p:cNvSpPr/>
            <p:nvPr/>
          </p:nvSpPr>
          <p:spPr>
            <a:xfrm rot="7484129">
              <a:off x="5351393" y="418043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3" name="Forme libre : forme 612">
              <a:extLst>
                <a:ext uri="{FF2B5EF4-FFF2-40B4-BE49-F238E27FC236}">
                  <a16:creationId xmlns:a16="http://schemas.microsoft.com/office/drawing/2014/main" id="{4FF8E845-ABCD-4D75-BF78-6E50EC36768A}"/>
                </a:ext>
              </a:extLst>
            </p:cNvPr>
            <p:cNvSpPr/>
            <p:nvPr/>
          </p:nvSpPr>
          <p:spPr>
            <a:xfrm rot="13089394">
              <a:off x="5497067" y="4157639"/>
              <a:ext cx="336155" cy="433969"/>
            </a:xfrm>
            <a:custGeom>
              <a:avLst/>
              <a:gdLst>
                <a:gd name="connsiteX0" fmla="*/ 23241 w 222098"/>
                <a:gd name="connsiteY0" fmla="*/ 47275 h 286724"/>
                <a:gd name="connsiteX1" fmla="*/ 0 w 222098"/>
                <a:gd name="connsiteY1" fmla="*/ 11882 h 286724"/>
                <a:gd name="connsiteX2" fmla="*/ 22902 w 222098"/>
                <a:gd name="connsiteY2" fmla="*/ 0 h 286724"/>
                <a:gd name="connsiteX3" fmla="*/ 222098 w 222098"/>
                <a:gd name="connsiteY3" fmla="*/ 258238 h 286724"/>
                <a:gd name="connsiteX4" fmla="*/ 180472 w 222098"/>
                <a:gd name="connsiteY4" fmla="*/ 286724 h 286724"/>
                <a:gd name="connsiteX5" fmla="*/ 167667 w 222098"/>
                <a:gd name="connsiteY5" fmla="*/ 267224 h 286724"/>
                <a:gd name="connsiteX6" fmla="*/ 220995 w 222098"/>
                <a:gd name="connsiteY6" fmla="*/ 245547 h 286724"/>
                <a:gd name="connsiteX7" fmla="*/ 222098 w 222098"/>
                <a:gd name="connsiteY7" fmla="*/ 252720 h 286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2098" h="286724">
                  <a:moveTo>
                    <a:pt x="23241" y="47275"/>
                  </a:moveTo>
                  <a:lnTo>
                    <a:pt x="0" y="11882"/>
                  </a:lnTo>
                  <a:lnTo>
                    <a:pt x="22902" y="0"/>
                  </a:lnTo>
                  <a:close/>
                  <a:moveTo>
                    <a:pt x="222098" y="258238"/>
                  </a:moveTo>
                  <a:lnTo>
                    <a:pt x="180472" y="286724"/>
                  </a:lnTo>
                  <a:lnTo>
                    <a:pt x="167667" y="267224"/>
                  </a:lnTo>
                  <a:lnTo>
                    <a:pt x="220995" y="245547"/>
                  </a:lnTo>
                  <a:cubicBezTo>
                    <a:pt x="221546" y="247754"/>
                    <a:pt x="222098" y="250513"/>
                    <a:pt x="222098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4" name="Forme libre : forme 613">
              <a:extLst>
                <a:ext uri="{FF2B5EF4-FFF2-40B4-BE49-F238E27FC236}">
                  <a16:creationId xmlns:a16="http://schemas.microsoft.com/office/drawing/2014/main" id="{F78027CB-C390-4FC7-AC35-674EC7B9F409}"/>
                </a:ext>
              </a:extLst>
            </p:cNvPr>
            <p:cNvSpPr/>
            <p:nvPr/>
          </p:nvSpPr>
          <p:spPr>
            <a:xfrm rot="8716295">
              <a:off x="5689139" y="3701707"/>
              <a:ext cx="105382" cy="119090"/>
            </a:xfrm>
            <a:custGeom>
              <a:avLst/>
              <a:gdLst>
                <a:gd name="connsiteX0" fmla="*/ 0 w 69626"/>
                <a:gd name="connsiteY0" fmla="*/ 74288 h 78683"/>
                <a:gd name="connsiteX1" fmla="*/ 61446 w 69626"/>
                <a:gd name="connsiteY1" fmla="*/ 0 h 78683"/>
                <a:gd name="connsiteX2" fmla="*/ 69626 w 69626"/>
                <a:gd name="connsiteY2" fmla="*/ 19468 h 78683"/>
                <a:gd name="connsiteX3" fmla="*/ 52380 w 69626"/>
                <a:gd name="connsiteY3" fmla="*/ 61206 h 78683"/>
                <a:gd name="connsiteX4" fmla="*/ 10986 w 69626"/>
                <a:gd name="connsiteY4" fmla="*/ 78683 h 78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626" h="78683">
                  <a:moveTo>
                    <a:pt x="0" y="74288"/>
                  </a:moveTo>
                  <a:lnTo>
                    <a:pt x="61446" y="0"/>
                  </a:lnTo>
                  <a:lnTo>
                    <a:pt x="69626" y="19468"/>
                  </a:lnTo>
                  <a:cubicBezTo>
                    <a:pt x="69626" y="34531"/>
                    <a:pt x="63877" y="49708"/>
                    <a:pt x="52380" y="61206"/>
                  </a:cubicBezTo>
                  <a:cubicBezTo>
                    <a:pt x="41341" y="72244"/>
                    <a:pt x="26624" y="78683"/>
                    <a:pt x="10986" y="786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5" name="Forme libre : forme 614">
              <a:extLst>
                <a:ext uri="{FF2B5EF4-FFF2-40B4-BE49-F238E27FC236}">
                  <a16:creationId xmlns:a16="http://schemas.microsoft.com/office/drawing/2014/main" id="{CDCDCD36-D509-4E07-A579-1A4701D840AC}"/>
                </a:ext>
              </a:extLst>
            </p:cNvPr>
            <p:cNvSpPr/>
            <p:nvPr/>
          </p:nvSpPr>
          <p:spPr>
            <a:xfrm rot="8716295">
              <a:off x="5344361" y="372861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6" name="Forme libre : forme 615">
              <a:extLst>
                <a:ext uri="{FF2B5EF4-FFF2-40B4-BE49-F238E27FC236}">
                  <a16:creationId xmlns:a16="http://schemas.microsoft.com/office/drawing/2014/main" id="{8F810203-59B0-4DA5-A5DC-8690A9A9B005}"/>
                </a:ext>
              </a:extLst>
            </p:cNvPr>
            <p:cNvSpPr/>
            <p:nvPr/>
          </p:nvSpPr>
          <p:spPr>
            <a:xfrm rot="8716295">
              <a:off x="5599943" y="3480521"/>
              <a:ext cx="177855" cy="178203"/>
            </a:xfrm>
            <a:custGeom>
              <a:avLst/>
              <a:gdLst>
                <a:gd name="connsiteX0" fmla="*/ 17477 w 117509"/>
                <a:gd name="connsiteY0" fmla="*/ 101182 h 117739"/>
                <a:gd name="connsiteX1" fmla="*/ 0 w 117509"/>
                <a:gd name="connsiteY1" fmla="*/ 59790 h 117739"/>
                <a:gd name="connsiteX2" fmla="*/ 0 w 117509"/>
                <a:gd name="connsiteY2" fmla="*/ 58869 h 117739"/>
                <a:gd name="connsiteX3" fmla="*/ 2091 w 117509"/>
                <a:gd name="connsiteY3" fmla="*/ 48678 h 117739"/>
                <a:gd name="connsiteX4" fmla="*/ 38978 w 117509"/>
                <a:gd name="connsiteY4" fmla="*/ 4080 h 117739"/>
                <a:gd name="connsiteX5" fmla="*/ 58869 w 117509"/>
                <a:gd name="connsiteY5" fmla="*/ 0 h 117739"/>
                <a:gd name="connsiteX6" fmla="*/ 100263 w 117509"/>
                <a:gd name="connsiteY6" fmla="*/ 17477 h 117739"/>
                <a:gd name="connsiteX7" fmla="*/ 100263 w 117509"/>
                <a:gd name="connsiteY7" fmla="*/ 100262 h 117739"/>
                <a:gd name="connsiteX8" fmla="*/ 58869 w 117509"/>
                <a:gd name="connsiteY8" fmla="*/ 117739 h 117739"/>
                <a:gd name="connsiteX9" fmla="*/ 17477 w 117509"/>
                <a:gd name="connsiteY9" fmla="*/ 101182 h 117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09" h="117739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lnTo>
                    <a:pt x="2091" y="48678"/>
                  </a:lnTo>
                  <a:lnTo>
                    <a:pt x="38978" y="4080"/>
                  </a:lnTo>
                  <a:lnTo>
                    <a:pt x="58869" y="0"/>
                  </a:lnTo>
                  <a:cubicBezTo>
                    <a:pt x="74507" y="0"/>
                    <a:pt x="89224" y="6439"/>
                    <a:pt x="100263" y="17477"/>
                  </a:cubicBezTo>
                  <a:cubicBezTo>
                    <a:pt x="123258" y="39553"/>
                    <a:pt x="123258" y="77266"/>
                    <a:pt x="100263" y="100262"/>
                  </a:cubicBezTo>
                  <a:cubicBezTo>
                    <a:pt x="89224" y="111300"/>
                    <a:pt x="74507" y="117739"/>
                    <a:pt x="58869" y="117739"/>
                  </a:cubicBezTo>
                  <a:cubicBezTo>
                    <a:pt x="43233" y="117739"/>
                    <a:pt x="28515" y="112220"/>
                    <a:pt x="17477" y="10118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7" name="Forme libre : forme 616">
              <a:extLst>
                <a:ext uri="{FF2B5EF4-FFF2-40B4-BE49-F238E27FC236}">
                  <a16:creationId xmlns:a16="http://schemas.microsoft.com/office/drawing/2014/main" id="{B4D6BED0-10F3-4D86-8E3C-AFD0F7AE9965}"/>
                </a:ext>
              </a:extLst>
            </p:cNvPr>
            <p:cNvSpPr/>
            <p:nvPr/>
          </p:nvSpPr>
          <p:spPr>
            <a:xfrm rot="8716295">
              <a:off x="5090746" y="5117279"/>
              <a:ext cx="37096" cy="40385"/>
            </a:xfrm>
            <a:custGeom>
              <a:avLst/>
              <a:gdLst>
                <a:gd name="connsiteX0" fmla="*/ 0 w 37096"/>
                <a:gd name="connsiteY0" fmla="*/ 40385 h 40385"/>
                <a:gd name="connsiteX1" fmla="*/ 0 w 37096"/>
                <a:gd name="connsiteY1" fmla="*/ 0 h 40385"/>
                <a:gd name="connsiteX2" fmla="*/ 37096 w 37096"/>
                <a:gd name="connsiteY2" fmla="*/ 25713 h 40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096" h="40385">
                  <a:moveTo>
                    <a:pt x="0" y="40385"/>
                  </a:moveTo>
                  <a:lnTo>
                    <a:pt x="0" y="0"/>
                  </a:lnTo>
                  <a:lnTo>
                    <a:pt x="37096" y="2571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8" name="Forme libre : forme 617">
              <a:extLst>
                <a:ext uri="{FF2B5EF4-FFF2-40B4-BE49-F238E27FC236}">
                  <a16:creationId xmlns:a16="http://schemas.microsoft.com/office/drawing/2014/main" id="{0465DE69-E687-46E9-B069-E127CC514DB0}"/>
                </a:ext>
              </a:extLst>
            </p:cNvPr>
            <p:cNvSpPr/>
            <p:nvPr/>
          </p:nvSpPr>
          <p:spPr>
            <a:xfrm rot="8716295">
              <a:off x="5405706" y="5085046"/>
              <a:ext cx="60406" cy="83058"/>
            </a:xfrm>
            <a:custGeom>
              <a:avLst/>
              <a:gdLst>
                <a:gd name="connsiteX0" fmla="*/ 0 w 60406"/>
                <a:gd name="connsiteY0" fmla="*/ 83058 h 83058"/>
                <a:gd name="connsiteX1" fmla="*/ 0 w 60406"/>
                <a:gd name="connsiteY1" fmla="*/ 0 h 83058"/>
                <a:gd name="connsiteX2" fmla="*/ 60406 w 60406"/>
                <a:gd name="connsiteY2" fmla="*/ 41872 h 83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406" h="83058">
                  <a:moveTo>
                    <a:pt x="0" y="83058"/>
                  </a:moveTo>
                  <a:lnTo>
                    <a:pt x="0" y="0"/>
                  </a:lnTo>
                  <a:lnTo>
                    <a:pt x="60406" y="4187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9" name="Forme libre : forme 618">
              <a:extLst>
                <a:ext uri="{FF2B5EF4-FFF2-40B4-BE49-F238E27FC236}">
                  <a16:creationId xmlns:a16="http://schemas.microsoft.com/office/drawing/2014/main" id="{1225017D-5B5E-4D56-9AE0-45594E8EF6FF}"/>
                </a:ext>
              </a:extLst>
            </p:cNvPr>
            <p:cNvSpPr/>
            <p:nvPr/>
          </p:nvSpPr>
          <p:spPr>
            <a:xfrm rot="8716295">
              <a:off x="5207014" y="4975218"/>
              <a:ext cx="245211" cy="161994"/>
            </a:xfrm>
            <a:custGeom>
              <a:avLst/>
              <a:gdLst>
                <a:gd name="connsiteX0" fmla="*/ 8965 w 245211"/>
                <a:gd name="connsiteY0" fmla="*/ 161994 h 161994"/>
                <a:gd name="connsiteX1" fmla="*/ 0 w 245211"/>
                <a:gd name="connsiteY1" fmla="*/ 149580 h 161994"/>
                <a:gd name="connsiteX2" fmla="*/ 158971 w 245211"/>
                <a:gd name="connsiteY2" fmla="*/ 0 h 161994"/>
                <a:gd name="connsiteX3" fmla="*/ 245211 w 245211"/>
                <a:gd name="connsiteY3" fmla="*/ 59779 h 161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211" h="161994">
                  <a:moveTo>
                    <a:pt x="8965" y="161994"/>
                  </a:moveTo>
                  <a:lnTo>
                    <a:pt x="0" y="149580"/>
                  </a:lnTo>
                  <a:lnTo>
                    <a:pt x="158971" y="0"/>
                  </a:lnTo>
                  <a:lnTo>
                    <a:pt x="245211" y="5977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0" name="Forme libre : forme 619">
              <a:extLst>
                <a:ext uri="{FF2B5EF4-FFF2-40B4-BE49-F238E27FC236}">
                  <a16:creationId xmlns:a16="http://schemas.microsoft.com/office/drawing/2014/main" id="{AD260E0B-5D9F-4830-8DFF-9C5C4BD9CAC9}"/>
                </a:ext>
              </a:extLst>
            </p:cNvPr>
            <p:cNvSpPr/>
            <p:nvPr/>
          </p:nvSpPr>
          <p:spPr>
            <a:xfrm rot="8716295">
              <a:off x="4807372" y="4871188"/>
              <a:ext cx="249519" cy="296463"/>
            </a:xfrm>
            <a:custGeom>
              <a:avLst/>
              <a:gdLst>
                <a:gd name="connsiteX0" fmla="*/ 137293 w 249519"/>
                <a:gd name="connsiteY0" fmla="*/ 296463 h 296463"/>
                <a:gd name="connsiteX1" fmla="*/ 72418 w 249519"/>
                <a:gd name="connsiteY1" fmla="*/ 175766 h 296463"/>
                <a:gd name="connsiteX2" fmla="*/ 105610 w 249519"/>
                <a:gd name="connsiteY2" fmla="*/ 83734 h 296463"/>
                <a:gd name="connsiteX3" fmla="*/ 0 w 249519"/>
                <a:gd name="connsiteY3" fmla="*/ 83734 h 296463"/>
                <a:gd name="connsiteX4" fmla="*/ 0 w 249519"/>
                <a:gd name="connsiteY4" fmla="*/ 0 h 296463"/>
                <a:gd name="connsiteX5" fmla="*/ 128719 w 249519"/>
                <a:gd name="connsiteY5" fmla="*/ 0 h 296463"/>
                <a:gd name="connsiteX6" fmla="*/ 249519 w 249519"/>
                <a:gd name="connsiteY6" fmla="*/ 83734 h 296463"/>
                <a:gd name="connsiteX7" fmla="*/ 210465 w 249519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9519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128719" y="0"/>
                  </a:lnTo>
                  <a:lnTo>
                    <a:pt x="249519" y="83734"/>
                  </a:lnTo>
                  <a:lnTo>
                    <a:pt x="210465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1" name="Forme libre : forme 620">
              <a:extLst>
                <a:ext uri="{FF2B5EF4-FFF2-40B4-BE49-F238E27FC236}">
                  <a16:creationId xmlns:a16="http://schemas.microsoft.com/office/drawing/2014/main" id="{09F80257-FE3C-4D05-BA6D-6880C235959D}"/>
                </a:ext>
              </a:extLst>
            </p:cNvPr>
            <p:cNvSpPr/>
            <p:nvPr/>
          </p:nvSpPr>
          <p:spPr>
            <a:xfrm rot="8716295">
              <a:off x="4742203" y="467807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2" name="Forme libre : forme 621">
              <a:extLst>
                <a:ext uri="{FF2B5EF4-FFF2-40B4-BE49-F238E27FC236}">
                  <a16:creationId xmlns:a16="http://schemas.microsoft.com/office/drawing/2014/main" id="{3B04E0F0-2B8C-4F06-AF5E-7DEBDFF41168}"/>
                </a:ext>
              </a:extLst>
            </p:cNvPr>
            <p:cNvSpPr/>
            <p:nvPr/>
          </p:nvSpPr>
          <p:spPr>
            <a:xfrm rot="8716295">
              <a:off x="5548192" y="4732447"/>
              <a:ext cx="92415" cy="287093"/>
            </a:xfrm>
            <a:custGeom>
              <a:avLst/>
              <a:gdLst>
                <a:gd name="connsiteX0" fmla="*/ 0 w 61059"/>
                <a:gd name="connsiteY0" fmla="*/ 189683 h 189683"/>
                <a:gd name="connsiteX1" fmla="*/ 1 w 61059"/>
                <a:gd name="connsiteY1" fmla="*/ 70355 h 189683"/>
                <a:gd name="connsiteX2" fmla="*/ 58192 w 61059"/>
                <a:gd name="connsiteY2" fmla="*/ 0 h 189683"/>
                <a:gd name="connsiteX3" fmla="*/ 61059 w 61059"/>
                <a:gd name="connsiteY3" fmla="*/ 7418 h 189683"/>
                <a:gd name="connsiteX4" fmla="*/ 61059 w 61059"/>
                <a:gd name="connsiteY4" fmla="*/ 165533 h 189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59" h="189683">
                  <a:moveTo>
                    <a:pt x="0" y="189683"/>
                  </a:moveTo>
                  <a:lnTo>
                    <a:pt x="1" y="70355"/>
                  </a:lnTo>
                  <a:lnTo>
                    <a:pt x="58192" y="0"/>
                  </a:lnTo>
                  <a:lnTo>
                    <a:pt x="61059" y="7418"/>
                  </a:lnTo>
                  <a:lnTo>
                    <a:pt x="61059" y="1655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3" name="Forme libre : forme 622">
              <a:extLst>
                <a:ext uri="{FF2B5EF4-FFF2-40B4-BE49-F238E27FC236}">
                  <a16:creationId xmlns:a16="http://schemas.microsoft.com/office/drawing/2014/main" id="{E573200C-FAAB-40A5-A9EF-BD61E3F76A6C}"/>
                </a:ext>
              </a:extLst>
            </p:cNvPr>
            <p:cNvSpPr/>
            <p:nvPr/>
          </p:nvSpPr>
          <p:spPr>
            <a:xfrm rot="8716295">
              <a:off x="5387054" y="482534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4" name="Forme libre : forme 623">
              <a:extLst>
                <a:ext uri="{FF2B5EF4-FFF2-40B4-BE49-F238E27FC236}">
                  <a16:creationId xmlns:a16="http://schemas.microsoft.com/office/drawing/2014/main" id="{19C3230C-28AF-420E-9755-6F859DFAE8B6}"/>
                </a:ext>
              </a:extLst>
            </p:cNvPr>
            <p:cNvSpPr/>
            <p:nvPr/>
          </p:nvSpPr>
          <p:spPr>
            <a:xfrm rot="8716295">
              <a:off x="5198009" y="450950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5" name="Forme libre : forme 624">
              <a:extLst>
                <a:ext uri="{FF2B5EF4-FFF2-40B4-BE49-F238E27FC236}">
                  <a16:creationId xmlns:a16="http://schemas.microsoft.com/office/drawing/2014/main" id="{2E8CBA65-23E2-44CB-B992-A6497F02B6BB}"/>
                </a:ext>
              </a:extLst>
            </p:cNvPr>
            <p:cNvSpPr/>
            <p:nvPr/>
          </p:nvSpPr>
          <p:spPr>
            <a:xfrm rot="8716295">
              <a:off x="5503997" y="4913234"/>
              <a:ext cx="91035" cy="258752"/>
            </a:xfrm>
            <a:custGeom>
              <a:avLst/>
              <a:gdLst>
                <a:gd name="connsiteX0" fmla="*/ 91035 w 91035"/>
                <a:gd name="connsiteY0" fmla="*/ 258752 h 258752"/>
                <a:gd name="connsiteX1" fmla="*/ 0 w 91035"/>
                <a:gd name="connsiteY1" fmla="*/ 171163 h 258752"/>
                <a:gd name="connsiteX2" fmla="*/ 0 w 91035"/>
                <a:gd name="connsiteY2" fmla="*/ 43487 h 258752"/>
                <a:gd name="connsiteX3" fmla="*/ 35968 w 91035"/>
                <a:gd name="connsiteY3" fmla="*/ 0 h 258752"/>
                <a:gd name="connsiteX4" fmla="*/ 91035 w 91035"/>
                <a:gd name="connsiteY4" fmla="*/ 38170 h 258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035" h="258752">
                  <a:moveTo>
                    <a:pt x="91035" y="258752"/>
                  </a:moveTo>
                  <a:lnTo>
                    <a:pt x="0" y="171163"/>
                  </a:lnTo>
                  <a:lnTo>
                    <a:pt x="0" y="43487"/>
                  </a:lnTo>
                  <a:lnTo>
                    <a:pt x="35968" y="0"/>
                  </a:lnTo>
                  <a:lnTo>
                    <a:pt x="91035" y="3817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6" name="Forme libre : forme 625">
              <a:extLst>
                <a:ext uri="{FF2B5EF4-FFF2-40B4-BE49-F238E27FC236}">
                  <a16:creationId xmlns:a16="http://schemas.microsoft.com/office/drawing/2014/main" id="{B26AA3BD-AADA-4372-BD8D-21473C57A651}"/>
                </a:ext>
              </a:extLst>
            </p:cNvPr>
            <p:cNvSpPr/>
            <p:nvPr/>
          </p:nvSpPr>
          <p:spPr>
            <a:xfrm rot="8716295">
              <a:off x="5158096" y="466090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7" name="Forme libre : forme 626">
              <a:extLst>
                <a:ext uri="{FF2B5EF4-FFF2-40B4-BE49-F238E27FC236}">
                  <a16:creationId xmlns:a16="http://schemas.microsoft.com/office/drawing/2014/main" id="{547464F3-A56B-40EE-B7D7-F8D6AA7FE193}"/>
                </a:ext>
              </a:extLst>
            </p:cNvPr>
            <p:cNvSpPr/>
            <p:nvPr/>
          </p:nvSpPr>
          <p:spPr>
            <a:xfrm rot="8716295">
              <a:off x="4115344" y="2074537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8" name="Forme libre : forme 627">
              <a:extLst>
                <a:ext uri="{FF2B5EF4-FFF2-40B4-BE49-F238E27FC236}">
                  <a16:creationId xmlns:a16="http://schemas.microsoft.com/office/drawing/2014/main" id="{7B5D832C-BA75-4D29-B114-1E47C4BAE490}"/>
                </a:ext>
              </a:extLst>
            </p:cNvPr>
            <p:cNvSpPr/>
            <p:nvPr/>
          </p:nvSpPr>
          <p:spPr>
            <a:xfrm rot="8716295">
              <a:off x="4250643" y="2118796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9" name="Forme libre : forme 628">
              <a:extLst>
                <a:ext uri="{FF2B5EF4-FFF2-40B4-BE49-F238E27FC236}">
                  <a16:creationId xmlns:a16="http://schemas.microsoft.com/office/drawing/2014/main" id="{C64AC295-E4CE-44EE-A106-33EFFB41DEBE}"/>
                </a:ext>
              </a:extLst>
            </p:cNvPr>
            <p:cNvSpPr/>
            <p:nvPr/>
          </p:nvSpPr>
          <p:spPr>
            <a:xfrm rot="8716295">
              <a:off x="4182761" y="1988208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0" name="Forme libre : forme 629">
              <a:extLst>
                <a:ext uri="{FF2B5EF4-FFF2-40B4-BE49-F238E27FC236}">
                  <a16:creationId xmlns:a16="http://schemas.microsoft.com/office/drawing/2014/main" id="{FFA3ED08-9210-45D6-AA19-AFF70332BF0D}"/>
                </a:ext>
              </a:extLst>
            </p:cNvPr>
            <p:cNvSpPr/>
            <p:nvPr/>
          </p:nvSpPr>
          <p:spPr>
            <a:xfrm rot="8716295">
              <a:off x="3945473" y="220855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1" name="Forme libre : forme 630">
              <a:extLst>
                <a:ext uri="{FF2B5EF4-FFF2-40B4-BE49-F238E27FC236}">
                  <a16:creationId xmlns:a16="http://schemas.microsoft.com/office/drawing/2014/main" id="{211D7FA1-7CF8-4A2C-9624-5DB5F1253CA9}"/>
                </a:ext>
              </a:extLst>
            </p:cNvPr>
            <p:cNvSpPr/>
            <p:nvPr/>
          </p:nvSpPr>
          <p:spPr>
            <a:xfrm rot="8716295">
              <a:off x="3756427" y="189271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2" name="Forme libre : forme 631">
              <a:extLst>
                <a:ext uri="{FF2B5EF4-FFF2-40B4-BE49-F238E27FC236}">
                  <a16:creationId xmlns:a16="http://schemas.microsoft.com/office/drawing/2014/main" id="{ED1DCF33-40C8-4AEE-A0EE-4E241ABFAA91}"/>
                </a:ext>
              </a:extLst>
            </p:cNvPr>
            <p:cNvSpPr/>
            <p:nvPr/>
          </p:nvSpPr>
          <p:spPr>
            <a:xfrm rot="8716295">
              <a:off x="3738186" y="1682667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3" name="Forme libre : forme 632">
              <a:extLst>
                <a:ext uri="{FF2B5EF4-FFF2-40B4-BE49-F238E27FC236}">
                  <a16:creationId xmlns:a16="http://schemas.microsoft.com/office/drawing/2014/main" id="{1ED8E02A-9662-4C77-9CF8-F0AAAEDA7BF2}"/>
                </a:ext>
              </a:extLst>
            </p:cNvPr>
            <p:cNvSpPr/>
            <p:nvPr/>
          </p:nvSpPr>
          <p:spPr>
            <a:xfrm rot="8716295">
              <a:off x="4081962" y="2270535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4" name="Forme libre : forme 633">
              <a:extLst>
                <a:ext uri="{FF2B5EF4-FFF2-40B4-BE49-F238E27FC236}">
                  <a16:creationId xmlns:a16="http://schemas.microsoft.com/office/drawing/2014/main" id="{A5843512-5A07-4D47-96C0-9232DD1F4BAB}"/>
                </a:ext>
              </a:extLst>
            </p:cNvPr>
            <p:cNvSpPr/>
            <p:nvPr/>
          </p:nvSpPr>
          <p:spPr>
            <a:xfrm rot="8716295">
              <a:off x="4552908" y="169592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5" name="Forme libre : forme 634">
              <a:extLst>
                <a:ext uri="{FF2B5EF4-FFF2-40B4-BE49-F238E27FC236}">
                  <a16:creationId xmlns:a16="http://schemas.microsoft.com/office/drawing/2014/main" id="{4BB8EB0B-0F5A-4424-9318-733305CE126F}"/>
                </a:ext>
              </a:extLst>
            </p:cNvPr>
            <p:cNvSpPr/>
            <p:nvPr/>
          </p:nvSpPr>
          <p:spPr>
            <a:xfrm rot="8716295">
              <a:off x="4688207" y="174018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6" name="Forme libre : forme 635">
              <a:extLst>
                <a:ext uri="{FF2B5EF4-FFF2-40B4-BE49-F238E27FC236}">
                  <a16:creationId xmlns:a16="http://schemas.microsoft.com/office/drawing/2014/main" id="{EA2371B2-61DB-41BD-8EEA-A15B3FCB5FA9}"/>
                </a:ext>
              </a:extLst>
            </p:cNvPr>
            <p:cNvSpPr/>
            <p:nvPr/>
          </p:nvSpPr>
          <p:spPr>
            <a:xfrm rot="8716295">
              <a:off x="4383037" y="182993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7" name="Forme libre : forme 636">
              <a:extLst>
                <a:ext uri="{FF2B5EF4-FFF2-40B4-BE49-F238E27FC236}">
                  <a16:creationId xmlns:a16="http://schemas.microsoft.com/office/drawing/2014/main" id="{DA3AACAC-02B1-4FFC-A740-5475BDA0481C}"/>
                </a:ext>
              </a:extLst>
            </p:cNvPr>
            <p:cNvSpPr/>
            <p:nvPr/>
          </p:nvSpPr>
          <p:spPr>
            <a:xfrm rot="8716295">
              <a:off x="4193993" y="151410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8" name="Forme libre : forme 637">
              <a:extLst>
                <a:ext uri="{FF2B5EF4-FFF2-40B4-BE49-F238E27FC236}">
                  <a16:creationId xmlns:a16="http://schemas.microsoft.com/office/drawing/2014/main" id="{6A599191-FCF8-4596-88EE-55466D58320A}"/>
                </a:ext>
              </a:extLst>
            </p:cNvPr>
            <p:cNvSpPr/>
            <p:nvPr/>
          </p:nvSpPr>
          <p:spPr>
            <a:xfrm rot="8716295">
              <a:off x="4519525" y="1891919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9" name="Forme libre : forme 638">
              <a:extLst>
                <a:ext uri="{FF2B5EF4-FFF2-40B4-BE49-F238E27FC236}">
                  <a16:creationId xmlns:a16="http://schemas.microsoft.com/office/drawing/2014/main" id="{C2F74711-1315-40B4-BC17-926C1214DB54}"/>
                </a:ext>
              </a:extLst>
            </p:cNvPr>
            <p:cNvSpPr/>
            <p:nvPr/>
          </p:nvSpPr>
          <p:spPr>
            <a:xfrm rot="8716295">
              <a:off x="4154079" y="1665493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0" name="Forme libre : forme 639">
              <a:extLst>
                <a:ext uri="{FF2B5EF4-FFF2-40B4-BE49-F238E27FC236}">
                  <a16:creationId xmlns:a16="http://schemas.microsoft.com/office/drawing/2014/main" id="{D2AC2D0A-CAB8-4F27-AF57-67EBA74287A6}"/>
                </a:ext>
              </a:extLst>
            </p:cNvPr>
            <p:cNvSpPr/>
            <p:nvPr/>
          </p:nvSpPr>
          <p:spPr>
            <a:xfrm rot="7484129">
              <a:off x="4678343" y="218153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1" name="Forme libre : forme 640">
              <a:extLst>
                <a:ext uri="{FF2B5EF4-FFF2-40B4-BE49-F238E27FC236}">
                  <a16:creationId xmlns:a16="http://schemas.microsoft.com/office/drawing/2014/main" id="{E725B9A6-4A92-4445-9859-68BC43835400}"/>
                </a:ext>
              </a:extLst>
            </p:cNvPr>
            <p:cNvSpPr/>
            <p:nvPr/>
          </p:nvSpPr>
          <p:spPr>
            <a:xfrm rot="13089394">
              <a:off x="4836993" y="2130885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2" name="Forme libre : forme 641">
              <a:extLst>
                <a:ext uri="{FF2B5EF4-FFF2-40B4-BE49-F238E27FC236}">
                  <a16:creationId xmlns:a16="http://schemas.microsoft.com/office/drawing/2014/main" id="{7C076520-7FB2-4FC1-9D9B-18E7CCBFD41C}"/>
                </a:ext>
              </a:extLst>
            </p:cNvPr>
            <p:cNvSpPr/>
            <p:nvPr/>
          </p:nvSpPr>
          <p:spPr>
            <a:xfrm rot="8716295">
              <a:off x="5117884" y="1840767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3" name="Forme libre : forme 642">
              <a:extLst>
                <a:ext uri="{FF2B5EF4-FFF2-40B4-BE49-F238E27FC236}">
                  <a16:creationId xmlns:a16="http://schemas.microsoft.com/office/drawing/2014/main" id="{43D28BDB-F985-40C3-8623-0F5EBBCEA04D}"/>
                </a:ext>
              </a:extLst>
            </p:cNvPr>
            <p:cNvSpPr/>
            <p:nvPr/>
          </p:nvSpPr>
          <p:spPr>
            <a:xfrm rot="8716295">
              <a:off x="5039475" y="1683975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4" name="Forme libre : forme 643">
              <a:extLst>
                <a:ext uri="{FF2B5EF4-FFF2-40B4-BE49-F238E27FC236}">
                  <a16:creationId xmlns:a16="http://schemas.microsoft.com/office/drawing/2014/main" id="{94CC3131-BEE6-4558-87A2-311D6D4A02F7}"/>
                </a:ext>
              </a:extLst>
            </p:cNvPr>
            <p:cNvSpPr/>
            <p:nvPr/>
          </p:nvSpPr>
          <p:spPr>
            <a:xfrm rot="8716295">
              <a:off x="4671311" y="172971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5" name="Forme libre : forme 644">
              <a:extLst>
                <a:ext uri="{FF2B5EF4-FFF2-40B4-BE49-F238E27FC236}">
                  <a16:creationId xmlns:a16="http://schemas.microsoft.com/office/drawing/2014/main" id="{4E2DFEBE-3426-4677-92D1-1024B4DE927D}"/>
                </a:ext>
              </a:extLst>
            </p:cNvPr>
            <p:cNvSpPr/>
            <p:nvPr/>
          </p:nvSpPr>
          <p:spPr>
            <a:xfrm rot="8716295">
              <a:off x="4939893" y="148869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6" name="Forme libre : forme 645">
              <a:extLst>
                <a:ext uri="{FF2B5EF4-FFF2-40B4-BE49-F238E27FC236}">
                  <a16:creationId xmlns:a16="http://schemas.microsoft.com/office/drawing/2014/main" id="{4081BB24-256C-4F4B-9A6F-DFCDC854E455}"/>
                </a:ext>
              </a:extLst>
            </p:cNvPr>
            <p:cNvSpPr/>
            <p:nvPr/>
          </p:nvSpPr>
          <p:spPr>
            <a:xfrm rot="8716295">
              <a:off x="3777571" y="1076054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7" name="Forme libre : forme 646">
              <a:extLst>
                <a:ext uri="{FF2B5EF4-FFF2-40B4-BE49-F238E27FC236}">
                  <a16:creationId xmlns:a16="http://schemas.microsoft.com/office/drawing/2014/main" id="{AC1A7255-5142-49FD-A5EF-06FB37B43ABB}"/>
                </a:ext>
              </a:extLst>
            </p:cNvPr>
            <p:cNvSpPr/>
            <p:nvPr/>
          </p:nvSpPr>
          <p:spPr>
            <a:xfrm rot="8716295">
              <a:off x="3912870" y="1120313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8" name="Forme libre : forme 647">
              <a:extLst>
                <a:ext uri="{FF2B5EF4-FFF2-40B4-BE49-F238E27FC236}">
                  <a16:creationId xmlns:a16="http://schemas.microsoft.com/office/drawing/2014/main" id="{919DC854-1FBE-4BD6-B8D9-CFB434F98A7C}"/>
                </a:ext>
              </a:extLst>
            </p:cNvPr>
            <p:cNvSpPr/>
            <p:nvPr/>
          </p:nvSpPr>
          <p:spPr>
            <a:xfrm rot="8716295">
              <a:off x="3844988" y="989725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9" name="Forme libre : forme 648">
              <a:extLst>
                <a:ext uri="{FF2B5EF4-FFF2-40B4-BE49-F238E27FC236}">
                  <a16:creationId xmlns:a16="http://schemas.microsoft.com/office/drawing/2014/main" id="{49BA536C-15FC-4479-BC63-4330EBFC747C}"/>
                </a:ext>
              </a:extLst>
            </p:cNvPr>
            <p:cNvSpPr/>
            <p:nvPr/>
          </p:nvSpPr>
          <p:spPr>
            <a:xfrm rot="8716295">
              <a:off x="3607700" y="121006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0" name="Forme libre : forme 649">
              <a:extLst>
                <a:ext uri="{FF2B5EF4-FFF2-40B4-BE49-F238E27FC236}">
                  <a16:creationId xmlns:a16="http://schemas.microsoft.com/office/drawing/2014/main" id="{1EA376EA-CA36-4368-817C-E5E9817AD15D}"/>
                </a:ext>
              </a:extLst>
            </p:cNvPr>
            <p:cNvSpPr/>
            <p:nvPr/>
          </p:nvSpPr>
          <p:spPr>
            <a:xfrm rot="8716295">
              <a:off x="3418654" y="89423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1" name="Forme libre : forme 650">
              <a:extLst>
                <a:ext uri="{FF2B5EF4-FFF2-40B4-BE49-F238E27FC236}">
                  <a16:creationId xmlns:a16="http://schemas.microsoft.com/office/drawing/2014/main" id="{5E0794DE-9E5D-40F3-81B1-459355C8C354}"/>
                </a:ext>
              </a:extLst>
            </p:cNvPr>
            <p:cNvSpPr/>
            <p:nvPr/>
          </p:nvSpPr>
          <p:spPr>
            <a:xfrm rot="8716295">
              <a:off x="3400413" y="68418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2" name="Forme libre : forme 651">
              <a:extLst>
                <a:ext uri="{FF2B5EF4-FFF2-40B4-BE49-F238E27FC236}">
                  <a16:creationId xmlns:a16="http://schemas.microsoft.com/office/drawing/2014/main" id="{4B1EE519-963B-4DDE-8BB5-AFD17A3ACDDB}"/>
                </a:ext>
              </a:extLst>
            </p:cNvPr>
            <p:cNvSpPr/>
            <p:nvPr/>
          </p:nvSpPr>
          <p:spPr>
            <a:xfrm rot="8716295">
              <a:off x="3744189" y="1272052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3" name="Forme libre : forme 652">
              <a:extLst>
                <a:ext uri="{FF2B5EF4-FFF2-40B4-BE49-F238E27FC236}">
                  <a16:creationId xmlns:a16="http://schemas.microsoft.com/office/drawing/2014/main" id="{843B2CBD-6604-4C65-9A88-6BD15A621379}"/>
                </a:ext>
              </a:extLst>
            </p:cNvPr>
            <p:cNvSpPr/>
            <p:nvPr/>
          </p:nvSpPr>
          <p:spPr>
            <a:xfrm rot="8716295">
              <a:off x="4215135" y="69743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4" name="Forme libre : forme 653">
              <a:extLst>
                <a:ext uri="{FF2B5EF4-FFF2-40B4-BE49-F238E27FC236}">
                  <a16:creationId xmlns:a16="http://schemas.microsoft.com/office/drawing/2014/main" id="{04086C4C-0CCF-4C9C-8E36-431E5C44E1D5}"/>
                </a:ext>
              </a:extLst>
            </p:cNvPr>
            <p:cNvSpPr/>
            <p:nvPr/>
          </p:nvSpPr>
          <p:spPr>
            <a:xfrm rot="8716295">
              <a:off x="4350434" y="74169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5" name="Forme libre : forme 654">
              <a:extLst>
                <a:ext uri="{FF2B5EF4-FFF2-40B4-BE49-F238E27FC236}">
                  <a16:creationId xmlns:a16="http://schemas.microsoft.com/office/drawing/2014/main" id="{F3DB09AD-8322-4A1E-B882-3AB7A06EFC3E}"/>
                </a:ext>
              </a:extLst>
            </p:cNvPr>
            <p:cNvSpPr/>
            <p:nvPr/>
          </p:nvSpPr>
          <p:spPr>
            <a:xfrm rot="8716295">
              <a:off x="4045264" y="83145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6" name="Forme libre : forme 655">
              <a:extLst>
                <a:ext uri="{FF2B5EF4-FFF2-40B4-BE49-F238E27FC236}">
                  <a16:creationId xmlns:a16="http://schemas.microsoft.com/office/drawing/2014/main" id="{F3E1347F-AB08-4E88-8553-2C3259820F53}"/>
                </a:ext>
              </a:extLst>
            </p:cNvPr>
            <p:cNvSpPr/>
            <p:nvPr/>
          </p:nvSpPr>
          <p:spPr>
            <a:xfrm rot="8716295">
              <a:off x="3856220" y="51561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7" name="Forme libre : forme 656">
              <a:extLst>
                <a:ext uri="{FF2B5EF4-FFF2-40B4-BE49-F238E27FC236}">
                  <a16:creationId xmlns:a16="http://schemas.microsoft.com/office/drawing/2014/main" id="{37C0E351-F531-4AFA-9B5B-9FA1F4DA382D}"/>
                </a:ext>
              </a:extLst>
            </p:cNvPr>
            <p:cNvSpPr/>
            <p:nvPr/>
          </p:nvSpPr>
          <p:spPr>
            <a:xfrm rot="8716295">
              <a:off x="4181753" y="893436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8" name="Forme libre : forme 657">
              <a:extLst>
                <a:ext uri="{FF2B5EF4-FFF2-40B4-BE49-F238E27FC236}">
                  <a16:creationId xmlns:a16="http://schemas.microsoft.com/office/drawing/2014/main" id="{EAD233D4-FAEF-4359-9D80-A0C4EA0721BB}"/>
                </a:ext>
              </a:extLst>
            </p:cNvPr>
            <p:cNvSpPr/>
            <p:nvPr/>
          </p:nvSpPr>
          <p:spPr>
            <a:xfrm rot="8716295">
              <a:off x="3816306" y="66701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9" name="Forme libre : forme 658">
              <a:extLst>
                <a:ext uri="{FF2B5EF4-FFF2-40B4-BE49-F238E27FC236}">
                  <a16:creationId xmlns:a16="http://schemas.microsoft.com/office/drawing/2014/main" id="{4935AFB8-12C9-437A-A5F0-16D910596549}"/>
                </a:ext>
              </a:extLst>
            </p:cNvPr>
            <p:cNvSpPr/>
            <p:nvPr/>
          </p:nvSpPr>
          <p:spPr>
            <a:xfrm rot="7484129">
              <a:off x="4340570" y="118305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0" name="Forme libre : forme 659">
              <a:extLst>
                <a:ext uri="{FF2B5EF4-FFF2-40B4-BE49-F238E27FC236}">
                  <a16:creationId xmlns:a16="http://schemas.microsoft.com/office/drawing/2014/main" id="{60120E9A-5AF3-48E4-8013-AFB2DF22E98E}"/>
                </a:ext>
              </a:extLst>
            </p:cNvPr>
            <p:cNvSpPr/>
            <p:nvPr/>
          </p:nvSpPr>
          <p:spPr>
            <a:xfrm rot="13089394">
              <a:off x="4499220" y="1132402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1" name="Forme libre : forme 660">
              <a:extLst>
                <a:ext uri="{FF2B5EF4-FFF2-40B4-BE49-F238E27FC236}">
                  <a16:creationId xmlns:a16="http://schemas.microsoft.com/office/drawing/2014/main" id="{FADC80EF-D490-4090-83FB-CC043913DFB7}"/>
                </a:ext>
              </a:extLst>
            </p:cNvPr>
            <p:cNvSpPr/>
            <p:nvPr/>
          </p:nvSpPr>
          <p:spPr>
            <a:xfrm rot="8716295">
              <a:off x="4780111" y="842284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2" name="Forme libre : forme 661">
              <a:extLst>
                <a:ext uri="{FF2B5EF4-FFF2-40B4-BE49-F238E27FC236}">
                  <a16:creationId xmlns:a16="http://schemas.microsoft.com/office/drawing/2014/main" id="{54E99E4D-E8AE-4B8D-BD60-290E9CE34806}"/>
                </a:ext>
              </a:extLst>
            </p:cNvPr>
            <p:cNvSpPr/>
            <p:nvPr/>
          </p:nvSpPr>
          <p:spPr>
            <a:xfrm rot="8716295">
              <a:off x="4701702" y="68549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3" name="Forme libre : forme 662">
              <a:extLst>
                <a:ext uri="{FF2B5EF4-FFF2-40B4-BE49-F238E27FC236}">
                  <a16:creationId xmlns:a16="http://schemas.microsoft.com/office/drawing/2014/main" id="{0576F78A-7E96-4491-9B0E-F11A7E2D4FE9}"/>
                </a:ext>
              </a:extLst>
            </p:cNvPr>
            <p:cNvSpPr/>
            <p:nvPr/>
          </p:nvSpPr>
          <p:spPr>
            <a:xfrm rot="8716295">
              <a:off x="4333538" y="73123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4" name="Forme libre : forme 663">
              <a:extLst>
                <a:ext uri="{FF2B5EF4-FFF2-40B4-BE49-F238E27FC236}">
                  <a16:creationId xmlns:a16="http://schemas.microsoft.com/office/drawing/2014/main" id="{0C2E4D36-6AB6-46E1-94C2-74D996114D27}"/>
                </a:ext>
              </a:extLst>
            </p:cNvPr>
            <p:cNvSpPr/>
            <p:nvPr/>
          </p:nvSpPr>
          <p:spPr>
            <a:xfrm rot="8716295">
              <a:off x="4602120" y="49021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5" name="Forme libre : forme 664">
              <a:extLst>
                <a:ext uri="{FF2B5EF4-FFF2-40B4-BE49-F238E27FC236}">
                  <a16:creationId xmlns:a16="http://schemas.microsoft.com/office/drawing/2014/main" id="{F078AC73-930A-464F-BC7C-4B2C44A99116}"/>
                </a:ext>
              </a:extLst>
            </p:cNvPr>
            <p:cNvSpPr/>
            <p:nvPr/>
          </p:nvSpPr>
          <p:spPr>
            <a:xfrm rot="8716295">
              <a:off x="3446198" y="7400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6" name="Forme libre : forme 665">
              <a:extLst>
                <a:ext uri="{FF2B5EF4-FFF2-40B4-BE49-F238E27FC236}">
                  <a16:creationId xmlns:a16="http://schemas.microsoft.com/office/drawing/2014/main" id="{A5F5E230-97AC-427D-B3BD-EE358DADE21E}"/>
                </a:ext>
              </a:extLst>
            </p:cNvPr>
            <p:cNvSpPr/>
            <p:nvPr/>
          </p:nvSpPr>
          <p:spPr>
            <a:xfrm rot="8716295">
              <a:off x="3581496" y="11826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7" name="Forme libre : forme 666">
              <a:extLst>
                <a:ext uri="{FF2B5EF4-FFF2-40B4-BE49-F238E27FC236}">
                  <a16:creationId xmlns:a16="http://schemas.microsoft.com/office/drawing/2014/main" id="{91294318-E81E-4D53-9C61-072AF08CC387}"/>
                </a:ext>
              </a:extLst>
            </p:cNvPr>
            <p:cNvSpPr/>
            <p:nvPr/>
          </p:nvSpPr>
          <p:spPr>
            <a:xfrm rot="8716295">
              <a:off x="3522597" y="36248"/>
              <a:ext cx="234675" cy="172489"/>
            </a:xfrm>
            <a:custGeom>
              <a:avLst/>
              <a:gdLst>
                <a:gd name="connsiteX0" fmla="*/ 25756 w 155050"/>
                <a:gd name="connsiteY0" fmla="*/ 113964 h 113964"/>
                <a:gd name="connsiteX1" fmla="*/ 0 w 155050"/>
                <a:gd name="connsiteY1" fmla="*/ 96110 h 113964"/>
                <a:gd name="connsiteX2" fmla="*/ 72120 w 155050"/>
                <a:gd name="connsiteY2" fmla="*/ 28251 h 113964"/>
                <a:gd name="connsiteX3" fmla="*/ 126799 w 155050"/>
                <a:gd name="connsiteY3" fmla="*/ 0 h 113964"/>
                <a:gd name="connsiteX4" fmla="*/ 155050 w 155050"/>
                <a:gd name="connsiteY4" fmla="*/ 33719 h 113964"/>
                <a:gd name="connsiteX5" fmla="*/ 128622 w 155050"/>
                <a:gd name="connsiteY5" fmla="*/ 69261 h 113964"/>
                <a:gd name="connsiteX6" fmla="*/ 129077 w 155050"/>
                <a:gd name="connsiteY6" fmla="*/ 69261 h 113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5050" h="113964">
                  <a:moveTo>
                    <a:pt x="25756" y="113964"/>
                  </a:moveTo>
                  <a:lnTo>
                    <a:pt x="0" y="96110"/>
                  </a:lnTo>
                  <a:lnTo>
                    <a:pt x="72120" y="28251"/>
                  </a:lnTo>
                  <a:cubicBezTo>
                    <a:pt x="85790" y="12303"/>
                    <a:pt x="105383" y="2279"/>
                    <a:pt x="126799" y="0"/>
                  </a:cubicBezTo>
                  <a:cubicBezTo>
                    <a:pt x="148671" y="0"/>
                    <a:pt x="155050" y="19138"/>
                    <a:pt x="155050" y="33719"/>
                  </a:cubicBezTo>
                  <a:cubicBezTo>
                    <a:pt x="153683" y="49668"/>
                    <a:pt x="143203" y="62882"/>
                    <a:pt x="128622" y="69261"/>
                  </a:cubicBezTo>
                  <a:lnTo>
                    <a:pt x="129077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8" name="Forme libre : forme 667">
              <a:extLst>
                <a:ext uri="{FF2B5EF4-FFF2-40B4-BE49-F238E27FC236}">
                  <a16:creationId xmlns:a16="http://schemas.microsoft.com/office/drawing/2014/main" id="{4DD6A7C5-87D0-4D46-A46A-2254EFCA82E0}"/>
                </a:ext>
              </a:extLst>
            </p:cNvPr>
            <p:cNvSpPr/>
            <p:nvPr/>
          </p:nvSpPr>
          <p:spPr>
            <a:xfrm rot="8716295">
              <a:off x="3276327" y="20801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9" name="Forme libre : forme 668">
              <a:extLst>
                <a:ext uri="{FF2B5EF4-FFF2-40B4-BE49-F238E27FC236}">
                  <a16:creationId xmlns:a16="http://schemas.microsoft.com/office/drawing/2014/main" id="{043EBFB6-F58E-491F-85EF-3F196F60359F}"/>
                </a:ext>
              </a:extLst>
            </p:cNvPr>
            <p:cNvSpPr/>
            <p:nvPr/>
          </p:nvSpPr>
          <p:spPr>
            <a:xfrm rot="8716295">
              <a:off x="3107933" y="-20072"/>
              <a:ext cx="308531" cy="199994"/>
            </a:xfrm>
            <a:custGeom>
              <a:avLst/>
              <a:gdLst>
                <a:gd name="connsiteX0" fmla="*/ 112633 w 203847"/>
                <a:gd name="connsiteY0" fmla="*/ 132136 h 132136"/>
                <a:gd name="connsiteX1" fmla="*/ 56185 w 203847"/>
                <a:gd name="connsiteY1" fmla="*/ 93008 h 132136"/>
                <a:gd name="connsiteX2" fmla="*/ 69777 w 203847"/>
                <a:gd name="connsiteY2" fmla="*/ 55323 h 132136"/>
                <a:gd name="connsiteX3" fmla="*/ 1818 w 203847"/>
                <a:gd name="connsiteY3" fmla="*/ 55323 h 132136"/>
                <a:gd name="connsiteX4" fmla="*/ 0 w 203847"/>
                <a:gd name="connsiteY4" fmla="*/ 54062 h 132136"/>
                <a:gd name="connsiteX5" fmla="*/ 0 w 203847"/>
                <a:gd name="connsiteY5" fmla="*/ 0 h 132136"/>
                <a:gd name="connsiteX6" fmla="*/ 203847 w 203847"/>
                <a:gd name="connsiteY6" fmla="*/ 0 h 132136"/>
                <a:gd name="connsiteX7" fmla="*/ 203847 w 203847"/>
                <a:gd name="connsiteY7" fmla="*/ 55323 h 132136"/>
                <a:gd name="connsiteX8" fmla="*/ 139055 w 203847"/>
                <a:gd name="connsiteY8" fmla="*/ 55323 h 132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32136">
                  <a:moveTo>
                    <a:pt x="112633" y="132136"/>
                  </a:moveTo>
                  <a:lnTo>
                    <a:pt x="56185" y="93008"/>
                  </a:lnTo>
                  <a:lnTo>
                    <a:pt x="69777" y="55323"/>
                  </a:lnTo>
                  <a:lnTo>
                    <a:pt x="1818" y="55323"/>
                  </a:lnTo>
                  <a:lnTo>
                    <a:pt x="0" y="54062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0" name="Forme libre : forme 669">
              <a:extLst>
                <a:ext uri="{FF2B5EF4-FFF2-40B4-BE49-F238E27FC236}">
                  <a16:creationId xmlns:a16="http://schemas.microsoft.com/office/drawing/2014/main" id="{794489F5-14EC-448F-A5B0-DA1D69E37C43}"/>
                </a:ext>
              </a:extLst>
            </p:cNvPr>
            <p:cNvSpPr/>
            <p:nvPr/>
          </p:nvSpPr>
          <p:spPr>
            <a:xfrm rot="8716295">
              <a:off x="3475628" y="-31540"/>
              <a:ext cx="98161" cy="118527"/>
            </a:xfrm>
            <a:custGeom>
              <a:avLst/>
              <a:gdLst>
                <a:gd name="connsiteX0" fmla="*/ 64855 w 64855"/>
                <a:gd name="connsiteY0" fmla="*/ 78311 h 78311"/>
                <a:gd name="connsiteX1" fmla="*/ 0 w 64855"/>
                <a:gd name="connsiteY1" fmla="*/ 33356 h 78311"/>
                <a:gd name="connsiteX2" fmla="*/ 64294 w 64855"/>
                <a:gd name="connsiteY2" fmla="*/ 0 h 78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855" h="78311">
                  <a:moveTo>
                    <a:pt x="64855" y="78311"/>
                  </a:moveTo>
                  <a:lnTo>
                    <a:pt x="0" y="33356"/>
                  </a:lnTo>
                  <a:lnTo>
                    <a:pt x="64294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1" name="Forme libre : forme 670">
              <a:extLst>
                <a:ext uri="{FF2B5EF4-FFF2-40B4-BE49-F238E27FC236}">
                  <a16:creationId xmlns:a16="http://schemas.microsoft.com/office/drawing/2014/main" id="{59D78A42-B1E7-4E9A-BC44-71C049BD09F4}"/>
                </a:ext>
              </a:extLst>
            </p:cNvPr>
            <p:cNvSpPr/>
            <p:nvPr/>
          </p:nvSpPr>
          <p:spPr>
            <a:xfrm rot="8716295">
              <a:off x="3412815" y="26999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2" name="Forme libre : forme 671">
              <a:extLst>
                <a:ext uri="{FF2B5EF4-FFF2-40B4-BE49-F238E27FC236}">
                  <a16:creationId xmlns:a16="http://schemas.microsoft.com/office/drawing/2014/main" id="{6913FE15-3938-4556-BC90-F97E03344291}"/>
                </a:ext>
              </a:extLst>
            </p:cNvPr>
            <p:cNvSpPr/>
            <p:nvPr/>
          </p:nvSpPr>
          <p:spPr>
            <a:xfrm rot="8716295">
              <a:off x="3966406" y="-35912"/>
              <a:ext cx="123741" cy="85774"/>
            </a:xfrm>
            <a:custGeom>
              <a:avLst/>
              <a:gdLst>
                <a:gd name="connsiteX0" fmla="*/ 81756 w 81756"/>
                <a:gd name="connsiteY0" fmla="*/ 56671 h 56671"/>
                <a:gd name="connsiteX1" fmla="*/ 0 w 81756"/>
                <a:gd name="connsiteY1" fmla="*/ 0 h 56671"/>
                <a:gd name="connsiteX2" fmla="*/ 24798 w 81756"/>
                <a:gd name="connsiteY2" fmla="*/ 0 h 56671"/>
                <a:gd name="connsiteX3" fmla="*/ 81756 w 81756"/>
                <a:gd name="connsiteY3" fmla="*/ 50123 h 56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1756" h="56671">
                  <a:moveTo>
                    <a:pt x="81756" y="56671"/>
                  </a:moveTo>
                  <a:lnTo>
                    <a:pt x="0" y="0"/>
                  </a:lnTo>
                  <a:lnTo>
                    <a:pt x="24798" y="0"/>
                  </a:lnTo>
                  <a:cubicBezTo>
                    <a:pt x="61707" y="0"/>
                    <a:pt x="81756" y="15949"/>
                    <a:pt x="81756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3" name="Forme libre : forme 672">
              <a:extLst>
                <a:ext uri="{FF2B5EF4-FFF2-40B4-BE49-F238E27FC236}">
                  <a16:creationId xmlns:a16="http://schemas.microsoft.com/office/drawing/2014/main" id="{5D62EEDF-CAA6-4BE4-A77A-50FBAB69143C}"/>
                </a:ext>
              </a:extLst>
            </p:cNvPr>
            <p:cNvSpPr/>
            <p:nvPr/>
          </p:nvSpPr>
          <p:spPr>
            <a:xfrm rot="8716295">
              <a:off x="4089146" y="-31808"/>
              <a:ext cx="332088" cy="148365"/>
            </a:xfrm>
            <a:custGeom>
              <a:avLst/>
              <a:gdLst>
                <a:gd name="connsiteX0" fmla="*/ 63575 w 219411"/>
                <a:gd name="connsiteY0" fmla="*/ 45493 h 98025"/>
                <a:gd name="connsiteX1" fmla="*/ 0 w 219411"/>
                <a:gd name="connsiteY1" fmla="*/ 1425 h 98025"/>
                <a:gd name="connsiteX2" fmla="*/ 63575 w 219411"/>
                <a:gd name="connsiteY2" fmla="*/ 1425 h 98025"/>
                <a:gd name="connsiteX3" fmla="*/ 88634 w 219411"/>
                <a:gd name="connsiteY3" fmla="*/ 62863 h 98025"/>
                <a:gd name="connsiteX4" fmla="*/ 73596 w 219411"/>
                <a:gd name="connsiteY4" fmla="*/ 52439 h 98025"/>
                <a:gd name="connsiteX5" fmla="*/ 75493 w 219411"/>
                <a:gd name="connsiteY5" fmla="*/ 47439 h 98025"/>
                <a:gd name="connsiteX6" fmla="*/ 112786 w 219411"/>
                <a:gd name="connsiteY6" fmla="*/ 5981 h 98025"/>
                <a:gd name="connsiteX7" fmla="*/ 144227 w 219411"/>
                <a:gd name="connsiteY7" fmla="*/ 57 h 98025"/>
                <a:gd name="connsiteX8" fmla="*/ 219411 w 219411"/>
                <a:gd name="connsiteY8" fmla="*/ 88456 h 98025"/>
                <a:gd name="connsiteX9" fmla="*/ 219411 w 219411"/>
                <a:gd name="connsiteY9" fmla="*/ 94380 h 98025"/>
                <a:gd name="connsiteX10" fmla="*/ 157441 w 219411"/>
                <a:gd name="connsiteY10" fmla="*/ 98025 h 98025"/>
                <a:gd name="connsiteX11" fmla="*/ 157441 w 219411"/>
                <a:gd name="connsiteY11" fmla="*/ 81621 h 98025"/>
                <a:gd name="connsiteX12" fmla="*/ 123722 w 219411"/>
                <a:gd name="connsiteY12" fmla="*/ 40156 h 98025"/>
                <a:gd name="connsiteX13" fmla="*/ 103089 w 219411"/>
                <a:gd name="connsiteY13" fmla="*/ 46969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9411" h="98025">
                  <a:moveTo>
                    <a:pt x="63575" y="45493"/>
                  </a:moveTo>
                  <a:lnTo>
                    <a:pt x="0" y="1425"/>
                  </a:lnTo>
                  <a:lnTo>
                    <a:pt x="63575" y="1425"/>
                  </a:lnTo>
                  <a:close/>
                  <a:moveTo>
                    <a:pt x="88634" y="62863"/>
                  </a:moveTo>
                  <a:lnTo>
                    <a:pt x="73596" y="52439"/>
                  </a:lnTo>
                  <a:lnTo>
                    <a:pt x="75493" y="47439"/>
                  </a:lnTo>
                  <a:cubicBezTo>
                    <a:pt x="85874" y="24008"/>
                    <a:pt x="96382" y="12816"/>
                    <a:pt x="112786" y="5981"/>
                  </a:cubicBezTo>
                  <a:cubicBezTo>
                    <a:pt x="122811" y="1880"/>
                    <a:pt x="133291" y="-398"/>
                    <a:pt x="144227" y="57"/>
                  </a:cubicBezTo>
                  <a:cubicBezTo>
                    <a:pt x="191160" y="-854"/>
                    <a:pt x="219411" y="31954"/>
                    <a:pt x="219411" y="88456"/>
                  </a:cubicBezTo>
                  <a:lnTo>
                    <a:pt x="219411" y="94380"/>
                  </a:lnTo>
                  <a:lnTo>
                    <a:pt x="157441" y="98025"/>
                  </a:lnTo>
                  <a:lnTo>
                    <a:pt x="157441" y="81621"/>
                  </a:lnTo>
                  <a:cubicBezTo>
                    <a:pt x="157441" y="57016"/>
                    <a:pt x="143316" y="40156"/>
                    <a:pt x="123722" y="40156"/>
                  </a:cubicBezTo>
                  <a:cubicBezTo>
                    <a:pt x="116431" y="40156"/>
                    <a:pt x="109454" y="42577"/>
                    <a:pt x="103089" y="4696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4" name="Forme libre : forme 673">
              <a:extLst>
                <a:ext uri="{FF2B5EF4-FFF2-40B4-BE49-F238E27FC236}">
                  <a16:creationId xmlns:a16="http://schemas.microsoft.com/office/drawing/2014/main" id="{204312F2-EA49-4439-8CE2-22C6633888E5}"/>
                </a:ext>
              </a:extLst>
            </p:cNvPr>
            <p:cNvSpPr/>
            <p:nvPr/>
          </p:nvSpPr>
          <p:spPr>
            <a:xfrm rot="8716295">
              <a:off x="3850379" y="-108618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5" name="Forme libre : forme 674">
              <a:extLst>
                <a:ext uri="{FF2B5EF4-FFF2-40B4-BE49-F238E27FC236}">
                  <a16:creationId xmlns:a16="http://schemas.microsoft.com/office/drawing/2014/main" id="{AE25CBF0-6DB2-42A0-99B2-802E91B6C3FD}"/>
                </a:ext>
              </a:extLst>
            </p:cNvPr>
            <p:cNvSpPr/>
            <p:nvPr/>
          </p:nvSpPr>
          <p:spPr>
            <a:xfrm rot="7484129">
              <a:off x="4009196" y="18100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6" name="Forme libre : forme 675">
              <a:extLst>
                <a:ext uri="{FF2B5EF4-FFF2-40B4-BE49-F238E27FC236}">
                  <a16:creationId xmlns:a16="http://schemas.microsoft.com/office/drawing/2014/main" id="{B5E963F4-D065-4C0F-BC9C-E6E170542019}"/>
                </a:ext>
              </a:extLst>
            </p:cNvPr>
            <p:cNvSpPr/>
            <p:nvPr/>
          </p:nvSpPr>
          <p:spPr>
            <a:xfrm rot="13089394">
              <a:off x="4167846" y="130348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7" name="Forme libre : forme 676">
              <a:extLst>
                <a:ext uri="{FF2B5EF4-FFF2-40B4-BE49-F238E27FC236}">
                  <a16:creationId xmlns:a16="http://schemas.microsoft.com/office/drawing/2014/main" id="{76D605A8-75FB-413E-9850-E731D16B25B6}"/>
                </a:ext>
              </a:extLst>
            </p:cNvPr>
            <p:cNvSpPr/>
            <p:nvPr/>
          </p:nvSpPr>
          <p:spPr>
            <a:xfrm rot="8716295">
              <a:off x="4488057" y="-10608"/>
              <a:ext cx="169580" cy="136116"/>
            </a:xfrm>
            <a:custGeom>
              <a:avLst/>
              <a:gdLst>
                <a:gd name="connsiteX0" fmla="*/ 62355 w 112042"/>
                <a:gd name="connsiteY0" fmla="*/ 89932 h 89932"/>
                <a:gd name="connsiteX1" fmla="*/ 0 w 112042"/>
                <a:gd name="connsiteY1" fmla="*/ 46710 h 89932"/>
                <a:gd name="connsiteX2" fmla="*/ 14231 w 112042"/>
                <a:gd name="connsiteY2" fmla="*/ 33321 h 89932"/>
                <a:gd name="connsiteX3" fmla="*/ 78722 w 112042"/>
                <a:gd name="connsiteY3" fmla="*/ 0 h 89932"/>
                <a:gd name="connsiteX4" fmla="*/ 112042 w 112042"/>
                <a:gd name="connsiteY4" fmla="*/ 39770 h 89932"/>
                <a:gd name="connsiteX5" fmla="*/ 80872 w 112042"/>
                <a:gd name="connsiteY5" fmla="*/ 81689 h 89932"/>
                <a:gd name="connsiteX6" fmla="*/ 81408 w 112042"/>
                <a:gd name="connsiteY6" fmla="*/ 81689 h 89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2042" h="89932">
                  <a:moveTo>
                    <a:pt x="62355" y="89932"/>
                  </a:moveTo>
                  <a:lnTo>
                    <a:pt x="0" y="46710"/>
                  </a:lnTo>
                  <a:lnTo>
                    <a:pt x="14231" y="33321"/>
                  </a:lnTo>
                  <a:cubicBezTo>
                    <a:pt x="30353" y="14511"/>
                    <a:pt x="53462" y="2687"/>
                    <a:pt x="78722" y="0"/>
                  </a:cubicBezTo>
                  <a:cubicBezTo>
                    <a:pt x="104518" y="0"/>
                    <a:pt x="112042" y="22572"/>
                    <a:pt x="112042" y="39770"/>
                  </a:cubicBezTo>
                  <a:cubicBezTo>
                    <a:pt x="110429" y="58580"/>
                    <a:pt x="98068" y="74165"/>
                    <a:pt x="80872" y="81689"/>
                  </a:cubicBezTo>
                  <a:lnTo>
                    <a:pt x="81408" y="816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8" name="Forme libre : forme 677">
              <a:extLst>
                <a:ext uri="{FF2B5EF4-FFF2-40B4-BE49-F238E27FC236}">
                  <a16:creationId xmlns:a16="http://schemas.microsoft.com/office/drawing/2014/main" id="{4F3B7A35-9F70-4C60-A362-537BA842EBF8}"/>
                </a:ext>
              </a:extLst>
            </p:cNvPr>
            <p:cNvSpPr/>
            <p:nvPr/>
          </p:nvSpPr>
          <p:spPr>
            <a:xfrm rot="8716295">
              <a:off x="3111565" y="373623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9" name="Forme libre : forme 678">
              <a:extLst>
                <a:ext uri="{FF2B5EF4-FFF2-40B4-BE49-F238E27FC236}">
                  <a16:creationId xmlns:a16="http://schemas.microsoft.com/office/drawing/2014/main" id="{84E0A451-4FD1-411C-AC65-26E7DCFC5AE7}"/>
                </a:ext>
              </a:extLst>
            </p:cNvPr>
            <p:cNvSpPr/>
            <p:nvPr/>
          </p:nvSpPr>
          <p:spPr>
            <a:xfrm rot="8716295">
              <a:off x="3246864" y="378049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0" name="Forme libre : forme 679">
              <a:extLst>
                <a:ext uri="{FF2B5EF4-FFF2-40B4-BE49-F238E27FC236}">
                  <a16:creationId xmlns:a16="http://schemas.microsoft.com/office/drawing/2014/main" id="{ED63A363-D142-4852-ADC9-3EB78E55F392}"/>
                </a:ext>
              </a:extLst>
            </p:cNvPr>
            <p:cNvSpPr/>
            <p:nvPr/>
          </p:nvSpPr>
          <p:spPr>
            <a:xfrm rot="8716295">
              <a:off x="3178981" y="3649901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1" name="Forme libre : forme 680">
              <a:extLst>
                <a:ext uri="{FF2B5EF4-FFF2-40B4-BE49-F238E27FC236}">
                  <a16:creationId xmlns:a16="http://schemas.microsoft.com/office/drawing/2014/main" id="{F107AA4D-9993-4946-BCBA-1D03F3965881}"/>
                </a:ext>
              </a:extLst>
            </p:cNvPr>
            <p:cNvSpPr/>
            <p:nvPr/>
          </p:nvSpPr>
          <p:spPr>
            <a:xfrm rot="8716295">
              <a:off x="2941694" y="387024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2" name="Forme libre : forme 681">
              <a:extLst>
                <a:ext uri="{FF2B5EF4-FFF2-40B4-BE49-F238E27FC236}">
                  <a16:creationId xmlns:a16="http://schemas.microsoft.com/office/drawing/2014/main" id="{65B10BB0-E676-4F90-9054-FB79523A1724}"/>
                </a:ext>
              </a:extLst>
            </p:cNvPr>
            <p:cNvSpPr/>
            <p:nvPr/>
          </p:nvSpPr>
          <p:spPr>
            <a:xfrm rot="8716295">
              <a:off x="2752648" y="355441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3" name="Forme libre : forme 682">
              <a:extLst>
                <a:ext uri="{FF2B5EF4-FFF2-40B4-BE49-F238E27FC236}">
                  <a16:creationId xmlns:a16="http://schemas.microsoft.com/office/drawing/2014/main" id="{DCBB16BD-D124-496F-BCB6-D9884BAFBA8A}"/>
                </a:ext>
              </a:extLst>
            </p:cNvPr>
            <p:cNvSpPr/>
            <p:nvPr/>
          </p:nvSpPr>
          <p:spPr>
            <a:xfrm rot="8716295">
              <a:off x="2734407" y="334436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4" name="Forme libre : forme 683">
              <a:extLst>
                <a:ext uri="{FF2B5EF4-FFF2-40B4-BE49-F238E27FC236}">
                  <a16:creationId xmlns:a16="http://schemas.microsoft.com/office/drawing/2014/main" id="{BA7B781B-C49E-49C3-853F-E110F097EADD}"/>
                </a:ext>
              </a:extLst>
            </p:cNvPr>
            <p:cNvSpPr/>
            <p:nvPr/>
          </p:nvSpPr>
          <p:spPr>
            <a:xfrm rot="8716295">
              <a:off x="3078183" y="393222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5" name="Forme libre : forme 684">
              <a:extLst>
                <a:ext uri="{FF2B5EF4-FFF2-40B4-BE49-F238E27FC236}">
                  <a16:creationId xmlns:a16="http://schemas.microsoft.com/office/drawing/2014/main" id="{1E08FA39-4108-445F-B2C5-D79E17CF02D4}"/>
                </a:ext>
              </a:extLst>
            </p:cNvPr>
            <p:cNvSpPr/>
            <p:nvPr/>
          </p:nvSpPr>
          <p:spPr>
            <a:xfrm rot="8716295">
              <a:off x="3549129" y="335761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6" name="Forme libre : forme 685">
              <a:extLst>
                <a:ext uri="{FF2B5EF4-FFF2-40B4-BE49-F238E27FC236}">
                  <a16:creationId xmlns:a16="http://schemas.microsoft.com/office/drawing/2014/main" id="{2DFB8EEE-C6EB-4042-B3C7-6D64C618E03F}"/>
                </a:ext>
              </a:extLst>
            </p:cNvPr>
            <p:cNvSpPr/>
            <p:nvPr/>
          </p:nvSpPr>
          <p:spPr>
            <a:xfrm rot="8716295">
              <a:off x="3684428" y="340187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7" name="Forme libre : forme 686">
              <a:extLst>
                <a:ext uri="{FF2B5EF4-FFF2-40B4-BE49-F238E27FC236}">
                  <a16:creationId xmlns:a16="http://schemas.microsoft.com/office/drawing/2014/main" id="{0F7B5112-37C8-4C58-BE24-BE46857F1D99}"/>
                </a:ext>
              </a:extLst>
            </p:cNvPr>
            <p:cNvSpPr/>
            <p:nvPr/>
          </p:nvSpPr>
          <p:spPr>
            <a:xfrm rot="8716295">
              <a:off x="3379258" y="349163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8" name="Forme libre : forme 687">
              <a:extLst>
                <a:ext uri="{FF2B5EF4-FFF2-40B4-BE49-F238E27FC236}">
                  <a16:creationId xmlns:a16="http://schemas.microsoft.com/office/drawing/2014/main" id="{0562A8EB-34BD-4915-997B-9EADBCB5D5E2}"/>
                </a:ext>
              </a:extLst>
            </p:cNvPr>
            <p:cNvSpPr/>
            <p:nvPr/>
          </p:nvSpPr>
          <p:spPr>
            <a:xfrm rot="8716295">
              <a:off x="3190213" y="317579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9" name="Forme libre : forme 688">
              <a:extLst>
                <a:ext uri="{FF2B5EF4-FFF2-40B4-BE49-F238E27FC236}">
                  <a16:creationId xmlns:a16="http://schemas.microsoft.com/office/drawing/2014/main" id="{FD5490B4-5CA1-4323-8DA1-3A8268719143}"/>
                </a:ext>
              </a:extLst>
            </p:cNvPr>
            <p:cNvSpPr/>
            <p:nvPr/>
          </p:nvSpPr>
          <p:spPr>
            <a:xfrm rot="8716295">
              <a:off x="3515746" y="3553613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0" name="Forme libre : forme 689">
              <a:extLst>
                <a:ext uri="{FF2B5EF4-FFF2-40B4-BE49-F238E27FC236}">
                  <a16:creationId xmlns:a16="http://schemas.microsoft.com/office/drawing/2014/main" id="{8D9B2EB7-9E8D-4A25-8D7C-BFC302DA6A1B}"/>
                </a:ext>
              </a:extLst>
            </p:cNvPr>
            <p:cNvSpPr/>
            <p:nvPr/>
          </p:nvSpPr>
          <p:spPr>
            <a:xfrm rot="8716295">
              <a:off x="3150300" y="332718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1" name="Forme libre : forme 690">
              <a:extLst>
                <a:ext uri="{FF2B5EF4-FFF2-40B4-BE49-F238E27FC236}">
                  <a16:creationId xmlns:a16="http://schemas.microsoft.com/office/drawing/2014/main" id="{3E0E55FC-47BD-40C5-B922-D3702F12DF26}"/>
                </a:ext>
              </a:extLst>
            </p:cNvPr>
            <p:cNvSpPr/>
            <p:nvPr/>
          </p:nvSpPr>
          <p:spPr>
            <a:xfrm rot="7484129">
              <a:off x="3674564" y="38432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2" name="Forme libre : forme 691">
              <a:extLst>
                <a:ext uri="{FF2B5EF4-FFF2-40B4-BE49-F238E27FC236}">
                  <a16:creationId xmlns:a16="http://schemas.microsoft.com/office/drawing/2014/main" id="{04819A13-0F26-4906-BEC9-BFAA857FEB52}"/>
                </a:ext>
              </a:extLst>
            </p:cNvPr>
            <p:cNvSpPr/>
            <p:nvPr/>
          </p:nvSpPr>
          <p:spPr>
            <a:xfrm rot="13089394">
              <a:off x="3833214" y="3792578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3" name="Forme libre : forme 692">
              <a:extLst>
                <a:ext uri="{FF2B5EF4-FFF2-40B4-BE49-F238E27FC236}">
                  <a16:creationId xmlns:a16="http://schemas.microsoft.com/office/drawing/2014/main" id="{7099CE46-9678-40AB-BC7E-D4C599B2EC77}"/>
                </a:ext>
              </a:extLst>
            </p:cNvPr>
            <p:cNvSpPr/>
            <p:nvPr/>
          </p:nvSpPr>
          <p:spPr>
            <a:xfrm rot="8716295">
              <a:off x="4114105" y="3502461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4" name="Forme libre : forme 693">
              <a:extLst>
                <a:ext uri="{FF2B5EF4-FFF2-40B4-BE49-F238E27FC236}">
                  <a16:creationId xmlns:a16="http://schemas.microsoft.com/office/drawing/2014/main" id="{930FE6A8-BA84-4D85-9462-1369A3BC2987}"/>
                </a:ext>
              </a:extLst>
            </p:cNvPr>
            <p:cNvSpPr/>
            <p:nvPr/>
          </p:nvSpPr>
          <p:spPr>
            <a:xfrm rot="8716295">
              <a:off x="4035696" y="334566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5" name="Forme libre : forme 694">
              <a:extLst>
                <a:ext uri="{FF2B5EF4-FFF2-40B4-BE49-F238E27FC236}">
                  <a16:creationId xmlns:a16="http://schemas.microsoft.com/office/drawing/2014/main" id="{6925581E-98AA-485C-AF67-05ACEFEFDF13}"/>
                </a:ext>
              </a:extLst>
            </p:cNvPr>
            <p:cNvSpPr/>
            <p:nvPr/>
          </p:nvSpPr>
          <p:spPr>
            <a:xfrm rot="8716295">
              <a:off x="3667532" y="339140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6" name="Forme libre : forme 695">
              <a:extLst>
                <a:ext uri="{FF2B5EF4-FFF2-40B4-BE49-F238E27FC236}">
                  <a16:creationId xmlns:a16="http://schemas.microsoft.com/office/drawing/2014/main" id="{59299429-87C0-470E-94D0-1EBBBD875A42}"/>
                </a:ext>
              </a:extLst>
            </p:cNvPr>
            <p:cNvSpPr/>
            <p:nvPr/>
          </p:nvSpPr>
          <p:spPr>
            <a:xfrm rot="8716295">
              <a:off x="3936113" y="315039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7" name="Forme libre : forme 696">
              <a:extLst>
                <a:ext uri="{FF2B5EF4-FFF2-40B4-BE49-F238E27FC236}">
                  <a16:creationId xmlns:a16="http://schemas.microsoft.com/office/drawing/2014/main" id="{20993448-B66A-4395-B0A3-8C600524A87B}"/>
                </a:ext>
              </a:extLst>
            </p:cNvPr>
            <p:cNvSpPr/>
            <p:nvPr/>
          </p:nvSpPr>
          <p:spPr>
            <a:xfrm rot="8716295">
              <a:off x="3449338" y="4734714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8" name="Forme libre : forme 697">
              <a:extLst>
                <a:ext uri="{FF2B5EF4-FFF2-40B4-BE49-F238E27FC236}">
                  <a16:creationId xmlns:a16="http://schemas.microsoft.com/office/drawing/2014/main" id="{5F68C16D-85E0-48B4-ABCD-457241BCE8FC}"/>
                </a:ext>
              </a:extLst>
            </p:cNvPr>
            <p:cNvSpPr/>
            <p:nvPr/>
          </p:nvSpPr>
          <p:spPr>
            <a:xfrm rot="8716295">
              <a:off x="3580975" y="4773824"/>
              <a:ext cx="394489" cy="383455"/>
            </a:xfrm>
            <a:custGeom>
              <a:avLst/>
              <a:gdLst>
                <a:gd name="connsiteX0" fmla="*/ 77932 w 394489"/>
                <a:gd name="connsiteY0" fmla="*/ 383455 h 383455"/>
                <a:gd name="connsiteX1" fmla="*/ 77932 w 394489"/>
                <a:gd name="connsiteY1" fmla="*/ 66898 h 383455"/>
                <a:gd name="connsiteX2" fmla="*/ 0 w 394489"/>
                <a:gd name="connsiteY2" fmla="*/ 66898 h 383455"/>
                <a:gd name="connsiteX3" fmla="*/ 0 w 394489"/>
                <a:gd name="connsiteY3" fmla="*/ 0 h 383455"/>
                <a:gd name="connsiteX4" fmla="*/ 158623 w 394489"/>
                <a:gd name="connsiteY4" fmla="*/ 0 h 383455"/>
                <a:gd name="connsiteX5" fmla="*/ 158623 w 394489"/>
                <a:gd name="connsiteY5" fmla="*/ 111726 h 383455"/>
                <a:gd name="connsiteX6" fmla="*/ 160692 w 394489"/>
                <a:gd name="connsiteY6" fmla="*/ 111726 h 383455"/>
                <a:gd name="connsiteX7" fmla="*/ 233107 w 394489"/>
                <a:gd name="connsiteY7" fmla="*/ 6897 h 383455"/>
                <a:gd name="connsiteX8" fmla="*/ 240854 w 394489"/>
                <a:gd name="connsiteY8" fmla="*/ 5438 h 383455"/>
                <a:gd name="connsiteX9" fmla="*/ 391511 w 394489"/>
                <a:gd name="connsiteY9" fmla="*/ 109868 h 383455"/>
                <a:gd name="connsiteX10" fmla="*/ 394489 w 394489"/>
                <a:gd name="connsiteY10" fmla="*/ 131726 h 383455"/>
                <a:gd name="connsiteX11" fmla="*/ 394489 w 394489"/>
                <a:gd name="connsiteY11" fmla="*/ 140692 h 383455"/>
                <a:gd name="connsiteX12" fmla="*/ 300695 w 394489"/>
                <a:gd name="connsiteY12" fmla="*/ 146210 h 383455"/>
                <a:gd name="connsiteX13" fmla="*/ 300695 w 394489"/>
                <a:gd name="connsiteY13" fmla="*/ 121382 h 383455"/>
                <a:gd name="connsiteX14" fmla="*/ 249659 w 394489"/>
                <a:gd name="connsiteY14" fmla="*/ 58622 h 383455"/>
                <a:gd name="connsiteX15" fmla="*/ 168969 w 394489"/>
                <a:gd name="connsiteY15" fmla="*/ 191038 h 383455"/>
                <a:gd name="connsiteX16" fmla="*/ 168969 w 394489"/>
                <a:gd name="connsiteY16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4489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82762" y="46208"/>
                    <a:pt x="200003" y="20690"/>
                    <a:pt x="233107" y="6897"/>
                  </a:cubicBezTo>
                  <a:lnTo>
                    <a:pt x="240854" y="5438"/>
                  </a:lnTo>
                  <a:lnTo>
                    <a:pt x="391511" y="109868"/>
                  </a:lnTo>
                  <a:lnTo>
                    <a:pt x="394489" y="131726"/>
                  </a:lnTo>
                  <a:lnTo>
                    <a:pt x="394489" y="140692"/>
                  </a:lnTo>
                  <a:lnTo>
                    <a:pt x="300695" y="146210"/>
                  </a:lnTo>
                  <a:lnTo>
                    <a:pt x="300695" y="121382"/>
                  </a:lnTo>
                  <a:cubicBezTo>
                    <a:pt x="300695" y="84140"/>
                    <a:pt x="279315" y="58621"/>
                    <a:pt x="249659" y="58622"/>
                  </a:cubicBezTo>
                  <a:cubicBezTo>
                    <a:pt x="205521" y="58622"/>
                    <a:pt x="168969" y="117244"/>
                    <a:pt x="168969" y="191038"/>
                  </a:cubicBez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9" name="Forme libre : forme 698">
              <a:extLst>
                <a:ext uri="{FF2B5EF4-FFF2-40B4-BE49-F238E27FC236}">
                  <a16:creationId xmlns:a16="http://schemas.microsoft.com/office/drawing/2014/main" id="{DDFDC7AC-7825-4F2D-8BC2-D122551871CE}"/>
                </a:ext>
              </a:extLst>
            </p:cNvPr>
            <p:cNvSpPr/>
            <p:nvPr/>
          </p:nvSpPr>
          <p:spPr>
            <a:xfrm rot="8716295">
              <a:off x="3516754" y="4648384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0" name="Forme libre : forme 699">
              <a:extLst>
                <a:ext uri="{FF2B5EF4-FFF2-40B4-BE49-F238E27FC236}">
                  <a16:creationId xmlns:a16="http://schemas.microsoft.com/office/drawing/2014/main" id="{9E124BC4-0A34-43AF-B268-C015D1E183F5}"/>
                </a:ext>
              </a:extLst>
            </p:cNvPr>
            <p:cNvSpPr/>
            <p:nvPr/>
          </p:nvSpPr>
          <p:spPr>
            <a:xfrm rot="8716295">
              <a:off x="3279467" y="486872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1" name="Forme libre : forme 700">
              <a:extLst>
                <a:ext uri="{FF2B5EF4-FFF2-40B4-BE49-F238E27FC236}">
                  <a16:creationId xmlns:a16="http://schemas.microsoft.com/office/drawing/2014/main" id="{BD9217FD-3B70-4A3D-8050-FAE9AD88FA69}"/>
                </a:ext>
              </a:extLst>
            </p:cNvPr>
            <p:cNvSpPr/>
            <p:nvPr/>
          </p:nvSpPr>
          <p:spPr>
            <a:xfrm rot="8716295">
              <a:off x="3090421" y="455289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2" name="Forme libre : forme 701">
              <a:extLst>
                <a:ext uri="{FF2B5EF4-FFF2-40B4-BE49-F238E27FC236}">
                  <a16:creationId xmlns:a16="http://schemas.microsoft.com/office/drawing/2014/main" id="{82574961-DC75-453C-B1E8-53CAF357269C}"/>
                </a:ext>
              </a:extLst>
            </p:cNvPr>
            <p:cNvSpPr/>
            <p:nvPr/>
          </p:nvSpPr>
          <p:spPr>
            <a:xfrm rot="8716295">
              <a:off x="3072180" y="434284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3" name="Forme libre : forme 702">
              <a:extLst>
                <a:ext uri="{FF2B5EF4-FFF2-40B4-BE49-F238E27FC236}">
                  <a16:creationId xmlns:a16="http://schemas.microsoft.com/office/drawing/2014/main" id="{F9FF2627-55AC-40EC-B2C7-E4BB0FC2841E}"/>
                </a:ext>
              </a:extLst>
            </p:cNvPr>
            <p:cNvSpPr/>
            <p:nvPr/>
          </p:nvSpPr>
          <p:spPr>
            <a:xfrm rot="8716295">
              <a:off x="3388475" y="4959102"/>
              <a:ext cx="91035" cy="230894"/>
            </a:xfrm>
            <a:custGeom>
              <a:avLst/>
              <a:gdLst>
                <a:gd name="connsiteX0" fmla="*/ 91035 w 91035"/>
                <a:gd name="connsiteY0" fmla="*/ 230894 h 230894"/>
                <a:gd name="connsiteX1" fmla="*/ 0 w 91035"/>
                <a:gd name="connsiteY1" fmla="*/ 143306 h 230894"/>
                <a:gd name="connsiteX2" fmla="*/ 0 w 91035"/>
                <a:gd name="connsiteY2" fmla="*/ 0 h 230894"/>
                <a:gd name="connsiteX3" fmla="*/ 91035 w 91035"/>
                <a:gd name="connsiteY3" fmla="*/ 63103 h 230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230894">
                  <a:moveTo>
                    <a:pt x="91035" y="230894"/>
                  </a:moveTo>
                  <a:lnTo>
                    <a:pt x="0" y="143306"/>
                  </a:lnTo>
                  <a:lnTo>
                    <a:pt x="0" y="0"/>
                  </a:lnTo>
                  <a:lnTo>
                    <a:pt x="91035" y="631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4" name="Forme libre : forme 703">
              <a:extLst>
                <a:ext uri="{FF2B5EF4-FFF2-40B4-BE49-F238E27FC236}">
                  <a16:creationId xmlns:a16="http://schemas.microsoft.com/office/drawing/2014/main" id="{E8EDEFFE-1CCB-4594-BF4D-83E9CF1C96A7}"/>
                </a:ext>
              </a:extLst>
            </p:cNvPr>
            <p:cNvSpPr/>
            <p:nvPr/>
          </p:nvSpPr>
          <p:spPr>
            <a:xfrm rot="8716295">
              <a:off x="3886902" y="435609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5" name="Forme libre : forme 704">
              <a:extLst>
                <a:ext uri="{FF2B5EF4-FFF2-40B4-BE49-F238E27FC236}">
                  <a16:creationId xmlns:a16="http://schemas.microsoft.com/office/drawing/2014/main" id="{55A94951-8E4E-4CA9-96D6-1FE7A4C337C6}"/>
                </a:ext>
              </a:extLst>
            </p:cNvPr>
            <p:cNvSpPr/>
            <p:nvPr/>
          </p:nvSpPr>
          <p:spPr>
            <a:xfrm rot="8716295">
              <a:off x="4022201" y="440035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6" name="Forme libre : forme 705">
              <a:extLst>
                <a:ext uri="{FF2B5EF4-FFF2-40B4-BE49-F238E27FC236}">
                  <a16:creationId xmlns:a16="http://schemas.microsoft.com/office/drawing/2014/main" id="{0D6FF806-864D-4C38-93A0-F9147C634CAC}"/>
                </a:ext>
              </a:extLst>
            </p:cNvPr>
            <p:cNvSpPr/>
            <p:nvPr/>
          </p:nvSpPr>
          <p:spPr>
            <a:xfrm rot="8716295">
              <a:off x="3717031" y="44901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7" name="Forme libre : forme 706">
              <a:extLst>
                <a:ext uri="{FF2B5EF4-FFF2-40B4-BE49-F238E27FC236}">
                  <a16:creationId xmlns:a16="http://schemas.microsoft.com/office/drawing/2014/main" id="{FBC6206E-0C5C-4787-A24D-53111B4AE1BD}"/>
                </a:ext>
              </a:extLst>
            </p:cNvPr>
            <p:cNvSpPr/>
            <p:nvPr/>
          </p:nvSpPr>
          <p:spPr>
            <a:xfrm rot="8716295">
              <a:off x="3527986" y="417427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8" name="Forme libre : forme 707">
              <a:extLst>
                <a:ext uri="{FF2B5EF4-FFF2-40B4-BE49-F238E27FC236}">
                  <a16:creationId xmlns:a16="http://schemas.microsoft.com/office/drawing/2014/main" id="{98187825-2EC9-4F80-8FFB-DB7FF0C2F09C}"/>
                </a:ext>
              </a:extLst>
            </p:cNvPr>
            <p:cNvSpPr/>
            <p:nvPr/>
          </p:nvSpPr>
          <p:spPr>
            <a:xfrm rot="8716295">
              <a:off x="3853519" y="4552096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9" name="Forme libre : forme 708">
              <a:extLst>
                <a:ext uri="{FF2B5EF4-FFF2-40B4-BE49-F238E27FC236}">
                  <a16:creationId xmlns:a16="http://schemas.microsoft.com/office/drawing/2014/main" id="{AAB4B000-0E9F-461C-AFEB-00262B0F810F}"/>
                </a:ext>
              </a:extLst>
            </p:cNvPr>
            <p:cNvSpPr/>
            <p:nvPr/>
          </p:nvSpPr>
          <p:spPr>
            <a:xfrm rot="8716295">
              <a:off x="3488073" y="432567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0" name="Forme libre : forme 709">
              <a:extLst>
                <a:ext uri="{FF2B5EF4-FFF2-40B4-BE49-F238E27FC236}">
                  <a16:creationId xmlns:a16="http://schemas.microsoft.com/office/drawing/2014/main" id="{9A1C13DA-0F62-4833-98DE-AA495BB59885}"/>
                </a:ext>
              </a:extLst>
            </p:cNvPr>
            <p:cNvSpPr/>
            <p:nvPr/>
          </p:nvSpPr>
          <p:spPr>
            <a:xfrm rot="7484129">
              <a:off x="4016569" y="4837237"/>
              <a:ext cx="295167" cy="296463"/>
            </a:xfrm>
            <a:custGeom>
              <a:avLst/>
              <a:gdLst>
                <a:gd name="connsiteX0" fmla="*/ 137293 w 295167"/>
                <a:gd name="connsiteY0" fmla="*/ 296463 h 296463"/>
                <a:gd name="connsiteX1" fmla="*/ 72418 w 295167"/>
                <a:gd name="connsiteY1" fmla="*/ 175766 h 296463"/>
                <a:gd name="connsiteX2" fmla="*/ 105610 w 295167"/>
                <a:gd name="connsiteY2" fmla="*/ 83734 h 296463"/>
                <a:gd name="connsiteX3" fmla="*/ 0 w 295167"/>
                <a:gd name="connsiteY3" fmla="*/ 83734 h 296463"/>
                <a:gd name="connsiteX4" fmla="*/ 0 w 295167"/>
                <a:gd name="connsiteY4" fmla="*/ 0 h 296463"/>
                <a:gd name="connsiteX5" fmla="*/ 237110 w 295167"/>
                <a:gd name="connsiteY5" fmla="*/ 0 h 296463"/>
                <a:gd name="connsiteX6" fmla="*/ 295167 w 295167"/>
                <a:gd name="connsiteY6" fmla="*/ 83734 h 296463"/>
                <a:gd name="connsiteX7" fmla="*/ 210466 w 295167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5167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37110" y="0"/>
                  </a:lnTo>
                  <a:lnTo>
                    <a:pt x="295167" y="83734"/>
                  </a:lnTo>
                  <a:lnTo>
                    <a:pt x="210466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1" name="Forme libre : forme 710">
              <a:extLst>
                <a:ext uri="{FF2B5EF4-FFF2-40B4-BE49-F238E27FC236}">
                  <a16:creationId xmlns:a16="http://schemas.microsoft.com/office/drawing/2014/main" id="{69127492-EB65-429C-9E8A-EB2855F4256A}"/>
                </a:ext>
              </a:extLst>
            </p:cNvPr>
            <p:cNvSpPr/>
            <p:nvPr/>
          </p:nvSpPr>
          <p:spPr>
            <a:xfrm rot="13089394">
              <a:off x="4226447" y="4804985"/>
              <a:ext cx="412568" cy="314062"/>
            </a:xfrm>
            <a:custGeom>
              <a:avLst/>
              <a:gdLst>
                <a:gd name="connsiteX0" fmla="*/ 412568 w 412568"/>
                <a:gd name="connsiteY0" fmla="*/ 206915 h 314062"/>
                <a:gd name="connsiteX1" fmla="*/ 138636 w 412568"/>
                <a:gd name="connsiteY1" fmla="*/ 313815 h 314062"/>
                <a:gd name="connsiteX2" fmla="*/ 35911 w 412568"/>
                <a:gd name="connsiteY2" fmla="*/ 272057 h 314062"/>
                <a:gd name="connsiteX3" fmla="*/ 0 w 412568"/>
                <a:gd name="connsiteY3" fmla="*/ 128410 h 314062"/>
                <a:gd name="connsiteX4" fmla="*/ 0 w 412568"/>
                <a:gd name="connsiteY4" fmla="*/ 88308 h 314062"/>
                <a:gd name="connsiteX5" fmla="*/ 112395 w 412568"/>
                <a:gd name="connsiteY5" fmla="*/ 0 h 314062"/>
                <a:gd name="connsiteX6" fmla="*/ 112747 w 412568"/>
                <a:gd name="connsiteY6" fmla="*/ 49070 h 314062"/>
                <a:gd name="connsiteX7" fmla="*/ 132789 w 412568"/>
                <a:gd name="connsiteY7" fmla="*/ 187707 h 314062"/>
                <a:gd name="connsiteX8" fmla="*/ 233008 w 412568"/>
                <a:gd name="connsiteY8" fmla="*/ 242827 h 314062"/>
                <a:gd name="connsiteX9" fmla="*/ 308172 w 412568"/>
                <a:gd name="connsiteY9" fmla="*/ 229465 h 314062"/>
                <a:gd name="connsiteX10" fmla="*/ 410898 w 412568"/>
                <a:gd name="connsiteY10" fmla="*/ 187707 h 314062"/>
                <a:gd name="connsiteX11" fmla="*/ 412568 w 412568"/>
                <a:gd name="connsiteY11" fmla="*/ 198563 h 314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2568" h="314062">
                  <a:moveTo>
                    <a:pt x="412568" y="206915"/>
                  </a:moveTo>
                  <a:cubicBezTo>
                    <a:pt x="324041" y="282914"/>
                    <a:pt x="207954" y="309640"/>
                    <a:pt x="138636" y="313815"/>
                  </a:cubicBezTo>
                  <a:cubicBezTo>
                    <a:pt x="100219" y="316321"/>
                    <a:pt x="62637" y="299618"/>
                    <a:pt x="35911" y="272057"/>
                  </a:cubicBezTo>
                  <a:cubicBezTo>
                    <a:pt x="7516" y="244497"/>
                    <a:pt x="0" y="196893"/>
                    <a:pt x="0" y="128410"/>
                  </a:cubicBezTo>
                  <a:lnTo>
                    <a:pt x="0" y="88308"/>
                  </a:lnTo>
                  <a:lnTo>
                    <a:pt x="112395" y="0"/>
                  </a:lnTo>
                  <a:lnTo>
                    <a:pt x="112747" y="49070"/>
                  </a:lnTo>
                  <a:cubicBezTo>
                    <a:pt x="110241" y="95839"/>
                    <a:pt x="117756" y="143443"/>
                    <a:pt x="132789" y="187707"/>
                  </a:cubicBezTo>
                  <a:cubicBezTo>
                    <a:pt x="146153" y="224453"/>
                    <a:pt x="180394" y="242827"/>
                    <a:pt x="233008" y="242827"/>
                  </a:cubicBezTo>
                  <a:cubicBezTo>
                    <a:pt x="258899" y="241992"/>
                    <a:pt x="283953" y="236980"/>
                    <a:pt x="308172" y="229465"/>
                  </a:cubicBezTo>
                  <a:cubicBezTo>
                    <a:pt x="343249" y="218607"/>
                    <a:pt x="377491" y="204410"/>
                    <a:pt x="410898" y="187707"/>
                  </a:cubicBezTo>
                  <a:cubicBezTo>
                    <a:pt x="411732" y="191047"/>
                    <a:pt x="412568" y="195223"/>
                    <a:pt x="412568" y="1985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2" name="Forme libre : forme 711">
              <a:extLst>
                <a:ext uri="{FF2B5EF4-FFF2-40B4-BE49-F238E27FC236}">
                  <a16:creationId xmlns:a16="http://schemas.microsoft.com/office/drawing/2014/main" id="{A9287E0A-DFD9-4AA6-8680-00180265377A}"/>
                </a:ext>
              </a:extLst>
            </p:cNvPr>
            <p:cNvSpPr/>
            <p:nvPr/>
          </p:nvSpPr>
          <p:spPr>
            <a:xfrm rot="8716295">
              <a:off x="4451878" y="4500944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3" name="Forme libre : forme 712">
              <a:extLst>
                <a:ext uri="{FF2B5EF4-FFF2-40B4-BE49-F238E27FC236}">
                  <a16:creationId xmlns:a16="http://schemas.microsoft.com/office/drawing/2014/main" id="{09BFE1EA-6A4F-4D09-B373-5566A2FCD583}"/>
                </a:ext>
              </a:extLst>
            </p:cNvPr>
            <p:cNvSpPr/>
            <p:nvPr/>
          </p:nvSpPr>
          <p:spPr>
            <a:xfrm rot="8716295">
              <a:off x="4373469" y="434415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4" name="Forme libre : forme 713">
              <a:extLst>
                <a:ext uri="{FF2B5EF4-FFF2-40B4-BE49-F238E27FC236}">
                  <a16:creationId xmlns:a16="http://schemas.microsoft.com/office/drawing/2014/main" id="{CC70F404-444F-494A-8724-6872C726683C}"/>
                </a:ext>
              </a:extLst>
            </p:cNvPr>
            <p:cNvSpPr/>
            <p:nvPr/>
          </p:nvSpPr>
          <p:spPr>
            <a:xfrm rot="8716295">
              <a:off x="4005305" y="438989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5" name="Forme libre : forme 714">
              <a:extLst>
                <a:ext uri="{FF2B5EF4-FFF2-40B4-BE49-F238E27FC236}">
                  <a16:creationId xmlns:a16="http://schemas.microsoft.com/office/drawing/2014/main" id="{C68DC1E1-E9D4-49BF-9F20-12E6BA298FAB}"/>
                </a:ext>
              </a:extLst>
            </p:cNvPr>
            <p:cNvSpPr/>
            <p:nvPr/>
          </p:nvSpPr>
          <p:spPr>
            <a:xfrm rot="8716295">
              <a:off x="4273886" y="414887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6" name="Forme libre : forme 715">
              <a:extLst>
                <a:ext uri="{FF2B5EF4-FFF2-40B4-BE49-F238E27FC236}">
                  <a16:creationId xmlns:a16="http://schemas.microsoft.com/office/drawing/2014/main" id="{298BA06B-FD3E-484C-A9BF-444E13BFC20E}"/>
                </a:ext>
              </a:extLst>
            </p:cNvPr>
            <p:cNvSpPr/>
            <p:nvPr/>
          </p:nvSpPr>
          <p:spPr>
            <a:xfrm rot="8716295">
              <a:off x="2776288" y="273581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7" name="Forme libre : forme 716">
              <a:extLst>
                <a:ext uri="{FF2B5EF4-FFF2-40B4-BE49-F238E27FC236}">
                  <a16:creationId xmlns:a16="http://schemas.microsoft.com/office/drawing/2014/main" id="{577CA89A-0469-4E44-B3B7-615251B777E0}"/>
                </a:ext>
              </a:extLst>
            </p:cNvPr>
            <p:cNvSpPr/>
            <p:nvPr/>
          </p:nvSpPr>
          <p:spPr>
            <a:xfrm rot="8716295">
              <a:off x="2911587" y="278007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8" name="Forme libre : forme 717">
              <a:extLst>
                <a:ext uri="{FF2B5EF4-FFF2-40B4-BE49-F238E27FC236}">
                  <a16:creationId xmlns:a16="http://schemas.microsoft.com/office/drawing/2014/main" id="{9749DAD3-E0F7-4F67-A9A9-D46BE20CA2A5}"/>
                </a:ext>
              </a:extLst>
            </p:cNvPr>
            <p:cNvSpPr/>
            <p:nvPr/>
          </p:nvSpPr>
          <p:spPr>
            <a:xfrm rot="8716295">
              <a:off x="2843704" y="2649488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9" name="Forme libre : forme 718">
              <a:extLst>
                <a:ext uri="{FF2B5EF4-FFF2-40B4-BE49-F238E27FC236}">
                  <a16:creationId xmlns:a16="http://schemas.microsoft.com/office/drawing/2014/main" id="{CC1D1038-8879-442B-B224-29424F89407C}"/>
                </a:ext>
              </a:extLst>
            </p:cNvPr>
            <p:cNvSpPr/>
            <p:nvPr/>
          </p:nvSpPr>
          <p:spPr>
            <a:xfrm rot="8716295">
              <a:off x="2606417" y="286983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0" name="Forme libre : forme 719">
              <a:extLst>
                <a:ext uri="{FF2B5EF4-FFF2-40B4-BE49-F238E27FC236}">
                  <a16:creationId xmlns:a16="http://schemas.microsoft.com/office/drawing/2014/main" id="{7C27CA1B-5474-4334-B2BC-5D5F6D801B37}"/>
                </a:ext>
              </a:extLst>
            </p:cNvPr>
            <p:cNvSpPr/>
            <p:nvPr/>
          </p:nvSpPr>
          <p:spPr>
            <a:xfrm rot="8716295">
              <a:off x="2417371" y="255399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1" name="Forme libre : forme 720">
              <a:extLst>
                <a:ext uri="{FF2B5EF4-FFF2-40B4-BE49-F238E27FC236}">
                  <a16:creationId xmlns:a16="http://schemas.microsoft.com/office/drawing/2014/main" id="{1789A997-6AF9-488A-BF6F-ED804306AC57}"/>
                </a:ext>
              </a:extLst>
            </p:cNvPr>
            <p:cNvSpPr/>
            <p:nvPr/>
          </p:nvSpPr>
          <p:spPr>
            <a:xfrm rot="8716295">
              <a:off x="2399130" y="2343948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2" name="Forme libre : forme 721">
              <a:extLst>
                <a:ext uri="{FF2B5EF4-FFF2-40B4-BE49-F238E27FC236}">
                  <a16:creationId xmlns:a16="http://schemas.microsoft.com/office/drawing/2014/main" id="{FDF8E98E-E1F4-4CD9-8714-50552C557374}"/>
                </a:ext>
              </a:extLst>
            </p:cNvPr>
            <p:cNvSpPr/>
            <p:nvPr/>
          </p:nvSpPr>
          <p:spPr>
            <a:xfrm rot="8716295">
              <a:off x="2742905" y="293181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3" name="Forme libre : forme 722">
              <a:extLst>
                <a:ext uri="{FF2B5EF4-FFF2-40B4-BE49-F238E27FC236}">
                  <a16:creationId xmlns:a16="http://schemas.microsoft.com/office/drawing/2014/main" id="{540D8D51-C0CC-45F4-A59F-CAB41A6564F1}"/>
                </a:ext>
              </a:extLst>
            </p:cNvPr>
            <p:cNvSpPr/>
            <p:nvPr/>
          </p:nvSpPr>
          <p:spPr>
            <a:xfrm rot="8716295">
              <a:off x="3213852" y="235720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4" name="Forme libre : forme 723">
              <a:extLst>
                <a:ext uri="{FF2B5EF4-FFF2-40B4-BE49-F238E27FC236}">
                  <a16:creationId xmlns:a16="http://schemas.microsoft.com/office/drawing/2014/main" id="{BA2BD7E8-A818-4C94-80AE-9E437B07AD6D}"/>
                </a:ext>
              </a:extLst>
            </p:cNvPr>
            <p:cNvSpPr/>
            <p:nvPr/>
          </p:nvSpPr>
          <p:spPr>
            <a:xfrm rot="8716295">
              <a:off x="3349151" y="240146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5" name="Forme libre : forme 724">
              <a:extLst>
                <a:ext uri="{FF2B5EF4-FFF2-40B4-BE49-F238E27FC236}">
                  <a16:creationId xmlns:a16="http://schemas.microsoft.com/office/drawing/2014/main" id="{BC52E005-0165-4382-BA93-B99E2F033DF8}"/>
                </a:ext>
              </a:extLst>
            </p:cNvPr>
            <p:cNvSpPr/>
            <p:nvPr/>
          </p:nvSpPr>
          <p:spPr>
            <a:xfrm rot="8716295">
              <a:off x="3043981" y="249121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6" name="Forme libre : forme 725">
              <a:extLst>
                <a:ext uri="{FF2B5EF4-FFF2-40B4-BE49-F238E27FC236}">
                  <a16:creationId xmlns:a16="http://schemas.microsoft.com/office/drawing/2014/main" id="{1EFDB2CB-3D68-4219-904B-16E2BB8FC2A1}"/>
                </a:ext>
              </a:extLst>
            </p:cNvPr>
            <p:cNvSpPr/>
            <p:nvPr/>
          </p:nvSpPr>
          <p:spPr>
            <a:xfrm rot="8716295">
              <a:off x="2854936" y="217538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7" name="Forme libre : forme 726">
              <a:extLst>
                <a:ext uri="{FF2B5EF4-FFF2-40B4-BE49-F238E27FC236}">
                  <a16:creationId xmlns:a16="http://schemas.microsoft.com/office/drawing/2014/main" id="{0453BE2C-684C-42DC-9D76-B653DD2CA6D7}"/>
                </a:ext>
              </a:extLst>
            </p:cNvPr>
            <p:cNvSpPr/>
            <p:nvPr/>
          </p:nvSpPr>
          <p:spPr>
            <a:xfrm rot="8716295">
              <a:off x="3180469" y="255320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8" name="Forme libre : forme 727">
              <a:extLst>
                <a:ext uri="{FF2B5EF4-FFF2-40B4-BE49-F238E27FC236}">
                  <a16:creationId xmlns:a16="http://schemas.microsoft.com/office/drawing/2014/main" id="{AB96B288-5418-4DF4-9F46-9CC63BBD2345}"/>
                </a:ext>
              </a:extLst>
            </p:cNvPr>
            <p:cNvSpPr/>
            <p:nvPr/>
          </p:nvSpPr>
          <p:spPr>
            <a:xfrm rot="8716295">
              <a:off x="2815023" y="232677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9" name="Forme libre : forme 728">
              <a:extLst>
                <a:ext uri="{FF2B5EF4-FFF2-40B4-BE49-F238E27FC236}">
                  <a16:creationId xmlns:a16="http://schemas.microsoft.com/office/drawing/2014/main" id="{219BA0B1-2BDE-4311-A560-60C891B83CA0}"/>
                </a:ext>
              </a:extLst>
            </p:cNvPr>
            <p:cNvSpPr/>
            <p:nvPr/>
          </p:nvSpPr>
          <p:spPr>
            <a:xfrm rot="7484129">
              <a:off x="3339287" y="284281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0" name="Forme libre : forme 729">
              <a:extLst>
                <a:ext uri="{FF2B5EF4-FFF2-40B4-BE49-F238E27FC236}">
                  <a16:creationId xmlns:a16="http://schemas.microsoft.com/office/drawing/2014/main" id="{73441630-8A4E-4926-A949-79FBC53AB30A}"/>
                </a:ext>
              </a:extLst>
            </p:cNvPr>
            <p:cNvSpPr/>
            <p:nvPr/>
          </p:nvSpPr>
          <p:spPr>
            <a:xfrm rot="13089394">
              <a:off x="3497937" y="279216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1" name="Forme libre : forme 730">
              <a:extLst>
                <a:ext uri="{FF2B5EF4-FFF2-40B4-BE49-F238E27FC236}">
                  <a16:creationId xmlns:a16="http://schemas.microsoft.com/office/drawing/2014/main" id="{6718FCAC-EC9F-4D5D-A7BA-5D07B614DD91}"/>
                </a:ext>
              </a:extLst>
            </p:cNvPr>
            <p:cNvSpPr/>
            <p:nvPr/>
          </p:nvSpPr>
          <p:spPr>
            <a:xfrm rot="8716295">
              <a:off x="3778828" y="2502048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2" name="Forme libre : forme 731">
              <a:extLst>
                <a:ext uri="{FF2B5EF4-FFF2-40B4-BE49-F238E27FC236}">
                  <a16:creationId xmlns:a16="http://schemas.microsoft.com/office/drawing/2014/main" id="{C6B6BF34-8D01-4B90-A150-1A215193326B}"/>
                </a:ext>
              </a:extLst>
            </p:cNvPr>
            <p:cNvSpPr/>
            <p:nvPr/>
          </p:nvSpPr>
          <p:spPr>
            <a:xfrm rot="8716295">
              <a:off x="3700418" y="234525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3" name="Forme libre : forme 732">
              <a:extLst>
                <a:ext uri="{FF2B5EF4-FFF2-40B4-BE49-F238E27FC236}">
                  <a16:creationId xmlns:a16="http://schemas.microsoft.com/office/drawing/2014/main" id="{46601907-3441-4476-B018-C88CFDF3BCEE}"/>
                </a:ext>
              </a:extLst>
            </p:cNvPr>
            <p:cNvSpPr/>
            <p:nvPr/>
          </p:nvSpPr>
          <p:spPr>
            <a:xfrm rot="8716295">
              <a:off x="3332255" y="239099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4" name="Forme libre : forme 733">
              <a:extLst>
                <a:ext uri="{FF2B5EF4-FFF2-40B4-BE49-F238E27FC236}">
                  <a16:creationId xmlns:a16="http://schemas.microsoft.com/office/drawing/2014/main" id="{7101F228-FC4A-45AF-B301-D6AE8B2C4CB0}"/>
                </a:ext>
              </a:extLst>
            </p:cNvPr>
            <p:cNvSpPr/>
            <p:nvPr/>
          </p:nvSpPr>
          <p:spPr>
            <a:xfrm rot="8716295">
              <a:off x="3600836" y="214997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5" name="Forme libre : forme 734">
              <a:extLst>
                <a:ext uri="{FF2B5EF4-FFF2-40B4-BE49-F238E27FC236}">
                  <a16:creationId xmlns:a16="http://schemas.microsoft.com/office/drawing/2014/main" id="{5EBBC394-2EF2-49FF-9DD5-B3DBEC059683}"/>
                </a:ext>
              </a:extLst>
            </p:cNvPr>
            <p:cNvSpPr/>
            <p:nvPr/>
          </p:nvSpPr>
          <p:spPr>
            <a:xfrm rot="8716295">
              <a:off x="2438515" y="173733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6" name="Forme libre : forme 735">
              <a:extLst>
                <a:ext uri="{FF2B5EF4-FFF2-40B4-BE49-F238E27FC236}">
                  <a16:creationId xmlns:a16="http://schemas.microsoft.com/office/drawing/2014/main" id="{9E64E25E-5581-4C5A-8FFA-6FA4EC36C5FC}"/>
                </a:ext>
              </a:extLst>
            </p:cNvPr>
            <p:cNvSpPr/>
            <p:nvPr/>
          </p:nvSpPr>
          <p:spPr>
            <a:xfrm rot="8716295">
              <a:off x="2573814" y="178159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7" name="Forme libre : forme 736">
              <a:extLst>
                <a:ext uri="{FF2B5EF4-FFF2-40B4-BE49-F238E27FC236}">
                  <a16:creationId xmlns:a16="http://schemas.microsoft.com/office/drawing/2014/main" id="{3EEB2466-11BF-47A2-B0A2-3EC6461F6092}"/>
                </a:ext>
              </a:extLst>
            </p:cNvPr>
            <p:cNvSpPr/>
            <p:nvPr/>
          </p:nvSpPr>
          <p:spPr>
            <a:xfrm rot="8716295">
              <a:off x="2505931" y="1651005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8" name="Forme libre : forme 737">
              <a:extLst>
                <a:ext uri="{FF2B5EF4-FFF2-40B4-BE49-F238E27FC236}">
                  <a16:creationId xmlns:a16="http://schemas.microsoft.com/office/drawing/2014/main" id="{E5AEA02F-88F3-46C9-8F84-C3EEF35923D9}"/>
                </a:ext>
              </a:extLst>
            </p:cNvPr>
            <p:cNvSpPr/>
            <p:nvPr/>
          </p:nvSpPr>
          <p:spPr>
            <a:xfrm rot="8716295">
              <a:off x="2268644" y="187135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9" name="Forme libre : forme 738">
              <a:extLst>
                <a:ext uri="{FF2B5EF4-FFF2-40B4-BE49-F238E27FC236}">
                  <a16:creationId xmlns:a16="http://schemas.microsoft.com/office/drawing/2014/main" id="{F1E768B8-3CD2-494D-853A-78A7274AEC37}"/>
                </a:ext>
              </a:extLst>
            </p:cNvPr>
            <p:cNvSpPr/>
            <p:nvPr/>
          </p:nvSpPr>
          <p:spPr>
            <a:xfrm rot="8716295">
              <a:off x="2079598" y="155551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0" name="Forme libre : forme 739">
              <a:extLst>
                <a:ext uri="{FF2B5EF4-FFF2-40B4-BE49-F238E27FC236}">
                  <a16:creationId xmlns:a16="http://schemas.microsoft.com/office/drawing/2014/main" id="{262ED69B-72FE-45DC-B072-76F3A4FAF2D5}"/>
                </a:ext>
              </a:extLst>
            </p:cNvPr>
            <p:cNvSpPr/>
            <p:nvPr/>
          </p:nvSpPr>
          <p:spPr>
            <a:xfrm rot="8716295">
              <a:off x="2061357" y="1345465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1" name="Forme libre : forme 740">
              <a:extLst>
                <a:ext uri="{FF2B5EF4-FFF2-40B4-BE49-F238E27FC236}">
                  <a16:creationId xmlns:a16="http://schemas.microsoft.com/office/drawing/2014/main" id="{0C3B92CD-7E55-4069-8C6E-6C53FF103262}"/>
                </a:ext>
              </a:extLst>
            </p:cNvPr>
            <p:cNvSpPr/>
            <p:nvPr/>
          </p:nvSpPr>
          <p:spPr>
            <a:xfrm rot="8716295">
              <a:off x="2405132" y="1933333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2" name="Forme libre : forme 741">
              <a:extLst>
                <a:ext uri="{FF2B5EF4-FFF2-40B4-BE49-F238E27FC236}">
                  <a16:creationId xmlns:a16="http://schemas.microsoft.com/office/drawing/2014/main" id="{12042862-BD55-4332-A928-2CD906AA369E}"/>
                </a:ext>
              </a:extLst>
            </p:cNvPr>
            <p:cNvSpPr/>
            <p:nvPr/>
          </p:nvSpPr>
          <p:spPr>
            <a:xfrm rot="8716295">
              <a:off x="2876079" y="135871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3" name="Forme libre : forme 742">
              <a:extLst>
                <a:ext uri="{FF2B5EF4-FFF2-40B4-BE49-F238E27FC236}">
                  <a16:creationId xmlns:a16="http://schemas.microsoft.com/office/drawing/2014/main" id="{6200C6E7-66CB-4309-B7D9-EFB7EDC24787}"/>
                </a:ext>
              </a:extLst>
            </p:cNvPr>
            <p:cNvSpPr/>
            <p:nvPr/>
          </p:nvSpPr>
          <p:spPr>
            <a:xfrm rot="8716295">
              <a:off x="3011378" y="140297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4" name="Forme libre : forme 743">
              <a:extLst>
                <a:ext uri="{FF2B5EF4-FFF2-40B4-BE49-F238E27FC236}">
                  <a16:creationId xmlns:a16="http://schemas.microsoft.com/office/drawing/2014/main" id="{AB122FD1-795D-425A-8721-EBB048E97CAB}"/>
                </a:ext>
              </a:extLst>
            </p:cNvPr>
            <p:cNvSpPr/>
            <p:nvPr/>
          </p:nvSpPr>
          <p:spPr>
            <a:xfrm rot="8716295">
              <a:off x="2706208" y="14927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5" name="Forme libre : forme 744">
              <a:extLst>
                <a:ext uri="{FF2B5EF4-FFF2-40B4-BE49-F238E27FC236}">
                  <a16:creationId xmlns:a16="http://schemas.microsoft.com/office/drawing/2014/main" id="{A1E137E0-6CF8-46C5-92D9-A51059448C1A}"/>
                </a:ext>
              </a:extLst>
            </p:cNvPr>
            <p:cNvSpPr/>
            <p:nvPr/>
          </p:nvSpPr>
          <p:spPr>
            <a:xfrm rot="8716295">
              <a:off x="2517163" y="11768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6" name="Forme libre : forme 745">
              <a:extLst>
                <a:ext uri="{FF2B5EF4-FFF2-40B4-BE49-F238E27FC236}">
                  <a16:creationId xmlns:a16="http://schemas.microsoft.com/office/drawing/2014/main" id="{7C3852D8-DFED-42E7-A4AD-A39FE8954AC8}"/>
                </a:ext>
              </a:extLst>
            </p:cNvPr>
            <p:cNvSpPr/>
            <p:nvPr/>
          </p:nvSpPr>
          <p:spPr>
            <a:xfrm rot="8716295">
              <a:off x="2842696" y="1554717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7" name="Forme libre : forme 746">
              <a:extLst>
                <a:ext uri="{FF2B5EF4-FFF2-40B4-BE49-F238E27FC236}">
                  <a16:creationId xmlns:a16="http://schemas.microsoft.com/office/drawing/2014/main" id="{62C60140-F01F-4488-BD03-9C9619AC1EB0}"/>
                </a:ext>
              </a:extLst>
            </p:cNvPr>
            <p:cNvSpPr/>
            <p:nvPr/>
          </p:nvSpPr>
          <p:spPr>
            <a:xfrm rot="8716295">
              <a:off x="2477250" y="1328291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8" name="Forme libre : forme 747">
              <a:extLst>
                <a:ext uri="{FF2B5EF4-FFF2-40B4-BE49-F238E27FC236}">
                  <a16:creationId xmlns:a16="http://schemas.microsoft.com/office/drawing/2014/main" id="{DBD569FB-C0A0-4F7B-87D2-0E26460F3557}"/>
                </a:ext>
              </a:extLst>
            </p:cNvPr>
            <p:cNvSpPr/>
            <p:nvPr/>
          </p:nvSpPr>
          <p:spPr>
            <a:xfrm rot="7484129">
              <a:off x="3001514" y="184433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9" name="Forme libre : forme 748">
              <a:extLst>
                <a:ext uri="{FF2B5EF4-FFF2-40B4-BE49-F238E27FC236}">
                  <a16:creationId xmlns:a16="http://schemas.microsoft.com/office/drawing/2014/main" id="{ABE42921-5DDC-4180-B584-E88059248493}"/>
                </a:ext>
              </a:extLst>
            </p:cNvPr>
            <p:cNvSpPr/>
            <p:nvPr/>
          </p:nvSpPr>
          <p:spPr>
            <a:xfrm rot="13089394">
              <a:off x="3160164" y="1793683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0" name="Forme libre : forme 749">
              <a:extLst>
                <a:ext uri="{FF2B5EF4-FFF2-40B4-BE49-F238E27FC236}">
                  <a16:creationId xmlns:a16="http://schemas.microsoft.com/office/drawing/2014/main" id="{88F98A94-8006-4488-8030-242FB6A3DA5A}"/>
                </a:ext>
              </a:extLst>
            </p:cNvPr>
            <p:cNvSpPr/>
            <p:nvPr/>
          </p:nvSpPr>
          <p:spPr>
            <a:xfrm rot="8716295">
              <a:off x="3441055" y="1503565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1" name="Forme libre : forme 750">
              <a:extLst>
                <a:ext uri="{FF2B5EF4-FFF2-40B4-BE49-F238E27FC236}">
                  <a16:creationId xmlns:a16="http://schemas.microsoft.com/office/drawing/2014/main" id="{A5A850AA-45A2-4846-8949-3857C38E889C}"/>
                </a:ext>
              </a:extLst>
            </p:cNvPr>
            <p:cNvSpPr/>
            <p:nvPr/>
          </p:nvSpPr>
          <p:spPr>
            <a:xfrm rot="8716295">
              <a:off x="3362645" y="134677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2" name="Forme libre : forme 751">
              <a:extLst>
                <a:ext uri="{FF2B5EF4-FFF2-40B4-BE49-F238E27FC236}">
                  <a16:creationId xmlns:a16="http://schemas.microsoft.com/office/drawing/2014/main" id="{5A64EB05-BC9D-42E7-8426-0CAB9C6910F8}"/>
                </a:ext>
              </a:extLst>
            </p:cNvPr>
            <p:cNvSpPr/>
            <p:nvPr/>
          </p:nvSpPr>
          <p:spPr>
            <a:xfrm rot="8716295">
              <a:off x="2994482" y="13925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3" name="Forme libre : forme 752">
              <a:extLst>
                <a:ext uri="{FF2B5EF4-FFF2-40B4-BE49-F238E27FC236}">
                  <a16:creationId xmlns:a16="http://schemas.microsoft.com/office/drawing/2014/main" id="{95781397-8B1D-423E-A53F-48B75A5D7E91}"/>
                </a:ext>
              </a:extLst>
            </p:cNvPr>
            <p:cNvSpPr/>
            <p:nvPr/>
          </p:nvSpPr>
          <p:spPr>
            <a:xfrm rot="8716295">
              <a:off x="3263063" y="115149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4" name="Forme libre : forme 753">
              <a:extLst>
                <a:ext uri="{FF2B5EF4-FFF2-40B4-BE49-F238E27FC236}">
                  <a16:creationId xmlns:a16="http://schemas.microsoft.com/office/drawing/2014/main" id="{BF63C671-ADC0-4488-BE74-E17F46742365}"/>
                </a:ext>
              </a:extLst>
            </p:cNvPr>
            <p:cNvSpPr/>
            <p:nvPr/>
          </p:nvSpPr>
          <p:spPr>
            <a:xfrm rot="8716295">
              <a:off x="2107141" y="73528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5" name="Forme libre : forme 754">
              <a:extLst>
                <a:ext uri="{FF2B5EF4-FFF2-40B4-BE49-F238E27FC236}">
                  <a16:creationId xmlns:a16="http://schemas.microsoft.com/office/drawing/2014/main" id="{5BC60D3E-6680-4205-9719-A6BFD5B4CA74}"/>
                </a:ext>
              </a:extLst>
            </p:cNvPr>
            <p:cNvSpPr/>
            <p:nvPr/>
          </p:nvSpPr>
          <p:spPr>
            <a:xfrm rot="8716295">
              <a:off x="2242440" y="77954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6" name="Forme libre : forme 755">
              <a:extLst>
                <a:ext uri="{FF2B5EF4-FFF2-40B4-BE49-F238E27FC236}">
                  <a16:creationId xmlns:a16="http://schemas.microsoft.com/office/drawing/2014/main" id="{B24E0A86-3E95-492C-8ED3-DB42420B5F2B}"/>
                </a:ext>
              </a:extLst>
            </p:cNvPr>
            <p:cNvSpPr/>
            <p:nvPr/>
          </p:nvSpPr>
          <p:spPr>
            <a:xfrm rot="8716295">
              <a:off x="2174558" y="64895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7" name="Forme libre : forme 756">
              <a:extLst>
                <a:ext uri="{FF2B5EF4-FFF2-40B4-BE49-F238E27FC236}">
                  <a16:creationId xmlns:a16="http://schemas.microsoft.com/office/drawing/2014/main" id="{5279EA4A-802F-4479-832C-B17D45EE4AD8}"/>
                </a:ext>
              </a:extLst>
            </p:cNvPr>
            <p:cNvSpPr/>
            <p:nvPr/>
          </p:nvSpPr>
          <p:spPr>
            <a:xfrm rot="8716295">
              <a:off x="1937270" y="86929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8" name="Forme libre : forme 757">
              <a:extLst>
                <a:ext uri="{FF2B5EF4-FFF2-40B4-BE49-F238E27FC236}">
                  <a16:creationId xmlns:a16="http://schemas.microsoft.com/office/drawing/2014/main" id="{943A13E3-FDDC-4FFC-86C5-237B81D039F9}"/>
                </a:ext>
              </a:extLst>
            </p:cNvPr>
            <p:cNvSpPr/>
            <p:nvPr/>
          </p:nvSpPr>
          <p:spPr>
            <a:xfrm rot="8716295">
              <a:off x="1748224" y="55346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9" name="Forme libre : forme 758">
              <a:extLst>
                <a:ext uri="{FF2B5EF4-FFF2-40B4-BE49-F238E27FC236}">
                  <a16:creationId xmlns:a16="http://schemas.microsoft.com/office/drawing/2014/main" id="{9A27531B-9027-43C6-B072-6C625D2EAEE5}"/>
                </a:ext>
              </a:extLst>
            </p:cNvPr>
            <p:cNvSpPr/>
            <p:nvPr/>
          </p:nvSpPr>
          <p:spPr>
            <a:xfrm rot="8716295">
              <a:off x="1729983" y="34341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0" name="Forme libre : forme 759">
              <a:extLst>
                <a:ext uri="{FF2B5EF4-FFF2-40B4-BE49-F238E27FC236}">
                  <a16:creationId xmlns:a16="http://schemas.microsoft.com/office/drawing/2014/main" id="{8C15947E-E7FF-4002-9209-9AF916BECF4E}"/>
                </a:ext>
              </a:extLst>
            </p:cNvPr>
            <p:cNvSpPr/>
            <p:nvPr/>
          </p:nvSpPr>
          <p:spPr>
            <a:xfrm rot="8716295">
              <a:off x="2073759" y="93127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1" name="Forme libre : forme 760">
              <a:extLst>
                <a:ext uri="{FF2B5EF4-FFF2-40B4-BE49-F238E27FC236}">
                  <a16:creationId xmlns:a16="http://schemas.microsoft.com/office/drawing/2014/main" id="{ED09FFD5-E403-40C0-982A-82CB1DFAD2FA}"/>
                </a:ext>
              </a:extLst>
            </p:cNvPr>
            <p:cNvSpPr/>
            <p:nvPr/>
          </p:nvSpPr>
          <p:spPr>
            <a:xfrm rot="8716295">
              <a:off x="2544705" y="35666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2" name="Forme libre : forme 761">
              <a:extLst>
                <a:ext uri="{FF2B5EF4-FFF2-40B4-BE49-F238E27FC236}">
                  <a16:creationId xmlns:a16="http://schemas.microsoft.com/office/drawing/2014/main" id="{6A20B064-35E9-40B2-8DEC-7F7E78DD5E29}"/>
                </a:ext>
              </a:extLst>
            </p:cNvPr>
            <p:cNvSpPr/>
            <p:nvPr/>
          </p:nvSpPr>
          <p:spPr>
            <a:xfrm rot="8716295">
              <a:off x="2680004" y="40092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3" name="Forme libre : forme 762">
              <a:extLst>
                <a:ext uri="{FF2B5EF4-FFF2-40B4-BE49-F238E27FC236}">
                  <a16:creationId xmlns:a16="http://schemas.microsoft.com/office/drawing/2014/main" id="{95066C84-9BA0-40F5-8ABE-4330ED4CAA56}"/>
                </a:ext>
              </a:extLst>
            </p:cNvPr>
            <p:cNvSpPr/>
            <p:nvPr/>
          </p:nvSpPr>
          <p:spPr>
            <a:xfrm rot="8716295">
              <a:off x="2374834" y="49068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4" name="Forme libre : forme 763">
              <a:extLst>
                <a:ext uri="{FF2B5EF4-FFF2-40B4-BE49-F238E27FC236}">
                  <a16:creationId xmlns:a16="http://schemas.microsoft.com/office/drawing/2014/main" id="{813C7B43-B2B3-4F1D-9157-BDC0F9C5A32B}"/>
                </a:ext>
              </a:extLst>
            </p:cNvPr>
            <p:cNvSpPr/>
            <p:nvPr/>
          </p:nvSpPr>
          <p:spPr>
            <a:xfrm rot="8716295">
              <a:off x="2185790" y="17484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5" name="Forme libre : forme 764">
              <a:extLst>
                <a:ext uri="{FF2B5EF4-FFF2-40B4-BE49-F238E27FC236}">
                  <a16:creationId xmlns:a16="http://schemas.microsoft.com/office/drawing/2014/main" id="{7B9B20DE-10B5-415B-AF37-1A858BED9045}"/>
                </a:ext>
              </a:extLst>
            </p:cNvPr>
            <p:cNvSpPr/>
            <p:nvPr/>
          </p:nvSpPr>
          <p:spPr>
            <a:xfrm rot="8716295">
              <a:off x="2511323" y="552663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6" name="Forme libre : forme 765">
              <a:extLst>
                <a:ext uri="{FF2B5EF4-FFF2-40B4-BE49-F238E27FC236}">
                  <a16:creationId xmlns:a16="http://schemas.microsoft.com/office/drawing/2014/main" id="{C142A28D-5F4A-435F-8A0C-3EE1232B3316}"/>
                </a:ext>
              </a:extLst>
            </p:cNvPr>
            <p:cNvSpPr/>
            <p:nvPr/>
          </p:nvSpPr>
          <p:spPr>
            <a:xfrm rot="8716295">
              <a:off x="2145876" y="32623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7" name="Forme libre : forme 766">
              <a:extLst>
                <a:ext uri="{FF2B5EF4-FFF2-40B4-BE49-F238E27FC236}">
                  <a16:creationId xmlns:a16="http://schemas.microsoft.com/office/drawing/2014/main" id="{53A62157-BB8A-476A-AC97-60C47D01F065}"/>
                </a:ext>
              </a:extLst>
            </p:cNvPr>
            <p:cNvSpPr/>
            <p:nvPr/>
          </p:nvSpPr>
          <p:spPr>
            <a:xfrm rot="7484129">
              <a:off x="2670140" y="84228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8" name="Forme libre : forme 767">
              <a:extLst>
                <a:ext uri="{FF2B5EF4-FFF2-40B4-BE49-F238E27FC236}">
                  <a16:creationId xmlns:a16="http://schemas.microsoft.com/office/drawing/2014/main" id="{4DFDA964-86BB-4756-BFFD-A4BB45FDCCFC}"/>
                </a:ext>
              </a:extLst>
            </p:cNvPr>
            <p:cNvSpPr/>
            <p:nvPr/>
          </p:nvSpPr>
          <p:spPr>
            <a:xfrm rot="13089394">
              <a:off x="2828790" y="791629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9" name="Forme libre : forme 768">
              <a:extLst>
                <a:ext uri="{FF2B5EF4-FFF2-40B4-BE49-F238E27FC236}">
                  <a16:creationId xmlns:a16="http://schemas.microsoft.com/office/drawing/2014/main" id="{F236D03A-C489-49B6-877B-67DCE2BF8270}"/>
                </a:ext>
              </a:extLst>
            </p:cNvPr>
            <p:cNvSpPr/>
            <p:nvPr/>
          </p:nvSpPr>
          <p:spPr>
            <a:xfrm rot="8716295">
              <a:off x="3109681" y="501511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0" name="Forme libre : forme 769">
              <a:extLst>
                <a:ext uri="{FF2B5EF4-FFF2-40B4-BE49-F238E27FC236}">
                  <a16:creationId xmlns:a16="http://schemas.microsoft.com/office/drawing/2014/main" id="{EBC623F4-7089-4B8F-B837-05F42B99914B}"/>
                </a:ext>
              </a:extLst>
            </p:cNvPr>
            <p:cNvSpPr/>
            <p:nvPr/>
          </p:nvSpPr>
          <p:spPr>
            <a:xfrm rot="8716295">
              <a:off x="3031272" y="344719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1" name="Forme libre : forme 770">
              <a:extLst>
                <a:ext uri="{FF2B5EF4-FFF2-40B4-BE49-F238E27FC236}">
                  <a16:creationId xmlns:a16="http://schemas.microsoft.com/office/drawing/2014/main" id="{1655DDF2-D4FC-4FBB-BBB8-910D2AC4BA5B}"/>
                </a:ext>
              </a:extLst>
            </p:cNvPr>
            <p:cNvSpPr/>
            <p:nvPr/>
          </p:nvSpPr>
          <p:spPr>
            <a:xfrm rot="8716295">
              <a:off x="2663108" y="39046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2" name="Forme libre : forme 771">
              <a:extLst>
                <a:ext uri="{FF2B5EF4-FFF2-40B4-BE49-F238E27FC236}">
                  <a16:creationId xmlns:a16="http://schemas.microsoft.com/office/drawing/2014/main" id="{542FABCE-557E-498E-A52F-DA91EDA52BBF}"/>
                </a:ext>
              </a:extLst>
            </p:cNvPr>
            <p:cNvSpPr/>
            <p:nvPr/>
          </p:nvSpPr>
          <p:spPr>
            <a:xfrm rot="8716295">
              <a:off x="2931690" y="14944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3" name="Forme libre : forme 772">
              <a:extLst>
                <a:ext uri="{FF2B5EF4-FFF2-40B4-BE49-F238E27FC236}">
                  <a16:creationId xmlns:a16="http://schemas.microsoft.com/office/drawing/2014/main" id="{1D6DD177-B2DC-4E34-A45B-89523B9B78BB}"/>
                </a:ext>
              </a:extLst>
            </p:cNvPr>
            <p:cNvSpPr/>
            <p:nvPr/>
          </p:nvSpPr>
          <p:spPr>
            <a:xfrm rot="8716295">
              <a:off x="1834766" y="-57684"/>
              <a:ext cx="186564" cy="129320"/>
            </a:xfrm>
            <a:custGeom>
              <a:avLst/>
              <a:gdLst>
                <a:gd name="connsiteX0" fmla="*/ 123263 w 123263"/>
                <a:gd name="connsiteY0" fmla="*/ 85442 h 85442"/>
                <a:gd name="connsiteX1" fmla="*/ 0 w 123263"/>
                <a:gd name="connsiteY1" fmla="*/ 0 h 85442"/>
                <a:gd name="connsiteX2" fmla="*/ 66305 w 123263"/>
                <a:gd name="connsiteY2" fmla="*/ 0 h 85442"/>
                <a:gd name="connsiteX3" fmla="*/ 123263 w 123263"/>
                <a:gd name="connsiteY3" fmla="*/ 50123 h 85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63" h="85442">
                  <a:moveTo>
                    <a:pt x="123263" y="85442"/>
                  </a:moveTo>
                  <a:lnTo>
                    <a:pt x="0" y="0"/>
                  </a:lnTo>
                  <a:lnTo>
                    <a:pt x="66305" y="0"/>
                  </a:lnTo>
                  <a:cubicBezTo>
                    <a:pt x="103214" y="0"/>
                    <a:pt x="123263" y="15948"/>
                    <a:pt x="123263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4" name="Forme libre : forme 773">
              <a:extLst>
                <a:ext uri="{FF2B5EF4-FFF2-40B4-BE49-F238E27FC236}">
                  <a16:creationId xmlns:a16="http://schemas.microsoft.com/office/drawing/2014/main" id="{4B325E05-93D6-4729-AC8E-3EF546AA40C7}"/>
                </a:ext>
              </a:extLst>
            </p:cNvPr>
            <p:cNvSpPr/>
            <p:nvPr/>
          </p:nvSpPr>
          <p:spPr>
            <a:xfrm rot="8716295">
              <a:off x="1969949" y="-13794"/>
              <a:ext cx="394488" cy="148365"/>
            </a:xfrm>
            <a:custGeom>
              <a:avLst/>
              <a:gdLst>
                <a:gd name="connsiteX0" fmla="*/ 104802 w 260639"/>
                <a:gd name="connsiteY0" fmla="*/ 74264 h 98025"/>
                <a:gd name="connsiteX1" fmla="*/ 0 w 260639"/>
                <a:gd name="connsiteY1" fmla="*/ 1618 h 98025"/>
                <a:gd name="connsiteX2" fmla="*/ 0 w 260639"/>
                <a:gd name="connsiteY2" fmla="*/ 1425 h 98025"/>
                <a:gd name="connsiteX3" fmla="*/ 104803 w 260639"/>
                <a:gd name="connsiteY3" fmla="*/ 1425 h 98025"/>
                <a:gd name="connsiteX4" fmla="*/ 122123 w 260639"/>
                <a:gd name="connsiteY4" fmla="*/ 86270 h 98025"/>
                <a:gd name="connsiteX5" fmla="*/ 106178 w 260639"/>
                <a:gd name="connsiteY5" fmla="*/ 75218 h 98025"/>
                <a:gd name="connsiteX6" fmla="*/ 116721 w 260639"/>
                <a:gd name="connsiteY6" fmla="*/ 47439 h 98025"/>
                <a:gd name="connsiteX7" fmla="*/ 154014 w 260639"/>
                <a:gd name="connsiteY7" fmla="*/ 5981 h 98025"/>
                <a:gd name="connsiteX8" fmla="*/ 185455 w 260639"/>
                <a:gd name="connsiteY8" fmla="*/ 57 h 98025"/>
                <a:gd name="connsiteX9" fmla="*/ 260639 w 260639"/>
                <a:gd name="connsiteY9" fmla="*/ 88456 h 98025"/>
                <a:gd name="connsiteX10" fmla="*/ 260639 w 260639"/>
                <a:gd name="connsiteY10" fmla="*/ 94380 h 98025"/>
                <a:gd name="connsiteX11" fmla="*/ 198669 w 260639"/>
                <a:gd name="connsiteY11" fmla="*/ 98025 h 98025"/>
                <a:gd name="connsiteX12" fmla="*/ 198669 w 260639"/>
                <a:gd name="connsiteY12" fmla="*/ 81621 h 98025"/>
                <a:gd name="connsiteX13" fmla="*/ 164950 w 260639"/>
                <a:gd name="connsiteY13" fmla="*/ 40156 h 98025"/>
                <a:gd name="connsiteX14" fmla="*/ 127358 w 260639"/>
                <a:gd name="connsiteY14" fmla="*/ 65616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60639" h="98025">
                  <a:moveTo>
                    <a:pt x="104802" y="74264"/>
                  </a:moveTo>
                  <a:lnTo>
                    <a:pt x="0" y="1618"/>
                  </a:lnTo>
                  <a:lnTo>
                    <a:pt x="0" y="1425"/>
                  </a:lnTo>
                  <a:lnTo>
                    <a:pt x="104803" y="1425"/>
                  </a:lnTo>
                  <a:close/>
                  <a:moveTo>
                    <a:pt x="122123" y="86270"/>
                  </a:moveTo>
                  <a:lnTo>
                    <a:pt x="106178" y="75218"/>
                  </a:lnTo>
                  <a:lnTo>
                    <a:pt x="116721" y="47439"/>
                  </a:lnTo>
                  <a:cubicBezTo>
                    <a:pt x="127102" y="24008"/>
                    <a:pt x="137610" y="12816"/>
                    <a:pt x="154014" y="5981"/>
                  </a:cubicBezTo>
                  <a:cubicBezTo>
                    <a:pt x="164038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50369" y="40156"/>
                    <a:pt x="137041" y="49839"/>
                    <a:pt x="127358" y="656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5" name="Forme libre : forme 774">
              <a:extLst>
                <a:ext uri="{FF2B5EF4-FFF2-40B4-BE49-F238E27FC236}">
                  <a16:creationId xmlns:a16="http://schemas.microsoft.com/office/drawing/2014/main" id="{1BED4C30-FCEC-4C8C-BB61-556D9D937503}"/>
                </a:ext>
              </a:extLst>
            </p:cNvPr>
            <p:cNvSpPr/>
            <p:nvPr/>
          </p:nvSpPr>
          <p:spPr>
            <a:xfrm rot="8716295">
              <a:off x="1736738" y="-7282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6" name="Forme libre : forme 775">
              <a:extLst>
                <a:ext uri="{FF2B5EF4-FFF2-40B4-BE49-F238E27FC236}">
                  <a16:creationId xmlns:a16="http://schemas.microsoft.com/office/drawing/2014/main" id="{9B4BC923-2016-4764-92A0-F47B951B54C3}"/>
                </a:ext>
              </a:extLst>
            </p:cNvPr>
            <p:cNvSpPr/>
            <p:nvPr/>
          </p:nvSpPr>
          <p:spPr>
            <a:xfrm rot="7484129">
              <a:off x="2399917" y="-21262"/>
              <a:ext cx="233243" cy="158079"/>
            </a:xfrm>
            <a:custGeom>
              <a:avLst/>
              <a:gdLst>
                <a:gd name="connsiteX0" fmla="*/ 72416 w 154104"/>
                <a:gd name="connsiteY0" fmla="*/ 104443 h 104443"/>
                <a:gd name="connsiteX1" fmla="*/ 0 w 154104"/>
                <a:gd name="connsiteY1" fmla="*/ 0 h 104443"/>
                <a:gd name="connsiteX2" fmla="*/ 154104 w 154104"/>
                <a:gd name="connsiteY2" fmla="*/ 0 h 104443"/>
                <a:gd name="connsiteX3" fmla="*/ 154104 w 154104"/>
                <a:gd name="connsiteY3" fmla="*/ 55323 h 104443"/>
                <a:gd name="connsiteX4" fmla="*/ 89312 w 154104"/>
                <a:gd name="connsiteY4" fmla="*/ 55323 h 104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4104" h="104443">
                  <a:moveTo>
                    <a:pt x="72416" y="104443"/>
                  </a:moveTo>
                  <a:lnTo>
                    <a:pt x="0" y="0"/>
                  </a:lnTo>
                  <a:lnTo>
                    <a:pt x="154104" y="0"/>
                  </a:lnTo>
                  <a:lnTo>
                    <a:pt x="154104" y="55323"/>
                  </a:lnTo>
                  <a:lnTo>
                    <a:pt x="89312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7" name="Forme libre : forme 776">
              <a:extLst>
                <a:ext uri="{FF2B5EF4-FFF2-40B4-BE49-F238E27FC236}">
                  <a16:creationId xmlns:a16="http://schemas.microsoft.com/office/drawing/2014/main" id="{E4F090A8-4655-44B0-9665-4E91BC39D1A8}"/>
                </a:ext>
              </a:extLst>
            </p:cNvPr>
            <p:cNvSpPr/>
            <p:nvPr/>
          </p:nvSpPr>
          <p:spPr>
            <a:xfrm rot="13089394">
              <a:off x="2721869" y="-65503"/>
              <a:ext cx="128296" cy="425348"/>
            </a:xfrm>
            <a:custGeom>
              <a:avLst/>
              <a:gdLst>
                <a:gd name="connsiteX0" fmla="*/ 84765 w 84765"/>
                <a:gd name="connsiteY0" fmla="*/ 225012 h 281028"/>
                <a:gd name="connsiteX1" fmla="*/ 13471 w 84765"/>
                <a:gd name="connsiteY1" fmla="*/ 281028 h 281028"/>
                <a:gd name="connsiteX2" fmla="*/ 4828 w 84765"/>
                <a:gd name="connsiteY2" fmla="*/ 263963 h 281028"/>
                <a:gd name="connsiteX3" fmla="*/ 0 w 84765"/>
                <a:gd name="connsiteY3" fmla="*/ 206370 h 281028"/>
                <a:gd name="connsiteX4" fmla="*/ 0 w 84765"/>
                <a:gd name="connsiteY4" fmla="*/ 38074 h 281028"/>
                <a:gd name="connsiteX5" fmla="*/ 73388 w 84765"/>
                <a:gd name="connsiteY5" fmla="*/ 0 h 281028"/>
                <a:gd name="connsiteX6" fmla="*/ 74492 w 84765"/>
                <a:gd name="connsiteY6" fmla="*/ 153950 h 281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4765" h="281028">
                  <a:moveTo>
                    <a:pt x="84765" y="225012"/>
                  </a:moveTo>
                  <a:lnTo>
                    <a:pt x="13471" y="281028"/>
                  </a:lnTo>
                  <a:lnTo>
                    <a:pt x="4828" y="263963"/>
                  </a:lnTo>
                  <a:cubicBezTo>
                    <a:pt x="1241" y="248168"/>
                    <a:pt x="0" y="228993"/>
                    <a:pt x="0" y="206370"/>
                  </a:cubicBez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8" name="Forme libre : forme 777">
              <a:extLst>
                <a:ext uri="{FF2B5EF4-FFF2-40B4-BE49-F238E27FC236}">
                  <a16:creationId xmlns:a16="http://schemas.microsoft.com/office/drawing/2014/main" id="{9DB33CAA-5433-47BF-989E-F22200A2870C}"/>
                </a:ext>
              </a:extLst>
            </p:cNvPr>
            <p:cNvSpPr/>
            <p:nvPr/>
          </p:nvSpPr>
          <p:spPr>
            <a:xfrm rot="8716295">
              <a:off x="5604774" y="3024342"/>
              <a:ext cx="274455" cy="132163"/>
            </a:xfrm>
            <a:custGeom>
              <a:avLst/>
              <a:gdLst>
                <a:gd name="connsiteX0" fmla="*/ 0 w 181333"/>
                <a:gd name="connsiteY0" fmla="*/ 87320 h 87320"/>
                <a:gd name="connsiteX1" fmla="*/ 42309 w 181333"/>
                <a:gd name="connsiteY1" fmla="*/ 36168 h 87320"/>
                <a:gd name="connsiteX2" fmla="*/ 54839 w 181333"/>
                <a:gd name="connsiteY2" fmla="*/ 38831 h 87320"/>
                <a:gd name="connsiteX3" fmla="*/ 107790 w 181333"/>
                <a:gd name="connsiteY3" fmla="*/ 29417 h 87320"/>
                <a:gd name="connsiteX4" fmla="*/ 180157 w 181333"/>
                <a:gd name="connsiteY4" fmla="*/ 0 h 87320"/>
                <a:gd name="connsiteX5" fmla="*/ 181333 w 181333"/>
                <a:gd name="connsiteY5" fmla="*/ 7648 h 87320"/>
                <a:gd name="connsiteX6" fmla="*/ 181333 w 181333"/>
                <a:gd name="connsiteY6" fmla="*/ 13532 h 87320"/>
                <a:gd name="connsiteX7" fmla="*/ 30340 w 181333"/>
                <a:gd name="connsiteY7" fmla="*/ 83361 h 87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333" h="87320">
                  <a:moveTo>
                    <a:pt x="0" y="87320"/>
                  </a:moveTo>
                  <a:lnTo>
                    <a:pt x="42309" y="36168"/>
                  </a:lnTo>
                  <a:lnTo>
                    <a:pt x="54839" y="38831"/>
                  </a:lnTo>
                  <a:cubicBezTo>
                    <a:pt x="73078" y="38242"/>
                    <a:pt x="90728" y="34712"/>
                    <a:pt x="107790" y="29417"/>
                  </a:cubicBezTo>
                  <a:cubicBezTo>
                    <a:pt x="132500" y="21768"/>
                    <a:pt x="156623" y="11767"/>
                    <a:pt x="180157" y="0"/>
                  </a:cubicBezTo>
                  <a:cubicBezTo>
                    <a:pt x="180745" y="2353"/>
                    <a:pt x="181333" y="5295"/>
                    <a:pt x="181333" y="7648"/>
                  </a:cubicBezTo>
                  <a:lnTo>
                    <a:pt x="181333" y="13532"/>
                  </a:lnTo>
                  <a:cubicBezTo>
                    <a:pt x="134560" y="53687"/>
                    <a:pt x="76865" y="74315"/>
                    <a:pt x="30340" y="833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9" name="Forme libre : forme 778">
              <a:extLst>
                <a:ext uri="{FF2B5EF4-FFF2-40B4-BE49-F238E27FC236}">
                  <a16:creationId xmlns:a16="http://schemas.microsoft.com/office/drawing/2014/main" id="{B43CFDC2-082C-4907-9138-CE468CF9D156}"/>
                </a:ext>
              </a:extLst>
            </p:cNvPr>
            <p:cNvSpPr/>
            <p:nvPr/>
          </p:nvSpPr>
          <p:spPr>
            <a:xfrm rot="8716295">
              <a:off x="5742786" y="2375436"/>
              <a:ext cx="92417" cy="296278"/>
            </a:xfrm>
            <a:custGeom>
              <a:avLst/>
              <a:gdLst>
                <a:gd name="connsiteX0" fmla="*/ 0 w 61060"/>
                <a:gd name="connsiteY0" fmla="*/ 195751 h 195751"/>
                <a:gd name="connsiteX1" fmla="*/ 0 w 61060"/>
                <a:gd name="connsiteY1" fmla="*/ 67520 h 195751"/>
                <a:gd name="connsiteX2" fmla="*/ 55847 w 61060"/>
                <a:gd name="connsiteY2" fmla="*/ 0 h 195751"/>
                <a:gd name="connsiteX3" fmla="*/ 61059 w 61060"/>
                <a:gd name="connsiteY3" fmla="*/ 13486 h 195751"/>
                <a:gd name="connsiteX4" fmla="*/ 61060 w 61060"/>
                <a:gd name="connsiteY4" fmla="*/ 171601 h 195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60" h="195751">
                  <a:moveTo>
                    <a:pt x="0" y="195751"/>
                  </a:moveTo>
                  <a:lnTo>
                    <a:pt x="0" y="67520"/>
                  </a:lnTo>
                  <a:lnTo>
                    <a:pt x="55847" y="0"/>
                  </a:lnTo>
                  <a:lnTo>
                    <a:pt x="61059" y="13486"/>
                  </a:lnTo>
                  <a:lnTo>
                    <a:pt x="61060" y="17160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0" name="Forme libre : forme 779">
              <a:extLst>
                <a:ext uri="{FF2B5EF4-FFF2-40B4-BE49-F238E27FC236}">
                  <a16:creationId xmlns:a16="http://schemas.microsoft.com/office/drawing/2014/main" id="{4D4A1F5E-B4EB-4CD4-BAB2-B2936E3BA1CA}"/>
                </a:ext>
              </a:extLst>
            </p:cNvPr>
            <p:cNvSpPr/>
            <p:nvPr/>
          </p:nvSpPr>
          <p:spPr>
            <a:xfrm rot="8716295">
              <a:off x="5579033" y="246915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1" name="Forme libre : forme 780">
              <a:extLst>
                <a:ext uri="{FF2B5EF4-FFF2-40B4-BE49-F238E27FC236}">
                  <a16:creationId xmlns:a16="http://schemas.microsoft.com/office/drawing/2014/main" id="{CE5CAFE6-1524-41DE-89BB-16FAB9036D83}"/>
                </a:ext>
              </a:extLst>
            </p:cNvPr>
            <p:cNvSpPr/>
            <p:nvPr/>
          </p:nvSpPr>
          <p:spPr>
            <a:xfrm rot="8716295">
              <a:off x="5389987" y="215331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2" name="Forme libre : forme 781">
              <a:extLst>
                <a:ext uri="{FF2B5EF4-FFF2-40B4-BE49-F238E27FC236}">
                  <a16:creationId xmlns:a16="http://schemas.microsoft.com/office/drawing/2014/main" id="{1078570C-FF38-413A-82DE-E38EF08EE2A9}"/>
                </a:ext>
              </a:extLst>
            </p:cNvPr>
            <p:cNvSpPr/>
            <p:nvPr/>
          </p:nvSpPr>
          <p:spPr>
            <a:xfrm rot="8716295">
              <a:off x="5371746" y="194326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3" name="Forme libre : forme 782">
              <a:extLst>
                <a:ext uri="{FF2B5EF4-FFF2-40B4-BE49-F238E27FC236}">
                  <a16:creationId xmlns:a16="http://schemas.microsoft.com/office/drawing/2014/main" id="{2DFDB502-0D6C-4245-AA56-DE338A411DD1}"/>
                </a:ext>
              </a:extLst>
            </p:cNvPr>
            <p:cNvSpPr/>
            <p:nvPr/>
          </p:nvSpPr>
          <p:spPr>
            <a:xfrm rot="8716295">
              <a:off x="5716764" y="2550542"/>
              <a:ext cx="91035" cy="331729"/>
            </a:xfrm>
            <a:custGeom>
              <a:avLst/>
              <a:gdLst>
                <a:gd name="connsiteX0" fmla="*/ 60147 w 60147"/>
                <a:gd name="connsiteY0" fmla="*/ 219174 h 219174"/>
                <a:gd name="connsiteX1" fmla="*/ 0 w 60147"/>
                <a:gd name="connsiteY1" fmla="*/ 161304 h 219174"/>
                <a:gd name="connsiteX2" fmla="*/ 0 w 60147"/>
                <a:gd name="connsiteY2" fmla="*/ 68045 h 219174"/>
                <a:gd name="connsiteX3" fmla="*/ 56210 w 60147"/>
                <a:gd name="connsiteY3" fmla="*/ 87 h 219174"/>
                <a:gd name="connsiteX4" fmla="*/ 60147 w 60147"/>
                <a:gd name="connsiteY4" fmla="*/ 0 h 219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47" h="219174">
                  <a:moveTo>
                    <a:pt x="60147" y="219174"/>
                  </a:moveTo>
                  <a:lnTo>
                    <a:pt x="0" y="161304"/>
                  </a:lnTo>
                  <a:lnTo>
                    <a:pt x="0" y="68045"/>
                  </a:lnTo>
                  <a:lnTo>
                    <a:pt x="56210" y="87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4" name="Forme libre : forme 783">
              <a:extLst>
                <a:ext uri="{FF2B5EF4-FFF2-40B4-BE49-F238E27FC236}">
                  <a16:creationId xmlns:a16="http://schemas.microsoft.com/office/drawing/2014/main" id="{D6EF1E2E-EA70-4C26-808A-AA6B7CC8B41E}"/>
                </a:ext>
              </a:extLst>
            </p:cNvPr>
            <p:cNvSpPr/>
            <p:nvPr/>
          </p:nvSpPr>
          <p:spPr>
            <a:xfrm rot="8716295">
              <a:off x="5787639" y="192609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5" name="Forme libre : forme 784">
              <a:extLst>
                <a:ext uri="{FF2B5EF4-FFF2-40B4-BE49-F238E27FC236}">
                  <a16:creationId xmlns:a16="http://schemas.microsoft.com/office/drawing/2014/main" id="{A2961F2A-DE92-482C-A65E-A4071D364F5E}"/>
                </a:ext>
              </a:extLst>
            </p:cNvPr>
            <p:cNvSpPr/>
            <p:nvPr/>
          </p:nvSpPr>
          <p:spPr>
            <a:xfrm rot="8716295">
              <a:off x="5411131" y="133665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6" name="Forme libre : forme 785">
              <a:extLst>
                <a:ext uri="{FF2B5EF4-FFF2-40B4-BE49-F238E27FC236}">
                  <a16:creationId xmlns:a16="http://schemas.microsoft.com/office/drawing/2014/main" id="{F345DFE8-8A89-4353-9132-2A3DD36A84F9}"/>
                </a:ext>
              </a:extLst>
            </p:cNvPr>
            <p:cNvSpPr/>
            <p:nvPr/>
          </p:nvSpPr>
          <p:spPr>
            <a:xfrm rot="8716295">
              <a:off x="5547629" y="1389153"/>
              <a:ext cx="346795" cy="385612"/>
            </a:xfrm>
            <a:custGeom>
              <a:avLst/>
              <a:gdLst>
                <a:gd name="connsiteX0" fmla="*/ 19979 w 229128"/>
                <a:gd name="connsiteY0" fmla="*/ 254774 h 254774"/>
                <a:gd name="connsiteX1" fmla="*/ 19979 w 229128"/>
                <a:gd name="connsiteY1" fmla="*/ 45624 h 254774"/>
                <a:gd name="connsiteX2" fmla="*/ 0 w 229128"/>
                <a:gd name="connsiteY2" fmla="*/ 45624 h 254774"/>
                <a:gd name="connsiteX3" fmla="*/ 36558 w 229128"/>
                <a:gd name="connsiteY3" fmla="*/ 1425 h 254774"/>
                <a:gd name="connsiteX4" fmla="*/ 73292 w 229128"/>
                <a:gd name="connsiteY4" fmla="*/ 1425 h 254774"/>
                <a:gd name="connsiteX5" fmla="*/ 73292 w 229128"/>
                <a:gd name="connsiteY5" fmla="*/ 75242 h 254774"/>
                <a:gd name="connsiteX6" fmla="*/ 74658 w 229128"/>
                <a:gd name="connsiteY6" fmla="*/ 75242 h 254774"/>
                <a:gd name="connsiteX7" fmla="*/ 122503 w 229128"/>
                <a:gd name="connsiteY7" fmla="*/ 5981 h 254774"/>
                <a:gd name="connsiteX8" fmla="*/ 153944 w 229128"/>
                <a:gd name="connsiteY8" fmla="*/ 57 h 254774"/>
                <a:gd name="connsiteX9" fmla="*/ 229128 w 229128"/>
                <a:gd name="connsiteY9" fmla="*/ 88456 h 254774"/>
                <a:gd name="connsiteX10" fmla="*/ 229128 w 229128"/>
                <a:gd name="connsiteY10" fmla="*/ 94380 h 254774"/>
                <a:gd name="connsiteX11" fmla="*/ 167158 w 229128"/>
                <a:gd name="connsiteY11" fmla="*/ 98025 h 254774"/>
                <a:gd name="connsiteX12" fmla="*/ 167158 w 229128"/>
                <a:gd name="connsiteY12" fmla="*/ 81621 h 254774"/>
                <a:gd name="connsiteX13" fmla="*/ 133439 w 229128"/>
                <a:gd name="connsiteY13" fmla="*/ 40156 h 254774"/>
                <a:gd name="connsiteX14" fmla="*/ 80127 w 229128"/>
                <a:gd name="connsiteY14" fmla="*/ 127643 h 254774"/>
                <a:gd name="connsiteX15" fmla="*/ 80127 w 229128"/>
                <a:gd name="connsiteY15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29128" h="254774">
                  <a:moveTo>
                    <a:pt x="19979" y="254774"/>
                  </a:moveTo>
                  <a:lnTo>
                    <a:pt x="19979" y="45624"/>
                  </a:lnTo>
                  <a:lnTo>
                    <a:pt x="0" y="45624"/>
                  </a:lnTo>
                  <a:lnTo>
                    <a:pt x="36558" y="1425"/>
                  </a:lnTo>
                  <a:lnTo>
                    <a:pt x="73292" y="1425"/>
                  </a:lnTo>
                  <a:lnTo>
                    <a:pt x="73292" y="75242"/>
                  </a:lnTo>
                  <a:lnTo>
                    <a:pt x="74658" y="75242"/>
                  </a:lnTo>
                  <a:cubicBezTo>
                    <a:pt x="89240" y="31954"/>
                    <a:pt x="100631" y="15094"/>
                    <a:pt x="122503" y="5981"/>
                  </a:cubicBezTo>
                  <a:cubicBezTo>
                    <a:pt x="132528" y="1880"/>
                    <a:pt x="143008" y="-398"/>
                    <a:pt x="153944" y="57"/>
                  </a:cubicBezTo>
                  <a:cubicBezTo>
                    <a:pt x="200877" y="-854"/>
                    <a:pt x="229128" y="31954"/>
                    <a:pt x="229128" y="88456"/>
                  </a:cubicBezTo>
                  <a:lnTo>
                    <a:pt x="229128" y="94380"/>
                  </a:lnTo>
                  <a:lnTo>
                    <a:pt x="167158" y="98025"/>
                  </a:lnTo>
                  <a:lnTo>
                    <a:pt x="167158" y="81621"/>
                  </a:lnTo>
                  <a:cubicBezTo>
                    <a:pt x="167158" y="57016"/>
                    <a:pt x="153033" y="40156"/>
                    <a:pt x="133439" y="40156"/>
                  </a:cubicBezTo>
                  <a:cubicBezTo>
                    <a:pt x="104277" y="40156"/>
                    <a:pt x="80127" y="78887"/>
                    <a:pt x="80127" y="127643"/>
                  </a:cubicBezTo>
                  <a:lnTo>
                    <a:pt x="80127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7" name="Forme libre : forme 786">
              <a:extLst>
                <a:ext uri="{FF2B5EF4-FFF2-40B4-BE49-F238E27FC236}">
                  <a16:creationId xmlns:a16="http://schemas.microsoft.com/office/drawing/2014/main" id="{5895E6F0-4399-4D04-958F-F7C3F4A74E7E}"/>
                </a:ext>
              </a:extLst>
            </p:cNvPr>
            <p:cNvSpPr/>
            <p:nvPr/>
          </p:nvSpPr>
          <p:spPr>
            <a:xfrm rot="8716295">
              <a:off x="5478548" y="125032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8" name="Forme libre : forme 787">
              <a:extLst>
                <a:ext uri="{FF2B5EF4-FFF2-40B4-BE49-F238E27FC236}">
                  <a16:creationId xmlns:a16="http://schemas.microsoft.com/office/drawing/2014/main" id="{793334F9-FA14-4BBF-95F9-C3325CD14C1E}"/>
                </a:ext>
              </a:extLst>
            </p:cNvPr>
            <p:cNvSpPr/>
            <p:nvPr/>
          </p:nvSpPr>
          <p:spPr>
            <a:xfrm rot="8716295">
              <a:off x="5241260" y="147066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9" name="Forme libre : forme 788">
              <a:extLst>
                <a:ext uri="{FF2B5EF4-FFF2-40B4-BE49-F238E27FC236}">
                  <a16:creationId xmlns:a16="http://schemas.microsoft.com/office/drawing/2014/main" id="{27BEE6E8-B5E4-4A65-91F8-0AE242F08908}"/>
                </a:ext>
              </a:extLst>
            </p:cNvPr>
            <p:cNvSpPr/>
            <p:nvPr/>
          </p:nvSpPr>
          <p:spPr>
            <a:xfrm rot="8716295">
              <a:off x="5052214" y="11548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0" name="Forme libre : forme 789">
              <a:extLst>
                <a:ext uri="{FF2B5EF4-FFF2-40B4-BE49-F238E27FC236}">
                  <a16:creationId xmlns:a16="http://schemas.microsoft.com/office/drawing/2014/main" id="{A3F0A921-0C90-45C3-AD51-00D52D70CCCC}"/>
                </a:ext>
              </a:extLst>
            </p:cNvPr>
            <p:cNvSpPr/>
            <p:nvPr/>
          </p:nvSpPr>
          <p:spPr>
            <a:xfrm rot="8716295">
              <a:off x="5033973" y="94478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1" name="Forme libre : forme 790">
              <a:extLst>
                <a:ext uri="{FF2B5EF4-FFF2-40B4-BE49-F238E27FC236}">
                  <a16:creationId xmlns:a16="http://schemas.microsoft.com/office/drawing/2014/main" id="{4F886E26-FD4E-485C-BE50-E0DBCD541B71}"/>
                </a:ext>
              </a:extLst>
            </p:cNvPr>
            <p:cNvSpPr/>
            <p:nvPr/>
          </p:nvSpPr>
          <p:spPr>
            <a:xfrm rot="8716295">
              <a:off x="5377749" y="153264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2" name="Forme libre : forme 791">
              <a:extLst>
                <a:ext uri="{FF2B5EF4-FFF2-40B4-BE49-F238E27FC236}">
                  <a16:creationId xmlns:a16="http://schemas.microsoft.com/office/drawing/2014/main" id="{04C1E3D7-9A53-4350-93B5-3A078BC5B4EB}"/>
                </a:ext>
              </a:extLst>
            </p:cNvPr>
            <p:cNvSpPr/>
            <p:nvPr/>
          </p:nvSpPr>
          <p:spPr>
            <a:xfrm rot="8716295">
              <a:off x="5847873" y="996679"/>
              <a:ext cx="92417" cy="314872"/>
            </a:xfrm>
            <a:custGeom>
              <a:avLst/>
              <a:gdLst>
                <a:gd name="connsiteX0" fmla="*/ 0 w 61060"/>
                <a:gd name="connsiteY0" fmla="*/ 208036 h 208036"/>
                <a:gd name="connsiteX1" fmla="*/ 1 w 61060"/>
                <a:gd name="connsiteY1" fmla="*/ 61780 h 208036"/>
                <a:gd name="connsiteX2" fmla="*/ 51100 w 61060"/>
                <a:gd name="connsiteY2" fmla="*/ 0 h 208036"/>
                <a:gd name="connsiteX3" fmla="*/ 61059 w 61060"/>
                <a:gd name="connsiteY3" fmla="*/ 25771 h 208036"/>
                <a:gd name="connsiteX4" fmla="*/ 61060 w 61060"/>
                <a:gd name="connsiteY4" fmla="*/ 183886 h 208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60" h="208036">
                  <a:moveTo>
                    <a:pt x="0" y="208036"/>
                  </a:moveTo>
                  <a:lnTo>
                    <a:pt x="1" y="61780"/>
                  </a:lnTo>
                  <a:lnTo>
                    <a:pt x="51100" y="0"/>
                  </a:lnTo>
                  <a:lnTo>
                    <a:pt x="61059" y="25771"/>
                  </a:lnTo>
                  <a:lnTo>
                    <a:pt x="61060" y="18388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3" name="Forme libre : forme 792">
              <a:extLst>
                <a:ext uri="{FF2B5EF4-FFF2-40B4-BE49-F238E27FC236}">
                  <a16:creationId xmlns:a16="http://schemas.microsoft.com/office/drawing/2014/main" id="{2A3AE8A9-4B1B-420D-8356-BE83AA6C92DA}"/>
                </a:ext>
              </a:extLst>
            </p:cNvPr>
            <p:cNvSpPr/>
            <p:nvPr/>
          </p:nvSpPr>
          <p:spPr>
            <a:xfrm rot="8716295">
              <a:off x="5678824" y="109205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4" name="Forme libre : forme 793">
              <a:extLst>
                <a:ext uri="{FF2B5EF4-FFF2-40B4-BE49-F238E27FC236}">
                  <a16:creationId xmlns:a16="http://schemas.microsoft.com/office/drawing/2014/main" id="{387B3690-57AF-4CCF-B9A7-55CB534D22BD}"/>
                </a:ext>
              </a:extLst>
            </p:cNvPr>
            <p:cNvSpPr/>
            <p:nvPr/>
          </p:nvSpPr>
          <p:spPr>
            <a:xfrm rot="8716295">
              <a:off x="5489780" y="77621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5" name="Forme libre : forme 794">
              <a:extLst>
                <a:ext uri="{FF2B5EF4-FFF2-40B4-BE49-F238E27FC236}">
                  <a16:creationId xmlns:a16="http://schemas.microsoft.com/office/drawing/2014/main" id="{F07D311E-335E-4C7D-82A0-742BBF375A4B}"/>
                </a:ext>
              </a:extLst>
            </p:cNvPr>
            <p:cNvSpPr/>
            <p:nvPr/>
          </p:nvSpPr>
          <p:spPr>
            <a:xfrm rot="8716295">
              <a:off x="5816554" y="1173443"/>
              <a:ext cx="91037" cy="331731"/>
            </a:xfrm>
            <a:custGeom>
              <a:avLst/>
              <a:gdLst>
                <a:gd name="connsiteX0" fmla="*/ 60148 w 60148"/>
                <a:gd name="connsiteY0" fmla="*/ 219175 h 219175"/>
                <a:gd name="connsiteX1" fmla="*/ 0 w 60148"/>
                <a:gd name="connsiteY1" fmla="*/ 161305 h 219175"/>
                <a:gd name="connsiteX2" fmla="*/ 0 w 60148"/>
                <a:gd name="connsiteY2" fmla="*/ 50021 h 219175"/>
                <a:gd name="connsiteX3" fmla="*/ 41025 w 60148"/>
                <a:gd name="connsiteY3" fmla="*/ 421 h 219175"/>
                <a:gd name="connsiteX4" fmla="*/ 60147 w 60148"/>
                <a:gd name="connsiteY4" fmla="*/ 0 h 219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48" h="219175">
                  <a:moveTo>
                    <a:pt x="60148" y="219175"/>
                  </a:moveTo>
                  <a:lnTo>
                    <a:pt x="0" y="161305"/>
                  </a:lnTo>
                  <a:lnTo>
                    <a:pt x="0" y="50021"/>
                  </a:lnTo>
                  <a:lnTo>
                    <a:pt x="41025" y="421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6" name="Forme libre : forme 795">
              <a:extLst>
                <a:ext uri="{FF2B5EF4-FFF2-40B4-BE49-F238E27FC236}">
                  <a16:creationId xmlns:a16="http://schemas.microsoft.com/office/drawing/2014/main" id="{66CDEC38-7CA1-4527-B6C7-5DCAC2442F65}"/>
                </a:ext>
              </a:extLst>
            </p:cNvPr>
            <p:cNvSpPr/>
            <p:nvPr/>
          </p:nvSpPr>
          <p:spPr>
            <a:xfrm rot="8716295">
              <a:off x="5449866" y="92760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7" name="Forme libre : forme 796">
              <a:extLst>
                <a:ext uri="{FF2B5EF4-FFF2-40B4-BE49-F238E27FC236}">
                  <a16:creationId xmlns:a16="http://schemas.microsoft.com/office/drawing/2014/main" id="{D2CA5B22-3CB9-4D61-9713-ECDE1E76381D}"/>
                </a:ext>
              </a:extLst>
            </p:cNvPr>
            <p:cNvSpPr/>
            <p:nvPr/>
          </p:nvSpPr>
          <p:spPr>
            <a:xfrm rot="8716295">
              <a:off x="5954717" y="1002572"/>
              <a:ext cx="48491" cy="55034"/>
            </a:xfrm>
            <a:custGeom>
              <a:avLst/>
              <a:gdLst>
                <a:gd name="connsiteX0" fmla="*/ 0 w 32038"/>
                <a:gd name="connsiteY0" fmla="*/ 35166 h 36361"/>
                <a:gd name="connsiteX1" fmla="*/ 29086 w 32038"/>
                <a:gd name="connsiteY1" fmla="*/ 0 h 36361"/>
                <a:gd name="connsiteX2" fmla="*/ 32038 w 32038"/>
                <a:gd name="connsiteY2" fmla="*/ 7028 h 36361"/>
                <a:gd name="connsiteX3" fmla="*/ 23495 w 32038"/>
                <a:gd name="connsiteY3" fmla="*/ 27704 h 36361"/>
                <a:gd name="connsiteX4" fmla="*/ 2990 w 32038"/>
                <a:gd name="connsiteY4" fmla="*/ 36361 h 36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038" h="36361">
                  <a:moveTo>
                    <a:pt x="0" y="35166"/>
                  </a:moveTo>
                  <a:lnTo>
                    <a:pt x="29086" y="0"/>
                  </a:lnTo>
                  <a:lnTo>
                    <a:pt x="32038" y="7028"/>
                  </a:lnTo>
                  <a:cubicBezTo>
                    <a:pt x="32039" y="14489"/>
                    <a:pt x="29191" y="22008"/>
                    <a:pt x="23495" y="27704"/>
                  </a:cubicBezTo>
                  <a:cubicBezTo>
                    <a:pt x="18027" y="33172"/>
                    <a:pt x="10736" y="36361"/>
                    <a:pt x="2990" y="363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8" name="Forme libre : forme 797">
              <a:extLst>
                <a:ext uri="{FF2B5EF4-FFF2-40B4-BE49-F238E27FC236}">
                  <a16:creationId xmlns:a16="http://schemas.microsoft.com/office/drawing/2014/main" id="{2C1218F4-7DC2-4ED8-8247-5696545760E1}"/>
                </a:ext>
              </a:extLst>
            </p:cNvPr>
            <p:cNvSpPr/>
            <p:nvPr/>
          </p:nvSpPr>
          <p:spPr>
            <a:xfrm rot="8716295">
              <a:off x="5079758" y="33459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9" name="Forme libre : forme 798">
              <a:extLst>
                <a:ext uri="{FF2B5EF4-FFF2-40B4-BE49-F238E27FC236}">
                  <a16:creationId xmlns:a16="http://schemas.microsoft.com/office/drawing/2014/main" id="{D0306570-766D-490D-9EC2-A97AB1BAB4C6}"/>
                </a:ext>
              </a:extLst>
            </p:cNvPr>
            <p:cNvSpPr/>
            <p:nvPr/>
          </p:nvSpPr>
          <p:spPr>
            <a:xfrm rot="8716295">
              <a:off x="5215056" y="37885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0" name="Forme libre : forme 799">
              <a:extLst>
                <a:ext uri="{FF2B5EF4-FFF2-40B4-BE49-F238E27FC236}">
                  <a16:creationId xmlns:a16="http://schemas.microsoft.com/office/drawing/2014/main" id="{77292053-0143-4408-B999-537084FF4DF1}"/>
                </a:ext>
              </a:extLst>
            </p:cNvPr>
            <p:cNvSpPr/>
            <p:nvPr/>
          </p:nvSpPr>
          <p:spPr>
            <a:xfrm rot="8716295">
              <a:off x="5147174" y="248268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1" name="Forme libre : forme 800">
              <a:extLst>
                <a:ext uri="{FF2B5EF4-FFF2-40B4-BE49-F238E27FC236}">
                  <a16:creationId xmlns:a16="http://schemas.microsoft.com/office/drawing/2014/main" id="{841FE04C-5195-472E-8787-746E4A4E8D7E}"/>
                </a:ext>
              </a:extLst>
            </p:cNvPr>
            <p:cNvSpPr/>
            <p:nvPr/>
          </p:nvSpPr>
          <p:spPr>
            <a:xfrm rot="8716295">
              <a:off x="4909887" y="4686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2" name="Forme libre : forme 801">
              <a:extLst>
                <a:ext uri="{FF2B5EF4-FFF2-40B4-BE49-F238E27FC236}">
                  <a16:creationId xmlns:a16="http://schemas.microsoft.com/office/drawing/2014/main" id="{F7B1085B-4858-4D70-A004-8B8F25F247C5}"/>
                </a:ext>
              </a:extLst>
            </p:cNvPr>
            <p:cNvSpPr/>
            <p:nvPr/>
          </p:nvSpPr>
          <p:spPr>
            <a:xfrm rot="8716295">
              <a:off x="4720840" y="15277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3" name="Forme libre : forme 802">
              <a:extLst>
                <a:ext uri="{FF2B5EF4-FFF2-40B4-BE49-F238E27FC236}">
                  <a16:creationId xmlns:a16="http://schemas.microsoft.com/office/drawing/2014/main" id="{B81144B8-8745-4F32-B198-B5E7831F9FA1}"/>
                </a:ext>
              </a:extLst>
            </p:cNvPr>
            <p:cNvSpPr/>
            <p:nvPr/>
          </p:nvSpPr>
          <p:spPr>
            <a:xfrm rot="8716295">
              <a:off x="4702019" y="-47743"/>
              <a:ext cx="439901" cy="516041"/>
            </a:xfrm>
            <a:custGeom>
              <a:avLst/>
              <a:gdLst>
                <a:gd name="connsiteX0" fmla="*/ 155476 w 290643"/>
                <a:gd name="connsiteY0" fmla="*/ 340949 h 340949"/>
                <a:gd name="connsiteX1" fmla="*/ 1169 w 290643"/>
                <a:gd name="connsiteY1" fmla="*/ 233989 h 340949"/>
                <a:gd name="connsiteX2" fmla="*/ 0 w 290643"/>
                <a:gd name="connsiteY2" fmla="*/ 220042 h 340949"/>
                <a:gd name="connsiteX3" fmla="*/ 0 w 290643"/>
                <a:gd name="connsiteY3" fmla="*/ 40596 h 340949"/>
                <a:gd name="connsiteX4" fmla="*/ 78250 w 290643"/>
                <a:gd name="connsiteY4" fmla="*/ 0 h 340949"/>
                <a:gd name="connsiteX5" fmla="*/ 79427 w 290643"/>
                <a:gd name="connsiteY5" fmla="*/ 164149 h 340949"/>
                <a:gd name="connsiteX6" fmla="*/ 93547 w 290643"/>
                <a:gd name="connsiteY6" fmla="*/ 261815 h 340949"/>
                <a:gd name="connsiteX7" fmla="*/ 164149 w 290643"/>
                <a:gd name="connsiteY7" fmla="*/ 300646 h 340949"/>
                <a:gd name="connsiteX8" fmla="*/ 217100 w 290643"/>
                <a:gd name="connsiteY8" fmla="*/ 291232 h 340949"/>
                <a:gd name="connsiteX9" fmla="*/ 289467 w 290643"/>
                <a:gd name="connsiteY9" fmla="*/ 261815 h 340949"/>
                <a:gd name="connsiteX10" fmla="*/ 290643 w 290643"/>
                <a:gd name="connsiteY10" fmla="*/ 269463 h 340949"/>
                <a:gd name="connsiteX11" fmla="*/ 290643 w 290643"/>
                <a:gd name="connsiteY11" fmla="*/ 275347 h 340949"/>
                <a:gd name="connsiteX12" fmla="*/ 189080 w 290643"/>
                <a:gd name="connsiteY12" fmla="*/ 331975 h 340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0643" h="340949">
                  <a:moveTo>
                    <a:pt x="155476" y="340949"/>
                  </a:moveTo>
                  <a:lnTo>
                    <a:pt x="1169" y="233989"/>
                  </a:lnTo>
                  <a:lnTo>
                    <a:pt x="0" y="220042"/>
                  </a:ln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9" y="300646"/>
                  </a:cubicBezTo>
                  <a:cubicBezTo>
                    <a:pt x="182388" y="300057"/>
                    <a:pt x="200038" y="296527"/>
                    <a:pt x="217100" y="291232"/>
                  </a:cubicBezTo>
                  <a:cubicBezTo>
                    <a:pt x="241810" y="283584"/>
                    <a:pt x="265933" y="273582"/>
                    <a:pt x="289467" y="261815"/>
                  </a:cubicBezTo>
                  <a:cubicBezTo>
                    <a:pt x="290055" y="264168"/>
                    <a:pt x="290643" y="267110"/>
                    <a:pt x="290643" y="269463"/>
                  </a:cubicBezTo>
                  <a:lnTo>
                    <a:pt x="290643" y="275347"/>
                  </a:lnTo>
                  <a:cubicBezTo>
                    <a:pt x="259461" y="302117"/>
                    <a:pt x="223425" y="320208"/>
                    <a:pt x="189080" y="3319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4" name="Forme libre : forme 803">
              <a:extLst>
                <a:ext uri="{FF2B5EF4-FFF2-40B4-BE49-F238E27FC236}">
                  <a16:creationId xmlns:a16="http://schemas.microsoft.com/office/drawing/2014/main" id="{97BB5D8E-77DF-4379-8FB9-C73059373491}"/>
                </a:ext>
              </a:extLst>
            </p:cNvPr>
            <p:cNvSpPr/>
            <p:nvPr/>
          </p:nvSpPr>
          <p:spPr>
            <a:xfrm rot="8716295">
              <a:off x="5046375" y="53059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5" name="Forme libre : forme 804">
              <a:extLst>
                <a:ext uri="{FF2B5EF4-FFF2-40B4-BE49-F238E27FC236}">
                  <a16:creationId xmlns:a16="http://schemas.microsoft.com/office/drawing/2014/main" id="{0E56D396-C685-4453-B6D5-C901E9191392}"/>
                </a:ext>
              </a:extLst>
            </p:cNvPr>
            <p:cNvSpPr/>
            <p:nvPr/>
          </p:nvSpPr>
          <p:spPr>
            <a:xfrm rot="8716295">
              <a:off x="5517321" y="-4401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6" name="Forme libre : forme 805">
              <a:extLst>
                <a:ext uri="{FF2B5EF4-FFF2-40B4-BE49-F238E27FC236}">
                  <a16:creationId xmlns:a16="http://schemas.microsoft.com/office/drawing/2014/main" id="{FDD18870-B961-4BA7-957F-21B8886A0CDC}"/>
                </a:ext>
              </a:extLst>
            </p:cNvPr>
            <p:cNvSpPr/>
            <p:nvPr/>
          </p:nvSpPr>
          <p:spPr>
            <a:xfrm rot="8716295">
              <a:off x="5660365" y="29418"/>
              <a:ext cx="361480" cy="358038"/>
            </a:xfrm>
            <a:custGeom>
              <a:avLst/>
              <a:gdLst>
                <a:gd name="connsiteX0" fmla="*/ 56401 w 238830"/>
                <a:gd name="connsiteY0" fmla="*/ 236556 h 236556"/>
                <a:gd name="connsiteX1" fmla="*/ 29681 w 238830"/>
                <a:gd name="connsiteY1" fmla="*/ 218034 h 236556"/>
                <a:gd name="connsiteX2" fmla="*/ 29681 w 238830"/>
                <a:gd name="connsiteY2" fmla="*/ 45624 h 236556"/>
                <a:gd name="connsiteX3" fmla="*/ 0 w 238830"/>
                <a:gd name="connsiteY3" fmla="*/ 45624 h 236556"/>
                <a:gd name="connsiteX4" fmla="*/ 36558 w 238830"/>
                <a:gd name="connsiteY4" fmla="*/ 1425 h 236556"/>
                <a:gd name="connsiteX5" fmla="*/ 82994 w 238830"/>
                <a:gd name="connsiteY5" fmla="*/ 1425 h 236556"/>
                <a:gd name="connsiteX6" fmla="*/ 82994 w 238830"/>
                <a:gd name="connsiteY6" fmla="*/ 75242 h 236556"/>
                <a:gd name="connsiteX7" fmla="*/ 84360 w 238830"/>
                <a:gd name="connsiteY7" fmla="*/ 75242 h 236556"/>
                <a:gd name="connsiteX8" fmla="*/ 132205 w 238830"/>
                <a:gd name="connsiteY8" fmla="*/ 5981 h 236556"/>
                <a:gd name="connsiteX9" fmla="*/ 163646 w 238830"/>
                <a:gd name="connsiteY9" fmla="*/ 57 h 236556"/>
                <a:gd name="connsiteX10" fmla="*/ 238830 w 238830"/>
                <a:gd name="connsiteY10" fmla="*/ 88456 h 236556"/>
                <a:gd name="connsiteX11" fmla="*/ 238830 w 238830"/>
                <a:gd name="connsiteY11" fmla="*/ 94380 h 236556"/>
                <a:gd name="connsiteX12" fmla="*/ 176860 w 238830"/>
                <a:gd name="connsiteY12" fmla="*/ 98025 h 236556"/>
                <a:gd name="connsiteX13" fmla="*/ 176860 w 238830"/>
                <a:gd name="connsiteY13" fmla="*/ 81621 h 236556"/>
                <a:gd name="connsiteX14" fmla="*/ 143141 w 238830"/>
                <a:gd name="connsiteY14" fmla="*/ 40156 h 236556"/>
                <a:gd name="connsiteX15" fmla="*/ 89829 w 238830"/>
                <a:gd name="connsiteY15" fmla="*/ 127643 h 236556"/>
                <a:gd name="connsiteX16" fmla="*/ 89829 w 238830"/>
                <a:gd name="connsiteY16" fmla="*/ 213764 h 236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8830" h="236556">
                  <a:moveTo>
                    <a:pt x="56401" y="236556"/>
                  </a:moveTo>
                  <a:lnTo>
                    <a:pt x="29681" y="218034"/>
                  </a:lnTo>
                  <a:lnTo>
                    <a:pt x="29681" y="45624"/>
                  </a:lnTo>
                  <a:lnTo>
                    <a:pt x="0" y="45624"/>
                  </a:lnTo>
                  <a:lnTo>
                    <a:pt x="36558" y="1425"/>
                  </a:lnTo>
                  <a:lnTo>
                    <a:pt x="82994" y="1425"/>
                  </a:lnTo>
                  <a:lnTo>
                    <a:pt x="82994" y="75242"/>
                  </a:lnTo>
                  <a:lnTo>
                    <a:pt x="84360" y="75242"/>
                  </a:lnTo>
                  <a:cubicBezTo>
                    <a:pt x="98942" y="31954"/>
                    <a:pt x="110333" y="15095"/>
                    <a:pt x="132205" y="5981"/>
                  </a:cubicBezTo>
                  <a:cubicBezTo>
                    <a:pt x="142230" y="1880"/>
                    <a:pt x="152710" y="-398"/>
                    <a:pt x="163646" y="57"/>
                  </a:cubicBezTo>
                  <a:cubicBezTo>
                    <a:pt x="210579" y="-854"/>
                    <a:pt x="238830" y="31954"/>
                    <a:pt x="238830" y="88456"/>
                  </a:cubicBezTo>
                  <a:lnTo>
                    <a:pt x="238830" y="94380"/>
                  </a:lnTo>
                  <a:lnTo>
                    <a:pt x="176860" y="98025"/>
                  </a:lnTo>
                  <a:lnTo>
                    <a:pt x="176860" y="81621"/>
                  </a:lnTo>
                  <a:cubicBezTo>
                    <a:pt x="176860" y="57016"/>
                    <a:pt x="162735" y="40156"/>
                    <a:pt x="143141" y="40156"/>
                  </a:cubicBezTo>
                  <a:cubicBezTo>
                    <a:pt x="113979" y="40156"/>
                    <a:pt x="89829" y="78887"/>
                    <a:pt x="89829" y="127643"/>
                  </a:cubicBezTo>
                  <a:lnTo>
                    <a:pt x="89829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7" name="Forme libre : forme 806">
              <a:extLst>
                <a:ext uri="{FF2B5EF4-FFF2-40B4-BE49-F238E27FC236}">
                  <a16:creationId xmlns:a16="http://schemas.microsoft.com/office/drawing/2014/main" id="{D0E1C294-DAF5-41B6-B115-06272F5F9B10}"/>
                </a:ext>
              </a:extLst>
            </p:cNvPr>
            <p:cNvSpPr/>
            <p:nvPr/>
          </p:nvSpPr>
          <p:spPr>
            <a:xfrm rot="8716295">
              <a:off x="5347450" y="8999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8" name="Forme libre : forme 807">
              <a:extLst>
                <a:ext uri="{FF2B5EF4-FFF2-40B4-BE49-F238E27FC236}">
                  <a16:creationId xmlns:a16="http://schemas.microsoft.com/office/drawing/2014/main" id="{74F1E207-7916-4202-A641-550B15EFECC8}"/>
                </a:ext>
              </a:extLst>
            </p:cNvPr>
            <p:cNvSpPr/>
            <p:nvPr/>
          </p:nvSpPr>
          <p:spPr>
            <a:xfrm rot="8716295">
              <a:off x="5220022" y="-7080"/>
              <a:ext cx="219414" cy="84041"/>
            </a:xfrm>
            <a:custGeom>
              <a:avLst/>
              <a:gdLst>
                <a:gd name="connsiteX0" fmla="*/ 80105 w 144967"/>
                <a:gd name="connsiteY0" fmla="*/ 55526 h 55526"/>
                <a:gd name="connsiteX1" fmla="*/ 0 w 144967"/>
                <a:gd name="connsiteY1" fmla="*/ 0 h 55526"/>
                <a:gd name="connsiteX2" fmla="*/ 144967 w 144967"/>
                <a:gd name="connsiteY2" fmla="*/ 0 h 55526"/>
                <a:gd name="connsiteX3" fmla="*/ 144967 w 144967"/>
                <a:gd name="connsiteY3" fmla="*/ 55323 h 55526"/>
                <a:gd name="connsiteX4" fmla="*/ 80175 w 144967"/>
                <a:gd name="connsiteY4" fmla="*/ 55323 h 55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967" h="55526">
                  <a:moveTo>
                    <a:pt x="80105" y="55526"/>
                  </a:moveTo>
                  <a:lnTo>
                    <a:pt x="0" y="0"/>
                  </a:lnTo>
                  <a:lnTo>
                    <a:pt x="144967" y="0"/>
                  </a:lnTo>
                  <a:lnTo>
                    <a:pt x="144967" y="55323"/>
                  </a:lnTo>
                  <a:lnTo>
                    <a:pt x="8017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9" name="Forme libre : forme 808">
              <a:extLst>
                <a:ext uri="{FF2B5EF4-FFF2-40B4-BE49-F238E27FC236}">
                  <a16:creationId xmlns:a16="http://schemas.microsoft.com/office/drawing/2014/main" id="{FFFA1363-71F4-445A-B608-E607D2E33C24}"/>
                </a:ext>
              </a:extLst>
            </p:cNvPr>
            <p:cNvSpPr/>
            <p:nvPr/>
          </p:nvSpPr>
          <p:spPr>
            <a:xfrm rot="8716295">
              <a:off x="5483939" y="15198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0" name="Forme libre : forme 809">
              <a:extLst>
                <a:ext uri="{FF2B5EF4-FFF2-40B4-BE49-F238E27FC236}">
                  <a16:creationId xmlns:a16="http://schemas.microsoft.com/office/drawing/2014/main" id="{F26EC522-D5AA-44BE-B119-A69633A6A7B7}"/>
                </a:ext>
              </a:extLst>
            </p:cNvPr>
            <p:cNvSpPr/>
            <p:nvPr/>
          </p:nvSpPr>
          <p:spPr>
            <a:xfrm rot="8716295">
              <a:off x="5128323" y="-20358"/>
              <a:ext cx="80664" cy="63766"/>
            </a:xfrm>
            <a:custGeom>
              <a:avLst/>
              <a:gdLst>
                <a:gd name="connsiteX0" fmla="*/ 51759 w 53295"/>
                <a:gd name="connsiteY0" fmla="*/ 42130 h 42130"/>
                <a:gd name="connsiteX1" fmla="*/ 0 w 53295"/>
                <a:gd name="connsiteY1" fmla="*/ 6252 h 42130"/>
                <a:gd name="connsiteX2" fmla="*/ 14807 w 53295"/>
                <a:gd name="connsiteY2" fmla="*/ 0 h 42130"/>
                <a:gd name="connsiteX3" fmla="*/ 41975 w 53295"/>
                <a:gd name="connsiteY3" fmla="*/ 11471 h 42130"/>
                <a:gd name="connsiteX4" fmla="*/ 53295 w 53295"/>
                <a:gd name="connsiteY4" fmla="*/ 38412 h 42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295" h="42130">
                  <a:moveTo>
                    <a:pt x="51759" y="42130"/>
                  </a:moveTo>
                  <a:lnTo>
                    <a:pt x="0" y="6252"/>
                  </a:lnTo>
                  <a:lnTo>
                    <a:pt x="14807" y="0"/>
                  </a:lnTo>
                  <a:cubicBezTo>
                    <a:pt x="25071" y="0"/>
                    <a:pt x="34731" y="4226"/>
                    <a:pt x="41975" y="11471"/>
                  </a:cubicBezTo>
                  <a:cubicBezTo>
                    <a:pt x="49522" y="18716"/>
                    <a:pt x="53295" y="28526"/>
                    <a:pt x="53295" y="3841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1" name="Forme libre : forme 810">
              <a:extLst>
                <a:ext uri="{FF2B5EF4-FFF2-40B4-BE49-F238E27FC236}">
                  <a16:creationId xmlns:a16="http://schemas.microsoft.com/office/drawing/2014/main" id="{FD43579C-B307-44A1-9A8C-8DE6E00BA9DE}"/>
                </a:ext>
              </a:extLst>
            </p:cNvPr>
            <p:cNvSpPr/>
            <p:nvPr/>
          </p:nvSpPr>
          <p:spPr>
            <a:xfrm rot="7484129">
              <a:off x="5642756" y="4415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2" name="Forme libre : forme 811">
              <a:extLst>
                <a:ext uri="{FF2B5EF4-FFF2-40B4-BE49-F238E27FC236}">
                  <a16:creationId xmlns:a16="http://schemas.microsoft.com/office/drawing/2014/main" id="{32F15E24-4369-4C59-AD66-4B724D73D54B}"/>
                </a:ext>
              </a:extLst>
            </p:cNvPr>
            <p:cNvSpPr/>
            <p:nvPr/>
          </p:nvSpPr>
          <p:spPr>
            <a:xfrm rot="13089394">
              <a:off x="5789679" y="415199"/>
              <a:ext cx="360116" cy="446294"/>
            </a:xfrm>
            <a:custGeom>
              <a:avLst/>
              <a:gdLst>
                <a:gd name="connsiteX0" fmla="*/ 39306 w 237929"/>
                <a:gd name="connsiteY0" fmla="*/ 79955 h 294867"/>
                <a:gd name="connsiteX1" fmla="*/ 0 w 237929"/>
                <a:gd name="connsiteY1" fmla="*/ 20095 h 294867"/>
                <a:gd name="connsiteX2" fmla="*/ 38733 w 237929"/>
                <a:gd name="connsiteY2" fmla="*/ 0 h 294867"/>
                <a:gd name="connsiteX3" fmla="*/ 237929 w 237929"/>
                <a:gd name="connsiteY3" fmla="*/ 258238 h 294867"/>
                <a:gd name="connsiteX4" fmla="*/ 191415 w 237929"/>
                <a:gd name="connsiteY4" fmla="*/ 290069 h 294867"/>
                <a:gd name="connsiteX5" fmla="*/ 180425 w 237929"/>
                <a:gd name="connsiteY5" fmla="*/ 294867 h 294867"/>
                <a:gd name="connsiteX6" fmla="*/ 166448 w 237929"/>
                <a:gd name="connsiteY6" fmla="*/ 273582 h 294867"/>
                <a:gd name="connsiteX7" fmla="*/ 168955 w 237929"/>
                <a:gd name="connsiteY7" fmla="*/ 273136 h 294867"/>
                <a:gd name="connsiteX8" fmla="*/ 236826 w 237929"/>
                <a:gd name="connsiteY8" fmla="*/ 245547 h 294867"/>
                <a:gd name="connsiteX9" fmla="*/ 237929 w 237929"/>
                <a:gd name="connsiteY9" fmla="*/ 252720 h 294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7929" h="294867">
                  <a:moveTo>
                    <a:pt x="39306" y="79955"/>
                  </a:moveTo>
                  <a:lnTo>
                    <a:pt x="0" y="20095"/>
                  </a:lnTo>
                  <a:lnTo>
                    <a:pt x="38733" y="0"/>
                  </a:lnTo>
                  <a:close/>
                  <a:moveTo>
                    <a:pt x="237929" y="258238"/>
                  </a:moveTo>
                  <a:cubicBezTo>
                    <a:pt x="223307" y="270791"/>
                    <a:pt x="207546" y="281309"/>
                    <a:pt x="191415" y="290069"/>
                  </a:cubicBezTo>
                  <a:lnTo>
                    <a:pt x="180425" y="294867"/>
                  </a:lnTo>
                  <a:lnTo>
                    <a:pt x="166448" y="273582"/>
                  </a:lnTo>
                  <a:lnTo>
                    <a:pt x="168955" y="273136"/>
                  </a:lnTo>
                  <a:cubicBezTo>
                    <a:pt x="192130" y="265963"/>
                    <a:pt x="214754" y="256582"/>
                    <a:pt x="236826" y="245547"/>
                  </a:cubicBezTo>
                  <a:cubicBezTo>
                    <a:pt x="237377" y="247754"/>
                    <a:pt x="237929" y="250513"/>
                    <a:pt x="237929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3" name="Forme libre : forme 812">
              <a:extLst>
                <a:ext uri="{FF2B5EF4-FFF2-40B4-BE49-F238E27FC236}">
                  <a16:creationId xmlns:a16="http://schemas.microsoft.com/office/drawing/2014/main" id="{4456445D-FEFF-4497-984E-23E7AE4DB2E6}"/>
                </a:ext>
              </a:extLst>
            </p:cNvPr>
            <p:cNvSpPr/>
            <p:nvPr/>
          </p:nvSpPr>
          <p:spPr>
            <a:xfrm rot="8716295">
              <a:off x="5996886" y="-12676"/>
              <a:ext cx="90399" cy="122140"/>
            </a:xfrm>
            <a:custGeom>
              <a:avLst/>
              <a:gdLst>
                <a:gd name="connsiteX0" fmla="*/ 0 w 59727"/>
                <a:gd name="connsiteY0" fmla="*/ 52945 h 80698"/>
                <a:gd name="connsiteX1" fmla="*/ 43791 w 59727"/>
                <a:gd name="connsiteY1" fmla="*/ 0 h 80698"/>
                <a:gd name="connsiteX2" fmla="*/ 59727 w 59727"/>
                <a:gd name="connsiteY2" fmla="*/ 37928 h 80698"/>
                <a:gd name="connsiteX3" fmla="*/ 42480 w 59727"/>
                <a:gd name="connsiteY3" fmla="*/ 79666 h 80698"/>
                <a:gd name="connsiteX4" fmla="*/ 40038 w 59727"/>
                <a:gd name="connsiteY4" fmla="*/ 80698 h 80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727" h="80698">
                  <a:moveTo>
                    <a:pt x="0" y="52945"/>
                  </a:moveTo>
                  <a:lnTo>
                    <a:pt x="43791" y="0"/>
                  </a:lnTo>
                  <a:lnTo>
                    <a:pt x="59727" y="37928"/>
                  </a:lnTo>
                  <a:cubicBezTo>
                    <a:pt x="59727" y="52991"/>
                    <a:pt x="53978" y="68168"/>
                    <a:pt x="42480" y="79666"/>
                  </a:cubicBezTo>
                  <a:lnTo>
                    <a:pt x="40038" y="806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4" name="Forme libre : forme 813">
              <a:extLst>
                <a:ext uri="{FF2B5EF4-FFF2-40B4-BE49-F238E27FC236}">
                  <a16:creationId xmlns:a16="http://schemas.microsoft.com/office/drawing/2014/main" id="{8608BF4F-989C-471C-8F7D-609DB58E76BD}"/>
                </a:ext>
              </a:extLst>
            </p:cNvPr>
            <p:cNvSpPr/>
            <p:nvPr/>
          </p:nvSpPr>
          <p:spPr>
            <a:xfrm rot="8716295">
              <a:off x="5631023" y="-8174"/>
              <a:ext cx="87445" cy="82387"/>
            </a:xfrm>
            <a:custGeom>
              <a:avLst/>
              <a:gdLst>
                <a:gd name="connsiteX0" fmla="*/ 37946 w 57775"/>
                <a:gd name="connsiteY0" fmla="*/ 54433 h 54433"/>
                <a:gd name="connsiteX1" fmla="*/ 0 w 57775"/>
                <a:gd name="connsiteY1" fmla="*/ 28130 h 54433"/>
                <a:gd name="connsiteX2" fmla="*/ 8222 w 57775"/>
                <a:gd name="connsiteY2" fmla="*/ 8658 h 54433"/>
                <a:gd name="connsiteX3" fmla="*/ 28726 w 57775"/>
                <a:gd name="connsiteY3" fmla="*/ 0 h 54433"/>
                <a:gd name="connsiteX4" fmla="*/ 49232 w 57775"/>
                <a:gd name="connsiteY4" fmla="*/ 8658 h 54433"/>
                <a:gd name="connsiteX5" fmla="*/ 49232 w 57775"/>
                <a:gd name="connsiteY5" fmla="*/ 49668 h 54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775" h="54433">
                  <a:moveTo>
                    <a:pt x="37946" y="54433"/>
                  </a:moveTo>
                  <a:lnTo>
                    <a:pt x="0" y="28130"/>
                  </a:lnTo>
                  <a:lnTo>
                    <a:pt x="8222" y="8658"/>
                  </a:lnTo>
                  <a:cubicBezTo>
                    <a:pt x="13690" y="3190"/>
                    <a:pt x="20981" y="0"/>
                    <a:pt x="28726" y="0"/>
                  </a:cubicBezTo>
                  <a:cubicBezTo>
                    <a:pt x="36473" y="0"/>
                    <a:pt x="43764" y="3190"/>
                    <a:pt x="49232" y="8658"/>
                  </a:cubicBezTo>
                  <a:cubicBezTo>
                    <a:pt x="60624" y="19594"/>
                    <a:pt x="60623" y="38276"/>
                    <a:pt x="49232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411" name="Espace réservé du texte 410">
            <a:extLst>
              <a:ext uri="{FF2B5EF4-FFF2-40B4-BE49-F238E27FC236}">
                <a16:creationId xmlns:a16="http://schemas.microsoft.com/office/drawing/2014/main" id="{E014E6DC-AD19-40E5-A2B7-DF68385EE1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3541" y="526470"/>
            <a:ext cx="7379432" cy="29918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1pPr>
            <a:lvl2pPr marL="0" indent="0">
              <a:buNone/>
              <a:defRPr sz="5400" b="1" cap="all" baseline="0">
                <a:solidFill>
                  <a:srgbClr val="009FE3"/>
                </a:solidFill>
              </a:defRPr>
            </a:lvl2pPr>
          </a:lstStyle>
          <a:p>
            <a:pPr lvl="0"/>
            <a:r>
              <a:rPr lang="fr-FR" dirty="0"/>
              <a:t>Titre de la présentation</a:t>
            </a:r>
          </a:p>
          <a:p>
            <a:pPr lvl="1"/>
            <a:r>
              <a:rPr lang="fr-FR" dirty="0"/>
              <a:t>exergue</a:t>
            </a:r>
          </a:p>
        </p:txBody>
      </p:sp>
      <p:pic>
        <p:nvPicPr>
          <p:cNvPr id="408" name="Graphique 407">
            <a:extLst>
              <a:ext uri="{FF2B5EF4-FFF2-40B4-BE49-F238E27FC236}">
                <a16:creationId xmlns:a16="http://schemas.microsoft.com/office/drawing/2014/main" id="{448F94F4-8E31-46DD-9D3E-E96498FF82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97194" y="3988359"/>
            <a:ext cx="2255854" cy="67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19722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uverture 2 - Foncé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que 2">
            <a:extLst>
              <a:ext uri="{FF2B5EF4-FFF2-40B4-BE49-F238E27FC236}">
                <a16:creationId xmlns:a16="http://schemas.microsoft.com/office/drawing/2014/main" id="{E7008A4A-56ED-4B79-8C76-07B31083E9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36903" y="2053956"/>
            <a:ext cx="3470194" cy="1035588"/>
          </a:xfrm>
          <a:prstGeom prst="rect">
            <a:avLst/>
          </a:prstGeom>
        </p:spPr>
      </p:pic>
      <p:sp>
        <p:nvSpPr>
          <p:cNvPr id="5" name="Forme libre : forme 4">
            <a:extLst>
              <a:ext uri="{FF2B5EF4-FFF2-40B4-BE49-F238E27FC236}">
                <a16:creationId xmlns:a16="http://schemas.microsoft.com/office/drawing/2014/main" id="{6BBA7953-6320-4985-B304-CAEF45B84CC1}"/>
              </a:ext>
            </a:extLst>
          </p:cNvPr>
          <p:cNvSpPr/>
          <p:nvPr userDrawn="1"/>
        </p:nvSpPr>
        <p:spPr>
          <a:xfrm rot="16200000">
            <a:off x="6276217" y="2274933"/>
            <a:ext cx="1037443" cy="4698124"/>
          </a:xfrm>
          <a:custGeom>
            <a:avLst/>
            <a:gdLst>
              <a:gd name="connsiteX0" fmla="*/ 1037443 w 1037443"/>
              <a:gd name="connsiteY0" fmla="*/ 4698124 h 4698124"/>
              <a:gd name="connsiteX1" fmla="*/ 0 w 1037443"/>
              <a:gd name="connsiteY1" fmla="*/ 4698124 h 4698124"/>
              <a:gd name="connsiteX2" fmla="*/ 386215 w 1037443"/>
              <a:gd name="connsiteY2" fmla="*/ 0 h 4698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37443" h="4698124">
                <a:moveTo>
                  <a:pt x="1037443" y="4698124"/>
                </a:moveTo>
                <a:lnTo>
                  <a:pt x="0" y="4698124"/>
                </a:lnTo>
                <a:lnTo>
                  <a:pt x="386215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48FA6A4C-949D-4D78-851A-5D85C0ACA219}"/>
              </a:ext>
            </a:extLst>
          </p:cNvPr>
          <p:cNvGrpSpPr/>
          <p:nvPr userDrawn="1"/>
        </p:nvGrpSpPr>
        <p:grpSpPr>
          <a:xfrm>
            <a:off x="4782105" y="4078441"/>
            <a:ext cx="4416497" cy="1125022"/>
            <a:chOff x="4782105" y="4078441"/>
            <a:chExt cx="4416497" cy="1125022"/>
          </a:xfrm>
          <a:solidFill>
            <a:schemeClr val="bg2">
              <a:alpha val="10000"/>
            </a:schemeClr>
          </a:solidFill>
        </p:grpSpPr>
        <p:sp>
          <p:nvSpPr>
            <p:cNvPr id="7" name="Forme libre : forme 6">
              <a:extLst>
                <a:ext uri="{FF2B5EF4-FFF2-40B4-BE49-F238E27FC236}">
                  <a16:creationId xmlns:a16="http://schemas.microsoft.com/office/drawing/2014/main" id="{791FB8C9-9221-4E4C-A4AC-2AAD9F08AE59}"/>
                </a:ext>
              </a:extLst>
            </p:cNvPr>
            <p:cNvSpPr/>
            <p:nvPr/>
          </p:nvSpPr>
          <p:spPr>
            <a:xfrm rot="8716295">
              <a:off x="8490768" y="467807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CAEA067D-BF83-4ED3-87B4-BB06FFFF2B66}"/>
                </a:ext>
              </a:extLst>
            </p:cNvPr>
            <p:cNvSpPr/>
            <p:nvPr/>
          </p:nvSpPr>
          <p:spPr>
            <a:xfrm rot="8716295">
              <a:off x="5559260" y="4523190"/>
              <a:ext cx="215177" cy="303156"/>
            </a:xfrm>
            <a:custGeom>
              <a:avLst/>
              <a:gdLst>
                <a:gd name="connsiteX0" fmla="*/ 122761 w 215177"/>
                <a:gd name="connsiteY0" fmla="*/ 256399 h 303156"/>
                <a:gd name="connsiteX1" fmla="*/ 122761 w 215177"/>
                <a:gd name="connsiteY1" fmla="*/ 105519 h 303156"/>
                <a:gd name="connsiteX2" fmla="*/ 122761 w 215177"/>
                <a:gd name="connsiteY2" fmla="*/ 99312 h 303156"/>
                <a:gd name="connsiteX3" fmla="*/ 91726 w 215177"/>
                <a:gd name="connsiteY3" fmla="*/ 75863 h 303156"/>
                <a:gd name="connsiteX4" fmla="*/ 0 w 215177"/>
                <a:gd name="connsiteY4" fmla="*/ 75863 h 303156"/>
                <a:gd name="connsiteX5" fmla="*/ 0 w 215177"/>
                <a:gd name="connsiteY5" fmla="*/ 0 h 303156"/>
                <a:gd name="connsiteX6" fmla="*/ 128968 w 215177"/>
                <a:gd name="connsiteY6" fmla="*/ 0 h 303156"/>
                <a:gd name="connsiteX7" fmla="*/ 215177 w 215177"/>
                <a:gd name="connsiteY7" fmla="*/ 75863 h 303156"/>
                <a:gd name="connsiteX8" fmla="*/ 215176 w 215177"/>
                <a:gd name="connsiteY8" fmla="*/ 303156 h 303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5177" h="303156">
                  <a:moveTo>
                    <a:pt x="122761" y="25639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0"/>
                  </a:lnTo>
                  <a:lnTo>
                    <a:pt x="128968" y="0"/>
                  </a:lnTo>
                  <a:cubicBezTo>
                    <a:pt x="184831" y="0"/>
                    <a:pt x="215176" y="24139"/>
                    <a:pt x="215177" y="75863"/>
                  </a:cubicBezTo>
                  <a:lnTo>
                    <a:pt x="215176" y="30315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ADF38186-185D-41F8-A6B1-FB10366A4CEE}"/>
                </a:ext>
              </a:extLst>
            </p:cNvPr>
            <p:cNvSpPr/>
            <p:nvPr/>
          </p:nvSpPr>
          <p:spPr>
            <a:xfrm rot="8716295">
              <a:off x="5692925" y="4561542"/>
              <a:ext cx="393603" cy="335006"/>
            </a:xfrm>
            <a:custGeom>
              <a:avLst/>
              <a:gdLst>
                <a:gd name="connsiteX0" fmla="*/ 77932 w 393603"/>
                <a:gd name="connsiteY0" fmla="*/ 299055 h 335006"/>
                <a:gd name="connsiteX1" fmla="*/ 77932 w 393603"/>
                <a:gd name="connsiteY1" fmla="*/ 66897 h 335006"/>
                <a:gd name="connsiteX2" fmla="*/ 0 w 393603"/>
                <a:gd name="connsiteY2" fmla="*/ 66898 h 335006"/>
                <a:gd name="connsiteX3" fmla="*/ 0 w 393603"/>
                <a:gd name="connsiteY3" fmla="*/ 0 h 335006"/>
                <a:gd name="connsiteX4" fmla="*/ 158623 w 393603"/>
                <a:gd name="connsiteY4" fmla="*/ 1 h 335006"/>
                <a:gd name="connsiteX5" fmla="*/ 158623 w 393603"/>
                <a:gd name="connsiteY5" fmla="*/ 111726 h 335006"/>
                <a:gd name="connsiteX6" fmla="*/ 160692 w 393603"/>
                <a:gd name="connsiteY6" fmla="*/ 111726 h 335006"/>
                <a:gd name="connsiteX7" fmla="*/ 192762 w 393603"/>
                <a:gd name="connsiteY7" fmla="*/ 39915 h 335006"/>
                <a:gd name="connsiteX8" fmla="*/ 231959 w 393603"/>
                <a:gd name="connsiteY8" fmla="*/ 7837 h 335006"/>
                <a:gd name="connsiteX9" fmla="*/ 393603 w 393603"/>
                <a:gd name="connsiteY9" fmla="*/ 140745 h 335006"/>
                <a:gd name="connsiteX10" fmla="*/ 300695 w 393603"/>
                <a:gd name="connsiteY10" fmla="*/ 146210 h 335006"/>
                <a:gd name="connsiteX11" fmla="*/ 300694 w 393603"/>
                <a:gd name="connsiteY11" fmla="*/ 121382 h 335006"/>
                <a:gd name="connsiteX12" fmla="*/ 249659 w 393603"/>
                <a:gd name="connsiteY12" fmla="*/ 58622 h 335006"/>
                <a:gd name="connsiteX13" fmla="*/ 168969 w 393603"/>
                <a:gd name="connsiteY13" fmla="*/ 191038 h 335006"/>
                <a:gd name="connsiteX14" fmla="*/ 168969 w 393603"/>
                <a:gd name="connsiteY14" fmla="*/ 321385 h 335006"/>
                <a:gd name="connsiteX15" fmla="*/ 148991 w 393603"/>
                <a:gd name="connsiteY15" fmla="*/ 335006 h 335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93603" h="335006">
                  <a:moveTo>
                    <a:pt x="77932" y="299055"/>
                  </a:moveTo>
                  <a:lnTo>
                    <a:pt x="77932" y="66897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1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71727" y="78967"/>
                    <a:pt x="181555" y="56208"/>
                    <a:pt x="192762" y="39915"/>
                  </a:cubicBezTo>
                  <a:lnTo>
                    <a:pt x="231959" y="7837"/>
                  </a:lnTo>
                  <a:lnTo>
                    <a:pt x="393603" y="140745"/>
                  </a:lnTo>
                  <a:lnTo>
                    <a:pt x="300695" y="146210"/>
                  </a:lnTo>
                  <a:lnTo>
                    <a:pt x="300694" y="121382"/>
                  </a:lnTo>
                  <a:cubicBezTo>
                    <a:pt x="300695" y="84140"/>
                    <a:pt x="279316" y="58622"/>
                    <a:pt x="249659" y="58622"/>
                  </a:cubicBezTo>
                  <a:cubicBezTo>
                    <a:pt x="205521" y="58621"/>
                    <a:pt x="168969" y="117244"/>
                    <a:pt x="168969" y="191038"/>
                  </a:cubicBezTo>
                  <a:lnTo>
                    <a:pt x="168969" y="321385"/>
                  </a:lnTo>
                  <a:lnTo>
                    <a:pt x="148991" y="33500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4B724F9D-95FF-4F02-B59A-7E5AC8B98AC8}"/>
                </a:ext>
              </a:extLst>
            </p:cNvPr>
            <p:cNvSpPr/>
            <p:nvPr/>
          </p:nvSpPr>
          <p:spPr>
            <a:xfrm rot="8716295">
              <a:off x="5659234" y="4556420"/>
              <a:ext cx="113018" cy="83608"/>
            </a:xfrm>
            <a:custGeom>
              <a:avLst/>
              <a:gdLst>
                <a:gd name="connsiteX0" fmla="*/ 0 w 113018"/>
                <a:gd name="connsiteY0" fmla="*/ 32910 h 83608"/>
                <a:gd name="connsiteX1" fmla="*/ 24482 w 113018"/>
                <a:gd name="connsiteY1" fmla="*/ 13621 h 83608"/>
                <a:gd name="connsiteX2" fmla="*/ 70259 w 113018"/>
                <a:gd name="connsiteY2" fmla="*/ 0 h 83608"/>
                <a:gd name="connsiteX3" fmla="*/ 113018 w 113018"/>
                <a:gd name="connsiteY3" fmla="*/ 51035 h 83608"/>
                <a:gd name="connsiteX4" fmla="*/ 100518 w 113018"/>
                <a:gd name="connsiteY4" fmla="*/ 83363 h 83608"/>
                <a:gd name="connsiteX5" fmla="*/ 100204 w 113018"/>
                <a:gd name="connsiteY5" fmla="*/ 83608 h 83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018" h="83608">
                  <a:moveTo>
                    <a:pt x="0" y="32910"/>
                  </a:moveTo>
                  <a:lnTo>
                    <a:pt x="24482" y="13621"/>
                  </a:lnTo>
                  <a:cubicBezTo>
                    <a:pt x="38534" y="6380"/>
                    <a:pt x="54052" y="1725"/>
                    <a:pt x="70259" y="0"/>
                  </a:cubicBezTo>
                  <a:cubicBezTo>
                    <a:pt x="103363" y="0"/>
                    <a:pt x="113018" y="28966"/>
                    <a:pt x="113018" y="51035"/>
                  </a:cubicBezTo>
                  <a:cubicBezTo>
                    <a:pt x="111984" y="63105"/>
                    <a:pt x="107501" y="74139"/>
                    <a:pt x="100518" y="83363"/>
                  </a:cubicBezTo>
                  <a:lnTo>
                    <a:pt x="100204" y="8360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D01436B5-D8EB-44DF-8B51-633BF4E9FB42}"/>
                </a:ext>
              </a:extLst>
            </p:cNvPr>
            <p:cNvSpPr/>
            <p:nvPr/>
          </p:nvSpPr>
          <p:spPr>
            <a:xfrm rot="8716295">
              <a:off x="5371633" y="4613095"/>
              <a:ext cx="88105" cy="83851"/>
            </a:xfrm>
            <a:custGeom>
              <a:avLst/>
              <a:gdLst>
                <a:gd name="connsiteX0" fmla="*/ 6112 w 88105"/>
                <a:gd name="connsiteY0" fmla="*/ 59305 h 83851"/>
                <a:gd name="connsiteX1" fmla="*/ 0 w 88105"/>
                <a:gd name="connsiteY1" fmla="*/ 44829 h 83851"/>
                <a:gd name="connsiteX2" fmla="*/ 0 w 88105"/>
                <a:gd name="connsiteY2" fmla="*/ 44139 h 83851"/>
                <a:gd name="connsiteX3" fmla="*/ 13104 w 88105"/>
                <a:gd name="connsiteY3" fmla="*/ 13104 h 83851"/>
                <a:gd name="connsiteX4" fmla="*/ 44139 w 88105"/>
                <a:gd name="connsiteY4" fmla="*/ 0 h 83851"/>
                <a:gd name="connsiteX5" fmla="*/ 75175 w 88105"/>
                <a:gd name="connsiteY5" fmla="*/ 13104 h 83851"/>
                <a:gd name="connsiteX6" fmla="*/ 75175 w 88105"/>
                <a:gd name="connsiteY6" fmla="*/ 75175 h 83851"/>
                <a:gd name="connsiteX7" fmla="*/ 54626 w 88105"/>
                <a:gd name="connsiteY7" fmla="*/ 83851 h 83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105" h="83851">
                  <a:moveTo>
                    <a:pt x="6112" y="59305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cubicBezTo>
                    <a:pt x="55864" y="0"/>
                    <a:pt x="66899" y="4828"/>
                    <a:pt x="75175" y="13104"/>
                  </a:cubicBezTo>
                  <a:cubicBezTo>
                    <a:pt x="92416" y="29657"/>
                    <a:pt x="92416" y="57933"/>
                    <a:pt x="75175" y="75175"/>
                  </a:cubicBezTo>
                  <a:lnTo>
                    <a:pt x="54626" y="8385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6F3BF20E-F037-4374-BB41-095B54D26F08}"/>
                </a:ext>
              </a:extLst>
            </p:cNvPr>
            <p:cNvSpPr/>
            <p:nvPr/>
          </p:nvSpPr>
          <p:spPr>
            <a:xfrm rot="8716295">
              <a:off x="5473646" y="4706746"/>
              <a:ext cx="91035" cy="188159"/>
            </a:xfrm>
            <a:custGeom>
              <a:avLst/>
              <a:gdLst>
                <a:gd name="connsiteX0" fmla="*/ 91035 w 91035"/>
                <a:gd name="connsiteY0" fmla="*/ 188159 h 188159"/>
                <a:gd name="connsiteX1" fmla="*/ 0 w 91035"/>
                <a:gd name="connsiteY1" fmla="*/ 100571 h 188159"/>
                <a:gd name="connsiteX2" fmla="*/ 0 w 91035"/>
                <a:gd name="connsiteY2" fmla="*/ 0 h 188159"/>
                <a:gd name="connsiteX3" fmla="*/ 91035 w 91035"/>
                <a:gd name="connsiteY3" fmla="*/ 74852 h 188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188159">
                  <a:moveTo>
                    <a:pt x="91035" y="188159"/>
                  </a:moveTo>
                  <a:lnTo>
                    <a:pt x="0" y="100571"/>
                  </a:lnTo>
                  <a:lnTo>
                    <a:pt x="0" y="0"/>
                  </a:lnTo>
                  <a:lnTo>
                    <a:pt x="91035" y="748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BBB1D061-FD31-402D-BCCB-6813149262F1}"/>
                </a:ext>
              </a:extLst>
            </p:cNvPr>
            <p:cNvSpPr/>
            <p:nvPr/>
          </p:nvSpPr>
          <p:spPr>
            <a:xfrm rot="8716295">
              <a:off x="6218962" y="4454620"/>
              <a:ext cx="171018" cy="106515"/>
            </a:xfrm>
            <a:custGeom>
              <a:avLst/>
              <a:gdLst>
                <a:gd name="connsiteX0" fmla="*/ 0 w 171018"/>
                <a:gd name="connsiteY0" fmla="*/ 19991 h 106515"/>
                <a:gd name="connsiteX1" fmla="*/ 13365 w 171018"/>
                <a:gd name="connsiteY1" fmla="*/ 9053 h 106515"/>
                <a:gd name="connsiteX2" fmla="*/ 60952 w 171018"/>
                <a:gd name="connsiteY2" fmla="*/ 87 h 106515"/>
                <a:gd name="connsiteX3" fmla="*/ 166956 w 171018"/>
                <a:gd name="connsiteY3" fmla="*/ 76705 h 106515"/>
                <a:gd name="connsiteX4" fmla="*/ 171018 w 171018"/>
                <a:gd name="connsiteY4" fmla="*/ 106515 h 106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018" h="106515">
                  <a:moveTo>
                    <a:pt x="0" y="19991"/>
                  </a:moveTo>
                  <a:lnTo>
                    <a:pt x="13365" y="9053"/>
                  </a:lnTo>
                  <a:cubicBezTo>
                    <a:pt x="28538" y="2846"/>
                    <a:pt x="44400" y="-602"/>
                    <a:pt x="60952" y="87"/>
                  </a:cubicBezTo>
                  <a:cubicBezTo>
                    <a:pt x="114229" y="-948"/>
                    <a:pt x="151600" y="26725"/>
                    <a:pt x="166956" y="76705"/>
                  </a:cubicBezTo>
                  <a:lnTo>
                    <a:pt x="171018" y="10651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B49834EB-4686-4A9A-AFBE-353B0A4BB9CC}"/>
                </a:ext>
              </a:extLst>
            </p:cNvPr>
            <p:cNvSpPr/>
            <p:nvPr/>
          </p:nvSpPr>
          <p:spPr>
            <a:xfrm rot="8716295">
              <a:off x="6005990" y="4487669"/>
              <a:ext cx="156555" cy="122067"/>
            </a:xfrm>
            <a:custGeom>
              <a:avLst/>
              <a:gdLst>
                <a:gd name="connsiteX0" fmla="*/ 65519 w 156555"/>
                <a:gd name="connsiteY0" fmla="*/ 76009 h 122067"/>
                <a:gd name="connsiteX1" fmla="*/ 65519 w 156555"/>
                <a:gd name="connsiteY1" fmla="*/ 24828 h 122067"/>
                <a:gd name="connsiteX2" fmla="*/ 0 w 156555"/>
                <a:gd name="connsiteY2" fmla="*/ 24828 h 122067"/>
                <a:gd name="connsiteX3" fmla="*/ 0 w 156555"/>
                <a:gd name="connsiteY3" fmla="*/ 3449 h 122067"/>
                <a:gd name="connsiteX4" fmla="*/ 156555 w 156555"/>
                <a:gd name="connsiteY4" fmla="*/ 0 h 122067"/>
                <a:gd name="connsiteX5" fmla="*/ 156554 w 156555"/>
                <a:gd name="connsiteY5" fmla="*/ 122067 h 122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6555" h="122067">
                  <a:moveTo>
                    <a:pt x="65519" y="76009"/>
                  </a:moveTo>
                  <a:lnTo>
                    <a:pt x="65519" y="24828"/>
                  </a:lnTo>
                  <a:lnTo>
                    <a:pt x="0" y="24828"/>
                  </a:lnTo>
                  <a:lnTo>
                    <a:pt x="0" y="3449"/>
                  </a:lnTo>
                  <a:cubicBezTo>
                    <a:pt x="49656" y="5517"/>
                    <a:pt x="101381" y="1379"/>
                    <a:pt x="156555" y="0"/>
                  </a:cubicBezTo>
                  <a:lnTo>
                    <a:pt x="156554" y="1220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676F5558-2730-4CE0-B993-EAC478371730}"/>
                </a:ext>
              </a:extLst>
            </p:cNvPr>
            <p:cNvSpPr/>
            <p:nvPr/>
          </p:nvSpPr>
          <p:spPr>
            <a:xfrm rot="7484129">
              <a:off x="6103422" y="4586563"/>
              <a:ext cx="308532" cy="296464"/>
            </a:xfrm>
            <a:custGeom>
              <a:avLst/>
              <a:gdLst>
                <a:gd name="connsiteX0" fmla="*/ 137293 w 308532"/>
                <a:gd name="connsiteY0" fmla="*/ 296464 h 296464"/>
                <a:gd name="connsiteX1" fmla="*/ 72419 w 308532"/>
                <a:gd name="connsiteY1" fmla="*/ 175766 h 296464"/>
                <a:gd name="connsiteX2" fmla="*/ 105610 w 308532"/>
                <a:gd name="connsiteY2" fmla="*/ 83734 h 296464"/>
                <a:gd name="connsiteX3" fmla="*/ 0 w 308532"/>
                <a:gd name="connsiteY3" fmla="*/ 83734 h 296464"/>
                <a:gd name="connsiteX4" fmla="*/ 0 w 308532"/>
                <a:gd name="connsiteY4" fmla="*/ 0 h 296464"/>
                <a:gd name="connsiteX5" fmla="*/ 265017 w 308532"/>
                <a:gd name="connsiteY5" fmla="*/ 0 h 296464"/>
                <a:gd name="connsiteX6" fmla="*/ 308532 w 308532"/>
                <a:gd name="connsiteY6" fmla="*/ 75260 h 296464"/>
                <a:gd name="connsiteX7" fmla="*/ 308532 w 308532"/>
                <a:gd name="connsiteY7" fmla="*/ 83734 h 296464"/>
                <a:gd name="connsiteX8" fmla="*/ 210466 w 308532"/>
                <a:gd name="connsiteY8" fmla="*/ 83734 h 296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532" h="296464">
                  <a:moveTo>
                    <a:pt x="137293" y="296464"/>
                  </a:moveTo>
                  <a:lnTo>
                    <a:pt x="72419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65017" y="0"/>
                  </a:lnTo>
                  <a:lnTo>
                    <a:pt x="308532" y="75260"/>
                  </a:lnTo>
                  <a:lnTo>
                    <a:pt x="308532" y="83734"/>
                  </a:lnTo>
                  <a:lnTo>
                    <a:pt x="210466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6446F284-DF3B-4BD3-84E9-63513197872A}"/>
                </a:ext>
              </a:extLst>
            </p:cNvPr>
            <p:cNvSpPr/>
            <p:nvPr/>
          </p:nvSpPr>
          <p:spPr>
            <a:xfrm rot="13089394">
              <a:off x="6309616" y="4543919"/>
              <a:ext cx="412568" cy="359948"/>
            </a:xfrm>
            <a:custGeom>
              <a:avLst/>
              <a:gdLst>
                <a:gd name="connsiteX0" fmla="*/ 412568 w 412568"/>
                <a:gd name="connsiteY0" fmla="*/ 252801 h 359948"/>
                <a:gd name="connsiteX1" fmla="*/ 138636 w 412568"/>
                <a:gd name="connsiteY1" fmla="*/ 359701 h 359948"/>
                <a:gd name="connsiteX2" fmla="*/ 35911 w 412568"/>
                <a:gd name="connsiteY2" fmla="*/ 317943 h 359948"/>
                <a:gd name="connsiteX3" fmla="*/ 0 w 412568"/>
                <a:gd name="connsiteY3" fmla="*/ 174296 h 359948"/>
                <a:gd name="connsiteX4" fmla="*/ 0 w 412568"/>
                <a:gd name="connsiteY4" fmla="*/ 74054 h 359948"/>
                <a:gd name="connsiteX5" fmla="*/ 112066 w 412568"/>
                <a:gd name="connsiteY5" fmla="*/ 0 h 359948"/>
                <a:gd name="connsiteX6" fmla="*/ 112747 w 412568"/>
                <a:gd name="connsiteY6" fmla="*/ 94956 h 359948"/>
                <a:gd name="connsiteX7" fmla="*/ 132789 w 412568"/>
                <a:gd name="connsiteY7" fmla="*/ 233593 h 359948"/>
                <a:gd name="connsiteX8" fmla="*/ 233008 w 412568"/>
                <a:gd name="connsiteY8" fmla="*/ 288713 h 359948"/>
                <a:gd name="connsiteX9" fmla="*/ 308172 w 412568"/>
                <a:gd name="connsiteY9" fmla="*/ 275351 h 359948"/>
                <a:gd name="connsiteX10" fmla="*/ 410898 w 412568"/>
                <a:gd name="connsiteY10" fmla="*/ 233593 h 359948"/>
                <a:gd name="connsiteX11" fmla="*/ 412568 w 412568"/>
                <a:gd name="connsiteY11" fmla="*/ 244449 h 359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2568" h="359948">
                  <a:moveTo>
                    <a:pt x="412568" y="252801"/>
                  </a:moveTo>
                  <a:cubicBezTo>
                    <a:pt x="324041" y="328800"/>
                    <a:pt x="207954" y="355526"/>
                    <a:pt x="138636" y="359701"/>
                  </a:cubicBezTo>
                  <a:cubicBezTo>
                    <a:pt x="100219" y="362207"/>
                    <a:pt x="62637" y="345504"/>
                    <a:pt x="35911" y="317943"/>
                  </a:cubicBezTo>
                  <a:cubicBezTo>
                    <a:pt x="7516" y="290383"/>
                    <a:pt x="0" y="242779"/>
                    <a:pt x="0" y="174296"/>
                  </a:cubicBezTo>
                  <a:lnTo>
                    <a:pt x="0" y="74054"/>
                  </a:lnTo>
                  <a:lnTo>
                    <a:pt x="112066" y="0"/>
                  </a:lnTo>
                  <a:lnTo>
                    <a:pt x="112747" y="94956"/>
                  </a:lnTo>
                  <a:cubicBezTo>
                    <a:pt x="110241" y="141725"/>
                    <a:pt x="117756" y="189329"/>
                    <a:pt x="132789" y="233593"/>
                  </a:cubicBezTo>
                  <a:cubicBezTo>
                    <a:pt x="146153" y="270339"/>
                    <a:pt x="180394" y="288713"/>
                    <a:pt x="233008" y="288713"/>
                  </a:cubicBezTo>
                  <a:cubicBezTo>
                    <a:pt x="258899" y="287878"/>
                    <a:pt x="283953" y="282866"/>
                    <a:pt x="308172" y="275351"/>
                  </a:cubicBezTo>
                  <a:cubicBezTo>
                    <a:pt x="343249" y="264493"/>
                    <a:pt x="377491" y="250296"/>
                    <a:pt x="410898" y="233593"/>
                  </a:cubicBezTo>
                  <a:cubicBezTo>
                    <a:pt x="411732" y="236933"/>
                    <a:pt x="412568" y="241109"/>
                    <a:pt x="412568" y="24444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88875692-D947-4058-8206-44233A06BFD3}"/>
                </a:ext>
              </a:extLst>
            </p:cNvPr>
            <p:cNvSpPr/>
            <p:nvPr/>
          </p:nvSpPr>
          <p:spPr>
            <a:xfrm rot="8716295">
              <a:off x="6597507" y="4422612"/>
              <a:ext cx="149044" cy="111064"/>
            </a:xfrm>
            <a:custGeom>
              <a:avLst/>
              <a:gdLst>
                <a:gd name="connsiteX0" fmla="*/ 0 w 149044"/>
                <a:gd name="connsiteY0" fmla="*/ 51375 h 111064"/>
                <a:gd name="connsiteX1" fmla="*/ 1002 w 149044"/>
                <a:gd name="connsiteY1" fmla="*/ 50432 h 111064"/>
                <a:gd name="connsiteX2" fmla="*/ 98612 w 149044"/>
                <a:gd name="connsiteY2" fmla="*/ 0 h 111064"/>
                <a:gd name="connsiteX3" fmla="*/ 149044 w 149044"/>
                <a:gd name="connsiteY3" fmla="*/ 60193 h 111064"/>
                <a:gd name="connsiteX4" fmla="*/ 134300 w 149044"/>
                <a:gd name="connsiteY4" fmla="*/ 98322 h 111064"/>
                <a:gd name="connsiteX5" fmla="*/ 117977 w 149044"/>
                <a:gd name="connsiteY5" fmla="*/ 111064 h 111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044" h="111064">
                  <a:moveTo>
                    <a:pt x="0" y="51375"/>
                  </a:moveTo>
                  <a:lnTo>
                    <a:pt x="1002" y="50432"/>
                  </a:lnTo>
                  <a:cubicBezTo>
                    <a:pt x="25404" y="21963"/>
                    <a:pt x="60381" y="4067"/>
                    <a:pt x="98612" y="0"/>
                  </a:cubicBezTo>
                  <a:cubicBezTo>
                    <a:pt x="137657" y="0"/>
                    <a:pt x="149044" y="34164"/>
                    <a:pt x="149044" y="60193"/>
                  </a:cubicBezTo>
                  <a:cubicBezTo>
                    <a:pt x="147824" y="74428"/>
                    <a:pt x="142536" y="87443"/>
                    <a:pt x="134300" y="98322"/>
                  </a:cubicBezTo>
                  <a:lnTo>
                    <a:pt x="117977" y="1110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371804DA-D0A5-4840-894B-07AAE1064663}"/>
                </a:ext>
              </a:extLst>
            </p:cNvPr>
            <p:cNvSpPr/>
            <p:nvPr/>
          </p:nvSpPr>
          <p:spPr>
            <a:xfrm rot="8716295">
              <a:off x="6708126" y="4876229"/>
              <a:ext cx="139286" cy="121327"/>
            </a:xfrm>
            <a:custGeom>
              <a:avLst/>
              <a:gdLst>
                <a:gd name="connsiteX0" fmla="*/ 26453 w 139286"/>
                <a:gd name="connsiteY0" fmla="*/ 96267 h 121327"/>
                <a:gd name="connsiteX1" fmla="*/ 0 w 139286"/>
                <a:gd name="connsiteY1" fmla="*/ 33618 h 121327"/>
                <a:gd name="connsiteX2" fmla="*/ 0 w 139286"/>
                <a:gd name="connsiteY2" fmla="*/ 32225 h 121327"/>
                <a:gd name="connsiteX3" fmla="*/ 13607 w 139286"/>
                <a:gd name="connsiteY3" fmla="*/ 0 h 121327"/>
                <a:gd name="connsiteX4" fmla="*/ 139286 w 139286"/>
                <a:gd name="connsiteY4" fmla="*/ 103337 h 121327"/>
                <a:gd name="connsiteX5" fmla="*/ 123037 w 139286"/>
                <a:gd name="connsiteY5" fmla="*/ 114366 h 121327"/>
                <a:gd name="connsiteX6" fmla="*/ 89101 w 139286"/>
                <a:gd name="connsiteY6" fmla="*/ 121327 h 121327"/>
                <a:gd name="connsiteX7" fmla="*/ 26453 w 139286"/>
                <a:gd name="connsiteY7" fmla="*/ 96267 h 121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9286" h="121327">
                  <a:moveTo>
                    <a:pt x="26453" y="96267"/>
                  </a:moveTo>
                  <a:cubicBezTo>
                    <a:pt x="9746" y="79561"/>
                    <a:pt x="0" y="57285"/>
                    <a:pt x="0" y="33618"/>
                  </a:cubicBezTo>
                  <a:lnTo>
                    <a:pt x="0" y="32225"/>
                  </a:lnTo>
                  <a:lnTo>
                    <a:pt x="13607" y="0"/>
                  </a:lnTo>
                  <a:lnTo>
                    <a:pt x="139286" y="103337"/>
                  </a:lnTo>
                  <a:lnTo>
                    <a:pt x="123037" y="114366"/>
                  </a:lnTo>
                  <a:cubicBezTo>
                    <a:pt x="112421" y="118890"/>
                    <a:pt x="100935" y="121327"/>
                    <a:pt x="89101" y="121327"/>
                  </a:cubicBezTo>
                  <a:cubicBezTo>
                    <a:pt x="65435" y="121327"/>
                    <a:pt x="43159" y="112973"/>
                    <a:pt x="26453" y="9626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6EEBC52A-3D14-419B-8366-97197098C604}"/>
                </a:ext>
              </a:extLst>
            </p:cNvPr>
            <p:cNvSpPr/>
            <p:nvPr/>
          </p:nvSpPr>
          <p:spPr>
            <a:xfrm rot="8716295">
              <a:off x="4782105" y="4823045"/>
              <a:ext cx="311921" cy="362797"/>
            </a:xfrm>
            <a:custGeom>
              <a:avLst/>
              <a:gdLst>
                <a:gd name="connsiteX0" fmla="*/ 311920 w 311921"/>
                <a:gd name="connsiteY0" fmla="*/ 120307 h 362797"/>
                <a:gd name="connsiteX1" fmla="*/ 138360 w 311921"/>
                <a:gd name="connsiteY1" fmla="*/ 1 h 362797"/>
                <a:gd name="connsiteX2" fmla="*/ 138360 w 311921"/>
                <a:gd name="connsiteY2" fmla="*/ 0 h 362797"/>
                <a:gd name="connsiteX3" fmla="*/ 311921 w 311921"/>
                <a:gd name="connsiteY3" fmla="*/ 120307 h 362797"/>
                <a:gd name="connsiteX4" fmla="*/ 0 w 311921"/>
                <a:gd name="connsiteY4" fmla="*/ 362797 h 362797"/>
                <a:gd name="connsiteX5" fmla="*/ 0 w 311921"/>
                <a:gd name="connsiteY5" fmla="*/ 320869 h 362797"/>
                <a:gd name="connsiteX6" fmla="*/ 27877 w 311921"/>
                <a:gd name="connsiteY6" fmla="*/ 343790 h 362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1921" h="362797">
                  <a:moveTo>
                    <a:pt x="311920" y="120307"/>
                  </a:moveTo>
                  <a:lnTo>
                    <a:pt x="138360" y="1"/>
                  </a:lnTo>
                  <a:lnTo>
                    <a:pt x="138360" y="0"/>
                  </a:lnTo>
                  <a:lnTo>
                    <a:pt x="311921" y="120307"/>
                  </a:lnTo>
                  <a:close/>
                  <a:moveTo>
                    <a:pt x="0" y="362797"/>
                  </a:moveTo>
                  <a:lnTo>
                    <a:pt x="0" y="320869"/>
                  </a:lnTo>
                  <a:lnTo>
                    <a:pt x="27877" y="34379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53F2D732-A25A-4CEE-B98E-E5DC8CC54158}"/>
                </a:ext>
              </a:extLst>
            </p:cNvPr>
            <p:cNvSpPr/>
            <p:nvPr/>
          </p:nvSpPr>
          <p:spPr>
            <a:xfrm rot="8716295">
              <a:off x="5132149" y="4738008"/>
              <a:ext cx="148614" cy="131720"/>
            </a:xfrm>
            <a:custGeom>
              <a:avLst/>
              <a:gdLst>
                <a:gd name="connsiteX0" fmla="*/ 26453 w 148614"/>
                <a:gd name="connsiteY0" fmla="*/ 106660 h 131720"/>
                <a:gd name="connsiteX1" fmla="*/ 0 w 148614"/>
                <a:gd name="connsiteY1" fmla="*/ 44011 h 131720"/>
                <a:gd name="connsiteX2" fmla="*/ 0 w 148614"/>
                <a:gd name="connsiteY2" fmla="*/ 42618 h 131720"/>
                <a:gd name="connsiteX3" fmla="*/ 17995 w 148614"/>
                <a:gd name="connsiteY3" fmla="*/ 0 h 131720"/>
                <a:gd name="connsiteX4" fmla="*/ 148614 w 148614"/>
                <a:gd name="connsiteY4" fmla="*/ 107398 h 131720"/>
                <a:gd name="connsiteX5" fmla="*/ 123037 w 148614"/>
                <a:gd name="connsiteY5" fmla="*/ 124759 h 131720"/>
                <a:gd name="connsiteX6" fmla="*/ 89101 w 148614"/>
                <a:gd name="connsiteY6" fmla="*/ 131720 h 131720"/>
                <a:gd name="connsiteX7" fmla="*/ 26453 w 148614"/>
                <a:gd name="connsiteY7" fmla="*/ 106660 h 13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8614" h="131720">
                  <a:moveTo>
                    <a:pt x="26453" y="106660"/>
                  </a:moveTo>
                  <a:cubicBezTo>
                    <a:pt x="9746" y="89954"/>
                    <a:pt x="0" y="67678"/>
                    <a:pt x="0" y="44011"/>
                  </a:cubicBezTo>
                  <a:lnTo>
                    <a:pt x="0" y="42618"/>
                  </a:lnTo>
                  <a:lnTo>
                    <a:pt x="17995" y="0"/>
                  </a:lnTo>
                  <a:lnTo>
                    <a:pt x="148614" y="107398"/>
                  </a:lnTo>
                  <a:lnTo>
                    <a:pt x="123037" y="124759"/>
                  </a:lnTo>
                  <a:cubicBezTo>
                    <a:pt x="112421" y="129283"/>
                    <a:pt x="100935" y="131720"/>
                    <a:pt x="89101" y="131720"/>
                  </a:cubicBezTo>
                  <a:cubicBezTo>
                    <a:pt x="65435" y="131720"/>
                    <a:pt x="43159" y="123366"/>
                    <a:pt x="26453" y="10666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937A52BD-510B-4C03-9C16-CD9D234ABB7D}"/>
                </a:ext>
              </a:extLst>
            </p:cNvPr>
            <p:cNvSpPr/>
            <p:nvPr/>
          </p:nvSpPr>
          <p:spPr>
            <a:xfrm rot="8716295">
              <a:off x="5043572" y="4624951"/>
              <a:ext cx="150722" cy="101024"/>
            </a:xfrm>
            <a:custGeom>
              <a:avLst/>
              <a:gdLst>
                <a:gd name="connsiteX0" fmla="*/ 0 w 150722"/>
                <a:gd name="connsiteY0" fmla="*/ 25991 h 101024"/>
                <a:gd name="connsiteX1" fmla="*/ 28034 w 150722"/>
                <a:gd name="connsiteY1" fmla="*/ 6961 h 101024"/>
                <a:gd name="connsiteX2" fmla="*/ 61968 w 150722"/>
                <a:gd name="connsiteY2" fmla="*/ 0 h 101024"/>
                <a:gd name="connsiteX3" fmla="*/ 124618 w 150722"/>
                <a:gd name="connsiteY3" fmla="*/ 26453 h 101024"/>
                <a:gd name="connsiteX4" fmla="*/ 150722 w 150722"/>
                <a:gd name="connsiteY4" fmla="*/ 88580 h 101024"/>
                <a:gd name="connsiteX5" fmla="*/ 148306 w 150722"/>
                <a:gd name="connsiteY5" fmla="*/ 101024 h 10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0722" h="101024">
                  <a:moveTo>
                    <a:pt x="0" y="25991"/>
                  </a:moveTo>
                  <a:lnTo>
                    <a:pt x="28034" y="6961"/>
                  </a:lnTo>
                  <a:cubicBezTo>
                    <a:pt x="38649" y="2437"/>
                    <a:pt x="50135" y="0"/>
                    <a:pt x="61968" y="0"/>
                  </a:cubicBezTo>
                  <a:cubicBezTo>
                    <a:pt x="85637" y="0"/>
                    <a:pt x="107912" y="9746"/>
                    <a:pt x="124618" y="26453"/>
                  </a:cubicBezTo>
                  <a:cubicBezTo>
                    <a:pt x="142021" y="43159"/>
                    <a:pt x="150722" y="65782"/>
                    <a:pt x="150722" y="88580"/>
                  </a:cubicBezTo>
                  <a:lnTo>
                    <a:pt x="148306" y="1010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C719F00E-5A8E-45CC-8F56-B823EE2F6BB7}"/>
                </a:ext>
              </a:extLst>
            </p:cNvPr>
            <p:cNvSpPr/>
            <p:nvPr/>
          </p:nvSpPr>
          <p:spPr>
            <a:xfrm rot="8716295">
              <a:off x="8546573" y="4108588"/>
              <a:ext cx="215176" cy="313567"/>
            </a:xfrm>
            <a:custGeom>
              <a:avLst/>
              <a:gdLst>
                <a:gd name="connsiteX0" fmla="*/ 122760 w 215176"/>
                <a:gd name="connsiteY0" fmla="*/ 266809 h 313567"/>
                <a:gd name="connsiteX1" fmla="*/ 122761 w 215176"/>
                <a:gd name="connsiteY1" fmla="*/ 105519 h 313567"/>
                <a:gd name="connsiteX2" fmla="*/ 122761 w 215176"/>
                <a:gd name="connsiteY2" fmla="*/ 99312 h 313567"/>
                <a:gd name="connsiteX3" fmla="*/ 91726 w 215176"/>
                <a:gd name="connsiteY3" fmla="*/ 75863 h 313567"/>
                <a:gd name="connsiteX4" fmla="*/ 0 w 215176"/>
                <a:gd name="connsiteY4" fmla="*/ 75863 h 313567"/>
                <a:gd name="connsiteX5" fmla="*/ 0 w 215176"/>
                <a:gd name="connsiteY5" fmla="*/ 0 h 313567"/>
                <a:gd name="connsiteX6" fmla="*/ 128968 w 215176"/>
                <a:gd name="connsiteY6" fmla="*/ 0 h 313567"/>
                <a:gd name="connsiteX7" fmla="*/ 215176 w 215176"/>
                <a:gd name="connsiteY7" fmla="*/ 75863 h 313567"/>
                <a:gd name="connsiteX8" fmla="*/ 215176 w 215176"/>
                <a:gd name="connsiteY8" fmla="*/ 313567 h 31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5176" h="313567">
                  <a:moveTo>
                    <a:pt x="122760" y="26680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0"/>
                  </a:lnTo>
                  <a:lnTo>
                    <a:pt x="128968" y="0"/>
                  </a:lnTo>
                  <a:cubicBezTo>
                    <a:pt x="184831" y="0"/>
                    <a:pt x="215177" y="24139"/>
                    <a:pt x="215176" y="75863"/>
                  </a:cubicBezTo>
                  <a:lnTo>
                    <a:pt x="215176" y="3135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25DD9CA0-AFE3-4B5F-B15D-E7FBAF734592}"/>
                </a:ext>
              </a:extLst>
            </p:cNvPr>
            <p:cNvSpPr/>
            <p:nvPr/>
          </p:nvSpPr>
          <p:spPr>
            <a:xfrm rot="8716295">
              <a:off x="8681306" y="4151041"/>
              <a:ext cx="394490" cy="343138"/>
            </a:xfrm>
            <a:custGeom>
              <a:avLst/>
              <a:gdLst>
                <a:gd name="connsiteX0" fmla="*/ 77932 w 394490"/>
                <a:gd name="connsiteY0" fmla="*/ 311621 h 343138"/>
                <a:gd name="connsiteX1" fmla="*/ 77932 w 394490"/>
                <a:gd name="connsiteY1" fmla="*/ 69053 h 343138"/>
                <a:gd name="connsiteX2" fmla="*/ 0 w 394490"/>
                <a:gd name="connsiteY2" fmla="*/ 69054 h 343138"/>
                <a:gd name="connsiteX3" fmla="*/ 0 w 394490"/>
                <a:gd name="connsiteY3" fmla="*/ 2156 h 343138"/>
                <a:gd name="connsiteX4" fmla="*/ 158623 w 394490"/>
                <a:gd name="connsiteY4" fmla="*/ 2157 h 343138"/>
                <a:gd name="connsiteX5" fmla="*/ 158624 w 394490"/>
                <a:gd name="connsiteY5" fmla="*/ 113882 h 343138"/>
                <a:gd name="connsiteX6" fmla="*/ 160692 w 394490"/>
                <a:gd name="connsiteY6" fmla="*/ 113882 h 343138"/>
                <a:gd name="connsiteX7" fmla="*/ 233107 w 394490"/>
                <a:gd name="connsiteY7" fmla="*/ 9053 h 343138"/>
                <a:gd name="connsiteX8" fmla="*/ 280694 w 394490"/>
                <a:gd name="connsiteY8" fmla="*/ 87 h 343138"/>
                <a:gd name="connsiteX9" fmla="*/ 394490 w 394490"/>
                <a:gd name="connsiteY9" fmla="*/ 133882 h 343138"/>
                <a:gd name="connsiteX10" fmla="*/ 394490 w 394490"/>
                <a:gd name="connsiteY10" fmla="*/ 142849 h 343138"/>
                <a:gd name="connsiteX11" fmla="*/ 300694 w 394490"/>
                <a:gd name="connsiteY11" fmla="*/ 148365 h 343138"/>
                <a:gd name="connsiteX12" fmla="*/ 300694 w 394490"/>
                <a:gd name="connsiteY12" fmla="*/ 123538 h 343138"/>
                <a:gd name="connsiteX13" fmla="*/ 249660 w 394490"/>
                <a:gd name="connsiteY13" fmla="*/ 60778 h 343138"/>
                <a:gd name="connsiteX14" fmla="*/ 168969 w 394490"/>
                <a:gd name="connsiteY14" fmla="*/ 193194 h 343138"/>
                <a:gd name="connsiteX15" fmla="*/ 168969 w 394490"/>
                <a:gd name="connsiteY15" fmla="*/ 323541 h 343138"/>
                <a:gd name="connsiteX16" fmla="*/ 140226 w 394490"/>
                <a:gd name="connsiteY16" fmla="*/ 343138 h 343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4490" h="343138">
                  <a:moveTo>
                    <a:pt x="77932" y="311621"/>
                  </a:moveTo>
                  <a:lnTo>
                    <a:pt x="77932" y="69053"/>
                  </a:lnTo>
                  <a:lnTo>
                    <a:pt x="0" y="69054"/>
                  </a:lnTo>
                  <a:lnTo>
                    <a:pt x="0" y="2156"/>
                  </a:lnTo>
                  <a:lnTo>
                    <a:pt x="158623" y="2157"/>
                  </a:lnTo>
                  <a:lnTo>
                    <a:pt x="158624" y="113882"/>
                  </a:lnTo>
                  <a:lnTo>
                    <a:pt x="160692" y="113882"/>
                  </a:lnTo>
                  <a:cubicBezTo>
                    <a:pt x="182762" y="48364"/>
                    <a:pt x="200003" y="22846"/>
                    <a:pt x="233107" y="9053"/>
                  </a:cubicBezTo>
                  <a:cubicBezTo>
                    <a:pt x="248280" y="2846"/>
                    <a:pt x="264142" y="-602"/>
                    <a:pt x="280694" y="87"/>
                  </a:cubicBezTo>
                  <a:cubicBezTo>
                    <a:pt x="351730" y="-1293"/>
                    <a:pt x="394490" y="48364"/>
                    <a:pt x="394490" y="133882"/>
                  </a:cubicBezTo>
                  <a:lnTo>
                    <a:pt x="394490" y="142849"/>
                  </a:lnTo>
                  <a:lnTo>
                    <a:pt x="300694" y="148365"/>
                  </a:lnTo>
                  <a:lnTo>
                    <a:pt x="300694" y="123538"/>
                  </a:lnTo>
                  <a:cubicBezTo>
                    <a:pt x="300695" y="86296"/>
                    <a:pt x="279316" y="60778"/>
                    <a:pt x="249660" y="60778"/>
                  </a:cubicBezTo>
                  <a:cubicBezTo>
                    <a:pt x="205521" y="60778"/>
                    <a:pt x="168968" y="119399"/>
                    <a:pt x="168969" y="193194"/>
                  </a:cubicBezTo>
                  <a:lnTo>
                    <a:pt x="168969" y="323541"/>
                  </a:lnTo>
                  <a:lnTo>
                    <a:pt x="140226" y="3431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24323A32-7D51-45A5-8D91-2223C2D14BC5}"/>
                </a:ext>
              </a:extLst>
            </p:cNvPr>
            <p:cNvSpPr/>
            <p:nvPr/>
          </p:nvSpPr>
          <p:spPr>
            <a:xfrm rot="8716295">
              <a:off x="8646997" y="4143256"/>
              <a:ext cx="121064" cy="89924"/>
            </a:xfrm>
            <a:custGeom>
              <a:avLst/>
              <a:gdLst>
                <a:gd name="connsiteX0" fmla="*/ 0 w 121064"/>
                <a:gd name="connsiteY0" fmla="*/ 39250 h 89924"/>
                <a:gd name="connsiteX1" fmla="*/ 32528 w 121064"/>
                <a:gd name="connsiteY1" fmla="*/ 13621 h 89924"/>
                <a:gd name="connsiteX2" fmla="*/ 78305 w 121064"/>
                <a:gd name="connsiteY2" fmla="*/ 0 h 89924"/>
                <a:gd name="connsiteX3" fmla="*/ 121064 w 121064"/>
                <a:gd name="connsiteY3" fmla="*/ 51035 h 89924"/>
                <a:gd name="connsiteX4" fmla="*/ 108563 w 121064"/>
                <a:gd name="connsiteY4" fmla="*/ 83363 h 89924"/>
                <a:gd name="connsiteX5" fmla="*/ 100159 w 121064"/>
                <a:gd name="connsiteY5" fmla="*/ 89924 h 89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1064" h="89924">
                  <a:moveTo>
                    <a:pt x="0" y="39250"/>
                  </a:moveTo>
                  <a:lnTo>
                    <a:pt x="32528" y="13621"/>
                  </a:lnTo>
                  <a:cubicBezTo>
                    <a:pt x="46580" y="6380"/>
                    <a:pt x="62098" y="1724"/>
                    <a:pt x="78305" y="0"/>
                  </a:cubicBezTo>
                  <a:cubicBezTo>
                    <a:pt x="111409" y="0"/>
                    <a:pt x="121065" y="28966"/>
                    <a:pt x="121064" y="51035"/>
                  </a:cubicBezTo>
                  <a:cubicBezTo>
                    <a:pt x="120030" y="63105"/>
                    <a:pt x="115546" y="74139"/>
                    <a:pt x="108563" y="83363"/>
                  </a:cubicBezTo>
                  <a:lnTo>
                    <a:pt x="100159" y="899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CF24F6A6-E56B-4B69-A6B4-F595B4AECDB5}"/>
                </a:ext>
              </a:extLst>
            </p:cNvPr>
            <p:cNvSpPr/>
            <p:nvPr/>
          </p:nvSpPr>
          <p:spPr>
            <a:xfrm rot="8716295">
              <a:off x="8360649" y="4203945"/>
              <a:ext cx="88105" cy="88278"/>
            </a:xfrm>
            <a:custGeom>
              <a:avLst/>
              <a:gdLst>
                <a:gd name="connsiteX0" fmla="*/ 11702 w 88105"/>
                <a:gd name="connsiteY0" fmla="*/ 72544 h 88278"/>
                <a:gd name="connsiteX1" fmla="*/ 0 w 88105"/>
                <a:gd name="connsiteY1" fmla="*/ 44829 h 88278"/>
                <a:gd name="connsiteX2" fmla="*/ 0 w 88105"/>
                <a:gd name="connsiteY2" fmla="*/ 44139 h 88278"/>
                <a:gd name="connsiteX3" fmla="*/ 13104 w 88105"/>
                <a:gd name="connsiteY3" fmla="*/ 13104 h 88278"/>
                <a:gd name="connsiteX4" fmla="*/ 44139 w 88105"/>
                <a:gd name="connsiteY4" fmla="*/ 0 h 88278"/>
                <a:gd name="connsiteX5" fmla="*/ 75175 w 88105"/>
                <a:gd name="connsiteY5" fmla="*/ 13104 h 88278"/>
                <a:gd name="connsiteX6" fmla="*/ 75175 w 88105"/>
                <a:gd name="connsiteY6" fmla="*/ 75175 h 88278"/>
                <a:gd name="connsiteX7" fmla="*/ 44139 w 88105"/>
                <a:gd name="connsiteY7" fmla="*/ 88278 h 88278"/>
                <a:gd name="connsiteX8" fmla="*/ 37752 w 88105"/>
                <a:gd name="connsiteY8" fmla="*/ 85724 h 88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8105" h="88278">
                  <a:moveTo>
                    <a:pt x="11702" y="72544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cubicBezTo>
                    <a:pt x="55864" y="0"/>
                    <a:pt x="66899" y="4828"/>
                    <a:pt x="75175" y="13104"/>
                  </a:cubicBezTo>
                  <a:cubicBezTo>
                    <a:pt x="92416" y="29657"/>
                    <a:pt x="92416" y="57933"/>
                    <a:pt x="75175" y="75175"/>
                  </a:cubicBezTo>
                  <a:cubicBezTo>
                    <a:pt x="66899" y="83451"/>
                    <a:pt x="55864" y="88278"/>
                    <a:pt x="44139" y="88278"/>
                  </a:cubicBezTo>
                  <a:lnTo>
                    <a:pt x="37752" y="857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823BDB41-A1E6-41AA-847A-64C2D14D0B20}"/>
                </a:ext>
              </a:extLst>
            </p:cNvPr>
            <p:cNvSpPr/>
            <p:nvPr/>
          </p:nvSpPr>
          <p:spPr>
            <a:xfrm rot="8716295">
              <a:off x="8270439" y="4208809"/>
              <a:ext cx="54467" cy="27557"/>
            </a:xfrm>
            <a:custGeom>
              <a:avLst/>
              <a:gdLst>
                <a:gd name="connsiteX0" fmla="*/ 0 w 54467"/>
                <a:gd name="connsiteY0" fmla="*/ 0 h 27557"/>
                <a:gd name="connsiteX1" fmla="*/ 54467 w 54467"/>
                <a:gd name="connsiteY1" fmla="*/ 0 h 27557"/>
                <a:gd name="connsiteX2" fmla="*/ 54467 w 54467"/>
                <a:gd name="connsiteY2" fmla="*/ 27557 h 27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467" h="27557">
                  <a:moveTo>
                    <a:pt x="0" y="0"/>
                  </a:moveTo>
                  <a:lnTo>
                    <a:pt x="54467" y="0"/>
                  </a:lnTo>
                  <a:lnTo>
                    <a:pt x="54467" y="2755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C4D7300C-5B1D-4389-9C36-32D5B08AA75A}"/>
                </a:ext>
              </a:extLst>
            </p:cNvPr>
            <p:cNvSpPr/>
            <p:nvPr/>
          </p:nvSpPr>
          <p:spPr>
            <a:xfrm rot="8716295">
              <a:off x="8503577" y="4269431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A57703A1-63B4-443D-A8D6-A43C23AB9B28}"/>
                </a:ext>
              </a:extLst>
            </p:cNvPr>
            <p:cNvSpPr/>
            <p:nvPr/>
          </p:nvSpPr>
          <p:spPr>
            <a:xfrm rot="8716295">
              <a:off x="8994983" y="4078441"/>
              <a:ext cx="137688" cy="132478"/>
            </a:xfrm>
            <a:custGeom>
              <a:avLst/>
              <a:gdLst>
                <a:gd name="connsiteX0" fmla="*/ 46653 w 137688"/>
                <a:gd name="connsiteY0" fmla="*/ 86420 h 132478"/>
                <a:gd name="connsiteX1" fmla="*/ 46653 w 137688"/>
                <a:gd name="connsiteY1" fmla="*/ 24828 h 132478"/>
                <a:gd name="connsiteX2" fmla="*/ 0 w 137688"/>
                <a:gd name="connsiteY2" fmla="*/ 24828 h 132478"/>
                <a:gd name="connsiteX3" fmla="*/ 15342 w 137688"/>
                <a:gd name="connsiteY3" fmla="*/ 2695 h 132478"/>
                <a:gd name="connsiteX4" fmla="*/ 137688 w 137688"/>
                <a:gd name="connsiteY4" fmla="*/ 0 h 132478"/>
                <a:gd name="connsiteX5" fmla="*/ 137688 w 137688"/>
                <a:gd name="connsiteY5" fmla="*/ 132478 h 132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7688" h="132478">
                  <a:moveTo>
                    <a:pt x="46653" y="86420"/>
                  </a:moveTo>
                  <a:lnTo>
                    <a:pt x="46653" y="24828"/>
                  </a:lnTo>
                  <a:lnTo>
                    <a:pt x="0" y="24828"/>
                  </a:lnTo>
                  <a:lnTo>
                    <a:pt x="15342" y="2695"/>
                  </a:lnTo>
                  <a:lnTo>
                    <a:pt x="137688" y="0"/>
                  </a:lnTo>
                  <a:lnTo>
                    <a:pt x="137688" y="13247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46727CBF-18BC-4939-8F2B-40813E13A972}"/>
                </a:ext>
              </a:extLst>
            </p:cNvPr>
            <p:cNvSpPr/>
            <p:nvPr/>
          </p:nvSpPr>
          <p:spPr>
            <a:xfrm rot="7484129">
              <a:off x="9136824" y="4228704"/>
              <a:ext cx="8392" cy="13068"/>
            </a:xfrm>
            <a:custGeom>
              <a:avLst/>
              <a:gdLst>
                <a:gd name="connsiteX0" fmla="*/ 3897 w 8392"/>
                <a:gd name="connsiteY0" fmla="*/ 13068 h 13068"/>
                <a:gd name="connsiteX1" fmla="*/ 0 w 8392"/>
                <a:gd name="connsiteY1" fmla="*/ 5818 h 13068"/>
                <a:gd name="connsiteX2" fmla="*/ 8392 w 8392"/>
                <a:gd name="connsiteY2" fmla="*/ 0 h 13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2" h="13068">
                  <a:moveTo>
                    <a:pt x="3897" y="13068"/>
                  </a:moveTo>
                  <a:lnTo>
                    <a:pt x="0" y="5818"/>
                  </a:lnTo>
                  <a:lnTo>
                    <a:pt x="839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D9037FA7-ED1D-4D57-8F2C-1298751D415A}"/>
                </a:ext>
              </a:extLst>
            </p:cNvPr>
            <p:cNvSpPr/>
            <p:nvPr/>
          </p:nvSpPr>
          <p:spPr>
            <a:xfrm rot="8716295">
              <a:off x="8839311" y="5117279"/>
              <a:ext cx="37096" cy="40385"/>
            </a:xfrm>
            <a:custGeom>
              <a:avLst/>
              <a:gdLst>
                <a:gd name="connsiteX0" fmla="*/ 37095 w 37096"/>
                <a:gd name="connsiteY0" fmla="*/ 25713 h 40385"/>
                <a:gd name="connsiteX1" fmla="*/ 0 w 37096"/>
                <a:gd name="connsiteY1" fmla="*/ 0 h 40385"/>
                <a:gd name="connsiteX2" fmla="*/ 0 w 37096"/>
                <a:gd name="connsiteY2" fmla="*/ 0 h 40385"/>
                <a:gd name="connsiteX3" fmla="*/ 37096 w 37096"/>
                <a:gd name="connsiteY3" fmla="*/ 25713 h 40385"/>
                <a:gd name="connsiteX4" fmla="*/ 0 w 37096"/>
                <a:gd name="connsiteY4" fmla="*/ 40385 h 40385"/>
                <a:gd name="connsiteX5" fmla="*/ 0 w 37096"/>
                <a:gd name="connsiteY5" fmla="*/ 28525 h 40385"/>
                <a:gd name="connsiteX6" fmla="*/ 9740 w 37096"/>
                <a:gd name="connsiteY6" fmla="*/ 36533 h 40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096" h="40385">
                  <a:moveTo>
                    <a:pt x="37095" y="25713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37096" y="25713"/>
                  </a:lnTo>
                  <a:close/>
                  <a:moveTo>
                    <a:pt x="0" y="40385"/>
                  </a:moveTo>
                  <a:lnTo>
                    <a:pt x="0" y="28525"/>
                  </a:lnTo>
                  <a:lnTo>
                    <a:pt x="9740" y="365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7762AEC2-4809-4723-B4B8-AD709205FF29}"/>
                </a:ext>
              </a:extLst>
            </p:cNvPr>
            <p:cNvSpPr/>
            <p:nvPr/>
          </p:nvSpPr>
          <p:spPr>
            <a:xfrm rot="8716295">
              <a:off x="8967255" y="4971567"/>
              <a:ext cx="231347" cy="158649"/>
            </a:xfrm>
            <a:custGeom>
              <a:avLst/>
              <a:gdLst>
                <a:gd name="connsiteX0" fmla="*/ 8965 w 231347"/>
                <a:gd name="connsiteY0" fmla="*/ 158649 h 158649"/>
                <a:gd name="connsiteX1" fmla="*/ 0 w 231347"/>
                <a:gd name="connsiteY1" fmla="*/ 146235 h 158649"/>
                <a:gd name="connsiteX2" fmla="*/ 155416 w 231347"/>
                <a:gd name="connsiteY2" fmla="*/ 0 h 158649"/>
                <a:gd name="connsiteX3" fmla="*/ 231347 w 231347"/>
                <a:gd name="connsiteY3" fmla="*/ 62433 h 158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347" h="158649">
                  <a:moveTo>
                    <a:pt x="8965" y="158649"/>
                  </a:moveTo>
                  <a:lnTo>
                    <a:pt x="0" y="146235"/>
                  </a:lnTo>
                  <a:lnTo>
                    <a:pt x="155416" y="0"/>
                  </a:lnTo>
                  <a:lnTo>
                    <a:pt x="231347" y="624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45E00815-1C71-4483-8D7E-4D817A5C21EF}"/>
                </a:ext>
              </a:extLst>
            </p:cNvPr>
            <p:cNvSpPr/>
            <p:nvPr/>
          </p:nvSpPr>
          <p:spPr>
            <a:xfrm rot="8716295">
              <a:off x="8555937" y="4871188"/>
              <a:ext cx="249519" cy="296463"/>
            </a:xfrm>
            <a:custGeom>
              <a:avLst/>
              <a:gdLst>
                <a:gd name="connsiteX0" fmla="*/ 249516 w 249519"/>
                <a:gd name="connsiteY0" fmla="*/ 83734 h 296463"/>
                <a:gd name="connsiteX1" fmla="*/ 128718 w 249519"/>
                <a:gd name="connsiteY1" fmla="*/ 0 h 296463"/>
                <a:gd name="connsiteX2" fmla="*/ 128719 w 249519"/>
                <a:gd name="connsiteY2" fmla="*/ 0 h 296463"/>
                <a:gd name="connsiteX3" fmla="*/ 249519 w 249519"/>
                <a:gd name="connsiteY3" fmla="*/ 83734 h 296463"/>
                <a:gd name="connsiteX4" fmla="*/ 137293 w 249519"/>
                <a:gd name="connsiteY4" fmla="*/ 296463 h 296463"/>
                <a:gd name="connsiteX5" fmla="*/ 72418 w 249519"/>
                <a:gd name="connsiteY5" fmla="*/ 175766 h 296463"/>
                <a:gd name="connsiteX6" fmla="*/ 105610 w 249519"/>
                <a:gd name="connsiteY6" fmla="*/ 83734 h 296463"/>
                <a:gd name="connsiteX7" fmla="*/ 0 w 249519"/>
                <a:gd name="connsiteY7" fmla="*/ 83734 h 296463"/>
                <a:gd name="connsiteX8" fmla="*/ 0 w 249519"/>
                <a:gd name="connsiteY8" fmla="*/ 0 h 296463"/>
                <a:gd name="connsiteX9" fmla="*/ 78196 w 249519"/>
                <a:gd name="connsiteY9" fmla="*/ 0 h 296463"/>
                <a:gd name="connsiteX10" fmla="*/ 203756 w 249519"/>
                <a:gd name="connsiteY10" fmla="*/ 103239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519" h="296463">
                  <a:moveTo>
                    <a:pt x="249516" y="83734"/>
                  </a:moveTo>
                  <a:lnTo>
                    <a:pt x="128718" y="0"/>
                  </a:lnTo>
                  <a:lnTo>
                    <a:pt x="128719" y="0"/>
                  </a:lnTo>
                  <a:lnTo>
                    <a:pt x="249519" y="83734"/>
                  </a:lnTo>
                  <a:close/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78196" y="0"/>
                  </a:lnTo>
                  <a:lnTo>
                    <a:pt x="203756" y="1032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58E38A6F-A61D-44CF-B900-AC3229C6053D}"/>
                </a:ext>
              </a:extLst>
            </p:cNvPr>
            <p:cNvSpPr/>
            <p:nvPr/>
          </p:nvSpPr>
          <p:spPr>
            <a:xfrm rot="8716295">
              <a:off x="9124182" y="4842281"/>
              <a:ext cx="37059" cy="48941"/>
            </a:xfrm>
            <a:custGeom>
              <a:avLst/>
              <a:gdLst>
                <a:gd name="connsiteX0" fmla="*/ 0 w 37059"/>
                <a:gd name="connsiteY0" fmla="*/ 48941 h 48941"/>
                <a:gd name="connsiteX1" fmla="*/ 33925 w 37059"/>
                <a:gd name="connsiteY1" fmla="*/ 0 h 48941"/>
                <a:gd name="connsiteX2" fmla="*/ 37059 w 37059"/>
                <a:gd name="connsiteY2" fmla="*/ 7460 h 48941"/>
                <a:gd name="connsiteX3" fmla="*/ 24128 w 37059"/>
                <a:gd name="connsiteY3" fmla="*/ 38754 h 48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059" h="48941">
                  <a:moveTo>
                    <a:pt x="0" y="48941"/>
                  </a:moveTo>
                  <a:lnTo>
                    <a:pt x="33925" y="0"/>
                  </a:lnTo>
                  <a:lnTo>
                    <a:pt x="37059" y="7460"/>
                  </a:lnTo>
                  <a:cubicBezTo>
                    <a:pt x="37059" y="18753"/>
                    <a:pt x="32749" y="30133"/>
                    <a:pt x="24128" y="3875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0438BEFE-52E9-475C-AF5B-D887CDB606B3}"/>
                </a:ext>
              </a:extLst>
            </p:cNvPr>
            <p:cNvSpPr/>
            <p:nvPr/>
          </p:nvSpPr>
          <p:spPr>
            <a:xfrm rot="8716295">
              <a:off x="8946271" y="4530250"/>
              <a:ext cx="235267" cy="296463"/>
            </a:xfrm>
            <a:custGeom>
              <a:avLst/>
              <a:gdLst>
                <a:gd name="connsiteX0" fmla="*/ 64028 w 235267"/>
                <a:gd name="connsiteY0" fmla="*/ 296463 h 296463"/>
                <a:gd name="connsiteX1" fmla="*/ 0 w 235267"/>
                <a:gd name="connsiteY1" fmla="*/ 177341 h 296463"/>
                <a:gd name="connsiteX2" fmla="*/ 122928 w 235267"/>
                <a:gd name="connsiteY2" fmla="*/ 0 h 296463"/>
                <a:gd name="connsiteX3" fmla="*/ 235266 w 235267"/>
                <a:gd name="connsiteY3" fmla="*/ 0 h 296463"/>
                <a:gd name="connsiteX4" fmla="*/ 235267 w 235267"/>
                <a:gd name="connsiteY4" fmla="*/ 83734 h 296463"/>
                <a:gd name="connsiteX5" fmla="*/ 137200 w 235267"/>
                <a:gd name="connsiteY5" fmla="*/ 83735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5267" h="296463">
                  <a:moveTo>
                    <a:pt x="64028" y="296463"/>
                  </a:moveTo>
                  <a:lnTo>
                    <a:pt x="0" y="177341"/>
                  </a:lnTo>
                  <a:lnTo>
                    <a:pt x="122928" y="0"/>
                  </a:lnTo>
                  <a:lnTo>
                    <a:pt x="235266" y="0"/>
                  </a:lnTo>
                  <a:lnTo>
                    <a:pt x="235267" y="83734"/>
                  </a:lnTo>
                  <a:lnTo>
                    <a:pt x="137200" y="837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D3F9B5D8-06D4-4B43-BC6C-7C19EABDD1C4}"/>
                </a:ext>
              </a:extLst>
            </p:cNvPr>
            <p:cNvSpPr/>
            <p:nvPr/>
          </p:nvSpPr>
          <p:spPr>
            <a:xfrm rot="8716295">
              <a:off x="8906661" y="466090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71905357-F1DF-411B-B59B-0F032583384E}"/>
                </a:ext>
              </a:extLst>
            </p:cNvPr>
            <p:cNvSpPr/>
            <p:nvPr/>
          </p:nvSpPr>
          <p:spPr>
            <a:xfrm rot="13089394">
              <a:off x="7765620" y="4253518"/>
              <a:ext cx="72828" cy="75543"/>
            </a:xfrm>
            <a:custGeom>
              <a:avLst/>
              <a:gdLst>
                <a:gd name="connsiteX0" fmla="*/ 0 w 72828"/>
                <a:gd name="connsiteY0" fmla="*/ 75543 h 75543"/>
                <a:gd name="connsiteX1" fmla="*/ 0 w 72828"/>
                <a:gd name="connsiteY1" fmla="*/ 37783 h 75543"/>
                <a:gd name="connsiteX2" fmla="*/ 72828 w 72828"/>
                <a:gd name="connsiteY2" fmla="*/ 0 h 7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828" h="75543">
                  <a:moveTo>
                    <a:pt x="0" y="75543"/>
                  </a:moveTo>
                  <a:lnTo>
                    <a:pt x="0" y="37783"/>
                  </a:lnTo>
                  <a:lnTo>
                    <a:pt x="7282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9CC70003-388A-4ED2-9C78-B5584C3B43A2}"/>
                </a:ext>
              </a:extLst>
            </p:cNvPr>
            <p:cNvSpPr/>
            <p:nvPr/>
          </p:nvSpPr>
          <p:spPr>
            <a:xfrm rot="8716295">
              <a:off x="7196646" y="4735107"/>
              <a:ext cx="215177" cy="351729"/>
            </a:xfrm>
            <a:custGeom>
              <a:avLst/>
              <a:gdLst>
                <a:gd name="connsiteX0" fmla="*/ 122761 w 215177"/>
                <a:gd name="connsiteY0" fmla="*/ 351729 h 351729"/>
                <a:gd name="connsiteX1" fmla="*/ 122761 w 215177"/>
                <a:gd name="connsiteY1" fmla="*/ 105519 h 351729"/>
                <a:gd name="connsiteX2" fmla="*/ 122761 w 215177"/>
                <a:gd name="connsiteY2" fmla="*/ 99312 h 351729"/>
                <a:gd name="connsiteX3" fmla="*/ 91726 w 215177"/>
                <a:gd name="connsiteY3" fmla="*/ 75863 h 351729"/>
                <a:gd name="connsiteX4" fmla="*/ 0 w 215177"/>
                <a:gd name="connsiteY4" fmla="*/ 75863 h 351729"/>
                <a:gd name="connsiteX5" fmla="*/ 0 w 215177"/>
                <a:gd name="connsiteY5" fmla="*/ 0 h 351729"/>
                <a:gd name="connsiteX6" fmla="*/ 20033 w 215177"/>
                <a:gd name="connsiteY6" fmla="*/ 0 h 351729"/>
                <a:gd name="connsiteX7" fmla="*/ 215177 w 215177"/>
                <a:gd name="connsiteY7" fmla="*/ 160452 h 351729"/>
                <a:gd name="connsiteX8" fmla="*/ 215176 w 215177"/>
                <a:gd name="connsiteY8" fmla="*/ 315177 h 351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5177" h="351729">
                  <a:moveTo>
                    <a:pt x="122761" y="35172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0"/>
                  </a:lnTo>
                  <a:lnTo>
                    <a:pt x="20033" y="0"/>
                  </a:lnTo>
                  <a:lnTo>
                    <a:pt x="215177" y="160452"/>
                  </a:lnTo>
                  <a:lnTo>
                    <a:pt x="215176" y="3151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E46A29A2-07B5-4D69-A57A-B7E84F78585B}"/>
                </a:ext>
              </a:extLst>
            </p:cNvPr>
            <p:cNvSpPr/>
            <p:nvPr/>
          </p:nvSpPr>
          <p:spPr>
            <a:xfrm rot="8716295">
              <a:off x="7519762" y="4714342"/>
              <a:ext cx="185667" cy="383455"/>
            </a:xfrm>
            <a:custGeom>
              <a:avLst/>
              <a:gdLst>
                <a:gd name="connsiteX0" fmla="*/ 77932 w 185667"/>
                <a:gd name="connsiteY0" fmla="*/ 383455 h 383455"/>
                <a:gd name="connsiteX1" fmla="*/ 77932 w 185667"/>
                <a:gd name="connsiteY1" fmla="*/ 66898 h 383455"/>
                <a:gd name="connsiteX2" fmla="*/ 0 w 185667"/>
                <a:gd name="connsiteY2" fmla="*/ 66898 h 383455"/>
                <a:gd name="connsiteX3" fmla="*/ 0 w 185667"/>
                <a:gd name="connsiteY3" fmla="*/ 0 h 383455"/>
                <a:gd name="connsiteX4" fmla="*/ 33456 w 185667"/>
                <a:gd name="connsiteY4" fmla="*/ 0 h 383455"/>
                <a:gd name="connsiteX5" fmla="*/ 158623 w 185667"/>
                <a:gd name="connsiteY5" fmla="*/ 102916 h 383455"/>
                <a:gd name="connsiteX6" fmla="*/ 158623 w 185667"/>
                <a:gd name="connsiteY6" fmla="*/ 111726 h 383455"/>
                <a:gd name="connsiteX7" fmla="*/ 160692 w 185667"/>
                <a:gd name="connsiteY7" fmla="*/ 111726 h 383455"/>
                <a:gd name="connsiteX8" fmla="*/ 162749 w 185667"/>
                <a:gd name="connsiteY8" fmla="*/ 106308 h 383455"/>
                <a:gd name="connsiteX9" fmla="*/ 185667 w 185667"/>
                <a:gd name="connsiteY9" fmla="*/ 125152 h 383455"/>
                <a:gd name="connsiteX10" fmla="*/ 168969 w 185667"/>
                <a:gd name="connsiteY10" fmla="*/ 191038 h 383455"/>
                <a:gd name="connsiteX11" fmla="*/ 168969 w 185667"/>
                <a:gd name="connsiteY11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5667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33456" y="0"/>
                  </a:lnTo>
                  <a:lnTo>
                    <a:pt x="158623" y="102916"/>
                  </a:lnTo>
                  <a:lnTo>
                    <a:pt x="158623" y="111726"/>
                  </a:lnTo>
                  <a:lnTo>
                    <a:pt x="160692" y="111726"/>
                  </a:lnTo>
                  <a:lnTo>
                    <a:pt x="162749" y="106308"/>
                  </a:lnTo>
                  <a:lnTo>
                    <a:pt x="185667" y="125152"/>
                  </a:lnTo>
                  <a:lnTo>
                    <a:pt x="168969" y="191038"/>
                  </a:ln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BB2B590A-BBED-49DF-BE0A-D7CDB8C7EA53}"/>
                </a:ext>
              </a:extLst>
            </p:cNvPr>
            <p:cNvSpPr/>
            <p:nvPr/>
          </p:nvSpPr>
          <p:spPr>
            <a:xfrm rot="8716295">
              <a:off x="7265319" y="4648384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7838B053-EE23-465E-B80C-0FDB953D8E9F}"/>
                </a:ext>
              </a:extLst>
            </p:cNvPr>
            <p:cNvSpPr/>
            <p:nvPr/>
          </p:nvSpPr>
          <p:spPr>
            <a:xfrm rot="8716295">
              <a:off x="7028032" y="486872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46F2EA92-FAA0-4CBD-8D20-0B7AF9B36906}"/>
                </a:ext>
              </a:extLst>
            </p:cNvPr>
            <p:cNvSpPr/>
            <p:nvPr/>
          </p:nvSpPr>
          <p:spPr>
            <a:xfrm rot="8716295">
              <a:off x="6838986" y="455289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C33E7506-2F8D-4DC7-82BD-DA6D9CD10C11}"/>
                </a:ext>
              </a:extLst>
            </p:cNvPr>
            <p:cNvSpPr/>
            <p:nvPr/>
          </p:nvSpPr>
          <p:spPr>
            <a:xfrm rot="8716295">
              <a:off x="6821466" y="4356542"/>
              <a:ext cx="439901" cy="511464"/>
            </a:xfrm>
            <a:custGeom>
              <a:avLst/>
              <a:gdLst>
                <a:gd name="connsiteX0" fmla="*/ 1873 w 439901"/>
                <a:gd name="connsiteY0" fmla="*/ 384681 h 511464"/>
                <a:gd name="connsiteX1" fmla="*/ 1725 w 439901"/>
                <a:gd name="connsiteY1" fmla="*/ 383648 h 511464"/>
                <a:gd name="connsiteX2" fmla="*/ 0 w 439901"/>
                <a:gd name="connsiteY2" fmla="*/ 333043 h 511464"/>
                <a:gd name="connsiteX3" fmla="*/ 0 w 439901"/>
                <a:gd name="connsiteY3" fmla="*/ 61444 h 511464"/>
                <a:gd name="connsiteX4" fmla="*/ 118434 w 439901"/>
                <a:gd name="connsiteY4" fmla="*/ 0 h 511464"/>
                <a:gd name="connsiteX5" fmla="*/ 120216 w 439901"/>
                <a:gd name="connsiteY5" fmla="*/ 248447 h 511464"/>
                <a:gd name="connsiteX6" fmla="*/ 141587 w 439901"/>
                <a:gd name="connsiteY6" fmla="*/ 396268 h 511464"/>
                <a:gd name="connsiteX7" fmla="*/ 248446 w 439901"/>
                <a:gd name="connsiteY7" fmla="*/ 455041 h 511464"/>
                <a:gd name="connsiteX8" fmla="*/ 328590 w 439901"/>
                <a:gd name="connsiteY8" fmla="*/ 440793 h 511464"/>
                <a:gd name="connsiteX9" fmla="*/ 438120 w 439901"/>
                <a:gd name="connsiteY9" fmla="*/ 396268 h 511464"/>
                <a:gd name="connsiteX10" fmla="*/ 439901 w 439901"/>
                <a:gd name="connsiteY10" fmla="*/ 407844 h 511464"/>
                <a:gd name="connsiteX11" fmla="*/ 439901 w 439901"/>
                <a:gd name="connsiteY11" fmla="*/ 416749 h 511464"/>
                <a:gd name="connsiteX12" fmla="*/ 286180 w 439901"/>
                <a:gd name="connsiteY12" fmla="*/ 502459 h 511464"/>
                <a:gd name="connsiteX13" fmla="*/ 252462 w 439901"/>
                <a:gd name="connsiteY13" fmla="*/ 511464 h 511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9901" h="511464">
                  <a:moveTo>
                    <a:pt x="1873" y="384681"/>
                  </a:moveTo>
                  <a:lnTo>
                    <a:pt x="1725" y="383648"/>
                  </a:lnTo>
                  <a:cubicBezTo>
                    <a:pt x="501" y="368162"/>
                    <a:pt x="0" y="351298"/>
                    <a:pt x="0" y="333043"/>
                  </a:cubicBezTo>
                  <a:lnTo>
                    <a:pt x="0" y="61444"/>
                  </a:lnTo>
                  <a:lnTo>
                    <a:pt x="118434" y="0"/>
                  </a:lnTo>
                  <a:lnTo>
                    <a:pt x="120216" y="248447"/>
                  </a:lnTo>
                  <a:cubicBezTo>
                    <a:pt x="117545" y="298315"/>
                    <a:pt x="125558" y="349072"/>
                    <a:pt x="141587" y="396268"/>
                  </a:cubicBezTo>
                  <a:cubicBezTo>
                    <a:pt x="155836" y="435450"/>
                    <a:pt x="192346" y="455041"/>
                    <a:pt x="248446" y="455041"/>
                  </a:cubicBezTo>
                  <a:cubicBezTo>
                    <a:pt x="276051" y="454150"/>
                    <a:pt x="302766" y="448807"/>
                    <a:pt x="328590" y="440793"/>
                  </a:cubicBezTo>
                  <a:cubicBezTo>
                    <a:pt x="365990" y="429216"/>
                    <a:pt x="402501" y="414078"/>
                    <a:pt x="438120" y="396268"/>
                  </a:cubicBezTo>
                  <a:cubicBezTo>
                    <a:pt x="439010" y="399830"/>
                    <a:pt x="439901" y="404282"/>
                    <a:pt x="439901" y="407844"/>
                  </a:cubicBezTo>
                  <a:lnTo>
                    <a:pt x="439901" y="416749"/>
                  </a:lnTo>
                  <a:cubicBezTo>
                    <a:pt x="392705" y="457267"/>
                    <a:pt x="338163" y="484649"/>
                    <a:pt x="286180" y="502459"/>
                  </a:cubicBezTo>
                  <a:lnTo>
                    <a:pt x="252462" y="5114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F0039EE6-19E5-4457-84A9-3D50560FF71B}"/>
                </a:ext>
              </a:extLst>
            </p:cNvPr>
            <p:cNvSpPr/>
            <p:nvPr/>
          </p:nvSpPr>
          <p:spPr>
            <a:xfrm rot="8716295">
              <a:off x="7635467" y="435609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62946C15-BE3C-45DF-BB3D-128249E4D1A5}"/>
                </a:ext>
              </a:extLst>
            </p:cNvPr>
            <p:cNvSpPr/>
            <p:nvPr/>
          </p:nvSpPr>
          <p:spPr>
            <a:xfrm rot="8716295">
              <a:off x="7770766" y="440035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3C27B629-4EE2-46C6-9535-F5382300825F}"/>
                </a:ext>
              </a:extLst>
            </p:cNvPr>
            <p:cNvSpPr/>
            <p:nvPr/>
          </p:nvSpPr>
          <p:spPr>
            <a:xfrm rot="8716295">
              <a:off x="7465596" y="44901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6592736C-E2B7-4AAA-9132-CE6867AFB7E6}"/>
                </a:ext>
              </a:extLst>
            </p:cNvPr>
            <p:cNvSpPr/>
            <p:nvPr/>
          </p:nvSpPr>
          <p:spPr>
            <a:xfrm rot="8716295">
              <a:off x="7313509" y="4314181"/>
              <a:ext cx="308532" cy="142740"/>
            </a:xfrm>
            <a:custGeom>
              <a:avLst/>
              <a:gdLst>
                <a:gd name="connsiteX0" fmla="*/ 0 w 308532"/>
                <a:gd name="connsiteY0" fmla="*/ 46525 h 142740"/>
                <a:gd name="connsiteX1" fmla="*/ 0 w 308532"/>
                <a:gd name="connsiteY1" fmla="*/ 0 h 142740"/>
                <a:gd name="connsiteX2" fmla="*/ 308532 w 308532"/>
                <a:gd name="connsiteY2" fmla="*/ 0 h 142740"/>
                <a:gd name="connsiteX3" fmla="*/ 308532 w 308532"/>
                <a:gd name="connsiteY3" fmla="*/ 83734 h 142740"/>
                <a:gd name="connsiteX4" fmla="*/ 210465 w 308532"/>
                <a:gd name="connsiteY4" fmla="*/ 83734 h 142740"/>
                <a:gd name="connsiteX5" fmla="*/ 190169 w 308532"/>
                <a:gd name="connsiteY5" fmla="*/ 142740 h 142740"/>
                <a:gd name="connsiteX6" fmla="*/ 100662 w 308532"/>
                <a:gd name="connsiteY6" fmla="*/ 97454 h 142740"/>
                <a:gd name="connsiteX7" fmla="*/ 105610 w 308532"/>
                <a:gd name="connsiteY7" fmla="*/ 83734 h 142740"/>
                <a:gd name="connsiteX8" fmla="*/ 73544 w 308532"/>
                <a:gd name="connsiteY8" fmla="*/ 83734 h 142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532" h="142740">
                  <a:moveTo>
                    <a:pt x="0" y="46525"/>
                  </a:moveTo>
                  <a:lnTo>
                    <a:pt x="0" y="0"/>
                  </a:lnTo>
                  <a:lnTo>
                    <a:pt x="308532" y="0"/>
                  </a:lnTo>
                  <a:lnTo>
                    <a:pt x="308532" y="83734"/>
                  </a:lnTo>
                  <a:lnTo>
                    <a:pt x="210465" y="83734"/>
                  </a:lnTo>
                  <a:lnTo>
                    <a:pt x="190169" y="142740"/>
                  </a:lnTo>
                  <a:lnTo>
                    <a:pt x="100662" y="97454"/>
                  </a:lnTo>
                  <a:lnTo>
                    <a:pt x="105610" y="83734"/>
                  </a:lnTo>
                  <a:lnTo>
                    <a:pt x="73544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39B2926A-51C6-4DDF-86D8-072C96B838B0}"/>
                </a:ext>
              </a:extLst>
            </p:cNvPr>
            <p:cNvSpPr/>
            <p:nvPr/>
          </p:nvSpPr>
          <p:spPr>
            <a:xfrm rot="8716295">
              <a:off x="7602084" y="4552096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A5226D1B-39C8-4DB7-A39D-DE8AE96085BA}"/>
                </a:ext>
              </a:extLst>
            </p:cNvPr>
            <p:cNvSpPr/>
            <p:nvPr/>
          </p:nvSpPr>
          <p:spPr>
            <a:xfrm rot="8716295">
              <a:off x="7233779" y="4339176"/>
              <a:ext cx="112931" cy="98229"/>
            </a:xfrm>
            <a:custGeom>
              <a:avLst/>
              <a:gdLst>
                <a:gd name="connsiteX0" fmla="*/ 0 w 112931"/>
                <a:gd name="connsiteY0" fmla="*/ 49475 h 98229"/>
                <a:gd name="connsiteX1" fmla="*/ 13559 w 112931"/>
                <a:gd name="connsiteY1" fmla="*/ 17362 h 98229"/>
                <a:gd name="connsiteX2" fmla="*/ 54678 w 112931"/>
                <a:gd name="connsiteY2" fmla="*/ 0 h 98229"/>
                <a:gd name="connsiteX3" fmla="*/ 95798 w 112931"/>
                <a:gd name="connsiteY3" fmla="*/ 17362 h 98229"/>
                <a:gd name="connsiteX4" fmla="*/ 112931 w 112931"/>
                <a:gd name="connsiteY4" fmla="*/ 58139 h 98229"/>
                <a:gd name="connsiteX5" fmla="*/ 96365 w 112931"/>
                <a:gd name="connsiteY5" fmla="*/ 98229 h 98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931" h="98229">
                  <a:moveTo>
                    <a:pt x="0" y="49475"/>
                  </a:moveTo>
                  <a:lnTo>
                    <a:pt x="13559" y="17362"/>
                  </a:lnTo>
                  <a:cubicBezTo>
                    <a:pt x="24524" y="6397"/>
                    <a:pt x="39145" y="0"/>
                    <a:pt x="54678" y="0"/>
                  </a:cubicBezTo>
                  <a:cubicBezTo>
                    <a:pt x="70213" y="0"/>
                    <a:pt x="84833" y="6397"/>
                    <a:pt x="95798" y="17362"/>
                  </a:cubicBezTo>
                  <a:cubicBezTo>
                    <a:pt x="107220" y="28327"/>
                    <a:pt x="112931" y="43176"/>
                    <a:pt x="112931" y="58139"/>
                  </a:cubicBezTo>
                  <a:lnTo>
                    <a:pt x="96365" y="9822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B8D891A1-7C58-4828-B849-358D4D72EA90}"/>
                </a:ext>
              </a:extLst>
            </p:cNvPr>
            <p:cNvSpPr/>
            <p:nvPr/>
          </p:nvSpPr>
          <p:spPr>
            <a:xfrm rot="7484129">
              <a:off x="7765134" y="4837237"/>
              <a:ext cx="295167" cy="296463"/>
            </a:xfrm>
            <a:custGeom>
              <a:avLst/>
              <a:gdLst>
                <a:gd name="connsiteX0" fmla="*/ 295165 w 295167"/>
                <a:gd name="connsiteY0" fmla="*/ 83734 h 296463"/>
                <a:gd name="connsiteX1" fmla="*/ 237109 w 295167"/>
                <a:gd name="connsiteY1" fmla="*/ 0 h 296463"/>
                <a:gd name="connsiteX2" fmla="*/ 237110 w 295167"/>
                <a:gd name="connsiteY2" fmla="*/ 0 h 296463"/>
                <a:gd name="connsiteX3" fmla="*/ 295167 w 295167"/>
                <a:gd name="connsiteY3" fmla="*/ 83734 h 296463"/>
                <a:gd name="connsiteX4" fmla="*/ 137293 w 295167"/>
                <a:gd name="connsiteY4" fmla="*/ 296463 h 296463"/>
                <a:gd name="connsiteX5" fmla="*/ 72418 w 295167"/>
                <a:gd name="connsiteY5" fmla="*/ 175766 h 296463"/>
                <a:gd name="connsiteX6" fmla="*/ 105610 w 295167"/>
                <a:gd name="connsiteY6" fmla="*/ 83734 h 296463"/>
                <a:gd name="connsiteX7" fmla="*/ 0 w 295167"/>
                <a:gd name="connsiteY7" fmla="*/ 83734 h 296463"/>
                <a:gd name="connsiteX8" fmla="*/ 0 w 295167"/>
                <a:gd name="connsiteY8" fmla="*/ 0 h 296463"/>
                <a:gd name="connsiteX9" fmla="*/ 126381 w 295167"/>
                <a:gd name="connsiteY9" fmla="*/ 0 h 296463"/>
                <a:gd name="connsiteX10" fmla="*/ 197160 w 295167"/>
                <a:gd name="connsiteY10" fmla="*/ 122416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5167" h="296463">
                  <a:moveTo>
                    <a:pt x="295165" y="83734"/>
                  </a:moveTo>
                  <a:lnTo>
                    <a:pt x="237109" y="0"/>
                  </a:lnTo>
                  <a:lnTo>
                    <a:pt x="237110" y="0"/>
                  </a:lnTo>
                  <a:lnTo>
                    <a:pt x="295167" y="83734"/>
                  </a:lnTo>
                  <a:close/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126381" y="0"/>
                  </a:lnTo>
                  <a:lnTo>
                    <a:pt x="197160" y="1224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527B4309-024C-4B07-A449-12F7536748C5}"/>
                </a:ext>
              </a:extLst>
            </p:cNvPr>
            <p:cNvSpPr/>
            <p:nvPr/>
          </p:nvSpPr>
          <p:spPr>
            <a:xfrm rot="13089394">
              <a:off x="8005038" y="4814171"/>
              <a:ext cx="409104" cy="218063"/>
            </a:xfrm>
            <a:custGeom>
              <a:avLst/>
              <a:gdLst>
                <a:gd name="connsiteX0" fmla="*/ 409104 w 409104"/>
                <a:gd name="connsiteY0" fmla="*/ 110916 h 218063"/>
                <a:gd name="connsiteX1" fmla="*/ 135172 w 409104"/>
                <a:gd name="connsiteY1" fmla="*/ 217816 h 218063"/>
                <a:gd name="connsiteX2" fmla="*/ 32447 w 409104"/>
                <a:gd name="connsiteY2" fmla="*/ 176058 h 218063"/>
                <a:gd name="connsiteX3" fmla="*/ 3843 w 409104"/>
                <a:gd name="connsiteY3" fmla="*/ 119581 h 218063"/>
                <a:gd name="connsiteX4" fmla="*/ 0 w 409104"/>
                <a:gd name="connsiteY4" fmla="*/ 73735 h 218063"/>
                <a:gd name="connsiteX5" fmla="*/ 111583 w 409104"/>
                <a:gd name="connsiteY5" fmla="*/ 0 h 218063"/>
                <a:gd name="connsiteX6" fmla="*/ 112727 w 409104"/>
                <a:gd name="connsiteY6" fmla="*/ 23329 h 218063"/>
                <a:gd name="connsiteX7" fmla="*/ 129325 w 409104"/>
                <a:gd name="connsiteY7" fmla="*/ 91708 h 218063"/>
                <a:gd name="connsiteX8" fmla="*/ 229544 w 409104"/>
                <a:gd name="connsiteY8" fmla="*/ 146828 h 218063"/>
                <a:gd name="connsiteX9" fmla="*/ 304708 w 409104"/>
                <a:gd name="connsiteY9" fmla="*/ 133466 h 218063"/>
                <a:gd name="connsiteX10" fmla="*/ 407434 w 409104"/>
                <a:gd name="connsiteY10" fmla="*/ 91708 h 218063"/>
                <a:gd name="connsiteX11" fmla="*/ 409104 w 409104"/>
                <a:gd name="connsiteY11" fmla="*/ 102564 h 218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9104" h="218063">
                  <a:moveTo>
                    <a:pt x="409104" y="110916"/>
                  </a:moveTo>
                  <a:cubicBezTo>
                    <a:pt x="320577" y="186915"/>
                    <a:pt x="204490" y="213641"/>
                    <a:pt x="135172" y="217816"/>
                  </a:cubicBezTo>
                  <a:cubicBezTo>
                    <a:pt x="96755" y="220322"/>
                    <a:pt x="59173" y="203619"/>
                    <a:pt x="32447" y="176058"/>
                  </a:cubicBezTo>
                  <a:cubicBezTo>
                    <a:pt x="18249" y="162278"/>
                    <a:pt x="9272" y="143487"/>
                    <a:pt x="3843" y="119581"/>
                  </a:cubicBezTo>
                  <a:lnTo>
                    <a:pt x="0" y="73735"/>
                  </a:lnTo>
                  <a:lnTo>
                    <a:pt x="111583" y="0"/>
                  </a:lnTo>
                  <a:lnTo>
                    <a:pt x="112727" y="23329"/>
                  </a:lnTo>
                  <a:cubicBezTo>
                    <a:pt x="116171" y="46609"/>
                    <a:pt x="121808" y="69576"/>
                    <a:pt x="129325" y="91708"/>
                  </a:cubicBezTo>
                  <a:cubicBezTo>
                    <a:pt x="142689" y="128454"/>
                    <a:pt x="176930" y="146828"/>
                    <a:pt x="229544" y="146828"/>
                  </a:cubicBezTo>
                  <a:cubicBezTo>
                    <a:pt x="255435" y="145993"/>
                    <a:pt x="280489" y="140981"/>
                    <a:pt x="304708" y="133466"/>
                  </a:cubicBezTo>
                  <a:cubicBezTo>
                    <a:pt x="339785" y="122608"/>
                    <a:pt x="374027" y="108411"/>
                    <a:pt x="407434" y="91708"/>
                  </a:cubicBezTo>
                  <a:cubicBezTo>
                    <a:pt x="408268" y="95048"/>
                    <a:pt x="409104" y="99224"/>
                    <a:pt x="409104" y="10256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A6665952-BEBA-4083-8857-192589F92F66}"/>
                </a:ext>
              </a:extLst>
            </p:cNvPr>
            <p:cNvSpPr/>
            <p:nvPr/>
          </p:nvSpPr>
          <p:spPr>
            <a:xfrm rot="8716295">
              <a:off x="8200443" y="4500944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48E8912F-96AC-4641-B68F-1FAC8423EE44}"/>
                </a:ext>
              </a:extLst>
            </p:cNvPr>
            <p:cNvSpPr/>
            <p:nvPr/>
          </p:nvSpPr>
          <p:spPr>
            <a:xfrm rot="8716295">
              <a:off x="8122034" y="434415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53758D6F-45BC-4683-9BA4-5F935E950CCD}"/>
                </a:ext>
              </a:extLst>
            </p:cNvPr>
            <p:cNvSpPr/>
            <p:nvPr/>
          </p:nvSpPr>
          <p:spPr>
            <a:xfrm rot="8716295">
              <a:off x="7753870" y="438989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3D33FD22-12AD-4D1A-88D7-5F0D534CAA44}"/>
                </a:ext>
              </a:extLst>
            </p:cNvPr>
            <p:cNvSpPr/>
            <p:nvPr/>
          </p:nvSpPr>
          <p:spPr>
            <a:xfrm rot="8716295">
              <a:off x="8030791" y="4210054"/>
              <a:ext cx="154744" cy="110503"/>
            </a:xfrm>
            <a:custGeom>
              <a:avLst/>
              <a:gdLst>
                <a:gd name="connsiteX0" fmla="*/ 0 w 154744"/>
                <a:gd name="connsiteY0" fmla="*/ 34366 h 110503"/>
                <a:gd name="connsiteX1" fmla="*/ 3342 w 154744"/>
                <a:gd name="connsiteY1" fmla="*/ 26453 h 110503"/>
                <a:gd name="connsiteX2" fmla="*/ 65990 w 154744"/>
                <a:gd name="connsiteY2" fmla="*/ 0 h 110503"/>
                <a:gd name="connsiteX3" fmla="*/ 128640 w 154744"/>
                <a:gd name="connsiteY3" fmla="*/ 26453 h 110503"/>
                <a:gd name="connsiteX4" fmla="*/ 154744 w 154744"/>
                <a:gd name="connsiteY4" fmla="*/ 88580 h 110503"/>
                <a:gd name="connsiteX5" fmla="*/ 150487 w 154744"/>
                <a:gd name="connsiteY5" fmla="*/ 110503 h 110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4744" h="110503">
                  <a:moveTo>
                    <a:pt x="0" y="34366"/>
                  </a:moveTo>
                  <a:lnTo>
                    <a:pt x="3342" y="26453"/>
                  </a:lnTo>
                  <a:cubicBezTo>
                    <a:pt x="20048" y="9746"/>
                    <a:pt x="42323" y="0"/>
                    <a:pt x="65990" y="0"/>
                  </a:cubicBezTo>
                  <a:cubicBezTo>
                    <a:pt x="89659" y="0"/>
                    <a:pt x="111934" y="9746"/>
                    <a:pt x="128640" y="26453"/>
                  </a:cubicBezTo>
                  <a:cubicBezTo>
                    <a:pt x="146043" y="43159"/>
                    <a:pt x="154744" y="65782"/>
                    <a:pt x="154744" y="88580"/>
                  </a:cubicBezTo>
                  <a:lnTo>
                    <a:pt x="150487" y="1105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55" name="Rectangle 7">
            <a:extLst>
              <a:ext uri="{FF2B5EF4-FFF2-40B4-BE49-F238E27FC236}">
                <a16:creationId xmlns:a16="http://schemas.microsoft.com/office/drawing/2014/main" id="{88941299-7323-4585-91C3-38C1B71800C4}"/>
              </a:ext>
            </a:extLst>
          </p:cNvPr>
          <p:cNvSpPr/>
          <p:nvPr userDrawn="1"/>
        </p:nvSpPr>
        <p:spPr>
          <a:xfrm>
            <a:off x="0" y="4391025"/>
            <a:ext cx="9153528" cy="752475"/>
          </a:xfrm>
          <a:custGeom>
            <a:avLst/>
            <a:gdLst>
              <a:gd name="connsiteX0" fmla="*/ 0 w 9153528"/>
              <a:gd name="connsiteY0" fmla="*/ 0 h 752475"/>
              <a:gd name="connsiteX1" fmla="*/ 9153528 w 9153528"/>
              <a:gd name="connsiteY1" fmla="*/ 0 h 752475"/>
              <a:gd name="connsiteX2" fmla="*/ 9153528 w 9153528"/>
              <a:gd name="connsiteY2" fmla="*/ 752475 h 752475"/>
              <a:gd name="connsiteX3" fmla="*/ 0 w 9153528"/>
              <a:gd name="connsiteY3" fmla="*/ 752475 h 752475"/>
              <a:gd name="connsiteX4" fmla="*/ 0 w 9153528"/>
              <a:gd name="connsiteY4" fmla="*/ 0 h 752475"/>
              <a:gd name="connsiteX0" fmla="*/ 0 w 9153528"/>
              <a:gd name="connsiteY0" fmla="*/ 0 h 752475"/>
              <a:gd name="connsiteX1" fmla="*/ 9153528 w 9153528"/>
              <a:gd name="connsiteY1" fmla="*/ 752475 h 752475"/>
              <a:gd name="connsiteX2" fmla="*/ 0 w 9153528"/>
              <a:gd name="connsiteY2" fmla="*/ 752475 h 752475"/>
              <a:gd name="connsiteX3" fmla="*/ 0 w 9153528"/>
              <a:gd name="connsiteY3" fmla="*/ 0 h 752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53528" h="752475">
                <a:moveTo>
                  <a:pt x="0" y="0"/>
                </a:moveTo>
                <a:lnTo>
                  <a:pt x="9153528" y="752475"/>
                </a:lnTo>
                <a:lnTo>
                  <a:pt x="0" y="752475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6968734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itr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>
            <a:extLst>
              <a:ext uri="{FF2B5EF4-FFF2-40B4-BE49-F238E27FC236}">
                <a16:creationId xmlns:a16="http://schemas.microsoft.com/office/drawing/2014/main" id="{6A348ADD-AB0E-41AD-9203-40019D501D09}"/>
              </a:ext>
            </a:extLst>
          </p:cNvPr>
          <p:cNvGrpSpPr/>
          <p:nvPr userDrawn="1"/>
        </p:nvGrpSpPr>
        <p:grpSpPr>
          <a:xfrm>
            <a:off x="-134707" y="-108618"/>
            <a:ext cx="6284502" cy="5381969"/>
            <a:chOff x="-134707" y="-108618"/>
            <a:chExt cx="6284502" cy="5381969"/>
          </a:xfrm>
          <a:solidFill>
            <a:schemeClr val="bg2">
              <a:alpha val="10000"/>
            </a:schemeClr>
          </a:solidFill>
        </p:grpSpPr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4588E603-EA6D-4A8D-ABC7-9DE29315EF7F}"/>
                </a:ext>
              </a:extLst>
            </p:cNvPr>
            <p:cNvSpPr/>
            <p:nvPr/>
          </p:nvSpPr>
          <p:spPr>
            <a:xfrm rot="8716295">
              <a:off x="1460344" y="348006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8D98135C-BBC2-4D16-96A0-7D0791CBF234}"/>
                </a:ext>
              </a:extLst>
            </p:cNvPr>
            <p:cNvSpPr/>
            <p:nvPr/>
          </p:nvSpPr>
          <p:spPr>
            <a:xfrm rot="8716295">
              <a:off x="1595642" y="352432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99CC6255-5792-4F9C-BE71-CF421386A627}"/>
                </a:ext>
              </a:extLst>
            </p:cNvPr>
            <p:cNvSpPr/>
            <p:nvPr/>
          </p:nvSpPr>
          <p:spPr>
            <a:xfrm rot="8716295">
              <a:off x="1527760" y="339373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4D44D8C2-4775-4ED6-AF57-EBCE00D0B723}"/>
                </a:ext>
              </a:extLst>
            </p:cNvPr>
            <p:cNvSpPr/>
            <p:nvPr/>
          </p:nvSpPr>
          <p:spPr>
            <a:xfrm rot="8716295">
              <a:off x="1290473" y="361408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EC13E85B-F308-4A84-A6BC-C18C71386F58}"/>
                </a:ext>
              </a:extLst>
            </p:cNvPr>
            <p:cNvSpPr/>
            <p:nvPr/>
          </p:nvSpPr>
          <p:spPr>
            <a:xfrm rot="8716295">
              <a:off x="1101427" y="329824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6E015BB2-4D35-4CF4-A5C2-59649EEBFF40}"/>
                </a:ext>
              </a:extLst>
            </p:cNvPr>
            <p:cNvSpPr/>
            <p:nvPr/>
          </p:nvSpPr>
          <p:spPr>
            <a:xfrm rot="8716295">
              <a:off x="1083185" y="3088198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9BFD4E55-95DB-4948-9F11-510807EC9D8A}"/>
                </a:ext>
              </a:extLst>
            </p:cNvPr>
            <p:cNvSpPr/>
            <p:nvPr/>
          </p:nvSpPr>
          <p:spPr>
            <a:xfrm rot="8716295">
              <a:off x="1426961" y="367606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4A110395-765E-4DD5-AC3E-A28545974AAB}"/>
                </a:ext>
              </a:extLst>
            </p:cNvPr>
            <p:cNvSpPr/>
            <p:nvPr/>
          </p:nvSpPr>
          <p:spPr>
            <a:xfrm rot="8716295">
              <a:off x="1897908" y="310145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752DD23B-ED4C-4692-9CB0-792B6E8C38E8}"/>
                </a:ext>
              </a:extLst>
            </p:cNvPr>
            <p:cNvSpPr/>
            <p:nvPr/>
          </p:nvSpPr>
          <p:spPr>
            <a:xfrm rot="8716295">
              <a:off x="2033206" y="314571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407B9478-6D17-4EBC-AE18-7FD28A2FC874}"/>
                </a:ext>
              </a:extLst>
            </p:cNvPr>
            <p:cNvSpPr/>
            <p:nvPr/>
          </p:nvSpPr>
          <p:spPr>
            <a:xfrm rot="8716295">
              <a:off x="1728037" y="323546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DDF2324E-ABD3-44DC-8D06-AD3B881C1A39}"/>
                </a:ext>
              </a:extLst>
            </p:cNvPr>
            <p:cNvSpPr/>
            <p:nvPr/>
          </p:nvSpPr>
          <p:spPr>
            <a:xfrm rot="8716295">
              <a:off x="1538992" y="291963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EF0C42E5-DDE5-4434-B96B-A910A8DADC60}"/>
                </a:ext>
              </a:extLst>
            </p:cNvPr>
            <p:cNvSpPr/>
            <p:nvPr/>
          </p:nvSpPr>
          <p:spPr>
            <a:xfrm rot="8716295">
              <a:off x="1864525" y="329745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1AF80BC5-2FE2-47AB-8E9C-E26EB916D016}"/>
                </a:ext>
              </a:extLst>
            </p:cNvPr>
            <p:cNvSpPr/>
            <p:nvPr/>
          </p:nvSpPr>
          <p:spPr>
            <a:xfrm rot="8716295">
              <a:off x="1499078" y="307102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B1E25E5F-E250-4318-97CF-E3EF2CD18D72}"/>
                </a:ext>
              </a:extLst>
            </p:cNvPr>
            <p:cNvSpPr/>
            <p:nvPr/>
          </p:nvSpPr>
          <p:spPr>
            <a:xfrm rot="7484129">
              <a:off x="2023343" y="358706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3240DB54-B585-4364-A4CC-E94E9F63B7D1}"/>
                </a:ext>
              </a:extLst>
            </p:cNvPr>
            <p:cNvSpPr/>
            <p:nvPr/>
          </p:nvSpPr>
          <p:spPr>
            <a:xfrm rot="13089394">
              <a:off x="2181992" y="353641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273F70D5-0FDD-4CE1-814B-D9312EE2ED7C}"/>
                </a:ext>
              </a:extLst>
            </p:cNvPr>
            <p:cNvSpPr/>
            <p:nvPr/>
          </p:nvSpPr>
          <p:spPr>
            <a:xfrm rot="8716295">
              <a:off x="2462883" y="3246298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C7DAFD7E-6F4A-40E6-A59C-00BDC917B87B}"/>
                </a:ext>
              </a:extLst>
            </p:cNvPr>
            <p:cNvSpPr/>
            <p:nvPr/>
          </p:nvSpPr>
          <p:spPr>
            <a:xfrm rot="8716295">
              <a:off x="2384474" y="308950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48BC9105-C681-433B-8AF1-4FE2E6AF7484}"/>
                </a:ext>
              </a:extLst>
            </p:cNvPr>
            <p:cNvSpPr/>
            <p:nvPr/>
          </p:nvSpPr>
          <p:spPr>
            <a:xfrm rot="8716295">
              <a:off x="2016311" y="313524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1A014423-3778-467F-945D-40491D2DDC50}"/>
                </a:ext>
              </a:extLst>
            </p:cNvPr>
            <p:cNvSpPr/>
            <p:nvPr/>
          </p:nvSpPr>
          <p:spPr>
            <a:xfrm rot="8716295">
              <a:off x="2284892" y="289422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754E4A02-6646-4EF0-8CC5-B9030AE2C233}"/>
                </a:ext>
              </a:extLst>
            </p:cNvPr>
            <p:cNvSpPr/>
            <p:nvPr/>
          </p:nvSpPr>
          <p:spPr>
            <a:xfrm rot="8716295">
              <a:off x="1798117" y="447855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84764706-CB95-4A07-B328-B801005B7146}"/>
                </a:ext>
              </a:extLst>
            </p:cNvPr>
            <p:cNvSpPr/>
            <p:nvPr/>
          </p:nvSpPr>
          <p:spPr>
            <a:xfrm rot="8716295">
              <a:off x="1933415" y="452281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B1C7133F-9245-4557-9366-3880E57EEB00}"/>
                </a:ext>
              </a:extLst>
            </p:cNvPr>
            <p:cNvSpPr/>
            <p:nvPr/>
          </p:nvSpPr>
          <p:spPr>
            <a:xfrm rot="8716295">
              <a:off x="1865533" y="439222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34C731BB-8709-4827-B371-DEB3D84B9346}"/>
                </a:ext>
              </a:extLst>
            </p:cNvPr>
            <p:cNvSpPr/>
            <p:nvPr/>
          </p:nvSpPr>
          <p:spPr>
            <a:xfrm rot="8716295">
              <a:off x="1628246" y="461256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800CC594-61C3-4799-9C62-0BE95617F0FD}"/>
                </a:ext>
              </a:extLst>
            </p:cNvPr>
            <p:cNvSpPr/>
            <p:nvPr/>
          </p:nvSpPr>
          <p:spPr>
            <a:xfrm rot="8716295">
              <a:off x="1439200" y="42967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6F690A0E-19E3-4512-B7F9-01EE4EBA9F6E}"/>
                </a:ext>
              </a:extLst>
            </p:cNvPr>
            <p:cNvSpPr/>
            <p:nvPr/>
          </p:nvSpPr>
          <p:spPr>
            <a:xfrm rot="8716295">
              <a:off x="1420958" y="408668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2D91E14E-69D9-458E-AA57-95A8078F1A19}"/>
                </a:ext>
              </a:extLst>
            </p:cNvPr>
            <p:cNvSpPr/>
            <p:nvPr/>
          </p:nvSpPr>
          <p:spPr>
            <a:xfrm rot="8716295">
              <a:off x="1764734" y="467454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4AA00D19-4A76-4DED-BF30-5DD56557E862}"/>
                </a:ext>
              </a:extLst>
            </p:cNvPr>
            <p:cNvSpPr/>
            <p:nvPr/>
          </p:nvSpPr>
          <p:spPr>
            <a:xfrm rot="8716295">
              <a:off x="2235681" y="409993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CBB48ABD-C4EA-4731-A8E5-5C6B6C5A0C84}"/>
                </a:ext>
              </a:extLst>
            </p:cNvPr>
            <p:cNvSpPr/>
            <p:nvPr/>
          </p:nvSpPr>
          <p:spPr>
            <a:xfrm rot="8716295">
              <a:off x="2370979" y="414419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FCD4CF90-F0E0-483F-9CE2-EAEE6404C598}"/>
                </a:ext>
              </a:extLst>
            </p:cNvPr>
            <p:cNvSpPr/>
            <p:nvPr/>
          </p:nvSpPr>
          <p:spPr>
            <a:xfrm rot="8716295">
              <a:off x="2065810" y="423395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F3A52091-BF4B-4E28-BD12-E3FE0875DBCF}"/>
                </a:ext>
              </a:extLst>
            </p:cNvPr>
            <p:cNvSpPr/>
            <p:nvPr/>
          </p:nvSpPr>
          <p:spPr>
            <a:xfrm rot="8716295">
              <a:off x="1876765" y="391811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75F64C77-DBE2-4786-9809-DB042689E4B6}"/>
                </a:ext>
              </a:extLst>
            </p:cNvPr>
            <p:cNvSpPr/>
            <p:nvPr/>
          </p:nvSpPr>
          <p:spPr>
            <a:xfrm rot="8716295">
              <a:off x="2202298" y="4295933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12F37080-96E6-4BE1-9E48-2B02CD2E20C4}"/>
                </a:ext>
              </a:extLst>
            </p:cNvPr>
            <p:cNvSpPr/>
            <p:nvPr/>
          </p:nvSpPr>
          <p:spPr>
            <a:xfrm rot="8716295">
              <a:off x="1836851" y="406950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BA151B90-2B5B-4D4D-A2AA-26322C46F857}"/>
                </a:ext>
              </a:extLst>
            </p:cNvPr>
            <p:cNvSpPr/>
            <p:nvPr/>
          </p:nvSpPr>
          <p:spPr>
            <a:xfrm rot="7484129">
              <a:off x="2361116" y="458555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0655C4A9-132B-4E8E-AB50-E63B4234234E}"/>
                </a:ext>
              </a:extLst>
            </p:cNvPr>
            <p:cNvSpPr/>
            <p:nvPr/>
          </p:nvSpPr>
          <p:spPr>
            <a:xfrm rot="13089394">
              <a:off x="2519765" y="4534899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51BD05F6-BFFD-42CC-A6C8-403F5F81023E}"/>
                </a:ext>
              </a:extLst>
            </p:cNvPr>
            <p:cNvSpPr/>
            <p:nvPr/>
          </p:nvSpPr>
          <p:spPr>
            <a:xfrm rot="8716295">
              <a:off x="2800656" y="4244781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609B85C6-C9FE-4876-9C99-F8DA190549CF}"/>
                </a:ext>
              </a:extLst>
            </p:cNvPr>
            <p:cNvSpPr/>
            <p:nvPr/>
          </p:nvSpPr>
          <p:spPr>
            <a:xfrm rot="8716295">
              <a:off x="2722247" y="4087989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AB57FACB-9405-4A22-84F1-4CDEB84773AC}"/>
                </a:ext>
              </a:extLst>
            </p:cNvPr>
            <p:cNvSpPr/>
            <p:nvPr/>
          </p:nvSpPr>
          <p:spPr>
            <a:xfrm rot="8716295">
              <a:off x="2354084" y="413373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65AC372A-885B-4835-966A-B09A3AC7B1A3}"/>
                </a:ext>
              </a:extLst>
            </p:cNvPr>
            <p:cNvSpPr/>
            <p:nvPr/>
          </p:nvSpPr>
          <p:spPr>
            <a:xfrm rot="8716295">
              <a:off x="2622665" y="389271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16EC5E3E-C2D3-4E46-B9F8-A7FD4A85025F}"/>
                </a:ext>
              </a:extLst>
            </p:cNvPr>
            <p:cNvSpPr/>
            <p:nvPr/>
          </p:nvSpPr>
          <p:spPr>
            <a:xfrm rot="8716295">
              <a:off x="1836002" y="5051565"/>
              <a:ext cx="229466" cy="172677"/>
            </a:xfrm>
            <a:custGeom>
              <a:avLst/>
              <a:gdLst>
                <a:gd name="connsiteX0" fmla="*/ 37429 w 229466"/>
                <a:gd name="connsiteY0" fmla="*/ 127889 h 172677"/>
                <a:gd name="connsiteX1" fmla="*/ 864 w 229466"/>
                <a:gd name="connsiteY1" fmla="*/ 25330 h 172677"/>
                <a:gd name="connsiteX2" fmla="*/ 0 w 229466"/>
                <a:gd name="connsiteY2" fmla="*/ 0 h 172677"/>
                <a:gd name="connsiteX3" fmla="*/ 229466 w 229466"/>
                <a:gd name="connsiteY3" fmla="*/ 159058 h 172677"/>
                <a:gd name="connsiteX4" fmla="*/ 210504 w 229466"/>
                <a:gd name="connsiteY4" fmla="*/ 164122 h 172677"/>
                <a:gd name="connsiteX5" fmla="*/ 146960 w 229466"/>
                <a:gd name="connsiteY5" fmla="*/ 172414 h 172677"/>
                <a:gd name="connsiteX6" fmla="*/ 37429 w 229466"/>
                <a:gd name="connsiteY6" fmla="*/ 127889 h 172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9466" h="172677">
                  <a:moveTo>
                    <a:pt x="37429" y="127889"/>
                  </a:moveTo>
                  <a:cubicBezTo>
                    <a:pt x="14722" y="105850"/>
                    <a:pt x="4537" y="71789"/>
                    <a:pt x="864" y="25330"/>
                  </a:cubicBezTo>
                  <a:lnTo>
                    <a:pt x="0" y="0"/>
                  </a:lnTo>
                  <a:lnTo>
                    <a:pt x="229466" y="159058"/>
                  </a:lnTo>
                  <a:lnTo>
                    <a:pt x="210504" y="164122"/>
                  </a:lnTo>
                  <a:cubicBezTo>
                    <a:pt x="187032" y="168685"/>
                    <a:pt x="165437" y="171301"/>
                    <a:pt x="146960" y="172414"/>
                  </a:cubicBezTo>
                  <a:cubicBezTo>
                    <a:pt x="105998" y="175086"/>
                    <a:pt x="65926" y="157276"/>
                    <a:pt x="37429" y="12788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F08DD499-2506-4E8C-B26B-EF1D8CEA3AA9}"/>
                </a:ext>
              </a:extLst>
            </p:cNvPr>
            <p:cNvSpPr/>
            <p:nvPr/>
          </p:nvSpPr>
          <p:spPr>
            <a:xfrm rot="8716295">
              <a:off x="2865171" y="5107739"/>
              <a:ext cx="36955" cy="50812"/>
            </a:xfrm>
            <a:custGeom>
              <a:avLst/>
              <a:gdLst>
                <a:gd name="connsiteX0" fmla="*/ 0 w 36955"/>
                <a:gd name="connsiteY0" fmla="*/ 50812 h 50812"/>
                <a:gd name="connsiteX1" fmla="*/ 0 w 36955"/>
                <a:gd name="connsiteY1" fmla="*/ 0 h 50812"/>
                <a:gd name="connsiteX2" fmla="*/ 36955 w 36955"/>
                <a:gd name="connsiteY2" fmla="*/ 25616 h 50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955" h="50812">
                  <a:moveTo>
                    <a:pt x="0" y="50812"/>
                  </a:moveTo>
                  <a:lnTo>
                    <a:pt x="0" y="0"/>
                  </a:lnTo>
                  <a:lnTo>
                    <a:pt x="36955" y="256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D6EEB4E8-6237-4C85-A670-00A3A02268AB}"/>
                </a:ext>
              </a:extLst>
            </p:cNvPr>
            <p:cNvSpPr/>
            <p:nvPr/>
          </p:nvSpPr>
          <p:spPr>
            <a:xfrm rot="8716295">
              <a:off x="2291544" y="4886156"/>
              <a:ext cx="209028" cy="296463"/>
            </a:xfrm>
            <a:custGeom>
              <a:avLst/>
              <a:gdLst>
                <a:gd name="connsiteX0" fmla="*/ 137293 w 209028"/>
                <a:gd name="connsiteY0" fmla="*/ 296463 h 296463"/>
                <a:gd name="connsiteX1" fmla="*/ 72418 w 209028"/>
                <a:gd name="connsiteY1" fmla="*/ 175766 h 296463"/>
                <a:gd name="connsiteX2" fmla="*/ 105610 w 209028"/>
                <a:gd name="connsiteY2" fmla="*/ 83734 h 296463"/>
                <a:gd name="connsiteX3" fmla="*/ 0 w 209028"/>
                <a:gd name="connsiteY3" fmla="*/ 83734 h 296463"/>
                <a:gd name="connsiteX4" fmla="*/ 0 w 209028"/>
                <a:gd name="connsiteY4" fmla="*/ 0 h 296463"/>
                <a:gd name="connsiteX5" fmla="*/ 82199 w 209028"/>
                <a:gd name="connsiteY5" fmla="*/ 0 h 296463"/>
                <a:gd name="connsiteX6" fmla="*/ 209028 w 209028"/>
                <a:gd name="connsiteY6" fmla="*/ 87913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028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82199" y="0"/>
                  </a:lnTo>
                  <a:lnTo>
                    <a:pt x="209028" y="8791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75A29BD1-A3F5-48BC-80D8-DAC3DEE5842D}"/>
                </a:ext>
              </a:extLst>
            </p:cNvPr>
            <p:cNvSpPr/>
            <p:nvPr/>
          </p:nvSpPr>
          <p:spPr>
            <a:xfrm rot="8716295">
              <a:off x="2159594" y="5061280"/>
              <a:ext cx="112869" cy="105684"/>
            </a:xfrm>
            <a:custGeom>
              <a:avLst/>
              <a:gdLst>
                <a:gd name="connsiteX0" fmla="*/ 17362 w 112869"/>
                <a:gd name="connsiteY0" fmla="*/ 89236 h 105684"/>
                <a:gd name="connsiteX1" fmla="*/ 0 w 112869"/>
                <a:gd name="connsiteY1" fmla="*/ 48117 h 105684"/>
                <a:gd name="connsiteX2" fmla="*/ 0 w 112869"/>
                <a:gd name="connsiteY2" fmla="*/ 47203 h 105684"/>
                <a:gd name="connsiteX3" fmla="*/ 17362 w 112869"/>
                <a:gd name="connsiteY3" fmla="*/ 6084 h 105684"/>
                <a:gd name="connsiteX4" fmla="*/ 31771 w 112869"/>
                <a:gd name="connsiteY4" fmla="*/ 0 h 105684"/>
                <a:gd name="connsiteX5" fmla="*/ 112869 w 112869"/>
                <a:gd name="connsiteY5" fmla="*/ 56215 h 105684"/>
                <a:gd name="connsiteX6" fmla="*/ 99601 w 112869"/>
                <a:gd name="connsiteY6" fmla="*/ 88323 h 105684"/>
                <a:gd name="connsiteX7" fmla="*/ 58481 w 112869"/>
                <a:gd name="connsiteY7" fmla="*/ 105684 h 105684"/>
                <a:gd name="connsiteX8" fmla="*/ 17362 w 112869"/>
                <a:gd name="connsiteY8" fmla="*/ 89236 h 105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869" h="105684">
                  <a:moveTo>
                    <a:pt x="17362" y="89236"/>
                  </a:moveTo>
                  <a:cubicBezTo>
                    <a:pt x="6397" y="78271"/>
                    <a:pt x="0" y="63651"/>
                    <a:pt x="0" y="48117"/>
                  </a:cubicBezTo>
                  <a:lnTo>
                    <a:pt x="0" y="47203"/>
                  </a:lnTo>
                  <a:cubicBezTo>
                    <a:pt x="0" y="31669"/>
                    <a:pt x="6397" y="17049"/>
                    <a:pt x="17362" y="6084"/>
                  </a:cubicBezTo>
                  <a:lnTo>
                    <a:pt x="31771" y="0"/>
                  </a:lnTo>
                  <a:lnTo>
                    <a:pt x="112869" y="56215"/>
                  </a:lnTo>
                  <a:lnTo>
                    <a:pt x="99601" y="88323"/>
                  </a:lnTo>
                  <a:cubicBezTo>
                    <a:pt x="88636" y="99288"/>
                    <a:pt x="74015" y="105684"/>
                    <a:pt x="58481" y="105684"/>
                  </a:cubicBezTo>
                  <a:cubicBezTo>
                    <a:pt x="42947" y="105684"/>
                    <a:pt x="28327" y="100202"/>
                    <a:pt x="17362" y="8923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758380ED-469C-45F2-855D-EE8309CFADD8}"/>
                </a:ext>
              </a:extLst>
            </p:cNvPr>
            <p:cNvSpPr/>
            <p:nvPr/>
          </p:nvSpPr>
          <p:spPr>
            <a:xfrm rot="8716295">
              <a:off x="3051941" y="5073759"/>
              <a:ext cx="145251" cy="115110"/>
            </a:xfrm>
            <a:custGeom>
              <a:avLst/>
              <a:gdLst>
                <a:gd name="connsiteX0" fmla="*/ 26453 w 145251"/>
                <a:gd name="connsiteY0" fmla="*/ 90050 h 115110"/>
                <a:gd name="connsiteX1" fmla="*/ 0 w 145251"/>
                <a:gd name="connsiteY1" fmla="*/ 27401 h 115110"/>
                <a:gd name="connsiteX2" fmla="*/ 0 w 145251"/>
                <a:gd name="connsiteY2" fmla="*/ 26008 h 115110"/>
                <a:gd name="connsiteX3" fmla="*/ 10982 w 145251"/>
                <a:gd name="connsiteY3" fmla="*/ 0 h 115110"/>
                <a:gd name="connsiteX4" fmla="*/ 145251 w 145251"/>
                <a:gd name="connsiteY4" fmla="*/ 93071 h 115110"/>
                <a:gd name="connsiteX5" fmla="*/ 123037 w 145251"/>
                <a:gd name="connsiteY5" fmla="*/ 108149 h 115110"/>
                <a:gd name="connsiteX6" fmla="*/ 89101 w 145251"/>
                <a:gd name="connsiteY6" fmla="*/ 115110 h 115110"/>
                <a:gd name="connsiteX7" fmla="*/ 26453 w 145251"/>
                <a:gd name="connsiteY7" fmla="*/ 90050 h 11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5251" h="115110">
                  <a:moveTo>
                    <a:pt x="26453" y="90050"/>
                  </a:moveTo>
                  <a:cubicBezTo>
                    <a:pt x="9746" y="73344"/>
                    <a:pt x="0" y="51068"/>
                    <a:pt x="0" y="27401"/>
                  </a:cubicBezTo>
                  <a:lnTo>
                    <a:pt x="0" y="26008"/>
                  </a:lnTo>
                  <a:lnTo>
                    <a:pt x="10982" y="0"/>
                  </a:lnTo>
                  <a:lnTo>
                    <a:pt x="145251" y="93071"/>
                  </a:lnTo>
                  <a:lnTo>
                    <a:pt x="123037" y="108149"/>
                  </a:lnTo>
                  <a:cubicBezTo>
                    <a:pt x="112421" y="112674"/>
                    <a:pt x="100936" y="115110"/>
                    <a:pt x="89101" y="115110"/>
                  </a:cubicBezTo>
                  <a:cubicBezTo>
                    <a:pt x="65434" y="115110"/>
                    <a:pt x="43159" y="106756"/>
                    <a:pt x="26453" y="900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D2FD6770-3791-4A82-87D2-F41D30AA61F3}"/>
                </a:ext>
              </a:extLst>
            </p:cNvPr>
            <p:cNvSpPr/>
            <p:nvPr/>
          </p:nvSpPr>
          <p:spPr>
            <a:xfrm rot="8716295">
              <a:off x="2953631" y="488922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109B9DB6-A180-42FF-BEBB-6114EE67841E}"/>
                </a:ext>
              </a:extLst>
            </p:cNvPr>
            <p:cNvSpPr/>
            <p:nvPr/>
          </p:nvSpPr>
          <p:spPr>
            <a:xfrm rot="8716295">
              <a:off x="1125067" y="247965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D4702D56-6C32-4790-8116-5036F59380ED}"/>
                </a:ext>
              </a:extLst>
            </p:cNvPr>
            <p:cNvSpPr/>
            <p:nvPr/>
          </p:nvSpPr>
          <p:spPr>
            <a:xfrm rot="8716295">
              <a:off x="1260365" y="252391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55878CEF-C667-4CA0-83B8-66D034466A4C}"/>
                </a:ext>
              </a:extLst>
            </p:cNvPr>
            <p:cNvSpPr/>
            <p:nvPr/>
          </p:nvSpPr>
          <p:spPr>
            <a:xfrm rot="8716295">
              <a:off x="1192483" y="2393326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E6E1C2BC-10AA-4F2A-83E2-85D799983A4B}"/>
                </a:ext>
              </a:extLst>
            </p:cNvPr>
            <p:cNvSpPr/>
            <p:nvPr/>
          </p:nvSpPr>
          <p:spPr>
            <a:xfrm rot="8716295">
              <a:off x="955196" y="261367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6DA02057-79DE-4340-93FA-D8616C8993CD}"/>
                </a:ext>
              </a:extLst>
            </p:cNvPr>
            <p:cNvSpPr/>
            <p:nvPr/>
          </p:nvSpPr>
          <p:spPr>
            <a:xfrm rot="8716295">
              <a:off x="766149" y="229783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F3D3F9A3-B786-4BB9-92E8-BAA2206B9AFB}"/>
                </a:ext>
              </a:extLst>
            </p:cNvPr>
            <p:cNvSpPr/>
            <p:nvPr/>
          </p:nvSpPr>
          <p:spPr>
            <a:xfrm rot="8716295">
              <a:off x="747908" y="2087785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777BD4C8-2DD8-47D0-9247-9DDE2E15298C}"/>
                </a:ext>
              </a:extLst>
            </p:cNvPr>
            <p:cNvSpPr/>
            <p:nvPr/>
          </p:nvSpPr>
          <p:spPr>
            <a:xfrm rot="8716295">
              <a:off x="1091684" y="2675653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orme libre : forme 58">
              <a:extLst>
                <a:ext uri="{FF2B5EF4-FFF2-40B4-BE49-F238E27FC236}">
                  <a16:creationId xmlns:a16="http://schemas.microsoft.com/office/drawing/2014/main" id="{A1948EB1-3E61-48E9-872F-CED3F8D5CC5E}"/>
                </a:ext>
              </a:extLst>
            </p:cNvPr>
            <p:cNvSpPr/>
            <p:nvPr/>
          </p:nvSpPr>
          <p:spPr>
            <a:xfrm rot="8716295">
              <a:off x="1562630" y="210103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orme libre : forme 59">
              <a:extLst>
                <a:ext uri="{FF2B5EF4-FFF2-40B4-BE49-F238E27FC236}">
                  <a16:creationId xmlns:a16="http://schemas.microsoft.com/office/drawing/2014/main" id="{AF9F2A1A-5C85-4204-9B23-373EE49CB276}"/>
                </a:ext>
              </a:extLst>
            </p:cNvPr>
            <p:cNvSpPr/>
            <p:nvPr/>
          </p:nvSpPr>
          <p:spPr>
            <a:xfrm rot="8716295">
              <a:off x="1697929" y="214529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orme libre : forme 60">
              <a:extLst>
                <a:ext uri="{FF2B5EF4-FFF2-40B4-BE49-F238E27FC236}">
                  <a16:creationId xmlns:a16="http://schemas.microsoft.com/office/drawing/2014/main" id="{4763868B-B7EF-4B8B-B818-D645A2592C05}"/>
                </a:ext>
              </a:extLst>
            </p:cNvPr>
            <p:cNvSpPr/>
            <p:nvPr/>
          </p:nvSpPr>
          <p:spPr>
            <a:xfrm rot="8716295">
              <a:off x="1392759" y="223505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orme libre : forme 61">
              <a:extLst>
                <a:ext uri="{FF2B5EF4-FFF2-40B4-BE49-F238E27FC236}">
                  <a16:creationId xmlns:a16="http://schemas.microsoft.com/office/drawing/2014/main" id="{046CA86F-6D3D-407A-B321-54764D2D59CB}"/>
                </a:ext>
              </a:extLst>
            </p:cNvPr>
            <p:cNvSpPr/>
            <p:nvPr/>
          </p:nvSpPr>
          <p:spPr>
            <a:xfrm rot="8716295">
              <a:off x="1203715" y="191921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orme libre : forme 62">
              <a:extLst>
                <a:ext uri="{FF2B5EF4-FFF2-40B4-BE49-F238E27FC236}">
                  <a16:creationId xmlns:a16="http://schemas.microsoft.com/office/drawing/2014/main" id="{AFD12AFD-CB5D-4640-9FE9-92C355A72778}"/>
                </a:ext>
              </a:extLst>
            </p:cNvPr>
            <p:cNvSpPr/>
            <p:nvPr/>
          </p:nvSpPr>
          <p:spPr>
            <a:xfrm rot="8716295">
              <a:off x="1529248" y="2297037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orme libre : forme 63">
              <a:extLst>
                <a:ext uri="{FF2B5EF4-FFF2-40B4-BE49-F238E27FC236}">
                  <a16:creationId xmlns:a16="http://schemas.microsoft.com/office/drawing/2014/main" id="{59BA9B88-1225-4DFD-8724-1F80AE18C3C2}"/>
                </a:ext>
              </a:extLst>
            </p:cNvPr>
            <p:cNvSpPr/>
            <p:nvPr/>
          </p:nvSpPr>
          <p:spPr>
            <a:xfrm rot="8716295">
              <a:off x="1163801" y="2070611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orme libre : forme 64">
              <a:extLst>
                <a:ext uri="{FF2B5EF4-FFF2-40B4-BE49-F238E27FC236}">
                  <a16:creationId xmlns:a16="http://schemas.microsoft.com/office/drawing/2014/main" id="{1F6A3148-93CD-4912-914F-8421DD424A09}"/>
                </a:ext>
              </a:extLst>
            </p:cNvPr>
            <p:cNvSpPr/>
            <p:nvPr/>
          </p:nvSpPr>
          <p:spPr>
            <a:xfrm rot="7484129">
              <a:off x="1688065" y="258665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orme libre : forme 65">
              <a:extLst>
                <a:ext uri="{FF2B5EF4-FFF2-40B4-BE49-F238E27FC236}">
                  <a16:creationId xmlns:a16="http://schemas.microsoft.com/office/drawing/2014/main" id="{0BDE36BD-7206-4F9A-9356-56E83345F790}"/>
                </a:ext>
              </a:extLst>
            </p:cNvPr>
            <p:cNvSpPr/>
            <p:nvPr/>
          </p:nvSpPr>
          <p:spPr>
            <a:xfrm rot="13089394">
              <a:off x="1846715" y="2536003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orme libre : forme 66">
              <a:extLst>
                <a:ext uri="{FF2B5EF4-FFF2-40B4-BE49-F238E27FC236}">
                  <a16:creationId xmlns:a16="http://schemas.microsoft.com/office/drawing/2014/main" id="{6239D104-F777-403D-9315-E21DA6A3EEC6}"/>
                </a:ext>
              </a:extLst>
            </p:cNvPr>
            <p:cNvSpPr/>
            <p:nvPr/>
          </p:nvSpPr>
          <p:spPr>
            <a:xfrm rot="8716295">
              <a:off x="2127606" y="2245885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7D0AE68E-C325-4D34-A9E9-2281E6887FAE}"/>
                </a:ext>
              </a:extLst>
            </p:cNvPr>
            <p:cNvSpPr/>
            <p:nvPr/>
          </p:nvSpPr>
          <p:spPr>
            <a:xfrm rot="8716295">
              <a:off x="2049197" y="208909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orme libre : forme 68">
              <a:extLst>
                <a:ext uri="{FF2B5EF4-FFF2-40B4-BE49-F238E27FC236}">
                  <a16:creationId xmlns:a16="http://schemas.microsoft.com/office/drawing/2014/main" id="{951597CD-8FD0-420C-8BE6-25D28A25DDE8}"/>
                </a:ext>
              </a:extLst>
            </p:cNvPr>
            <p:cNvSpPr/>
            <p:nvPr/>
          </p:nvSpPr>
          <p:spPr>
            <a:xfrm rot="8716295">
              <a:off x="1681033" y="21348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orme libre : forme 69">
              <a:extLst>
                <a:ext uri="{FF2B5EF4-FFF2-40B4-BE49-F238E27FC236}">
                  <a16:creationId xmlns:a16="http://schemas.microsoft.com/office/drawing/2014/main" id="{A7CD329F-8CED-4DA2-A304-EE2009E4062D}"/>
                </a:ext>
              </a:extLst>
            </p:cNvPr>
            <p:cNvSpPr/>
            <p:nvPr/>
          </p:nvSpPr>
          <p:spPr>
            <a:xfrm rot="8716295">
              <a:off x="1949615" y="189381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orme libre : forme 70">
              <a:extLst>
                <a:ext uri="{FF2B5EF4-FFF2-40B4-BE49-F238E27FC236}">
                  <a16:creationId xmlns:a16="http://schemas.microsoft.com/office/drawing/2014/main" id="{D4BADD55-B2B9-4053-A92A-A804648D0A9D}"/>
                </a:ext>
              </a:extLst>
            </p:cNvPr>
            <p:cNvSpPr/>
            <p:nvPr/>
          </p:nvSpPr>
          <p:spPr>
            <a:xfrm rot="8716295">
              <a:off x="787294" y="148117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orme libre : forme 71">
              <a:extLst>
                <a:ext uri="{FF2B5EF4-FFF2-40B4-BE49-F238E27FC236}">
                  <a16:creationId xmlns:a16="http://schemas.microsoft.com/office/drawing/2014/main" id="{313FE4B5-4E98-415B-AE99-26EEB0846C87}"/>
                </a:ext>
              </a:extLst>
            </p:cNvPr>
            <p:cNvSpPr/>
            <p:nvPr/>
          </p:nvSpPr>
          <p:spPr>
            <a:xfrm rot="8716295">
              <a:off x="922592" y="152543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orme libre : forme 72">
              <a:extLst>
                <a:ext uri="{FF2B5EF4-FFF2-40B4-BE49-F238E27FC236}">
                  <a16:creationId xmlns:a16="http://schemas.microsoft.com/office/drawing/2014/main" id="{2E069437-A0B3-49B8-BC79-1EE3FD296BEA}"/>
                </a:ext>
              </a:extLst>
            </p:cNvPr>
            <p:cNvSpPr/>
            <p:nvPr/>
          </p:nvSpPr>
          <p:spPr>
            <a:xfrm rot="8716295">
              <a:off x="854710" y="1394843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" name="Forme libre : forme 73">
              <a:extLst>
                <a:ext uri="{FF2B5EF4-FFF2-40B4-BE49-F238E27FC236}">
                  <a16:creationId xmlns:a16="http://schemas.microsoft.com/office/drawing/2014/main" id="{6B76B21D-C865-4228-A4DA-51B112FED31F}"/>
                </a:ext>
              </a:extLst>
            </p:cNvPr>
            <p:cNvSpPr/>
            <p:nvPr/>
          </p:nvSpPr>
          <p:spPr>
            <a:xfrm rot="8716295">
              <a:off x="617423" y="161518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" name="Forme libre : forme 74">
              <a:extLst>
                <a:ext uri="{FF2B5EF4-FFF2-40B4-BE49-F238E27FC236}">
                  <a16:creationId xmlns:a16="http://schemas.microsoft.com/office/drawing/2014/main" id="{9C509C7D-5C6F-42FB-9A15-E611792EFEA1}"/>
                </a:ext>
              </a:extLst>
            </p:cNvPr>
            <p:cNvSpPr/>
            <p:nvPr/>
          </p:nvSpPr>
          <p:spPr>
            <a:xfrm rot="8716295">
              <a:off x="428376" y="129935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" name="Forme libre : forme 75">
              <a:extLst>
                <a:ext uri="{FF2B5EF4-FFF2-40B4-BE49-F238E27FC236}">
                  <a16:creationId xmlns:a16="http://schemas.microsoft.com/office/drawing/2014/main" id="{25514701-F05E-45CE-9E8C-F263D950578E}"/>
                </a:ext>
              </a:extLst>
            </p:cNvPr>
            <p:cNvSpPr/>
            <p:nvPr/>
          </p:nvSpPr>
          <p:spPr>
            <a:xfrm rot="8716295">
              <a:off x="410135" y="1089302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" name="Forme libre : forme 76">
              <a:extLst>
                <a:ext uri="{FF2B5EF4-FFF2-40B4-BE49-F238E27FC236}">
                  <a16:creationId xmlns:a16="http://schemas.microsoft.com/office/drawing/2014/main" id="{4F1DD0BF-A36A-4AF7-BAF7-588D33FE30E2}"/>
                </a:ext>
              </a:extLst>
            </p:cNvPr>
            <p:cNvSpPr/>
            <p:nvPr/>
          </p:nvSpPr>
          <p:spPr>
            <a:xfrm rot="8716295">
              <a:off x="753911" y="1677170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" name="Forme libre : forme 77">
              <a:extLst>
                <a:ext uri="{FF2B5EF4-FFF2-40B4-BE49-F238E27FC236}">
                  <a16:creationId xmlns:a16="http://schemas.microsoft.com/office/drawing/2014/main" id="{86EB67B0-A057-4D07-8844-7A83556C99CC}"/>
                </a:ext>
              </a:extLst>
            </p:cNvPr>
            <p:cNvSpPr/>
            <p:nvPr/>
          </p:nvSpPr>
          <p:spPr>
            <a:xfrm rot="8716295">
              <a:off x="1224858" y="1102556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orme libre : forme 78">
              <a:extLst>
                <a:ext uri="{FF2B5EF4-FFF2-40B4-BE49-F238E27FC236}">
                  <a16:creationId xmlns:a16="http://schemas.microsoft.com/office/drawing/2014/main" id="{8B1E7611-C4A8-43A8-BF26-46C4341A14DB}"/>
                </a:ext>
              </a:extLst>
            </p:cNvPr>
            <p:cNvSpPr/>
            <p:nvPr/>
          </p:nvSpPr>
          <p:spPr>
            <a:xfrm rot="8716295">
              <a:off x="1360156" y="1146815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Forme libre : forme 79">
              <a:extLst>
                <a:ext uri="{FF2B5EF4-FFF2-40B4-BE49-F238E27FC236}">
                  <a16:creationId xmlns:a16="http://schemas.microsoft.com/office/drawing/2014/main" id="{BEBD671E-1FA5-4603-8F2B-FA9516AF8638}"/>
                </a:ext>
              </a:extLst>
            </p:cNvPr>
            <p:cNvSpPr/>
            <p:nvPr/>
          </p:nvSpPr>
          <p:spPr>
            <a:xfrm rot="8716295">
              <a:off x="1054986" y="123657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" name="Forme libre : forme 80">
              <a:extLst>
                <a:ext uri="{FF2B5EF4-FFF2-40B4-BE49-F238E27FC236}">
                  <a16:creationId xmlns:a16="http://schemas.microsoft.com/office/drawing/2014/main" id="{F6AD6C56-BF4C-4518-8F9A-D5095F4E40C8}"/>
                </a:ext>
              </a:extLst>
            </p:cNvPr>
            <p:cNvSpPr/>
            <p:nvPr/>
          </p:nvSpPr>
          <p:spPr>
            <a:xfrm rot="8716295">
              <a:off x="865942" y="92073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orme libre : forme 81">
              <a:extLst>
                <a:ext uri="{FF2B5EF4-FFF2-40B4-BE49-F238E27FC236}">
                  <a16:creationId xmlns:a16="http://schemas.microsoft.com/office/drawing/2014/main" id="{4181F286-2CA0-4AF5-9316-EE2B4FDBB08E}"/>
                </a:ext>
              </a:extLst>
            </p:cNvPr>
            <p:cNvSpPr/>
            <p:nvPr/>
          </p:nvSpPr>
          <p:spPr>
            <a:xfrm rot="8716295">
              <a:off x="1191475" y="1298554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Forme libre : forme 82">
              <a:extLst>
                <a:ext uri="{FF2B5EF4-FFF2-40B4-BE49-F238E27FC236}">
                  <a16:creationId xmlns:a16="http://schemas.microsoft.com/office/drawing/2014/main" id="{6E154404-167F-4146-9BEC-311C41267A4F}"/>
                </a:ext>
              </a:extLst>
            </p:cNvPr>
            <p:cNvSpPr/>
            <p:nvPr/>
          </p:nvSpPr>
          <p:spPr>
            <a:xfrm rot="8716295">
              <a:off x="826028" y="1072128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4" name="Forme libre : forme 83">
              <a:extLst>
                <a:ext uri="{FF2B5EF4-FFF2-40B4-BE49-F238E27FC236}">
                  <a16:creationId xmlns:a16="http://schemas.microsoft.com/office/drawing/2014/main" id="{E6806809-8D8F-4EE1-BB26-3F2C826B2E90}"/>
                </a:ext>
              </a:extLst>
            </p:cNvPr>
            <p:cNvSpPr/>
            <p:nvPr/>
          </p:nvSpPr>
          <p:spPr>
            <a:xfrm rot="7484129">
              <a:off x="1350292" y="158817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5" name="Forme libre : forme 84">
              <a:extLst>
                <a:ext uri="{FF2B5EF4-FFF2-40B4-BE49-F238E27FC236}">
                  <a16:creationId xmlns:a16="http://schemas.microsoft.com/office/drawing/2014/main" id="{8AA32DBC-713F-46C2-9609-C454BB2EBAAE}"/>
                </a:ext>
              </a:extLst>
            </p:cNvPr>
            <p:cNvSpPr/>
            <p:nvPr/>
          </p:nvSpPr>
          <p:spPr>
            <a:xfrm rot="13089394">
              <a:off x="1508942" y="1537520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6" name="Forme libre : forme 85">
              <a:extLst>
                <a:ext uri="{FF2B5EF4-FFF2-40B4-BE49-F238E27FC236}">
                  <a16:creationId xmlns:a16="http://schemas.microsoft.com/office/drawing/2014/main" id="{51EBFD3A-7611-46FF-AE7D-0AC9AF9511B5}"/>
                </a:ext>
              </a:extLst>
            </p:cNvPr>
            <p:cNvSpPr/>
            <p:nvPr/>
          </p:nvSpPr>
          <p:spPr>
            <a:xfrm rot="8716295">
              <a:off x="1789833" y="1247402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7" name="Forme libre : forme 86">
              <a:extLst>
                <a:ext uri="{FF2B5EF4-FFF2-40B4-BE49-F238E27FC236}">
                  <a16:creationId xmlns:a16="http://schemas.microsoft.com/office/drawing/2014/main" id="{7BC619E6-2AA2-4557-84AC-D6D182B996C5}"/>
                </a:ext>
              </a:extLst>
            </p:cNvPr>
            <p:cNvSpPr/>
            <p:nvPr/>
          </p:nvSpPr>
          <p:spPr>
            <a:xfrm rot="8716295">
              <a:off x="1711424" y="109061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8" name="Forme libre : forme 87">
              <a:extLst>
                <a:ext uri="{FF2B5EF4-FFF2-40B4-BE49-F238E27FC236}">
                  <a16:creationId xmlns:a16="http://schemas.microsoft.com/office/drawing/2014/main" id="{F81A7437-8336-4876-95A7-BD572FAED152}"/>
                </a:ext>
              </a:extLst>
            </p:cNvPr>
            <p:cNvSpPr/>
            <p:nvPr/>
          </p:nvSpPr>
          <p:spPr>
            <a:xfrm rot="8716295">
              <a:off x="1343261" y="113635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9" name="Forme libre : forme 88">
              <a:extLst>
                <a:ext uri="{FF2B5EF4-FFF2-40B4-BE49-F238E27FC236}">
                  <a16:creationId xmlns:a16="http://schemas.microsoft.com/office/drawing/2014/main" id="{B70DD9BD-1FC9-4B98-8769-B37CAAFCEC17}"/>
                </a:ext>
              </a:extLst>
            </p:cNvPr>
            <p:cNvSpPr/>
            <p:nvPr/>
          </p:nvSpPr>
          <p:spPr>
            <a:xfrm rot="8716295">
              <a:off x="1611842" y="89533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" name="Forme libre : forme 89">
              <a:extLst>
                <a:ext uri="{FF2B5EF4-FFF2-40B4-BE49-F238E27FC236}">
                  <a16:creationId xmlns:a16="http://schemas.microsoft.com/office/drawing/2014/main" id="{DC2940E5-7415-40BB-B706-4016B27C3DB2}"/>
                </a:ext>
              </a:extLst>
            </p:cNvPr>
            <p:cNvSpPr/>
            <p:nvPr/>
          </p:nvSpPr>
          <p:spPr>
            <a:xfrm rot="8716295">
              <a:off x="455920" y="47911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" name="Forme libre : forme 90">
              <a:extLst>
                <a:ext uri="{FF2B5EF4-FFF2-40B4-BE49-F238E27FC236}">
                  <a16:creationId xmlns:a16="http://schemas.microsoft.com/office/drawing/2014/main" id="{52585AAE-B2D0-438C-BC9F-C750F15F890C}"/>
                </a:ext>
              </a:extLst>
            </p:cNvPr>
            <p:cNvSpPr/>
            <p:nvPr/>
          </p:nvSpPr>
          <p:spPr>
            <a:xfrm rot="8716295">
              <a:off x="591219" y="52337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" name="Forme libre : forme 91">
              <a:extLst>
                <a:ext uri="{FF2B5EF4-FFF2-40B4-BE49-F238E27FC236}">
                  <a16:creationId xmlns:a16="http://schemas.microsoft.com/office/drawing/2014/main" id="{E63C71D8-D175-46A8-AA42-AB77BF57CFF3}"/>
                </a:ext>
              </a:extLst>
            </p:cNvPr>
            <p:cNvSpPr/>
            <p:nvPr/>
          </p:nvSpPr>
          <p:spPr>
            <a:xfrm rot="8716295">
              <a:off x="523336" y="39278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" name="Forme libre : forme 92">
              <a:extLst>
                <a:ext uri="{FF2B5EF4-FFF2-40B4-BE49-F238E27FC236}">
                  <a16:creationId xmlns:a16="http://schemas.microsoft.com/office/drawing/2014/main" id="{C200F3C8-A4FA-4E06-9F43-7329A49AF0A1}"/>
                </a:ext>
              </a:extLst>
            </p:cNvPr>
            <p:cNvSpPr/>
            <p:nvPr/>
          </p:nvSpPr>
          <p:spPr>
            <a:xfrm rot="8716295">
              <a:off x="286049" y="6131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" name="Forme libre : forme 93">
              <a:extLst>
                <a:ext uri="{FF2B5EF4-FFF2-40B4-BE49-F238E27FC236}">
                  <a16:creationId xmlns:a16="http://schemas.microsoft.com/office/drawing/2014/main" id="{154A22C5-EC1E-43BA-ACAF-79BC6F3D576D}"/>
                </a:ext>
              </a:extLst>
            </p:cNvPr>
            <p:cNvSpPr/>
            <p:nvPr/>
          </p:nvSpPr>
          <p:spPr>
            <a:xfrm rot="8716295">
              <a:off x="97003" y="2972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orme libre : forme 94">
              <a:extLst>
                <a:ext uri="{FF2B5EF4-FFF2-40B4-BE49-F238E27FC236}">
                  <a16:creationId xmlns:a16="http://schemas.microsoft.com/office/drawing/2014/main" id="{046AC798-93FA-43CE-B018-2724737AFAB7}"/>
                </a:ext>
              </a:extLst>
            </p:cNvPr>
            <p:cNvSpPr/>
            <p:nvPr/>
          </p:nvSpPr>
          <p:spPr>
            <a:xfrm rot="8716295">
              <a:off x="78761" y="87249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Forme libre : forme 95">
              <a:extLst>
                <a:ext uri="{FF2B5EF4-FFF2-40B4-BE49-F238E27FC236}">
                  <a16:creationId xmlns:a16="http://schemas.microsoft.com/office/drawing/2014/main" id="{7EB63D12-C97A-4806-9B7E-492DAF5A8D97}"/>
                </a:ext>
              </a:extLst>
            </p:cNvPr>
            <p:cNvSpPr/>
            <p:nvPr/>
          </p:nvSpPr>
          <p:spPr>
            <a:xfrm rot="8716295">
              <a:off x="422537" y="67511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" name="Forme libre : forme 96">
              <a:extLst>
                <a:ext uri="{FF2B5EF4-FFF2-40B4-BE49-F238E27FC236}">
                  <a16:creationId xmlns:a16="http://schemas.microsoft.com/office/drawing/2014/main" id="{1806B75B-8705-4074-AEFF-3715A3B4A58C}"/>
                </a:ext>
              </a:extLst>
            </p:cNvPr>
            <p:cNvSpPr/>
            <p:nvPr/>
          </p:nvSpPr>
          <p:spPr>
            <a:xfrm rot="8716295">
              <a:off x="893484" y="10050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" name="Forme libre : forme 97">
              <a:extLst>
                <a:ext uri="{FF2B5EF4-FFF2-40B4-BE49-F238E27FC236}">
                  <a16:creationId xmlns:a16="http://schemas.microsoft.com/office/drawing/2014/main" id="{AB690B93-68A6-412B-BE9D-7BF4A62DFBAE}"/>
                </a:ext>
              </a:extLst>
            </p:cNvPr>
            <p:cNvSpPr/>
            <p:nvPr/>
          </p:nvSpPr>
          <p:spPr>
            <a:xfrm rot="8716295">
              <a:off x="1028783" y="14476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" name="Forme libre : forme 98">
              <a:extLst>
                <a:ext uri="{FF2B5EF4-FFF2-40B4-BE49-F238E27FC236}">
                  <a16:creationId xmlns:a16="http://schemas.microsoft.com/office/drawing/2014/main" id="{CF4399C2-6A4B-4B09-A803-90528B9B6BB5}"/>
                </a:ext>
              </a:extLst>
            </p:cNvPr>
            <p:cNvSpPr/>
            <p:nvPr/>
          </p:nvSpPr>
          <p:spPr>
            <a:xfrm rot="8716295">
              <a:off x="723613" y="23451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orme libre : forme 99">
              <a:extLst>
                <a:ext uri="{FF2B5EF4-FFF2-40B4-BE49-F238E27FC236}">
                  <a16:creationId xmlns:a16="http://schemas.microsoft.com/office/drawing/2014/main" id="{244D8443-8208-40F5-B1CF-110ABB79D7E7}"/>
                </a:ext>
              </a:extLst>
            </p:cNvPr>
            <p:cNvSpPr/>
            <p:nvPr/>
          </p:nvSpPr>
          <p:spPr>
            <a:xfrm rot="8716295">
              <a:off x="547803" y="-17289"/>
              <a:ext cx="308531" cy="226033"/>
            </a:xfrm>
            <a:custGeom>
              <a:avLst/>
              <a:gdLst>
                <a:gd name="connsiteX0" fmla="*/ 106716 w 203847"/>
                <a:gd name="connsiteY0" fmla="*/ 149340 h 149340"/>
                <a:gd name="connsiteX1" fmla="*/ 50038 w 203847"/>
                <a:gd name="connsiteY1" fmla="*/ 110053 h 149340"/>
                <a:gd name="connsiteX2" fmla="*/ 69777 w 203847"/>
                <a:gd name="connsiteY2" fmla="*/ 55323 h 149340"/>
                <a:gd name="connsiteX3" fmla="*/ 0 w 203847"/>
                <a:gd name="connsiteY3" fmla="*/ 55323 h 149340"/>
                <a:gd name="connsiteX4" fmla="*/ 0 w 203847"/>
                <a:gd name="connsiteY4" fmla="*/ 0 h 149340"/>
                <a:gd name="connsiteX5" fmla="*/ 203847 w 203847"/>
                <a:gd name="connsiteY5" fmla="*/ 0 h 149340"/>
                <a:gd name="connsiteX6" fmla="*/ 203847 w 203847"/>
                <a:gd name="connsiteY6" fmla="*/ 55323 h 149340"/>
                <a:gd name="connsiteX7" fmla="*/ 139055 w 203847"/>
                <a:gd name="connsiteY7" fmla="*/ 55323 h 14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49340">
                  <a:moveTo>
                    <a:pt x="106716" y="149340"/>
                  </a:moveTo>
                  <a:lnTo>
                    <a:pt x="50038" y="110053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Forme libre : forme 100">
              <a:extLst>
                <a:ext uri="{FF2B5EF4-FFF2-40B4-BE49-F238E27FC236}">
                  <a16:creationId xmlns:a16="http://schemas.microsoft.com/office/drawing/2014/main" id="{1DC1AB77-DFBD-48D5-BA47-D445EDCA0CEF}"/>
                </a:ext>
              </a:extLst>
            </p:cNvPr>
            <p:cNvSpPr/>
            <p:nvPr/>
          </p:nvSpPr>
          <p:spPr>
            <a:xfrm rot="8716295">
              <a:off x="860101" y="29650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" name="Forme libre : forme 101">
              <a:extLst>
                <a:ext uri="{FF2B5EF4-FFF2-40B4-BE49-F238E27FC236}">
                  <a16:creationId xmlns:a16="http://schemas.microsoft.com/office/drawing/2014/main" id="{F59B8FC1-4AE7-4990-AF75-539F5B58458B}"/>
                </a:ext>
              </a:extLst>
            </p:cNvPr>
            <p:cNvSpPr/>
            <p:nvPr/>
          </p:nvSpPr>
          <p:spPr>
            <a:xfrm rot="8716295">
              <a:off x="494655" y="7007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" name="Forme libre : forme 102">
              <a:extLst>
                <a:ext uri="{FF2B5EF4-FFF2-40B4-BE49-F238E27FC236}">
                  <a16:creationId xmlns:a16="http://schemas.microsoft.com/office/drawing/2014/main" id="{868AEFC4-250F-471C-A43A-28F6923BB61D}"/>
                </a:ext>
              </a:extLst>
            </p:cNvPr>
            <p:cNvSpPr/>
            <p:nvPr/>
          </p:nvSpPr>
          <p:spPr>
            <a:xfrm rot="7484129">
              <a:off x="1018919" y="58611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" name="Forme libre : forme 103">
              <a:extLst>
                <a:ext uri="{FF2B5EF4-FFF2-40B4-BE49-F238E27FC236}">
                  <a16:creationId xmlns:a16="http://schemas.microsoft.com/office/drawing/2014/main" id="{7720FECD-8541-443F-AFBA-99868EB29B55}"/>
                </a:ext>
              </a:extLst>
            </p:cNvPr>
            <p:cNvSpPr/>
            <p:nvPr/>
          </p:nvSpPr>
          <p:spPr>
            <a:xfrm rot="13089394">
              <a:off x="1177568" y="53546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" name="Forme libre : forme 104">
              <a:extLst>
                <a:ext uri="{FF2B5EF4-FFF2-40B4-BE49-F238E27FC236}">
                  <a16:creationId xmlns:a16="http://schemas.microsoft.com/office/drawing/2014/main" id="{EC21D4C1-E07B-4E45-A18C-FDC88EB32F75}"/>
                </a:ext>
              </a:extLst>
            </p:cNvPr>
            <p:cNvSpPr/>
            <p:nvPr/>
          </p:nvSpPr>
          <p:spPr>
            <a:xfrm rot="8716295">
              <a:off x="1458459" y="24534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" name="Forme libre : forme 105">
              <a:extLst>
                <a:ext uri="{FF2B5EF4-FFF2-40B4-BE49-F238E27FC236}">
                  <a16:creationId xmlns:a16="http://schemas.microsoft.com/office/drawing/2014/main" id="{F27332C2-A714-4595-B5C0-9F2B9BA6FD2B}"/>
                </a:ext>
              </a:extLst>
            </p:cNvPr>
            <p:cNvSpPr/>
            <p:nvPr/>
          </p:nvSpPr>
          <p:spPr>
            <a:xfrm rot="8716295">
              <a:off x="1380050" y="8855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" name="Forme libre : forme 106">
              <a:extLst>
                <a:ext uri="{FF2B5EF4-FFF2-40B4-BE49-F238E27FC236}">
                  <a16:creationId xmlns:a16="http://schemas.microsoft.com/office/drawing/2014/main" id="{674A78BA-4944-4138-B4F5-A2FBC8048D50}"/>
                </a:ext>
              </a:extLst>
            </p:cNvPr>
            <p:cNvSpPr/>
            <p:nvPr/>
          </p:nvSpPr>
          <p:spPr>
            <a:xfrm rot="8716295">
              <a:off x="1011887" y="13429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" name="Forme libre : forme 107">
              <a:extLst>
                <a:ext uri="{FF2B5EF4-FFF2-40B4-BE49-F238E27FC236}">
                  <a16:creationId xmlns:a16="http://schemas.microsoft.com/office/drawing/2014/main" id="{7D76DD03-F270-4ACF-B774-06410BC28EE6}"/>
                </a:ext>
              </a:extLst>
            </p:cNvPr>
            <p:cNvSpPr/>
            <p:nvPr/>
          </p:nvSpPr>
          <p:spPr>
            <a:xfrm rot="8716295">
              <a:off x="1291652" y="-36449"/>
              <a:ext cx="134197" cy="106947"/>
            </a:xfrm>
            <a:custGeom>
              <a:avLst/>
              <a:gdLst>
                <a:gd name="connsiteX0" fmla="*/ 83649 w 88664"/>
                <a:gd name="connsiteY0" fmla="*/ 70660 h 70660"/>
                <a:gd name="connsiteX1" fmla="*/ 0 w 88664"/>
                <a:gd name="connsiteY1" fmla="*/ 12677 h 70660"/>
                <a:gd name="connsiteX2" fmla="*/ 30024 w 88664"/>
                <a:gd name="connsiteY2" fmla="*/ 0 h 70660"/>
                <a:gd name="connsiteX3" fmla="*/ 71417 w 88664"/>
                <a:gd name="connsiteY3" fmla="*/ 17477 h 70660"/>
                <a:gd name="connsiteX4" fmla="*/ 88664 w 88664"/>
                <a:gd name="connsiteY4" fmla="*/ 58525 h 70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664" h="70660">
                  <a:moveTo>
                    <a:pt x="83649" y="70660"/>
                  </a:moveTo>
                  <a:lnTo>
                    <a:pt x="0" y="12677"/>
                  </a:lnTo>
                  <a:lnTo>
                    <a:pt x="30024" y="0"/>
                  </a:lnTo>
                  <a:cubicBezTo>
                    <a:pt x="45662" y="0"/>
                    <a:pt x="60379" y="6439"/>
                    <a:pt x="71417" y="17477"/>
                  </a:cubicBezTo>
                  <a:cubicBezTo>
                    <a:pt x="82915" y="28515"/>
                    <a:pt x="88664" y="43462"/>
                    <a:pt x="88664" y="58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" name="Forme libre : forme 108">
              <a:extLst>
                <a:ext uri="{FF2B5EF4-FFF2-40B4-BE49-F238E27FC236}">
                  <a16:creationId xmlns:a16="http://schemas.microsoft.com/office/drawing/2014/main" id="{3E28A378-29F9-4E63-8D2F-7910EE2CA370}"/>
                </a:ext>
              </a:extLst>
            </p:cNvPr>
            <p:cNvSpPr/>
            <p:nvPr/>
          </p:nvSpPr>
          <p:spPr>
            <a:xfrm rot="13089394">
              <a:off x="990163" y="-39748"/>
              <a:ext cx="111277" cy="115595"/>
            </a:xfrm>
            <a:custGeom>
              <a:avLst/>
              <a:gdLst>
                <a:gd name="connsiteX0" fmla="*/ 73521 w 73521"/>
                <a:gd name="connsiteY0" fmla="*/ 18609 h 76374"/>
                <a:gd name="connsiteX1" fmla="*/ 0 w 73521"/>
                <a:gd name="connsiteY1" fmla="*/ 76374 h 76374"/>
                <a:gd name="connsiteX2" fmla="*/ 0 w 73521"/>
                <a:gd name="connsiteY2" fmla="*/ 38074 h 76374"/>
                <a:gd name="connsiteX3" fmla="*/ 73388 w 73521"/>
                <a:gd name="connsiteY3" fmla="*/ 0 h 7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521" h="76374">
                  <a:moveTo>
                    <a:pt x="73521" y="18609"/>
                  </a:moveTo>
                  <a:lnTo>
                    <a:pt x="0" y="76374"/>
                  </a:lnTo>
                  <a:lnTo>
                    <a:pt x="0" y="38074"/>
                  </a:lnTo>
                  <a:lnTo>
                    <a:pt x="7338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" name="Forme libre : forme 109">
              <a:extLst>
                <a:ext uri="{FF2B5EF4-FFF2-40B4-BE49-F238E27FC236}">
                  <a16:creationId xmlns:a16="http://schemas.microsoft.com/office/drawing/2014/main" id="{F1CC83E5-A4EB-42DD-9A17-370BFA21AAE9}"/>
                </a:ext>
              </a:extLst>
            </p:cNvPr>
            <p:cNvSpPr/>
            <p:nvPr/>
          </p:nvSpPr>
          <p:spPr>
            <a:xfrm rot="8716295">
              <a:off x="121288" y="414134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" name="Forme libre : forme 110">
              <a:extLst>
                <a:ext uri="{FF2B5EF4-FFF2-40B4-BE49-F238E27FC236}">
                  <a16:creationId xmlns:a16="http://schemas.microsoft.com/office/drawing/2014/main" id="{9526DB8B-159A-416E-9CE4-0D6F2D18F32F}"/>
                </a:ext>
              </a:extLst>
            </p:cNvPr>
            <p:cNvSpPr/>
            <p:nvPr/>
          </p:nvSpPr>
          <p:spPr>
            <a:xfrm rot="8716295">
              <a:off x="256586" y="418560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" name="Forme libre : forme 111">
              <a:extLst>
                <a:ext uri="{FF2B5EF4-FFF2-40B4-BE49-F238E27FC236}">
                  <a16:creationId xmlns:a16="http://schemas.microsoft.com/office/drawing/2014/main" id="{8B12B296-AAE6-463A-B5CB-324F979AE957}"/>
                </a:ext>
              </a:extLst>
            </p:cNvPr>
            <p:cNvSpPr/>
            <p:nvPr/>
          </p:nvSpPr>
          <p:spPr>
            <a:xfrm rot="8716295">
              <a:off x="188704" y="405501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" name="Forme libre : forme 112">
              <a:extLst>
                <a:ext uri="{FF2B5EF4-FFF2-40B4-BE49-F238E27FC236}">
                  <a16:creationId xmlns:a16="http://schemas.microsoft.com/office/drawing/2014/main" id="{9A3F4C45-E84E-45F4-A1D8-E67A24057076}"/>
                </a:ext>
              </a:extLst>
            </p:cNvPr>
            <p:cNvSpPr/>
            <p:nvPr/>
          </p:nvSpPr>
          <p:spPr>
            <a:xfrm rot="8716295">
              <a:off x="-22408" y="4278013"/>
              <a:ext cx="57413" cy="71926"/>
            </a:xfrm>
            <a:custGeom>
              <a:avLst/>
              <a:gdLst>
                <a:gd name="connsiteX0" fmla="*/ 11441 w 57413"/>
                <a:gd name="connsiteY0" fmla="*/ 71926 h 71926"/>
                <a:gd name="connsiteX1" fmla="*/ 0 w 57413"/>
                <a:gd name="connsiteY1" fmla="*/ 44829 h 71926"/>
                <a:gd name="connsiteX2" fmla="*/ 0 w 57413"/>
                <a:gd name="connsiteY2" fmla="*/ 44139 h 71926"/>
                <a:gd name="connsiteX3" fmla="*/ 13104 w 57413"/>
                <a:gd name="connsiteY3" fmla="*/ 13104 h 71926"/>
                <a:gd name="connsiteX4" fmla="*/ 44139 w 57413"/>
                <a:gd name="connsiteY4" fmla="*/ 0 h 71926"/>
                <a:gd name="connsiteX5" fmla="*/ 57413 w 57413"/>
                <a:gd name="connsiteY5" fmla="*/ 5605 h 71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413" h="71926">
                  <a:moveTo>
                    <a:pt x="11441" y="71926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lnTo>
                    <a:pt x="57413" y="5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" name="Forme libre : forme 113">
              <a:extLst>
                <a:ext uri="{FF2B5EF4-FFF2-40B4-BE49-F238E27FC236}">
                  <a16:creationId xmlns:a16="http://schemas.microsoft.com/office/drawing/2014/main" id="{9EDF78AD-4158-4BDF-B490-2317803ACA6E}"/>
                </a:ext>
              </a:extLst>
            </p:cNvPr>
            <p:cNvSpPr/>
            <p:nvPr/>
          </p:nvSpPr>
          <p:spPr>
            <a:xfrm rot="8716295">
              <a:off x="-36969" y="4107248"/>
              <a:ext cx="147272" cy="83734"/>
            </a:xfrm>
            <a:custGeom>
              <a:avLst/>
              <a:gdLst>
                <a:gd name="connsiteX0" fmla="*/ 0 w 147272"/>
                <a:gd name="connsiteY0" fmla="*/ 83734 h 83734"/>
                <a:gd name="connsiteX1" fmla="*/ 0 w 147272"/>
                <a:gd name="connsiteY1" fmla="*/ 0 h 83734"/>
                <a:gd name="connsiteX2" fmla="*/ 147272 w 147272"/>
                <a:gd name="connsiteY2" fmla="*/ 0 h 83734"/>
                <a:gd name="connsiteX3" fmla="*/ 89230 w 147272"/>
                <a:gd name="connsiteY3" fmla="*/ 83734 h 83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272" h="83734">
                  <a:moveTo>
                    <a:pt x="0" y="83734"/>
                  </a:moveTo>
                  <a:lnTo>
                    <a:pt x="0" y="0"/>
                  </a:lnTo>
                  <a:lnTo>
                    <a:pt x="147272" y="0"/>
                  </a:lnTo>
                  <a:lnTo>
                    <a:pt x="89230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" name="Forme libre : forme 114">
              <a:extLst>
                <a:ext uri="{FF2B5EF4-FFF2-40B4-BE49-F238E27FC236}">
                  <a16:creationId xmlns:a16="http://schemas.microsoft.com/office/drawing/2014/main" id="{18A6ED0C-2A06-421B-B360-5120C1917E60}"/>
                </a:ext>
              </a:extLst>
            </p:cNvPr>
            <p:cNvSpPr/>
            <p:nvPr/>
          </p:nvSpPr>
          <p:spPr>
            <a:xfrm rot="8716295">
              <a:off x="43378" y="3712531"/>
              <a:ext cx="125537" cy="468763"/>
            </a:xfrm>
            <a:custGeom>
              <a:avLst/>
              <a:gdLst>
                <a:gd name="connsiteX0" fmla="*/ 29455 w 125537"/>
                <a:gd name="connsiteY0" fmla="*/ 468763 h 468763"/>
                <a:gd name="connsiteX1" fmla="*/ 7792 w 125537"/>
                <a:gd name="connsiteY1" fmla="*/ 425988 h 468763"/>
                <a:gd name="connsiteX2" fmla="*/ 0 w 125537"/>
                <a:gd name="connsiteY2" fmla="*/ 333043 h 468763"/>
                <a:gd name="connsiteX3" fmla="*/ 0 w 125537"/>
                <a:gd name="connsiteY3" fmla="*/ 61444 h 468763"/>
                <a:gd name="connsiteX4" fmla="*/ 118434 w 125537"/>
                <a:gd name="connsiteY4" fmla="*/ 0 h 468763"/>
                <a:gd name="connsiteX5" fmla="*/ 120216 w 125537"/>
                <a:gd name="connsiteY5" fmla="*/ 248447 h 468763"/>
                <a:gd name="connsiteX6" fmla="*/ 123889 w 125537"/>
                <a:gd name="connsiteY6" fmla="*/ 323359 h 468763"/>
                <a:gd name="connsiteX7" fmla="*/ 125537 w 125537"/>
                <a:gd name="connsiteY7" fmla="*/ 330150 h 468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537" h="468763">
                  <a:moveTo>
                    <a:pt x="29455" y="468763"/>
                  </a:moveTo>
                  <a:lnTo>
                    <a:pt x="7792" y="425988"/>
                  </a:lnTo>
                  <a:cubicBezTo>
                    <a:pt x="2003" y="400498"/>
                    <a:pt x="0" y="369553"/>
                    <a:pt x="0" y="333043"/>
                  </a:cubicBezTo>
                  <a:lnTo>
                    <a:pt x="0" y="61444"/>
                  </a:lnTo>
                  <a:lnTo>
                    <a:pt x="118434" y="0"/>
                  </a:lnTo>
                  <a:lnTo>
                    <a:pt x="120216" y="248447"/>
                  </a:lnTo>
                  <a:cubicBezTo>
                    <a:pt x="118880" y="273381"/>
                    <a:pt x="120216" y="298537"/>
                    <a:pt x="123889" y="323359"/>
                  </a:cubicBezTo>
                  <a:lnTo>
                    <a:pt x="125537" y="3301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" name="Forme libre : forme 115">
              <a:extLst>
                <a:ext uri="{FF2B5EF4-FFF2-40B4-BE49-F238E27FC236}">
                  <a16:creationId xmlns:a16="http://schemas.microsoft.com/office/drawing/2014/main" id="{E0FDC8EF-8848-4C0A-9102-11E05499477A}"/>
                </a:ext>
              </a:extLst>
            </p:cNvPr>
            <p:cNvSpPr/>
            <p:nvPr/>
          </p:nvSpPr>
          <p:spPr>
            <a:xfrm rot="8716295">
              <a:off x="87905" y="4337347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" name="Forme libre : forme 116">
              <a:extLst>
                <a:ext uri="{FF2B5EF4-FFF2-40B4-BE49-F238E27FC236}">
                  <a16:creationId xmlns:a16="http://schemas.microsoft.com/office/drawing/2014/main" id="{5A06B087-2ED7-4364-B770-117460F6509C}"/>
                </a:ext>
              </a:extLst>
            </p:cNvPr>
            <p:cNvSpPr/>
            <p:nvPr/>
          </p:nvSpPr>
          <p:spPr>
            <a:xfrm rot="8716295">
              <a:off x="558851" y="376273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" name="Forme libre : forme 117">
              <a:extLst>
                <a:ext uri="{FF2B5EF4-FFF2-40B4-BE49-F238E27FC236}">
                  <a16:creationId xmlns:a16="http://schemas.microsoft.com/office/drawing/2014/main" id="{A9CE4EB9-9050-492E-8BE3-E347F06FFDC2}"/>
                </a:ext>
              </a:extLst>
            </p:cNvPr>
            <p:cNvSpPr/>
            <p:nvPr/>
          </p:nvSpPr>
          <p:spPr>
            <a:xfrm rot="8716295">
              <a:off x="694150" y="380699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" name="Forme libre : forme 118">
              <a:extLst>
                <a:ext uri="{FF2B5EF4-FFF2-40B4-BE49-F238E27FC236}">
                  <a16:creationId xmlns:a16="http://schemas.microsoft.com/office/drawing/2014/main" id="{760AB253-194C-499B-8D42-794DA9755956}"/>
                </a:ext>
              </a:extLst>
            </p:cNvPr>
            <p:cNvSpPr/>
            <p:nvPr/>
          </p:nvSpPr>
          <p:spPr>
            <a:xfrm rot="8716295">
              <a:off x="388980" y="389674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" name="Forme libre : forme 119">
              <a:extLst>
                <a:ext uri="{FF2B5EF4-FFF2-40B4-BE49-F238E27FC236}">
                  <a16:creationId xmlns:a16="http://schemas.microsoft.com/office/drawing/2014/main" id="{40898D3E-1FCF-4F50-8E01-1AFEA6AF3C33}"/>
                </a:ext>
              </a:extLst>
            </p:cNvPr>
            <p:cNvSpPr/>
            <p:nvPr/>
          </p:nvSpPr>
          <p:spPr>
            <a:xfrm rot="8716295">
              <a:off x="199936" y="358091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" name="Forme libre : forme 120">
              <a:extLst>
                <a:ext uri="{FF2B5EF4-FFF2-40B4-BE49-F238E27FC236}">
                  <a16:creationId xmlns:a16="http://schemas.microsoft.com/office/drawing/2014/main" id="{D3FAD429-F566-4023-B7BD-D5217FAA5D96}"/>
                </a:ext>
              </a:extLst>
            </p:cNvPr>
            <p:cNvSpPr/>
            <p:nvPr/>
          </p:nvSpPr>
          <p:spPr>
            <a:xfrm rot="8716295">
              <a:off x="525469" y="3958731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" name="Forme libre : forme 121">
              <a:extLst>
                <a:ext uri="{FF2B5EF4-FFF2-40B4-BE49-F238E27FC236}">
                  <a16:creationId xmlns:a16="http://schemas.microsoft.com/office/drawing/2014/main" id="{D20A67B5-6AA2-4AB0-B207-C07057BDE093}"/>
                </a:ext>
              </a:extLst>
            </p:cNvPr>
            <p:cNvSpPr/>
            <p:nvPr/>
          </p:nvSpPr>
          <p:spPr>
            <a:xfrm rot="8716295">
              <a:off x="160022" y="3732305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" name="Forme libre : forme 122">
              <a:extLst>
                <a:ext uri="{FF2B5EF4-FFF2-40B4-BE49-F238E27FC236}">
                  <a16:creationId xmlns:a16="http://schemas.microsoft.com/office/drawing/2014/main" id="{91FEBD80-6813-4F8F-ACF7-9087BB051204}"/>
                </a:ext>
              </a:extLst>
            </p:cNvPr>
            <p:cNvSpPr/>
            <p:nvPr/>
          </p:nvSpPr>
          <p:spPr>
            <a:xfrm rot="7484129">
              <a:off x="684286" y="424834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" name="Forme libre : forme 123">
              <a:extLst>
                <a:ext uri="{FF2B5EF4-FFF2-40B4-BE49-F238E27FC236}">
                  <a16:creationId xmlns:a16="http://schemas.microsoft.com/office/drawing/2014/main" id="{4CAAD98F-1BEB-4716-B4A0-F4F1C4393647}"/>
                </a:ext>
              </a:extLst>
            </p:cNvPr>
            <p:cNvSpPr/>
            <p:nvPr/>
          </p:nvSpPr>
          <p:spPr>
            <a:xfrm rot="13089394">
              <a:off x="842936" y="4197697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" name="Forme libre : forme 124">
              <a:extLst>
                <a:ext uri="{FF2B5EF4-FFF2-40B4-BE49-F238E27FC236}">
                  <a16:creationId xmlns:a16="http://schemas.microsoft.com/office/drawing/2014/main" id="{B934D86F-56B5-4940-9189-1F845F67AF3D}"/>
                </a:ext>
              </a:extLst>
            </p:cNvPr>
            <p:cNvSpPr/>
            <p:nvPr/>
          </p:nvSpPr>
          <p:spPr>
            <a:xfrm rot="8716295">
              <a:off x="1123827" y="390757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" name="Forme libre : forme 125">
              <a:extLst>
                <a:ext uri="{FF2B5EF4-FFF2-40B4-BE49-F238E27FC236}">
                  <a16:creationId xmlns:a16="http://schemas.microsoft.com/office/drawing/2014/main" id="{0BB740E0-5261-47F5-A043-EC9887338951}"/>
                </a:ext>
              </a:extLst>
            </p:cNvPr>
            <p:cNvSpPr/>
            <p:nvPr/>
          </p:nvSpPr>
          <p:spPr>
            <a:xfrm rot="8716295">
              <a:off x="1045418" y="375078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" name="Forme libre : forme 126">
              <a:extLst>
                <a:ext uri="{FF2B5EF4-FFF2-40B4-BE49-F238E27FC236}">
                  <a16:creationId xmlns:a16="http://schemas.microsoft.com/office/drawing/2014/main" id="{07B02AA0-438E-4A9F-9E86-C7798EAE77E1}"/>
                </a:ext>
              </a:extLst>
            </p:cNvPr>
            <p:cNvSpPr/>
            <p:nvPr/>
          </p:nvSpPr>
          <p:spPr>
            <a:xfrm rot="8716295">
              <a:off x="677254" y="379652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" name="Forme libre : forme 127">
              <a:extLst>
                <a:ext uri="{FF2B5EF4-FFF2-40B4-BE49-F238E27FC236}">
                  <a16:creationId xmlns:a16="http://schemas.microsoft.com/office/drawing/2014/main" id="{500903EF-2A49-42E8-AD78-049F43A296FF}"/>
                </a:ext>
              </a:extLst>
            </p:cNvPr>
            <p:cNvSpPr/>
            <p:nvPr/>
          </p:nvSpPr>
          <p:spPr>
            <a:xfrm rot="8716295">
              <a:off x="945836" y="355550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" name="Forme libre : forme 128">
              <a:extLst>
                <a:ext uri="{FF2B5EF4-FFF2-40B4-BE49-F238E27FC236}">
                  <a16:creationId xmlns:a16="http://schemas.microsoft.com/office/drawing/2014/main" id="{480AF78A-BA1A-4D97-9E00-1B9DCCFB07D3}"/>
                </a:ext>
              </a:extLst>
            </p:cNvPr>
            <p:cNvSpPr/>
            <p:nvPr/>
          </p:nvSpPr>
          <p:spPr>
            <a:xfrm rot="8716295">
              <a:off x="601570" y="5027951"/>
              <a:ext cx="169680" cy="113030"/>
            </a:xfrm>
            <a:custGeom>
              <a:avLst/>
              <a:gdLst>
                <a:gd name="connsiteX0" fmla="*/ 8965 w 169680"/>
                <a:gd name="connsiteY0" fmla="*/ 113030 h 113030"/>
                <a:gd name="connsiteX1" fmla="*/ 0 w 169680"/>
                <a:gd name="connsiteY1" fmla="*/ 100616 h 113030"/>
                <a:gd name="connsiteX2" fmla="*/ 106933 w 169680"/>
                <a:gd name="connsiteY2" fmla="*/ 0 h 113030"/>
                <a:gd name="connsiteX3" fmla="*/ 169680 w 169680"/>
                <a:gd name="connsiteY3" fmla="*/ 43494 h 113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680" h="113030">
                  <a:moveTo>
                    <a:pt x="8965" y="113030"/>
                  </a:moveTo>
                  <a:lnTo>
                    <a:pt x="0" y="100616"/>
                  </a:lnTo>
                  <a:lnTo>
                    <a:pt x="106933" y="0"/>
                  </a:lnTo>
                  <a:lnTo>
                    <a:pt x="169680" y="434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" name="Forme libre : forme 129">
              <a:extLst>
                <a:ext uri="{FF2B5EF4-FFF2-40B4-BE49-F238E27FC236}">
                  <a16:creationId xmlns:a16="http://schemas.microsoft.com/office/drawing/2014/main" id="{EE8617F6-3CC3-49C7-A836-7CB9E4E540AD}"/>
                </a:ext>
              </a:extLst>
            </p:cNvPr>
            <p:cNvSpPr/>
            <p:nvPr/>
          </p:nvSpPr>
          <p:spPr>
            <a:xfrm rot="8716295">
              <a:off x="197311" y="4925365"/>
              <a:ext cx="194366" cy="296463"/>
            </a:xfrm>
            <a:custGeom>
              <a:avLst/>
              <a:gdLst>
                <a:gd name="connsiteX0" fmla="*/ 137293 w 194366"/>
                <a:gd name="connsiteY0" fmla="*/ 296463 h 296463"/>
                <a:gd name="connsiteX1" fmla="*/ 72418 w 194366"/>
                <a:gd name="connsiteY1" fmla="*/ 175766 h 296463"/>
                <a:gd name="connsiteX2" fmla="*/ 105610 w 194366"/>
                <a:gd name="connsiteY2" fmla="*/ 83734 h 296463"/>
                <a:gd name="connsiteX3" fmla="*/ 0 w 194366"/>
                <a:gd name="connsiteY3" fmla="*/ 83734 h 296463"/>
                <a:gd name="connsiteX4" fmla="*/ 0 w 194366"/>
                <a:gd name="connsiteY4" fmla="*/ 0 h 296463"/>
                <a:gd name="connsiteX5" fmla="*/ 6043 w 194366"/>
                <a:gd name="connsiteY5" fmla="*/ 0 h 296463"/>
                <a:gd name="connsiteX6" fmla="*/ 194366 w 194366"/>
                <a:gd name="connsiteY6" fmla="*/ 130539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4366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6043" y="0"/>
                  </a:lnTo>
                  <a:lnTo>
                    <a:pt x="194366" y="1305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" name="Forme libre : forme 130">
              <a:extLst>
                <a:ext uri="{FF2B5EF4-FFF2-40B4-BE49-F238E27FC236}">
                  <a16:creationId xmlns:a16="http://schemas.microsoft.com/office/drawing/2014/main" id="{7A3770F8-0F14-4D5B-BC93-8BDF0237ED5F}"/>
                </a:ext>
              </a:extLst>
            </p:cNvPr>
            <p:cNvSpPr/>
            <p:nvPr/>
          </p:nvSpPr>
          <p:spPr>
            <a:xfrm rot="8716295">
              <a:off x="81902" y="4747962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" name="Forme libre : forme 131">
              <a:extLst>
                <a:ext uri="{FF2B5EF4-FFF2-40B4-BE49-F238E27FC236}">
                  <a16:creationId xmlns:a16="http://schemas.microsoft.com/office/drawing/2014/main" id="{6F3531E0-325E-4C4E-9F22-978D3BA0B1C2}"/>
                </a:ext>
              </a:extLst>
            </p:cNvPr>
            <p:cNvSpPr/>
            <p:nvPr/>
          </p:nvSpPr>
          <p:spPr>
            <a:xfrm rot="8716295">
              <a:off x="896624" y="4761216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" name="Forme libre : forme 132">
              <a:extLst>
                <a:ext uri="{FF2B5EF4-FFF2-40B4-BE49-F238E27FC236}">
                  <a16:creationId xmlns:a16="http://schemas.microsoft.com/office/drawing/2014/main" id="{0B981DC2-26C2-44B6-A24A-4014CF42843D}"/>
                </a:ext>
              </a:extLst>
            </p:cNvPr>
            <p:cNvSpPr/>
            <p:nvPr/>
          </p:nvSpPr>
          <p:spPr>
            <a:xfrm rot="8716295">
              <a:off x="1032483" y="4799006"/>
              <a:ext cx="389853" cy="383455"/>
            </a:xfrm>
            <a:custGeom>
              <a:avLst/>
              <a:gdLst>
                <a:gd name="connsiteX0" fmla="*/ 77932 w 389853"/>
                <a:gd name="connsiteY0" fmla="*/ 383455 h 383455"/>
                <a:gd name="connsiteX1" fmla="*/ 77932 w 389853"/>
                <a:gd name="connsiteY1" fmla="*/ 66898 h 383455"/>
                <a:gd name="connsiteX2" fmla="*/ 0 w 389853"/>
                <a:gd name="connsiteY2" fmla="*/ 66898 h 383455"/>
                <a:gd name="connsiteX3" fmla="*/ 0 w 389853"/>
                <a:gd name="connsiteY3" fmla="*/ 0 h 383455"/>
                <a:gd name="connsiteX4" fmla="*/ 158623 w 389853"/>
                <a:gd name="connsiteY4" fmla="*/ 0 h 383455"/>
                <a:gd name="connsiteX5" fmla="*/ 158623 w 389853"/>
                <a:gd name="connsiteY5" fmla="*/ 111726 h 383455"/>
                <a:gd name="connsiteX6" fmla="*/ 160692 w 389853"/>
                <a:gd name="connsiteY6" fmla="*/ 111726 h 383455"/>
                <a:gd name="connsiteX7" fmla="*/ 192762 w 389853"/>
                <a:gd name="connsiteY7" fmla="*/ 39914 h 383455"/>
                <a:gd name="connsiteX8" fmla="*/ 216292 w 389853"/>
                <a:gd name="connsiteY8" fmla="*/ 20658 h 383455"/>
                <a:gd name="connsiteX9" fmla="*/ 389853 w 389853"/>
                <a:gd name="connsiteY9" fmla="*/ 140965 h 383455"/>
                <a:gd name="connsiteX10" fmla="*/ 300695 w 389853"/>
                <a:gd name="connsiteY10" fmla="*/ 146210 h 383455"/>
                <a:gd name="connsiteX11" fmla="*/ 300694 w 389853"/>
                <a:gd name="connsiteY11" fmla="*/ 121382 h 383455"/>
                <a:gd name="connsiteX12" fmla="*/ 249659 w 389853"/>
                <a:gd name="connsiteY12" fmla="*/ 58622 h 383455"/>
                <a:gd name="connsiteX13" fmla="*/ 168969 w 389853"/>
                <a:gd name="connsiteY13" fmla="*/ 191038 h 383455"/>
                <a:gd name="connsiteX14" fmla="*/ 168969 w 389853"/>
                <a:gd name="connsiteY14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9853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71727" y="78967"/>
                    <a:pt x="181555" y="56208"/>
                    <a:pt x="192762" y="39914"/>
                  </a:cubicBezTo>
                  <a:lnTo>
                    <a:pt x="216292" y="20658"/>
                  </a:lnTo>
                  <a:lnTo>
                    <a:pt x="389853" y="140965"/>
                  </a:lnTo>
                  <a:lnTo>
                    <a:pt x="300695" y="146210"/>
                  </a:lnTo>
                  <a:lnTo>
                    <a:pt x="300694" y="121382"/>
                  </a:lnTo>
                  <a:cubicBezTo>
                    <a:pt x="300695" y="84140"/>
                    <a:pt x="279315" y="58621"/>
                    <a:pt x="249659" y="58622"/>
                  </a:cubicBezTo>
                  <a:cubicBezTo>
                    <a:pt x="205521" y="58621"/>
                    <a:pt x="168969" y="117244"/>
                    <a:pt x="168969" y="191038"/>
                  </a:cubicBez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" name="Forme libre : forme 133">
              <a:extLst>
                <a:ext uri="{FF2B5EF4-FFF2-40B4-BE49-F238E27FC236}">
                  <a16:creationId xmlns:a16="http://schemas.microsoft.com/office/drawing/2014/main" id="{A3972FDD-BF94-4723-9E5F-9672CBFB9038}"/>
                </a:ext>
              </a:extLst>
            </p:cNvPr>
            <p:cNvSpPr/>
            <p:nvPr/>
          </p:nvSpPr>
          <p:spPr>
            <a:xfrm rot="8716295">
              <a:off x="726753" y="489523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" name="Forme libre : forme 134">
              <a:extLst>
                <a:ext uri="{FF2B5EF4-FFF2-40B4-BE49-F238E27FC236}">
                  <a16:creationId xmlns:a16="http://schemas.microsoft.com/office/drawing/2014/main" id="{53E7288B-8855-433D-88B5-BB9A05F8E9B6}"/>
                </a:ext>
              </a:extLst>
            </p:cNvPr>
            <p:cNvSpPr/>
            <p:nvPr/>
          </p:nvSpPr>
          <p:spPr>
            <a:xfrm rot="8716295">
              <a:off x="537709" y="457939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" name="Forme libre : forme 135">
              <a:extLst>
                <a:ext uri="{FF2B5EF4-FFF2-40B4-BE49-F238E27FC236}">
                  <a16:creationId xmlns:a16="http://schemas.microsoft.com/office/drawing/2014/main" id="{6D0BADDB-ADF9-4A5A-9268-3F374A71F372}"/>
                </a:ext>
              </a:extLst>
            </p:cNvPr>
            <p:cNvSpPr/>
            <p:nvPr/>
          </p:nvSpPr>
          <p:spPr>
            <a:xfrm rot="8716295">
              <a:off x="826576" y="4988476"/>
              <a:ext cx="91035" cy="198648"/>
            </a:xfrm>
            <a:custGeom>
              <a:avLst/>
              <a:gdLst>
                <a:gd name="connsiteX0" fmla="*/ 91035 w 91035"/>
                <a:gd name="connsiteY0" fmla="*/ 198648 h 198648"/>
                <a:gd name="connsiteX1" fmla="*/ 0 w 91035"/>
                <a:gd name="connsiteY1" fmla="*/ 111060 h 198648"/>
                <a:gd name="connsiteX2" fmla="*/ 0 w 91035"/>
                <a:gd name="connsiteY2" fmla="*/ 0 h 198648"/>
                <a:gd name="connsiteX3" fmla="*/ 91035 w 91035"/>
                <a:gd name="connsiteY3" fmla="*/ 63103 h 198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198648">
                  <a:moveTo>
                    <a:pt x="91035" y="198648"/>
                  </a:moveTo>
                  <a:lnTo>
                    <a:pt x="0" y="111060"/>
                  </a:lnTo>
                  <a:lnTo>
                    <a:pt x="0" y="0"/>
                  </a:lnTo>
                  <a:lnTo>
                    <a:pt x="91035" y="631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" name="Forme libre : forme 136">
              <a:extLst>
                <a:ext uri="{FF2B5EF4-FFF2-40B4-BE49-F238E27FC236}">
                  <a16:creationId xmlns:a16="http://schemas.microsoft.com/office/drawing/2014/main" id="{7A0A28EA-B520-49BA-800F-B4282BF0ECB8}"/>
                </a:ext>
              </a:extLst>
            </p:cNvPr>
            <p:cNvSpPr/>
            <p:nvPr/>
          </p:nvSpPr>
          <p:spPr>
            <a:xfrm rot="8716295">
              <a:off x="497795" y="4730788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" name="Forme libre : forme 137">
              <a:extLst>
                <a:ext uri="{FF2B5EF4-FFF2-40B4-BE49-F238E27FC236}">
                  <a16:creationId xmlns:a16="http://schemas.microsoft.com/office/drawing/2014/main" id="{8781DCBF-8301-4C81-B93D-E186016AF47F}"/>
                </a:ext>
              </a:extLst>
            </p:cNvPr>
            <p:cNvSpPr/>
            <p:nvPr/>
          </p:nvSpPr>
          <p:spPr>
            <a:xfrm rot="8716295">
              <a:off x="1459248" y="4904357"/>
              <a:ext cx="328004" cy="223069"/>
            </a:xfrm>
            <a:custGeom>
              <a:avLst/>
              <a:gdLst>
                <a:gd name="connsiteX0" fmla="*/ 10574 w 328004"/>
                <a:gd name="connsiteY0" fmla="*/ 223069 h 223069"/>
                <a:gd name="connsiteX1" fmla="*/ 0 w 328004"/>
                <a:gd name="connsiteY1" fmla="*/ 208428 h 223069"/>
                <a:gd name="connsiteX2" fmla="*/ 192781 w 328004"/>
                <a:gd name="connsiteY2" fmla="*/ 27035 h 223069"/>
                <a:gd name="connsiteX3" fmla="*/ 227094 w 328004"/>
                <a:gd name="connsiteY3" fmla="*/ 0 h 223069"/>
                <a:gd name="connsiteX4" fmla="*/ 328004 w 328004"/>
                <a:gd name="connsiteY4" fmla="*/ 69948 h 223069"/>
                <a:gd name="connsiteX5" fmla="*/ 326080 w 328004"/>
                <a:gd name="connsiteY5" fmla="*/ 74925 h 223069"/>
                <a:gd name="connsiteX6" fmla="*/ 293645 w 328004"/>
                <a:gd name="connsiteY6" fmla="*/ 100243 h 223069"/>
                <a:gd name="connsiteX7" fmla="*/ 294458 w 328004"/>
                <a:gd name="connsiteY7" fmla="*/ 100243 h 223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8004" h="223069">
                  <a:moveTo>
                    <a:pt x="10574" y="223069"/>
                  </a:moveTo>
                  <a:lnTo>
                    <a:pt x="0" y="208428"/>
                  </a:lnTo>
                  <a:lnTo>
                    <a:pt x="192781" y="27035"/>
                  </a:lnTo>
                  <a:lnTo>
                    <a:pt x="227094" y="0"/>
                  </a:lnTo>
                  <a:lnTo>
                    <a:pt x="328004" y="69948"/>
                  </a:lnTo>
                  <a:lnTo>
                    <a:pt x="326080" y="74925"/>
                  </a:lnTo>
                  <a:cubicBezTo>
                    <a:pt x="317843" y="85805"/>
                    <a:pt x="306659" y="94549"/>
                    <a:pt x="293645" y="100243"/>
                  </a:cubicBezTo>
                  <a:lnTo>
                    <a:pt x="294458" y="10024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" name="Forme libre : forme 138">
              <a:extLst>
                <a:ext uri="{FF2B5EF4-FFF2-40B4-BE49-F238E27FC236}">
                  <a16:creationId xmlns:a16="http://schemas.microsoft.com/office/drawing/2014/main" id="{3ED78FC6-709C-4AA3-BB63-2CC979D6E8FB}"/>
                </a:ext>
              </a:extLst>
            </p:cNvPr>
            <p:cNvSpPr/>
            <p:nvPr/>
          </p:nvSpPr>
          <p:spPr>
            <a:xfrm rot="8716295">
              <a:off x="1383191" y="474927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" name="Forme libre : forme 139">
              <a:extLst>
                <a:ext uri="{FF2B5EF4-FFF2-40B4-BE49-F238E27FC236}">
                  <a16:creationId xmlns:a16="http://schemas.microsoft.com/office/drawing/2014/main" id="{AC25FEFC-06C2-45EF-9330-9EAB676F1680}"/>
                </a:ext>
              </a:extLst>
            </p:cNvPr>
            <p:cNvSpPr/>
            <p:nvPr/>
          </p:nvSpPr>
          <p:spPr>
            <a:xfrm rot="8716295">
              <a:off x="1015027" y="479501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" name="Forme libre : forme 140">
              <a:extLst>
                <a:ext uri="{FF2B5EF4-FFF2-40B4-BE49-F238E27FC236}">
                  <a16:creationId xmlns:a16="http://schemas.microsoft.com/office/drawing/2014/main" id="{6FCEE809-B78B-468F-8A4F-11AD6B5B5DFE}"/>
                </a:ext>
              </a:extLst>
            </p:cNvPr>
            <p:cNvSpPr/>
            <p:nvPr/>
          </p:nvSpPr>
          <p:spPr>
            <a:xfrm rot="8716295">
              <a:off x="1283609" y="455399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" name="Forme libre : forme 141">
              <a:extLst>
                <a:ext uri="{FF2B5EF4-FFF2-40B4-BE49-F238E27FC236}">
                  <a16:creationId xmlns:a16="http://schemas.microsoft.com/office/drawing/2014/main" id="{4D7B8EF3-5C2F-4403-A58E-C6455E9DC2F8}"/>
                </a:ext>
              </a:extLst>
            </p:cNvPr>
            <p:cNvSpPr/>
            <p:nvPr/>
          </p:nvSpPr>
          <p:spPr>
            <a:xfrm rot="8716295">
              <a:off x="-30381" y="3359388"/>
              <a:ext cx="98497" cy="75863"/>
            </a:xfrm>
            <a:custGeom>
              <a:avLst/>
              <a:gdLst>
                <a:gd name="connsiteX0" fmla="*/ 0 w 98497"/>
                <a:gd name="connsiteY0" fmla="*/ 75863 h 75863"/>
                <a:gd name="connsiteX1" fmla="*/ 0 w 98497"/>
                <a:gd name="connsiteY1" fmla="*/ 0 h 75863"/>
                <a:gd name="connsiteX2" fmla="*/ 98497 w 98497"/>
                <a:gd name="connsiteY2" fmla="*/ 0 h 75863"/>
                <a:gd name="connsiteX3" fmla="*/ 45911 w 98497"/>
                <a:gd name="connsiteY3" fmla="*/ 75863 h 75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497" h="75863">
                  <a:moveTo>
                    <a:pt x="0" y="75863"/>
                  </a:moveTo>
                  <a:lnTo>
                    <a:pt x="0" y="0"/>
                  </a:lnTo>
                  <a:lnTo>
                    <a:pt x="98497" y="0"/>
                  </a:lnTo>
                  <a:lnTo>
                    <a:pt x="45911" y="758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" name="Forme libre : forme 142">
              <a:extLst>
                <a:ext uri="{FF2B5EF4-FFF2-40B4-BE49-F238E27FC236}">
                  <a16:creationId xmlns:a16="http://schemas.microsoft.com/office/drawing/2014/main" id="{E1CB3E01-5CB9-4779-88E3-4FF297370B3E}"/>
                </a:ext>
              </a:extLst>
            </p:cNvPr>
            <p:cNvSpPr/>
            <p:nvPr/>
          </p:nvSpPr>
          <p:spPr>
            <a:xfrm rot="8716295">
              <a:off x="-77334" y="3178477"/>
              <a:ext cx="389652" cy="385611"/>
            </a:xfrm>
            <a:custGeom>
              <a:avLst/>
              <a:gdLst>
                <a:gd name="connsiteX0" fmla="*/ 77932 w 389652"/>
                <a:gd name="connsiteY0" fmla="*/ 385611 h 385611"/>
                <a:gd name="connsiteX1" fmla="*/ 77932 w 389652"/>
                <a:gd name="connsiteY1" fmla="*/ 69054 h 385611"/>
                <a:gd name="connsiteX2" fmla="*/ 0 w 389652"/>
                <a:gd name="connsiteY2" fmla="*/ 69054 h 385611"/>
                <a:gd name="connsiteX3" fmla="*/ 0 w 389652"/>
                <a:gd name="connsiteY3" fmla="*/ 2156 h 385611"/>
                <a:gd name="connsiteX4" fmla="*/ 158623 w 389652"/>
                <a:gd name="connsiteY4" fmla="*/ 2156 h 385611"/>
                <a:gd name="connsiteX5" fmla="*/ 158623 w 389652"/>
                <a:gd name="connsiteY5" fmla="*/ 113882 h 385611"/>
                <a:gd name="connsiteX6" fmla="*/ 160692 w 389652"/>
                <a:gd name="connsiteY6" fmla="*/ 113882 h 385611"/>
                <a:gd name="connsiteX7" fmla="*/ 233107 w 389652"/>
                <a:gd name="connsiteY7" fmla="*/ 9053 h 385611"/>
                <a:gd name="connsiteX8" fmla="*/ 280694 w 389652"/>
                <a:gd name="connsiteY8" fmla="*/ 87 h 385611"/>
                <a:gd name="connsiteX9" fmla="*/ 364230 w 389652"/>
                <a:gd name="connsiteY9" fmla="*/ 34398 h 385611"/>
                <a:gd name="connsiteX10" fmla="*/ 389652 w 389652"/>
                <a:gd name="connsiteY10" fmla="*/ 117977 h 385611"/>
                <a:gd name="connsiteX11" fmla="*/ 371473 w 389652"/>
                <a:gd name="connsiteY11" fmla="*/ 144202 h 385611"/>
                <a:gd name="connsiteX12" fmla="*/ 300695 w 389652"/>
                <a:gd name="connsiteY12" fmla="*/ 148366 h 385611"/>
                <a:gd name="connsiteX13" fmla="*/ 300695 w 389652"/>
                <a:gd name="connsiteY13" fmla="*/ 123538 h 385611"/>
                <a:gd name="connsiteX14" fmla="*/ 249659 w 389652"/>
                <a:gd name="connsiteY14" fmla="*/ 60778 h 385611"/>
                <a:gd name="connsiteX15" fmla="*/ 168969 w 389652"/>
                <a:gd name="connsiteY15" fmla="*/ 193194 h 385611"/>
                <a:gd name="connsiteX16" fmla="*/ 168969 w 389652"/>
                <a:gd name="connsiteY16" fmla="*/ 323541 h 385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89652" h="385611">
                  <a:moveTo>
                    <a:pt x="77932" y="385611"/>
                  </a:moveTo>
                  <a:lnTo>
                    <a:pt x="77932" y="69054"/>
                  </a:lnTo>
                  <a:lnTo>
                    <a:pt x="0" y="69054"/>
                  </a:lnTo>
                  <a:lnTo>
                    <a:pt x="0" y="2156"/>
                  </a:lnTo>
                  <a:lnTo>
                    <a:pt x="158623" y="2156"/>
                  </a:lnTo>
                  <a:lnTo>
                    <a:pt x="158623" y="113882"/>
                  </a:lnTo>
                  <a:lnTo>
                    <a:pt x="160692" y="113882"/>
                  </a:lnTo>
                  <a:cubicBezTo>
                    <a:pt x="182762" y="48364"/>
                    <a:pt x="200003" y="22846"/>
                    <a:pt x="233107" y="9053"/>
                  </a:cubicBezTo>
                  <a:cubicBezTo>
                    <a:pt x="248280" y="2846"/>
                    <a:pt x="264142" y="-602"/>
                    <a:pt x="280694" y="87"/>
                  </a:cubicBezTo>
                  <a:cubicBezTo>
                    <a:pt x="316212" y="-603"/>
                    <a:pt x="344661" y="11466"/>
                    <a:pt x="364230" y="34398"/>
                  </a:cubicBezTo>
                  <a:lnTo>
                    <a:pt x="389652" y="117977"/>
                  </a:lnTo>
                  <a:lnTo>
                    <a:pt x="371473" y="144202"/>
                  </a:lnTo>
                  <a:lnTo>
                    <a:pt x="300695" y="148366"/>
                  </a:lnTo>
                  <a:lnTo>
                    <a:pt x="300695" y="123538"/>
                  </a:lnTo>
                  <a:cubicBezTo>
                    <a:pt x="300695" y="86296"/>
                    <a:pt x="279315" y="60778"/>
                    <a:pt x="249659" y="60778"/>
                  </a:cubicBezTo>
                  <a:cubicBezTo>
                    <a:pt x="205521" y="60778"/>
                    <a:pt x="168969" y="119400"/>
                    <a:pt x="168969" y="193194"/>
                  </a:cubicBezTo>
                  <a:lnTo>
                    <a:pt x="168969" y="3235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4" name="Forme libre : forme 143">
              <a:extLst>
                <a:ext uri="{FF2B5EF4-FFF2-40B4-BE49-F238E27FC236}">
                  <a16:creationId xmlns:a16="http://schemas.microsoft.com/office/drawing/2014/main" id="{693C3616-465F-40B5-99BD-A4355895EC1C}"/>
                </a:ext>
              </a:extLst>
            </p:cNvPr>
            <p:cNvSpPr/>
            <p:nvPr/>
          </p:nvSpPr>
          <p:spPr>
            <a:xfrm rot="8716295">
              <a:off x="-71352" y="3029015"/>
              <a:ext cx="193594" cy="189959"/>
            </a:xfrm>
            <a:custGeom>
              <a:avLst/>
              <a:gdLst>
                <a:gd name="connsiteX0" fmla="*/ 8965 w 193594"/>
                <a:gd name="connsiteY0" fmla="*/ 189959 h 189959"/>
                <a:gd name="connsiteX1" fmla="*/ 0 w 193594"/>
                <a:gd name="connsiteY1" fmla="*/ 177545 h 189959"/>
                <a:gd name="connsiteX2" fmla="*/ 163451 w 193594"/>
                <a:gd name="connsiteY2" fmla="*/ 23749 h 189959"/>
                <a:gd name="connsiteX3" fmla="*/ 193594 w 193594"/>
                <a:gd name="connsiteY3" fmla="*/ 0 h 189959"/>
                <a:gd name="connsiteX4" fmla="*/ 84606 w 193594"/>
                <a:gd name="connsiteY4" fmla="*/ 157232 h 189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594" h="189959">
                  <a:moveTo>
                    <a:pt x="8965" y="189959"/>
                  </a:moveTo>
                  <a:lnTo>
                    <a:pt x="0" y="177545"/>
                  </a:lnTo>
                  <a:lnTo>
                    <a:pt x="163451" y="23749"/>
                  </a:lnTo>
                  <a:lnTo>
                    <a:pt x="193594" y="0"/>
                  </a:lnTo>
                  <a:lnTo>
                    <a:pt x="84606" y="15723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5" name="Forme libre : forme 144">
              <a:extLst>
                <a:ext uri="{FF2B5EF4-FFF2-40B4-BE49-F238E27FC236}">
                  <a16:creationId xmlns:a16="http://schemas.microsoft.com/office/drawing/2014/main" id="{24B29AA9-322C-494E-97CF-CB28B697D24F}"/>
                </a:ext>
              </a:extLst>
            </p:cNvPr>
            <p:cNvSpPr/>
            <p:nvPr/>
          </p:nvSpPr>
          <p:spPr>
            <a:xfrm rot="8716295">
              <a:off x="223574" y="276232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6" name="Forme libre : forme 145">
              <a:extLst>
                <a:ext uri="{FF2B5EF4-FFF2-40B4-BE49-F238E27FC236}">
                  <a16:creationId xmlns:a16="http://schemas.microsoft.com/office/drawing/2014/main" id="{F8DE088E-7554-4812-9E9E-4D30E041F578}"/>
                </a:ext>
              </a:extLst>
            </p:cNvPr>
            <p:cNvSpPr/>
            <p:nvPr/>
          </p:nvSpPr>
          <p:spPr>
            <a:xfrm rot="8716295">
              <a:off x="358873" y="2806579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7" name="Forme libre : forme 146">
              <a:extLst>
                <a:ext uri="{FF2B5EF4-FFF2-40B4-BE49-F238E27FC236}">
                  <a16:creationId xmlns:a16="http://schemas.microsoft.com/office/drawing/2014/main" id="{B9E26502-E7AD-4DA1-9955-0A4E18FDB87E}"/>
                </a:ext>
              </a:extLst>
            </p:cNvPr>
            <p:cNvSpPr/>
            <p:nvPr/>
          </p:nvSpPr>
          <p:spPr>
            <a:xfrm rot="8716295">
              <a:off x="53703" y="2896335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8" name="Forme libre : forme 147">
              <a:extLst>
                <a:ext uri="{FF2B5EF4-FFF2-40B4-BE49-F238E27FC236}">
                  <a16:creationId xmlns:a16="http://schemas.microsoft.com/office/drawing/2014/main" id="{916CFE5B-3405-43DB-8C30-699019D1BD67}"/>
                </a:ext>
              </a:extLst>
            </p:cNvPr>
            <p:cNvSpPr/>
            <p:nvPr/>
          </p:nvSpPr>
          <p:spPr>
            <a:xfrm rot="8716295">
              <a:off x="-92201" y="2622488"/>
              <a:ext cx="271732" cy="238722"/>
            </a:xfrm>
            <a:custGeom>
              <a:avLst/>
              <a:gdLst>
                <a:gd name="connsiteX0" fmla="*/ 106257 w 271732"/>
                <a:gd name="connsiteY0" fmla="*/ 238722 h 238722"/>
                <a:gd name="connsiteX1" fmla="*/ 72418 w 271732"/>
                <a:gd name="connsiteY1" fmla="*/ 175766 h 238722"/>
                <a:gd name="connsiteX2" fmla="*/ 105610 w 271732"/>
                <a:gd name="connsiteY2" fmla="*/ 83734 h 238722"/>
                <a:gd name="connsiteX3" fmla="*/ 0 w 271732"/>
                <a:gd name="connsiteY3" fmla="*/ 83734 h 238722"/>
                <a:gd name="connsiteX4" fmla="*/ 0 w 271732"/>
                <a:gd name="connsiteY4" fmla="*/ 0 h 238722"/>
                <a:gd name="connsiteX5" fmla="*/ 271732 w 271732"/>
                <a:gd name="connsiteY5" fmla="*/ 0 h 238722"/>
                <a:gd name="connsiteX6" fmla="*/ 213690 w 271732"/>
                <a:gd name="connsiteY6" fmla="*/ 83734 h 238722"/>
                <a:gd name="connsiteX7" fmla="*/ 210465 w 271732"/>
                <a:gd name="connsiteY7" fmla="*/ 83734 h 238722"/>
                <a:gd name="connsiteX8" fmla="*/ 207289 w 271732"/>
                <a:gd name="connsiteY8" fmla="*/ 92969 h 238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1732" h="238722">
                  <a:moveTo>
                    <a:pt x="106257" y="238722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71732" y="0"/>
                  </a:lnTo>
                  <a:lnTo>
                    <a:pt x="213690" y="83734"/>
                  </a:lnTo>
                  <a:lnTo>
                    <a:pt x="210465" y="83734"/>
                  </a:lnTo>
                  <a:lnTo>
                    <a:pt x="207289" y="929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9" name="Forme libre : forme 148">
              <a:extLst>
                <a:ext uri="{FF2B5EF4-FFF2-40B4-BE49-F238E27FC236}">
                  <a16:creationId xmlns:a16="http://schemas.microsoft.com/office/drawing/2014/main" id="{D3C330C6-8ED8-4019-9D23-534F7E32B7C3}"/>
                </a:ext>
              </a:extLst>
            </p:cNvPr>
            <p:cNvSpPr/>
            <p:nvPr/>
          </p:nvSpPr>
          <p:spPr>
            <a:xfrm rot="8716295">
              <a:off x="190192" y="2958318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0" name="Forme libre : forme 149">
              <a:extLst>
                <a:ext uri="{FF2B5EF4-FFF2-40B4-BE49-F238E27FC236}">
                  <a16:creationId xmlns:a16="http://schemas.microsoft.com/office/drawing/2014/main" id="{7556479F-3BE7-4641-97C7-A31999C980CD}"/>
                </a:ext>
              </a:extLst>
            </p:cNvPr>
            <p:cNvSpPr/>
            <p:nvPr/>
          </p:nvSpPr>
          <p:spPr>
            <a:xfrm rot="7484129">
              <a:off x="349009" y="324793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1" name="Forme libre : forme 150">
              <a:extLst>
                <a:ext uri="{FF2B5EF4-FFF2-40B4-BE49-F238E27FC236}">
                  <a16:creationId xmlns:a16="http://schemas.microsoft.com/office/drawing/2014/main" id="{C9126667-6906-4254-B833-2535AC138F99}"/>
                </a:ext>
              </a:extLst>
            </p:cNvPr>
            <p:cNvSpPr/>
            <p:nvPr/>
          </p:nvSpPr>
          <p:spPr>
            <a:xfrm rot="13089394">
              <a:off x="507659" y="3197284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2" name="Forme libre : forme 151">
              <a:extLst>
                <a:ext uri="{FF2B5EF4-FFF2-40B4-BE49-F238E27FC236}">
                  <a16:creationId xmlns:a16="http://schemas.microsoft.com/office/drawing/2014/main" id="{EB63A53B-C558-41C6-87D3-6E3EEB414D38}"/>
                </a:ext>
              </a:extLst>
            </p:cNvPr>
            <p:cNvSpPr/>
            <p:nvPr/>
          </p:nvSpPr>
          <p:spPr>
            <a:xfrm rot="8716295">
              <a:off x="788550" y="2907166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3" name="Forme libre : forme 152">
              <a:extLst>
                <a:ext uri="{FF2B5EF4-FFF2-40B4-BE49-F238E27FC236}">
                  <a16:creationId xmlns:a16="http://schemas.microsoft.com/office/drawing/2014/main" id="{EBE3A45E-76C2-41F7-84F5-A2A181D50E91}"/>
                </a:ext>
              </a:extLst>
            </p:cNvPr>
            <p:cNvSpPr/>
            <p:nvPr/>
          </p:nvSpPr>
          <p:spPr>
            <a:xfrm rot="8716295">
              <a:off x="710141" y="275037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4" name="Forme libre : forme 153">
              <a:extLst>
                <a:ext uri="{FF2B5EF4-FFF2-40B4-BE49-F238E27FC236}">
                  <a16:creationId xmlns:a16="http://schemas.microsoft.com/office/drawing/2014/main" id="{871F770F-4D72-4427-86D1-F18744993E05}"/>
                </a:ext>
              </a:extLst>
            </p:cNvPr>
            <p:cNvSpPr/>
            <p:nvPr/>
          </p:nvSpPr>
          <p:spPr>
            <a:xfrm rot="8716295">
              <a:off x="341977" y="279611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5" name="Forme libre : forme 154">
              <a:extLst>
                <a:ext uri="{FF2B5EF4-FFF2-40B4-BE49-F238E27FC236}">
                  <a16:creationId xmlns:a16="http://schemas.microsoft.com/office/drawing/2014/main" id="{CBA9ADD5-0B79-42BB-A803-7DD5C3582812}"/>
                </a:ext>
              </a:extLst>
            </p:cNvPr>
            <p:cNvSpPr/>
            <p:nvPr/>
          </p:nvSpPr>
          <p:spPr>
            <a:xfrm rot="8716295">
              <a:off x="610559" y="2555095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6" name="Forme libre : forme 155">
              <a:extLst>
                <a:ext uri="{FF2B5EF4-FFF2-40B4-BE49-F238E27FC236}">
                  <a16:creationId xmlns:a16="http://schemas.microsoft.com/office/drawing/2014/main" id="{7B5F712C-46C4-40C0-B35F-823DEC5DC95D}"/>
                </a:ext>
              </a:extLst>
            </p:cNvPr>
            <p:cNvSpPr/>
            <p:nvPr/>
          </p:nvSpPr>
          <p:spPr>
            <a:xfrm rot="8716295">
              <a:off x="-24305" y="2374348"/>
              <a:ext cx="58950" cy="66898"/>
            </a:xfrm>
            <a:custGeom>
              <a:avLst/>
              <a:gdLst>
                <a:gd name="connsiteX0" fmla="*/ 0 w 58950"/>
                <a:gd name="connsiteY0" fmla="*/ 66898 h 66898"/>
                <a:gd name="connsiteX1" fmla="*/ 0 w 58950"/>
                <a:gd name="connsiteY1" fmla="*/ 0 h 66898"/>
                <a:gd name="connsiteX2" fmla="*/ 58950 w 58950"/>
                <a:gd name="connsiteY2" fmla="*/ 0 h 66898"/>
                <a:gd name="connsiteX3" fmla="*/ 12579 w 58950"/>
                <a:gd name="connsiteY3" fmla="*/ 66898 h 6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950" h="66898">
                  <a:moveTo>
                    <a:pt x="0" y="66898"/>
                  </a:moveTo>
                  <a:lnTo>
                    <a:pt x="0" y="0"/>
                  </a:lnTo>
                  <a:lnTo>
                    <a:pt x="58950" y="0"/>
                  </a:lnTo>
                  <a:lnTo>
                    <a:pt x="12579" y="668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7" name="Forme libre : forme 156">
              <a:extLst>
                <a:ext uri="{FF2B5EF4-FFF2-40B4-BE49-F238E27FC236}">
                  <a16:creationId xmlns:a16="http://schemas.microsoft.com/office/drawing/2014/main" id="{7F46186A-3310-4CD5-864B-686D76F3E8C2}"/>
                </a:ext>
              </a:extLst>
            </p:cNvPr>
            <p:cNvSpPr/>
            <p:nvPr/>
          </p:nvSpPr>
          <p:spPr>
            <a:xfrm rot="8716295">
              <a:off x="-39593" y="1952072"/>
              <a:ext cx="198050" cy="140164"/>
            </a:xfrm>
            <a:custGeom>
              <a:avLst/>
              <a:gdLst>
                <a:gd name="connsiteX0" fmla="*/ 0 w 198050"/>
                <a:gd name="connsiteY0" fmla="*/ 75863 h 140164"/>
                <a:gd name="connsiteX1" fmla="*/ 0 w 198050"/>
                <a:gd name="connsiteY1" fmla="*/ 0 h 140164"/>
                <a:gd name="connsiteX2" fmla="*/ 128968 w 198050"/>
                <a:gd name="connsiteY2" fmla="*/ 0 h 140164"/>
                <a:gd name="connsiteX3" fmla="*/ 193021 w 198050"/>
                <a:gd name="connsiteY3" fmla="*/ 18535 h 140164"/>
                <a:gd name="connsiteX4" fmla="*/ 198050 w 198050"/>
                <a:gd name="connsiteY4" fmla="*/ 31548 h 140164"/>
                <a:gd name="connsiteX5" fmla="*/ 122761 w 198050"/>
                <a:gd name="connsiteY5" fmla="*/ 140164 h 140164"/>
                <a:gd name="connsiteX6" fmla="*/ 122761 w 198050"/>
                <a:gd name="connsiteY6" fmla="*/ 105519 h 140164"/>
                <a:gd name="connsiteX7" fmla="*/ 122761 w 198050"/>
                <a:gd name="connsiteY7" fmla="*/ 99312 h 140164"/>
                <a:gd name="connsiteX8" fmla="*/ 91726 w 198050"/>
                <a:gd name="connsiteY8" fmla="*/ 75863 h 140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8050" h="140164">
                  <a:moveTo>
                    <a:pt x="0" y="75863"/>
                  </a:moveTo>
                  <a:lnTo>
                    <a:pt x="0" y="0"/>
                  </a:lnTo>
                  <a:lnTo>
                    <a:pt x="128968" y="0"/>
                  </a:lnTo>
                  <a:cubicBezTo>
                    <a:pt x="156900" y="0"/>
                    <a:pt x="178452" y="6034"/>
                    <a:pt x="193021" y="18535"/>
                  </a:cubicBezTo>
                  <a:lnTo>
                    <a:pt x="198050" y="31548"/>
                  </a:lnTo>
                  <a:lnTo>
                    <a:pt x="122761" y="140164"/>
                  </a:ln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4"/>
                    <a:pt x="91726" y="758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8" name="Forme libre : forme 157">
              <a:extLst>
                <a:ext uri="{FF2B5EF4-FFF2-40B4-BE49-F238E27FC236}">
                  <a16:creationId xmlns:a16="http://schemas.microsoft.com/office/drawing/2014/main" id="{A7D40018-F0E5-4DC0-8F24-CC5DD724ED71}"/>
                </a:ext>
              </a:extLst>
            </p:cNvPr>
            <p:cNvSpPr/>
            <p:nvPr/>
          </p:nvSpPr>
          <p:spPr>
            <a:xfrm rot="8716295">
              <a:off x="21100" y="1808096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9" name="Forme libre : forme 158">
              <a:extLst>
                <a:ext uri="{FF2B5EF4-FFF2-40B4-BE49-F238E27FC236}">
                  <a16:creationId xmlns:a16="http://schemas.microsoft.com/office/drawing/2014/main" id="{DE6A0D39-0B43-4DC3-9F56-137223FC9AF7}"/>
                </a:ext>
              </a:extLst>
            </p:cNvPr>
            <p:cNvSpPr/>
            <p:nvPr/>
          </p:nvSpPr>
          <p:spPr>
            <a:xfrm rot="8716295">
              <a:off x="-24330" y="2197782"/>
              <a:ext cx="102508" cy="53362"/>
            </a:xfrm>
            <a:custGeom>
              <a:avLst/>
              <a:gdLst>
                <a:gd name="connsiteX0" fmla="*/ 0 w 102508"/>
                <a:gd name="connsiteY0" fmla="*/ 23637 h 53362"/>
                <a:gd name="connsiteX1" fmla="*/ 0 w 102508"/>
                <a:gd name="connsiteY1" fmla="*/ 2258 h 53362"/>
                <a:gd name="connsiteX2" fmla="*/ 102508 w 102508"/>
                <a:gd name="connsiteY2" fmla="*/ 0 h 53362"/>
                <a:gd name="connsiteX3" fmla="*/ 65519 w 102508"/>
                <a:gd name="connsiteY3" fmla="*/ 53362 h 53362"/>
                <a:gd name="connsiteX4" fmla="*/ 65519 w 102508"/>
                <a:gd name="connsiteY4" fmla="*/ 23637 h 5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508" h="53362">
                  <a:moveTo>
                    <a:pt x="0" y="23637"/>
                  </a:moveTo>
                  <a:lnTo>
                    <a:pt x="0" y="2258"/>
                  </a:lnTo>
                  <a:lnTo>
                    <a:pt x="102508" y="0"/>
                  </a:lnTo>
                  <a:lnTo>
                    <a:pt x="65519" y="53362"/>
                  </a:lnTo>
                  <a:lnTo>
                    <a:pt x="65519" y="2363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0" name="Forme libre : forme 159">
              <a:extLst>
                <a:ext uri="{FF2B5EF4-FFF2-40B4-BE49-F238E27FC236}">
                  <a16:creationId xmlns:a16="http://schemas.microsoft.com/office/drawing/2014/main" id="{53869A83-F18C-41C3-A8D6-8AA2F169F6A9}"/>
                </a:ext>
              </a:extLst>
            </p:cNvPr>
            <p:cNvSpPr/>
            <p:nvPr/>
          </p:nvSpPr>
          <p:spPr>
            <a:xfrm rot="7484129">
              <a:off x="11236" y="224945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1" name="Forme libre : forme 160">
              <a:extLst>
                <a:ext uri="{FF2B5EF4-FFF2-40B4-BE49-F238E27FC236}">
                  <a16:creationId xmlns:a16="http://schemas.microsoft.com/office/drawing/2014/main" id="{47FF6EA9-61FE-4C53-86BC-F03ADA0CF577}"/>
                </a:ext>
              </a:extLst>
            </p:cNvPr>
            <p:cNvSpPr/>
            <p:nvPr/>
          </p:nvSpPr>
          <p:spPr>
            <a:xfrm rot="13089394">
              <a:off x="169886" y="2198801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2" name="Forme libre : forme 161">
              <a:extLst>
                <a:ext uri="{FF2B5EF4-FFF2-40B4-BE49-F238E27FC236}">
                  <a16:creationId xmlns:a16="http://schemas.microsoft.com/office/drawing/2014/main" id="{6ED294D2-DD3A-4323-ADB4-4D2A485D31FA}"/>
                </a:ext>
              </a:extLst>
            </p:cNvPr>
            <p:cNvSpPr/>
            <p:nvPr/>
          </p:nvSpPr>
          <p:spPr>
            <a:xfrm rot="8716295">
              <a:off x="450777" y="1908683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3" name="Forme libre : forme 162">
              <a:extLst>
                <a:ext uri="{FF2B5EF4-FFF2-40B4-BE49-F238E27FC236}">
                  <a16:creationId xmlns:a16="http://schemas.microsoft.com/office/drawing/2014/main" id="{4D7140F9-06B5-4BA8-BEAB-23BD75B9DD53}"/>
                </a:ext>
              </a:extLst>
            </p:cNvPr>
            <p:cNvSpPr/>
            <p:nvPr/>
          </p:nvSpPr>
          <p:spPr>
            <a:xfrm rot="8716295">
              <a:off x="372368" y="175189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4" name="Forme libre : forme 163">
              <a:extLst>
                <a:ext uri="{FF2B5EF4-FFF2-40B4-BE49-F238E27FC236}">
                  <a16:creationId xmlns:a16="http://schemas.microsoft.com/office/drawing/2014/main" id="{068812F1-37A6-4A0A-A392-F4B3E8D2782D}"/>
                </a:ext>
              </a:extLst>
            </p:cNvPr>
            <p:cNvSpPr/>
            <p:nvPr/>
          </p:nvSpPr>
          <p:spPr>
            <a:xfrm rot="8716295">
              <a:off x="4204" y="179763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5" name="Forme libre : forme 164">
              <a:extLst>
                <a:ext uri="{FF2B5EF4-FFF2-40B4-BE49-F238E27FC236}">
                  <a16:creationId xmlns:a16="http://schemas.microsoft.com/office/drawing/2014/main" id="{B62F2753-FDB5-4835-8322-FC678E060DC4}"/>
                </a:ext>
              </a:extLst>
            </p:cNvPr>
            <p:cNvSpPr/>
            <p:nvPr/>
          </p:nvSpPr>
          <p:spPr>
            <a:xfrm rot="8716295">
              <a:off x="272786" y="155661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6" name="Forme libre : forme 165">
              <a:extLst>
                <a:ext uri="{FF2B5EF4-FFF2-40B4-BE49-F238E27FC236}">
                  <a16:creationId xmlns:a16="http://schemas.microsoft.com/office/drawing/2014/main" id="{16BB8F81-6062-4A6D-AD9A-0C3CC09E65D3}"/>
                </a:ext>
              </a:extLst>
            </p:cNvPr>
            <p:cNvSpPr/>
            <p:nvPr/>
          </p:nvSpPr>
          <p:spPr>
            <a:xfrm rot="8716295">
              <a:off x="-35149" y="938156"/>
              <a:ext cx="158623" cy="159016"/>
            </a:xfrm>
            <a:custGeom>
              <a:avLst/>
              <a:gdLst>
                <a:gd name="connsiteX0" fmla="*/ 77932 w 158623"/>
                <a:gd name="connsiteY0" fmla="*/ 159016 h 159016"/>
                <a:gd name="connsiteX1" fmla="*/ 77932 w 158623"/>
                <a:gd name="connsiteY1" fmla="*/ 66898 h 159016"/>
                <a:gd name="connsiteX2" fmla="*/ 0 w 158623"/>
                <a:gd name="connsiteY2" fmla="*/ 66898 h 159016"/>
                <a:gd name="connsiteX3" fmla="*/ 0 w 158623"/>
                <a:gd name="connsiteY3" fmla="*/ 0 h 159016"/>
                <a:gd name="connsiteX4" fmla="*/ 158623 w 158623"/>
                <a:gd name="connsiteY4" fmla="*/ 0 h 159016"/>
                <a:gd name="connsiteX5" fmla="*/ 158623 w 158623"/>
                <a:gd name="connsiteY5" fmla="*/ 42606 h 15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8623" h="159016">
                  <a:moveTo>
                    <a:pt x="77932" y="159016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4260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7" name="Forme libre : forme 166">
              <a:extLst>
                <a:ext uri="{FF2B5EF4-FFF2-40B4-BE49-F238E27FC236}">
                  <a16:creationId xmlns:a16="http://schemas.microsoft.com/office/drawing/2014/main" id="{102294D5-AEAF-4B56-AF06-6647D3303B85}"/>
                </a:ext>
              </a:extLst>
            </p:cNvPr>
            <p:cNvSpPr/>
            <p:nvPr/>
          </p:nvSpPr>
          <p:spPr>
            <a:xfrm rot="7484129">
              <a:off x="-32979" y="1345537"/>
              <a:ext cx="65961" cy="45734"/>
            </a:xfrm>
            <a:custGeom>
              <a:avLst/>
              <a:gdLst>
                <a:gd name="connsiteX0" fmla="*/ 0 w 65961"/>
                <a:gd name="connsiteY0" fmla="*/ 45734 h 45734"/>
                <a:gd name="connsiteX1" fmla="*/ 0 w 65961"/>
                <a:gd name="connsiteY1" fmla="*/ 0 h 45734"/>
                <a:gd name="connsiteX2" fmla="*/ 65961 w 65961"/>
                <a:gd name="connsiteY2" fmla="*/ 0 h 45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5961" h="45734">
                  <a:moveTo>
                    <a:pt x="0" y="45734"/>
                  </a:moveTo>
                  <a:lnTo>
                    <a:pt x="0" y="0"/>
                  </a:lnTo>
                  <a:lnTo>
                    <a:pt x="6596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8" name="Forme libre : forme 167">
              <a:extLst>
                <a:ext uri="{FF2B5EF4-FFF2-40B4-BE49-F238E27FC236}">
                  <a16:creationId xmlns:a16="http://schemas.microsoft.com/office/drawing/2014/main" id="{6A1A2358-10CF-4FD5-A4AA-FC64164263AF}"/>
                </a:ext>
              </a:extLst>
            </p:cNvPr>
            <p:cNvSpPr/>
            <p:nvPr/>
          </p:nvSpPr>
          <p:spPr>
            <a:xfrm rot="13089394">
              <a:off x="-134707" y="1200752"/>
              <a:ext cx="386820" cy="481345"/>
            </a:xfrm>
            <a:custGeom>
              <a:avLst/>
              <a:gdLst>
                <a:gd name="connsiteX0" fmla="*/ 386820 w 386820"/>
                <a:gd name="connsiteY0" fmla="*/ 391818 h 481345"/>
                <a:gd name="connsiteX1" fmla="*/ 342166 w 386820"/>
                <a:gd name="connsiteY1" fmla="*/ 422376 h 481345"/>
                <a:gd name="connsiteX2" fmla="*/ 138636 w 386820"/>
                <a:gd name="connsiteY2" fmla="*/ 481098 h 481345"/>
                <a:gd name="connsiteX3" fmla="*/ 35911 w 386820"/>
                <a:gd name="connsiteY3" fmla="*/ 439340 h 481345"/>
                <a:gd name="connsiteX4" fmla="*/ 0 w 386820"/>
                <a:gd name="connsiteY4" fmla="*/ 295693 h 481345"/>
                <a:gd name="connsiteX5" fmla="*/ 0 w 386820"/>
                <a:gd name="connsiteY5" fmla="*/ 40970 h 481345"/>
                <a:gd name="connsiteX6" fmla="*/ 78970 w 386820"/>
                <a:gd name="connsiteY6" fmla="*/ 0 h 481345"/>
                <a:gd name="connsiteX7" fmla="*/ 111492 w 386820"/>
                <a:gd name="connsiteY7" fmla="*/ 41392 h 481345"/>
                <a:gd name="connsiteX8" fmla="*/ 112747 w 386820"/>
                <a:gd name="connsiteY8" fmla="*/ 216353 h 481345"/>
                <a:gd name="connsiteX9" fmla="*/ 132789 w 386820"/>
                <a:gd name="connsiteY9" fmla="*/ 354990 h 481345"/>
                <a:gd name="connsiteX10" fmla="*/ 233008 w 386820"/>
                <a:gd name="connsiteY10" fmla="*/ 410110 h 481345"/>
                <a:gd name="connsiteX11" fmla="*/ 308173 w 386820"/>
                <a:gd name="connsiteY11" fmla="*/ 396747 h 481345"/>
                <a:gd name="connsiteX12" fmla="*/ 370717 w 386820"/>
                <a:gd name="connsiteY12" fmla="*/ 371323 h 481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6820" h="481345">
                  <a:moveTo>
                    <a:pt x="386820" y="391818"/>
                  </a:moveTo>
                  <a:lnTo>
                    <a:pt x="342166" y="422376"/>
                  </a:lnTo>
                  <a:cubicBezTo>
                    <a:pt x="268920" y="462151"/>
                    <a:pt x="190624" y="477966"/>
                    <a:pt x="138636" y="481098"/>
                  </a:cubicBezTo>
                  <a:cubicBezTo>
                    <a:pt x="100219" y="483604"/>
                    <a:pt x="62637" y="466901"/>
                    <a:pt x="35911" y="439340"/>
                  </a:cubicBezTo>
                  <a:cubicBezTo>
                    <a:pt x="7516" y="411780"/>
                    <a:pt x="0" y="364176"/>
                    <a:pt x="0" y="295693"/>
                  </a:cubicBezTo>
                  <a:lnTo>
                    <a:pt x="0" y="40970"/>
                  </a:lnTo>
                  <a:lnTo>
                    <a:pt x="78970" y="0"/>
                  </a:lnTo>
                  <a:lnTo>
                    <a:pt x="111492" y="41392"/>
                  </a:lnTo>
                  <a:lnTo>
                    <a:pt x="112747" y="216353"/>
                  </a:lnTo>
                  <a:cubicBezTo>
                    <a:pt x="110241" y="263122"/>
                    <a:pt x="117757" y="310726"/>
                    <a:pt x="132789" y="354990"/>
                  </a:cubicBezTo>
                  <a:cubicBezTo>
                    <a:pt x="146153" y="391736"/>
                    <a:pt x="180394" y="410110"/>
                    <a:pt x="233008" y="410110"/>
                  </a:cubicBezTo>
                  <a:cubicBezTo>
                    <a:pt x="258899" y="409274"/>
                    <a:pt x="283953" y="404263"/>
                    <a:pt x="308173" y="396747"/>
                  </a:cubicBezTo>
                  <a:lnTo>
                    <a:pt x="370717" y="371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9" name="Forme libre : forme 168">
              <a:extLst>
                <a:ext uri="{FF2B5EF4-FFF2-40B4-BE49-F238E27FC236}">
                  <a16:creationId xmlns:a16="http://schemas.microsoft.com/office/drawing/2014/main" id="{EA80D635-6F53-4857-9F50-4111495DC12C}"/>
                </a:ext>
              </a:extLst>
            </p:cNvPr>
            <p:cNvSpPr/>
            <p:nvPr/>
          </p:nvSpPr>
          <p:spPr>
            <a:xfrm rot="8716295">
              <a:off x="119403" y="90662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0" name="Forme libre : forme 169">
              <a:extLst>
                <a:ext uri="{FF2B5EF4-FFF2-40B4-BE49-F238E27FC236}">
                  <a16:creationId xmlns:a16="http://schemas.microsoft.com/office/drawing/2014/main" id="{40670C43-A49A-4C3B-A39B-628E23BE1E4B}"/>
                </a:ext>
              </a:extLst>
            </p:cNvPr>
            <p:cNvSpPr/>
            <p:nvPr/>
          </p:nvSpPr>
          <p:spPr>
            <a:xfrm rot="8716295">
              <a:off x="40994" y="74983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1" name="Forme libre : forme 170">
              <a:extLst>
                <a:ext uri="{FF2B5EF4-FFF2-40B4-BE49-F238E27FC236}">
                  <a16:creationId xmlns:a16="http://schemas.microsoft.com/office/drawing/2014/main" id="{A1E0B69E-7457-4A6E-B80C-0CDACC682BEC}"/>
                </a:ext>
              </a:extLst>
            </p:cNvPr>
            <p:cNvSpPr/>
            <p:nvPr/>
          </p:nvSpPr>
          <p:spPr>
            <a:xfrm rot="8716295">
              <a:off x="-44934" y="551941"/>
              <a:ext cx="152592" cy="165412"/>
            </a:xfrm>
            <a:custGeom>
              <a:avLst/>
              <a:gdLst>
                <a:gd name="connsiteX0" fmla="*/ 26453 w 152592"/>
                <a:gd name="connsiteY0" fmla="*/ 153143 h 165412"/>
                <a:gd name="connsiteX1" fmla="*/ 0 w 152592"/>
                <a:gd name="connsiteY1" fmla="*/ 90494 h 165412"/>
                <a:gd name="connsiteX2" fmla="*/ 0 w 152592"/>
                <a:gd name="connsiteY2" fmla="*/ 89101 h 165412"/>
                <a:gd name="connsiteX3" fmla="*/ 26453 w 152592"/>
                <a:gd name="connsiteY3" fmla="*/ 26453 h 165412"/>
                <a:gd name="connsiteX4" fmla="*/ 89101 w 152592"/>
                <a:gd name="connsiteY4" fmla="*/ 0 h 165412"/>
                <a:gd name="connsiteX5" fmla="*/ 151752 w 152592"/>
                <a:gd name="connsiteY5" fmla="*/ 26453 h 165412"/>
                <a:gd name="connsiteX6" fmla="*/ 152592 w 152592"/>
                <a:gd name="connsiteY6" fmla="*/ 27688 h 165412"/>
                <a:gd name="connsiteX7" fmla="*/ 57126 w 152592"/>
                <a:gd name="connsiteY7" fmla="*/ 165412 h 165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592" h="165412">
                  <a:moveTo>
                    <a:pt x="26453" y="153143"/>
                  </a:moveTo>
                  <a:cubicBezTo>
                    <a:pt x="9746" y="136436"/>
                    <a:pt x="0" y="114161"/>
                    <a:pt x="0" y="90494"/>
                  </a:cubicBezTo>
                  <a:lnTo>
                    <a:pt x="0" y="89101"/>
                  </a:lnTo>
                  <a:cubicBezTo>
                    <a:pt x="0" y="65434"/>
                    <a:pt x="9746" y="43159"/>
                    <a:pt x="26453" y="26453"/>
                  </a:cubicBezTo>
                  <a:cubicBezTo>
                    <a:pt x="43159" y="9746"/>
                    <a:pt x="65435" y="0"/>
                    <a:pt x="89101" y="0"/>
                  </a:cubicBezTo>
                  <a:cubicBezTo>
                    <a:pt x="112770" y="0"/>
                    <a:pt x="135045" y="9746"/>
                    <a:pt x="151752" y="26453"/>
                  </a:cubicBezTo>
                  <a:lnTo>
                    <a:pt x="152592" y="27688"/>
                  </a:lnTo>
                  <a:lnTo>
                    <a:pt x="57126" y="1654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2" name="Forme libre : forme 171">
              <a:extLst>
                <a:ext uri="{FF2B5EF4-FFF2-40B4-BE49-F238E27FC236}">
                  <a16:creationId xmlns:a16="http://schemas.microsoft.com/office/drawing/2014/main" id="{8305DDDC-A62B-4F5B-99D8-968A303BB880}"/>
                </a:ext>
              </a:extLst>
            </p:cNvPr>
            <p:cNvSpPr/>
            <p:nvPr/>
          </p:nvSpPr>
          <p:spPr>
            <a:xfrm rot="8716295">
              <a:off x="-69806" y="4587027"/>
              <a:ext cx="183810" cy="187594"/>
            </a:xfrm>
            <a:custGeom>
              <a:avLst/>
              <a:gdLst>
                <a:gd name="connsiteX0" fmla="*/ 10574 w 183810"/>
                <a:gd name="connsiteY0" fmla="*/ 187594 h 187594"/>
                <a:gd name="connsiteX1" fmla="*/ 0 w 183810"/>
                <a:gd name="connsiteY1" fmla="*/ 172952 h 187594"/>
                <a:gd name="connsiteX2" fmla="*/ 183810 w 183810"/>
                <a:gd name="connsiteY2" fmla="*/ 0 h 187594"/>
                <a:gd name="connsiteX3" fmla="*/ 72284 w 183810"/>
                <a:gd name="connsiteY3" fmla="*/ 160894 h 187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810" h="187594">
                  <a:moveTo>
                    <a:pt x="10574" y="187594"/>
                  </a:moveTo>
                  <a:lnTo>
                    <a:pt x="0" y="172952"/>
                  </a:lnTo>
                  <a:lnTo>
                    <a:pt x="183810" y="0"/>
                  </a:lnTo>
                  <a:lnTo>
                    <a:pt x="72284" y="1608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3" name="Forme libre : forme 172">
              <a:extLst>
                <a:ext uri="{FF2B5EF4-FFF2-40B4-BE49-F238E27FC236}">
                  <a16:creationId xmlns:a16="http://schemas.microsoft.com/office/drawing/2014/main" id="{1A0E6ECB-8294-4BA3-8422-8334524ECB58}"/>
                </a:ext>
              </a:extLst>
            </p:cNvPr>
            <p:cNvSpPr/>
            <p:nvPr/>
          </p:nvSpPr>
          <p:spPr>
            <a:xfrm rot="8716295">
              <a:off x="4450621" y="307495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4" name="Forme libre : forme 173">
              <a:extLst>
                <a:ext uri="{FF2B5EF4-FFF2-40B4-BE49-F238E27FC236}">
                  <a16:creationId xmlns:a16="http://schemas.microsoft.com/office/drawing/2014/main" id="{01833036-FD07-46D7-82C2-88C1FC05C85F}"/>
                </a:ext>
              </a:extLst>
            </p:cNvPr>
            <p:cNvSpPr/>
            <p:nvPr/>
          </p:nvSpPr>
          <p:spPr>
            <a:xfrm rot="8716295">
              <a:off x="4585920" y="3119209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5" name="Forme libre : forme 174">
              <a:extLst>
                <a:ext uri="{FF2B5EF4-FFF2-40B4-BE49-F238E27FC236}">
                  <a16:creationId xmlns:a16="http://schemas.microsoft.com/office/drawing/2014/main" id="{B278615F-BCB7-43C6-82A0-33FD907351F5}"/>
                </a:ext>
              </a:extLst>
            </p:cNvPr>
            <p:cNvSpPr/>
            <p:nvPr/>
          </p:nvSpPr>
          <p:spPr>
            <a:xfrm rot="8716295">
              <a:off x="4518038" y="2988621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6" name="Forme libre : forme 175">
              <a:extLst>
                <a:ext uri="{FF2B5EF4-FFF2-40B4-BE49-F238E27FC236}">
                  <a16:creationId xmlns:a16="http://schemas.microsoft.com/office/drawing/2014/main" id="{A4CB9629-4E70-40F0-ADB7-98AF33E8FA82}"/>
                </a:ext>
              </a:extLst>
            </p:cNvPr>
            <p:cNvSpPr/>
            <p:nvPr/>
          </p:nvSpPr>
          <p:spPr>
            <a:xfrm rot="8716295">
              <a:off x="4280750" y="3208965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7" name="Forme libre : forme 176">
              <a:extLst>
                <a:ext uri="{FF2B5EF4-FFF2-40B4-BE49-F238E27FC236}">
                  <a16:creationId xmlns:a16="http://schemas.microsoft.com/office/drawing/2014/main" id="{DCB1DF66-902F-43AF-B912-90C47BAC4CD5}"/>
                </a:ext>
              </a:extLst>
            </p:cNvPr>
            <p:cNvSpPr/>
            <p:nvPr/>
          </p:nvSpPr>
          <p:spPr>
            <a:xfrm rot="8716295">
              <a:off x="4091704" y="289313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8" name="Forme libre : forme 177">
              <a:extLst>
                <a:ext uri="{FF2B5EF4-FFF2-40B4-BE49-F238E27FC236}">
                  <a16:creationId xmlns:a16="http://schemas.microsoft.com/office/drawing/2014/main" id="{206347F6-E053-48F4-AFC6-9C0856F4BFCC}"/>
                </a:ext>
              </a:extLst>
            </p:cNvPr>
            <p:cNvSpPr/>
            <p:nvPr/>
          </p:nvSpPr>
          <p:spPr>
            <a:xfrm rot="8716295">
              <a:off x="4073463" y="2683080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9" name="Forme libre : forme 178">
              <a:extLst>
                <a:ext uri="{FF2B5EF4-FFF2-40B4-BE49-F238E27FC236}">
                  <a16:creationId xmlns:a16="http://schemas.microsoft.com/office/drawing/2014/main" id="{8D2A26C7-C64C-4331-AB8E-BC64F42E6746}"/>
                </a:ext>
              </a:extLst>
            </p:cNvPr>
            <p:cNvSpPr/>
            <p:nvPr/>
          </p:nvSpPr>
          <p:spPr>
            <a:xfrm rot="8716295">
              <a:off x="4417239" y="327094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0" name="Forme libre : forme 179">
              <a:extLst>
                <a:ext uri="{FF2B5EF4-FFF2-40B4-BE49-F238E27FC236}">
                  <a16:creationId xmlns:a16="http://schemas.microsoft.com/office/drawing/2014/main" id="{71D50DC1-7D15-42D6-980A-E78799DC451B}"/>
                </a:ext>
              </a:extLst>
            </p:cNvPr>
            <p:cNvSpPr/>
            <p:nvPr/>
          </p:nvSpPr>
          <p:spPr>
            <a:xfrm rot="8716295">
              <a:off x="4888185" y="2696334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" name="Forme libre : forme 180">
              <a:extLst>
                <a:ext uri="{FF2B5EF4-FFF2-40B4-BE49-F238E27FC236}">
                  <a16:creationId xmlns:a16="http://schemas.microsoft.com/office/drawing/2014/main" id="{EB82C4E3-BE8E-4F27-B36D-E48F91D55981}"/>
                </a:ext>
              </a:extLst>
            </p:cNvPr>
            <p:cNvSpPr/>
            <p:nvPr/>
          </p:nvSpPr>
          <p:spPr>
            <a:xfrm rot="8716295">
              <a:off x="5023484" y="2740593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" name="Forme libre : forme 181">
              <a:extLst>
                <a:ext uri="{FF2B5EF4-FFF2-40B4-BE49-F238E27FC236}">
                  <a16:creationId xmlns:a16="http://schemas.microsoft.com/office/drawing/2014/main" id="{8CF0FAB3-0C6A-450B-9525-29BB7A59C040}"/>
                </a:ext>
              </a:extLst>
            </p:cNvPr>
            <p:cNvSpPr/>
            <p:nvPr/>
          </p:nvSpPr>
          <p:spPr>
            <a:xfrm rot="8716295">
              <a:off x="4718314" y="283034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" name="Forme libre : forme 182">
              <a:extLst>
                <a:ext uri="{FF2B5EF4-FFF2-40B4-BE49-F238E27FC236}">
                  <a16:creationId xmlns:a16="http://schemas.microsoft.com/office/drawing/2014/main" id="{10FB87B4-C488-45C6-AE08-E0AAB6025014}"/>
                </a:ext>
              </a:extLst>
            </p:cNvPr>
            <p:cNvSpPr/>
            <p:nvPr/>
          </p:nvSpPr>
          <p:spPr>
            <a:xfrm rot="8716295">
              <a:off x="4529270" y="251451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" name="Forme libre : forme 183">
              <a:extLst>
                <a:ext uri="{FF2B5EF4-FFF2-40B4-BE49-F238E27FC236}">
                  <a16:creationId xmlns:a16="http://schemas.microsoft.com/office/drawing/2014/main" id="{780E062E-8239-40E1-A336-E5540670A1BD}"/>
                </a:ext>
              </a:extLst>
            </p:cNvPr>
            <p:cNvSpPr/>
            <p:nvPr/>
          </p:nvSpPr>
          <p:spPr>
            <a:xfrm rot="8716295">
              <a:off x="4854803" y="2892332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" name="Forme libre : forme 184">
              <a:extLst>
                <a:ext uri="{FF2B5EF4-FFF2-40B4-BE49-F238E27FC236}">
                  <a16:creationId xmlns:a16="http://schemas.microsoft.com/office/drawing/2014/main" id="{DF4CDF9E-3E83-42B9-8060-460760813751}"/>
                </a:ext>
              </a:extLst>
            </p:cNvPr>
            <p:cNvSpPr/>
            <p:nvPr/>
          </p:nvSpPr>
          <p:spPr>
            <a:xfrm rot="8716295">
              <a:off x="4489356" y="2665906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" name="Forme libre : forme 185">
              <a:extLst>
                <a:ext uri="{FF2B5EF4-FFF2-40B4-BE49-F238E27FC236}">
                  <a16:creationId xmlns:a16="http://schemas.microsoft.com/office/drawing/2014/main" id="{0A35FA8D-2DA5-4890-87D4-1B3451916FA9}"/>
                </a:ext>
              </a:extLst>
            </p:cNvPr>
            <p:cNvSpPr/>
            <p:nvPr/>
          </p:nvSpPr>
          <p:spPr>
            <a:xfrm rot="7484129">
              <a:off x="5013620" y="318195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" name="Forme libre : forme 186">
              <a:extLst>
                <a:ext uri="{FF2B5EF4-FFF2-40B4-BE49-F238E27FC236}">
                  <a16:creationId xmlns:a16="http://schemas.microsoft.com/office/drawing/2014/main" id="{E6A0D96F-008F-4023-A0B6-38102FB3F884}"/>
                </a:ext>
              </a:extLst>
            </p:cNvPr>
            <p:cNvSpPr/>
            <p:nvPr/>
          </p:nvSpPr>
          <p:spPr>
            <a:xfrm rot="13089394">
              <a:off x="5172270" y="3131298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" name="Forme libre : forme 187">
              <a:extLst>
                <a:ext uri="{FF2B5EF4-FFF2-40B4-BE49-F238E27FC236}">
                  <a16:creationId xmlns:a16="http://schemas.microsoft.com/office/drawing/2014/main" id="{34516B6B-1C6B-4061-A441-0A96C5F85F2D}"/>
                </a:ext>
              </a:extLst>
            </p:cNvPr>
            <p:cNvSpPr/>
            <p:nvPr/>
          </p:nvSpPr>
          <p:spPr>
            <a:xfrm rot="8716295">
              <a:off x="5453161" y="2841180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" name="Forme libre : forme 188">
              <a:extLst>
                <a:ext uri="{FF2B5EF4-FFF2-40B4-BE49-F238E27FC236}">
                  <a16:creationId xmlns:a16="http://schemas.microsoft.com/office/drawing/2014/main" id="{25C5FA48-0926-4D19-8036-167D5A8A0B0F}"/>
                </a:ext>
              </a:extLst>
            </p:cNvPr>
            <p:cNvSpPr/>
            <p:nvPr/>
          </p:nvSpPr>
          <p:spPr>
            <a:xfrm rot="8716295">
              <a:off x="5374752" y="268438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" name="Forme libre : forme 189">
              <a:extLst>
                <a:ext uri="{FF2B5EF4-FFF2-40B4-BE49-F238E27FC236}">
                  <a16:creationId xmlns:a16="http://schemas.microsoft.com/office/drawing/2014/main" id="{DAF894AD-B4B7-410F-8EC1-02725EF382CF}"/>
                </a:ext>
              </a:extLst>
            </p:cNvPr>
            <p:cNvSpPr/>
            <p:nvPr/>
          </p:nvSpPr>
          <p:spPr>
            <a:xfrm rot="8716295">
              <a:off x="5006588" y="273012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" name="Forme libre : forme 190">
              <a:extLst>
                <a:ext uri="{FF2B5EF4-FFF2-40B4-BE49-F238E27FC236}">
                  <a16:creationId xmlns:a16="http://schemas.microsoft.com/office/drawing/2014/main" id="{050039E8-AFBF-4BD9-96DB-778F55B5F2C4}"/>
                </a:ext>
              </a:extLst>
            </p:cNvPr>
            <p:cNvSpPr/>
            <p:nvPr/>
          </p:nvSpPr>
          <p:spPr>
            <a:xfrm rot="8716295">
              <a:off x="5275170" y="2489109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" name="Forme libre : forme 191">
              <a:extLst>
                <a:ext uri="{FF2B5EF4-FFF2-40B4-BE49-F238E27FC236}">
                  <a16:creationId xmlns:a16="http://schemas.microsoft.com/office/drawing/2014/main" id="{BAF5AA66-DC18-43A5-AAAE-6EB312E4E790}"/>
                </a:ext>
              </a:extLst>
            </p:cNvPr>
            <p:cNvSpPr/>
            <p:nvPr/>
          </p:nvSpPr>
          <p:spPr>
            <a:xfrm rot="8716295">
              <a:off x="4788394" y="407343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" name="Forme libre : forme 192">
              <a:extLst>
                <a:ext uri="{FF2B5EF4-FFF2-40B4-BE49-F238E27FC236}">
                  <a16:creationId xmlns:a16="http://schemas.microsoft.com/office/drawing/2014/main" id="{780EC621-519F-489B-BFBA-B49F228A0641}"/>
                </a:ext>
              </a:extLst>
            </p:cNvPr>
            <p:cNvSpPr/>
            <p:nvPr/>
          </p:nvSpPr>
          <p:spPr>
            <a:xfrm rot="8716295">
              <a:off x="4923693" y="411769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" name="Forme libre : forme 193">
              <a:extLst>
                <a:ext uri="{FF2B5EF4-FFF2-40B4-BE49-F238E27FC236}">
                  <a16:creationId xmlns:a16="http://schemas.microsoft.com/office/drawing/2014/main" id="{56C02974-8A88-4B14-998C-3296551B1E9D}"/>
                </a:ext>
              </a:extLst>
            </p:cNvPr>
            <p:cNvSpPr/>
            <p:nvPr/>
          </p:nvSpPr>
          <p:spPr>
            <a:xfrm rot="8716295">
              <a:off x="4855811" y="3987104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" name="Forme libre : forme 194">
              <a:extLst>
                <a:ext uri="{FF2B5EF4-FFF2-40B4-BE49-F238E27FC236}">
                  <a16:creationId xmlns:a16="http://schemas.microsoft.com/office/drawing/2014/main" id="{1315A3F8-95CA-4F67-BF42-435167A25A7A}"/>
                </a:ext>
              </a:extLst>
            </p:cNvPr>
            <p:cNvSpPr/>
            <p:nvPr/>
          </p:nvSpPr>
          <p:spPr>
            <a:xfrm rot="8716295">
              <a:off x="4618523" y="420744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" name="Forme libre : forme 195">
              <a:extLst>
                <a:ext uri="{FF2B5EF4-FFF2-40B4-BE49-F238E27FC236}">
                  <a16:creationId xmlns:a16="http://schemas.microsoft.com/office/drawing/2014/main" id="{5FBA9E77-EEAF-4196-9EB3-AAB7591C02B4}"/>
                </a:ext>
              </a:extLst>
            </p:cNvPr>
            <p:cNvSpPr/>
            <p:nvPr/>
          </p:nvSpPr>
          <p:spPr>
            <a:xfrm rot="8716295">
              <a:off x="4429477" y="389161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" name="Forme libre : forme 196">
              <a:extLst>
                <a:ext uri="{FF2B5EF4-FFF2-40B4-BE49-F238E27FC236}">
                  <a16:creationId xmlns:a16="http://schemas.microsoft.com/office/drawing/2014/main" id="{9640743B-2A63-41D0-B596-466D8A1999D1}"/>
                </a:ext>
              </a:extLst>
            </p:cNvPr>
            <p:cNvSpPr/>
            <p:nvPr/>
          </p:nvSpPr>
          <p:spPr>
            <a:xfrm rot="8716295">
              <a:off x="4411236" y="3681563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" name="Forme libre : forme 197">
              <a:extLst>
                <a:ext uri="{FF2B5EF4-FFF2-40B4-BE49-F238E27FC236}">
                  <a16:creationId xmlns:a16="http://schemas.microsoft.com/office/drawing/2014/main" id="{58E0BAB6-4A71-4FD6-9833-700BF9E78B7C}"/>
                </a:ext>
              </a:extLst>
            </p:cNvPr>
            <p:cNvSpPr/>
            <p:nvPr/>
          </p:nvSpPr>
          <p:spPr>
            <a:xfrm rot="8716295">
              <a:off x="4755012" y="4269431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" name="Forme libre : forme 198">
              <a:extLst>
                <a:ext uri="{FF2B5EF4-FFF2-40B4-BE49-F238E27FC236}">
                  <a16:creationId xmlns:a16="http://schemas.microsoft.com/office/drawing/2014/main" id="{75BB7597-AEE7-44BA-A895-6BF134870ADB}"/>
                </a:ext>
              </a:extLst>
            </p:cNvPr>
            <p:cNvSpPr/>
            <p:nvPr/>
          </p:nvSpPr>
          <p:spPr>
            <a:xfrm rot="8716295">
              <a:off x="5225958" y="3694817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" name="Forme libre : forme 199">
              <a:extLst>
                <a:ext uri="{FF2B5EF4-FFF2-40B4-BE49-F238E27FC236}">
                  <a16:creationId xmlns:a16="http://schemas.microsoft.com/office/drawing/2014/main" id="{EEB3834C-1DBD-4E8A-80F2-2243D4B0C7C6}"/>
                </a:ext>
              </a:extLst>
            </p:cNvPr>
            <p:cNvSpPr/>
            <p:nvPr/>
          </p:nvSpPr>
          <p:spPr>
            <a:xfrm rot="8716295">
              <a:off x="5364349" y="3753375"/>
              <a:ext cx="325540" cy="385611"/>
            </a:xfrm>
            <a:custGeom>
              <a:avLst/>
              <a:gdLst>
                <a:gd name="connsiteX0" fmla="*/ 8983 w 325540"/>
                <a:gd name="connsiteY0" fmla="*/ 385611 h 385611"/>
                <a:gd name="connsiteX1" fmla="*/ 8983 w 325540"/>
                <a:gd name="connsiteY1" fmla="*/ 69053 h 385611"/>
                <a:gd name="connsiteX2" fmla="*/ 0 w 325540"/>
                <a:gd name="connsiteY2" fmla="*/ 69053 h 385611"/>
                <a:gd name="connsiteX3" fmla="*/ 55019 w 325540"/>
                <a:gd name="connsiteY3" fmla="*/ 2157 h 385611"/>
                <a:gd name="connsiteX4" fmla="*/ 89675 w 325540"/>
                <a:gd name="connsiteY4" fmla="*/ 2156 h 385611"/>
                <a:gd name="connsiteX5" fmla="*/ 89674 w 325540"/>
                <a:gd name="connsiteY5" fmla="*/ 113882 h 385611"/>
                <a:gd name="connsiteX6" fmla="*/ 91743 w 325540"/>
                <a:gd name="connsiteY6" fmla="*/ 113882 h 385611"/>
                <a:gd name="connsiteX7" fmla="*/ 164159 w 325540"/>
                <a:gd name="connsiteY7" fmla="*/ 9053 h 385611"/>
                <a:gd name="connsiteX8" fmla="*/ 211745 w 325540"/>
                <a:gd name="connsiteY8" fmla="*/ 87 h 385611"/>
                <a:gd name="connsiteX9" fmla="*/ 325540 w 325540"/>
                <a:gd name="connsiteY9" fmla="*/ 133882 h 385611"/>
                <a:gd name="connsiteX10" fmla="*/ 325540 w 325540"/>
                <a:gd name="connsiteY10" fmla="*/ 142848 h 385611"/>
                <a:gd name="connsiteX11" fmla="*/ 231746 w 325540"/>
                <a:gd name="connsiteY11" fmla="*/ 148366 h 385611"/>
                <a:gd name="connsiteX12" fmla="*/ 231746 w 325540"/>
                <a:gd name="connsiteY12" fmla="*/ 123538 h 385611"/>
                <a:gd name="connsiteX13" fmla="*/ 180710 w 325540"/>
                <a:gd name="connsiteY13" fmla="*/ 60778 h 385611"/>
                <a:gd name="connsiteX14" fmla="*/ 100020 w 325540"/>
                <a:gd name="connsiteY14" fmla="*/ 193194 h 385611"/>
                <a:gd name="connsiteX15" fmla="*/ 100020 w 325540"/>
                <a:gd name="connsiteY15" fmla="*/ 323541 h 385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5540" h="385611">
                  <a:moveTo>
                    <a:pt x="8983" y="385611"/>
                  </a:moveTo>
                  <a:lnTo>
                    <a:pt x="8983" y="69053"/>
                  </a:lnTo>
                  <a:lnTo>
                    <a:pt x="0" y="69053"/>
                  </a:lnTo>
                  <a:lnTo>
                    <a:pt x="55019" y="2157"/>
                  </a:lnTo>
                  <a:lnTo>
                    <a:pt x="89675" y="2156"/>
                  </a:lnTo>
                  <a:lnTo>
                    <a:pt x="89674" y="113882"/>
                  </a:lnTo>
                  <a:lnTo>
                    <a:pt x="91743" y="113882"/>
                  </a:lnTo>
                  <a:cubicBezTo>
                    <a:pt x="113813" y="48363"/>
                    <a:pt x="131055" y="22846"/>
                    <a:pt x="164159" y="9053"/>
                  </a:cubicBezTo>
                  <a:cubicBezTo>
                    <a:pt x="179331" y="2846"/>
                    <a:pt x="195193" y="-602"/>
                    <a:pt x="211745" y="87"/>
                  </a:cubicBezTo>
                  <a:cubicBezTo>
                    <a:pt x="282781" y="-1293"/>
                    <a:pt x="325540" y="48363"/>
                    <a:pt x="325540" y="133882"/>
                  </a:cubicBezTo>
                  <a:lnTo>
                    <a:pt x="325540" y="142848"/>
                  </a:lnTo>
                  <a:lnTo>
                    <a:pt x="231746" y="148366"/>
                  </a:lnTo>
                  <a:lnTo>
                    <a:pt x="231746" y="123538"/>
                  </a:lnTo>
                  <a:cubicBezTo>
                    <a:pt x="231746" y="86296"/>
                    <a:pt x="210367" y="60778"/>
                    <a:pt x="180710" y="60778"/>
                  </a:cubicBezTo>
                  <a:cubicBezTo>
                    <a:pt x="136572" y="60777"/>
                    <a:pt x="100020" y="119400"/>
                    <a:pt x="100020" y="193194"/>
                  </a:cubicBezTo>
                  <a:lnTo>
                    <a:pt x="100020" y="3235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" name="Forme libre : forme 200">
              <a:extLst>
                <a:ext uri="{FF2B5EF4-FFF2-40B4-BE49-F238E27FC236}">
                  <a16:creationId xmlns:a16="http://schemas.microsoft.com/office/drawing/2014/main" id="{372D1467-D2E3-4216-9E90-20982CF5734F}"/>
                </a:ext>
              </a:extLst>
            </p:cNvPr>
            <p:cNvSpPr/>
            <p:nvPr/>
          </p:nvSpPr>
          <p:spPr>
            <a:xfrm rot="8716295">
              <a:off x="5056087" y="382883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" name="Forme libre : forme 201">
              <a:extLst>
                <a:ext uri="{FF2B5EF4-FFF2-40B4-BE49-F238E27FC236}">
                  <a16:creationId xmlns:a16="http://schemas.microsoft.com/office/drawing/2014/main" id="{B604E5DA-CBD2-466D-A47E-4EAA9B5B7623}"/>
                </a:ext>
              </a:extLst>
            </p:cNvPr>
            <p:cNvSpPr/>
            <p:nvPr/>
          </p:nvSpPr>
          <p:spPr>
            <a:xfrm rot="8716295">
              <a:off x="4867043" y="351299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" name="Forme libre : forme 202">
              <a:extLst>
                <a:ext uri="{FF2B5EF4-FFF2-40B4-BE49-F238E27FC236}">
                  <a16:creationId xmlns:a16="http://schemas.microsoft.com/office/drawing/2014/main" id="{E20F76FB-79A8-44FD-A97E-07BAE8CB93F0}"/>
                </a:ext>
              </a:extLst>
            </p:cNvPr>
            <p:cNvSpPr/>
            <p:nvPr/>
          </p:nvSpPr>
          <p:spPr>
            <a:xfrm rot="8716295">
              <a:off x="5192576" y="3890815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" name="Forme libre : forme 203">
              <a:extLst>
                <a:ext uri="{FF2B5EF4-FFF2-40B4-BE49-F238E27FC236}">
                  <a16:creationId xmlns:a16="http://schemas.microsoft.com/office/drawing/2014/main" id="{07DA70CF-480A-435C-9C90-6F5E70E02F28}"/>
                </a:ext>
              </a:extLst>
            </p:cNvPr>
            <p:cNvSpPr/>
            <p:nvPr/>
          </p:nvSpPr>
          <p:spPr>
            <a:xfrm rot="8716295">
              <a:off x="4827129" y="3664389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" name="Forme libre : forme 204">
              <a:extLst>
                <a:ext uri="{FF2B5EF4-FFF2-40B4-BE49-F238E27FC236}">
                  <a16:creationId xmlns:a16="http://schemas.microsoft.com/office/drawing/2014/main" id="{EFCDF1BC-CE63-46A7-BBB7-A0FD6C01682D}"/>
                </a:ext>
              </a:extLst>
            </p:cNvPr>
            <p:cNvSpPr/>
            <p:nvPr/>
          </p:nvSpPr>
          <p:spPr>
            <a:xfrm rot="7484129">
              <a:off x="5351393" y="418043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" name="Forme libre : forme 205">
              <a:extLst>
                <a:ext uri="{FF2B5EF4-FFF2-40B4-BE49-F238E27FC236}">
                  <a16:creationId xmlns:a16="http://schemas.microsoft.com/office/drawing/2014/main" id="{DC92A656-7063-4EB8-9B18-5A621F03BDBB}"/>
                </a:ext>
              </a:extLst>
            </p:cNvPr>
            <p:cNvSpPr/>
            <p:nvPr/>
          </p:nvSpPr>
          <p:spPr>
            <a:xfrm rot="13089394">
              <a:off x="5497067" y="4157639"/>
              <a:ext cx="336155" cy="433969"/>
            </a:xfrm>
            <a:custGeom>
              <a:avLst/>
              <a:gdLst>
                <a:gd name="connsiteX0" fmla="*/ 23241 w 222098"/>
                <a:gd name="connsiteY0" fmla="*/ 47275 h 286724"/>
                <a:gd name="connsiteX1" fmla="*/ 0 w 222098"/>
                <a:gd name="connsiteY1" fmla="*/ 11882 h 286724"/>
                <a:gd name="connsiteX2" fmla="*/ 22902 w 222098"/>
                <a:gd name="connsiteY2" fmla="*/ 0 h 286724"/>
                <a:gd name="connsiteX3" fmla="*/ 222098 w 222098"/>
                <a:gd name="connsiteY3" fmla="*/ 258238 h 286724"/>
                <a:gd name="connsiteX4" fmla="*/ 180472 w 222098"/>
                <a:gd name="connsiteY4" fmla="*/ 286724 h 286724"/>
                <a:gd name="connsiteX5" fmla="*/ 167667 w 222098"/>
                <a:gd name="connsiteY5" fmla="*/ 267224 h 286724"/>
                <a:gd name="connsiteX6" fmla="*/ 220995 w 222098"/>
                <a:gd name="connsiteY6" fmla="*/ 245547 h 286724"/>
                <a:gd name="connsiteX7" fmla="*/ 222098 w 222098"/>
                <a:gd name="connsiteY7" fmla="*/ 252720 h 286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2098" h="286724">
                  <a:moveTo>
                    <a:pt x="23241" y="47275"/>
                  </a:moveTo>
                  <a:lnTo>
                    <a:pt x="0" y="11882"/>
                  </a:lnTo>
                  <a:lnTo>
                    <a:pt x="22902" y="0"/>
                  </a:lnTo>
                  <a:close/>
                  <a:moveTo>
                    <a:pt x="222098" y="258238"/>
                  </a:moveTo>
                  <a:lnTo>
                    <a:pt x="180472" y="286724"/>
                  </a:lnTo>
                  <a:lnTo>
                    <a:pt x="167667" y="267224"/>
                  </a:lnTo>
                  <a:lnTo>
                    <a:pt x="220995" y="245547"/>
                  </a:lnTo>
                  <a:cubicBezTo>
                    <a:pt x="221546" y="247754"/>
                    <a:pt x="222098" y="250513"/>
                    <a:pt x="222098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" name="Forme libre : forme 206">
              <a:extLst>
                <a:ext uri="{FF2B5EF4-FFF2-40B4-BE49-F238E27FC236}">
                  <a16:creationId xmlns:a16="http://schemas.microsoft.com/office/drawing/2014/main" id="{5B6131FF-A409-4EA9-81CC-0C3D2782942F}"/>
                </a:ext>
              </a:extLst>
            </p:cNvPr>
            <p:cNvSpPr/>
            <p:nvPr/>
          </p:nvSpPr>
          <p:spPr>
            <a:xfrm rot="8716295">
              <a:off x="5689139" y="3701707"/>
              <a:ext cx="105382" cy="119090"/>
            </a:xfrm>
            <a:custGeom>
              <a:avLst/>
              <a:gdLst>
                <a:gd name="connsiteX0" fmla="*/ 0 w 69626"/>
                <a:gd name="connsiteY0" fmla="*/ 74288 h 78683"/>
                <a:gd name="connsiteX1" fmla="*/ 61446 w 69626"/>
                <a:gd name="connsiteY1" fmla="*/ 0 h 78683"/>
                <a:gd name="connsiteX2" fmla="*/ 69626 w 69626"/>
                <a:gd name="connsiteY2" fmla="*/ 19468 h 78683"/>
                <a:gd name="connsiteX3" fmla="*/ 52380 w 69626"/>
                <a:gd name="connsiteY3" fmla="*/ 61206 h 78683"/>
                <a:gd name="connsiteX4" fmla="*/ 10986 w 69626"/>
                <a:gd name="connsiteY4" fmla="*/ 78683 h 78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626" h="78683">
                  <a:moveTo>
                    <a:pt x="0" y="74288"/>
                  </a:moveTo>
                  <a:lnTo>
                    <a:pt x="61446" y="0"/>
                  </a:lnTo>
                  <a:lnTo>
                    <a:pt x="69626" y="19468"/>
                  </a:lnTo>
                  <a:cubicBezTo>
                    <a:pt x="69626" y="34531"/>
                    <a:pt x="63877" y="49708"/>
                    <a:pt x="52380" y="61206"/>
                  </a:cubicBezTo>
                  <a:cubicBezTo>
                    <a:pt x="41341" y="72244"/>
                    <a:pt x="26624" y="78683"/>
                    <a:pt x="10986" y="786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" name="Forme libre : forme 207">
              <a:extLst>
                <a:ext uri="{FF2B5EF4-FFF2-40B4-BE49-F238E27FC236}">
                  <a16:creationId xmlns:a16="http://schemas.microsoft.com/office/drawing/2014/main" id="{F418276D-8E57-4C97-A0E3-69608568D520}"/>
                </a:ext>
              </a:extLst>
            </p:cNvPr>
            <p:cNvSpPr/>
            <p:nvPr/>
          </p:nvSpPr>
          <p:spPr>
            <a:xfrm rot="8716295">
              <a:off x="5344361" y="372861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" name="Forme libre : forme 208">
              <a:extLst>
                <a:ext uri="{FF2B5EF4-FFF2-40B4-BE49-F238E27FC236}">
                  <a16:creationId xmlns:a16="http://schemas.microsoft.com/office/drawing/2014/main" id="{18CB7434-4843-4498-9ECE-196E31359917}"/>
                </a:ext>
              </a:extLst>
            </p:cNvPr>
            <p:cNvSpPr/>
            <p:nvPr/>
          </p:nvSpPr>
          <p:spPr>
            <a:xfrm rot="8716295">
              <a:off x="5599943" y="3480521"/>
              <a:ext cx="177855" cy="178203"/>
            </a:xfrm>
            <a:custGeom>
              <a:avLst/>
              <a:gdLst>
                <a:gd name="connsiteX0" fmla="*/ 17477 w 117509"/>
                <a:gd name="connsiteY0" fmla="*/ 101182 h 117739"/>
                <a:gd name="connsiteX1" fmla="*/ 0 w 117509"/>
                <a:gd name="connsiteY1" fmla="*/ 59790 h 117739"/>
                <a:gd name="connsiteX2" fmla="*/ 0 w 117509"/>
                <a:gd name="connsiteY2" fmla="*/ 58869 h 117739"/>
                <a:gd name="connsiteX3" fmla="*/ 2091 w 117509"/>
                <a:gd name="connsiteY3" fmla="*/ 48678 h 117739"/>
                <a:gd name="connsiteX4" fmla="*/ 38978 w 117509"/>
                <a:gd name="connsiteY4" fmla="*/ 4080 h 117739"/>
                <a:gd name="connsiteX5" fmla="*/ 58869 w 117509"/>
                <a:gd name="connsiteY5" fmla="*/ 0 h 117739"/>
                <a:gd name="connsiteX6" fmla="*/ 100263 w 117509"/>
                <a:gd name="connsiteY6" fmla="*/ 17477 h 117739"/>
                <a:gd name="connsiteX7" fmla="*/ 100263 w 117509"/>
                <a:gd name="connsiteY7" fmla="*/ 100262 h 117739"/>
                <a:gd name="connsiteX8" fmla="*/ 58869 w 117509"/>
                <a:gd name="connsiteY8" fmla="*/ 117739 h 117739"/>
                <a:gd name="connsiteX9" fmla="*/ 17477 w 117509"/>
                <a:gd name="connsiteY9" fmla="*/ 101182 h 117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09" h="117739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lnTo>
                    <a:pt x="2091" y="48678"/>
                  </a:lnTo>
                  <a:lnTo>
                    <a:pt x="38978" y="4080"/>
                  </a:lnTo>
                  <a:lnTo>
                    <a:pt x="58869" y="0"/>
                  </a:lnTo>
                  <a:cubicBezTo>
                    <a:pt x="74507" y="0"/>
                    <a:pt x="89224" y="6439"/>
                    <a:pt x="100263" y="17477"/>
                  </a:cubicBezTo>
                  <a:cubicBezTo>
                    <a:pt x="123258" y="39553"/>
                    <a:pt x="123258" y="77266"/>
                    <a:pt x="100263" y="100262"/>
                  </a:cubicBezTo>
                  <a:cubicBezTo>
                    <a:pt x="89224" y="111300"/>
                    <a:pt x="74507" y="117739"/>
                    <a:pt x="58869" y="117739"/>
                  </a:cubicBezTo>
                  <a:cubicBezTo>
                    <a:pt x="43233" y="117739"/>
                    <a:pt x="28515" y="112220"/>
                    <a:pt x="17477" y="10118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" name="Forme libre : forme 209">
              <a:extLst>
                <a:ext uri="{FF2B5EF4-FFF2-40B4-BE49-F238E27FC236}">
                  <a16:creationId xmlns:a16="http://schemas.microsoft.com/office/drawing/2014/main" id="{80007C47-775F-43EE-9BFF-1043A7C3649A}"/>
                </a:ext>
              </a:extLst>
            </p:cNvPr>
            <p:cNvSpPr/>
            <p:nvPr/>
          </p:nvSpPr>
          <p:spPr>
            <a:xfrm rot="8716295">
              <a:off x="5090746" y="5117279"/>
              <a:ext cx="37096" cy="40385"/>
            </a:xfrm>
            <a:custGeom>
              <a:avLst/>
              <a:gdLst>
                <a:gd name="connsiteX0" fmla="*/ 0 w 37096"/>
                <a:gd name="connsiteY0" fmla="*/ 40385 h 40385"/>
                <a:gd name="connsiteX1" fmla="*/ 0 w 37096"/>
                <a:gd name="connsiteY1" fmla="*/ 0 h 40385"/>
                <a:gd name="connsiteX2" fmla="*/ 37096 w 37096"/>
                <a:gd name="connsiteY2" fmla="*/ 25713 h 40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096" h="40385">
                  <a:moveTo>
                    <a:pt x="0" y="40385"/>
                  </a:moveTo>
                  <a:lnTo>
                    <a:pt x="0" y="0"/>
                  </a:lnTo>
                  <a:lnTo>
                    <a:pt x="37096" y="2571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" name="Forme libre : forme 210">
              <a:extLst>
                <a:ext uri="{FF2B5EF4-FFF2-40B4-BE49-F238E27FC236}">
                  <a16:creationId xmlns:a16="http://schemas.microsoft.com/office/drawing/2014/main" id="{5820CA8C-9225-440D-B86D-A9CE799D1C39}"/>
                </a:ext>
              </a:extLst>
            </p:cNvPr>
            <p:cNvSpPr/>
            <p:nvPr/>
          </p:nvSpPr>
          <p:spPr>
            <a:xfrm rot="8716295">
              <a:off x="5405706" y="5085046"/>
              <a:ext cx="60406" cy="83058"/>
            </a:xfrm>
            <a:custGeom>
              <a:avLst/>
              <a:gdLst>
                <a:gd name="connsiteX0" fmla="*/ 0 w 60406"/>
                <a:gd name="connsiteY0" fmla="*/ 83058 h 83058"/>
                <a:gd name="connsiteX1" fmla="*/ 0 w 60406"/>
                <a:gd name="connsiteY1" fmla="*/ 0 h 83058"/>
                <a:gd name="connsiteX2" fmla="*/ 60406 w 60406"/>
                <a:gd name="connsiteY2" fmla="*/ 41872 h 83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406" h="83058">
                  <a:moveTo>
                    <a:pt x="0" y="83058"/>
                  </a:moveTo>
                  <a:lnTo>
                    <a:pt x="0" y="0"/>
                  </a:lnTo>
                  <a:lnTo>
                    <a:pt x="60406" y="4187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" name="Forme libre : forme 211">
              <a:extLst>
                <a:ext uri="{FF2B5EF4-FFF2-40B4-BE49-F238E27FC236}">
                  <a16:creationId xmlns:a16="http://schemas.microsoft.com/office/drawing/2014/main" id="{14119B8B-36AC-4498-96E0-570BA8C54C01}"/>
                </a:ext>
              </a:extLst>
            </p:cNvPr>
            <p:cNvSpPr/>
            <p:nvPr/>
          </p:nvSpPr>
          <p:spPr>
            <a:xfrm rot="8716295">
              <a:off x="5207014" y="4975218"/>
              <a:ext cx="245211" cy="161994"/>
            </a:xfrm>
            <a:custGeom>
              <a:avLst/>
              <a:gdLst>
                <a:gd name="connsiteX0" fmla="*/ 8965 w 245211"/>
                <a:gd name="connsiteY0" fmla="*/ 161994 h 161994"/>
                <a:gd name="connsiteX1" fmla="*/ 0 w 245211"/>
                <a:gd name="connsiteY1" fmla="*/ 149580 h 161994"/>
                <a:gd name="connsiteX2" fmla="*/ 158971 w 245211"/>
                <a:gd name="connsiteY2" fmla="*/ 0 h 161994"/>
                <a:gd name="connsiteX3" fmla="*/ 245211 w 245211"/>
                <a:gd name="connsiteY3" fmla="*/ 59779 h 161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211" h="161994">
                  <a:moveTo>
                    <a:pt x="8965" y="161994"/>
                  </a:moveTo>
                  <a:lnTo>
                    <a:pt x="0" y="149580"/>
                  </a:lnTo>
                  <a:lnTo>
                    <a:pt x="158971" y="0"/>
                  </a:lnTo>
                  <a:lnTo>
                    <a:pt x="245211" y="5977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" name="Forme libre : forme 212">
              <a:extLst>
                <a:ext uri="{FF2B5EF4-FFF2-40B4-BE49-F238E27FC236}">
                  <a16:creationId xmlns:a16="http://schemas.microsoft.com/office/drawing/2014/main" id="{4FCFFEE2-AEF7-46AC-BCAB-E4AB6356A9CD}"/>
                </a:ext>
              </a:extLst>
            </p:cNvPr>
            <p:cNvSpPr/>
            <p:nvPr/>
          </p:nvSpPr>
          <p:spPr>
            <a:xfrm rot="8716295">
              <a:off x="4807372" y="4871188"/>
              <a:ext cx="249519" cy="296463"/>
            </a:xfrm>
            <a:custGeom>
              <a:avLst/>
              <a:gdLst>
                <a:gd name="connsiteX0" fmla="*/ 137293 w 249519"/>
                <a:gd name="connsiteY0" fmla="*/ 296463 h 296463"/>
                <a:gd name="connsiteX1" fmla="*/ 72418 w 249519"/>
                <a:gd name="connsiteY1" fmla="*/ 175766 h 296463"/>
                <a:gd name="connsiteX2" fmla="*/ 105610 w 249519"/>
                <a:gd name="connsiteY2" fmla="*/ 83734 h 296463"/>
                <a:gd name="connsiteX3" fmla="*/ 0 w 249519"/>
                <a:gd name="connsiteY3" fmla="*/ 83734 h 296463"/>
                <a:gd name="connsiteX4" fmla="*/ 0 w 249519"/>
                <a:gd name="connsiteY4" fmla="*/ 0 h 296463"/>
                <a:gd name="connsiteX5" fmla="*/ 128719 w 249519"/>
                <a:gd name="connsiteY5" fmla="*/ 0 h 296463"/>
                <a:gd name="connsiteX6" fmla="*/ 249519 w 249519"/>
                <a:gd name="connsiteY6" fmla="*/ 83734 h 296463"/>
                <a:gd name="connsiteX7" fmla="*/ 210465 w 249519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9519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128719" y="0"/>
                  </a:lnTo>
                  <a:lnTo>
                    <a:pt x="249519" y="83734"/>
                  </a:lnTo>
                  <a:lnTo>
                    <a:pt x="210465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" name="Forme libre : forme 213">
              <a:extLst>
                <a:ext uri="{FF2B5EF4-FFF2-40B4-BE49-F238E27FC236}">
                  <a16:creationId xmlns:a16="http://schemas.microsoft.com/office/drawing/2014/main" id="{1B41E071-0693-46BD-92E2-292036356EEC}"/>
                </a:ext>
              </a:extLst>
            </p:cNvPr>
            <p:cNvSpPr/>
            <p:nvPr/>
          </p:nvSpPr>
          <p:spPr>
            <a:xfrm rot="8716295">
              <a:off x="4742203" y="467807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" name="Forme libre : forme 214">
              <a:extLst>
                <a:ext uri="{FF2B5EF4-FFF2-40B4-BE49-F238E27FC236}">
                  <a16:creationId xmlns:a16="http://schemas.microsoft.com/office/drawing/2014/main" id="{3D04A71D-E109-4B4F-89C3-FA4AB19F4E1D}"/>
                </a:ext>
              </a:extLst>
            </p:cNvPr>
            <p:cNvSpPr/>
            <p:nvPr/>
          </p:nvSpPr>
          <p:spPr>
            <a:xfrm rot="8716295">
              <a:off x="5548192" y="4732447"/>
              <a:ext cx="92415" cy="287093"/>
            </a:xfrm>
            <a:custGeom>
              <a:avLst/>
              <a:gdLst>
                <a:gd name="connsiteX0" fmla="*/ 0 w 61059"/>
                <a:gd name="connsiteY0" fmla="*/ 189683 h 189683"/>
                <a:gd name="connsiteX1" fmla="*/ 1 w 61059"/>
                <a:gd name="connsiteY1" fmla="*/ 70355 h 189683"/>
                <a:gd name="connsiteX2" fmla="*/ 58192 w 61059"/>
                <a:gd name="connsiteY2" fmla="*/ 0 h 189683"/>
                <a:gd name="connsiteX3" fmla="*/ 61059 w 61059"/>
                <a:gd name="connsiteY3" fmla="*/ 7418 h 189683"/>
                <a:gd name="connsiteX4" fmla="*/ 61059 w 61059"/>
                <a:gd name="connsiteY4" fmla="*/ 165533 h 189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59" h="189683">
                  <a:moveTo>
                    <a:pt x="0" y="189683"/>
                  </a:moveTo>
                  <a:lnTo>
                    <a:pt x="1" y="70355"/>
                  </a:lnTo>
                  <a:lnTo>
                    <a:pt x="58192" y="0"/>
                  </a:lnTo>
                  <a:lnTo>
                    <a:pt x="61059" y="7418"/>
                  </a:lnTo>
                  <a:lnTo>
                    <a:pt x="61059" y="1655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" name="Forme libre : forme 215">
              <a:extLst>
                <a:ext uri="{FF2B5EF4-FFF2-40B4-BE49-F238E27FC236}">
                  <a16:creationId xmlns:a16="http://schemas.microsoft.com/office/drawing/2014/main" id="{AAC7FAB2-F735-42A2-BE55-7C8B153DECE5}"/>
                </a:ext>
              </a:extLst>
            </p:cNvPr>
            <p:cNvSpPr/>
            <p:nvPr/>
          </p:nvSpPr>
          <p:spPr>
            <a:xfrm rot="8716295">
              <a:off x="5387054" y="482534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" name="Forme libre : forme 216">
              <a:extLst>
                <a:ext uri="{FF2B5EF4-FFF2-40B4-BE49-F238E27FC236}">
                  <a16:creationId xmlns:a16="http://schemas.microsoft.com/office/drawing/2014/main" id="{4B03EBBE-E237-4565-BE6F-56E70942310E}"/>
                </a:ext>
              </a:extLst>
            </p:cNvPr>
            <p:cNvSpPr/>
            <p:nvPr/>
          </p:nvSpPr>
          <p:spPr>
            <a:xfrm rot="8716295">
              <a:off x="5198009" y="450950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" name="Forme libre : forme 217">
              <a:extLst>
                <a:ext uri="{FF2B5EF4-FFF2-40B4-BE49-F238E27FC236}">
                  <a16:creationId xmlns:a16="http://schemas.microsoft.com/office/drawing/2014/main" id="{230714BC-B4D4-483B-9F0B-D1990593F59D}"/>
                </a:ext>
              </a:extLst>
            </p:cNvPr>
            <p:cNvSpPr/>
            <p:nvPr/>
          </p:nvSpPr>
          <p:spPr>
            <a:xfrm rot="8716295">
              <a:off x="5503997" y="4913234"/>
              <a:ext cx="91035" cy="258752"/>
            </a:xfrm>
            <a:custGeom>
              <a:avLst/>
              <a:gdLst>
                <a:gd name="connsiteX0" fmla="*/ 91035 w 91035"/>
                <a:gd name="connsiteY0" fmla="*/ 258752 h 258752"/>
                <a:gd name="connsiteX1" fmla="*/ 0 w 91035"/>
                <a:gd name="connsiteY1" fmla="*/ 171163 h 258752"/>
                <a:gd name="connsiteX2" fmla="*/ 0 w 91035"/>
                <a:gd name="connsiteY2" fmla="*/ 43487 h 258752"/>
                <a:gd name="connsiteX3" fmla="*/ 35968 w 91035"/>
                <a:gd name="connsiteY3" fmla="*/ 0 h 258752"/>
                <a:gd name="connsiteX4" fmla="*/ 91035 w 91035"/>
                <a:gd name="connsiteY4" fmla="*/ 38170 h 258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035" h="258752">
                  <a:moveTo>
                    <a:pt x="91035" y="258752"/>
                  </a:moveTo>
                  <a:lnTo>
                    <a:pt x="0" y="171163"/>
                  </a:lnTo>
                  <a:lnTo>
                    <a:pt x="0" y="43487"/>
                  </a:lnTo>
                  <a:lnTo>
                    <a:pt x="35968" y="0"/>
                  </a:lnTo>
                  <a:lnTo>
                    <a:pt x="91035" y="3817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" name="Forme libre : forme 218">
              <a:extLst>
                <a:ext uri="{FF2B5EF4-FFF2-40B4-BE49-F238E27FC236}">
                  <a16:creationId xmlns:a16="http://schemas.microsoft.com/office/drawing/2014/main" id="{14A36AFC-3634-423C-BC16-BDB2283C28B3}"/>
                </a:ext>
              </a:extLst>
            </p:cNvPr>
            <p:cNvSpPr/>
            <p:nvPr/>
          </p:nvSpPr>
          <p:spPr>
            <a:xfrm rot="8716295">
              <a:off x="5158096" y="466090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" name="Forme libre : forme 219">
              <a:extLst>
                <a:ext uri="{FF2B5EF4-FFF2-40B4-BE49-F238E27FC236}">
                  <a16:creationId xmlns:a16="http://schemas.microsoft.com/office/drawing/2014/main" id="{BC237E43-FDD5-4FDC-8C88-3D3E992DDCCE}"/>
                </a:ext>
              </a:extLst>
            </p:cNvPr>
            <p:cNvSpPr/>
            <p:nvPr/>
          </p:nvSpPr>
          <p:spPr>
            <a:xfrm rot="8716295">
              <a:off x="4115344" y="2074537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" name="Forme libre : forme 220">
              <a:extLst>
                <a:ext uri="{FF2B5EF4-FFF2-40B4-BE49-F238E27FC236}">
                  <a16:creationId xmlns:a16="http://schemas.microsoft.com/office/drawing/2014/main" id="{74F2CD5F-27E1-4B05-BDE3-F9CAEE63E34B}"/>
                </a:ext>
              </a:extLst>
            </p:cNvPr>
            <p:cNvSpPr/>
            <p:nvPr/>
          </p:nvSpPr>
          <p:spPr>
            <a:xfrm rot="8716295">
              <a:off x="4250643" y="2118796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" name="Forme libre : forme 221">
              <a:extLst>
                <a:ext uri="{FF2B5EF4-FFF2-40B4-BE49-F238E27FC236}">
                  <a16:creationId xmlns:a16="http://schemas.microsoft.com/office/drawing/2014/main" id="{3D2EAE98-2CEC-4E31-BF79-1D13D51EDB3B}"/>
                </a:ext>
              </a:extLst>
            </p:cNvPr>
            <p:cNvSpPr/>
            <p:nvPr/>
          </p:nvSpPr>
          <p:spPr>
            <a:xfrm rot="8716295">
              <a:off x="4182761" y="1988208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" name="Forme libre : forme 222">
              <a:extLst>
                <a:ext uri="{FF2B5EF4-FFF2-40B4-BE49-F238E27FC236}">
                  <a16:creationId xmlns:a16="http://schemas.microsoft.com/office/drawing/2014/main" id="{F7C21745-E98A-49A1-BB89-EF4C58D2B535}"/>
                </a:ext>
              </a:extLst>
            </p:cNvPr>
            <p:cNvSpPr/>
            <p:nvPr/>
          </p:nvSpPr>
          <p:spPr>
            <a:xfrm rot="8716295">
              <a:off x="3945473" y="220855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" name="Forme libre : forme 223">
              <a:extLst>
                <a:ext uri="{FF2B5EF4-FFF2-40B4-BE49-F238E27FC236}">
                  <a16:creationId xmlns:a16="http://schemas.microsoft.com/office/drawing/2014/main" id="{3C933A0E-48CB-40A4-AD69-869889C9C116}"/>
                </a:ext>
              </a:extLst>
            </p:cNvPr>
            <p:cNvSpPr/>
            <p:nvPr/>
          </p:nvSpPr>
          <p:spPr>
            <a:xfrm rot="8716295">
              <a:off x="3756427" y="189271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" name="Forme libre : forme 224">
              <a:extLst>
                <a:ext uri="{FF2B5EF4-FFF2-40B4-BE49-F238E27FC236}">
                  <a16:creationId xmlns:a16="http://schemas.microsoft.com/office/drawing/2014/main" id="{A02DB2FC-04B5-4966-BEE6-FB30AD9722F6}"/>
                </a:ext>
              </a:extLst>
            </p:cNvPr>
            <p:cNvSpPr/>
            <p:nvPr/>
          </p:nvSpPr>
          <p:spPr>
            <a:xfrm rot="8716295">
              <a:off x="3738186" y="1682667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" name="Forme libre : forme 225">
              <a:extLst>
                <a:ext uri="{FF2B5EF4-FFF2-40B4-BE49-F238E27FC236}">
                  <a16:creationId xmlns:a16="http://schemas.microsoft.com/office/drawing/2014/main" id="{F8510F0D-1176-4749-A0F4-7938F16AABD4}"/>
                </a:ext>
              </a:extLst>
            </p:cNvPr>
            <p:cNvSpPr/>
            <p:nvPr/>
          </p:nvSpPr>
          <p:spPr>
            <a:xfrm rot="8716295">
              <a:off x="4081962" y="2270535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" name="Forme libre : forme 226">
              <a:extLst>
                <a:ext uri="{FF2B5EF4-FFF2-40B4-BE49-F238E27FC236}">
                  <a16:creationId xmlns:a16="http://schemas.microsoft.com/office/drawing/2014/main" id="{7359A2E2-1A1C-4AB5-9888-9A67C8F381ED}"/>
                </a:ext>
              </a:extLst>
            </p:cNvPr>
            <p:cNvSpPr/>
            <p:nvPr/>
          </p:nvSpPr>
          <p:spPr>
            <a:xfrm rot="8716295">
              <a:off x="4552908" y="169592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" name="Forme libre : forme 227">
              <a:extLst>
                <a:ext uri="{FF2B5EF4-FFF2-40B4-BE49-F238E27FC236}">
                  <a16:creationId xmlns:a16="http://schemas.microsoft.com/office/drawing/2014/main" id="{F162CF17-3696-46D1-BBA9-E595114BD290}"/>
                </a:ext>
              </a:extLst>
            </p:cNvPr>
            <p:cNvSpPr/>
            <p:nvPr/>
          </p:nvSpPr>
          <p:spPr>
            <a:xfrm rot="8716295">
              <a:off x="4688207" y="174018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" name="Forme libre : forme 228">
              <a:extLst>
                <a:ext uri="{FF2B5EF4-FFF2-40B4-BE49-F238E27FC236}">
                  <a16:creationId xmlns:a16="http://schemas.microsoft.com/office/drawing/2014/main" id="{CB7640C0-A77D-4C20-99F3-99AC8C5EA399}"/>
                </a:ext>
              </a:extLst>
            </p:cNvPr>
            <p:cNvSpPr/>
            <p:nvPr/>
          </p:nvSpPr>
          <p:spPr>
            <a:xfrm rot="8716295">
              <a:off x="4383037" y="182993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" name="Forme libre : forme 229">
              <a:extLst>
                <a:ext uri="{FF2B5EF4-FFF2-40B4-BE49-F238E27FC236}">
                  <a16:creationId xmlns:a16="http://schemas.microsoft.com/office/drawing/2014/main" id="{7221721D-60FE-4C4C-9396-20240CB24747}"/>
                </a:ext>
              </a:extLst>
            </p:cNvPr>
            <p:cNvSpPr/>
            <p:nvPr/>
          </p:nvSpPr>
          <p:spPr>
            <a:xfrm rot="8716295">
              <a:off x="4193993" y="151410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" name="Forme libre : forme 230">
              <a:extLst>
                <a:ext uri="{FF2B5EF4-FFF2-40B4-BE49-F238E27FC236}">
                  <a16:creationId xmlns:a16="http://schemas.microsoft.com/office/drawing/2014/main" id="{72815BA9-45F4-424C-8C61-85FB1E0CD670}"/>
                </a:ext>
              </a:extLst>
            </p:cNvPr>
            <p:cNvSpPr/>
            <p:nvPr/>
          </p:nvSpPr>
          <p:spPr>
            <a:xfrm rot="8716295">
              <a:off x="4519525" y="1891919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" name="Forme libre : forme 231">
              <a:extLst>
                <a:ext uri="{FF2B5EF4-FFF2-40B4-BE49-F238E27FC236}">
                  <a16:creationId xmlns:a16="http://schemas.microsoft.com/office/drawing/2014/main" id="{2386F46E-7D0B-4733-83CE-A3BA85A841D0}"/>
                </a:ext>
              </a:extLst>
            </p:cNvPr>
            <p:cNvSpPr/>
            <p:nvPr/>
          </p:nvSpPr>
          <p:spPr>
            <a:xfrm rot="8716295">
              <a:off x="4154079" y="1665493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" name="Forme libre : forme 232">
              <a:extLst>
                <a:ext uri="{FF2B5EF4-FFF2-40B4-BE49-F238E27FC236}">
                  <a16:creationId xmlns:a16="http://schemas.microsoft.com/office/drawing/2014/main" id="{7C49EAA5-EA80-4FD2-B8EE-8A5326A137F1}"/>
                </a:ext>
              </a:extLst>
            </p:cNvPr>
            <p:cNvSpPr/>
            <p:nvPr/>
          </p:nvSpPr>
          <p:spPr>
            <a:xfrm rot="7484129">
              <a:off x="4678343" y="218153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" name="Forme libre : forme 233">
              <a:extLst>
                <a:ext uri="{FF2B5EF4-FFF2-40B4-BE49-F238E27FC236}">
                  <a16:creationId xmlns:a16="http://schemas.microsoft.com/office/drawing/2014/main" id="{E5F42144-89A8-465A-AA8E-5830C7BF1E60}"/>
                </a:ext>
              </a:extLst>
            </p:cNvPr>
            <p:cNvSpPr/>
            <p:nvPr/>
          </p:nvSpPr>
          <p:spPr>
            <a:xfrm rot="13089394">
              <a:off x="4836993" y="2130885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" name="Forme libre : forme 234">
              <a:extLst>
                <a:ext uri="{FF2B5EF4-FFF2-40B4-BE49-F238E27FC236}">
                  <a16:creationId xmlns:a16="http://schemas.microsoft.com/office/drawing/2014/main" id="{4B643A7D-0F4D-44EF-8082-E475252D919E}"/>
                </a:ext>
              </a:extLst>
            </p:cNvPr>
            <p:cNvSpPr/>
            <p:nvPr/>
          </p:nvSpPr>
          <p:spPr>
            <a:xfrm rot="8716295">
              <a:off x="5117884" y="1840767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" name="Forme libre : forme 235">
              <a:extLst>
                <a:ext uri="{FF2B5EF4-FFF2-40B4-BE49-F238E27FC236}">
                  <a16:creationId xmlns:a16="http://schemas.microsoft.com/office/drawing/2014/main" id="{A286EB77-2A92-49EB-B662-F67A780E72C3}"/>
                </a:ext>
              </a:extLst>
            </p:cNvPr>
            <p:cNvSpPr/>
            <p:nvPr/>
          </p:nvSpPr>
          <p:spPr>
            <a:xfrm rot="8716295">
              <a:off x="5039475" y="1683975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" name="Forme libre : forme 236">
              <a:extLst>
                <a:ext uri="{FF2B5EF4-FFF2-40B4-BE49-F238E27FC236}">
                  <a16:creationId xmlns:a16="http://schemas.microsoft.com/office/drawing/2014/main" id="{D76415DF-3D0E-46A1-A992-CAEF6C90F935}"/>
                </a:ext>
              </a:extLst>
            </p:cNvPr>
            <p:cNvSpPr/>
            <p:nvPr/>
          </p:nvSpPr>
          <p:spPr>
            <a:xfrm rot="8716295">
              <a:off x="4671311" y="172971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" name="Forme libre : forme 237">
              <a:extLst>
                <a:ext uri="{FF2B5EF4-FFF2-40B4-BE49-F238E27FC236}">
                  <a16:creationId xmlns:a16="http://schemas.microsoft.com/office/drawing/2014/main" id="{22B5BB48-3533-4C75-B095-5C6392290E1E}"/>
                </a:ext>
              </a:extLst>
            </p:cNvPr>
            <p:cNvSpPr/>
            <p:nvPr/>
          </p:nvSpPr>
          <p:spPr>
            <a:xfrm rot="8716295">
              <a:off x="4939893" y="148869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" name="Forme libre : forme 238">
              <a:extLst>
                <a:ext uri="{FF2B5EF4-FFF2-40B4-BE49-F238E27FC236}">
                  <a16:creationId xmlns:a16="http://schemas.microsoft.com/office/drawing/2014/main" id="{D4F7953A-EB21-471D-9CE6-DFD037BB3D9B}"/>
                </a:ext>
              </a:extLst>
            </p:cNvPr>
            <p:cNvSpPr/>
            <p:nvPr/>
          </p:nvSpPr>
          <p:spPr>
            <a:xfrm rot="8716295">
              <a:off x="3777571" y="1076054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" name="Forme libre : forme 239">
              <a:extLst>
                <a:ext uri="{FF2B5EF4-FFF2-40B4-BE49-F238E27FC236}">
                  <a16:creationId xmlns:a16="http://schemas.microsoft.com/office/drawing/2014/main" id="{B31F3CAF-6E5C-4883-9D56-37A77E8E54A5}"/>
                </a:ext>
              </a:extLst>
            </p:cNvPr>
            <p:cNvSpPr/>
            <p:nvPr/>
          </p:nvSpPr>
          <p:spPr>
            <a:xfrm rot="8716295">
              <a:off x="3912870" y="1120313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" name="Forme libre : forme 240">
              <a:extLst>
                <a:ext uri="{FF2B5EF4-FFF2-40B4-BE49-F238E27FC236}">
                  <a16:creationId xmlns:a16="http://schemas.microsoft.com/office/drawing/2014/main" id="{C147FD5B-3693-4B4F-88B4-175EF4DCAB5D}"/>
                </a:ext>
              </a:extLst>
            </p:cNvPr>
            <p:cNvSpPr/>
            <p:nvPr/>
          </p:nvSpPr>
          <p:spPr>
            <a:xfrm rot="8716295">
              <a:off x="3844988" y="989725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" name="Forme libre : forme 241">
              <a:extLst>
                <a:ext uri="{FF2B5EF4-FFF2-40B4-BE49-F238E27FC236}">
                  <a16:creationId xmlns:a16="http://schemas.microsoft.com/office/drawing/2014/main" id="{ADDA2175-F82B-4C1C-A775-DCF7ED389EE1}"/>
                </a:ext>
              </a:extLst>
            </p:cNvPr>
            <p:cNvSpPr/>
            <p:nvPr/>
          </p:nvSpPr>
          <p:spPr>
            <a:xfrm rot="8716295">
              <a:off x="3607700" y="121006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" name="Forme libre : forme 242">
              <a:extLst>
                <a:ext uri="{FF2B5EF4-FFF2-40B4-BE49-F238E27FC236}">
                  <a16:creationId xmlns:a16="http://schemas.microsoft.com/office/drawing/2014/main" id="{3DA66E2A-B271-4CA4-B9FF-6AFE032DC966}"/>
                </a:ext>
              </a:extLst>
            </p:cNvPr>
            <p:cNvSpPr/>
            <p:nvPr/>
          </p:nvSpPr>
          <p:spPr>
            <a:xfrm rot="8716295">
              <a:off x="3418654" y="89423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" name="Forme libre : forme 243">
              <a:extLst>
                <a:ext uri="{FF2B5EF4-FFF2-40B4-BE49-F238E27FC236}">
                  <a16:creationId xmlns:a16="http://schemas.microsoft.com/office/drawing/2014/main" id="{5F0B065E-4F1B-43F1-9813-90200634675E}"/>
                </a:ext>
              </a:extLst>
            </p:cNvPr>
            <p:cNvSpPr/>
            <p:nvPr/>
          </p:nvSpPr>
          <p:spPr>
            <a:xfrm rot="8716295">
              <a:off x="3400413" y="68418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" name="Forme libre : forme 244">
              <a:extLst>
                <a:ext uri="{FF2B5EF4-FFF2-40B4-BE49-F238E27FC236}">
                  <a16:creationId xmlns:a16="http://schemas.microsoft.com/office/drawing/2014/main" id="{20854BC4-5849-4EDA-A9AD-8A9CB02779EC}"/>
                </a:ext>
              </a:extLst>
            </p:cNvPr>
            <p:cNvSpPr/>
            <p:nvPr/>
          </p:nvSpPr>
          <p:spPr>
            <a:xfrm rot="8716295">
              <a:off x="3744189" y="1272052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" name="Forme libre : forme 245">
              <a:extLst>
                <a:ext uri="{FF2B5EF4-FFF2-40B4-BE49-F238E27FC236}">
                  <a16:creationId xmlns:a16="http://schemas.microsoft.com/office/drawing/2014/main" id="{7833AF6E-AF2A-42B3-84D3-9F8F342AAC2A}"/>
                </a:ext>
              </a:extLst>
            </p:cNvPr>
            <p:cNvSpPr/>
            <p:nvPr/>
          </p:nvSpPr>
          <p:spPr>
            <a:xfrm rot="8716295">
              <a:off x="4215135" y="69743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" name="Forme libre : forme 246">
              <a:extLst>
                <a:ext uri="{FF2B5EF4-FFF2-40B4-BE49-F238E27FC236}">
                  <a16:creationId xmlns:a16="http://schemas.microsoft.com/office/drawing/2014/main" id="{5CCDB5E7-FFA9-4665-85A4-71445280D93D}"/>
                </a:ext>
              </a:extLst>
            </p:cNvPr>
            <p:cNvSpPr/>
            <p:nvPr/>
          </p:nvSpPr>
          <p:spPr>
            <a:xfrm rot="8716295">
              <a:off x="4350434" y="74169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" name="Forme libre : forme 247">
              <a:extLst>
                <a:ext uri="{FF2B5EF4-FFF2-40B4-BE49-F238E27FC236}">
                  <a16:creationId xmlns:a16="http://schemas.microsoft.com/office/drawing/2014/main" id="{2DD39E77-D511-475C-B9A4-1F96A0A8FEEA}"/>
                </a:ext>
              </a:extLst>
            </p:cNvPr>
            <p:cNvSpPr/>
            <p:nvPr/>
          </p:nvSpPr>
          <p:spPr>
            <a:xfrm rot="8716295">
              <a:off x="4045264" y="83145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" name="Forme libre : forme 248">
              <a:extLst>
                <a:ext uri="{FF2B5EF4-FFF2-40B4-BE49-F238E27FC236}">
                  <a16:creationId xmlns:a16="http://schemas.microsoft.com/office/drawing/2014/main" id="{37119436-3DF5-44F0-88C8-59BCDF9BA3E8}"/>
                </a:ext>
              </a:extLst>
            </p:cNvPr>
            <p:cNvSpPr/>
            <p:nvPr/>
          </p:nvSpPr>
          <p:spPr>
            <a:xfrm rot="8716295">
              <a:off x="3856220" y="51561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" name="Forme libre : forme 249">
              <a:extLst>
                <a:ext uri="{FF2B5EF4-FFF2-40B4-BE49-F238E27FC236}">
                  <a16:creationId xmlns:a16="http://schemas.microsoft.com/office/drawing/2014/main" id="{5EFF1AF7-D116-4A78-8A60-0881E3BE9924}"/>
                </a:ext>
              </a:extLst>
            </p:cNvPr>
            <p:cNvSpPr/>
            <p:nvPr/>
          </p:nvSpPr>
          <p:spPr>
            <a:xfrm rot="8716295">
              <a:off x="4181753" y="893436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" name="Forme libre : forme 250">
              <a:extLst>
                <a:ext uri="{FF2B5EF4-FFF2-40B4-BE49-F238E27FC236}">
                  <a16:creationId xmlns:a16="http://schemas.microsoft.com/office/drawing/2014/main" id="{C38BBAB8-EA94-46A9-B44D-F77A303742D6}"/>
                </a:ext>
              </a:extLst>
            </p:cNvPr>
            <p:cNvSpPr/>
            <p:nvPr/>
          </p:nvSpPr>
          <p:spPr>
            <a:xfrm rot="8716295">
              <a:off x="3816306" y="66701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" name="Forme libre : forme 251">
              <a:extLst>
                <a:ext uri="{FF2B5EF4-FFF2-40B4-BE49-F238E27FC236}">
                  <a16:creationId xmlns:a16="http://schemas.microsoft.com/office/drawing/2014/main" id="{726FB4EE-DE4A-475E-B9CA-BDA728B96056}"/>
                </a:ext>
              </a:extLst>
            </p:cNvPr>
            <p:cNvSpPr/>
            <p:nvPr/>
          </p:nvSpPr>
          <p:spPr>
            <a:xfrm rot="7484129">
              <a:off x="4340570" y="118305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" name="Forme libre : forme 252">
              <a:extLst>
                <a:ext uri="{FF2B5EF4-FFF2-40B4-BE49-F238E27FC236}">
                  <a16:creationId xmlns:a16="http://schemas.microsoft.com/office/drawing/2014/main" id="{3778C4A8-DD8F-40FB-BF36-85A62335E025}"/>
                </a:ext>
              </a:extLst>
            </p:cNvPr>
            <p:cNvSpPr/>
            <p:nvPr/>
          </p:nvSpPr>
          <p:spPr>
            <a:xfrm rot="13089394">
              <a:off x="4499220" y="1132402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" name="Forme libre : forme 253">
              <a:extLst>
                <a:ext uri="{FF2B5EF4-FFF2-40B4-BE49-F238E27FC236}">
                  <a16:creationId xmlns:a16="http://schemas.microsoft.com/office/drawing/2014/main" id="{E67B04C4-DF6C-4AF3-A306-EC57702A7EA7}"/>
                </a:ext>
              </a:extLst>
            </p:cNvPr>
            <p:cNvSpPr/>
            <p:nvPr/>
          </p:nvSpPr>
          <p:spPr>
            <a:xfrm rot="8716295">
              <a:off x="4780111" y="842284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" name="Forme libre : forme 254">
              <a:extLst>
                <a:ext uri="{FF2B5EF4-FFF2-40B4-BE49-F238E27FC236}">
                  <a16:creationId xmlns:a16="http://schemas.microsoft.com/office/drawing/2014/main" id="{0C3B947F-A89B-45FB-9A8F-3A9BCC6CD484}"/>
                </a:ext>
              </a:extLst>
            </p:cNvPr>
            <p:cNvSpPr/>
            <p:nvPr/>
          </p:nvSpPr>
          <p:spPr>
            <a:xfrm rot="8716295">
              <a:off x="4701702" y="68549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" name="Forme libre : forme 255">
              <a:extLst>
                <a:ext uri="{FF2B5EF4-FFF2-40B4-BE49-F238E27FC236}">
                  <a16:creationId xmlns:a16="http://schemas.microsoft.com/office/drawing/2014/main" id="{65FF4858-B1A0-42D2-ADCA-DB484EB1FE6D}"/>
                </a:ext>
              </a:extLst>
            </p:cNvPr>
            <p:cNvSpPr/>
            <p:nvPr/>
          </p:nvSpPr>
          <p:spPr>
            <a:xfrm rot="8716295">
              <a:off x="4333538" y="73123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" name="Forme libre : forme 256">
              <a:extLst>
                <a:ext uri="{FF2B5EF4-FFF2-40B4-BE49-F238E27FC236}">
                  <a16:creationId xmlns:a16="http://schemas.microsoft.com/office/drawing/2014/main" id="{28C1BE2D-A511-4E2F-AC16-ED6DA95D0016}"/>
                </a:ext>
              </a:extLst>
            </p:cNvPr>
            <p:cNvSpPr/>
            <p:nvPr/>
          </p:nvSpPr>
          <p:spPr>
            <a:xfrm rot="8716295">
              <a:off x="4602120" y="49021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" name="Forme libre : forme 257">
              <a:extLst>
                <a:ext uri="{FF2B5EF4-FFF2-40B4-BE49-F238E27FC236}">
                  <a16:creationId xmlns:a16="http://schemas.microsoft.com/office/drawing/2014/main" id="{414A6022-94D3-4CA0-800F-BAEAE0FC105C}"/>
                </a:ext>
              </a:extLst>
            </p:cNvPr>
            <p:cNvSpPr/>
            <p:nvPr/>
          </p:nvSpPr>
          <p:spPr>
            <a:xfrm rot="8716295">
              <a:off x="3446198" y="7400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" name="Forme libre : forme 258">
              <a:extLst>
                <a:ext uri="{FF2B5EF4-FFF2-40B4-BE49-F238E27FC236}">
                  <a16:creationId xmlns:a16="http://schemas.microsoft.com/office/drawing/2014/main" id="{2CDD9144-31FA-487A-AF8B-34A135FB089A}"/>
                </a:ext>
              </a:extLst>
            </p:cNvPr>
            <p:cNvSpPr/>
            <p:nvPr/>
          </p:nvSpPr>
          <p:spPr>
            <a:xfrm rot="8716295">
              <a:off x="3581496" y="11826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" name="Forme libre : forme 259">
              <a:extLst>
                <a:ext uri="{FF2B5EF4-FFF2-40B4-BE49-F238E27FC236}">
                  <a16:creationId xmlns:a16="http://schemas.microsoft.com/office/drawing/2014/main" id="{7FE16051-BF2A-4B51-837A-7B2C211B57E4}"/>
                </a:ext>
              </a:extLst>
            </p:cNvPr>
            <p:cNvSpPr/>
            <p:nvPr/>
          </p:nvSpPr>
          <p:spPr>
            <a:xfrm rot="8716295">
              <a:off x="3522597" y="36248"/>
              <a:ext cx="234675" cy="172489"/>
            </a:xfrm>
            <a:custGeom>
              <a:avLst/>
              <a:gdLst>
                <a:gd name="connsiteX0" fmla="*/ 25756 w 155050"/>
                <a:gd name="connsiteY0" fmla="*/ 113964 h 113964"/>
                <a:gd name="connsiteX1" fmla="*/ 0 w 155050"/>
                <a:gd name="connsiteY1" fmla="*/ 96110 h 113964"/>
                <a:gd name="connsiteX2" fmla="*/ 72120 w 155050"/>
                <a:gd name="connsiteY2" fmla="*/ 28251 h 113964"/>
                <a:gd name="connsiteX3" fmla="*/ 126799 w 155050"/>
                <a:gd name="connsiteY3" fmla="*/ 0 h 113964"/>
                <a:gd name="connsiteX4" fmla="*/ 155050 w 155050"/>
                <a:gd name="connsiteY4" fmla="*/ 33719 h 113964"/>
                <a:gd name="connsiteX5" fmla="*/ 128622 w 155050"/>
                <a:gd name="connsiteY5" fmla="*/ 69261 h 113964"/>
                <a:gd name="connsiteX6" fmla="*/ 129077 w 155050"/>
                <a:gd name="connsiteY6" fmla="*/ 69261 h 113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5050" h="113964">
                  <a:moveTo>
                    <a:pt x="25756" y="113964"/>
                  </a:moveTo>
                  <a:lnTo>
                    <a:pt x="0" y="96110"/>
                  </a:lnTo>
                  <a:lnTo>
                    <a:pt x="72120" y="28251"/>
                  </a:lnTo>
                  <a:cubicBezTo>
                    <a:pt x="85790" y="12303"/>
                    <a:pt x="105383" y="2279"/>
                    <a:pt x="126799" y="0"/>
                  </a:cubicBezTo>
                  <a:cubicBezTo>
                    <a:pt x="148671" y="0"/>
                    <a:pt x="155050" y="19138"/>
                    <a:pt x="155050" y="33719"/>
                  </a:cubicBezTo>
                  <a:cubicBezTo>
                    <a:pt x="153683" y="49668"/>
                    <a:pt x="143203" y="62882"/>
                    <a:pt x="128622" y="69261"/>
                  </a:cubicBezTo>
                  <a:lnTo>
                    <a:pt x="129077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" name="Forme libre : forme 260">
              <a:extLst>
                <a:ext uri="{FF2B5EF4-FFF2-40B4-BE49-F238E27FC236}">
                  <a16:creationId xmlns:a16="http://schemas.microsoft.com/office/drawing/2014/main" id="{FB6AA26B-D49A-416A-8CAC-16E489B31447}"/>
                </a:ext>
              </a:extLst>
            </p:cNvPr>
            <p:cNvSpPr/>
            <p:nvPr/>
          </p:nvSpPr>
          <p:spPr>
            <a:xfrm rot="8716295">
              <a:off x="3276327" y="20801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" name="Forme libre : forme 261">
              <a:extLst>
                <a:ext uri="{FF2B5EF4-FFF2-40B4-BE49-F238E27FC236}">
                  <a16:creationId xmlns:a16="http://schemas.microsoft.com/office/drawing/2014/main" id="{28AC6B7B-6FBF-49BE-A75A-A0128A514084}"/>
                </a:ext>
              </a:extLst>
            </p:cNvPr>
            <p:cNvSpPr/>
            <p:nvPr/>
          </p:nvSpPr>
          <p:spPr>
            <a:xfrm rot="8716295">
              <a:off x="3107933" y="-20072"/>
              <a:ext cx="308531" cy="199994"/>
            </a:xfrm>
            <a:custGeom>
              <a:avLst/>
              <a:gdLst>
                <a:gd name="connsiteX0" fmla="*/ 112633 w 203847"/>
                <a:gd name="connsiteY0" fmla="*/ 132136 h 132136"/>
                <a:gd name="connsiteX1" fmla="*/ 56185 w 203847"/>
                <a:gd name="connsiteY1" fmla="*/ 93008 h 132136"/>
                <a:gd name="connsiteX2" fmla="*/ 69777 w 203847"/>
                <a:gd name="connsiteY2" fmla="*/ 55323 h 132136"/>
                <a:gd name="connsiteX3" fmla="*/ 1818 w 203847"/>
                <a:gd name="connsiteY3" fmla="*/ 55323 h 132136"/>
                <a:gd name="connsiteX4" fmla="*/ 0 w 203847"/>
                <a:gd name="connsiteY4" fmla="*/ 54062 h 132136"/>
                <a:gd name="connsiteX5" fmla="*/ 0 w 203847"/>
                <a:gd name="connsiteY5" fmla="*/ 0 h 132136"/>
                <a:gd name="connsiteX6" fmla="*/ 203847 w 203847"/>
                <a:gd name="connsiteY6" fmla="*/ 0 h 132136"/>
                <a:gd name="connsiteX7" fmla="*/ 203847 w 203847"/>
                <a:gd name="connsiteY7" fmla="*/ 55323 h 132136"/>
                <a:gd name="connsiteX8" fmla="*/ 139055 w 203847"/>
                <a:gd name="connsiteY8" fmla="*/ 55323 h 132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32136">
                  <a:moveTo>
                    <a:pt x="112633" y="132136"/>
                  </a:moveTo>
                  <a:lnTo>
                    <a:pt x="56185" y="93008"/>
                  </a:lnTo>
                  <a:lnTo>
                    <a:pt x="69777" y="55323"/>
                  </a:lnTo>
                  <a:lnTo>
                    <a:pt x="1818" y="55323"/>
                  </a:lnTo>
                  <a:lnTo>
                    <a:pt x="0" y="54062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" name="Forme libre : forme 262">
              <a:extLst>
                <a:ext uri="{FF2B5EF4-FFF2-40B4-BE49-F238E27FC236}">
                  <a16:creationId xmlns:a16="http://schemas.microsoft.com/office/drawing/2014/main" id="{CE04BDAF-0764-44CB-B173-496F062D8434}"/>
                </a:ext>
              </a:extLst>
            </p:cNvPr>
            <p:cNvSpPr/>
            <p:nvPr/>
          </p:nvSpPr>
          <p:spPr>
            <a:xfrm rot="8716295">
              <a:off x="3475628" y="-31540"/>
              <a:ext cx="98161" cy="118527"/>
            </a:xfrm>
            <a:custGeom>
              <a:avLst/>
              <a:gdLst>
                <a:gd name="connsiteX0" fmla="*/ 64855 w 64855"/>
                <a:gd name="connsiteY0" fmla="*/ 78311 h 78311"/>
                <a:gd name="connsiteX1" fmla="*/ 0 w 64855"/>
                <a:gd name="connsiteY1" fmla="*/ 33356 h 78311"/>
                <a:gd name="connsiteX2" fmla="*/ 64294 w 64855"/>
                <a:gd name="connsiteY2" fmla="*/ 0 h 78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855" h="78311">
                  <a:moveTo>
                    <a:pt x="64855" y="78311"/>
                  </a:moveTo>
                  <a:lnTo>
                    <a:pt x="0" y="33356"/>
                  </a:lnTo>
                  <a:lnTo>
                    <a:pt x="64294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" name="Forme libre : forme 263">
              <a:extLst>
                <a:ext uri="{FF2B5EF4-FFF2-40B4-BE49-F238E27FC236}">
                  <a16:creationId xmlns:a16="http://schemas.microsoft.com/office/drawing/2014/main" id="{79FA5AFC-AB70-4D92-BC44-1181877F58C8}"/>
                </a:ext>
              </a:extLst>
            </p:cNvPr>
            <p:cNvSpPr/>
            <p:nvPr/>
          </p:nvSpPr>
          <p:spPr>
            <a:xfrm rot="8716295">
              <a:off x="3412815" y="26999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" name="Forme libre : forme 264">
              <a:extLst>
                <a:ext uri="{FF2B5EF4-FFF2-40B4-BE49-F238E27FC236}">
                  <a16:creationId xmlns:a16="http://schemas.microsoft.com/office/drawing/2014/main" id="{3C1D95D8-2F29-45A0-9BA8-42D88BD37B32}"/>
                </a:ext>
              </a:extLst>
            </p:cNvPr>
            <p:cNvSpPr/>
            <p:nvPr/>
          </p:nvSpPr>
          <p:spPr>
            <a:xfrm rot="8716295">
              <a:off x="3966406" y="-35912"/>
              <a:ext cx="123741" cy="85774"/>
            </a:xfrm>
            <a:custGeom>
              <a:avLst/>
              <a:gdLst>
                <a:gd name="connsiteX0" fmla="*/ 81756 w 81756"/>
                <a:gd name="connsiteY0" fmla="*/ 56671 h 56671"/>
                <a:gd name="connsiteX1" fmla="*/ 0 w 81756"/>
                <a:gd name="connsiteY1" fmla="*/ 0 h 56671"/>
                <a:gd name="connsiteX2" fmla="*/ 24798 w 81756"/>
                <a:gd name="connsiteY2" fmla="*/ 0 h 56671"/>
                <a:gd name="connsiteX3" fmla="*/ 81756 w 81756"/>
                <a:gd name="connsiteY3" fmla="*/ 50123 h 56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1756" h="56671">
                  <a:moveTo>
                    <a:pt x="81756" y="56671"/>
                  </a:moveTo>
                  <a:lnTo>
                    <a:pt x="0" y="0"/>
                  </a:lnTo>
                  <a:lnTo>
                    <a:pt x="24798" y="0"/>
                  </a:lnTo>
                  <a:cubicBezTo>
                    <a:pt x="61707" y="0"/>
                    <a:pt x="81756" y="15949"/>
                    <a:pt x="81756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" name="Forme libre : forme 265">
              <a:extLst>
                <a:ext uri="{FF2B5EF4-FFF2-40B4-BE49-F238E27FC236}">
                  <a16:creationId xmlns:a16="http://schemas.microsoft.com/office/drawing/2014/main" id="{58EB0588-BD8B-459E-AF8B-F1A7C9A84E72}"/>
                </a:ext>
              </a:extLst>
            </p:cNvPr>
            <p:cNvSpPr/>
            <p:nvPr/>
          </p:nvSpPr>
          <p:spPr>
            <a:xfrm rot="8716295">
              <a:off x="4089146" y="-31808"/>
              <a:ext cx="332088" cy="148365"/>
            </a:xfrm>
            <a:custGeom>
              <a:avLst/>
              <a:gdLst>
                <a:gd name="connsiteX0" fmla="*/ 63575 w 219411"/>
                <a:gd name="connsiteY0" fmla="*/ 45493 h 98025"/>
                <a:gd name="connsiteX1" fmla="*/ 0 w 219411"/>
                <a:gd name="connsiteY1" fmla="*/ 1425 h 98025"/>
                <a:gd name="connsiteX2" fmla="*/ 63575 w 219411"/>
                <a:gd name="connsiteY2" fmla="*/ 1425 h 98025"/>
                <a:gd name="connsiteX3" fmla="*/ 88634 w 219411"/>
                <a:gd name="connsiteY3" fmla="*/ 62863 h 98025"/>
                <a:gd name="connsiteX4" fmla="*/ 73596 w 219411"/>
                <a:gd name="connsiteY4" fmla="*/ 52439 h 98025"/>
                <a:gd name="connsiteX5" fmla="*/ 75493 w 219411"/>
                <a:gd name="connsiteY5" fmla="*/ 47439 h 98025"/>
                <a:gd name="connsiteX6" fmla="*/ 112786 w 219411"/>
                <a:gd name="connsiteY6" fmla="*/ 5981 h 98025"/>
                <a:gd name="connsiteX7" fmla="*/ 144227 w 219411"/>
                <a:gd name="connsiteY7" fmla="*/ 57 h 98025"/>
                <a:gd name="connsiteX8" fmla="*/ 219411 w 219411"/>
                <a:gd name="connsiteY8" fmla="*/ 88456 h 98025"/>
                <a:gd name="connsiteX9" fmla="*/ 219411 w 219411"/>
                <a:gd name="connsiteY9" fmla="*/ 94380 h 98025"/>
                <a:gd name="connsiteX10" fmla="*/ 157441 w 219411"/>
                <a:gd name="connsiteY10" fmla="*/ 98025 h 98025"/>
                <a:gd name="connsiteX11" fmla="*/ 157441 w 219411"/>
                <a:gd name="connsiteY11" fmla="*/ 81621 h 98025"/>
                <a:gd name="connsiteX12" fmla="*/ 123722 w 219411"/>
                <a:gd name="connsiteY12" fmla="*/ 40156 h 98025"/>
                <a:gd name="connsiteX13" fmla="*/ 103089 w 219411"/>
                <a:gd name="connsiteY13" fmla="*/ 46969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9411" h="98025">
                  <a:moveTo>
                    <a:pt x="63575" y="45493"/>
                  </a:moveTo>
                  <a:lnTo>
                    <a:pt x="0" y="1425"/>
                  </a:lnTo>
                  <a:lnTo>
                    <a:pt x="63575" y="1425"/>
                  </a:lnTo>
                  <a:close/>
                  <a:moveTo>
                    <a:pt x="88634" y="62863"/>
                  </a:moveTo>
                  <a:lnTo>
                    <a:pt x="73596" y="52439"/>
                  </a:lnTo>
                  <a:lnTo>
                    <a:pt x="75493" y="47439"/>
                  </a:lnTo>
                  <a:cubicBezTo>
                    <a:pt x="85874" y="24008"/>
                    <a:pt x="96382" y="12816"/>
                    <a:pt x="112786" y="5981"/>
                  </a:cubicBezTo>
                  <a:cubicBezTo>
                    <a:pt x="122811" y="1880"/>
                    <a:pt x="133291" y="-398"/>
                    <a:pt x="144227" y="57"/>
                  </a:cubicBezTo>
                  <a:cubicBezTo>
                    <a:pt x="191160" y="-854"/>
                    <a:pt x="219411" y="31954"/>
                    <a:pt x="219411" y="88456"/>
                  </a:cubicBezTo>
                  <a:lnTo>
                    <a:pt x="219411" y="94380"/>
                  </a:lnTo>
                  <a:lnTo>
                    <a:pt x="157441" y="98025"/>
                  </a:lnTo>
                  <a:lnTo>
                    <a:pt x="157441" y="81621"/>
                  </a:lnTo>
                  <a:cubicBezTo>
                    <a:pt x="157441" y="57016"/>
                    <a:pt x="143316" y="40156"/>
                    <a:pt x="123722" y="40156"/>
                  </a:cubicBezTo>
                  <a:cubicBezTo>
                    <a:pt x="116431" y="40156"/>
                    <a:pt x="109454" y="42577"/>
                    <a:pt x="103089" y="4696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" name="Forme libre : forme 266">
              <a:extLst>
                <a:ext uri="{FF2B5EF4-FFF2-40B4-BE49-F238E27FC236}">
                  <a16:creationId xmlns:a16="http://schemas.microsoft.com/office/drawing/2014/main" id="{8BF71B65-6E28-4BBD-90CF-EB6990FA2B3D}"/>
                </a:ext>
              </a:extLst>
            </p:cNvPr>
            <p:cNvSpPr/>
            <p:nvPr/>
          </p:nvSpPr>
          <p:spPr>
            <a:xfrm rot="8716295">
              <a:off x="3850379" y="-108618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" name="Forme libre : forme 267">
              <a:extLst>
                <a:ext uri="{FF2B5EF4-FFF2-40B4-BE49-F238E27FC236}">
                  <a16:creationId xmlns:a16="http://schemas.microsoft.com/office/drawing/2014/main" id="{C234B460-A852-4BC6-9223-625373ACE475}"/>
                </a:ext>
              </a:extLst>
            </p:cNvPr>
            <p:cNvSpPr/>
            <p:nvPr/>
          </p:nvSpPr>
          <p:spPr>
            <a:xfrm rot="7484129">
              <a:off x="4009196" y="18100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" name="Forme libre : forme 268">
              <a:extLst>
                <a:ext uri="{FF2B5EF4-FFF2-40B4-BE49-F238E27FC236}">
                  <a16:creationId xmlns:a16="http://schemas.microsoft.com/office/drawing/2014/main" id="{ED1521F3-7A8A-439A-8C00-B7EE31751298}"/>
                </a:ext>
              </a:extLst>
            </p:cNvPr>
            <p:cNvSpPr/>
            <p:nvPr/>
          </p:nvSpPr>
          <p:spPr>
            <a:xfrm rot="13089394">
              <a:off x="4167846" y="130348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0" name="Forme libre : forme 269">
              <a:extLst>
                <a:ext uri="{FF2B5EF4-FFF2-40B4-BE49-F238E27FC236}">
                  <a16:creationId xmlns:a16="http://schemas.microsoft.com/office/drawing/2014/main" id="{33189A82-B861-4219-AF6A-9F08FA6A03EE}"/>
                </a:ext>
              </a:extLst>
            </p:cNvPr>
            <p:cNvSpPr/>
            <p:nvPr/>
          </p:nvSpPr>
          <p:spPr>
            <a:xfrm rot="8716295">
              <a:off x="4488057" y="-10608"/>
              <a:ext cx="169580" cy="136116"/>
            </a:xfrm>
            <a:custGeom>
              <a:avLst/>
              <a:gdLst>
                <a:gd name="connsiteX0" fmla="*/ 62355 w 112042"/>
                <a:gd name="connsiteY0" fmla="*/ 89932 h 89932"/>
                <a:gd name="connsiteX1" fmla="*/ 0 w 112042"/>
                <a:gd name="connsiteY1" fmla="*/ 46710 h 89932"/>
                <a:gd name="connsiteX2" fmla="*/ 14231 w 112042"/>
                <a:gd name="connsiteY2" fmla="*/ 33321 h 89932"/>
                <a:gd name="connsiteX3" fmla="*/ 78722 w 112042"/>
                <a:gd name="connsiteY3" fmla="*/ 0 h 89932"/>
                <a:gd name="connsiteX4" fmla="*/ 112042 w 112042"/>
                <a:gd name="connsiteY4" fmla="*/ 39770 h 89932"/>
                <a:gd name="connsiteX5" fmla="*/ 80872 w 112042"/>
                <a:gd name="connsiteY5" fmla="*/ 81689 h 89932"/>
                <a:gd name="connsiteX6" fmla="*/ 81408 w 112042"/>
                <a:gd name="connsiteY6" fmla="*/ 81689 h 89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2042" h="89932">
                  <a:moveTo>
                    <a:pt x="62355" y="89932"/>
                  </a:moveTo>
                  <a:lnTo>
                    <a:pt x="0" y="46710"/>
                  </a:lnTo>
                  <a:lnTo>
                    <a:pt x="14231" y="33321"/>
                  </a:lnTo>
                  <a:cubicBezTo>
                    <a:pt x="30353" y="14511"/>
                    <a:pt x="53462" y="2687"/>
                    <a:pt x="78722" y="0"/>
                  </a:cubicBezTo>
                  <a:cubicBezTo>
                    <a:pt x="104518" y="0"/>
                    <a:pt x="112042" y="22572"/>
                    <a:pt x="112042" y="39770"/>
                  </a:cubicBezTo>
                  <a:cubicBezTo>
                    <a:pt x="110429" y="58580"/>
                    <a:pt x="98068" y="74165"/>
                    <a:pt x="80872" y="81689"/>
                  </a:cubicBezTo>
                  <a:lnTo>
                    <a:pt x="81408" y="816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1" name="Forme libre : forme 270">
              <a:extLst>
                <a:ext uri="{FF2B5EF4-FFF2-40B4-BE49-F238E27FC236}">
                  <a16:creationId xmlns:a16="http://schemas.microsoft.com/office/drawing/2014/main" id="{1EF7387F-9F93-4D5B-AD0B-A9B5B150D750}"/>
                </a:ext>
              </a:extLst>
            </p:cNvPr>
            <p:cNvSpPr/>
            <p:nvPr/>
          </p:nvSpPr>
          <p:spPr>
            <a:xfrm rot="8716295">
              <a:off x="3111565" y="373623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2" name="Forme libre : forme 271">
              <a:extLst>
                <a:ext uri="{FF2B5EF4-FFF2-40B4-BE49-F238E27FC236}">
                  <a16:creationId xmlns:a16="http://schemas.microsoft.com/office/drawing/2014/main" id="{B4768996-8D29-4ED8-9892-576EE6810B22}"/>
                </a:ext>
              </a:extLst>
            </p:cNvPr>
            <p:cNvSpPr/>
            <p:nvPr/>
          </p:nvSpPr>
          <p:spPr>
            <a:xfrm rot="8716295">
              <a:off x="3246864" y="378049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3" name="Forme libre : forme 272">
              <a:extLst>
                <a:ext uri="{FF2B5EF4-FFF2-40B4-BE49-F238E27FC236}">
                  <a16:creationId xmlns:a16="http://schemas.microsoft.com/office/drawing/2014/main" id="{303FB1DD-DCD5-4C62-8A14-00277F3DAA40}"/>
                </a:ext>
              </a:extLst>
            </p:cNvPr>
            <p:cNvSpPr/>
            <p:nvPr/>
          </p:nvSpPr>
          <p:spPr>
            <a:xfrm rot="8716295">
              <a:off x="3178981" y="3649901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4" name="Forme libre : forme 273">
              <a:extLst>
                <a:ext uri="{FF2B5EF4-FFF2-40B4-BE49-F238E27FC236}">
                  <a16:creationId xmlns:a16="http://schemas.microsoft.com/office/drawing/2014/main" id="{FE02E440-C3F4-4D87-B8DD-6EFE0A4EF84D}"/>
                </a:ext>
              </a:extLst>
            </p:cNvPr>
            <p:cNvSpPr/>
            <p:nvPr/>
          </p:nvSpPr>
          <p:spPr>
            <a:xfrm rot="8716295">
              <a:off x="2941694" y="387024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5" name="Forme libre : forme 274">
              <a:extLst>
                <a:ext uri="{FF2B5EF4-FFF2-40B4-BE49-F238E27FC236}">
                  <a16:creationId xmlns:a16="http://schemas.microsoft.com/office/drawing/2014/main" id="{79A8277D-0F31-4A40-BC3D-FDA2697AD79E}"/>
                </a:ext>
              </a:extLst>
            </p:cNvPr>
            <p:cNvSpPr/>
            <p:nvPr/>
          </p:nvSpPr>
          <p:spPr>
            <a:xfrm rot="8716295">
              <a:off x="2752648" y="355441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6" name="Forme libre : forme 275">
              <a:extLst>
                <a:ext uri="{FF2B5EF4-FFF2-40B4-BE49-F238E27FC236}">
                  <a16:creationId xmlns:a16="http://schemas.microsoft.com/office/drawing/2014/main" id="{FDF6C6F6-1950-4480-853C-710CE9CA14A1}"/>
                </a:ext>
              </a:extLst>
            </p:cNvPr>
            <p:cNvSpPr/>
            <p:nvPr/>
          </p:nvSpPr>
          <p:spPr>
            <a:xfrm rot="8716295">
              <a:off x="2734407" y="334436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7" name="Forme libre : forme 276">
              <a:extLst>
                <a:ext uri="{FF2B5EF4-FFF2-40B4-BE49-F238E27FC236}">
                  <a16:creationId xmlns:a16="http://schemas.microsoft.com/office/drawing/2014/main" id="{F7DE91C7-8472-4B32-8DA3-B40AD12704F7}"/>
                </a:ext>
              </a:extLst>
            </p:cNvPr>
            <p:cNvSpPr/>
            <p:nvPr/>
          </p:nvSpPr>
          <p:spPr>
            <a:xfrm rot="8716295">
              <a:off x="3078183" y="393222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8" name="Forme libre : forme 277">
              <a:extLst>
                <a:ext uri="{FF2B5EF4-FFF2-40B4-BE49-F238E27FC236}">
                  <a16:creationId xmlns:a16="http://schemas.microsoft.com/office/drawing/2014/main" id="{56FC047B-D272-4172-A288-45148C4BFE0D}"/>
                </a:ext>
              </a:extLst>
            </p:cNvPr>
            <p:cNvSpPr/>
            <p:nvPr/>
          </p:nvSpPr>
          <p:spPr>
            <a:xfrm rot="8716295">
              <a:off x="3549129" y="335761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9" name="Forme libre : forme 278">
              <a:extLst>
                <a:ext uri="{FF2B5EF4-FFF2-40B4-BE49-F238E27FC236}">
                  <a16:creationId xmlns:a16="http://schemas.microsoft.com/office/drawing/2014/main" id="{B13EC7A5-2676-4C63-B64E-8B2F38021996}"/>
                </a:ext>
              </a:extLst>
            </p:cNvPr>
            <p:cNvSpPr/>
            <p:nvPr/>
          </p:nvSpPr>
          <p:spPr>
            <a:xfrm rot="8716295">
              <a:off x="3684428" y="340187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0" name="Forme libre : forme 279">
              <a:extLst>
                <a:ext uri="{FF2B5EF4-FFF2-40B4-BE49-F238E27FC236}">
                  <a16:creationId xmlns:a16="http://schemas.microsoft.com/office/drawing/2014/main" id="{6ECF7C58-1973-4F69-8DD3-556AA77C8D04}"/>
                </a:ext>
              </a:extLst>
            </p:cNvPr>
            <p:cNvSpPr/>
            <p:nvPr/>
          </p:nvSpPr>
          <p:spPr>
            <a:xfrm rot="8716295">
              <a:off x="3379258" y="349163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1" name="Forme libre : forme 280">
              <a:extLst>
                <a:ext uri="{FF2B5EF4-FFF2-40B4-BE49-F238E27FC236}">
                  <a16:creationId xmlns:a16="http://schemas.microsoft.com/office/drawing/2014/main" id="{2B29EFE5-ACFF-4048-807E-18A0A68A503E}"/>
                </a:ext>
              </a:extLst>
            </p:cNvPr>
            <p:cNvSpPr/>
            <p:nvPr/>
          </p:nvSpPr>
          <p:spPr>
            <a:xfrm rot="8716295">
              <a:off x="3190213" y="317579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2" name="Forme libre : forme 281">
              <a:extLst>
                <a:ext uri="{FF2B5EF4-FFF2-40B4-BE49-F238E27FC236}">
                  <a16:creationId xmlns:a16="http://schemas.microsoft.com/office/drawing/2014/main" id="{09E572E1-09FC-45A6-A1BF-D06157BE552F}"/>
                </a:ext>
              </a:extLst>
            </p:cNvPr>
            <p:cNvSpPr/>
            <p:nvPr/>
          </p:nvSpPr>
          <p:spPr>
            <a:xfrm rot="8716295">
              <a:off x="3515746" y="3553613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3" name="Forme libre : forme 282">
              <a:extLst>
                <a:ext uri="{FF2B5EF4-FFF2-40B4-BE49-F238E27FC236}">
                  <a16:creationId xmlns:a16="http://schemas.microsoft.com/office/drawing/2014/main" id="{85DB8E68-2D02-4177-B998-21F4EDDAA547}"/>
                </a:ext>
              </a:extLst>
            </p:cNvPr>
            <p:cNvSpPr/>
            <p:nvPr/>
          </p:nvSpPr>
          <p:spPr>
            <a:xfrm rot="8716295">
              <a:off x="3150300" y="332718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4" name="Forme libre : forme 283">
              <a:extLst>
                <a:ext uri="{FF2B5EF4-FFF2-40B4-BE49-F238E27FC236}">
                  <a16:creationId xmlns:a16="http://schemas.microsoft.com/office/drawing/2014/main" id="{833C9746-3293-4FB8-8420-FBDB2ADD8FDE}"/>
                </a:ext>
              </a:extLst>
            </p:cNvPr>
            <p:cNvSpPr/>
            <p:nvPr/>
          </p:nvSpPr>
          <p:spPr>
            <a:xfrm rot="7484129">
              <a:off x="3674564" y="38432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5" name="Forme libre : forme 284">
              <a:extLst>
                <a:ext uri="{FF2B5EF4-FFF2-40B4-BE49-F238E27FC236}">
                  <a16:creationId xmlns:a16="http://schemas.microsoft.com/office/drawing/2014/main" id="{F36C90B8-C19D-40C0-9F6E-8BC40DAF6680}"/>
                </a:ext>
              </a:extLst>
            </p:cNvPr>
            <p:cNvSpPr/>
            <p:nvPr/>
          </p:nvSpPr>
          <p:spPr>
            <a:xfrm rot="13089394">
              <a:off x="3833214" y="3792578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6" name="Forme libre : forme 285">
              <a:extLst>
                <a:ext uri="{FF2B5EF4-FFF2-40B4-BE49-F238E27FC236}">
                  <a16:creationId xmlns:a16="http://schemas.microsoft.com/office/drawing/2014/main" id="{25D579E4-7F89-49C7-A73E-844BD68A125D}"/>
                </a:ext>
              </a:extLst>
            </p:cNvPr>
            <p:cNvSpPr/>
            <p:nvPr/>
          </p:nvSpPr>
          <p:spPr>
            <a:xfrm rot="8716295">
              <a:off x="4114105" y="3502461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7" name="Forme libre : forme 286">
              <a:extLst>
                <a:ext uri="{FF2B5EF4-FFF2-40B4-BE49-F238E27FC236}">
                  <a16:creationId xmlns:a16="http://schemas.microsoft.com/office/drawing/2014/main" id="{3F032AF9-E492-4124-9A15-3F5109B4E944}"/>
                </a:ext>
              </a:extLst>
            </p:cNvPr>
            <p:cNvSpPr/>
            <p:nvPr/>
          </p:nvSpPr>
          <p:spPr>
            <a:xfrm rot="8716295">
              <a:off x="4035696" y="334566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8" name="Forme libre : forme 287">
              <a:extLst>
                <a:ext uri="{FF2B5EF4-FFF2-40B4-BE49-F238E27FC236}">
                  <a16:creationId xmlns:a16="http://schemas.microsoft.com/office/drawing/2014/main" id="{AB866341-425E-43E2-A992-45F1B8F969FA}"/>
                </a:ext>
              </a:extLst>
            </p:cNvPr>
            <p:cNvSpPr/>
            <p:nvPr/>
          </p:nvSpPr>
          <p:spPr>
            <a:xfrm rot="8716295">
              <a:off x="3667532" y="339140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9" name="Forme libre : forme 288">
              <a:extLst>
                <a:ext uri="{FF2B5EF4-FFF2-40B4-BE49-F238E27FC236}">
                  <a16:creationId xmlns:a16="http://schemas.microsoft.com/office/drawing/2014/main" id="{6CDA98C5-481F-4686-9DE1-F1AA20FC6223}"/>
                </a:ext>
              </a:extLst>
            </p:cNvPr>
            <p:cNvSpPr/>
            <p:nvPr/>
          </p:nvSpPr>
          <p:spPr>
            <a:xfrm rot="8716295">
              <a:off x="3936113" y="315039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0" name="Forme libre : forme 289">
              <a:extLst>
                <a:ext uri="{FF2B5EF4-FFF2-40B4-BE49-F238E27FC236}">
                  <a16:creationId xmlns:a16="http://schemas.microsoft.com/office/drawing/2014/main" id="{13373414-24F1-4D1B-ADBB-1E220625DF7D}"/>
                </a:ext>
              </a:extLst>
            </p:cNvPr>
            <p:cNvSpPr/>
            <p:nvPr/>
          </p:nvSpPr>
          <p:spPr>
            <a:xfrm rot="8716295">
              <a:off x="3449338" y="4734714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1" name="Forme libre : forme 290">
              <a:extLst>
                <a:ext uri="{FF2B5EF4-FFF2-40B4-BE49-F238E27FC236}">
                  <a16:creationId xmlns:a16="http://schemas.microsoft.com/office/drawing/2014/main" id="{B70E33AD-70BB-4576-ADCA-5363A243B741}"/>
                </a:ext>
              </a:extLst>
            </p:cNvPr>
            <p:cNvSpPr/>
            <p:nvPr/>
          </p:nvSpPr>
          <p:spPr>
            <a:xfrm rot="8716295">
              <a:off x="3580975" y="4773824"/>
              <a:ext cx="394489" cy="383455"/>
            </a:xfrm>
            <a:custGeom>
              <a:avLst/>
              <a:gdLst>
                <a:gd name="connsiteX0" fmla="*/ 77932 w 394489"/>
                <a:gd name="connsiteY0" fmla="*/ 383455 h 383455"/>
                <a:gd name="connsiteX1" fmla="*/ 77932 w 394489"/>
                <a:gd name="connsiteY1" fmla="*/ 66898 h 383455"/>
                <a:gd name="connsiteX2" fmla="*/ 0 w 394489"/>
                <a:gd name="connsiteY2" fmla="*/ 66898 h 383455"/>
                <a:gd name="connsiteX3" fmla="*/ 0 w 394489"/>
                <a:gd name="connsiteY3" fmla="*/ 0 h 383455"/>
                <a:gd name="connsiteX4" fmla="*/ 158623 w 394489"/>
                <a:gd name="connsiteY4" fmla="*/ 0 h 383455"/>
                <a:gd name="connsiteX5" fmla="*/ 158623 w 394489"/>
                <a:gd name="connsiteY5" fmla="*/ 111726 h 383455"/>
                <a:gd name="connsiteX6" fmla="*/ 160692 w 394489"/>
                <a:gd name="connsiteY6" fmla="*/ 111726 h 383455"/>
                <a:gd name="connsiteX7" fmla="*/ 233107 w 394489"/>
                <a:gd name="connsiteY7" fmla="*/ 6897 h 383455"/>
                <a:gd name="connsiteX8" fmla="*/ 240854 w 394489"/>
                <a:gd name="connsiteY8" fmla="*/ 5438 h 383455"/>
                <a:gd name="connsiteX9" fmla="*/ 391511 w 394489"/>
                <a:gd name="connsiteY9" fmla="*/ 109868 h 383455"/>
                <a:gd name="connsiteX10" fmla="*/ 394489 w 394489"/>
                <a:gd name="connsiteY10" fmla="*/ 131726 h 383455"/>
                <a:gd name="connsiteX11" fmla="*/ 394489 w 394489"/>
                <a:gd name="connsiteY11" fmla="*/ 140692 h 383455"/>
                <a:gd name="connsiteX12" fmla="*/ 300695 w 394489"/>
                <a:gd name="connsiteY12" fmla="*/ 146210 h 383455"/>
                <a:gd name="connsiteX13" fmla="*/ 300695 w 394489"/>
                <a:gd name="connsiteY13" fmla="*/ 121382 h 383455"/>
                <a:gd name="connsiteX14" fmla="*/ 249659 w 394489"/>
                <a:gd name="connsiteY14" fmla="*/ 58622 h 383455"/>
                <a:gd name="connsiteX15" fmla="*/ 168969 w 394489"/>
                <a:gd name="connsiteY15" fmla="*/ 191038 h 383455"/>
                <a:gd name="connsiteX16" fmla="*/ 168969 w 394489"/>
                <a:gd name="connsiteY16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4489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82762" y="46208"/>
                    <a:pt x="200003" y="20690"/>
                    <a:pt x="233107" y="6897"/>
                  </a:cubicBezTo>
                  <a:lnTo>
                    <a:pt x="240854" y="5438"/>
                  </a:lnTo>
                  <a:lnTo>
                    <a:pt x="391511" y="109868"/>
                  </a:lnTo>
                  <a:lnTo>
                    <a:pt x="394489" y="131726"/>
                  </a:lnTo>
                  <a:lnTo>
                    <a:pt x="394489" y="140692"/>
                  </a:lnTo>
                  <a:lnTo>
                    <a:pt x="300695" y="146210"/>
                  </a:lnTo>
                  <a:lnTo>
                    <a:pt x="300695" y="121382"/>
                  </a:lnTo>
                  <a:cubicBezTo>
                    <a:pt x="300695" y="84140"/>
                    <a:pt x="279315" y="58621"/>
                    <a:pt x="249659" y="58622"/>
                  </a:cubicBezTo>
                  <a:cubicBezTo>
                    <a:pt x="205521" y="58622"/>
                    <a:pt x="168969" y="117244"/>
                    <a:pt x="168969" y="191038"/>
                  </a:cubicBez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2" name="Forme libre : forme 291">
              <a:extLst>
                <a:ext uri="{FF2B5EF4-FFF2-40B4-BE49-F238E27FC236}">
                  <a16:creationId xmlns:a16="http://schemas.microsoft.com/office/drawing/2014/main" id="{00B826E8-9537-4128-8AFA-9DB695ED94E7}"/>
                </a:ext>
              </a:extLst>
            </p:cNvPr>
            <p:cNvSpPr/>
            <p:nvPr/>
          </p:nvSpPr>
          <p:spPr>
            <a:xfrm rot="8716295">
              <a:off x="3516754" y="4648384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3" name="Forme libre : forme 292">
              <a:extLst>
                <a:ext uri="{FF2B5EF4-FFF2-40B4-BE49-F238E27FC236}">
                  <a16:creationId xmlns:a16="http://schemas.microsoft.com/office/drawing/2014/main" id="{FFE48F5E-5149-4118-92C8-4116821F574B}"/>
                </a:ext>
              </a:extLst>
            </p:cNvPr>
            <p:cNvSpPr/>
            <p:nvPr/>
          </p:nvSpPr>
          <p:spPr>
            <a:xfrm rot="8716295">
              <a:off x="3279467" y="486872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4" name="Forme libre : forme 293">
              <a:extLst>
                <a:ext uri="{FF2B5EF4-FFF2-40B4-BE49-F238E27FC236}">
                  <a16:creationId xmlns:a16="http://schemas.microsoft.com/office/drawing/2014/main" id="{890C4AC4-E0F9-4914-B99E-81FA866D2C0A}"/>
                </a:ext>
              </a:extLst>
            </p:cNvPr>
            <p:cNvSpPr/>
            <p:nvPr/>
          </p:nvSpPr>
          <p:spPr>
            <a:xfrm rot="8716295">
              <a:off x="3090421" y="455289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5" name="Forme libre : forme 294">
              <a:extLst>
                <a:ext uri="{FF2B5EF4-FFF2-40B4-BE49-F238E27FC236}">
                  <a16:creationId xmlns:a16="http://schemas.microsoft.com/office/drawing/2014/main" id="{9E7C0995-D53C-4E22-B438-2332B5C132C7}"/>
                </a:ext>
              </a:extLst>
            </p:cNvPr>
            <p:cNvSpPr/>
            <p:nvPr/>
          </p:nvSpPr>
          <p:spPr>
            <a:xfrm rot="8716295">
              <a:off x="3072180" y="434284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6" name="Forme libre : forme 295">
              <a:extLst>
                <a:ext uri="{FF2B5EF4-FFF2-40B4-BE49-F238E27FC236}">
                  <a16:creationId xmlns:a16="http://schemas.microsoft.com/office/drawing/2014/main" id="{B2DA7643-AE8F-4F78-929C-4968C3EC4902}"/>
                </a:ext>
              </a:extLst>
            </p:cNvPr>
            <p:cNvSpPr/>
            <p:nvPr/>
          </p:nvSpPr>
          <p:spPr>
            <a:xfrm rot="8716295">
              <a:off x="3388475" y="4959102"/>
              <a:ext cx="91035" cy="230894"/>
            </a:xfrm>
            <a:custGeom>
              <a:avLst/>
              <a:gdLst>
                <a:gd name="connsiteX0" fmla="*/ 91035 w 91035"/>
                <a:gd name="connsiteY0" fmla="*/ 230894 h 230894"/>
                <a:gd name="connsiteX1" fmla="*/ 0 w 91035"/>
                <a:gd name="connsiteY1" fmla="*/ 143306 h 230894"/>
                <a:gd name="connsiteX2" fmla="*/ 0 w 91035"/>
                <a:gd name="connsiteY2" fmla="*/ 0 h 230894"/>
                <a:gd name="connsiteX3" fmla="*/ 91035 w 91035"/>
                <a:gd name="connsiteY3" fmla="*/ 63103 h 230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230894">
                  <a:moveTo>
                    <a:pt x="91035" y="230894"/>
                  </a:moveTo>
                  <a:lnTo>
                    <a:pt x="0" y="143306"/>
                  </a:lnTo>
                  <a:lnTo>
                    <a:pt x="0" y="0"/>
                  </a:lnTo>
                  <a:lnTo>
                    <a:pt x="91035" y="631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7" name="Forme libre : forme 296">
              <a:extLst>
                <a:ext uri="{FF2B5EF4-FFF2-40B4-BE49-F238E27FC236}">
                  <a16:creationId xmlns:a16="http://schemas.microsoft.com/office/drawing/2014/main" id="{93603EC3-AC55-411D-BFDF-9FDB7506B4C7}"/>
                </a:ext>
              </a:extLst>
            </p:cNvPr>
            <p:cNvSpPr/>
            <p:nvPr/>
          </p:nvSpPr>
          <p:spPr>
            <a:xfrm rot="8716295">
              <a:off x="3886902" y="435609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8" name="Forme libre : forme 297">
              <a:extLst>
                <a:ext uri="{FF2B5EF4-FFF2-40B4-BE49-F238E27FC236}">
                  <a16:creationId xmlns:a16="http://schemas.microsoft.com/office/drawing/2014/main" id="{08CBBA4D-FF43-40D2-8BFA-84CB4DCCF31B}"/>
                </a:ext>
              </a:extLst>
            </p:cNvPr>
            <p:cNvSpPr/>
            <p:nvPr/>
          </p:nvSpPr>
          <p:spPr>
            <a:xfrm rot="8716295">
              <a:off x="4022201" y="440035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9" name="Forme libre : forme 298">
              <a:extLst>
                <a:ext uri="{FF2B5EF4-FFF2-40B4-BE49-F238E27FC236}">
                  <a16:creationId xmlns:a16="http://schemas.microsoft.com/office/drawing/2014/main" id="{835E253D-33C4-431B-B8C8-357E6AAC9C52}"/>
                </a:ext>
              </a:extLst>
            </p:cNvPr>
            <p:cNvSpPr/>
            <p:nvPr/>
          </p:nvSpPr>
          <p:spPr>
            <a:xfrm rot="8716295">
              <a:off x="3717031" y="44901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0" name="Forme libre : forme 299">
              <a:extLst>
                <a:ext uri="{FF2B5EF4-FFF2-40B4-BE49-F238E27FC236}">
                  <a16:creationId xmlns:a16="http://schemas.microsoft.com/office/drawing/2014/main" id="{22AF57EC-DC68-40A4-9C71-BCBD0C50FBE3}"/>
                </a:ext>
              </a:extLst>
            </p:cNvPr>
            <p:cNvSpPr/>
            <p:nvPr/>
          </p:nvSpPr>
          <p:spPr>
            <a:xfrm rot="8716295">
              <a:off x="3527986" y="417427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1" name="Forme libre : forme 300">
              <a:extLst>
                <a:ext uri="{FF2B5EF4-FFF2-40B4-BE49-F238E27FC236}">
                  <a16:creationId xmlns:a16="http://schemas.microsoft.com/office/drawing/2014/main" id="{7AC81511-7180-4392-A0BB-C0785E6FFDB2}"/>
                </a:ext>
              </a:extLst>
            </p:cNvPr>
            <p:cNvSpPr/>
            <p:nvPr/>
          </p:nvSpPr>
          <p:spPr>
            <a:xfrm rot="8716295">
              <a:off x="3853519" y="4552096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2" name="Forme libre : forme 301">
              <a:extLst>
                <a:ext uri="{FF2B5EF4-FFF2-40B4-BE49-F238E27FC236}">
                  <a16:creationId xmlns:a16="http://schemas.microsoft.com/office/drawing/2014/main" id="{1EACC1C7-884B-4139-9EC6-9BA9AA34D223}"/>
                </a:ext>
              </a:extLst>
            </p:cNvPr>
            <p:cNvSpPr/>
            <p:nvPr/>
          </p:nvSpPr>
          <p:spPr>
            <a:xfrm rot="8716295">
              <a:off x="3488073" y="432567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3" name="Forme libre : forme 302">
              <a:extLst>
                <a:ext uri="{FF2B5EF4-FFF2-40B4-BE49-F238E27FC236}">
                  <a16:creationId xmlns:a16="http://schemas.microsoft.com/office/drawing/2014/main" id="{8A54AD41-7272-4697-A5DB-CEFCE19789FC}"/>
                </a:ext>
              </a:extLst>
            </p:cNvPr>
            <p:cNvSpPr/>
            <p:nvPr/>
          </p:nvSpPr>
          <p:spPr>
            <a:xfrm rot="7484129">
              <a:off x="4016569" y="4837237"/>
              <a:ext cx="295167" cy="296463"/>
            </a:xfrm>
            <a:custGeom>
              <a:avLst/>
              <a:gdLst>
                <a:gd name="connsiteX0" fmla="*/ 137293 w 295167"/>
                <a:gd name="connsiteY0" fmla="*/ 296463 h 296463"/>
                <a:gd name="connsiteX1" fmla="*/ 72418 w 295167"/>
                <a:gd name="connsiteY1" fmla="*/ 175766 h 296463"/>
                <a:gd name="connsiteX2" fmla="*/ 105610 w 295167"/>
                <a:gd name="connsiteY2" fmla="*/ 83734 h 296463"/>
                <a:gd name="connsiteX3" fmla="*/ 0 w 295167"/>
                <a:gd name="connsiteY3" fmla="*/ 83734 h 296463"/>
                <a:gd name="connsiteX4" fmla="*/ 0 w 295167"/>
                <a:gd name="connsiteY4" fmla="*/ 0 h 296463"/>
                <a:gd name="connsiteX5" fmla="*/ 237110 w 295167"/>
                <a:gd name="connsiteY5" fmla="*/ 0 h 296463"/>
                <a:gd name="connsiteX6" fmla="*/ 295167 w 295167"/>
                <a:gd name="connsiteY6" fmla="*/ 83734 h 296463"/>
                <a:gd name="connsiteX7" fmla="*/ 210466 w 295167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5167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37110" y="0"/>
                  </a:lnTo>
                  <a:lnTo>
                    <a:pt x="295167" y="83734"/>
                  </a:lnTo>
                  <a:lnTo>
                    <a:pt x="210466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4" name="Forme libre : forme 303">
              <a:extLst>
                <a:ext uri="{FF2B5EF4-FFF2-40B4-BE49-F238E27FC236}">
                  <a16:creationId xmlns:a16="http://schemas.microsoft.com/office/drawing/2014/main" id="{B0BB4A2B-6236-4AB8-8AEF-499FEFD9934C}"/>
                </a:ext>
              </a:extLst>
            </p:cNvPr>
            <p:cNvSpPr/>
            <p:nvPr/>
          </p:nvSpPr>
          <p:spPr>
            <a:xfrm rot="13089394">
              <a:off x="4226447" y="4804985"/>
              <a:ext cx="412568" cy="314062"/>
            </a:xfrm>
            <a:custGeom>
              <a:avLst/>
              <a:gdLst>
                <a:gd name="connsiteX0" fmla="*/ 412568 w 412568"/>
                <a:gd name="connsiteY0" fmla="*/ 206915 h 314062"/>
                <a:gd name="connsiteX1" fmla="*/ 138636 w 412568"/>
                <a:gd name="connsiteY1" fmla="*/ 313815 h 314062"/>
                <a:gd name="connsiteX2" fmla="*/ 35911 w 412568"/>
                <a:gd name="connsiteY2" fmla="*/ 272057 h 314062"/>
                <a:gd name="connsiteX3" fmla="*/ 0 w 412568"/>
                <a:gd name="connsiteY3" fmla="*/ 128410 h 314062"/>
                <a:gd name="connsiteX4" fmla="*/ 0 w 412568"/>
                <a:gd name="connsiteY4" fmla="*/ 88308 h 314062"/>
                <a:gd name="connsiteX5" fmla="*/ 112395 w 412568"/>
                <a:gd name="connsiteY5" fmla="*/ 0 h 314062"/>
                <a:gd name="connsiteX6" fmla="*/ 112747 w 412568"/>
                <a:gd name="connsiteY6" fmla="*/ 49070 h 314062"/>
                <a:gd name="connsiteX7" fmla="*/ 132789 w 412568"/>
                <a:gd name="connsiteY7" fmla="*/ 187707 h 314062"/>
                <a:gd name="connsiteX8" fmla="*/ 233008 w 412568"/>
                <a:gd name="connsiteY8" fmla="*/ 242827 h 314062"/>
                <a:gd name="connsiteX9" fmla="*/ 308172 w 412568"/>
                <a:gd name="connsiteY9" fmla="*/ 229465 h 314062"/>
                <a:gd name="connsiteX10" fmla="*/ 410898 w 412568"/>
                <a:gd name="connsiteY10" fmla="*/ 187707 h 314062"/>
                <a:gd name="connsiteX11" fmla="*/ 412568 w 412568"/>
                <a:gd name="connsiteY11" fmla="*/ 198563 h 314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2568" h="314062">
                  <a:moveTo>
                    <a:pt x="412568" y="206915"/>
                  </a:moveTo>
                  <a:cubicBezTo>
                    <a:pt x="324041" y="282914"/>
                    <a:pt x="207954" y="309640"/>
                    <a:pt x="138636" y="313815"/>
                  </a:cubicBezTo>
                  <a:cubicBezTo>
                    <a:pt x="100219" y="316321"/>
                    <a:pt x="62637" y="299618"/>
                    <a:pt x="35911" y="272057"/>
                  </a:cubicBezTo>
                  <a:cubicBezTo>
                    <a:pt x="7516" y="244497"/>
                    <a:pt x="0" y="196893"/>
                    <a:pt x="0" y="128410"/>
                  </a:cubicBezTo>
                  <a:lnTo>
                    <a:pt x="0" y="88308"/>
                  </a:lnTo>
                  <a:lnTo>
                    <a:pt x="112395" y="0"/>
                  </a:lnTo>
                  <a:lnTo>
                    <a:pt x="112747" y="49070"/>
                  </a:lnTo>
                  <a:cubicBezTo>
                    <a:pt x="110241" y="95839"/>
                    <a:pt x="117756" y="143443"/>
                    <a:pt x="132789" y="187707"/>
                  </a:cubicBezTo>
                  <a:cubicBezTo>
                    <a:pt x="146153" y="224453"/>
                    <a:pt x="180394" y="242827"/>
                    <a:pt x="233008" y="242827"/>
                  </a:cubicBezTo>
                  <a:cubicBezTo>
                    <a:pt x="258899" y="241992"/>
                    <a:pt x="283953" y="236980"/>
                    <a:pt x="308172" y="229465"/>
                  </a:cubicBezTo>
                  <a:cubicBezTo>
                    <a:pt x="343249" y="218607"/>
                    <a:pt x="377491" y="204410"/>
                    <a:pt x="410898" y="187707"/>
                  </a:cubicBezTo>
                  <a:cubicBezTo>
                    <a:pt x="411732" y="191047"/>
                    <a:pt x="412568" y="195223"/>
                    <a:pt x="412568" y="1985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5" name="Forme libre : forme 304">
              <a:extLst>
                <a:ext uri="{FF2B5EF4-FFF2-40B4-BE49-F238E27FC236}">
                  <a16:creationId xmlns:a16="http://schemas.microsoft.com/office/drawing/2014/main" id="{41417B88-C9BD-4BA9-91EE-73AA587DB73F}"/>
                </a:ext>
              </a:extLst>
            </p:cNvPr>
            <p:cNvSpPr/>
            <p:nvPr/>
          </p:nvSpPr>
          <p:spPr>
            <a:xfrm rot="8716295">
              <a:off x="4451878" y="4500944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6" name="Forme libre : forme 305">
              <a:extLst>
                <a:ext uri="{FF2B5EF4-FFF2-40B4-BE49-F238E27FC236}">
                  <a16:creationId xmlns:a16="http://schemas.microsoft.com/office/drawing/2014/main" id="{BE88A8B4-3593-449C-B0AC-26CECAA3950B}"/>
                </a:ext>
              </a:extLst>
            </p:cNvPr>
            <p:cNvSpPr/>
            <p:nvPr/>
          </p:nvSpPr>
          <p:spPr>
            <a:xfrm rot="8716295">
              <a:off x="4373469" y="434415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7" name="Forme libre : forme 306">
              <a:extLst>
                <a:ext uri="{FF2B5EF4-FFF2-40B4-BE49-F238E27FC236}">
                  <a16:creationId xmlns:a16="http://schemas.microsoft.com/office/drawing/2014/main" id="{3E1F62FF-668F-4B24-81E3-7F413DC37761}"/>
                </a:ext>
              </a:extLst>
            </p:cNvPr>
            <p:cNvSpPr/>
            <p:nvPr/>
          </p:nvSpPr>
          <p:spPr>
            <a:xfrm rot="8716295">
              <a:off x="4005305" y="438989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8" name="Forme libre : forme 307">
              <a:extLst>
                <a:ext uri="{FF2B5EF4-FFF2-40B4-BE49-F238E27FC236}">
                  <a16:creationId xmlns:a16="http://schemas.microsoft.com/office/drawing/2014/main" id="{271936E6-CFC4-4CBF-80D3-0DD03A6DA43A}"/>
                </a:ext>
              </a:extLst>
            </p:cNvPr>
            <p:cNvSpPr/>
            <p:nvPr/>
          </p:nvSpPr>
          <p:spPr>
            <a:xfrm rot="8716295">
              <a:off x="4273886" y="414887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9" name="Forme libre : forme 308">
              <a:extLst>
                <a:ext uri="{FF2B5EF4-FFF2-40B4-BE49-F238E27FC236}">
                  <a16:creationId xmlns:a16="http://schemas.microsoft.com/office/drawing/2014/main" id="{BA906EC6-3DC5-4DE2-8F95-209D99503493}"/>
                </a:ext>
              </a:extLst>
            </p:cNvPr>
            <p:cNvSpPr/>
            <p:nvPr/>
          </p:nvSpPr>
          <p:spPr>
            <a:xfrm rot="8716295">
              <a:off x="2776288" y="273581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0" name="Forme libre : forme 309">
              <a:extLst>
                <a:ext uri="{FF2B5EF4-FFF2-40B4-BE49-F238E27FC236}">
                  <a16:creationId xmlns:a16="http://schemas.microsoft.com/office/drawing/2014/main" id="{86353AD3-86B9-454E-8316-ED48EDD5C43A}"/>
                </a:ext>
              </a:extLst>
            </p:cNvPr>
            <p:cNvSpPr/>
            <p:nvPr/>
          </p:nvSpPr>
          <p:spPr>
            <a:xfrm rot="8716295">
              <a:off x="2911587" y="278007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1" name="Forme libre : forme 310">
              <a:extLst>
                <a:ext uri="{FF2B5EF4-FFF2-40B4-BE49-F238E27FC236}">
                  <a16:creationId xmlns:a16="http://schemas.microsoft.com/office/drawing/2014/main" id="{0B2A58FB-010E-417B-8E1C-9997876763AE}"/>
                </a:ext>
              </a:extLst>
            </p:cNvPr>
            <p:cNvSpPr/>
            <p:nvPr/>
          </p:nvSpPr>
          <p:spPr>
            <a:xfrm rot="8716295">
              <a:off x="2843704" y="2649488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2" name="Forme libre : forme 311">
              <a:extLst>
                <a:ext uri="{FF2B5EF4-FFF2-40B4-BE49-F238E27FC236}">
                  <a16:creationId xmlns:a16="http://schemas.microsoft.com/office/drawing/2014/main" id="{487219BD-DC26-4E15-BDA1-CA5CCE916C41}"/>
                </a:ext>
              </a:extLst>
            </p:cNvPr>
            <p:cNvSpPr/>
            <p:nvPr/>
          </p:nvSpPr>
          <p:spPr>
            <a:xfrm rot="8716295">
              <a:off x="2606417" y="286983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3" name="Forme libre : forme 312">
              <a:extLst>
                <a:ext uri="{FF2B5EF4-FFF2-40B4-BE49-F238E27FC236}">
                  <a16:creationId xmlns:a16="http://schemas.microsoft.com/office/drawing/2014/main" id="{E49C695E-663D-4558-8A6D-FAB5771CCDF7}"/>
                </a:ext>
              </a:extLst>
            </p:cNvPr>
            <p:cNvSpPr/>
            <p:nvPr/>
          </p:nvSpPr>
          <p:spPr>
            <a:xfrm rot="8716295">
              <a:off x="2417371" y="255399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4" name="Forme libre : forme 313">
              <a:extLst>
                <a:ext uri="{FF2B5EF4-FFF2-40B4-BE49-F238E27FC236}">
                  <a16:creationId xmlns:a16="http://schemas.microsoft.com/office/drawing/2014/main" id="{33F36FCD-6977-4A63-8D14-D1E1625E9D31}"/>
                </a:ext>
              </a:extLst>
            </p:cNvPr>
            <p:cNvSpPr/>
            <p:nvPr/>
          </p:nvSpPr>
          <p:spPr>
            <a:xfrm rot="8716295">
              <a:off x="2399130" y="2343948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5" name="Forme libre : forme 314">
              <a:extLst>
                <a:ext uri="{FF2B5EF4-FFF2-40B4-BE49-F238E27FC236}">
                  <a16:creationId xmlns:a16="http://schemas.microsoft.com/office/drawing/2014/main" id="{B3474DC3-02FE-406E-A9DB-66680A910D3C}"/>
                </a:ext>
              </a:extLst>
            </p:cNvPr>
            <p:cNvSpPr/>
            <p:nvPr/>
          </p:nvSpPr>
          <p:spPr>
            <a:xfrm rot="8716295">
              <a:off x="2742905" y="293181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6" name="Forme libre : forme 315">
              <a:extLst>
                <a:ext uri="{FF2B5EF4-FFF2-40B4-BE49-F238E27FC236}">
                  <a16:creationId xmlns:a16="http://schemas.microsoft.com/office/drawing/2014/main" id="{A49C2E0F-EE8D-44EF-9BA8-BEBCE07245A7}"/>
                </a:ext>
              </a:extLst>
            </p:cNvPr>
            <p:cNvSpPr/>
            <p:nvPr/>
          </p:nvSpPr>
          <p:spPr>
            <a:xfrm rot="8716295">
              <a:off x="3213852" y="235720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7" name="Forme libre : forme 316">
              <a:extLst>
                <a:ext uri="{FF2B5EF4-FFF2-40B4-BE49-F238E27FC236}">
                  <a16:creationId xmlns:a16="http://schemas.microsoft.com/office/drawing/2014/main" id="{F24F931D-D0BA-4754-8EFA-1E41547520B4}"/>
                </a:ext>
              </a:extLst>
            </p:cNvPr>
            <p:cNvSpPr/>
            <p:nvPr/>
          </p:nvSpPr>
          <p:spPr>
            <a:xfrm rot="8716295">
              <a:off x="3349151" y="240146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8" name="Forme libre : forme 317">
              <a:extLst>
                <a:ext uri="{FF2B5EF4-FFF2-40B4-BE49-F238E27FC236}">
                  <a16:creationId xmlns:a16="http://schemas.microsoft.com/office/drawing/2014/main" id="{77E8D478-ED04-4063-AB60-82AA395CE7E1}"/>
                </a:ext>
              </a:extLst>
            </p:cNvPr>
            <p:cNvSpPr/>
            <p:nvPr/>
          </p:nvSpPr>
          <p:spPr>
            <a:xfrm rot="8716295">
              <a:off x="3043981" y="249121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9" name="Forme libre : forme 318">
              <a:extLst>
                <a:ext uri="{FF2B5EF4-FFF2-40B4-BE49-F238E27FC236}">
                  <a16:creationId xmlns:a16="http://schemas.microsoft.com/office/drawing/2014/main" id="{D68F4A66-E6DC-4D6F-A05F-B0ED1AAF9752}"/>
                </a:ext>
              </a:extLst>
            </p:cNvPr>
            <p:cNvSpPr/>
            <p:nvPr/>
          </p:nvSpPr>
          <p:spPr>
            <a:xfrm rot="8716295">
              <a:off x="2854936" y="217538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0" name="Forme libre : forme 319">
              <a:extLst>
                <a:ext uri="{FF2B5EF4-FFF2-40B4-BE49-F238E27FC236}">
                  <a16:creationId xmlns:a16="http://schemas.microsoft.com/office/drawing/2014/main" id="{2E7E02DC-19A7-4427-8DD0-9CBD70741C55}"/>
                </a:ext>
              </a:extLst>
            </p:cNvPr>
            <p:cNvSpPr/>
            <p:nvPr/>
          </p:nvSpPr>
          <p:spPr>
            <a:xfrm rot="8716295">
              <a:off x="3180469" y="255320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1" name="Forme libre : forme 320">
              <a:extLst>
                <a:ext uri="{FF2B5EF4-FFF2-40B4-BE49-F238E27FC236}">
                  <a16:creationId xmlns:a16="http://schemas.microsoft.com/office/drawing/2014/main" id="{5F22C34B-662E-4288-A98A-07600645D826}"/>
                </a:ext>
              </a:extLst>
            </p:cNvPr>
            <p:cNvSpPr/>
            <p:nvPr/>
          </p:nvSpPr>
          <p:spPr>
            <a:xfrm rot="8716295">
              <a:off x="2815023" y="232677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2" name="Forme libre : forme 321">
              <a:extLst>
                <a:ext uri="{FF2B5EF4-FFF2-40B4-BE49-F238E27FC236}">
                  <a16:creationId xmlns:a16="http://schemas.microsoft.com/office/drawing/2014/main" id="{F9C4954F-8E31-441D-8E0D-8B0514C0CCEA}"/>
                </a:ext>
              </a:extLst>
            </p:cNvPr>
            <p:cNvSpPr/>
            <p:nvPr/>
          </p:nvSpPr>
          <p:spPr>
            <a:xfrm rot="7484129">
              <a:off x="3339287" y="284281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3" name="Forme libre : forme 322">
              <a:extLst>
                <a:ext uri="{FF2B5EF4-FFF2-40B4-BE49-F238E27FC236}">
                  <a16:creationId xmlns:a16="http://schemas.microsoft.com/office/drawing/2014/main" id="{96BDAC49-7C90-455C-A6A8-F21767004646}"/>
                </a:ext>
              </a:extLst>
            </p:cNvPr>
            <p:cNvSpPr/>
            <p:nvPr/>
          </p:nvSpPr>
          <p:spPr>
            <a:xfrm rot="13089394">
              <a:off x="3497937" y="279216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4" name="Forme libre : forme 323">
              <a:extLst>
                <a:ext uri="{FF2B5EF4-FFF2-40B4-BE49-F238E27FC236}">
                  <a16:creationId xmlns:a16="http://schemas.microsoft.com/office/drawing/2014/main" id="{EE32A375-D70E-46A2-83EF-D2C25C11FC27}"/>
                </a:ext>
              </a:extLst>
            </p:cNvPr>
            <p:cNvSpPr/>
            <p:nvPr/>
          </p:nvSpPr>
          <p:spPr>
            <a:xfrm rot="8716295">
              <a:off x="3778828" y="2502048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5" name="Forme libre : forme 324">
              <a:extLst>
                <a:ext uri="{FF2B5EF4-FFF2-40B4-BE49-F238E27FC236}">
                  <a16:creationId xmlns:a16="http://schemas.microsoft.com/office/drawing/2014/main" id="{1FF92686-85A8-4017-922B-2458FE401EB8}"/>
                </a:ext>
              </a:extLst>
            </p:cNvPr>
            <p:cNvSpPr/>
            <p:nvPr/>
          </p:nvSpPr>
          <p:spPr>
            <a:xfrm rot="8716295">
              <a:off x="3700418" y="234525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6" name="Forme libre : forme 325">
              <a:extLst>
                <a:ext uri="{FF2B5EF4-FFF2-40B4-BE49-F238E27FC236}">
                  <a16:creationId xmlns:a16="http://schemas.microsoft.com/office/drawing/2014/main" id="{D45E52B0-C4FD-4155-A0DD-45195433970C}"/>
                </a:ext>
              </a:extLst>
            </p:cNvPr>
            <p:cNvSpPr/>
            <p:nvPr/>
          </p:nvSpPr>
          <p:spPr>
            <a:xfrm rot="8716295">
              <a:off x="3332255" y="239099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7" name="Forme libre : forme 326">
              <a:extLst>
                <a:ext uri="{FF2B5EF4-FFF2-40B4-BE49-F238E27FC236}">
                  <a16:creationId xmlns:a16="http://schemas.microsoft.com/office/drawing/2014/main" id="{F21AB6E7-AC7E-4350-A5BF-CDF7EE2573C5}"/>
                </a:ext>
              </a:extLst>
            </p:cNvPr>
            <p:cNvSpPr/>
            <p:nvPr/>
          </p:nvSpPr>
          <p:spPr>
            <a:xfrm rot="8716295">
              <a:off x="3600836" y="214997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8" name="Forme libre : forme 327">
              <a:extLst>
                <a:ext uri="{FF2B5EF4-FFF2-40B4-BE49-F238E27FC236}">
                  <a16:creationId xmlns:a16="http://schemas.microsoft.com/office/drawing/2014/main" id="{81ADFF02-63EB-4A30-B800-167FCE598798}"/>
                </a:ext>
              </a:extLst>
            </p:cNvPr>
            <p:cNvSpPr/>
            <p:nvPr/>
          </p:nvSpPr>
          <p:spPr>
            <a:xfrm rot="8716295">
              <a:off x="2438515" y="173733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9" name="Forme libre : forme 328">
              <a:extLst>
                <a:ext uri="{FF2B5EF4-FFF2-40B4-BE49-F238E27FC236}">
                  <a16:creationId xmlns:a16="http://schemas.microsoft.com/office/drawing/2014/main" id="{FEEE40D0-1ED4-4D89-A553-8246351195B7}"/>
                </a:ext>
              </a:extLst>
            </p:cNvPr>
            <p:cNvSpPr/>
            <p:nvPr/>
          </p:nvSpPr>
          <p:spPr>
            <a:xfrm rot="8716295">
              <a:off x="2573814" y="178159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0" name="Forme libre : forme 329">
              <a:extLst>
                <a:ext uri="{FF2B5EF4-FFF2-40B4-BE49-F238E27FC236}">
                  <a16:creationId xmlns:a16="http://schemas.microsoft.com/office/drawing/2014/main" id="{AA5B5D88-69C3-43FC-A9FF-1BC20CA01055}"/>
                </a:ext>
              </a:extLst>
            </p:cNvPr>
            <p:cNvSpPr/>
            <p:nvPr/>
          </p:nvSpPr>
          <p:spPr>
            <a:xfrm rot="8716295">
              <a:off x="2505931" y="1651005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1" name="Forme libre : forme 330">
              <a:extLst>
                <a:ext uri="{FF2B5EF4-FFF2-40B4-BE49-F238E27FC236}">
                  <a16:creationId xmlns:a16="http://schemas.microsoft.com/office/drawing/2014/main" id="{3433A715-4852-4C6F-BD57-E5BFC48256EE}"/>
                </a:ext>
              </a:extLst>
            </p:cNvPr>
            <p:cNvSpPr/>
            <p:nvPr/>
          </p:nvSpPr>
          <p:spPr>
            <a:xfrm rot="8716295">
              <a:off x="2268644" y="187135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2" name="Forme libre : forme 331">
              <a:extLst>
                <a:ext uri="{FF2B5EF4-FFF2-40B4-BE49-F238E27FC236}">
                  <a16:creationId xmlns:a16="http://schemas.microsoft.com/office/drawing/2014/main" id="{AA3826BF-36B5-4F42-9A9C-0857F8AFC9E9}"/>
                </a:ext>
              </a:extLst>
            </p:cNvPr>
            <p:cNvSpPr/>
            <p:nvPr/>
          </p:nvSpPr>
          <p:spPr>
            <a:xfrm rot="8716295">
              <a:off x="2079598" y="155551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3" name="Forme libre : forme 332">
              <a:extLst>
                <a:ext uri="{FF2B5EF4-FFF2-40B4-BE49-F238E27FC236}">
                  <a16:creationId xmlns:a16="http://schemas.microsoft.com/office/drawing/2014/main" id="{6B18E7D7-D7AA-4E20-850E-3799436161FA}"/>
                </a:ext>
              </a:extLst>
            </p:cNvPr>
            <p:cNvSpPr/>
            <p:nvPr/>
          </p:nvSpPr>
          <p:spPr>
            <a:xfrm rot="8716295">
              <a:off x="2061357" y="1345465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4" name="Forme libre : forme 333">
              <a:extLst>
                <a:ext uri="{FF2B5EF4-FFF2-40B4-BE49-F238E27FC236}">
                  <a16:creationId xmlns:a16="http://schemas.microsoft.com/office/drawing/2014/main" id="{43032E37-9C7A-492A-8A2C-109CA7245F5F}"/>
                </a:ext>
              </a:extLst>
            </p:cNvPr>
            <p:cNvSpPr/>
            <p:nvPr/>
          </p:nvSpPr>
          <p:spPr>
            <a:xfrm rot="8716295">
              <a:off x="2405132" y="1933333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5" name="Forme libre : forme 334">
              <a:extLst>
                <a:ext uri="{FF2B5EF4-FFF2-40B4-BE49-F238E27FC236}">
                  <a16:creationId xmlns:a16="http://schemas.microsoft.com/office/drawing/2014/main" id="{17B53965-E3A1-4010-BB29-B66E80C0AA24}"/>
                </a:ext>
              </a:extLst>
            </p:cNvPr>
            <p:cNvSpPr/>
            <p:nvPr/>
          </p:nvSpPr>
          <p:spPr>
            <a:xfrm rot="8716295">
              <a:off x="2876079" y="135871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6" name="Forme libre : forme 335">
              <a:extLst>
                <a:ext uri="{FF2B5EF4-FFF2-40B4-BE49-F238E27FC236}">
                  <a16:creationId xmlns:a16="http://schemas.microsoft.com/office/drawing/2014/main" id="{5A10F28E-8329-4CB2-9E8E-AF5ADC5D984D}"/>
                </a:ext>
              </a:extLst>
            </p:cNvPr>
            <p:cNvSpPr/>
            <p:nvPr/>
          </p:nvSpPr>
          <p:spPr>
            <a:xfrm rot="8716295">
              <a:off x="3011378" y="140297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7" name="Forme libre : forme 336">
              <a:extLst>
                <a:ext uri="{FF2B5EF4-FFF2-40B4-BE49-F238E27FC236}">
                  <a16:creationId xmlns:a16="http://schemas.microsoft.com/office/drawing/2014/main" id="{A3E6B7D3-30F0-4F00-9AE4-FB7C5336C17B}"/>
                </a:ext>
              </a:extLst>
            </p:cNvPr>
            <p:cNvSpPr/>
            <p:nvPr/>
          </p:nvSpPr>
          <p:spPr>
            <a:xfrm rot="8716295">
              <a:off x="2706208" y="14927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8" name="Forme libre : forme 337">
              <a:extLst>
                <a:ext uri="{FF2B5EF4-FFF2-40B4-BE49-F238E27FC236}">
                  <a16:creationId xmlns:a16="http://schemas.microsoft.com/office/drawing/2014/main" id="{632D1FEF-F08F-4C8C-8E0E-3985E6CFB126}"/>
                </a:ext>
              </a:extLst>
            </p:cNvPr>
            <p:cNvSpPr/>
            <p:nvPr/>
          </p:nvSpPr>
          <p:spPr>
            <a:xfrm rot="8716295">
              <a:off x="2517163" y="11768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9" name="Forme libre : forme 338">
              <a:extLst>
                <a:ext uri="{FF2B5EF4-FFF2-40B4-BE49-F238E27FC236}">
                  <a16:creationId xmlns:a16="http://schemas.microsoft.com/office/drawing/2014/main" id="{12813E1E-715D-4101-9BCD-409373887F04}"/>
                </a:ext>
              </a:extLst>
            </p:cNvPr>
            <p:cNvSpPr/>
            <p:nvPr/>
          </p:nvSpPr>
          <p:spPr>
            <a:xfrm rot="8716295">
              <a:off x="2842696" y="1554717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0" name="Forme libre : forme 339">
              <a:extLst>
                <a:ext uri="{FF2B5EF4-FFF2-40B4-BE49-F238E27FC236}">
                  <a16:creationId xmlns:a16="http://schemas.microsoft.com/office/drawing/2014/main" id="{AA2FCEEA-252F-42A1-A6F0-2BDC14E98266}"/>
                </a:ext>
              </a:extLst>
            </p:cNvPr>
            <p:cNvSpPr/>
            <p:nvPr/>
          </p:nvSpPr>
          <p:spPr>
            <a:xfrm rot="8716295">
              <a:off x="2477250" y="1328291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1" name="Forme libre : forme 340">
              <a:extLst>
                <a:ext uri="{FF2B5EF4-FFF2-40B4-BE49-F238E27FC236}">
                  <a16:creationId xmlns:a16="http://schemas.microsoft.com/office/drawing/2014/main" id="{884AD109-F04C-43C6-A88C-32CD36BAA4FA}"/>
                </a:ext>
              </a:extLst>
            </p:cNvPr>
            <p:cNvSpPr/>
            <p:nvPr/>
          </p:nvSpPr>
          <p:spPr>
            <a:xfrm rot="7484129">
              <a:off x="3001514" y="184433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2" name="Forme libre : forme 341">
              <a:extLst>
                <a:ext uri="{FF2B5EF4-FFF2-40B4-BE49-F238E27FC236}">
                  <a16:creationId xmlns:a16="http://schemas.microsoft.com/office/drawing/2014/main" id="{E48D40E2-82AD-4B99-AF4E-871FA4B10FDC}"/>
                </a:ext>
              </a:extLst>
            </p:cNvPr>
            <p:cNvSpPr/>
            <p:nvPr/>
          </p:nvSpPr>
          <p:spPr>
            <a:xfrm rot="13089394">
              <a:off x="3160164" y="1793683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3" name="Forme libre : forme 342">
              <a:extLst>
                <a:ext uri="{FF2B5EF4-FFF2-40B4-BE49-F238E27FC236}">
                  <a16:creationId xmlns:a16="http://schemas.microsoft.com/office/drawing/2014/main" id="{5110A4C9-803C-4F01-A8FB-E8911DB784FA}"/>
                </a:ext>
              </a:extLst>
            </p:cNvPr>
            <p:cNvSpPr/>
            <p:nvPr/>
          </p:nvSpPr>
          <p:spPr>
            <a:xfrm rot="8716295">
              <a:off x="3441055" y="1503565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4" name="Forme libre : forme 343">
              <a:extLst>
                <a:ext uri="{FF2B5EF4-FFF2-40B4-BE49-F238E27FC236}">
                  <a16:creationId xmlns:a16="http://schemas.microsoft.com/office/drawing/2014/main" id="{4B71D1CA-954E-40F5-BAE1-391BC7E00EAC}"/>
                </a:ext>
              </a:extLst>
            </p:cNvPr>
            <p:cNvSpPr/>
            <p:nvPr/>
          </p:nvSpPr>
          <p:spPr>
            <a:xfrm rot="8716295">
              <a:off x="3362645" y="134677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5" name="Forme libre : forme 344">
              <a:extLst>
                <a:ext uri="{FF2B5EF4-FFF2-40B4-BE49-F238E27FC236}">
                  <a16:creationId xmlns:a16="http://schemas.microsoft.com/office/drawing/2014/main" id="{778C13D4-A0D9-47A6-97AC-A7265054F880}"/>
                </a:ext>
              </a:extLst>
            </p:cNvPr>
            <p:cNvSpPr/>
            <p:nvPr/>
          </p:nvSpPr>
          <p:spPr>
            <a:xfrm rot="8716295">
              <a:off x="2994482" y="13925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6" name="Forme libre : forme 345">
              <a:extLst>
                <a:ext uri="{FF2B5EF4-FFF2-40B4-BE49-F238E27FC236}">
                  <a16:creationId xmlns:a16="http://schemas.microsoft.com/office/drawing/2014/main" id="{018BC788-46BE-420C-AA9D-351862A75FA9}"/>
                </a:ext>
              </a:extLst>
            </p:cNvPr>
            <p:cNvSpPr/>
            <p:nvPr/>
          </p:nvSpPr>
          <p:spPr>
            <a:xfrm rot="8716295">
              <a:off x="3263063" y="115149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7" name="Forme libre : forme 346">
              <a:extLst>
                <a:ext uri="{FF2B5EF4-FFF2-40B4-BE49-F238E27FC236}">
                  <a16:creationId xmlns:a16="http://schemas.microsoft.com/office/drawing/2014/main" id="{0E9463B7-1F06-4DEB-A058-446E8844EA8B}"/>
                </a:ext>
              </a:extLst>
            </p:cNvPr>
            <p:cNvSpPr/>
            <p:nvPr/>
          </p:nvSpPr>
          <p:spPr>
            <a:xfrm rot="8716295">
              <a:off x="2107141" y="73528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8" name="Forme libre : forme 347">
              <a:extLst>
                <a:ext uri="{FF2B5EF4-FFF2-40B4-BE49-F238E27FC236}">
                  <a16:creationId xmlns:a16="http://schemas.microsoft.com/office/drawing/2014/main" id="{73CCCCE8-C732-40A3-953D-8C4E26ECE894}"/>
                </a:ext>
              </a:extLst>
            </p:cNvPr>
            <p:cNvSpPr/>
            <p:nvPr/>
          </p:nvSpPr>
          <p:spPr>
            <a:xfrm rot="8716295">
              <a:off x="2242440" y="77954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9" name="Forme libre : forme 348">
              <a:extLst>
                <a:ext uri="{FF2B5EF4-FFF2-40B4-BE49-F238E27FC236}">
                  <a16:creationId xmlns:a16="http://schemas.microsoft.com/office/drawing/2014/main" id="{46418248-47C2-468E-8F48-18C4C7CDB219}"/>
                </a:ext>
              </a:extLst>
            </p:cNvPr>
            <p:cNvSpPr/>
            <p:nvPr/>
          </p:nvSpPr>
          <p:spPr>
            <a:xfrm rot="8716295">
              <a:off x="2174558" y="64895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0" name="Forme libre : forme 349">
              <a:extLst>
                <a:ext uri="{FF2B5EF4-FFF2-40B4-BE49-F238E27FC236}">
                  <a16:creationId xmlns:a16="http://schemas.microsoft.com/office/drawing/2014/main" id="{CF6485DD-C84B-431E-B394-8EC27CA6D055}"/>
                </a:ext>
              </a:extLst>
            </p:cNvPr>
            <p:cNvSpPr/>
            <p:nvPr/>
          </p:nvSpPr>
          <p:spPr>
            <a:xfrm rot="8716295">
              <a:off x="1937270" y="86929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1" name="Forme libre : forme 350">
              <a:extLst>
                <a:ext uri="{FF2B5EF4-FFF2-40B4-BE49-F238E27FC236}">
                  <a16:creationId xmlns:a16="http://schemas.microsoft.com/office/drawing/2014/main" id="{C462C7C6-AFD1-4D6E-868F-DFD5908371AE}"/>
                </a:ext>
              </a:extLst>
            </p:cNvPr>
            <p:cNvSpPr/>
            <p:nvPr/>
          </p:nvSpPr>
          <p:spPr>
            <a:xfrm rot="8716295">
              <a:off x="1748224" y="55346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2" name="Forme libre : forme 351">
              <a:extLst>
                <a:ext uri="{FF2B5EF4-FFF2-40B4-BE49-F238E27FC236}">
                  <a16:creationId xmlns:a16="http://schemas.microsoft.com/office/drawing/2014/main" id="{3BF602CB-BB96-4BFD-9890-5020E5C70107}"/>
                </a:ext>
              </a:extLst>
            </p:cNvPr>
            <p:cNvSpPr/>
            <p:nvPr/>
          </p:nvSpPr>
          <p:spPr>
            <a:xfrm rot="8716295">
              <a:off x="1729983" y="34341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3" name="Forme libre : forme 352">
              <a:extLst>
                <a:ext uri="{FF2B5EF4-FFF2-40B4-BE49-F238E27FC236}">
                  <a16:creationId xmlns:a16="http://schemas.microsoft.com/office/drawing/2014/main" id="{D123FE48-43A2-4EF2-A75E-82641468BE05}"/>
                </a:ext>
              </a:extLst>
            </p:cNvPr>
            <p:cNvSpPr/>
            <p:nvPr/>
          </p:nvSpPr>
          <p:spPr>
            <a:xfrm rot="8716295">
              <a:off x="2073759" y="93127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4" name="Forme libre : forme 353">
              <a:extLst>
                <a:ext uri="{FF2B5EF4-FFF2-40B4-BE49-F238E27FC236}">
                  <a16:creationId xmlns:a16="http://schemas.microsoft.com/office/drawing/2014/main" id="{9368862D-396D-4FD2-B4BF-9090111F2572}"/>
                </a:ext>
              </a:extLst>
            </p:cNvPr>
            <p:cNvSpPr/>
            <p:nvPr/>
          </p:nvSpPr>
          <p:spPr>
            <a:xfrm rot="8716295">
              <a:off x="2544705" y="35666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5" name="Forme libre : forme 354">
              <a:extLst>
                <a:ext uri="{FF2B5EF4-FFF2-40B4-BE49-F238E27FC236}">
                  <a16:creationId xmlns:a16="http://schemas.microsoft.com/office/drawing/2014/main" id="{08DA4440-5C40-4A9D-A195-E7F5A36FB8E5}"/>
                </a:ext>
              </a:extLst>
            </p:cNvPr>
            <p:cNvSpPr/>
            <p:nvPr/>
          </p:nvSpPr>
          <p:spPr>
            <a:xfrm rot="8716295">
              <a:off x="2680004" y="40092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6" name="Forme libre : forme 355">
              <a:extLst>
                <a:ext uri="{FF2B5EF4-FFF2-40B4-BE49-F238E27FC236}">
                  <a16:creationId xmlns:a16="http://schemas.microsoft.com/office/drawing/2014/main" id="{499C4215-CE78-4D06-B1F1-0EFC66D2B8A8}"/>
                </a:ext>
              </a:extLst>
            </p:cNvPr>
            <p:cNvSpPr/>
            <p:nvPr/>
          </p:nvSpPr>
          <p:spPr>
            <a:xfrm rot="8716295">
              <a:off x="2374834" y="49068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7" name="Forme libre : forme 356">
              <a:extLst>
                <a:ext uri="{FF2B5EF4-FFF2-40B4-BE49-F238E27FC236}">
                  <a16:creationId xmlns:a16="http://schemas.microsoft.com/office/drawing/2014/main" id="{0DF46042-A994-48E9-AACA-0079FAE5D34F}"/>
                </a:ext>
              </a:extLst>
            </p:cNvPr>
            <p:cNvSpPr/>
            <p:nvPr/>
          </p:nvSpPr>
          <p:spPr>
            <a:xfrm rot="8716295">
              <a:off x="2185790" y="17484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8" name="Forme libre : forme 357">
              <a:extLst>
                <a:ext uri="{FF2B5EF4-FFF2-40B4-BE49-F238E27FC236}">
                  <a16:creationId xmlns:a16="http://schemas.microsoft.com/office/drawing/2014/main" id="{C56CBFD7-CE58-4F68-AE5F-EEAC0B0B2F26}"/>
                </a:ext>
              </a:extLst>
            </p:cNvPr>
            <p:cNvSpPr/>
            <p:nvPr/>
          </p:nvSpPr>
          <p:spPr>
            <a:xfrm rot="8716295">
              <a:off x="2511323" y="552663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9" name="Forme libre : forme 358">
              <a:extLst>
                <a:ext uri="{FF2B5EF4-FFF2-40B4-BE49-F238E27FC236}">
                  <a16:creationId xmlns:a16="http://schemas.microsoft.com/office/drawing/2014/main" id="{5026E243-7CAA-469D-B3FD-2DEEF3B52A6D}"/>
                </a:ext>
              </a:extLst>
            </p:cNvPr>
            <p:cNvSpPr/>
            <p:nvPr/>
          </p:nvSpPr>
          <p:spPr>
            <a:xfrm rot="8716295">
              <a:off x="2145876" y="32623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0" name="Forme libre : forme 359">
              <a:extLst>
                <a:ext uri="{FF2B5EF4-FFF2-40B4-BE49-F238E27FC236}">
                  <a16:creationId xmlns:a16="http://schemas.microsoft.com/office/drawing/2014/main" id="{69635373-7069-4076-9294-1FD2A4827397}"/>
                </a:ext>
              </a:extLst>
            </p:cNvPr>
            <p:cNvSpPr/>
            <p:nvPr/>
          </p:nvSpPr>
          <p:spPr>
            <a:xfrm rot="7484129">
              <a:off x="2670140" y="84228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1" name="Forme libre : forme 360">
              <a:extLst>
                <a:ext uri="{FF2B5EF4-FFF2-40B4-BE49-F238E27FC236}">
                  <a16:creationId xmlns:a16="http://schemas.microsoft.com/office/drawing/2014/main" id="{65F0089C-08D4-41A5-B19D-05C5D2A763BC}"/>
                </a:ext>
              </a:extLst>
            </p:cNvPr>
            <p:cNvSpPr/>
            <p:nvPr/>
          </p:nvSpPr>
          <p:spPr>
            <a:xfrm rot="13089394">
              <a:off x="2828790" y="791629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2" name="Forme libre : forme 361">
              <a:extLst>
                <a:ext uri="{FF2B5EF4-FFF2-40B4-BE49-F238E27FC236}">
                  <a16:creationId xmlns:a16="http://schemas.microsoft.com/office/drawing/2014/main" id="{10F0587B-FBC8-4526-B416-2C74092E74E3}"/>
                </a:ext>
              </a:extLst>
            </p:cNvPr>
            <p:cNvSpPr/>
            <p:nvPr/>
          </p:nvSpPr>
          <p:spPr>
            <a:xfrm rot="8716295">
              <a:off x="3109681" y="501511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3" name="Forme libre : forme 362">
              <a:extLst>
                <a:ext uri="{FF2B5EF4-FFF2-40B4-BE49-F238E27FC236}">
                  <a16:creationId xmlns:a16="http://schemas.microsoft.com/office/drawing/2014/main" id="{2065DAB7-B994-4ECC-90EA-43FF767C9150}"/>
                </a:ext>
              </a:extLst>
            </p:cNvPr>
            <p:cNvSpPr/>
            <p:nvPr/>
          </p:nvSpPr>
          <p:spPr>
            <a:xfrm rot="8716295">
              <a:off x="3031272" y="344719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4" name="Forme libre : forme 363">
              <a:extLst>
                <a:ext uri="{FF2B5EF4-FFF2-40B4-BE49-F238E27FC236}">
                  <a16:creationId xmlns:a16="http://schemas.microsoft.com/office/drawing/2014/main" id="{06C29BA8-D38F-498C-9EF2-99B1FD452BF5}"/>
                </a:ext>
              </a:extLst>
            </p:cNvPr>
            <p:cNvSpPr/>
            <p:nvPr/>
          </p:nvSpPr>
          <p:spPr>
            <a:xfrm rot="8716295">
              <a:off x="2663108" y="39046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5" name="Forme libre : forme 364">
              <a:extLst>
                <a:ext uri="{FF2B5EF4-FFF2-40B4-BE49-F238E27FC236}">
                  <a16:creationId xmlns:a16="http://schemas.microsoft.com/office/drawing/2014/main" id="{19957925-F105-47F6-A52F-63EE7BCADA72}"/>
                </a:ext>
              </a:extLst>
            </p:cNvPr>
            <p:cNvSpPr/>
            <p:nvPr/>
          </p:nvSpPr>
          <p:spPr>
            <a:xfrm rot="8716295">
              <a:off x="2931690" y="14944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6" name="Forme libre : forme 365">
              <a:extLst>
                <a:ext uri="{FF2B5EF4-FFF2-40B4-BE49-F238E27FC236}">
                  <a16:creationId xmlns:a16="http://schemas.microsoft.com/office/drawing/2014/main" id="{E0E33F2F-8222-4600-9D1F-1A85DBD9DDB6}"/>
                </a:ext>
              </a:extLst>
            </p:cNvPr>
            <p:cNvSpPr/>
            <p:nvPr/>
          </p:nvSpPr>
          <p:spPr>
            <a:xfrm rot="8716295">
              <a:off x="1834766" y="-57684"/>
              <a:ext cx="186564" cy="129320"/>
            </a:xfrm>
            <a:custGeom>
              <a:avLst/>
              <a:gdLst>
                <a:gd name="connsiteX0" fmla="*/ 123263 w 123263"/>
                <a:gd name="connsiteY0" fmla="*/ 85442 h 85442"/>
                <a:gd name="connsiteX1" fmla="*/ 0 w 123263"/>
                <a:gd name="connsiteY1" fmla="*/ 0 h 85442"/>
                <a:gd name="connsiteX2" fmla="*/ 66305 w 123263"/>
                <a:gd name="connsiteY2" fmla="*/ 0 h 85442"/>
                <a:gd name="connsiteX3" fmla="*/ 123263 w 123263"/>
                <a:gd name="connsiteY3" fmla="*/ 50123 h 85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63" h="85442">
                  <a:moveTo>
                    <a:pt x="123263" y="85442"/>
                  </a:moveTo>
                  <a:lnTo>
                    <a:pt x="0" y="0"/>
                  </a:lnTo>
                  <a:lnTo>
                    <a:pt x="66305" y="0"/>
                  </a:lnTo>
                  <a:cubicBezTo>
                    <a:pt x="103214" y="0"/>
                    <a:pt x="123263" y="15948"/>
                    <a:pt x="123263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7" name="Forme libre : forme 366">
              <a:extLst>
                <a:ext uri="{FF2B5EF4-FFF2-40B4-BE49-F238E27FC236}">
                  <a16:creationId xmlns:a16="http://schemas.microsoft.com/office/drawing/2014/main" id="{85E9DB2D-8095-4090-AC49-070A81C428A4}"/>
                </a:ext>
              </a:extLst>
            </p:cNvPr>
            <p:cNvSpPr/>
            <p:nvPr/>
          </p:nvSpPr>
          <p:spPr>
            <a:xfrm rot="8716295">
              <a:off x="1969949" y="-13794"/>
              <a:ext cx="394488" cy="148365"/>
            </a:xfrm>
            <a:custGeom>
              <a:avLst/>
              <a:gdLst>
                <a:gd name="connsiteX0" fmla="*/ 104802 w 260639"/>
                <a:gd name="connsiteY0" fmla="*/ 74264 h 98025"/>
                <a:gd name="connsiteX1" fmla="*/ 0 w 260639"/>
                <a:gd name="connsiteY1" fmla="*/ 1618 h 98025"/>
                <a:gd name="connsiteX2" fmla="*/ 0 w 260639"/>
                <a:gd name="connsiteY2" fmla="*/ 1425 h 98025"/>
                <a:gd name="connsiteX3" fmla="*/ 104803 w 260639"/>
                <a:gd name="connsiteY3" fmla="*/ 1425 h 98025"/>
                <a:gd name="connsiteX4" fmla="*/ 122123 w 260639"/>
                <a:gd name="connsiteY4" fmla="*/ 86270 h 98025"/>
                <a:gd name="connsiteX5" fmla="*/ 106178 w 260639"/>
                <a:gd name="connsiteY5" fmla="*/ 75218 h 98025"/>
                <a:gd name="connsiteX6" fmla="*/ 116721 w 260639"/>
                <a:gd name="connsiteY6" fmla="*/ 47439 h 98025"/>
                <a:gd name="connsiteX7" fmla="*/ 154014 w 260639"/>
                <a:gd name="connsiteY7" fmla="*/ 5981 h 98025"/>
                <a:gd name="connsiteX8" fmla="*/ 185455 w 260639"/>
                <a:gd name="connsiteY8" fmla="*/ 57 h 98025"/>
                <a:gd name="connsiteX9" fmla="*/ 260639 w 260639"/>
                <a:gd name="connsiteY9" fmla="*/ 88456 h 98025"/>
                <a:gd name="connsiteX10" fmla="*/ 260639 w 260639"/>
                <a:gd name="connsiteY10" fmla="*/ 94380 h 98025"/>
                <a:gd name="connsiteX11" fmla="*/ 198669 w 260639"/>
                <a:gd name="connsiteY11" fmla="*/ 98025 h 98025"/>
                <a:gd name="connsiteX12" fmla="*/ 198669 w 260639"/>
                <a:gd name="connsiteY12" fmla="*/ 81621 h 98025"/>
                <a:gd name="connsiteX13" fmla="*/ 164950 w 260639"/>
                <a:gd name="connsiteY13" fmla="*/ 40156 h 98025"/>
                <a:gd name="connsiteX14" fmla="*/ 127358 w 260639"/>
                <a:gd name="connsiteY14" fmla="*/ 65616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60639" h="98025">
                  <a:moveTo>
                    <a:pt x="104802" y="74264"/>
                  </a:moveTo>
                  <a:lnTo>
                    <a:pt x="0" y="1618"/>
                  </a:lnTo>
                  <a:lnTo>
                    <a:pt x="0" y="1425"/>
                  </a:lnTo>
                  <a:lnTo>
                    <a:pt x="104803" y="1425"/>
                  </a:lnTo>
                  <a:close/>
                  <a:moveTo>
                    <a:pt x="122123" y="86270"/>
                  </a:moveTo>
                  <a:lnTo>
                    <a:pt x="106178" y="75218"/>
                  </a:lnTo>
                  <a:lnTo>
                    <a:pt x="116721" y="47439"/>
                  </a:lnTo>
                  <a:cubicBezTo>
                    <a:pt x="127102" y="24008"/>
                    <a:pt x="137610" y="12816"/>
                    <a:pt x="154014" y="5981"/>
                  </a:cubicBezTo>
                  <a:cubicBezTo>
                    <a:pt x="164038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50369" y="40156"/>
                    <a:pt x="137041" y="49839"/>
                    <a:pt x="127358" y="656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8" name="Forme libre : forme 367">
              <a:extLst>
                <a:ext uri="{FF2B5EF4-FFF2-40B4-BE49-F238E27FC236}">
                  <a16:creationId xmlns:a16="http://schemas.microsoft.com/office/drawing/2014/main" id="{2112AB6E-ECBC-48CC-8F85-503CE29BF697}"/>
                </a:ext>
              </a:extLst>
            </p:cNvPr>
            <p:cNvSpPr/>
            <p:nvPr/>
          </p:nvSpPr>
          <p:spPr>
            <a:xfrm rot="8716295">
              <a:off x="1736738" y="-7282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9" name="Forme libre : forme 368">
              <a:extLst>
                <a:ext uri="{FF2B5EF4-FFF2-40B4-BE49-F238E27FC236}">
                  <a16:creationId xmlns:a16="http://schemas.microsoft.com/office/drawing/2014/main" id="{0CED55EE-2402-40E1-B7FC-4C64963DE5BE}"/>
                </a:ext>
              </a:extLst>
            </p:cNvPr>
            <p:cNvSpPr/>
            <p:nvPr/>
          </p:nvSpPr>
          <p:spPr>
            <a:xfrm rot="7484129">
              <a:off x="2399917" y="-21262"/>
              <a:ext cx="233243" cy="158079"/>
            </a:xfrm>
            <a:custGeom>
              <a:avLst/>
              <a:gdLst>
                <a:gd name="connsiteX0" fmla="*/ 72416 w 154104"/>
                <a:gd name="connsiteY0" fmla="*/ 104443 h 104443"/>
                <a:gd name="connsiteX1" fmla="*/ 0 w 154104"/>
                <a:gd name="connsiteY1" fmla="*/ 0 h 104443"/>
                <a:gd name="connsiteX2" fmla="*/ 154104 w 154104"/>
                <a:gd name="connsiteY2" fmla="*/ 0 h 104443"/>
                <a:gd name="connsiteX3" fmla="*/ 154104 w 154104"/>
                <a:gd name="connsiteY3" fmla="*/ 55323 h 104443"/>
                <a:gd name="connsiteX4" fmla="*/ 89312 w 154104"/>
                <a:gd name="connsiteY4" fmla="*/ 55323 h 104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4104" h="104443">
                  <a:moveTo>
                    <a:pt x="72416" y="104443"/>
                  </a:moveTo>
                  <a:lnTo>
                    <a:pt x="0" y="0"/>
                  </a:lnTo>
                  <a:lnTo>
                    <a:pt x="154104" y="0"/>
                  </a:lnTo>
                  <a:lnTo>
                    <a:pt x="154104" y="55323"/>
                  </a:lnTo>
                  <a:lnTo>
                    <a:pt x="89312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0" name="Forme libre : forme 369">
              <a:extLst>
                <a:ext uri="{FF2B5EF4-FFF2-40B4-BE49-F238E27FC236}">
                  <a16:creationId xmlns:a16="http://schemas.microsoft.com/office/drawing/2014/main" id="{2AB77741-1425-4B03-9370-5D34269ACC61}"/>
                </a:ext>
              </a:extLst>
            </p:cNvPr>
            <p:cNvSpPr/>
            <p:nvPr/>
          </p:nvSpPr>
          <p:spPr>
            <a:xfrm rot="13089394">
              <a:off x="2721869" y="-65503"/>
              <a:ext cx="128296" cy="425348"/>
            </a:xfrm>
            <a:custGeom>
              <a:avLst/>
              <a:gdLst>
                <a:gd name="connsiteX0" fmla="*/ 84765 w 84765"/>
                <a:gd name="connsiteY0" fmla="*/ 225012 h 281028"/>
                <a:gd name="connsiteX1" fmla="*/ 13471 w 84765"/>
                <a:gd name="connsiteY1" fmla="*/ 281028 h 281028"/>
                <a:gd name="connsiteX2" fmla="*/ 4828 w 84765"/>
                <a:gd name="connsiteY2" fmla="*/ 263963 h 281028"/>
                <a:gd name="connsiteX3" fmla="*/ 0 w 84765"/>
                <a:gd name="connsiteY3" fmla="*/ 206370 h 281028"/>
                <a:gd name="connsiteX4" fmla="*/ 0 w 84765"/>
                <a:gd name="connsiteY4" fmla="*/ 38074 h 281028"/>
                <a:gd name="connsiteX5" fmla="*/ 73388 w 84765"/>
                <a:gd name="connsiteY5" fmla="*/ 0 h 281028"/>
                <a:gd name="connsiteX6" fmla="*/ 74492 w 84765"/>
                <a:gd name="connsiteY6" fmla="*/ 153950 h 281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4765" h="281028">
                  <a:moveTo>
                    <a:pt x="84765" y="225012"/>
                  </a:moveTo>
                  <a:lnTo>
                    <a:pt x="13471" y="281028"/>
                  </a:lnTo>
                  <a:lnTo>
                    <a:pt x="4828" y="263963"/>
                  </a:lnTo>
                  <a:cubicBezTo>
                    <a:pt x="1241" y="248168"/>
                    <a:pt x="0" y="228993"/>
                    <a:pt x="0" y="206370"/>
                  </a:cubicBez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1" name="Forme libre : forme 370">
              <a:extLst>
                <a:ext uri="{FF2B5EF4-FFF2-40B4-BE49-F238E27FC236}">
                  <a16:creationId xmlns:a16="http://schemas.microsoft.com/office/drawing/2014/main" id="{FAA815E1-BD11-411E-A301-A66D6E5B5B5D}"/>
                </a:ext>
              </a:extLst>
            </p:cNvPr>
            <p:cNvSpPr/>
            <p:nvPr/>
          </p:nvSpPr>
          <p:spPr>
            <a:xfrm rot="8716295">
              <a:off x="5604774" y="3024342"/>
              <a:ext cx="274455" cy="132163"/>
            </a:xfrm>
            <a:custGeom>
              <a:avLst/>
              <a:gdLst>
                <a:gd name="connsiteX0" fmla="*/ 0 w 181333"/>
                <a:gd name="connsiteY0" fmla="*/ 87320 h 87320"/>
                <a:gd name="connsiteX1" fmla="*/ 42309 w 181333"/>
                <a:gd name="connsiteY1" fmla="*/ 36168 h 87320"/>
                <a:gd name="connsiteX2" fmla="*/ 54839 w 181333"/>
                <a:gd name="connsiteY2" fmla="*/ 38831 h 87320"/>
                <a:gd name="connsiteX3" fmla="*/ 107790 w 181333"/>
                <a:gd name="connsiteY3" fmla="*/ 29417 h 87320"/>
                <a:gd name="connsiteX4" fmla="*/ 180157 w 181333"/>
                <a:gd name="connsiteY4" fmla="*/ 0 h 87320"/>
                <a:gd name="connsiteX5" fmla="*/ 181333 w 181333"/>
                <a:gd name="connsiteY5" fmla="*/ 7648 h 87320"/>
                <a:gd name="connsiteX6" fmla="*/ 181333 w 181333"/>
                <a:gd name="connsiteY6" fmla="*/ 13532 h 87320"/>
                <a:gd name="connsiteX7" fmla="*/ 30340 w 181333"/>
                <a:gd name="connsiteY7" fmla="*/ 83361 h 87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333" h="87320">
                  <a:moveTo>
                    <a:pt x="0" y="87320"/>
                  </a:moveTo>
                  <a:lnTo>
                    <a:pt x="42309" y="36168"/>
                  </a:lnTo>
                  <a:lnTo>
                    <a:pt x="54839" y="38831"/>
                  </a:lnTo>
                  <a:cubicBezTo>
                    <a:pt x="73078" y="38242"/>
                    <a:pt x="90728" y="34712"/>
                    <a:pt x="107790" y="29417"/>
                  </a:cubicBezTo>
                  <a:cubicBezTo>
                    <a:pt x="132500" y="21768"/>
                    <a:pt x="156623" y="11767"/>
                    <a:pt x="180157" y="0"/>
                  </a:cubicBezTo>
                  <a:cubicBezTo>
                    <a:pt x="180745" y="2353"/>
                    <a:pt x="181333" y="5295"/>
                    <a:pt x="181333" y="7648"/>
                  </a:cubicBezTo>
                  <a:lnTo>
                    <a:pt x="181333" y="13532"/>
                  </a:lnTo>
                  <a:cubicBezTo>
                    <a:pt x="134560" y="53687"/>
                    <a:pt x="76865" y="74315"/>
                    <a:pt x="30340" y="833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2" name="Forme libre : forme 371">
              <a:extLst>
                <a:ext uri="{FF2B5EF4-FFF2-40B4-BE49-F238E27FC236}">
                  <a16:creationId xmlns:a16="http://schemas.microsoft.com/office/drawing/2014/main" id="{0B206B84-4FE5-4D53-9D1E-DD02DB41D254}"/>
                </a:ext>
              </a:extLst>
            </p:cNvPr>
            <p:cNvSpPr/>
            <p:nvPr/>
          </p:nvSpPr>
          <p:spPr>
            <a:xfrm rot="8716295">
              <a:off x="5742786" y="2375436"/>
              <a:ext cx="92417" cy="296278"/>
            </a:xfrm>
            <a:custGeom>
              <a:avLst/>
              <a:gdLst>
                <a:gd name="connsiteX0" fmla="*/ 0 w 61060"/>
                <a:gd name="connsiteY0" fmla="*/ 195751 h 195751"/>
                <a:gd name="connsiteX1" fmla="*/ 0 w 61060"/>
                <a:gd name="connsiteY1" fmla="*/ 67520 h 195751"/>
                <a:gd name="connsiteX2" fmla="*/ 55847 w 61060"/>
                <a:gd name="connsiteY2" fmla="*/ 0 h 195751"/>
                <a:gd name="connsiteX3" fmla="*/ 61059 w 61060"/>
                <a:gd name="connsiteY3" fmla="*/ 13486 h 195751"/>
                <a:gd name="connsiteX4" fmla="*/ 61060 w 61060"/>
                <a:gd name="connsiteY4" fmla="*/ 171601 h 195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60" h="195751">
                  <a:moveTo>
                    <a:pt x="0" y="195751"/>
                  </a:moveTo>
                  <a:lnTo>
                    <a:pt x="0" y="67520"/>
                  </a:lnTo>
                  <a:lnTo>
                    <a:pt x="55847" y="0"/>
                  </a:lnTo>
                  <a:lnTo>
                    <a:pt x="61059" y="13486"/>
                  </a:lnTo>
                  <a:lnTo>
                    <a:pt x="61060" y="17160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3" name="Forme libre : forme 372">
              <a:extLst>
                <a:ext uri="{FF2B5EF4-FFF2-40B4-BE49-F238E27FC236}">
                  <a16:creationId xmlns:a16="http://schemas.microsoft.com/office/drawing/2014/main" id="{77194E30-CE70-4AEC-BB0F-106D75678D26}"/>
                </a:ext>
              </a:extLst>
            </p:cNvPr>
            <p:cNvSpPr/>
            <p:nvPr/>
          </p:nvSpPr>
          <p:spPr>
            <a:xfrm rot="8716295">
              <a:off x="5579033" y="246915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4" name="Forme libre : forme 373">
              <a:extLst>
                <a:ext uri="{FF2B5EF4-FFF2-40B4-BE49-F238E27FC236}">
                  <a16:creationId xmlns:a16="http://schemas.microsoft.com/office/drawing/2014/main" id="{F8F32B20-B35C-4702-8768-E6EC077080C3}"/>
                </a:ext>
              </a:extLst>
            </p:cNvPr>
            <p:cNvSpPr/>
            <p:nvPr/>
          </p:nvSpPr>
          <p:spPr>
            <a:xfrm rot="8716295">
              <a:off x="5389987" y="215331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5" name="Forme libre : forme 374">
              <a:extLst>
                <a:ext uri="{FF2B5EF4-FFF2-40B4-BE49-F238E27FC236}">
                  <a16:creationId xmlns:a16="http://schemas.microsoft.com/office/drawing/2014/main" id="{03FB5FAB-F686-40AC-9940-1E92242C962D}"/>
                </a:ext>
              </a:extLst>
            </p:cNvPr>
            <p:cNvSpPr/>
            <p:nvPr/>
          </p:nvSpPr>
          <p:spPr>
            <a:xfrm rot="8716295">
              <a:off x="5371746" y="194326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6" name="Forme libre : forme 375">
              <a:extLst>
                <a:ext uri="{FF2B5EF4-FFF2-40B4-BE49-F238E27FC236}">
                  <a16:creationId xmlns:a16="http://schemas.microsoft.com/office/drawing/2014/main" id="{7697AE3D-D280-4B41-97E4-E67BBE2838D4}"/>
                </a:ext>
              </a:extLst>
            </p:cNvPr>
            <p:cNvSpPr/>
            <p:nvPr/>
          </p:nvSpPr>
          <p:spPr>
            <a:xfrm rot="8716295">
              <a:off x="5716764" y="2550542"/>
              <a:ext cx="91035" cy="331729"/>
            </a:xfrm>
            <a:custGeom>
              <a:avLst/>
              <a:gdLst>
                <a:gd name="connsiteX0" fmla="*/ 60147 w 60147"/>
                <a:gd name="connsiteY0" fmla="*/ 219174 h 219174"/>
                <a:gd name="connsiteX1" fmla="*/ 0 w 60147"/>
                <a:gd name="connsiteY1" fmla="*/ 161304 h 219174"/>
                <a:gd name="connsiteX2" fmla="*/ 0 w 60147"/>
                <a:gd name="connsiteY2" fmla="*/ 68045 h 219174"/>
                <a:gd name="connsiteX3" fmla="*/ 56210 w 60147"/>
                <a:gd name="connsiteY3" fmla="*/ 87 h 219174"/>
                <a:gd name="connsiteX4" fmla="*/ 60147 w 60147"/>
                <a:gd name="connsiteY4" fmla="*/ 0 h 219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47" h="219174">
                  <a:moveTo>
                    <a:pt x="60147" y="219174"/>
                  </a:moveTo>
                  <a:lnTo>
                    <a:pt x="0" y="161304"/>
                  </a:lnTo>
                  <a:lnTo>
                    <a:pt x="0" y="68045"/>
                  </a:lnTo>
                  <a:lnTo>
                    <a:pt x="56210" y="87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7" name="Forme libre : forme 376">
              <a:extLst>
                <a:ext uri="{FF2B5EF4-FFF2-40B4-BE49-F238E27FC236}">
                  <a16:creationId xmlns:a16="http://schemas.microsoft.com/office/drawing/2014/main" id="{46E8B4E6-46F9-4CF4-A6B7-A87039F21F77}"/>
                </a:ext>
              </a:extLst>
            </p:cNvPr>
            <p:cNvSpPr/>
            <p:nvPr/>
          </p:nvSpPr>
          <p:spPr>
            <a:xfrm rot="8716295">
              <a:off x="5787639" y="192609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8" name="Forme libre : forme 377">
              <a:extLst>
                <a:ext uri="{FF2B5EF4-FFF2-40B4-BE49-F238E27FC236}">
                  <a16:creationId xmlns:a16="http://schemas.microsoft.com/office/drawing/2014/main" id="{CE3A86F3-9EF3-4CAC-BAE7-301BACB20DC2}"/>
                </a:ext>
              </a:extLst>
            </p:cNvPr>
            <p:cNvSpPr/>
            <p:nvPr/>
          </p:nvSpPr>
          <p:spPr>
            <a:xfrm rot="8716295">
              <a:off x="5411131" y="133665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9" name="Forme libre : forme 378">
              <a:extLst>
                <a:ext uri="{FF2B5EF4-FFF2-40B4-BE49-F238E27FC236}">
                  <a16:creationId xmlns:a16="http://schemas.microsoft.com/office/drawing/2014/main" id="{5ADA9701-4026-4003-B92A-BE45A4B58CA1}"/>
                </a:ext>
              </a:extLst>
            </p:cNvPr>
            <p:cNvSpPr/>
            <p:nvPr/>
          </p:nvSpPr>
          <p:spPr>
            <a:xfrm rot="8716295">
              <a:off x="5547629" y="1389153"/>
              <a:ext cx="346795" cy="385612"/>
            </a:xfrm>
            <a:custGeom>
              <a:avLst/>
              <a:gdLst>
                <a:gd name="connsiteX0" fmla="*/ 19979 w 229128"/>
                <a:gd name="connsiteY0" fmla="*/ 254774 h 254774"/>
                <a:gd name="connsiteX1" fmla="*/ 19979 w 229128"/>
                <a:gd name="connsiteY1" fmla="*/ 45624 h 254774"/>
                <a:gd name="connsiteX2" fmla="*/ 0 w 229128"/>
                <a:gd name="connsiteY2" fmla="*/ 45624 h 254774"/>
                <a:gd name="connsiteX3" fmla="*/ 36558 w 229128"/>
                <a:gd name="connsiteY3" fmla="*/ 1425 h 254774"/>
                <a:gd name="connsiteX4" fmla="*/ 73292 w 229128"/>
                <a:gd name="connsiteY4" fmla="*/ 1425 h 254774"/>
                <a:gd name="connsiteX5" fmla="*/ 73292 w 229128"/>
                <a:gd name="connsiteY5" fmla="*/ 75242 h 254774"/>
                <a:gd name="connsiteX6" fmla="*/ 74658 w 229128"/>
                <a:gd name="connsiteY6" fmla="*/ 75242 h 254774"/>
                <a:gd name="connsiteX7" fmla="*/ 122503 w 229128"/>
                <a:gd name="connsiteY7" fmla="*/ 5981 h 254774"/>
                <a:gd name="connsiteX8" fmla="*/ 153944 w 229128"/>
                <a:gd name="connsiteY8" fmla="*/ 57 h 254774"/>
                <a:gd name="connsiteX9" fmla="*/ 229128 w 229128"/>
                <a:gd name="connsiteY9" fmla="*/ 88456 h 254774"/>
                <a:gd name="connsiteX10" fmla="*/ 229128 w 229128"/>
                <a:gd name="connsiteY10" fmla="*/ 94380 h 254774"/>
                <a:gd name="connsiteX11" fmla="*/ 167158 w 229128"/>
                <a:gd name="connsiteY11" fmla="*/ 98025 h 254774"/>
                <a:gd name="connsiteX12" fmla="*/ 167158 w 229128"/>
                <a:gd name="connsiteY12" fmla="*/ 81621 h 254774"/>
                <a:gd name="connsiteX13" fmla="*/ 133439 w 229128"/>
                <a:gd name="connsiteY13" fmla="*/ 40156 h 254774"/>
                <a:gd name="connsiteX14" fmla="*/ 80127 w 229128"/>
                <a:gd name="connsiteY14" fmla="*/ 127643 h 254774"/>
                <a:gd name="connsiteX15" fmla="*/ 80127 w 229128"/>
                <a:gd name="connsiteY15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29128" h="254774">
                  <a:moveTo>
                    <a:pt x="19979" y="254774"/>
                  </a:moveTo>
                  <a:lnTo>
                    <a:pt x="19979" y="45624"/>
                  </a:lnTo>
                  <a:lnTo>
                    <a:pt x="0" y="45624"/>
                  </a:lnTo>
                  <a:lnTo>
                    <a:pt x="36558" y="1425"/>
                  </a:lnTo>
                  <a:lnTo>
                    <a:pt x="73292" y="1425"/>
                  </a:lnTo>
                  <a:lnTo>
                    <a:pt x="73292" y="75242"/>
                  </a:lnTo>
                  <a:lnTo>
                    <a:pt x="74658" y="75242"/>
                  </a:lnTo>
                  <a:cubicBezTo>
                    <a:pt x="89240" y="31954"/>
                    <a:pt x="100631" y="15094"/>
                    <a:pt x="122503" y="5981"/>
                  </a:cubicBezTo>
                  <a:cubicBezTo>
                    <a:pt x="132528" y="1880"/>
                    <a:pt x="143008" y="-398"/>
                    <a:pt x="153944" y="57"/>
                  </a:cubicBezTo>
                  <a:cubicBezTo>
                    <a:pt x="200877" y="-854"/>
                    <a:pt x="229128" y="31954"/>
                    <a:pt x="229128" y="88456"/>
                  </a:cubicBezTo>
                  <a:lnTo>
                    <a:pt x="229128" y="94380"/>
                  </a:lnTo>
                  <a:lnTo>
                    <a:pt x="167158" y="98025"/>
                  </a:lnTo>
                  <a:lnTo>
                    <a:pt x="167158" y="81621"/>
                  </a:lnTo>
                  <a:cubicBezTo>
                    <a:pt x="167158" y="57016"/>
                    <a:pt x="153033" y="40156"/>
                    <a:pt x="133439" y="40156"/>
                  </a:cubicBezTo>
                  <a:cubicBezTo>
                    <a:pt x="104277" y="40156"/>
                    <a:pt x="80127" y="78887"/>
                    <a:pt x="80127" y="127643"/>
                  </a:cubicBezTo>
                  <a:lnTo>
                    <a:pt x="80127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0" name="Forme libre : forme 379">
              <a:extLst>
                <a:ext uri="{FF2B5EF4-FFF2-40B4-BE49-F238E27FC236}">
                  <a16:creationId xmlns:a16="http://schemas.microsoft.com/office/drawing/2014/main" id="{3801A8FD-71D9-43D4-9A13-F62B93652117}"/>
                </a:ext>
              </a:extLst>
            </p:cNvPr>
            <p:cNvSpPr/>
            <p:nvPr/>
          </p:nvSpPr>
          <p:spPr>
            <a:xfrm rot="8716295">
              <a:off x="5478548" y="125032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1" name="Forme libre : forme 380">
              <a:extLst>
                <a:ext uri="{FF2B5EF4-FFF2-40B4-BE49-F238E27FC236}">
                  <a16:creationId xmlns:a16="http://schemas.microsoft.com/office/drawing/2014/main" id="{4CC9B929-E3B4-4677-AB6A-C1B0E025204C}"/>
                </a:ext>
              </a:extLst>
            </p:cNvPr>
            <p:cNvSpPr/>
            <p:nvPr/>
          </p:nvSpPr>
          <p:spPr>
            <a:xfrm rot="8716295">
              <a:off x="5241260" y="147066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2" name="Forme libre : forme 381">
              <a:extLst>
                <a:ext uri="{FF2B5EF4-FFF2-40B4-BE49-F238E27FC236}">
                  <a16:creationId xmlns:a16="http://schemas.microsoft.com/office/drawing/2014/main" id="{43D5D927-BA42-496D-BC4E-8674E3CE6A51}"/>
                </a:ext>
              </a:extLst>
            </p:cNvPr>
            <p:cNvSpPr/>
            <p:nvPr/>
          </p:nvSpPr>
          <p:spPr>
            <a:xfrm rot="8716295">
              <a:off x="5052214" y="11548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3" name="Forme libre : forme 382">
              <a:extLst>
                <a:ext uri="{FF2B5EF4-FFF2-40B4-BE49-F238E27FC236}">
                  <a16:creationId xmlns:a16="http://schemas.microsoft.com/office/drawing/2014/main" id="{A9CA7264-4BDA-4273-8C76-8511057A1B85}"/>
                </a:ext>
              </a:extLst>
            </p:cNvPr>
            <p:cNvSpPr/>
            <p:nvPr/>
          </p:nvSpPr>
          <p:spPr>
            <a:xfrm rot="8716295">
              <a:off x="5033973" y="94478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4" name="Forme libre : forme 383">
              <a:extLst>
                <a:ext uri="{FF2B5EF4-FFF2-40B4-BE49-F238E27FC236}">
                  <a16:creationId xmlns:a16="http://schemas.microsoft.com/office/drawing/2014/main" id="{5E95C0C0-B211-4D78-A1DF-BE4FC385DAC5}"/>
                </a:ext>
              </a:extLst>
            </p:cNvPr>
            <p:cNvSpPr/>
            <p:nvPr/>
          </p:nvSpPr>
          <p:spPr>
            <a:xfrm rot="8716295">
              <a:off x="5377749" y="153264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5" name="Forme libre : forme 384">
              <a:extLst>
                <a:ext uri="{FF2B5EF4-FFF2-40B4-BE49-F238E27FC236}">
                  <a16:creationId xmlns:a16="http://schemas.microsoft.com/office/drawing/2014/main" id="{299B9701-5011-4B98-BC25-888CE3D4A261}"/>
                </a:ext>
              </a:extLst>
            </p:cNvPr>
            <p:cNvSpPr/>
            <p:nvPr/>
          </p:nvSpPr>
          <p:spPr>
            <a:xfrm rot="8716295">
              <a:off x="5847873" y="996679"/>
              <a:ext cx="92417" cy="314872"/>
            </a:xfrm>
            <a:custGeom>
              <a:avLst/>
              <a:gdLst>
                <a:gd name="connsiteX0" fmla="*/ 0 w 61060"/>
                <a:gd name="connsiteY0" fmla="*/ 208036 h 208036"/>
                <a:gd name="connsiteX1" fmla="*/ 1 w 61060"/>
                <a:gd name="connsiteY1" fmla="*/ 61780 h 208036"/>
                <a:gd name="connsiteX2" fmla="*/ 51100 w 61060"/>
                <a:gd name="connsiteY2" fmla="*/ 0 h 208036"/>
                <a:gd name="connsiteX3" fmla="*/ 61059 w 61060"/>
                <a:gd name="connsiteY3" fmla="*/ 25771 h 208036"/>
                <a:gd name="connsiteX4" fmla="*/ 61060 w 61060"/>
                <a:gd name="connsiteY4" fmla="*/ 183886 h 208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60" h="208036">
                  <a:moveTo>
                    <a:pt x="0" y="208036"/>
                  </a:moveTo>
                  <a:lnTo>
                    <a:pt x="1" y="61780"/>
                  </a:lnTo>
                  <a:lnTo>
                    <a:pt x="51100" y="0"/>
                  </a:lnTo>
                  <a:lnTo>
                    <a:pt x="61059" y="25771"/>
                  </a:lnTo>
                  <a:lnTo>
                    <a:pt x="61060" y="18388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6" name="Forme libre : forme 385">
              <a:extLst>
                <a:ext uri="{FF2B5EF4-FFF2-40B4-BE49-F238E27FC236}">
                  <a16:creationId xmlns:a16="http://schemas.microsoft.com/office/drawing/2014/main" id="{D1B55AC6-0E14-4AD6-A463-2BC5AB8BBB90}"/>
                </a:ext>
              </a:extLst>
            </p:cNvPr>
            <p:cNvSpPr/>
            <p:nvPr/>
          </p:nvSpPr>
          <p:spPr>
            <a:xfrm rot="8716295">
              <a:off x="5678824" y="109205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7" name="Forme libre : forme 386">
              <a:extLst>
                <a:ext uri="{FF2B5EF4-FFF2-40B4-BE49-F238E27FC236}">
                  <a16:creationId xmlns:a16="http://schemas.microsoft.com/office/drawing/2014/main" id="{35C0CB49-4515-4D6B-805D-6EE1D83F55CD}"/>
                </a:ext>
              </a:extLst>
            </p:cNvPr>
            <p:cNvSpPr/>
            <p:nvPr/>
          </p:nvSpPr>
          <p:spPr>
            <a:xfrm rot="8716295">
              <a:off x="5489780" y="77621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8" name="Forme libre : forme 387">
              <a:extLst>
                <a:ext uri="{FF2B5EF4-FFF2-40B4-BE49-F238E27FC236}">
                  <a16:creationId xmlns:a16="http://schemas.microsoft.com/office/drawing/2014/main" id="{393CE68B-9315-410C-84F0-0D845DB03A75}"/>
                </a:ext>
              </a:extLst>
            </p:cNvPr>
            <p:cNvSpPr/>
            <p:nvPr/>
          </p:nvSpPr>
          <p:spPr>
            <a:xfrm rot="8716295">
              <a:off x="5816554" y="1173443"/>
              <a:ext cx="91037" cy="331731"/>
            </a:xfrm>
            <a:custGeom>
              <a:avLst/>
              <a:gdLst>
                <a:gd name="connsiteX0" fmla="*/ 60148 w 60148"/>
                <a:gd name="connsiteY0" fmla="*/ 219175 h 219175"/>
                <a:gd name="connsiteX1" fmla="*/ 0 w 60148"/>
                <a:gd name="connsiteY1" fmla="*/ 161305 h 219175"/>
                <a:gd name="connsiteX2" fmla="*/ 0 w 60148"/>
                <a:gd name="connsiteY2" fmla="*/ 50021 h 219175"/>
                <a:gd name="connsiteX3" fmla="*/ 41025 w 60148"/>
                <a:gd name="connsiteY3" fmla="*/ 421 h 219175"/>
                <a:gd name="connsiteX4" fmla="*/ 60147 w 60148"/>
                <a:gd name="connsiteY4" fmla="*/ 0 h 219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48" h="219175">
                  <a:moveTo>
                    <a:pt x="60148" y="219175"/>
                  </a:moveTo>
                  <a:lnTo>
                    <a:pt x="0" y="161305"/>
                  </a:lnTo>
                  <a:lnTo>
                    <a:pt x="0" y="50021"/>
                  </a:lnTo>
                  <a:lnTo>
                    <a:pt x="41025" y="421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9" name="Forme libre : forme 388">
              <a:extLst>
                <a:ext uri="{FF2B5EF4-FFF2-40B4-BE49-F238E27FC236}">
                  <a16:creationId xmlns:a16="http://schemas.microsoft.com/office/drawing/2014/main" id="{B917A23A-4403-425A-9C2A-27DE35CB443E}"/>
                </a:ext>
              </a:extLst>
            </p:cNvPr>
            <p:cNvSpPr/>
            <p:nvPr/>
          </p:nvSpPr>
          <p:spPr>
            <a:xfrm rot="8716295">
              <a:off x="5449866" y="92760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0" name="Forme libre : forme 389">
              <a:extLst>
                <a:ext uri="{FF2B5EF4-FFF2-40B4-BE49-F238E27FC236}">
                  <a16:creationId xmlns:a16="http://schemas.microsoft.com/office/drawing/2014/main" id="{8689535D-A8DA-4F0E-9DBC-CBAFC078B2CB}"/>
                </a:ext>
              </a:extLst>
            </p:cNvPr>
            <p:cNvSpPr/>
            <p:nvPr/>
          </p:nvSpPr>
          <p:spPr>
            <a:xfrm rot="8716295">
              <a:off x="5954717" y="1002572"/>
              <a:ext cx="48491" cy="55034"/>
            </a:xfrm>
            <a:custGeom>
              <a:avLst/>
              <a:gdLst>
                <a:gd name="connsiteX0" fmla="*/ 0 w 32038"/>
                <a:gd name="connsiteY0" fmla="*/ 35166 h 36361"/>
                <a:gd name="connsiteX1" fmla="*/ 29086 w 32038"/>
                <a:gd name="connsiteY1" fmla="*/ 0 h 36361"/>
                <a:gd name="connsiteX2" fmla="*/ 32038 w 32038"/>
                <a:gd name="connsiteY2" fmla="*/ 7028 h 36361"/>
                <a:gd name="connsiteX3" fmla="*/ 23495 w 32038"/>
                <a:gd name="connsiteY3" fmla="*/ 27704 h 36361"/>
                <a:gd name="connsiteX4" fmla="*/ 2990 w 32038"/>
                <a:gd name="connsiteY4" fmla="*/ 36361 h 36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038" h="36361">
                  <a:moveTo>
                    <a:pt x="0" y="35166"/>
                  </a:moveTo>
                  <a:lnTo>
                    <a:pt x="29086" y="0"/>
                  </a:lnTo>
                  <a:lnTo>
                    <a:pt x="32038" y="7028"/>
                  </a:lnTo>
                  <a:cubicBezTo>
                    <a:pt x="32039" y="14489"/>
                    <a:pt x="29191" y="22008"/>
                    <a:pt x="23495" y="27704"/>
                  </a:cubicBezTo>
                  <a:cubicBezTo>
                    <a:pt x="18027" y="33172"/>
                    <a:pt x="10736" y="36361"/>
                    <a:pt x="2990" y="363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1" name="Forme libre : forme 390">
              <a:extLst>
                <a:ext uri="{FF2B5EF4-FFF2-40B4-BE49-F238E27FC236}">
                  <a16:creationId xmlns:a16="http://schemas.microsoft.com/office/drawing/2014/main" id="{4277FFB2-58A8-4A02-AADF-E018D5998562}"/>
                </a:ext>
              </a:extLst>
            </p:cNvPr>
            <p:cNvSpPr/>
            <p:nvPr/>
          </p:nvSpPr>
          <p:spPr>
            <a:xfrm rot="8716295">
              <a:off x="5079758" y="33459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2" name="Forme libre : forme 391">
              <a:extLst>
                <a:ext uri="{FF2B5EF4-FFF2-40B4-BE49-F238E27FC236}">
                  <a16:creationId xmlns:a16="http://schemas.microsoft.com/office/drawing/2014/main" id="{EA35B526-89AB-4A06-AA35-B12BC8F0AB1F}"/>
                </a:ext>
              </a:extLst>
            </p:cNvPr>
            <p:cNvSpPr/>
            <p:nvPr/>
          </p:nvSpPr>
          <p:spPr>
            <a:xfrm rot="8716295">
              <a:off x="5215056" y="37885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3" name="Forme libre : forme 392">
              <a:extLst>
                <a:ext uri="{FF2B5EF4-FFF2-40B4-BE49-F238E27FC236}">
                  <a16:creationId xmlns:a16="http://schemas.microsoft.com/office/drawing/2014/main" id="{0E946C4C-ED44-46D8-8F43-896DC93007DB}"/>
                </a:ext>
              </a:extLst>
            </p:cNvPr>
            <p:cNvSpPr/>
            <p:nvPr/>
          </p:nvSpPr>
          <p:spPr>
            <a:xfrm rot="8716295">
              <a:off x="5147174" y="248268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4" name="Forme libre : forme 393">
              <a:extLst>
                <a:ext uri="{FF2B5EF4-FFF2-40B4-BE49-F238E27FC236}">
                  <a16:creationId xmlns:a16="http://schemas.microsoft.com/office/drawing/2014/main" id="{8B9BAAAD-4871-45E0-9808-B6AF30F7C6CF}"/>
                </a:ext>
              </a:extLst>
            </p:cNvPr>
            <p:cNvSpPr/>
            <p:nvPr/>
          </p:nvSpPr>
          <p:spPr>
            <a:xfrm rot="8716295">
              <a:off x="4909887" y="4686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5" name="Forme libre : forme 394">
              <a:extLst>
                <a:ext uri="{FF2B5EF4-FFF2-40B4-BE49-F238E27FC236}">
                  <a16:creationId xmlns:a16="http://schemas.microsoft.com/office/drawing/2014/main" id="{7D346B9D-669B-40E6-8A36-5A7046F06D7F}"/>
                </a:ext>
              </a:extLst>
            </p:cNvPr>
            <p:cNvSpPr/>
            <p:nvPr/>
          </p:nvSpPr>
          <p:spPr>
            <a:xfrm rot="8716295">
              <a:off x="4720840" y="15277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6" name="Forme libre : forme 395">
              <a:extLst>
                <a:ext uri="{FF2B5EF4-FFF2-40B4-BE49-F238E27FC236}">
                  <a16:creationId xmlns:a16="http://schemas.microsoft.com/office/drawing/2014/main" id="{66103F96-93DC-4231-9A89-20615F9DAE20}"/>
                </a:ext>
              </a:extLst>
            </p:cNvPr>
            <p:cNvSpPr/>
            <p:nvPr/>
          </p:nvSpPr>
          <p:spPr>
            <a:xfrm rot="8716295">
              <a:off x="4702019" y="-47743"/>
              <a:ext cx="439901" cy="516041"/>
            </a:xfrm>
            <a:custGeom>
              <a:avLst/>
              <a:gdLst>
                <a:gd name="connsiteX0" fmla="*/ 155476 w 290643"/>
                <a:gd name="connsiteY0" fmla="*/ 340949 h 340949"/>
                <a:gd name="connsiteX1" fmla="*/ 1169 w 290643"/>
                <a:gd name="connsiteY1" fmla="*/ 233989 h 340949"/>
                <a:gd name="connsiteX2" fmla="*/ 0 w 290643"/>
                <a:gd name="connsiteY2" fmla="*/ 220042 h 340949"/>
                <a:gd name="connsiteX3" fmla="*/ 0 w 290643"/>
                <a:gd name="connsiteY3" fmla="*/ 40596 h 340949"/>
                <a:gd name="connsiteX4" fmla="*/ 78250 w 290643"/>
                <a:gd name="connsiteY4" fmla="*/ 0 h 340949"/>
                <a:gd name="connsiteX5" fmla="*/ 79427 w 290643"/>
                <a:gd name="connsiteY5" fmla="*/ 164149 h 340949"/>
                <a:gd name="connsiteX6" fmla="*/ 93547 w 290643"/>
                <a:gd name="connsiteY6" fmla="*/ 261815 h 340949"/>
                <a:gd name="connsiteX7" fmla="*/ 164149 w 290643"/>
                <a:gd name="connsiteY7" fmla="*/ 300646 h 340949"/>
                <a:gd name="connsiteX8" fmla="*/ 217100 w 290643"/>
                <a:gd name="connsiteY8" fmla="*/ 291232 h 340949"/>
                <a:gd name="connsiteX9" fmla="*/ 289467 w 290643"/>
                <a:gd name="connsiteY9" fmla="*/ 261815 h 340949"/>
                <a:gd name="connsiteX10" fmla="*/ 290643 w 290643"/>
                <a:gd name="connsiteY10" fmla="*/ 269463 h 340949"/>
                <a:gd name="connsiteX11" fmla="*/ 290643 w 290643"/>
                <a:gd name="connsiteY11" fmla="*/ 275347 h 340949"/>
                <a:gd name="connsiteX12" fmla="*/ 189080 w 290643"/>
                <a:gd name="connsiteY12" fmla="*/ 331975 h 340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0643" h="340949">
                  <a:moveTo>
                    <a:pt x="155476" y="340949"/>
                  </a:moveTo>
                  <a:lnTo>
                    <a:pt x="1169" y="233989"/>
                  </a:lnTo>
                  <a:lnTo>
                    <a:pt x="0" y="220042"/>
                  </a:ln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9" y="300646"/>
                  </a:cubicBezTo>
                  <a:cubicBezTo>
                    <a:pt x="182388" y="300057"/>
                    <a:pt x="200038" y="296527"/>
                    <a:pt x="217100" y="291232"/>
                  </a:cubicBezTo>
                  <a:cubicBezTo>
                    <a:pt x="241810" y="283584"/>
                    <a:pt x="265933" y="273582"/>
                    <a:pt x="289467" y="261815"/>
                  </a:cubicBezTo>
                  <a:cubicBezTo>
                    <a:pt x="290055" y="264168"/>
                    <a:pt x="290643" y="267110"/>
                    <a:pt x="290643" y="269463"/>
                  </a:cubicBezTo>
                  <a:lnTo>
                    <a:pt x="290643" y="275347"/>
                  </a:lnTo>
                  <a:cubicBezTo>
                    <a:pt x="259461" y="302117"/>
                    <a:pt x="223425" y="320208"/>
                    <a:pt x="189080" y="3319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7" name="Forme libre : forme 396">
              <a:extLst>
                <a:ext uri="{FF2B5EF4-FFF2-40B4-BE49-F238E27FC236}">
                  <a16:creationId xmlns:a16="http://schemas.microsoft.com/office/drawing/2014/main" id="{E7200A70-679E-46A4-89BB-E2CFE2F1D7AE}"/>
                </a:ext>
              </a:extLst>
            </p:cNvPr>
            <p:cNvSpPr/>
            <p:nvPr/>
          </p:nvSpPr>
          <p:spPr>
            <a:xfrm rot="8716295">
              <a:off x="5046375" y="53059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8" name="Forme libre : forme 397">
              <a:extLst>
                <a:ext uri="{FF2B5EF4-FFF2-40B4-BE49-F238E27FC236}">
                  <a16:creationId xmlns:a16="http://schemas.microsoft.com/office/drawing/2014/main" id="{5D528D3B-7826-4D4D-96B5-43ADE18F1EA6}"/>
                </a:ext>
              </a:extLst>
            </p:cNvPr>
            <p:cNvSpPr/>
            <p:nvPr/>
          </p:nvSpPr>
          <p:spPr>
            <a:xfrm rot="8716295">
              <a:off x="5517321" y="-4401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9" name="Forme libre : forme 398">
              <a:extLst>
                <a:ext uri="{FF2B5EF4-FFF2-40B4-BE49-F238E27FC236}">
                  <a16:creationId xmlns:a16="http://schemas.microsoft.com/office/drawing/2014/main" id="{2614F3E9-F724-4FC2-90FF-F1B58DCC0522}"/>
                </a:ext>
              </a:extLst>
            </p:cNvPr>
            <p:cNvSpPr/>
            <p:nvPr/>
          </p:nvSpPr>
          <p:spPr>
            <a:xfrm rot="8716295">
              <a:off x="5660365" y="29418"/>
              <a:ext cx="361480" cy="358038"/>
            </a:xfrm>
            <a:custGeom>
              <a:avLst/>
              <a:gdLst>
                <a:gd name="connsiteX0" fmla="*/ 56401 w 238830"/>
                <a:gd name="connsiteY0" fmla="*/ 236556 h 236556"/>
                <a:gd name="connsiteX1" fmla="*/ 29681 w 238830"/>
                <a:gd name="connsiteY1" fmla="*/ 218034 h 236556"/>
                <a:gd name="connsiteX2" fmla="*/ 29681 w 238830"/>
                <a:gd name="connsiteY2" fmla="*/ 45624 h 236556"/>
                <a:gd name="connsiteX3" fmla="*/ 0 w 238830"/>
                <a:gd name="connsiteY3" fmla="*/ 45624 h 236556"/>
                <a:gd name="connsiteX4" fmla="*/ 36558 w 238830"/>
                <a:gd name="connsiteY4" fmla="*/ 1425 h 236556"/>
                <a:gd name="connsiteX5" fmla="*/ 82994 w 238830"/>
                <a:gd name="connsiteY5" fmla="*/ 1425 h 236556"/>
                <a:gd name="connsiteX6" fmla="*/ 82994 w 238830"/>
                <a:gd name="connsiteY6" fmla="*/ 75242 h 236556"/>
                <a:gd name="connsiteX7" fmla="*/ 84360 w 238830"/>
                <a:gd name="connsiteY7" fmla="*/ 75242 h 236556"/>
                <a:gd name="connsiteX8" fmla="*/ 132205 w 238830"/>
                <a:gd name="connsiteY8" fmla="*/ 5981 h 236556"/>
                <a:gd name="connsiteX9" fmla="*/ 163646 w 238830"/>
                <a:gd name="connsiteY9" fmla="*/ 57 h 236556"/>
                <a:gd name="connsiteX10" fmla="*/ 238830 w 238830"/>
                <a:gd name="connsiteY10" fmla="*/ 88456 h 236556"/>
                <a:gd name="connsiteX11" fmla="*/ 238830 w 238830"/>
                <a:gd name="connsiteY11" fmla="*/ 94380 h 236556"/>
                <a:gd name="connsiteX12" fmla="*/ 176860 w 238830"/>
                <a:gd name="connsiteY12" fmla="*/ 98025 h 236556"/>
                <a:gd name="connsiteX13" fmla="*/ 176860 w 238830"/>
                <a:gd name="connsiteY13" fmla="*/ 81621 h 236556"/>
                <a:gd name="connsiteX14" fmla="*/ 143141 w 238830"/>
                <a:gd name="connsiteY14" fmla="*/ 40156 h 236556"/>
                <a:gd name="connsiteX15" fmla="*/ 89829 w 238830"/>
                <a:gd name="connsiteY15" fmla="*/ 127643 h 236556"/>
                <a:gd name="connsiteX16" fmla="*/ 89829 w 238830"/>
                <a:gd name="connsiteY16" fmla="*/ 213764 h 236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8830" h="236556">
                  <a:moveTo>
                    <a:pt x="56401" y="236556"/>
                  </a:moveTo>
                  <a:lnTo>
                    <a:pt x="29681" y="218034"/>
                  </a:lnTo>
                  <a:lnTo>
                    <a:pt x="29681" y="45624"/>
                  </a:lnTo>
                  <a:lnTo>
                    <a:pt x="0" y="45624"/>
                  </a:lnTo>
                  <a:lnTo>
                    <a:pt x="36558" y="1425"/>
                  </a:lnTo>
                  <a:lnTo>
                    <a:pt x="82994" y="1425"/>
                  </a:lnTo>
                  <a:lnTo>
                    <a:pt x="82994" y="75242"/>
                  </a:lnTo>
                  <a:lnTo>
                    <a:pt x="84360" y="75242"/>
                  </a:lnTo>
                  <a:cubicBezTo>
                    <a:pt x="98942" y="31954"/>
                    <a:pt x="110333" y="15095"/>
                    <a:pt x="132205" y="5981"/>
                  </a:cubicBezTo>
                  <a:cubicBezTo>
                    <a:pt x="142230" y="1880"/>
                    <a:pt x="152710" y="-398"/>
                    <a:pt x="163646" y="57"/>
                  </a:cubicBezTo>
                  <a:cubicBezTo>
                    <a:pt x="210579" y="-854"/>
                    <a:pt x="238830" y="31954"/>
                    <a:pt x="238830" y="88456"/>
                  </a:cubicBezTo>
                  <a:lnTo>
                    <a:pt x="238830" y="94380"/>
                  </a:lnTo>
                  <a:lnTo>
                    <a:pt x="176860" y="98025"/>
                  </a:lnTo>
                  <a:lnTo>
                    <a:pt x="176860" y="81621"/>
                  </a:lnTo>
                  <a:cubicBezTo>
                    <a:pt x="176860" y="57016"/>
                    <a:pt x="162735" y="40156"/>
                    <a:pt x="143141" y="40156"/>
                  </a:cubicBezTo>
                  <a:cubicBezTo>
                    <a:pt x="113979" y="40156"/>
                    <a:pt x="89829" y="78887"/>
                    <a:pt x="89829" y="127643"/>
                  </a:cubicBezTo>
                  <a:lnTo>
                    <a:pt x="89829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0" name="Forme libre : forme 399">
              <a:extLst>
                <a:ext uri="{FF2B5EF4-FFF2-40B4-BE49-F238E27FC236}">
                  <a16:creationId xmlns:a16="http://schemas.microsoft.com/office/drawing/2014/main" id="{30961414-E4AD-4BB3-9FB3-626F7F1FE23D}"/>
                </a:ext>
              </a:extLst>
            </p:cNvPr>
            <p:cNvSpPr/>
            <p:nvPr/>
          </p:nvSpPr>
          <p:spPr>
            <a:xfrm rot="8716295">
              <a:off x="5347450" y="8999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1" name="Forme libre : forme 400">
              <a:extLst>
                <a:ext uri="{FF2B5EF4-FFF2-40B4-BE49-F238E27FC236}">
                  <a16:creationId xmlns:a16="http://schemas.microsoft.com/office/drawing/2014/main" id="{30769E12-B50E-4874-9A5A-F158D8D6A603}"/>
                </a:ext>
              </a:extLst>
            </p:cNvPr>
            <p:cNvSpPr/>
            <p:nvPr/>
          </p:nvSpPr>
          <p:spPr>
            <a:xfrm rot="8716295">
              <a:off x="5220022" y="-7080"/>
              <a:ext cx="219414" cy="84041"/>
            </a:xfrm>
            <a:custGeom>
              <a:avLst/>
              <a:gdLst>
                <a:gd name="connsiteX0" fmla="*/ 80105 w 144967"/>
                <a:gd name="connsiteY0" fmla="*/ 55526 h 55526"/>
                <a:gd name="connsiteX1" fmla="*/ 0 w 144967"/>
                <a:gd name="connsiteY1" fmla="*/ 0 h 55526"/>
                <a:gd name="connsiteX2" fmla="*/ 144967 w 144967"/>
                <a:gd name="connsiteY2" fmla="*/ 0 h 55526"/>
                <a:gd name="connsiteX3" fmla="*/ 144967 w 144967"/>
                <a:gd name="connsiteY3" fmla="*/ 55323 h 55526"/>
                <a:gd name="connsiteX4" fmla="*/ 80175 w 144967"/>
                <a:gd name="connsiteY4" fmla="*/ 55323 h 55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967" h="55526">
                  <a:moveTo>
                    <a:pt x="80105" y="55526"/>
                  </a:moveTo>
                  <a:lnTo>
                    <a:pt x="0" y="0"/>
                  </a:lnTo>
                  <a:lnTo>
                    <a:pt x="144967" y="0"/>
                  </a:lnTo>
                  <a:lnTo>
                    <a:pt x="144967" y="55323"/>
                  </a:lnTo>
                  <a:lnTo>
                    <a:pt x="8017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2" name="Forme libre : forme 401">
              <a:extLst>
                <a:ext uri="{FF2B5EF4-FFF2-40B4-BE49-F238E27FC236}">
                  <a16:creationId xmlns:a16="http://schemas.microsoft.com/office/drawing/2014/main" id="{DED468EA-B834-46DE-9EEF-86FA34FB4D87}"/>
                </a:ext>
              </a:extLst>
            </p:cNvPr>
            <p:cNvSpPr/>
            <p:nvPr/>
          </p:nvSpPr>
          <p:spPr>
            <a:xfrm rot="8716295">
              <a:off x="5483939" y="15198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3" name="Forme libre : forme 402">
              <a:extLst>
                <a:ext uri="{FF2B5EF4-FFF2-40B4-BE49-F238E27FC236}">
                  <a16:creationId xmlns:a16="http://schemas.microsoft.com/office/drawing/2014/main" id="{3C1561C2-2060-4974-8514-2DC34975F6D4}"/>
                </a:ext>
              </a:extLst>
            </p:cNvPr>
            <p:cNvSpPr/>
            <p:nvPr/>
          </p:nvSpPr>
          <p:spPr>
            <a:xfrm rot="8716295">
              <a:off x="5128323" y="-20358"/>
              <a:ext cx="80664" cy="63766"/>
            </a:xfrm>
            <a:custGeom>
              <a:avLst/>
              <a:gdLst>
                <a:gd name="connsiteX0" fmla="*/ 51759 w 53295"/>
                <a:gd name="connsiteY0" fmla="*/ 42130 h 42130"/>
                <a:gd name="connsiteX1" fmla="*/ 0 w 53295"/>
                <a:gd name="connsiteY1" fmla="*/ 6252 h 42130"/>
                <a:gd name="connsiteX2" fmla="*/ 14807 w 53295"/>
                <a:gd name="connsiteY2" fmla="*/ 0 h 42130"/>
                <a:gd name="connsiteX3" fmla="*/ 41975 w 53295"/>
                <a:gd name="connsiteY3" fmla="*/ 11471 h 42130"/>
                <a:gd name="connsiteX4" fmla="*/ 53295 w 53295"/>
                <a:gd name="connsiteY4" fmla="*/ 38412 h 42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295" h="42130">
                  <a:moveTo>
                    <a:pt x="51759" y="42130"/>
                  </a:moveTo>
                  <a:lnTo>
                    <a:pt x="0" y="6252"/>
                  </a:lnTo>
                  <a:lnTo>
                    <a:pt x="14807" y="0"/>
                  </a:lnTo>
                  <a:cubicBezTo>
                    <a:pt x="25071" y="0"/>
                    <a:pt x="34731" y="4226"/>
                    <a:pt x="41975" y="11471"/>
                  </a:cubicBezTo>
                  <a:cubicBezTo>
                    <a:pt x="49522" y="18716"/>
                    <a:pt x="53295" y="28526"/>
                    <a:pt x="53295" y="3841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4" name="Forme libre : forme 403">
              <a:extLst>
                <a:ext uri="{FF2B5EF4-FFF2-40B4-BE49-F238E27FC236}">
                  <a16:creationId xmlns:a16="http://schemas.microsoft.com/office/drawing/2014/main" id="{BE3C9C9C-FBEC-4353-AF9E-1F8508D75B04}"/>
                </a:ext>
              </a:extLst>
            </p:cNvPr>
            <p:cNvSpPr/>
            <p:nvPr/>
          </p:nvSpPr>
          <p:spPr>
            <a:xfrm rot="7484129">
              <a:off x="5642756" y="4415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5" name="Forme libre : forme 404">
              <a:extLst>
                <a:ext uri="{FF2B5EF4-FFF2-40B4-BE49-F238E27FC236}">
                  <a16:creationId xmlns:a16="http://schemas.microsoft.com/office/drawing/2014/main" id="{8A4BC53C-40CB-4B8B-A2E3-E4599AA1DEB7}"/>
                </a:ext>
              </a:extLst>
            </p:cNvPr>
            <p:cNvSpPr/>
            <p:nvPr/>
          </p:nvSpPr>
          <p:spPr>
            <a:xfrm rot="13089394">
              <a:off x="5789679" y="415199"/>
              <a:ext cx="360116" cy="446294"/>
            </a:xfrm>
            <a:custGeom>
              <a:avLst/>
              <a:gdLst>
                <a:gd name="connsiteX0" fmla="*/ 39306 w 237929"/>
                <a:gd name="connsiteY0" fmla="*/ 79955 h 294867"/>
                <a:gd name="connsiteX1" fmla="*/ 0 w 237929"/>
                <a:gd name="connsiteY1" fmla="*/ 20095 h 294867"/>
                <a:gd name="connsiteX2" fmla="*/ 38733 w 237929"/>
                <a:gd name="connsiteY2" fmla="*/ 0 h 294867"/>
                <a:gd name="connsiteX3" fmla="*/ 237929 w 237929"/>
                <a:gd name="connsiteY3" fmla="*/ 258238 h 294867"/>
                <a:gd name="connsiteX4" fmla="*/ 191415 w 237929"/>
                <a:gd name="connsiteY4" fmla="*/ 290069 h 294867"/>
                <a:gd name="connsiteX5" fmla="*/ 180425 w 237929"/>
                <a:gd name="connsiteY5" fmla="*/ 294867 h 294867"/>
                <a:gd name="connsiteX6" fmla="*/ 166448 w 237929"/>
                <a:gd name="connsiteY6" fmla="*/ 273582 h 294867"/>
                <a:gd name="connsiteX7" fmla="*/ 168955 w 237929"/>
                <a:gd name="connsiteY7" fmla="*/ 273136 h 294867"/>
                <a:gd name="connsiteX8" fmla="*/ 236826 w 237929"/>
                <a:gd name="connsiteY8" fmla="*/ 245547 h 294867"/>
                <a:gd name="connsiteX9" fmla="*/ 237929 w 237929"/>
                <a:gd name="connsiteY9" fmla="*/ 252720 h 294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7929" h="294867">
                  <a:moveTo>
                    <a:pt x="39306" y="79955"/>
                  </a:moveTo>
                  <a:lnTo>
                    <a:pt x="0" y="20095"/>
                  </a:lnTo>
                  <a:lnTo>
                    <a:pt x="38733" y="0"/>
                  </a:lnTo>
                  <a:close/>
                  <a:moveTo>
                    <a:pt x="237929" y="258238"/>
                  </a:moveTo>
                  <a:cubicBezTo>
                    <a:pt x="223307" y="270791"/>
                    <a:pt x="207546" y="281309"/>
                    <a:pt x="191415" y="290069"/>
                  </a:cubicBezTo>
                  <a:lnTo>
                    <a:pt x="180425" y="294867"/>
                  </a:lnTo>
                  <a:lnTo>
                    <a:pt x="166448" y="273582"/>
                  </a:lnTo>
                  <a:lnTo>
                    <a:pt x="168955" y="273136"/>
                  </a:lnTo>
                  <a:cubicBezTo>
                    <a:pt x="192130" y="265963"/>
                    <a:pt x="214754" y="256582"/>
                    <a:pt x="236826" y="245547"/>
                  </a:cubicBezTo>
                  <a:cubicBezTo>
                    <a:pt x="237377" y="247754"/>
                    <a:pt x="237929" y="250513"/>
                    <a:pt x="237929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6" name="Forme libre : forme 405">
              <a:extLst>
                <a:ext uri="{FF2B5EF4-FFF2-40B4-BE49-F238E27FC236}">
                  <a16:creationId xmlns:a16="http://schemas.microsoft.com/office/drawing/2014/main" id="{800D034F-ECF4-4F0F-8FF6-C97DAD2143D3}"/>
                </a:ext>
              </a:extLst>
            </p:cNvPr>
            <p:cNvSpPr/>
            <p:nvPr/>
          </p:nvSpPr>
          <p:spPr>
            <a:xfrm rot="8716295">
              <a:off x="5996886" y="-12676"/>
              <a:ext cx="90399" cy="122140"/>
            </a:xfrm>
            <a:custGeom>
              <a:avLst/>
              <a:gdLst>
                <a:gd name="connsiteX0" fmla="*/ 0 w 59727"/>
                <a:gd name="connsiteY0" fmla="*/ 52945 h 80698"/>
                <a:gd name="connsiteX1" fmla="*/ 43791 w 59727"/>
                <a:gd name="connsiteY1" fmla="*/ 0 h 80698"/>
                <a:gd name="connsiteX2" fmla="*/ 59727 w 59727"/>
                <a:gd name="connsiteY2" fmla="*/ 37928 h 80698"/>
                <a:gd name="connsiteX3" fmla="*/ 42480 w 59727"/>
                <a:gd name="connsiteY3" fmla="*/ 79666 h 80698"/>
                <a:gd name="connsiteX4" fmla="*/ 40038 w 59727"/>
                <a:gd name="connsiteY4" fmla="*/ 80698 h 80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727" h="80698">
                  <a:moveTo>
                    <a:pt x="0" y="52945"/>
                  </a:moveTo>
                  <a:lnTo>
                    <a:pt x="43791" y="0"/>
                  </a:lnTo>
                  <a:lnTo>
                    <a:pt x="59727" y="37928"/>
                  </a:lnTo>
                  <a:cubicBezTo>
                    <a:pt x="59727" y="52991"/>
                    <a:pt x="53978" y="68168"/>
                    <a:pt x="42480" y="79666"/>
                  </a:cubicBezTo>
                  <a:lnTo>
                    <a:pt x="40038" y="806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7" name="Forme libre : forme 406">
              <a:extLst>
                <a:ext uri="{FF2B5EF4-FFF2-40B4-BE49-F238E27FC236}">
                  <a16:creationId xmlns:a16="http://schemas.microsoft.com/office/drawing/2014/main" id="{3B32A0F8-96EA-444F-A5F3-4315A6F0F2B6}"/>
                </a:ext>
              </a:extLst>
            </p:cNvPr>
            <p:cNvSpPr/>
            <p:nvPr/>
          </p:nvSpPr>
          <p:spPr>
            <a:xfrm rot="8716295">
              <a:off x="5631023" y="-8174"/>
              <a:ext cx="87445" cy="82387"/>
            </a:xfrm>
            <a:custGeom>
              <a:avLst/>
              <a:gdLst>
                <a:gd name="connsiteX0" fmla="*/ 37946 w 57775"/>
                <a:gd name="connsiteY0" fmla="*/ 54433 h 54433"/>
                <a:gd name="connsiteX1" fmla="*/ 0 w 57775"/>
                <a:gd name="connsiteY1" fmla="*/ 28130 h 54433"/>
                <a:gd name="connsiteX2" fmla="*/ 8222 w 57775"/>
                <a:gd name="connsiteY2" fmla="*/ 8658 h 54433"/>
                <a:gd name="connsiteX3" fmla="*/ 28726 w 57775"/>
                <a:gd name="connsiteY3" fmla="*/ 0 h 54433"/>
                <a:gd name="connsiteX4" fmla="*/ 49232 w 57775"/>
                <a:gd name="connsiteY4" fmla="*/ 8658 h 54433"/>
                <a:gd name="connsiteX5" fmla="*/ 49232 w 57775"/>
                <a:gd name="connsiteY5" fmla="*/ 49668 h 54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775" h="54433">
                  <a:moveTo>
                    <a:pt x="37946" y="54433"/>
                  </a:moveTo>
                  <a:lnTo>
                    <a:pt x="0" y="28130"/>
                  </a:lnTo>
                  <a:lnTo>
                    <a:pt x="8222" y="8658"/>
                  </a:lnTo>
                  <a:cubicBezTo>
                    <a:pt x="13690" y="3190"/>
                    <a:pt x="20981" y="0"/>
                    <a:pt x="28726" y="0"/>
                  </a:cubicBezTo>
                  <a:cubicBezTo>
                    <a:pt x="36473" y="0"/>
                    <a:pt x="43764" y="3190"/>
                    <a:pt x="49232" y="8658"/>
                  </a:cubicBezTo>
                  <a:cubicBezTo>
                    <a:pt x="60624" y="19594"/>
                    <a:pt x="60623" y="38276"/>
                    <a:pt x="49232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pic>
        <p:nvPicPr>
          <p:cNvPr id="409" name="Graphique 408">
            <a:extLst>
              <a:ext uri="{FF2B5EF4-FFF2-40B4-BE49-F238E27FC236}">
                <a16:creationId xmlns:a16="http://schemas.microsoft.com/office/drawing/2014/main" id="{F10A60C0-CBC0-4A34-A118-4449B251E1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97194" y="513241"/>
            <a:ext cx="2255854" cy="673200"/>
          </a:xfrm>
          <a:prstGeom prst="rect">
            <a:avLst/>
          </a:prstGeom>
        </p:spPr>
      </p:pic>
      <p:sp>
        <p:nvSpPr>
          <p:cNvPr id="411" name="Espace réservé du texte 410">
            <a:extLst>
              <a:ext uri="{FF2B5EF4-FFF2-40B4-BE49-F238E27FC236}">
                <a16:creationId xmlns:a16="http://schemas.microsoft.com/office/drawing/2014/main" id="{E014E6DC-AD19-40E5-A2B7-DF68385EE1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3141" y="1755675"/>
            <a:ext cx="7379432" cy="299187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lang="fr-FR" sz="4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r">
              <a:buNone/>
              <a:defRPr sz="5400" b="1" cap="all" baseline="0">
                <a:solidFill>
                  <a:srgbClr val="009FE3"/>
                </a:solidFill>
              </a:defRPr>
            </a:lvl2pPr>
          </a:lstStyle>
          <a:p>
            <a:pPr lvl="0"/>
            <a:r>
              <a:rPr lang="fr-FR" dirty="0"/>
              <a:t>Titre de la </a:t>
            </a:r>
            <a:br>
              <a:rPr lang="fr-FR" dirty="0"/>
            </a:br>
            <a:r>
              <a:rPr lang="fr-FR" dirty="0"/>
              <a:t>présentation</a:t>
            </a:r>
          </a:p>
          <a:p>
            <a:pPr lvl="1"/>
            <a:r>
              <a:rPr lang="fr-FR" dirty="0"/>
              <a:t>exergue</a:t>
            </a:r>
          </a:p>
        </p:txBody>
      </p:sp>
    </p:spTree>
    <p:extLst>
      <p:ext uri="{BB962C8B-B14F-4D97-AF65-F5344CB8AC3E}">
        <p14:creationId xmlns:p14="http://schemas.microsoft.com/office/powerpoint/2010/main" val="423120810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sur motif + Texte">
    <p:bg>
      <p:bgPr>
        <a:solidFill>
          <a:srgbClr val="009F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10" name="Groupe 1809">
            <a:extLst>
              <a:ext uri="{FF2B5EF4-FFF2-40B4-BE49-F238E27FC236}">
                <a16:creationId xmlns:a16="http://schemas.microsoft.com/office/drawing/2014/main" id="{D5E52DBD-0A92-4197-896E-BCC6716DD6DA}"/>
              </a:ext>
            </a:extLst>
          </p:cNvPr>
          <p:cNvGrpSpPr/>
          <p:nvPr userDrawn="1"/>
        </p:nvGrpSpPr>
        <p:grpSpPr>
          <a:xfrm>
            <a:off x="-91485" y="-107301"/>
            <a:ext cx="6241280" cy="5352842"/>
            <a:chOff x="-91485" y="-107301"/>
            <a:chExt cx="6241280" cy="5352842"/>
          </a:xfrm>
          <a:solidFill>
            <a:schemeClr val="bg2">
              <a:alpha val="5000"/>
            </a:schemeClr>
          </a:solidFill>
        </p:grpSpPr>
        <p:sp>
          <p:nvSpPr>
            <p:cNvPr id="1811" name="Forme libre : forme 1810">
              <a:extLst>
                <a:ext uri="{FF2B5EF4-FFF2-40B4-BE49-F238E27FC236}">
                  <a16:creationId xmlns:a16="http://schemas.microsoft.com/office/drawing/2014/main" id="{356DB458-2C6D-4A95-879D-F8AE824F08BD}"/>
                </a:ext>
              </a:extLst>
            </p:cNvPr>
            <p:cNvSpPr/>
            <p:nvPr/>
          </p:nvSpPr>
          <p:spPr>
            <a:xfrm rot="8716295">
              <a:off x="3051469" y="229467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2" name="Forme libre : forme 1811">
              <a:extLst>
                <a:ext uri="{FF2B5EF4-FFF2-40B4-BE49-F238E27FC236}">
                  <a16:creationId xmlns:a16="http://schemas.microsoft.com/office/drawing/2014/main" id="{D0305DE6-6073-4DA8-862F-147A02C05ABF}"/>
                </a:ext>
              </a:extLst>
            </p:cNvPr>
            <p:cNvSpPr/>
            <p:nvPr/>
          </p:nvSpPr>
          <p:spPr>
            <a:xfrm rot="8716295">
              <a:off x="3140861" y="232391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3" name="Forme libre : forme 1812">
              <a:extLst>
                <a:ext uri="{FF2B5EF4-FFF2-40B4-BE49-F238E27FC236}">
                  <a16:creationId xmlns:a16="http://schemas.microsoft.com/office/drawing/2014/main" id="{D227984A-879C-4B8E-95D0-FFA8AD953D5C}"/>
                </a:ext>
              </a:extLst>
            </p:cNvPr>
            <p:cNvSpPr/>
            <p:nvPr/>
          </p:nvSpPr>
          <p:spPr>
            <a:xfrm rot="8716295">
              <a:off x="3096011" y="2237639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4" name="Forme libre : forme 1813">
              <a:extLst>
                <a:ext uri="{FF2B5EF4-FFF2-40B4-BE49-F238E27FC236}">
                  <a16:creationId xmlns:a16="http://schemas.microsoft.com/office/drawing/2014/main" id="{2C608E55-0CAE-4732-A11A-F0F39D2AEFD9}"/>
                </a:ext>
              </a:extLst>
            </p:cNvPr>
            <p:cNvSpPr/>
            <p:nvPr/>
          </p:nvSpPr>
          <p:spPr>
            <a:xfrm rot="8716295">
              <a:off x="2939235" y="238322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5" name="Forme libre : forme 1814">
              <a:extLst>
                <a:ext uri="{FF2B5EF4-FFF2-40B4-BE49-F238E27FC236}">
                  <a16:creationId xmlns:a16="http://schemas.microsoft.com/office/drawing/2014/main" id="{E8BA7359-7258-4AE0-83CA-5DD072306BDB}"/>
                </a:ext>
              </a:extLst>
            </p:cNvPr>
            <p:cNvSpPr/>
            <p:nvPr/>
          </p:nvSpPr>
          <p:spPr>
            <a:xfrm rot="8716295">
              <a:off x="2814332" y="217454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6" name="Forme libre : forme 1815">
              <a:extLst>
                <a:ext uri="{FF2B5EF4-FFF2-40B4-BE49-F238E27FC236}">
                  <a16:creationId xmlns:a16="http://schemas.microsoft.com/office/drawing/2014/main" id="{C4F787ED-8136-4000-BB29-ED55AC1B93E4}"/>
                </a:ext>
              </a:extLst>
            </p:cNvPr>
            <p:cNvSpPr/>
            <p:nvPr/>
          </p:nvSpPr>
          <p:spPr>
            <a:xfrm rot="8716295">
              <a:off x="2802280" y="203576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7" name="Forme libre : forme 1816">
              <a:extLst>
                <a:ext uri="{FF2B5EF4-FFF2-40B4-BE49-F238E27FC236}">
                  <a16:creationId xmlns:a16="http://schemas.microsoft.com/office/drawing/2014/main" id="{7A005167-A9EB-451A-912F-F0D5BCE01993}"/>
                </a:ext>
              </a:extLst>
            </p:cNvPr>
            <p:cNvSpPr/>
            <p:nvPr/>
          </p:nvSpPr>
          <p:spPr>
            <a:xfrm rot="8716295">
              <a:off x="3029413" y="2424173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8" name="Forme libre : forme 1817">
              <a:extLst>
                <a:ext uri="{FF2B5EF4-FFF2-40B4-BE49-F238E27FC236}">
                  <a16:creationId xmlns:a16="http://schemas.microsoft.com/office/drawing/2014/main" id="{1E844DF7-3B47-43F4-A15C-58025D0149C0}"/>
                </a:ext>
              </a:extLst>
            </p:cNvPr>
            <p:cNvSpPr/>
            <p:nvPr/>
          </p:nvSpPr>
          <p:spPr>
            <a:xfrm rot="8716295">
              <a:off x="3340568" y="204452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9" name="Forme libre : forme 1818">
              <a:extLst>
                <a:ext uri="{FF2B5EF4-FFF2-40B4-BE49-F238E27FC236}">
                  <a16:creationId xmlns:a16="http://schemas.microsoft.com/office/drawing/2014/main" id="{B996BBF0-6994-43D3-9BE9-386DA607C947}"/>
                </a:ext>
              </a:extLst>
            </p:cNvPr>
            <p:cNvSpPr/>
            <p:nvPr/>
          </p:nvSpPr>
          <p:spPr>
            <a:xfrm rot="8716295">
              <a:off x="3429960" y="207376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0" name="Forme libre : forme 1819">
              <a:extLst>
                <a:ext uri="{FF2B5EF4-FFF2-40B4-BE49-F238E27FC236}">
                  <a16:creationId xmlns:a16="http://schemas.microsoft.com/office/drawing/2014/main" id="{65E70179-AEDC-493A-B137-D76EB54F2A95}"/>
                </a:ext>
              </a:extLst>
            </p:cNvPr>
            <p:cNvSpPr/>
            <p:nvPr/>
          </p:nvSpPr>
          <p:spPr>
            <a:xfrm rot="8716295">
              <a:off x="3228334" y="213306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1" name="Forme libre : forme 1820">
              <a:extLst>
                <a:ext uri="{FF2B5EF4-FFF2-40B4-BE49-F238E27FC236}">
                  <a16:creationId xmlns:a16="http://schemas.microsoft.com/office/drawing/2014/main" id="{15E43ACE-5A35-4065-8BA0-05B9E4F3E2DD}"/>
                </a:ext>
              </a:extLst>
            </p:cNvPr>
            <p:cNvSpPr/>
            <p:nvPr/>
          </p:nvSpPr>
          <p:spPr>
            <a:xfrm rot="8716295">
              <a:off x="3103432" y="192439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2" name="Forme libre : forme 1821">
              <a:extLst>
                <a:ext uri="{FF2B5EF4-FFF2-40B4-BE49-F238E27FC236}">
                  <a16:creationId xmlns:a16="http://schemas.microsoft.com/office/drawing/2014/main" id="{2A0C81CE-D249-4CA0-8A47-1AAEA8CB9533}"/>
                </a:ext>
              </a:extLst>
            </p:cNvPr>
            <p:cNvSpPr/>
            <p:nvPr/>
          </p:nvSpPr>
          <p:spPr>
            <a:xfrm rot="8716295">
              <a:off x="3318512" y="2174021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3" name="Forme libre : forme 1822">
              <a:extLst>
                <a:ext uri="{FF2B5EF4-FFF2-40B4-BE49-F238E27FC236}">
                  <a16:creationId xmlns:a16="http://schemas.microsoft.com/office/drawing/2014/main" id="{0EEC3B89-6CB0-495F-A11A-4B49BC16C2B1}"/>
                </a:ext>
              </a:extLst>
            </p:cNvPr>
            <p:cNvSpPr/>
            <p:nvPr/>
          </p:nvSpPr>
          <p:spPr>
            <a:xfrm rot="8716295">
              <a:off x="3077061" y="202442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4" name="Forme libre : forme 1823">
              <a:extLst>
                <a:ext uri="{FF2B5EF4-FFF2-40B4-BE49-F238E27FC236}">
                  <a16:creationId xmlns:a16="http://schemas.microsoft.com/office/drawing/2014/main" id="{65DB1D59-7D7C-4965-B3DC-B73DA9D278B7}"/>
                </a:ext>
              </a:extLst>
            </p:cNvPr>
            <p:cNvSpPr/>
            <p:nvPr/>
          </p:nvSpPr>
          <p:spPr>
            <a:xfrm rot="7484129">
              <a:off x="3423443" y="236537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5" name="Forme libre : forme 1824">
              <a:extLst>
                <a:ext uri="{FF2B5EF4-FFF2-40B4-BE49-F238E27FC236}">
                  <a16:creationId xmlns:a16="http://schemas.microsoft.com/office/drawing/2014/main" id="{AC9D40C9-BBC1-4F0D-B0BB-6E893395B20A}"/>
                </a:ext>
              </a:extLst>
            </p:cNvPr>
            <p:cNvSpPr/>
            <p:nvPr/>
          </p:nvSpPr>
          <p:spPr>
            <a:xfrm rot="13089394">
              <a:off x="3528263" y="233190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6" name="Forme libre : forme 1825">
              <a:extLst>
                <a:ext uri="{FF2B5EF4-FFF2-40B4-BE49-F238E27FC236}">
                  <a16:creationId xmlns:a16="http://schemas.microsoft.com/office/drawing/2014/main" id="{66690AAC-D0B3-493E-A085-78B2DC0C4ADB}"/>
                </a:ext>
              </a:extLst>
            </p:cNvPr>
            <p:cNvSpPr/>
            <p:nvPr/>
          </p:nvSpPr>
          <p:spPr>
            <a:xfrm rot="8716295">
              <a:off x="3713848" y="214022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7" name="Forme libre : forme 1826">
              <a:extLst>
                <a:ext uri="{FF2B5EF4-FFF2-40B4-BE49-F238E27FC236}">
                  <a16:creationId xmlns:a16="http://schemas.microsoft.com/office/drawing/2014/main" id="{E1D008C3-7DA7-4156-9341-879792E727A4}"/>
                </a:ext>
              </a:extLst>
            </p:cNvPr>
            <p:cNvSpPr/>
            <p:nvPr/>
          </p:nvSpPr>
          <p:spPr>
            <a:xfrm rot="8716295">
              <a:off x="3662043" y="203663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8" name="Forme libre : forme 1827">
              <a:extLst>
                <a:ext uri="{FF2B5EF4-FFF2-40B4-BE49-F238E27FC236}">
                  <a16:creationId xmlns:a16="http://schemas.microsoft.com/office/drawing/2014/main" id="{B1942048-207E-4193-8388-B1BA4B510158}"/>
                </a:ext>
              </a:extLst>
            </p:cNvPr>
            <p:cNvSpPr/>
            <p:nvPr/>
          </p:nvSpPr>
          <p:spPr>
            <a:xfrm rot="8716295">
              <a:off x="3418797" y="206685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9" name="Forme libre : forme 1828">
              <a:extLst>
                <a:ext uri="{FF2B5EF4-FFF2-40B4-BE49-F238E27FC236}">
                  <a16:creationId xmlns:a16="http://schemas.microsoft.com/office/drawing/2014/main" id="{BA4761C7-6BBA-45FB-B8B6-2CD746953A11}"/>
                </a:ext>
              </a:extLst>
            </p:cNvPr>
            <p:cNvSpPr/>
            <p:nvPr/>
          </p:nvSpPr>
          <p:spPr>
            <a:xfrm rot="8716295">
              <a:off x="3596249" y="190761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0" name="Forme libre : forme 1829">
              <a:extLst>
                <a:ext uri="{FF2B5EF4-FFF2-40B4-BE49-F238E27FC236}">
                  <a16:creationId xmlns:a16="http://schemas.microsoft.com/office/drawing/2014/main" id="{93D0BE11-A1A3-453C-8F4F-F64994477961}"/>
                </a:ext>
              </a:extLst>
            </p:cNvPr>
            <p:cNvSpPr/>
            <p:nvPr/>
          </p:nvSpPr>
          <p:spPr>
            <a:xfrm rot="8716295">
              <a:off x="3274636" y="295437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1" name="Forme libre : forme 1830">
              <a:extLst>
                <a:ext uri="{FF2B5EF4-FFF2-40B4-BE49-F238E27FC236}">
                  <a16:creationId xmlns:a16="http://schemas.microsoft.com/office/drawing/2014/main" id="{BD00B47F-E8C8-4049-8B8C-1F2C9E0DDCF5}"/>
                </a:ext>
              </a:extLst>
            </p:cNvPr>
            <p:cNvSpPr/>
            <p:nvPr/>
          </p:nvSpPr>
          <p:spPr>
            <a:xfrm rot="8716295">
              <a:off x="3364028" y="298361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2" name="Forme libre : forme 1831">
              <a:extLst>
                <a:ext uri="{FF2B5EF4-FFF2-40B4-BE49-F238E27FC236}">
                  <a16:creationId xmlns:a16="http://schemas.microsoft.com/office/drawing/2014/main" id="{6639A803-0A9B-4CA8-84CA-CB6864EB9F13}"/>
                </a:ext>
              </a:extLst>
            </p:cNvPr>
            <p:cNvSpPr/>
            <p:nvPr/>
          </p:nvSpPr>
          <p:spPr>
            <a:xfrm rot="8716295">
              <a:off x="3319178" y="2897338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3" name="Forme libre : forme 1832">
              <a:extLst>
                <a:ext uri="{FF2B5EF4-FFF2-40B4-BE49-F238E27FC236}">
                  <a16:creationId xmlns:a16="http://schemas.microsoft.com/office/drawing/2014/main" id="{468DF1AB-9662-4891-A3B7-DA79E7EBC16D}"/>
                </a:ext>
              </a:extLst>
            </p:cNvPr>
            <p:cNvSpPr/>
            <p:nvPr/>
          </p:nvSpPr>
          <p:spPr>
            <a:xfrm rot="8716295">
              <a:off x="3162402" y="30429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4" name="Forme libre : forme 1833">
              <a:extLst>
                <a:ext uri="{FF2B5EF4-FFF2-40B4-BE49-F238E27FC236}">
                  <a16:creationId xmlns:a16="http://schemas.microsoft.com/office/drawing/2014/main" id="{CF86FB68-15B4-4493-8EE0-3E896CB0C5D8}"/>
                </a:ext>
              </a:extLst>
            </p:cNvPr>
            <p:cNvSpPr/>
            <p:nvPr/>
          </p:nvSpPr>
          <p:spPr>
            <a:xfrm rot="8716295">
              <a:off x="3037499" y="283424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5" name="Forme libre : forme 1834">
              <a:extLst>
                <a:ext uri="{FF2B5EF4-FFF2-40B4-BE49-F238E27FC236}">
                  <a16:creationId xmlns:a16="http://schemas.microsoft.com/office/drawing/2014/main" id="{7CF69A1A-5F78-4F60-B5D6-FD6A138299EC}"/>
                </a:ext>
              </a:extLst>
            </p:cNvPr>
            <p:cNvSpPr/>
            <p:nvPr/>
          </p:nvSpPr>
          <p:spPr>
            <a:xfrm rot="8716295">
              <a:off x="3025447" y="2695467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6" name="Forme libre : forme 1835">
              <a:extLst>
                <a:ext uri="{FF2B5EF4-FFF2-40B4-BE49-F238E27FC236}">
                  <a16:creationId xmlns:a16="http://schemas.microsoft.com/office/drawing/2014/main" id="{3B31C2F5-6F64-4719-BBC9-BBCB1658D3DD}"/>
                </a:ext>
              </a:extLst>
            </p:cNvPr>
            <p:cNvSpPr/>
            <p:nvPr/>
          </p:nvSpPr>
          <p:spPr>
            <a:xfrm rot="8716295">
              <a:off x="3252580" y="3083872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7" name="Forme libre : forme 1836">
              <a:extLst>
                <a:ext uri="{FF2B5EF4-FFF2-40B4-BE49-F238E27FC236}">
                  <a16:creationId xmlns:a16="http://schemas.microsoft.com/office/drawing/2014/main" id="{1C35BBFA-EBF1-47A8-9F9F-F1DAD54084FC}"/>
                </a:ext>
              </a:extLst>
            </p:cNvPr>
            <p:cNvSpPr/>
            <p:nvPr/>
          </p:nvSpPr>
          <p:spPr>
            <a:xfrm rot="8716295">
              <a:off x="3563735" y="270422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8" name="Forme libre : forme 1837">
              <a:extLst>
                <a:ext uri="{FF2B5EF4-FFF2-40B4-BE49-F238E27FC236}">
                  <a16:creationId xmlns:a16="http://schemas.microsoft.com/office/drawing/2014/main" id="{1667D8E4-CA56-4D24-AAA2-647FC814F7B1}"/>
                </a:ext>
              </a:extLst>
            </p:cNvPr>
            <p:cNvSpPr/>
            <p:nvPr/>
          </p:nvSpPr>
          <p:spPr>
            <a:xfrm rot="8716295">
              <a:off x="3653127" y="273346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9" name="Forme libre : forme 1838">
              <a:extLst>
                <a:ext uri="{FF2B5EF4-FFF2-40B4-BE49-F238E27FC236}">
                  <a16:creationId xmlns:a16="http://schemas.microsoft.com/office/drawing/2014/main" id="{2D247664-9D05-4DE9-828A-8EEEB6D62362}"/>
                </a:ext>
              </a:extLst>
            </p:cNvPr>
            <p:cNvSpPr/>
            <p:nvPr/>
          </p:nvSpPr>
          <p:spPr>
            <a:xfrm rot="8716295">
              <a:off x="3451501" y="279276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0" name="Forme libre : forme 1839">
              <a:extLst>
                <a:ext uri="{FF2B5EF4-FFF2-40B4-BE49-F238E27FC236}">
                  <a16:creationId xmlns:a16="http://schemas.microsoft.com/office/drawing/2014/main" id="{25BA7781-6373-48E8-B517-D547E35D3442}"/>
                </a:ext>
              </a:extLst>
            </p:cNvPr>
            <p:cNvSpPr/>
            <p:nvPr/>
          </p:nvSpPr>
          <p:spPr>
            <a:xfrm rot="8716295">
              <a:off x="3326599" y="258409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1" name="Forme libre : forme 1840">
              <a:extLst>
                <a:ext uri="{FF2B5EF4-FFF2-40B4-BE49-F238E27FC236}">
                  <a16:creationId xmlns:a16="http://schemas.microsoft.com/office/drawing/2014/main" id="{23C0E36B-602D-442F-AF28-AF8930D84F3F}"/>
                </a:ext>
              </a:extLst>
            </p:cNvPr>
            <p:cNvSpPr/>
            <p:nvPr/>
          </p:nvSpPr>
          <p:spPr>
            <a:xfrm rot="8716295">
              <a:off x="3541679" y="2833720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2" name="Forme libre : forme 1841">
              <a:extLst>
                <a:ext uri="{FF2B5EF4-FFF2-40B4-BE49-F238E27FC236}">
                  <a16:creationId xmlns:a16="http://schemas.microsoft.com/office/drawing/2014/main" id="{199731DF-620C-4C6A-9AB8-42BC4BA7117A}"/>
                </a:ext>
              </a:extLst>
            </p:cNvPr>
            <p:cNvSpPr/>
            <p:nvPr/>
          </p:nvSpPr>
          <p:spPr>
            <a:xfrm rot="8716295">
              <a:off x="3300228" y="2684120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3" name="Forme libre : forme 1842">
              <a:extLst>
                <a:ext uri="{FF2B5EF4-FFF2-40B4-BE49-F238E27FC236}">
                  <a16:creationId xmlns:a16="http://schemas.microsoft.com/office/drawing/2014/main" id="{1B76A93B-820C-4C9C-8469-1A8F9E93159B}"/>
                </a:ext>
              </a:extLst>
            </p:cNvPr>
            <p:cNvSpPr/>
            <p:nvPr/>
          </p:nvSpPr>
          <p:spPr>
            <a:xfrm rot="7484129">
              <a:off x="3646610" y="302507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4" name="Forme libre : forme 1843">
              <a:extLst>
                <a:ext uri="{FF2B5EF4-FFF2-40B4-BE49-F238E27FC236}">
                  <a16:creationId xmlns:a16="http://schemas.microsoft.com/office/drawing/2014/main" id="{66DC52E6-1456-43FD-A3BE-2B872731E4E9}"/>
                </a:ext>
              </a:extLst>
            </p:cNvPr>
            <p:cNvSpPr/>
            <p:nvPr/>
          </p:nvSpPr>
          <p:spPr>
            <a:xfrm rot="13089394">
              <a:off x="3751430" y="2991605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5" name="Forme libre : forme 1844">
              <a:extLst>
                <a:ext uri="{FF2B5EF4-FFF2-40B4-BE49-F238E27FC236}">
                  <a16:creationId xmlns:a16="http://schemas.microsoft.com/office/drawing/2014/main" id="{DCDD2A3A-9ABC-40A8-BFA8-585EA2B24085}"/>
                </a:ext>
              </a:extLst>
            </p:cNvPr>
            <p:cNvSpPr/>
            <p:nvPr/>
          </p:nvSpPr>
          <p:spPr>
            <a:xfrm rot="8716295">
              <a:off x="3937015" y="2799924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6" name="Forme libre : forme 1845">
              <a:extLst>
                <a:ext uri="{FF2B5EF4-FFF2-40B4-BE49-F238E27FC236}">
                  <a16:creationId xmlns:a16="http://schemas.microsoft.com/office/drawing/2014/main" id="{E6972E8A-A6BD-4AB3-983F-0AB52C36F84A}"/>
                </a:ext>
              </a:extLst>
            </p:cNvPr>
            <p:cNvSpPr/>
            <p:nvPr/>
          </p:nvSpPr>
          <p:spPr>
            <a:xfrm rot="8716295">
              <a:off x="3885210" y="269633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7" name="Forme libre : forme 1846">
              <a:extLst>
                <a:ext uri="{FF2B5EF4-FFF2-40B4-BE49-F238E27FC236}">
                  <a16:creationId xmlns:a16="http://schemas.microsoft.com/office/drawing/2014/main" id="{0AB9B5DA-5EA1-4202-AD13-C56E27F57ED7}"/>
                </a:ext>
              </a:extLst>
            </p:cNvPr>
            <p:cNvSpPr/>
            <p:nvPr/>
          </p:nvSpPr>
          <p:spPr>
            <a:xfrm rot="8716295">
              <a:off x="3641964" y="272655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8" name="Forme libre : forme 1847">
              <a:extLst>
                <a:ext uri="{FF2B5EF4-FFF2-40B4-BE49-F238E27FC236}">
                  <a16:creationId xmlns:a16="http://schemas.microsoft.com/office/drawing/2014/main" id="{B297F0D1-8FCF-41A6-B10A-B9F1B0A91232}"/>
                </a:ext>
              </a:extLst>
            </p:cNvPr>
            <p:cNvSpPr/>
            <p:nvPr/>
          </p:nvSpPr>
          <p:spPr>
            <a:xfrm rot="8716295">
              <a:off x="3819416" y="25673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9" name="Forme libre : forme 1848">
              <a:extLst>
                <a:ext uri="{FF2B5EF4-FFF2-40B4-BE49-F238E27FC236}">
                  <a16:creationId xmlns:a16="http://schemas.microsoft.com/office/drawing/2014/main" id="{CDECF82E-73B3-468F-A90B-A85D37A91C27}"/>
                </a:ext>
              </a:extLst>
            </p:cNvPr>
            <p:cNvSpPr/>
            <p:nvPr/>
          </p:nvSpPr>
          <p:spPr>
            <a:xfrm rot="8716295">
              <a:off x="3937162" y="4933704"/>
              <a:ext cx="142167" cy="232388"/>
            </a:xfrm>
            <a:custGeom>
              <a:avLst/>
              <a:gdLst>
                <a:gd name="connsiteX0" fmla="*/ 81108 w 142167"/>
                <a:gd name="connsiteY0" fmla="*/ 232388 h 232388"/>
                <a:gd name="connsiteX1" fmla="*/ 81108 w 142167"/>
                <a:gd name="connsiteY1" fmla="*/ 69717 h 232388"/>
                <a:gd name="connsiteX2" fmla="*/ 81108 w 142167"/>
                <a:gd name="connsiteY2" fmla="*/ 65615 h 232388"/>
                <a:gd name="connsiteX3" fmla="*/ 60604 w 142167"/>
                <a:gd name="connsiteY3" fmla="*/ 50123 h 232388"/>
                <a:gd name="connsiteX4" fmla="*/ 0 w 142167"/>
                <a:gd name="connsiteY4" fmla="*/ 50123 h 232388"/>
                <a:gd name="connsiteX5" fmla="*/ 0 w 142167"/>
                <a:gd name="connsiteY5" fmla="*/ 0 h 232388"/>
                <a:gd name="connsiteX6" fmla="*/ 67757 w 142167"/>
                <a:gd name="connsiteY6" fmla="*/ 0 h 232388"/>
                <a:gd name="connsiteX7" fmla="*/ 142167 w 142167"/>
                <a:gd name="connsiteY7" fmla="*/ 51579 h 232388"/>
                <a:gd name="connsiteX8" fmla="*/ 142167 w 142167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32388">
                  <a:moveTo>
                    <a:pt x="81108" y="232388"/>
                  </a:moveTo>
                  <a:lnTo>
                    <a:pt x="81108" y="69717"/>
                  </a:lnTo>
                  <a:cubicBezTo>
                    <a:pt x="81108" y="68350"/>
                    <a:pt x="81108" y="66982"/>
                    <a:pt x="81108" y="65615"/>
                  </a:cubicBezTo>
                  <a:cubicBezTo>
                    <a:pt x="79741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67757" y="0"/>
                  </a:lnTo>
                  <a:lnTo>
                    <a:pt x="142167" y="51579"/>
                  </a:lnTo>
                  <a:lnTo>
                    <a:pt x="142167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0" name="Forme libre : forme 1849">
              <a:extLst>
                <a:ext uri="{FF2B5EF4-FFF2-40B4-BE49-F238E27FC236}">
                  <a16:creationId xmlns:a16="http://schemas.microsoft.com/office/drawing/2014/main" id="{2520359B-6D7C-4A10-8B0B-4B8A9E745FD9}"/>
                </a:ext>
              </a:extLst>
            </p:cNvPr>
            <p:cNvSpPr/>
            <p:nvPr/>
          </p:nvSpPr>
          <p:spPr>
            <a:xfrm rot="8716295">
              <a:off x="4141505" y="4922844"/>
              <a:ext cx="132702" cy="253348"/>
            </a:xfrm>
            <a:custGeom>
              <a:avLst/>
              <a:gdLst>
                <a:gd name="connsiteX0" fmla="*/ 51489 w 132702"/>
                <a:gd name="connsiteY0" fmla="*/ 253348 h 253348"/>
                <a:gd name="connsiteX1" fmla="*/ 51490 w 132702"/>
                <a:gd name="connsiteY1" fmla="*/ 44199 h 253348"/>
                <a:gd name="connsiteX2" fmla="*/ 0 w 132702"/>
                <a:gd name="connsiteY2" fmla="*/ 44199 h 253348"/>
                <a:gd name="connsiteX3" fmla="*/ 0 w 132702"/>
                <a:gd name="connsiteY3" fmla="*/ 0 h 253348"/>
                <a:gd name="connsiteX4" fmla="*/ 48574 w 132702"/>
                <a:gd name="connsiteY4" fmla="*/ 0 h 253348"/>
                <a:gd name="connsiteX5" fmla="*/ 104802 w 132702"/>
                <a:gd name="connsiteY5" fmla="*/ 38976 h 253348"/>
                <a:gd name="connsiteX6" fmla="*/ 104803 w 132702"/>
                <a:gd name="connsiteY6" fmla="*/ 73817 h 253348"/>
                <a:gd name="connsiteX7" fmla="*/ 106169 w 132702"/>
                <a:gd name="connsiteY7" fmla="*/ 73817 h 253348"/>
                <a:gd name="connsiteX8" fmla="*/ 116353 w 132702"/>
                <a:gd name="connsiteY8" fmla="*/ 46982 h 253348"/>
                <a:gd name="connsiteX9" fmla="*/ 132702 w 132702"/>
                <a:gd name="connsiteY9" fmla="*/ 58315 h 253348"/>
                <a:gd name="connsiteX10" fmla="*/ 127358 w 132702"/>
                <a:gd name="connsiteY10" fmla="*/ 64191 h 253348"/>
                <a:gd name="connsiteX11" fmla="*/ 111638 w 132702"/>
                <a:gd name="connsiteY11" fmla="*/ 126218 h 253348"/>
                <a:gd name="connsiteX12" fmla="*/ 111638 w 132702"/>
                <a:gd name="connsiteY12" fmla="*/ 212339 h 253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702" h="253348">
                  <a:moveTo>
                    <a:pt x="51489" y="253348"/>
                  </a:moveTo>
                  <a:lnTo>
                    <a:pt x="51490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48574" y="0"/>
                  </a:lnTo>
                  <a:lnTo>
                    <a:pt x="104802" y="38976"/>
                  </a:lnTo>
                  <a:lnTo>
                    <a:pt x="104803" y="73817"/>
                  </a:lnTo>
                  <a:lnTo>
                    <a:pt x="106169" y="73817"/>
                  </a:lnTo>
                  <a:lnTo>
                    <a:pt x="116353" y="46982"/>
                  </a:lnTo>
                  <a:lnTo>
                    <a:pt x="132702" y="58315"/>
                  </a:lnTo>
                  <a:lnTo>
                    <a:pt x="127358" y="64191"/>
                  </a:lnTo>
                  <a:cubicBezTo>
                    <a:pt x="117675" y="79968"/>
                    <a:pt x="111638" y="101840"/>
                    <a:pt x="111638" y="126218"/>
                  </a:cubicBezTo>
                  <a:lnTo>
                    <a:pt x="111638" y="2123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1" name="Forme libre : forme 1850">
              <a:extLst>
                <a:ext uri="{FF2B5EF4-FFF2-40B4-BE49-F238E27FC236}">
                  <a16:creationId xmlns:a16="http://schemas.microsoft.com/office/drawing/2014/main" id="{DBA92024-335D-4ECC-9724-60843B062DA7}"/>
                </a:ext>
              </a:extLst>
            </p:cNvPr>
            <p:cNvSpPr/>
            <p:nvPr/>
          </p:nvSpPr>
          <p:spPr>
            <a:xfrm rot="8716295">
              <a:off x="3982533" y="487640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2" name="Forme libre : forme 1851">
              <a:extLst>
                <a:ext uri="{FF2B5EF4-FFF2-40B4-BE49-F238E27FC236}">
                  <a16:creationId xmlns:a16="http://schemas.microsoft.com/office/drawing/2014/main" id="{8321C7CB-2F29-4F82-9BEA-4F30324C6FCA}"/>
                </a:ext>
              </a:extLst>
            </p:cNvPr>
            <p:cNvSpPr/>
            <p:nvPr/>
          </p:nvSpPr>
          <p:spPr>
            <a:xfrm rot="8716295">
              <a:off x="3825757" y="502198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3" name="Forme libre : forme 1852">
              <a:extLst>
                <a:ext uri="{FF2B5EF4-FFF2-40B4-BE49-F238E27FC236}">
                  <a16:creationId xmlns:a16="http://schemas.microsoft.com/office/drawing/2014/main" id="{982C4E17-FE31-45D0-8ADA-BC82CBF632F8}"/>
                </a:ext>
              </a:extLst>
            </p:cNvPr>
            <p:cNvSpPr/>
            <p:nvPr/>
          </p:nvSpPr>
          <p:spPr>
            <a:xfrm rot="8716295">
              <a:off x="3700854" y="481331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4" name="Forme libre : forme 1853">
              <a:extLst>
                <a:ext uri="{FF2B5EF4-FFF2-40B4-BE49-F238E27FC236}">
                  <a16:creationId xmlns:a16="http://schemas.microsoft.com/office/drawing/2014/main" id="{B5AC4F8C-F097-4771-B364-40F9E5307B62}"/>
                </a:ext>
              </a:extLst>
            </p:cNvPr>
            <p:cNvSpPr/>
            <p:nvPr/>
          </p:nvSpPr>
          <p:spPr>
            <a:xfrm rot="8716295">
              <a:off x="3688802" y="467453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5" name="Forme libre : forme 1854">
              <a:extLst>
                <a:ext uri="{FF2B5EF4-FFF2-40B4-BE49-F238E27FC236}">
                  <a16:creationId xmlns:a16="http://schemas.microsoft.com/office/drawing/2014/main" id="{837371BC-426A-4492-B28F-56A8F67313D2}"/>
                </a:ext>
              </a:extLst>
            </p:cNvPr>
            <p:cNvSpPr/>
            <p:nvPr/>
          </p:nvSpPr>
          <p:spPr>
            <a:xfrm rot="8716295">
              <a:off x="3876973" y="5088204"/>
              <a:ext cx="60147" cy="79509"/>
            </a:xfrm>
            <a:custGeom>
              <a:avLst/>
              <a:gdLst>
                <a:gd name="connsiteX0" fmla="*/ 60147 w 60147"/>
                <a:gd name="connsiteY0" fmla="*/ 79509 h 79509"/>
                <a:gd name="connsiteX1" fmla="*/ 0 w 60147"/>
                <a:gd name="connsiteY1" fmla="*/ 21639 h 79509"/>
                <a:gd name="connsiteX2" fmla="*/ 0 w 60147"/>
                <a:gd name="connsiteY2" fmla="*/ 0 h 79509"/>
                <a:gd name="connsiteX3" fmla="*/ 60147 w 60147"/>
                <a:gd name="connsiteY3" fmla="*/ 41692 h 79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7" h="79509">
                  <a:moveTo>
                    <a:pt x="60147" y="79509"/>
                  </a:moveTo>
                  <a:lnTo>
                    <a:pt x="0" y="21639"/>
                  </a:lnTo>
                  <a:lnTo>
                    <a:pt x="0" y="0"/>
                  </a:lnTo>
                  <a:lnTo>
                    <a:pt x="60147" y="416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6" name="Forme libre : forme 1855">
              <a:extLst>
                <a:ext uri="{FF2B5EF4-FFF2-40B4-BE49-F238E27FC236}">
                  <a16:creationId xmlns:a16="http://schemas.microsoft.com/office/drawing/2014/main" id="{A36E7789-9970-4096-85C1-38733446BEBF}"/>
                </a:ext>
              </a:extLst>
            </p:cNvPr>
            <p:cNvSpPr/>
            <p:nvPr/>
          </p:nvSpPr>
          <p:spPr>
            <a:xfrm rot="8716295">
              <a:off x="4227090" y="468329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7" name="Forme libre : forme 1856">
              <a:extLst>
                <a:ext uri="{FF2B5EF4-FFF2-40B4-BE49-F238E27FC236}">
                  <a16:creationId xmlns:a16="http://schemas.microsoft.com/office/drawing/2014/main" id="{F11CC023-68EC-4D20-9D98-B45CEA43861F}"/>
                </a:ext>
              </a:extLst>
            </p:cNvPr>
            <p:cNvSpPr/>
            <p:nvPr/>
          </p:nvSpPr>
          <p:spPr>
            <a:xfrm rot="8716295">
              <a:off x="4316482" y="471253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8" name="Forme libre : forme 1857">
              <a:extLst>
                <a:ext uri="{FF2B5EF4-FFF2-40B4-BE49-F238E27FC236}">
                  <a16:creationId xmlns:a16="http://schemas.microsoft.com/office/drawing/2014/main" id="{D80DAB58-50D4-4440-9D89-04E62F60DD75}"/>
                </a:ext>
              </a:extLst>
            </p:cNvPr>
            <p:cNvSpPr/>
            <p:nvPr/>
          </p:nvSpPr>
          <p:spPr>
            <a:xfrm rot="8716295">
              <a:off x="4114856" y="477183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9" name="Forme libre : forme 1858">
              <a:extLst>
                <a:ext uri="{FF2B5EF4-FFF2-40B4-BE49-F238E27FC236}">
                  <a16:creationId xmlns:a16="http://schemas.microsoft.com/office/drawing/2014/main" id="{EFB2F06B-FB46-414B-A768-00A51103B9CB}"/>
                </a:ext>
              </a:extLst>
            </p:cNvPr>
            <p:cNvSpPr/>
            <p:nvPr/>
          </p:nvSpPr>
          <p:spPr>
            <a:xfrm rot="8716295">
              <a:off x="3989954" y="456316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0" name="Forme libre : forme 1859">
              <a:extLst>
                <a:ext uri="{FF2B5EF4-FFF2-40B4-BE49-F238E27FC236}">
                  <a16:creationId xmlns:a16="http://schemas.microsoft.com/office/drawing/2014/main" id="{6FFBD477-C0D0-41B1-BEDB-29E08A67B891}"/>
                </a:ext>
              </a:extLst>
            </p:cNvPr>
            <p:cNvSpPr/>
            <p:nvPr/>
          </p:nvSpPr>
          <p:spPr>
            <a:xfrm rot="8716295">
              <a:off x="4205034" y="481278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1" name="Forme libre : forme 1860">
              <a:extLst>
                <a:ext uri="{FF2B5EF4-FFF2-40B4-BE49-F238E27FC236}">
                  <a16:creationId xmlns:a16="http://schemas.microsoft.com/office/drawing/2014/main" id="{C6CF2AAF-5A81-4477-800F-2852F998EC43}"/>
                </a:ext>
              </a:extLst>
            </p:cNvPr>
            <p:cNvSpPr/>
            <p:nvPr/>
          </p:nvSpPr>
          <p:spPr>
            <a:xfrm rot="8716295">
              <a:off x="3963583" y="466318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2" name="Forme libre : forme 1861">
              <a:extLst>
                <a:ext uri="{FF2B5EF4-FFF2-40B4-BE49-F238E27FC236}">
                  <a16:creationId xmlns:a16="http://schemas.microsoft.com/office/drawing/2014/main" id="{30B95C1E-E1F2-447E-B82B-71DEEFEF0B51}"/>
                </a:ext>
              </a:extLst>
            </p:cNvPr>
            <p:cNvSpPr/>
            <p:nvPr/>
          </p:nvSpPr>
          <p:spPr>
            <a:xfrm rot="7484129">
              <a:off x="4361132" y="4975858"/>
              <a:ext cx="133389" cy="195874"/>
            </a:xfrm>
            <a:custGeom>
              <a:avLst/>
              <a:gdLst>
                <a:gd name="connsiteX0" fmla="*/ 90710 w 133389"/>
                <a:gd name="connsiteY0" fmla="*/ 195874 h 195874"/>
                <a:gd name="connsiteX1" fmla="*/ 47847 w 133389"/>
                <a:gd name="connsiteY1" fmla="*/ 116129 h 195874"/>
                <a:gd name="connsiteX2" fmla="*/ 69777 w 133389"/>
                <a:gd name="connsiteY2" fmla="*/ 55323 h 195874"/>
                <a:gd name="connsiteX3" fmla="*/ 0 w 133389"/>
                <a:gd name="connsiteY3" fmla="*/ 55323 h 195874"/>
                <a:gd name="connsiteX4" fmla="*/ 0 w 133389"/>
                <a:gd name="connsiteY4" fmla="*/ 0 h 195874"/>
                <a:gd name="connsiteX5" fmla="*/ 83610 w 133389"/>
                <a:gd name="connsiteY5" fmla="*/ 0 h 195874"/>
                <a:gd name="connsiteX6" fmla="*/ 133389 w 133389"/>
                <a:gd name="connsiteY6" fmla="*/ 71795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3389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83610" y="0"/>
                  </a:lnTo>
                  <a:lnTo>
                    <a:pt x="133389" y="7179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3" name="Forme libre : forme 1862">
              <a:extLst>
                <a:ext uri="{FF2B5EF4-FFF2-40B4-BE49-F238E27FC236}">
                  <a16:creationId xmlns:a16="http://schemas.microsoft.com/office/drawing/2014/main" id="{AAB34FE5-9F09-4958-9EE5-25175A1C7094}"/>
                </a:ext>
              </a:extLst>
            </p:cNvPr>
            <p:cNvSpPr/>
            <p:nvPr/>
          </p:nvSpPr>
          <p:spPr>
            <a:xfrm rot="13089394">
              <a:off x="4473995" y="4986322"/>
              <a:ext cx="268663" cy="135802"/>
            </a:xfrm>
            <a:custGeom>
              <a:avLst/>
              <a:gdLst>
                <a:gd name="connsiteX0" fmla="*/ 268663 w 268663"/>
                <a:gd name="connsiteY0" fmla="*/ 65010 h 135802"/>
                <a:gd name="connsiteX1" fmla="*/ 87676 w 268663"/>
                <a:gd name="connsiteY1" fmla="*/ 135639 h 135802"/>
                <a:gd name="connsiteX2" fmla="*/ 19806 w 268663"/>
                <a:gd name="connsiteY2" fmla="*/ 108049 h 135802"/>
                <a:gd name="connsiteX3" fmla="*/ 907 w 268663"/>
                <a:gd name="connsiteY3" fmla="*/ 70735 h 135802"/>
                <a:gd name="connsiteX4" fmla="*/ 0 w 268663"/>
                <a:gd name="connsiteY4" fmla="*/ 59909 h 135802"/>
                <a:gd name="connsiteX5" fmla="*/ 76250 w 268663"/>
                <a:gd name="connsiteY5" fmla="*/ 0 h 135802"/>
                <a:gd name="connsiteX6" fmla="*/ 83813 w 268663"/>
                <a:gd name="connsiteY6" fmla="*/ 52319 h 135802"/>
                <a:gd name="connsiteX7" fmla="*/ 150028 w 268663"/>
                <a:gd name="connsiteY7" fmla="*/ 88737 h 135802"/>
                <a:gd name="connsiteX8" fmla="*/ 199689 w 268663"/>
                <a:gd name="connsiteY8" fmla="*/ 79908 h 135802"/>
                <a:gd name="connsiteX9" fmla="*/ 267560 w 268663"/>
                <a:gd name="connsiteY9" fmla="*/ 52319 h 135802"/>
                <a:gd name="connsiteX10" fmla="*/ 268663 w 268663"/>
                <a:gd name="connsiteY10" fmla="*/ 59492 h 135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68663" h="135802">
                  <a:moveTo>
                    <a:pt x="268663" y="65010"/>
                  </a:moveTo>
                  <a:cubicBezTo>
                    <a:pt x="210174" y="115223"/>
                    <a:pt x="133474" y="132880"/>
                    <a:pt x="87676" y="135639"/>
                  </a:cubicBezTo>
                  <a:cubicBezTo>
                    <a:pt x="62294" y="137295"/>
                    <a:pt x="37463" y="126258"/>
                    <a:pt x="19806" y="108049"/>
                  </a:cubicBezTo>
                  <a:cubicBezTo>
                    <a:pt x="10425" y="98945"/>
                    <a:pt x="4494" y="86530"/>
                    <a:pt x="907" y="70735"/>
                  </a:cubicBezTo>
                  <a:lnTo>
                    <a:pt x="0" y="59909"/>
                  </a:lnTo>
                  <a:lnTo>
                    <a:pt x="76250" y="0"/>
                  </a:lnTo>
                  <a:lnTo>
                    <a:pt x="83813" y="52319"/>
                  </a:lnTo>
                  <a:cubicBezTo>
                    <a:pt x="92642" y="76597"/>
                    <a:pt x="115265" y="88737"/>
                    <a:pt x="150028" y="88737"/>
                  </a:cubicBezTo>
                  <a:cubicBezTo>
                    <a:pt x="167134" y="88185"/>
                    <a:pt x="183687" y="84874"/>
                    <a:pt x="199689" y="79908"/>
                  </a:cubicBezTo>
                  <a:cubicBezTo>
                    <a:pt x="222864" y="72735"/>
                    <a:pt x="245488" y="63355"/>
                    <a:pt x="267560" y="52319"/>
                  </a:cubicBezTo>
                  <a:cubicBezTo>
                    <a:pt x="268111" y="54526"/>
                    <a:pt x="268663" y="57285"/>
                    <a:pt x="268663" y="594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4" name="Forme libre : forme 1863">
              <a:extLst>
                <a:ext uri="{FF2B5EF4-FFF2-40B4-BE49-F238E27FC236}">
                  <a16:creationId xmlns:a16="http://schemas.microsoft.com/office/drawing/2014/main" id="{BFA338AE-EF63-4AB6-BC1C-378FF001F19F}"/>
                </a:ext>
              </a:extLst>
            </p:cNvPr>
            <p:cNvSpPr/>
            <p:nvPr/>
          </p:nvSpPr>
          <p:spPr>
            <a:xfrm rot="8716295">
              <a:off x="4600370" y="477899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5" name="Forme libre : forme 1864">
              <a:extLst>
                <a:ext uri="{FF2B5EF4-FFF2-40B4-BE49-F238E27FC236}">
                  <a16:creationId xmlns:a16="http://schemas.microsoft.com/office/drawing/2014/main" id="{56C71A74-F098-45BA-8E7C-541E50C5E524}"/>
                </a:ext>
              </a:extLst>
            </p:cNvPr>
            <p:cNvSpPr/>
            <p:nvPr/>
          </p:nvSpPr>
          <p:spPr>
            <a:xfrm rot="8716295">
              <a:off x="4548565" y="467540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6" name="Forme libre : forme 1865">
              <a:extLst>
                <a:ext uri="{FF2B5EF4-FFF2-40B4-BE49-F238E27FC236}">
                  <a16:creationId xmlns:a16="http://schemas.microsoft.com/office/drawing/2014/main" id="{57E68179-DB06-48AC-AB78-29CE460072C9}"/>
                </a:ext>
              </a:extLst>
            </p:cNvPr>
            <p:cNvSpPr/>
            <p:nvPr/>
          </p:nvSpPr>
          <p:spPr>
            <a:xfrm rot="8716295">
              <a:off x="4305319" y="470562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7" name="Forme libre : forme 1866">
              <a:extLst>
                <a:ext uri="{FF2B5EF4-FFF2-40B4-BE49-F238E27FC236}">
                  <a16:creationId xmlns:a16="http://schemas.microsoft.com/office/drawing/2014/main" id="{9687578B-24F6-40EC-9EEA-8E74CB9DE266}"/>
                </a:ext>
              </a:extLst>
            </p:cNvPr>
            <p:cNvSpPr/>
            <p:nvPr/>
          </p:nvSpPr>
          <p:spPr>
            <a:xfrm rot="8716295">
              <a:off x="4482771" y="454637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8" name="Forme libre : forme 1867">
              <a:extLst>
                <a:ext uri="{FF2B5EF4-FFF2-40B4-BE49-F238E27FC236}">
                  <a16:creationId xmlns:a16="http://schemas.microsoft.com/office/drawing/2014/main" id="{852310CF-EB75-42C2-8448-A4B1380C1DD6}"/>
                </a:ext>
              </a:extLst>
            </p:cNvPr>
            <p:cNvSpPr/>
            <p:nvPr/>
          </p:nvSpPr>
          <p:spPr>
            <a:xfrm rot="8716295">
              <a:off x="3493306" y="361277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9" name="Forme libre : forme 1868">
              <a:extLst>
                <a:ext uri="{FF2B5EF4-FFF2-40B4-BE49-F238E27FC236}">
                  <a16:creationId xmlns:a16="http://schemas.microsoft.com/office/drawing/2014/main" id="{C56D3DFB-4ADD-42C5-ADB3-D372BC8CB5D1}"/>
                </a:ext>
              </a:extLst>
            </p:cNvPr>
            <p:cNvSpPr/>
            <p:nvPr/>
          </p:nvSpPr>
          <p:spPr>
            <a:xfrm rot="8716295">
              <a:off x="3582698" y="364201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0" name="Forme libre : forme 1869">
              <a:extLst>
                <a:ext uri="{FF2B5EF4-FFF2-40B4-BE49-F238E27FC236}">
                  <a16:creationId xmlns:a16="http://schemas.microsoft.com/office/drawing/2014/main" id="{7EB9283E-F038-412D-910E-5F6D2CF93911}"/>
                </a:ext>
              </a:extLst>
            </p:cNvPr>
            <p:cNvSpPr/>
            <p:nvPr/>
          </p:nvSpPr>
          <p:spPr>
            <a:xfrm rot="8716295">
              <a:off x="3537848" y="355573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1" name="Forme libre : forme 1870">
              <a:extLst>
                <a:ext uri="{FF2B5EF4-FFF2-40B4-BE49-F238E27FC236}">
                  <a16:creationId xmlns:a16="http://schemas.microsoft.com/office/drawing/2014/main" id="{C7DB5BA1-1045-46F6-9B11-2D2ECC466F8F}"/>
                </a:ext>
              </a:extLst>
            </p:cNvPr>
            <p:cNvSpPr/>
            <p:nvPr/>
          </p:nvSpPr>
          <p:spPr>
            <a:xfrm rot="8716295">
              <a:off x="3381072" y="370131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2" name="Forme libre : forme 1871">
              <a:extLst>
                <a:ext uri="{FF2B5EF4-FFF2-40B4-BE49-F238E27FC236}">
                  <a16:creationId xmlns:a16="http://schemas.microsoft.com/office/drawing/2014/main" id="{785B42B0-8546-46CF-95AC-2265ECC426DA}"/>
                </a:ext>
              </a:extLst>
            </p:cNvPr>
            <p:cNvSpPr/>
            <p:nvPr/>
          </p:nvSpPr>
          <p:spPr>
            <a:xfrm rot="8716295">
              <a:off x="3256169" y="349264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3" name="Forme libre : forme 1872">
              <a:extLst>
                <a:ext uri="{FF2B5EF4-FFF2-40B4-BE49-F238E27FC236}">
                  <a16:creationId xmlns:a16="http://schemas.microsoft.com/office/drawing/2014/main" id="{DB664A17-E39F-486C-9B3A-684F36E1F01E}"/>
                </a:ext>
              </a:extLst>
            </p:cNvPr>
            <p:cNvSpPr/>
            <p:nvPr/>
          </p:nvSpPr>
          <p:spPr>
            <a:xfrm rot="8716295">
              <a:off x="3244117" y="335386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4" name="Forme libre : forme 1873">
              <a:extLst>
                <a:ext uri="{FF2B5EF4-FFF2-40B4-BE49-F238E27FC236}">
                  <a16:creationId xmlns:a16="http://schemas.microsoft.com/office/drawing/2014/main" id="{38162E40-8BC8-4F1D-B61A-45383ED5BD99}"/>
                </a:ext>
              </a:extLst>
            </p:cNvPr>
            <p:cNvSpPr/>
            <p:nvPr/>
          </p:nvSpPr>
          <p:spPr>
            <a:xfrm rot="8716295">
              <a:off x="3471250" y="374226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5" name="Forme libre : forme 1874">
              <a:extLst>
                <a:ext uri="{FF2B5EF4-FFF2-40B4-BE49-F238E27FC236}">
                  <a16:creationId xmlns:a16="http://schemas.microsoft.com/office/drawing/2014/main" id="{9D95EC53-44A9-4A48-9623-E8433EF20024}"/>
                </a:ext>
              </a:extLst>
            </p:cNvPr>
            <p:cNvSpPr/>
            <p:nvPr/>
          </p:nvSpPr>
          <p:spPr>
            <a:xfrm rot="8716295">
              <a:off x="3782405" y="336262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6" name="Forme libre : forme 1875">
              <a:extLst>
                <a:ext uri="{FF2B5EF4-FFF2-40B4-BE49-F238E27FC236}">
                  <a16:creationId xmlns:a16="http://schemas.microsoft.com/office/drawing/2014/main" id="{DE73101B-A287-46DC-B722-1DF973F5378F}"/>
                </a:ext>
              </a:extLst>
            </p:cNvPr>
            <p:cNvSpPr/>
            <p:nvPr/>
          </p:nvSpPr>
          <p:spPr>
            <a:xfrm rot="8716295">
              <a:off x="3871797" y="339186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7" name="Forme libre : forme 1876">
              <a:extLst>
                <a:ext uri="{FF2B5EF4-FFF2-40B4-BE49-F238E27FC236}">
                  <a16:creationId xmlns:a16="http://schemas.microsoft.com/office/drawing/2014/main" id="{403F95A4-D93C-4733-A72E-00929B0412AE}"/>
                </a:ext>
              </a:extLst>
            </p:cNvPr>
            <p:cNvSpPr/>
            <p:nvPr/>
          </p:nvSpPr>
          <p:spPr>
            <a:xfrm rot="8716295">
              <a:off x="3670171" y="345116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8" name="Forme libre : forme 1877">
              <a:extLst>
                <a:ext uri="{FF2B5EF4-FFF2-40B4-BE49-F238E27FC236}">
                  <a16:creationId xmlns:a16="http://schemas.microsoft.com/office/drawing/2014/main" id="{D559D9C1-3D5D-4DBD-BFA3-AAD9D4AFFCCB}"/>
                </a:ext>
              </a:extLst>
            </p:cNvPr>
            <p:cNvSpPr/>
            <p:nvPr/>
          </p:nvSpPr>
          <p:spPr>
            <a:xfrm rot="8716295">
              <a:off x="3545269" y="324249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9" name="Forme libre : forme 1878">
              <a:extLst>
                <a:ext uri="{FF2B5EF4-FFF2-40B4-BE49-F238E27FC236}">
                  <a16:creationId xmlns:a16="http://schemas.microsoft.com/office/drawing/2014/main" id="{8A56FFF9-A364-438B-BFFB-50F55DD2F66A}"/>
                </a:ext>
              </a:extLst>
            </p:cNvPr>
            <p:cNvSpPr/>
            <p:nvPr/>
          </p:nvSpPr>
          <p:spPr>
            <a:xfrm rot="8716295">
              <a:off x="3760349" y="349211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0" name="Forme libre : forme 1879">
              <a:extLst>
                <a:ext uri="{FF2B5EF4-FFF2-40B4-BE49-F238E27FC236}">
                  <a16:creationId xmlns:a16="http://schemas.microsoft.com/office/drawing/2014/main" id="{CB8A82E4-1430-4165-8829-ED95E59C13E3}"/>
                </a:ext>
              </a:extLst>
            </p:cNvPr>
            <p:cNvSpPr/>
            <p:nvPr/>
          </p:nvSpPr>
          <p:spPr>
            <a:xfrm rot="8716295">
              <a:off x="3518898" y="334251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1" name="Forme libre : forme 1880">
              <a:extLst>
                <a:ext uri="{FF2B5EF4-FFF2-40B4-BE49-F238E27FC236}">
                  <a16:creationId xmlns:a16="http://schemas.microsoft.com/office/drawing/2014/main" id="{0F27C68F-724E-46E3-B6BD-E473DC4E02B5}"/>
                </a:ext>
              </a:extLst>
            </p:cNvPr>
            <p:cNvSpPr/>
            <p:nvPr/>
          </p:nvSpPr>
          <p:spPr>
            <a:xfrm rot="7484129">
              <a:off x="3865280" y="368346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2" name="Forme libre : forme 1881">
              <a:extLst>
                <a:ext uri="{FF2B5EF4-FFF2-40B4-BE49-F238E27FC236}">
                  <a16:creationId xmlns:a16="http://schemas.microsoft.com/office/drawing/2014/main" id="{9D6723C5-6F5F-4F89-B9AB-0482F7E87BA5}"/>
                </a:ext>
              </a:extLst>
            </p:cNvPr>
            <p:cNvSpPr/>
            <p:nvPr/>
          </p:nvSpPr>
          <p:spPr>
            <a:xfrm rot="13089394">
              <a:off x="3970100" y="3650001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3" name="Forme libre : forme 1882">
              <a:extLst>
                <a:ext uri="{FF2B5EF4-FFF2-40B4-BE49-F238E27FC236}">
                  <a16:creationId xmlns:a16="http://schemas.microsoft.com/office/drawing/2014/main" id="{5CA64B36-E17C-4D54-A079-BC8C4193970C}"/>
                </a:ext>
              </a:extLst>
            </p:cNvPr>
            <p:cNvSpPr/>
            <p:nvPr/>
          </p:nvSpPr>
          <p:spPr>
            <a:xfrm rot="8716295">
              <a:off x="4155685" y="345832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4" name="Forme libre : forme 1883">
              <a:extLst>
                <a:ext uri="{FF2B5EF4-FFF2-40B4-BE49-F238E27FC236}">
                  <a16:creationId xmlns:a16="http://schemas.microsoft.com/office/drawing/2014/main" id="{A9377FF8-AE27-4510-A065-1305095C5BE9}"/>
                </a:ext>
              </a:extLst>
            </p:cNvPr>
            <p:cNvSpPr/>
            <p:nvPr/>
          </p:nvSpPr>
          <p:spPr>
            <a:xfrm rot="8716295">
              <a:off x="4103880" y="335472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5" name="Forme libre : forme 1884">
              <a:extLst>
                <a:ext uri="{FF2B5EF4-FFF2-40B4-BE49-F238E27FC236}">
                  <a16:creationId xmlns:a16="http://schemas.microsoft.com/office/drawing/2014/main" id="{5048E4A2-C470-4460-BF36-DE7683DD5ECF}"/>
                </a:ext>
              </a:extLst>
            </p:cNvPr>
            <p:cNvSpPr/>
            <p:nvPr/>
          </p:nvSpPr>
          <p:spPr>
            <a:xfrm rot="8716295">
              <a:off x="3860634" y="338494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6" name="Forme libre : forme 1885">
              <a:extLst>
                <a:ext uri="{FF2B5EF4-FFF2-40B4-BE49-F238E27FC236}">
                  <a16:creationId xmlns:a16="http://schemas.microsoft.com/office/drawing/2014/main" id="{5A4E5709-8FAD-4E4D-B5A6-C738DB0B147E}"/>
                </a:ext>
              </a:extLst>
            </p:cNvPr>
            <p:cNvSpPr/>
            <p:nvPr/>
          </p:nvSpPr>
          <p:spPr>
            <a:xfrm rot="8716295">
              <a:off x="4038086" y="322570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7" name="Forme libre : forme 1886">
              <a:extLst>
                <a:ext uri="{FF2B5EF4-FFF2-40B4-BE49-F238E27FC236}">
                  <a16:creationId xmlns:a16="http://schemas.microsoft.com/office/drawing/2014/main" id="{FFCF139E-7AE6-4DB8-9213-9A2CF3DE475A}"/>
                </a:ext>
              </a:extLst>
            </p:cNvPr>
            <p:cNvSpPr/>
            <p:nvPr/>
          </p:nvSpPr>
          <p:spPr>
            <a:xfrm rot="8716295">
              <a:off x="3716473" y="427247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8" name="Forme libre : forme 1887">
              <a:extLst>
                <a:ext uri="{FF2B5EF4-FFF2-40B4-BE49-F238E27FC236}">
                  <a16:creationId xmlns:a16="http://schemas.microsoft.com/office/drawing/2014/main" id="{230DFA0D-667C-4BA9-A9B4-3B9C5608513B}"/>
                </a:ext>
              </a:extLst>
            </p:cNvPr>
            <p:cNvSpPr/>
            <p:nvPr/>
          </p:nvSpPr>
          <p:spPr>
            <a:xfrm rot="8716295">
              <a:off x="3805865" y="430171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9" name="Forme libre : forme 1888">
              <a:extLst>
                <a:ext uri="{FF2B5EF4-FFF2-40B4-BE49-F238E27FC236}">
                  <a16:creationId xmlns:a16="http://schemas.microsoft.com/office/drawing/2014/main" id="{1955ED9A-4577-4156-B67C-D520CAA9BDEE}"/>
                </a:ext>
              </a:extLst>
            </p:cNvPr>
            <p:cNvSpPr/>
            <p:nvPr/>
          </p:nvSpPr>
          <p:spPr>
            <a:xfrm rot="8716295">
              <a:off x="3761015" y="421543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0" name="Forme libre : forme 1889">
              <a:extLst>
                <a:ext uri="{FF2B5EF4-FFF2-40B4-BE49-F238E27FC236}">
                  <a16:creationId xmlns:a16="http://schemas.microsoft.com/office/drawing/2014/main" id="{0CFE087C-15FC-4B0E-8C68-44FA23BE6627}"/>
                </a:ext>
              </a:extLst>
            </p:cNvPr>
            <p:cNvSpPr/>
            <p:nvPr/>
          </p:nvSpPr>
          <p:spPr>
            <a:xfrm rot="8716295">
              <a:off x="3604239" y="436101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1" name="Forme libre : forme 1890">
              <a:extLst>
                <a:ext uri="{FF2B5EF4-FFF2-40B4-BE49-F238E27FC236}">
                  <a16:creationId xmlns:a16="http://schemas.microsoft.com/office/drawing/2014/main" id="{F80539C5-90A6-4C9B-BB82-F1B574372789}"/>
                </a:ext>
              </a:extLst>
            </p:cNvPr>
            <p:cNvSpPr/>
            <p:nvPr/>
          </p:nvSpPr>
          <p:spPr>
            <a:xfrm rot="8716295">
              <a:off x="3479336" y="415234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2" name="Forme libre : forme 1891">
              <a:extLst>
                <a:ext uri="{FF2B5EF4-FFF2-40B4-BE49-F238E27FC236}">
                  <a16:creationId xmlns:a16="http://schemas.microsoft.com/office/drawing/2014/main" id="{DCD13A54-B7CF-4322-96F8-124875408DCF}"/>
                </a:ext>
              </a:extLst>
            </p:cNvPr>
            <p:cNvSpPr/>
            <p:nvPr/>
          </p:nvSpPr>
          <p:spPr>
            <a:xfrm rot="8716295">
              <a:off x="3467284" y="401356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3" name="Forme libre : forme 1892">
              <a:extLst>
                <a:ext uri="{FF2B5EF4-FFF2-40B4-BE49-F238E27FC236}">
                  <a16:creationId xmlns:a16="http://schemas.microsoft.com/office/drawing/2014/main" id="{CC738393-0663-4C9A-8E67-8C5FF5B2E7F4}"/>
                </a:ext>
              </a:extLst>
            </p:cNvPr>
            <p:cNvSpPr/>
            <p:nvPr/>
          </p:nvSpPr>
          <p:spPr>
            <a:xfrm rot="8716295">
              <a:off x="3694417" y="440196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4" name="Forme libre : forme 1893">
              <a:extLst>
                <a:ext uri="{FF2B5EF4-FFF2-40B4-BE49-F238E27FC236}">
                  <a16:creationId xmlns:a16="http://schemas.microsoft.com/office/drawing/2014/main" id="{B72A2B4A-ADAE-4727-B8C5-5E9FA88D437E}"/>
                </a:ext>
              </a:extLst>
            </p:cNvPr>
            <p:cNvSpPr/>
            <p:nvPr/>
          </p:nvSpPr>
          <p:spPr>
            <a:xfrm rot="8716295">
              <a:off x="4005572" y="402231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5" name="Forme libre : forme 1894">
              <a:extLst>
                <a:ext uri="{FF2B5EF4-FFF2-40B4-BE49-F238E27FC236}">
                  <a16:creationId xmlns:a16="http://schemas.microsoft.com/office/drawing/2014/main" id="{6A3D9198-4FC9-4484-8F80-AE0FF47F424A}"/>
                </a:ext>
              </a:extLst>
            </p:cNvPr>
            <p:cNvSpPr/>
            <p:nvPr/>
          </p:nvSpPr>
          <p:spPr>
            <a:xfrm rot="8716295">
              <a:off x="4094964" y="405156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6" name="Forme libre : forme 1895">
              <a:extLst>
                <a:ext uri="{FF2B5EF4-FFF2-40B4-BE49-F238E27FC236}">
                  <a16:creationId xmlns:a16="http://schemas.microsoft.com/office/drawing/2014/main" id="{771BA887-62A8-49EE-AD77-E1907D3D0281}"/>
                </a:ext>
              </a:extLst>
            </p:cNvPr>
            <p:cNvSpPr/>
            <p:nvPr/>
          </p:nvSpPr>
          <p:spPr>
            <a:xfrm rot="8716295">
              <a:off x="3893338" y="411086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7" name="Forme libre : forme 1896">
              <a:extLst>
                <a:ext uri="{FF2B5EF4-FFF2-40B4-BE49-F238E27FC236}">
                  <a16:creationId xmlns:a16="http://schemas.microsoft.com/office/drawing/2014/main" id="{7673BD76-CF77-4492-9C8C-2DB043745962}"/>
                </a:ext>
              </a:extLst>
            </p:cNvPr>
            <p:cNvSpPr/>
            <p:nvPr/>
          </p:nvSpPr>
          <p:spPr>
            <a:xfrm rot="8716295">
              <a:off x="3768436" y="390219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8" name="Forme libre : forme 1897">
              <a:extLst>
                <a:ext uri="{FF2B5EF4-FFF2-40B4-BE49-F238E27FC236}">
                  <a16:creationId xmlns:a16="http://schemas.microsoft.com/office/drawing/2014/main" id="{406877CF-38F4-42B3-8783-66A178259365}"/>
                </a:ext>
              </a:extLst>
            </p:cNvPr>
            <p:cNvSpPr/>
            <p:nvPr/>
          </p:nvSpPr>
          <p:spPr>
            <a:xfrm rot="8716295">
              <a:off x="3983516" y="415181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9" name="Forme libre : forme 1898">
              <a:extLst>
                <a:ext uri="{FF2B5EF4-FFF2-40B4-BE49-F238E27FC236}">
                  <a16:creationId xmlns:a16="http://schemas.microsoft.com/office/drawing/2014/main" id="{BA7D2770-CC88-4E1F-B285-451E2DAAC768}"/>
                </a:ext>
              </a:extLst>
            </p:cNvPr>
            <p:cNvSpPr/>
            <p:nvPr/>
          </p:nvSpPr>
          <p:spPr>
            <a:xfrm rot="8716295">
              <a:off x="3742065" y="400221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0" name="Forme libre : forme 1899">
              <a:extLst>
                <a:ext uri="{FF2B5EF4-FFF2-40B4-BE49-F238E27FC236}">
                  <a16:creationId xmlns:a16="http://schemas.microsoft.com/office/drawing/2014/main" id="{EAC640B6-AF2B-4FEF-A8F3-C6B4513FB3E0}"/>
                </a:ext>
              </a:extLst>
            </p:cNvPr>
            <p:cNvSpPr/>
            <p:nvPr/>
          </p:nvSpPr>
          <p:spPr>
            <a:xfrm rot="7484129">
              <a:off x="4088447" y="434316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1" name="Forme libre : forme 1900">
              <a:extLst>
                <a:ext uri="{FF2B5EF4-FFF2-40B4-BE49-F238E27FC236}">
                  <a16:creationId xmlns:a16="http://schemas.microsoft.com/office/drawing/2014/main" id="{839B2912-6F31-401A-9D54-A922E1F6052E}"/>
                </a:ext>
              </a:extLst>
            </p:cNvPr>
            <p:cNvSpPr/>
            <p:nvPr/>
          </p:nvSpPr>
          <p:spPr>
            <a:xfrm rot="13089394">
              <a:off x="4193267" y="430970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2" name="Forme libre : forme 1901">
              <a:extLst>
                <a:ext uri="{FF2B5EF4-FFF2-40B4-BE49-F238E27FC236}">
                  <a16:creationId xmlns:a16="http://schemas.microsoft.com/office/drawing/2014/main" id="{B855D3C7-2AEB-4AEB-9B99-0A553DF889E3}"/>
                </a:ext>
              </a:extLst>
            </p:cNvPr>
            <p:cNvSpPr/>
            <p:nvPr/>
          </p:nvSpPr>
          <p:spPr>
            <a:xfrm rot="8716295">
              <a:off x="4378852" y="411801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3" name="Forme libre : forme 1902">
              <a:extLst>
                <a:ext uri="{FF2B5EF4-FFF2-40B4-BE49-F238E27FC236}">
                  <a16:creationId xmlns:a16="http://schemas.microsoft.com/office/drawing/2014/main" id="{F8E6C03D-07F9-4499-A5CB-F23EEDC93586}"/>
                </a:ext>
              </a:extLst>
            </p:cNvPr>
            <p:cNvSpPr/>
            <p:nvPr/>
          </p:nvSpPr>
          <p:spPr>
            <a:xfrm rot="8716295">
              <a:off x="4327047" y="40144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4" name="Forme libre : forme 1903">
              <a:extLst>
                <a:ext uri="{FF2B5EF4-FFF2-40B4-BE49-F238E27FC236}">
                  <a16:creationId xmlns:a16="http://schemas.microsoft.com/office/drawing/2014/main" id="{15861924-FD77-4126-B239-3A1808ABEE41}"/>
                </a:ext>
              </a:extLst>
            </p:cNvPr>
            <p:cNvSpPr/>
            <p:nvPr/>
          </p:nvSpPr>
          <p:spPr>
            <a:xfrm rot="8716295">
              <a:off x="4083801" y="404464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5" name="Forme libre : forme 1904">
              <a:extLst>
                <a:ext uri="{FF2B5EF4-FFF2-40B4-BE49-F238E27FC236}">
                  <a16:creationId xmlns:a16="http://schemas.microsoft.com/office/drawing/2014/main" id="{87418738-E3EE-4DAB-8079-A0004EDDF675}"/>
                </a:ext>
              </a:extLst>
            </p:cNvPr>
            <p:cNvSpPr/>
            <p:nvPr/>
          </p:nvSpPr>
          <p:spPr>
            <a:xfrm rot="8716295">
              <a:off x="4261253" y="388540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6" name="Forme libre : forme 1905">
              <a:extLst>
                <a:ext uri="{FF2B5EF4-FFF2-40B4-BE49-F238E27FC236}">
                  <a16:creationId xmlns:a16="http://schemas.microsoft.com/office/drawing/2014/main" id="{C2E68F41-3C22-4FA3-BA7F-F2489DB7BEFB}"/>
                </a:ext>
              </a:extLst>
            </p:cNvPr>
            <p:cNvSpPr/>
            <p:nvPr/>
          </p:nvSpPr>
          <p:spPr>
            <a:xfrm rot="8716295">
              <a:off x="2829951" y="16337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7" name="Forme libre : forme 1906">
              <a:extLst>
                <a:ext uri="{FF2B5EF4-FFF2-40B4-BE49-F238E27FC236}">
                  <a16:creationId xmlns:a16="http://schemas.microsoft.com/office/drawing/2014/main" id="{5610FD5B-1A47-4408-BF18-F5DDA40BC7AD}"/>
                </a:ext>
              </a:extLst>
            </p:cNvPr>
            <p:cNvSpPr/>
            <p:nvPr/>
          </p:nvSpPr>
          <p:spPr>
            <a:xfrm rot="8716295">
              <a:off x="2919343" y="16629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8" name="Forme libre : forme 1907">
              <a:extLst>
                <a:ext uri="{FF2B5EF4-FFF2-40B4-BE49-F238E27FC236}">
                  <a16:creationId xmlns:a16="http://schemas.microsoft.com/office/drawing/2014/main" id="{36BBEE27-EBB3-477B-A0AE-E315B781DD23}"/>
                </a:ext>
              </a:extLst>
            </p:cNvPr>
            <p:cNvSpPr/>
            <p:nvPr/>
          </p:nvSpPr>
          <p:spPr>
            <a:xfrm rot="8716295">
              <a:off x="2874493" y="157666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9" name="Forme libre : forme 1908">
              <a:extLst>
                <a:ext uri="{FF2B5EF4-FFF2-40B4-BE49-F238E27FC236}">
                  <a16:creationId xmlns:a16="http://schemas.microsoft.com/office/drawing/2014/main" id="{44946E61-8E74-4140-AB3F-1CBA55C2D182}"/>
                </a:ext>
              </a:extLst>
            </p:cNvPr>
            <p:cNvSpPr/>
            <p:nvPr/>
          </p:nvSpPr>
          <p:spPr>
            <a:xfrm rot="8716295">
              <a:off x="2717717" y="172224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0" name="Forme libre : forme 1909">
              <a:extLst>
                <a:ext uri="{FF2B5EF4-FFF2-40B4-BE49-F238E27FC236}">
                  <a16:creationId xmlns:a16="http://schemas.microsoft.com/office/drawing/2014/main" id="{AC19D586-AE43-44FB-A485-219AF7044431}"/>
                </a:ext>
              </a:extLst>
            </p:cNvPr>
            <p:cNvSpPr/>
            <p:nvPr/>
          </p:nvSpPr>
          <p:spPr>
            <a:xfrm rot="8716295">
              <a:off x="2592814" y="151357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1" name="Forme libre : forme 1910">
              <a:extLst>
                <a:ext uri="{FF2B5EF4-FFF2-40B4-BE49-F238E27FC236}">
                  <a16:creationId xmlns:a16="http://schemas.microsoft.com/office/drawing/2014/main" id="{F936F991-07FC-4A51-8BFD-AC196B8791FD}"/>
                </a:ext>
              </a:extLst>
            </p:cNvPr>
            <p:cNvSpPr/>
            <p:nvPr/>
          </p:nvSpPr>
          <p:spPr>
            <a:xfrm rot="8716295">
              <a:off x="2580762" y="137479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2" name="Forme libre : forme 1911">
              <a:extLst>
                <a:ext uri="{FF2B5EF4-FFF2-40B4-BE49-F238E27FC236}">
                  <a16:creationId xmlns:a16="http://schemas.microsoft.com/office/drawing/2014/main" id="{0A5508B7-A76E-46D7-AE04-EED0D91559D3}"/>
                </a:ext>
              </a:extLst>
            </p:cNvPr>
            <p:cNvSpPr/>
            <p:nvPr/>
          </p:nvSpPr>
          <p:spPr>
            <a:xfrm rot="8716295">
              <a:off x="2807895" y="176319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3" name="Forme libre : forme 1912">
              <a:extLst>
                <a:ext uri="{FF2B5EF4-FFF2-40B4-BE49-F238E27FC236}">
                  <a16:creationId xmlns:a16="http://schemas.microsoft.com/office/drawing/2014/main" id="{30C37794-B7C5-448D-B623-8258E94CA5D6}"/>
                </a:ext>
              </a:extLst>
            </p:cNvPr>
            <p:cNvSpPr/>
            <p:nvPr/>
          </p:nvSpPr>
          <p:spPr>
            <a:xfrm rot="8716295">
              <a:off x="3119050" y="138355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4" name="Forme libre : forme 1913">
              <a:extLst>
                <a:ext uri="{FF2B5EF4-FFF2-40B4-BE49-F238E27FC236}">
                  <a16:creationId xmlns:a16="http://schemas.microsoft.com/office/drawing/2014/main" id="{E00FB22D-2457-4063-9459-8433540C0A77}"/>
                </a:ext>
              </a:extLst>
            </p:cNvPr>
            <p:cNvSpPr/>
            <p:nvPr/>
          </p:nvSpPr>
          <p:spPr>
            <a:xfrm rot="8716295">
              <a:off x="3208442" y="141279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5" name="Forme libre : forme 1914">
              <a:extLst>
                <a:ext uri="{FF2B5EF4-FFF2-40B4-BE49-F238E27FC236}">
                  <a16:creationId xmlns:a16="http://schemas.microsoft.com/office/drawing/2014/main" id="{40BF3ADC-1D1C-47B2-A5B1-9307F3A8DB5D}"/>
                </a:ext>
              </a:extLst>
            </p:cNvPr>
            <p:cNvSpPr/>
            <p:nvPr/>
          </p:nvSpPr>
          <p:spPr>
            <a:xfrm rot="8716295">
              <a:off x="3006816" y="147209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6" name="Forme libre : forme 1915">
              <a:extLst>
                <a:ext uri="{FF2B5EF4-FFF2-40B4-BE49-F238E27FC236}">
                  <a16:creationId xmlns:a16="http://schemas.microsoft.com/office/drawing/2014/main" id="{DF4ED72B-FC46-44BB-B438-16FEB0943FB2}"/>
                </a:ext>
              </a:extLst>
            </p:cNvPr>
            <p:cNvSpPr/>
            <p:nvPr/>
          </p:nvSpPr>
          <p:spPr>
            <a:xfrm rot="8716295">
              <a:off x="2881914" y="126342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7" name="Forme libre : forme 1916">
              <a:extLst>
                <a:ext uri="{FF2B5EF4-FFF2-40B4-BE49-F238E27FC236}">
                  <a16:creationId xmlns:a16="http://schemas.microsoft.com/office/drawing/2014/main" id="{B676BBE0-B162-4287-9303-C170CDD71537}"/>
                </a:ext>
              </a:extLst>
            </p:cNvPr>
            <p:cNvSpPr/>
            <p:nvPr/>
          </p:nvSpPr>
          <p:spPr>
            <a:xfrm rot="8716295">
              <a:off x="3096994" y="151304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8" name="Forme libre : forme 1917">
              <a:extLst>
                <a:ext uri="{FF2B5EF4-FFF2-40B4-BE49-F238E27FC236}">
                  <a16:creationId xmlns:a16="http://schemas.microsoft.com/office/drawing/2014/main" id="{E7EB3253-D700-49B8-AEB9-BB6E68032A95}"/>
                </a:ext>
              </a:extLst>
            </p:cNvPr>
            <p:cNvSpPr/>
            <p:nvPr/>
          </p:nvSpPr>
          <p:spPr>
            <a:xfrm rot="8716295">
              <a:off x="2855543" y="136344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9" name="Forme libre : forme 1918">
              <a:extLst>
                <a:ext uri="{FF2B5EF4-FFF2-40B4-BE49-F238E27FC236}">
                  <a16:creationId xmlns:a16="http://schemas.microsoft.com/office/drawing/2014/main" id="{56230BF6-AC9B-4902-AEE1-4B728E72D178}"/>
                </a:ext>
              </a:extLst>
            </p:cNvPr>
            <p:cNvSpPr/>
            <p:nvPr/>
          </p:nvSpPr>
          <p:spPr>
            <a:xfrm rot="7484129">
              <a:off x="3201925" y="170439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0" name="Forme libre : forme 1919">
              <a:extLst>
                <a:ext uri="{FF2B5EF4-FFF2-40B4-BE49-F238E27FC236}">
                  <a16:creationId xmlns:a16="http://schemas.microsoft.com/office/drawing/2014/main" id="{4B208DB0-A987-423B-A14C-FCBA1EF67B74}"/>
                </a:ext>
              </a:extLst>
            </p:cNvPr>
            <p:cNvSpPr/>
            <p:nvPr/>
          </p:nvSpPr>
          <p:spPr>
            <a:xfrm rot="13089394">
              <a:off x="3306745" y="167093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1" name="Forme libre : forme 1920">
              <a:extLst>
                <a:ext uri="{FF2B5EF4-FFF2-40B4-BE49-F238E27FC236}">
                  <a16:creationId xmlns:a16="http://schemas.microsoft.com/office/drawing/2014/main" id="{EF8A434D-15D0-4B82-9592-BF92E7D73B50}"/>
                </a:ext>
              </a:extLst>
            </p:cNvPr>
            <p:cNvSpPr/>
            <p:nvPr/>
          </p:nvSpPr>
          <p:spPr>
            <a:xfrm rot="8716295">
              <a:off x="3492330" y="147925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2" name="Forme libre : forme 1921">
              <a:extLst>
                <a:ext uri="{FF2B5EF4-FFF2-40B4-BE49-F238E27FC236}">
                  <a16:creationId xmlns:a16="http://schemas.microsoft.com/office/drawing/2014/main" id="{496643F6-EF29-4934-B60A-8D83073F0AE6}"/>
                </a:ext>
              </a:extLst>
            </p:cNvPr>
            <p:cNvSpPr/>
            <p:nvPr/>
          </p:nvSpPr>
          <p:spPr>
            <a:xfrm rot="8716295">
              <a:off x="3440525" y="137565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3" name="Forme libre : forme 1922">
              <a:extLst>
                <a:ext uri="{FF2B5EF4-FFF2-40B4-BE49-F238E27FC236}">
                  <a16:creationId xmlns:a16="http://schemas.microsoft.com/office/drawing/2014/main" id="{74F44434-50F9-4D75-99AD-08CE7DC14350}"/>
                </a:ext>
              </a:extLst>
            </p:cNvPr>
            <p:cNvSpPr/>
            <p:nvPr/>
          </p:nvSpPr>
          <p:spPr>
            <a:xfrm rot="8716295">
              <a:off x="3197279" y="140587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4" name="Forme libre : forme 1923">
              <a:extLst>
                <a:ext uri="{FF2B5EF4-FFF2-40B4-BE49-F238E27FC236}">
                  <a16:creationId xmlns:a16="http://schemas.microsoft.com/office/drawing/2014/main" id="{605F5CA4-BD4B-45C5-9BA8-28F63A326D37}"/>
                </a:ext>
              </a:extLst>
            </p:cNvPr>
            <p:cNvSpPr/>
            <p:nvPr/>
          </p:nvSpPr>
          <p:spPr>
            <a:xfrm rot="8716295">
              <a:off x="3374731" y="124663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5" name="Forme libre : forme 1924">
              <a:extLst>
                <a:ext uri="{FF2B5EF4-FFF2-40B4-BE49-F238E27FC236}">
                  <a16:creationId xmlns:a16="http://schemas.microsoft.com/office/drawing/2014/main" id="{D508E9B3-20C5-4879-9125-85F01ACBE5CA}"/>
                </a:ext>
              </a:extLst>
            </p:cNvPr>
            <p:cNvSpPr/>
            <p:nvPr/>
          </p:nvSpPr>
          <p:spPr>
            <a:xfrm rot="8716295">
              <a:off x="2606784" y="97400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6" name="Forme libre : forme 1925">
              <a:extLst>
                <a:ext uri="{FF2B5EF4-FFF2-40B4-BE49-F238E27FC236}">
                  <a16:creationId xmlns:a16="http://schemas.microsoft.com/office/drawing/2014/main" id="{01908F6A-77D5-41C0-A094-8B88D20850B5}"/>
                </a:ext>
              </a:extLst>
            </p:cNvPr>
            <p:cNvSpPr/>
            <p:nvPr/>
          </p:nvSpPr>
          <p:spPr>
            <a:xfrm rot="8716295">
              <a:off x="2696176" y="100324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7" name="Forme libre : forme 1926">
              <a:extLst>
                <a:ext uri="{FF2B5EF4-FFF2-40B4-BE49-F238E27FC236}">
                  <a16:creationId xmlns:a16="http://schemas.microsoft.com/office/drawing/2014/main" id="{529064A2-8EBE-4BBB-A56D-AF594A3CAC45}"/>
                </a:ext>
              </a:extLst>
            </p:cNvPr>
            <p:cNvSpPr/>
            <p:nvPr/>
          </p:nvSpPr>
          <p:spPr>
            <a:xfrm rot="8716295">
              <a:off x="2651326" y="91696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8" name="Forme libre : forme 1927">
              <a:extLst>
                <a:ext uri="{FF2B5EF4-FFF2-40B4-BE49-F238E27FC236}">
                  <a16:creationId xmlns:a16="http://schemas.microsoft.com/office/drawing/2014/main" id="{F7D12C08-407F-4632-A96C-CB1D241C9AF9}"/>
                </a:ext>
              </a:extLst>
            </p:cNvPr>
            <p:cNvSpPr/>
            <p:nvPr/>
          </p:nvSpPr>
          <p:spPr>
            <a:xfrm rot="8716295">
              <a:off x="2494550" y="106254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9" name="Forme libre : forme 1928">
              <a:extLst>
                <a:ext uri="{FF2B5EF4-FFF2-40B4-BE49-F238E27FC236}">
                  <a16:creationId xmlns:a16="http://schemas.microsoft.com/office/drawing/2014/main" id="{F9E3718B-9D4E-40C9-996E-B44032CD1443}"/>
                </a:ext>
              </a:extLst>
            </p:cNvPr>
            <p:cNvSpPr/>
            <p:nvPr/>
          </p:nvSpPr>
          <p:spPr>
            <a:xfrm rot="8716295">
              <a:off x="2369647" y="85387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0" name="Forme libre : forme 1929">
              <a:extLst>
                <a:ext uri="{FF2B5EF4-FFF2-40B4-BE49-F238E27FC236}">
                  <a16:creationId xmlns:a16="http://schemas.microsoft.com/office/drawing/2014/main" id="{062FDFA4-05F1-4BC4-841F-FD9779B36394}"/>
                </a:ext>
              </a:extLst>
            </p:cNvPr>
            <p:cNvSpPr/>
            <p:nvPr/>
          </p:nvSpPr>
          <p:spPr>
            <a:xfrm rot="8716295">
              <a:off x="2357595" y="71509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1" name="Forme libre : forme 1930">
              <a:extLst>
                <a:ext uri="{FF2B5EF4-FFF2-40B4-BE49-F238E27FC236}">
                  <a16:creationId xmlns:a16="http://schemas.microsoft.com/office/drawing/2014/main" id="{D98BE722-2724-4873-90DA-3EE10C00B3F9}"/>
                </a:ext>
              </a:extLst>
            </p:cNvPr>
            <p:cNvSpPr/>
            <p:nvPr/>
          </p:nvSpPr>
          <p:spPr>
            <a:xfrm rot="8716295">
              <a:off x="2584728" y="110350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2" name="Forme libre : forme 1931">
              <a:extLst>
                <a:ext uri="{FF2B5EF4-FFF2-40B4-BE49-F238E27FC236}">
                  <a16:creationId xmlns:a16="http://schemas.microsoft.com/office/drawing/2014/main" id="{73A5D009-4136-4E73-AA3F-5CD072165E84}"/>
                </a:ext>
              </a:extLst>
            </p:cNvPr>
            <p:cNvSpPr/>
            <p:nvPr/>
          </p:nvSpPr>
          <p:spPr>
            <a:xfrm rot="8716295">
              <a:off x="2895883" y="72385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3" name="Forme libre : forme 1932">
              <a:extLst>
                <a:ext uri="{FF2B5EF4-FFF2-40B4-BE49-F238E27FC236}">
                  <a16:creationId xmlns:a16="http://schemas.microsoft.com/office/drawing/2014/main" id="{BB1CB211-5C77-4CA8-93CB-FB2E5FEC73EA}"/>
                </a:ext>
              </a:extLst>
            </p:cNvPr>
            <p:cNvSpPr/>
            <p:nvPr/>
          </p:nvSpPr>
          <p:spPr>
            <a:xfrm rot="8716295">
              <a:off x="2985275" y="75309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4" name="Forme libre : forme 1933">
              <a:extLst>
                <a:ext uri="{FF2B5EF4-FFF2-40B4-BE49-F238E27FC236}">
                  <a16:creationId xmlns:a16="http://schemas.microsoft.com/office/drawing/2014/main" id="{39202ABD-E53C-410F-9F80-3647BABB1BE8}"/>
                </a:ext>
              </a:extLst>
            </p:cNvPr>
            <p:cNvSpPr/>
            <p:nvPr/>
          </p:nvSpPr>
          <p:spPr>
            <a:xfrm rot="8716295">
              <a:off x="2783649" y="81239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5" name="Forme libre : forme 1934">
              <a:extLst>
                <a:ext uri="{FF2B5EF4-FFF2-40B4-BE49-F238E27FC236}">
                  <a16:creationId xmlns:a16="http://schemas.microsoft.com/office/drawing/2014/main" id="{DEF0F507-9FA5-4F8E-81F0-A3FF660AD478}"/>
                </a:ext>
              </a:extLst>
            </p:cNvPr>
            <p:cNvSpPr/>
            <p:nvPr/>
          </p:nvSpPr>
          <p:spPr>
            <a:xfrm rot="8716295">
              <a:off x="2658747" y="60372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6" name="Forme libre : forme 1935">
              <a:extLst>
                <a:ext uri="{FF2B5EF4-FFF2-40B4-BE49-F238E27FC236}">
                  <a16:creationId xmlns:a16="http://schemas.microsoft.com/office/drawing/2014/main" id="{3339A037-0390-4725-BCA0-FCB6267328E9}"/>
                </a:ext>
              </a:extLst>
            </p:cNvPr>
            <p:cNvSpPr/>
            <p:nvPr/>
          </p:nvSpPr>
          <p:spPr>
            <a:xfrm rot="8716295">
              <a:off x="2873827" y="85334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7" name="Forme libre : forme 1936">
              <a:extLst>
                <a:ext uri="{FF2B5EF4-FFF2-40B4-BE49-F238E27FC236}">
                  <a16:creationId xmlns:a16="http://schemas.microsoft.com/office/drawing/2014/main" id="{3D48FF6C-A7BD-4D40-8659-3742A120114C}"/>
                </a:ext>
              </a:extLst>
            </p:cNvPr>
            <p:cNvSpPr/>
            <p:nvPr/>
          </p:nvSpPr>
          <p:spPr>
            <a:xfrm rot="8716295">
              <a:off x="2632376" y="70374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8" name="Forme libre : forme 1937">
              <a:extLst>
                <a:ext uri="{FF2B5EF4-FFF2-40B4-BE49-F238E27FC236}">
                  <a16:creationId xmlns:a16="http://schemas.microsoft.com/office/drawing/2014/main" id="{640E20D5-9C65-40F7-88F5-B81FDBFD2525}"/>
                </a:ext>
              </a:extLst>
            </p:cNvPr>
            <p:cNvSpPr/>
            <p:nvPr/>
          </p:nvSpPr>
          <p:spPr>
            <a:xfrm rot="7484129">
              <a:off x="2978758" y="10446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9" name="Forme libre : forme 1938">
              <a:extLst>
                <a:ext uri="{FF2B5EF4-FFF2-40B4-BE49-F238E27FC236}">
                  <a16:creationId xmlns:a16="http://schemas.microsoft.com/office/drawing/2014/main" id="{A664525B-8E8A-4BEC-B691-10AA51B87D5A}"/>
                </a:ext>
              </a:extLst>
            </p:cNvPr>
            <p:cNvSpPr/>
            <p:nvPr/>
          </p:nvSpPr>
          <p:spPr>
            <a:xfrm rot="13089394">
              <a:off x="3083578" y="101123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0" name="Forme libre : forme 1939">
              <a:extLst>
                <a:ext uri="{FF2B5EF4-FFF2-40B4-BE49-F238E27FC236}">
                  <a16:creationId xmlns:a16="http://schemas.microsoft.com/office/drawing/2014/main" id="{5287290B-5120-4CE9-A2E9-80563E2C3748}"/>
                </a:ext>
              </a:extLst>
            </p:cNvPr>
            <p:cNvSpPr/>
            <p:nvPr/>
          </p:nvSpPr>
          <p:spPr>
            <a:xfrm rot="8716295">
              <a:off x="3269163" y="81955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1" name="Forme libre : forme 1940">
              <a:extLst>
                <a:ext uri="{FF2B5EF4-FFF2-40B4-BE49-F238E27FC236}">
                  <a16:creationId xmlns:a16="http://schemas.microsoft.com/office/drawing/2014/main" id="{3C0B667A-18F0-4E79-9549-1CF9F021884A}"/>
                </a:ext>
              </a:extLst>
            </p:cNvPr>
            <p:cNvSpPr/>
            <p:nvPr/>
          </p:nvSpPr>
          <p:spPr>
            <a:xfrm rot="8716295">
              <a:off x="3217358" y="71595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2" name="Forme libre : forme 1941">
              <a:extLst>
                <a:ext uri="{FF2B5EF4-FFF2-40B4-BE49-F238E27FC236}">
                  <a16:creationId xmlns:a16="http://schemas.microsoft.com/office/drawing/2014/main" id="{B0DED242-BC4E-4AF1-BAE0-7624C0344F25}"/>
                </a:ext>
              </a:extLst>
            </p:cNvPr>
            <p:cNvSpPr/>
            <p:nvPr/>
          </p:nvSpPr>
          <p:spPr>
            <a:xfrm rot="8716295">
              <a:off x="2974112" y="74618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3" name="Forme libre : forme 1942">
              <a:extLst>
                <a:ext uri="{FF2B5EF4-FFF2-40B4-BE49-F238E27FC236}">
                  <a16:creationId xmlns:a16="http://schemas.microsoft.com/office/drawing/2014/main" id="{9B427F4D-0061-471B-99D7-9ACBD334EA67}"/>
                </a:ext>
              </a:extLst>
            </p:cNvPr>
            <p:cNvSpPr/>
            <p:nvPr/>
          </p:nvSpPr>
          <p:spPr>
            <a:xfrm rot="8716295">
              <a:off x="3151564" y="58693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4" name="Forme libre : forme 1943">
              <a:extLst>
                <a:ext uri="{FF2B5EF4-FFF2-40B4-BE49-F238E27FC236}">
                  <a16:creationId xmlns:a16="http://schemas.microsoft.com/office/drawing/2014/main" id="{9646A09C-91CC-4D8D-8FCA-9CC186FCDAC2}"/>
                </a:ext>
              </a:extLst>
            </p:cNvPr>
            <p:cNvSpPr/>
            <p:nvPr/>
          </p:nvSpPr>
          <p:spPr>
            <a:xfrm rot="8716295">
              <a:off x="2387845" y="31194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5" name="Forme libre : forme 1944">
              <a:extLst>
                <a:ext uri="{FF2B5EF4-FFF2-40B4-BE49-F238E27FC236}">
                  <a16:creationId xmlns:a16="http://schemas.microsoft.com/office/drawing/2014/main" id="{7EFC061B-413D-4C95-B443-9F3F27FBE816}"/>
                </a:ext>
              </a:extLst>
            </p:cNvPr>
            <p:cNvSpPr/>
            <p:nvPr/>
          </p:nvSpPr>
          <p:spPr>
            <a:xfrm rot="8716295">
              <a:off x="2477237" y="34118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6" name="Forme libre : forme 1945">
              <a:extLst>
                <a:ext uri="{FF2B5EF4-FFF2-40B4-BE49-F238E27FC236}">
                  <a16:creationId xmlns:a16="http://schemas.microsoft.com/office/drawing/2014/main" id="{050B80C6-7110-45B3-B5D3-3D4418DC6D2D}"/>
                </a:ext>
              </a:extLst>
            </p:cNvPr>
            <p:cNvSpPr/>
            <p:nvPr/>
          </p:nvSpPr>
          <p:spPr>
            <a:xfrm rot="8716295">
              <a:off x="2432387" y="254908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7" name="Forme libre : forme 1946">
              <a:extLst>
                <a:ext uri="{FF2B5EF4-FFF2-40B4-BE49-F238E27FC236}">
                  <a16:creationId xmlns:a16="http://schemas.microsoft.com/office/drawing/2014/main" id="{16C54A5F-832E-4682-9A28-7BEEB48EF225}"/>
                </a:ext>
              </a:extLst>
            </p:cNvPr>
            <p:cNvSpPr/>
            <p:nvPr/>
          </p:nvSpPr>
          <p:spPr>
            <a:xfrm rot="8716295">
              <a:off x="2275611" y="40049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8" name="Forme libre : forme 1947">
              <a:extLst>
                <a:ext uri="{FF2B5EF4-FFF2-40B4-BE49-F238E27FC236}">
                  <a16:creationId xmlns:a16="http://schemas.microsoft.com/office/drawing/2014/main" id="{9182BB74-8CDE-456E-9B19-EB6A2BC862BF}"/>
                </a:ext>
              </a:extLst>
            </p:cNvPr>
            <p:cNvSpPr/>
            <p:nvPr/>
          </p:nvSpPr>
          <p:spPr>
            <a:xfrm rot="8716295">
              <a:off x="2150708" y="19181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9" name="Forme libre : forme 1948">
              <a:extLst>
                <a:ext uri="{FF2B5EF4-FFF2-40B4-BE49-F238E27FC236}">
                  <a16:creationId xmlns:a16="http://schemas.microsoft.com/office/drawing/2014/main" id="{8B7E3CE6-4BE3-4C9E-A239-D8D1203FC60A}"/>
                </a:ext>
              </a:extLst>
            </p:cNvPr>
            <p:cNvSpPr/>
            <p:nvPr/>
          </p:nvSpPr>
          <p:spPr>
            <a:xfrm rot="8716295">
              <a:off x="2138656" y="53037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0" name="Forme libre : forme 1949">
              <a:extLst>
                <a:ext uri="{FF2B5EF4-FFF2-40B4-BE49-F238E27FC236}">
                  <a16:creationId xmlns:a16="http://schemas.microsoft.com/office/drawing/2014/main" id="{3F6771EB-9647-44FF-992B-BFDD8921D128}"/>
                </a:ext>
              </a:extLst>
            </p:cNvPr>
            <p:cNvSpPr/>
            <p:nvPr/>
          </p:nvSpPr>
          <p:spPr>
            <a:xfrm rot="8716295">
              <a:off x="2365789" y="441442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1" name="Forme libre : forme 1950">
              <a:extLst>
                <a:ext uri="{FF2B5EF4-FFF2-40B4-BE49-F238E27FC236}">
                  <a16:creationId xmlns:a16="http://schemas.microsoft.com/office/drawing/2014/main" id="{EE97D450-BD29-4CDD-BFC8-817BD4470CBA}"/>
                </a:ext>
              </a:extLst>
            </p:cNvPr>
            <p:cNvSpPr/>
            <p:nvPr/>
          </p:nvSpPr>
          <p:spPr>
            <a:xfrm rot="8716295">
              <a:off x="2676944" y="6179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2" name="Forme libre : forme 1951">
              <a:extLst>
                <a:ext uri="{FF2B5EF4-FFF2-40B4-BE49-F238E27FC236}">
                  <a16:creationId xmlns:a16="http://schemas.microsoft.com/office/drawing/2014/main" id="{8EFD00D1-610B-479F-906F-15BAF79DD95F}"/>
                </a:ext>
              </a:extLst>
            </p:cNvPr>
            <p:cNvSpPr/>
            <p:nvPr/>
          </p:nvSpPr>
          <p:spPr>
            <a:xfrm rot="8716295">
              <a:off x="2766336" y="9103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3" name="Forme libre : forme 1952">
              <a:extLst>
                <a:ext uri="{FF2B5EF4-FFF2-40B4-BE49-F238E27FC236}">
                  <a16:creationId xmlns:a16="http://schemas.microsoft.com/office/drawing/2014/main" id="{61A26481-3D0A-4F35-81C4-E66E5F2DC440}"/>
                </a:ext>
              </a:extLst>
            </p:cNvPr>
            <p:cNvSpPr/>
            <p:nvPr/>
          </p:nvSpPr>
          <p:spPr>
            <a:xfrm rot="8716295">
              <a:off x="2564710" y="15033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4" name="Forme libre : forme 1953">
              <a:extLst>
                <a:ext uri="{FF2B5EF4-FFF2-40B4-BE49-F238E27FC236}">
                  <a16:creationId xmlns:a16="http://schemas.microsoft.com/office/drawing/2014/main" id="{83459BF4-9B6D-4560-BF8C-1B7247F9F85E}"/>
                </a:ext>
              </a:extLst>
            </p:cNvPr>
            <p:cNvSpPr/>
            <p:nvPr/>
          </p:nvSpPr>
          <p:spPr>
            <a:xfrm rot="8716295">
              <a:off x="2448552" y="-16031"/>
              <a:ext cx="203847" cy="149340"/>
            </a:xfrm>
            <a:custGeom>
              <a:avLst/>
              <a:gdLst>
                <a:gd name="connsiteX0" fmla="*/ 106716 w 203847"/>
                <a:gd name="connsiteY0" fmla="*/ 149340 h 149340"/>
                <a:gd name="connsiteX1" fmla="*/ 50038 w 203847"/>
                <a:gd name="connsiteY1" fmla="*/ 110053 h 149340"/>
                <a:gd name="connsiteX2" fmla="*/ 69777 w 203847"/>
                <a:gd name="connsiteY2" fmla="*/ 55323 h 149340"/>
                <a:gd name="connsiteX3" fmla="*/ 0 w 203847"/>
                <a:gd name="connsiteY3" fmla="*/ 55323 h 149340"/>
                <a:gd name="connsiteX4" fmla="*/ 0 w 203847"/>
                <a:gd name="connsiteY4" fmla="*/ 0 h 149340"/>
                <a:gd name="connsiteX5" fmla="*/ 203847 w 203847"/>
                <a:gd name="connsiteY5" fmla="*/ 0 h 149340"/>
                <a:gd name="connsiteX6" fmla="*/ 203847 w 203847"/>
                <a:gd name="connsiteY6" fmla="*/ 55323 h 149340"/>
                <a:gd name="connsiteX7" fmla="*/ 139055 w 203847"/>
                <a:gd name="connsiteY7" fmla="*/ 55323 h 14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49340">
                  <a:moveTo>
                    <a:pt x="106716" y="149340"/>
                  </a:moveTo>
                  <a:lnTo>
                    <a:pt x="50038" y="110053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5" name="Forme libre : forme 1954">
              <a:extLst>
                <a:ext uri="{FF2B5EF4-FFF2-40B4-BE49-F238E27FC236}">
                  <a16:creationId xmlns:a16="http://schemas.microsoft.com/office/drawing/2014/main" id="{08C5FD8C-89B2-49FC-84D0-17F41609A333}"/>
                </a:ext>
              </a:extLst>
            </p:cNvPr>
            <p:cNvSpPr/>
            <p:nvPr/>
          </p:nvSpPr>
          <p:spPr>
            <a:xfrm rot="8716295">
              <a:off x="2654888" y="191290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6" name="Forme libre : forme 1955">
              <a:extLst>
                <a:ext uri="{FF2B5EF4-FFF2-40B4-BE49-F238E27FC236}">
                  <a16:creationId xmlns:a16="http://schemas.microsoft.com/office/drawing/2014/main" id="{6BFD8684-31CE-4791-ABB1-43076B0A7845}"/>
                </a:ext>
              </a:extLst>
            </p:cNvPr>
            <p:cNvSpPr/>
            <p:nvPr/>
          </p:nvSpPr>
          <p:spPr>
            <a:xfrm rot="8716295">
              <a:off x="2413437" y="41690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7" name="Forme libre : forme 1956">
              <a:extLst>
                <a:ext uri="{FF2B5EF4-FFF2-40B4-BE49-F238E27FC236}">
                  <a16:creationId xmlns:a16="http://schemas.microsoft.com/office/drawing/2014/main" id="{C161F571-B0D5-4B28-BE2F-078F2E50988C}"/>
                </a:ext>
              </a:extLst>
            </p:cNvPr>
            <p:cNvSpPr/>
            <p:nvPr/>
          </p:nvSpPr>
          <p:spPr>
            <a:xfrm rot="7484129">
              <a:off x="2759819" y="38264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8" name="Forme libre : forme 1957">
              <a:extLst>
                <a:ext uri="{FF2B5EF4-FFF2-40B4-BE49-F238E27FC236}">
                  <a16:creationId xmlns:a16="http://schemas.microsoft.com/office/drawing/2014/main" id="{B184E69F-BDC0-4CD6-B4AA-C0EA481AE5EE}"/>
                </a:ext>
              </a:extLst>
            </p:cNvPr>
            <p:cNvSpPr/>
            <p:nvPr/>
          </p:nvSpPr>
          <p:spPr>
            <a:xfrm rot="13089394">
              <a:off x="2864639" y="349175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9" name="Forme libre : forme 1958">
              <a:extLst>
                <a:ext uri="{FF2B5EF4-FFF2-40B4-BE49-F238E27FC236}">
                  <a16:creationId xmlns:a16="http://schemas.microsoft.com/office/drawing/2014/main" id="{9B2080A5-8C36-42CE-9405-38C37EFEE848}"/>
                </a:ext>
              </a:extLst>
            </p:cNvPr>
            <p:cNvSpPr/>
            <p:nvPr/>
          </p:nvSpPr>
          <p:spPr>
            <a:xfrm rot="8716295">
              <a:off x="3050224" y="157494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0" name="Forme libre : forme 1959">
              <a:extLst>
                <a:ext uri="{FF2B5EF4-FFF2-40B4-BE49-F238E27FC236}">
                  <a16:creationId xmlns:a16="http://schemas.microsoft.com/office/drawing/2014/main" id="{C29B37FA-C9D3-4881-A9EF-CB70017820D1}"/>
                </a:ext>
              </a:extLst>
            </p:cNvPr>
            <p:cNvSpPr/>
            <p:nvPr/>
          </p:nvSpPr>
          <p:spPr>
            <a:xfrm rot="8716295">
              <a:off x="2998419" y="5390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1" name="Forme libre : forme 1960">
              <a:extLst>
                <a:ext uri="{FF2B5EF4-FFF2-40B4-BE49-F238E27FC236}">
                  <a16:creationId xmlns:a16="http://schemas.microsoft.com/office/drawing/2014/main" id="{CD43208D-F797-4F3A-8F0E-C454996D1C94}"/>
                </a:ext>
              </a:extLst>
            </p:cNvPr>
            <p:cNvSpPr/>
            <p:nvPr/>
          </p:nvSpPr>
          <p:spPr>
            <a:xfrm rot="8716295">
              <a:off x="2755173" y="8412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2" name="Forme libre : forme 1961">
              <a:extLst>
                <a:ext uri="{FF2B5EF4-FFF2-40B4-BE49-F238E27FC236}">
                  <a16:creationId xmlns:a16="http://schemas.microsoft.com/office/drawing/2014/main" id="{54F15BE2-E27F-44E5-B93A-67906E77A622}"/>
                </a:ext>
              </a:extLst>
            </p:cNvPr>
            <p:cNvSpPr/>
            <p:nvPr/>
          </p:nvSpPr>
          <p:spPr>
            <a:xfrm rot="8716295">
              <a:off x="2940014" y="-28690"/>
              <a:ext cx="88664" cy="70660"/>
            </a:xfrm>
            <a:custGeom>
              <a:avLst/>
              <a:gdLst>
                <a:gd name="connsiteX0" fmla="*/ 83649 w 88664"/>
                <a:gd name="connsiteY0" fmla="*/ 70660 h 70660"/>
                <a:gd name="connsiteX1" fmla="*/ 0 w 88664"/>
                <a:gd name="connsiteY1" fmla="*/ 12677 h 70660"/>
                <a:gd name="connsiteX2" fmla="*/ 30024 w 88664"/>
                <a:gd name="connsiteY2" fmla="*/ 0 h 70660"/>
                <a:gd name="connsiteX3" fmla="*/ 71417 w 88664"/>
                <a:gd name="connsiteY3" fmla="*/ 17477 h 70660"/>
                <a:gd name="connsiteX4" fmla="*/ 88664 w 88664"/>
                <a:gd name="connsiteY4" fmla="*/ 58525 h 70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664" h="70660">
                  <a:moveTo>
                    <a:pt x="83649" y="70660"/>
                  </a:moveTo>
                  <a:lnTo>
                    <a:pt x="0" y="12677"/>
                  </a:lnTo>
                  <a:lnTo>
                    <a:pt x="30024" y="0"/>
                  </a:lnTo>
                  <a:cubicBezTo>
                    <a:pt x="45662" y="0"/>
                    <a:pt x="60379" y="6439"/>
                    <a:pt x="71417" y="17477"/>
                  </a:cubicBezTo>
                  <a:cubicBezTo>
                    <a:pt x="82915" y="28515"/>
                    <a:pt x="88664" y="43462"/>
                    <a:pt x="88664" y="58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3" name="Forme libre : forme 1962">
              <a:extLst>
                <a:ext uri="{FF2B5EF4-FFF2-40B4-BE49-F238E27FC236}">
                  <a16:creationId xmlns:a16="http://schemas.microsoft.com/office/drawing/2014/main" id="{A96E0022-A9CF-4F9C-9D74-6AF826262D3D}"/>
                </a:ext>
              </a:extLst>
            </p:cNvPr>
            <p:cNvSpPr/>
            <p:nvPr/>
          </p:nvSpPr>
          <p:spPr>
            <a:xfrm rot="13089394">
              <a:off x="2740820" y="-30870"/>
              <a:ext cx="73521" cy="76374"/>
            </a:xfrm>
            <a:custGeom>
              <a:avLst/>
              <a:gdLst>
                <a:gd name="connsiteX0" fmla="*/ 73521 w 73521"/>
                <a:gd name="connsiteY0" fmla="*/ 18609 h 76374"/>
                <a:gd name="connsiteX1" fmla="*/ 0 w 73521"/>
                <a:gd name="connsiteY1" fmla="*/ 76374 h 76374"/>
                <a:gd name="connsiteX2" fmla="*/ 0 w 73521"/>
                <a:gd name="connsiteY2" fmla="*/ 38074 h 76374"/>
                <a:gd name="connsiteX3" fmla="*/ 73388 w 73521"/>
                <a:gd name="connsiteY3" fmla="*/ 0 h 7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521" h="76374">
                  <a:moveTo>
                    <a:pt x="73521" y="18609"/>
                  </a:moveTo>
                  <a:lnTo>
                    <a:pt x="0" y="76374"/>
                  </a:lnTo>
                  <a:lnTo>
                    <a:pt x="0" y="38074"/>
                  </a:lnTo>
                  <a:lnTo>
                    <a:pt x="7338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4" name="Forme libre : forme 1963">
              <a:extLst>
                <a:ext uri="{FF2B5EF4-FFF2-40B4-BE49-F238E27FC236}">
                  <a16:creationId xmlns:a16="http://schemas.microsoft.com/office/drawing/2014/main" id="{6538AA74-15CD-43BC-8F1C-18881AB7F0C7}"/>
                </a:ext>
              </a:extLst>
            </p:cNvPr>
            <p:cNvSpPr/>
            <p:nvPr/>
          </p:nvSpPr>
          <p:spPr>
            <a:xfrm rot="8716295">
              <a:off x="2166753" y="273158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5" name="Forme libre : forme 1964">
              <a:extLst>
                <a:ext uri="{FF2B5EF4-FFF2-40B4-BE49-F238E27FC236}">
                  <a16:creationId xmlns:a16="http://schemas.microsoft.com/office/drawing/2014/main" id="{CD1BD058-8224-4BD3-B8B9-AEF4E4524A8C}"/>
                </a:ext>
              </a:extLst>
            </p:cNvPr>
            <p:cNvSpPr/>
            <p:nvPr/>
          </p:nvSpPr>
          <p:spPr>
            <a:xfrm rot="8716295">
              <a:off x="2256145" y="276082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6" name="Forme libre : forme 1965">
              <a:extLst>
                <a:ext uri="{FF2B5EF4-FFF2-40B4-BE49-F238E27FC236}">
                  <a16:creationId xmlns:a16="http://schemas.microsoft.com/office/drawing/2014/main" id="{71B92AA0-8C88-4128-864F-918A8A4225F3}"/>
                </a:ext>
              </a:extLst>
            </p:cNvPr>
            <p:cNvSpPr/>
            <p:nvPr/>
          </p:nvSpPr>
          <p:spPr>
            <a:xfrm rot="8716295">
              <a:off x="2211295" y="2674548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7" name="Forme libre : forme 1966">
              <a:extLst>
                <a:ext uri="{FF2B5EF4-FFF2-40B4-BE49-F238E27FC236}">
                  <a16:creationId xmlns:a16="http://schemas.microsoft.com/office/drawing/2014/main" id="{AFBC597A-A976-45D6-A00D-85892928DFA5}"/>
                </a:ext>
              </a:extLst>
            </p:cNvPr>
            <p:cNvSpPr/>
            <p:nvPr/>
          </p:nvSpPr>
          <p:spPr>
            <a:xfrm rot="8716295">
              <a:off x="2054519" y="28201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8" name="Forme libre : forme 1967">
              <a:extLst>
                <a:ext uri="{FF2B5EF4-FFF2-40B4-BE49-F238E27FC236}">
                  <a16:creationId xmlns:a16="http://schemas.microsoft.com/office/drawing/2014/main" id="{4ECD9B70-E8DE-4630-8659-622A12EC3C29}"/>
                </a:ext>
              </a:extLst>
            </p:cNvPr>
            <p:cNvSpPr/>
            <p:nvPr/>
          </p:nvSpPr>
          <p:spPr>
            <a:xfrm rot="8716295">
              <a:off x="1929616" y="261145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9" name="Forme libre : forme 1968">
              <a:extLst>
                <a:ext uri="{FF2B5EF4-FFF2-40B4-BE49-F238E27FC236}">
                  <a16:creationId xmlns:a16="http://schemas.microsoft.com/office/drawing/2014/main" id="{8DC6A858-FC43-49E0-8CDD-7C48F1A15095}"/>
                </a:ext>
              </a:extLst>
            </p:cNvPr>
            <p:cNvSpPr/>
            <p:nvPr/>
          </p:nvSpPr>
          <p:spPr>
            <a:xfrm rot="8716295">
              <a:off x="1917564" y="2472677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0" name="Forme libre : forme 1969">
              <a:extLst>
                <a:ext uri="{FF2B5EF4-FFF2-40B4-BE49-F238E27FC236}">
                  <a16:creationId xmlns:a16="http://schemas.microsoft.com/office/drawing/2014/main" id="{D72AFDB1-B1E3-4297-8283-8D4E9CD1E2D9}"/>
                </a:ext>
              </a:extLst>
            </p:cNvPr>
            <p:cNvSpPr/>
            <p:nvPr/>
          </p:nvSpPr>
          <p:spPr>
            <a:xfrm rot="8716295">
              <a:off x="2144697" y="2861082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1" name="Forme libre : forme 1970">
              <a:extLst>
                <a:ext uri="{FF2B5EF4-FFF2-40B4-BE49-F238E27FC236}">
                  <a16:creationId xmlns:a16="http://schemas.microsoft.com/office/drawing/2014/main" id="{505B528E-46CB-4331-B3F1-621BFE8D2CF5}"/>
                </a:ext>
              </a:extLst>
            </p:cNvPr>
            <p:cNvSpPr/>
            <p:nvPr/>
          </p:nvSpPr>
          <p:spPr>
            <a:xfrm rot="8716295">
              <a:off x="2455852" y="248143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2" name="Forme libre : forme 1971">
              <a:extLst>
                <a:ext uri="{FF2B5EF4-FFF2-40B4-BE49-F238E27FC236}">
                  <a16:creationId xmlns:a16="http://schemas.microsoft.com/office/drawing/2014/main" id="{F6731AFD-9029-4A47-8A04-F3D470338302}"/>
                </a:ext>
              </a:extLst>
            </p:cNvPr>
            <p:cNvSpPr/>
            <p:nvPr/>
          </p:nvSpPr>
          <p:spPr>
            <a:xfrm rot="8716295">
              <a:off x="2545244" y="251067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3" name="Forme libre : forme 1972">
              <a:extLst>
                <a:ext uri="{FF2B5EF4-FFF2-40B4-BE49-F238E27FC236}">
                  <a16:creationId xmlns:a16="http://schemas.microsoft.com/office/drawing/2014/main" id="{3EABB06A-3009-47CC-BE66-961590C5E393}"/>
                </a:ext>
              </a:extLst>
            </p:cNvPr>
            <p:cNvSpPr/>
            <p:nvPr/>
          </p:nvSpPr>
          <p:spPr>
            <a:xfrm rot="8716295">
              <a:off x="2343618" y="256997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4" name="Forme libre : forme 1973">
              <a:extLst>
                <a:ext uri="{FF2B5EF4-FFF2-40B4-BE49-F238E27FC236}">
                  <a16:creationId xmlns:a16="http://schemas.microsoft.com/office/drawing/2014/main" id="{BF54C594-EF8A-46E9-84BB-8BE19279F834}"/>
                </a:ext>
              </a:extLst>
            </p:cNvPr>
            <p:cNvSpPr/>
            <p:nvPr/>
          </p:nvSpPr>
          <p:spPr>
            <a:xfrm rot="8716295">
              <a:off x="2218716" y="236130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5" name="Forme libre : forme 1974">
              <a:extLst>
                <a:ext uri="{FF2B5EF4-FFF2-40B4-BE49-F238E27FC236}">
                  <a16:creationId xmlns:a16="http://schemas.microsoft.com/office/drawing/2014/main" id="{5380C4F6-A63E-4D68-92F1-66B1BF7EBE8E}"/>
                </a:ext>
              </a:extLst>
            </p:cNvPr>
            <p:cNvSpPr/>
            <p:nvPr/>
          </p:nvSpPr>
          <p:spPr>
            <a:xfrm rot="8716295">
              <a:off x="2433796" y="2610930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6" name="Forme libre : forme 1975">
              <a:extLst>
                <a:ext uri="{FF2B5EF4-FFF2-40B4-BE49-F238E27FC236}">
                  <a16:creationId xmlns:a16="http://schemas.microsoft.com/office/drawing/2014/main" id="{49BE900B-BC94-49D1-B693-560BFF27480F}"/>
                </a:ext>
              </a:extLst>
            </p:cNvPr>
            <p:cNvSpPr/>
            <p:nvPr/>
          </p:nvSpPr>
          <p:spPr>
            <a:xfrm rot="8716295">
              <a:off x="2192345" y="2461330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7" name="Forme libre : forme 1976">
              <a:extLst>
                <a:ext uri="{FF2B5EF4-FFF2-40B4-BE49-F238E27FC236}">
                  <a16:creationId xmlns:a16="http://schemas.microsoft.com/office/drawing/2014/main" id="{262BF73E-61CD-473B-BB9A-69825B24DD0D}"/>
                </a:ext>
              </a:extLst>
            </p:cNvPr>
            <p:cNvSpPr/>
            <p:nvPr/>
          </p:nvSpPr>
          <p:spPr>
            <a:xfrm rot="7484129">
              <a:off x="2538727" y="280228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8" name="Forme libre : forme 1977">
              <a:extLst>
                <a:ext uri="{FF2B5EF4-FFF2-40B4-BE49-F238E27FC236}">
                  <a16:creationId xmlns:a16="http://schemas.microsoft.com/office/drawing/2014/main" id="{CCF245C0-F7BF-4D01-8D8F-EAE62FF31873}"/>
                </a:ext>
              </a:extLst>
            </p:cNvPr>
            <p:cNvSpPr/>
            <p:nvPr/>
          </p:nvSpPr>
          <p:spPr>
            <a:xfrm rot="13089394">
              <a:off x="2643547" y="2768815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9" name="Forme libre : forme 1978">
              <a:extLst>
                <a:ext uri="{FF2B5EF4-FFF2-40B4-BE49-F238E27FC236}">
                  <a16:creationId xmlns:a16="http://schemas.microsoft.com/office/drawing/2014/main" id="{4AFE70E3-9BF6-4E6F-AFD4-7B005F059737}"/>
                </a:ext>
              </a:extLst>
            </p:cNvPr>
            <p:cNvSpPr/>
            <p:nvPr/>
          </p:nvSpPr>
          <p:spPr>
            <a:xfrm rot="8716295">
              <a:off x="2829132" y="2577134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0" name="Forme libre : forme 1979">
              <a:extLst>
                <a:ext uri="{FF2B5EF4-FFF2-40B4-BE49-F238E27FC236}">
                  <a16:creationId xmlns:a16="http://schemas.microsoft.com/office/drawing/2014/main" id="{690B1DAA-4E18-495A-9F96-0ECAB197F10A}"/>
                </a:ext>
              </a:extLst>
            </p:cNvPr>
            <p:cNvSpPr/>
            <p:nvPr/>
          </p:nvSpPr>
          <p:spPr>
            <a:xfrm rot="8716295">
              <a:off x="2777327" y="247354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1" name="Forme libre : forme 1980">
              <a:extLst>
                <a:ext uri="{FF2B5EF4-FFF2-40B4-BE49-F238E27FC236}">
                  <a16:creationId xmlns:a16="http://schemas.microsoft.com/office/drawing/2014/main" id="{695EC0C0-C4AF-4594-95DE-46C3AB675826}"/>
                </a:ext>
              </a:extLst>
            </p:cNvPr>
            <p:cNvSpPr/>
            <p:nvPr/>
          </p:nvSpPr>
          <p:spPr>
            <a:xfrm rot="8716295">
              <a:off x="2534081" y="250376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2" name="Forme libre : forme 1981">
              <a:extLst>
                <a:ext uri="{FF2B5EF4-FFF2-40B4-BE49-F238E27FC236}">
                  <a16:creationId xmlns:a16="http://schemas.microsoft.com/office/drawing/2014/main" id="{F97B452C-1EC8-451F-A07D-6DDB8CECEB39}"/>
                </a:ext>
              </a:extLst>
            </p:cNvPr>
            <p:cNvSpPr/>
            <p:nvPr/>
          </p:nvSpPr>
          <p:spPr>
            <a:xfrm rot="8716295">
              <a:off x="2711533" y="234452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3" name="Forme libre : forme 1982">
              <a:extLst>
                <a:ext uri="{FF2B5EF4-FFF2-40B4-BE49-F238E27FC236}">
                  <a16:creationId xmlns:a16="http://schemas.microsoft.com/office/drawing/2014/main" id="{7DE13715-75C0-4A68-AFA3-7EF2AC26078A}"/>
                </a:ext>
              </a:extLst>
            </p:cNvPr>
            <p:cNvSpPr/>
            <p:nvPr/>
          </p:nvSpPr>
          <p:spPr>
            <a:xfrm rot="8716295">
              <a:off x="2389920" y="339128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4" name="Forme libre : forme 1983">
              <a:extLst>
                <a:ext uri="{FF2B5EF4-FFF2-40B4-BE49-F238E27FC236}">
                  <a16:creationId xmlns:a16="http://schemas.microsoft.com/office/drawing/2014/main" id="{BF89118D-2CBC-4115-AC55-B8972D0566E5}"/>
                </a:ext>
              </a:extLst>
            </p:cNvPr>
            <p:cNvSpPr/>
            <p:nvPr/>
          </p:nvSpPr>
          <p:spPr>
            <a:xfrm rot="8716295">
              <a:off x="2479312" y="342052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5" name="Forme libre : forme 1984">
              <a:extLst>
                <a:ext uri="{FF2B5EF4-FFF2-40B4-BE49-F238E27FC236}">
                  <a16:creationId xmlns:a16="http://schemas.microsoft.com/office/drawing/2014/main" id="{1C6B7E42-8529-4CE4-9AD7-D33B3648E154}"/>
                </a:ext>
              </a:extLst>
            </p:cNvPr>
            <p:cNvSpPr/>
            <p:nvPr/>
          </p:nvSpPr>
          <p:spPr>
            <a:xfrm rot="8716295">
              <a:off x="2434462" y="333424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6" name="Forme libre : forme 1985">
              <a:extLst>
                <a:ext uri="{FF2B5EF4-FFF2-40B4-BE49-F238E27FC236}">
                  <a16:creationId xmlns:a16="http://schemas.microsoft.com/office/drawing/2014/main" id="{627E7B88-7C72-442E-8BF5-D4EBDCCB1792}"/>
                </a:ext>
              </a:extLst>
            </p:cNvPr>
            <p:cNvSpPr/>
            <p:nvPr/>
          </p:nvSpPr>
          <p:spPr>
            <a:xfrm rot="8716295">
              <a:off x="2277686" y="347982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7" name="Forme libre : forme 1986">
              <a:extLst>
                <a:ext uri="{FF2B5EF4-FFF2-40B4-BE49-F238E27FC236}">
                  <a16:creationId xmlns:a16="http://schemas.microsoft.com/office/drawing/2014/main" id="{23C30735-EB82-41C0-BEBF-A1C50DE34299}"/>
                </a:ext>
              </a:extLst>
            </p:cNvPr>
            <p:cNvSpPr/>
            <p:nvPr/>
          </p:nvSpPr>
          <p:spPr>
            <a:xfrm rot="8716295">
              <a:off x="2152783" y="327115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8" name="Forme libre : forme 1987">
              <a:extLst>
                <a:ext uri="{FF2B5EF4-FFF2-40B4-BE49-F238E27FC236}">
                  <a16:creationId xmlns:a16="http://schemas.microsoft.com/office/drawing/2014/main" id="{7FF5D6D5-D7D9-4064-AA83-8FB4E8FC29EF}"/>
                </a:ext>
              </a:extLst>
            </p:cNvPr>
            <p:cNvSpPr/>
            <p:nvPr/>
          </p:nvSpPr>
          <p:spPr>
            <a:xfrm rot="8716295">
              <a:off x="2140731" y="313237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9" name="Forme libre : forme 1988">
              <a:extLst>
                <a:ext uri="{FF2B5EF4-FFF2-40B4-BE49-F238E27FC236}">
                  <a16:creationId xmlns:a16="http://schemas.microsoft.com/office/drawing/2014/main" id="{07BB3D21-1AF0-4DC6-9196-AECA69A4B5D6}"/>
                </a:ext>
              </a:extLst>
            </p:cNvPr>
            <p:cNvSpPr/>
            <p:nvPr/>
          </p:nvSpPr>
          <p:spPr>
            <a:xfrm rot="8716295">
              <a:off x="2367864" y="352078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0" name="Forme libre : forme 1989">
              <a:extLst>
                <a:ext uri="{FF2B5EF4-FFF2-40B4-BE49-F238E27FC236}">
                  <a16:creationId xmlns:a16="http://schemas.microsoft.com/office/drawing/2014/main" id="{1C4A8735-C57A-4935-AFC7-2176AF8D4417}"/>
                </a:ext>
              </a:extLst>
            </p:cNvPr>
            <p:cNvSpPr/>
            <p:nvPr/>
          </p:nvSpPr>
          <p:spPr>
            <a:xfrm rot="8716295">
              <a:off x="2679019" y="314113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1" name="Forme libre : forme 1990">
              <a:extLst>
                <a:ext uri="{FF2B5EF4-FFF2-40B4-BE49-F238E27FC236}">
                  <a16:creationId xmlns:a16="http://schemas.microsoft.com/office/drawing/2014/main" id="{D2EFDA7C-C0DA-4517-B39F-8AA29A37F871}"/>
                </a:ext>
              </a:extLst>
            </p:cNvPr>
            <p:cNvSpPr/>
            <p:nvPr/>
          </p:nvSpPr>
          <p:spPr>
            <a:xfrm rot="8716295">
              <a:off x="2768411" y="317037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2" name="Forme libre : forme 1991">
              <a:extLst>
                <a:ext uri="{FF2B5EF4-FFF2-40B4-BE49-F238E27FC236}">
                  <a16:creationId xmlns:a16="http://schemas.microsoft.com/office/drawing/2014/main" id="{9E2A10CA-68B2-4C68-BA6C-C3E1F2D27D89}"/>
                </a:ext>
              </a:extLst>
            </p:cNvPr>
            <p:cNvSpPr/>
            <p:nvPr/>
          </p:nvSpPr>
          <p:spPr>
            <a:xfrm rot="8716295">
              <a:off x="2566785" y="322967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3" name="Forme libre : forme 1992">
              <a:extLst>
                <a:ext uri="{FF2B5EF4-FFF2-40B4-BE49-F238E27FC236}">
                  <a16:creationId xmlns:a16="http://schemas.microsoft.com/office/drawing/2014/main" id="{3F7AB8ED-356B-4D46-8FC5-6AE0991600DC}"/>
                </a:ext>
              </a:extLst>
            </p:cNvPr>
            <p:cNvSpPr/>
            <p:nvPr/>
          </p:nvSpPr>
          <p:spPr>
            <a:xfrm rot="8716295">
              <a:off x="2441883" y="302100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4" name="Forme libre : forme 1993">
              <a:extLst>
                <a:ext uri="{FF2B5EF4-FFF2-40B4-BE49-F238E27FC236}">
                  <a16:creationId xmlns:a16="http://schemas.microsoft.com/office/drawing/2014/main" id="{0667F8A9-A3D6-4CD1-A62C-AB95858D3D97}"/>
                </a:ext>
              </a:extLst>
            </p:cNvPr>
            <p:cNvSpPr/>
            <p:nvPr/>
          </p:nvSpPr>
          <p:spPr>
            <a:xfrm rot="8716295">
              <a:off x="2656963" y="327062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5" name="Forme libre : forme 1994">
              <a:extLst>
                <a:ext uri="{FF2B5EF4-FFF2-40B4-BE49-F238E27FC236}">
                  <a16:creationId xmlns:a16="http://schemas.microsoft.com/office/drawing/2014/main" id="{A540D1F3-372D-4344-A9BE-E8429D9DAC50}"/>
                </a:ext>
              </a:extLst>
            </p:cNvPr>
            <p:cNvSpPr/>
            <p:nvPr/>
          </p:nvSpPr>
          <p:spPr>
            <a:xfrm rot="8716295">
              <a:off x="2415512" y="312102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6" name="Forme libre : forme 1995">
              <a:extLst>
                <a:ext uri="{FF2B5EF4-FFF2-40B4-BE49-F238E27FC236}">
                  <a16:creationId xmlns:a16="http://schemas.microsoft.com/office/drawing/2014/main" id="{F76BD59F-FFC1-4CE1-8C41-23CB9C2F9B51}"/>
                </a:ext>
              </a:extLst>
            </p:cNvPr>
            <p:cNvSpPr/>
            <p:nvPr/>
          </p:nvSpPr>
          <p:spPr>
            <a:xfrm rot="7484129">
              <a:off x="2761894" y="346198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7" name="Forme libre : forme 1996">
              <a:extLst>
                <a:ext uri="{FF2B5EF4-FFF2-40B4-BE49-F238E27FC236}">
                  <a16:creationId xmlns:a16="http://schemas.microsoft.com/office/drawing/2014/main" id="{CFD91B65-FE62-43E9-86AA-168C08A898C5}"/>
                </a:ext>
              </a:extLst>
            </p:cNvPr>
            <p:cNvSpPr/>
            <p:nvPr/>
          </p:nvSpPr>
          <p:spPr>
            <a:xfrm rot="13089394">
              <a:off x="2866714" y="342851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8" name="Forme libre : forme 1997">
              <a:extLst>
                <a:ext uri="{FF2B5EF4-FFF2-40B4-BE49-F238E27FC236}">
                  <a16:creationId xmlns:a16="http://schemas.microsoft.com/office/drawing/2014/main" id="{ABDB9D07-6990-4038-B361-E68047E03370}"/>
                </a:ext>
              </a:extLst>
            </p:cNvPr>
            <p:cNvSpPr/>
            <p:nvPr/>
          </p:nvSpPr>
          <p:spPr>
            <a:xfrm rot="8716295">
              <a:off x="3052299" y="323683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9" name="Forme libre : forme 1998">
              <a:extLst>
                <a:ext uri="{FF2B5EF4-FFF2-40B4-BE49-F238E27FC236}">
                  <a16:creationId xmlns:a16="http://schemas.microsoft.com/office/drawing/2014/main" id="{9E209DF9-C02A-427A-982B-D70411DD7FC6}"/>
                </a:ext>
              </a:extLst>
            </p:cNvPr>
            <p:cNvSpPr/>
            <p:nvPr/>
          </p:nvSpPr>
          <p:spPr>
            <a:xfrm rot="8716295">
              <a:off x="3000494" y="313324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0" name="Forme libre : forme 1999">
              <a:extLst>
                <a:ext uri="{FF2B5EF4-FFF2-40B4-BE49-F238E27FC236}">
                  <a16:creationId xmlns:a16="http://schemas.microsoft.com/office/drawing/2014/main" id="{0816D569-EC61-48BE-ADD6-D76200607819}"/>
                </a:ext>
              </a:extLst>
            </p:cNvPr>
            <p:cNvSpPr/>
            <p:nvPr/>
          </p:nvSpPr>
          <p:spPr>
            <a:xfrm rot="8716295">
              <a:off x="2757248" y="316346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1" name="Forme libre : forme 2000">
              <a:extLst>
                <a:ext uri="{FF2B5EF4-FFF2-40B4-BE49-F238E27FC236}">
                  <a16:creationId xmlns:a16="http://schemas.microsoft.com/office/drawing/2014/main" id="{754B7186-FE18-4821-86FB-CFDCD573AE03}"/>
                </a:ext>
              </a:extLst>
            </p:cNvPr>
            <p:cNvSpPr/>
            <p:nvPr/>
          </p:nvSpPr>
          <p:spPr>
            <a:xfrm rot="8716295">
              <a:off x="2934700" y="300421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2" name="Forme libre : forme 2001">
              <a:extLst>
                <a:ext uri="{FF2B5EF4-FFF2-40B4-BE49-F238E27FC236}">
                  <a16:creationId xmlns:a16="http://schemas.microsoft.com/office/drawing/2014/main" id="{FBC27CB7-DE80-4996-AF2F-0748F399B9D0}"/>
                </a:ext>
              </a:extLst>
            </p:cNvPr>
            <p:cNvSpPr/>
            <p:nvPr/>
          </p:nvSpPr>
          <p:spPr>
            <a:xfrm rot="8716295">
              <a:off x="2865744" y="5089178"/>
              <a:ext cx="140009" cy="103412"/>
            </a:xfrm>
            <a:custGeom>
              <a:avLst/>
              <a:gdLst>
                <a:gd name="connsiteX0" fmla="*/ 23004 w 140009"/>
                <a:gd name="connsiteY0" fmla="*/ 73821 h 103412"/>
                <a:gd name="connsiteX1" fmla="*/ 2853 w 140009"/>
                <a:gd name="connsiteY1" fmla="*/ 34034 h 103412"/>
                <a:gd name="connsiteX2" fmla="*/ 0 w 140009"/>
                <a:gd name="connsiteY2" fmla="*/ 0 h 103412"/>
                <a:gd name="connsiteX3" fmla="*/ 140009 w 140009"/>
                <a:gd name="connsiteY3" fmla="*/ 97050 h 103412"/>
                <a:gd name="connsiteX4" fmla="*/ 137354 w 140009"/>
                <a:gd name="connsiteY4" fmla="*/ 97759 h 103412"/>
                <a:gd name="connsiteX5" fmla="*/ 95370 w 140009"/>
                <a:gd name="connsiteY5" fmla="*/ 103238 h 103412"/>
                <a:gd name="connsiteX6" fmla="*/ 23004 w 140009"/>
                <a:gd name="connsiteY6" fmla="*/ 73821 h 103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0009" h="103412">
                  <a:moveTo>
                    <a:pt x="23004" y="73821"/>
                  </a:moveTo>
                  <a:cubicBezTo>
                    <a:pt x="13002" y="64113"/>
                    <a:pt x="6677" y="50875"/>
                    <a:pt x="2853" y="34034"/>
                  </a:cubicBezTo>
                  <a:lnTo>
                    <a:pt x="0" y="0"/>
                  </a:lnTo>
                  <a:lnTo>
                    <a:pt x="140009" y="97050"/>
                  </a:lnTo>
                  <a:lnTo>
                    <a:pt x="137354" y="97759"/>
                  </a:lnTo>
                  <a:cubicBezTo>
                    <a:pt x="121846" y="100775"/>
                    <a:pt x="107579" y="102502"/>
                    <a:pt x="95370" y="103238"/>
                  </a:cubicBezTo>
                  <a:cubicBezTo>
                    <a:pt x="68307" y="105003"/>
                    <a:pt x="41831" y="93236"/>
                    <a:pt x="23004" y="7382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3" name="Forme libre : forme 2002">
              <a:extLst>
                <a:ext uri="{FF2B5EF4-FFF2-40B4-BE49-F238E27FC236}">
                  <a16:creationId xmlns:a16="http://schemas.microsoft.com/office/drawing/2014/main" id="{FC34D642-1FF4-4BEB-9F05-423F26B37AFF}"/>
                </a:ext>
              </a:extLst>
            </p:cNvPr>
            <p:cNvSpPr/>
            <p:nvPr/>
          </p:nvSpPr>
          <p:spPr>
            <a:xfrm rot="8716295">
              <a:off x="3543190" y="5126545"/>
              <a:ext cx="17522" cy="24091"/>
            </a:xfrm>
            <a:custGeom>
              <a:avLst/>
              <a:gdLst>
                <a:gd name="connsiteX0" fmla="*/ 0 w 17522"/>
                <a:gd name="connsiteY0" fmla="*/ 24091 h 24091"/>
                <a:gd name="connsiteX1" fmla="*/ 1 w 17522"/>
                <a:gd name="connsiteY1" fmla="*/ 0 h 24091"/>
                <a:gd name="connsiteX2" fmla="*/ 17522 w 17522"/>
                <a:gd name="connsiteY2" fmla="*/ 12145 h 24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522" h="24091">
                  <a:moveTo>
                    <a:pt x="0" y="24091"/>
                  </a:moveTo>
                  <a:lnTo>
                    <a:pt x="1" y="0"/>
                  </a:lnTo>
                  <a:lnTo>
                    <a:pt x="17522" y="1214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4" name="Forme libre : forme 2003">
              <a:extLst>
                <a:ext uri="{FF2B5EF4-FFF2-40B4-BE49-F238E27FC236}">
                  <a16:creationId xmlns:a16="http://schemas.microsoft.com/office/drawing/2014/main" id="{D14CA223-64E0-41AF-9A9C-EBE4113F2FFF}"/>
                </a:ext>
              </a:extLst>
            </p:cNvPr>
            <p:cNvSpPr/>
            <p:nvPr/>
          </p:nvSpPr>
          <p:spPr>
            <a:xfrm rot="8716295">
              <a:off x="3163011" y="4980512"/>
              <a:ext cx="135472" cy="195874"/>
            </a:xfrm>
            <a:custGeom>
              <a:avLst/>
              <a:gdLst>
                <a:gd name="connsiteX0" fmla="*/ 90710 w 135472"/>
                <a:gd name="connsiteY0" fmla="*/ 195874 h 195874"/>
                <a:gd name="connsiteX1" fmla="*/ 47847 w 135472"/>
                <a:gd name="connsiteY1" fmla="*/ 116129 h 195874"/>
                <a:gd name="connsiteX2" fmla="*/ 69777 w 135472"/>
                <a:gd name="connsiteY2" fmla="*/ 55323 h 195874"/>
                <a:gd name="connsiteX3" fmla="*/ 0 w 135472"/>
                <a:gd name="connsiteY3" fmla="*/ 55323 h 195874"/>
                <a:gd name="connsiteX4" fmla="*/ 0 w 135472"/>
                <a:gd name="connsiteY4" fmla="*/ 0 h 195874"/>
                <a:gd name="connsiteX5" fmla="*/ 40633 w 135472"/>
                <a:gd name="connsiteY5" fmla="*/ 0 h 195874"/>
                <a:gd name="connsiteX6" fmla="*/ 135472 w 135472"/>
                <a:gd name="connsiteY6" fmla="*/ 65739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472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40633" y="0"/>
                  </a:lnTo>
                  <a:lnTo>
                    <a:pt x="135472" y="657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5" name="Forme libre : forme 2004">
              <a:extLst>
                <a:ext uri="{FF2B5EF4-FFF2-40B4-BE49-F238E27FC236}">
                  <a16:creationId xmlns:a16="http://schemas.microsoft.com/office/drawing/2014/main" id="{513E0836-7C56-4736-B55C-909FB1DE7F5E}"/>
                </a:ext>
              </a:extLst>
            </p:cNvPr>
            <p:cNvSpPr/>
            <p:nvPr/>
          </p:nvSpPr>
          <p:spPr>
            <a:xfrm rot="8716295">
              <a:off x="3075185" y="5096420"/>
              <a:ext cx="71527" cy="66237"/>
            </a:xfrm>
            <a:custGeom>
              <a:avLst/>
              <a:gdLst>
                <a:gd name="connsiteX0" fmla="*/ 11471 w 71527"/>
                <a:gd name="connsiteY0" fmla="*/ 55370 h 66237"/>
                <a:gd name="connsiteX1" fmla="*/ 0 w 71527"/>
                <a:gd name="connsiteY1" fmla="*/ 28202 h 66237"/>
                <a:gd name="connsiteX2" fmla="*/ 0 w 71527"/>
                <a:gd name="connsiteY2" fmla="*/ 27599 h 66237"/>
                <a:gd name="connsiteX3" fmla="*/ 11471 w 71527"/>
                <a:gd name="connsiteY3" fmla="*/ 431 h 66237"/>
                <a:gd name="connsiteX4" fmla="*/ 12491 w 71527"/>
                <a:gd name="connsiteY4" fmla="*/ 0 h 66237"/>
                <a:gd name="connsiteX5" fmla="*/ 71527 w 71527"/>
                <a:gd name="connsiteY5" fmla="*/ 40922 h 66237"/>
                <a:gd name="connsiteX6" fmla="*/ 65806 w 71527"/>
                <a:gd name="connsiteY6" fmla="*/ 54766 h 66237"/>
                <a:gd name="connsiteX7" fmla="*/ 38638 w 71527"/>
                <a:gd name="connsiteY7" fmla="*/ 66237 h 66237"/>
                <a:gd name="connsiteX8" fmla="*/ 11471 w 71527"/>
                <a:gd name="connsiteY8" fmla="*/ 55370 h 66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527" h="66237">
                  <a:moveTo>
                    <a:pt x="11471" y="55370"/>
                  </a:moveTo>
                  <a:cubicBezTo>
                    <a:pt x="4226" y="48125"/>
                    <a:pt x="0" y="38465"/>
                    <a:pt x="0" y="28202"/>
                  </a:cubicBezTo>
                  <a:lnTo>
                    <a:pt x="0" y="27599"/>
                  </a:lnTo>
                  <a:cubicBezTo>
                    <a:pt x="0" y="17335"/>
                    <a:pt x="4226" y="7676"/>
                    <a:pt x="11471" y="431"/>
                  </a:cubicBezTo>
                  <a:lnTo>
                    <a:pt x="12491" y="0"/>
                  </a:lnTo>
                  <a:lnTo>
                    <a:pt x="71527" y="40922"/>
                  </a:lnTo>
                  <a:lnTo>
                    <a:pt x="65806" y="54766"/>
                  </a:lnTo>
                  <a:cubicBezTo>
                    <a:pt x="58561" y="62011"/>
                    <a:pt x="48902" y="66237"/>
                    <a:pt x="38638" y="66237"/>
                  </a:cubicBezTo>
                  <a:cubicBezTo>
                    <a:pt x="28375" y="66237"/>
                    <a:pt x="18716" y="62614"/>
                    <a:pt x="11471" y="55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6" name="Forme libre : forme 2005">
              <a:extLst>
                <a:ext uri="{FF2B5EF4-FFF2-40B4-BE49-F238E27FC236}">
                  <a16:creationId xmlns:a16="http://schemas.microsoft.com/office/drawing/2014/main" id="{1D0766CB-D2AF-47CF-8AD9-42DA34AEC513}"/>
                </a:ext>
              </a:extLst>
            </p:cNvPr>
            <p:cNvSpPr/>
            <p:nvPr/>
          </p:nvSpPr>
          <p:spPr>
            <a:xfrm rot="8716295">
              <a:off x="3669562" y="5103164"/>
              <a:ext cx="86480" cy="68720"/>
            </a:xfrm>
            <a:custGeom>
              <a:avLst/>
              <a:gdLst>
                <a:gd name="connsiteX0" fmla="*/ 17477 w 86480"/>
                <a:gd name="connsiteY0" fmla="*/ 52162 h 68720"/>
                <a:gd name="connsiteX1" fmla="*/ 0 w 86480"/>
                <a:gd name="connsiteY1" fmla="*/ 10771 h 68720"/>
                <a:gd name="connsiteX2" fmla="*/ 0 w 86480"/>
                <a:gd name="connsiteY2" fmla="*/ 9850 h 68720"/>
                <a:gd name="connsiteX3" fmla="*/ 4159 w 86480"/>
                <a:gd name="connsiteY3" fmla="*/ 0 h 68720"/>
                <a:gd name="connsiteX4" fmla="*/ 86480 w 86480"/>
                <a:gd name="connsiteY4" fmla="*/ 57062 h 68720"/>
                <a:gd name="connsiteX5" fmla="*/ 58869 w 86480"/>
                <a:gd name="connsiteY5" fmla="*/ 68720 h 68720"/>
                <a:gd name="connsiteX6" fmla="*/ 17477 w 86480"/>
                <a:gd name="connsiteY6" fmla="*/ 52162 h 68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6480" h="68720">
                  <a:moveTo>
                    <a:pt x="17477" y="52162"/>
                  </a:moveTo>
                  <a:cubicBezTo>
                    <a:pt x="6439" y="41124"/>
                    <a:pt x="0" y="26407"/>
                    <a:pt x="0" y="10771"/>
                  </a:cubicBezTo>
                  <a:lnTo>
                    <a:pt x="0" y="9850"/>
                  </a:lnTo>
                  <a:lnTo>
                    <a:pt x="4159" y="0"/>
                  </a:lnTo>
                  <a:lnTo>
                    <a:pt x="86480" y="57062"/>
                  </a:lnTo>
                  <a:lnTo>
                    <a:pt x="58869" y="68720"/>
                  </a:lnTo>
                  <a:cubicBezTo>
                    <a:pt x="43232" y="68720"/>
                    <a:pt x="28516" y="63201"/>
                    <a:pt x="17477" y="5216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7" name="Forme libre : forme 2006">
              <a:extLst>
                <a:ext uri="{FF2B5EF4-FFF2-40B4-BE49-F238E27FC236}">
                  <a16:creationId xmlns:a16="http://schemas.microsoft.com/office/drawing/2014/main" id="{75D179FB-7542-44F2-B462-1CA040B3A61D}"/>
                </a:ext>
              </a:extLst>
            </p:cNvPr>
            <p:cNvSpPr/>
            <p:nvPr/>
          </p:nvSpPr>
          <p:spPr>
            <a:xfrm rot="8716295">
              <a:off x="3598055" y="498328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8" name="Forme libre : forme 2007">
              <a:extLst>
                <a:ext uri="{FF2B5EF4-FFF2-40B4-BE49-F238E27FC236}">
                  <a16:creationId xmlns:a16="http://schemas.microsoft.com/office/drawing/2014/main" id="{66DEB414-FFEC-4800-B8DC-149EC3D26B06}"/>
                </a:ext>
              </a:extLst>
            </p:cNvPr>
            <p:cNvSpPr/>
            <p:nvPr/>
          </p:nvSpPr>
          <p:spPr>
            <a:xfrm rot="8716295">
              <a:off x="2608590" y="404968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9" name="Forme libre : forme 2008">
              <a:extLst>
                <a:ext uri="{FF2B5EF4-FFF2-40B4-BE49-F238E27FC236}">
                  <a16:creationId xmlns:a16="http://schemas.microsoft.com/office/drawing/2014/main" id="{8BB6B1A3-DAB2-4452-ADE2-A05800A3707A}"/>
                </a:ext>
              </a:extLst>
            </p:cNvPr>
            <p:cNvSpPr/>
            <p:nvPr/>
          </p:nvSpPr>
          <p:spPr>
            <a:xfrm rot="8716295">
              <a:off x="2697982" y="407892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0" name="Forme libre : forme 2009">
              <a:extLst>
                <a:ext uri="{FF2B5EF4-FFF2-40B4-BE49-F238E27FC236}">
                  <a16:creationId xmlns:a16="http://schemas.microsoft.com/office/drawing/2014/main" id="{A805B39B-757C-40B3-9D31-DFFF22EBA5CA}"/>
                </a:ext>
              </a:extLst>
            </p:cNvPr>
            <p:cNvSpPr/>
            <p:nvPr/>
          </p:nvSpPr>
          <p:spPr>
            <a:xfrm rot="8716295">
              <a:off x="2653132" y="399264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1" name="Forme libre : forme 2010">
              <a:extLst>
                <a:ext uri="{FF2B5EF4-FFF2-40B4-BE49-F238E27FC236}">
                  <a16:creationId xmlns:a16="http://schemas.microsoft.com/office/drawing/2014/main" id="{62D6EFC1-7ABC-4CF6-9962-40B0CA7DF8A9}"/>
                </a:ext>
              </a:extLst>
            </p:cNvPr>
            <p:cNvSpPr/>
            <p:nvPr/>
          </p:nvSpPr>
          <p:spPr>
            <a:xfrm rot="8716295">
              <a:off x="2496356" y="413822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2" name="Forme libre : forme 2011">
              <a:extLst>
                <a:ext uri="{FF2B5EF4-FFF2-40B4-BE49-F238E27FC236}">
                  <a16:creationId xmlns:a16="http://schemas.microsoft.com/office/drawing/2014/main" id="{529496F8-2EED-482E-99E3-1BCB5EE5585B}"/>
                </a:ext>
              </a:extLst>
            </p:cNvPr>
            <p:cNvSpPr/>
            <p:nvPr/>
          </p:nvSpPr>
          <p:spPr>
            <a:xfrm rot="8716295">
              <a:off x="2371453" y="392955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3" name="Forme libre : forme 2012">
              <a:extLst>
                <a:ext uri="{FF2B5EF4-FFF2-40B4-BE49-F238E27FC236}">
                  <a16:creationId xmlns:a16="http://schemas.microsoft.com/office/drawing/2014/main" id="{F8D2DD7F-D920-4C6F-BDCE-E0D8665E0076}"/>
                </a:ext>
              </a:extLst>
            </p:cNvPr>
            <p:cNvSpPr/>
            <p:nvPr/>
          </p:nvSpPr>
          <p:spPr>
            <a:xfrm rot="8716295">
              <a:off x="2359401" y="379077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4" name="Forme libre : forme 2013">
              <a:extLst>
                <a:ext uri="{FF2B5EF4-FFF2-40B4-BE49-F238E27FC236}">
                  <a16:creationId xmlns:a16="http://schemas.microsoft.com/office/drawing/2014/main" id="{B1DDFBEC-2422-4F95-B394-0CDEBBB8444C}"/>
                </a:ext>
              </a:extLst>
            </p:cNvPr>
            <p:cNvSpPr/>
            <p:nvPr/>
          </p:nvSpPr>
          <p:spPr>
            <a:xfrm rot="8716295">
              <a:off x="2586534" y="417917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5" name="Forme libre : forme 2014">
              <a:extLst>
                <a:ext uri="{FF2B5EF4-FFF2-40B4-BE49-F238E27FC236}">
                  <a16:creationId xmlns:a16="http://schemas.microsoft.com/office/drawing/2014/main" id="{769AC63A-D399-4F6F-B5A6-18B9EEEAF8DE}"/>
                </a:ext>
              </a:extLst>
            </p:cNvPr>
            <p:cNvSpPr/>
            <p:nvPr/>
          </p:nvSpPr>
          <p:spPr>
            <a:xfrm rot="8716295">
              <a:off x="2897689" y="379952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6" name="Forme libre : forme 2015">
              <a:extLst>
                <a:ext uri="{FF2B5EF4-FFF2-40B4-BE49-F238E27FC236}">
                  <a16:creationId xmlns:a16="http://schemas.microsoft.com/office/drawing/2014/main" id="{FCE508E9-A69E-4853-B8E9-C26E72CDD220}"/>
                </a:ext>
              </a:extLst>
            </p:cNvPr>
            <p:cNvSpPr/>
            <p:nvPr/>
          </p:nvSpPr>
          <p:spPr>
            <a:xfrm rot="8716295">
              <a:off x="2987081" y="382877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7" name="Forme libre : forme 2016">
              <a:extLst>
                <a:ext uri="{FF2B5EF4-FFF2-40B4-BE49-F238E27FC236}">
                  <a16:creationId xmlns:a16="http://schemas.microsoft.com/office/drawing/2014/main" id="{69B0C070-E5DD-4902-8901-32B0B2DF2181}"/>
                </a:ext>
              </a:extLst>
            </p:cNvPr>
            <p:cNvSpPr/>
            <p:nvPr/>
          </p:nvSpPr>
          <p:spPr>
            <a:xfrm rot="8716295">
              <a:off x="2785455" y="388807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8" name="Forme libre : forme 2017">
              <a:extLst>
                <a:ext uri="{FF2B5EF4-FFF2-40B4-BE49-F238E27FC236}">
                  <a16:creationId xmlns:a16="http://schemas.microsoft.com/office/drawing/2014/main" id="{351C262C-137B-4595-9945-0B58E9E9498A}"/>
                </a:ext>
              </a:extLst>
            </p:cNvPr>
            <p:cNvSpPr/>
            <p:nvPr/>
          </p:nvSpPr>
          <p:spPr>
            <a:xfrm rot="8716295">
              <a:off x="2660553" y="367940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9" name="Forme libre : forme 2018">
              <a:extLst>
                <a:ext uri="{FF2B5EF4-FFF2-40B4-BE49-F238E27FC236}">
                  <a16:creationId xmlns:a16="http://schemas.microsoft.com/office/drawing/2014/main" id="{9E27D744-0584-4AC9-A7EF-FEF550ED480C}"/>
                </a:ext>
              </a:extLst>
            </p:cNvPr>
            <p:cNvSpPr/>
            <p:nvPr/>
          </p:nvSpPr>
          <p:spPr>
            <a:xfrm rot="8716295">
              <a:off x="2875633" y="392902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0" name="Forme libre : forme 2019">
              <a:extLst>
                <a:ext uri="{FF2B5EF4-FFF2-40B4-BE49-F238E27FC236}">
                  <a16:creationId xmlns:a16="http://schemas.microsoft.com/office/drawing/2014/main" id="{47FD6DDE-8088-4171-9B74-ED4CB352D0E1}"/>
                </a:ext>
              </a:extLst>
            </p:cNvPr>
            <p:cNvSpPr/>
            <p:nvPr/>
          </p:nvSpPr>
          <p:spPr>
            <a:xfrm rot="8716295">
              <a:off x="2634182" y="377942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1" name="Forme libre : forme 2020">
              <a:extLst>
                <a:ext uri="{FF2B5EF4-FFF2-40B4-BE49-F238E27FC236}">
                  <a16:creationId xmlns:a16="http://schemas.microsoft.com/office/drawing/2014/main" id="{2332725B-11C5-436B-8C7A-C0F3009C3764}"/>
                </a:ext>
              </a:extLst>
            </p:cNvPr>
            <p:cNvSpPr/>
            <p:nvPr/>
          </p:nvSpPr>
          <p:spPr>
            <a:xfrm rot="7484129">
              <a:off x="2980564" y="41203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2" name="Forme libre : forme 2021">
              <a:extLst>
                <a:ext uri="{FF2B5EF4-FFF2-40B4-BE49-F238E27FC236}">
                  <a16:creationId xmlns:a16="http://schemas.microsoft.com/office/drawing/2014/main" id="{2D6DB575-2CD4-46B8-BF50-BF9C03A4A660}"/>
                </a:ext>
              </a:extLst>
            </p:cNvPr>
            <p:cNvSpPr/>
            <p:nvPr/>
          </p:nvSpPr>
          <p:spPr>
            <a:xfrm rot="13089394">
              <a:off x="3085384" y="408691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3" name="Forme libre : forme 2022">
              <a:extLst>
                <a:ext uri="{FF2B5EF4-FFF2-40B4-BE49-F238E27FC236}">
                  <a16:creationId xmlns:a16="http://schemas.microsoft.com/office/drawing/2014/main" id="{8AA469D7-AA06-49C5-A232-2AB138FF0560}"/>
                </a:ext>
              </a:extLst>
            </p:cNvPr>
            <p:cNvSpPr/>
            <p:nvPr/>
          </p:nvSpPr>
          <p:spPr>
            <a:xfrm rot="8716295">
              <a:off x="3270969" y="389522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4" name="Forme libre : forme 2023">
              <a:extLst>
                <a:ext uri="{FF2B5EF4-FFF2-40B4-BE49-F238E27FC236}">
                  <a16:creationId xmlns:a16="http://schemas.microsoft.com/office/drawing/2014/main" id="{DAA290D6-64E1-496C-9C04-F98B1C63180B}"/>
                </a:ext>
              </a:extLst>
            </p:cNvPr>
            <p:cNvSpPr/>
            <p:nvPr/>
          </p:nvSpPr>
          <p:spPr>
            <a:xfrm rot="8716295">
              <a:off x="3219164" y="379163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5" name="Forme libre : forme 2024">
              <a:extLst>
                <a:ext uri="{FF2B5EF4-FFF2-40B4-BE49-F238E27FC236}">
                  <a16:creationId xmlns:a16="http://schemas.microsoft.com/office/drawing/2014/main" id="{3A0674DB-72FD-47E3-AD95-3835522B3982}"/>
                </a:ext>
              </a:extLst>
            </p:cNvPr>
            <p:cNvSpPr/>
            <p:nvPr/>
          </p:nvSpPr>
          <p:spPr>
            <a:xfrm rot="8716295">
              <a:off x="2975918" y="382185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6" name="Forme libre : forme 2025">
              <a:extLst>
                <a:ext uri="{FF2B5EF4-FFF2-40B4-BE49-F238E27FC236}">
                  <a16:creationId xmlns:a16="http://schemas.microsoft.com/office/drawing/2014/main" id="{DD0ABA36-1047-4667-A038-B5E4D3CCFC34}"/>
                </a:ext>
              </a:extLst>
            </p:cNvPr>
            <p:cNvSpPr/>
            <p:nvPr/>
          </p:nvSpPr>
          <p:spPr>
            <a:xfrm rot="8716295">
              <a:off x="3153370" y="366261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7" name="Forme libre : forme 2026">
              <a:extLst>
                <a:ext uri="{FF2B5EF4-FFF2-40B4-BE49-F238E27FC236}">
                  <a16:creationId xmlns:a16="http://schemas.microsoft.com/office/drawing/2014/main" id="{DCA88CB0-996E-4CBF-8E1B-054627A90FA6}"/>
                </a:ext>
              </a:extLst>
            </p:cNvPr>
            <p:cNvSpPr/>
            <p:nvPr/>
          </p:nvSpPr>
          <p:spPr>
            <a:xfrm rot="8716295">
              <a:off x="2831757" y="470938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8" name="Forme libre : forme 2027">
              <a:extLst>
                <a:ext uri="{FF2B5EF4-FFF2-40B4-BE49-F238E27FC236}">
                  <a16:creationId xmlns:a16="http://schemas.microsoft.com/office/drawing/2014/main" id="{2E1B38FC-3E96-4E74-B515-EB0F8E9F66DF}"/>
                </a:ext>
              </a:extLst>
            </p:cNvPr>
            <p:cNvSpPr/>
            <p:nvPr/>
          </p:nvSpPr>
          <p:spPr>
            <a:xfrm rot="8716295">
              <a:off x="2921149" y="473862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9" name="Forme libre : forme 2028">
              <a:extLst>
                <a:ext uri="{FF2B5EF4-FFF2-40B4-BE49-F238E27FC236}">
                  <a16:creationId xmlns:a16="http://schemas.microsoft.com/office/drawing/2014/main" id="{CDF29BC1-CD69-4D64-875F-1792585745C3}"/>
                </a:ext>
              </a:extLst>
            </p:cNvPr>
            <p:cNvSpPr/>
            <p:nvPr/>
          </p:nvSpPr>
          <p:spPr>
            <a:xfrm rot="8716295">
              <a:off x="2876299" y="465234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0" name="Forme libre : forme 2029">
              <a:extLst>
                <a:ext uri="{FF2B5EF4-FFF2-40B4-BE49-F238E27FC236}">
                  <a16:creationId xmlns:a16="http://schemas.microsoft.com/office/drawing/2014/main" id="{19422572-0729-400B-A56A-9BE0F95C2A16}"/>
                </a:ext>
              </a:extLst>
            </p:cNvPr>
            <p:cNvSpPr/>
            <p:nvPr/>
          </p:nvSpPr>
          <p:spPr>
            <a:xfrm rot="8716295">
              <a:off x="2719523" y="479792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1" name="Forme libre : forme 2030">
              <a:extLst>
                <a:ext uri="{FF2B5EF4-FFF2-40B4-BE49-F238E27FC236}">
                  <a16:creationId xmlns:a16="http://schemas.microsoft.com/office/drawing/2014/main" id="{E606445F-5950-4211-A90A-075E8FDA5A46}"/>
                </a:ext>
              </a:extLst>
            </p:cNvPr>
            <p:cNvSpPr/>
            <p:nvPr/>
          </p:nvSpPr>
          <p:spPr>
            <a:xfrm rot="8716295">
              <a:off x="2594620" y="458925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2" name="Forme libre : forme 2031">
              <a:extLst>
                <a:ext uri="{FF2B5EF4-FFF2-40B4-BE49-F238E27FC236}">
                  <a16:creationId xmlns:a16="http://schemas.microsoft.com/office/drawing/2014/main" id="{8CA2BC66-A99C-485B-BFBF-CC740FFCF083}"/>
                </a:ext>
              </a:extLst>
            </p:cNvPr>
            <p:cNvSpPr/>
            <p:nvPr/>
          </p:nvSpPr>
          <p:spPr>
            <a:xfrm rot="8716295">
              <a:off x="2582568" y="4450471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3" name="Forme libre : forme 2032">
              <a:extLst>
                <a:ext uri="{FF2B5EF4-FFF2-40B4-BE49-F238E27FC236}">
                  <a16:creationId xmlns:a16="http://schemas.microsoft.com/office/drawing/2014/main" id="{71C2114D-64EC-4824-A707-E5E2E8D2CEF6}"/>
                </a:ext>
              </a:extLst>
            </p:cNvPr>
            <p:cNvSpPr/>
            <p:nvPr/>
          </p:nvSpPr>
          <p:spPr>
            <a:xfrm rot="8716295">
              <a:off x="2809701" y="483887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4" name="Forme libre : forme 2033">
              <a:extLst>
                <a:ext uri="{FF2B5EF4-FFF2-40B4-BE49-F238E27FC236}">
                  <a16:creationId xmlns:a16="http://schemas.microsoft.com/office/drawing/2014/main" id="{9B7D5F64-A7C5-45A2-B1CB-7832AA424557}"/>
                </a:ext>
              </a:extLst>
            </p:cNvPr>
            <p:cNvSpPr/>
            <p:nvPr/>
          </p:nvSpPr>
          <p:spPr>
            <a:xfrm rot="8716295">
              <a:off x="3120856" y="445922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5" name="Forme libre : forme 2034">
              <a:extLst>
                <a:ext uri="{FF2B5EF4-FFF2-40B4-BE49-F238E27FC236}">
                  <a16:creationId xmlns:a16="http://schemas.microsoft.com/office/drawing/2014/main" id="{418878C1-309F-4F6D-82F6-074894DEFD09}"/>
                </a:ext>
              </a:extLst>
            </p:cNvPr>
            <p:cNvSpPr/>
            <p:nvPr/>
          </p:nvSpPr>
          <p:spPr>
            <a:xfrm rot="8716295">
              <a:off x="3210248" y="448847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6" name="Forme libre : forme 2035">
              <a:extLst>
                <a:ext uri="{FF2B5EF4-FFF2-40B4-BE49-F238E27FC236}">
                  <a16:creationId xmlns:a16="http://schemas.microsoft.com/office/drawing/2014/main" id="{BEDFC6C0-0504-41A7-AFF6-DA58077E2F9E}"/>
                </a:ext>
              </a:extLst>
            </p:cNvPr>
            <p:cNvSpPr/>
            <p:nvPr/>
          </p:nvSpPr>
          <p:spPr>
            <a:xfrm rot="8716295">
              <a:off x="3008622" y="45477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7" name="Forme libre : forme 2036">
              <a:extLst>
                <a:ext uri="{FF2B5EF4-FFF2-40B4-BE49-F238E27FC236}">
                  <a16:creationId xmlns:a16="http://schemas.microsoft.com/office/drawing/2014/main" id="{0901EFA0-9ABF-4779-9CD7-AEF35261A01F}"/>
                </a:ext>
              </a:extLst>
            </p:cNvPr>
            <p:cNvSpPr/>
            <p:nvPr/>
          </p:nvSpPr>
          <p:spPr>
            <a:xfrm rot="8716295">
              <a:off x="2883720" y="43390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8" name="Forme libre : forme 2037">
              <a:extLst>
                <a:ext uri="{FF2B5EF4-FFF2-40B4-BE49-F238E27FC236}">
                  <a16:creationId xmlns:a16="http://schemas.microsoft.com/office/drawing/2014/main" id="{749728BB-B44C-458D-B875-8F2A71694EB4}"/>
                </a:ext>
              </a:extLst>
            </p:cNvPr>
            <p:cNvSpPr/>
            <p:nvPr/>
          </p:nvSpPr>
          <p:spPr>
            <a:xfrm rot="8716295">
              <a:off x="3098800" y="458872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9" name="Forme libre : forme 2038">
              <a:extLst>
                <a:ext uri="{FF2B5EF4-FFF2-40B4-BE49-F238E27FC236}">
                  <a16:creationId xmlns:a16="http://schemas.microsoft.com/office/drawing/2014/main" id="{C380CDA8-7EF5-48C9-B56D-6A7E2C9ACDDB}"/>
                </a:ext>
              </a:extLst>
            </p:cNvPr>
            <p:cNvSpPr/>
            <p:nvPr/>
          </p:nvSpPr>
          <p:spPr>
            <a:xfrm rot="8716295">
              <a:off x="2857349" y="443912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0" name="Forme libre : forme 2039">
              <a:extLst>
                <a:ext uri="{FF2B5EF4-FFF2-40B4-BE49-F238E27FC236}">
                  <a16:creationId xmlns:a16="http://schemas.microsoft.com/office/drawing/2014/main" id="{35D7DC57-1FBD-4D3A-8353-DA49C3779565}"/>
                </a:ext>
              </a:extLst>
            </p:cNvPr>
            <p:cNvSpPr/>
            <p:nvPr/>
          </p:nvSpPr>
          <p:spPr>
            <a:xfrm rot="7484129">
              <a:off x="3203731" y="478007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1" name="Forme libre : forme 2040">
              <a:extLst>
                <a:ext uri="{FF2B5EF4-FFF2-40B4-BE49-F238E27FC236}">
                  <a16:creationId xmlns:a16="http://schemas.microsoft.com/office/drawing/2014/main" id="{528E07C7-AD59-4D90-8BAC-F763B1D94A11}"/>
                </a:ext>
              </a:extLst>
            </p:cNvPr>
            <p:cNvSpPr/>
            <p:nvPr/>
          </p:nvSpPr>
          <p:spPr>
            <a:xfrm rot="13089394">
              <a:off x="3308551" y="4746609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2" name="Forme libre : forme 2041">
              <a:extLst>
                <a:ext uri="{FF2B5EF4-FFF2-40B4-BE49-F238E27FC236}">
                  <a16:creationId xmlns:a16="http://schemas.microsoft.com/office/drawing/2014/main" id="{2B7E1DD1-1118-40B2-B6F0-0CF0593D1F55}"/>
                </a:ext>
              </a:extLst>
            </p:cNvPr>
            <p:cNvSpPr/>
            <p:nvPr/>
          </p:nvSpPr>
          <p:spPr>
            <a:xfrm rot="8716295">
              <a:off x="3494136" y="455492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3" name="Forme libre : forme 2042">
              <a:extLst>
                <a:ext uri="{FF2B5EF4-FFF2-40B4-BE49-F238E27FC236}">
                  <a16:creationId xmlns:a16="http://schemas.microsoft.com/office/drawing/2014/main" id="{81540EA7-F6EC-44BE-816E-4C0E5EB2914E}"/>
                </a:ext>
              </a:extLst>
            </p:cNvPr>
            <p:cNvSpPr/>
            <p:nvPr/>
          </p:nvSpPr>
          <p:spPr>
            <a:xfrm rot="8716295">
              <a:off x="3442331" y="445133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4" name="Forme libre : forme 2043">
              <a:extLst>
                <a:ext uri="{FF2B5EF4-FFF2-40B4-BE49-F238E27FC236}">
                  <a16:creationId xmlns:a16="http://schemas.microsoft.com/office/drawing/2014/main" id="{439225B7-2BD6-4483-BC9B-DC58675BF4C6}"/>
                </a:ext>
              </a:extLst>
            </p:cNvPr>
            <p:cNvSpPr/>
            <p:nvPr/>
          </p:nvSpPr>
          <p:spPr>
            <a:xfrm rot="8716295">
              <a:off x="3199085" y="448155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5" name="Forme libre : forme 2044">
              <a:extLst>
                <a:ext uri="{FF2B5EF4-FFF2-40B4-BE49-F238E27FC236}">
                  <a16:creationId xmlns:a16="http://schemas.microsoft.com/office/drawing/2014/main" id="{B7D7807C-1490-4102-8354-D497932384C9}"/>
                </a:ext>
              </a:extLst>
            </p:cNvPr>
            <p:cNvSpPr/>
            <p:nvPr/>
          </p:nvSpPr>
          <p:spPr>
            <a:xfrm rot="8716295">
              <a:off x="3376537" y="432231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6" name="Forme libre : forme 2045">
              <a:extLst>
                <a:ext uri="{FF2B5EF4-FFF2-40B4-BE49-F238E27FC236}">
                  <a16:creationId xmlns:a16="http://schemas.microsoft.com/office/drawing/2014/main" id="{635AEC85-CF21-4340-9A71-2C3A7522FD09}"/>
                </a:ext>
              </a:extLst>
            </p:cNvPr>
            <p:cNvSpPr/>
            <p:nvPr/>
          </p:nvSpPr>
          <p:spPr>
            <a:xfrm rot="8716295">
              <a:off x="1945235" y="207061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7" name="Forme libre : forme 2046">
              <a:extLst>
                <a:ext uri="{FF2B5EF4-FFF2-40B4-BE49-F238E27FC236}">
                  <a16:creationId xmlns:a16="http://schemas.microsoft.com/office/drawing/2014/main" id="{11A1EB5F-B7DA-47FC-9300-C3618AE6E095}"/>
                </a:ext>
              </a:extLst>
            </p:cNvPr>
            <p:cNvSpPr/>
            <p:nvPr/>
          </p:nvSpPr>
          <p:spPr>
            <a:xfrm rot="8716295">
              <a:off x="2034627" y="209985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8" name="Forme libre : forme 2047">
              <a:extLst>
                <a:ext uri="{FF2B5EF4-FFF2-40B4-BE49-F238E27FC236}">
                  <a16:creationId xmlns:a16="http://schemas.microsoft.com/office/drawing/2014/main" id="{07F7C572-5337-4FAC-82A4-6A85DC071921}"/>
                </a:ext>
              </a:extLst>
            </p:cNvPr>
            <p:cNvSpPr/>
            <p:nvPr/>
          </p:nvSpPr>
          <p:spPr>
            <a:xfrm rot="8716295">
              <a:off x="1989777" y="201357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9" name="Forme libre : forme 2048">
              <a:extLst>
                <a:ext uri="{FF2B5EF4-FFF2-40B4-BE49-F238E27FC236}">
                  <a16:creationId xmlns:a16="http://schemas.microsoft.com/office/drawing/2014/main" id="{A9887220-2A87-47EF-AD47-F90CEE542B56}"/>
                </a:ext>
              </a:extLst>
            </p:cNvPr>
            <p:cNvSpPr/>
            <p:nvPr/>
          </p:nvSpPr>
          <p:spPr>
            <a:xfrm rot="8716295">
              <a:off x="1833001" y="215915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0" name="Forme libre : forme 2049">
              <a:extLst>
                <a:ext uri="{FF2B5EF4-FFF2-40B4-BE49-F238E27FC236}">
                  <a16:creationId xmlns:a16="http://schemas.microsoft.com/office/drawing/2014/main" id="{96F4C848-FCA2-452D-9BF6-EFA171999A6C}"/>
                </a:ext>
              </a:extLst>
            </p:cNvPr>
            <p:cNvSpPr/>
            <p:nvPr/>
          </p:nvSpPr>
          <p:spPr>
            <a:xfrm rot="8716295">
              <a:off x="1708098" y="195048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1" name="Forme libre : forme 2050">
              <a:extLst>
                <a:ext uri="{FF2B5EF4-FFF2-40B4-BE49-F238E27FC236}">
                  <a16:creationId xmlns:a16="http://schemas.microsoft.com/office/drawing/2014/main" id="{71B0A8AF-0B2B-4C16-AFBA-05D3C8218554}"/>
                </a:ext>
              </a:extLst>
            </p:cNvPr>
            <p:cNvSpPr/>
            <p:nvPr/>
          </p:nvSpPr>
          <p:spPr>
            <a:xfrm rot="8716295">
              <a:off x="1696046" y="181170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2" name="Forme libre : forme 2051">
              <a:extLst>
                <a:ext uri="{FF2B5EF4-FFF2-40B4-BE49-F238E27FC236}">
                  <a16:creationId xmlns:a16="http://schemas.microsoft.com/office/drawing/2014/main" id="{A8C901C7-377B-4E53-869C-62FF0103321A}"/>
                </a:ext>
              </a:extLst>
            </p:cNvPr>
            <p:cNvSpPr/>
            <p:nvPr/>
          </p:nvSpPr>
          <p:spPr>
            <a:xfrm rot="8716295">
              <a:off x="1923179" y="220010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3" name="Forme libre : forme 2052">
              <a:extLst>
                <a:ext uri="{FF2B5EF4-FFF2-40B4-BE49-F238E27FC236}">
                  <a16:creationId xmlns:a16="http://schemas.microsoft.com/office/drawing/2014/main" id="{62CC925F-A486-47A4-BC1C-0031447BDBF8}"/>
                </a:ext>
              </a:extLst>
            </p:cNvPr>
            <p:cNvSpPr/>
            <p:nvPr/>
          </p:nvSpPr>
          <p:spPr>
            <a:xfrm rot="8716295">
              <a:off x="2234334" y="182046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4" name="Forme libre : forme 2053">
              <a:extLst>
                <a:ext uri="{FF2B5EF4-FFF2-40B4-BE49-F238E27FC236}">
                  <a16:creationId xmlns:a16="http://schemas.microsoft.com/office/drawing/2014/main" id="{945EF2C5-109C-411B-81B5-BFB1887E75E2}"/>
                </a:ext>
              </a:extLst>
            </p:cNvPr>
            <p:cNvSpPr/>
            <p:nvPr/>
          </p:nvSpPr>
          <p:spPr>
            <a:xfrm rot="8716295">
              <a:off x="2323726" y="184970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5" name="Forme libre : forme 2054">
              <a:extLst>
                <a:ext uri="{FF2B5EF4-FFF2-40B4-BE49-F238E27FC236}">
                  <a16:creationId xmlns:a16="http://schemas.microsoft.com/office/drawing/2014/main" id="{E2FDAFBA-90AF-4DD3-88B7-3D0DB77D26C2}"/>
                </a:ext>
              </a:extLst>
            </p:cNvPr>
            <p:cNvSpPr/>
            <p:nvPr/>
          </p:nvSpPr>
          <p:spPr>
            <a:xfrm rot="8716295">
              <a:off x="2122100" y="19090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6" name="Forme libre : forme 2055">
              <a:extLst>
                <a:ext uri="{FF2B5EF4-FFF2-40B4-BE49-F238E27FC236}">
                  <a16:creationId xmlns:a16="http://schemas.microsoft.com/office/drawing/2014/main" id="{0AF6A2EA-C10E-429A-AA22-3518511DA0A6}"/>
                </a:ext>
              </a:extLst>
            </p:cNvPr>
            <p:cNvSpPr/>
            <p:nvPr/>
          </p:nvSpPr>
          <p:spPr>
            <a:xfrm rot="8716295">
              <a:off x="1997198" y="170033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7" name="Forme libre : forme 2056">
              <a:extLst>
                <a:ext uri="{FF2B5EF4-FFF2-40B4-BE49-F238E27FC236}">
                  <a16:creationId xmlns:a16="http://schemas.microsoft.com/office/drawing/2014/main" id="{600B3F51-A7A8-4209-BCA4-1E31E67B6420}"/>
                </a:ext>
              </a:extLst>
            </p:cNvPr>
            <p:cNvSpPr/>
            <p:nvPr/>
          </p:nvSpPr>
          <p:spPr>
            <a:xfrm rot="8716295">
              <a:off x="2212278" y="194995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8" name="Forme libre : forme 2057">
              <a:extLst>
                <a:ext uri="{FF2B5EF4-FFF2-40B4-BE49-F238E27FC236}">
                  <a16:creationId xmlns:a16="http://schemas.microsoft.com/office/drawing/2014/main" id="{669CFA3F-1269-41F1-AC29-3A52F3487D24}"/>
                </a:ext>
              </a:extLst>
            </p:cNvPr>
            <p:cNvSpPr/>
            <p:nvPr/>
          </p:nvSpPr>
          <p:spPr>
            <a:xfrm rot="8716295">
              <a:off x="1970827" y="180035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9" name="Forme libre : forme 2058">
              <a:extLst>
                <a:ext uri="{FF2B5EF4-FFF2-40B4-BE49-F238E27FC236}">
                  <a16:creationId xmlns:a16="http://schemas.microsoft.com/office/drawing/2014/main" id="{F45F3582-C9CB-48C1-8687-58B7F6AE5003}"/>
                </a:ext>
              </a:extLst>
            </p:cNvPr>
            <p:cNvSpPr/>
            <p:nvPr/>
          </p:nvSpPr>
          <p:spPr>
            <a:xfrm rot="7484129">
              <a:off x="2317209" y="214130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0" name="Forme libre : forme 2059">
              <a:extLst>
                <a:ext uri="{FF2B5EF4-FFF2-40B4-BE49-F238E27FC236}">
                  <a16:creationId xmlns:a16="http://schemas.microsoft.com/office/drawing/2014/main" id="{13A0BF37-B9E9-4770-AC7E-B4F047117F80}"/>
                </a:ext>
              </a:extLst>
            </p:cNvPr>
            <p:cNvSpPr/>
            <p:nvPr/>
          </p:nvSpPr>
          <p:spPr>
            <a:xfrm rot="13089394">
              <a:off x="2422029" y="2107841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1" name="Forme libre : forme 2060">
              <a:extLst>
                <a:ext uri="{FF2B5EF4-FFF2-40B4-BE49-F238E27FC236}">
                  <a16:creationId xmlns:a16="http://schemas.microsoft.com/office/drawing/2014/main" id="{DD6F851E-8648-4D33-8B66-E1A2D791E45B}"/>
                </a:ext>
              </a:extLst>
            </p:cNvPr>
            <p:cNvSpPr/>
            <p:nvPr/>
          </p:nvSpPr>
          <p:spPr>
            <a:xfrm rot="8716295">
              <a:off x="2607614" y="191616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2" name="Forme libre : forme 2061">
              <a:extLst>
                <a:ext uri="{FF2B5EF4-FFF2-40B4-BE49-F238E27FC236}">
                  <a16:creationId xmlns:a16="http://schemas.microsoft.com/office/drawing/2014/main" id="{3EAC65FE-36BD-4259-B307-2A15106E17B7}"/>
                </a:ext>
              </a:extLst>
            </p:cNvPr>
            <p:cNvSpPr/>
            <p:nvPr/>
          </p:nvSpPr>
          <p:spPr>
            <a:xfrm rot="8716295">
              <a:off x="2555809" y="181256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3" name="Forme libre : forme 2062">
              <a:extLst>
                <a:ext uri="{FF2B5EF4-FFF2-40B4-BE49-F238E27FC236}">
                  <a16:creationId xmlns:a16="http://schemas.microsoft.com/office/drawing/2014/main" id="{0EC3A0BB-90CE-43B1-AB94-5264BC6980A0}"/>
                </a:ext>
              </a:extLst>
            </p:cNvPr>
            <p:cNvSpPr/>
            <p:nvPr/>
          </p:nvSpPr>
          <p:spPr>
            <a:xfrm rot="8716295">
              <a:off x="2312563" y="184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4" name="Forme libre : forme 2063">
              <a:extLst>
                <a:ext uri="{FF2B5EF4-FFF2-40B4-BE49-F238E27FC236}">
                  <a16:creationId xmlns:a16="http://schemas.microsoft.com/office/drawing/2014/main" id="{279EC32D-CBDC-4885-A518-E43D58F75913}"/>
                </a:ext>
              </a:extLst>
            </p:cNvPr>
            <p:cNvSpPr/>
            <p:nvPr/>
          </p:nvSpPr>
          <p:spPr>
            <a:xfrm rot="8716295">
              <a:off x="2490015" y="168354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5" name="Forme libre : forme 2064">
              <a:extLst>
                <a:ext uri="{FF2B5EF4-FFF2-40B4-BE49-F238E27FC236}">
                  <a16:creationId xmlns:a16="http://schemas.microsoft.com/office/drawing/2014/main" id="{82B63EF8-70AC-424B-8D0D-1430936AED2B}"/>
                </a:ext>
              </a:extLst>
            </p:cNvPr>
            <p:cNvSpPr/>
            <p:nvPr/>
          </p:nvSpPr>
          <p:spPr>
            <a:xfrm rot="8716295">
              <a:off x="1722068" y="141091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6" name="Forme libre : forme 2065">
              <a:extLst>
                <a:ext uri="{FF2B5EF4-FFF2-40B4-BE49-F238E27FC236}">
                  <a16:creationId xmlns:a16="http://schemas.microsoft.com/office/drawing/2014/main" id="{9639FE86-B706-472C-8B17-F05FFAA6C032}"/>
                </a:ext>
              </a:extLst>
            </p:cNvPr>
            <p:cNvSpPr/>
            <p:nvPr/>
          </p:nvSpPr>
          <p:spPr>
            <a:xfrm rot="8716295">
              <a:off x="1811460" y="144015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7" name="Forme libre : forme 2066">
              <a:extLst>
                <a:ext uri="{FF2B5EF4-FFF2-40B4-BE49-F238E27FC236}">
                  <a16:creationId xmlns:a16="http://schemas.microsoft.com/office/drawing/2014/main" id="{07446619-2E49-4747-ACBE-260C0C2C4C34}"/>
                </a:ext>
              </a:extLst>
            </p:cNvPr>
            <p:cNvSpPr/>
            <p:nvPr/>
          </p:nvSpPr>
          <p:spPr>
            <a:xfrm rot="8716295">
              <a:off x="1766610" y="135387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8" name="Forme libre : forme 2067">
              <a:extLst>
                <a:ext uri="{FF2B5EF4-FFF2-40B4-BE49-F238E27FC236}">
                  <a16:creationId xmlns:a16="http://schemas.microsoft.com/office/drawing/2014/main" id="{78612368-26FB-4711-B283-76B1C1100DD4}"/>
                </a:ext>
              </a:extLst>
            </p:cNvPr>
            <p:cNvSpPr/>
            <p:nvPr/>
          </p:nvSpPr>
          <p:spPr>
            <a:xfrm rot="8716295">
              <a:off x="1609834" y="149945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9" name="Forme libre : forme 2068">
              <a:extLst>
                <a:ext uri="{FF2B5EF4-FFF2-40B4-BE49-F238E27FC236}">
                  <a16:creationId xmlns:a16="http://schemas.microsoft.com/office/drawing/2014/main" id="{1205D449-2819-4B61-B974-818AB8770F91}"/>
                </a:ext>
              </a:extLst>
            </p:cNvPr>
            <p:cNvSpPr/>
            <p:nvPr/>
          </p:nvSpPr>
          <p:spPr>
            <a:xfrm rot="8716295">
              <a:off x="1484931" y="129078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0" name="Forme libre : forme 2069">
              <a:extLst>
                <a:ext uri="{FF2B5EF4-FFF2-40B4-BE49-F238E27FC236}">
                  <a16:creationId xmlns:a16="http://schemas.microsoft.com/office/drawing/2014/main" id="{28759079-BB1E-4FA1-A581-AB007D40486E}"/>
                </a:ext>
              </a:extLst>
            </p:cNvPr>
            <p:cNvSpPr/>
            <p:nvPr/>
          </p:nvSpPr>
          <p:spPr>
            <a:xfrm rot="8716295">
              <a:off x="1472879" y="115200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1" name="Forme libre : forme 2070">
              <a:extLst>
                <a:ext uri="{FF2B5EF4-FFF2-40B4-BE49-F238E27FC236}">
                  <a16:creationId xmlns:a16="http://schemas.microsoft.com/office/drawing/2014/main" id="{FC133296-4D5B-406D-87D4-112911C0532F}"/>
                </a:ext>
              </a:extLst>
            </p:cNvPr>
            <p:cNvSpPr/>
            <p:nvPr/>
          </p:nvSpPr>
          <p:spPr>
            <a:xfrm rot="8716295">
              <a:off x="1700012" y="154040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2" name="Forme libre : forme 2071">
              <a:extLst>
                <a:ext uri="{FF2B5EF4-FFF2-40B4-BE49-F238E27FC236}">
                  <a16:creationId xmlns:a16="http://schemas.microsoft.com/office/drawing/2014/main" id="{0306E902-1DCB-4E80-803F-5BF7940B2AF5}"/>
                </a:ext>
              </a:extLst>
            </p:cNvPr>
            <p:cNvSpPr/>
            <p:nvPr/>
          </p:nvSpPr>
          <p:spPr>
            <a:xfrm rot="8716295">
              <a:off x="2011167" y="116076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3" name="Forme libre : forme 2072">
              <a:extLst>
                <a:ext uri="{FF2B5EF4-FFF2-40B4-BE49-F238E27FC236}">
                  <a16:creationId xmlns:a16="http://schemas.microsoft.com/office/drawing/2014/main" id="{E401BA69-156A-448C-B8AF-22460155FDA8}"/>
                </a:ext>
              </a:extLst>
            </p:cNvPr>
            <p:cNvSpPr/>
            <p:nvPr/>
          </p:nvSpPr>
          <p:spPr>
            <a:xfrm rot="8716295">
              <a:off x="2100559" y="119000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4" name="Forme libre : forme 2073">
              <a:extLst>
                <a:ext uri="{FF2B5EF4-FFF2-40B4-BE49-F238E27FC236}">
                  <a16:creationId xmlns:a16="http://schemas.microsoft.com/office/drawing/2014/main" id="{322BCC2C-AE44-47D4-A086-C2788A0FFD3F}"/>
                </a:ext>
              </a:extLst>
            </p:cNvPr>
            <p:cNvSpPr/>
            <p:nvPr/>
          </p:nvSpPr>
          <p:spPr>
            <a:xfrm rot="8716295">
              <a:off x="1898933" y="124930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5" name="Forme libre : forme 2074">
              <a:extLst>
                <a:ext uri="{FF2B5EF4-FFF2-40B4-BE49-F238E27FC236}">
                  <a16:creationId xmlns:a16="http://schemas.microsoft.com/office/drawing/2014/main" id="{DD5F6BBF-77CE-477E-9678-E08B043518F9}"/>
                </a:ext>
              </a:extLst>
            </p:cNvPr>
            <p:cNvSpPr/>
            <p:nvPr/>
          </p:nvSpPr>
          <p:spPr>
            <a:xfrm rot="8716295">
              <a:off x="1774031" y="104063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6" name="Forme libre : forme 2075">
              <a:extLst>
                <a:ext uri="{FF2B5EF4-FFF2-40B4-BE49-F238E27FC236}">
                  <a16:creationId xmlns:a16="http://schemas.microsoft.com/office/drawing/2014/main" id="{420D59E0-C275-46B1-A399-9E824480E384}"/>
                </a:ext>
              </a:extLst>
            </p:cNvPr>
            <p:cNvSpPr/>
            <p:nvPr/>
          </p:nvSpPr>
          <p:spPr>
            <a:xfrm rot="8716295">
              <a:off x="1989111" y="129025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7" name="Forme libre : forme 2076">
              <a:extLst>
                <a:ext uri="{FF2B5EF4-FFF2-40B4-BE49-F238E27FC236}">
                  <a16:creationId xmlns:a16="http://schemas.microsoft.com/office/drawing/2014/main" id="{21B9C359-7D7E-4839-B2F3-C15EDB6FA631}"/>
                </a:ext>
              </a:extLst>
            </p:cNvPr>
            <p:cNvSpPr/>
            <p:nvPr/>
          </p:nvSpPr>
          <p:spPr>
            <a:xfrm rot="8716295">
              <a:off x="1747660" y="114065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8" name="Forme libre : forme 2077">
              <a:extLst>
                <a:ext uri="{FF2B5EF4-FFF2-40B4-BE49-F238E27FC236}">
                  <a16:creationId xmlns:a16="http://schemas.microsoft.com/office/drawing/2014/main" id="{C5BF12D0-E189-4CA4-8E29-2C56167D5BF6}"/>
                </a:ext>
              </a:extLst>
            </p:cNvPr>
            <p:cNvSpPr/>
            <p:nvPr/>
          </p:nvSpPr>
          <p:spPr>
            <a:xfrm rot="7484129">
              <a:off x="2094042" y="148160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9" name="Forme libre : forme 2078">
              <a:extLst>
                <a:ext uri="{FF2B5EF4-FFF2-40B4-BE49-F238E27FC236}">
                  <a16:creationId xmlns:a16="http://schemas.microsoft.com/office/drawing/2014/main" id="{2EFD84FE-C6E8-4F6C-9BB5-653FA0BF96AE}"/>
                </a:ext>
              </a:extLst>
            </p:cNvPr>
            <p:cNvSpPr/>
            <p:nvPr/>
          </p:nvSpPr>
          <p:spPr>
            <a:xfrm rot="13089394">
              <a:off x="2198862" y="144814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0" name="Forme libre : forme 2079">
              <a:extLst>
                <a:ext uri="{FF2B5EF4-FFF2-40B4-BE49-F238E27FC236}">
                  <a16:creationId xmlns:a16="http://schemas.microsoft.com/office/drawing/2014/main" id="{6A69758E-EB99-4030-A031-2F9349DD4303}"/>
                </a:ext>
              </a:extLst>
            </p:cNvPr>
            <p:cNvSpPr/>
            <p:nvPr/>
          </p:nvSpPr>
          <p:spPr>
            <a:xfrm rot="8716295">
              <a:off x="2384447" y="125646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1" name="Forme libre : forme 2080">
              <a:extLst>
                <a:ext uri="{FF2B5EF4-FFF2-40B4-BE49-F238E27FC236}">
                  <a16:creationId xmlns:a16="http://schemas.microsoft.com/office/drawing/2014/main" id="{022740DA-D518-4F48-ABDE-16E68F591FD2}"/>
                </a:ext>
              </a:extLst>
            </p:cNvPr>
            <p:cNvSpPr/>
            <p:nvPr/>
          </p:nvSpPr>
          <p:spPr>
            <a:xfrm rot="8716295">
              <a:off x="2332642" y="115286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2" name="Forme libre : forme 2081">
              <a:extLst>
                <a:ext uri="{FF2B5EF4-FFF2-40B4-BE49-F238E27FC236}">
                  <a16:creationId xmlns:a16="http://schemas.microsoft.com/office/drawing/2014/main" id="{0313D091-4067-4EFE-BD30-E6503447BAD7}"/>
                </a:ext>
              </a:extLst>
            </p:cNvPr>
            <p:cNvSpPr/>
            <p:nvPr/>
          </p:nvSpPr>
          <p:spPr>
            <a:xfrm rot="8716295">
              <a:off x="2089396" y="118308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3" name="Forme libre : forme 2082">
              <a:extLst>
                <a:ext uri="{FF2B5EF4-FFF2-40B4-BE49-F238E27FC236}">
                  <a16:creationId xmlns:a16="http://schemas.microsoft.com/office/drawing/2014/main" id="{26A9C2FF-58EC-4F7E-9242-E46D4FFD7308}"/>
                </a:ext>
              </a:extLst>
            </p:cNvPr>
            <p:cNvSpPr/>
            <p:nvPr/>
          </p:nvSpPr>
          <p:spPr>
            <a:xfrm rot="8716295">
              <a:off x="2266848" y="102384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4" name="Forme libre : forme 2083">
              <a:extLst>
                <a:ext uri="{FF2B5EF4-FFF2-40B4-BE49-F238E27FC236}">
                  <a16:creationId xmlns:a16="http://schemas.microsoft.com/office/drawing/2014/main" id="{8DBFE747-1F5C-41A3-92C7-458A3B6D5116}"/>
                </a:ext>
              </a:extLst>
            </p:cNvPr>
            <p:cNvSpPr/>
            <p:nvPr/>
          </p:nvSpPr>
          <p:spPr>
            <a:xfrm rot="8716295">
              <a:off x="1503129" y="74885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5" name="Forme libre : forme 2084">
              <a:extLst>
                <a:ext uri="{FF2B5EF4-FFF2-40B4-BE49-F238E27FC236}">
                  <a16:creationId xmlns:a16="http://schemas.microsoft.com/office/drawing/2014/main" id="{6DA92627-FAFA-41E9-AEB5-0B6CF647FB05}"/>
                </a:ext>
              </a:extLst>
            </p:cNvPr>
            <p:cNvSpPr/>
            <p:nvPr/>
          </p:nvSpPr>
          <p:spPr>
            <a:xfrm rot="8716295">
              <a:off x="1592521" y="77809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6" name="Forme libre : forme 2085">
              <a:extLst>
                <a:ext uri="{FF2B5EF4-FFF2-40B4-BE49-F238E27FC236}">
                  <a16:creationId xmlns:a16="http://schemas.microsoft.com/office/drawing/2014/main" id="{E19F09B9-4988-41E7-BAA6-0B828FD03B07}"/>
                </a:ext>
              </a:extLst>
            </p:cNvPr>
            <p:cNvSpPr/>
            <p:nvPr/>
          </p:nvSpPr>
          <p:spPr>
            <a:xfrm rot="8716295">
              <a:off x="1547671" y="69181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7" name="Forme libre : forme 2086">
              <a:extLst>
                <a:ext uri="{FF2B5EF4-FFF2-40B4-BE49-F238E27FC236}">
                  <a16:creationId xmlns:a16="http://schemas.microsoft.com/office/drawing/2014/main" id="{FB7C092D-3593-4D2B-954D-520BBCB70267}"/>
                </a:ext>
              </a:extLst>
            </p:cNvPr>
            <p:cNvSpPr/>
            <p:nvPr/>
          </p:nvSpPr>
          <p:spPr>
            <a:xfrm rot="8716295">
              <a:off x="1390895" y="83739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8" name="Forme libre : forme 2087">
              <a:extLst>
                <a:ext uri="{FF2B5EF4-FFF2-40B4-BE49-F238E27FC236}">
                  <a16:creationId xmlns:a16="http://schemas.microsoft.com/office/drawing/2014/main" id="{00FADB2F-7F2D-4B98-9271-D534A6BFA872}"/>
                </a:ext>
              </a:extLst>
            </p:cNvPr>
            <p:cNvSpPr/>
            <p:nvPr/>
          </p:nvSpPr>
          <p:spPr>
            <a:xfrm rot="8716295">
              <a:off x="1265992" y="62872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9" name="Forme libre : forme 2088">
              <a:extLst>
                <a:ext uri="{FF2B5EF4-FFF2-40B4-BE49-F238E27FC236}">
                  <a16:creationId xmlns:a16="http://schemas.microsoft.com/office/drawing/2014/main" id="{800006B7-3487-4C19-BDD4-3F3EE8F3EDE3}"/>
                </a:ext>
              </a:extLst>
            </p:cNvPr>
            <p:cNvSpPr/>
            <p:nvPr/>
          </p:nvSpPr>
          <p:spPr>
            <a:xfrm rot="8716295">
              <a:off x="1253940" y="48994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0" name="Forme libre : forme 2089">
              <a:extLst>
                <a:ext uri="{FF2B5EF4-FFF2-40B4-BE49-F238E27FC236}">
                  <a16:creationId xmlns:a16="http://schemas.microsoft.com/office/drawing/2014/main" id="{EB3EEFD9-046D-4DF6-B67C-49F4399957FE}"/>
                </a:ext>
              </a:extLst>
            </p:cNvPr>
            <p:cNvSpPr/>
            <p:nvPr/>
          </p:nvSpPr>
          <p:spPr>
            <a:xfrm rot="8716295">
              <a:off x="1481073" y="87835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1" name="Forme libre : forme 2090">
              <a:extLst>
                <a:ext uri="{FF2B5EF4-FFF2-40B4-BE49-F238E27FC236}">
                  <a16:creationId xmlns:a16="http://schemas.microsoft.com/office/drawing/2014/main" id="{02F0F7EE-BE61-484C-A6CE-1B15380B21EA}"/>
                </a:ext>
              </a:extLst>
            </p:cNvPr>
            <p:cNvSpPr/>
            <p:nvPr/>
          </p:nvSpPr>
          <p:spPr>
            <a:xfrm rot="8716295">
              <a:off x="1792228" y="4987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2" name="Forme libre : forme 2091">
              <a:extLst>
                <a:ext uri="{FF2B5EF4-FFF2-40B4-BE49-F238E27FC236}">
                  <a16:creationId xmlns:a16="http://schemas.microsoft.com/office/drawing/2014/main" id="{04EB967F-CD6D-4883-B745-DF5C302A9EEF}"/>
                </a:ext>
              </a:extLst>
            </p:cNvPr>
            <p:cNvSpPr/>
            <p:nvPr/>
          </p:nvSpPr>
          <p:spPr>
            <a:xfrm rot="8716295">
              <a:off x="1881620" y="5279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3" name="Forme libre : forme 2092">
              <a:extLst>
                <a:ext uri="{FF2B5EF4-FFF2-40B4-BE49-F238E27FC236}">
                  <a16:creationId xmlns:a16="http://schemas.microsoft.com/office/drawing/2014/main" id="{4D2C6D5A-0FA7-419F-B901-693A0643042F}"/>
                </a:ext>
              </a:extLst>
            </p:cNvPr>
            <p:cNvSpPr/>
            <p:nvPr/>
          </p:nvSpPr>
          <p:spPr>
            <a:xfrm rot="8716295">
              <a:off x="1679994" y="58724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4" name="Forme libre : forme 2093">
              <a:extLst>
                <a:ext uri="{FF2B5EF4-FFF2-40B4-BE49-F238E27FC236}">
                  <a16:creationId xmlns:a16="http://schemas.microsoft.com/office/drawing/2014/main" id="{23712BD0-82A2-4AF5-8B6D-BB8511641A83}"/>
                </a:ext>
              </a:extLst>
            </p:cNvPr>
            <p:cNvSpPr/>
            <p:nvPr/>
          </p:nvSpPr>
          <p:spPr>
            <a:xfrm rot="8716295">
              <a:off x="1555092" y="37857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5" name="Forme libre : forme 2094">
              <a:extLst>
                <a:ext uri="{FF2B5EF4-FFF2-40B4-BE49-F238E27FC236}">
                  <a16:creationId xmlns:a16="http://schemas.microsoft.com/office/drawing/2014/main" id="{44B373CD-4E19-4D4C-BF54-C82742B561B2}"/>
                </a:ext>
              </a:extLst>
            </p:cNvPr>
            <p:cNvSpPr/>
            <p:nvPr/>
          </p:nvSpPr>
          <p:spPr>
            <a:xfrm rot="8716295">
              <a:off x="1770172" y="62819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6" name="Forme libre : forme 2095">
              <a:extLst>
                <a:ext uri="{FF2B5EF4-FFF2-40B4-BE49-F238E27FC236}">
                  <a16:creationId xmlns:a16="http://schemas.microsoft.com/office/drawing/2014/main" id="{E3E13DED-9A91-4F99-8478-572CA3CC5153}"/>
                </a:ext>
              </a:extLst>
            </p:cNvPr>
            <p:cNvSpPr/>
            <p:nvPr/>
          </p:nvSpPr>
          <p:spPr>
            <a:xfrm rot="8716295">
              <a:off x="1528721" y="47859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7" name="Forme libre : forme 2096">
              <a:extLst>
                <a:ext uri="{FF2B5EF4-FFF2-40B4-BE49-F238E27FC236}">
                  <a16:creationId xmlns:a16="http://schemas.microsoft.com/office/drawing/2014/main" id="{42F07E9E-D9BC-4C4E-9145-14F39EEA65C6}"/>
                </a:ext>
              </a:extLst>
            </p:cNvPr>
            <p:cNvSpPr/>
            <p:nvPr/>
          </p:nvSpPr>
          <p:spPr>
            <a:xfrm rot="7484129">
              <a:off x="1875103" y="8195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8" name="Forme libre : forme 2097">
              <a:extLst>
                <a:ext uri="{FF2B5EF4-FFF2-40B4-BE49-F238E27FC236}">
                  <a16:creationId xmlns:a16="http://schemas.microsoft.com/office/drawing/2014/main" id="{8AE5C53D-B782-4A26-9FAB-5622E2FBCAB9}"/>
                </a:ext>
              </a:extLst>
            </p:cNvPr>
            <p:cNvSpPr/>
            <p:nvPr/>
          </p:nvSpPr>
          <p:spPr>
            <a:xfrm rot="13089394">
              <a:off x="1979923" y="7860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9" name="Forme libre : forme 2098">
              <a:extLst>
                <a:ext uri="{FF2B5EF4-FFF2-40B4-BE49-F238E27FC236}">
                  <a16:creationId xmlns:a16="http://schemas.microsoft.com/office/drawing/2014/main" id="{4A6DE30F-26F9-49C8-B709-E349C3186130}"/>
                </a:ext>
              </a:extLst>
            </p:cNvPr>
            <p:cNvSpPr/>
            <p:nvPr/>
          </p:nvSpPr>
          <p:spPr>
            <a:xfrm rot="8716295">
              <a:off x="2165508" y="5944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0" name="Forme libre : forme 2099">
              <a:extLst>
                <a:ext uri="{FF2B5EF4-FFF2-40B4-BE49-F238E27FC236}">
                  <a16:creationId xmlns:a16="http://schemas.microsoft.com/office/drawing/2014/main" id="{2DDEFD81-8A46-4059-99D7-4B2265487E80}"/>
                </a:ext>
              </a:extLst>
            </p:cNvPr>
            <p:cNvSpPr/>
            <p:nvPr/>
          </p:nvSpPr>
          <p:spPr>
            <a:xfrm rot="8716295">
              <a:off x="2113703" y="4908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1" name="Forme libre : forme 2100">
              <a:extLst>
                <a:ext uri="{FF2B5EF4-FFF2-40B4-BE49-F238E27FC236}">
                  <a16:creationId xmlns:a16="http://schemas.microsoft.com/office/drawing/2014/main" id="{A3EE798C-0AA5-4252-A892-7301ED50370F}"/>
                </a:ext>
              </a:extLst>
            </p:cNvPr>
            <p:cNvSpPr/>
            <p:nvPr/>
          </p:nvSpPr>
          <p:spPr>
            <a:xfrm rot="8716295">
              <a:off x="1870457" y="5210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2" name="Forme libre : forme 2101">
              <a:extLst>
                <a:ext uri="{FF2B5EF4-FFF2-40B4-BE49-F238E27FC236}">
                  <a16:creationId xmlns:a16="http://schemas.microsoft.com/office/drawing/2014/main" id="{149F02FB-1B6D-4EB4-825D-D9F836CD0FC6}"/>
                </a:ext>
              </a:extLst>
            </p:cNvPr>
            <p:cNvSpPr/>
            <p:nvPr/>
          </p:nvSpPr>
          <p:spPr>
            <a:xfrm rot="8716295">
              <a:off x="2047909" y="3617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3" name="Forme libre : forme 2102">
              <a:extLst>
                <a:ext uri="{FF2B5EF4-FFF2-40B4-BE49-F238E27FC236}">
                  <a16:creationId xmlns:a16="http://schemas.microsoft.com/office/drawing/2014/main" id="{5476C925-82E1-422B-99D4-C56F679EC46B}"/>
                </a:ext>
              </a:extLst>
            </p:cNvPr>
            <p:cNvSpPr/>
            <p:nvPr/>
          </p:nvSpPr>
          <p:spPr>
            <a:xfrm rot="8716295">
              <a:off x="1280459" y="8544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4" name="Forme libre : forme 2103">
              <a:extLst>
                <a:ext uri="{FF2B5EF4-FFF2-40B4-BE49-F238E27FC236}">
                  <a16:creationId xmlns:a16="http://schemas.microsoft.com/office/drawing/2014/main" id="{BF329EDF-F1EE-4568-9642-732B3612E081}"/>
                </a:ext>
              </a:extLst>
            </p:cNvPr>
            <p:cNvSpPr/>
            <p:nvPr/>
          </p:nvSpPr>
          <p:spPr>
            <a:xfrm rot="8716295">
              <a:off x="1369851" y="11468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5" name="Forme libre : forme 2104">
              <a:extLst>
                <a:ext uri="{FF2B5EF4-FFF2-40B4-BE49-F238E27FC236}">
                  <a16:creationId xmlns:a16="http://schemas.microsoft.com/office/drawing/2014/main" id="{60755DB7-27FB-456F-8DE6-F358D789D48F}"/>
                </a:ext>
              </a:extLst>
            </p:cNvPr>
            <p:cNvSpPr/>
            <p:nvPr/>
          </p:nvSpPr>
          <p:spPr>
            <a:xfrm rot="8716295">
              <a:off x="1325001" y="2840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6" name="Forme libre : forme 2105">
              <a:extLst>
                <a:ext uri="{FF2B5EF4-FFF2-40B4-BE49-F238E27FC236}">
                  <a16:creationId xmlns:a16="http://schemas.microsoft.com/office/drawing/2014/main" id="{8606756D-A6B7-4495-AF27-29A2389343F7}"/>
                </a:ext>
              </a:extLst>
            </p:cNvPr>
            <p:cNvSpPr/>
            <p:nvPr/>
          </p:nvSpPr>
          <p:spPr>
            <a:xfrm rot="8716295">
              <a:off x="1168225" y="17398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7" name="Forme libre : forme 2106">
              <a:extLst>
                <a:ext uri="{FF2B5EF4-FFF2-40B4-BE49-F238E27FC236}">
                  <a16:creationId xmlns:a16="http://schemas.microsoft.com/office/drawing/2014/main" id="{D39FAC73-C527-4852-8A8F-C2335C9AC7B6}"/>
                </a:ext>
              </a:extLst>
            </p:cNvPr>
            <p:cNvSpPr/>
            <p:nvPr/>
          </p:nvSpPr>
          <p:spPr>
            <a:xfrm rot="8716295">
              <a:off x="1045449" y="-13548"/>
              <a:ext cx="203847" cy="172572"/>
            </a:xfrm>
            <a:custGeom>
              <a:avLst/>
              <a:gdLst>
                <a:gd name="connsiteX0" fmla="*/ 98725 w 203847"/>
                <a:gd name="connsiteY0" fmla="*/ 172572 h 172572"/>
                <a:gd name="connsiteX1" fmla="*/ 65988 w 203847"/>
                <a:gd name="connsiteY1" fmla="*/ 149880 h 172572"/>
                <a:gd name="connsiteX2" fmla="*/ 47847 w 203847"/>
                <a:gd name="connsiteY2" fmla="*/ 116129 h 172572"/>
                <a:gd name="connsiteX3" fmla="*/ 69777 w 203847"/>
                <a:gd name="connsiteY3" fmla="*/ 55323 h 172572"/>
                <a:gd name="connsiteX4" fmla="*/ 0 w 203847"/>
                <a:gd name="connsiteY4" fmla="*/ 55323 h 172572"/>
                <a:gd name="connsiteX5" fmla="*/ 0 w 203847"/>
                <a:gd name="connsiteY5" fmla="*/ 0 h 172572"/>
                <a:gd name="connsiteX6" fmla="*/ 203847 w 203847"/>
                <a:gd name="connsiteY6" fmla="*/ 0 h 172572"/>
                <a:gd name="connsiteX7" fmla="*/ 203847 w 203847"/>
                <a:gd name="connsiteY7" fmla="*/ 55323 h 172572"/>
                <a:gd name="connsiteX8" fmla="*/ 139055 w 203847"/>
                <a:gd name="connsiteY8" fmla="*/ 55323 h 172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72572">
                  <a:moveTo>
                    <a:pt x="98725" y="172572"/>
                  </a:moveTo>
                  <a:lnTo>
                    <a:pt x="65988" y="149880"/>
                  </a:ln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8" name="Forme libre : forme 2107">
              <a:extLst>
                <a:ext uri="{FF2B5EF4-FFF2-40B4-BE49-F238E27FC236}">
                  <a16:creationId xmlns:a16="http://schemas.microsoft.com/office/drawing/2014/main" id="{01DFB6D5-6838-4BAE-A3F7-6EE5905F7587}"/>
                </a:ext>
              </a:extLst>
            </p:cNvPr>
            <p:cNvSpPr/>
            <p:nvPr/>
          </p:nvSpPr>
          <p:spPr>
            <a:xfrm rot="8716295">
              <a:off x="1049608" y="-107301"/>
              <a:ext cx="290643" cy="275223"/>
            </a:xfrm>
            <a:custGeom>
              <a:avLst/>
              <a:gdLst>
                <a:gd name="connsiteX0" fmla="*/ 79172 w 290643"/>
                <a:gd name="connsiteY0" fmla="*/ 128638 h 275223"/>
                <a:gd name="connsiteX1" fmla="*/ 0 w 290643"/>
                <a:gd name="connsiteY1" fmla="*/ 73758 h 275223"/>
                <a:gd name="connsiteX2" fmla="*/ 0 w 290643"/>
                <a:gd name="connsiteY2" fmla="*/ 40596 h 275223"/>
                <a:gd name="connsiteX3" fmla="*/ 78250 w 290643"/>
                <a:gd name="connsiteY3" fmla="*/ 0 h 275223"/>
                <a:gd name="connsiteX4" fmla="*/ 290643 w 290643"/>
                <a:gd name="connsiteY4" fmla="*/ 275223 h 275223"/>
                <a:gd name="connsiteX5" fmla="*/ 278016 w 290643"/>
                <a:gd name="connsiteY5" fmla="*/ 266470 h 275223"/>
                <a:gd name="connsiteX6" fmla="*/ 289467 w 290643"/>
                <a:gd name="connsiteY6" fmla="*/ 261815 h 275223"/>
                <a:gd name="connsiteX7" fmla="*/ 290643 w 290643"/>
                <a:gd name="connsiteY7" fmla="*/ 269463 h 27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0643" h="275223">
                  <a:moveTo>
                    <a:pt x="79172" y="128638"/>
                  </a:moveTo>
                  <a:lnTo>
                    <a:pt x="0" y="73758"/>
                  </a:lnTo>
                  <a:lnTo>
                    <a:pt x="0" y="40596"/>
                  </a:lnTo>
                  <a:lnTo>
                    <a:pt x="78250" y="0"/>
                  </a:lnTo>
                  <a:close/>
                  <a:moveTo>
                    <a:pt x="290643" y="275223"/>
                  </a:moveTo>
                  <a:lnTo>
                    <a:pt x="278016" y="266470"/>
                  </a:lnTo>
                  <a:lnTo>
                    <a:pt x="289467" y="261815"/>
                  </a:lnTo>
                  <a:cubicBezTo>
                    <a:pt x="290055" y="264168"/>
                    <a:pt x="290643" y="267110"/>
                    <a:pt x="290643" y="2694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9" name="Forme libre : forme 2108">
              <a:extLst>
                <a:ext uri="{FF2B5EF4-FFF2-40B4-BE49-F238E27FC236}">
                  <a16:creationId xmlns:a16="http://schemas.microsoft.com/office/drawing/2014/main" id="{40068CFA-826F-4747-847E-A7A0590789FF}"/>
                </a:ext>
              </a:extLst>
            </p:cNvPr>
            <p:cNvSpPr/>
            <p:nvPr/>
          </p:nvSpPr>
          <p:spPr>
            <a:xfrm rot="8716295">
              <a:off x="1258403" y="21493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0" name="Forme libre : forme 2109">
              <a:extLst>
                <a:ext uri="{FF2B5EF4-FFF2-40B4-BE49-F238E27FC236}">
                  <a16:creationId xmlns:a16="http://schemas.microsoft.com/office/drawing/2014/main" id="{186C0547-DD23-448F-B6C3-1554CF0BEABF}"/>
                </a:ext>
              </a:extLst>
            </p:cNvPr>
            <p:cNvSpPr/>
            <p:nvPr/>
          </p:nvSpPr>
          <p:spPr>
            <a:xfrm rot="8716295">
              <a:off x="1604517" y="-50002"/>
              <a:ext cx="142167" cy="106747"/>
            </a:xfrm>
            <a:custGeom>
              <a:avLst/>
              <a:gdLst>
                <a:gd name="connsiteX0" fmla="*/ 142167 w 142167"/>
                <a:gd name="connsiteY0" fmla="*/ 106747 h 106747"/>
                <a:gd name="connsiteX1" fmla="*/ 79942 w 142167"/>
                <a:gd name="connsiteY1" fmla="*/ 63615 h 106747"/>
                <a:gd name="connsiteX2" fmla="*/ 74103 w 142167"/>
                <a:gd name="connsiteY2" fmla="*/ 53597 h 106747"/>
                <a:gd name="connsiteX3" fmla="*/ 60604 w 142167"/>
                <a:gd name="connsiteY3" fmla="*/ 50123 h 106747"/>
                <a:gd name="connsiteX4" fmla="*/ 60478 w 142167"/>
                <a:gd name="connsiteY4" fmla="*/ 50123 h 106747"/>
                <a:gd name="connsiteX5" fmla="*/ 0 w 142167"/>
                <a:gd name="connsiteY5" fmla="*/ 8201 h 106747"/>
                <a:gd name="connsiteX6" fmla="*/ 0 w 142167"/>
                <a:gd name="connsiteY6" fmla="*/ 0 h 106747"/>
                <a:gd name="connsiteX7" fmla="*/ 85209 w 142167"/>
                <a:gd name="connsiteY7" fmla="*/ 0 h 106747"/>
                <a:gd name="connsiteX8" fmla="*/ 142167 w 142167"/>
                <a:gd name="connsiteY8" fmla="*/ 50123 h 10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06747">
                  <a:moveTo>
                    <a:pt x="142167" y="106747"/>
                  </a:moveTo>
                  <a:lnTo>
                    <a:pt x="79942" y="63615"/>
                  </a:lnTo>
                  <a:lnTo>
                    <a:pt x="74103" y="53597"/>
                  </a:lnTo>
                  <a:cubicBezTo>
                    <a:pt x="70400" y="50806"/>
                    <a:pt x="65616" y="49439"/>
                    <a:pt x="60604" y="50123"/>
                  </a:cubicBezTo>
                  <a:lnTo>
                    <a:pt x="60478" y="50123"/>
                  </a:lnTo>
                  <a:lnTo>
                    <a:pt x="0" y="8201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1" name="Forme libre : forme 2110">
              <a:extLst>
                <a:ext uri="{FF2B5EF4-FFF2-40B4-BE49-F238E27FC236}">
                  <a16:creationId xmlns:a16="http://schemas.microsoft.com/office/drawing/2014/main" id="{4E98298E-B55A-44CD-A45A-1C113F4E2341}"/>
                </a:ext>
              </a:extLst>
            </p:cNvPr>
            <p:cNvSpPr/>
            <p:nvPr/>
          </p:nvSpPr>
          <p:spPr>
            <a:xfrm rot="8716295">
              <a:off x="1699771" y="-2013"/>
              <a:ext cx="260639" cy="104392"/>
            </a:xfrm>
            <a:custGeom>
              <a:avLst/>
              <a:gdLst>
                <a:gd name="connsiteX0" fmla="*/ 117530 w 260639"/>
                <a:gd name="connsiteY0" fmla="*/ 104392 h 104392"/>
                <a:gd name="connsiteX1" fmla="*/ 51490 w 260639"/>
                <a:gd name="connsiteY1" fmla="*/ 58614 h 104392"/>
                <a:gd name="connsiteX2" fmla="*/ 51490 w 260639"/>
                <a:gd name="connsiteY2" fmla="*/ 45624 h 104392"/>
                <a:gd name="connsiteX3" fmla="*/ 32748 w 260639"/>
                <a:gd name="connsiteY3" fmla="*/ 45624 h 104392"/>
                <a:gd name="connsiteX4" fmla="*/ 0 w 260639"/>
                <a:gd name="connsiteY4" fmla="*/ 22924 h 104392"/>
                <a:gd name="connsiteX5" fmla="*/ 0 w 260639"/>
                <a:gd name="connsiteY5" fmla="*/ 1425 h 104392"/>
                <a:gd name="connsiteX6" fmla="*/ 104802 w 260639"/>
                <a:gd name="connsiteY6" fmla="*/ 1425 h 104392"/>
                <a:gd name="connsiteX7" fmla="*/ 104802 w 260639"/>
                <a:gd name="connsiteY7" fmla="*/ 75242 h 104392"/>
                <a:gd name="connsiteX8" fmla="*/ 106169 w 260639"/>
                <a:gd name="connsiteY8" fmla="*/ 75242 h 104392"/>
                <a:gd name="connsiteX9" fmla="*/ 154014 w 260639"/>
                <a:gd name="connsiteY9" fmla="*/ 5981 h 104392"/>
                <a:gd name="connsiteX10" fmla="*/ 185455 w 260639"/>
                <a:gd name="connsiteY10" fmla="*/ 57 h 104392"/>
                <a:gd name="connsiteX11" fmla="*/ 260639 w 260639"/>
                <a:gd name="connsiteY11" fmla="*/ 88456 h 104392"/>
                <a:gd name="connsiteX12" fmla="*/ 260639 w 260639"/>
                <a:gd name="connsiteY12" fmla="*/ 94380 h 104392"/>
                <a:gd name="connsiteX13" fmla="*/ 198669 w 260639"/>
                <a:gd name="connsiteY13" fmla="*/ 98025 h 104392"/>
                <a:gd name="connsiteX14" fmla="*/ 198669 w 260639"/>
                <a:gd name="connsiteY14" fmla="*/ 81621 h 104392"/>
                <a:gd name="connsiteX15" fmla="*/ 164950 w 260639"/>
                <a:gd name="connsiteY15" fmla="*/ 40156 h 104392"/>
                <a:gd name="connsiteX16" fmla="*/ 127358 w 260639"/>
                <a:gd name="connsiteY16" fmla="*/ 65616 h 104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60639" h="104392">
                  <a:moveTo>
                    <a:pt x="117530" y="104392"/>
                  </a:moveTo>
                  <a:lnTo>
                    <a:pt x="51490" y="58614"/>
                  </a:lnTo>
                  <a:lnTo>
                    <a:pt x="51490" y="45624"/>
                  </a:lnTo>
                  <a:lnTo>
                    <a:pt x="32748" y="45624"/>
                  </a:lnTo>
                  <a:lnTo>
                    <a:pt x="0" y="229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5"/>
                    <a:pt x="184544" y="40156"/>
                    <a:pt x="164950" y="40156"/>
                  </a:cubicBezTo>
                  <a:cubicBezTo>
                    <a:pt x="150369" y="40156"/>
                    <a:pt x="137041" y="49839"/>
                    <a:pt x="127358" y="656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2" name="Forme libre : forme 2111">
              <a:extLst>
                <a:ext uri="{FF2B5EF4-FFF2-40B4-BE49-F238E27FC236}">
                  <a16:creationId xmlns:a16="http://schemas.microsoft.com/office/drawing/2014/main" id="{1686E0BE-E0BC-4E6B-8FCD-21BC30F2B50B}"/>
                </a:ext>
              </a:extLst>
            </p:cNvPr>
            <p:cNvSpPr/>
            <p:nvPr/>
          </p:nvSpPr>
          <p:spPr>
            <a:xfrm rot="8716295">
              <a:off x="1547502" y="-3521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3" name="Forme libre : forme 2112">
              <a:extLst>
                <a:ext uri="{FF2B5EF4-FFF2-40B4-BE49-F238E27FC236}">
                  <a16:creationId xmlns:a16="http://schemas.microsoft.com/office/drawing/2014/main" id="{EA8402F5-9E14-4C1B-86EF-D60D49059A89}"/>
                </a:ext>
              </a:extLst>
            </p:cNvPr>
            <p:cNvSpPr/>
            <p:nvPr/>
          </p:nvSpPr>
          <p:spPr>
            <a:xfrm rot="7484129">
              <a:off x="1652433" y="15613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4" name="Forme libre : forme 2113">
              <a:extLst>
                <a:ext uri="{FF2B5EF4-FFF2-40B4-BE49-F238E27FC236}">
                  <a16:creationId xmlns:a16="http://schemas.microsoft.com/office/drawing/2014/main" id="{BB19AB13-04E1-44CB-8853-DB1D9B8F2135}"/>
                </a:ext>
              </a:extLst>
            </p:cNvPr>
            <p:cNvSpPr/>
            <p:nvPr/>
          </p:nvSpPr>
          <p:spPr>
            <a:xfrm rot="13089394">
              <a:off x="1757253" y="122669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5" name="Forme libre : forme 2114">
              <a:extLst>
                <a:ext uri="{FF2B5EF4-FFF2-40B4-BE49-F238E27FC236}">
                  <a16:creationId xmlns:a16="http://schemas.microsoft.com/office/drawing/2014/main" id="{6F466DAE-6800-456B-ACC4-2CBB5549AC79}"/>
                </a:ext>
              </a:extLst>
            </p:cNvPr>
            <p:cNvSpPr/>
            <p:nvPr/>
          </p:nvSpPr>
          <p:spPr>
            <a:xfrm rot="8716295">
              <a:off x="1960606" y="3279"/>
              <a:ext cx="142687" cy="109177"/>
            </a:xfrm>
            <a:custGeom>
              <a:avLst/>
              <a:gdLst>
                <a:gd name="connsiteX0" fmla="*/ 48521 w 142687"/>
                <a:gd name="connsiteY0" fmla="*/ 109177 h 109177"/>
                <a:gd name="connsiteX1" fmla="*/ 0 w 142687"/>
                <a:gd name="connsiteY1" fmla="*/ 75545 h 109177"/>
                <a:gd name="connsiteX2" fmla="*/ 44875 w 142687"/>
                <a:gd name="connsiteY2" fmla="*/ 33320 h 109177"/>
                <a:gd name="connsiteX3" fmla="*/ 109367 w 142687"/>
                <a:gd name="connsiteY3" fmla="*/ 0 h 109177"/>
                <a:gd name="connsiteX4" fmla="*/ 142687 w 142687"/>
                <a:gd name="connsiteY4" fmla="*/ 39770 h 109177"/>
                <a:gd name="connsiteX5" fmla="*/ 111516 w 142687"/>
                <a:gd name="connsiteY5" fmla="*/ 81689 h 109177"/>
                <a:gd name="connsiteX6" fmla="*/ 112053 w 142687"/>
                <a:gd name="connsiteY6" fmla="*/ 81689 h 109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687" h="109177">
                  <a:moveTo>
                    <a:pt x="48521" y="109177"/>
                  </a:moveTo>
                  <a:lnTo>
                    <a:pt x="0" y="75545"/>
                  </a:lnTo>
                  <a:lnTo>
                    <a:pt x="44875" y="33320"/>
                  </a:lnTo>
                  <a:cubicBezTo>
                    <a:pt x="60998" y="14511"/>
                    <a:pt x="84107" y="2687"/>
                    <a:pt x="109367" y="0"/>
                  </a:cubicBezTo>
                  <a:cubicBezTo>
                    <a:pt x="135163" y="0"/>
                    <a:pt x="142687" y="22572"/>
                    <a:pt x="142687" y="39770"/>
                  </a:cubicBezTo>
                  <a:cubicBezTo>
                    <a:pt x="141074" y="58580"/>
                    <a:pt x="128713" y="74165"/>
                    <a:pt x="111516" y="81689"/>
                  </a:cubicBezTo>
                  <a:lnTo>
                    <a:pt x="112053" y="816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6" name="Forme libre : forme 2115">
              <a:extLst>
                <a:ext uri="{FF2B5EF4-FFF2-40B4-BE49-F238E27FC236}">
                  <a16:creationId xmlns:a16="http://schemas.microsoft.com/office/drawing/2014/main" id="{9DCB4F7A-3483-4950-AEA2-3FC2A3A37265}"/>
                </a:ext>
              </a:extLst>
            </p:cNvPr>
            <p:cNvSpPr/>
            <p:nvPr/>
          </p:nvSpPr>
          <p:spPr>
            <a:xfrm rot="8716295">
              <a:off x="1076398" y="254697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7" name="Forme libre : forme 2116">
              <a:extLst>
                <a:ext uri="{FF2B5EF4-FFF2-40B4-BE49-F238E27FC236}">
                  <a16:creationId xmlns:a16="http://schemas.microsoft.com/office/drawing/2014/main" id="{414E124C-0029-4898-9792-55D1396F2459}"/>
                </a:ext>
              </a:extLst>
            </p:cNvPr>
            <p:cNvSpPr/>
            <p:nvPr/>
          </p:nvSpPr>
          <p:spPr>
            <a:xfrm rot="8716295">
              <a:off x="1165790" y="257621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8" name="Forme libre : forme 2117">
              <a:extLst>
                <a:ext uri="{FF2B5EF4-FFF2-40B4-BE49-F238E27FC236}">
                  <a16:creationId xmlns:a16="http://schemas.microsoft.com/office/drawing/2014/main" id="{F81BCB93-8702-40B2-9E5E-60A2216BFC6A}"/>
                </a:ext>
              </a:extLst>
            </p:cNvPr>
            <p:cNvSpPr/>
            <p:nvPr/>
          </p:nvSpPr>
          <p:spPr>
            <a:xfrm rot="8716295">
              <a:off x="1120940" y="248993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9" name="Forme libre : forme 2118">
              <a:extLst>
                <a:ext uri="{FF2B5EF4-FFF2-40B4-BE49-F238E27FC236}">
                  <a16:creationId xmlns:a16="http://schemas.microsoft.com/office/drawing/2014/main" id="{90387AAF-8E65-48E6-A7A2-DB1E2DFB9DDB}"/>
                </a:ext>
              </a:extLst>
            </p:cNvPr>
            <p:cNvSpPr/>
            <p:nvPr/>
          </p:nvSpPr>
          <p:spPr>
            <a:xfrm rot="8716295">
              <a:off x="964164" y="263551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0" name="Forme libre : forme 2119">
              <a:extLst>
                <a:ext uri="{FF2B5EF4-FFF2-40B4-BE49-F238E27FC236}">
                  <a16:creationId xmlns:a16="http://schemas.microsoft.com/office/drawing/2014/main" id="{6F5BF8F5-5E17-43C6-8038-8EBDD74B7585}"/>
                </a:ext>
              </a:extLst>
            </p:cNvPr>
            <p:cNvSpPr/>
            <p:nvPr/>
          </p:nvSpPr>
          <p:spPr>
            <a:xfrm rot="8716295">
              <a:off x="839261" y="242684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1" name="Forme libre : forme 2120">
              <a:extLst>
                <a:ext uri="{FF2B5EF4-FFF2-40B4-BE49-F238E27FC236}">
                  <a16:creationId xmlns:a16="http://schemas.microsoft.com/office/drawing/2014/main" id="{8C0ACA57-2A8F-4AAD-A404-075EA92CDFA4}"/>
                </a:ext>
              </a:extLst>
            </p:cNvPr>
            <p:cNvSpPr/>
            <p:nvPr/>
          </p:nvSpPr>
          <p:spPr>
            <a:xfrm rot="8716295">
              <a:off x="827209" y="228806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2" name="Forme libre : forme 2121">
              <a:extLst>
                <a:ext uri="{FF2B5EF4-FFF2-40B4-BE49-F238E27FC236}">
                  <a16:creationId xmlns:a16="http://schemas.microsoft.com/office/drawing/2014/main" id="{C013B905-0051-4D90-A201-5787B7639BF4}"/>
                </a:ext>
              </a:extLst>
            </p:cNvPr>
            <p:cNvSpPr/>
            <p:nvPr/>
          </p:nvSpPr>
          <p:spPr>
            <a:xfrm rot="8716295">
              <a:off x="1054342" y="267647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3" name="Forme libre : forme 2122">
              <a:extLst>
                <a:ext uri="{FF2B5EF4-FFF2-40B4-BE49-F238E27FC236}">
                  <a16:creationId xmlns:a16="http://schemas.microsoft.com/office/drawing/2014/main" id="{8F1BA098-EE89-4D48-A15F-CB3E01C32968}"/>
                </a:ext>
              </a:extLst>
            </p:cNvPr>
            <p:cNvSpPr/>
            <p:nvPr/>
          </p:nvSpPr>
          <p:spPr>
            <a:xfrm rot="8716295">
              <a:off x="1365497" y="229682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4" name="Forme libre : forme 2123">
              <a:extLst>
                <a:ext uri="{FF2B5EF4-FFF2-40B4-BE49-F238E27FC236}">
                  <a16:creationId xmlns:a16="http://schemas.microsoft.com/office/drawing/2014/main" id="{14107977-7495-49D2-8CBC-3985323EDBCB}"/>
                </a:ext>
              </a:extLst>
            </p:cNvPr>
            <p:cNvSpPr/>
            <p:nvPr/>
          </p:nvSpPr>
          <p:spPr>
            <a:xfrm rot="8716295">
              <a:off x="1454889" y="232606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5" name="Forme libre : forme 2124">
              <a:extLst>
                <a:ext uri="{FF2B5EF4-FFF2-40B4-BE49-F238E27FC236}">
                  <a16:creationId xmlns:a16="http://schemas.microsoft.com/office/drawing/2014/main" id="{98C8DCC3-1997-4015-8E64-2DA3E85BA3C9}"/>
                </a:ext>
              </a:extLst>
            </p:cNvPr>
            <p:cNvSpPr/>
            <p:nvPr/>
          </p:nvSpPr>
          <p:spPr>
            <a:xfrm rot="8716295">
              <a:off x="1253263" y="238536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6" name="Forme libre : forme 2125">
              <a:extLst>
                <a:ext uri="{FF2B5EF4-FFF2-40B4-BE49-F238E27FC236}">
                  <a16:creationId xmlns:a16="http://schemas.microsoft.com/office/drawing/2014/main" id="{ED472988-C4F9-49FB-862E-CED2DC1F08EC}"/>
                </a:ext>
              </a:extLst>
            </p:cNvPr>
            <p:cNvSpPr/>
            <p:nvPr/>
          </p:nvSpPr>
          <p:spPr>
            <a:xfrm rot="8716295">
              <a:off x="1128361" y="217669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7" name="Forme libre : forme 2126">
              <a:extLst>
                <a:ext uri="{FF2B5EF4-FFF2-40B4-BE49-F238E27FC236}">
                  <a16:creationId xmlns:a16="http://schemas.microsoft.com/office/drawing/2014/main" id="{97EFC57C-F831-4137-9CEC-BE44BE4717A4}"/>
                </a:ext>
              </a:extLst>
            </p:cNvPr>
            <p:cNvSpPr/>
            <p:nvPr/>
          </p:nvSpPr>
          <p:spPr>
            <a:xfrm rot="8716295">
              <a:off x="1343441" y="242631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8" name="Forme libre : forme 2127">
              <a:extLst>
                <a:ext uri="{FF2B5EF4-FFF2-40B4-BE49-F238E27FC236}">
                  <a16:creationId xmlns:a16="http://schemas.microsoft.com/office/drawing/2014/main" id="{4B620052-605D-48CA-97BF-CFF9CF4DFF66}"/>
                </a:ext>
              </a:extLst>
            </p:cNvPr>
            <p:cNvSpPr/>
            <p:nvPr/>
          </p:nvSpPr>
          <p:spPr>
            <a:xfrm rot="8716295">
              <a:off x="1101990" y="227671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9" name="Forme libre : forme 2128">
              <a:extLst>
                <a:ext uri="{FF2B5EF4-FFF2-40B4-BE49-F238E27FC236}">
                  <a16:creationId xmlns:a16="http://schemas.microsoft.com/office/drawing/2014/main" id="{8C4C7B52-3DF6-47DE-8C0B-9EB4083611A6}"/>
                </a:ext>
              </a:extLst>
            </p:cNvPr>
            <p:cNvSpPr/>
            <p:nvPr/>
          </p:nvSpPr>
          <p:spPr>
            <a:xfrm rot="7484129">
              <a:off x="1448372" y="261767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0" name="Forme libre : forme 2129">
              <a:extLst>
                <a:ext uri="{FF2B5EF4-FFF2-40B4-BE49-F238E27FC236}">
                  <a16:creationId xmlns:a16="http://schemas.microsoft.com/office/drawing/2014/main" id="{2AB34892-B16F-4430-A887-6CE1411F7E19}"/>
                </a:ext>
              </a:extLst>
            </p:cNvPr>
            <p:cNvSpPr/>
            <p:nvPr/>
          </p:nvSpPr>
          <p:spPr>
            <a:xfrm rot="13089394">
              <a:off x="1553192" y="258420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1" name="Forme libre : forme 2130">
              <a:extLst>
                <a:ext uri="{FF2B5EF4-FFF2-40B4-BE49-F238E27FC236}">
                  <a16:creationId xmlns:a16="http://schemas.microsoft.com/office/drawing/2014/main" id="{0F6D3C11-D763-4926-91AB-47832AC0DA05}"/>
                </a:ext>
              </a:extLst>
            </p:cNvPr>
            <p:cNvSpPr/>
            <p:nvPr/>
          </p:nvSpPr>
          <p:spPr>
            <a:xfrm rot="8716295">
              <a:off x="1738777" y="23925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2" name="Forme libre : forme 2131">
              <a:extLst>
                <a:ext uri="{FF2B5EF4-FFF2-40B4-BE49-F238E27FC236}">
                  <a16:creationId xmlns:a16="http://schemas.microsoft.com/office/drawing/2014/main" id="{A93A76E0-518B-4AFD-B8BD-03318ECE2F2F}"/>
                </a:ext>
              </a:extLst>
            </p:cNvPr>
            <p:cNvSpPr/>
            <p:nvPr/>
          </p:nvSpPr>
          <p:spPr>
            <a:xfrm rot="8716295">
              <a:off x="1686972" y="228893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3" name="Forme libre : forme 2132">
              <a:extLst>
                <a:ext uri="{FF2B5EF4-FFF2-40B4-BE49-F238E27FC236}">
                  <a16:creationId xmlns:a16="http://schemas.microsoft.com/office/drawing/2014/main" id="{48F561D4-A24C-46DA-9343-9AE94EDAA695}"/>
                </a:ext>
              </a:extLst>
            </p:cNvPr>
            <p:cNvSpPr/>
            <p:nvPr/>
          </p:nvSpPr>
          <p:spPr>
            <a:xfrm rot="8716295">
              <a:off x="1443726" y="231915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4" name="Forme libre : forme 2133">
              <a:extLst>
                <a:ext uri="{FF2B5EF4-FFF2-40B4-BE49-F238E27FC236}">
                  <a16:creationId xmlns:a16="http://schemas.microsoft.com/office/drawing/2014/main" id="{405DD3A6-28FF-4951-B270-6EC3E4D35ACA}"/>
                </a:ext>
              </a:extLst>
            </p:cNvPr>
            <p:cNvSpPr/>
            <p:nvPr/>
          </p:nvSpPr>
          <p:spPr>
            <a:xfrm rot="8716295">
              <a:off x="1621178" y="21599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5" name="Forme libre : forme 2134">
              <a:extLst>
                <a:ext uri="{FF2B5EF4-FFF2-40B4-BE49-F238E27FC236}">
                  <a16:creationId xmlns:a16="http://schemas.microsoft.com/office/drawing/2014/main" id="{F5308643-F53C-4E01-88E3-C8899D8500A4}"/>
                </a:ext>
              </a:extLst>
            </p:cNvPr>
            <p:cNvSpPr/>
            <p:nvPr/>
          </p:nvSpPr>
          <p:spPr>
            <a:xfrm rot="8716295">
              <a:off x="1299565" y="320667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6" name="Forme libre : forme 2135">
              <a:extLst>
                <a:ext uri="{FF2B5EF4-FFF2-40B4-BE49-F238E27FC236}">
                  <a16:creationId xmlns:a16="http://schemas.microsoft.com/office/drawing/2014/main" id="{D02035B8-4115-4B72-BCBC-2D5DECA663A0}"/>
                </a:ext>
              </a:extLst>
            </p:cNvPr>
            <p:cNvSpPr/>
            <p:nvPr/>
          </p:nvSpPr>
          <p:spPr>
            <a:xfrm rot="8716295">
              <a:off x="1388957" y="323591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7" name="Forme libre : forme 2136">
              <a:extLst>
                <a:ext uri="{FF2B5EF4-FFF2-40B4-BE49-F238E27FC236}">
                  <a16:creationId xmlns:a16="http://schemas.microsoft.com/office/drawing/2014/main" id="{CAB19897-3060-41B2-8A6A-E0541CF22EA7}"/>
                </a:ext>
              </a:extLst>
            </p:cNvPr>
            <p:cNvSpPr/>
            <p:nvPr/>
          </p:nvSpPr>
          <p:spPr>
            <a:xfrm rot="8716295">
              <a:off x="1344107" y="314963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8" name="Forme libre : forme 2137">
              <a:extLst>
                <a:ext uri="{FF2B5EF4-FFF2-40B4-BE49-F238E27FC236}">
                  <a16:creationId xmlns:a16="http://schemas.microsoft.com/office/drawing/2014/main" id="{F64A09B4-7DEB-4702-A647-FF2760487C04}"/>
                </a:ext>
              </a:extLst>
            </p:cNvPr>
            <p:cNvSpPr/>
            <p:nvPr/>
          </p:nvSpPr>
          <p:spPr>
            <a:xfrm rot="8716295">
              <a:off x="1187331" y="329521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9" name="Forme libre : forme 2138">
              <a:extLst>
                <a:ext uri="{FF2B5EF4-FFF2-40B4-BE49-F238E27FC236}">
                  <a16:creationId xmlns:a16="http://schemas.microsoft.com/office/drawing/2014/main" id="{92647C63-BB62-4D18-9ADE-8CD298C1670B}"/>
                </a:ext>
              </a:extLst>
            </p:cNvPr>
            <p:cNvSpPr/>
            <p:nvPr/>
          </p:nvSpPr>
          <p:spPr>
            <a:xfrm rot="8716295">
              <a:off x="1062428" y="308654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0" name="Forme libre : forme 2139">
              <a:extLst>
                <a:ext uri="{FF2B5EF4-FFF2-40B4-BE49-F238E27FC236}">
                  <a16:creationId xmlns:a16="http://schemas.microsoft.com/office/drawing/2014/main" id="{CAB88C70-3A76-4EED-9248-818FE9DD9BFA}"/>
                </a:ext>
              </a:extLst>
            </p:cNvPr>
            <p:cNvSpPr/>
            <p:nvPr/>
          </p:nvSpPr>
          <p:spPr>
            <a:xfrm rot="8716295">
              <a:off x="1050376" y="294776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1" name="Forme libre : forme 2140">
              <a:extLst>
                <a:ext uri="{FF2B5EF4-FFF2-40B4-BE49-F238E27FC236}">
                  <a16:creationId xmlns:a16="http://schemas.microsoft.com/office/drawing/2014/main" id="{757E5A5F-118C-4D2D-A7CB-9D38E498AA18}"/>
                </a:ext>
              </a:extLst>
            </p:cNvPr>
            <p:cNvSpPr/>
            <p:nvPr/>
          </p:nvSpPr>
          <p:spPr>
            <a:xfrm rot="8716295">
              <a:off x="1277509" y="333617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2" name="Forme libre : forme 2141">
              <a:extLst>
                <a:ext uri="{FF2B5EF4-FFF2-40B4-BE49-F238E27FC236}">
                  <a16:creationId xmlns:a16="http://schemas.microsoft.com/office/drawing/2014/main" id="{9CD271A0-DDCA-4CF4-99AF-F1225E7D3CA2}"/>
                </a:ext>
              </a:extLst>
            </p:cNvPr>
            <p:cNvSpPr/>
            <p:nvPr/>
          </p:nvSpPr>
          <p:spPr>
            <a:xfrm rot="8716295">
              <a:off x="1588664" y="295652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3" name="Forme libre : forme 2142">
              <a:extLst>
                <a:ext uri="{FF2B5EF4-FFF2-40B4-BE49-F238E27FC236}">
                  <a16:creationId xmlns:a16="http://schemas.microsoft.com/office/drawing/2014/main" id="{F17E5C04-2914-4166-904F-3412803C328B}"/>
                </a:ext>
              </a:extLst>
            </p:cNvPr>
            <p:cNvSpPr/>
            <p:nvPr/>
          </p:nvSpPr>
          <p:spPr>
            <a:xfrm rot="8716295">
              <a:off x="1678056" y="298576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4" name="Forme libre : forme 2143">
              <a:extLst>
                <a:ext uri="{FF2B5EF4-FFF2-40B4-BE49-F238E27FC236}">
                  <a16:creationId xmlns:a16="http://schemas.microsoft.com/office/drawing/2014/main" id="{06EE81A0-69AF-4FE9-B5FC-828C4F72D8C6}"/>
                </a:ext>
              </a:extLst>
            </p:cNvPr>
            <p:cNvSpPr/>
            <p:nvPr/>
          </p:nvSpPr>
          <p:spPr>
            <a:xfrm rot="8716295">
              <a:off x="1476430" y="304506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5" name="Forme libre : forme 2144">
              <a:extLst>
                <a:ext uri="{FF2B5EF4-FFF2-40B4-BE49-F238E27FC236}">
                  <a16:creationId xmlns:a16="http://schemas.microsoft.com/office/drawing/2014/main" id="{8EAE6F01-A7F9-464C-8EBA-81A188499272}"/>
                </a:ext>
              </a:extLst>
            </p:cNvPr>
            <p:cNvSpPr/>
            <p:nvPr/>
          </p:nvSpPr>
          <p:spPr>
            <a:xfrm rot="8716295">
              <a:off x="1351528" y="283639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6" name="Forme libre : forme 2145">
              <a:extLst>
                <a:ext uri="{FF2B5EF4-FFF2-40B4-BE49-F238E27FC236}">
                  <a16:creationId xmlns:a16="http://schemas.microsoft.com/office/drawing/2014/main" id="{B6351AC7-96AD-47D1-9D79-F320C6E6D6E3}"/>
                </a:ext>
              </a:extLst>
            </p:cNvPr>
            <p:cNvSpPr/>
            <p:nvPr/>
          </p:nvSpPr>
          <p:spPr>
            <a:xfrm rot="8716295">
              <a:off x="1566608" y="308601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7" name="Forme libre : forme 2146">
              <a:extLst>
                <a:ext uri="{FF2B5EF4-FFF2-40B4-BE49-F238E27FC236}">
                  <a16:creationId xmlns:a16="http://schemas.microsoft.com/office/drawing/2014/main" id="{82BC95DB-83FD-4690-8848-41B64D5E034F}"/>
                </a:ext>
              </a:extLst>
            </p:cNvPr>
            <p:cNvSpPr/>
            <p:nvPr/>
          </p:nvSpPr>
          <p:spPr>
            <a:xfrm rot="8716295">
              <a:off x="1325157" y="293641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8" name="Forme libre : forme 2147">
              <a:extLst>
                <a:ext uri="{FF2B5EF4-FFF2-40B4-BE49-F238E27FC236}">
                  <a16:creationId xmlns:a16="http://schemas.microsoft.com/office/drawing/2014/main" id="{19CDF187-E415-4E2D-A559-BA3CE6C90F8E}"/>
                </a:ext>
              </a:extLst>
            </p:cNvPr>
            <p:cNvSpPr/>
            <p:nvPr/>
          </p:nvSpPr>
          <p:spPr>
            <a:xfrm rot="7484129">
              <a:off x="1671539" y="327736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9" name="Forme libre : forme 2148">
              <a:extLst>
                <a:ext uri="{FF2B5EF4-FFF2-40B4-BE49-F238E27FC236}">
                  <a16:creationId xmlns:a16="http://schemas.microsoft.com/office/drawing/2014/main" id="{DDE34510-8FA7-4B53-A035-4965BDBF96B3}"/>
                </a:ext>
              </a:extLst>
            </p:cNvPr>
            <p:cNvSpPr/>
            <p:nvPr/>
          </p:nvSpPr>
          <p:spPr>
            <a:xfrm rot="13089394">
              <a:off x="1776359" y="324390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0" name="Forme libre : forme 2149">
              <a:extLst>
                <a:ext uri="{FF2B5EF4-FFF2-40B4-BE49-F238E27FC236}">
                  <a16:creationId xmlns:a16="http://schemas.microsoft.com/office/drawing/2014/main" id="{4BB6C526-1010-4A1E-9912-BB67A42E4090}"/>
                </a:ext>
              </a:extLst>
            </p:cNvPr>
            <p:cNvSpPr/>
            <p:nvPr/>
          </p:nvSpPr>
          <p:spPr>
            <a:xfrm rot="8716295">
              <a:off x="1961944" y="305222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1" name="Forme libre : forme 2150">
              <a:extLst>
                <a:ext uri="{FF2B5EF4-FFF2-40B4-BE49-F238E27FC236}">
                  <a16:creationId xmlns:a16="http://schemas.microsoft.com/office/drawing/2014/main" id="{F4134A25-BDCE-4B34-AD80-5279EE73B812}"/>
                </a:ext>
              </a:extLst>
            </p:cNvPr>
            <p:cNvSpPr/>
            <p:nvPr/>
          </p:nvSpPr>
          <p:spPr>
            <a:xfrm rot="8716295">
              <a:off x="1910139" y="294862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2" name="Forme libre : forme 2151">
              <a:extLst>
                <a:ext uri="{FF2B5EF4-FFF2-40B4-BE49-F238E27FC236}">
                  <a16:creationId xmlns:a16="http://schemas.microsoft.com/office/drawing/2014/main" id="{B08A59B2-7AD4-4CE7-B6F7-0E9654D5CD55}"/>
                </a:ext>
              </a:extLst>
            </p:cNvPr>
            <p:cNvSpPr/>
            <p:nvPr/>
          </p:nvSpPr>
          <p:spPr>
            <a:xfrm rot="8716295">
              <a:off x="1666893" y="297885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3" name="Forme libre : forme 2152">
              <a:extLst>
                <a:ext uri="{FF2B5EF4-FFF2-40B4-BE49-F238E27FC236}">
                  <a16:creationId xmlns:a16="http://schemas.microsoft.com/office/drawing/2014/main" id="{103CB056-39D3-4816-9465-68CA4D6F7AFD}"/>
                </a:ext>
              </a:extLst>
            </p:cNvPr>
            <p:cNvSpPr/>
            <p:nvPr/>
          </p:nvSpPr>
          <p:spPr>
            <a:xfrm rot="8716295">
              <a:off x="1844345" y="281960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4" name="Forme libre : forme 2153">
              <a:extLst>
                <a:ext uri="{FF2B5EF4-FFF2-40B4-BE49-F238E27FC236}">
                  <a16:creationId xmlns:a16="http://schemas.microsoft.com/office/drawing/2014/main" id="{BB2685A7-9846-429A-B032-E76F8406BAD2}"/>
                </a:ext>
              </a:extLst>
            </p:cNvPr>
            <p:cNvSpPr/>
            <p:nvPr/>
          </p:nvSpPr>
          <p:spPr>
            <a:xfrm rot="8716295">
              <a:off x="2092137" y="5100860"/>
              <a:ext cx="63833" cy="43384"/>
            </a:xfrm>
            <a:custGeom>
              <a:avLst/>
              <a:gdLst>
                <a:gd name="connsiteX0" fmla="*/ 5923 w 63833"/>
                <a:gd name="connsiteY0" fmla="*/ 43384 h 43384"/>
                <a:gd name="connsiteX1" fmla="*/ 0 w 63833"/>
                <a:gd name="connsiteY1" fmla="*/ 35182 h 43384"/>
                <a:gd name="connsiteX2" fmla="*/ 37391 w 63833"/>
                <a:gd name="connsiteY2" fmla="*/ 0 h 43384"/>
                <a:gd name="connsiteX3" fmla="*/ 63833 w 63833"/>
                <a:gd name="connsiteY3" fmla="*/ 18329 h 4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833" h="43384">
                  <a:moveTo>
                    <a:pt x="5923" y="43384"/>
                  </a:moveTo>
                  <a:lnTo>
                    <a:pt x="0" y="35182"/>
                  </a:lnTo>
                  <a:lnTo>
                    <a:pt x="37391" y="0"/>
                  </a:lnTo>
                  <a:lnTo>
                    <a:pt x="63833" y="1832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5" name="Forme libre : forme 2154">
              <a:extLst>
                <a:ext uri="{FF2B5EF4-FFF2-40B4-BE49-F238E27FC236}">
                  <a16:creationId xmlns:a16="http://schemas.microsoft.com/office/drawing/2014/main" id="{1551E1ED-BCFB-4644-83F8-51D351159ECB}"/>
                </a:ext>
              </a:extLst>
            </p:cNvPr>
            <p:cNvSpPr/>
            <p:nvPr/>
          </p:nvSpPr>
          <p:spPr>
            <a:xfrm rot="8716295">
              <a:off x="1789040" y="5044339"/>
              <a:ext cx="113322" cy="144291"/>
            </a:xfrm>
            <a:custGeom>
              <a:avLst/>
              <a:gdLst>
                <a:gd name="connsiteX0" fmla="*/ 0 w 113322"/>
                <a:gd name="connsiteY0" fmla="*/ 3741 h 144291"/>
                <a:gd name="connsiteX1" fmla="*/ 0 w 113322"/>
                <a:gd name="connsiteY1" fmla="*/ 0 h 144291"/>
                <a:gd name="connsiteX2" fmla="*/ 5398 w 113322"/>
                <a:gd name="connsiteY2" fmla="*/ 3741 h 144291"/>
                <a:gd name="connsiteX3" fmla="*/ 90709 w 113322"/>
                <a:gd name="connsiteY3" fmla="*/ 144291 h 144291"/>
                <a:gd name="connsiteX4" fmla="*/ 47847 w 113322"/>
                <a:gd name="connsiteY4" fmla="*/ 64547 h 144291"/>
                <a:gd name="connsiteX5" fmla="*/ 56901 w 113322"/>
                <a:gd name="connsiteY5" fmla="*/ 39441 h 144291"/>
                <a:gd name="connsiteX6" fmla="*/ 113322 w 113322"/>
                <a:gd name="connsiteY6" fmla="*/ 78551 h 144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322" h="144291">
                  <a:moveTo>
                    <a:pt x="0" y="3741"/>
                  </a:moveTo>
                  <a:lnTo>
                    <a:pt x="0" y="0"/>
                  </a:lnTo>
                  <a:lnTo>
                    <a:pt x="5398" y="3741"/>
                  </a:lnTo>
                  <a:close/>
                  <a:moveTo>
                    <a:pt x="90709" y="144291"/>
                  </a:moveTo>
                  <a:lnTo>
                    <a:pt x="47847" y="64547"/>
                  </a:lnTo>
                  <a:lnTo>
                    <a:pt x="56901" y="39441"/>
                  </a:lnTo>
                  <a:lnTo>
                    <a:pt x="113322" y="7855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6" name="Forme libre : forme 2155">
              <a:extLst>
                <a:ext uri="{FF2B5EF4-FFF2-40B4-BE49-F238E27FC236}">
                  <a16:creationId xmlns:a16="http://schemas.microsoft.com/office/drawing/2014/main" id="{225E9856-4565-4211-849D-72975628AB50}"/>
                </a:ext>
              </a:extLst>
            </p:cNvPr>
            <p:cNvSpPr/>
            <p:nvPr/>
          </p:nvSpPr>
          <p:spPr>
            <a:xfrm rot="8716295">
              <a:off x="1701335" y="4927006"/>
              <a:ext cx="290643" cy="318535"/>
            </a:xfrm>
            <a:custGeom>
              <a:avLst/>
              <a:gdLst>
                <a:gd name="connsiteX0" fmla="*/ 25298 w 290643"/>
                <a:gd name="connsiteY0" fmla="*/ 288944 h 318535"/>
                <a:gd name="connsiteX1" fmla="*/ 0 w 290643"/>
                <a:gd name="connsiteY1" fmla="*/ 187748 h 318535"/>
                <a:gd name="connsiteX2" fmla="*/ 0 w 290643"/>
                <a:gd name="connsiteY2" fmla="*/ 8302 h 318535"/>
                <a:gd name="connsiteX3" fmla="*/ 16003 w 290643"/>
                <a:gd name="connsiteY3" fmla="*/ 0 h 318535"/>
                <a:gd name="connsiteX4" fmla="*/ 78793 w 290643"/>
                <a:gd name="connsiteY4" fmla="*/ 43524 h 318535"/>
                <a:gd name="connsiteX5" fmla="*/ 79427 w 290643"/>
                <a:gd name="connsiteY5" fmla="*/ 131855 h 318535"/>
                <a:gd name="connsiteX6" fmla="*/ 93547 w 290643"/>
                <a:gd name="connsiteY6" fmla="*/ 229521 h 318535"/>
                <a:gd name="connsiteX7" fmla="*/ 164149 w 290643"/>
                <a:gd name="connsiteY7" fmla="*/ 268352 h 318535"/>
                <a:gd name="connsiteX8" fmla="*/ 217100 w 290643"/>
                <a:gd name="connsiteY8" fmla="*/ 258938 h 318535"/>
                <a:gd name="connsiteX9" fmla="*/ 289467 w 290643"/>
                <a:gd name="connsiteY9" fmla="*/ 229521 h 318535"/>
                <a:gd name="connsiteX10" fmla="*/ 290643 w 290643"/>
                <a:gd name="connsiteY10" fmla="*/ 237169 h 318535"/>
                <a:gd name="connsiteX11" fmla="*/ 290643 w 290643"/>
                <a:gd name="connsiteY11" fmla="*/ 243052 h 318535"/>
                <a:gd name="connsiteX12" fmla="*/ 97665 w 290643"/>
                <a:gd name="connsiteY12" fmla="*/ 318361 h 318535"/>
                <a:gd name="connsiteX13" fmla="*/ 25298 w 290643"/>
                <a:gd name="connsiteY13" fmla="*/ 288944 h 318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90643" h="318535">
                  <a:moveTo>
                    <a:pt x="25298" y="288944"/>
                  </a:moveTo>
                  <a:cubicBezTo>
                    <a:pt x="5295" y="269528"/>
                    <a:pt x="0" y="235992"/>
                    <a:pt x="0" y="187748"/>
                  </a:cubicBezTo>
                  <a:lnTo>
                    <a:pt x="0" y="8302"/>
                  </a:lnTo>
                  <a:lnTo>
                    <a:pt x="16003" y="0"/>
                  </a:lnTo>
                  <a:lnTo>
                    <a:pt x="78793" y="43524"/>
                  </a:lnTo>
                  <a:lnTo>
                    <a:pt x="79427" y="131855"/>
                  </a:lnTo>
                  <a:cubicBezTo>
                    <a:pt x="77662" y="164803"/>
                    <a:pt x="82957" y="198338"/>
                    <a:pt x="93547" y="229521"/>
                  </a:cubicBezTo>
                  <a:cubicBezTo>
                    <a:pt x="102961" y="255408"/>
                    <a:pt x="127083" y="268352"/>
                    <a:pt x="164149" y="268352"/>
                  </a:cubicBezTo>
                  <a:cubicBezTo>
                    <a:pt x="182387" y="267763"/>
                    <a:pt x="200038" y="264233"/>
                    <a:pt x="217100" y="258938"/>
                  </a:cubicBezTo>
                  <a:cubicBezTo>
                    <a:pt x="241810" y="251290"/>
                    <a:pt x="265933" y="241288"/>
                    <a:pt x="289467" y="229521"/>
                  </a:cubicBezTo>
                  <a:cubicBezTo>
                    <a:pt x="290055" y="231874"/>
                    <a:pt x="290643" y="234816"/>
                    <a:pt x="290643" y="237169"/>
                  </a:cubicBezTo>
                  <a:lnTo>
                    <a:pt x="290643" y="243052"/>
                  </a:lnTo>
                  <a:cubicBezTo>
                    <a:pt x="228278" y="296592"/>
                    <a:pt x="146498" y="315419"/>
                    <a:pt x="97665" y="318361"/>
                  </a:cubicBezTo>
                  <a:cubicBezTo>
                    <a:pt x="70602" y="320126"/>
                    <a:pt x="44126" y="308359"/>
                    <a:pt x="25298" y="28894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7" name="Forme libre : forme 2156">
              <a:extLst>
                <a:ext uri="{FF2B5EF4-FFF2-40B4-BE49-F238E27FC236}">
                  <a16:creationId xmlns:a16="http://schemas.microsoft.com/office/drawing/2014/main" id="{0F4D380E-862F-4707-A19B-1E97A2112DC2}"/>
                </a:ext>
              </a:extLst>
            </p:cNvPr>
            <p:cNvSpPr/>
            <p:nvPr/>
          </p:nvSpPr>
          <p:spPr>
            <a:xfrm rot="8716295">
              <a:off x="2251190" y="4935850"/>
              <a:ext cx="142167" cy="232388"/>
            </a:xfrm>
            <a:custGeom>
              <a:avLst/>
              <a:gdLst>
                <a:gd name="connsiteX0" fmla="*/ 81108 w 142167"/>
                <a:gd name="connsiteY0" fmla="*/ 232388 h 232388"/>
                <a:gd name="connsiteX1" fmla="*/ 81108 w 142167"/>
                <a:gd name="connsiteY1" fmla="*/ 69716 h 232388"/>
                <a:gd name="connsiteX2" fmla="*/ 81108 w 142167"/>
                <a:gd name="connsiteY2" fmla="*/ 65616 h 232388"/>
                <a:gd name="connsiteX3" fmla="*/ 60604 w 142167"/>
                <a:gd name="connsiteY3" fmla="*/ 50123 h 232388"/>
                <a:gd name="connsiteX4" fmla="*/ 0 w 142167"/>
                <a:gd name="connsiteY4" fmla="*/ 50123 h 232388"/>
                <a:gd name="connsiteX5" fmla="*/ 0 w 142167"/>
                <a:gd name="connsiteY5" fmla="*/ 0 h 232388"/>
                <a:gd name="connsiteX6" fmla="*/ 63990 w 142167"/>
                <a:gd name="connsiteY6" fmla="*/ 0 h 232388"/>
                <a:gd name="connsiteX7" fmla="*/ 142167 w 142167"/>
                <a:gd name="connsiteY7" fmla="*/ 54190 h 232388"/>
                <a:gd name="connsiteX8" fmla="*/ 142167 w 142167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32388">
                  <a:moveTo>
                    <a:pt x="81108" y="232388"/>
                  </a:moveTo>
                  <a:lnTo>
                    <a:pt x="81108" y="69716"/>
                  </a:lnTo>
                  <a:cubicBezTo>
                    <a:pt x="81108" y="68350"/>
                    <a:pt x="81108" y="66983"/>
                    <a:pt x="81108" y="65616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63990" y="0"/>
                  </a:lnTo>
                  <a:lnTo>
                    <a:pt x="142167" y="54190"/>
                  </a:lnTo>
                  <a:lnTo>
                    <a:pt x="142167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8" name="Forme libre : forme 2157">
              <a:extLst>
                <a:ext uri="{FF2B5EF4-FFF2-40B4-BE49-F238E27FC236}">
                  <a16:creationId xmlns:a16="http://schemas.microsoft.com/office/drawing/2014/main" id="{87F138DF-A215-4254-ACAA-04DDE52CD8B6}"/>
                </a:ext>
              </a:extLst>
            </p:cNvPr>
            <p:cNvSpPr/>
            <p:nvPr/>
          </p:nvSpPr>
          <p:spPr>
            <a:xfrm rot="8716295">
              <a:off x="2456859" y="4924575"/>
              <a:ext cx="131246" cy="253348"/>
            </a:xfrm>
            <a:custGeom>
              <a:avLst/>
              <a:gdLst>
                <a:gd name="connsiteX0" fmla="*/ 51490 w 131246"/>
                <a:gd name="connsiteY0" fmla="*/ 253348 h 253348"/>
                <a:gd name="connsiteX1" fmla="*/ 51489 w 131246"/>
                <a:gd name="connsiteY1" fmla="*/ 44199 h 253348"/>
                <a:gd name="connsiteX2" fmla="*/ 0 w 131246"/>
                <a:gd name="connsiteY2" fmla="*/ 44199 h 253348"/>
                <a:gd name="connsiteX3" fmla="*/ 0 w 131246"/>
                <a:gd name="connsiteY3" fmla="*/ 0 h 253348"/>
                <a:gd name="connsiteX4" fmla="*/ 44807 w 131246"/>
                <a:gd name="connsiteY4" fmla="*/ 0 h 253348"/>
                <a:gd name="connsiteX5" fmla="*/ 104802 w 131246"/>
                <a:gd name="connsiteY5" fmla="*/ 41587 h 253348"/>
                <a:gd name="connsiteX6" fmla="*/ 104802 w 131246"/>
                <a:gd name="connsiteY6" fmla="*/ 73817 h 253348"/>
                <a:gd name="connsiteX7" fmla="*/ 106169 w 131246"/>
                <a:gd name="connsiteY7" fmla="*/ 73817 h 253348"/>
                <a:gd name="connsiteX8" fmla="*/ 115569 w 131246"/>
                <a:gd name="connsiteY8" fmla="*/ 49050 h 253348"/>
                <a:gd name="connsiteX9" fmla="*/ 131246 w 131246"/>
                <a:gd name="connsiteY9" fmla="*/ 59916 h 253348"/>
                <a:gd name="connsiteX10" fmla="*/ 127358 w 131246"/>
                <a:gd name="connsiteY10" fmla="*/ 64191 h 253348"/>
                <a:gd name="connsiteX11" fmla="*/ 111638 w 131246"/>
                <a:gd name="connsiteY11" fmla="*/ 126218 h 253348"/>
                <a:gd name="connsiteX12" fmla="*/ 111638 w 131246"/>
                <a:gd name="connsiteY12" fmla="*/ 212339 h 253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1246" h="253348">
                  <a:moveTo>
                    <a:pt x="51490" y="253348"/>
                  </a:moveTo>
                  <a:lnTo>
                    <a:pt x="51489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44807" y="0"/>
                  </a:lnTo>
                  <a:lnTo>
                    <a:pt x="104802" y="41587"/>
                  </a:lnTo>
                  <a:lnTo>
                    <a:pt x="104802" y="73817"/>
                  </a:lnTo>
                  <a:lnTo>
                    <a:pt x="106169" y="73817"/>
                  </a:lnTo>
                  <a:lnTo>
                    <a:pt x="115569" y="49050"/>
                  </a:lnTo>
                  <a:lnTo>
                    <a:pt x="131246" y="59916"/>
                  </a:lnTo>
                  <a:lnTo>
                    <a:pt x="127358" y="64191"/>
                  </a:lnTo>
                  <a:cubicBezTo>
                    <a:pt x="117675" y="79968"/>
                    <a:pt x="111638" y="101840"/>
                    <a:pt x="111638" y="126218"/>
                  </a:cubicBezTo>
                  <a:lnTo>
                    <a:pt x="111638" y="2123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9" name="Forme libre : forme 2158">
              <a:extLst>
                <a:ext uri="{FF2B5EF4-FFF2-40B4-BE49-F238E27FC236}">
                  <a16:creationId xmlns:a16="http://schemas.microsoft.com/office/drawing/2014/main" id="{21433117-8AAD-4CA9-9660-FC5A8F69F16F}"/>
                </a:ext>
              </a:extLst>
            </p:cNvPr>
            <p:cNvSpPr/>
            <p:nvPr/>
          </p:nvSpPr>
          <p:spPr>
            <a:xfrm rot="8716295">
              <a:off x="2139785" y="502413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0" name="Forme libre : forme 2159">
              <a:extLst>
                <a:ext uri="{FF2B5EF4-FFF2-40B4-BE49-F238E27FC236}">
                  <a16:creationId xmlns:a16="http://schemas.microsoft.com/office/drawing/2014/main" id="{06B19A57-02F4-4720-99D9-55A2BEE2C0D4}"/>
                </a:ext>
              </a:extLst>
            </p:cNvPr>
            <p:cNvSpPr/>
            <p:nvPr/>
          </p:nvSpPr>
          <p:spPr>
            <a:xfrm rot="8716295">
              <a:off x="2014883" y="481546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1" name="Forme libre : forme 2160">
              <a:extLst>
                <a:ext uri="{FF2B5EF4-FFF2-40B4-BE49-F238E27FC236}">
                  <a16:creationId xmlns:a16="http://schemas.microsoft.com/office/drawing/2014/main" id="{DDDE473C-0945-4D7B-9870-6AD6EC305155}"/>
                </a:ext>
              </a:extLst>
            </p:cNvPr>
            <p:cNvSpPr/>
            <p:nvPr/>
          </p:nvSpPr>
          <p:spPr>
            <a:xfrm rot="8716295">
              <a:off x="2190257" y="5090583"/>
              <a:ext cx="60147" cy="76898"/>
            </a:xfrm>
            <a:custGeom>
              <a:avLst/>
              <a:gdLst>
                <a:gd name="connsiteX0" fmla="*/ 60147 w 60147"/>
                <a:gd name="connsiteY0" fmla="*/ 76898 h 76898"/>
                <a:gd name="connsiteX1" fmla="*/ 0 w 60147"/>
                <a:gd name="connsiteY1" fmla="*/ 19028 h 76898"/>
                <a:gd name="connsiteX2" fmla="*/ 0 w 60147"/>
                <a:gd name="connsiteY2" fmla="*/ 0 h 76898"/>
                <a:gd name="connsiteX3" fmla="*/ 60147 w 60147"/>
                <a:gd name="connsiteY3" fmla="*/ 41692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7" h="76898">
                  <a:moveTo>
                    <a:pt x="60147" y="76898"/>
                  </a:moveTo>
                  <a:lnTo>
                    <a:pt x="0" y="19028"/>
                  </a:lnTo>
                  <a:lnTo>
                    <a:pt x="0" y="0"/>
                  </a:lnTo>
                  <a:lnTo>
                    <a:pt x="60147" y="416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2" name="Forme libre : forme 2161">
              <a:extLst>
                <a:ext uri="{FF2B5EF4-FFF2-40B4-BE49-F238E27FC236}">
                  <a16:creationId xmlns:a16="http://schemas.microsoft.com/office/drawing/2014/main" id="{E08FB812-18F4-4980-B27F-475CA6F734E7}"/>
                </a:ext>
              </a:extLst>
            </p:cNvPr>
            <p:cNvSpPr/>
            <p:nvPr/>
          </p:nvSpPr>
          <p:spPr>
            <a:xfrm rot="8716295">
              <a:off x="1988512" y="491548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3" name="Forme libre : forme 2162">
              <a:extLst>
                <a:ext uri="{FF2B5EF4-FFF2-40B4-BE49-F238E27FC236}">
                  <a16:creationId xmlns:a16="http://schemas.microsoft.com/office/drawing/2014/main" id="{698261C6-8F0A-4C69-96B5-C2C92CFC8151}"/>
                </a:ext>
              </a:extLst>
            </p:cNvPr>
            <p:cNvSpPr/>
            <p:nvPr/>
          </p:nvSpPr>
          <p:spPr>
            <a:xfrm rot="8716295">
              <a:off x="2650789" y="5021708"/>
              <a:ext cx="177699" cy="117559"/>
            </a:xfrm>
            <a:custGeom>
              <a:avLst/>
              <a:gdLst>
                <a:gd name="connsiteX0" fmla="*/ 6986 w 177699"/>
                <a:gd name="connsiteY0" fmla="*/ 117559 h 117559"/>
                <a:gd name="connsiteX1" fmla="*/ 0 w 177699"/>
                <a:gd name="connsiteY1" fmla="*/ 107886 h 117559"/>
                <a:gd name="connsiteX2" fmla="*/ 114658 w 177699"/>
                <a:gd name="connsiteY2" fmla="*/ 0 h 117559"/>
                <a:gd name="connsiteX3" fmla="*/ 177699 w 177699"/>
                <a:gd name="connsiteY3" fmla="*/ 43698 h 117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7699" h="117559">
                  <a:moveTo>
                    <a:pt x="6986" y="117559"/>
                  </a:moveTo>
                  <a:lnTo>
                    <a:pt x="0" y="107886"/>
                  </a:lnTo>
                  <a:lnTo>
                    <a:pt x="114658" y="0"/>
                  </a:lnTo>
                  <a:lnTo>
                    <a:pt x="177699" y="436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4" name="Forme libre : forme 2163">
              <a:extLst>
                <a:ext uri="{FF2B5EF4-FFF2-40B4-BE49-F238E27FC236}">
                  <a16:creationId xmlns:a16="http://schemas.microsoft.com/office/drawing/2014/main" id="{CEFAFB5F-0AC3-4989-96BE-6254D2E906AF}"/>
                </a:ext>
              </a:extLst>
            </p:cNvPr>
            <p:cNvSpPr/>
            <p:nvPr/>
          </p:nvSpPr>
          <p:spPr>
            <a:xfrm rot="8716295">
              <a:off x="2573494" y="492769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5" name="Forme libre : forme 2164">
              <a:extLst>
                <a:ext uri="{FF2B5EF4-FFF2-40B4-BE49-F238E27FC236}">
                  <a16:creationId xmlns:a16="http://schemas.microsoft.com/office/drawing/2014/main" id="{26F6B6DC-9027-450B-92D7-F34A3A491FBF}"/>
                </a:ext>
              </a:extLst>
            </p:cNvPr>
            <p:cNvSpPr/>
            <p:nvPr/>
          </p:nvSpPr>
          <p:spPr>
            <a:xfrm rot="8716295">
              <a:off x="2330248" y="495791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6" name="Forme libre : forme 2165">
              <a:extLst>
                <a:ext uri="{FF2B5EF4-FFF2-40B4-BE49-F238E27FC236}">
                  <a16:creationId xmlns:a16="http://schemas.microsoft.com/office/drawing/2014/main" id="{0F4E3D83-A89E-4A3D-8DFA-0B99A9944664}"/>
                </a:ext>
              </a:extLst>
            </p:cNvPr>
            <p:cNvSpPr/>
            <p:nvPr/>
          </p:nvSpPr>
          <p:spPr>
            <a:xfrm rot="8716295">
              <a:off x="2507700" y="479867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7" name="Forme libre : forme 2166">
              <a:extLst>
                <a:ext uri="{FF2B5EF4-FFF2-40B4-BE49-F238E27FC236}">
                  <a16:creationId xmlns:a16="http://schemas.microsoft.com/office/drawing/2014/main" id="{E36A73C5-A750-41BE-8891-686B78AEED60}"/>
                </a:ext>
              </a:extLst>
            </p:cNvPr>
            <p:cNvSpPr/>
            <p:nvPr/>
          </p:nvSpPr>
          <p:spPr>
            <a:xfrm rot="8716295">
              <a:off x="1518235" y="386507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8" name="Forme libre : forme 2167">
              <a:extLst>
                <a:ext uri="{FF2B5EF4-FFF2-40B4-BE49-F238E27FC236}">
                  <a16:creationId xmlns:a16="http://schemas.microsoft.com/office/drawing/2014/main" id="{1E259F04-3FF0-484F-936A-BF05D81BA7F9}"/>
                </a:ext>
              </a:extLst>
            </p:cNvPr>
            <p:cNvSpPr/>
            <p:nvPr/>
          </p:nvSpPr>
          <p:spPr>
            <a:xfrm rot="8716295">
              <a:off x="1607627" y="389431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9" name="Forme libre : forme 2168">
              <a:extLst>
                <a:ext uri="{FF2B5EF4-FFF2-40B4-BE49-F238E27FC236}">
                  <a16:creationId xmlns:a16="http://schemas.microsoft.com/office/drawing/2014/main" id="{F7188107-3596-40BA-A19D-D4C36F703AA3}"/>
                </a:ext>
              </a:extLst>
            </p:cNvPr>
            <p:cNvSpPr/>
            <p:nvPr/>
          </p:nvSpPr>
          <p:spPr>
            <a:xfrm rot="8716295">
              <a:off x="1562777" y="380803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0" name="Forme libre : forme 2169">
              <a:extLst>
                <a:ext uri="{FF2B5EF4-FFF2-40B4-BE49-F238E27FC236}">
                  <a16:creationId xmlns:a16="http://schemas.microsoft.com/office/drawing/2014/main" id="{F0B5B849-6A09-4CB1-94BD-59AAAA00B41D}"/>
                </a:ext>
              </a:extLst>
            </p:cNvPr>
            <p:cNvSpPr/>
            <p:nvPr/>
          </p:nvSpPr>
          <p:spPr>
            <a:xfrm rot="8716295">
              <a:off x="1406001" y="395361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1" name="Forme libre : forme 2170">
              <a:extLst>
                <a:ext uri="{FF2B5EF4-FFF2-40B4-BE49-F238E27FC236}">
                  <a16:creationId xmlns:a16="http://schemas.microsoft.com/office/drawing/2014/main" id="{310927B8-5E88-4650-8C8B-F5EEB8CBF984}"/>
                </a:ext>
              </a:extLst>
            </p:cNvPr>
            <p:cNvSpPr/>
            <p:nvPr/>
          </p:nvSpPr>
          <p:spPr>
            <a:xfrm rot="8716295">
              <a:off x="1281098" y="374494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2" name="Forme libre : forme 2171">
              <a:extLst>
                <a:ext uri="{FF2B5EF4-FFF2-40B4-BE49-F238E27FC236}">
                  <a16:creationId xmlns:a16="http://schemas.microsoft.com/office/drawing/2014/main" id="{0077CC8A-BF45-4BE4-8C2F-92F79577CBE1}"/>
                </a:ext>
              </a:extLst>
            </p:cNvPr>
            <p:cNvSpPr/>
            <p:nvPr/>
          </p:nvSpPr>
          <p:spPr>
            <a:xfrm rot="8716295">
              <a:off x="1269046" y="3606161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3" name="Forme libre : forme 2172">
              <a:extLst>
                <a:ext uri="{FF2B5EF4-FFF2-40B4-BE49-F238E27FC236}">
                  <a16:creationId xmlns:a16="http://schemas.microsoft.com/office/drawing/2014/main" id="{4B1B0D55-FB5B-4C21-B16D-8B7A58AA2F48}"/>
                </a:ext>
              </a:extLst>
            </p:cNvPr>
            <p:cNvSpPr/>
            <p:nvPr/>
          </p:nvSpPr>
          <p:spPr>
            <a:xfrm rot="8716295">
              <a:off x="1496179" y="399456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4" name="Forme libre : forme 2173">
              <a:extLst>
                <a:ext uri="{FF2B5EF4-FFF2-40B4-BE49-F238E27FC236}">
                  <a16:creationId xmlns:a16="http://schemas.microsoft.com/office/drawing/2014/main" id="{6AFD4B44-0013-46C7-89C1-7C63AAB4D987}"/>
                </a:ext>
              </a:extLst>
            </p:cNvPr>
            <p:cNvSpPr/>
            <p:nvPr/>
          </p:nvSpPr>
          <p:spPr>
            <a:xfrm rot="8716295">
              <a:off x="1807334" y="36149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5" name="Forme libre : forme 2174">
              <a:extLst>
                <a:ext uri="{FF2B5EF4-FFF2-40B4-BE49-F238E27FC236}">
                  <a16:creationId xmlns:a16="http://schemas.microsoft.com/office/drawing/2014/main" id="{B061716B-E619-4B2C-A2CB-AB4D2606E002}"/>
                </a:ext>
              </a:extLst>
            </p:cNvPr>
            <p:cNvSpPr/>
            <p:nvPr/>
          </p:nvSpPr>
          <p:spPr>
            <a:xfrm rot="8716295">
              <a:off x="1896726" y="36441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6" name="Forme libre : forme 2175">
              <a:extLst>
                <a:ext uri="{FF2B5EF4-FFF2-40B4-BE49-F238E27FC236}">
                  <a16:creationId xmlns:a16="http://schemas.microsoft.com/office/drawing/2014/main" id="{80D807FA-1A3A-4ABF-AF3B-F275183E0A00}"/>
                </a:ext>
              </a:extLst>
            </p:cNvPr>
            <p:cNvSpPr/>
            <p:nvPr/>
          </p:nvSpPr>
          <p:spPr>
            <a:xfrm rot="8716295">
              <a:off x="1695100" y="370346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7" name="Forme libre : forme 2176">
              <a:extLst>
                <a:ext uri="{FF2B5EF4-FFF2-40B4-BE49-F238E27FC236}">
                  <a16:creationId xmlns:a16="http://schemas.microsoft.com/office/drawing/2014/main" id="{032DF9FF-0CD8-4491-9035-5269ADB59100}"/>
                </a:ext>
              </a:extLst>
            </p:cNvPr>
            <p:cNvSpPr/>
            <p:nvPr/>
          </p:nvSpPr>
          <p:spPr>
            <a:xfrm rot="8716295">
              <a:off x="1570198" y="349478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8" name="Forme libre : forme 2177">
              <a:extLst>
                <a:ext uri="{FF2B5EF4-FFF2-40B4-BE49-F238E27FC236}">
                  <a16:creationId xmlns:a16="http://schemas.microsoft.com/office/drawing/2014/main" id="{5F6C4221-EAB2-436F-B193-7A3F5601B69D}"/>
                </a:ext>
              </a:extLst>
            </p:cNvPr>
            <p:cNvSpPr/>
            <p:nvPr/>
          </p:nvSpPr>
          <p:spPr>
            <a:xfrm rot="8716295">
              <a:off x="1785278" y="37444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9" name="Forme libre : forme 2178">
              <a:extLst>
                <a:ext uri="{FF2B5EF4-FFF2-40B4-BE49-F238E27FC236}">
                  <a16:creationId xmlns:a16="http://schemas.microsoft.com/office/drawing/2014/main" id="{2C3899F1-7908-415E-AC18-381FF5AACA99}"/>
                </a:ext>
              </a:extLst>
            </p:cNvPr>
            <p:cNvSpPr/>
            <p:nvPr/>
          </p:nvSpPr>
          <p:spPr>
            <a:xfrm rot="8716295">
              <a:off x="1543827" y="359481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0" name="Forme libre : forme 2179">
              <a:extLst>
                <a:ext uri="{FF2B5EF4-FFF2-40B4-BE49-F238E27FC236}">
                  <a16:creationId xmlns:a16="http://schemas.microsoft.com/office/drawing/2014/main" id="{A25A3A19-36CC-4BEB-89D4-7074BE692A4E}"/>
                </a:ext>
              </a:extLst>
            </p:cNvPr>
            <p:cNvSpPr/>
            <p:nvPr/>
          </p:nvSpPr>
          <p:spPr>
            <a:xfrm rot="7484129">
              <a:off x="1890209" y="393576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1" name="Forme libre : forme 2180">
              <a:extLst>
                <a:ext uri="{FF2B5EF4-FFF2-40B4-BE49-F238E27FC236}">
                  <a16:creationId xmlns:a16="http://schemas.microsoft.com/office/drawing/2014/main" id="{4AF8F556-7C68-44A7-A9D4-1E80B8EE1F70}"/>
                </a:ext>
              </a:extLst>
            </p:cNvPr>
            <p:cNvSpPr/>
            <p:nvPr/>
          </p:nvSpPr>
          <p:spPr>
            <a:xfrm rot="13089394">
              <a:off x="1995029" y="3902299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2" name="Forme libre : forme 2181">
              <a:extLst>
                <a:ext uri="{FF2B5EF4-FFF2-40B4-BE49-F238E27FC236}">
                  <a16:creationId xmlns:a16="http://schemas.microsoft.com/office/drawing/2014/main" id="{474B8F0A-192E-4408-976E-CFE766B0E660}"/>
                </a:ext>
              </a:extLst>
            </p:cNvPr>
            <p:cNvSpPr/>
            <p:nvPr/>
          </p:nvSpPr>
          <p:spPr>
            <a:xfrm rot="8716295">
              <a:off x="2180614" y="371061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3" name="Forme libre : forme 2182">
              <a:extLst>
                <a:ext uri="{FF2B5EF4-FFF2-40B4-BE49-F238E27FC236}">
                  <a16:creationId xmlns:a16="http://schemas.microsoft.com/office/drawing/2014/main" id="{08147D7D-246F-4267-9328-9CD9D53CB053}"/>
                </a:ext>
              </a:extLst>
            </p:cNvPr>
            <p:cNvSpPr/>
            <p:nvPr/>
          </p:nvSpPr>
          <p:spPr>
            <a:xfrm rot="8716295">
              <a:off x="2128809" y="360702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4" name="Forme libre : forme 2183">
              <a:extLst>
                <a:ext uri="{FF2B5EF4-FFF2-40B4-BE49-F238E27FC236}">
                  <a16:creationId xmlns:a16="http://schemas.microsoft.com/office/drawing/2014/main" id="{BFD4EEA9-74F4-491C-BCB2-C3F42835DD07}"/>
                </a:ext>
              </a:extLst>
            </p:cNvPr>
            <p:cNvSpPr/>
            <p:nvPr/>
          </p:nvSpPr>
          <p:spPr>
            <a:xfrm rot="8716295">
              <a:off x="1885563" y="36372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5" name="Forme libre : forme 2184">
              <a:extLst>
                <a:ext uri="{FF2B5EF4-FFF2-40B4-BE49-F238E27FC236}">
                  <a16:creationId xmlns:a16="http://schemas.microsoft.com/office/drawing/2014/main" id="{913E5A75-2F0F-4FF8-AF12-57EBAAC870EA}"/>
                </a:ext>
              </a:extLst>
            </p:cNvPr>
            <p:cNvSpPr/>
            <p:nvPr/>
          </p:nvSpPr>
          <p:spPr>
            <a:xfrm rot="8716295">
              <a:off x="2063015" y="34780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6" name="Forme libre : forme 2185">
              <a:extLst>
                <a:ext uri="{FF2B5EF4-FFF2-40B4-BE49-F238E27FC236}">
                  <a16:creationId xmlns:a16="http://schemas.microsoft.com/office/drawing/2014/main" id="{4571DC5F-CE18-47DF-9FDC-F2290176BF72}"/>
                </a:ext>
              </a:extLst>
            </p:cNvPr>
            <p:cNvSpPr/>
            <p:nvPr/>
          </p:nvSpPr>
          <p:spPr>
            <a:xfrm rot="8716295">
              <a:off x="1741402" y="452476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7" name="Forme libre : forme 2186">
              <a:extLst>
                <a:ext uri="{FF2B5EF4-FFF2-40B4-BE49-F238E27FC236}">
                  <a16:creationId xmlns:a16="http://schemas.microsoft.com/office/drawing/2014/main" id="{E598998C-D00A-4D75-A58B-A8274CB4E8AC}"/>
                </a:ext>
              </a:extLst>
            </p:cNvPr>
            <p:cNvSpPr/>
            <p:nvPr/>
          </p:nvSpPr>
          <p:spPr>
            <a:xfrm rot="8716295">
              <a:off x="1830794" y="455401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8" name="Forme libre : forme 2187">
              <a:extLst>
                <a:ext uri="{FF2B5EF4-FFF2-40B4-BE49-F238E27FC236}">
                  <a16:creationId xmlns:a16="http://schemas.microsoft.com/office/drawing/2014/main" id="{68EAF022-443D-40AB-977F-80ED0FBBA39F}"/>
                </a:ext>
              </a:extLst>
            </p:cNvPr>
            <p:cNvSpPr/>
            <p:nvPr/>
          </p:nvSpPr>
          <p:spPr>
            <a:xfrm rot="8716295">
              <a:off x="1785944" y="4467731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9" name="Forme libre : forme 2188">
              <a:extLst>
                <a:ext uri="{FF2B5EF4-FFF2-40B4-BE49-F238E27FC236}">
                  <a16:creationId xmlns:a16="http://schemas.microsoft.com/office/drawing/2014/main" id="{9832FD02-47CA-43A0-9ECC-73C95B196066}"/>
                </a:ext>
              </a:extLst>
            </p:cNvPr>
            <p:cNvSpPr/>
            <p:nvPr/>
          </p:nvSpPr>
          <p:spPr>
            <a:xfrm rot="8716295">
              <a:off x="1629168" y="461331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0" name="Forme libre : forme 2189">
              <a:extLst>
                <a:ext uri="{FF2B5EF4-FFF2-40B4-BE49-F238E27FC236}">
                  <a16:creationId xmlns:a16="http://schemas.microsoft.com/office/drawing/2014/main" id="{E4050B9D-DB6D-469C-8D0D-3927E506DFDB}"/>
                </a:ext>
              </a:extLst>
            </p:cNvPr>
            <p:cNvSpPr/>
            <p:nvPr/>
          </p:nvSpPr>
          <p:spPr>
            <a:xfrm rot="8716295">
              <a:off x="1504265" y="440464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1" name="Forme libre : forme 2190">
              <a:extLst>
                <a:ext uri="{FF2B5EF4-FFF2-40B4-BE49-F238E27FC236}">
                  <a16:creationId xmlns:a16="http://schemas.microsoft.com/office/drawing/2014/main" id="{08EA550C-613A-4866-AACF-C27F8E9C22E0}"/>
                </a:ext>
              </a:extLst>
            </p:cNvPr>
            <p:cNvSpPr/>
            <p:nvPr/>
          </p:nvSpPr>
          <p:spPr>
            <a:xfrm rot="8716295">
              <a:off x="1492213" y="4265860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2" name="Forme libre : forme 2191">
              <a:extLst>
                <a:ext uri="{FF2B5EF4-FFF2-40B4-BE49-F238E27FC236}">
                  <a16:creationId xmlns:a16="http://schemas.microsoft.com/office/drawing/2014/main" id="{1CF034C4-4CE9-457C-B36A-A3F9D058C124}"/>
                </a:ext>
              </a:extLst>
            </p:cNvPr>
            <p:cNvSpPr/>
            <p:nvPr/>
          </p:nvSpPr>
          <p:spPr>
            <a:xfrm rot="8716295">
              <a:off x="1719346" y="465426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3" name="Forme libre : forme 2192">
              <a:extLst>
                <a:ext uri="{FF2B5EF4-FFF2-40B4-BE49-F238E27FC236}">
                  <a16:creationId xmlns:a16="http://schemas.microsoft.com/office/drawing/2014/main" id="{D08F0A84-4DD7-4772-AC15-083524AA4A1D}"/>
                </a:ext>
              </a:extLst>
            </p:cNvPr>
            <p:cNvSpPr/>
            <p:nvPr/>
          </p:nvSpPr>
          <p:spPr>
            <a:xfrm rot="8716295">
              <a:off x="2030501" y="427461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4" name="Forme libre : forme 2193">
              <a:extLst>
                <a:ext uri="{FF2B5EF4-FFF2-40B4-BE49-F238E27FC236}">
                  <a16:creationId xmlns:a16="http://schemas.microsoft.com/office/drawing/2014/main" id="{61D16ADF-5C6E-4CB0-822E-F18C019391FD}"/>
                </a:ext>
              </a:extLst>
            </p:cNvPr>
            <p:cNvSpPr/>
            <p:nvPr/>
          </p:nvSpPr>
          <p:spPr>
            <a:xfrm rot="8716295">
              <a:off x="2119893" y="430385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5" name="Forme libre : forme 2194">
              <a:extLst>
                <a:ext uri="{FF2B5EF4-FFF2-40B4-BE49-F238E27FC236}">
                  <a16:creationId xmlns:a16="http://schemas.microsoft.com/office/drawing/2014/main" id="{7755C47E-CA44-4F59-A584-382B602B7277}"/>
                </a:ext>
              </a:extLst>
            </p:cNvPr>
            <p:cNvSpPr/>
            <p:nvPr/>
          </p:nvSpPr>
          <p:spPr>
            <a:xfrm rot="8716295">
              <a:off x="1918267" y="436316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6" name="Forme libre : forme 2195">
              <a:extLst>
                <a:ext uri="{FF2B5EF4-FFF2-40B4-BE49-F238E27FC236}">
                  <a16:creationId xmlns:a16="http://schemas.microsoft.com/office/drawing/2014/main" id="{7477CD6A-0BC6-4B29-9F1F-C0FBF04DE899}"/>
                </a:ext>
              </a:extLst>
            </p:cNvPr>
            <p:cNvSpPr/>
            <p:nvPr/>
          </p:nvSpPr>
          <p:spPr>
            <a:xfrm rot="8716295">
              <a:off x="1793365" y="415448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7" name="Forme libre : forme 2196">
              <a:extLst>
                <a:ext uri="{FF2B5EF4-FFF2-40B4-BE49-F238E27FC236}">
                  <a16:creationId xmlns:a16="http://schemas.microsoft.com/office/drawing/2014/main" id="{EE329923-C3A4-4046-B152-3FD94C6B8328}"/>
                </a:ext>
              </a:extLst>
            </p:cNvPr>
            <p:cNvSpPr/>
            <p:nvPr/>
          </p:nvSpPr>
          <p:spPr>
            <a:xfrm rot="8716295">
              <a:off x="2008445" y="4404113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8" name="Forme libre : forme 2197">
              <a:extLst>
                <a:ext uri="{FF2B5EF4-FFF2-40B4-BE49-F238E27FC236}">
                  <a16:creationId xmlns:a16="http://schemas.microsoft.com/office/drawing/2014/main" id="{9B7F0F6B-ADD6-4F5F-8A57-9C18A5D11901}"/>
                </a:ext>
              </a:extLst>
            </p:cNvPr>
            <p:cNvSpPr/>
            <p:nvPr/>
          </p:nvSpPr>
          <p:spPr>
            <a:xfrm rot="8716295">
              <a:off x="1766994" y="4254513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9" name="Forme libre : forme 2198">
              <a:extLst>
                <a:ext uri="{FF2B5EF4-FFF2-40B4-BE49-F238E27FC236}">
                  <a16:creationId xmlns:a16="http://schemas.microsoft.com/office/drawing/2014/main" id="{27B19DC8-7CA7-46F0-BBD1-FED4197C21C5}"/>
                </a:ext>
              </a:extLst>
            </p:cNvPr>
            <p:cNvSpPr/>
            <p:nvPr/>
          </p:nvSpPr>
          <p:spPr>
            <a:xfrm rot="7484129">
              <a:off x="2113376" y="459546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0" name="Forme libre : forme 2199">
              <a:extLst>
                <a:ext uri="{FF2B5EF4-FFF2-40B4-BE49-F238E27FC236}">
                  <a16:creationId xmlns:a16="http://schemas.microsoft.com/office/drawing/2014/main" id="{6A2BAEE3-A8C6-4D0E-B41D-3EB43C80CD43}"/>
                </a:ext>
              </a:extLst>
            </p:cNvPr>
            <p:cNvSpPr/>
            <p:nvPr/>
          </p:nvSpPr>
          <p:spPr>
            <a:xfrm rot="13089394">
              <a:off x="2218196" y="4561998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1" name="Forme libre : forme 2200">
              <a:extLst>
                <a:ext uri="{FF2B5EF4-FFF2-40B4-BE49-F238E27FC236}">
                  <a16:creationId xmlns:a16="http://schemas.microsoft.com/office/drawing/2014/main" id="{B33494DC-160D-4471-B761-44392F450F15}"/>
                </a:ext>
              </a:extLst>
            </p:cNvPr>
            <p:cNvSpPr/>
            <p:nvPr/>
          </p:nvSpPr>
          <p:spPr>
            <a:xfrm rot="8716295">
              <a:off x="2403781" y="4370317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2" name="Forme libre : forme 2201">
              <a:extLst>
                <a:ext uri="{FF2B5EF4-FFF2-40B4-BE49-F238E27FC236}">
                  <a16:creationId xmlns:a16="http://schemas.microsoft.com/office/drawing/2014/main" id="{A0536B5D-C1D1-4CC2-A67B-69C04D5E7BF1}"/>
                </a:ext>
              </a:extLst>
            </p:cNvPr>
            <p:cNvSpPr/>
            <p:nvPr/>
          </p:nvSpPr>
          <p:spPr>
            <a:xfrm rot="8716295">
              <a:off x="2351976" y="426672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3" name="Forme libre : forme 2202">
              <a:extLst>
                <a:ext uri="{FF2B5EF4-FFF2-40B4-BE49-F238E27FC236}">
                  <a16:creationId xmlns:a16="http://schemas.microsoft.com/office/drawing/2014/main" id="{0EC7D0F9-54FF-4910-BE51-E44A931994E2}"/>
                </a:ext>
              </a:extLst>
            </p:cNvPr>
            <p:cNvSpPr/>
            <p:nvPr/>
          </p:nvSpPr>
          <p:spPr>
            <a:xfrm rot="8716295">
              <a:off x="2108730" y="429694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4" name="Forme libre : forme 2203">
              <a:extLst>
                <a:ext uri="{FF2B5EF4-FFF2-40B4-BE49-F238E27FC236}">
                  <a16:creationId xmlns:a16="http://schemas.microsoft.com/office/drawing/2014/main" id="{581ECD7C-3ECD-4795-A962-336D27880F7D}"/>
                </a:ext>
              </a:extLst>
            </p:cNvPr>
            <p:cNvSpPr/>
            <p:nvPr/>
          </p:nvSpPr>
          <p:spPr>
            <a:xfrm rot="8716295">
              <a:off x="2286182" y="413770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5" name="Forme libre : forme 2204">
              <a:extLst>
                <a:ext uri="{FF2B5EF4-FFF2-40B4-BE49-F238E27FC236}">
                  <a16:creationId xmlns:a16="http://schemas.microsoft.com/office/drawing/2014/main" id="{61351529-FB96-4EA9-BD0D-13DB591690B1}"/>
                </a:ext>
              </a:extLst>
            </p:cNvPr>
            <p:cNvSpPr/>
            <p:nvPr/>
          </p:nvSpPr>
          <p:spPr>
            <a:xfrm rot="8716295">
              <a:off x="854880" y="188600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6" name="Forme libre : forme 2205">
              <a:extLst>
                <a:ext uri="{FF2B5EF4-FFF2-40B4-BE49-F238E27FC236}">
                  <a16:creationId xmlns:a16="http://schemas.microsoft.com/office/drawing/2014/main" id="{7B671EAD-22E7-49A1-AAF9-AFD4BDF270FF}"/>
                </a:ext>
              </a:extLst>
            </p:cNvPr>
            <p:cNvSpPr/>
            <p:nvPr/>
          </p:nvSpPr>
          <p:spPr>
            <a:xfrm rot="8716295">
              <a:off x="944272" y="191524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7" name="Forme libre : forme 2206">
              <a:extLst>
                <a:ext uri="{FF2B5EF4-FFF2-40B4-BE49-F238E27FC236}">
                  <a16:creationId xmlns:a16="http://schemas.microsoft.com/office/drawing/2014/main" id="{60C9EA0E-9422-461A-8A03-18C34E381FE6}"/>
                </a:ext>
              </a:extLst>
            </p:cNvPr>
            <p:cNvSpPr/>
            <p:nvPr/>
          </p:nvSpPr>
          <p:spPr>
            <a:xfrm rot="8716295">
              <a:off x="899422" y="182896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8" name="Forme libre : forme 2207">
              <a:extLst>
                <a:ext uri="{FF2B5EF4-FFF2-40B4-BE49-F238E27FC236}">
                  <a16:creationId xmlns:a16="http://schemas.microsoft.com/office/drawing/2014/main" id="{BA75D214-5F17-45EC-88F6-87E7086E00EC}"/>
                </a:ext>
              </a:extLst>
            </p:cNvPr>
            <p:cNvSpPr/>
            <p:nvPr/>
          </p:nvSpPr>
          <p:spPr>
            <a:xfrm rot="8716295">
              <a:off x="742646" y="197454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9" name="Forme libre : forme 2208">
              <a:extLst>
                <a:ext uri="{FF2B5EF4-FFF2-40B4-BE49-F238E27FC236}">
                  <a16:creationId xmlns:a16="http://schemas.microsoft.com/office/drawing/2014/main" id="{E48EAD6E-3EAF-4F3D-8B05-DC60D246CC5C}"/>
                </a:ext>
              </a:extLst>
            </p:cNvPr>
            <p:cNvSpPr/>
            <p:nvPr/>
          </p:nvSpPr>
          <p:spPr>
            <a:xfrm rot="8716295">
              <a:off x="617743" y="176587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0" name="Forme libre : forme 2209">
              <a:extLst>
                <a:ext uri="{FF2B5EF4-FFF2-40B4-BE49-F238E27FC236}">
                  <a16:creationId xmlns:a16="http://schemas.microsoft.com/office/drawing/2014/main" id="{60DC192A-6712-4E80-B33F-A868EA1F00C7}"/>
                </a:ext>
              </a:extLst>
            </p:cNvPr>
            <p:cNvSpPr/>
            <p:nvPr/>
          </p:nvSpPr>
          <p:spPr>
            <a:xfrm rot="8716295">
              <a:off x="605691" y="162709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1" name="Forme libre : forme 2210">
              <a:extLst>
                <a:ext uri="{FF2B5EF4-FFF2-40B4-BE49-F238E27FC236}">
                  <a16:creationId xmlns:a16="http://schemas.microsoft.com/office/drawing/2014/main" id="{5F7656EC-B89E-42FF-BC16-A8DDF1B2D92F}"/>
                </a:ext>
              </a:extLst>
            </p:cNvPr>
            <p:cNvSpPr/>
            <p:nvPr/>
          </p:nvSpPr>
          <p:spPr>
            <a:xfrm rot="8716295">
              <a:off x="832824" y="201549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2" name="Forme libre : forme 2211">
              <a:extLst>
                <a:ext uri="{FF2B5EF4-FFF2-40B4-BE49-F238E27FC236}">
                  <a16:creationId xmlns:a16="http://schemas.microsoft.com/office/drawing/2014/main" id="{E08CB140-902C-4737-8277-A98EB5E4EFE4}"/>
                </a:ext>
              </a:extLst>
            </p:cNvPr>
            <p:cNvSpPr/>
            <p:nvPr/>
          </p:nvSpPr>
          <p:spPr>
            <a:xfrm rot="8716295">
              <a:off x="1143979" y="163584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3" name="Forme libre : forme 2212">
              <a:extLst>
                <a:ext uri="{FF2B5EF4-FFF2-40B4-BE49-F238E27FC236}">
                  <a16:creationId xmlns:a16="http://schemas.microsoft.com/office/drawing/2014/main" id="{6E90F74B-F705-42A3-BD1F-6FA4B5FAA019}"/>
                </a:ext>
              </a:extLst>
            </p:cNvPr>
            <p:cNvSpPr/>
            <p:nvPr/>
          </p:nvSpPr>
          <p:spPr>
            <a:xfrm rot="8716295">
              <a:off x="1233371" y="166509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4" name="Forme libre : forme 2213">
              <a:extLst>
                <a:ext uri="{FF2B5EF4-FFF2-40B4-BE49-F238E27FC236}">
                  <a16:creationId xmlns:a16="http://schemas.microsoft.com/office/drawing/2014/main" id="{465358ED-843D-4586-B8A7-8F476C2F6DDB}"/>
                </a:ext>
              </a:extLst>
            </p:cNvPr>
            <p:cNvSpPr/>
            <p:nvPr/>
          </p:nvSpPr>
          <p:spPr>
            <a:xfrm rot="8716295">
              <a:off x="1031745" y="172439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5" name="Forme libre : forme 2214">
              <a:extLst>
                <a:ext uri="{FF2B5EF4-FFF2-40B4-BE49-F238E27FC236}">
                  <a16:creationId xmlns:a16="http://schemas.microsoft.com/office/drawing/2014/main" id="{1FF0FB25-B8F5-4ADE-800A-47430E68573C}"/>
                </a:ext>
              </a:extLst>
            </p:cNvPr>
            <p:cNvSpPr/>
            <p:nvPr/>
          </p:nvSpPr>
          <p:spPr>
            <a:xfrm rot="8716295">
              <a:off x="906843" y="151572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6" name="Forme libre : forme 2215">
              <a:extLst>
                <a:ext uri="{FF2B5EF4-FFF2-40B4-BE49-F238E27FC236}">
                  <a16:creationId xmlns:a16="http://schemas.microsoft.com/office/drawing/2014/main" id="{776C37F0-ED81-4F1F-A328-887B05D06837}"/>
                </a:ext>
              </a:extLst>
            </p:cNvPr>
            <p:cNvSpPr/>
            <p:nvPr/>
          </p:nvSpPr>
          <p:spPr>
            <a:xfrm rot="8716295">
              <a:off x="1121923" y="176534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7" name="Forme libre : forme 2216">
              <a:extLst>
                <a:ext uri="{FF2B5EF4-FFF2-40B4-BE49-F238E27FC236}">
                  <a16:creationId xmlns:a16="http://schemas.microsoft.com/office/drawing/2014/main" id="{3495DB9A-4541-4398-B98F-3D014F3FA02F}"/>
                </a:ext>
              </a:extLst>
            </p:cNvPr>
            <p:cNvSpPr/>
            <p:nvPr/>
          </p:nvSpPr>
          <p:spPr>
            <a:xfrm rot="8716295">
              <a:off x="880472" y="161574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8" name="Forme libre : forme 2217">
              <a:extLst>
                <a:ext uri="{FF2B5EF4-FFF2-40B4-BE49-F238E27FC236}">
                  <a16:creationId xmlns:a16="http://schemas.microsoft.com/office/drawing/2014/main" id="{6174E958-9841-4450-A3B4-4010E7B5DEF3}"/>
                </a:ext>
              </a:extLst>
            </p:cNvPr>
            <p:cNvSpPr/>
            <p:nvPr/>
          </p:nvSpPr>
          <p:spPr>
            <a:xfrm rot="7484129">
              <a:off x="1226854" y="195669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9" name="Forme libre : forme 2218">
              <a:extLst>
                <a:ext uri="{FF2B5EF4-FFF2-40B4-BE49-F238E27FC236}">
                  <a16:creationId xmlns:a16="http://schemas.microsoft.com/office/drawing/2014/main" id="{AEB0FE66-FF50-46B8-A527-A44B045C51F6}"/>
                </a:ext>
              </a:extLst>
            </p:cNvPr>
            <p:cNvSpPr/>
            <p:nvPr/>
          </p:nvSpPr>
          <p:spPr>
            <a:xfrm rot="13089394">
              <a:off x="1331674" y="192323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0" name="Forme libre : forme 2219">
              <a:extLst>
                <a:ext uri="{FF2B5EF4-FFF2-40B4-BE49-F238E27FC236}">
                  <a16:creationId xmlns:a16="http://schemas.microsoft.com/office/drawing/2014/main" id="{71365084-09F0-4177-8899-9AEDD9C836FB}"/>
                </a:ext>
              </a:extLst>
            </p:cNvPr>
            <p:cNvSpPr/>
            <p:nvPr/>
          </p:nvSpPr>
          <p:spPr>
            <a:xfrm rot="8716295">
              <a:off x="1517259" y="173154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1" name="Forme libre : forme 2220">
              <a:extLst>
                <a:ext uri="{FF2B5EF4-FFF2-40B4-BE49-F238E27FC236}">
                  <a16:creationId xmlns:a16="http://schemas.microsoft.com/office/drawing/2014/main" id="{93A16290-1383-4913-A805-FEC6CD68B3A1}"/>
                </a:ext>
              </a:extLst>
            </p:cNvPr>
            <p:cNvSpPr/>
            <p:nvPr/>
          </p:nvSpPr>
          <p:spPr>
            <a:xfrm rot="8716295">
              <a:off x="1465454" y="162795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2" name="Forme libre : forme 2221">
              <a:extLst>
                <a:ext uri="{FF2B5EF4-FFF2-40B4-BE49-F238E27FC236}">
                  <a16:creationId xmlns:a16="http://schemas.microsoft.com/office/drawing/2014/main" id="{89EDCAB4-2647-402D-8A97-2D89ED05C33C}"/>
                </a:ext>
              </a:extLst>
            </p:cNvPr>
            <p:cNvSpPr/>
            <p:nvPr/>
          </p:nvSpPr>
          <p:spPr>
            <a:xfrm rot="8716295">
              <a:off x="1222208" y="165817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3" name="Forme libre : forme 2222">
              <a:extLst>
                <a:ext uri="{FF2B5EF4-FFF2-40B4-BE49-F238E27FC236}">
                  <a16:creationId xmlns:a16="http://schemas.microsoft.com/office/drawing/2014/main" id="{62660570-9841-4140-8539-11BB8C728044}"/>
                </a:ext>
              </a:extLst>
            </p:cNvPr>
            <p:cNvSpPr/>
            <p:nvPr/>
          </p:nvSpPr>
          <p:spPr>
            <a:xfrm rot="8716295">
              <a:off x="1399660" y="149893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4" name="Forme libre : forme 2223">
              <a:extLst>
                <a:ext uri="{FF2B5EF4-FFF2-40B4-BE49-F238E27FC236}">
                  <a16:creationId xmlns:a16="http://schemas.microsoft.com/office/drawing/2014/main" id="{94D3AEEA-4130-43BE-BF5D-CC6BCC5331C3}"/>
                </a:ext>
              </a:extLst>
            </p:cNvPr>
            <p:cNvSpPr/>
            <p:nvPr/>
          </p:nvSpPr>
          <p:spPr>
            <a:xfrm rot="8716295">
              <a:off x="631713" y="12263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5" name="Forme libre : forme 2224">
              <a:extLst>
                <a:ext uri="{FF2B5EF4-FFF2-40B4-BE49-F238E27FC236}">
                  <a16:creationId xmlns:a16="http://schemas.microsoft.com/office/drawing/2014/main" id="{B4B77E9D-EEED-412C-89B0-478E464DFE8E}"/>
                </a:ext>
              </a:extLst>
            </p:cNvPr>
            <p:cNvSpPr/>
            <p:nvPr/>
          </p:nvSpPr>
          <p:spPr>
            <a:xfrm rot="8716295">
              <a:off x="721105" y="12555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6" name="Forme libre : forme 2225">
              <a:extLst>
                <a:ext uri="{FF2B5EF4-FFF2-40B4-BE49-F238E27FC236}">
                  <a16:creationId xmlns:a16="http://schemas.microsoft.com/office/drawing/2014/main" id="{8807D4A1-E0A9-4E7E-A2E7-F2E039C53560}"/>
                </a:ext>
              </a:extLst>
            </p:cNvPr>
            <p:cNvSpPr/>
            <p:nvPr/>
          </p:nvSpPr>
          <p:spPr>
            <a:xfrm rot="8716295">
              <a:off x="676255" y="116926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7" name="Forme libre : forme 2226">
              <a:extLst>
                <a:ext uri="{FF2B5EF4-FFF2-40B4-BE49-F238E27FC236}">
                  <a16:creationId xmlns:a16="http://schemas.microsoft.com/office/drawing/2014/main" id="{E1BBD9BF-9DEF-4962-8461-FCC580DDB3D3}"/>
                </a:ext>
              </a:extLst>
            </p:cNvPr>
            <p:cNvSpPr/>
            <p:nvPr/>
          </p:nvSpPr>
          <p:spPr>
            <a:xfrm rot="8716295">
              <a:off x="519479" y="13148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8" name="Forme libre : forme 2227">
              <a:extLst>
                <a:ext uri="{FF2B5EF4-FFF2-40B4-BE49-F238E27FC236}">
                  <a16:creationId xmlns:a16="http://schemas.microsoft.com/office/drawing/2014/main" id="{372EDAC8-341E-47F1-BA76-59AEE44BA6E9}"/>
                </a:ext>
              </a:extLst>
            </p:cNvPr>
            <p:cNvSpPr/>
            <p:nvPr/>
          </p:nvSpPr>
          <p:spPr>
            <a:xfrm rot="8716295">
              <a:off x="394576" y="11061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9" name="Forme libre : forme 2228">
              <a:extLst>
                <a:ext uri="{FF2B5EF4-FFF2-40B4-BE49-F238E27FC236}">
                  <a16:creationId xmlns:a16="http://schemas.microsoft.com/office/drawing/2014/main" id="{20061EF0-57F1-44A9-B030-EA17BF31A311}"/>
                </a:ext>
              </a:extLst>
            </p:cNvPr>
            <p:cNvSpPr/>
            <p:nvPr/>
          </p:nvSpPr>
          <p:spPr>
            <a:xfrm rot="8716295">
              <a:off x="382524" y="96739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0" name="Forme libre : forme 2229">
              <a:extLst>
                <a:ext uri="{FF2B5EF4-FFF2-40B4-BE49-F238E27FC236}">
                  <a16:creationId xmlns:a16="http://schemas.microsoft.com/office/drawing/2014/main" id="{E38221DF-66A1-4197-AEB7-CCFD55E0085E}"/>
                </a:ext>
              </a:extLst>
            </p:cNvPr>
            <p:cNvSpPr/>
            <p:nvPr/>
          </p:nvSpPr>
          <p:spPr>
            <a:xfrm rot="8716295">
              <a:off x="609657" y="135579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1" name="Forme libre : forme 2230">
              <a:extLst>
                <a:ext uri="{FF2B5EF4-FFF2-40B4-BE49-F238E27FC236}">
                  <a16:creationId xmlns:a16="http://schemas.microsoft.com/office/drawing/2014/main" id="{0E7B4474-3652-4F5C-8982-D11AF746B26A}"/>
                </a:ext>
              </a:extLst>
            </p:cNvPr>
            <p:cNvSpPr/>
            <p:nvPr/>
          </p:nvSpPr>
          <p:spPr>
            <a:xfrm rot="8716295">
              <a:off x="920812" y="97615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2" name="Forme libre : forme 2231">
              <a:extLst>
                <a:ext uri="{FF2B5EF4-FFF2-40B4-BE49-F238E27FC236}">
                  <a16:creationId xmlns:a16="http://schemas.microsoft.com/office/drawing/2014/main" id="{5C3F77C6-9DBA-4DC2-9C2B-8FF32F9AAA66}"/>
                </a:ext>
              </a:extLst>
            </p:cNvPr>
            <p:cNvSpPr/>
            <p:nvPr/>
          </p:nvSpPr>
          <p:spPr>
            <a:xfrm rot="8716295">
              <a:off x="1010204" y="100539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3" name="Forme libre : forme 2232">
              <a:extLst>
                <a:ext uri="{FF2B5EF4-FFF2-40B4-BE49-F238E27FC236}">
                  <a16:creationId xmlns:a16="http://schemas.microsoft.com/office/drawing/2014/main" id="{01433F1B-9E94-4344-95B9-E1384B85B79C}"/>
                </a:ext>
              </a:extLst>
            </p:cNvPr>
            <p:cNvSpPr/>
            <p:nvPr/>
          </p:nvSpPr>
          <p:spPr>
            <a:xfrm rot="8716295">
              <a:off x="808578" y="106469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4" name="Forme libre : forme 2233">
              <a:extLst>
                <a:ext uri="{FF2B5EF4-FFF2-40B4-BE49-F238E27FC236}">
                  <a16:creationId xmlns:a16="http://schemas.microsoft.com/office/drawing/2014/main" id="{6BC6E0A2-64E4-40E2-8DCE-26CE66D5E02C}"/>
                </a:ext>
              </a:extLst>
            </p:cNvPr>
            <p:cNvSpPr/>
            <p:nvPr/>
          </p:nvSpPr>
          <p:spPr>
            <a:xfrm rot="8716295">
              <a:off x="683676" y="85602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5" name="Forme libre : forme 2234">
              <a:extLst>
                <a:ext uri="{FF2B5EF4-FFF2-40B4-BE49-F238E27FC236}">
                  <a16:creationId xmlns:a16="http://schemas.microsoft.com/office/drawing/2014/main" id="{0ECCD552-19E9-4E97-A420-5BD98BF6782E}"/>
                </a:ext>
              </a:extLst>
            </p:cNvPr>
            <p:cNvSpPr/>
            <p:nvPr/>
          </p:nvSpPr>
          <p:spPr>
            <a:xfrm rot="8716295">
              <a:off x="898756" y="110564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6" name="Forme libre : forme 2235">
              <a:extLst>
                <a:ext uri="{FF2B5EF4-FFF2-40B4-BE49-F238E27FC236}">
                  <a16:creationId xmlns:a16="http://schemas.microsoft.com/office/drawing/2014/main" id="{116D78C7-5BD3-483D-8FD7-87DA20AE4194}"/>
                </a:ext>
              </a:extLst>
            </p:cNvPr>
            <p:cNvSpPr/>
            <p:nvPr/>
          </p:nvSpPr>
          <p:spPr>
            <a:xfrm rot="8716295">
              <a:off x="657305" y="95604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7" name="Forme libre : forme 2236">
              <a:extLst>
                <a:ext uri="{FF2B5EF4-FFF2-40B4-BE49-F238E27FC236}">
                  <a16:creationId xmlns:a16="http://schemas.microsoft.com/office/drawing/2014/main" id="{29F6D281-88E6-45CB-99A2-FB067D9F3B98}"/>
                </a:ext>
              </a:extLst>
            </p:cNvPr>
            <p:cNvSpPr/>
            <p:nvPr/>
          </p:nvSpPr>
          <p:spPr>
            <a:xfrm rot="7484129">
              <a:off x="1003687" y="129699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8" name="Forme libre : forme 2237">
              <a:extLst>
                <a:ext uri="{FF2B5EF4-FFF2-40B4-BE49-F238E27FC236}">
                  <a16:creationId xmlns:a16="http://schemas.microsoft.com/office/drawing/2014/main" id="{5FC8B8C2-4930-4090-BC67-DB393B97500E}"/>
                </a:ext>
              </a:extLst>
            </p:cNvPr>
            <p:cNvSpPr/>
            <p:nvPr/>
          </p:nvSpPr>
          <p:spPr>
            <a:xfrm rot="13089394">
              <a:off x="1108507" y="1263531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9" name="Forme libre : forme 2238">
              <a:extLst>
                <a:ext uri="{FF2B5EF4-FFF2-40B4-BE49-F238E27FC236}">
                  <a16:creationId xmlns:a16="http://schemas.microsoft.com/office/drawing/2014/main" id="{7FFA110A-60E0-4270-A16A-59427B4BD564}"/>
                </a:ext>
              </a:extLst>
            </p:cNvPr>
            <p:cNvSpPr/>
            <p:nvPr/>
          </p:nvSpPr>
          <p:spPr>
            <a:xfrm rot="8716295">
              <a:off x="1294092" y="107185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0" name="Forme libre : forme 2239">
              <a:extLst>
                <a:ext uri="{FF2B5EF4-FFF2-40B4-BE49-F238E27FC236}">
                  <a16:creationId xmlns:a16="http://schemas.microsoft.com/office/drawing/2014/main" id="{43E7722F-9E69-4C35-8403-9712C43A657D}"/>
                </a:ext>
              </a:extLst>
            </p:cNvPr>
            <p:cNvSpPr/>
            <p:nvPr/>
          </p:nvSpPr>
          <p:spPr>
            <a:xfrm rot="8716295">
              <a:off x="1242287" y="96825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1" name="Forme libre : forme 2240">
              <a:extLst>
                <a:ext uri="{FF2B5EF4-FFF2-40B4-BE49-F238E27FC236}">
                  <a16:creationId xmlns:a16="http://schemas.microsoft.com/office/drawing/2014/main" id="{41B2DF52-EC40-447D-B212-F5BA125B74F3}"/>
                </a:ext>
              </a:extLst>
            </p:cNvPr>
            <p:cNvSpPr/>
            <p:nvPr/>
          </p:nvSpPr>
          <p:spPr>
            <a:xfrm rot="8716295">
              <a:off x="999041" y="99847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2" name="Forme libre : forme 2241">
              <a:extLst>
                <a:ext uri="{FF2B5EF4-FFF2-40B4-BE49-F238E27FC236}">
                  <a16:creationId xmlns:a16="http://schemas.microsoft.com/office/drawing/2014/main" id="{7EFBB9C6-AA43-4417-B52E-28BAAA544FB3}"/>
                </a:ext>
              </a:extLst>
            </p:cNvPr>
            <p:cNvSpPr/>
            <p:nvPr/>
          </p:nvSpPr>
          <p:spPr>
            <a:xfrm rot="8716295">
              <a:off x="1176493" y="83923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3" name="Forme libre : forme 2242">
              <a:extLst>
                <a:ext uri="{FF2B5EF4-FFF2-40B4-BE49-F238E27FC236}">
                  <a16:creationId xmlns:a16="http://schemas.microsoft.com/office/drawing/2014/main" id="{4FD368D5-7016-4447-A279-0D553702CEF5}"/>
                </a:ext>
              </a:extLst>
            </p:cNvPr>
            <p:cNvSpPr/>
            <p:nvPr/>
          </p:nvSpPr>
          <p:spPr>
            <a:xfrm rot="8716295">
              <a:off x="412774" y="56424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4" name="Forme libre : forme 2243">
              <a:extLst>
                <a:ext uri="{FF2B5EF4-FFF2-40B4-BE49-F238E27FC236}">
                  <a16:creationId xmlns:a16="http://schemas.microsoft.com/office/drawing/2014/main" id="{B1F12F38-F29C-4A98-BB49-D042691F19E4}"/>
                </a:ext>
              </a:extLst>
            </p:cNvPr>
            <p:cNvSpPr/>
            <p:nvPr/>
          </p:nvSpPr>
          <p:spPr>
            <a:xfrm rot="8716295">
              <a:off x="502166" y="59348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5" name="Forme libre : forme 2244">
              <a:extLst>
                <a:ext uri="{FF2B5EF4-FFF2-40B4-BE49-F238E27FC236}">
                  <a16:creationId xmlns:a16="http://schemas.microsoft.com/office/drawing/2014/main" id="{6BA48DFB-361A-47A4-8798-4F12336B216B}"/>
                </a:ext>
              </a:extLst>
            </p:cNvPr>
            <p:cNvSpPr/>
            <p:nvPr/>
          </p:nvSpPr>
          <p:spPr>
            <a:xfrm rot="8716295">
              <a:off x="457316" y="50720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6" name="Forme libre : forme 2245">
              <a:extLst>
                <a:ext uri="{FF2B5EF4-FFF2-40B4-BE49-F238E27FC236}">
                  <a16:creationId xmlns:a16="http://schemas.microsoft.com/office/drawing/2014/main" id="{6FD8FBAD-C985-48A6-A25A-FE4C6FB98699}"/>
                </a:ext>
              </a:extLst>
            </p:cNvPr>
            <p:cNvSpPr/>
            <p:nvPr/>
          </p:nvSpPr>
          <p:spPr>
            <a:xfrm rot="8716295">
              <a:off x="300540" y="65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7" name="Forme libre : forme 2246">
              <a:extLst>
                <a:ext uri="{FF2B5EF4-FFF2-40B4-BE49-F238E27FC236}">
                  <a16:creationId xmlns:a16="http://schemas.microsoft.com/office/drawing/2014/main" id="{33EF0CB4-1296-44AE-9C21-198FBCD6E1E5}"/>
                </a:ext>
              </a:extLst>
            </p:cNvPr>
            <p:cNvSpPr/>
            <p:nvPr/>
          </p:nvSpPr>
          <p:spPr>
            <a:xfrm rot="8716295">
              <a:off x="175637" y="44411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8" name="Forme libre : forme 2247">
              <a:extLst>
                <a:ext uri="{FF2B5EF4-FFF2-40B4-BE49-F238E27FC236}">
                  <a16:creationId xmlns:a16="http://schemas.microsoft.com/office/drawing/2014/main" id="{6A2221EE-902A-4C54-9104-C294E2D36C2C}"/>
                </a:ext>
              </a:extLst>
            </p:cNvPr>
            <p:cNvSpPr/>
            <p:nvPr/>
          </p:nvSpPr>
          <p:spPr>
            <a:xfrm rot="8716295">
              <a:off x="163585" y="30533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9" name="Forme libre : forme 2248">
              <a:extLst>
                <a:ext uri="{FF2B5EF4-FFF2-40B4-BE49-F238E27FC236}">
                  <a16:creationId xmlns:a16="http://schemas.microsoft.com/office/drawing/2014/main" id="{6C6A641B-B2B7-4694-9375-AF850DEFB133}"/>
                </a:ext>
              </a:extLst>
            </p:cNvPr>
            <p:cNvSpPr/>
            <p:nvPr/>
          </p:nvSpPr>
          <p:spPr>
            <a:xfrm rot="8716295">
              <a:off x="390718" y="69374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0" name="Forme libre : forme 2249">
              <a:extLst>
                <a:ext uri="{FF2B5EF4-FFF2-40B4-BE49-F238E27FC236}">
                  <a16:creationId xmlns:a16="http://schemas.microsoft.com/office/drawing/2014/main" id="{399BD360-2FD0-4499-9E83-6E3D562F1E0B}"/>
                </a:ext>
              </a:extLst>
            </p:cNvPr>
            <p:cNvSpPr/>
            <p:nvPr/>
          </p:nvSpPr>
          <p:spPr>
            <a:xfrm rot="8716295">
              <a:off x="701873" y="31409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1" name="Forme libre : forme 2250">
              <a:extLst>
                <a:ext uri="{FF2B5EF4-FFF2-40B4-BE49-F238E27FC236}">
                  <a16:creationId xmlns:a16="http://schemas.microsoft.com/office/drawing/2014/main" id="{A6673CC7-5199-4DDD-870A-3B185B6CBD7D}"/>
                </a:ext>
              </a:extLst>
            </p:cNvPr>
            <p:cNvSpPr/>
            <p:nvPr/>
          </p:nvSpPr>
          <p:spPr>
            <a:xfrm rot="8716295">
              <a:off x="791265" y="34333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2" name="Forme libre : forme 2251">
              <a:extLst>
                <a:ext uri="{FF2B5EF4-FFF2-40B4-BE49-F238E27FC236}">
                  <a16:creationId xmlns:a16="http://schemas.microsoft.com/office/drawing/2014/main" id="{E23031FA-7B57-47D5-98AF-D9423F5F30EE}"/>
                </a:ext>
              </a:extLst>
            </p:cNvPr>
            <p:cNvSpPr/>
            <p:nvPr/>
          </p:nvSpPr>
          <p:spPr>
            <a:xfrm rot="8716295">
              <a:off x="589639" y="40263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" name="Forme libre : forme 2252">
              <a:extLst>
                <a:ext uri="{FF2B5EF4-FFF2-40B4-BE49-F238E27FC236}">
                  <a16:creationId xmlns:a16="http://schemas.microsoft.com/office/drawing/2014/main" id="{18D159E9-838E-47A3-AE83-A4990238B07C}"/>
                </a:ext>
              </a:extLst>
            </p:cNvPr>
            <p:cNvSpPr/>
            <p:nvPr/>
          </p:nvSpPr>
          <p:spPr>
            <a:xfrm rot="8716295">
              <a:off x="464737" y="19396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" name="Forme libre : forme 2253">
              <a:extLst>
                <a:ext uri="{FF2B5EF4-FFF2-40B4-BE49-F238E27FC236}">
                  <a16:creationId xmlns:a16="http://schemas.microsoft.com/office/drawing/2014/main" id="{45FFA073-EC3B-4660-8F03-6BA94AD6386B}"/>
                </a:ext>
              </a:extLst>
            </p:cNvPr>
            <p:cNvSpPr/>
            <p:nvPr/>
          </p:nvSpPr>
          <p:spPr>
            <a:xfrm rot="8716295">
              <a:off x="679817" y="44358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" name="Forme libre : forme 2254">
              <a:extLst>
                <a:ext uri="{FF2B5EF4-FFF2-40B4-BE49-F238E27FC236}">
                  <a16:creationId xmlns:a16="http://schemas.microsoft.com/office/drawing/2014/main" id="{DC04F724-6125-4E5E-BCC5-96720655541A}"/>
                </a:ext>
              </a:extLst>
            </p:cNvPr>
            <p:cNvSpPr/>
            <p:nvPr/>
          </p:nvSpPr>
          <p:spPr>
            <a:xfrm rot="8716295">
              <a:off x="438366" y="29398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6" name="Forme libre : forme 2255">
              <a:extLst>
                <a:ext uri="{FF2B5EF4-FFF2-40B4-BE49-F238E27FC236}">
                  <a16:creationId xmlns:a16="http://schemas.microsoft.com/office/drawing/2014/main" id="{4E07974B-5D4E-45AC-8AC5-4CEC077D2D4A}"/>
                </a:ext>
              </a:extLst>
            </p:cNvPr>
            <p:cNvSpPr/>
            <p:nvPr/>
          </p:nvSpPr>
          <p:spPr>
            <a:xfrm rot="7484129">
              <a:off x="784748" y="63493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7" name="Forme libre : forme 2256">
              <a:extLst>
                <a:ext uri="{FF2B5EF4-FFF2-40B4-BE49-F238E27FC236}">
                  <a16:creationId xmlns:a16="http://schemas.microsoft.com/office/drawing/2014/main" id="{803ECC03-3567-472A-8050-72BD0AD2D44D}"/>
                </a:ext>
              </a:extLst>
            </p:cNvPr>
            <p:cNvSpPr/>
            <p:nvPr/>
          </p:nvSpPr>
          <p:spPr>
            <a:xfrm rot="13089394">
              <a:off x="889568" y="60147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8" name="Forme libre : forme 2257">
              <a:extLst>
                <a:ext uri="{FF2B5EF4-FFF2-40B4-BE49-F238E27FC236}">
                  <a16:creationId xmlns:a16="http://schemas.microsoft.com/office/drawing/2014/main" id="{B771EDEB-2CF0-4352-878D-B2990D9B9504}"/>
                </a:ext>
              </a:extLst>
            </p:cNvPr>
            <p:cNvSpPr/>
            <p:nvPr/>
          </p:nvSpPr>
          <p:spPr>
            <a:xfrm rot="8716295">
              <a:off x="1075153" y="40979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9" name="Forme libre : forme 2258">
              <a:extLst>
                <a:ext uri="{FF2B5EF4-FFF2-40B4-BE49-F238E27FC236}">
                  <a16:creationId xmlns:a16="http://schemas.microsoft.com/office/drawing/2014/main" id="{5143866B-E59F-41E8-AA95-A590D76AAA7E}"/>
                </a:ext>
              </a:extLst>
            </p:cNvPr>
            <p:cNvSpPr/>
            <p:nvPr/>
          </p:nvSpPr>
          <p:spPr>
            <a:xfrm rot="8716295">
              <a:off x="1023348" y="30619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0" name="Forme libre : forme 2259">
              <a:extLst>
                <a:ext uri="{FF2B5EF4-FFF2-40B4-BE49-F238E27FC236}">
                  <a16:creationId xmlns:a16="http://schemas.microsoft.com/office/drawing/2014/main" id="{0E94EEA0-8274-432D-BB6F-9286004332CA}"/>
                </a:ext>
              </a:extLst>
            </p:cNvPr>
            <p:cNvSpPr/>
            <p:nvPr/>
          </p:nvSpPr>
          <p:spPr>
            <a:xfrm rot="8716295">
              <a:off x="780102" y="336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1" name="Forme libre : forme 2260">
              <a:extLst>
                <a:ext uri="{FF2B5EF4-FFF2-40B4-BE49-F238E27FC236}">
                  <a16:creationId xmlns:a16="http://schemas.microsoft.com/office/drawing/2014/main" id="{A6D5A634-8C59-40B1-8D8F-9E7C17280A50}"/>
                </a:ext>
              </a:extLst>
            </p:cNvPr>
            <p:cNvSpPr/>
            <p:nvPr/>
          </p:nvSpPr>
          <p:spPr>
            <a:xfrm rot="8716295">
              <a:off x="957554" y="17717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2" name="Forme libre : forme 2261">
              <a:extLst>
                <a:ext uri="{FF2B5EF4-FFF2-40B4-BE49-F238E27FC236}">
                  <a16:creationId xmlns:a16="http://schemas.microsoft.com/office/drawing/2014/main" id="{AEA08EC4-CD84-4A24-ACC9-A6661B311E57}"/>
                </a:ext>
              </a:extLst>
            </p:cNvPr>
            <p:cNvSpPr/>
            <p:nvPr/>
          </p:nvSpPr>
          <p:spPr>
            <a:xfrm rot="8716295">
              <a:off x="202348" y="-57106"/>
              <a:ext cx="142167" cy="186494"/>
            </a:xfrm>
            <a:custGeom>
              <a:avLst/>
              <a:gdLst>
                <a:gd name="connsiteX0" fmla="*/ 142167 w 142167"/>
                <a:gd name="connsiteY0" fmla="*/ 186494 h 186494"/>
                <a:gd name="connsiteX1" fmla="*/ 81108 w 142167"/>
                <a:gd name="connsiteY1" fmla="*/ 144170 h 186494"/>
                <a:gd name="connsiteX2" fmla="*/ 81108 w 142167"/>
                <a:gd name="connsiteY2" fmla="*/ 69717 h 186494"/>
                <a:gd name="connsiteX3" fmla="*/ 81108 w 142167"/>
                <a:gd name="connsiteY3" fmla="*/ 65615 h 186494"/>
                <a:gd name="connsiteX4" fmla="*/ 60603 w 142167"/>
                <a:gd name="connsiteY4" fmla="*/ 50123 h 186494"/>
                <a:gd name="connsiteX5" fmla="*/ 0 w 142167"/>
                <a:gd name="connsiteY5" fmla="*/ 50123 h 186494"/>
                <a:gd name="connsiteX6" fmla="*/ 0 w 142167"/>
                <a:gd name="connsiteY6" fmla="*/ 0 h 186494"/>
                <a:gd name="connsiteX7" fmla="*/ 85209 w 142167"/>
                <a:gd name="connsiteY7" fmla="*/ 0 h 186494"/>
                <a:gd name="connsiteX8" fmla="*/ 142167 w 142167"/>
                <a:gd name="connsiteY8" fmla="*/ 50123 h 186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86494">
                  <a:moveTo>
                    <a:pt x="142167" y="186494"/>
                  </a:moveTo>
                  <a:lnTo>
                    <a:pt x="81108" y="144170"/>
                  </a:lnTo>
                  <a:lnTo>
                    <a:pt x="81108" y="69717"/>
                  </a:lnTo>
                  <a:cubicBezTo>
                    <a:pt x="81108" y="68349"/>
                    <a:pt x="81108" y="66983"/>
                    <a:pt x="81108" y="65615"/>
                  </a:cubicBezTo>
                  <a:cubicBezTo>
                    <a:pt x="79741" y="55591"/>
                    <a:pt x="70628" y="48756"/>
                    <a:pt x="60603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3" name="Forme libre : forme 2262">
              <a:extLst>
                <a:ext uri="{FF2B5EF4-FFF2-40B4-BE49-F238E27FC236}">
                  <a16:creationId xmlns:a16="http://schemas.microsoft.com/office/drawing/2014/main" id="{60AFC6E6-CF38-4DF0-A5E2-CF7B4BD947CC}"/>
                </a:ext>
              </a:extLst>
            </p:cNvPr>
            <p:cNvSpPr/>
            <p:nvPr/>
          </p:nvSpPr>
          <p:spPr>
            <a:xfrm rot="8716295">
              <a:off x="298766" y="-5395"/>
              <a:ext cx="260639" cy="180054"/>
            </a:xfrm>
            <a:custGeom>
              <a:avLst/>
              <a:gdLst>
                <a:gd name="connsiteX0" fmla="*/ 111638 w 260639"/>
                <a:gd name="connsiteY0" fmla="*/ 180054 h 180054"/>
                <a:gd name="connsiteX1" fmla="*/ 51490 w 260639"/>
                <a:gd name="connsiteY1" fmla="*/ 138362 h 180054"/>
                <a:gd name="connsiteX2" fmla="*/ 51490 w 260639"/>
                <a:gd name="connsiteY2" fmla="*/ 45624 h 180054"/>
                <a:gd name="connsiteX3" fmla="*/ 0 w 260639"/>
                <a:gd name="connsiteY3" fmla="*/ 45624 h 180054"/>
                <a:gd name="connsiteX4" fmla="*/ 0 w 260639"/>
                <a:gd name="connsiteY4" fmla="*/ 1425 h 180054"/>
                <a:gd name="connsiteX5" fmla="*/ 104802 w 260639"/>
                <a:gd name="connsiteY5" fmla="*/ 1425 h 180054"/>
                <a:gd name="connsiteX6" fmla="*/ 104802 w 260639"/>
                <a:gd name="connsiteY6" fmla="*/ 75242 h 180054"/>
                <a:gd name="connsiteX7" fmla="*/ 106169 w 260639"/>
                <a:gd name="connsiteY7" fmla="*/ 75242 h 180054"/>
                <a:gd name="connsiteX8" fmla="*/ 154014 w 260639"/>
                <a:gd name="connsiteY8" fmla="*/ 5981 h 180054"/>
                <a:gd name="connsiteX9" fmla="*/ 185455 w 260639"/>
                <a:gd name="connsiteY9" fmla="*/ 57 h 180054"/>
                <a:gd name="connsiteX10" fmla="*/ 260639 w 260639"/>
                <a:gd name="connsiteY10" fmla="*/ 88456 h 180054"/>
                <a:gd name="connsiteX11" fmla="*/ 260639 w 260639"/>
                <a:gd name="connsiteY11" fmla="*/ 94380 h 180054"/>
                <a:gd name="connsiteX12" fmla="*/ 198669 w 260639"/>
                <a:gd name="connsiteY12" fmla="*/ 98025 h 180054"/>
                <a:gd name="connsiteX13" fmla="*/ 198669 w 260639"/>
                <a:gd name="connsiteY13" fmla="*/ 81621 h 180054"/>
                <a:gd name="connsiteX14" fmla="*/ 164950 w 260639"/>
                <a:gd name="connsiteY14" fmla="*/ 40156 h 180054"/>
                <a:gd name="connsiteX15" fmla="*/ 111638 w 260639"/>
                <a:gd name="connsiteY15" fmla="*/ 127643 h 180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0639" h="180054">
                  <a:moveTo>
                    <a:pt x="111638" y="180054"/>
                  </a:moveTo>
                  <a:lnTo>
                    <a:pt x="51490" y="138362"/>
                  </a:ln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4" name="Forme libre : forme 2263">
              <a:extLst>
                <a:ext uri="{FF2B5EF4-FFF2-40B4-BE49-F238E27FC236}">
                  <a16:creationId xmlns:a16="http://schemas.microsoft.com/office/drawing/2014/main" id="{F99E11F1-879E-43C0-A1F2-522A2B520054}"/>
                </a:ext>
              </a:extLst>
            </p:cNvPr>
            <p:cNvSpPr/>
            <p:nvPr/>
          </p:nvSpPr>
          <p:spPr>
            <a:xfrm rot="8716295">
              <a:off x="276903" y="-12823"/>
              <a:ext cx="36272" cy="27982"/>
            </a:xfrm>
            <a:custGeom>
              <a:avLst/>
              <a:gdLst>
                <a:gd name="connsiteX0" fmla="*/ 36272 w 36272"/>
                <a:gd name="connsiteY0" fmla="*/ 27982 h 27982"/>
                <a:gd name="connsiteX1" fmla="*/ 0 w 36272"/>
                <a:gd name="connsiteY1" fmla="*/ 2840 h 27982"/>
                <a:gd name="connsiteX2" fmla="*/ 9543 w 36272"/>
                <a:gd name="connsiteY2" fmla="*/ 0 h 27982"/>
                <a:gd name="connsiteX3" fmla="*/ 31871 w 36272"/>
                <a:gd name="connsiteY3" fmla="*/ 11392 h 27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272" h="27982">
                  <a:moveTo>
                    <a:pt x="36272" y="27982"/>
                  </a:moveTo>
                  <a:lnTo>
                    <a:pt x="0" y="2840"/>
                  </a:lnTo>
                  <a:lnTo>
                    <a:pt x="9543" y="0"/>
                  </a:lnTo>
                  <a:cubicBezTo>
                    <a:pt x="20479" y="0"/>
                    <a:pt x="27542" y="4784"/>
                    <a:pt x="31871" y="113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5" name="Forme libre : forme 2264">
              <a:extLst>
                <a:ext uri="{FF2B5EF4-FFF2-40B4-BE49-F238E27FC236}">
                  <a16:creationId xmlns:a16="http://schemas.microsoft.com/office/drawing/2014/main" id="{2E8D6347-E8C4-45B5-8A1B-45E97581E04C}"/>
                </a:ext>
              </a:extLst>
            </p:cNvPr>
            <p:cNvSpPr/>
            <p:nvPr/>
          </p:nvSpPr>
          <p:spPr>
            <a:xfrm rot="8716295">
              <a:off x="74640" y="-9665"/>
              <a:ext cx="58068" cy="54772"/>
            </a:xfrm>
            <a:custGeom>
              <a:avLst/>
              <a:gdLst>
                <a:gd name="connsiteX0" fmla="*/ 37436 w 58068"/>
                <a:gd name="connsiteY0" fmla="*/ 54772 h 54772"/>
                <a:gd name="connsiteX1" fmla="*/ 0 w 58068"/>
                <a:gd name="connsiteY1" fmla="*/ 28823 h 54772"/>
                <a:gd name="connsiteX2" fmla="*/ 8515 w 58068"/>
                <a:gd name="connsiteY2" fmla="*/ 8658 h 54772"/>
                <a:gd name="connsiteX3" fmla="*/ 29020 w 58068"/>
                <a:gd name="connsiteY3" fmla="*/ 0 h 54772"/>
                <a:gd name="connsiteX4" fmla="*/ 49525 w 58068"/>
                <a:gd name="connsiteY4" fmla="*/ 8658 h 54772"/>
                <a:gd name="connsiteX5" fmla="*/ 49525 w 58068"/>
                <a:gd name="connsiteY5" fmla="*/ 49668 h 5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068" h="54772">
                  <a:moveTo>
                    <a:pt x="37436" y="54772"/>
                  </a:moveTo>
                  <a:lnTo>
                    <a:pt x="0" y="28823"/>
                  </a:lnTo>
                  <a:lnTo>
                    <a:pt x="8515" y="8658"/>
                  </a:lnTo>
                  <a:cubicBezTo>
                    <a:pt x="13983" y="3190"/>
                    <a:pt x="21273" y="0"/>
                    <a:pt x="29020" y="0"/>
                  </a:cubicBezTo>
                  <a:cubicBezTo>
                    <a:pt x="36766" y="0"/>
                    <a:pt x="44057" y="3190"/>
                    <a:pt x="49525" y="8658"/>
                  </a:cubicBezTo>
                  <a:cubicBezTo>
                    <a:pt x="60916" y="19594"/>
                    <a:pt x="60916" y="38276"/>
                    <a:pt x="49525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6" name="Forme libre : forme 2265">
              <a:extLst>
                <a:ext uri="{FF2B5EF4-FFF2-40B4-BE49-F238E27FC236}">
                  <a16:creationId xmlns:a16="http://schemas.microsoft.com/office/drawing/2014/main" id="{BCA89D21-0065-4D16-A3A0-E2C378DC3A92}"/>
                </a:ext>
              </a:extLst>
            </p:cNvPr>
            <p:cNvSpPr/>
            <p:nvPr/>
          </p:nvSpPr>
          <p:spPr>
            <a:xfrm rot="8716295">
              <a:off x="13802" y="-10406"/>
              <a:ext cx="30027" cy="20814"/>
            </a:xfrm>
            <a:custGeom>
              <a:avLst/>
              <a:gdLst>
                <a:gd name="connsiteX0" fmla="*/ 30027 w 30027"/>
                <a:gd name="connsiteY0" fmla="*/ 20814 h 20814"/>
                <a:gd name="connsiteX1" fmla="*/ 0 w 30027"/>
                <a:gd name="connsiteY1" fmla="*/ 0 h 20814"/>
                <a:gd name="connsiteX2" fmla="*/ 30027 w 30027"/>
                <a:gd name="connsiteY2" fmla="*/ 0 h 20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027" h="20814">
                  <a:moveTo>
                    <a:pt x="30027" y="20814"/>
                  </a:moveTo>
                  <a:lnTo>
                    <a:pt x="0" y="0"/>
                  </a:lnTo>
                  <a:lnTo>
                    <a:pt x="3002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7" name="Forme libre : forme 2266">
              <a:extLst>
                <a:ext uri="{FF2B5EF4-FFF2-40B4-BE49-F238E27FC236}">
                  <a16:creationId xmlns:a16="http://schemas.microsoft.com/office/drawing/2014/main" id="{F71B2498-3B3D-45FC-A329-91E00C9C5967}"/>
                </a:ext>
              </a:extLst>
            </p:cNvPr>
            <p:cNvSpPr/>
            <p:nvPr/>
          </p:nvSpPr>
          <p:spPr>
            <a:xfrm rot="8716295">
              <a:off x="168048" y="3032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8" name="Forme libre : forme 2267">
              <a:extLst>
                <a:ext uri="{FF2B5EF4-FFF2-40B4-BE49-F238E27FC236}">
                  <a16:creationId xmlns:a16="http://schemas.microsoft.com/office/drawing/2014/main" id="{3CF8E69B-B55C-41E9-B911-1981925CCEB5}"/>
                </a:ext>
              </a:extLst>
            </p:cNvPr>
            <p:cNvSpPr/>
            <p:nvPr/>
          </p:nvSpPr>
          <p:spPr>
            <a:xfrm rot="7484129">
              <a:off x="562078" y="-284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9" name="Forme libre : forme 2268">
              <a:extLst>
                <a:ext uri="{FF2B5EF4-FFF2-40B4-BE49-F238E27FC236}">
                  <a16:creationId xmlns:a16="http://schemas.microsoft.com/office/drawing/2014/main" id="{4C71276B-40A5-4E8A-A73A-B1F9AA0F0D51}"/>
                </a:ext>
              </a:extLst>
            </p:cNvPr>
            <p:cNvSpPr/>
            <p:nvPr/>
          </p:nvSpPr>
          <p:spPr>
            <a:xfrm rot="13089394">
              <a:off x="775514" y="-27038"/>
              <a:ext cx="149688" cy="328219"/>
            </a:xfrm>
            <a:custGeom>
              <a:avLst/>
              <a:gdLst>
                <a:gd name="connsiteX0" fmla="*/ 149688 w 149688"/>
                <a:gd name="connsiteY0" fmla="*/ 279622 h 328219"/>
                <a:gd name="connsiteX1" fmla="*/ 87835 w 149688"/>
                <a:gd name="connsiteY1" fmla="*/ 328219 h 328219"/>
                <a:gd name="connsiteX2" fmla="*/ 54765 w 149688"/>
                <a:gd name="connsiteY2" fmla="*/ 322521 h 328219"/>
                <a:gd name="connsiteX3" fmla="*/ 23727 w 149688"/>
                <a:gd name="connsiteY3" fmla="*/ 301277 h 328219"/>
                <a:gd name="connsiteX4" fmla="*/ 0 w 149688"/>
                <a:gd name="connsiteY4" fmla="*/ 206369 h 328219"/>
                <a:gd name="connsiteX5" fmla="*/ 0 w 149688"/>
                <a:gd name="connsiteY5" fmla="*/ 38074 h 328219"/>
                <a:gd name="connsiteX6" fmla="*/ 73388 w 149688"/>
                <a:gd name="connsiteY6" fmla="*/ 0 h 328219"/>
                <a:gd name="connsiteX7" fmla="*/ 74492 w 149688"/>
                <a:gd name="connsiteY7" fmla="*/ 153950 h 328219"/>
                <a:gd name="connsiteX8" fmla="*/ 87734 w 149688"/>
                <a:gd name="connsiteY8" fmla="*/ 245547 h 328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9688" h="328219">
                  <a:moveTo>
                    <a:pt x="149688" y="279622"/>
                  </a:moveTo>
                  <a:lnTo>
                    <a:pt x="87835" y="328219"/>
                  </a:lnTo>
                  <a:lnTo>
                    <a:pt x="54765" y="322521"/>
                  </a:lnTo>
                  <a:cubicBezTo>
                    <a:pt x="43178" y="317693"/>
                    <a:pt x="32555" y="310382"/>
                    <a:pt x="23727" y="301277"/>
                  </a:cubicBezTo>
                  <a:cubicBezTo>
                    <a:pt x="4966" y="283069"/>
                    <a:pt x="0" y="251616"/>
                    <a:pt x="0" y="206369"/>
                  </a:cubicBez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2836" y="184850"/>
                    <a:pt x="77802" y="216302"/>
                    <a:pt x="87734" y="2455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0" name="Forme libre : forme 2269">
              <a:extLst>
                <a:ext uri="{FF2B5EF4-FFF2-40B4-BE49-F238E27FC236}">
                  <a16:creationId xmlns:a16="http://schemas.microsoft.com/office/drawing/2014/main" id="{989F33F8-2CEA-46E0-977C-BF10A5F6EC24}"/>
                </a:ext>
              </a:extLst>
            </p:cNvPr>
            <p:cNvSpPr/>
            <p:nvPr/>
          </p:nvSpPr>
          <p:spPr>
            <a:xfrm rot="8716295">
              <a:off x="5027149" y="202701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1" name="Forme libre : forme 2270">
              <a:extLst>
                <a:ext uri="{FF2B5EF4-FFF2-40B4-BE49-F238E27FC236}">
                  <a16:creationId xmlns:a16="http://schemas.microsoft.com/office/drawing/2014/main" id="{9811A813-1EE2-49DA-9483-7786C91105E8}"/>
                </a:ext>
              </a:extLst>
            </p:cNvPr>
            <p:cNvSpPr/>
            <p:nvPr/>
          </p:nvSpPr>
          <p:spPr>
            <a:xfrm rot="8716295">
              <a:off x="5116541" y="205625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2" name="Forme libre : forme 2271">
              <a:extLst>
                <a:ext uri="{FF2B5EF4-FFF2-40B4-BE49-F238E27FC236}">
                  <a16:creationId xmlns:a16="http://schemas.microsoft.com/office/drawing/2014/main" id="{8FC8FB61-C549-4F81-9375-A1D7E59B1E17}"/>
                </a:ext>
              </a:extLst>
            </p:cNvPr>
            <p:cNvSpPr/>
            <p:nvPr/>
          </p:nvSpPr>
          <p:spPr>
            <a:xfrm rot="8716295">
              <a:off x="5071691" y="196997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3" name="Forme libre : forme 2272">
              <a:extLst>
                <a:ext uri="{FF2B5EF4-FFF2-40B4-BE49-F238E27FC236}">
                  <a16:creationId xmlns:a16="http://schemas.microsoft.com/office/drawing/2014/main" id="{0CFFA3A9-B086-4D44-B5C2-B82670FF13BF}"/>
                </a:ext>
              </a:extLst>
            </p:cNvPr>
            <p:cNvSpPr/>
            <p:nvPr/>
          </p:nvSpPr>
          <p:spPr>
            <a:xfrm rot="8716295">
              <a:off x="4914915" y="211555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4" name="Forme libre : forme 2273">
              <a:extLst>
                <a:ext uri="{FF2B5EF4-FFF2-40B4-BE49-F238E27FC236}">
                  <a16:creationId xmlns:a16="http://schemas.microsoft.com/office/drawing/2014/main" id="{233AD9D8-2DDF-4DFC-A97A-554BCD15069B}"/>
                </a:ext>
              </a:extLst>
            </p:cNvPr>
            <p:cNvSpPr/>
            <p:nvPr/>
          </p:nvSpPr>
          <p:spPr>
            <a:xfrm rot="8716295">
              <a:off x="4790012" y="190688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5" name="Forme libre : forme 2274">
              <a:extLst>
                <a:ext uri="{FF2B5EF4-FFF2-40B4-BE49-F238E27FC236}">
                  <a16:creationId xmlns:a16="http://schemas.microsoft.com/office/drawing/2014/main" id="{F30C5186-83A8-436D-A1B1-82D8B26F890D}"/>
                </a:ext>
              </a:extLst>
            </p:cNvPr>
            <p:cNvSpPr/>
            <p:nvPr/>
          </p:nvSpPr>
          <p:spPr>
            <a:xfrm rot="8716295">
              <a:off x="4777960" y="176810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6" name="Forme libre : forme 2275">
              <a:extLst>
                <a:ext uri="{FF2B5EF4-FFF2-40B4-BE49-F238E27FC236}">
                  <a16:creationId xmlns:a16="http://schemas.microsoft.com/office/drawing/2014/main" id="{A0377747-04B1-4283-950B-CD843F97EFB6}"/>
                </a:ext>
              </a:extLst>
            </p:cNvPr>
            <p:cNvSpPr/>
            <p:nvPr/>
          </p:nvSpPr>
          <p:spPr>
            <a:xfrm rot="8716295">
              <a:off x="5005093" y="215651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7" name="Forme libre : forme 2276">
              <a:extLst>
                <a:ext uri="{FF2B5EF4-FFF2-40B4-BE49-F238E27FC236}">
                  <a16:creationId xmlns:a16="http://schemas.microsoft.com/office/drawing/2014/main" id="{3571DCD9-8E3F-48D7-BBF0-29E0A04E1105}"/>
                </a:ext>
              </a:extLst>
            </p:cNvPr>
            <p:cNvSpPr/>
            <p:nvPr/>
          </p:nvSpPr>
          <p:spPr>
            <a:xfrm rot="8716295">
              <a:off x="5316248" y="177686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8" name="Forme libre : forme 2277">
              <a:extLst>
                <a:ext uri="{FF2B5EF4-FFF2-40B4-BE49-F238E27FC236}">
                  <a16:creationId xmlns:a16="http://schemas.microsoft.com/office/drawing/2014/main" id="{B5194E53-4203-440A-97AE-D778552CB387}"/>
                </a:ext>
              </a:extLst>
            </p:cNvPr>
            <p:cNvSpPr/>
            <p:nvPr/>
          </p:nvSpPr>
          <p:spPr>
            <a:xfrm rot="8716295">
              <a:off x="5405640" y="180610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9" name="Forme libre : forme 2278">
              <a:extLst>
                <a:ext uri="{FF2B5EF4-FFF2-40B4-BE49-F238E27FC236}">
                  <a16:creationId xmlns:a16="http://schemas.microsoft.com/office/drawing/2014/main" id="{DAF19CC7-74AA-4704-A1D2-062102FB21F8}"/>
                </a:ext>
              </a:extLst>
            </p:cNvPr>
            <p:cNvSpPr/>
            <p:nvPr/>
          </p:nvSpPr>
          <p:spPr>
            <a:xfrm rot="8716295">
              <a:off x="5204014" y="186540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0" name="Forme libre : forme 2279">
              <a:extLst>
                <a:ext uri="{FF2B5EF4-FFF2-40B4-BE49-F238E27FC236}">
                  <a16:creationId xmlns:a16="http://schemas.microsoft.com/office/drawing/2014/main" id="{25EC3E6E-10D1-4116-AA5A-C57DF5107B67}"/>
                </a:ext>
              </a:extLst>
            </p:cNvPr>
            <p:cNvSpPr/>
            <p:nvPr/>
          </p:nvSpPr>
          <p:spPr>
            <a:xfrm rot="8716295">
              <a:off x="5079112" y="165673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1" name="Forme libre : forme 2280">
              <a:extLst>
                <a:ext uri="{FF2B5EF4-FFF2-40B4-BE49-F238E27FC236}">
                  <a16:creationId xmlns:a16="http://schemas.microsoft.com/office/drawing/2014/main" id="{C9FA81BF-DE28-4428-8ED6-97559BBCCD8C}"/>
                </a:ext>
              </a:extLst>
            </p:cNvPr>
            <p:cNvSpPr/>
            <p:nvPr/>
          </p:nvSpPr>
          <p:spPr>
            <a:xfrm rot="8716295">
              <a:off x="5294192" y="190635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2" name="Forme libre : forme 2281">
              <a:extLst>
                <a:ext uri="{FF2B5EF4-FFF2-40B4-BE49-F238E27FC236}">
                  <a16:creationId xmlns:a16="http://schemas.microsoft.com/office/drawing/2014/main" id="{7CBE3143-36E0-46F6-A7F9-68442F5449A1}"/>
                </a:ext>
              </a:extLst>
            </p:cNvPr>
            <p:cNvSpPr/>
            <p:nvPr/>
          </p:nvSpPr>
          <p:spPr>
            <a:xfrm rot="8716295">
              <a:off x="5052741" y="175675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3" name="Forme libre : forme 2282">
              <a:extLst>
                <a:ext uri="{FF2B5EF4-FFF2-40B4-BE49-F238E27FC236}">
                  <a16:creationId xmlns:a16="http://schemas.microsoft.com/office/drawing/2014/main" id="{6D272255-56C7-4DCB-8E2D-FCB1C2CD9031}"/>
                </a:ext>
              </a:extLst>
            </p:cNvPr>
            <p:cNvSpPr/>
            <p:nvPr/>
          </p:nvSpPr>
          <p:spPr>
            <a:xfrm rot="7484129">
              <a:off x="5399123" y="209771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4" name="Forme libre : forme 2283">
              <a:extLst>
                <a:ext uri="{FF2B5EF4-FFF2-40B4-BE49-F238E27FC236}">
                  <a16:creationId xmlns:a16="http://schemas.microsoft.com/office/drawing/2014/main" id="{4FB405A8-78D2-42A0-AA73-3F8891BBCD16}"/>
                </a:ext>
              </a:extLst>
            </p:cNvPr>
            <p:cNvSpPr/>
            <p:nvPr/>
          </p:nvSpPr>
          <p:spPr>
            <a:xfrm rot="13089394">
              <a:off x="5503943" y="206424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5" name="Forme libre : forme 2284">
              <a:extLst>
                <a:ext uri="{FF2B5EF4-FFF2-40B4-BE49-F238E27FC236}">
                  <a16:creationId xmlns:a16="http://schemas.microsoft.com/office/drawing/2014/main" id="{5D1227F4-9CCA-498B-B4A8-3FC0F584569C}"/>
                </a:ext>
              </a:extLst>
            </p:cNvPr>
            <p:cNvSpPr/>
            <p:nvPr/>
          </p:nvSpPr>
          <p:spPr>
            <a:xfrm rot="8716295">
              <a:off x="5689528" y="187256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6" name="Forme libre : forme 2285">
              <a:extLst>
                <a:ext uri="{FF2B5EF4-FFF2-40B4-BE49-F238E27FC236}">
                  <a16:creationId xmlns:a16="http://schemas.microsoft.com/office/drawing/2014/main" id="{C59C685B-27AB-40A0-A906-985CA6213EBC}"/>
                </a:ext>
              </a:extLst>
            </p:cNvPr>
            <p:cNvSpPr/>
            <p:nvPr/>
          </p:nvSpPr>
          <p:spPr>
            <a:xfrm rot="8716295">
              <a:off x="5637723" y="176897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7" name="Forme libre : forme 2286">
              <a:extLst>
                <a:ext uri="{FF2B5EF4-FFF2-40B4-BE49-F238E27FC236}">
                  <a16:creationId xmlns:a16="http://schemas.microsoft.com/office/drawing/2014/main" id="{8DB70848-D82B-4310-9BBA-A9459B171C10}"/>
                </a:ext>
              </a:extLst>
            </p:cNvPr>
            <p:cNvSpPr/>
            <p:nvPr/>
          </p:nvSpPr>
          <p:spPr>
            <a:xfrm rot="8716295">
              <a:off x="5394477" y="179919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8" name="Forme libre : forme 2287">
              <a:extLst>
                <a:ext uri="{FF2B5EF4-FFF2-40B4-BE49-F238E27FC236}">
                  <a16:creationId xmlns:a16="http://schemas.microsoft.com/office/drawing/2014/main" id="{C5272E14-DCC6-4573-8D08-FD212965F221}"/>
                </a:ext>
              </a:extLst>
            </p:cNvPr>
            <p:cNvSpPr/>
            <p:nvPr/>
          </p:nvSpPr>
          <p:spPr>
            <a:xfrm rot="8716295">
              <a:off x="5571929" y="163994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9" name="Forme libre : forme 2288">
              <a:extLst>
                <a:ext uri="{FF2B5EF4-FFF2-40B4-BE49-F238E27FC236}">
                  <a16:creationId xmlns:a16="http://schemas.microsoft.com/office/drawing/2014/main" id="{A350DCBD-0FDA-496A-BBBE-BB7098DAD44D}"/>
                </a:ext>
              </a:extLst>
            </p:cNvPr>
            <p:cNvSpPr/>
            <p:nvPr/>
          </p:nvSpPr>
          <p:spPr>
            <a:xfrm rot="8716295">
              <a:off x="5250316" y="268671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0" name="Forme libre : forme 2289">
              <a:extLst>
                <a:ext uri="{FF2B5EF4-FFF2-40B4-BE49-F238E27FC236}">
                  <a16:creationId xmlns:a16="http://schemas.microsoft.com/office/drawing/2014/main" id="{424249A1-386F-413D-A213-ACEDD63BDA25}"/>
                </a:ext>
              </a:extLst>
            </p:cNvPr>
            <p:cNvSpPr/>
            <p:nvPr/>
          </p:nvSpPr>
          <p:spPr>
            <a:xfrm rot="8716295">
              <a:off x="5339708" y="271595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1" name="Forme libre : forme 2290">
              <a:extLst>
                <a:ext uri="{FF2B5EF4-FFF2-40B4-BE49-F238E27FC236}">
                  <a16:creationId xmlns:a16="http://schemas.microsoft.com/office/drawing/2014/main" id="{ECDCBBB4-5207-4603-B3A2-EE99E034021A}"/>
                </a:ext>
              </a:extLst>
            </p:cNvPr>
            <p:cNvSpPr/>
            <p:nvPr/>
          </p:nvSpPr>
          <p:spPr>
            <a:xfrm rot="8716295">
              <a:off x="5294858" y="262967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2" name="Forme libre : forme 2291">
              <a:extLst>
                <a:ext uri="{FF2B5EF4-FFF2-40B4-BE49-F238E27FC236}">
                  <a16:creationId xmlns:a16="http://schemas.microsoft.com/office/drawing/2014/main" id="{586B3E24-B064-4091-9B72-D089A71B8329}"/>
                </a:ext>
              </a:extLst>
            </p:cNvPr>
            <p:cNvSpPr/>
            <p:nvPr/>
          </p:nvSpPr>
          <p:spPr>
            <a:xfrm rot="8716295">
              <a:off x="5138082" y="277525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3" name="Forme libre : forme 2292">
              <a:extLst>
                <a:ext uri="{FF2B5EF4-FFF2-40B4-BE49-F238E27FC236}">
                  <a16:creationId xmlns:a16="http://schemas.microsoft.com/office/drawing/2014/main" id="{0B8199E1-B2FB-471F-BB74-205302CD4EEC}"/>
                </a:ext>
              </a:extLst>
            </p:cNvPr>
            <p:cNvSpPr/>
            <p:nvPr/>
          </p:nvSpPr>
          <p:spPr>
            <a:xfrm rot="8716295">
              <a:off x="5013179" y="256658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4" name="Forme libre : forme 2293">
              <a:extLst>
                <a:ext uri="{FF2B5EF4-FFF2-40B4-BE49-F238E27FC236}">
                  <a16:creationId xmlns:a16="http://schemas.microsoft.com/office/drawing/2014/main" id="{2FB2D688-FEA9-44F3-ABA3-DB1429B0A2C4}"/>
                </a:ext>
              </a:extLst>
            </p:cNvPr>
            <p:cNvSpPr/>
            <p:nvPr/>
          </p:nvSpPr>
          <p:spPr>
            <a:xfrm rot="8716295">
              <a:off x="5001127" y="242780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5" name="Forme libre : forme 2294">
              <a:extLst>
                <a:ext uri="{FF2B5EF4-FFF2-40B4-BE49-F238E27FC236}">
                  <a16:creationId xmlns:a16="http://schemas.microsoft.com/office/drawing/2014/main" id="{CD81BB45-7980-4C73-85FE-6BB2DBE766EF}"/>
                </a:ext>
              </a:extLst>
            </p:cNvPr>
            <p:cNvSpPr/>
            <p:nvPr/>
          </p:nvSpPr>
          <p:spPr>
            <a:xfrm rot="8716295">
              <a:off x="5228260" y="281621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6" name="Forme libre : forme 2295">
              <a:extLst>
                <a:ext uri="{FF2B5EF4-FFF2-40B4-BE49-F238E27FC236}">
                  <a16:creationId xmlns:a16="http://schemas.microsoft.com/office/drawing/2014/main" id="{45A188F4-BDAA-4C8F-BC77-E18E0A410657}"/>
                </a:ext>
              </a:extLst>
            </p:cNvPr>
            <p:cNvSpPr/>
            <p:nvPr/>
          </p:nvSpPr>
          <p:spPr>
            <a:xfrm rot="8716295">
              <a:off x="5539415" y="243656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7" name="Forme libre : forme 2296">
              <a:extLst>
                <a:ext uri="{FF2B5EF4-FFF2-40B4-BE49-F238E27FC236}">
                  <a16:creationId xmlns:a16="http://schemas.microsoft.com/office/drawing/2014/main" id="{6F38191A-A16B-4F12-A551-5C44F7C985EE}"/>
                </a:ext>
              </a:extLst>
            </p:cNvPr>
            <p:cNvSpPr/>
            <p:nvPr/>
          </p:nvSpPr>
          <p:spPr>
            <a:xfrm rot="8716295">
              <a:off x="5628807" y="246580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8" name="Forme libre : forme 2297">
              <a:extLst>
                <a:ext uri="{FF2B5EF4-FFF2-40B4-BE49-F238E27FC236}">
                  <a16:creationId xmlns:a16="http://schemas.microsoft.com/office/drawing/2014/main" id="{D3CC80E9-1D47-429F-ACDE-A621C24CBE44}"/>
                </a:ext>
              </a:extLst>
            </p:cNvPr>
            <p:cNvSpPr/>
            <p:nvPr/>
          </p:nvSpPr>
          <p:spPr>
            <a:xfrm rot="8716295">
              <a:off x="5427181" y="252510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9" name="Forme libre : forme 2298">
              <a:extLst>
                <a:ext uri="{FF2B5EF4-FFF2-40B4-BE49-F238E27FC236}">
                  <a16:creationId xmlns:a16="http://schemas.microsoft.com/office/drawing/2014/main" id="{A24688B2-0199-4274-9FD6-B44932C06770}"/>
                </a:ext>
              </a:extLst>
            </p:cNvPr>
            <p:cNvSpPr/>
            <p:nvPr/>
          </p:nvSpPr>
          <p:spPr>
            <a:xfrm rot="8716295">
              <a:off x="5302279" y="231643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0" name="Forme libre : forme 2299">
              <a:extLst>
                <a:ext uri="{FF2B5EF4-FFF2-40B4-BE49-F238E27FC236}">
                  <a16:creationId xmlns:a16="http://schemas.microsoft.com/office/drawing/2014/main" id="{8CACAF0B-4223-489E-8142-FE6C0E2ABE02}"/>
                </a:ext>
              </a:extLst>
            </p:cNvPr>
            <p:cNvSpPr/>
            <p:nvPr/>
          </p:nvSpPr>
          <p:spPr>
            <a:xfrm rot="8716295">
              <a:off x="5517359" y="256605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1" name="Forme libre : forme 2300">
              <a:extLst>
                <a:ext uri="{FF2B5EF4-FFF2-40B4-BE49-F238E27FC236}">
                  <a16:creationId xmlns:a16="http://schemas.microsoft.com/office/drawing/2014/main" id="{1DE11DE1-1806-43C0-806D-86BA3E33BB9E}"/>
                </a:ext>
              </a:extLst>
            </p:cNvPr>
            <p:cNvSpPr/>
            <p:nvPr/>
          </p:nvSpPr>
          <p:spPr>
            <a:xfrm rot="8716295">
              <a:off x="5275908" y="241645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2" name="Forme libre : forme 2301">
              <a:extLst>
                <a:ext uri="{FF2B5EF4-FFF2-40B4-BE49-F238E27FC236}">
                  <a16:creationId xmlns:a16="http://schemas.microsoft.com/office/drawing/2014/main" id="{CEF4E15F-06D3-4C85-B288-4FE5B46D9A79}"/>
                </a:ext>
              </a:extLst>
            </p:cNvPr>
            <p:cNvSpPr/>
            <p:nvPr/>
          </p:nvSpPr>
          <p:spPr>
            <a:xfrm rot="7484129">
              <a:off x="5622290" y="275740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3" name="Forme libre : forme 2302">
              <a:extLst>
                <a:ext uri="{FF2B5EF4-FFF2-40B4-BE49-F238E27FC236}">
                  <a16:creationId xmlns:a16="http://schemas.microsoft.com/office/drawing/2014/main" id="{99463D07-3957-4F25-99F6-6382826CCF9D}"/>
                </a:ext>
              </a:extLst>
            </p:cNvPr>
            <p:cNvSpPr/>
            <p:nvPr/>
          </p:nvSpPr>
          <p:spPr>
            <a:xfrm rot="13089394">
              <a:off x="5718537" y="2742349"/>
              <a:ext cx="222098" cy="286724"/>
            </a:xfrm>
            <a:custGeom>
              <a:avLst/>
              <a:gdLst>
                <a:gd name="connsiteX0" fmla="*/ 23241 w 222098"/>
                <a:gd name="connsiteY0" fmla="*/ 47275 h 286724"/>
                <a:gd name="connsiteX1" fmla="*/ 0 w 222098"/>
                <a:gd name="connsiteY1" fmla="*/ 11882 h 286724"/>
                <a:gd name="connsiteX2" fmla="*/ 22902 w 222098"/>
                <a:gd name="connsiteY2" fmla="*/ 0 h 286724"/>
                <a:gd name="connsiteX3" fmla="*/ 222098 w 222098"/>
                <a:gd name="connsiteY3" fmla="*/ 258238 h 286724"/>
                <a:gd name="connsiteX4" fmla="*/ 180472 w 222098"/>
                <a:gd name="connsiteY4" fmla="*/ 286724 h 286724"/>
                <a:gd name="connsiteX5" fmla="*/ 167667 w 222098"/>
                <a:gd name="connsiteY5" fmla="*/ 267224 h 286724"/>
                <a:gd name="connsiteX6" fmla="*/ 220995 w 222098"/>
                <a:gd name="connsiteY6" fmla="*/ 245547 h 286724"/>
                <a:gd name="connsiteX7" fmla="*/ 222098 w 222098"/>
                <a:gd name="connsiteY7" fmla="*/ 252720 h 286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2098" h="286724">
                  <a:moveTo>
                    <a:pt x="23241" y="47275"/>
                  </a:moveTo>
                  <a:lnTo>
                    <a:pt x="0" y="11882"/>
                  </a:lnTo>
                  <a:lnTo>
                    <a:pt x="22902" y="0"/>
                  </a:lnTo>
                  <a:close/>
                  <a:moveTo>
                    <a:pt x="222098" y="258238"/>
                  </a:moveTo>
                  <a:lnTo>
                    <a:pt x="180472" y="286724"/>
                  </a:lnTo>
                  <a:lnTo>
                    <a:pt x="167667" y="267224"/>
                  </a:lnTo>
                  <a:lnTo>
                    <a:pt x="220995" y="245547"/>
                  </a:lnTo>
                  <a:cubicBezTo>
                    <a:pt x="221546" y="247754"/>
                    <a:pt x="222098" y="250513"/>
                    <a:pt x="222098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4" name="Forme libre : forme 2303">
              <a:extLst>
                <a:ext uri="{FF2B5EF4-FFF2-40B4-BE49-F238E27FC236}">
                  <a16:creationId xmlns:a16="http://schemas.microsoft.com/office/drawing/2014/main" id="{595B531E-AE51-4EB8-A220-EECB43E78A0A}"/>
                </a:ext>
              </a:extLst>
            </p:cNvPr>
            <p:cNvSpPr/>
            <p:nvPr/>
          </p:nvSpPr>
          <p:spPr>
            <a:xfrm rot="8716295">
              <a:off x="5845439" y="2441114"/>
              <a:ext cx="69626" cy="78683"/>
            </a:xfrm>
            <a:custGeom>
              <a:avLst/>
              <a:gdLst>
                <a:gd name="connsiteX0" fmla="*/ 0 w 69626"/>
                <a:gd name="connsiteY0" fmla="*/ 74288 h 78683"/>
                <a:gd name="connsiteX1" fmla="*/ 61446 w 69626"/>
                <a:gd name="connsiteY1" fmla="*/ 0 h 78683"/>
                <a:gd name="connsiteX2" fmla="*/ 69626 w 69626"/>
                <a:gd name="connsiteY2" fmla="*/ 19468 h 78683"/>
                <a:gd name="connsiteX3" fmla="*/ 52380 w 69626"/>
                <a:gd name="connsiteY3" fmla="*/ 61206 h 78683"/>
                <a:gd name="connsiteX4" fmla="*/ 10986 w 69626"/>
                <a:gd name="connsiteY4" fmla="*/ 78683 h 78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626" h="78683">
                  <a:moveTo>
                    <a:pt x="0" y="74288"/>
                  </a:moveTo>
                  <a:lnTo>
                    <a:pt x="61446" y="0"/>
                  </a:lnTo>
                  <a:lnTo>
                    <a:pt x="69626" y="19468"/>
                  </a:lnTo>
                  <a:cubicBezTo>
                    <a:pt x="69626" y="34531"/>
                    <a:pt x="63877" y="49708"/>
                    <a:pt x="52380" y="61206"/>
                  </a:cubicBezTo>
                  <a:cubicBezTo>
                    <a:pt x="41341" y="72244"/>
                    <a:pt x="26624" y="78683"/>
                    <a:pt x="10986" y="786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5" name="Forme libre : forme 2304">
              <a:extLst>
                <a:ext uri="{FF2B5EF4-FFF2-40B4-BE49-F238E27FC236}">
                  <a16:creationId xmlns:a16="http://schemas.microsoft.com/office/drawing/2014/main" id="{56DB83FE-66AC-4319-B8BC-7D9AE2504E48}"/>
                </a:ext>
              </a:extLst>
            </p:cNvPr>
            <p:cNvSpPr/>
            <p:nvPr/>
          </p:nvSpPr>
          <p:spPr>
            <a:xfrm rot="8716295">
              <a:off x="5617644" y="245889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6" name="Forme libre : forme 2305">
              <a:extLst>
                <a:ext uri="{FF2B5EF4-FFF2-40B4-BE49-F238E27FC236}">
                  <a16:creationId xmlns:a16="http://schemas.microsoft.com/office/drawing/2014/main" id="{059CCF50-6F3B-445A-81D2-1722B84AB898}"/>
                </a:ext>
              </a:extLst>
            </p:cNvPr>
            <p:cNvSpPr/>
            <p:nvPr/>
          </p:nvSpPr>
          <p:spPr>
            <a:xfrm rot="8716295">
              <a:off x="5786507" y="2294976"/>
              <a:ext cx="117509" cy="117739"/>
            </a:xfrm>
            <a:custGeom>
              <a:avLst/>
              <a:gdLst>
                <a:gd name="connsiteX0" fmla="*/ 17477 w 117509"/>
                <a:gd name="connsiteY0" fmla="*/ 101182 h 117739"/>
                <a:gd name="connsiteX1" fmla="*/ 0 w 117509"/>
                <a:gd name="connsiteY1" fmla="*/ 59790 h 117739"/>
                <a:gd name="connsiteX2" fmla="*/ 0 w 117509"/>
                <a:gd name="connsiteY2" fmla="*/ 58869 h 117739"/>
                <a:gd name="connsiteX3" fmla="*/ 2091 w 117509"/>
                <a:gd name="connsiteY3" fmla="*/ 48678 h 117739"/>
                <a:gd name="connsiteX4" fmla="*/ 38978 w 117509"/>
                <a:gd name="connsiteY4" fmla="*/ 4080 h 117739"/>
                <a:gd name="connsiteX5" fmla="*/ 58869 w 117509"/>
                <a:gd name="connsiteY5" fmla="*/ 0 h 117739"/>
                <a:gd name="connsiteX6" fmla="*/ 100263 w 117509"/>
                <a:gd name="connsiteY6" fmla="*/ 17477 h 117739"/>
                <a:gd name="connsiteX7" fmla="*/ 100263 w 117509"/>
                <a:gd name="connsiteY7" fmla="*/ 100262 h 117739"/>
                <a:gd name="connsiteX8" fmla="*/ 58869 w 117509"/>
                <a:gd name="connsiteY8" fmla="*/ 117739 h 117739"/>
                <a:gd name="connsiteX9" fmla="*/ 17477 w 117509"/>
                <a:gd name="connsiteY9" fmla="*/ 101182 h 117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09" h="117739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lnTo>
                    <a:pt x="2091" y="48678"/>
                  </a:lnTo>
                  <a:lnTo>
                    <a:pt x="38978" y="4080"/>
                  </a:lnTo>
                  <a:lnTo>
                    <a:pt x="58869" y="0"/>
                  </a:lnTo>
                  <a:cubicBezTo>
                    <a:pt x="74507" y="0"/>
                    <a:pt x="89224" y="6439"/>
                    <a:pt x="100263" y="17477"/>
                  </a:cubicBezTo>
                  <a:cubicBezTo>
                    <a:pt x="123258" y="39553"/>
                    <a:pt x="123258" y="77266"/>
                    <a:pt x="100263" y="100262"/>
                  </a:cubicBezTo>
                  <a:cubicBezTo>
                    <a:pt x="89224" y="111300"/>
                    <a:pt x="74507" y="117739"/>
                    <a:pt x="58869" y="117739"/>
                  </a:cubicBezTo>
                  <a:cubicBezTo>
                    <a:pt x="43233" y="117739"/>
                    <a:pt x="28515" y="112220"/>
                    <a:pt x="17477" y="10118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7" name="Forme libre : forme 2306">
              <a:extLst>
                <a:ext uri="{FF2B5EF4-FFF2-40B4-BE49-F238E27FC236}">
                  <a16:creationId xmlns:a16="http://schemas.microsoft.com/office/drawing/2014/main" id="{11555900-AB76-4DA6-98BE-C28A5682E542}"/>
                </a:ext>
              </a:extLst>
            </p:cNvPr>
            <p:cNvSpPr/>
            <p:nvPr/>
          </p:nvSpPr>
          <p:spPr>
            <a:xfrm rot="8716295">
              <a:off x="5600077" y="4470249"/>
              <a:ext cx="156365" cy="84062"/>
            </a:xfrm>
            <a:custGeom>
              <a:avLst/>
              <a:gdLst>
                <a:gd name="connsiteX0" fmla="*/ 0 w 156365"/>
                <a:gd name="connsiteY0" fmla="*/ 84062 h 84062"/>
                <a:gd name="connsiteX1" fmla="*/ 38711 w 156365"/>
                <a:gd name="connsiteY1" fmla="*/ 37259 h 84062"/>
                <a:gd name="connsiteX2" fmla="*/ 82822 w 156365"/>
                <a:gd name="connsiteY2" fmla="*/ 29417 h 84062"/>
                <a:gd name="connsiteX3" fmla="*/ 155189 w 156365"/>
                <a:gd name="connsiteY3" fmla="*/ 0 h 84062"/>
                <a:gd name="connsiteX4" fmla="*/ 156365 w 156365"/>
                <a:gd name="connsiteY4" fmla="*/ 7648 h 84062"/>
                <a:gd name="connsiteX5" fmla="*/ 156365 w 156365"/>
                <a:gd name="connsiteY5" fmla="*/ 13531 h 84062"/>
                <a:gd name="connsiteX6" fmla="*/ 5371 w 156365"/>
                <a:gd name="connsiteY6" fmla="*/ 83361 h 84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365" h="84062">
                  <a:moveTo>
                    <a:pt x="0" y="84062"/>
                  </a:moveTo>
                  <a:lnTo>
                    <a:pt x="38711" y="37259"/>
                  </a:lnTo>
                  <a:lnTo>
                    <a:pt x="82822" y="29417"/>
                  </a:lnTo>
                  <a:cubicBezTo>
                    <a:pt x="107532" y="21769"/>
                    <a:pt x="131655" y="11767"/>
                    <a:pt x="155189" y="0"/>
                  </a:cubicBezTo>
                  <a:cubicBezTo>
                    <a:pt x="155777" y="2353"/>
                    <a:pt x="156365" y="5295"/>
                    <a:pt x="156365" y="7648"/>
                  </a:cubicBezTo>
                  <a:lnTo>
                    <a:pt x="156365" y="13531"/>
                  </a:lnTo>
                  <a:cubicBezTo>
                    <a:pt x="109592" y="53687"/>
                    <a:pt x="51897" y="74315"/>
                    <a:pt x="5371" y="833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8" name="Forme libre : forme 2307">
              <a:extLst>
                <a:ext uri="{FF2B5EF4-FFF2-40B4-BE49-F238E27FC236}">
                  <a16:creationId xmlns:a16="http://schemas.microsoft.com/office/drawing/2014/main" id="{CADAEF2B-CBE9-4306-A616-01A968315F71}"/>
                </a:ext>
              </a:extLst>
            </p:cNvPr>
            <p:cNvSpPr/>
            <p:nvPr/>
          </p:nvSpPr>
          <p:spPr>
            <a:xfrm rot="8716295">
              <a:off x="5468986" y="334511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9" name="Forme libre : forme 2308">
              <a:extLst>
                <a:ext uri="{FF2B5EF4-FFF2-40B4-BE49-F238E27FC236}">
                  <a16:creationId xmlns:a16="http://schemas.microsoft.com/office/drawing/2014/main" id="{BC783BF6-C0F2-4416-AE0C-3CB188BCA1EB}"/>
                </a:ext>
              </a:extLst>
            </p:cNvPr>
            <p:cNvSpPr/>
            <p:nvPr/>
          </p:nvSpPr>
          <p:spPr>
            <a:xfrm rot="8716295">
              <a:off x="5560950" y="3385490"/>
              <a:ext cx="209149" cy="254774"/>
            </a:xfrm>
            <a:custGeom>
              <a:avLst/>
              <a:gdLst>
                <a:gd name="connsiteX0" fmla="*/ 0 w 209149"/>
                <a:gd name="connsiteY0" fmla="*/ 254774 h 254774"/>
                <a:gd name="connsiteX1" fmla="*/ 0 w 209149"/>
                <a:gd name="connsiteY1" fmla="*/ 48397 h 254774"/>
                <a:gd name="connsiteX2" fmla="*/ 38851 w 209149"/>
                <a:gd name="connsiteY2" fmla="*/ 1425 h 254774"/>
                <a:gd name="connsiteX3" fmla="*/ 53312 w 209149"/>
                <a:gd name="connsiteY3" fmla="*/ 1425 h 254774"/>
                <a:gd name="connsiteX4" fmla="*/ 53313 w 209149"/>
                <a:gd name="connsiteY4" fmla="*/ 75242 h 254774"/>
                <a:gd name="connsiteX5" fmla="*/ 54679 w 209149"/>
                <a:gd name="connsiteY5" fmla="*/ 75242 h 254774"/>
                <a:gd name="connsiteX6" fmla="*/ 102524 w 209149"/>
                <a:gd name="connsiteY6" fmla="*/ 5981 h 254774"/>
                <a:gd name="connsiteX7" fmla="*/ 133965 w 209149"/>
                <a:gd name="connsiteY7" fmla="*/ 57 h 254774"/>
                <a:gd name="connsiteX8" fmla="*/ 209149 w 209149"/>
                <a:gd name="connsiteY8" fmla="*/ 88456 h 254774"/>
                <a:gd name="connsiteX9" fmla="*/ 209149 w 209149"/>
                <a:gd name="connsiteY9" fmla="*/ 94380 h 254774"/>
                <a:gd name="connsiteX10" fmla="*/ 147179 w 209149"/>
                <a:gd name="connsiteY10" fmla="*/ 98025 h 254774"/>
                <a:gd name="connsiteX11" fmla="*/ 147179 w 209149"/>
                <a:gd name="connsiteY11" fmla="*/ 81622 h 254774"/>
                <a:gd name="connsiteX12" fmla="*/ 113460 w 209149"/>
                <a:gd name="connsiteY12" fmla="*/ 40156 h 254774"/>
                <a:gd name="connsiteX13" fmla="*/ 60148 w 209149"/>
                <a:gd name="connsiteY13" fmla="*/ 127643 h 254774"/>
                <a:gd name="connsiteX14" fmla="*/ 60148 w 209149"/>
                <a:gd name="connsiteY14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9149" h="254774">
                  <a:moveTo>
                    <a:pt x="0" y="254774"/>
                  </a:moveTo>
                  <a:lnTo>
                    <a:pt x="0" y="48397"/>
                  </a:lnTo>
                  <a:lnTo>
                    <a:pt x="38851" y="1425"/>
                  </a:lnTo>
                  <a:lnTo>
                    <a:pt x="53312" y="1425"/>
                  </a:lnTo>
                  <a:lnTo>
                    <a:pt x="53313" y="75242"/>
                  </a:lnTo>
                  <a:lnTo>
                    <a:pt x="54679" y="75242"/>
                  </a:lnTo>
                  <a:cubicBezTo>
                    <a:pt x="69261" y="31954"/>
                    <a:pt x="80652" y="15094"/>
                    <a:pt x="102524" y="5981"/>
                  </a:cubicBezTo>
                  <a:cubicBezTo>
                    <a:pt x="112549" y="1880"/>
                    <a:pt x="123029" y="-398"/>
                    <a:pt x="133965" y="57"/>
                  </a:cubicBezTo>
                  <a:cubicBezTo>
                    <a:pt x="180898" y="-854"/>
                    <a:pt x="209149" y="31954"/>
                    <a:pt x="209149" y="88456"/>
                  </a:cubicBezTo>
                  <a:lnTo>
                    <a:pt x="209149" y="94380"/>
                  </a:lnTo>
                  <a:lnTo>
                    <a:pt x="147179" y="98025"/>
                  </a:lnTo>
                  <a:lnTo>
                    <a:pt x="147179" y="81622"/>
                  </a:lnTo>
                  <a:cubicBezTo>
                    <a:pt x="147179" y="57016"/>
                    <a:pt x="133054" y="40156"/>
                    <a:pt x="113460" y="40156"/>
                  </a:cubicBezTo>
                  <a:cubicBezTo>
                    <a:pt x="84298" y="40156"/>
                    <a:pt x="60148" y="78887"/>
                    <a:pt x="60148" y="127643"/>
                  </a:cubicBezTo>
                  <a:lnTo>
                    <a:pt x="60148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0" name="Forme libre : forme 2309">
              <a:extLst>
                <a:ext uri="{FF2B5EF4-FFF2-40B4-BE49-F238E27FC236}">
                  <a16:creationId xmlns:a16="http://schemas.microsoft.com/office/drawing/2014/main" id="{07E04FBC-CAFE-40F5-8FBE-26480DF56E42}"/>
                </a:ext>
              </a:extLst>
            </p:cNvPr>
            <p:cNvSpPr/>
            <p:nvPr/>
          </p:nvSpPr>
          <p:spPr>
            <a:xfrm rot="8716295">
              <a:off x="5513528" y="328807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1" name="Forme libre : forme 2310">
              <a:extLst>
                <a:ext uri="{FF2B5EF4-FFF2-40B4-BE49-F238E27FC236}">
                  <a16:creationId xmlns:a16="http://schemas.microsoft.com/office/drawing/2014/main" id="{A7E5DB17-0229-4F6E-BA1B-BA2A73903FCF}"/>
                </a:ext>
              </a:extLst>
            </p:cNvPr>
            <p:cNvSpPr/>
            <p:nvPr/>
          </p:nvSpPr>
          <p:spPr>
            <a:xfrm rot="8716295">
              <a:off x="5356752" y="343365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2" name="Forme libre : forme 2311">
              <a:extLst>
                <a:ext uri="{FF2B5EF4-FFF2-40B4-BE49-F238E27FC236}">
                  <a16:creationId xmlns:a16="http://schemas.microsoft.com/office/drawing/2014/main" id="{B2FA02F1-5E71-4F7C-B2CA-BA7F43C9E0B6}"/>
                </a:ext>
              </a:extLst>
            </p:cNvPr>
            <p:cNvSpPr/>
            <p:nvPr/>
          </p:nvSpPr>
          <p:spPr>
            <a:xfrm rot="8716295">
              <a:off x="5231849" y="322498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3" name="Forme libre : forme 2312">
              <a:extLst>
                <a:ext uri="{FF2B5EF4-FFF2-40B4-BE49-F238E27FC236}">
                  <a16:creationId xmlns:a16="http://schemas.microsoft.com/office/drawing/2014/main" id="{59750E71-AE6E-46C2-9298-CD50416AF89E}"/>
                </a:ext>
              </a:extLst>
            </p:cNvPr>
            <p:cNvSpPr/>
            <p:nvPr/>
          </p:nvSpPr>
          <p:spPr>
            <a:xfrm rot="8716295">
              <a:off x="5219797" y="3086201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4" name="Forme libre : forme 2313">
              <a:extLst>
                <a:ext uri="{FF2B5EF4-FFF2-40B4-BE49-F238E27FC236}">
                  <a16:creationId xmlns:a16="http://schemas.microsoft.com/office/drawing/2014/main" id="{D4E7AFF8-F784-45C0-8EE7-2B6A86EC8737}"/>
                </a:ext>
              </a:extLst>
            </p:cNvPr>
            <p:cNvSpPr/>
            <p:nvPr/>
          </p:nvSpPr>
          <p:spPr>
            <a:xfrm rot="8716295">
              <a:off x="5446930" y="347460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5" name="Forme libre : forme 2314">
              <a:extLst>
                <a:ext uri="{FF2B5EF4-FFF2-40B4-BE49-F238E27FC236}">
                  <a16:creationId xmlns:a16="http://schemas.microsoft.com/office/drawing/2014/main" id="{3853C0A0-1616-48FA-8479-65AC97F7CC85}"/>
                </a:ext>
              </a:extLst>
            </p:cNvPr>
            <p:cNvSpPr/>
            <p:nvPr/>
          </p:nvSpPr>
          <p:spPr>
            <a:xfrm rot="8716295">
              <a:off x="5752315" y="3122125"/>
              <a:ext cx="61059" cy="189683"/>
            </a:xfrm>
            <a:custGeom>
              <a:avLst/>
              <a:gdLst>
                <a:gd name="connsiteX0" fmla="*/ 0 w 61059"/>
                <a:gd name="connsiteY0" fmla="*/ 189683 h 189683"/>
                <a:gd name="connsiteX1" fmla="*/ 1 w 61059"/>
                <a:gd name="connsiteY1" fmla="*/ 70355 h 189683"/>
                <a:gd name="connsiteX2" fmla="*/ 58192 w 61059"/>
                <a:gd name="connsiteY2" fmla="*/ 0 h 189683"/>
                <a:gd name="connsiteX3" fmla="*/ 61059 w 61059"/>
                <a:gd name="connsiteY3" fmla="*/ 7418 h 189683"/>
                <a:gd name="connsiteX4" fmla="*/ 61059 w 61059"/>
                <a:gd name="connsiteY4" fmla="*/ 165533 h 189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59" h="189683">
                  <a:moveTo>
                    <a:pt x="0" y="189683"/>
                  </a:moveTo>
                  <a:lnTo>
                    <a:pt x="1" y="70355"/>
                  </a:lnTo>
                  <a:lnTo>
                    <a:pt x="58192" y="0"/>
                  </a:lnTo>
                  <a:lnTo>
                    <a:pt x="61059" y="7418"/>
                  </a:lnTo>
                  <a:lnTo>
                    <a:pt x="61059" y="1655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6" name="Forme libre : forme 2315">
              <a:extLst>
                <a:ext uri="{FF2B5EF4-FFF2-40B4-BE49-F238E27FC236}">
                  <a16:creationId xmlns:a16="http://schemas.microsoft.com/office/drawing/2014/main" id="{2BC49D98-658F-409C-B3BF-5C8CEE84FD55}"/>
                </a:ext>
              </a:extLst>
            </p:cNvPr>
            <p:cNvSpPr/>
            <p:nvPr/>
          </p:nvSpPr>
          <p:spPr>
            <a:xfrm rot="8716295">
              <a:off x="5645851" y="318350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7" name="Forme libre : forme 2316">
              <a:extLst>
                <a:ext uri="{FF2B5EF4-FFF2-40B4-BE49-F238E27FC236}">
                  <a16:creationId xmlns:a16="http://schemas.microsoft.com/office/drawing/2014/main" id="{9788828B-73AD-4731-893D-8DFB9066F7A9}"/>
                </a:ext>
              </a:extLst>
            </p:cNvPr>
            <p:cNvSpPr/>
            <p:nvPr/>
          </p:nvSpPr>
          <p:spPr>
            <a:xfrm rot="8716295">
              <a:off x="5520949" y="297482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8" name="Forme libre : forme 2317">
              <a:extLst>
                <a:ext uri="{FF2B5EF4-FFF2-40B4-BE49-F238E27FC236}">
                  <a16:creationId xmlns:a16="http://schemas.microsoft.com/office/drawing/2014/main" id="{8B664DFB-701C-4BF3-A4AD-0E33F3753604}"/>
                </a:ext>
              </a:extLst>
            </p:cNvPr>
            <p:cNvSpPr/>
            <p:nvPr/>
          </p:nvSpPr>
          <p:spPr>
            <a:xfrm rot="8716295">
              <a:off x="5735645" y="3237654"/>
              <a:ext cx="60147" cy="214945"/>
            </a:xfrm>
            <a:custGeom>
              <a:avLst/>
              <a:gdLst>
                <a:gd name="connsiteX0" fmla="*/ 60147 w 60147"/>
                <a:gd name="connsiteY0" fmla="*/ 214945 h 214945"/>
                <a:gd name="connsiteX1" fmla="*/ 0 w 60147"/>
                <a:gd name="connsiteY1" fmla="*/ 157075 h 214945"/>
                <a:gd name="connsiteX2" fmla="*/ 0 w 60147"/>
                <a:gd name="connsiteY2" fmla="*/ 72719 h 214945"/>
                <a:gd name="connsiteX3" fmla="*/ 60147 w 60147"/>
                <a:gd name="connsiteY3" fmla="*/ 0 h 214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7" h="214945">
                  <a:moveTo>
                    <a:pt x="60147" y="214945"/>
                  </a:moveTo>
                  <a:lnTo>
                    <a:pt x="0" y="157075"/>
                  </a:lnTo>
                  <a:lnTo>
                    <a:pt x="0" y="72719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9" name="Forme libre : forme 2318">
              <a:extLst>
                <a:ext uri="{FF2B5EF4-FFF2-40B4-BE49-F238E27FC236}">
                  <a16:creationId xmlns:a16="http://schemas.microsoft.com/office/drawing/2014/main" id="{DE32D065-C837-4616-93A8-C221E6C262EC}"/>
                </a:ext>
              </a:extLst>
            </p:cNvPr>
            <p:cNvSpPr/>
            <p:nvPr/>
          </p:nvSpPr>
          <p:spPr>
            <a:xfrm rot="8716295">
              <a:off x="5494578" y="307485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0" name="Forme libre : forme 2319">
              <a:extLst>
                <a:ext uri="{FF2B5EF4-FFF2-40B4-BE49-F238E27FC236}">
                  <a16:creationId xmlns:a16="http://schemas.microsoft.com/office/drawing/2014/main" id="{A951AC29-4AE5-482E-A279-E37CA0854B05}"/>
                </a:ext>
              </a:extLst>
            </p:cNvPr>
            <p:cNvSpPr/>
            <p:nvPr/>
          </p:nvSpPr>
          <p:spPr>
            <a:xfrm rot="8716295">
              <a:off x="5682235" y="4033272"/>
              <a:ext cx="61060" cy="175124"/>
            </a:xfrm>
            <a:custGeom>
              <a:avLst/>
              <a:gdLst>
                <a:gd name="connsiteX0" fmla="*/ 0 w 61060"/>
                <a:gd name="connsiteY0" fmla="*/ 175124 h 175124"/>
                <a:gd name="connsiteX1" fmla="*/ 0 w 61060"/>
                <a:gd name="connsiteY1" fmla="*/ 73822 h 175124"/>
                <a:gd name="connsiteX2" fmla="*/ 61060 w 61060"/>
                <a:gd name="connsiteY2" fmla="*/ 0 h 175124"/>
                <a:gd name="connsiteX3" fmla="*/ 61059 w 61060"/>
                <a:gd name="connsiteY3" fmla="*/ 150974 h 175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060" h="175124">
                  <a:moveTo>
                    <a:pt x="0" y="175124"/>
                  </a:moveTo>
                  <a:lnTo>
                    <a:pt x="0" y="73822"/>
                  </a:lnTo>
                  <a:lnTo>
                    <a:pt x="61060" y="0"/>
                  </a:lnTo>
                  <a:lnTo>
                    <a:pt x="61059" y="1509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1" name="Forme libre : forme 2320">
              <a:extLst>
                <a:ext uri="{FF2B5EF4-FFF2-40B4-BE49-F238E27FC236}">
                  <a16:creationId xmlns:a16="http://schemas.microsoft.com/office/drawing/2014/main" id="{AC1B54AD-4305-4886-A104-0CFC0322DC86}"/>
                </a:ext>
              </a:extLst>
            </p:cNvPr>
            <p:cNvSpPr/>
            <p:nvPr/>
          </p:nvSpPr>
          <p:spPr>
            <a:xfrm rot="8716295">
              <a:off x="5579919" y="409335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2" name="Forme libre : forme 2321">
              <a:extLst>
                <a:ext uri="{FF2B5EF4-FFF2-40B4-BE49-F238E27FC236}">
                  <a16:creationId xmlns:a16="http://schemas.microsoft.com/office/drawing/2014/main" id="{8167323E-FC94-42DF-AE9E-1E6CCB009393}"/>
                </a:ext>
              </a:extLst>
            </p:cNvPr>
            <p:cNvSpPr/>
            <p:nvPr/>
          </p:nvSpPr>
          <p:spPr>
            <a:xfrm rot="8716295">
              <a:off x="5455016" y="388468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3" name="Forme libre : forme 2322">
              <a:extLst>
                <a:ext uri="{FF2B5EF4-FFF2-40B4-BE49-F238E27FC236}">
                  <a16:creationId xmlns:a16="http://schemas.microsoft.com/office/drawing/2014/main" id="{4BE64CC5-A3FF-4E14-92F1-A92ABB79BE76}"/>
                </a:ext>
              </a:extLst>
            </p:cNvPr>
            <p:cNvSpPr/>
            <p:nvPr/>
          </p:nvSpPr>
          <p:spPr>
            <a:xfrm rot="8716295">
              <a:off x="5439766" y="3743196"/>
              <a:ext cx="290643" cy="350829"/>
            </a:xfrm>
            <a:custGeom>
              <a:avLst/>
              <a:gdLst>
                <a:gd name="connsiteX0" fmla="*/ 25299 w 290643"/>
                <a:gd name="connsiteY0" fmla="*/ 321238 h 350829"/>
                <a:gd name="connsiteX1" fmla="*/ 0 w 290643"/>
                <a:gd name="connsiteY1" fmla="*/ 220042 h 350829"/>
                <a:gd name="connsiteX2" fmla="*/ 0 w 290643"/>
                <a:gd name="connsiteY2" fmla="*/ 73941 h 350829"/>
                <a:gd name="connsiteX3" fmla="*/ 48310 w 290643"/>
                <a:gd name="connsiteY3" fmla="*/ 15533 h 350829"/>
                <a:gd name="connsiteX4" fmla="*/ 78250 w 290643"/>
                <a:gd name="connsiteY4" fmla="*/ 0 h 350829"/>
                <a:gd name="connsiteX5" fmla="*/ 79427 w 290643"/>
                <a:gd name="connsiteY5" fmla="*/ 164149 h 350829"/>
                <a:gd name="connsiteX6" fmla="*/ 93547 w 290643"/>
                <a:gd name="connsiteY6" fmla="*/ 261815 h 350829"/>
                <a:gd name="connsiteX7" fmla="*/ 164149 w 290643"/>
                <a:gd name="connsiteY7" fmla="*/ 300646 h 350829"/>
                <a:gd name="connsiteX8" fmla="*/ 217100 w 290643"/>
                <a:gd name="connsiteY8" fmla="*/ 291232 h 350829"/>
                <a:gd name="connsiteX9" fmla="*/ 289467 w 290643"/>
                <a:gd name="connsiteY9" fmla="*/ 261815 h 350829"/>
                <a:gd name="connsiteX10" fmla="*/ 290643 w 290643"/>
                <a:gd name="connsiteY10" fmla="*/ 269463 h 350829"/>
                <a:gd name="connsiteX11" fmla="*/ 290643 w 290643"/>
                <a:gd name="connsiteY11" fmla="*/ 275347 h 350829"/>
                <a:gd name="connsiteX12" fmla="*/ 97665 w 290643"/>
                <a:gd name="connsiteY12" fmla="*/ 350655 h 350829"/>
                <a:gd name="connsiteX13" fmla="*/ 25299 w 290643"/>
                <a:gd name="connsiteY13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90643" h="350829">
                  <a:moveTo>
                    <a:pt x="25299" y="321238"/>
                  </a:moveTo>
                  <a:cubicBezTo>
                    <a:pt x="5295" y="301823"/>
                    <a:pt x="0" y="268287"/>
                    <a:pt x="0" y="220042"/>
                  </a:cubicBezTo>
                  <a:lnTo>
                    <a:pt x="0" y="73941"/>
                  </a:lnTo>
                  <a:lnTo>
                    <a:pt x="48310" y="15533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9" y="300646"/>
                  </a:cubicBezTo>
                  <a:cubicBezTo>
                    <a:pt x="182388" y="300057"/>
                    <a:pt x="200038" y="296527"/>
                    <a:pt x="217100" y="291232"/>
                  </a:cubicBezTo>
                  <a:cubicBezTo>
                    <a:pt x="241810" y="283583"/>
                    <a:pt x="265933" y="273582"/>
                    <a:pt x="289467" y="261815"/>
                  </a:cubicBezTo>
                  <a:cubicBezTo>
                    <a:pt x="290055" y="264168"/>
                    <a:pt x="290643" y="267110"/>
                    <a:pt x="290643" y="269463"/>
                  </a:cubicBezTo>
                  <a:lnTo>
                    <a:pt x="290643" y="275347"/>
                  </a:lnTo>
                  <a:cubicBezTo>
                    <a:pt x="228279" y="328887"/>
                    <a:pt x="146498" y="347714"/>
                    <a:pt x="97665" y="350655"/>
                  </a:cubicBez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4" name="Forme libre : forme 2323">
              <a:extLst>
                <a:ext uri="{FF2B5EF4-FFF2-40B4-BE49-F238E27FC236}">
                  <a16:creationId xmlns:a16="http://schemas.microsoft.com/office/drawing/2014/main" id="{3D5EAB82-A653-44FF-ABBA-52007BFC744C}"/>
                </a:ext>
              </a:extLst>
            </p:cNvPr>
            <p:cNvSpPr/>
            <p:nvPr/>
          </p:nvSpPr>
          <p:spPr>
            <a:xfrm rot="8716295">
              <a:off x="5664579" y="4149111"/>
              <a:ext cx="60147" cy="196919"/>
            </a:xfrm>
            <a:custGeom>
              <a:avLst/>
              <a:gdLst>
                <a:gd name="connsiteX0" fmla="*/ 60147 w 60147"/>
                <a:gd name="connsiteY0" fmla="*/ 196919 h 196919"/>
                <a:gd name="connsiteX1" fmla="*/ 0 w 60147"/>
                <a:gd name="connsiteY1" fmla="*/ 139049 h 196919"/>
                <a:gd name="connsiteX2" fmla="*/ 0 w 60147"/>
                <a:gd name="connsiteY2" fmla="*/ 72719 h 196919"/>
                <a:gd name="connsiteX3" fmla="*/ 60147 w 60147"/>
                <a:gd name="connsiteY3" fmla="*/ 0 h 196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7" h="196919">
                  <a:moveTo>
                    <a:pt x="60147" y="196919"/>
                  </a:moveTo>
                  <a:lnTo>
                    <a:pt x="0" y="139049"/>
                  </a:lnTo>
                  <a:lnTo>
                    <a:pt x="0" y="72719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5" name="Forme libre : forme 2324">
              <a:extLst>
                <a:ext uri="{FF2B5EF4-FFF2-40B4-BE49-F238E27FC236}">
                  <a16:creationId xmlns:a16="http://schemas.microsoft.com/office/drawing/2014/main" id="{43B619A3-E625-40F8-8DEC-2B79517C56B8}"/>
                </a:ext>
              </a:extLst>
            </p:cNvPr>
            <p:cNvSpPr/>
            <p:nvPr/>
          </p:nvSpPr>
          <p:spPr>
            <a:xfrm rot="8716295">
              <a:off x="5712271" y="3732130"/>
              <a:ext cx="74903" cy="77154"/>
            </a:xfrm>
            <a:custGeom>
              <a:avLst/>
              <a:gdLst>
                <a:gd name="connsiteX0" fmla="*/ 9249 w 74903"/>
                <a:gd name="connsiteY0" fmla="*/ 66287 h 77154"/>
                <a:gd name="connsiteX1" fmla="*/ 0 w 74903"/>
                <a:gd name="connsiteY1" fmla="*/ 44381 h 77154"/>
                <a:gd name="connsiteX2" fmla="*/ 36708 w 74903"/>
                <a:gd name="connsiteY2" fmla="*/ 0 h 77154"/>
                <a:gd name="connsiteX3" fmla="*/ 63584 w 74903"/>
                <a:gd name="connsiteY3" fmla="*/ 11348 h 77154"/>
                <a:gd name="connsiteX4" fmla="*/ 63584 w 74903"/>
                <a:gd name="connsiteY4" fmla="*/ 65683 h 77154"/>
                <a:gd name="connsiteX5" fmla="*/ 36417 w 74903"/>
                <a:gd name="connsiteY5" fmla="*/ 77154 h 77154"/>
                <a:gd name="connsiteX6" fmla="*/ 9249 w 74903"/>
                <a:gd name="connsiteY6" fmla="*/ 66287 h 77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4903" h="77154">
                  <a:moveTo>
                    <a:pt x="9249" y="66287"/>
                  </a:moveTo>
                  <a:lnTo>
                    <a:pt x="0" y="44381"/>
                  </a:lnTo>
                  <a:lnTo>
                    <a:pt x="36708" y="0"/>
                  </a:lnTo>
                  <a:lnTo>
                    <a:pt x="63584" y="11348"/>
                  </a:lnTo>
                  <a:cubicBezTo>
                    <a:pt x="78677" y="25837"/>
                    <a:pt x="78677" y="50590"/>
                    <a:pt x="63584" y="65683"/>
                  </a:cubicBezTo>
                  <a:cubicBezTo>
                    <a:pt x="56340" y="72928"/>
                    <a:pt x="46680" y="77154"/>
                    <a:pt x="36417" y="77154"/>
                  </a:cubicBezTo>
                  <a:cubicBezTo>
                    <a:pt x="26153" y="77154"/>
                    <a:pt x="16494" y="73531"/>
                    <a:pt x="9249" y="6628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6" name="Forme libre : forme 2325">
              <a:extLst>
                <a:ext uri="{FF2B5EF4-FFF2-40B4-BE49-F238E27FC236}">
                  <a16:creationId xmlns:a16="http://schemas.microsoft.com/office/drawing/2014/main" id="{47FAC0D7-5111-4F6B-A349-552D64575C5F}"/>
                </a:ext>
              </a:extLst>
            </p:cNvPr>
            <p:cNvSpPr/>
            <p:nvPr/>
          </p:nvSpPr>
          <p:spPr>
            <a:xfrm rot="8716295">
              <a:off x="4805631" y="136604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7" name="Forme libre : forme 2326">
              <a:extLst>
                <a:ext uri="{FF2B5EF4-FFF2-40B4-BE49-F238E27FC236}">
                  <a16:creationId xmlns:a16="http://schemas.microsoft.com/office/drawing/2014/main" id="{FD4A7DE9-1679-4176-BBF7-B68B6314BD8C}"/>
                </a:ext>
              </a:extLst>
            </p:cNvPr>
            <p:cNvSpPr/>
            <p:nvPr/>
          </p:nvSpPr>
          <p:spPr>
            <a:xfrm rot="8716295">
              <a:off x="4895023" y="139528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8" name="Forme libre : forme 2327">
              <a:extLst>
                <a:ext uri="{FF2B5EF4-FFF2-40B4-BE49-F238E27FC236}">
                  <a16:creationId xmlns:a16="http://schemas.microsoft.com/office/drawing/2014/main" id="{0EEB057B-FFD0-4D41-9792-2DA753A19DB7}"/>
                </a:ext>
              </a:extLst>
            </p:cNvPr>
            <p:cNvSpPr/>
            <p:nvPr/>
          </p:nvSpPr>
          <p:spPr>
            <a:xfrm rot="8716295">
              <a:off x="4850173" y="130900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9" name="Forme libre : forme 2328">
              <a:extLst>
                <a:ext uri="{FF2B5EF4-FFF2-40B4-BE49-F238E27FC236}">
                  <a16:creationId xmlns:a16="http://schemas.microsoft.com/office/drawing/2014/main" id="{1879F6B3-40C0-4116-A81C-5BD7CA855163}"/>
                </a:ext>
              </a:extLst>
            </p:cNvPr>
            <p:cNvSpPr/>
            <p:nvPr/>
          </p:nvSpPr>
          <p:spPr>
            <a:xfrm rot="8716295">
              <a:off x="4693397" y="145458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0" name="Forme libre : forme 2329">
              <a:extLst>
                <a:ext uri="{FF2B5EF4-FFF2-40B4-BE49-F238E27FC236}">
                  <a16:creationId xmlns:a16="http://schemas.microsoft.com/office/drawing/2014/main" id="{49761E51-D80E-42FA-8099-F02853B256C7}"/>
                </a:ext>
              </a:extLst>
            </p:cNvPr>
            <p:cNvSpPr/>
            <p:nvPr/>
          </p:nvSpPr>
          <p:spPr>
            <a:xfrm rot="8716295">
              <a:off x="4568494" y="124591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1" name="Forme libre : forme 2330">
              <a:extLst>
                <a:ext uri="{FF2B5EF4-FFF2-40B4-BE49-F238E27FC236}">
                  <a16:creationId xmlns:a16="http://schemas.microsoft.com/office/drawing/2014/main" id="{E310C1A7-1622-4636-9F8F-00357321DCCD}"/>
                </a:ext>
              </a:extLst>
            </p:cNvPr>
            <p:cNvSpPr/>
            <p:nvPr/>
          </p:nvSpPr>
          <p:spPr>
            <a:xfrm rot="8716295">
              <a:off x="4556442" y="110713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2" name="Forme libre : forme 2331">
              <a:extLst>
                <a:ext uri="{FF2B5EF4-FFF2-40B4-BE49-F238E27FC236}">
                  <a16:creationId xmlns:a16="http://schemas.microsoft.com/office/drawing/2014/main" id="{E093D22D-87CF-4179-B856-856B8816CDDB}"/>
                </a:ext>
              </a:extLst>
            </p:cNvPr>
            <p:cNvSpPr/>
            <p:nvPr/>
          </p:nvSpPr>
          <p:spPr>
            <a:xfrm rot="8716295">
              <a:off x="4783575" y="149553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3" name="Forme libre : forme 2332">
              <a:extLst>
                <a:ext uri="{FF2B5EF4-FFF2-40B4-BE49-F238E27FC236}">
                  <a16:creationId xmlns:a16="http://schemas.microsoft.com/office/drawing/2014/main" id="{CA21BE4E-2CE3-44D7-B01E-A11EA3CF044C}"/>
                </a:ext>
              </a:extLst>
            </p:cNvPr>
            <p:cNvSpPr/>
            <p:nvPr/>
          </p:nvSpPr>
          <p:spPr>
            <a:xfrm rot="8716295">
              <a:off x="5094730" y="111588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4" name="Forme libre : forme 2333">
              <a:extLst>
                <a:ext uri="{FF2B5EF4-FFF2-40B4-BE49-F238E27FC236}">
                  <a16:creationId xmlns:a16="http://schemas.microsoft.com/office/drawing/2014/main" id="{73711CED-A7FD-4350-9BA7-26ABC33C9D94}"/>
                </a:ext>
              </a:extLst>
            </p:cNvPr>
            <p:cNvSpPr/>
            <p:nvPr/>
          </p:nvSpPr>
          <p:spPr>
            <a:xfrm rot="8716295">
              <a:off x="5184122" y="114513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5" name="Forme libre : forme 2334">
              <a:extLst>
                <a:ext uri="{FF2B5EF4-FFF2-40B4-BE49-F238E27FC236}">
                  <a16:creationId xmlns:a16="http://schemas.microsoft.com/office/drawing/2014/main" id="{ED8382FF-15B6-482C-B3FB-8E9D5BD3A367}"/>
                </a:ext>
              </a:extLst>
            </p:cNvPr>
            <p:cNvSpPr/>
            <p:nvPr/>
          </p:nvSpPr>
          <p:spPr>
            <a:xfrm rot="8716295">
              <a:off x="4982496" y="120443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6" name="Forme libre : forme 2335">
              <a:extLst>
                <a:ext uri="{FF2B5EF4-FFF2-40B4-BE49-F238E27FC236}">
                  <a16:creationId xmlns:a16="http://schemas.microsoft.com/office/drawing/2014/main" id="{CEB92DCD-B29B-4D83-8F6D-528A8F3F48AC}"/>
                </a:ext>
              </a:extLst>
            </p:cNvPr>
            <p:cNvSpPr/>
            <p:nvPr/>
          </p:nvSpPr>
          <p:spPr>
            <a:xfrm rot="8716295">
              <a:off x="4857594" y="99576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7" name="Forme libre : forme 2336">
              <a:extLst>
                <a:ext uri="{FF2B5EF4-FFF2-40B4-BE49-F238E27FC236}">
                  <a16:creationId xmlns:a16="http://schemas.microsoft.com/office/drawing/2014/main" id="{4D04373C-38A5-4453-98D9-6668F8BAEF6F}"/>
                </a:ext>
              </a:extLst>
            </p:cNvPr>
            <p:cNvSpPr/>
            <p:nvPr/>
          </p:nvSpPr>
          <p:spPr>
            <a:xfrm rot="8716295">
              <a:off x="5072674" y="124538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8" name="Forme libre : forme 2337">
              <a:extLst>
                <a:ext uri="{FF2B5EF4-FFF2-40B4-BE49-F238E27FC236}">
                  <a16:creationId xmlns:a16="http://schemas.microsoft.com/office/drawing/2014/main" id="{7AD448C6-BEA7-45DD-8AA2-CB2184786226}"/>
                </a:ext>
              </a:extLst>
            </p:cNvPr>
            <p:cNvSpPr/>
            <p:nvPr/>
          </p:nvSpPr>
          <p:spPr>
            <a:xfrm rot="8716295">
              <a:off x="4831223" y="109578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9" name="Forme libre : forme 2338">
              <a:extLst>
                <a:ext uri="{FF2B5EF4-FFF2-40B4-BE49-F238E27FC236}">
                  <a16:creationId xmlns:a16="http://schemas.microsoft.com/office/drawing/2014/main" id="{35EF6799-E484-4435-9DC6-7D0DE006E027}"/>
                </a:ext>
              </a:extLst>
            </p:cNvPr>
            <p:cNvSpPr/>
            <p:nvPr/>
          </p:nvSpPr>
          <p:spPr>
            <a:xfrm rot="7484129">
              <a:off x="5177605" y="143673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0" name="Forme libre : forme 2339">
              <a:extLst>
                <a:ext uri="{FF2B5EF4-FFF2-40B4-BE49-F238E27FC236}">
                  <a16:creationId xmlns:a16="http://schemas.microsoft.com/office/drawing/2014/main" id="{21C69156-F46C-4928-B70D-009460F75B9F}"/>
                </a:ext>
              </a:extLst>
            </p:cNvPr>
            <p:cNvSpPr/>
            <p:nvPr/>
          </p:nvSpPr>
          <p:spPr>
            <a:xfrm rot="13089394">
              <a:off x="5282425" y="140327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1" name="Forme libre : forme 2340">
              <a:extLst>
                <a:ext uri="{FF2B5EF4-FFF2-40B4-BE49-F238E27FC236}">
                  <a16:creationId xmlns:a16="http://schemas.microsoft.com/office/drawing/2014/main" id="{1798CEF4-84B3-4FCD-A779-F1E83B6AD50D}"/>
                </a:ext>
              </a:extLst>
            </p:cNvPr>
            <p:cNvSpPr/>
            <p:nvPr/>
          </p:nvSpPr>
          <p:spPr>
            <a:xfrm rot="8716295">
              <a:off x="5468010" y="121158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2" name="Forme libre : forme 2341">
              <a:extLst>
                <a:ext uri="{FF2B5EF4-FFF2-40B4-BE49-F238E27FC236}">
                  <a16:creationId xmlns:a16="http://schemas.microsoft.com/office/drawing/2014/main" id="{3EC2D62C-CF18-46C7-B24E-7DDD8382F5CE}"/>
                </a:ext>
              </a:extLst>
            </p:cNvPr>
            <p:cNvSpPr/>
            <p:nvPr/>
          </p:nvSpPr>
          <p:spPr>
            <a:xfrm rot="8716295">
              <a:off x="5416205" y="110799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3" name="Forme libre : forme 2342">
              <a:extLst>
                <a:ext uri="{FF2B5EF4-FFF2-40B4-BE49-F238E27FC236}">
                  <a16:creationId xmlns:a16="http://schemas.microsoft.com/office/drawing/2014/main" id="{B05F2E20-58A5-4922-8600-DD820E78EE4E}"/>
                </a:ext>
              </a:extLst>
            </p:cNvPr>
            <p:cNvSpPr/>
            <p:nvPr/>
          </p:nvSpPr>
          <p:spPr>
            <a:xfrm rot="8716295">
              <a:off x="5172959" y="113821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4" name="Forme libre : forme 2343">
              <a:extLst>
                <a:ext uri="{FF2B5EF4-FFF2-40B4-BE49-F238E27FC236}">
                  <a16:creationId xmlns:a16="http://schemas.microsoft.com/office/drawing/2014/main" id="{B54ADC56-D20D-4C1D-BBA8-5BF0D1D5989C}"/>
                </a:ext>
              </a:extLst>
            </p:cNvPr>
            <p:cNvSpPr/>
            <p:nvPr/>
          </p:nvSpPr>
          <p:spPr>
            <a:xfrm rot="8716295">
              <a:off x="5350411" y="97897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5" name="Forme libre : forme 2344">
              <a:extLst>
                <a:ext uri="{FF2B5EF4-FFF2-40B4-BE49-F238E27FC236}">
                  <a16:creationId xmlns:a16="http://schemas.microsoft.com/office/drawing/2014/main" id="{6F7A1710-4C02-4DCC-B78B-511BDFFD55F4}"/>
                </a:ext>
              </a:extLst>
            </p:cNvPr>
            <p:cNvSpPr/>
            <p:nvPr/>
          </p:nvSpPr>
          <p:spPr>
            <a:xfrm rot="8716295">
              <a:off x="4582464" y="70634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6" name="Forme libre : forme 2345">
              <a:extLst>
                <a:ext uri="{FF2B5EF4-FFF2-40B4-BE49-F238E27FC236}">
                  <a16:creationId xmlns:a16="http://schemas.microsoft.com/office/drawing/2014/main" id="{D536F172-354E-4C75-A2CF-32C24FBDD45C}"/>
                </a:ext>
              </a:extLst>
            </p:cNvPr>
            <p:cNvSpPr/>
            <p:nvPr/>
          </p:nvSpPr>
          <p:spPr>
            <a:xfrm rot="8716295">
              <a:off x="4671856" y="73558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7" name="Forme libre : forme 2346">
              <a:extLst>
                <a:ext uri="{FF2B5EF4-FFF2-40B4-BE49-F238E27FC236}">
                  <a16:creationId xmlns:a16="http://schemas.microsoft.com/office/drawing/2014/main" id="{E02EE465-AAEF-4A1C-9A7C-9D1D91F4D60A}"/>
                </a:ext>
              </a:extLst>
            </p:cNvPr>
            <p:cNvSpPr/>
            <p:nvPr/>
          </p:nvSpPr>
          <p:spPr>
            <a:xfrm rot="8716295">
              <a:off x="4627006" y="64930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8" name="Forme libre : forme 2347">
              <a:extLst>
                <a:ext uri="{FF2B5EF4-FFF2-40B4-BE49-F238E27FC236}">
                  <a16:creationId xmlns:a16="http://schemas.microsoft.com/office/drawing/2014/main" id="{0D825FEE-DBE8-4D57-B9F7-C97353B9827C}"/>
                </a:ext>
              </a:extLst>
            </p:cNvPr>
            <p:cNvSpPr/>
            <p:nvPr/>
          </p:nvSpPr>
          <p:spPr>
            <a:xfrm rot="8716295">
              <a:off x="4470230" y="79488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9" name="Forme libre : forme 2348">
              <a:extLst>
                <a:ext uri="{FF2B5EF4-FFF2-40B4-BE49-F238E27FC236}">
                  <a16:creationId xmlns:a16="http://schemas.microsoft.com/office/drawing/2014/main" id="{78F83AD2-75B7-4595-9386-952F6FD22400}"/>
                </a:ext>
              </a:extLst>
            </p:cNvPr>
            <p:cNvSpPr/>
            <p:nvPr/>
          </p:nvSpPr>
          <p:spPr>
            <a:xfrm rot="8716295">
              <a:off x="4345327" y="58621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0" name="Forme libre : forme 2349">
              <a:extLst>
                <a:ext uri="{FF2B5EF4-FFF2-40B4-BE49-F238E27FC236}">
                  <a16:creationId xmlns:a16="http://schemas.microsoft.com/office/drawing/2014/main" id="{BA220240-D69B-4B6C-A6FC-E65389644BCE}"/>
                </a:ext>
              </a:extLst>
            </p:cNvPr>
            <p:cNvSpPr/>
            <p:nvPr/>
          </p:nvSpPr>
          <p:spPr>
            <a:xfrm rot="8716295">
              <a:off x="4333275" y="44743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1" name="Forme libre : forme 2350">
              <a:extLst>
                <a:ext uri="{FF2B5EF4-FFF2-40B4-BE49-F238E27FC236}">
                  <a16:creationId xmlns:a16="http://schemas.microsoft.com/office/drawing/2014/main" id="{B0074431-ABFA-4C3E-95DE-330C2C35B482}"/>
                </a:ext>
              </a:extLst>
            </p:cNvPr>
            <p:cNvSpPr/>
            <p:nvPr/>
          </p:nvSpPr>
          <p:spPr>
            <a:xfrm rot="8716295">
              <a:off x="4560408" y="83583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2" name="Forme libre : forme 2351">
              <a:extLst>
                <a:ext uri="{FF2B5EF4-FFF2-40B4-BE49-F238E27FC236}">
                  <a16:creationId xmlns:a16="http://schemas.microsoft.com/office/drawing/2014/main" id="{6A1A478E-7B4F-4A07-B728-A4383F55F532}"/>
                </a:ext>
              </a:extLst>
            </p:cNvPr>
            <p:cNvSpPr/>
            <p:nvPr/>
          </p:nvSpPr>
          <p:spPr>
            <a:xfrm rot="8716295">
              <a:off x="4871563" y="45619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3" name="Forme libre : forme 2352">
              <a:extLst>
                <a:ext uri="{FF2B5EF4-FFF2-40B4-BE49-F238E27FC236}">
                  <a16:creationId xmlns:a16="http://schemas.microsoft.com/office/drawing/2014/main" id="{FF3D4263-7FF6-40B4-B16E-F0F9B7A6D208}"/>
                </a:ext>
              </a:extLst>
            </p:cNvPr>
            <p:cNvSpPr/>
            <p:nvPr/>
          </p:nvSpPr>
          <p:spPr>
            <a:xfrm rot="8716295">
              <a:off x="4960955" y="48543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4" name="Forme libre : forme 2353">
              <a:extLst>
                <a:ext uri="{FF2B5EF4-FFF2-40B4-BE49-F238E27FC236}">
                  <a16:creationId xmlns:a16="http://schemas.microsoft.com/office/drawing/2014/main" id="{83EFFBE3-A8A8-4DEE-AEC9-4D3EA9760312}"/>
                </a:ext>
              </a:extLst>
            </p:cNvPr>
            <p:cNvSpPr/>
            <p:nvPr/>
          </p:nvSpPr>
          <p:spPr>
            <a:xfrm rot="8716295">
              <a:off x="4759329" y="54473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5" name="Forme libre : forme 2354">
              <a:extLst>
                <a:ext uri="{FF2B5EF4-FFF2-40B4-BE49-F238E27FC236}">
                  <a16:creationId xmlns:a16="http://schemas.microsoft.com/office/drawing/2014/main" id="{2CB1E6B8-6C1B-4CFB-9BB4-204CCAECF5EF}"/>
                </a:ext>
              </a:extLst>
            </p:cNvPr>
            <p:cNvSpPr/>
            <p:nvPr/>
          </p:nvSpPr>
          <p:spPr>
            <a:xfrm rot="8716295">
              <a:off x="4634427" y="33606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6" name="Forme libre : forme 2355">
              <a:extLst>
                <a:ext uri="{FF2B5EF4-FFF2-40B4-BE49-F238E27FC236}">
                  <a16:creationId xmlns:a16="http://schemas.microsoft.com/office/drawing/2014/main" id="{C87D3796-A862-4777-A308-4706FE535F62}"/>
                </a:ext>
              </a:extLst>
            </p:cNvPr>
            <p:cNvSpPr/>
            <p:nvPr/>
          </p:nvSpPr>
          <p:spPr>
            <a:xfrm rot="8716295">
              <a:off x="4849507" y="58568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7" name="Forme libre : forme 2356">
              <a:extLst>
                <a:ext uri="{FF2B5EF4-FFF2-40B4-BE49-F238E27FC236}">
                  <a16:creationId xmlns:a16="http://schemas.microsoft.com/office/drawing/2014/main" id="{1ACC11AE-8F0F-4403-A846-2BBA1B5FB06A}"/>
                </a:ext>
              </a:extLst>
            </p:cNvPr>
            <p:cNvSpPr/>
            <p:nvPr/>
          </p:nvSpPr>
          <p:spPr>
            <a:xfrm rot="8716295">
              <a:off x="4608056" y="43608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8" name="Forme libre : forme 2357">
              <a:extLst>
                <a:ext uri="{FF2B5EF4-FFF2-40B4-BE49-F238E27FC236}">
                  <a16:creationId xmlns:a16="http://schemas.microsoft.com/office/drawing/2014/main" id="{6BBCBD03-EC40-4B6A-94A0-044ACDD5545A}"/>
                </a:ext>
              </a:extLst>
            </p:cNvPr>
            <p:cNvSpPr/>
            <p:nvPr/>
          </p:nvSpPr>
          <p:spPr>
            <a:xfrm rot="7484129">
              <a:off x="4954438" y="77703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9" name="Forme libre : forme 2358">
              <a:extLst>
                <a:ext uri="{FF2B5EF4-FFF2-40B4-BE49-F238E27FC236}">
                  <a16:creationId xmlns:a16="http://schemas.microsoft.com/office/drawing/2014/main" id="{A0436840-05C9-42F3-8F79-A951B2C27E5B}"/>
                </a:ext>
              </a:extLst>
            </p:cNvPr>
            <p:cNvSpPr/>
            <p:nvPr/>
          </p:nvSpPr>
          <p:spPr>
            <a:xfrm rot="13089394">
              <a:off x="5059258" y="743571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0" name="Forme libre : forme 2359">
              <a:extLst>
                <a:ext uri="{FF2B5EF4-FFF2-40B4-BE49-F238E27FC236}">
                  <a16:creationId xmlns:a16="http://schemas.microsoft.com/office/drawing/2014/main" id="{18E5CE87-13E3-4167-9392-FE5C76C94FDF}"/>
                </a:ext>
              </a:extLst>
            </p:cNvPr>
            <p:cNvSpPr/>
            <p:nvPr/>
          </p:nvSpPr>
          <p:spPr>
            <a:xfrm rot="8716295">
              <a:off x="5244843" y="55189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1" name="Forme libre : forme 2360">
              <a:extLst>
                <a:ext uri="{FF2B5EF4-FFF2-40B4-BE49-F238E27FC236}">
                  <a16:creationId xmlns:a16="http://schemas.microsoft.com/office/drawing/2014/main" id="{79B867E9-B21B-4950-B984-31FB698EA685}"/>
                </a:ext>
              </a:extLst>
            </p:cNvPr>
            <p:cNvSpPr/>
            <p:nvPr/>
          </p:nvSpPr>
          <p:spPr>
            <a:xfrm rot="8716295">
              <a:off x="5193038" y="44829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2" name="Forme libre : forme 2361">
              <a:extLst>
                <a:ext uri="{FF2B5EF4-FFF2-40B4-BE49-F238E27FC236}">
                  <a16:creationId xmlns:a16="http://schemas.microsoft.com/office/drawing/2014/main" id="{36B5DFC7-1584-496B-98BD-B274803CFC03}"/>
                </a:ext>
              </a:extLst>
            </p:cNvPr>
            <p:cNvSpPr/>
            <p:nvPr/>
          </p:nvSpPr>
          <p:spPr>
            <a:xfrm rot="8716295">
              <a:off x="4949792" y="47851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3" name="Forme libre : forme 2362">
              <a:extLst>
                <a:ext uri="{FF2B5EF4-FFF2-40B4-BE49-F238E27FC236}">
                  <a16:creationId xmlns:a16="http://schemas.microsoft.com/office/drawing/2014/main" id="{173D4F02-9301-448C-BEBF-368C505DFEF7}"/>
                </a:ext>
              </a:extLst>
            </p:cNvPr>
            <p:cNvSpPr/>
            <p:nvPr/>
          </p:nvSpPr>
          <p:spPr>
            <a:xfrm rot="8716295">
              <a:off x="5127244" y="31927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4" name="Forme libre : forme 2363">
              <a:extLst>
                <a:ext uri="{FF2B5EF4-FFF2-40B4-BE49-F238E27FC236}">
                  <a16:creationId xmlns:a16="http://schemas.microsoft.com/office/drawing/2014/main" id="{ED7BE141-A682-458B-B00E-8C240AAEF92B}"/>
                </a:ext>
              </a:extLst>
            </p:cNvPr>
            <p:cNvSpPr/>
            <p:nvPr/>
          </p:nvSpPr>
          <p:spPr>
            <a:xfrm rot="8716295">
              <a:off x="4363525" y="4428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5" name="Forme libre : forme 2364">
              <a:extLst>
                <a:ext uri="{FF2B5EF4-FFF2-40B4-BE49-F238E27FC236}">
                  <a16:creationId xmlns:a16="http://schemas.microsoft.com/office/drawing/2014/main" id="{5D5D6D8D-B4BF-42B6-B50D-A71215211BA8}"/>
                </a:ext>
              </a:extLst>
            </p:cNvPr>
            <p:cNvSpPr/>
            <p:nvPr/>
          </p:nvSpPr>
          <p:spPr>
            <a:xfrm rot="8716295">
              <a:off x="4452917" y="7352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6" name="Forme libre : forme 2365">
              <a:extLst>
                <a:ext uri="{FF2B5EF4-FFF2-40B4-BE49-F238E27FC236}">
                  <a16:creationId xmlns:a16="http://schemas.microsoft.com/office/drawing/2014/main" id="{92D0CC5C-A64F-4456-AD2B-2B2768047B43}"/>
                </a:ext>
              </a:extLst>
            </p:cNvPr>
            <p:cNvSpPr/>
            <p:nvPr/>
          </p:nvSpPr>
          <p:spPr>
            <a:xfrm rot="8716295">
              <a:off x="4414002" y="19341"/>
              <a:ext cx="155050" cy="113964"/>
            </a:xfrm>
            <a:custGeom>
              <a:avLst/>
              <a:gdLst>
                <a:gd name="connsiteX0" fmla="*/ 25756 w 155050"/>
                <a:gd name="connsiteY0" fmla="*/ 113964 h 113964"/>
                <a:gd name="connsiteX1" fmla="*/ 0 w 155050"/>
                <a:gd name="connsiteY1" fmla="*/ 96110 h 113964"/>
                <a:gd name="connsiteX2" fmla="*/ 72120 w 155050"/>
                <a:gd name="connsiteY2" fmla="*/ 28251 h 113964"/>
                <a:gd name="connsiteX3" fmla="*/ 126799 w 155050"/>
                <a:gd name="connsiteY3" fmla="*/ 0 h 113964"/>
                <a:gd name="connsiteX4" fmla="*/ 155050 w 155050"/>
                <a:gd name="connsiteY4" fmla="*/ 33719 h 113964"/>
                <a:gd name="connsiteX5" fmla="*/ 128622 w 155050"/>
                <a:gd name="connsiteY5" fmla="*/ 69261 h 113964"/>
                <a:gd name="connsiteX6" fmla="*/ 129077 w 155050"/>
                <a:gd name="connsiteY6" fmla="*/ 69261 h 113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5050" h="113964">
                  <a:moveTo>
                    <a:pt x="25756" y="113964"/>
                  </a:moveTo>
                  <a:lnTo>
                    <a:pt x="0" y="96110"/>
                  </a:lnTo>
                  <a:lnTo>
                    <a:pt x="72120" y="28251"/>
                  </a:lnTo>
                  <a:cubicBezTo>
                    <a:pt x="85790" y="12303"/>
                    <a:pt x="105383" y="2279"/>
                    <a:pt x="126799" y="0"/>
                  </a:cubicBezTo>
                  <a:cubicBezTo>
                    <a:pt x="148671" y="0"/>
                    <a:pt x="155050" y="19138"/>
                    <a:pt x="155050" y="33719"/>
                  </a:cubicBezTo>
                  <a:cubicBezTo>
                    <a:pt x="153683" y="49668"/>
                    <a:pt x="143203" y="62882"/>
                    <a:pt x="128622" y="69261"/>
                  </a:cubicBezTo>
                  <a:lnTo>
                    <a:pt x="129077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7" name="Forme libre : forme 2366">
              <a:extLst>
                <a:ext uri="{FF2B5EF4-FFF2-40B4-BE49-F238E27FC236}">
                  <a16:creationId xmlns:a16="http://schemas.microsoft.com/office/drawing/2014/main" id="{3D7F33EE-E953-4F70-8F6D-B7AB877234D1}"/>
                </a:ext>
              </a:extLst>
            </p:cNvPr>
            <p:cNvSpPr/>
            <p:nvPr/>
          </p:nvSpPr>
          <p:spPr>
            <a:xfrm rot="8716295">
              <a:off x="4251291" y="13282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8" name="Forme libre : forme 2367">
              <a:extLst>
                <a:ext uri="{FF2B5EF4-FFF2-40B4-BE49-F238E27FC236}">
                  <a16:creationId xmlns:a16="http://schemas.microsoft.com/office/drawing/2014/main" id="{D6111605-705A-468C-9B0C-336BD1C692B5}"/>
                </a:ext>
              </a:extLst>
            </p:cNvPr>
            <p:cNvSpPr/>
            <p:nvPr/>
          </p:nvSpPr>
          <p:spPr>
            <a:xfrm rot="8716295">
              <a:off x="4140033" y="-17870"/>
              <a:ext cx="203847" cy="132136"/>
            </a:xfrm>
            <a:custGeom>
              <a:avLst/>
              <a:gdLst>
                <a:gd name="connsiteX0" fmla="*/ 112633 w 203847"/>
                <a:gd name="connsiteY0" fmla="*/ 132136 h 132136"/>
                <a:gd name="connsiteX1" fmla="*/ 56185 w 203847"/>
                <a:gd name="connsiteY1" fmla="*/ 93008 h 132136"/>
                <a:gd name="connsiteX2" fmla="*/ 69777 w 203847"/>
                <a:gd name="connsiteY2" fmla="*/ 55323 h 132136"/>
                <a:gd name="connsiteX3" fmla="*/ 1818 w 203847"/>
                <a:gd name="connsiteY3" fmla="*/ 55323 h 132136"/>
                <a:gd name="connsiteX4" fmla="*/ 0 w 203847"/>
                <a:gd name="connsiteY4" fmla="*/ 54062 h 132136"/>
                <a:gd name="connsiteX5" fmla="*/ 0 w 203847"/>
                <a:gd name="connsiteY5" fmla="*/ 0 h 132136"/>
                <a:gd name="connsiteX6" fmla="*/ 203847 w 203847"/>
                <a:gd name="connsiteY6" fmla="*/ 0 h 132136"/>
                <a:gd name="connsiteX7" fmla="*/ 203847 w 203847"/>
                <a:gd name="connsiteY7" fmla="*/ 55323 h 132136"/>
                <a:gd name="connsiteX8" fmla="*/ 139055 w 203847"/>
                <a:gd name="connsiteY8" fmla="*/ 55323 h 132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32136">
                  <a:moveTo>
                    <a:pt x="112633" y="132136"/>
                  </a:moveTo>
                  <a:lnTo>
                    <a:pt x="56185" y="93008"/>
                  </a:lnTo>
                  <a:lnTo>
                    <a:pt x="69777" y="55323"/>
                  </a:lnTo>
                  <a:lnTo>
                    <a:pt x="1818" y="55323"/>
                  </a:lnTo>
                  <a:lnTo>
                    <a:pt x="0" y="54062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9" name="Forme libre : forme 2368">
              <a:extLst>
                <a:ext uri="{FF2B5EF4-FFF2-40B4-BE49-F238E27FC236}">
                  <a16:creationId xmlns:a16="http://schemas.microsoft.com/office/drawing/2014/main" id="{60D6361D-5926-494E-85F4-B15D013F850E}"/>
                </a:ext>
              </a:extLst>
            </p:cNvPr>
            <p:cNvSpPr/>
            <p:nvPr/>
          </p:nvSpPr>
          <p:spPr>
            <a:xfrm rot="8716295">
              <a:off x="4382970" y="-25447"/>
              <a:ext cx="64855" cy="78311"/>
            </a:xfrm>
            <a:custGeom>
              <a:avLst/>
              <a:gdLst>
                <a:gd name="connsiteX0" fmla="*/ 64855 w 64855"/>
                <a:gd name="connsiteY0" fmla="*/ 78311 h 78311"/>
                <a:gd name="connsiteX1" fmla="*/ 0 w 64855"/>
                <a:gd name="connsiteY1" fmla="*/ 33356 h 78311"/>
                <a:gd name="connsiteX2" fmla="*/ 64294 w 64855"/>
                <a:gd name="connsiteY2" fmla="*/ 0 h 78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855" h="78311">
                  <a:moveTo>
                    <a:pt x="64855" y="78311"/>
                  </a:moveTo>
                  <a:lnTo>
                    <a:pt x="0" y="33356"/>
                  </a:lnTo>
                  <a:lnTo>
                    <a:pt x="64294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0" name="Forme libre : forme 2369">
              <a:extLst>
                <a:ext uri="{FF2B5EF4-FFF2-40B4-BE49-F238E27FC236}">
                  <a16:creationId xmlns:a16="http://schemas.microsoft.com/office/drawing/2014/main" id="{FC82A592-4B0B-4A64-A63D-8ACF6D9AAB23}"/>
                </a:ext>
              </a:extLst>
            </p:cNvPr>
            <p:cNvSpPr/>
            <p:nvPr/>
          </p:nvSpPr>
          <p:spPr>
            <a:xfrm rot="8716295">
              <a:off x="4341469" y="17378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1" name="Forme libre : forme 2370">
              <a:extLst>
                <a:ext uri="{FF2B5EF4-FFF2-40B4-BE49-F238E27FC236}">
                  <a16:creationId xmlns:a16="http://schemas.microsoft.com/office/drawing/2014/main" id="{6A20E7DD-05E5-4FA0-8F57-2B55062F7CD1}"/>
                </a:ext>
              </a:extLst>
            </p:cNvPr>
            <p:cNvSpPr/>
            <p:nvPr/>
          </p:nvSpPr>
          <p:spPr>
            <a:xfrm rot="8716295">
              <a:off x="4707227" y="-28335"/>
              <a:ext cx="81756" cy="56671"/>
            </a:xfrm>
            <a:custGeom>
              <a:avLst/>
              <a:gdLst>
                <a:gd name="connsiteX0" fmla="*/ 81756 w 81756"/>
                <a:gd name="connsiteY0" fmla="*/ 56671 h 56671"/>
                <a:gd name="connsiteX1" fmla="*/ 0 w 81756"/>
                <a:gd name="connsiteY1" fmla="*/ 0 h 56671"/>
                <a:gd name="connsiteX2" fmla="*/ 24798 w 81756"/>
                <a:gd name="connsiteY2" fmla="*/ 0 h 56671"/>
                <a:gd name="connsiteX3" fmla="*/ 81756 w 81756"/>
                <a:gd name="connsiteY3" fmla="*/ 50123 h 56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1756" h="56671">
                  <a:moveTo>
                    <a:pt x="81756" y="56671"/>
                  </a:moveTo>
                  <a:lnTo>
                    <a:pt x="0" y="0"/>
                  </a:lnTo>
                  <a:lnTo>
                    <a:pt x="24798" y="0"/>
                  </a:lnTo>
                  <a:cubicBezTo>
                    <a:pt x="61707" y="0"/>
                    <a:pt x="81756" y="15949"/>
                    <a:pt x="81756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2" name="Forme libre : forme 2371">
              <a:extLst>
                <a:ext uri="{FF2B5EF4-FFF2-40B4-BE49-F238E27FC236}">
                  <a16:creationId xmlns:a16="http://schemas.microsoft.com/office/drawing/2014/main" id="{2490B76E-46EB-4272-924E-6D995CAFB965}"/>
                </a:ext>
              </a:extLst>
            </p:cNvPr>
            <p:cNvSpPr/>
            <p:nvPr/>
          </p:nvSpPr>
          <p:spPr>
            <a:xfrm rot="8716295">
              <a:off x="4788322" y="-25624"/>
              <a:ext cx="219411" cy="98025"/>
            </a:xfrm>
            <a:custGeom>
              <a:avLst/>
              <a:gdLst>
                <a:gd name="connsiteX0" fmla="*/ 63575 w 219411"/>
                <a:gd name="connsiteY0" fmla="*/ 45493 h 98025"/>
                <a:gd name="connsiteX1" fmla="*/ 0 w 219411"/>
                <a:gd name="connsiteY1" fmla="*/ 1425 h 98025"/>
                <a:gd name="connsiteX2" fmla="*/ 63575 w 219411"/>
                <a:gd name="connsiteY2" fmla="*/ 1425 h 98025"/>
                <a:gd name="connsiteX3" fmla="*/ 88634 w 219411"/>
                <a:gd name="connsiteY3" fmla="*/ 62863 h 98025"/>
                <a:gd name="connsiteX4" fmla="*/ 73596 w 219411"/>
                <a:gd name="connsiteY4" fmla="*/ 52439 h 98025"/>
                <a:gd name="connsiteX5" fmla="*/ 75493 w 219411"/>
                <a:gd name="connsiteY5" fmla="*/ 47439 h 98025"/>
                <a:gd name="connsiteX6" fmla="*/ 112786 w 219411"/>
                <a:gd name="connsiteY6" fmla="*/ 5981 h 98025"/>
                <a:gd name="connsiteX7" fmla="*/ 144227 w 219411"/>
                <a:gd name="connsiteY7" fmla="*/ 57 h 98025"/>
                <a:gd name="connsiteX8" fmla="*/ 219411 w 219411"/>
                <a:gd name="connsiteY8" fmla="*/ 88456 h 98025"/>
                <a:gd name="connsiteX9" fmla="*/ 219411 w 219411"/>
                <a:gd name="connsiteY9" fmla="*/ 94380 h 98025"/>
                <a:gd name="connsiteX10" fmla="*/ 157441 w 219411"/>
                <a:gd name="connsiteY10" fmla="*/ 98025 h 98025"/>
                <a:gd name="connsiteX11" fmla="*/ 157441 w 219411"/>
                <a:gd name="connsiteY11" fmla="*/ 81621 h 98025"/>
                <a:gd name="connsiteX12" fmla="*/ 123722 w 219411"/>
                <a:gd name="connsiteY12" fmla="*/ 40156 h 98025"/>
                <a:gd name="connsiteX13" fmla="*/ 103089 w 219411"/>
                <a:gd name="connsiteY13" fmla="*/ 46969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9411" h="98025">
                  <a:moveTo>
                    <a:pt x="63575" y="45493"/>
                  </a:moveTo>
                  <a:lnTo>
                    <a:pt x="0" y="1425"/>
                  </a:lnTo>
                  <a:lnTo>
                    <a:pt x="63575" y="1425"/>
                  </a:lnTo>
                  <a:close/>
                  <a:moveTo>
                    <a:pt x="88634" y="62863"/>
                  </a:moveTo>
                  <a:lnTo>
                    <a:pt x="73596" y="52439"/>
                  </a:lnTo>
                  <a:lnTo>
                    <a:pt x="75493" y="47439"/>
                  </a:lnTo>
                  <a:cubicBezTo>
                    <a:pt x="85874" y="24008"/>
                    <a:pt x="96382" y="12816"/>
                    <a:pt x="112786" y="5981"/>
                  </a:cubicBezTo>
                  <a:cubicBezTo>
                    <a:pt x="122811" y="1880"/>
                    <a:pt x="133291" y="-398"/>
                    <a:pt x="144227" y="57"/>
                  </a:cubicBezTo>
                  <a:cubicBezTo>
                    <a:pt x="191160" y="-854"/>
                    <a:pt x="219411" y="31954"/>
                    <a:pt x="219411" y="88456"/>
                  </a:cubicBezTo>
                  <a:lnTo>
                    <a:pt x="219411" y="94380"/>
                  </a:lnTo>
                  <a:lnTo>
                    <a:pt x="157441" y="98025"/>
                  </a:lnTo>
                  <a:lnTo>
                    <a:pt x="157441" y="81621"/>
                  </a:lnTo>
                  <a:cubicBezTo>
                    <a:pt x="157441" y="57016"/>
                    <a:pt x="143316" y="40156"/>
                    <a:pt x="123722" y="40156"/>
                  </a:cubicBezTo>
                  <a:cubicBezTo>
                    <a:pt x="116431" y="40156"/>
                    <a:pt x="109454" y="42577"/>
                    <a:pt x="103089" y="4696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3" name="Forme libre : forme 2372">
              <a:extLst>
                <a:ext uri="{FF2B5EF4-FFF2-40B4-BE49-F238E27FC236}">
                  <a16:creationId xmlns:a16="http://schemas.microsoft.com/office/drawing/2014/main" id="{8E267C66-2E07-4F73-9340-012E8A048A8A}"/>
                </a:ext>
              </a:extLst>
            </p:cNvPr>
            <p:cNvSpPr/>
            <p:nvPr/>
          </p:nvSpPr>
          <p:spPr>
            <a:xfrm rot="8716295">
              <a:off x="4630568" y="-7637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4" name="Forme libre : forme 2373">
              <a:extLst>
                <a:ext uri="{FF2B5EF4-FFF2-40B4-BE49-F238E27FC236}">
                  <a16:creationId xmlns:a16="http://schemas.microsoft.com/office/drawing/2014/main" id="{78F0F09F-9A5B-4F4A-9DBF-86D570560CEC}"/>
                </a:ext>
              </a:extLst>
            </p:cNvPr>
            <p:cNvSpPr/>
            <p:nvPr/>
          </p:nvSpPr>
          <p:spPr>
            <a:xfrm rot="7484129">
              <a:off x="4735499" y="11497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5" name="Forme libre : forme 2374">
              <a:extLst>
                <a:ext uri="{FF2B5EF4-FFF2-40B4-BE49-F238E27FC236}">
                  <a16:creationId xmlns:a16="http://schemas.microsoft.com/office/drawing/2014/main" id="{78184C10-D416-4CB8-BB4E-B2E159FC9497}"/>
                </a:ext>
              </a:extLst>
            </p:cNvPr>
            <p:cNvSpPr/>
            <p:nvPr/>
          </p:nvSpPr>
          <p:spPr>
            <a:xfrm rot="13089394">
              <a:off x="4840319" y="8151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6" name="Forme libre : forme 2375">
              <a:extLst>
                <a:ext uri="{FF2B5EF4-FFF2-40B4-BE49-F238E27FC236}">
                  <a16:creationId xmlns:a16="http://schemas.microsoft.com/office/drawing/2014/main" id="{BF43E5AD-AF64-4DBC-99B6-CB8CB0A23CDF}"/>
                </a:ext>
              </a:extLst>
            </p:cNvPr>
            <p:cNvSpPr/>
            <p:nvPr/>
          </p:nvSpPr>
          <p:spPr>
            <a:xfrm rot="8716295">
              <a:off x="5051883" y="-11617"/>
              <a:ext cx="112042" cy="89932"/>
            </a:xfrm>
            <a:custGeom>
              <a:avLst/>
              <a:gdLst>
                <a:gd name="connsiteX0" fmla="*/ 62355 w 112042"/>
                <a:gd name="connsiteY0" fmla="*/ 89932 h 89932"/>
                <a:gd name="connsiteX1" fmla="*/ 0 w 112042"/>
                <a:gd name="connsiteY1" fmla="*/ 46710 h 89932"/>
                <a:gd name="connsiteX2" fmla="*/ 14231 w 112042"/>
                <a:gd name="connsiteY2" fmla="*/ 33321 h 89932"/>
                <a:gd name="connsiteX3" fmla="*/ 78722 w 112042"/>
                <a:gd name="connsiteY3" fmla="*/ 0 h 89932"/>
                <a:gd name="connsiteX4" fmla="*/ 112042 w 112042"/>
                <a:gd name="connsiteY4" fmla="*/ 39770 h 89932"/>
                <a:gd name="connsiteX5" fmla="*/ 80872 w 112042"/>
                <a:gd name="connsiteY5" fmla="*/ 81689 h 89932"/>
                <a:gd name="connsiteX6" fmla="*/ 81408 w 112042"/>
                <a:gd name="connsiteY6" fmla="*/ 81689 h 89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2042" h="89932">
                  <a:moveTo>
                    <a:pt x="62355" y="89932"/>
                  </a:moveTo>
                  <a:lnTo>
                    <a:pt x="0" y="46710"/>
                  </a:lnTo>
                  <a:lnTo>
                    <a:pt x="14231" y="33321"/>
                  </a:lnTo>
                  <a:cubicBezTo>
                    <a:pt x="30353" y="14511"/>
                    <a:pt x="53462" y="2687"/>
                    <a:pt x="78722" y="0"/>
                  </a:cubicBezTo>
                  <a:cubicBezTo>
                    <a:pt x="104518" y="0"/>
                    <a:pt x="112042" y="22572"/>
                    <a:pt x="112042" y="39770"/>
                  </a:cubicBezTo>
                  <a:cubicBezTo>
                    <a:pt x="110429" y="58580"/>
                    <a:pt x="98068" y="74165"/>
                    <a:pt x="80872" y="81689"/>
                  </a:cubicBezTo>
                  <a:lnTo>
                    <a:pt x="81408" y="816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7" name="Forme libre : forme 2376">
              <a:extLst>
                <a:ext uri="{FF2B5EF4-FFF2-40B4-BE49-F238E27FC236}">
                  <a16:creationId xmlns:a16="http://schemas.microsoft.com/office/drawing/2014/main" id="{26D2FA4F-18E7-494F-86E7-D42024EE660E}"/>
                </a:ext>
              </a:extLst>
            </p:cNvPr>
            <p:cNvSpPr/>
            <p:nvPr/>
          </p:nvSpPr>
          <p:spPr>
            <a:xfrm rot="8716295">
              <a:off x="4142433" y="246392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8" name="Forme libre : forme 2377">
              <a:extLst>
                <a:ext uri="{FF2B5EF4-FFF2-40B4-BE49-F238E27FC236}">
                  <a16:creationId xmlns:a16="http://schemas.microsoft.com/office/drawing/2014/main" id="{8944C994-EC14-42D7-8113-E4AD6478A149}"/>
                </a:ext>
              </a:extLst>
            </p:cNvPr>
            <p:cNvSpPr/>
            <p:nvPr/>
          </p:nvSpPr>
          <p:spPr>
            <a:xfrm rot="8716295">
              <a:off x="4231825" y="249316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9" name="Forme libre : forme 2378">
              <a:extLst>
                <a:ext uri="{FF2B5EF4-FFF2-40B4-BE49-F238E27FC236}">
                  <a16:creationId xmlns:a16="http://schemas.microsoft.com/office/drawing/2014/main" id="{58192FC9-A1C8-4708-8225-509EE82E999A}"/>
                </a:ext>
              </a:extLst>
            </p:cNvPr>
            <p:cNvSpPr/>
            <p:nvPr/>
          </p:nvSpPr>
          <p:spPr>
            <a:xfrm rot="8716295">
              <a:off x="4186975" y="240688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0" name="Forme libre : forme 2379">
              <a:extLst>
                <a:ext uri="{FF2B5EF4-FFF2-40B4-BE49-F238E27FC236}">
                  <a16:creationId xmlns:a16="http://schemas.microsoft.com/office/drawing/2014/main" id="{C486D111-D4F8-4846-BF95-F7163EE73BEE}"/>
                </a:ext>
              </a:extLst>
            </p:cNvPr>
            <p:cNvSpPr/>
            <p:nvPr/>
          </p:nvSpPr>
          <p:spPr>
            <a:xfrm rot="8716295">
              <a:off x="4030199" y="255246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1" name="Forme libre : forme 2380">
              <a:extLst>
                <a:ext uri="{FF2B5EF4-FFF2-40B4-BE49-F238E27FC236}">
                  <a16:creationId xmlns:a16="http://schemas.microsoft.com/office/drawing/2014/main" id="{A056C44E-4EEE-45C1-B42B-67B9971F1D6B}"/>
                </a:ext>
              </a:extLst>
            </p:cNvPr>
            <p:cNvSpPr/>
            <p:nvPr/>
          </p:nvSpPr>
          <p:spPr>
            <a:xfrm rot="8716295">
              <a:off x="3905296" y="234379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2" name="Forme libre : forme 2381">
              <a:extLst>
                <a:ext uri="{FF2B5EF4-FFF2-40B4-BE49-F238E27FC236}">
                  <a16:creationId xmlns:a16="http://schemas.microsoft.com/office/drawing/2014/main" id="{1595D241-3B9E-492F-B5E8-BEF6BBA7E0C4}"/>
                </a:ext>
              </a:extLst>
            </p:cNvPr>
            <p:cNvSpPr/>
            <p:nvPr/>
          </p:nvSpPr>
          <p:spPr>
            <a:xfrm rot="8716295">
              <a:off x="3893244" y="220501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3" name="Forme libre : forme 2382">
              <a:extLst>
                <a:ext uri="{FF2B5EF4-FFF2-40B4-BE49-F238E27FC236}">
                  <a16:creationId xmlns:a16="http://schemas.microsoft.com/office/drawing/2014/main" id="{D50BF1A5-3883-4503-8AB0-39544967FCA2}"/>
                </a:ext>
              </a:extLst>
            </p:cNvPr>
            <p:cNvSpPr/>
            <p:nvPr/>
          </p:nvSpPr>
          <p:spPr>
            <a:xfrm rot="8716295">
              <a:off x="4120377" y="259342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4" name="Forme libre : forme 2383">
              <a:extLst>
                <a:ext uri="{FF2B5EF4-FFF2-40B4-BE49-F238E27FC236}">
                  <a16:creationId xmlns:a16="http://schemas.microsoft.com/office/drawing/2014/main" id="{0B8BE066-0168-4B85-9FA8-76371BFEBC23}"/>
                </a:ext>
              </a:extLst>
            </p:cNvPr>
            <p:cNvSpPr/>
            <p:nvPr/>
          </p:nvSpPr>
          <p:spPr>
            <a:xfrm rot="8716295">
              <a:off x="4431532" y="221377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5" name="Forme libre : forme 2384">
              <a:extLst>
                <a:ext uri="{FF2B5EF4-FFF2-40B4-BE49-F238E27FC236}">
                  <a16:creationId xmlns:a16="http://schemas.microsoft.com/office/drawing/2014/main" id="{35AEC013-8A96-4F7B-8121-5A77C7B85C89}"/>
                </a:ext>
              </a:extLst>
            </p:cNvPr>
            <p:cNvSpPr/>
            <p:nvPr/>
          </p:nvSpPr>
          <p:spPr>
            <a:xfrm rot="8716295">
              <a:off x="4520924" y="224301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6" name="Forme libre : forme 2385">
              <a:extLst>
                <a:ext uri="{FF2B5EF4-FFF2-40B4-BE49-F238E27FC236}">
                  <a16:creationId xmlns:a16="http://schemas.microsoft.com/office/drawing/2014/main" id="{134B4DCA-0087-4CBF-B7E2-1B6EFFD18866}"/>
                </a:ext>
              </a:extLst>
            </p:cNvPr>
            <p:cNvSpPr/>
            <p:nvPr/>
          </p:nvSpPr>
          <p:spPr>
            <a:xfrm rot="8716295">
              <a:off x="4319298" y="230231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7" name="Forme libre : forme 2386">
              <a:extLst>
                <a:ext uri="{FF2B5EF4-FFF2-40B4-BE49-F238E27FC236}">
                  <a16:creationId xmlns:a16="http://schemas.microsoft.com/office/drawing/2014/main" id="{163757B9-6FA5-43B3-BF05-4633A60F3C8C}"/>
                </a:ext>
              </a:extLst>
            </p:cNvPr>
            <p:cNvSpPr/>
            <p:nvPr/>
          </p:nvSpPr>
          <p:spPr>
            <a:xfrm rot="8716295">
              <a:off x="4194396" y="209364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8" name="Forme libre : forme 2387">
              <a:extLst>
                <a:ext uri="{FF2B5EF4-FFF2-40B4-BE49-F238E27FC236}">
                  <a16:creationId xmlns:a16="http://schemas.microsoft.com/office/drawing/2014/main" id="{E98B9827-653C-450A-90CC-AB24A5748561}"/>
                </a:ext>
              </a:extLst>
            </p:cNvPr>
            <p:cNvSpPr/>
            <p:nvPr/>
          </p:nvSpPr>
          <p:spPr>
            <a:xfrm rot="8716295">
              <a:off x="4409476" y="234326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9" name="Forme libre : forme 2388">
              <a:extLst>
                <a:ext uri="{FF2B5EF4-FFF2-40B4-BE49-F238E27FC236}">
                  <a16:creationId xmlns:a16="http://schemas.microsoft.com/office/drawing/2014/main" id="{FDDF805D-5240-4677-A207-30BF9FB2B531}"/>
                </a:ext>
              </a:extLst>
            </p:cNvPr>
            <p:cNvSpPr/>
            <p:nvPr/>
          </p:nvSpPr>
          <p:spPr>
            <a:xfrm rot="8716295">
              <a:off x="4168025" y="219366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0" name="Forme libre : forme 2389">
              <a:extLst>
                <a:ext uri="{FF2B5EF4-FFF2-40B4-BE49-F238E27FC236}">
                  <a16:creationId xmlns:a16="http://schemas.microsoft.com/office/drawing/2014/main" id="{C69C5DEB-0024-4F6B-9D95-227D595E9C83}"/>
                </a:ext>
              </a:extLst>
            </p:cNvPr>
            <p:cNvSpPr/>
            <p:nvPr/>
          </p:nvSpPr>
          <p:spPr>
            <a:xfrm rot="7484129">
              <a:off x="4514407" y="253461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1" name="Forme libre : forme 2390">
              <a:extLst>
                <a:ext uri="{FF2B5EF4-FFF2-40B4-BE49-F238E27FC236}">
                  <a16:creationId xmlns:a16="http://schemas.microsoft.com/office/drawing/2014/main" id="{0FB7443C-A618-4557-B32F-BF8D10D1B0F0}"/>
                </a:ext>
              </a:extLst>
            </p:cNvPr>
            <p:cNvSpPr/>
            <p:nvPr/>
          </p:nvSpPr>
          <p:spPr>
            <a:xfrm rot="13089394">
              <a:off x="4619227" y="250115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2" name="Forme libre : forme 2391">
              <a:extLst>
                <a:ext uri="{FF2B5EF4-FFF2-40B4-BE49-F238E27FC236}">
                  <a16:creationId xmlns:a16="http://schemas.microsoft.com/office/drawing/2014/main" id="{4C9C1422-C0E5-4066-8236-95853DBC40C6}"/>
                </a:ext>
              </a:extLst>
            </p:cNvPr>
            <p:cNvSpPr/>
            <p:nvPr/>
          </p:nvSpPr>
          <p:spPr>
            <a:xfrm rot="8716295">
              <a:off x="4804812" y="230947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3" name="Forme libre : forme 2392">
              <a:extLst>
                <a:ext uri="{FF2B5EF4-FFF2-40B4-BE49-F238E27FC236}">
                  <a16:creationId xmlns:a16="http://schemas.microsoft.com/office/drawing/2014/main" id="{51D166AF-4976-4D8C-853D-6904E98B922E}"/>
                </a:ext>
              </a:extLst>
            </p:cNvPr>
            <p:cNvSpPr/>
            <p:nvPr/>
          </p:nvSpPr>
          <p:spPr>
            <a:xfrm rot="8716295">
              <a:off x="4753007" y="220587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4" name="Forme libre : forme 2393">
              <a:extLst>
                <a:ext uri="{FF2B5EF4-FFF2-40B4-BE49-F238E27FC236}">
                  <a16:creationId xmlns:a16="http://schemas.microsoft.com/office/drawing/2014/main" id="{BA326BA3-E1FE-4A3E-AE3D-4E61F745D645}"/>
                </a:ext>
              </a:extLst>
            </p:cNvPr>
            <p:cNvSpPr/>
            <p:nvPr/>
          </p:nvSpPr>
          <p:spPr>
            <a:xfrm rot="8716295">
              <a:off x="4509761" y="223610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5" name="Forme libre : forme 2394">
              <a:extLst>
                <a:ext uri="{FF2B5EF4-FFF2-40B4-BE49-F238E27FC236}">
                  <a16:creationId xmlns:a16="http://schemas.microsoft.com/office/drawing/2014/main" id="{8A46B46F-F0B1-417E-8C7A-6962AE3F21E6}"/>
                </a:ext>
              </a:extLst>
            </p:cNvPr>
            <p:cNvSpPr/>
            <p:nvPr/>
          </p:nvSpPr>
          <p:spPr>
            <a:xfrm rot="8716295">
              <a:off x="4687213" y="207685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6" name="Forme libre : forme 2395">
              <a:extLst>
                <a:ext uri="{FF2B5EF4-FFF2-40B4-BE49-F238E27FC236}">
                  <a16:creationId xmlns:a16="http://schemas.microsoft.com/office/drawing/2014/main" id="{C9994092-3035-4DD9-9E09-3BAFE682BCD7}"/>
                </a:ext>
              </a:extLst>
            </p:cNvPr>
            <p:cNvSpPr/>
            <p:nvPr/>
          </p:nvSpPr>
          <p:spPr>
            <a:xfrm rot="8716295">
              <a:off x="4365600" y="312362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7" name="Forme libre : forme 2396">
              <a:extLst>
                <a:ext uri="{FF2B5EF4-FFF2-40B4-BE49-F238E27FC236}">
                  <a16:creationId xmlns:a16="http://schemas.microsoft.com/office/drawing/2014/main" id="{AE33B394-B806-4A40-8CAA-93B4FF185583}"/>
                </a:ext>
              </a:extLst>
            </p:cNvPr>
            <p:cNvSpPr/>
            <p:nvPr/>
          </p:nvSpPr>
          <p:spPr>
            <a:xfrm rot="8716295">
              <a:off x="4454992" y="315286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8" name="Forme libre : forme 2397">
              <a:extLst>
                <a:ext uri="{FF2B5EF4-FFF2-40B4-BE49-F238E27FC236}">
                  <a16:creationId xmlns:a16="http://schemas.microsoft.com/office/drawing/2014/main" id="{E2E1CE7D-7E21-4BD0-BBC2-789A64762168}"/>
                </a:ext>
              </a:extLst>
            </p:cNvPr>
            <p:cNvSpPr/>
            <p:nvPr/>
          </p:nvSpPr>
          <p:spPr>
            <a:xfrm rot="8716295">
              <a:off x="4410142" y="306658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9" name="Forme libre : forme 2398">
              <a:extLst>
                <a:ext uri="{FF2B5EF4-FFF2-40B4-BE49-F238E27FC236}">
                  <a16:creationId xmlns:a16="http://schemas.microsoft.com/office/drawing/2014/main" id="{D750BA49-1FAF-4289-9C9E-5D6FD1245959}"/>
                </a:ext>
              </a:extLst>
            </p:cNvPr>
            <p:cNvSpPr/>
            <p:nvPr/>
          </p:nvSpPr>
          <p:spPr>
            <a:xfrm rot="8716295">
              <a:off x="4253366" y="321216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0" name="Forme libre : forme 2399">
              <a:extLst>
                <a:ext uri="{FF2B5EF4-FFF2-40B4-BE49-F238E27FC236}">
                  <a16:creationId xmlns:a16="http://schemas.microsoft.com/office/drawing/2014/main" id="{DE694502-8787-4DE5-AFA1-0F3754EC84F2}"/>
                </a:ext>
              </a:extLst>
            </p:cNvPr>
            <p:cNvSpPr/>
            <p:nvPr/>
          </p:nvSpPr>
          <p:spPr>
            <a:xfrm rot="8716295">
              <a:off x="4128463" y="300349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1" name="Forme libre : forme 2400">
              <a:extLst>
                <a:ext uri="{FF2B5EF4-FFF2-40B4-BE49-F238E27FC236}">
                  <a16:creationId xmlns:a16="http://schemas.microsoft.com/office/drawing/2014/main" id="{FDAB4DC0-8BEB-4DD5-9B59-3390B09A63B4}"/>
                </a:ext>
              </a:extLst>
            </p:cNvPr>
            <p:cNvSpPr/>
            <p:nvPr/>
          </p:nvSpPr>
          <p:spPr>
            <a:xfrm rot="8716295">
              <a:off x="4116411" y="286471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2" name="Forme libre : forme 2401">
              <a:extLst>
                <a:ext uri="{FF2B5EF4-FFF2-40B4-BE49-F238E27FC236}">
                  <a16:creationId xmlns:a16="http://schemas.microsoft.com/office/drawing/2014/main" id="{B005B092-A2D6-4E32-9BFF-715AB97C0245}"/>
                </a:ext>
              </a:extLst>
            </p:cNvPr>
            <p:cNvSpPr/>
            <p:nvPr/>
          </p:nvSpPr>
          <p:spPr>
            <a:xfrm rot="8716295">
              <a:off x="4343544" y="325311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3" name="Forme libre : forme 2402">
              <a:extLst>
                <a:ext uri="{FF2B5EF4-FFF2-40B4-BE49-F238E27FC236}">
                  <a16:creationId xmlns:a16="http://schemas.microsoft.com/office/drawing/2014/main" id="{045312D5-1496-48E9-BE7A-E83846AC9783}"/>
                </a:ext>
              </a:extLst>
            </p:cNvPr>
            <p:cNvSpPr/>
            <p:nvPr/>
          </p:nvSpPr>
          <p:spPr>
            <a:xfrm rot="8716295">
              <a:off x="4654699" y="287347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4" name="Forme libre : forme 2403">
              <a:extLst>
                <a:ext uri="{FF2B5EF4-FFF2-40B4-BE49-F238E27FC236}">
                  <a16:creationId xmlns:a16="http://schemas.microsoft.com/office/drawing/2014/main" id="{F44F3FDE-EE75-48FF-90E8-43EFECEA6BFA}"/>
                </a:ext>
              </a:extLst>
            </p:cNvPr>
            <p:cNvSpPr/>
            <p:nvPr/>
          </p:nvSpPr>
          <p:spPr>
            <a:xfrm rot="8716295">
              <a:off x="4744091" y="290271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5" name="Forme libre : forme 2404">
              <a:extLst>
                <a:ext uri="{FF2B5EF4-FFF2-40B4-BE49-F238E27FC236}">
                  <a16:creationId xmlns:a16="http://schemas.microsoft.com/office/drawing/2014/main" id="{183E0100-AB2A-459F-8CD6-B918AF817720}"/>
                </a:ext>
              </a:extLst>
            </p:cNvPr>
            <p:cNvSpPr/>
            <p:nvPr/>
          </p:nvSpPr>
          <p:spPr>
            <a:xfrm rot="8716295">
              <a:off x="4542465" y="296201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6" name="Forme libre : forme 2405">
              <a:extLst>
                <a:ext uri="{FF2B5EF4-FFF2-40B4-BE49-F238E27FC236}">
                  <a16:creationId xmlns:a16="http://schemas.microsoft.com/office/drawing/2014/main" id="{5AC6947B-430C-4683-99FD-17BA671C7FAF}"/>
                </a:ext>
              </a:extLst>
            </p:cNvPr>
            <p:cNvSpPr/>
            <p:nvPr/>
          </p:nvSpPr>
          <p:spPr>
            <a:xfrm rot="8716295">
              <a:off x="4417563" y="275334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7" name="Forme libre : forme 2406">
              <a:extLst>
                <a:ext uri="{FF2B5EF4-FFF2-40B4-BE49-F238E27FC236}">
                  <a16:creationId xmlns:a16="http://schemas.microsoft.com/office/drawing/2014/main" id="{23371782-A91B-45D7-9243-4F5347843B7B}"/>
                </a:ext>
              </a:extLst>
            </p:cNvPr>
            <p:cNvSpPr/>
            <p:nvPr/>
          </p:nvSpPr>
          <p:spPr>
            <a:xfrm rot="8716295">
              <a:off x="4632643" y="300296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8" name="Forme libre : forme 2407">
              <a:extLst>
                <a:ext uri="{FF2B5EF4-FFF2-40B4-BE49-F238E27FC236}">
                  <a16:creationId xmlns:a16="http://schemas.microsoft.com/office/drawing/2014/main" id="{9755E835-965C-456F-87FE-92F81A3E4A63}"/>
                </a:ext>
              </a:extLst>
            </p:cNvPr>
            <p:cNvSpPr/>
            <p:nvPr/>
          </p:nvSpPr>
          <p:spPr>
            <a:xfrm rot="8716295">
              <a:off x="4391192" y="285336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9" name="Forme libre : forme 2408">
              <a:extLst>
                <a:ext uri="{FF2B5EF4-FFF2-40B4-BE49-F238E27FC236}">
                  <a16:creationId xmlns:a16="http://schemas.microsoft.com/office/drawing/2014/main" id="{C97A8178-02BF-4D6E-B4BD-592A2261203E}"/>
                </a:ext>
              </a:extLst>
            </p:cNvPr>
            <p:cNvSpPr/>
            <p:nvPr/>
          </p:nvSpPr>
          <p:spPr>
            <a:xfrm rot="7484129">
              <a:off x="4737574" y="319431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0" name="Forme libre : forme 2409">
              <a:extLst>
                <a:ext uri="{FF2B5EF4-FFF2-40B4-BE49-F238E27FC236}">
                  <a16:creationId xmlns:a16="http://schemas.microsoft.com/office/drawing/2014/main" id="{75E989AC-861F-445B-8523-87947D58BA59}"/>
                </a:ext>
              </a:extLst>
            </p:cNvPr>
            <p:cNvSpPr/>
            <p:nvPr/>
          </p:nvSpPr>
          <p:spPr>
            <a:xfrm rot="13089394">
              <a:off x="4842394" y="316085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1" name="Forme libre : forme 2410">
              <a:extLst>
                <a:ext uri="{FF2B5EF4-FFF2-40B4-BE49-F238E27FC236}">
                  <a16:creationId xmlns:a16="http://schemas.microsoft.com/office/drawing/2014/main" id="{8D82D2F1-5E32-4A31-B12C-8D7D976DCEFE}"/>
                </a:ext>
              </a:extLst>
            </p:cNvPr>
            <p:cNvSpPr/>
            <p:nvPr/>
          </p:nvSpPr>
          <p:spPr>
            <a:xfrm rot="8716295">
              <a:off x="5027979" y="296917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2" name="Forme libre : forme 2411">
              <a:extLst>
                <a:ext uri="{FF2B5EF4-FFF2-40B4-BE49-F238E27FC236}">
                  <a16:creationId xmlns:a16="http://schemas.microsoft.com/office/drawing/2014/main" id="{B13D46FD-93AC-45F4-9A10-E97DA44D8E6F}"/>
                </a:ext>
              </a:extLst>
            </p:cNvPr>
            <p:cNvSpPr/>
            <p:nvPr/>
          </p:nvSpPr>
          <p:spPr>
            <a:xfrm rot="8716295">
              <a:off x="4976174" y="286557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3" name="Forme libre : forme 2412">
              <a:extLst>
                <a:ext uri="{FF2B5EF4-FFF2-40B4-BE49-F238E27FC236}">
                  <a16:creationId xmlns:a16="http://schemas.microsoft.com/office/drawing/2014/main" id="{60E925F5-AA66-479A-8E63-2C1F069A7D43}"/>
                </a:ext>
              </a:extLst>
            </p:cNvPr>
            <p:cNvSpPr/>
            <p:nvPr/>
          </p:nvSpPr>
          <p:spPr>
            <a:xfrm rot="8716295">
              <a:off x="4732928" y="289579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4" name="Forme libre : forme 2413">
              <a:extLst>
                <a:ext uri="{FF2B5EF4-FFF2-40B4-BE49-F238E27FC236}">
                  <a16:creationId xmlns:a16="http://schemas.microsoft.com/office/drawing/2014/main" id="{080B48A7-A1B1-41BD-94B6-9C452E91624E}"/>
                </a:ext>
              </a:extLst>
            </p:cNvPr>
            <p:cNvSpPr/>
            <p:nvPr/>
          </p:nvSpPr>
          <p:spPr>
            <a:xfrm rot="8716295">
              <a:off x="4910380" y="273655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5" name="Forme libre : forme 2414">
              <a:extLst>
                <a:ext uri="{FF2B5EF4-FFF2-40B4-BE49-F238E27FC236}">
                  <a16:creationId xmlns:a16="http://schemas.microsoft.com/office/drawing/2014/main" id="{0674948B-A68F-42F0-B732-9AA4AFE7D76F}"/>
                </a:ext>
              </a:extLst>
            </p:cNvPr>
            <p:cNvSpPr/>
            <p:nvPr/>
          </p:nvSpPr>
          <p:spPr>
            <a:xfrm rot="8716295">
              <a:off x="5092983" y="5038194"/>
              <a:ext cx="153591" cy="101571"/>
            </a:xfrm>
            <a:custGeom>
              <a:avLst/>
              <a:gdLst>
                <a:gd name="connsiteX0" fmla="*/ 5923 w 153591"/>
                <a:gd name="connsiteY0" fmla="*/ 101571 h 101571"/>
                <a:gd name="connsiteX1" fmla="*/ 0 w 153591"/>
                <a:gd name="connsiteY1" fmla="*/ 93369 h 101571"/>
                <a:gd name="connsiteX2" fmla="*/ 99231 w 153591"/>
                <a:gd name="connsiteY2" fmla="*/ 0 h 101571"/>
                <a:gd name="connsiteX3" fmla="*/ 153591 w 153591"/>
                <a:gd name="connsiteY3" fmla="*/ 37681 h 101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3591" h="101571">
                  <a:moveTo>
                    <a:pt x="5923" y="101571"/>
                  </a:moveTo>
                  <a:lnTo>
                    <a:pt x="0" y="93369"/>
                  </a:lnTo>
                  <a:lnTo>
                    <a:pt x="99231" y="0"/>
                  </a:lnTo>
                  <a:lnTo>
                    <a:pt x="153591" y="3768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6" name="Forme libre : forme 2415">
              <a:extLst>
                <a:ext uri="{FF2B5EF4-FFF2-40B4-BE49-F238E27FC236}">
                  <a16:creationId xmlns:a16="http://schemas.microsoft.com/office/drawing/2014/main" id="{12A1F00F-33E4-4350-8E47-D86011A73F70}"/>
                </a:ext>
              </a:extLst>
            </p:cNvPr>
            <p:cNvSpPr/>
            <p:nvPr/>
          </p:nvSpPr>
          <p:spPr>
            <a:xfrm rot="8716295">
              <a:off x="4835281" y="4967476"/>
              <a:ext cx="151182" cy="195874"/>
            </a:xfrm>
            <a:custGeom>
              <a:avLst/>
              <a:gdLst>
                <a:gd name="connsiteX0" fmla="*/ 90709 w 151182"/>
                <a:gd name="connsiteY0" fmla="*/ 195874 h 195874"/>
                <a:gd name="connsiteX1" fmla="*/ 47847 w 151182"/>
                <a:gd name="connsiteY1" fmla="*/ 116129 h 195874"/>
                <a:gd name="connsiteX2" fmla="*/ 69777 w 151182"/>
                <a:gd name="connsiteY2" fmla="*/ 55323 h 195874"/>
                <a:gd name="connsiteX3" fmla="*/ 0 w 151182"/>
                <a:gd name="connsiteY3" fmla="*/ 55323 h 195874"/>
                <a:gd name="connsiteX4" fmla="*/ 0 w 151182"/>
                <a:gd name="connsiteY4" fmla="*/ 0 h 195874"/>
                <a:gd name="connsiteX5" fmla="*/ 71369 w 151182"/>
                <a:gd name="connsiteY5" fmla="*/ 0 h 195874"/>
                <a:gd name="connsiteX6" fmla="*/ 151182 w 151182"/>
                <a:gd name="connsiteY6" fmla="*/ 55323 h 195874"/>
                <a:gd name="connsiteX7" fmla="*/ 139055 w 151182"/>
                <a:gd name="connsiteY7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1182" h="195874">
                  <a:moveTo>
                    <a:pt x="90709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71369" y="0"/>
                  </a:lnTo>
                  <a:lnTo>
                    <a:pt x="151182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7" name="Forme libre : forme 2416">
              <a:extLst>
                <a:ext uri="{FF2B5EF4-FFF2-40B4-BE49-F238E27FC236}">
                  <a16:creationId xmlns:a16="http://schemas.microsoft.com/office/drawing/2014/main" id="{DC1C692C-2D66-4299-8775-AC821C8B995E}"/>
                </a:ext>
              </a:extLst>
            </p:cNvPr>
            <p:cNvSpPr/>
            <p:nvPr/>
          </p:nvSpPr>
          <p:spPr>
            <a:xfrm rot="8716295">
              <a:off x="4779766" y="484378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8" name="Forme libre : forme 2417">
              <a:extLst>
                <a:ext uri="{FF2B5EF4-FFF2-40B4-BE49-F238E27FC236}">
                  <a16:creationId xmlns:a16="http://schemas.microsoft.com/office/drawing/2014/main" id="{E6D77D73-3B42-4B2B-93BD-3B3DC93A2BC2}"/>
                </a:ext>
              </a:extLst>
            </p:cNvPr>
            <p:cNvSpPr/>
            <p:nvPr/>
          </p:nvSpPr>
          <p:spPr>
            <a:xfrm rot="8716295">
              <a:off x="5318054" y="485254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9" name="Forme libre : forme 2418">
              <a:extLst>
                <a:ext uri="{FF2B5EF4-FFF2-40B4-BE49-F238E27FC236}">
                  <a16:creationId xmlns:a16="http://schemas.microsoft.com/office/drawing/2014/main" id="{8B7FAF70-1022-4D25-AC9C-9716E663F64F}"/>
                </a:ext>
              </a:extLst>
            </p:cNvPr>
            <p:cNvSpPr/>
            <p:nvPr/>
          </p:nvSpPr>
          <p:spPr>
            <a:xfrm rot="8716295">
              <a:off x="5407622" y="4885251"/>
              <a:ext cx="236069" cy="254774"/>
            </a:xfrm>
            <a:custGeom>
              <a:avLst/>
              <a:gdLst>
                <a:gd name="connsiteX0" fmla="*/ 26920 w 236069"/>
                <a:gd name="connsiteY0" fmla="*/ 254774 h 254774"/>
                <a:gd name="connsiteX1" fmla="*/ 26920 w 236069"/>
                <a:gd name="connsiteY1" fmla="*/ 45624 h 254774"/>
                <a:gd name="connsiteX2" fmla="*/ 0 w 236069"/>
                <a:gd name="connsiteY2" fmla="*/ 45624 h 254774"/>
                <a:gd name="connsiteX3" fmla="*/ 36558 w 236069"/>
                <a:gd name="connsiteY3" fmla="*/ 1425 h 254774"/>
                <a:gd name="connsiteX4" fmla="*/ 80233 w 236069"/>
                <a:gd name="connsiteY4" fmla="*/ 1425 h 254774"/>
                <a:gd name="connsiteX5" fmla="*/ 80233 w 236069"/>
                <a:gd name="connsiteY5" fmla="*/ 75242 h 254774"/>
                <a:gd name="connsiteX6" fmla="*/ 81599 w 236069"/>
                <a:gd name="connsiteY6" fmla="*/ 75242 h 254774"/>
                <a:gd name="connsiteX7" fmla="*/ 129444 w 236069"/>
                <a:gd name="connsiteY7" fmla="*/ 5981 h 254774"/>
                <a:gd name="connsiteX8" fmla="*/ 160885 w 236069"/>
                <a:gd name="connsiteY8" fmla="*/ 57 h 254774"/>
                <a:gd name="connsiteX9" fmla="*/ 165106 w 236069"/>
                <a:gd name="connsiteY9" fmla="*/ 791 h 254774"/>
                <a:gd name="connsiteX10" fmla="*/ 227336 w 236069"/>
                <a:gd name="connsiteY10" fmla="*/ 43927 h 254774"/>
                <a:gd name="connsiteX11" fmla="*/ 230922 w 236069"/>
                <a:gd name="connsiteY11" fmla="*/ 50679 h 254774"/>
                <a:gd name="connsiteX12" fmla="*/ 236069 w 236069"/>
                <a:gd name="connsiteY12" fmla="*/ 88456 h 254774"/>
                <a:gd name="connsiteX13" fmla="*/ 236069 w 236069"/>
                <a:gd name="connsiteY13" fmla="*/ 94380 h 254774"/>
                <a:gd name="connsiteX14" fmla="*/ 174099 w 236069"/>
                <a:gd name="connsiteY14" fmla="*/ 98025 h 254774"/>
                <a:gd name="connsiteX15" fmla="*/ 174099 w 236069"/>
                <a:gd name="connsiteY15" fmla="*/ 81621 h 254774"/>
                <a:gd name="connsiteX16" fmla="*/ 140380 w 236069"/>
                <a:gd name="connsiteY16" fmla="*/ 40156 h 254774"/>
                <a:gd name="connsiteX17" fmla="*/ 87068 w 236069"/>
                <a:gd name="connsiteY17" fmla="*/ 127643 h 254774"/>
                <a:gd name="connsiteX18" fmla="*/ 87068 w 236069"/>
                <a:gd name="connsiteY18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36069" h="254774">
                  <a:moveTo>
                    <a:pt x="26920" y="254774"/>
                  </a:moveTo>
                  <a:lnTo>
                    <a:pt x="26920" y="45624"/>
                  </a:lnTo>
                  <a:lnTo>
                    <a:pt x="0" y="45624"/>
                  </a:lnTo>
                  <a:lnTo>
                    <a:pt x="36558" y="1425"/>
                  </a:lnTo>
                  <a:lnTo>
                    <a:pt x="80233" y="1425"/>
                  </a:lnTo>
                  <a:lnTo>
                    <a:pt x="80233" y="75242"/>
                  </a:lnTo>
                  <a:lnTo>
                    <a:pt x="81599" y="75242"/>
                  </a:lnTo>
                  <a:cubicBezTo>
                    <a:pt x="96181" y="31954"/>
                    <a:pt x="107572" y="15095"/>
                    <a:pt x="129444" y="5981"/>
                  </a:cubicBezTo>
                  <a:cubicBezTo>
                    <a:pt x="139469" y="1880"/>
                    <a:pt x="149949" y="-398"/>
                    <a:pt x="160885" y="57"/>
                  </a:cubicBezTo>
                  <a:lnTo>
                    <a:pt x="165106" y="791"/>
                  </a:lnTo>
                  <a:lnTo>
                    <a:pt x="227336" y="43927"/>
                  </a:lnTo>
                  <a:lnTo>
                    <a:pt x="230922" y="50679"/>
                  </a:lnTo>
                  <a:cubicBezTo>
                    <a:pt x="234303" y="61686"/>
                    <a:pt x="236069" y="74331"/>
                    <a:pt x="236069" y="88456"/>
                  </a:cubicBezTo>
                  <a:lnTo>
                    <a:pt x="236069" y="94380"/>
                  </a:lnTo>
                  <a:lnTo>
                    <a:pt x="174099" y="98025"/>
                  </a:lnTo>
                  <a:lnTo>
                    <a:pt x="174099" y="81621"/>
                  </a:lnTo>
                  <a:cubicBezTo>
                    <a:pt x="174099" y="57016"/>
                    <a:pt x="159974" y="40156"/>
                    <a:pt x="140380" y="40156"/>
                  </a:cubicBezTo>
                  <a:cubicBezTo>
                    <a:pt x="111218" y="40156"/>
                    <a:pt x="87068" y="78887"/>
                    <a:pt x="87068" y="127643"/>
                  </a:cubicBezTo>
                  <a:lnTo>
                    <a:pt x="87068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0" name="Forme libre : forme 2419">
              <a:extLst>
                <a:ext uri="{FF2B5EF4-FFF2-40B4-BE49-F238E27FC236}">
                  <a16:creationId xmlns:a16="http://schemas.microsoft.com/office/drawing/2014/main" id="{27602E58-FD35-4CD6-BDF7-ECF90C52F91B}"/>
                </a:ext>
              </a:extLst>
            </p:cNvPr>
            <p:cNvSpPr/>
            <p:nvPr/>
          </p:nvSpPr>
          <p:spPr>
            <a:xfrm rot="8716295">
              <a:off x="5205820" y="494108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1" name="Forme libre : forme 2420">
              <a:extLst>
                <a:ext uri="{FF2B5EF4-FFF2-40B4-BE49-F238E27FC236}">
                  <a16:creationId xmlns:a16="http://schemas.microsoft.com/office/drawing/2014/main" id="{CBCC54CA-829A-46B5-B9CA-D3D424638857}"/>
                </a:ext>
              </a:extLst>
            </p:cNvPr>
            <p:cNvSpPr/>
            <p:nvPr/>
          </p:nvSpPr>
          <p:spPr>
            <a:xfrm rot="8716295">
              <a:off x="5080918" y="473241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2" name="Forme libre : forme 2421">
              <a:extLst>
                <a:ext uri="{FF2B5EF4-FFF2-40B4-BE49-F238E27FC236}">
                  <a16:creationId xmlns:a16="http://schemas.microsoft.com/office/drawing/2014/main" id="{9CF4BAC4-4A9A-4E71-B1AD-94CDB63497C4}"/>
                </a:ext>
              </a:extLst>
            </p:cNvPr>
            <p:cNvSpPr/>
            <p:nvPr/>
          </p:nvSpPr>
          <p:spPr>
            <a:xfrm rot="8716295">
              <a:off x="5289767" y="4983528"/>
              <a:ext cx="103436" cy="207956"/>
            </a:xfrm>
            <a:custGeom>
              <a:avLst/>
              <a:gdLst>
                <a:gd name="connsiteX0" fmla="*/ 0 w 103436"/>
                <a:gd name="connsiteY0" fmla="*/ 5185 h 207956"/>
                <a:gd name="connsiteX1" fmla="*/ 0 w 103436"/>
                <a:gd name="connsiteY1" fmla="*/ 0 h 207956"/>
                <a:gd name="connsiteX2" fmla="*/ 7480 w 103436"/>
                <a:gd name="connsiteY2" fmla="*/ 5185 h 207956"/>
                <a:gd name="connsiteX3" fmla="*/ 103436 w 103436"/>
                <a:gd name="connsiteY3" fmla="*/ 207956 h 207956"/>
                <a:gd name="connsiteX4" fmla="*/ 43288 w 103436"/>
                <a:gd name="connsiteY4" fmla="*/ 150086 h 207956"/>
                <a:gd name="connsiteX5" fmla="*/ 43288 w 103436"/>
                <a:gd name="connsiteY5" fmla="*/ 30006 h 207956"/>
                <a:gd name="connsiteX6" fmla="*/ 103435 w 103436"/>
                <a:gd name="connsiteY6" fmla="*/ 71698 h 207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6" h="207956">
                  <a:moveTo>
                    <a:pt x="0" y="5185"/>
                  </a:moveTo>
                  <a:lnTo>
                    <a:pt x="0" y="0"/>
                  </a:lnTo>
                  <a:lnTo>
                    <a:pt x="7480" y="5185"/>
                  </a:lnTo>
                  <a:close/>
                  <a:moveTo>
                    <a:pt x="103436" y="207956"/>
                  </a:moveTo>
                  <a:lnTo>
                    <a:pt x="43288" y="150086"/>
                  </a:lnTo>
                  <a:lnTo>
                    <a:pt x="43288" y="30006"/>
                  </a:lnTo>
                  <a:lnTo>
                    <a:pt x="103435" y="716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3" name="Forme libre : forme 2422">
              <a:extLst>
                <a:ext uri="{FF2B5EF4-FFF2-40B4-BE49-F238E27FC236}">
                  <a16:creationId xmlns:a16="http://schemas.microsoft.com/office/drawing/2014/main" id="{58B97AE7-4DDA-4D02-8FCA-6E107A3309C6}"/>
                </a:ext>
              </a:extLst>
            </p:cNvPr>
            <p:cNvSpPr/>
            <p:nvPr/>
          </p:nvSpPr>
          <p:spPr>
            <a:xfrm rot="8716295">
              <a:off x="5054547" y="483243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4" name="Forme libre : forme 2423">
              <a:extLst>
                <a:ext uri="{FF2B5EF4-FFF2-40B4-BE49-F238E27FC236}">
                  <a16:creationId xmlns:a16="http://schemas.microsoft.com/office/drawing/2014/main" id="{FE870BF4-A4A5-4432-957C-57DF976F1501}"/>
                </a:ext>
              </a:extLst>
            </p:cNvPr>
            <p:cNvSpPr/>
            <p:nvPr/>
          </p:nvSpPr>
          <p:spPr>
            <a:xfrm rot="8716295">
              <a:off x="5627351" y="4851308"/>
              <a:ext cx="84852" cy="94931"/>
            </a:xfrm>
            <a:custGeom>
              <a:avLst/>
              <a:gdLst>
                <a:gd name="connsiteX0" fmla="*/ 0 w 84852"/>
                <a:gd name="connsiteY0" fmla="*/ 84445 h 94931"/>
                <a:gd name="connsiteX1" fmla="*/ 69845 w 84852"/>
                <a:gd name="connsiteY1" fmla="*/ 0 h 94931"/>
                <a:gd name="connsiteX2" fmla="*/ 84852 w 84852"/>
                <a:gd name="connsiteY2" fmla="*/ 35717 h 94931"/>
                <a:gd name="connsiteX3" fmla="*/ 67606 w 84852"/>
                <a:gd name="connsiteY3" fmla="*/ 77454 h 94931"/>
                <a:gd name="connsiteX4" fmla="*/ 26212 w 84852"/>
                <a:gd name="connsiteY4" fmla="*/ 94931 h 9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852" h="94931">
                  <a:moveTo>
                    <a:pt x="0" y="84445"/>
                  </a:moveTo>
                  <a:lnTo>
                    <a:pt x="69845" y="0"/>
                  </a:lnTo>
                  <a:lnTo>
                    <a:pt x="84852" y="35717"/>
                  </a:lnTo>
                  <a:cubicBezTo>
                    <a:pt x="84852" y="50779"/>
                    <a:pt x="79103" y="65956"/>
                    <a:pt x="67606" y="77454"/>
                  </a:cubicBezTo>
                  <a:cubicBezTo>
                    <a:pt x="56567" y="88492"/>
                    <a:pt x="41850" y="94930"/>
                    <a:pt x="26212" y="9493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5" name="Forme libre : forme 2424">
              <a:extLst>
                <a:ext uri="{FF2B5EF4-FFF2-40B4-BE49-F238E27FC236}">
                  <a16:creationId xmlns:a16="http://schemas.microsoft.com/office/drawing/2014/main" id="{D607EAB3-59AD-4F41-8791-D545B48F2ACD}"/>
                </a:ext>
              </a:extLst>
            </p:cNvPr>
            <p:cNvSpPr/>
            <p:nvPr/>
          </p:nvSpPr>
          <p:spPr>
            <a:xfrm rot="8716295">
              <a:off x="5396283" y="487486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6" name="Forme libre : forme 2425">
              <a:extLst>
                <a:ext uri="{FF2B5EF4-FFF2-40B4-BE49-F238E27FC236}">
                  <a16:creationId xmlns:a16="http://schemas.microsoft.com/office/drawing/2014/main" id="{3495DB46-32FD-4610-BD6C-D77CD1DF61F5}"/>
                </a:ext>
              </a:extLst>
            </p:cNvPr>
            <p:cNvSpPr/>
            <p:nvPr/>
          </p:nvSpPr>
          <p:spPr>
            <a:xfrm rot="8716295">
              <a:off x="5573735" y="47156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7" name="Forme libre : forme 2426">
              <a:extLst>
                <a:ext uri="{FF2B5EF4-FFF2-40B4-BE49-F238E27FC236}">
                  <a16:creationId xmlns:a16="http://schemas.microsoft.com/office/drawing/2014/main" id="{01864176-04A7-44D1-983B-1731250E407D}"/>
                </a:ext>
              </a:extLst>
            </p:cNvPr>
            <p:cNvSpPr/>
            <p:nvPr/>
          </p:nvSpPr>
          <p:spPr>
            <a:xfrm rot="8716295">
              <a:off x="4584270" y="378201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8" name="Forme libre : forme 2427">
              <a:extLst>
                <a:ext uri="{FF2B5EF4-FFF2-40B4-BE49-F238E27FC236}">
                  <a16:creationId xmlns:a16="http://schemas.microsoft.com/office/drawing/2014/main" id="{EED535F0-5180-4A4A-8891-7B62A3620DCB}"/>
                </a:ext>
              </a:extLst>
            </p:cNvPr>
            <p:cNvSpPr/>
            <p:nvPr/>
          </p:nvSpPr>
          <p:spPr>
            <a:xfrm rot="8716295">
              <a:off x="4673662" y="381126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9" name="Forme libre : forme 2428">
              <a:extLst>
                <a:ext uri="{FF2B5EF4-FFF2-40B4-BE49-F238E27FC236}">
                  <a16:creationId xmlns:a16="http://schemas.microsoft.com/office/drawing/2014/main" id="{57308AA9-0745-47A5-BC96-5FDF43BB9731}"/>
                </a:ext>
              </a:extLst>
            </p:cNvPr>
            <p:cNvSpPr/>
            <p:nvPr/>
          </p:nvSpPr>
          <p:spPr>
            <a:xfrm rot="8716295">
              <a:off x="4628812" y="3724981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0" name="Forme libre : forme 2429">
              <a:extLst>
                <a:ext uri="{FF2B5EF4-FFF2-40B4-BE49-F238E27FC236}">
                  <a16:creationId xmlns:a16="http://schemas.microsoft.com/office/drawing/2014/main" id="{920DA668-7019-4B80-96A3-4CE3AC64C7BE}"/>
                </a:ext>
              </a:extLst>
            </p:cNvPr>
            <p:cNvSpPr/>
            <p:nvPr/>
          </p:nvSpPr>
          <p:spPr>
            <a:xfrm rot="8716295">
              <a:off x="4472036" y="387056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1" name="Forme libre : forme 2430">
              <a:extLst>
                <a:ext uri="{FF2B5EF4-FFF2-40B4-BE49-F238E27FC236}">
                  <a16:creationId xmlns:a16="http://schemas.microsoft.com/office/drawing/2014/main" id="{031F0637-BE20-4832-B0CA-C99FB5A3149A}"/>
                </a:ext>
              </a:extLst>
            </p:cNvPr>
            <p:cNvSpPr/>
            <p:nvPr/>
          </p:nvSpPr>
          <p:spPr>
            <a:xfrm rot="8716295">
              <a:off x="4347133" y="366189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2" name="Forme libre : forme 2431">
              <a:extLst>
                <a:ext uri="{FF2B5EF4-FFF2-40B4-BE49-F238E27FC236}">
                  <a16:creationId xmlns:a16="http://schemas.microsoft.com/office/drawing/2014/main" id="{84ECF88F-D69F-4F47-ABE5-CFC7EA46DECA}"/>
                </a:ext>
              </a:extLst>
            </p:cNvPr>
            <p:cNvSpPr/>
            <p:nvPr/>
          </p:nvSpPr>
          <p:spPr>
            <a:xfrm rot="8716295">
              <a:off x="4335081" y="3523110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3" name="Forme libre : forme 2432">
              <a:extLst>
                <a:ext uri="{FF2B5EF4-FFF2-40B4-BE49-F238E27FC236}">
                  <a16:creationId xmlns:a16="http://schemas.microsoft.com/office/drawing/2014/main" id="{6CB6C353-AD91-46A6-A469-888E29AF2E49}"/>
                </a:ext>
              </a:extLst>
            </p:cNvPr>
            <p:cNvSpPr/>
            <p:nvPr/>
          </p:nvSpPr>
          <p:spPr>
            <a:xfrm rot="8716295">
              <a:off x="4562214" y="391151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4" name="Forme libre : forme 2433">
              <a:extLst>
                <a:ext uri="{FF2B5EF4-FFF2-40B4-BE49-F238E27FC236}">
                  <a16:creationId xmlns:a16="http://schemas.microsoft.com/office/drawing/2014/main" id="{086DBEB9-E578-4638-AD75-34C69245EF71}"/>
                </a:ext>
              </a:extLst>
            </p:cNvPr>
            <p:cNvSpPr/>
            <p:nvPr/>
          </p:nvSpPr>
          <p:spPr>
            <a:xfrm rot="8716295">
              <a:off x="4873369" y="353186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5" name="Forme libre : forme 2434">
              <a:extLst>
                <a:ext uri="{FF2B5EF4-FFF2-40B4-BE49-F238E27FC236}">
                  <a16:creationId xmlns:a16="http://schemas.microsoft.com/office/drawing/2014/main" id="{7B21A58F-E2F0-4215-B832-76E40C5DF8E5}"/>
                </a:ext>
              </a:extLst>
            </p:cNvPr>
            <p:cNvSpPr/>
            <p:nvPr/>
          </p:nvSpPr>
          <p:spPr>
            <a:xfrm rot="8716295">
              <a:off x="4962761" y="356110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6" name="Forme libre : forme 2435">
              <a:extLst>
                <a:ext uri="{FF2B5EF4-FFF2-40B4-BE49-F238E27FC236}">
                  <a16:creationId xmlns:a16="http://schemas.microsoft.com/office/drawing/2014/main" id="{45DD574A-1455-493E-80D8-5C0865892844}"/>
                </a:ext>
              </a:extLst>
            </p:cNvPr>
            <p:cNvSpPr/>
            <p:nvPr/>
          </p:nvSpPr>
          <p:spPr>
            <a:xfrm rot="8716295">
              <a:off x="4761135" y="362041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7" name="Forme libre : forme 2436">
              <a:extLst>
                <a:ext uri="{FF2B5EF4-FFF2-40B4-BE49-F238E27FC236}">
                  <a16:creationId xmlns:a16="http://schemas.microsoft.com/office/drawing/2014/main" id="{9402EDF4-6162-47B1-856E-512271BA1E2D}"/>
                </a:ext>
              </a:extLst>
            </p:cNvPr>
            <p:cNvSpPr/>
            <p:nvPr/>
          </p:nvSpPr>
          <p:spPr>
            <a:xfrm rot="8716295">
              <a:off x="4636233" y="341173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8" name="Forme libre : forme 2437">
              <a:extLst>
                <a:ext uri="{FF2B5EF4-FFF2-40B4-BE49-F238E27FC236}">
                  <a16:creationId xmlns:a16="http://schemas.microsoft.com/office/drawing/2014/main" id="{92FD67F1-1911-46B7-864C-A8340E98AEB9}"/>
                </a:ext>
              </a:extLst>
            </p:cNvPr>
            <p:cNvSpPr/>
            <p:nvPr/>
          </p:nvSpPr>
          <p:spPr>
            <a:xfrm rot="8716295">
              <a:off x="4851313" y="3661363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9" name="Forme libre : forme 2438">
              <a:extLst>
                <a:ext uri="{FF2B5EF4-FFF2-40B4-BE49-F238E27FC236}">
                  <a16:creationId xmlns:a16="http://schemas.microsoft.com/office/drawing/2014/main" id="{C0A8B3AB-0A14-466D-B633-33FF584D9D1A}"/>
                </a:ext>
              </a:extLst>
            </p:cNvPr>
            <p:cNvSpPr/>
            <p:nvPr/>
          </p:nvSpPr>
          <p:spPr>
            <a:xfrm rot="8716295">
              <a:off x="4609862" y="3511763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0" name="Forme libre : forme 2439">
              <a:extLst>
                <a:ext uri="{FF2B5EF4-FFF2-40B4-BE49-F238E27FC236}">
                  <a16:creationId xmlns:a16="http://schemas.microsoft.com/office/drawing/2014/main" id="{8537EA03-2CBB-4A82-BFA6-AA68754EFED7}"/>
                </a:ext>
              </a:extLst>
            </p:cNvPr>
            <p:cNvSpPr/>
            <p:nvPr/>
          </p:nvSpPr>
          <p:spPr>
            <a:xfrm rot="7484129">
              <a:off x="4956244" y="385271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1" name="Forme libre : forme 2440">
              <a:extLst>
                <a:ext uri="{FF2B5EF4-FFF2-40B4-BE49-F238E27FC236}">
                  <a16:creationId xmlns:a16="http://schemas.microsoft.com/office/drawing/2014/main" id="{9FFC3DC7-61CE-4979-B4C8-8711407C365B}"/>
                </a:ext>
              </a:extLst>
            </p:cNvPr>
            <p:cNvSpPr/>
            <p:nvPr/>
          </p:nvSpPr>
          <p:spPr>
            <a:xfrm rot="13089394">
              <a:off x="5061064" y="3819248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2" name="Forme libre : forme 2441">
              <a:extLst>
                <a:ext uri="{FF2B5EF4-FFF2-40B4-BE49-F238E27FC236}">
                  <a16:creationId xmlns:a16="http://schemas.microsoft.com/office/drawing/2014/main" id="{F52A3804-13E8-47E1-A267-8A4C6268610A}"/>
                </a:ext>
              </a:extLst>
            </p:cNvPr>
            <p:cNvSpPr/>
            <p:nvPr/>
          </p:nvSpPr>
          <p:spPr>
            <a:xfrm rot="8716295">
              <a:off x="5246649" y="3627567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3" name="Forme libre : forme 2442">
              <a:extLst>
                <a:ext uri="{FF2B5EF4-FFF2-40B4-BE49-F238E27FC236}">
                  <a16:creationId xmlns:a16="http://schemas.microsoft.com/office/drawing/2014/main" id="{DDD8FF0F-2CB2-46E4-B8C1-EC42199A0229}"/>
                </a:ext>
              </a:extLst>
            </p:cNvPr>
            <p:cNvSpPr/>
            <p:nvPr/>
          </p:nvSpPr>
          <p:spPr>
            <a:xfrm rot="8716295">
              <a:off x="5194844" y="352397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4" name="Forme libre : forme 2443">
              <a:extLst>
                <a:ext uri="{FF2B5EF4-FFF2-40B4-BE49-F238E27FC236}">
                  <a16:creationId xmlns:a16="http://schemas.microsoft.com/office/drawing/2014/main" id="{D8E94A73-AA06-4842-9947-539561E205B2}"/>
                </a:ext>
              </a:extLst>
            </p:cNvPr>
            <p:cNvSpPr/>
            <p:nvPr/>
          </p:nvSpPr>
          <p:spPr>
            <a:xfrm rot="8716295">
              <a:off x="4951598" y="355419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5" name="Forme libre : forme 2444">
              <a:extLst>
                <a:ext uri="{FF2B5EF4-FFF2-40B4-BE49-F238E27FC236}">
                  <a16:creationId xmlns:a16="http://schemas.microsoft.com/office/drawing/2014/main" id="{EDBB5EF8-DA90-40F3-98D1-1E640FBD7E9A}"/>
                </a:ext>
              </a:extLst>
            </p:cNvPr>
            <p:cNvSpPr/>
            <p:nvPr/>
          </p:nvSpPr>
          <p:spPr>
            <a:xfrm rot="8716295">
              <a:off x="5129050" y="339495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6" name="Forme libre : forme 2445">
              <a:extLst>
                <a:ext uri="{FF2B5EF4-FFF2-40B4-BE49-F238E27FC236}">
                  <a16:creationId xmlns:a16="http://schemas.microsoft.com/office/drawing/2014/main" id="{D8A526B0-68DE-481E-985D-671F87C10402}"/>
                </a:ext>
              </a:extLst>
            </p:cNvPr>
            <p:cNvSpPr/>
            <p:nvPr/>
          </p:nvSpPr>
          <p:spPr>
            <a:xfrm rot="8716295">
              <a:off x="4807437" y="44417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7" name="Forme libre : forme 2446">
              <a:extLst>
                <a:ext uri="{FF2B5EF4-FFF2-40B4-BE49-F238E27FC236}">
                  <a16:creationId xmlns:a16="http://schemas.microsoft.com/office/drawing/2014/main" id="{DB9E94CC-D6D4-4918-9EB1-055582451735}"/>
                </a:ext>
              </a:extLst>
            </p:cNvPr>
            <p:cNvSpPr/>
            <p:nvPr/>
          </p:nvSpPr>
          <p:spPr>
            <a:xfrm rot="8716295">
              <a:off x="4896829" y="44709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8" name="Forme libre : forme 2447">
              <a:extLst>
                <a:ext uri="{FF2B5EF4-FFF2-40B4-BE49-F238E27FC236}">
                  <a16:creationId xmlns:a16="http://schemas.microsoft.com/office/drawing/2014/main" id="{EC9EC492-D2DC-4705-B9B5-2FDDE3722E25}"/>
                </a:ext>
              </a:extLst>
            </p:cNvPr>
            <p:cNvSpPr/>
            <p:nvPr/>
          </p:nvSpPr>
          <p:spPr>
            <a:xfrm rot="8716295">
              <a:off x="4851979" y="438468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9" name="Forme libre : forme 2448">
              <a:extLst>
                <a:ext uri="{FF2B5EF4-FFF2-40B4-BE49-F238E27FC236}">
                  <a16:creationId xmlns:a16="http://schemas.microsoft.com/office/drawing/2014/main" id="{D5A473EB-0A13-41A3-B50C-E84513EDE777}"/>
                </a:ext>
              </a:extLst>
            </p:cNvPr>
            <p:cNvSpPr/>
            <p:nvPr/>
          </p:nvSpPr>
          <p:spPr>
            <a:xfrm rot="8716295">
              <a:off x="4695203" y="453026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0" name="Forme libre : forme 2449">
              <a:extLst>
                <a:ext uri="{FF2B5EF4-FFF2-40B4-BE49-F238E27FC236}">
                  <a16:creationId xmlns:a16="http://schemas.microsoft.com/office/drawing/2014/main" id="{28534207-0B01-4D67-8256-639FD0A19A07}"/>
                </a:ext>
              </a:extLst>
            </p:cNvPr>
            <p:cNvSpPr/>
            <p:nvPr/>
          </p:nvSpPr>
          <p:spPr>
            <a:xfrm rot="8716295">
              <a:off x="4570300" y="432158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1" name="Forme libre : forme 2450">
              <a:extLst>
                <a:ext uri="{FF2B5EF4-FFF2-40B4-BE49-F238E27FC236}">
                  <a16:creationId xmlns:a16="http://schemas.microsoft.com/office/drawing/2014/main" id="{42E0A2DC-6B50-4104-9147-7FDF1ECA641A}"/>
                </a:ext>
              </a:extLst>
            </p:cNvPr>
            <p:cNvSpPr/>
            <p:nvPr/>
          </p:nvSpPr>
          <p:spPr>
            <a:xfrm rot="8716295">
              <a:off x="4558248" y="4182809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2" name="Forme libre : forme 2451">
              <a:extLst>
                <a:ext uri="{FF2B5EF4-FFF2-40B4-BE49-F238E27FC236}">
                  <a16:creationId xmlns:a16="http://schemas.microsoft.com/office/drawing/2014/main" id="{C48C5EB2-44EB-4793-A40E-83D610E25EAF}"/>
                </a:ext>
              </a:extLst>
            </p:cNvPr>
            <p:cNvSpPr/>
            <p:nvPr/>
          </p:nvSpPr>
          <p:spPr>
            <a:xfrm rot="8716295">
              <a:off x="4785381" y="457121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3" name="Forme libre : forme 2452">
              <a:extLst>
                <a:ext uri="{FF2B5EF4-FFF2-40B4-BE49-F238E27FC236}">
                  <a16:creationId xmlns:a16="http://schemas.microsoft.com/office/drawing/2014/main" id="{53427E3B-CAF6-4BE5-89BB-EA97CC7D5720}"/>
                </a:ext>
              </a:extLst>
            </p:cNvPr>
            <p:cNvSpPr/>
            <p:nvPr/>
          </p:nvSpPr>
          <p:spPr>
            <a:xfrm rot="8716295">
              <a:off x="5096536" y="419156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4" name="Forme libre : forme 2453">
              <a:extLst>
                <a:ext uri="{FF2B5EF4-FFF2-40B4-BE49-F238E27FC236}">
                  <a16:creationId xmlns:a16="http://schemas.microsoft.com/office/drawing/2014/main" id="{8AEC789D-3D32-45E4-BAE9-3572BFC115CC}"/>
                </a:ext>
              </a:extLst>
            </p:cNvPr>
            <p:cNvSpPr/>
            <p:nvPr/>
          </p:nvSpPr>
          <p:spPr>
            <a:xfrm rot="8716295">
              <a:off x="5185928" y="422080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5" name="Forme libre : forme 2454">
              <a:extLst>
                <a:ext uri="{FF2B5EF4-FFF2-40B4-BE49-F238E27FC236}">
                  <a16:creationId xmlns:a16="http://schemas.microsoft.com/office/drawing/2014/main" id="{592ACBFB-A830-4F99-823F-B3C94B334AC4}"/>
                </a:ext>
              </a:extLst>
            </p:cNvPr>
            <p:cNvSpPr/>
            <p:nvPr/>
          </p:nvSpPr>
          <p:spPr>
            <a:xfrm rot="8716295">
              <a:off x="4984302" y="428011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6" name="Forme libre : forme 2455">
              <a:extLst>
                <a:ext uri="{FF2B5EF4-FFF2-40B4-BE49-F238E27FC236}">
                  <a16:creationId xmlns:a16="http://schemas.microsoft.com/office/drawing/2014/main" id="{3CD4BB51-622B-49CC-951B-C526F16097D1}"/>
                </a:ext>
              </a:extLst>
            </p:cNvPr>
            <p:cNvSpPr/>
            <p:nvPr/>
          </p:nvSpPr>
          <p:spPr>
            <a:xfrm rot="8716295">
              <a:off x="4859400" y="407143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7" name="Forme libre : forme 2456">
              <a:extLst>
                <a:ext uri="{FF2B5EF4-FFF2-40B4-BE49-F238E27FC236}">
                  <a16:creationId xmlns:a16="http://schemas.microsoft.com/office/drawing/2014/main" id="{4696620C-FBDE-4684-997F-DB4BCE7B2C8D}"/>
                </a:ext>
              </a:extLst>
            </p:cNvPr>
            <p:cNvSpPr/>
            <p:nvPr/>
          </p:nvSpPr>
          <p:spPr>
            <a:xfrm rot="8716295">
              <a:off x="5074480" y="432106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8" name="Forme libre : forme 2457">
              <a:extLst>
                <a:ext uri="{FF2B5EF4-FFF2-40B4-BE49-F238E27FC236}">
                  <a16:creationId xmlns:a16="http://schemas.microsoft.com/office/drawing/2014/main" id="{4E0A6A49-7396-4F13-A488-756A374C6DCD}"/>
                </a:ext>
              </a:extLst>
            </p:cNvPr>
            <p:cNvSpPr/>
            <p:nvPr/>
          </p:nvSpPr>
          <p:spPr>
            <a:xfrm rot="8716295">
              <a:off x="4833029" y="417146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9" name="Forme libre : forme 2458">
              <a:extLst>
                <a:ext uri="{FF2B5EF4-FFF2-40B4-BE49-F238E27FC236}">
                  <a16:creationId xmlns:a16="http://schemas.microsoft.com/office/drawing/2014/main" id="{931FED33-2848-493C-ADD2-B2912BEC30BE}"/>
                </a:ext>
              </a:extLst>
            </p:cNvPr>
            <p:cNvSpPr/>
            <p:nvPr/>
          </p:nvSpPr>
          <p:spPr>
            <a:xfrm rot="7484129">
              <a:off x="5179411" y="451241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0" name="Forme libre : forme 2459">
              <a:extLst>
                <a:ext uri="{FF2B5EF4-FFF2-40B4-BE49-F238E27FC236}">
                  <a16:creationId xmlns:a16="http://schemas.microsoft.com/office/drawing/2014/main" id="{D65E5AE8-9C98-4BB9-AF28-AFE5AF6633F3}"/>
                </a:ext>
              </a:extLst>
            </p:cNvPr>
            <p:cNvSpPr/>
            <p:nvPr/>
          </p:nvSpPr>
          <p:spPr>
            <a:xfrm rot="13089394">
              <a:off x="5284231" y="4478947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1" name="Forme libre : forme 2460">
              <a:extLst>
                <a:ext uri="{FF2B5EF4-FFF2-40B4-BE49-F238E27FC236}">
                  <a16:creationId xmlns:a16="http://schemas.microsoft.com/office/drawing/2014/main" id="{08897DFC-AD6E-449C-BB97-57B3220AEAF6}"/>
                </a:ext>
              </a:extLst>
            </p:cNvPr>
            <p:cNvSpPr/>
            <p:nvPr/>
          </p:nvSpPr>
          <p:spPr>
            <a:xfrm rot="8716295">
              <a:off x="5469816" y="4287266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2" name="Forme libre : forme 2461">
              <a:extLst>
                <a:ext uri="{FF2B5EF4-FFF2-40B4-BE49-F238E27FC236}">
                  <a16:creationId xmlns:a16="http://schemas.microsoft.com/office/drawing/2014/main" id="{0F22532E-1CE8-4736-88F7-603BA9637076}"/>
                </a:ext>
              </a:extLst>
            </p:cNvPr>
            <p:cNvSpPr/>
            <p:nvPr/>
          </p:nvSpPr>
          <p:spPr>
            <a:xfrm rot="8716295">
              <a:off x="5418011" y="418367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3" name="Forme libre : forme 2462">
              <a:extLst>
                <a:ext uri="{FF2B5EF4-FFF2-40B4-BE49-F238E27FC236}">
                  <a16:creationId xmlns:a16="http://schemas.microsoft.com/office/drawing/2014/main" id="{27FD49AF-531F-4E93-BDF6-7246B96C58D6}"/>
                </a:ext>
              </a:extLst>
            </p:cNvPr>
            <p:cNvSpPr/>
            <p:nvPr/>
          </p:nvSpPr>
          <p:spPr>
            <a:xfrm rot="8716295">
              <a:off x="5174765" y="421389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4" name="Forme libre : forme 2463">
              <a:extLst>
                <a:ext uri="{FF2B5EF4-FFF2-40B4-BE49-F238E27FC236}">
                  <a16:creationId xmlns:a16="http://schemas.microsoft.com/office/drawing/2014/main" id="{90925CD6-FB2D-4337-85BE-A4EB1C9E502F}"/>
                </a:ext>
              </a:extLst>
            </p:cNvPr>
            <p:cNvSpPr/>
            <p:nvPr/>
          </p:nvSpPr>
          <p:spPr>
            <a:xfrm rot="8716295">
              <a:off x="5352217" y="405465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5" name="Forme libre : forme 2464">
              <a:extLst>
                <a:ext uri="{FF2B5EF4-FFF2-40B4-BE49-F238E27FC236}">
                  <a16:creationId xmlns:a16="http://schemas.microsoft.com/office/drawing/2014/main" id="{32FBC2AF-39C6-436F-9E0E-B007DA33E003}"/>
                </a:ext>
              </a:extLst>
            </p:cNvPr>
            <p:cNvSpPr/>
            <p:nvPr/>
          </p:nvSpPr>
          <p:spPr>
            <a:xfrm rot="8716295">
              <a:off x="3920915" y="180295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6" name="Forme libre : forme 2465">
              <a:extLst>
                <a:ext uri="{FF2B5EF4-FFF2-40B4-BE49-F238E27FC236}">
                  <a16:creationId xmlns:a16="http://schemas.microsoft.com/office/drawing/2014/main" id="{643B8C13-9586-4A61-A35D-D9C0BCC8F291}"/>
                </a:ext>
              </a:extLst>
            </p:cNvPr>
            <p:cNvSpPr/>
            <p:nvPr/>
          </p:nvSpPr>
          <p:spPr>
            <a:xfrm rot="8716295">
              <a:off x="4010307" y="183219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7" name="Forme libre : forme 2466">
              <a:extLst>
                <a:ext uri="{FF2B5EF4-FFF2-40B4-BE49-F238E27FC236}">
                  <a16:creationId xmlns:a16="http://schemas.microsoft.com/office/drawing/2014/main" id="{D8623CC6-4FFF-4F4B-A41A-5741A26CA67C}"/>
                </a:ext>
              </a:extLst>
            </p:cNvPr>
            <p:cNvSpPr/>
            <p:nvPr/>
          </p:nvSpPr>
          <p:spPr>
            <a:xfrm rot="8716295">
              <a:off x="3965457" y="174591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8" name="Forme libre : forme 2467">
              <a:extLst>
                <a:ext uri="{FF2B5EF4-FFF2-40B4-BE49-F238E27FC236}">
                  <a16:creationId xmlns:a16="http://schemas.microsoft.com/office/drawing/2014/main" id="{A20E20F7-9952-4E3F-B0AB-212B773351F9}"/>
                </a:ext>
              </a:extLst>
            </p:cNvPr>
            <p:cNvSpPr/>
            <p:nvPr/>
          </p:nvSpPr>
          <p:spPr>
            <a:xfrm rot="8716295">
              <a:off x="3808681" y="189149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9" name="Forme libre : forme 2468">
              <a:extLst>
                <a:ext uri="{FF2B5EF4-FFF2-40B4-BE49-F238E27FC236}">
                  <a16:creationId xmlns:a16="http://schemas.microsoft.com/office/drawing/2014/main" id="{2AFD6358-3EC5-4230-924D-E1FEA2966D71}"/>
                </a:ext>
              </a:extLst>
            </p:cNvPr>
            <p:cNvSpPr/>
            <p:nvPr/>
          </p:nvSpPr>
          <p:spPr>
            <a:xfrm rot="8716295">
              <a:off x="3683778" y="168282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0" name="Forme libre : forme 2469">
              <a:extLst>
                <a:ext uri="{FF2B5EF4-FFF2-40B4-BE49-F238E27FC236}">
                  <a16:creationId xmlns:a16="http://schemas.microsoft.com/office/drawing/2014/main" id="{84C26A7D-16EF-401A-811B-AFBADF98607B}"/>
                </a:ext>
              </a:extLst>
            </p:cNvPr>
            <p:cNvSpPr/>
            <p:nvPr/>
          </p:nvSpPr>
          <p:spPr>
            <a:xfrm rot="8716295">
              <a:off x="3671726" y="1544041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1" name="Forme libre : forme 2470">
              <a:extLst>
                <a:ext uri="{FF2B5EF4-FFF2-40B4-BE49-F238E27FC236}">
                  <a16:creationId xmlns:a16="http://schemas.microsoft.com/office/drawing/2014/main" id="{E31DF341-C027-4798-8A24-45DA22FA4656}"/>
                </a:ext>
              </a:extLst>
            </p:cNvPr>
            <p:cNvSpPr/>
            <p:nvPr/>
          </p:nvSpPr>
          <p:spPr>
            <a:xfrm rot="8716295">
              <a:off x="3898859" y="193244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2" name="Forme libre : forme 2471">
              <a:extLst>
                <a:ext uri="{FF2B5EF4-FFF2-40B4-BE49-F238E27FC236}">
                  <a16:creationId xmlns:a16="http://schemas.microsoft.com/office/drawing/2014/main" id="{C07CF4E5-734D-4A47-8B2E-E99783FFFE58}"/>
                </a:ext>
              </a:extLst>
            </p:cNvPr>
            <p:cNvSpPr/>
            <p:nvPr/>
          </p:nvSpPr>
          <p:spPr>
            <a:xfrm rot="8716295">
              <a:off x="4210014" y="155279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3" name="Forme libre : forme 2472">
              <a:extLst>
                <a:ext uri="{FF2B5EF4-FFF2-40B4-BE49-F238E27FC236}">
                  <a16:creationId xmlns:a16="http://schemas.microsoft.com/office/drawing/2014/main" id="{E9E79472-5318-462A-9222-305605A9A4D4}"/>
                </a:ext>
              </a:extLst>
            </p:cNvPr>
            <p:cNvSpPr/>
            <p:nvPr/>
          </p:nvSpPr>
          <p:spPr>
            <a:xfrm rot="8716295">
              <a:off x="4299406" y="158204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4" name="Forme libre : forme 2473">
              <a:extLst>
                <a:ext uri="{FF2B5EF4-FFF2-40B4-BE49-F238E27FC236}">
                  <a16:creationId xmlns:a16="http://schemas.microsoft.com/office/drawing/2014/main" id="{5AFC5930-3BA6-40B9-BEDC-9757294DA873}"/>
                </a:ext>
              </a:extLst>
            </p:cNvPr>
            <p:cNvSpPr/>
            <p:nvPr/>
          </p:nvSpPr>
          <p:spPr>
            <a:xfrm rot="8716295">
              <a:off x="4097780" y="164134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5" name="Forme libre : forme 2474">
              <a:extLst>
                <a:ext uri="{FF2B5EF4-FFF2-40B4-BE49-F238E27FC236}">
                  <a16:creationId xmlns:a16="http://schemas.microsoft.com/office/drawing/2014/main" id="{7CE20D75-657E-4BF6-A3D6-C548A8B5AD4E}"/>
                </a:ext>
              </a:extLst>
            </p:cNvPr>
            <p:cNvSpPr/>
            <p:nvPr/>
          </p:nvSpPr>
          <p:spPr>
            <a:xfrm rot="8716295">
              <a:off x="3972878" y="143266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6" name="Forme libre : forme 2475">
              <a:extLst>
                <a:ext uri="{FF2B5EF4-FFF2-40B4-BE49-F238E27FC236}">
                  <a16:creationId xmlns:a16="http://schemas.microsoft.com/office/drawing/2014/main" id="{22F97EED-1D2F-4FE7-903C-845B9C0787F0}"/>
                </a:ext>
              </a:extLst>
            </p:cNvPr>
            <p:cNvSpPr/>
            <p:nvPr/>
          </p:nvSpPr>
          <p:spPr>
            <a:xfrm rot="8716295">
              <a:off x="4187958" y="168229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7" name="Forme libre : forme 2476">
              <a:extLst>
                <a:ext uri="{FF2B5EF4-FFF2-40B4-BE49-F238E27FC236}">
                  <a16:creationId xmlns:a16="http://schemas.microsoft.com/office/drawing/2014/main" id="{E84B3060-A813-44DB-B1F9-DF9C67A5CF00}"/>
                </a:ext>
              </a:extLst>
            </p:cNvPr>
            <p:cNvSpPr/>
            <p:nvPr/>
          </p:nvSpPr>
          <p:spPr>
            <a:xfrm rot="8716295">
              <a:off x="3946507" y="153269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8" name="Forme libre : forme 2477">
              <a:extLst>
                <a:ext uri="{FF2B5EF4-FFF2-40B4-BE49-F238E27FC236}">
                  <a16:creationId xmlns:a16="http://schemas.microsoft.com/office/drawing/2014/main" id="{C3852D69-4D29-4A5D-9D92-98A241B0E6D7}"/>
                </a:ext>
              </a:extLst>
            </p:cNvPr>
            <p:cNvSpPr/>
            <p:nvPr/>
          </p:nvSpPr>
          <p:spPr>
            <a:xfrm rot="7484129">
              <a:off x="4292889" y="187364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9" name="Forme libre : forme 2478">
              <a:extLst>
                <a:ext uri="{FF2B5EF4-FFF2-40B4-BE49-F238E27FC236}">
                  <a16:creationId xmlns:a16="http://schemas.microsoft.com/office/drawing/2014/main" id="{3CC45FA5-0E1F-4C45-97A6-41B7652569D0}"/>
                </a:ext>
              </a:extLst>
            </p:cNvPr>
            <p:cNvSpPr/>
            <p:nvPr/>
          </p:nvSpPr>
          <p:spPr>
            <a:xfrm rot="13089394">
              <a:off x="4397709" y="1840179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0" name="Forme libre : forme 2479">
              <a:extLst>
                <a:ext uri="{FF2B5EF4-FFF2-40B4-BE49-F238E27FC236}">
                  <a16:creationId xmlns:a16="http://schemas.microsoft.com/office/drawing/2014/main" id="{BBCDC532-309F-4C5E-BFF5-D7919C8CB1C0}"/>
                </a:ext>
              </a:extLst>
            </p:cNvPr>
            <p:cNvSpPr/>
            <p:nvPr/>
          </p:nvSpPr>
          <p:spPr>
            <a:xfrm rot="8716295">
              <a:off x="4583294" y="164849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1" name="Forme libre : forme 2480">
              <a:extLst>
                <a:ext uri="{FF2B5EF4-FFF2-40B4-BE49-F238E27FC236}">
                  <a16:creationId xmlns:a16="http://schemas.microsoft.com/office/drawing/2014/main" id="{18BE7348-0DDE-4529-8EFC-B0259B20E686}"/>
                </a:ext>
              </a:extLst>
            </p:cNvPr>
            <p:cNvSpPr/>
            <p:nvPr/>
          </p:nvSpPr>
          <p:spPr>
            <a:xfrm rot="8716295">
              <a:off x="4531489" y="154490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2" name="Forme libre : forme 2481">
              <a:extLst>
                <a:ext uri="{FF2B5EF4-FFF2-40B4-BE49-F238E27FC236}">
                  <a16:creationId xmlns:a16="http://schemas.microsoft.com/office/drawing/2014/main" id="{AC55D592-C696-401F-86AE-1F112E213A16}"/>
                </a:ext>
              </a:extLst>
            </p:cNvPr>
            <p:cNvSpPr/>
            <p:nvPr/>
          </p:nvSpPr>
          <p:spPr>
            <a:xfrm rot="8716295">
              <a:off x="4288243" y="157512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3" name="Forme libre : forme 2482">
              <a:extLst>
                <a:ext uri="{FF2B5EF4-FFF2-40B4-BE49-F238E27FC236}">
                  <a16:creationId xmlns:a16="http://schemas.microsoft.com/office/drawing/2014/main" id="{DED9BFFF-B254-42A0-B39E-0F305AD53521}"/>
                </a:ext>
              </a:extLst>
            </p:cNvPr>
            <p:cNvSpPr/>
            <p:nvPr/>
          </p:nvSpPr>
          <p:spPr>
            <a:xfrm rot="8716295">
              <a:off x="4465695" y="141588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4" name="Forme libre : forme 2483">
              <a:extLst>
                <a:ext uri="{FF2B5EF4-FFF2-40B4-BE49-F238E27FC236}">
                  <a16:creationId xmlns:a16="http://schemas.microsoft.com/office/drawing/2014/main" id="{A05B2376-5DD9-4691-A3A2-2B9A6CE6A543}"/>
                </a:ext>
              </a:extLst>
            </p:cNvPr>
            <p:cNvSpPr/>
            <p:nvPr/>
          </p:nvSpPr>
          <p:spPr>
            <a:xfrm rot="8716295">
              <a:off x="3697748" y="114325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5" name="Forme libre : forme 2484">
              <a:extLst>
                <a:ext uri="{FF2B5EF4-FFF2-40B4-BE49-F238E27FC236}">
                  <a16:creationId xmlns:a16="http://schemas.microsoft.com/office/drawing/2014/main" id="{D68DE097-F6FC-4E58-8F02-96B920A7DAAD}"/>
                </a:ext>
              </a:extLst>
            </p:cNvPr>
            <p:cNvSpPr/>
            <p:nvPr/>
          </p:nvSpPr>
          <p:spPr>
            <a:xfrm rot="8716295">
              <a:off x="3787140" y="117249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6" name="Forme libre : forme 2485">
              <a:extLst>
                <a:ext uri="{FF2B5EF4-FFF2-40B4-BE49-F238E27FC236}">
                  <a16:creationId xmlns:a16="http://schemas.microsoft.com/office/drawing/2014/main" id="{3326496F-3251-4001-8C18-B51CE14773DE}"/>
                </a:ext>
              </a:extLst>
            </p:cNvPr>
            <p:cNvSpPr/>
            <p:nvPr/>
          </p:nvSpPr>
          <p:spPr>
            <a:xfrm rot="8716295">
              <a:off x="3742290" y="108621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7" name="Forme libre : forme 2486">
              <a:extLst>
                <a:ext uri="{FF2B5EF4-FFF2-40B4-BE49-F238E27FC236}">
                  <a16:creationId xmlns:a16="http://schemas.microsoft.com/office/drawing/2014/main" id="{7F487E66-40A4-4F91-A574-0C01F31C9534}"/>
                </a:ext>
              </a:extLst>
            </p:cNvPr>
            <p:cNvSpPr/>
            <p:nvPr/>
          </p:nvSpPr>
          <p:spPr>
            <a:xfrm rot="8716295">
              <a:off x="3585514" y="123179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8" name="Forme libre : forme 2487">
              <a:extLst>
                <a:ext uri="{FF2B5EF4-FFF2-40B4-BE49-F238E27FC236}">
                  <a16:creationId xmlns:a16="http://schemas.microsoft.com/office/drawing/2014/main" id="{BF410579-E92D-43D8-957B-88DC03F8AFDC}"/>
                </a:ext>
              </a:extLst>
            </p:cNvPr>
            <p:cNvSpPr/>
            <p:nvPr/>
          </p:nvSpPr>
          <p:spPr>
            <a:xfrm rot="8716295">
              <a:off x="3460611" y="102312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9" name="Forme libre : forme 2488">
              <a:extLst>
                <a:ext uri="{FF2B5EF4-FFF2-40B4-BE49-F238E27FC236}">
                  <a16:creationId xmlns:a16="http://schemas.microsoft.com/office/drawing/2014/main" id="{DE1E32FD-5331-4C1C-9F88-9CC7D2B58F5E}"/>
                </a:ext>
              </a:extLst>
            </p:cNvPr>
            <p:cNvSpPr/>
            <p:nvPr/>
          </p:nvSpPr>
          <p:spPr>
            <a:xfrm rot="8716295">
              <a:off x="3448559" y="88434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0" name="Forme libre : forme 2489">
              <a:extLst>
                <a:ext uri="{FF2B5EF4-FFF2-40B4-BE49-F238E27FC236}">
                  <a16:creationId xmlns:a16="http://schemas.microsoft.com/office/drawing/2014/main" id="{DD459ADD-F84C-47F8-B574-F04ECFFEE719}"/>
                </a:ext>
              </a:extLst>
            </p:cNvPr>
            <p:cNvSpPr/>
            <p:nvPr/>
          </p:nvSpPr>
          <p:spPr>
            <a:xfrm rot="8716295">
              <a:off x="3675692" y="127274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1" name="Forme libre : forme 2490">
              <a:extLst>
                <a:ext uri="{FF2B5EF4-FFF2-40B4-BE49-F238E27FC236}">
                  <a16:creationId xmlns:a16="http://schemas.microsoft.com/office/drawing/2014/main" id="{BA820114-5CD1-4426-8381-FF5B658B7D54}"/>
                </a:ext>
              </a:extLst>
            </p:cNvPr>
            <p:cNvSpPr/>
            <p:nvPr/>
          </p:nvSpPr>
          <p:spPr>
            <a:xfrm rot="8716295">
              <a:off x="3986847" y="89309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2" name="Forme libre : forme 2491">
              <a:extLst>
                <a:ext uri="{FF2B5EF4-FFF2-40B4-BE49-F238E27FC236}">
                  <a16:creationId xmlns:a16="http://schemas.microsoft.com/office/drawing/2014/main" id="{B4B19ED1-A1E0-4F10-910E-E0EB470FCCF2}"/>
                </a:ext>
              </a:extLst>
            </p:cNvPr>
            <p:cNvSpPr/>
            <p:nvPr/>
          </p:nvSpPr>
          <p:spPr>
            <a:xfrm rot="8716295">
              <a:off x="4076239" y="92234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3" name="Forme libre : forme 2492">
              <a:extLst>
                <a:ext uri="{FF2B5EF4-FFF2-40B4-BE49-F238E27FC236}">
                  <a16:creationId xmlns:a16="http://schemas.microsoft.com/office/drawing/2014/main" id="{41CB6FB8-70A5-402D-A8D9-CA772A72066C}"/>
                </a:ext>
              </a:extLst>
            </p:cNvPr>
            <p:cNvSpPr/>
            <p:nvPr/>
          </p:nvSpPr>
          <p:spPr>
            <a:xfrm rot="8716295">
              <a:off x="3874613" y="98164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4" name="Forme libre : forme 2493">
              <a:extLst>
                <a:ext uri="{FF2B5EF4-FFF2-40B4-BE49-F238E27FC236}">
                  <a16:creationId xmlns:a16="http://schemas.microsoft.com/office/drawing/2014/main" id="{0743CC93-1EF5-43EA-846D-CC40A84D5D0A}"/>
                </a:ext>
              </a:extLst>
            </p:cNvPr>
            <p:cNvSpPr/>
            <p:nvPr/>
          </p:nvSpPr>
          <p:spPr>
            <a:xfrm rot="8716295">
              <a:off x="3749711" y="77297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5" name="Forme libre : forme 2494">
              <a:extLst>
                <a:ext uri="{FF2B5EF4-FFF2-40B4-BE49-F238E27FC236}">
                  <a16:creationId xmlns:a16="http://schemas.microsoft.com/office/drawing/2014/main" id="{453E78DE-215E-4FDE-854E-98B3522D8476}"/>
                </a:ext>
              </a:extLst>
            </p:cNvPr>
            <p:cNvSpPr/>
            <p:nvPr/>
          </p:nvSpPr>
          <p:spPr>
            <a:xfrm rot="8716295">
              <a:off x="3964791" y="102259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6" name="Forme libre : forme 2495">
              <a:extLst>
                <a:ext uri="{FF2B5EF4-FFF2-40B4-BE49-F238E27FC236}">
                  <a16:creationId xmlns:a16="http://schemas.microsoft.com/office/drawing/2014/main" id="{903C8E49-403C-45B6-B0A2-C71A3BCFB23E}"/>
                </a:ext>
              </a:extLst>
            </p:cNvPr>
            <p:cNvSpPr/>
            <p:nvPr/>
          </p:nvSpPr>
          <p:spPr>
            <a:xfrm rot="8716295">
              <a:off x="3723340" y="87299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7" name="Forme libre : forme 2496">
              <a:extLst>
                <a:ext uri="{FF2B5EF4-FFF2-40B4-BE49-F238E27FC236}">
                  <a16:creationId xmlns:a16="http://schemas.microsoft.com/office/drawing/2014/main" id="{DA428150-38DA-423B-B597-BE4C3B36B8ED}"/>
                </a:ext>
              </a:extLst>
            </p:cNvPr>
            <p:cNvSpPr/>
            <p:nvPr/>
          </p:nvSpPr>
          <p:spPr>
            <a:xfrm rot="7484129">
              <a:off x="4069722" y="121394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8" name="Forme libre : forme 2497">
              <a:extLst>
                <a:ext uri="{FF2B5EF4-FFF2-40B4-BE49-F238E27FC236}">
                  <a16:creationId xmlns:a16="http://schemas.microsoft.com/office/drawing/2014/main" id="{43E73B67-7353-4638-8D7E-85BE3E803185}"/>
                </a:ext>
              </a:extLst>
            </p:cNvPr>
            <p:cNvSpPr/>
            <p:nvPr/>
          </p:nvSpPr>
          <p:spPr>
            <a:xfrm rot="13089394">
              <a:off x="4174542" y="118048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9" name="Forme libre : forme 2498">
              <a:extLst>
                <a:ext uri="{FF2B5EF4-FFF2-40B4-BE49-F238E27FC236}">
                  <a16:creationId xmlns:a16="http://schemas.microsoft.com/office/drawing/2014/main" id="{4606F1ED-4668-4010-ABAF-1D2A4E2BCE67}"/>
                </a:ext>
              </a:extLst>
            </p:cNvPr>
            <p:cNvSpPr/>
            <p:nvPr/>
          </p:nvSpPr>
          <p:spPr>
            <a:xfrm rot="8716295">
              <a:off x="4360127" y="98879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0" name="Forme libre : forme 2499">
              <a:extLst>
                <a:ext uri="{FF2B5EF4-FFF2-40B4-BE49-F238E27FC236}">
                  <a16:creationId xmlns:a16="http://schemas.microsoft.com/office/drawing/2014/main" id="{8053BC89-A237-4743-AE1F-94011A88DB5F}"/>
                </a:ext>
              </a:extLst>
            </p:cNvPr>
            <p:cNvSpPr/>
            <p:nvPr/>
          </p:nvSpPr>
          <p:spPr>
            <a:xfrm rot="8716295">
              <a:off x="4308322" y="88520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1" name="Forme libre : forme 2500">
              <a:extLst>
                <a:ext uri="{FF2B5EF4-FFF2-40B4-BE49-F238E27FC236}">
                  <a16:creationId xmlns:a16="http://schemas.microsoft.com/office/drawing/2014/main" id="{1BE91312-A210-4744-AFAA-57545498B120}"/>
                </a:ext>
              </a:extLst>
            </p:cNvPr>
            <p:cNvSpPr/>
            <p:nvPr/>
          </p:nvSpPr>
          <p:spPr>
            <a:xfrm rot="8716295">
              <a:off x="4065076" y="91542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2" name="Forme libre : forme 2501">
              <a:extLst>
                <a:ext uri="{FF2B5EF4-FFF2-40B4-BE49-F238E27FC236}">
                  <a16:creationId xmlns:a16="http://schemas.microsoft.com/office/drawing/2014/main" id="{461CD8D7-9872-4A47-8F16-75614AF09DF8}"/>
                </a:ext>
              </a:extLst>
            </p:cNvPr>
            <p:cNvSpPr/>
            <p:nvPr/>
          </p:nvSpPr>
          <p:spPr>
            <a:xfrm rot="8716295">
              <a:off x="4242528" y="75618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3" name="Forme libre : forme 2502">
              <a:extLst>
                <a:ext uri="{FF2B5EF4-FFF2-40B4-BE49-F238E27FC236}">
                  <a16:creationId xmlns:a16="http://schemas.microsoft.com/office/drawing/2014/main" id="{C555A7E1-A287-4B80-9292-3BF85FFF88D7}"/>
                </a:ext>
              </a:extLst>
            </p:cNvPr>
            <p:cNvSpPr/>
            <p:nvPr/>
          </p:nvSpPr>
          <p:spPr>
            <a:xfrm rot="8716295">
              <a:off x="3478809" y="48119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4" name="Forme libre : forme 2503">
              <a:extLst>
                <a:ext uri="{FF2B5EF4-FFF2-40B4-BE49-F238E27FC236}">
                  <a16:creationId xmlns:a16="http://schemas.microsoft.com/office/drawing/2014/main" id="{0940EDF8-F1CB-4BEF-B48A-396B5431ABAD}"/>
                </a:ext>
              </a:extLst>
            </p:cNvPr>
            <p:cNvSpPr/>
            <p:nvPr/>
          </p:nvSpPr>
          <p:spPr>
            <a:xfrm rot="8716295">
              <a:off x="3568201" y="51043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5" name="Forme libre : forme 2504">
              <a:extLst>
                <a:ext uri="{FF2B5EF4-FFF2-40B4-BE49-F238E27FC236}">
                  <a16:creationId xmlns:a16="http://schemas.microsoft.com/office/drawing/2014/main" id="{22A88BBD-C725-49B9-BC83-492EC3CB89E6}"/>
                </a:ext>
              </a:extLst>
            </p:cNvPr>
            <p:cNvSpPr/>
            <p:nvPr/>
          </p:nvSpPr>
          <p:spPr>
            <a:xfrm rot="8716295">
              <a:off x="3523351" y="42415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6" name="Forme libre : forme 2505">
              <a:extLst>
                <a:ext uri="{FF2B5EF4-FFF2-40B4-BE49-F238E27FC236}">
                  <a16:creationId xmlns:a16="http://schemas.microsoft.com/office/drawing/2014/main" id="{4DA445B3-8E0C-4D22-8025-4E5653F0655E}"/>
                </a:ext>
              </a:extLst>
            </p:cNvPr>
            <p:cNvSpPr/>
            <p:nvPr/>
          </p:nvSpPr>
          <p:spPr>
            <a:xfrm rot="8716295">
              <a:off x="3366575" y="56973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7" name="Forme libre : forme 2506">
              <a:extLst>
                <a:ext uri="{FF2B5EF4-FFF2-40B4-BE49-F238E27FC236}">
                  <a16:creationId xmlns:a16="http://schemas.microsoft.com/office/drawing/2014/main" id="{6DEEAB7D-D4C8-4DDC-B7BF-F77A8BB80F8C}"/>
                </a:ext>
              </a:extLst>
            </p:cNvPr>
            <p:cNvSpPr/>
            <p:nvPr/>
          </p:nvSpPr>
          <p:spPr>
            <a:xfrm rot="8716295">
              <a:off x="3241672" y="36106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8" name="Forme libre : forme 2507">
              <a:extLst>
                <a:ext uri="{FF2B5EF4-FFF2-40B4-BE49-F238E27FC236}">
                  <a16:creationId xmlns:a16="http://schemas.microsoft.com/office/drawing/2014/main" id="{199DE347-17F6-461F-B90C-B69AAFA2F910}"/>
                </a:ext>
              </a:extLst>
            </p:cNvPr>
            <p:cNvSpPr/>
            <p:nvPr/>
          </p:nvSpPr>
          <p:spPr>
            <a:xfrm rot="8716295">
              <a:off x="3229620" y="22228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9" name="Forme libre : forme 2508">
              <a:extLst>
                <a:ext uri="{FF2B5EF4-FFF2-40B4-BE49-F238E27FC236}">
                  <a16:creationId xmlns:a16="http://schemas.microsoft.com/office/drawing/2014/main" id="{A01BDA60-4E43-4FBD-82A0-95C77C097A9E}"/>
                </a:ext>
              </a:extLst>
            </p:cNvPr>
            <p:cNvSpPr/>
            <p:nvPr/>
          </p:nvSpPr>
          <p:spPr>
            <a:xfrm rot="8716295">
              <a:off x="3456753" y="61068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0" name="Forme libre : forme 2509">
              <a:extLst>
                <a:ext uri="{FF2B5EF4-FFF2-40B4-BE49-F238E27FC236}">
                  <a16:creationId xmlns:a16="http://schemas.microsoft.com/office/drawing/2014/main" id="{84B2FBB5-B856-485C-83D9-69D2B6498A18}"/>
                </a:ext>
              </a:extLst>
            </p:cNvPr>
            <p:cNvSpPr/>
            <p:nvPr/>
          </p:nvSpPr>
          <p:spPr>
            <a:xfrm rot="8716295">
              <a:off x="3767908" y="23104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1" name="Forme libre : forme 2510">
              <a:extLst>
                <a:ext uri="{FF2B5EF4-FFF2-40B4-BE49-F238E27FC236}">
                  <a16:creationId xmlns:a16="http://schemas.microsoft.com/office/drawing/2014/main" id="{3D0C3739-8DA5-460B-B377-BF5789078C10}"/>
                </a:ext>
              </a:extLst>
            </p:cNvPr>
            <p:cNvSpPr/>
            <p:nvPr/>
          </p:nvSpPr>
          <p:spPr>
            <a:xfrm rot="8716295">
              <a:off x="3857300" y="26028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2" name="Forme libre : forme 2511">
              <a:extLst>
                <a:ext uri="{FF2B5EF4-FFF2-40B4-BE49-F238E27FC236}">
                  <a16:creationId xmlns:a16="http://schemas.microsoft.com/office/drawing/2014/main" id="{971F324A-C797-4A5A-9D42-0FA8C2BA8DAD}"/>
                </a:ext>
              </a:extLst>
            </p:cNvPr>
            <p:cNvSpPr/>
            <p:nvPr/>
          </p:nvSpPr>
          <p:spPr>
            <a:xfrm rot="8716295">
              <a:off x="3655674" y="31958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3" name="Forme libre : forme 2512">
              <a:extLst>
                <a:ext uri="{FF2B5EF4-FFF2-40B4-BE49-F238E27FC236}">
                  <a16:creationId xmlns:a16="http://schemas.microsoft.com/office/drawing/2014/main" id="{8EC218C7-06A4-4CA2-8080-F703AD883CED}"/>
                </a:ext>
              </a:extLst>
            </p:cNvPr>
            <p:cNvSpPr/>
            <p:nvPr/>
          </p:nvSpPr>
          <p:spPr>
            <a:xfrm rot="8716295">
              <a:off x="3530772" y="11091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4" name="Forme libre : forme 2513">
              <a:extLst>
                <a:ext uri="{FF2B5EF4-FFF2-40B4-BE49-F238E27FC236}">
                  <a16:creationId xmlns:a16="http://schemas.microsoft.com/office/drawing/2014/main" id="{65059EE1-7F5D-48ED-B85D-A46423F78D76}"/>
                </a:ext>
              </a:extLst>
            </p:cNvPr>
            <p:cNvSpPr/>
            <p:nvPr/>
          </p:nvSpPr>
          <p:spPr>
            <a:xfrm rot="8716295">
              <a:off x="3745852" y="36053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5" name="Forme libre : forme 2514">
              <a:extLst>
                <a:ext uri="{FF2B5EF4-FFF2-40B4-BE49-F238E27FC236}">
                  <a16:creationId xmlns:a16="http://schemas.microsoft.com/office/drawing/2014/main" id="{512AA149-007C-42E5-90DD-CC3331EEDCF7}"/>
                </a:ext>
              </a:extLst>
            </p:cNvPr>
            <p:cNvSpPr/>
            <p:nvPr/>
          </p:nvSpPr>
          <p:spPr>
            <a:xfrm rot="8716295">
              <a:off x="3504401" y="21093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6" name="Forme libre : forme 2515">
              <a:extLst>
                <a:ext uri="{FF2B5EF4-FFF2-40B4-BE49-F238E27FC236}">
                  <a16:creationId xmlns:a16="http://schemas.microsoft.com/office/drawing/2014/main" id="{23613C77-E0E1-44C1-8EC6-64AC0EEA97B7}"/>
                </a:ext>
              </a:extLst>
            </p:cNvPr>
            <p:cNvSpPr/>
            <p:nvPr/>
          </p:nvSpPr>
          <p:spPr>
            <a:xfrm rot="7484129">
              <a:off x="3850783" y="55188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7" name="Forme libre : forme 2516">
              <a:extLst>
                <a:ext uri="{FF2B5EF4-FFF2-40B4-BE49-F238E27FC236}">
                  <a16:creationId xmlns:a16="http://schemas.microsoft.com/office/drawing/2014/main" id="{AD9CF096-470A-4FB5-8989-86875B5B759F}"/>
                </a:ext>
              </a:extLst>
            </p:cNvPr>
            <p:cNvSpPr/>
            <p:nvPr/>
          </p:nvSpPr>
          <p:spPr>
            <a:xfrm rot="13089394">
              <a:off x="3955603" y="51842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8" name="Forme libre : forme 2517">
              <a:extLst>
                <a:ext uri="{FF2B5EF4-FFF2-40B4-BE49-F238E27FC236}">
                  <a16:creationId xmlns:a16="http://schemas.microsoft.com/office/drawing/2014/main" id="{EDD58B14-9EE6-43DE-AB53-02CE1EFD4AEF}"/>
                </a:ext>
              </a:extLst>
            </p:cNvPr>
            <p:cNvSpPr/>
            <p:nvPr/>
          </p:nvSpPr>
          <p:spPr>
            <a:xfrm rot="8716295">
              <a:off x="4141188" y="32674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9" name="Forme libre : forme 2518">
              <a:extLst>
                <a:ext uri="{FF2B5EF4-FFF2-40B4-BE49-F238E27FC236}">
                  <a16:creationId xmlns:a16="http://schemas.microsoft.com/office/drawing/2014/main" id="{B0126B85-3847-48C1-A04C-7973E77D1EDB}"/>
                </a:ext>
              </a:extLst>
            </p:cNvPr>
            <p:cNvSpPr/>
            <p:nvPr/>
          </p:nvSpPr>
          <p:spPr>
            <a:xfrm rot="8716295">
              <a:off x="4089383" y="22314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0" name="Forme libre : forme 2519">
              <a:extLst>
                <a:ext uri="{FF2B5EF4-FFF2-40B4-BE49-F238E27FC236}">
                  <a16:creationId xmlns:a16="http://schemas.microsoft.com/office/drawing/2014/main" id="{B39FA797-0108-450C-A9FF-E77B30368C8A}"/>
                </a:ext>
              </a:extLst>
            </p:cNvPr>
            <p:cNvSpPr/>
            <p:nvPr/>
          </p:nvSpPr>
          <p:spPr>
            <a:xfrm rot="8716295">
              <a:off x="3846137" y="25336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1" name="Forme libre : forme 2520">
              <a:extLst>
                <a:ext uri="{FF2B5EF4-FFF2-40B4-BE49-F238E27FC236}">
                  <a16:creationId xmlns:a16="http://schemas.microsoft.com/office/drawing/2014/main" id="{E59A0A69-0B8F-4075-9B80-4638F9047ACF}"/>
                </a:ext>
              </a:extLst>
            </p:cNvPr>
            <p:cNvSpPr/>
            <p:nvPr/>
          </p:nvSpPr>
          <p:spPr>
            <a:xfrm rot="8716295">
              <a:off x="4023589" y="9412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2" name="Forme libre : forme 2521">
              <a:extLst>
                <a:ext uri="{FF2B5EF4-FFF2-40B4-BE49-F238E27FC236}">
                  <a16:creationId xmlns:a16="http://schemas.microsoft.com/office/drawing/2014/main" id="{2EFF07EC-89C0-4663-BD43-B2A9421F76C1}"/>
                </a:ext>
              </a:extLst>
            </p:cNvPr>
            <p:cNvSpPr/>
            <p:nvPr/>
          </p:nvSpPr>
          <p:spPr>
            <a:xfrm rot="8716295">
              <a:off x="3298850" y="-42720"/>
              <a:ext cx="123263" cy="85442"/>
            </a:xfrm>
            <a:custGeom>
              <a:avLst/>
              <a:gdLst>
                <a:gd name="connsiteX0" fmla="*/ 123263 w 123263"/>
                <a:gd name="connsiteY0" fmla="*/ 85442 h 85442"/>
                <a:gd name="connsiteX1" fmla="*/ 0 w 123263"/>
                <a:gd name="connsiteY1" fmla="*/ 0 h 85442"/>
                <a:gd name="connsiteX2" fmla="*/ 66305 w 123263"/>
                <a:gd name="connsiteY2" fmla="*/ 0 h 85442"/>
                <a:gd name="connsiteX3" fmla="*/ 123263 w 123263"/>
                <a:gd name="connsiteY3" fmla="*/ 50123 h 85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63" h="85442">
                  <a:moveTo>
                    <a:pt x="123263" y="85442"/>
                  </a:moveTo>
                  <a:lnTo>
                    <a:pt x="0" y="0"/>
                  </a:lnTo>
                  <a:lnTo>
                    <a:pt x="66305" y="0"/>
                  </a:lnTo>
                  <a:cubicBezTo>
                    <a:pt x="103214" y="0"/>
                    <a:pt x="123263" y="15948"/>
                    <a:pt x="123263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3" name="Forme libre : forme 2522">
              <a:extLst>
                <a:ext uri="{FF2B5EF4-FFF2-40B4-BE49-F238E27FC236}">
                  <a16:creationId xmlns:a16="http://schemas.microsoft.com/office/drawing/2014/main" id="{FD4B967E-157B-4EC0-8E14-C729CCFF7879}"/>
                </a:ext>
              </a:extLst>
            </p:cNvPr>
            <p:cNvSpPr/>
            <p:nvPr/>
          </p:nvSpPr>
          <p:spPr>
            <a:xfrm rot="8716295">
              <a:off x="3388166" y="-13722"/>
              <a:ext cx="260639" cy="98025"/>
            </a:xfrm>
            <a:custGeom>
              <a:avLst/>
              <a:gdLst>
                <a:gd name="connsiteX0" fmla="*/ 104802 w 260639"/>
                <a:gd name="connsiteY0" fmla="*/ 74264 h 98025"/>
                <a:gd name="connsiteX1" fmla="*/ 0 w 260639"/>
                <a:gd name="connsiteY1" fmla="*/ 1618 h 98025"/>
                <a:gd name="connsiteX2" fmla="*/ 0 w 260639"/>
                <a:gd name="connsiteY2" fmla="*/ 1425 h 98025"/>
                <a:gd name="connsiteX3" fmla="*/ 104803 w 260639"/>
                <a:gd name="connsiteY3" fmla="*/ 1425 h 98025"/>
                <a:gd name="connsiteX4" fmla="*/ 122123 w 260639"/>
                <a:gd name="connsiteY4" fmla="*/ 86270 h 98025"/>
                <a:gd name="connsiteX5" fmla="*/ 106178 w 260639"/>
                <a:gd name="connsiteY5" fmla="*/ 75218 h 98025"/>
                <a:gd name="connsiteX6" fmla="*/ 116721 w 260639"/>
                <a:gd name="connsiteY6" fmla="*/ 47439 h 98025"/>
                <a:gd name="connsiteX7" fmla="*/ 154014 w 260639"/>
                <a:gd name="connsiteY7" fmla="*/ 5981 h 98025"/>
                <a:gd name="connsiteX8" fmla="*/ 185455 w 260639"/>
                <a:gd name="connsiteY8" fmla="*/ 57 h 98025"/>
                <a:gd name="connsiteX9" fmla="*/ 260639 w 260639"/>
                <a:gd name="connsiteY9" fmla="*/ 88456 h 98025"/>
                <a:gd name="connsiteX10" fmla="*/ 260639 w 260639"/>
                <a:gd name="connsiteY10" fmla="*/ 94380 h 98025"/>
                <a:gd name="connsiteX11" fmla="*/ 198669 w 260639"/>
                <a:gd name="connsiteY11" fmla="*/ 98025 h 98025"/>
                <a:gd name="connsiteX12" fmla="*/ 198669 w 260639"/>
                <a:gd name="connsiteY12" fmla="*/ 81621 h 98025"/>
                <a:gd name="connsiteX13" fmla="*/ 164950 w 260639"/>
                <a:gd name="connsiteY13" fmla="*/ 40156 h 98025"/>
                <a:gd name="connsiteX14" fmla="*/ 127358 w 260639"/>
                <a:gd name="connsiteY14" fmla="*/ 65616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60639" h="98025">
                  <a:moveTo>
                    <a:pt x="104802" y="74264"/>
                  </a:moveTo>
                  <a:lnTo>
                    <a:pt x="0" y="1618"/>
                  </a:lnTo>
                  <a:lnTo>
                    <a:pt x="0" y="1425"/>
                  </a:lnTo>
                  <a:lnTo>
                    <a:pt x="104803" y="1425"/>
                  </a:lnTo>
                  <a:close/>
                  <a:moveTo>
                    <a:pt x="122123" y="86270"/>
                  </a:moveTo>
                  <a:lnTo>
                    <a:pt x="106178" y="75218"/>
                  </a:lnTo>
                  <a:lnTo>
                    <a:pt x="116721" y="47439"/>
                  </a:lnTo>
                  <a:cubicBezTo>
                    <a:pt x="127102" y="24008"/>
                    <a:pt x="137610" y="12816"/>
                    <a:pt x="154014" y="5981"/>
                  </a:cubicBezTo>
                  <a:cubicBezTo>
                    <a:pt x="164038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50369" y="40156"/>
                    <a:pt x="137041" y="49839"/>
                    <a:pt x="127358" y="656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4" name="Forme libre : forme 2523">
              <a:extLst>
                <a:ext uri="{FF2B5EF4-FFF2-40B4-BE49-F238E27FC236}">
                  <a16:creationId xmlns:a16="http://schemas.microsoft.com/office/drawing/2014/main" id="{26F60FD7-190A-4D8F-9670-046678F59C56}"/>
                </a:ext>
              </a:extLst>
            </p:cNvPr>
            <p:cNvSpPr/>
            <p:nvPr/>
          </p:nvSpPr>
          <p:spPr>
            <a:xfrm rot="8716295">
              <a:off x="3234083" y="-5272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5" name="Forme libre : forme 2524">
              <a:extLst>
                <a:ext uri="{FF2B5EF4-FFF2-40B4-BE49-F238E27FC236}">
                  <a16:creationId xmlns:a16="http://schemas.microsoft.com/office/drawing/2014/main" id="{085654F2-7869-4845-81C8-ECDCFADD1D48}"/>
                </a:ext>
              </a:extLst>
            </p:cNvPr>
            <p:cNvSpPr/>
            <p:nvPr/>
          </p:nvSpPr>
          <p:spPr>
            <a:xfrm rot="7484129">
              <a:off x="3672246" y="-18656"/>
              <a:ext cx="154104" cy="104443"/>
            </a:xfrm>
            <a:custGeom>
              <a:avLst/>
              <a:gdLst>
                <a:gd name="connsiteX0" fmla="*/ 72416 w 154104"/>
                <a:gd name="connsiteY0" fmla="*/ 104443 h 104443"/>
                <a:gd name="connsiteX1" fmla="*/ 0 w 154104"/>
                <a:gd name="connsiteY1" fmla="*/ 0 h 104443"/>
                <a:gd name="connsiteX2" fmla="*/ 154104 w 154104"/>
                <a:gd name="connsiteY2" fmla="*/ 0 h 104443"/>
                <a:gd name="connsiteX3" fmla="*/ 154104 w 154104"/>
                <a:gd name="connsiteY3" fmla="*/ 55323 h 104443"/>
                <a:gd name="connsiteX4" fmla="*/ 89312 w 154104"/>
                <a:gd name="connsiteY4" fmla="*/ 55323 h 104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4104" h="104443">
                  <a:moveTo>
                    <a:pt x="72416" y="104443"/>
                  </a:moveTo>
                  <a:lnTo>
                    <a:pt x="0" y="0"/>
                  </a:lnTo>
                  <a:lnTo>
                    <a:pt x="154104" y="0"/>
                  </a:lnTo>
                  <a:lnTo>
                    <a:pt x="154104" y="55323"/>
                  </a:lnTo>
                  <a:lnTo>
                    <a:pt x="89312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6" name="Forme libre : forme 2525">
              <a:extLst>
                <a:ext uri="{FF2B5EF4-FFF2-40B4-BE49-F238E27FC236}">
                  <a16:creationId xmlns:a16="http://schemas.microsoft.com/office/drawing/2014/main" id="{7E176583-6C1C-4FE3-A612-16C14B2CEFC6}"/>
                </a:ext>
              </a:extLst>
            </p:cNvPr>
            <p:cNvSpPr/>
            <p:nvPr/>
          </p:nvSpPr>
          <p:spPr>
            <a:xfrm rot="13089394">
              <a:off x="3884960" y="-47886"/>
              <a:ext cx="84765" cy="281028"/>
            </a:xfrm>
            <a:custGeom>
              <a:avLst/>
              <a:gdLst>
                <a:gd name="connsiteX0" fmla="*/ 84765 w 84765"/>
                <a:gd name="connsiteY0" fmla="*/ 225012 h 281028"/>
                <a:gd name="connsiteX1" fmla="*/ 13471 w 84765"/>
                <a:gd name="connsiteY1" fmla="*/ 281028 h 281028"/>
                <a:gd name="connsiteX2" fmla="*/ 4828 w 84765"/>
                <a:gd name="connsiteY2" fmla="*/ 263963 h 281028"/>
                <a:gd name="connsiteX3" fmla="*/ 0 w 84765"/>
                <a:gd name="connsiteY3" fmla="*/ 206370 h 281028"/>
                <a:gd name="connsiteX4" fmla="*/ 0 w 84765"/>
                <a:gd name="connsiteY4" fmla="*/ 38074 h 281028"/>
                <a:gd name="connsiteX5" fmla="*/ 73388 w 84765"/>
                <a:gd name="connsiteY5" fmla="*/ 0 h 281028"/>
                <a:gd name="connsiteX6" fmla="*/ 74492 w 84765"/>
                <a:gd name="connsiteY6" fmla="*/ 153950 h 281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4765" h="281028">
                  <a:moveTo>
                    <a:pt x="84765" y="225012"/>
                  </a:moveTo>
                  <a:lnTo>
                    <a:pt x="13471" y="281028"/>
                  </a:lnTo>
                  <a:lnTo>
                    <a:pt x="4828" y="263963"/>
                  </a:lnTo>
                  <a:cubicBezTo>
                    <a:pt x="1241" y="248168"/>
                    <a:pt x="0" y="228993"/>
                    <a:pt x="0" y="206370"/>
                  </a:cubicBez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7" name="Forme libre : forme 2526">
              <a:extLst>
                <a:ext uri="{FF2B5EF4-FFF2-40B4-BE49-F238E27FC236}">
                  <a16:creationId xmlns:a16="http://schemas.microsoft.com/office/drawing/2014/main" id="{6411FD51-776E-4AA6-866C-86AC7DDE6B1E}"/>
                </a:ext>
              </a:extLst>
            </p:cNvPr>
            <p:cNvSpPr/>
            <p:nvPr/>
          </p:nvSpPr>
          <p:spPr>
            <a:xfrm rot="8716295">
              <a:off x="5789699" y="1993578"/>
              <a:ext cx="181333" cy="87320"/>
            </a:xfrm>
            <a:custGeom>
              <a:avLst/>
              <a:gdLst>
                <a:gd name="connsiteX0" fmla="*/ 0 w 181333"/>
                <a:gd name="connsiteY0" fmla="*/ 87320 h 87320"/>
                <a:gd name="connsiteX1" fmla="*/ 42309 w 181333"/>
                <a:gd name="connsiteY1" fmla="*/ 36168 h 87320"/>
                <a:gd name="connsiteX2" fmla="*/ 54839 w 181333"/>
                <a:gd name="connsiteY2" fmla="*/ 38831 h 87320"/>
                <a:gd name="connsiteX3" fmla="*/ 107790 w 181333"/>
                <a:gd name="connsiteY3" fmla="*/ 29417 h 87320"/>
                <a:gd name="connsiteX4" fmla="*/ 180157 w 181333"/>
                <a:gd name="connsiteY4" fmla="*/ 0 h 87320"/>
                <a:gd name="connsiteX5" fmla="*/ 181333 w 181333"/>
                <a:gd name="connsiteY5" fmla="*/ 7648 h 87320"/>
                <a:gd name="connsiteX6" fmla="*/ 181333 w 181333"/>
                <a:gd name="connsiteY6" fmla="*/ 13532 h 87320"/>
                <a:gd name="connsiteX7" fmla="*/ 30340 w 181333"/>
                <a:gd name="connsiteY7" fmla="*/ 83361 h 87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333" h="87320">
                  <a:moveTo>
                    <a:pt x="0" y="87320"/>
                  </a:moveTo>
                  <a:lnTo>
                    <a:pt x="42309" y="36168"/>
                  </a:lnTo>
                  <a:lnTo>
                    <a:pt x="54839" y="38831"/>
                  </a:lnTo>
                  <a:cubicBezTo>
                    <a:pt x="73078" y="38242"/>
                    <a:pt x="90728" y="34712"/>
                    <a:pt x="107790" y="29417"/>
                  </a:cubicBezTo>
                  <a:cubicBezTo>
                    <a:pt x="132500" y="21768"/>
                    <a:pt x="156623" y="11767"/>
                    <a:pt x="180157" y="0"/>
                  </a:cubicBezTo>
                  <a:cubicBezTo>
                    <a:pt x="180745" y="2353"/>
                    <a:pt x="181333" y="5295"/>
                    <a:pt x="181333" y="7648"/>
                  </a:cubicBezTo>
                  <a:lnTo>
                    <a:pt x="181333" y="13532"/>
                  </a:lnTo>
                  <a:cubicBezTo>
                    <a:pt x="134560" y="53687"/>
                    <a:pt x="76865" y="74315"/>
                    <a:pt x="30340" y="833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8" name="Forme libre : forme 2527">
              <a:extLst>
                <a:ext uri="{FF2B5EF4-FFF2-40B4-BE49-F238E27FC236}">
                  <a16:creationId xmlns:a16="http://schemas.microsoft.com/office/drawing/2014/main" id="{4016D6BF-E72B-479D-8087-47A81BBF417D}"/>
                </a:ext>
              </a:extLst>
            </p:cNvPr>
            <p:cNvSpPr/>
            <p:nvPr/>
          </p:nvSpPr>
          <p:spPr>
            <a:xfrm rot="8716295">
              <a:off x="5880884" y="1564845"/>
              <a:ext cx="61060" cy="195751"/>
            </a:xfrm>
            <a:custGeom>
              <a:avLst/>
              <a:gdLst>
                <a:gd name="connsiteX0" fmla="*/ 0 w 61060"/>
                <a:gd name="connsiteY0" fmla="*/ 195751 h 195751"/>
                <a:gd name="connsiteX1" fmla="*/ 0 w 61060"/>
                <a:gd name="connsiteY1" fmla="*/ 67520 h 195751"/>
                <a:gd name="connsiteX2" fmla="*/ 55847 w 61060"/>
                <a:gd name="connsiteY2" fmla="*/ 0 h 195751"/>
                <a:gd name="connsiteX3" fmla="*/ 61059 w 61060"/>
                <a:gd name="connsiteY3" fmla="*/ 13486 h 195751"/>
                <a:gd name="connsiteX4" fmla="*/ 61060 w 61060"/>
                <a:gd name="connsiteY4" fmla="*/ 171601 h 195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60" h="195751">
                  <a:moveTo>
                    <a:pt x="0" y="195751"/>
                  </a:moveTo>
                  <a:lnTo>
                    <a:pt x="0" y="67520"/>
                  </a:lnTo>
                  <a:lnTo>
                    <a:pt x="55847" y="0"/>
                  </a:lnTo>
                  <a:lnTo>
                    <a:pt x="61059" y="13486"/>
                  </a:lnTo>
                  <a:lnTo>
                    <a:pt x="61060" y="17160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9" name="Forme libre : forme 2528">
              <a:extLst>
                <a:ext uri="{FF2B5EF4-FFF2-40B4-BE49-F238E27FC236}">
                  <a16:creationId xmlns:a16="http://schemas.microsoft.com/office/drawing/2014/main" id="{C9150DCD-F0A2-40C0-9C18-4806DAE4299B}"/>
                </a:ext>
              </a:extLst>
            </p:cNvPr>
            <p:cNvSpPr/>
            <p:nvPr/>
          </p:nvSpPr>
          <p:spPr>
            <a:xfrm rot="8716295">
              <a:off x="5772692" y="162676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0" name="Forme libre : forme 2529">
              <a:extLst>
                <a:ext uri="{FF2B5EF4-FFF2-40B4-BE49-F238E27FC236}">
                  <a16:creationId xmlns:a16="http://schemas.microsoft.com/office/drawing/2014/main" id="{31E25632-0B2D-4088-97A3-B015DDAB706E}"/>
                </a:ext>
              </a:extLst>
            </p:cNvPr>
            <p:cNvSpPr/>
            <p:nvPr/>
          </p:nvSpPr>
          <p:spPr>
            <a:xfrm rot="8716295">
              <a:off x="5647789" y="141808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1" name="Forme libre : forme 2530">
              <a:extLst>
                <a:ext uri="{FF2B5EF4-FFF2-40B4-BE49-F238E27FC236}">
                  <a16:creationId xmlns:a16="http://schemas.microsoft.com/office/drawing/2014/main" id="{B3255F7B-0F97-465E-93D7-7FA94259C6BD}"/>
                </a:ext>
              </a:extLst>
            </p:cNvPr>
            <p:cNvSpPr/>
            <p:nvPr/>
          </p:nvSpPr>
          <p:spPr>
            <a:xfrm rot="8716295">
              <a:off x="5635737" y="1279309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2" name="Forme libre : forme 2531">
              <a:extLst>
                <a:ext uri="{FF2B5EF4-FFF2-40B4-BE49-F238E27FC236}">
                  <a16:creationId xmlns:a16="http://schemas.microsoft.com/office/drawing/2014/main" id="{DDCFE949-9F0B-4027-A955-7581B115547F}"/>
                </a:ext>
              </a:extLst>
            </p:cNvPr>
            <p:cNvSpPr/>
            <p:nvPr/>
          </p:nvSpPr>
          <p:spPr>
            <a:xfrm rot="8716295">
              <a:off x="5863691" y="1680538"/>
              <a:ext cx="60147" cy="219174"/>
            </a:xfrm>
            <a:custGeom>
              <a:avLst/>
              <a:gdLst>
                <a:gd name="connsiteX0" fmla="*/ 60147 w 60147"/>
                <a:gd name="connsiteY0" fmla="*/ 219174 h 219174"/>
                <a:gd name="connsiteX1" fmla="*/ 0 w 60147"/>
                <a:gd name="connsiteY1" fmla="*/ 161304 h 219174"/>
                <a:gd name="connsiteX2" fmla="*/ 0 w 60147"/>
                <a:gd name="connsiteY2" fmla="*/ 68045 h 219174"/>
                <a:gd name="connsiteX3" fmla="*/ 56210 w 60147"/>
                <a:gd name="connsiteY3" fmla="*/ 87 h 219174"/>
                <a:gd name="connsiteX4" fmla="*/ 60147 w 60147"/>
                <a:gd name="connsiteY4" fmla="*/ 0 h 219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47" h="219174">
                  <a:moveTo>
                    <a:pt x="60147" y="219174"/>
                  </a:moveTo>
                  <a:lnTo>
                    <a:pt x="0" y="161304"/>
                  </a:lnTo>
                  <a:lnTo>
                    <a:pt x="0" y="68045"/>
                  </a:lnTo>
                  <a:lnTo>
                    <a:pt x="56210" y="87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3" name="Forme libre : forme 2532">
              <a:extLst>
                <a:ext uri="{FF2B5EF4-FFF2-40B4-BE49-F238E27FC236}">
                  <a16:creationId xmlns:a16="http://schemas.microsoft.com/office/drawing/2014/main" id="{65DD55AE-558A-4E5E-92F3-6D26BC8FC5C0}"/>
                </a:ext>
              </a:extLst>
            </p:cNvPr>
            <p:cNvSpPr/>
            <p:nvPr/>
          </p:nvSpPr>
          <p:spPr>
            <a:xfrm rot="8716295">
              <a:off x="5910518" y="126796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4" name="Forme libre : forme 2533">
              <a:extLst>
                <a:ext uri="{FF2B5EF4-FFF2-40B4-BE49-F238E27FC236}">
                  <a16:creationId xmlns:a16="http://schemas.microsoft.com/office/drawing/2014/main" id="{0EC05458-5106-4134-90D2-715C795E2923}"/>
                </a:ext>
              </a:extLst>
            </p:cNvPr>
            <p:cNvSpPr/>
            <p:nvPr/>
          </p:nvSpPr>
          <p:spPr>
            <a:xfrm rot="8716295">
              <a:off x="5661759" y="87851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5" name="Forme libre : forme 2534">
              <a:extLst>
                <a:ext uri="{FF2B5EF4-FFF2-40B4-BE49-F238E27FC236}">
                  <a16:creationId xmlns:a16="http://schemas.microsoft.com/office/drawing/2014/main" id="{D057AB63-8011-4BAF-B87B-EAA1065401D7}"/>
                </a:ext>
              </a:extLst>
            </p:cNvPr>
            <p:cNvSpPr/>
            <p:nvPr/>
          </p:nvSpPr>
          <p:spPr>
            <a:xfrm rot="8716295">
              <a:off x="5751943" y="913207"/>
              <a:ext cx="229128" cy="254774"/>
            </a:xfrm>
            <a:custGeom>
              <a:avLst/>
              <a:gdLst>
                <a:gd name="connsiteX0" fmla="*/ 19979 w 229128"/>
                <a:gd name="connsiteY0" fmla="*/ 254774 h 254774"/>
                <a:gd name="connsiteX1" fmla="*/ 19979 w 229128"/>
                <a:gd name="connsiteY1" fmla="*/ 45624 h 254774"/>
                <a:gd name="connsiteX2" fmla="*/ 0 w 229128"/>
                <a:gd name="connsiteY2" fmla="*/ 45624 h 254774"/>
                <a:gd name="connsiteX3" fmla="*/ 36558 w 229128"/>
                <a:gd name="connsiteY3" fmla="*/ 1425 h 254774"/>
                <a:gd name="connsiteX4" fmla="*/ 73292 w 229128"/>
                <a:gd name="connsiteY4" fmla="*/ 1425 h 254774"/>
                <a:gd name="connsiteX5" fmla="*/ 73292 w 229128"/>
                <a:gd name="connsiteY5" fmla="*/ 75242 h 254774"/>
                <a:gd name="connsiteX6" fmla="*/ 74658 w 229128"/>
                <a:gd name="connsiteY6" fmla="*/ 75242 h 254774"/>
                <a:gd name="connsiteX7" fmla="*/ 122503 w 229128"/>
                <a:gd name="connsiteY7" fmla="*/ 5981 h 254774"/>
                <a:gd name="connsiteX8" fmla="*/ 153944 w 229128"/>
                <a:gd name="connsiteY8" fmla="*/ 57 h 254774"/>
                <a:gd name="connsiteX9" fmla="*/ 229128 w 229128"/>
                <a:gd name="connsiteY9" fmla="*/ 88456 h 254774"/>
                <a:gd name="connsiteX10" fmla="*/ 229128 w 229128"/>
                <a:gd name="connsiteY10" fmla="*/ 94380 h 254774"/>
                <a:gd name="connsiteX11" fmla="*/ 167158 w 229128"/>
                <a:gd name="connsiteY11" fmla="*/ 98025 h 254774"/>
                <a:gd name="connsiteX12" fmla="*/ 167158 w 229128"/>
                <a:gd name="connsiteY12" fmla="*/ 81621 h 254774"/>
                <a:gd name="connsiteX13" fmla="*/ 133439 w 229128"/>
                <a:gd name="connsiteY13" fmla="*/ 40156 h 254774"/>
                <a:gd name="connsiteX14" fmla="*/ 80127 w 229128"/>
                <a:gd name="connsiteY14" fmla="*/ 127643 h 254774"/>
                <a:gd name="connsiteX15" fmla="*/ 80127 w 229128"/>
                <a:gd name="connsiteY15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29128" h="254774">
                  <a:moveTo>
                    <a:pt x="19979" y="254774"/>
                  </a:moveTo>
                  <a:lnTo>
                    <a:pt x="19979" y="45624"/>
                  </a:lnTo>
                  <a:lnTo>
                    <a:pt x="0" y="45624"/>
                  </a:lnTo>
                  <a:lnTo>
                    <a:pt x="36558" y="1425"/>
                  </a:lnTo>
                  <a:lnTo>
                    <a:pt x="73292" y="1425"/>
                  </a:lnTo>
                  <a:lnTo>
                    <a:pt x="73292" y="75242"/>
                  </a:lnTo>
                  <a:lnTo>
                    <a:pt x="74658" y="75242"/>
                  </a:lnTo>
                  <a:cubicBezTo>
                    <a:pt x="89240" y="31954"/>
                    <a:pt x="100631" y="15094"/>
                    <a:pt x="122503" y="5981"/>
                  </a:cubicBezTo>
                  <a:cubicBezTo>
                    <a:pt x="132528" y="1880"/>
                    <a:pt x="143008" y="-398"/>
                    <a:pt x="153944" y="57"/>
                  </a:cubicBezTo>
                  <a:cubicBezTo>
                    <a:pt x="200877" y="-854"/>
                    <a:pt x="229128" y="31954"/>
                    <a:pt x="229128" y="88456"/>
                  </a:cubicBezTo>
                  <a:lnTo>
                    <a:pt x="229128" y="94380"/>
                  </a:lnTo>
                  <a:lnTo>
                    <a:pt x="167158" y="98025"/>
                  </a:lnTo>
                  <a:lnTo>
                    <a:pt x="167158" y="81621"/>
                  </a:lnTo>
                  <a:cubicBezTo>
                    <a:pt x="167158" y="57016"/>
                    <a:pt x="153033" y="40156"/>
                    <a:pt x="133439" y="40156"/>
                  </a:cubicBezTo>
                  <a:cubicBezTo>
                    <a:pt x="104277" y="40156"/>
                    <a:pt x="80127" y="78887"/>
                    <a:pt x="80127" y="127643"/>
                  </a:cubicBezTo>
                  <a:lnTo>
                    <a:pt x="80127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6" name="Forme libre : forme 2535">
              <a:extLst>
                <a:ext uri="{FF2B5EF4-FFF2-40B4-BE49-F238E27FC236}">
                  <a16:creationId xmlns:a16="http://schemas.microsoft.com/office/drawing/2014/main" id="{2835F711-6457-4567-BFF6-A0B784C09FC4}"/>
                </a:ext>
              </a:extLst>
            </p:cNvPr>
            <p:cNvSpPr/>
            <p:nvPr/>
          </p:nvSpPr>
          <p:spPr>
            <a:xfrm rot="8716295">
              <a:off x="5706301" y="821481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7" name="Forme libre : forme 2536">
              <a:extLst>
                <a:ext uri="{FF2B5EF4-FFF2-40B4-BE49-F238E27FC236}">
                  <a16:creationId xmlns:a16="http://schemas.microsoft.com/office/drawing/2014/main" id="{09671646-B442-4067-9AA2-DA2D5180E659}"/>
                </a:ext>
              </a:extLst>
            </p:cNvPr>
            <p:cNvSpPr/>
            <p:nvPr/>
          </p:nvSpPr>
          <p:spPr>
            <a:xfrm rot="8716295">
              <a:off x="5549525" y="96706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8" name="Forme libre : forme 2537">
              <a:extLst>
                <a:ext uri="{FF2B5EF4-FFF2-40B4-BE49-F238E27FC236}">
                  <a16:creationId xmlns:a16="http://schemas.microsoft.com/office/drawing/2014/main" id="{A36AF7BA-D17B-4A0F-86BD-D2B1CBD1C700}"/>
                </a:ext>
              </a:extLst>
            </p:cNvPr>
            <p:cNvSpPr/>
            <p:nvPr/>
          </p:nvSpPr>
          <p:spPr>
            <a:xfrm rot="8716295">
              <a:off x="5424622" y="75839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9" name="Forme libre : forme 2538">
              <a:extLst>
                <a:ext uri="{FF2B5EF4-FFF2-40B4-BE49-F238E27FC236}">
                  <a16:creationId xmlns:a16="http://schemas.microsoft.com/office/drawing/2014/main" id="{AF5CCE06-D137-4C0F-9245-A218B9F04135}"/>
                </a:ext>
              </a:extLst>
            </p:cNvPr>
            <p:cNvSpPr/>
            <p:nvPr/>
          </p:nvSpPr>
          <p:spPr>
            <a:xfrm rot="8716295">
              <a:off x="5412570" y="619610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0" name="Forme libre : forme 2539">
              <a:extLst>
                <a:ext uri="{FF2B5EF4-FFF2-40B4-BE49-F238E27FC236}">
                  <a16:creationId xmlns:a16="http://schemas.microsoft.com/office/drawing/2014/main" id="{ED460E8C-C78B-44EF-9945-8FB1024E7269}"/>
                </a:ext>
              </a:extLst>
            </p:cNvPr>
            <p:cNvSpPr/>
            <p:nvPr/>
          </p:nvSpPr>
          <p:spPr>
            <a:xfrm rot="8716295">
              <a:off x="5639703" y="100801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1" name="Forme libre : forme 2540">
              <a:extLst>
                <a:ext uri="{FF2B5EF4-FFF2-40B4-BE49-F238E27FC236}">
                  <a16:creationId xmlns:a16="http://schemas.microsoft.com/office/drawing/2014/main" id="{44797871-BF4A-4658-8B0F-C75DE4AC12D4}"/>
                </a:ext>
              </a:extLst>
            </p:cNvPr>
            <p:cNvSpPr/>
            <p:nvPr/>
          </p:nvSpPr>
          <p:spPr>
            <a:xfrm rot="8716295">
              <a:off x="5950315" y="653899"/>
              <a:ext cx="61060" cy="208036"/>
            </a:xfrm>
            <a:custGeom>
              <a:avLst/>
              <a:gdLst>
                <a:gd name="connsiteX0" fmla="*/ 0 w 61060"/>
                <a:gd name="connsiteY0" fmla="*/ 208036 h 208036"/>
                <a:gd name="connsiteX1" fmla="*/ 1 w 61060"/>
                <a:gd name="connsiteY1" fmla="*/ 61780 h 208036"/>
                <a:gd name="connsiteX2" fmla="*/ 51100 w 61060"/>
                <a:gd name="connsiteY2" fmla="*/ 0 h 208036"/>
                <a:gd name="connsiteX3" fmla="*/ 61059 w 61060"/>
                <a:gd name="connsiteY3" fmla="*/ 25771 h 208036"/>
                <a:gd name="connsiteX4" fmla="*/ 61060 w 61060"/>
                <a:gd name="connsiteY4" fmla="*/ 183886 h 208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60" h="208036">
                  <a:moveTo>
                    <a:pt x="0" y="208036"/>
                  </a:moveTo>
                  <a:lnTo>
                    <a:pt x="1" y="61780"/>
                  </a:lnTo>
                  <a:lnTo>
                    <a:pt x="51100" y="0"/>
                  </a:lnTo>
                  <a:lnTo>
                    <a:pt x="61059" y="25771"/>
                  </a:lnTo>
                  <a:lnTo>
                    <a:pt x="61060" y="18388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2" name="Forme libre : forme 2541">
              <a:extLst>
                <a:ext uri="{FF2B5EF4-FFF2-40B4-BE49-F238E27FC236}">
                  <a16:creationId xmlns:a16="http://schemas.microsoft.com/office/drawing/2014/main" id="{1F8AF864-43AC-4DF3-8966-C8908B7A01D3}"/>
                </a:ext>
              </a:extLst>
            </p:cNvPr>
            <p:cNvSpPr/>
            <p:nvPr/>
          </p:nvSpPr>
          <p:spPr>
            <a:xfrm rot="8716295">
              <a:off x="5838624" y="71691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3" name="Forme libre : forme 2542">
              <a:extLst>
                <a:ext uri="{FF2B5EF4-FFF2-40B4-BE49-F238E27FC236}">
                  <a16:creationId xmlns:a16="http://schemas.microsoft.com/office/drawing/2014/main" id="{A5452EDF-F2D0-4EB5-B794-A8063E26BBF7}"/>
                </a:ext>
              </a:extLst>
            </p:cNvPr>
            <p:cNvSpPr/>
            <p:nvPr/>
          </p:nvSpPr>
          <p:spPr>
            <a:xfrm rot="8716295">
              <a:off x="5713722" y="50823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4" name="Forme libre : forme 2543">
              <a:extLst>
                <a:ext uri="{FF2B5EF4-FFF2-40B4-BE49-F238E27FC236}">
                  <a16:creationId xmlns:a16="http://schemas.microsoft.com/office/drawing/2014/main" id="{1AC7FCE0-D551-4D48-B54B-39B8C83CD6FF}"/>
                </a:ext>
              </a:extLst>
            </p:cNvPr>
            <p:cNvSpPr/>
            <p:nvPr/>
          </p:nvSpPr>
          <p:spPr>
            <a:xfrm rot="8716295">
              <a:off x="5929622" y="770687"/>
              <a:ext cx="60148" cy="219175"/>
            </a:xfrm>
            <a:custGeom>
              <a:avLst/>
              <a:gdLst>
                <a:gd name="connsiteX0" fmla="*/ 60148 w 60148"/>
                <a:gd name="connsiteY0" fmla="*/ 219175 h 219175"/>
                <a:gd name="connsiteX1" fmla="*/ 0 w 60148"/>
                <a:gd name="connsiteY1" fmla="*/ 161305 h 219175"/>
                <a:gd name="connsiteX2" fmla="*/ 0 w 60148"/>
                <a:gd name="connsiteY2" fmla="*/ 50021 h 219175"/>
                <a:gd name="connsiteX3" fmla="*/ 41025 w 60148"/>
                <a:gd name="connsiteY3" fmla="*/ 421 h 219175"/>
                <a:gd name="connsiteX4" fmla="*/ 60147 w 60148"/>
                <a:gd name="connsiteY4" fmla="*/ 0 h 219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48" h="219175">
                  <a:moveTo>
                    <a:pt x="60148" y="219175"/>
                  </a:moveTo>
                  <a:lnTo>
                    <a:pt x="0" y="161305"/>
                  </a:lnTo>
                  <a:lnTo>
                    <a:pt x="0" y="50021"/>
                  </a:lnTo>
                  <a:lnTo>
                    <a:pt x="41025" y="421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5" name="Forme libre : forme 2544">
              <a:extLst>
                <a:ext uri="{FF2B5EF4-FFF2-40B4-BE49-F238E27FC236}">
                  <a16:creationId xmlns:a16="http://schemas.microsoft.com/office/drawing/2014/main" id="{528E3663-F822-4A22-A3E4-0940AC0A021C}"/>
                </a:ext>
              </a:extLst>
            </p:cNvPr>
            <p:cNvSpPr/>
            <p:nvPr/>
          </p:nvSpPr>
          <p:spPr>
            <a:xfrm rot="8716295">
              <a:off x="5687351" y="608263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6" name="Forme libre : forme 2545">
              <a:extLst>
                <a:ext uri="{FF2B5EF4-FFF2-40B4-BE49-F238E27FC236}">
                  <a16:creationId xmlns:a16="http://schemas.microsoft.com/office/drawing/2014/main" id="{1D9FE5D3-D3BA-4384-A368-415E7F501305}"/>
                </a:ext>
              </a:extLst>
            </p:cNvPr>
            <p:cNvSpPr/>
            <p:nvPr/>
          </p:nvSpPr>
          <p:spPr>
            <a:xfrm rot="8716295">
              <a:off x="6020907" y="657792"/>
              <a:ext cx="32038" cy="36361"/>
            </a:xfrm>
            <a:custGeom>
              <a:avLst/>
              <a:gdLst>
                <a:gd name="connsiteX0" fmla="*/ 0 w 32038"/>
                <a:gd name="connsiteY0" fmla="*/ 35166 h 36361"/>
                <a:gd name="connsiteX1" fmla="*/ 29086 w 32038"/>
                <a:gd name="connsiteY1" fmla="*/ 0 h 36361"/>
                <a:gd name="connsiteX2" fmla="*/ 32038 w 32038"/>
                <a:gd name="connsiteY2" fmla="*/ 7028 h 36361"/>
                <a:gd name="connsiteX3" fmla="*/ 23495 w 32038"/>
                <a:gd name="connsiteY3" fmla="*/ 27704 h 36361"/>
                <a:gd name="connsiteX4" fmla="*/ 2990 w 32038"/>
                <a:gd name="connsiteY4" fmla="*/ 36361 h 36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038" h="36361">
                  <a:moveTo>
                    <a:pt x="0" y="35166"/>
                  </a:moveTo>
                  <a:lnTo>
                    <a:pt x="29086" y="0"/>
                  </a:lnTo>
                  <a:lnTo>
                    <a:pt x="32038" y="7028"/>
                  </a:lnTo>
                  <a:cubicBezTo>
                    <a:pt x="32039" y="14489"/>
                    <a:pt x="29191" y="22008"/>
                    <a:pt x="23495" y="27704"/>
                  </a:cubicBezTo>
                  <a:cubicBezTo>
                    <a:pt x="18027" y="33172"/>
                    <a:pt x="10736" y="36361"/>
                    <a:pt x="2990" y="363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7" name="Forme libre : forme 2546">
              <a:extLst>
                <a:ext uri="{FF2B5EF4-FFF2-40B4-BE49-F238E27FC236}">
                  <a16:creationId xmlns:a16="http://schemas.microsoft.com/office/drawing/2014/main" id="{74B385B7-490F-4B64-8CDD-005D25D28D6D}"/>
                </a:ext>
              </a:extLst>
            </p:cNvPr>
            <p:cNvSpPr/>
            <p:nvPr/>
          </p:nvSpPr>
          <p:spPr>
            <a:xfrm rot="8716295">
              <a:off x="5442820" y="21646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8" name="Forme libre : forme 2547">
              <a:extLst>
                <a:ext uri="{FF2B5EF4-FFF2-40B4-BE49-F238E27FC236}">
                  <a16:creationId xmlns:a16="http://schemas.microsoft.com/office/drawing/2014/main" id="{00A5BEA9-8E4C-4D3C-A9D9-E06E091E430D}"/>
                </a:ext>
              </a:extLst>
            </p:cNvPr>
            <p:cNvSpPr/>
            <p:nvPr/>
          </p:nvSpPr>
          <p:spPr>
            <a:xfrm rot="8716295">
              <a:off x="5532212" y="24570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9" name="Forme libre : forme 2548">
              <a:extLst>
                <a:ext uri="{FF2B5EF4-FFF2-40B4-BE49-F238E27FC236}">
                  <a16:creationId xmlns:a16="http://schemas.microsoft.com/office/drawing/2014/main" id="{51F90AEB-3E6A-4371-81D7-8624D42EAD0B}"/>
                </a:ext>
              </a:extLst>
            </p:cNvPr>
            <p:cNvSpPr/>
            <p:nvPr/>
          </p:nvSpPr>
          <p:spPr>
            <a:xfrm rot="8716295">
              <a:off x="5487362" y="15942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0" name="Forme libre : forme 2549">
              <a:extLst>
                <a:ext uri="{FF2B5EF4-FFF2-40B4-BE49-F238E27FC236}">
                  <a16:creationId xmlns:a16="http://schemas.microsoft.com/office/drawing/2014/main" id="{66DEF209-BFB8-4520-8F33-CA20A27BB5A9}"/>
                </a:ext>
              </a:extLst>
            </p:cNvPr>
            <p:cNvSpPr/>
            <p:nvPr/>
          </p:nvSpPr>
          <p:spPr>
            <a:xfrm rot="8716295">
              <a:off x="5330586" y="30500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1" name="Forme libre : forme 2550">
              <a:extLst>
                <a:ext uri="{FF2B5EF4-FFF2-40B4-BE49-F238E27FC236}">
                  <a16:creationId xmlns:a16="http://schemas.microsoft.com/office/drawing/2014/main" id="{02E582F8-1DAD-41CD-B82A-472A28D81DC3}"/>
                </a:ext>
              </a:extLst>
            </p:cNvPr>
            <p:cNvSpPr/>
            <p:nvPr/>
          </p:nvSpPr>
          <p:spPr>
            <a:xfrm rot="8716295">
              <a:off x="5205683" y="9633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2" name="Forme libre : forme 2551">
              <a:extLst>
                <a:ext uri="{FF2B5EF4-FFF2-40B4-BE49-F238E27FC236}">
                  <a16:creationId xmlns:a16="http://schemas.microsoft.com/office/drawing/2014/main" id="{2D7C4CFF-E9C9-4017-8965-B23AA1CAC9F5}"/>
                </a:ext>
              </a:extLst>
            </p:cNvPr>
            <p:cNvSpPr/>
            <p:nvPr/>
          </p:nvSpPr>
          <p:spPr>
            <a:xfrm rot="8716295">
              <a:off x="5193248" y="-36152"/>
              <a:ext cx="290643" cy="340949"/>
            </a:xfrm>
            <a:custGeom>
              <a:avLst/>
              <a:gdLst>
                <a:gd name="connsiteX0" fmla="*/ 155476 w 290643"/>
                <a:gd name="connsiteY0" fmla="*/ 340949 h 340949"/>
                <a:gd name="connsiteX1" fmla="*/ 1169 w 290643"/>
                <a:gd name="connsiteY1" fmla="*/ 233989 h 340949"/>
                <a:gd name="connsiteX2" fmla="*/ 0 w 290643"/>
                <a:gd name="connsiteY2" fmla="*/ 220042 h 340949"/>
                <a:gd name="connsiteX3" fmla="*/ 0 w 290643"/>
                <a:gd name="connsiteY3" fmla="*/ 40596 h 340949"/>
                <a:gd name="connsiteX4" fmla="*/ 78250 w 290643"/>
                <a:gd name="connsiteY4" fmla="*/ 0 h 340949"/>
                <a:gd name="connsiteX5" fmla="*/ 79427 w 290643"/>
                <a:gd name="connsiteY5" fmla="*/ 164149 h 340949"/>
                <a:gd name="connsiteX6" fmla="*/ 93547 w 290643"/>
                <a:gd name="connsiteY6" fmla="*/ 261815 h 340949"/>
                <a:gd name="connsiteX7" fmla="*/ 164149 w 290643"/>
                <a:gd name="connsiteY7" fmla="*/ 300646 h 340949"/>
                <a:gd name="connsiteX8" fmla="*/ 217100 w 290643"/>
                <a:gd name="connsiteY8" fmla="*/ 291232 h 340949"/>
                <a:gd name="connsiteX9" fmla="*/ 289467 w 290643"/>
                <a:gd name="connsiteY9" fmla="*/ 261815 h 340949"/>
                <a:gd name="connsiteX10" fmla="*/ 290643 w 290643"/>
                <a:gd name="connsiteY10" fmla="*/ 269463 h 340949"/>
                <a:gd name="connsiteX11" fmla="*/ 290643 w 290643"/>
                <a:gd name="connsiteY11" fmla="*/ 275347 h 340949"/>
                <a:gd name="connsiteX12" fmla="*/ 189080 w 290643"/>
                <a:gd name="connsiteY12" fmla="*/ 331975 h 340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0643" h="340949">
                  <a:moveTo>
                    <a:pt x="155476" y="340949"/>
                  </a:moveTo>
                  <a:lnTo>
                    <a:pt x="1169" y="233989"/>
                  </a:lnTo>
                  <a:lnTo>
                    <a:pt x="0" y="220042"/>
                  </a:ln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9" y="300646"/>
                  </a:cubicBezTo>
                  <a:cubicBezTo>
                    <a:pt x="182388" y="300057"/>
                    <a:pt x="200038" y="296527"/>
                    <a:pt x="217100" y="291232"/>
                  </a:cubicBezTo>
                  <a:cubicBezTo>
                    <a:pt x="241810" y="283584"/>
                    <a:pt x="265933" y="273582"/>
                    <a:pt x="289467" y="261815"/>
                  </a:cubicBezTo>
                  <a:cubicBezTo>
                    <a:pt x="290055" y="264168"/>
                    <a:pt x="290643" y="267110"/>
                    <a:pt x="290643" y="269463"/>
                  </a:cubicBezTo>
                  <a:lnTo>
                    <a:pt x="290643" y="275347"/>
                  </a:lnTo>
                  <a:cubicBezTo>
                    <a:pt x="259461" y="302117"/>
                    <a:pt x="223425" y="320208"/>
                    <a:pt x="189080" y="3319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3" name="Forme libre : forme 2552">
              <a:extLst>
                <a:ext uri="{FF2B5EF4-FFF2-40B4-BE49-F238E27FC236}">
                  <a16:creationId xmlns:a16="http://schemas.microsoft.com/office/drawing/2014/main" id="{1B6E6328-9E6C-4820-97FC-4F7E1744304C}"/>
                </a:ext>
              </a:extLst>
            </p:cNvPr>
            <p:cNvSpPr/>
            <p:nvPr/>
          </p:nvSpPr>
          <p:spPr>
            <a:xfrm rot="8716295">
              <a:off x="5420764" y="34595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4" name="Forme libre : forme 2553">
              <a:extLst>
                <a:ext uri="{FF2B5EF4-FFF2-40B4-BE49-F238E27FC236}">
                  <a16:creationId xmlns:a16="http://schemas.microsoft.com/office/drawing/2014/main" id="{4F045B04-F6BC-4D60-B07A-B22F29BDB27C}"/>
                </a:ext>
              </a:extLst>
            </p:cNvPr>
            <p:cNvSpPr/>
            <p:nvPr/>
          </p:nvSpPr>
          <p:spPr>
            <a:xfrm rot="8716295">
              <a:off x="5731919" y="-3369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5" name="Forme libre : forme 2554">
              <a:extLst>
                <a:ext uri="{FF2B5EF4-FFF2-40B4-BE49-F238E27FC236}">
                  <a16:creationId xmlns:a16="http://schemas.microsoft.com/office/drawing/2014/main" id="{D50AC866-595F-4850-87C8-A4B5DFADD698}"/>
                </a:ext>
              </a:extLst>
            </p:cNvPr>
            <p:cNvSpPr/>
            <p:nvPr/>
          </p:nvSpPr>
          <p:spPr>
            <a:xfrm rot="8716295">
              <a:off x="5826428" y="14828"/>
              <a:ext cx="238830" cy="236556"/>
            </a:xfrm>
            <a:custGeom>
              <a:avLst/>
              <a:gdLst>
                <a:gd name="connsiteX0" fmla="*/ 56401 w 238830"/>
                <a:gd name="connsiteY0" fmla="*/ 236556 h 236556"/>
                <a:gd name="connsiteX1" fmla="*/ 29681 w 238830"/>
                <a:gd name="connsiteY1" fmla="*/ 218034 h 236556"/>
                <a:gd name="connsiteX2" fmla="*/ 29681 w 238830"/>
                <a:gd name="connsiteY2" fmla="*/ 45624 h 236556"/>
                <a:gd name="connsiteX3" fmla="*/ 0 w 238830"/>
                <a:gd name="connsiteY3" fmla="*/ 45624 h 236556"/>
                <a:gd name="connsiteX4" fmla="*/ 36558 w 238830"/>
                <a:gd name="connsiteY4" fmla="*/ 1425 h 236556"/>
                <a:gd name="connsiteX5" fmla="*/ 82994 w 238830"/>
                <a:gd name="connsiteY5" fmla="*/ 1425 h 236556"/>
                <a:gd name="connsiteX6" fmla="*/ 82994 w 238830"/>
                <a:gd name="connsiteY6" fmla="*/ 75242 h 236556"/>
                <a:gd name="connsiteX7" fmla="*/ 84360 w 238830"/>
                <a:gd name="connsiteY7" fmla="*/ 75242 h 236556"/>
                <a:gd name="connsiteX8" fmla="*/ 132205 w 238830"/>
                <a:gd name="connsiteY8" fmla="*/ 5981 h 236556"/>
                <a:gd name="connsiteX9" fmla="*/ 163646 w 238830"/>
                <a:gd name="connsiteY9" fmla="*/ 57 h 236556"/>
                <a:gd name="connsiteX10" fmla="*/ 238830 w 238830"/>
                <a:gd name="connsiteY10" fmla="*/ 88456 h 236556"/>
                <a:gd name="connsiteX11" fmla="*/ 238830 w 238830"/>
                <a:gd name="connsiteY11" fmla="*/ 94380 h 236556"/>
                <a:gd name="connsiteX12" fmla="*/ 176860 w 238830"/>
                <a:gd name="connsiteY12" fmla="*/ 98025 h 236556"/>
                <a:gd name="connsiteX13" fmla="*/ 176860 w 238830"/>
                <a:gd name="connsiteY13" fmla="*/ 81621 h 236556"/>
                <a:gd name="connsiteX14" fmla="*/ 143141 w 238830"/>
                <a:gd name="connsiteY14" fmla="*/ 40156 h 236556"/>
                <a:gd name="connsiteX15" fmla="*/ 89829 w 238830"/>
                <a:gd name="connsiteY15" fmla="*/ 127643 h 236556"/>
                <a:gd name="connsiteX16" fmla="*/ 89829 w 238830"/>
                <a:gd name="connsiteY16" fmla="*/ 213764 h 236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8830" h="236556">
                  <a:moveTo>
                    <a:pt x="56401" y="236556"/>
                  </a:moveTo>
                  <a:lnTo>
                    <a:pt x="29681" y="218034"/>
                  </a:lnTo>
                  <a:lnTo>
                    <a:pt x="29681" y="45624"/>
                  </a:lnTo>
                  <a:lnTo>
                    <a:pt x="0" y="45624"/>
                  </a:lnTo>
                  <a:lnTo>
                    <a:pt x="36558" y="1425"/>
                  </a:lnTo>
                  <a:lnTo>
                    <a:pt x="82994" y="1425"/>
                  </a:lnTo>
                  <a:lnTo>
                    <a:pt x="82994" y="75242"/>
                  </a:lnTo>
                  <a:lnTo>
                    <a:pt x="84360" y="75242"/>
                  </a:lnTo>
                  <a:cubicBezTo>
                    <a:pt x="98942" y="31954"/>
                    <a:pt x="110333" y="15095"/>
                    <a:pt x="132205" y="5981"/>
                  </a:cubicBezTo>
                  <a:cubicBezTo>
                    <a:pt x="142230" y="1880"/>
                    <a:pt x="152710" y="-398"/>
                    <a:pt x="163646" y="57"/>
                  </a:cubicBezTo>
                  <a:cubicBezTo>
                    <a:pt x="210579" y="-854"/>
                    <a:pt x="238830" y="31954"/>
                    <a:pt x="238830" y="88456"/>
                  </a:cubicBezTo>
                  <a:lnTo>
                    <a:pt x="238830" y="94380"/>
                  </a:lnTo>
                  <a:lnTo>
                    <a:pt x="176860" y="98025"/>
                  </a:lnTo>
                  <a:lnTo>
                    <a:pt x="176860" y="81621"/>
                  </a:lnTo>
                  <a:cubicBezTo>
                    <a:pt x="176860" y="57016"/>
                    <a:pt x="162735" y="40156"/>
                    <a:pt x="143141" y="40156"/>
                  </a:cubicBezTo>
                  <a:cubicBezTo>
                    <a:pt x="113979" y="40156"/>
                    <a:pt x="89829" y="78887"/>
                    <a:pt x="89829" y="127643"/>
                  </a:cubicBezTo>
                  <a:lnTo>
                    <a:pt x="89829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6" name="Forme libre : forme 2555">
              <a:extLst>
                <a:ext uri="{FF2B5EF4-FFF2-40B4-BE49-F238E27FC236}">
                  <a16:creationId xmlns:a16="http://schemas.microsoft.com/office/drawing/2014/main" id="{DC4B3E83-7005-4BBD-BBB0-A761AD405952}"/>
                </a:ext>
              </a:extLst>
            </p:cNvPr>
            <p:cNvSpPr/>
            <p:nvPr/>
          </p:nvSpPr>
          <p:spPr>
            <a:xfrm rot="8716295">
              <a:off x="5619685" y="5485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7" name="Forme libre : forme 2556">
              <a:extLst>
                <a:ext uri="{FF2B5EF4-FFF2-40B4-BE49-F238E27FC236}">
                  <a16:creationId xmlns:a16="http://schemas.microsoft.com/office/drawing/2014/main" id="{5C3D8184-C240-45BB-8949-CA444973BFCB}"/>
                </a:ext>
              </a:extLst>
            </p:cNvPr>
            <p:cNvSpPr/>
            <p:nvPr/>
          </p:nvSpPr>
          <p:spPr>
            <a:xfrm rot="8716295">
              <a:off x="5535493" y="-9286"/>
              <a:ext cx="144967" cy="55526"/>
            </a:xfrm>
            <a:custGeom>
              <a:avLst/>
              <a:gdLst>
                <a:gd name="connsiteX0" fmla="*/ 80105 w 144967"/>
                <a:gd name="connsiteY0" fmla="*/ 55526 h 55526"/>
                <a:gd name="connsiteX1" fmla="*/ 0 w 144967"/>
                <a:gd name="connsiteY1" fmla="*/ 0 h 55526"/>
                <a:gd name="connsiteX2" fmla="*/ 144967 w 144967"/>
                <a:gd name="connsiteY2" fmla="*/ 0 h 55526"/>
                <a:gd name="connsiteX3" fmla="*/ 144967 w 144967"/>
                <a:gd name="connsiteY3" fmla="*/ 55323 h 55526"/>
                <a:gd name="connsiteX4" fmla="*/ 80175 w 144967"/>
                <a:gd name="connsiteY4" fmla="*/ 55323 h 55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967" h="55526">
                  <a:moveTo>
                    <a:pt x="80105" y="55526"/>
                  </a:moveTo>
                  <a:lnTo>
                    <a:pt x="0" y="0"/>
                  </a:lnTo>
                  <a:lnTo>
                    <a:pt x="144967" y="0"/>
                  </a:lnTo>
                  <a:lnTo>
                    <a:pt x="144967" y="55323"/>
                  </a:lnTo>
                  <a:lnTo>
                    <a:pt x="8017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8" name="Forme libre : forme 2557">
              <a:extLst>
                <a:ext uri="{FF2B5EF4-FFF2-40B4-BE49-F238E27FC236}">
                  <a16:creationId xmlns:a16="http://schemas.microsoft.com/office/drawing/2014/main" id="{9211EEC6-BD80-4E39-BC94-F406797D4C14}"/>
                </a:ext>
              </a:extLst>
            </p:cNvPr>
            <p:cNvSpPr/>
            <p:nvPr/>
          </p:nvSpPr>
          <p:spPr>
            <a:xfrm rot="8716295">
              <a:off x="5709863" y="9580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9" name="Forme libre : forme 2558">
              <a:extLst>
                <a:ext uri="{FF2B5EF4-FFF2-40B4-BE49-F238E27FC236}">
                  <a16:creationId xmlns:a16="http://schemas.microsoft.com/office/drawing/2014/main" id="{787ACCBC-136A-4496-81B6-93B81D466D2B}"/>
                </a:ext>
              </a:extLst>
            </p:cNvPr>
            <p:cNvSpPr/>
            <p:nvPr/>
          </p:nvSpPr>
          <p:spPr>
            <a:xfrm rot="8716295">
              <a:off x="5474907" y="-18059"/>
              <a:ext cx="53295" cy="42130"/>
            </a:xfrm>
            <a:custGeom>
              <a:avLst/>
              <a:gdLst>
                <a:gd name="connsiteX0" fmla="*/ 51759 w 53295"/>
                <a:gd name="connsiteY0" fmla="*/ 42130 h 42130"/>
                <a:gd name="connsiteX1" fmla="*/ 0 w 53295"/>
                <a:gd name="connsiteY1" fmla="*/ 6252 h 42130"/>
                <a:gd name="connsiteX2" fmla="*/ 14807 w 53295"/>
                <a:gd name="connsiteY2" fmla="*/ 0 h 42130"/>
                <a:gd name="connsiteX3" fmla="*/ 41975 w 53295"/>
                <a:gd name="connsiteY3" fmla="*/ 11471 h 42130"/>
                <a:gd name="connsiteX4" fmla="*/ 53295 w 53295"/>
                <a:gd name="connsiteY4" fmla="*/ 38412 h 42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295" h="42130">
                  <a:moveTo>
                    <a:pt x="51759" y="42130"/>
                  </a:moveTo>
                  <a:lnTo>
                    <a:pt x="0" y="6252"/>
                  </a:lnTo>
                  <a:lnTo>
                    <a:pt x="14807" y="0"/>
                  </a:lnTo>
                  <a:cubicBezTo>
                    <a:pt x="25071" y="0"/>
                    <a:pt x="34731" y="4226"/>
                    <a:pt x="41975" y="11471"/>
                  </a:cubicBezTo>
                  <a:cubicBezTo>
                    <a:pt x="49522" y="18716"/>
                    <a:pt x="53295" y="28526"/>
                    <a:pt x="53295" y="3841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0" name="Forme libre : forme 2559">
              <a:extLst>
                <a:ext uri="{FF2B5EF4-FFF2-40B4-BE49-F238E27FC236}">
                  <a16:creationId xmlns:a16="http://schemas.microsoft.com/office/drawing/2014/main" id="{237D6F67-B176-4659-9C51-9A7BD34F0CA8}"/>
                </a:ext>
              </a:extLst>
            </p:cNvPr>
            <p:cNvSpPr/>
            <p:nvPr/>
          </p:nvSpPr>
          <p:spPr>
            <a:xfrm rot="7484129">
              <a:off x="5814794" y="28715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1" name="Forme libre : forme 2560">
              <a:extLst>
                <a:ext uri="{FF2B5EF4-FFF2-40B4-BE49-F238E27FC236}">
                  <a16:creationId xmlns:a16="http://schemas.microsoft.com/office/drawing/2014/main" id="{0A9A3C01-292B-4D95-942D-9306CC87D815}"/>
                </a:ext>
              </a:extLst>
            </p:cNvPr>
            <p:cNvSpPr/>
            <p:nvPr/>
          </p:nvSpPr>
          <p:spPr>
            <a:xfrm rot="13089394">
              <a:off x="5911866" y="269714"/>
              <a:ext cx="237929" cy="294867"/>
            </a:xfrm>
            <a:custGeom>
              <a:avLst/>
              <a:gdLst>
                <a:gd name="connsiteX0" fmla="*/ 39306 w 237929"/>
                <a:gd name="connsiteY0" fmla="*/ 79955 h 294867"/>
                <a:gd name="connsiteX1" fmla="*/ 0 w 237929"/>
                <a:gd name="connsiteY1" fmla="*/ 20095 h 294867"/>
                <a:gd name="connsiteX2" fmla="*/ 38733 w 237929"/>
                <a:gd name="connsiteY2" fmla="*/ 0 h 294867"/>
                <a:gd name="connsiteX3" fmla="*/ 237929 w 237929"/>
                <a:gd name="connsiteY3" fmla="*/ 258238 h 294867"/>
                <a:gd name="connsiteX4" fmla="*/ 191415 w 237929"/>
                <a:gd name="connsiteY4" fmla="*/ 290069 h 294867"/>
                <a:gd name="connsiteX5" fmla="*/ 180425 w 237929"/>
                <a:gd name="connsiteY5" fmla="*/ 294867 h 294867"/>
                <a:gd name="connsiteX6" fmla="*/ 166448 w 237929"/>
                <a:gd name="connsiteY6" fmla="*/ 273582 h 294867"/>
                <a:gd name="connsiteX7" fmla="*/ 168955 w 237929"/>
                <a:gd name="connsiteY7" fmla="*/ 273136 h 294867"/>
                <a:gd name="connsiteX8" fmla="*/ 236826 w 237929"/>
                <a:gd name="connsiteY8" fmla="*/ 245547 h 294867"/>
                <a:gd name="connsiteX9" fmla="*/ 237929 w 237929"/>
                <a:gd name="connsiteY9" fmla="*/ 252720 h 294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7929" h="294867">
                  <a:moveTo>
                    <a:pt x="39306" y="79955"/>
                  </a:moveTo>
                  <a:lnTo>
                    <a:pt x="0" y="20095"/>
                  </a:lnTo>
                  <a:lnTo>
                    <a:pt x="38733" y="0"/>
                  </a:lnTo>
                  <a:close/>
                  <a:moveTo>
                    <a:pt x="237929" y="258238"/>
                  </a:moveTo>
                  <a:cubicBezTo>
                    <a:pt x="223307" y="270791"/>
                    <a:pt x="207546" y="281309"/>
                    <a:pt x="191415" y="290069"/>
                  </a:cubicBezTo>
                  <a:lnTo>
                    <a:pt x="180425" y="294867"/>
                  </a:lnTo>
                  <a:lnTo>
                    <a:pt x="166448" y="273582"/>
                  </a:lnTo>
                  <a:lnTo>
                    <a:pt x="168955" y="273136"/>
                  </a:lnTo>
                  <a:cubicBezTo>
                    <a:pt x="192130" y="265963"/>
                    <a:pt x="214754" y="256582"/>
                    <a:pt x="236826" y="245547"/>
                  </a:cubicBezTo>
                  <a:cubicBezTo>
                    <a:pt x="237377" y="247754"/>
                    <a:pt x="237929" y="250513"/>
                    <a:pt x="237929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2" name="Forme libre : forme 2561">
              <a:extLst>
                <a:ext uri="{FF2B5EF4-FFF2-40B4-BE49-F238E27FC236}">
                  <a16:creationId xmlns:a16="http://schemas.microsoft.com/office/drawing/2014/main" id="{2A17DA33-A0C3-41F9-AE84-BDC6C53CFE7E}"/>
                </a:ext>
              </a:extLst>
            </p:cNvPr>
            <p:cNvSpPr/>
            <p:nvPr/>
          </p:nvSpPr>
          <p:spPr>
            <a:xfrm rot="8716295">
              <a:off x="6048768" y="-12983"/>
              <a:ext cx="59727" cy="80698"/>
            </a:xfrm>
            <a:custGeom>
              <a:avLst/>
              <a:gdLst>
                <a:gd name="connsiteX0" fmla="*/ 0 w 59727"/>
                <a:gd name="connsiteY0" fmla="*/ 52945 h 80698"/>
                <a:gd name="connsiteX1" fmla="*/ 43791 w 59727"/>
                <a:gd name="connsiteY1" fmla="*/ 0 h 80698"/>
                <a:gd name="connsiteX2" fmla="*/ 59727 w 59727"/>
                <a:gd name="connsiteY2" fmla="*/ 37928 h 80698"/>
                <a:gd name="connsiteX3" fmla="*/ 42480 w 59727"/>
                <a:gd name="connsiteY3" fmla="*/ 79666 h 80698"/>
                <a:gd name="connsiteX4" fmla="*/ 40038 w 59727"/>
                <a:gd name="connsiteY4" fmla="*/ 80698 h 80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727" h="80698">
                  <a:moveTo>
                    <a:pt x="0" y="52945"/>
                  </a:moveTo>
                  <a:lnTo>
                    <a:pt x="43791" y="0"/>
                  </a:lnTo>
                  <a:lnTo>
                    <a:pt x="59727" y="37928"/>
                  </a:lnTo>
                  <a:cubicBezTo>
                    <a:pt x="59727" y="52991"/>
                    <a:pt x="53978" y="68168"/>
                    <a:pt x="42480" y="79666"/>
                  </a:cubicBezTo>
                  <a:lnTo>
                    <a:pt x="40038" y="806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3" name="Forme libre : forme 2562">
              <a:extLst>
                <a:ext uri="{FF2B5EF4-FFF2-40B4-BE49-F238E27FC236}">
                  <a16:creationId xmlns:a16="http://schemas.microsoft.com/office/drawing/2014/main" id="{2353FF35-000A-436A-A845-6D57020C764E}"/>
                </a:ext>
              </a:extLst>
            </p:cNvPr>
            <p:cNvSpPr/>
            <p:nvPr/>
          </p:nvSpPr>
          <p:spPr>
            <a:xfrm rot="8716295">
              <a:off x="5807042" y="-10009"/>
              <a:ext cx="57775" cy="54433"/>
            </a:xfrm>
            <a:custGeom>
              <a:avLst/>
              <a:gdLst>
                <a:gd name="connsiteX0" fmla="*/ 37946 w 57775"/>
                <a:gd name="connsiteY0" fmla="*/ 54433 h 54433"/>
                <a:gd name="connsiteX1" fmla="*/ 0 w 57775"/>
                <a:gd name="connsiteY1" fmla="*/ 28130 h 54433"/>
                <a:gd name="connsiteX2" fmla="*/ 8222 w 57775"/>
                <a:gd name="connsiteY2" fmla="*/ 8658 h 54433"/>
                <a:gd name="connsiteX3" fmla="*/ 28726 w 57775"/>
                <a:gd name="connsiteY3" fmla="*/ 0 h 54433"/>
                <a:gd name="connsiteX4" fmla="*/ 49232 w 57775"/>
                <a:gd name="connsiteY4" fmla="*/ 8658 h 54433"/>
                <a:gd name="connsiteX5" fmla="*/ 49232 w 57775"/>
                <a:gd name="connsiteY5" fmla="*/ 49668 h 54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775" h="54433">
                  <a:moveTo>
                    <a:pt x="37946" y="54433"/>
                  </a:moveTo>
                  <a:lnTo>
                    <a:pt x="0" y="28130"/>
                  </a:lnTo>
                  <a:lnTo>
                    <a:pt x="8222" y="8658"/>
                  </a:lnTo>
                  <a:cubicBezTo>
                    <a:pt x="13690" y="3190"/>
                    <a:pt x="20981" y="0"/>
                    <a:pt x="28726" y="0"/>
                  </a:cubicBezTo>
                  <a:cubicBezTo>
                    <a:pt x="36473" y="0"/>
                    <a:pt x="43764" y="3190"/>
                    <a:pt x="49232" y="8658"/>
                  </a:cubicBezTo>
                  <a:cubicBezTo>
                    <a:pt x="60624" y="19594"/>
                    <a:pt x="60623" y="38276"/>
                    <a:pt x="49232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4" name="Forme libre : forme 2563">
              <a:extLst>
                <a:ext uri="{FF2B5EF4-FFF2-40B4-BE49-F238E27FC236}">
                  <a16:creationId xmlns:a16="http://schemas.microsoft.com/office/drawing/2014/main" id="{D553155B-6380-4B51-8419-ECFF292B83F9}"/>
                </a:ext>
              </a:extLst>
            </p:cNvPr>
            <p:cNvSpPr/>
            <p:nvPr/>
          </p:nvSpPr>
          <p:spPr>
            <a:xfrm rot="8716295">
              <a:off x="212141" y="304502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5" name="Forme libre : forme 2564">
              <a:extLst>
                <a:ext uri="{FF2B5EF4-FFF2-40B4-BE49-F238E27FC236}">
                  <a16:creationId xmlns:a16="http://schemas.microsoft.com/office/drawing/2014/main" id="{67BA1FC2-F36C-4A5C-929D-EFEA62216900}"/>
                </a:ext>
              </a:extLst>
            </p:cNvPr>
            <p:cNvSpPr/>
            <p:nvPr/>
          </p:nvSpPr>
          <p:spPr>
            <a:xfrm rot="8716295">
              <a:off x="301533" y="307427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6" name="Forme libre : forme 2565">
              <a:extLst>
                <a:ext uri="{FF2B5EF4-FFF2-40B4-BE49-F238E27FC236}">
                  <a16:creationId xmlns:a16="http://schemas.microsoft.com/office/drawing/2014/main" id="{511D384B-98C0-4C29-A1F9-D1BCF7610AEC}"/>
                </a:ext>
              </a:extLst>
            </p:cNvPr>
            <p:cNvSpPr/>
            <p:nvPr/>
          </p:nvSpPr>
          <p:spPr>
            <a:xfrm rot="8716295">
              <a:off x="256683" y="298799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7" name="Forme libre : forme 2566">
              <a:extLst>
                <a:ext uri="{FF2B5EF4-FFF2-40B4-BE49-F238E27FC236}">
                  <a16:creationId xmlns:a16="http://schemas.microsoft.com/office/drawing/2014/main" id="{B52ED1B2-C905-44CA-8DB7-D96A1D529045}"/>
                </a:ext>
              </a:extLst>
            </p:cNvPr>
            <p:cNvSpPr/>
            <p:nvPr/>
          </p:nvSpPr>
          <p:spPr>
            <a:xfrm rot="8716295">
              <a:off x="99907" y="31335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8" name="Forme libre : forme 2567">
              <a:extLst>
                <a:ext uri="{FF2B5EF4-FFF2-40B4-BE49-F238E27FC236}">
                  <a16:creationId xmlns:a16="http://schemas.microsoft.com/office/drawing/2014/main" id="{A5A1E363-60C9-4C33-A0CE-7C8397DEAC0C}"/>
                </a:ext>
              </a:extLst>
            </p:cNvPr>
            <p:cNvSpPr/>
            <p:nvPr/>
          </p:nvSpPr>
          <p:spPr>
            <a:xfrm rot="8716295">
              <a:off x="-24996" y="29248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9" name="Forme libre : forme 2568">
              <a:extLst>
                <a:ext uri="{FF2B5EF4-FFF2-40B4-BE49-F238E27FC236}">
                  <a16:creationId xmlns:a16="http://schemas.microsoft.com/office/drawing/2014/main" id="{8C120843-D6BE-458A-B9F4-0279F834C3ED}"/>
                </a:ext>
              </a:extLst>
            </p:cNvPr>
            <p:cNvSpPr/>
            <p:nvPr/>
          </p:nvSpPr>
          <p:spPr>
            <a:xfrm rot="8716295">
              <a:off x="51899" y="2754602"/>
              <a:ext cx="189488" cy="350829"/>
            </a:xfrm>
            <a:custGeom>
              <a:avLst/>
              <a:gdLst>
                <a:gd name="connsiteX0" fmla="*/ 25299 w 189488"/>
                <a:gd name="connsiteY0" fmla="*/ 321238 h 350829"/>
                <a:gd name="connsiteX1" fmla="*/ 0 w 189488"/>
                <a:gd name="connsiteY1" fmla="*/ 220042 h 350829"/>
                <a:gd name="connsiteX2" fmla="*/ 0 w 189488"/>
                <a:gd name="connsiteY2" fmla="*/ 40596 h 350829"/>
                <a:gd name="connsiteX3" fmla="*/ 78250 w 189488"/>
                <a:gd name="connsiteY3" fmla="*/ 0 h 350829"/>
                <a:gd name="connsiteX4" fmla="*/ 79427 w 189488"/>
                <a:gd name="connsiteY4" fmla="*/ 164149 h 350829"/>
                <a:gd name="connsiteX5" fmla="*/ 93547 w 189488"/>
                <a:gd name="connsiteY5" fmla="*/ 261815 h 350829"/>
                <a:gd name="connsiteX6" fmla="*/ 164148 w 189488"/>
                <a:gd name="connsiteY6" fmla="*/ 300646 h 350829"/>
                <a:gd name="connsiteX7" fmla="*/ 189488 w 189488"/>
                <a:gd name="connsiteY7" fmla="*/ 296141 h 350829"/>
                <a:gd name="connsiteX8" fmla="*/ 160617 w 189488"/>
                <a:gd name="connsiteY8" fmla="*/ 337791 h 350829"/>
                <a:gd name="connsiteX9" fmla="*/ 97666 w 189488"/>
                <a:gd name="connsiteY9" fmla="*/ 350655 h 350829"/>
                <a:gd name="connsiteX10" fmla="*/ 25299 w 189488"/>
                <a:gd name="connsiteY10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9488" h="350829">
                  <a:moveTo>
                    <a:pt x="25299" y="321238"/>
                  </a:moveTo>
                  <a:cubicBezTo>
                    <a:pt x="5295" y="301823"/>
                    <a:pt x="0" y="268286"/>
                    <a:pt x="0" y="220042"/>
                  </a:cubicBez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8" y="300646"/>
                  </a:cubicBezTo>
                  <a:lnTo>
                    <a:pt x="189488" y="296141"/>
                  </a:lnTo>
                  <a:lnTo>
                    <a:pt x="160617" y="337791"/>
                  </a:lnTo>
                  <a:lnTo>
                    <a:pt x="97666" y="350655"/>
                  </a:ln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0" name="Forme libre : forme 2569">
              <a:extLst>
                <a:ext uri="{FF2B5EF4-FFF2-40B4-BE49-F238E27FC236}">
                  <a16:creationId xmlns:a16="http://schemas.microsoft.com/office/drawing/2014/main" id="{8BAB5B23-705E-4A16-8C44-8327B4FD6CCC}"/>
                </a:ext>
              </a:extLst>
            </p:cNvPr>
            <p:cNvSpPr/>
            <p:nvPr/>
          </p:nvSpPr>
          <p:spPr>
            <a:xfrm rot="8716295">
              <a:off x="190085" y="317452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1" name="Forme libre : forme 2570">
              <a:extLst>
                <a:ext uri="{FF2B5EF4-FFF2-40B4-BE49-F238E27FC236}">
                  <a16:creationId xmlns:a16="http://schemas.microsoft.com/office/drawing/2014/main" id="{D9337EE8-67E6-49B9-9D08-B8E3597E2BD9}"/>
                </a:ext>
              </a:extLst>
            </p:cNvPr>
            <p:cNvSpPr/>
            <p:nvPr/>
          </p:nvSpPr>
          <p:spPr>
            <a:xfrm rot="8716295">
              <a:off x="501240" y="279487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2" name="Forme libre : forme 2571">
              <a:extLst>
                <a:ext uri="{FF2B5EF4-FFF2-40B4-BE49-F238E27FC236}">
                  <a16:creationId xmlns:a16="http://schemas.microsoft.com/office/drawing/2014/main" id="{383A3F11-DF41-44C2-9C23-687BDA5000E4}"/>
                </a:ext>
              </a:extLst>
            </p:cNvPr>
            <p:cNvSpPr/>
            <p:nvPr/>
          </p:nvSpPr>
          <p:spPr>
            <a:xfrm rot="8716295">
              <a:off x="590632" y="282411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3" name="Forme libre : forme 2572">
              <a:extLst>
                <a:ext uri="{FF2B5EF4-FFF2-40B4-BE49-F238E27FC236}">
                  <a16:creationId xmlns:a16="http://schemas.microsoft.com/office/drawing/2014/main" id="{55344225-1E1A-4BD5-AF05-BEDD630E150A}"/>
                </a:ext>
              </a:extLst>
            </p:cNvPr>
            <p:cNvSpPr/>
            <p:nvPr/>
          </p:nvSpPr>
          <p:spPr>
            <a:xfrm rot="8716295">
              <a:off x="389006" y="2883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4" name="Forme libre : forme 2573">
              <a:extLst>
                <a:ext uri="{FF2B5EF4-FFF2-40B4-BE49-F238E27FC236}">
                  <a16:creationId xmlns:a16="http://schemas.microsoft.com/office/drawing/2014/main" id="{85976604-818D-4F72-A8AF-F6A0827261B7}"/>
                </a:ext>
              </a:extLst>
            </p:cNvPr>
            <p:cNvSpPr/>
            <p:nvPr/>
          </p:nvSpPr>
          <p:spPr>
            <a:xfrm rot="8716295">
              <a:off x="264104" y="267474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5" name="Forme libre : forme 2574">
              <a:extLst>
                <a:ext uri="{FF2B5EF4-FFF2-40B4-BE49-F238E27FC236}">
                  <a16:creationId xmlns:a16="http://schemas.microsoft.com/office/drawing/2014/main" id="{A24AD263-F244-4E1D-862B-19F7259C99AB}"/>
                </a:ext>
              </a:extLst>
            </p:cNvPr>
            <p:cNvSpPr/>
            <p:nvPr/>
          </p:nvSpPr>
          <p:spPr>
            <a:xfrm rot="8716295">
              <a:off x="479184" y="292437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6" name="Forme libre : forme 2575">
              <a:extLst>
                <a:ext uri="{FF2B5EF4-FFF2-40B4-BE49-F238E27FC236}">
                  <a16:creationId xmlns:a16="http://schemas.microsoft.com/office/drawing/2014/main" id="{9C7315BF-5178-441E-B131-40E9768C1474}"/>
                </a:ext>
              </a:extLst>
            </p:cNvPr>
            <p:cNvSpPr/>
            <p:nvPr/>
          </p:nvSpPr>
          <p:spPr>
            <a:xfrm rot="8716295">
              <a:off x="237733" y="277477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7" name="Forme libre : forme 2576">
              <a:extLst>
                <a:ext uri="{FF2B5EF4-FFF2-40B4-BE49-F238E27FC236}">
                  <a16:creationId xmlns:a16="http://schemas.microsoft.com/office/drawing/2014/main" id="{349DA2D3-448B-490C-8DB7-4751B7D9038F}"/>
                </a:ext>
              </a:extLst>
            </p:cNvPr>
            <p:cNvSpPr/>
            <p:nvPr/>
          </p:nvSpPr>
          <p:spPr>
            <a:xfrm rot="7484129">
              <a:off x="584115" y="311572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8" name="Forme libre : forme 2577">
              <a:extLst>
                <a:ext uri="{FF2B5EF4-FFF2-40B4-BE49-F238E27FC236}">
                  <a16:creationId xmlns:a16="http://schemas.microsoft.com/office/drawing/2014/main" id="{9AA64EB5-5BC8-403B-AB82-04D81C133255}"/>
                </a:ext>
              </a:extLst>
            </p:cNvPr>
            <p:cNvSpPr/>
            <p:nvPr/>
          </p:nvSpPr>
          <p:spPr>
            <a:xfrm rot="13089394">
              <a:off x="688935" y="3082257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9" name="Forme libre : forme 2578">
              <a:extLst>
                <a:ext uri="{FF2B5EF4-FFF2-40B4-BE49-F238E27FC236}">
                  <a16:creationId xmlns:a16="http://schemas.microsoft.com/office/drawing/2014/main" id="{110BE40B-E2DA-4AFB-B27B-B3411BDC52CC}"/>
                </a:ext>
              </a:extLst>
            </p:cNvPr>
            <p:cNvSpPr/>
            <p:nvPr/>
          </p:nvSpPr>
          <p:spPr>
            <a:xfrm rot="8716295">
              <a:off x="874520" y="2890576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0" name="Forme libre : forme 2579">
              <a:extLst>
                <a:ext uri="{FF2B5EF4-FFF2-40B4-BE49-F238E27FC236}">
                  <a16:creationId xmlns:a16="http://schemas.microsoft.com/office/drawing/2014/main" id="{F835BCFD-B829-4BDD-8C2F-E93572759B49}"/>
                </a:ext>
              </a:extLst>
            </p:cNvPr>
            <p:cNvSpPr/>
            <p:nvPr/>
          </p:nvSpPr>
          <p:spPr>
            <a:xfrm rot="8716295">
              <a:off x="822715" y="278698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1" name="Forme libre : forme 2580">
              <a:extLst>
                <a:ext uri="{FF2B5EF4-FFF2-40B4-BE49-F238E27FC236}">
                  <a16:creationId xmlns:a16="http://schemas.microsoft.com/office/drawing/2014/main" id="{4C10496A-AC84-46A0-B11B-FC58DD24DFB9}"/>
                </a:ext>
              </a:extLst>
            </p:cNvPr>
            <p:cNvSpPr/>
            <p:nvPr/>
          </p:nvSpPr>
          <p:spPr>
            <a:xfrm rot="8716295">
              <a:off x="579469" y="28172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2" name="Forme libre : forme 2581">
              <a:extLst>
                <a:ext uri="{FF2B5EF4-FFF2-40B4-BE49-F238E27FC236}">
                  <a16:creationId xmlns:a16="http://schemas.microsoft.com/office/drawing/2014/main" id="{4AA264E2-3912-4F32-A3B9-9EF25D1D901D}"/>
                </a:ext>
              </a:extLst>
            </p:cNvPr>
            <p:cNvSpPr/>
            <p:nvPr/>
          </p:nvSpPr>
          <p:spPr>
            <a:xfrm rot="8716295">
              <a:off x="756921" y="265796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3" name="Forme libre : forme 2582">
              <a:extLst>
                <a:ext uri="{FF2B5EF4-FFF2-40B4-BE49-F238E27FC236}">
                  <a16:creationId xmlns:a16="http://schemas.microsoft.com/office/drawing/2014/main" id="{AA017B42-43C6-488B-8364-7F6BD3840C9C}"/>
                </a:ext>
              </a:extLst>
            </p:cNvPr>
            <p:cNvSpPr/>
            <p:nvPr/>
          </p:nvSpPr>
          <p:spPr>
            <a:xfrm rot="8716295">
              <a:off x="435308" y="370472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4" name="Forme libre : forme 2583">
              <a:extLst>
                <a:ext uri="{FF2B5EF4-FFF2-40B4-BE49-F238E27FC236}">
                  <a16:creationId xmlns:a16="http://schemas.microsoft.com/office/drawing/2014/main" id="{9757EFE7-39F8-43EA-9F4B-67F36396014B}"/>
                </a:ext>
              </a:extLst>
            </p:cNvPr>
            <p:cNvSpPr/>
            <p:nvPr/>
          </p:nvSpPr>
          <p:spPr>
            <a:xfrm rot="8716295">
              <a:off x="524700" y="373396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5" name="Forme libre : forme 2584">
              <a:extLst>
                <a:ext uri="{FF2B5EF4-FFF2-40B4-BE49-F238E27FC236}">
                  <a16:creationId xmlns:a16="http://schemas.microsoft.com/office/drawing/2014/main" id="{C8B0FFE9-5876-4A75-9F9D-7572BD2EA600}"/>
                </a:ext>
              </a:extLst>
            </p:cNvPr>
            <p:cNvSpPr/>
            <p:nvPr/>
          </p:nvSpPr>
          <p:spPr>
            <a:xfrm rot="8716295">
              <a:off x="479850" y="3647689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6" name="Forme libre : forme 2585">
              <a:extLst>
                <a:ext uri="{FF2B5EF4-FFF2-40B4-BE49-F238E27FC236}">
                  <a16:creationId xmlns:a16="http://schemas.microsoft.com/office/drawing/2014/main" id="{12E703CA-24C4-41EF-85F5-B38E93728456}"/>
                </a:ext>
              </a:extLst>
            </p:cNvPr>
            <p:cNvSpPr/>
            <p:nvPr/>
          </p:nvSpPr>
          <p:spPr>
            <a:xfrm rot="8716295">
              <a:off x="323074" y="379327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7" name="Forme libre : forme 2586">
              <a:extLst>
                <a:ext uri="{FF2B5EF4-FFF2-40B4-BE49-F238E27FC236}">
                  <a16:creationId xmlns:a16="http://schemas.microsoft.com/office/drawing/2014/main" id="{02E77907-D7EE-4230-A30B-47434E4968C2}"/>
                </a:ext>
              </a:extLst>
            </p:cNvPr>
            <p:cNvSpPr/>
            <p:nvPr/>
          </p:nvSpPr>
          <p:spPr>
            <a:xfrm rot="8716295">
              <a:off x="198171" y="358459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8" name="Forme libre : forme 2587">
              <a:extLst>
                <a:ext uri="{FF2B5EF4-FFF2-40B4-BE49-F238E27FC236}">
                  <a16:creationId xmlns:a16="http://schemas.microsoft.com/office/drawing/2014/main" id="{AB97544A-09D9-4A69-BC58-374B026F7202}"/>
                </a:ext>
              </a:extLst>
            </p:cNvPr>
            <p:cNvSpPr/>
            <p:nvPr/>
          </p:nvSpPr>
          <p:spPr>
            <a:xfrm rot="8716295">
              <a:off x="186119" y="344581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9" name="Forme libre : forme 2588">
              <a:extLst>
                <a:ext uri="{FF2B5EF4-FFF2-40B4-BE49-F238E27FC236}">
                  <a16:creationId xmlns:a16="http://schemas.microsoft.com/office/drawing/2014/main" id="{34C5510E-41C9-47D0-BA02-373BE24443F0}"/>
                </a:ext>
              </a:extLst>
            </p:cNvPr>
            <p:cNvSpPr/>
            <p:nvPr/>
          </p:nvSpPr>
          <p:spPr>
            <a:xfrm rot="8716295">
              <a:off x="413252" y="3834223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0" name="Forme libre : forme 2589">
              <a:extLst>
                <a:ext uri="{FF2B5EF4-FFF2-40B4-BE49-F238E27FC236}">
                  <a16:creationId xmlns:a16="http://schemas.microsoft.com/office/drawing/2014/main" id="{DC985ECF-E700-420E-BE15-8A41B5493ADF}"/>
                </a:ext>
              </a:extLst>
            </p:cNvPr>
            <p:cNvSpPr/>
            <p:nvPr/>
          </p:nvSpPr>
          <p:spPr>
            <a:xfrm rot="8716295">
              <a:off x="724407" y="345457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1" name="Forme libre : forme 2590">
              <a:extLst>
                <a:ext uri="{FF2B5EF4-FFF2-40B4-BE49-F238E27FC236}">
                  <a16:creationId xmlns:a16="http://schemas.microsoft.com/office/drawing/2014/main" id="{1E0CC155-5EA9-483B-9C01-9A8547393CE9}"/>
                </a:ext>
              </a:extLst>
            </p:cNvPr>
            <p:cNvSpPr/>
            <p:nvPr/>
          </p:nvSpPr>
          <p:spPr>
            <a:xfrm rot="8716295">
              <a:off x="813799" y="348381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2" name="Forme libre : forme 2591">
              <a:extLst>
                <a:ext uri="{FF2B5EF4-FFF2-40B4-BE49-F238E27FC236}">
                  <a16:creationId xmlns:a16="http://schemas.microsoft.com/office/drawing/2014/main" id="{C928522C-0918-4B4D-98AC-FEB2728E3112}"/>
                </a:ext>
              </a:extLst>
            </p:cNvPr>
            <p:cNvSpPr/>
            <p:nvPr/>
          </p:nvSpPr>
          <p:spPr>
            <a:xfrm rot="8716295">
              <a:off x="612173" y="354311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3" name="Forme libre : forme 2592">
              <a:extLst>
                <a:ext uri="{FF2B5EF4-FFF2-40B4-BE49-F238E27FC236}">
                  <a16:creationId xmlns:a16="http://schemas.microsoft.com/office/drawing/2014/main" id="{DC803AC2-4D03-45B3-B9A0-52BF6118175A}"/>
                </a:ext>
              </a:extLst>
            </p:cNvPr>
            <p:cNvSpPr/>
            <p:nvPr/>
          </p:nvSpPr>
          <p:spPr>
            <a:xfrm rot="8716295">
              <a:off x="487271" y="333444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4" name="Forme libre : forme 2593">
              <a:extLst>
                <a:ext uri="{FF2B5EF4-FFF2-40B4-BE49-F238E27FC236}">
                  <a16:creationId xmlns:a16="http://schemas.microsoft.com/office/drawing/2014/main" id="{A6BB2734-0B6A-4FD6-B566-A73E3DB68FC9}"/>
                </a:ext>
              </a:extLst>
            </p:cNvPr>
            <p:cNvSpPr/>
            <p:nvPr/>
          </p:nvSpPr>
          <p:spPr>
            <a:xfrm rot="8716295">
              <a:off x="702351" y="3584071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5" name="Forme libre : forme 2594">
              <a:extLst>
                <a:ext uri="{FF2B5EF4-FFF2-40B4-BE49-F238E27FC236}">
                  <a16:creationId xmlns:a16="http://schemas.microsoft.com/office/drawing/2014/main" id="{D74825A4-174B-4E11-B9F6-139E451B842F}"/>
                </a:ext>
              </a:extLst>
            </p:cNvPr>
            <p:cNvSpPr/>
            <p:nvPr/>
          </p:nvSpPr>
          <p:spPr>
            <a:xfrm rot="8716295">
              <a:off x="460900" y="343447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6" name="Forme libre : forme 2595">
              <a:extLst>
                <a:ext uri="{FF2B5EF4-FFF2-40B4-BE49-F238E27FC236}">
                  <a16:creationId xmlns:a16="http://schemas.microsoft.com/office/drawing/2014/main" id="{B39A9789-18FB-4A83-8AB0-8EE94A39D245}"/>
                </a:ext>
              </a:extLst>
            </p:cNvPr>
            <p:cNvSpPr/>
            <p:nvPr/>
          </p:nvSpPr>
          <p:spPr>
            <a:xfrm rot="7484129">
              <a:off x="807282" y="377542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7" name="Forme libre : forme 2596">
              <a:extLst>
                <a:ext uri="{FF2B5EF4-FFF2-40B4-BE49-F238E27FC236}">
                  <a16:creationId xmlns:a16="http://schemas.microsoft.com/office/drawing/2014/main" id="{AA0538E3-ADD4-4948-A138-F37F8A9A2A82}"/>
                </a:ext>
              </a:extLst>
            </p:cNvPr>
            <p:cNvSpPr/>
            <p:nvPr/>
          </p:nvSpPr>
          <p:spPr>
            <a:xfrm rot="13089394">
              <a:off x="912102" y="374195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8" name="Forme libre : forme 2597">
              <a:extLst>
                <a:ext uri="{FF2B5EF4-FFF2-40B4-BE49-F238E27FC236}">
                  <a16:creationId xmlns:a16="http://schemas.microsoft.com/office/drawing/2014/main" id="{CF8DE766-ABD4-4BFE-A9EE-39A1E5F1ADDE}"/>
                </a:ext>
              </a:extLst>
            </p:cNvPr>
            <p:cNvSpPr/>
            <p:nvPr/>
          </p:nvSpPr>
          <p:spPr>
            <a:xfrm rot="8716295">
              <a:off x="1097687" y="355027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9" name="Forme libre : forme 2598">
              <a:extLst>
                <a:ext uri="{FF2B5EF4-FFF2-40B4-BE49-F238E27FC236}">
                  <a16:creationId xmlns:a16="http://schemas.microsoft.com/office/drawing/2014/main" id="{BB03C112-DBC5-4C26-B8A2-9B16ED5B8438}"/>
                </a:ext>
              </a:extLst>
            </p:cNvPr>
            <p:cNvSpPr/>
            <p:nvPr/>
          </p:nvSpPr>
          <p:spPr>
            <a:xfrm rot="8716295">
              <a:off x="1045882" y="344668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0" name="Forme libre : forme 2599">
              <a:extLst>
                <a:ext uri="{FF2B5EF4-FFF2-40B4-BE49-F238E27FC236}">
                  <a16:creationId xmlns:a16="http://schemas.microsoft.com/office/drawing/2014/main" id="{8A6E9B1C-F5E3-4869-9D37-53881A1E0D30}"/>
                </a:ext>
              </a:extLst>
            </p:cNvPr>
            <p:cNvSpPr/>
            <p:nvPr/>
          </p:nvSpPr>
          <p:spPr>
            <a:xfrm rot="8716295">
              <a:off x="802636" y="347690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1" name="Forme libre : forme 2600">
              <a:extLst>
                <a:ext uri="{FF2B5EF4-FFF2-40B4-BE49-F238E27FC236}">
                  <a16:creationId xmlns:a16="http://schemas.microsoft.com/office/drawing/2014/main" id="{9334980A-BAFA-4A40-881F-47BA45E71C45}"/>
                </a:ext>
              </a:extLst>
            </p:cNvPr>
            <p:cNvSpPr/>
            <p:nvPr/>
          </p:nvSpPr>
          <p:spPr>
            <a:xfrm rot="8716295">
              <a:off x="980088" y="331766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2" name="Forme libre : forme 2601">
              <a:extLst>
                <a:ext uri="{FF2B5EF4-FFF2-40B4-BE49-F238E27FC236}">
                  <a16:creationId xmlns:a16="http://schemas.microsoft.com/office/drawing/2014/main" id="{CB8DEDF2-3B2E-45C9-B615-DEF954E19F5C}"/>
                </a:ext>
              </a:extLst>
            </p:cNvPr>
            <p:cNvSpPr/>
            <p:nvPr/>
          </p:nvSpPr>
          <p:spPr>
            <a:xfrm rot="8716295">
              <a:off x="653978" y="436312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3" name="Forme libre : forme 2602">
              <a:extLst>
                <a:ext uri="{FF2B5EF4-FFF2-40B4-BE49-F238E27FC236}">
                  <a16:creationId xmlns:a16="http://schemas.microsoft.com/office/drawing/2014/main" id="{A0F4E462-72BE-4E95-8052-DC09F97FD920}"/>
                </a:ext>
              </a:extLst>
            </p:cNvPr>
            <p:cNvSpPr/>
            <p:nvPr/>
          </p:nvSpPr>
          <p:spPr>
            <a:xfrm rot="8716295">
              <a:off x="743370" y="439236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4" name="Forme libre : forme 2603">
              <a:extLst>
                <a:ext uri="{FF2B5EF4-FFF2-40B4-BE49-F238E27FC236}">
                  <a16:creationId xmlns:a16="http://schemas.microsoft.com/office/drawing/2014/main" id="{B5E4A9EC-F9DB-4374-B71B-DBB47B736D39}"/>
                </a:ext>
              </a:extLst>
            </p:cNvPr>
            <p:cNvSpPr/>
            <p:nvPr/>
          </p:nvSpPr>
          <p:spPr>
            <a:xfrm rot="8716295">
              <a:off x="698520" y="430608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5" name="Forme libre : forme 2604">
              <a:extLst>
                <a:ext uri="{FF2B5EF4-FFF2-40B4-BE49-F238E27FC236}">
                  <a16:creationId xmlns:a16="http://schemas.microsoft.com/office/drawing/2014/main" id="{9327144A-57D0-46D2-94EE-E0EDBB5CBE6B}"/>
                </a:ext>
              </a:extLst>
            </p:cNvPr>
            <p:cNvSpPr/>
            <p:nvPr/>
          </p:nvSpPr>
          <p:spPr>
            <a:xfrm rot="8716295">
              <a:off x="541744" y="445166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6" name="Forme libre : forme 2605">
              <a:extLst>
                <a:ext uri="{FF2B5EF4-FFF2-40B4-BE49-F238E27FC236}">
                  <a16:creationId xmlns:a16="http://schemas.microsoft.com/office/drawing/2014/main" id="{CF6C36D8-54CF-4C2D-805A-C0939EA3F7FF}"/>
                </a:ext>
              </a:extLst>
            </p:cNvPr>
            <p:cNvSpPr/>
            <p:nvPr/>
          </p:nvSpPr>
          <p:spPr>
            <a:xfrm rot="8716295">
              <a:off x="416841" y="424299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7" name="Forme libre : forme 2606">
              <a:extLst>
                <a:ext uri="{FF2B5EF4-FFF2-40B4-BE49-F238E27FC236}">
                  <a16:creationId xmlns:a16="http://schemas.microsoft.com/office/drawing/2014/main" id="{C0525EEA-9ECF-45A3-94B2-985EBCFF2BE0}"/>
                </a:ext>
              </a:extLst>
            </p:cNvPr>
            <p:cNvSpPr/>
            <p:nvPr/>
          </p:nvSpPr>
          <p:spPr>
            <a:xfrm rot="8716295">
              <a:off x="404789" y="410421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8" name="Forme libre : forme 2607">
              <a:extLst>
                <a:ext uri="{FF2B5EF4-FFF2-40B4-BE49-F238E27FC236}">
                  <a16:creationId xmlns:a16="http://schemas.microsoft.com/office/drawing/2014/main" id="{A3C12029-0ED3-40B9-BF57-1173D18F4F7E}"/>
                </a:ext>
              </a:extLst>
            </p:cNvPr>
            <p:cNvSpPr/>
            <p:nvPr/>
          </p:nvSpPr>
          <p:spPr>
            <a:xfrm rot="8716295">
              <a:off x="631922" y="449261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9" name="Forme libre : forme 2608">
              <a:extLst>
                <a:ext uri="{FF2B5EF4-FFF2-40B4-BE49-F238E27FC236}">
                  <a16:creationId xmlns:a16="http://schemas.microsoft.com/office/drawing/2014/main" id="{C60E6EB0-4431-4352-A520-775C9B1D20EB}"/>
                </a:ext>
              </a:extLst>
            </p:cNvPr>
            <p:cNvSpPr/>
            <p:nvPr/>
          </p:nvSpPr>
          <p:spPr>
            <a:xfrm rot="8716295">
              <a:off x="943077" y="411297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0" name="Forme libre : forme 2609">
              <a:extLst>
                <a:ext uri="{FF2B5EF4-FFF2-40B4-BE49-F238E27FC236}">
                  <a16:creationId xmlns:a16="http://schemas.microsoft.com/office/drawing/2014/main" id="{B066E095-E974-4F34-ACE3-A24B4391CB1F}"/>
                </a:ext>
              </a:extLst>
            </p:cNvPr>
            <p:cNvSpPr/>
            <p:nvPr/>
          </p:nvSpPr>
          <p:spPr>
            <a:xfrm rot="8716295">
              <a:off x="1032469" y="414221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1" name="Forme libre : forme 2610">
              <a:extLst>
                <a:ext uri="{FF2B5EF4-FFF2-40B4-BE49-F238E27FC236}">
                  <a16:creationId xmlns:a16="http://schemas.microsoft.com/office/drawing/2014/main" id="{CBDAA4A6-CE8D-49EC-958E-CCED7DECB58D}"/>
                </a:ext>
              </a:extLst>
            </p:cNvPr>
            <p:cNvSpPr/>
            <p:nvPr/>
          </p:nvSpPr>
          <p:spPr>
            <a:xfrm rot="8716295">
              <a:off x="830843" y="420151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2" name="Forme libre : forme 2611">
              <a:extLst>
                <a:ext uri="{FF2B5EF4-FFF2-40B4-BE49-F238E27FC236}">
                  <a16:creationId xmlns:a16="http://schemas.microsoft.com/office/drawing/2014/main" id="{288DAD6F-B380-40EA-8AAF-2306A1EC474F}"/>
                </a:ext>
              </a:extLst>
            </p:cNvPr>
            <p:cNvSpPr/>
            <p:nvPr/>
          </p:nvSpPr>
          <p:spPr>
            <a:xfrm rot="8716295">
              <a:off x="705941" y="399284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3" name="Forme libre : forme 2612">
              <a:extLst>
                <a:ext uri="{FF2B5EF4-FFF2-40B4-BE49-F238E27FC236}">
                  <a16:creationId xmlns:a16="http://schemas.microsoft.com/office/drawing/2014/main" id="{4A24F38C-B025-479B-BFB4-01CC9653C749}"/>
                </a:ext>
              </a:extLst>
            </p:cNvPr>
            <p:cNvSpPr/>
            <p:nvPr/>
          </p:nvSpPr>
          <p:spPr>
            <a:xfrm rot="8716295">
              <a:off x="921021" y="424246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4" name="Forme libre : forme 2613">
              <a:extLst>
                <a:ext uri="{FF2B5EF4-FFF2-40B4-BE49-F238E27FC236}">
                  <a16:creationId xmlns:a16="http://schemas.microsoft.com/office/drawing/2014/main" id="{1223FB49-E601-4769-85A8-CFA4FAB7D70B}"/>
                </a:ext>
              </a:extLst>
            </p:cNvPr>
            <p:cNvSpPr/>
            <p:nvPr/>
          </p:nvSpPr>
          <p:spPr>
            <a:xfrm rot="8716295">
              <a:off x="679570" y="409286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5" name="Forme libre : forme 2614">
              <a:extLst>
                <a:ext uri="{FF2B5EF4-FFF2-40B4-BE49-F238E27FC236}">
                  <a16:creationId xmlns:a16="http://schemas.microsoft.com/office/drawing/2014/main" id="{BA639576-6474-4C0A-8D54-5559B761F42F}"/>
                </a:ext>
              </a:extLst>
            </p:cNvPr>
            <p:cNvSpPr/>
            <p:nvPr/>
          </p:nvSpPr>
          <p:spPr>
            <a:xfrm rot="7484129">
              <a:off x="1025952" y="443381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6" name="Forme libre : forme 2615">
              <a:extLst>
                <a:ext uri="{FF2B5EF4-FFF2-40B4-BE49-F238E27FC236}">
                  <a16:creationId xmlns:a16="http://schemas.microsoft.com/office/drawing/2014/main" id="{D1BF3875-F476-48EB-80B5-AB6552F18672}"/>
                </a:ext>
              </a:extLst>
            </p:cNvPr>
            <p:cNvSpPr/>
            <p:nvPr/>
          </p:nvSpPr>
          <p:spPr>
            <a:xfrm rot="13089394">
              <a:off x="1130772" y="440035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7" name="Forme libre : forme 2616">
              <a:extLst>
                <a:ext uri="{FF2B5EF4-FFF2-40B4-BE49-F238E27FC236}">
                  <a16:creationId xmlns:a16="http://schemas.microsoft.com/office/drawing/2014/main" id="{365A6B56-59C5-4058-A50F-5C3B4137CD35}"/>
                </a:ext>
              </a:extLst>
            </p:cNvPr>
            <p:cNvSpPr/>
            <p:nvPr/>
          </p:nvSpPr>
          <p:spPr>
            <a:xfrm rot="8716295">
              <a:off x="1316357" y="420867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8" name="Forme libre : forme 2617">
              <a:extLst>
                <a:ext uri="{FF2B5EF4-FFF2-40B4-BE49-F238E27FC236}">
                  <a16:creationId xmlns:a16="http://schemas.microsoft.com/office/drawing/2014/main" id="{8C5BA123-C7D6-44D6-AA16-D21269FAA986}"/>
                </a:ext>
              </a:extLst>
            </p:cNvPr>
            <p:cNvSpPr/>
            <p:nvPr/>
          </p:nvSpPr>
          <p:spPr>
            <a:xfrm rot="8716295">
              <a:off x="1264552" y="410507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9" name="Forme libre : forme 2618">
              <a:extLst>
                <a:ext uri="{FF2B5EF4-FFF2-40B4-BE49-F238E27FC236}">
                  <a16:creationId xmlns:a16="http://schemas.microsoft.com/office/drawing/2014/main" id="{70BEA0E6-BA45-474E-9DCD-1EA76AE64104}"/>
                </a:ext>
              </a:extLst>
            </p:cNvPr>
            <p:cNvSpPr/>
            <p:nvPr/>
          </p:nvSpPr>
          <p:spPr>
            <a:xfrm rot="8716295">
              <a:off x="1021306" y="413529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0" name="Forme libre : forme 2619">
              <a:extLst>
                <a:ext uri="{FF2B5EF4-FFF2-40B4-BE49-F238E27FC236}">
                  <a16:creationId xmlns:a16="http://schemas.microsoft.com/office/drawing/2014/main" id="{C149CD7C-7D92-4AED-9D1C-37BD7242EF23}"/>
                </a:ext>
              </a:extLst>
            </p:cNvPr>
            <p:cNvSpPr/>
            <p:nvPr/>
          </p:nvSpPr>
          <p:spPr>
            <a:xfrm rot="8716295">
              <a:off x="1198758" y="397605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1" name="Forme libre : forme 2620">
              <a:extLst>
                <a:ext uri="{FF2B5EF4-FFF2-40B4-BE49-F238E27FC236}">
                  <a16:creationId xmlns:a16="http://schemas.microsoft.com/office/drawing/2014/main" id="{80F0E45F-313A-4E3C-BD45-F7FCACCBFE55}"/>
                </a:ext>
              </a:extLst>
            </p:cNvPr>
            <p:cNvSpPr/>
            <p:nvPr/>
          </p:nvSpPr>
          <p:spPr>
            <a:xfrm rot="8716295">
              <a:off x="849927" y="5056695"/>
              <a:ext cx="61059" cy="114384"/>
            </a:xfrm>
            <a:custGeom>
              <a:avLst/>
              <a:gdLst>
                <a:gd name="connsiteX0" fmla="*/ 0 w 61059"/>
                <a:gd name="connsiteY0" fmla="*/ 114384 h 114384"/>
                <a:gd name="connsiteX1" fmla="*/ 0 w 61059"/>
                <a:gd name="connsiteY1" fmla="*/ 0 h 114384"/>
                <a:gd name="connsiteX2" fmla="*/ 61059 w 61059"/>
                <a:gd name="connsiteY2" fmla="*/ 42324 h 114384"/>
                <a:gd name="connsiteX3" fmla="*/ 61059 w 61059"/>
                <a:gd name="connsiteY3" fmla="*/ 90234 h 114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059" h="114384">
                  <a:moveTo>
                    <a:pt x="0" y="114384"/>
                  </a:moveTo>
                  <a:lnTo>
                    <a:pt x="0" y="0"/>
                  </a:lnTo>
                  <a:lnTo>
                    <a:pt x="61059" y="42324"/>
                  </a:lnTo>
                  <a:lnTo>
                    <a:pt x="61059" y="902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2" name="Forme libre : forme 2621">
              <a:extLst>
                <a:ext uri="{FF2B5EF4-FFF2-40B4-BE49-F238E27FC236}">
                  <a16:creationId xmlns:a16="http://schemas.microsoft.com/office/drawing/2014/main" id="{7529EC4C-3BE3-428A-99A6-A49001A03C8A}"/>
                </a:ext>
              </a:extLst>
            </p:cNvPr>
            <p:cNvSpPr/>
            <p:nvPr/>
          </p:nvSpPr>
          <p:spPr>
            <a:xfrm rot="8716295">
              <a:off x="1072880" y="5030752"/>
              <a:ext cx="60148" cy="142578"/>
            </a:xfrm>
            <a:custGeom>
              <a:avLst/>
              <a:gdLst>
                <a:gd name="connsiteX0" fmla="*/ 0 w 60148"/>
                <a:gd name="connsiteY0" fmla="*/ 142578 h 142578"/>
                <a:gd name="connsiteX1" fmla="*/ 0 w 60148"/>
                <a:gd name="connsiteY1" fmla="*/ 0 h 142578"/>
                <a:gd name="connsiteX2" fmla="*/ 60148 w 60148"/>
                <a:gd name="connsiteY2" fmla="*/ 41693 h 142578"/>
                <a:gd name="connsiteX3" fmla="*/ 60148 w 60148"/>
                <a:gd name="connsiteY3" fmla="*/ 101569 h 142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8" h="142578">
                  <a:moveTo>
                    <a:pt x="0" y="142578"/>
                  </a:moveTo>
                  <a:lnTo>
                    <a:pt x="0" y="0"/>
                  </a:lnTo>
                  <a:lnTo>
                    <a:pt x="60148" y="41693"/>
                  </a:lnTo>
                  <a:lnTo>
                    <a:pt x="60148" y="1015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3" name="Forme libre : forme 2622">
              <a:extLst>
                <a:ext uri="{FF2B5EF4-FFF2-40B4-BE49-F238E27FC236}">
                  <a16:creationId xmlns:a16="http://schemas.microsoft.com/office/drawing/2014/main" id="{236BE908-FD47-4165-8DE7-ECD8DAF2AAAA}"/>
                </a:ext>
              </a:extLst>
            </p:cNvPr>
            <p:cNvSpPr/>
            <p:nvPr/>
          </p:nvSpPr>
          <p:spPr>
            <a:xfrm rot="8716295">
              <a:off x="921687" y="496578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4" name="Forme libre : forme 2623">
              <a:extLst>
                <a:ext uri="{FF2B5EF4-FFF2-40B4-BE49-F238E27FC236}">
                  <a16:creationId xmlns:a16="http://schemas.microsoft.com/office/drawing/2014/main" id="{9D0A88D9-251D-4CDC-8AD5-7088F4C7446F}"/>
                </a:ext>
              </a:extLst>
            </p:cNvPr>
            <p:cNvSpPr/>
            <p:nvPr/>
          </p:nvSpPr>
          <p:spPr>
            <a:xfrm rot="8716295">
              <a:off x="762271" y="5108547"/>
              <a:ext cx="53742" cy="49705"/>
            </a:xfrm>
            <a:custGeom>
              <a:avLst/>
              <a:gdLst>
                <a:gd name="connsiteX0" fmla="*/ 8658 w 53742"/>
                <a:gd name="connsiteY0" fmla="*/ 41503 h 49705"/>
                <a:gd name="connsiteX1" fmla="*/ 0 w 53742"/>
                <a:gd name="connsiteY1" fmla="*/ 20999 h 49705"/>
                <a:gd name="connsiteX2" fmla="*/ 0 w 53742"/>
                <a:gd name="connsiteY2" fmla="*/ 20542 h 49705"/>
                <a:gd name="connsiteX3" fmla="*/ 8658 w 53742"/>
                <a:gd name="connsiteY3" fmla="*/ 38 h 49705"/>
                <a:gd name="connsiteX4" fmla="*/ 8747 w 53742"/>
                <a:gd name="connsiteY4" fmla="*/ 0 h 49705"/>
                <a:gd name="connsiteX5" fmla="*/ 53742 w 53742"/>
                <a:gd name="connsiteY5" fmla="*/ 31189 h 49705"/>
                <a:gd name="connsiteX6" fmla="*/ 49668 w 53742"/>
                <a:gd name="connsiteY6" fmla="*/ 41048 h 49705"/>
                <a:gd name="connsiteX7" fmla="*/ 29162 w 53742"/>
                <a:gd name="connsiteY7" fmla="*/ 49705 h 49705"/>
                <a:gd name="connsiteX8" fmla="*/ 8658 w 53742"/>
                <a:gd name="connsiteY8" fmla="*/ 41503 h 49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2" h="49705">
                  <a:moveTo>
                    <a:pt x="8658" y="41503"/>
                  </a:moveTo>
                  <a:cubicBezTo>
                    <a:pt x="3190" y="36035"/>
                    <a:pt x="0" y="28744"/>
                    <a:pt x="0" y="20999"/>
                  </a:cubicBezTo>
                  <a:lnTo>
                    <a:pt x="0" y="20542"/>
                  </a:lnTo>
                  <a:cubicBezTo>
                    <a:pt x="0" y="12796"/>
                    <a:pt x="3190" y="5506"/>
                    <a:pt x="8658" y="38"/>
                  </a:cubicBezTo>
                  <a:lnTo>
                    <a:pt x="8747" y="0"/>
                  </a:lnTo>
                  <a:lnTo>
                    <a:pt x="53742" y="31189"/>
                  </a:lnTo>
                  <a:lnTo>
                    <a:pt x="49668" y="41048"/>
                  </a:lnTo>
                  <a:cubicBezTo>
                    <a:pt x="44200" y="46516"/>
                    <a:pt x="36909" y="49705"/>
                    <a:pt x="29162" y="49705"/>
                  </a:cubicBezTo>
                  <a:cubicBezTo>
                    <a:pt x="21416" y="49705"/>
                    <a:pt x="14126" y="46971"/>
                    <a:pt x="8658" y="415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5" name="Forme libre : forme 2624">
              <a:extLst>
                <a:ext uri="{FF2B5EF4-FFF2-40B4-BE49-F238E27FC236}">
                  <a16:creationId xmlns:a16="http://schemas.microsoft.com/office/drawing/2014/main" id="{24CE2296-47DA-4E73-B690-5BD981A20099}"/>
                </a:ext>
              </a:extLst>
            </p:cNvPr>
            <p:cNvSpPr/>
            <p:nvPr/>
          </p:nvSpPr>
          <p:spPr>
            <a:xfrm rot="8716295">
              <a:off x="635497" y="4902607"/>
              <a:ext cx="203847" cy="195874"/>
            </a:xfrm>
            <a:custGeom>
              <a:avLst/>
              <a:gdLst>
                <a:gd name="connsiteX0" fmla="*/ 90709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203847 w 203847"/>
                <a:gd name="connsiteY5" fmla="*/ 0 h 195874"/>
                <a:gd name="connsiteX6" fmla="*/ 203847 w 203847"/>
                <a:gd name="connsiteY6" fmla="*/ 55323 h 195874"/>
                <a:gd name="connsiteX7" fmla="*/ 139055 w 203847"/>
                <a:gd name="connsiteY7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95874">
                  <a:moveTo>
                    <a:pt x="90709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6" name="Forme libre : forme 2625">
              <a:extLst>
                <a:ext uri="{FF2B5EF4-FFF2-40B4-BE49-F238E27FC236}">
                  <a16:creationId xmlns:a16="http://schemas.microsoft.com/office/drawing/2014/main" id="{69ED9B1C-460E-49D7-9814-5E873DD38909}"/>
                </a:ext>
              </a:extLst>
            </p:cNvPr>
            <p:cNvSpPr/>
            <p:nvPr/>
          </p:nvSpPr>
          <p:spPr>
            <a:xfrm rot="8716295">
              <a:off x="627956" y="476391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7" name="Forme libre : forme 2626">
              <a:extLst>
                <a:ext uri="{FF2B5EF4-FFF2-40B4-BE49-F238E27FC236}">
                  <a16:creationId xmlns:a16="http://schemas.microsoft.com/office/drawing/2014/main" id="{79D260F9-94B8-41AD-A161-808B1C0A7D15}"/>
                </a:ext>
              </a:extLst>
            </p:cNvPr>
            <p:cNvSpPr/>
            <p:nvPr/>
          </p:nvSpPr>
          <p:spPr>
            <a:xfrm rot="8716295">
              <a:off x="1166244" y="477267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8" name="Forme libre : forme 2627">
              <a:extLst>
                <a:ext uri="{FF2B5EF4-FFF2-40B4-BE49-F238E27FC236}">
                  <a16:creationId xmlns:a16="http://schemas.microsoft.com/office/drawing/2014/main" id="{F05AB143-FB53-4FDC-BA57-6D2DC99C98E2}"/>
                </a:ext>
              </a:extLst>
            </p:cNvPr>
            <p:cNvSpPr/>
            <p:nvPr/>
          </p:nvSpPr>
          <p:spPr>
            <a:xfrm rot="8716295">
              <a:off x="1255636" y="480191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9" name="Forme libre : forme 2628">
              <a:extLst>
                <a:ext uri="{FF2B5EF4-FFF2-40B4-BE49-F238E27FC236}">
                  <a16:creationId xmlns:a16="http://schemas.microsoft.com/office/drawing/2014/main" id="{7DCFE830-90FF-4B60-9B6B-E08B672D854F}"/>
                </a:ext>
              </a:extLst>
            </p:cNvPr>
            <p:cNvSpPr/>
            <p:nvPr/>
          </p:nvSpPr>
          <p:spPr>
            <a:xfrm rot="8716295">
              <a:off x="1054010" y="486121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0" name="Forme libre : forme 2629">
              <a:extLst>
                <a:ext uri="{FF2B5EF4-FFF2-40B4-BE49-F238E27FC236}">
                  <a16:creationId xmlns:a16="http://schemas.microsoft.com/office/drawing/2014/main" id="{B4B54539-14CC-41BD-B75A-325D1E42B0DE}"/>
                </a:ext>
              </a:extLst>
            </p:cNvPr>
            <p:cNvSpPr/>
            <p:nvPr/>
          </p:nvSpPr>
          <p:spPr>
            <a:xfrm rot="8716295">
              <a:off x="929108" y="465254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1" name="Forme libre : forme 2630">
              <a:extLst>
                <a:ext uri="{FF2B5EF4-FFF2-40B4-BE49-F238E27FC236}">
                  <a16:creationId xmlns:a16="http://schemas.microsoft.com/office/drawing/2014/main" id="{DEBFD6B9-903B-4010-BD7C-FE85EFE6B331}"/>
                </a:ext>
              </a:extLst>
            </p:cNvPr>
            <p:cNvSpPr/>
            <p:nvPr/>
          </p:nvSpPr>
          <p:spPr>
            <a:xfrm rot="8716295">
              <a:off x="1144188" y="490216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2" name="Forme libre : forme 2631">
              <a:extLst>
                <a:ext uri="{FF2B5EF4-FFF2-40B4-BE49-F238E27FC236}">
                  <a16:creationId xmlns:a16="http://schemas.microsoft.com/office/drawing/2014/main" id="{A82EDDD3-D641-4773-AD0E-A0BEBC26D35C}"/>
                </a:ext>
              </a:extLst>
            </p:cNvPr>
            <p:cNvSpPr/>
            <p:nvPr/>
          </p:nvSpPr>
          <p:spPr>
            <a:xfrm rot="8716295">
              <a:off x="902737" y="475256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3" name="Forme libre : forme 2632">
              <a:extLst>
                <a:ext uri="{FF2B5EF4-FFF2-40B4-BE49-F238E27FC236}">
                  <a16:creationId xmlns:a16="http://schemas.microsoft.com/office/drawing/2014/main" id="{47B99FED-FE43-4D3F-823F-416C658CC0FD}"/>
                </a:ext>
              </a:extLst>
            </p:cNvPr>
            <p:cNvSpPr/>
            <p:nvPr/>
          </p:nvSpPr>
          <p:spPr>
            <a:xfrm rot="7484129">
              <a:off x="1313689" y="5058219"/>
              <a:ext cx="97325" cy="159603"/>
            </a:xfrm>
            <a:custGeom>
              <a:avLst/>
              <a:gdLst>
                <a:gd name="connsiteX0" fmla="*/ 0 w 97325"/>
                <a:gd name="connsiteY0" fmla="*/ 19052 h 159603"/>
                <a:gd name="connsiteX1" fmla="*/ 0 w 97325"/>
                <a:gd name="connsiteY1" fmla="*/ 0 h 159603"/>
                <a:gd name="connsiteX2" fmla="*/ 13209 w 97325"/>
                <a:gd name="connsiteY2" fmla="*/ 19052 h 159603"/>
                <a:gd name="connsiteX3" fmla="*/ 90710 w 97325"/>
                <a:gd name="connsiteY3" fmla="*/ 159603 h 159603"/>
                <a:gd name="connsiteX4" fmla="*/ 47847 w 97325"/>
                <a:gd name="connsiteY4" fmla="*/ 79858 h 159603"/>
                <a:gd name="connsiteX5" fmla="*/ 50421 w 97325"/>
                <a:gd name="connsiteY5" fmla="*/ 72721 h 159603"/>
                <a:gd name="connsiteX6" fmla="*/ 97325 w 97325"/>
                <a:gd name="connsiteY6" fmla="*/ 140370 h 159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7325" h="159603">
                  <a:moveTo>
                    <a:pt x="0" y="19052"/>
                  </a:moveTo>
                  <a:lnTo>
                    <a:pt x="0" y="0"/>
                  </a:lnTo>
                  <a:lnTo>
                    <a:pt x="13209" y="19052"/>
                  </a:lnTo>
                  <a:close/>
                  <a:moveTo>
                    <a:pt x="90710" y="159603"/>
                  </a:moveTo>
                  <a:lnTo>
                    <a:pt x="47847" y="79858"/>
                  </a:lnTo>
                  <a:lnTo>
                    <a:pt x="50421" y="72721"/>
                  </a:lnTo>
                  <a:lnTo>
                    <a:pt x="97325" y="14037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4" name="Forme libre : forme 2633">
              <a:extLst>
                <a:ext uri="{FF2B5EF4-FFF2-40B4-BE49-F238E27FC236}">
                  <a16:creationId xmlns:a16="http://schemas.microsoft.com/office/drawing/2014/main" id="{CD995AAD-128C-467F-9BB7-36623FE9AF9C}"/>
                </a:ext>
              </a:extLst>
            </p:cNvPr>
            <p:cNvSpPr/>
            <p:nvPr/>
          </p:nvSpPr>
          <p:spPr>
            <a:xfrm rot="13089394">
              <a:off x="1435176" y="5064332"/>
              <a:ext cx="213297" cy="83320"/>
            </a:xfrm>
            <a:custGeom>
              <a:avLst/>
              <a:gdLst>
                <a:gd name="connsiteX0" fmla="*/ 213297 w 213297"/>
                <a:gd name="connsiteY0" fmla="*/ 12691 h 83320"/>
                <a:gd name="connsiteX1" fmla="*/ 32310 w 213297"/>
                <a:gd name="connsiteY1" fmla="*/ 83320 h 83320"/>
                <a:gd name="connsiteX2" fmla="*/ 0 w 213297"/>
                <a:gd name="connsiteY2" fmla="*/ 77753 h 83320"/>
                <a:gd name="connsiteX3" fmla="*/ 69926 w 213297"/>
                <a:gd name="connsiteY3" fmla="*/ 22813 h 83320"/>
                <a:gd name="connsiteX4" fmla="*/ 94662 w 213297"/>
                <a:gd name="connsiteY4" fmla="*/ 36418 h 83320"/>
                <a:gd name="connsiteX5" fmla="*/ 144323 w 213297"/>
                <a:gd name="connsiteY5" fmla="*/ 27589 h 83320"/>
                <a:gd name="connsiteX6" fmla="*/ 212193 w 213297"/>
                <a:gd name="connsiteY6" fmla="*/ 0 h 83320"/>
                <a:gd name="connsiteX7" fmla="*/ 213297 w 213297"/>
                <a:gd name="connsiteY7" fmla="*/ 7173 h 83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3297" h="83320">
                  <a:moveTo>
                    <a:pt x="213297" y="12691"/>
                  </a:moveTo>
                  <a:cubicBezTo>
                    <a:pt x="154807" y="62904"/>
                    <a:pt x="78108" y="80561"/>
                    <a:pt x="32310" y="83320"/>
                  </a:cubicBezTo>
                  <a:lnTo>
                    <a:pt x="0" y="77753"/>
                  </a:lnTo>
                  <a:lnTo>
                    <a:pt x="69926" y="22813"/>
                  </a:lnTo>
                  <a:lnTo>
                    <a:pt x="94662" y="36418"/>
                  </a:lnTo>
                  <a:cubicBezTo>
                    <a:pt x="111768" y="35866"/>
                    <a:pt x="128321" y="32555"/>
                    <a:pt x="144323" y="27589"/>
                  </a:cubicBezTo>
                  <a:cubicBezTo>
                    <a:pt x="167498" y="20416"/>
                    <a:pt x="190122" y="11036"/>
                    <a:pt x="212193" y="0"/>
                  </a:cubicBezTo>
                  <a:cubicBezTo>
                    <a:pt x="212745" y="2207"/>
                    <a:pt x="213297" y="4966"/>
                    <a:pt x="213297" y="71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5" name="Forme libre : forme 2634">
              <a:extLst>
                <a:ext uri="{FF2B5EF4-FFF2-40B4-BE49-F238E27FC236}">
                  <a16:creationId xmlns:a16="http://schemas.microsoft.com/office/drawing/2014/main" id="{49D90B24-A800-4AB4-8BC6-20F8B1C7CC95}"/>
                </a:ext>
              </a:extLst>
            </p:cNvPr>
            <p:cNvSpPr/>
            <p:nvPr/>
          </p:nvSpPr>
          <p:spPr>
            <a:xfrm rot="8716295">
              <a:off x="1539524" y="486837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6" name="Forme libre : forme 2635">
              <a:extLst>
                <a:ext uri="{FF2B5EF4-FFF2-40B4-BE49-F238E27FC236}">
                  <a16:creationId xmlns:a16="http://schemas.microsoft.com/office/drawing/2014/main" id="{E7BFA9FF-1546-4389-8A4F-CB28F2368F69}"/>
                </a:ext>
              </a:extLst>
            </p:cNvPr>
            <p:cNvSpPr/>
            <p:nvPr/>
          </p:nvSpPr>
          <p:spPr>
            <a:xfrm rot="8716295">
              <a:off x="1487719" y="476477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7" name="Forme libre : forme 2636">
              <a:extLst>
                <a:ext uri="{FF2B5EF4-FFF2-40B4-BE49-F238E27FC236}">
                  <a16:creationId xmlns:a16="http://schemas.microsoft.com/office/drawing/2014/main" id="{FCAD725F-8F6F-478A-87B0-EEC32F9F919D}"/>
                </a:ext>
              </a:extLst>
            </p:cNvPr>
            <p:cNvSpPr/>
            <p:nvPr/>
          </p:nvSpPr>
          <p:spPr>
            <a:xfrm rot="8716295">
              <a:off x="1244473" y="479499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8" name="Forme libre : forme 2637">
              <a:extLst>
                <a:ext uri="{FF2B5EF4-FFF2-40B4-BE49-F238E27FC236}">
                  <a16:creationId xmlns:a16="http://schemas.microsoft.com/office/drawing/2014/main" id="{8D93731B-9FC7-4DB3-B5BD-48812BA1AC03}"/>
                </a:ext>
              </a:extLst>
            </p:cNvPr>
            <p:cNvSpPr/>
            <p:nvPr/>
          </p:nvSpPr>
          <p:spPr>
            <a:xfrm rot="8716295">
              <a:off x="1421925" y="463575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9" name="Forme libre : forme 2638">
              <a:extLst>
                <a:ext uri="{FF2B5EF4-FFF2-40B4-BE49-F238E27FC236}">
                  <a16:creationId xmlns:a16="http://schemas.microsoft.com/office/drawing/2014/main" id="{FBF4D361-9AA8-4A88-8218-D320BCC61A2A}"/>
                </a:ext>
              </a:extLst>
            </p:cNvPr>
            <p:cNvSpPr/>
            <p:nvPr/>
          </p:nvSpPr>
          <p:spPr>
            <a:xfrm rot="8716295">
              <a:off x="-3428" y="2405990"/>
              <a:ext cx="142167" cy="208592"/>
            </a:xfrm>
            <a:custGeom>
              <a:avLst/>
              <a:gdLst>
                <a:gd name="connsiteX0" fmla="*/ 81108 w 142167"/>
                <a:gd name="connsiteY0" fmla="*/ 208592 h 208592"/>
                <a:gd name="connsiteX1" fmla="*/ 81108 w 142167"/>
                <a:gd name="connsiteY1" fmla="*/ 69717 h 208592"/>
                <a:gd name="connsiteX2" fmla="*/ 81108 w 142167"/>
                <a:gd name="connsiteY2" fmla="*/ 65615 h 208592"/>
                <a:gd name="connsiteX3" fmla="*/ 60604 w 142167"/>
                <a:gd name="connsiteY3" fmla="*/ 50123 h 208592"/>
                <a:gd name="connsiteX4" fmla="*/ 0 w 142167"/>
                <a:gd name="connsiteY4" fmla="*/ 50123 h 208592"/>
                <a:gd name="connsiteX5" fmla="*/ 0 w 142167"/>
                <a:gd name="connsiteY5" fmla="*/ 0 h 208592"/>
                <a:gd name="connsiteX6" fmla="*/ 85210 w 142167"/>
                <a:gd name="connsiteY6" fmla="*/ 0 h 208592"/>
                <a:gd name="connsiteX7" fmla="*/ 142167 w 142167"/>
                <a:gd name="connsiteY7" fmla="*/ 50123 h 208592"/>
                <a:gd name="connsiteX8" fmla="*/ 142167 w 142167"/>
                <a:gd name="connsiteY8" fmla="*/ 120504 h 20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08592">
                  <a:moveTo>
                    <a:pt x="81108" y="208592"/>
                  </a:moveTo>
                  <a:lnTo>
                    <a:pt x="81108" y="69717"/>
                  </a:lnTo>
                  <a:cubicBezTo>
                    <a:pt x="81108" y="68350"/>
                    <a:pt x="81108" y="66983"/>
                    <a:pt x="81108" y="65615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10" y="0"/>
                  </a:lnTo>
                  <a:cubicBezTo>
                    <a:pt x="122118" y="0"/>
                    <a:pt x="142167" y="15948"/>
                    <a:pt x="142167" y="50123"/>
                  </a:cubicBezTo>
                  <a:lnTo>
                    <a:pt x="142167" y="1205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0" name="Forme libre : forme 2639">
              <a:extLst>
                <a:ext uri="{FF2B5EF4-FFF2-40B4-BE49-F238E27FC236}">
                  <a16:creationId xmlns:a16="http://schemas.microsoft.com/office/drawing/2014/main" id="{F59F7285-A490-40D9-B60E-0C3A9BE2B431}"/>
                </a:ext>
              </a:extLst>
            </p:cNvPr>
            <p:cNvSpPr/>
            <p:nvPr/>
          </p:nvSpPr>
          <p:spPr>
            <a:xfrm rot="8716295">
              <a:off x="80015" y="241329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1" name="Forme libre : forme 2640">
              <a:extLst>
                <a:ext uri="{FF2B5EF4-FFF2-40B4-BE49-F238E27FC236}">
                  <a16:creationId xmlns:a16="http://schemas.microsoft.com/office/drawing/2014/main" id="{20B54E2C-EE11-45C1-BA49-4E36F75318A1}"/>
                </a:ext>
              </a:extLst>
            </p:cNvPr>
            <p:cNvSpPr/>
            <p:nvPr/>
          </p:nvSpPr>
          <p:spPr>
            <a:xfrm rot="8716295">
              <a:off x="35165" y="232701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2" name="Forme libre : forme 2641">
              <a:extLst>
                <a:ext uri="{FF2B5EF4-FFF2-40B4-BE49-F238E27FC236}">
                  <a16:creationId xmlns:a16="http://schemas.microsoft.com/office/drawing/2014/main" id="{8AE2099A-B385-47DA-B590-BD7DDE6B6A71}"/>
                </a:ext>
              </a:extLst>
            </p:cNvPr>
            <p:cNvSpPr/>
            <p:nvPr/>
          </p:nvSpPr>
          <p:spPr>
            <a:xfrm rot="8716295">
              <a:off x="-20257" y="2217087"/>
              <a:ext cx="78731" cy="180665"/>
            </a:xfrm>
            <a:custGeom>
              <a:avLst/>
              <a:gdLst>
                <a:gd name="connsiteX0" fmla="*/ 0 w 78731"/>
                <a:gd name="connsiteY0" fmla="*/ 180665 h 180665"/>
                <a:gd name="connsiteX1" fmla="*/ 0 w 78731"/>
                <a:gd name="connsiteY1" fmla="*/ 40596 h 180665"/>
                <a:gd name="connsiteX2" fmla="*/ 78250 w 78731"/>
                <a:gd name="connsiteY2" fmla="*/ 0 h 180665"/>
                <a:gd name="connsiteX3" fmla="*/ 78731 w 78731"/>
                <a:gd name="connsiteY3" fmla="*/ 67083 h 180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731" h="180665">
                  <a:moveTo>
                    <a:pt x="0" y="180665"/>
                  </a:moveTo>
                  <a:lnTo>
                    <a:pt x="0" y="40596"/>
                  </a:lnTo>
                  <a:lnTo>
                    <a:pt x="78250" y="0"/>
                  </a:lnTo>
                  <a:lnTo>
                    <a:pt x="78731" y="670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3" name="Forme libre : forme 2642">
              <a:extLst>
                <a:ext uri="{FF2B5EF4-FFF2-40B4-BE49-F238E27FC236}">
                  <a16:creationId xmlns:a16="http://schemas.microsoft.com/office/drawing/2014/main" id="{D39E2648-E7A5-42E0-AD61-95E487ECB3DA}"/>
                </a:ext>
              </a:extLst>
            </p:cNvPr>
            <p:cNvSpPr/>
            <p:nvPr/>
          </p:nvSpPr>
          <p:spPr>
            <a:xfrm rot="8716295">
              <a:off x="-15341" y="2575209"/>
              <a:ext cx="103435" cy="152027"/>
            </a:xfrm>
            <a:custGeom>
              <a:avLst/>
              <a:gdLst>
                <a:gd name="connsiteX0" fmla="*/ 43288 w 103435"/>
                <a:gd name="connsiteY0" fmla="*/ 152027 h 152027"/>
                <a:gd name="connsiteX1" fmla="*/ 43288 w 103435"/>
                <a:gd name="connsiteY1" fmla="*/ 16404 h 152027"/>
                <a:gd name="connsiteX2" fmla="*/ 0 w 103435"/>
                <a:gd name="connsiteY2" fmla="*/ 16404 h 152027"/>
                <a:gd name="connsiteX3" fmla="*/ 0 w 103435"/>
                <a:gd name="connsiteY3" fmla="*/ 2278 h 152027"/>
                <a:gd name="connsiteX4" fmla="*/ 103435 w 103435"/>
                <a:gd name="connsiteY4" fmla="*/ 0 h 152027"/>
                <a:gd name="connsiteX5" fmla="*/ 103435 w 103435"/>
                <a:gd name="connsiteY5" fmla="*/ 65255 h 152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152027">
                  <a:moveTo>
                    <a:pt x="43288" y="152027"/>
                  </a:move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652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4" name="Forme libre : forme 2643">
              <a:extLst>
                <a:ext uri="{FF2B5EF4-FFF2-40B4-BE49-F238E27FC236}">
                  <a16:creationId xmlns:a16="http://schemas.microsoft.com/office/drawing/2014/main" id="{F9F90177-1768-4A55-9562-0BA26D7DB1AB}"/>
                </a:ext>
              </a:extLst>
            </p:cNvPr>
            <p:cNvSpPr/>
            <p:nvPr/>
          </p:nvSpPr>
          <p:spPr>
            <a:xfrm rot="8716295">
              <a:off x="279722" y="21339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5" name="Forme libre : forme 2644">
              <a:extLst>
                <a:ext uri="{FF2B5EF4-FFF2-40B4-BE49-F238E27FC236}">
                  <a16:creationId xmlns:a16="http://schemas.microsoft.com/office/drawing/2014/main" id="{C30F908C-2E6C-43EB-AF00-6AFB653DDDA9}"/>
                </a:ext>
              </a:extLst>
            </p:cNvPr>
            <p:cNvSpPr/>
            <p:nvPr/>
          </p:nvSpPr>
          <p:spPr>
            <a:xfrm rot="8716295">
              <a:off x="369114" y="21631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6" name="Forme libre : forme 2645">
              <a:extLst>
                <a:ext uri="{FF2B5EF4-FFF2-40B4-BE49-F238E27FC236}">
                  <a16:creationId xmlns:a16="http://schemas.microsoft.com/office/drawing/2014/main" id="{8A6E38A5-6A60-4A98-B0EA-F6F171396D5F}"/>
                </a:ext>
              </a:extLst>
            </p:cNvPr>
            <p:cNvSpPr/>
            <p:nvPr/>
          </p:nvSpPr>
          <p:spPr>
            <a:xfrm rot="8716295">
              <a:off x="167488" y="22224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7" name="Forme libre : forme 2646">
              <a:extLst>
                <a:ext uri="{FF2B5EF4-FFF2-40B4-BE49-F238E27FC236}">
                  <a16:creationId xmlns:a16="http://schemas.microsoft.com/office/drawing/2014/main" id="{F376FCED-9E56-4DE0-987C-6F4AE8F3F648}"/>
                </a:ext>
              </a:extLst>
            </p:cNvPr>
            <p:cNvSpPr/>
            <p:nvPr/>
          </p:nvSpPr>
          <p:spPr>
            <a:xfrm rot="8716295">
              <a:off x="42586" y="20137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8" name="Forme libre : forme 2647">
              <a:extLst>
                <a:ext uri="{FF2B5EF4-FFF2-40B4-BE49-F238E27FC236}">
                  <a16:creationId xmlns:a16="http://schemas.microsoft.com/office/drawing/2014/main" id="{FA68D9A1-7BE5-4865-B886-AE208170A038}"/>
                </a:ext>
              </a:extLst>
            </p:cNvPr>
            <p:cNvSpPr/>
            <p:nvPr/>
          </p:nvSpPr>
          <p:spPr>
            <a:xfrm rot="8716295">
              <a:off x="257666" y="226339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9" name="Forme libre : forme 2648">
              <a:extLst>
                <a:ext uri="{FF2B5EF4-FFF2-40B4-BE49-F238E27FC236}">
                  <a16:creationId xmlns:a16="http://schemas.microsoft.com/office/drawing/2014/main" id="{B16001C4-728E-4992-B46E-35C9C985501E}"/>
                </a:ext>
              </a:extLst>
            </p:cNvPr>
            <p:cNvSpPr/>
            <p:nvPr/>
          </p:nvSpPr>
          <p:spPr>
            <a:xfrm rot="8716295">
              <a:off x="16215" y="211379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0" name="Forme libre : forme 2649">
              <a:extLst>
                <a:ext uri="{FF2B5EF4-FFF2-40B4-BE49-F238E27FC236}">
                  <a16:creationId xmlns:a16="http://schemas.microsoft.com/office/drawing/2014/main" id="{7AF63A54-0A52-4D3C-947E-4870E0D9AE3D}"/>
                </a:ext>
              </a:extLst>
            </p:cNvPr>
            <p:cNvSpPr/>
            <p:nvPr/>
          </p:nvSpPr>
          <p:spPr>
            <a:xfrm rot="7484129">
              <a:off x="362597" y="245474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1" name="Forme libre : forme 2650">
              <a:extLst>
                <a:ext uri="{FF2B5EF4-FFF2-40B4-BE49-F238E27FC236}">
                  <a16:creationId xmlns:a16="http://schemas.microsoft.com/office/drawing/2014/main" id="{19CD0BE1-F9A9-42E6-8860-34AFCCE1A6B8}"/>
                </a:ext>
              </a:extLst>
            </p:cNvPr>
            <p:cNvSpPr/>
            <p:nvPr/>
          </p:nvSpPr>
          <p:spPr>
            <a:xfrm rot="13089394">
              <a:off x="467417" y="242128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2" name="Forme libre : forme 2651">
              <a:extLst>
                <a:ext uri="{FF2B5EF4-FFF2-40B4-BE49-F238E27FC236}">
                  <a16:creationId xmlns:a16="http://schemas.microsoft.com/office/drawing/2014/main" id="{6BBE7DF2-3DA5-42A5-B37A-FA0BE876F37A}"/>
                </a:ext>
              </a:extLst>
            </p:cNvPr>
            <p:cNvSpPr/>
            <p:nvPr/>
          </p:nvSpPr>
          <p:spPr>
            <a:xfrm rot="8716295">
              <a:off x="653002" y="222960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3" name="Forme libre : forme 2652">
              <a:extLst>
                <a:ext uri="{FF2B5EF4-FFF2-40B4-BE49-F238E27FC236}">
                  <a16:creationId xmlns:a16="http://schemas.microsoft.com/office/drawing/2014/main" id="{59B7756E-7BCC-43E3-9597-FAD798A603DC}"/>
                </a:ext>
              </a:extLst>
            </p:cNvPr>
            <p:cNvSpPr/>
            <p:nvPr/>
          </p:nvSpPr>
          <p:spPr>
            <a:xfrm rot="8716295">
              <a:off x="601197" y="21260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4" name="Forme libre : forme 2653">
              <a:extLst>
                <a:ext uri="{FF2B5EF4-FFF2-40B4-BE49-F238E27FC236}">
                  <a16:creationId xmlns:a16="http://schemas.microsoft.com/office/drawing/2014/main" id="{D4FA18E5-B043-4ABB-ABB9-0D25921F91B2}"/>
                </a:ext>
              </a:extLst>
            </p:cNvPr>
            <p:cNvSpPr/>
            <p:nvPr/>
          </p:nvSpPr>
          <p:spPr>
            <a:xfrm rot="8716295">
              <a:off x="357951" y="21562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5" name="Forme libre : forme 2654">
              <a:extLst>
                <a:ext uri="{FF2B5EF4-FFF2-40B4-BE49-F238E27FC236}">
                  <a16:creationId xmlns:a16="http://schemas.microsoft.com/office/drawing/2014/main" id="{72361D6A-CAD4-4B23-97BF-CCD29A718F6D}"/>
                </a:ext>
              </a:extLst>
            </p:cNvPr>
            <p:cNvSpPr/>
            <p:nvPr/>
          </p:nvSpPr>
          <p:spPr>
            <a:xfrm rot="8716295">
              <a:off x="535403" y="199698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6" name="Forme libre : forme 2655">
              <a:extLst>
                <a:ext uri="{FF2B5EF4-FFF2-40B4-BE49-F238E27FC236}">
                  <a16:creationId xmlns:a16="http://schemas.microsoft.com/office/drawing/2014/main" id="{9E172F83-E73C-4A49-AAFF-F950F2FDECFE}"/>
                </a:ext>
              </a:extLst>
            </p:cNvPr>
            <p:cNvSpPr/>
            <p:nvPr/>
          </p:nvSpPr>
          <p:spPr>
            <a:xfrm rot="8716295">
              <a:off x="-76043" y="1768178"/>
              <a:ext cx="197178" cy="215049"/>
            </a:xfrm>
            <a:custGeom>
              <a:avLst/>
              <a:gdLst>
                <a:gd name="connsiteX0" fmla="*/ 51490 w 197178"/>
                <a:gd name="connsiteY0" fmla="*/ 215049 h 215049"/>
                <a:gd name="connsiteX1" fmla="*/ 51490 w 197178"/>
                <a:gd name="connsiteY1" fmla="*/ 45624 h 215049"/>
                <a:gd name="connsiteX2" fmla="*/ 0 w 197178"/>
                <a:gd name="connsiteY2" fmla="*/ 45624 h 215049"/>
                <a:gd name="connsiteX3" fmla="*/ 0 w 197178"/>
                <a:gd name="connsiteY3" fmla="*/ 1424 h 215049"/>
                <a:gd name="connsiteX4" fmla="*/ 104803 w 197178"/>
                <a:gd name="connsiteY4" fmla="*/ 1425 h 215049"/>
                <a:gd name="connsiteX5" fmla="*/ 104803 w 197178"/>
                <a:gd name="connsiteY5" fmla="*/ 75242 h 215049"/>
                <a:gd name="connsiteX6" fmla="*/ 106169 w 197178"/>
                <a:gd name="connsiteY6" fmla="*/ 75242 h 215049"/>
                <a:gd name="connsiteX7" fmla="*/ 154014 w 197178"/>
                <a:gd name="connsiteY7" fmla="*/ 5981 h 215049"/>
                <a:gd name="connsiteX8" fmla="*/ 185455 w 197178"/>
                <a:gd name="connsiteY8" fmla="*/ 57 h 215049"/>
                <a:gd name="connsiteX9" fmla="*/ 197178 w 197178"/>
                <a:gd name="connsiteY9" fmla="*/ 4872 h 215049"/>
                <a:gd name="connsiteX10" fmla="*/ 170795 w 197178"/>
                <a:gd name="connsiteY10" fmla="*/ 42934 h 215049"/>
                <a:gd name="connsiteX11" fmla="*/ 164950 w 197178"/>
                <a:gd name="connsiteY11" fmla="*/ 40156 h 215049"/>
                <a:gd name="connsiteX12" fmla="*/ 111638 w 197178"/>
                <a:gd name="connsiteY12" fmla="*/ 127643 h 215049"/>
                <a:gd name="connsiteX13" fmla="*/ 111638 w 197178"/>
                <a:gd name="connsiteY13" fmla="*/ 128277 h 21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178" h="215049">
                  <a:moveTo>
                    <a:pt x="51490" y="215049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4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lnTo>
                    <a:pt x="197178" y="4872"/>
                  </a:lnTo>
                  <a:lnTo>
                    <a:pt x="170795" y="42934"/>
                  </a:lnTo>
                  <a:lnTo>
                    <a:pt x="164950" y="40156"/>
                  </a:ln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1282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7" name="Forme libre : forme 2656">
              <a:extLst>
                <a:ext uri="{FF2B5EF4-FFF2-40B4-BE49-F238E27FC236}">
                  <a16:creationId xmlns:a16="http://schemas.microsoft.com/office/drawing/2014/main" id="{95638BCB-CAFD-4919-B8B3-7142385EAB97}"/>
                </a:ext>
              </a:extLst>
            </p:cNvPr>
            <p:cNvSpPr/>
            <p:nvPr/>
          </p:nvSpPr>
          <p:spPr>
            <a:xfrm rot="8716295">
              <a:off x="56555" y="14742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8" name="Forme libre : forme 2657">
              <a:extLst>
                <a:ext uri="{FF2B5EF4-FFF2-40B4-BE49-F238E27FC236}">
                  <a16:creationId xmlns:a16="http://schemas.microsoft.com/office/drawing/2014/main" id="{D25EC0C0-1452-4F89-A828-C9FC7DDD0CFA}"/>
                </a:ext>
              </a:extLst>
            </p:cNvPr>
            <p:cNvSpPr/>
            <p:nvPr/>
          </p:nvSpPr>
          <p:spPr>
            <a:xfrm rot="8716295">
              <a:off x="145947" y="15034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9" name="Forme libre : forme 2658">
              <a:extLst>
                <a:ext uri="{FF2B5EF4-FFF2-40B4-BE49-F238E27FC236}">
                  <a16:creationId xmlns:a16="http://schemas.microsoft.com/office/drawing/2014/main" id="{1519431B-42BD-4AC6-AD54-662969F8A726}"/>
                </a:ext>
              </a:extLst>
            </p:cNvPr>
            <p:cNvSpPr/>
            <p:nvPr/>
          </p:nvSpPr>
          <p:spPr>
            <a:xfrm rot="8716295">
              <a:off x="-21870" y="1443501"/>
              <a:ext cx="68614" cy="55323"/>
            </a:xfrm>
            <a:custGeom>
              <a:avLst/>
              <a:gdLst>
                <a:gd name="connsiteX0" fmla="*/ 0 w 68614"/>
                <a:gd name="connsiteY0" fmla="*/ 55323 h 55323"/>
                <a:gd name="connsiteX1" fmla="*/ 0 w 68614"/>
                <a:gd name="connsiteY1" fmla="*/ 0 h 55323"/>
                <a:gd name="connsiteX2" fmla="*/ 68614 w 68614"/>
                <a:gd name="connsiteY2" fmla="*/ 0 h 55323"/>
                <a:gd name="connsiteX3" fmla="*/ 30266 w 68614"/>
                <a:gd name="connsiteY3" fmla="*/ 55323 h 55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614" h="55323">
                  <a:moveTo>
                    <a:pt x="0" y="55323"/>
                  </a:moveTo>
                  <a:lnTo>
                    <a:pt x="0" y="0"/>
                  </a:lnTo>
                  <a:lnTo>
                    <a:pt x="68614" y="0"/>
                  </a:lnTo>
                  <a:lnTo>
                    <a:pt x="30266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0" name="Forme libre : forme 2659">
              <a:extLst>
                <a:ext uri="{FF2B5EF4-FFF2-40B4-BE49-F238E27FC236}">
                  <a16:creationId xmlns:a16="http://schemas.microsoft.com/office/drawing/2014/main" id="{60238100-8A0A-4F63-804A-4A98015B47BC}"/>
                </a:ext>
              </a:extLst>
            </p:cNvPr>
            <p:cNvSpPr/>
            <p:nvPr/>
          </p:nvSpPr>
          <p:spPr>
            <a:xfrm rot="8716295">
              <a:off x="35817" y="1618109"/>
              <a:ext cx="103435" cy="203897"/>
            </a:xfrm>
            <a:custGeom>
              <a:avLst/>
              <a:gdLst>
                <a:gd name="connsiteX0" fmla="*/ 87556 w 103435"/>
                <a:gd name="connsiteY0" fmla="*/ 203897 h 203897"/>
                <a:gd name="connsiteX1" fmla="*/ 43288 w 103435"/>
                <a:gd name="connsiteY1" fmla="*/ 161305 h 203897"/>
                <a:gd name="connsiteX2" fmla="*/ 43288 w 103435"/>
                <a:gd name="connsiteY2" fmla="*/ 16404 h 203897"/>
                <a:gd name="connsiteX3" fmla="*/ 0 w 103435"/>
                <a:gd name="connsiteY3" fmla="*/ 16404 h 203897"/>
                <a:gd name="connsiteX4" fmla="*/ 0 w 103435"/>
                <a:gd name="connsiteY4" fmla="*/ 2278 h 203897"/>
                <a:gd name="connsiteX5" fmla="*/ 103435 w 103435"/>
                <a:gd name="connsiteY5" fmla="*/ 0 h 203897"/>
                <a:gd name="connsiteX6" fmla="*/ 103435 w 103435"/>
                <a:gd name="connsiteY6" fmla="*/ 180989 h 203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03897">
                  <a:moveTo>
                    <a:pt x="87556" y="203897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1809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1" name="Forme libre : forme 2660">
              <a:extLst>
                <a:ext uri="{FF2B5EF4-FFF2-40B4-BE49-F238E27FC236}">
                  <a16:creationId xmlns:a16="http://schemas.microsoft.com/office/drawing/2014/main" id="{4E2C8EF5-C37E-433B-B4E7-F8D646EC6B2E}"/>
                </a:ext>
              </a:extLst>
            </p:cNvPr>
            <p:cNvSpPr/>
            <p:nvPr/>
          </p:nvSpPr>
          <p:spPr>
            <a:xfrm rot="7484129">
              <a:off x="139430" y="17950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2" name="Forme libre : forme 2661">
              <a:extLst>
                <a:ext uri="{FF2B5EF4-FFF2-40B4-BE49-F238E27FC236}">
                  <a16:creationId xmlns:a16="http://schemas.microsoft.com/office/drawing/2014/main" id="{EE3D8E88-95F9-4175-9223-3BA0971001EC}"/>
                </a:ext>
              </a:extLst>
            </p:cNvPr>
            <p:cNvSpPr/>
            <p:nvPr/>
          </p:nvSpPr>
          <p:spPr>
            <a:xfrm rot="13089394">
              <a:off x="244250" y="17615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3" name="Forme libre : forme 2662">
              <a:extLst>
                <a:ext uri="{FF2B5EF4-FFF2-40B4-BE49-F238E27FC236}">
                  <a16:creationId xmlns:a16="http://schemas.microsoft.com/office/drawing/2014/main" id="{F3C9AC87-A1FE-4D6A-AD7E-10654735E8A7}"/>
                </a:ext>
              </a:extLst>
            </p:cNvPr>
            <p:cNvSpPr/>
            <p:nvPr/>
          </p:nvSpPr>
          <p:spPr>
            <a:xfrm rot="8716295">
              <a:off x="429835" y="15699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4" name="Forme libre : forme 2663">
              <a:extLst>
                <a:ext uri="{FF2B5EF4-FFF2-40B4-BE49-F238E27FC236}">
                  <a16:creationId xmlns:a16="http://schemas.microsoft.com/office/drawing/2014/main" id="{5FFA192D-7DB1-4385-9CFD-89494EA18B76}"/>
                </a:ext>
              </a:extLst>
            </p:cNvPr>
            <p:cNvSpPr/>
            <p:nvPr/>
          </p:nvSpPr>
          <p:spPr>
            <a:xfrm rot="8716295">
              <a:off x="378030" y="14663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5" name="Forme libre : forme 2664">
              <a:extLst>
                <a:ext uri="{FF2B5EF4-FFF2-40B4-BE49-F238E27FC236}">
                  <a16:creationId xmlns:a16="http://schemas.microsoft.com/office/drawing/2014/main" id="{0F34417F-18EE-4E84-A289-EA164ECB3D71}"/>
                </a:ext>
              </a:extLst>
            </p:cNvPr>
            <p:cNvSpPr/>
            <p:nvPr/>
          </p:nvSpPr>
          <p:spPr>
            <a:xfrm rot="8716295">
              <a:off x="134784" y="14965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6" name="Forme libre : forme 2665">
              <a:extLst>
                <a:ext uri="{FF2B5EF4-FFF2-40B4-BE49-F238E27FC236}">
                  <a16:creationId xmlns:a16="http://schemas.microsoft.com/office/drawing/2014/main" id="{271203A9-03F5-485A-B145-792A15A69059}"/>
                </a:ext>
              </a:extLst>
            </p:cNvPr>
            <p:cNvSpPr/>
            <p:nvPr/>
          </p:nvSpPr>
          <p:spPr>
            <a:xfrm rot="8716295">
              <a:off x="312236" y="13372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7" name="Forme libre : forme 2666">
              <a:extLst>
                <a:ext uri="{FF2B5EF4-FFF2-40B4-BE49-F238E27FC236}">
                  <a16:creationId xmlns:a16="http://schemas.microsoft.com/office/drawing/2014/main" id="{405C0C8D-A9F9-4FDA-8710-B9B42D099BFD}"/>
                </a:ext>
              </a:extLst>
            </p:cNvPr>
            <p:cNvSpPr/>
            <p:nvPr/>
          </p:nvSpPr>
          <p:spPr>
            <a:xfrm rot="8716295">
              <a:off x="-17798" y="949199"/>
              <a:ext cx="39526" cy="50123"/>
            </a:xfrm>
            <a:custGeom>
              <a:avLst/>
              <a:gdLst>
                <a:gd name="connsiteX0" fmla="*/ 0 w 39526"/>
                <a:gd name="connsiteY0" fmla="*/ 50123 h 50123"/>
                <a:gd name="connsiteX1" fmla="*/ 0 w 39526"/>
                <a:gd name="connsiteY1" fmla="*/ 0 h 50123"/>
                <a:gd name="connsiteX2" fmla="*/ 39526 w 39526"/>
                <a:gd name="connsiteY2" fmla="*/ 0 h 50123"/>
                <a:gd name="connsiteX3" fmla="*/ 4782 w 39526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26" h="50123">
                  <a:moveTo>
                    <a:pt x="0" y="50123"/>
                  </a:moveTo>
                  <a:lnTo>
                    <a:pt x="0" y="0"/>
                  </a:lnTo>
                  <a:lnTo>
                    <a:pt x="39526" y="0"/>
                  </a:lnTo>
                  <a:lnTo>
                    <a:pt x="4782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8" name="Forme libre : forme 2667">
              <a:extLst>
                <a:ext uri="{FF2B5EF4-FFF2-40B4-BE49-F238E27FC236}">
                  <a16:creationId xmlns:a16="http://schemas.microsoft.com/office/drawing/2014/main" id="{D9E66FBE-87D5-42D6-912A-DFE2839C4FB5}"/>
                </a:ext>
              </a:extLst>
            </p:cNvPr>
            <p:cNvSpPr/>
            <p:nvPr/>
          </p:nvSpPr>
          <p:spPr>
            <a:xfrm rot="8716295">
              <a:off x="-64996" y="834728"/>
              <a:ext cx="249650" cy="254774"/>
            </a:xfrm>
            <a:custGeom>
              <a:avLst/>
              <a:gdLst>
                <a:gd name="connsiteX0" fmla="*/ 51490 w 249650"/>
                <a:gd name="connsiteY0" fmla="*/ 254774 h 254774"/>
                <a:gd name="connsiteX1" fmla="*/ 51490 w 249650"/>
                <a:gd name="connsiteY1" fmla="*/ 45624 h 254774"/>
                <a:gd name="connsiteX2" fmla="*/ 0 w 249650"/>
                <a:gd name="connsiteY2" fmla="*/ 45624 h 254774"/>
                <a:gd name="connsiteX3" fmla="*/ 0 w 249650"/>
                <a:gd name="connsiteY3" fmla="*/ 1425 h 254774"/>
                <a:gd name="connsiteX4" fmla="*/ 104803 w 249650"/>
                <a:gd name="connsiteY4" fmla="*/ 1425 h 254774"/>
                <a:gd name="connsiteX5" fmla="*/ 104803 w 249650"/>
                <a:gd name="connsiteY5" fmla="*/ 75242 h 254774"/>
                <a:gd name="connsiteX6" fmla="*/ 106169 w 249650"/>
                <a:gd name="connsiteY6" fmla="*/ 75242 h 254774"/>
                <a:gd name="connsiteX7" fmla="*/ 154014 w 249650"/>
                <a:gd name="connsiteY7" fmla="*/ 5981 h 254774"/>
                <a:gd name="connsiteX8" fmla="*/ 185455 w 249650"/>
                <a:gd name="connsiteY8" fmla="*/ 57 h 254774"/>
                <a:gd name="connsiteX9" fmla="*/ 240647 w 249650"/>
                <a:gd name="connsiteY9" fmla="*/ 22727 h 254774"/>
                <a:gd name="connsiteX10" fmla="*/ 249650 w 249650"/>
                <a:gd name="connsiteY10" fmla="*/ 52327 h 254774"/>
                <a:gd name="connsiteX11" fmla="*/ 218795 w 249650"/>
                <a:gd name="connsiteY11" fmla="*/ 96841 h 254774"/>
                <a:gd name="connsiteX12" fmla="*/ 198669 w 249650"/>
                <a:gd name="connsiteY12" fmla="*/ 98025 h 254774"/>
                <a:gd name="connsiteX13" fmla="*/ 198669 w 249650"/>
                <a:gd name="connsiteY13" fmla="*/ 81621 h 254774"/>
                <a:gd name="connsiteX14" fmla="*/ 164950 w 249650"/>
                <a:gd name="connsiteY14" fmla="*/ 40156 h 254774"/>
                <a:gd name="connsiteX15" fmla="*/ 111638 w 249650"/>
                <a:gd name="connsiteY15" fmla="*/ 127643 h 254774"/>
                <a:gd name="connsiteX16" fmla="*/ 111638 w 249650"/>
                <a:gd name="connsiteY16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9650" h="254774">
                  <a:moveTo>
                    <a:pt x="51490" y="254774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08922" y="-398"/>
                    <a:pt x="227718" y="7576"/>
                    <a:pt x="240647" y="22727"/>
                  </a:cubicBezTo>
                  <a:lnTo>
                    <a:pt x="249650" y="52327"/>
                  </a:lnTo>
                  <a:lnTo>
                    <a:pt x="218795" y="96841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9" name="Forme libre : forme 2668">
              <a:extLst>
                <a:ext uri="{FF2B5EF4-FFF2-40B4-BE49-F238E27FC236}">
                  <a16:creationId xmlns:a16="http://schemas.microsoft.com/office/drawing/2014/main" id="{9509EEFE-28EA-4695-B516-F79E29B945F9}"/>
                </a:ext>
              </a:extLst>
            </p:cNvPr>
            <p:cNvSpPr/>
            <p:nvPr/>
          </p:nvSpPr>
          <p:spPr>
            <a:xfrm rot="7484129">
              <a:off x="-63314" y="1172497"/>
              <a:ext cx="203848" cy="146395"/>
            </a:xfrm>
            <a:custGeom>
              <a:avLst/>
              <a:gdLst>
                <a:gd name="connsiteX0" fmla="*/ 0 w 203848"/>
                <a:gd name="connsiteY0" fmla="*/ 55323 h 146395"/>
                <a:gd name="connsiteX1" fmla="*/ 0 w 203848"/>
                <a:gd name="connsiteY1" fmla="*/ 0 h 146395"/>
                <a:gd name="connsiteX2" fmla="*/ 203848 w 203848"/>
                <a:gd name="connsiteY2" fmla="*/ 0 h 146395"/>
                <a:gd name="connsiteX3" fmla="*/ 203847 w 203848"/>
                <a:gd name="connsiteY3" fmla="*/ 49512 h 146395"/>
                <a:gd name="connsiteX4" fmla="*/ 195466 w 203848"/>
                <a:gd name="connsiteY4" fmla="*/ 55323 h 146395"/>
                <a:gd name="connsiteX5" fmla="*/ 139055 w 203848"/>
                <a:gd name="connsiteY5" fmla="*/ 55323 h 146395"/>
                <a:gd name="connsiteX6" fmla="*/ 121388 w 203848"/>
                <a:gd name="connsiteY6" fmla="*/ 106685 h 146395"/>
                <a:gd name="connsiteX7" fmla="*/ 64115 w 203848"/>
                <a:gd name="connsiteY7" fmla="*/ 146395 h 146395"/>
                <a:gd name="connsiteX8" fmla="*/ 47847 w 203848"/>
                <a:gd name="connsiteY8" fmla="*/ 116129 h 146395"/>
                <a:gd name="connsiteX9" fmla="*/ 69777 w 203848"/>
                <a:gd name="connsiteY9" fmla="*/ 55323 h 146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848" h="146395">
                  <a:moveTo>
                    <a:pt x="0" y="55323"/>
                  </a:moveTo>
                  <a:lnTo>
                    <a:pt x="0" y="0"/>
                  </a:lnTo>
                  <a:lnTo>
                    <a:pt x="203848" y="0"/>
                  </a:lnTo>
                  <a:lnTo>
                    <a:pt x="203847" y="49512"/>
                  </a:lnTo>
                  <a:lnTo>
                    <a:pt x="195466" y="55323"/>
                  </a:lnTo>
                  <a:lnTo>
                    <a:pt x="139055" y="55323"/>
                  </a:lnTo>
                  <a:lnTo>
                    <a:pt x="121388" y="106685"/>
                  </a:lnTo>
                  <a:lnTo>
                    <a:pt x="64115" y="146395"/>
                  </a:lnTo>
                  <a:lnTo>
                    <a:pt x="47847" y="116129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0" name="Forme libre : forme 2669">
              <a:extLst>
                <a:ext uri="{FF2B5EF4-FFF2-40B4-BE49-F238E27FC236}">
                  <a16:creationId xmlns:a16="http://schemas.microsoft.com/office/drawing/2014/main" id="{71678257-6DF2-4EFF-B737-FA3D02FA5594}"/>
                </a:ext>
              </a:extLst>
            </p:cNvPr>
            <p:cNvSpPr/>
            <p:nvPr/>
          </p:nvSpPr>
          <p:spPr>
            <a:xfrm rot="13089394">
              <a:off x="25311" y="109952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1" name="Forme libre : forme 2670">
              <a:extLst>
                <a:ext uri="{FF2B5EF4-FFF2-40B4-BE49-F238E27FC236}">
                  <a16:creationId xmlns:a16="http://schemas.microsoft.com/office/drawing/2014/main" id="{A59D46CE-4426-40A3-8095-61819C0C7AE0}"/>
                </a:ext>
              </a:extLst>
            </p:cNvPr>
            <p:cNvSpPr/>
            <p:nvPr/>
          </p:nvSpPr>
          <p:spPr>
            <a:xfrm rot="8716295">
              <a:off x="210896" y="90784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2" name="Forme libre : forme 2671">
              <a:extLst>
                <a:ext uri="{FF2B5EF4-FFF2-40B4-BE49-F238E27FC236}">
                  <a16:creationId xmlns:a16="http://schemas.microsoft.com/office/drawing/2014/main" id="{7825CA42-276D-46E9-845F-1C3B3FD7B764}"/>
                </a:ext>
              </a:extLst>
            </p:cNvPr>
            <p:cNvSpPr/>
            <p:nvPr/>
          </p:nvSpPr>
          <p:spPr>
            <a:xfrm rot="8716295">
              <a:off x="159091" y="80425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3" name="Forme libre : forme 2672">
              <a:extLst>
                <a:ext uri="{FF2B5EF4-FFF2-40B4-BE49-F238E27FC236}">
                  <a16:creationId xmlns:a16="http://schemas.microsoft.com/office/drawing/2014/main" id="{2CF0D109-F01E-48EA-B846-7F271B9FCCEE}"/>
                </a:ext>
              </a:extLst>
            </p:cNvPr>
            <p:cNvSpPr/>
            <p:nvPr/>
          </p:nvSpPr>
          <p:spPr>
            <a:xfrm rot="8716295">
              <a:off x="93297" y="67523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4" name="Forme libre : forme 2673">
              <a:extLst>
                <a:ext uri="{FF2B5EF4-FFF2-40B4-BE49-F238E27FC236}">
                  <a16:creationId xmlns:a16="http://schemas.microsoft.com/office/drawing/2014/main" id="{15A67A1B-0593-4E21-A1BB-485D6912B395}"/>
                </a:ext>
              </a:extLst>
            </p:cNvPr>
            <p:cNvSpPr/>
            <p:nvPr/>
          </p:nvSpPr>
          <p:spPr>
            <a:xfrm rot="8716295">
              <a:off x="-7001" y="316701"/>
              <a:ext cx="14001" cy="20198"/>
            </a:xfrm>
            <a:custGeom>
              <a:avLst/>
              <a:gdLst>
                <a:gd name="connsiteX0" fmla="*/ 0 w 14001"/>
                <a:gd name="connsiteY0" fmla="*/ 20198 h 20198"/>
                <a:gd name="connsiteX1" fmla="*/ 0 w 14001"/>
                <a:gd name="connsiteY1" fmla="*/ 0 h 20198"/>
                <a:gd name="connsiteX2" fmla="*/ 14001 w 14001"/>
                <a:gd name="connsiteY2" fmla="*/ 0 h 2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01" h="20198">
                  <a:moveTo>
                    <a:pt x="0" y="20198"/>
                  </a:moveTo>
                  <a:lnTo>
                    <a:pt x="0" y="0"/>
                  </a:lnTo>
                  <a:lnTo>
                    <a:pt x="1400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5" name="Forme libre : forme 2674">
              <a:extLst>
                <a:ext uri="{FF2B5EF4-FFF2-40B4-BE49-F238E27FC236}">
                  <a16:creationId xmlns:a16="http://schemas.microsoft.com/office/drawing/2014/main" id="{F5C0AF50-10E7-4E14-B910-0C705A16AAC3}"/>
                </a:ext>
              </a:extLst>
            </p:cNvPr>
            <p:cNvSpPr/>
            <p:nvPr/>
          </p:nvSpPr>
          <p:spPr>
            <a:xfrm rot="13089394">
              <a:off x="-81658" y="472652"/>
              <a:ext cx="173631" cy="237684"/>
            </a:xfrm>
            <a:custGeom>
              <a:avLst/>
              <a:gdLst>
                <a:gd name="connsiteX0" fmla="*/ 173631 w 173631"/>
                <a:gd name="connsiteY0" fmla="*/ 220990 h 237684"/>
                <a:gd name="connsiteX1" fmla="*/ 130972 w 173631"/>
                <a:gd name="connsiteY1" fmla="*/ 232382 h 237684"/>
                <a:gd name="connsiteX2" fmla="*/ 91597 w 173631"/>
                <a:gd name="connsiteY2" fmla="*/ 237521 h 237684"/>
                <a:gd name="connsiteX3" fmla="*/ 23727 w 173631"/>
                <a:gd name="connsiteY3" fmla="*/ 209931 h 237684"/>
                <a:gd name="connsiteX4" fmla="*/ 0 w 173631"/>
                <a:gd name="connsiteY4" fmla="*/ 115023 h 237684"/>
                <a:gd name="connsiteX5" fmla="*/ 0 w 173631"/>
                <a:gd name="connsiteY5" fmla="*/ 0 h 237684"/>
                <a:gd name="connsiteX6" fmla="*/ 76176 w 173631"/>
                <a:gd name="connsiteY6" fmla="*/ 96953 h 237684"/>
                <a:gd name="connsiteX7" fmla="*/ 76768 w 173631"/>
                <a:gd name="connsiteY7" fmla="*/ 109023 h 237684"/>
                <a:gd name="connsiteX8" fmla="*/ 87734 w 173631"/>
                <a:gd name="connsiteY8" fmla="*/ 154201 h 237684"/>
                <a:gd name="connsiteX9" fmla="*/ 111117 w 173631"/>
                <a:gd name="connsiteY9" fmla="*/ 181514 h 237684"/>
                <a:gd name="connsiteX10" fmla="*/ 148930 w 173631"/>
                <a:gd name="connsiteY10" fmla="*/ 189552 h 237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3631" h="237684">
                  <a:moveTo>
                    <a:pt x="173631" y="220990"/>
                  </a:moveTo>
                  <a:lnTo>
                    <a:pt x="130972" y="232382"/>
                  </a:lnTo>
                  <a:cubicBezTo>
                    <a:pt x="116428" y="235210"/>
                    <a:pt x="103047" y="236831"/>
                    <a:pt x="91597" y="237521"/>
                  </a:cubicBezTo>
                  <a:cubicBezTo>
                    <a:pt x="66215" y="239176"/>
                    <a:pt x="41384" y="228141"/>
                    <a:pt x="23727" y="209931"/>
                  </a:cubicBezTo>
                  <a:cubicBezTo>
                    <a:pt x="4966" y="191722"/>
                    <a:pt x="0" y="160270"/>
                    <a:pt x="0" y="115023"/>
                  </a:cubicBezTo>
                  <a:lnTo>
                    <a:pt x="0" y="0"/>
                  </a:lnTo>
                  <a:lnTo>
                    <a:pt x="76176" y="96953"/>
                  </a:lnTo>
                  <a:lnTo>
                    <a:pt x="76768" y="109023"/>
                  </a:lnTo>
                  <a:cubicBezTo>
                    <a:pt x="79044" y="124404"/>
                    <a:pt x="82768" y="139578"/>
                    <a:pt x="87734" y="154201"/>
                  </a:cubicBezTo>
                  <a:cubicBezTo>
                    <a:pt x="92149" y="166340"/>
                    <a:pt x="100012" y="175445"/>
                    <a:pt x="111117" y="181514"/>
                  </a:cubicBezTo>
                  <a:lnTo>
                    <a:pt x="148930" y="1895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6" name="Forme libre : forme 2675">
              <a:extLst>
                <a:ext uri="{FF2B5EF4-FFF2-40B4-BE49-F238E27FC236}">
                  <a16:creationId xmlns:a16="http://schemas.microsoft.com/office/drawing/2014/main" id="{0D59FB1F-A28C-4E8B-B4BC-0A3A54031E65}"/>
                </a:ext>
              </a:extLst>
            </p:cNvPr>
            <p:cNvSpPr/>
            <p:nvPr/>
          </p:nvSpPr>
          <p:spPr>
            <a:xfrm rot="8716295">
              <a:off x="-11774" y="24443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7" name="Forme libre : forme 2676">
              <a:extLst>
                <a:ext uri="{FF2B5EF4-FFF2-40B4-BE49-F238E27FC236}">
                  <a16:creationId xmlns:a16="http://schemas.microsoft.com/office/drawing/2014/main" id="{6DA8E402-AB6F-4D42-B3D8-FD882D72E6EE}"/>
                </a:ext>
              </a:extLst>
            </p:cNvPr>
            <p:cNvSpPr/>
            <p:nvPr/>
          </p:nvSpPr>
          <p:spPr>
            <a:xfrm rot="8716295">
              <a:off x="-30092" y="143486"/>
              <a:ext cx="77721" cy="97260"/>
            </a:xfrm>
            <a:custGeom>
              <a:avLst/>
              <a:gdLst>
                <a:gd name="connsiteX0" fmla="*/ 15821 w 77721"/>
                <a:gd name="connsiteY0" fmla="*/ 97260 h 97260"/>
                <a:gd name="connsiteX1" fmla="*/ 0 w 77721"/>
                <a:gd name="connsiteY1" fmla="*/ 59790 h 97260"/>
                <a:gd name="connsiteX2" fmla="*/ 0 w 77721"/>
                <a:gd name="connsiteY2" fmla="*/ 58869 h 97260"/>
                <a:gd name="connsiteX3" fmla="*/ 17477 w 77721"/>
                <a:gd name="connsiteY3" fmla="*/ 17477 h 97260"/>
                <a:gd name="connsiteX4" fmla="*/ 58869 w 77721"/>
                <a:gd name="connsiteY4" fmla="*/ 0 h 97260"/>
                <a:gd name="connsiteX5" fmla="*/ 77721 w 77721"/>
                <a:gd name="connsiteY5" fmla="*/ 7960 h 97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721" h="97260">
                  <a:moveTo>
                    <a:pt x="15821" y="97260"/>
                  </a:moveTo>
                  <a:lnTo>
                    <a:pt x="0" y="59790"/>
                  </a:ln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lnTo>
                    <a:pt x="77721" y="79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8" name="Forme libre : forme 2677">
              <a:extLst>
                <a:ext uri="{FF2B5EF4-FFF2-40B4-BE49-F238E27FC236}">
                  <a16:creationId xmlns:a16="http://schemas.microsoft.com/office/drawing/2014/main" id="{FF96202D-5615-4C5C-B860-27779277BA03}"/>
                </a:ext>
              </a:extLst>
            </p:cNvPr>
            <p:cNvSpPr/>
            <p:nvPr/>
          </p:nvSpPr>
          <p:spPr>
            <a:xfrm rot="8716295">
              <a:off x="-17797" y="3452694"/>
              <a:ext cx="58455" cy="44199"/>
            </a:xfrm>
            <a:custGeom>
              <a:avLst/>
              <a:gdLst>
                <a:gd name="connsiteX0" fmla="*/ 0 w 58455"/>
                <a:gd name="connsiteY0" fmla="*/ 44199 h 44199"/>
                <a:gd name="connsiteX1" fmla="*/ 0 w 58455"/>
                <a:gd name="connsiteY1" fmla="*/ 0 h 44199"/>
                <a:gd name="connsiteX2" fmla="*/ 58455 w 58455"/>
                <a:gd name="connsiteY2" fmla="*/ 0 h 44199"/>
                <a:gd name="connsiteX3" fmla="*/ 27817 w 58455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55" h="44199">
                  <a:moveTo>
                    <a:pt x="0" y="44199"/>
                  </a:moveTo>
                  <a:lnTo>
                    <a:pt x="0" y="0"/>
                  </a:lnTo>
                  <a:lnTo>
                    <a:pt x="58455" y="0"/>
                  </a:lnTo>
                  <a:lnTo>
                    <a:pt x="27817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9" name="Forme libre : forme 2678">
              <a:extLst>
                <a:ext uri="{FF2B5EF4-FFF2-40B4-BE49-F238E27FC236}">
                  <a16:creationId xmlns:a16="http://schemas.microsoft.com/office/drawing/2014/main" id="{EFE05903-A2C3-4EA4-B6E8-4BC424605688}"/>
                </a:ext>
              </a:extLst>
            </p:cNvPr>
            <p:cNvSpPr/>
            <p:nvPr/>
          </p:nvSpPr>
          <p:spPr>
            <a:xfrm rot="13089394">
              <a:off x="-91485" y="3601812"/>
              <a:ext cx="206527" cy="292654"/>
            </a:xfrm>
            <a:custGeom>
              <a:avLst/>
              <a:gdLst>
                <a:gd name="connsiteX0" fmla="*/ 206527 w 206527"/>
                <a:gd name="connsiteY0" fmla="*/ 258693 h 292654"/>
                <a:gd name="connsiteX1" fmla="*/ 177331 w 206527"/>
                <a:gd name="connsiteY1" fmla="*/ 274971 h 292654"/>
                <a:gd name="connsiteX2" fmla="*/ 91597 w 206527"/>
                <a:gd name="connsiteY2" fmla="*/ 292491 h 292654"/>
                <a:gd name="connsiteX3" fmla="*/ 23727 w 206527"/>
                <a:gd name="connsiteY3" fmla="*/ 264901 h 292654"/>
                <a:gd name="connsiteX4" fmla="*/ 0 w 206527"/>
                <a:gd name="connsiteY4" fmla="*/ 169993 h 292654"/>
                <a:gd name="connsiteX5" fmla="*/ 0 w 206527"/>
                <a:gd name="connsiteY5" fmla="*/ 1698 h 292654"/>
                <a:gd name="connsiteX6" fmla="*/ 3273 w 206527"/>
                <a:gd name="connsiteY6" fmla="*/ 0 h 292654"/>
                <a:gd name="connsiteX7" fmla="*/ 74297 w 206527"/>
                <a:gd name="connsiteY7" fmla="*/ 90396 h 292654"/>
                <a:gd name="connsiteX8" fmla="*/ 74492 w 206527"/>
                <a:gd name="connsiteY8" fmla="*/ 117574 h 292654"/>
                <a:gd name="connsiteX9" fmla="*/ 87734 w 206527"/>
                <a:gd name="connsiteY9" fmla="*/ 209171 h 292654"/>
                <a:gd name="connsiteX10" fmla="*/ 153949 w 206527"/>
                <a:gd name="connsiteY10" fmla="*/ 245589 h 292654"/>
                <a:gd name="connsiteX11" fmla="*/ 191049 w 206527"/>
                <a:gd name="connsiteY11" fmla="*/ 238993 h 292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527" h="292654">
                  <a:moveTo>
                    <a:pt x="206527" y="258693"/>
                  </a:moveTo>
                  <a:lnTo>
                    <a:pt x="177331" y="274971"/>
                  </a:lnTo>
                  <a:cubicBezTo>
                    <a:pt x="145121" y="286007"/>
                    <a:pt x="114496" y="291111"/>
                    <a:pt x="91597" y="292491"/>
                  </a:cubicBezTo>
                  <a:cubicBezTo>
                    <a:pt x="66215" y="294146"/>
                    <a:pt x="41385" y="283111"/>
                    <a:pt x="23727" y="264901"/>
                  </a:cubicBezTo>
                  <a:cubicBezTo>
                    <a:pt x="4966" y="246692"/>
                    <a:pt x="0" y="215240"/>
                    <a:pt x="0" y="169993"/>
                  </a:cubicBezTo>
                  <a:lnTo>
                    <a:pt x="0" y="1698"/>
                  </a:lnTo>
                  <a:lnTo>
                    <a:pt x="3273" y="0"/>
                  </a:lnTo>
                  <a:lnTo>
                    <a:pt x="74297" y="90396"/>
                  </a:lnTo>
                  <a:lnTo>
                    <a:pt x="74492" y="117574"/>
                  </a:lnTo>
                  <a:cubicBezTo>
                    <a:pt x="72836" y="148474"/>
                    <a:pt x="77802" y="179926"/>
                    <a:pt x="87734" y="209171"/>
                  </a:cubicBezTo>
                  <a:cubicBezTo>
                    <a:pt x="96564" y="233450"/>
                    <a:pt x="119187" y="245589"/>
                    <a:pt x="153949" y="245589"/>
                  </a:cubicBezTo>
                  <a:lnTo>
                    <a:pt x="191049" y="2389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0" name="Forme libre : forme 2679">
              <a:extLst>
                <a:ext uri="{FF2B5EF4-FFF2-40B4-BE49-F238E27FC236}">
                  <a16:creationId xmlns:a16="http://schemas.microsoft.com/office/drawing/2014/main" id="{A958F052-274A-4809-9A7E-706B6FDA97DB}"/>
                </a:ext>
              </a:extLst>
            </p:cNvPr>
            <p:cNvSpPr/>
            <p:nvPr/>
          </p:nvSpPr>
          <p:spPr>
            <a:xfrm rot="8716295">
              <a:off x="24761" y="33896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1" name="Forme libre : forme 2680">
              <a:extLst>
                <a:ext uri="{FF2B5EF4-FFF2-40B4-BE49-F238E27FC236}">
                  <a16:creationId xmlns:a16="http://schemas.microsoft.com/office/drawing/2014/main" id="{3D25082F-4B73-45B2-BAAB-9D638EEF2592}"/>
                </a:ext>
              </a:extLst>
            </p:cNvPr>
            <p:cNvSpPr/>
            <p:nvPr/>
          </p:nvSpPr>
          <p:spPr>
            <a:xfrm rot="8716295">
              <a:off x="-24047" y="3281741"/>
              <a:ext cx="106042" cy="113733"/>
            </a:xfrm>
            <a:custGeom>
              <a:avLst/>
              <a:gdLst>
                <a:gd name="connsiteX0" fmla="*/ 17477 w 106042"/>
                <a:gd name="connsiteY0" fmla="*/ 101182 h 113733"/>
                <a:gd name="connsiteX1" fmla="*/ 0 w 106042"/>
                <a:gd name="connsiteY1" fmla="*/ 59790 h 113733"/>
                <a:gd name="connsiteX2" fmla="*/ 0 w 106042"/>
                <a:gd name="connsiteY2" fmla="*/ 58869 h 113733"/>
                <a:gd name="connsiteX3" fmla="*/ 17477 w 106042"/>
                <a:gd name="connsiteY3" fmla="*/ 17477 h 113733"/>
                <a:gd name="connsiteX4" fmla="*/ 58869 w 106042"/>
                <a:gd name="connsiteY4" fmla="*/ 0 h 113733"/>
                <a:gd name="connsiteX5" fmla="*/ 100262 w 106042"/>
                <a:gd name="connsiteY5" fmla="*/ 17477 h 113733"/>
                <a:gd name="connsiteX6" fmla="*/ 106042 w 106042"/>
                <a:gd name="connsiteY6" fmla="*/ 31234 h 113733"/>
                <a:gd name="connsiteX7" fmla="*/ 48856 w 106042"/>
                <a:gd name="connsiteY7" fmla="*/ 113733 h 11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042" h="113733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cubicBezTo>
                    <a:pt x="74507" y="0"/>
                    <a:pt x="89224" y="6439"/>
                    <a:pt x="100262" y="17477"/>
                  </a:cubicBezTo>
                  <a:lnTo>
                    <a:pt x="106042" y="31234"/>
                  </a:lnTo>
                  <a:lnTo>
                    <a:pt x="48856" y="1137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2" name="Forme libre : forme 2681">
              <a:extLst>
                <a:ext uri="{FF2B5EF4-FFF2-40B4-BE49-F238E27FC236}">
                  <a16:creationId xmlns:a16="http://schemas.microsoft.com/office/drawing/2014/main" id="{9B3439DB-66BB-4F10-AE1A-D801C021A556}"/>
                </a:ext>
              </a:extLst>
            </p:cNvPr>
            <p:cNvSpPr/>
            <p:nvPr/>
          </p:nvSpPr>
          <p:spPr>
            <a:xfrm rot="8716295">
              <a:off x="-21924" y="3179872"/>
              <a:ext cx="45776" cy="62656"/>
            </a:xfrm>
            <a:custGeom>
              <a:avLst/>
              <a:gdLst>
                <a:gd name="connsiteX0" fmla="*/ 2345 w 45776"/>
                <a:gd name="connsiteY0" fmla="*/ 62656 h 62656"/>
                <a:gd name="connsiteX1" fmla="*/ 0 w 45776"/>
                <a:gd name="connsiteY1" fmla="*/ 57104 h 62656"/>
                <a:gd name="connsiteX2" fmla="*/ 0 w 45776"/>
                <a:gd name="connsiteY2" fmla="*/ 56183 h 62656"/>
                <a:gd name="connsiteX3" fmla="*/ 17477 w 45776"/>
                <a:gd name="connsiteY3" fmla="*/ 14791 h 62656"/>
                <a:gd name="connsiteX4" fmla="*/ 36449 w 45776"/>
                <a:gd name="connsiteY4" fmla="*/ 1913 h 62656"/>
                <a:gd name="connsiteX5" fmla="*/ 45776 w 45776"/>
                <a:gd name="connsiteY5" fmla="*/ 0 h 62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776" h="62656">
                  <a:moveTo>
                    <a:pt x="2345" y="62656"/>
                  </a:moveTo>
                  <a:lnTo>
                    <a:pt x="0" y="57104"/>
                  </a:lnTo>
                  <a:lnTo>
                    <a:pt x="0" y="56183"/>
                  </a:lnTo>
                  <a:cubicBezTo>
                    <a:pt x="0" y="40547"/>
                    <a:pt x="6439" y="25829"/>
                    <a:pt x="17477" y="14791"/>
                  </a:cubicBezTo>
                  <a:cubicBezTo>
                    <a:pt x="22996" y="9272"/>
                    <a:pt x="29435" y="4903"/>
                    <a:pt x="36449" y="1913"/>
                  </a:cubicBezTo>
                  <a:lnTo>
                    <a:pt x="4577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3" name="Forme libre : forme 2682">
              <a:extLst>
                <a:ext uri="{FF2B5EF4-FFF2-40B4-BE49-F238E27FC236}">
                  <a16:creationId xmlns:a16="http://schemas.microsoft.com/office/drawing/2014/main" id="{BE051C75-2EC0-4A07-8D42-5B1B5C7740A7}"/>
                </a:ext>
              </a:extLst>
            </p:cNvPr>
            <p:cNvSpPr/>
            <p:nvPr/>
          </p:nvSpPr>
          <p:spPr>
            <a:xfrm rot="8716295">
              <a:off x="592036" y="5123131"/>
              <a:ext cx="56900" cy="40151"/>
            </a:xfrm>
            <a:custGeom>
              <a:avLst/>
              <a:gdLst>
                <a:gd name="connsiteX0" fmla="*/ 13826 w 56900"/>
                <a:gd name="connsiteY0" fmla="*/ 23593 h 40151"/>
                <a:gd name="connsiteX1" fmla="*/ 948 w 56900"/>
                <a:gd name="connsiteY1" fmla="*/ 4622 h 40151"/>
                <a:gd name="connsiteX2" fmla="*/ 0 w 56900"/>
                <a:gd name="connsiteY2" fmla="*/ 0 h 40151"/>
                <a:gd name="connsiteX3" fmla="*/ 56900 w 56900"/>
                <a:gd name="connsiteY3" fmla="*/ 39441 h 40151"/>
                <a:gd name="connsiteX4" fmla="*/ 55218 w 56900"/>
                <a:gd name="connsiteY4" fmla="*/ 40151 h 40151"/>
                <a:gd name="connsiteX5" fmla="*/ 13826 w 56900"/>
                <a:gd name="connsiteY5" fmla="*/ 23593 h 40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900" h="40151">
                  <a:moveTo>
                    <a:pt x="13826" y="23593"/>
                  </a:moveTo>
                  <a:cubicBezTo>
                    <a:pt x="8307" y="18074"/>
                    <a:pt x="3938" y="11636"/>
                    <a:pt x="948" y="4622"/>
                  </a:cubicBezTo>
                  <a:lnTo>
                    <a:pt x="0" y="0"/>
                  </a:lnTo>
                  <a:lnTo>
                    <a:pt x="56900" y="39441"/>
                  </a:lnTo>
                  <a:lnTo>
                    <a:pt x="55218" y="40151"/>
                  </a:lnTo>
                  <a:cubicBezTo>
                    <a:pt x="39581" y="40151"/>
                    <a:pt x="24864" y="34631"/>
                    <a:pt x="13826" y="2359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4" name="Forme libre : forme 2683">
              <a:extLst>
                <a:ext uri="{FF2B5EF4-FFF2-40B4-BE49-F238E27FC236}">
                  <a16:creationId xmlns:a16="http://schemas.microsoft.com/office/drawing/2014/main" id="{A2DDC211-7D18-475F-9BDE-7390FC50600F}"/>
                </a:ext>
              </a:extLst>
            </p:cNvPr>
            <p:cNvSpPr/>
            <p:nvPr/>
          </p:nvSpPr>
          <p:spPr>
            <a:xfrm rot="8716295">
              <a:off x="-21324" y="4100649"/>
              <a:ext cx="79113" cy="50123"/>
            </a:xfrm>
            <a:custGeom>
              <a:avLst/>
              <a:gdLst>
                <a:gd name="connsiteX0" fmla="*/ 0 w 79113"/>
                <a:gd name="connsiteY0" fmla="*/ 50123 h 50123"/>
                <a:gd name="connsiteX1" fmla="*/ 0 w 79113"/>
                <a:gd name="connsiteY1" fmla="*/ 0 h 50123"/>
                <a:gd name="connsiteX2" fmla="*/ 79113 w 79113"/>
                <a:gd name="connsiteY2" fmla="*/ 0 h 50123"/>
                <a:gd name="connsiteX3" fmla="*/ 44369 w 79113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113" h="50123">
                  <a:moveTo>
                    <a:pt x="0" y="50123"/>
                  </a:moveTo>
                  <a:lnTo>
                    <a:pt x="0" y="0"/>
                  </a:lnTo>
                  <a:lnTo>
                    <a:pt x="79113" y="0"/>
                  </a:lnTo>
                  <a:lnTo>
                    <a:pt x="44369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5" name="Forme libre : forme 2684">
              <a:extLst>
                <a:ext uri="{FF2B5EF4-FFF2-40B4-BE49-F238E27FC236}">
                  <a16:creationId xmlns:a16="http://schemas.microsoft.com/office/drawing/2014/main" id="{4A594CAD-D127-4A61-B2C8-0DE44CCFCB9E}"/>
                </a:ext>
              </a:extLst>
            </p:cNvPr>
            <p:cNvSpPr/>
            <p:nvPr/>
          </p:nvSpPr>
          <p:spPr>
            <a:xfrm rot="8716295">
              <a:off x="-40457" y="398156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6" name="Forme libre : forme 2685">
              <a:extLst>
                <a:ext uri="{FF2B5EF4-FFF2-40B4-BE49-F238E27FC236}">
                  <a16:creationId xmlns:a16="http://schemas.microsoft.com/office/drawing/2014/main" id="{C35F84B9-08F3-41F8-AB3B-A49B6847CE98}"/>
                </a:ext>
              </a:extLst>
            </p:cNvPr>
            <p:cNvSpPr/>
            <p:nvPr/>
          </p:nvSpPr>
          <p:spPr>
            <a:xfrm rot="7484129">
              <a:off x="-46974" y="427316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7" name="Forme libre : forme 2686">
              <a:extLst>
                <a:ext uri="{FF2B5EF4-FFF2-40B4-BE49-F238E27FC236}">
                  <a16:creationId xmlns:a16="http://schemas.microsoft.com/office/drawing/2014/main" id="{3D0897FF-826A-48CF-8574-888120D65678}"/>
                </a:ext>
              </a:extLst>
            </p:cNvPr>
            <p:cNvSpPr/>
            <p:nvPr/>
          </p:nvSpPr>
          <p:spPr>
            <a:xfrm rot="13089394">
              <a:off x="57846" y="423970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8" name="Forme libre : forme 2687">
              <a:extLst>
                <a:ext uri="{FF2B5EF4-FFF2-40B4-BE49-F238E27FC236}">
                  <a16:creationId xmlns:a16="http://schemas.microsoft.com/office/drawing/2014/main" id="{2F8D07DA-1D87-463F-B4DC-27CBA56DED7E}"/>
                </a:ext>
              </a:extLst>
            </p:cNvPr>
            <p:cNvSpPr/>
            <p:nvPr/>
          </p:nvSpPr>
          <p:spPr>
            <a:xfrm rot="8716295">
              <a:off x="243431" y="404801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9" name="Forme libre : forme 2688">
              <a:extLst>
                <a:ext uri="{FF2B5EF4-FFF2-40B4-BE49-F238E27FC236}">
                  <a16:creationId xmlns:a16="http://schemas.microsoft.com/office/drawing/2014/main" id="{BADA5750-C783-4D69-B30C-EF6BBA7037F4}"/>
                </a:ext>
              </a:extLst>
            </p:cNvPr>
            <p:cNvSpPr/>
            <p:nvPr/>
          </p:nvSpPr>
          <p:spPr>
            <a:xfrm rot="8716295">
              <a:off x="191626" y="39444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0" name="Forme libre : forme 2689">
              <a:extLst>
                <a:ext uri="{FF2B5EF4-FFF2-40B4-BE49-F238E27FC236}">
                  <a16:creationId xmlns:a16="http://schemas.microsoft.com/office/drawing/2014/main" id="{7176F547-28C8-4730-A116-BF57B49F4638}"/>
                </a:ext>
              </a:extLst>
            </p:cNvPr>
            <p:cNvSpPr/>
            <p:nvPr/>
          </p:nvSpPr>
          <p:spPr>
            <a:xfrm rot="8716295">
              <a:off x="125832" y="381540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1" name="Forme libre : forme 2690">
              <a:extLst>
                <a:ext uri="{FF2B5EF4-FFF2-40B4-BE49-F238E27FC236}">
                  <a16:creationId xmlns:a16="http://schemas.microsoft.com/office/drawing/2014/main" id="{1C963D98-5E90-4FBD-9A58-C704191F7207}"/>
                </a:ext>
              </a:extLst>
            </p:cNvPr>
            <p:cNvSpPr/>
            <p:nvPr/>
          </p:nvSpPr>
          <p:spPr>
            <a:xfrm rot="8716295">
              <a:off x="-73048" y="4876828"/>
              <a:ext cx="221382" cy="253349"/>
            </a:xfrm>
            <a:custGeom>
              <a:avLst/>
              <a:gdLst>
                <a:gd name="connsiteX0" fmla="*/ 51490 w 221382"/>
                <a:gd name="connsiteY0" fmla="*/ 253349 h 253349"/>
                <a:gd name="connsiteX1" fmla="*/ 51490 w 221382"/>
                <a:gd name="connsiteY1" fmla="*/ 44199 h 253349"/>
                <a:gd name="connsiteX2" fmla="*/ 0 w 221382"/>
                <a:gd name="connsiteY2" fmla="*/ 44199 h 253349"/>
                <a:gd name="connsiteX3" fmla="*/ 0 w 221382"/>
                <a:gd name="connsiteY3" fmla="*/ 0 h 253349"/>
                <a:gd name="connsiteX4" fmla="*/ 104803 w 221382"/>
                <a:gd name="connsiteY4" fmla="*/ 0 h 253349"/>
                <a:gd name="connsiteX5" fmla="*/ 104802 w 221382"/>
                <a:gd name="connsiteY5" fmla="*/ 73817 h 253349"/>
                <a:gd name="connsiteX6" fmla="*/ 106169 w 221382"/>
                <a:gd name="connsiteY6" fmla="*/ 73817 h 253349"/>
                <a:gd name="connsiteX7" fmla="*/ 154014 w 221382"/>
                <a:gd name="connsiteY7" fmla="*/ 4556 h 253349"/>
                <a:gd name="connsiteX8" fmla="*/ 174650 w 221382"/>
                <a:gd name="connsiteY8" fmla="*/ 668 h 253349"/>
                <a:gd name="connsiteX9" fmla="*/ 214075 w 221382"/>
                <a:gd name="connsiteY9" fmla="*/ 27996 h 253349"/>
                <a:gd name="connsiteX10" fmla="*/ 221382 w 221382"/>
                <a:gd name="connsiteY10" fmla="*/ 33060 h 253349"/>
                <a:gd name="connsiteX11" fmla="*/ 195540 w 221382"/>
                <a:gd name="connsiteY11" fmla="*/ 70341 h 253349"/>
                <a:gd name="connsiteX12" fmla="*/ 189157 w 221382"/>
                <a:gd name="connsiteY12" fmla="*/ 50236 h 253349"/>
                <a:gd name="connsiteX13" fmla="*/ 164950 w 221382"/>
                <a:gd name="connsiteY13" fmla="*/ 38731 h 253349"/>
                <a:gd name="connsiteX14" fmla="*/ 111638 w 221382"/>
                <a:gd name="connsiteY14" fmla="*/ 126218 h 253349"/>
                <a:gd name="connsiteX15" fmla="*/ 111638 w 221382"/>
                <a:gd name="connsiteY15" fmla="*/ 191383 h 253349"/>
                <a:gd name="connsiteX16" fmla="*/ 84096 w 221382"/>
                <a:gd name="connsiteY16" fmla="*/ 231117 h 253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1382" h="253349">
                  <a:moveTo>
                    <a:pt x="51490" y="253349"/>
                  </a:moveTo>
                  <a:lnTo>
                    <a:pt x="51490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104803" y="0"/>
                  </a:lnTo>
                  <a:lnTo>
                    <a:pt x="104802" y="73817"/>
                  </a:lnTo>
                  <a:lnTo>
                    <a:pt x="106169" y="73817"/>
                  </a:lnTo>
                  <a:cubicBezTo>
                    <a:pt x="120751" y="30529"/>
                    <a:pt x="132142" y="13670"/>
                    <a:pt x="154014" y="4556"/>
                  </a:cubicBezTo>
                  <a:lnTo>
                    <a:pt x="174650" y="668"/>
                  </a:lnTo>
                  <a:lnTo>
                    <a:pt x="214075" y="27996"/>
                  </a:lnTo>
                  <a:lnTo>
                    <a:pt x="221382" y="33060"/>
                  </a:lnTo>
                  <a:lnTo>
                    <a:pt x="195540" y="70341"/>
                  </a:lnTo>
                  <a:lnTo>
                    <a:pt x="189157" y="50236"/>
                  </a:lnTo>
                  <a:cubicBezTo>
                    <a:pt x="183177" y="42946"/>
                    <a:pt x="174747" y="38731"/>
                    <a:pt x="164950" y="38731"/>
                  </a:cubicBezTo>
                  <a:cubicBezTo>
                    <a:pt x="135788" y="38731"/>
                    <a:pt x="111638" y="77463"/>
                    <a:pt x="111638" y="126218"/>
                  </a:cubicBezTo>
                  <a:lnTo>
                    <a:pt x="111638" y="191383"/>
                  </a:lnTo>
                  <a:lnTo>
                    <a:pt x="84096" y="2311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2" name="Forme libre : forme 2691">
              <a:extLst>
                <a:ext uri="{FF2B5EF4-FFF2-40B4-BE49-F238E27FC236}">
                  <a16:creationId xmlns:a16="http://schemas.microsoft.com/office/drawing/2014/main" id="{8E8AC4EC-3332-4FDC-A396-BF01CCE8866D}"/>
                </a:ext>
              </a:extLst>
            </p:cNvPr>
            <p:cNvSpPr/>
            <p:nvPr/>
          </p:nvSpPr>
          <p:spPr>
            <a:xfrm rot="8716295">
              <a:off x="93318" y="46120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3" name="Forme libre : forme 2692">
              <a:extLst>
                <a:ext uri="{FF2B5EF4-FFF2-40B4-BE49-F238E27FC236}">
                  <a16:creationId xmlns:a16="http://schemas.microsoft.com/office/drawing/2014/main" id="{C4232B1B-4805-4D83-80AE-47B7546367B0}"/>
                </a:ext>
              </a:extLst>
            </p:cNvPr>
            <p:cNvSpPr/>
            <p:nvPr/>
          </p:nvSpPr>
          <p:spPr>
            <a:xfrm rot="8716295">
              <a:off x="182710" y="46412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4" name="Forme libre : forme 2693">
              <a:extLst>
                <a:ext uri="{FF2B5EF4-FFF2-40B4-BE49-F238E27FC236}">
                  <a16:creationId xmlns:a16="http://schemas.microsoft.com/office/drawing/2014/main" id="{952CFAFD-A1C3-49BC-88A4-2A9560CFFDDC}"/>
                </a:ext>
              </a:extLst>
            </p:cNvPr>
            <p:cNvSpPr/>
            <p:nvPr/>
          </p:nvSpPr>
          <p:spPr>
            <a:xfrm rot="8716295">
              <a:off x="-14524" y="4699631"/>
              <a:ext cx="49997" cy="54238"/>
            </a:xfrm>
            <a:custGeom>
              <a:avLst/>
              <a:gdLst>
                <a:gd name="connsiteX0" fmla="*/ 8658 w 49997"/>
                <a:gd name="connsiteY0" fmla="*/ 50123 h 54238"/>
                <a:gd name="connsiteX1" fmla="*/ 0 w 49997"/>
                <a:gd name="connsiteY1" fmla="*/ 29619 h 54238"/>
                <a:gd name="connsiteX2" fmla="*/ 0 w 49997"/>
                <a:gd name="connsiteY2" fmla="*/ 29162 h 54238"/>
                <a:gd name="connsiteX3" fmla="*/ 8658 w 49997"/>
                <a:gd name="connsiteY3" fmla="*/ 8658 h 54238"/>
                <a:gd name="connsiteX4" fmla="*/ 29163 w 49997"/>
                <a:gd name="connsiteY4" fmla="*/ 0 h 54238"/>
                <a:gd name="connsiteX5" fmla="*/ 49668 w 49997"/>
                <a:gd name="connsiteY5" fmla="*/ 8658 h 54238"/>
                <a:gd name="connsiteX6" fmla="*/ 49997 w 49997"/>
                <a:gd name="connsiteY6" fmla="*/ 9441 h 54238"/>
                <a:gd name="connsiteX7" fmla="*/ 18945 w 49997"/>
                <a:gd name="connsiteY7" fmla="*/ 54238 h 54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997" h="54238">
                  <a:moveTo>
                    <a:pt x="8658" y="50123"/>
                  </a:moveTo>
                  <a:cubicBezTo>
                    <a:pt x="3190" y="44655"/>
                    <a:pt x="0" y="37365"/>
                    <a:pt x="0" y="29619"/>
                  </a:cubicBezTo>
                  <a:lnTo>
                    <a:pt x="0" y="29162"/>
                  </a:lnTo>
                  <a:cubicBezTo>
                    <a:pt x="0" y="21417"/>
                    <a:pt x="3190" y="14126"/>
                    <a:pt x="8658" y="8658"/>
                  </a:cubicBezTo>
                  <a:cubicBezTo>
                    <a:pt x="14126" y="3190"/>
                    <a:pt x="21416" y="0"/>
                    <a:pt x="29163" y="0"/>
                  </a:cubicBezTo>
                  <a:cubicBezTo>
                    <a:pt x="36909" y="0"/>
                    <a:pt x="44200" y="3190"/>
                    <a:pt x="49668" y="8658"/>
                  </a:cubicBezTo>
                  <a:lnTo>
                    <a:pt x="49997" y="9441"/>
                  </a:lnTo>
                  <a:lnTo>
                    <a:pt x="18945" y="54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5" name="Forme libre : forme 2694">
              <a:extLst>
                <a:ext uri="{FF2B5EF4-FFF2-40B4-BE49-F238E27FC236}">
                  <a16:creationId xmlns:a16="http://schemas.microsoft.com/office/drawing/2014/main" id="{3FE0366B-AD9E-4FF0-B101-FF640F463910}"/>
                </a:ext>
              </a:extLst>
            </p:cNvPr>
            <p:cNvSpPr/>
            <p:nvPr/>
          </p:nvSpPr>
          <p:spPr>
            <a:xfrm rot="8716295">
              <a:off x="-30327" y="4579755"/>
              <a:ext cx="113346" cy="71024"/>
            </a:xfrm>
            <a:custGeom>
              <a:avLst/>
              <a:gdLst>
                <a:gd name="connsiteX0" fmla="*/ 0 w 113346"/>
                <a:gd name="connsiteY0" fmla="*/ 55323 h 71024"/>
                <a:gd name="connsiteX1" fmla="*/ 0 w 113346"/>
                <a:gd name="connsiteY1" fmla="*/ 0 h 71024"/>
                <a:gd name="connsiteX2" fmla="*/ 113346 w 113346"/>
                <a:gd name="connsiteY2" fmla="*/ 0 h 71024"/>
                <a:gd name="connsiteX3" fmla="*/ 64114 w 113346"/>
                <a:gd name="connsiteY3" fmla="*/ 71024 h 71024"/>
                <a:gd name="connsiteX4" fmla="*/ 69777 w 113346"/>
                <a:gd name="connsiteY4" fmla="*/ 55323 h 7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346" h="71024">
                  <a:moveTo>
                    <a:pt x="0" y="55323"/>
                  </a:moveTo>
                  <a:lnTo>
                    <a:pt x="0" y="0"/>
                  </a:lnTo>
                  <a:lnTo>
                    <a:pt x="113346" y="0"/>
                  </a:lnTo>
                  <a:lnTo>
                    <a:pt x="64114" y="71024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6" name="Forme libre : forme 2695">
              <a:extLst>
                <a:ext uri="{FF2B5EF4-FFF2-40B4-BE49-F238E27FC236}">
                  <a16:creationId xmlns:a16="http://schemas.microsoft.com/office/drawing/2014/main" id="{462792DD-6AEC-43AE-AA23-31A7407E7186}"/>
                </a:ext>
              </a:extLst>
            </p:cNvPr>
            <p:cNvSpPr/>
            <p:nvPr/>
          </p:nvSpPr>
          <p:spPr>
            <a:xfrm rot="8716295">
              <a:off x="71262" y="47415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7" name="Forme libre : forme 2696">
              <a:extLst>
                <a:ext uri="{FF2B5EF4-FFF2-40B4-BE49-F238E27FC236}">
                  <a16:creationId xmlns:a16="http://schemas.microsoft.com/office/drawing/2014/main" id="{C223BB14-96CC-4B4E-BEF2-7DC15D49AC68}"/>
                </a:ext>
              </a:extLst>
            </p:cNvPr>
            <p:cNvSpPr/>
            <p:nvPr/>
          </p:nvSpPr>
          <p:spPr>
            <a:xfrm rot="7484129">
              <a:off x="172059" y="493353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170341 w 203847"/>
                <a:gd name="connsiteY5" fmla="*/ 0 h 195874"/>
                <a:gd name="connsiteX6" fmla="*/ 203847 w 203847"/>
                <a:gd name="connsiteY6" fmla="*/ 48325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170341" y="0"/>
                  </a:lnTo>
                  <a:lnTo>
                    <a:pt x="203847" y="48325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8" name="Forme libre : forme 2697">
              <a:extLst>
                <a:ext uri="{FF2B5EF4-FFF2-40B4-BE49-F238E27FC236}">
                  <a16:creationId xmlns:a16="http://schemas.microsoft.com/office/drawing/2014/main" id="{9105CD85-AB3C-4846-B6A4-83422B072A6F}"/>
                </a:ext>
              </a:extLst>
            </p:cNvPr>
            <p:cNvSpPr/>
            <p:nvPr/>
          </p:nvSpPr>
          <p:spPr>
            <a:xfrm rot="13089394">
              <a:off x="313263" y="4907079"/>
              <a:ext cx="272584" cy="221720"/>
            </a:xfrm>
            <a:custGeom>
              <a:avLst/>
              <a:gdLst>
                <a:gd name="connsiteX0" fmla="*/ 272584 w 272584"/>
                <a:gd name="connsiteY0" fmla="*/ 150928 h 221720"/>
                <a:gd name="connsiteX1" fmla="*/ 91597 w 272584"/>
                <a:gd name="connsiteY1" fmla="*/ 221557 h 221720"/>
                <a:gd name="connsiteX2" fmla="*/ 23727 w 272584"/>
                <a:gd name="connsiteY2" fmla="*/ 193967 h 221720"/>
                <a:gd name="connsiteX3" fmla="*/ 0 w 272584"/>
                <a:gd name="connsiteY3" fmla="*/ 99060 h 221720"/>
                <a:gd name="connsiteX4" fmla="*/ 0 w 272584"/>
                <a:gd name="connsiteY4" fmla="*/ 58265 h 221720"/>
                <a:gd name="connsiteX5" fmla="*/ 74157 w 272584"/>
                <a:gd name="connsiteY5" fmla="*/ 0 h 221720"/>
                <a:gd name="connsiteX6" fmla="*/ 74492 w 272584"/>
                <a:gd name="connsiteY6" fmla="*/ 46640 h 221720"/>
                <a:gd name="connsiteX7" fmla="*/ 87734 w 272584"/>
                <a:gd name="connsiteY7" fmla="*/ 138237 h 221720"/>
                <a:gd name="connsiteX8" fmla="*/ 153949 w 272584"/>
                <a:gd name="connsiteY8" fmla="*/ 174655 h 221720"/>
                <a:gd name="connsiteX9" fmla="*/ 203610 w 272584"/>
                <a:gd name="connsiteY9" fmla="*/ 165826 h 221720"/>
                <a:gd name="connsiteX10" fmla="*/ 271480 w 272584"/>
                <a:gd name="connsiteY10" fmla="*/ 138237 h 221720"/>
                <a:gd name="connsiteX11" fmla="*/ 272584 w 272584"/>
                <a:gd name="connsiteY11" fmla="*/ 145410 h 22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2584" h="221720">
                  <a:moveTo>
                    <a:pt x="272584" y="150928"/>
                  </a:moveTo>
                  <a:cubicBezTo>
                    <a:pt x="214094" y="201141"/>
                    <a:pt x="137395" y="218798"/>
                    <a:pt x="91597" y="221557"/>
                  </a:cubicBezTo>
                  <a:cubicBezTo>
                    <a:pt x="66215" y="223213"/>
                    <a:pt x="41384" y="212177"/>
                    <a:pt x="23727" y="193967"/>
                  </a:cubicBezTo>
                  <a:cubicBezTo>
                    <a:pt x="4966" y="175759"/>
                    <a:pt x="0" y="144306"/>
                    <a:pt x="0" y="99060"/>
                  </a:cubicBezTo>
                  <a:lnTo>
                    <a:pt x="0" y="58265"/>
                  </a:lnTo>
                  <a:lnTo>
                    <a:pt x="74157" y="0"/>
                  </a:lnTo>
                  <a:lnTo>
                    <a:pt x="74492" y="46640"/>
                  </a:lnTo>
                  <a:cubicBezTo>
                    <a:pt x="72836" y="77540"/>
                    <a:pt x="77802" y="108992"/>
                    <a:pt x="87734" y="138237"/>
                  </a:cubicBezTo>
                  <a:cubicBezTo>
                    <a:pt x="96563" y="162515"/>
                    <a:pt x="119186" y="174655"/>
                    <a:pt x="153949" y="174655"/>
                  </a:cubicBezTo>
                  <a:cubicBezTo>
                    <a:pt x="171055" y="174103"/>
                    <a:pt x="187608" y="170792"/>
                    <a:pt x="203610" y="165826"/>
                  </a:cubicBezTo>
                  <a:cubicBezTo>
                    <a:pt x="226785" y="158653"/>
                    <a:pt x="249409" y="149273"/>
                    <a:pt x="271480" y="138237"/>
                  </a:cubicBezTo>
                  <a:cubicBezTo>
                    <a:pt x="272032" y="140444"/>
                    <a:pt x="272584" y="143203"/>
                    <a:pt x="272584" y="1454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9" name="Forme libre : forme 2698">
              <a:extLst>
                <a:ext uri="{FF2B5EF4-FFF2-40B4-BE49-F238E27FC236}">
                  <a16:creationId xmlns:a16="http://schemas.microsoft.com/office/drawing/2014/main" id="{04F7B0B6-4F3C-463B-AFC6-7617C958C986}"/>
                </a:ext>
              </a:extLst>
            </p:cNvPr>
            <p:cNvSpPr/>
            <p:nvPr/>
          </p:nvSpPr>
          <p:spPr>
            <a:xfrm rot="8716295">
              <a:off x="466598" y="470771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00" name="Forme libre : forme 2699">
              <a:extLst>
                <a:ext uri="{FF2B5EF4-FFF2-40B4-BE49-F238E27FC236}">
                  <a16:creationId xmlns:a16="http://schemas.microsoft.com/office/drawing/2014/main" id="{9EAECEBF-102E-44C3-A49C-9E40F5D97CD7}"/>
                </a:ext>
              </a:extLst>
            </p:cNvPr>
            <p:cNvSpPr/>
            <p:nvPr/>
          </p:nvSpPr>
          <p:spPr>
            <a:xfrm rot="8716295">
              <a:off x="414793" y="460412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01" name="Forme libre : forme 2700">
              <a:extLst>
                <a:ext uri="{FF2B5EF4-FFF2-40B4-BE49-F238E27FC236}">
                  <a16:creationId xmlns:a16="http://schemas.microsoft.com/office/drawing/2014/main" id="{D86C9B04-A48F-43C5-818F-0682D918E935}"/>
                </a:ext>
              </a:extLst>
            </p:cNvPr>
            <p:cNvSpPr/>
            <p:nvPr/>
          </p:nvSpPr>
          <p:spPr>
            <a:xfrm rot="8716295">
              <a:off x="171547" y="46343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02" name="Forme libre : forme 2701">
              <a:extLst>
                <a:ext uri="{FF2B5EF4-FFF2-40B4-BE49-F238E27FC236}">
                  <a16:creationId xmlns:a16="http://schemas.microsoft.com/office/drawing/2014/main" id="{B50A5EA0-94C0-49DF-B3B3-0598110E9D36}"/>
                </a:ext>
              </a:extLst>
            </p:cNvPr>
            <p:cNvSpPr/>
            <p:nvPr/>
          </p:nvSpPr>
          <p:spPr>
            <a:xfrm rot="8716295">
              <a:off x="348999" y="44751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2703" name="Forme libre : forme 2702">
            <a:extLst>
              <a:ext uri="{FF2B5EF4-FFF2-40B4-BE49-F238E27FC236}">
                <a16:creationId xmlns:a16="http://schemas.microsoft.com/office/drawing/2014/main" id="{E408E4A5-CB62-44EA-BFB2-5C8080ABA866}"/>
              </a:ext>
            </a:extLst>
          </p:cNvPr>
          <p:cNvSpPr/>
          <p:nvPr userDrawn="1"/>
        </p:nvSpPr>
        <p:spPr>
          <a:xfrm>
            <a:off x="5658098" y="0"/>
            <a:ext cx="3485902" cy="5143500"/>
          </a:xfrm>
          <a:custGeom>
            <a:avLst/>
            <a:gdLst>
              <a:gd name="connsiteX0" fmla="*/ 437902 w 3485902"/>
              <a:gd name="connsiteY0" fmla="*/ 0 h 5143500"/>
              <a:gd name="connsiteX1" fmla="*/ 3485902 w 3485902"/>
              <a:gd name="connsiteY1" fmla="*/ 0 h 5143500"/>
              <a:gd name="connsiteX2" fmla="*/ 3485902 w 3485902"/>
              <a:gd name="connsiteY2" fmla="*/ 5143500 h 5143500"/>
              <a:gd name="connsiteX3" fmla="*/ 437902 w 3485902"/>
              <a:gd name="connsiteY3" fmla="*/ 5143500 h 5143500"/>
              <a:gd name="connsiteX4" fmla="*/ 0 w 3485902"/>
              <a:gd name="connsiteY4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85902" h="5143500">
                <a:moveTo>
                  <a:pt x="437902" y="0"/>
                </a:moveTo>
                <a:lnTo>
                  <a:pt x="3485902" y="0"/>
                </a:lnTo>
                <a:lnTo>
                  <a:pt x="3485902" y="5143500"/>
                </a:lnTo>
                <a:lnTo>
                  <a:pt x="437902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416" name="Triangle isocèle 1415">
            <a:extLst>
              <a:ext uri="{FF2B5EF4-FFF2-40B4-BE49-F238E27FC236}">
                <a16:creationId xmlns:a16="http://schemas.microsoft.com/office/drawing/2014/main" id="{AD7C94CF-E2EE-4D3E-8ABC-2B739EE56084}"/>
              </a:ext>
            </a:extLst>
          </p:cNvPr>
          <p:cNvSpPr/>
          <p:nvPr userDrawn="1"/>
        </p:nvSpPr>
        <p:spPr>
          <a:xfrm flipH="1" flipV="1">
            <a:off x="5860799" y="-4"/>
            <a:ext cx="697074" cy="2733677"/>
          </a:xfrm>
          <a:prstGeom prst="triangle">
            <a:avLst>
              <a:gd name="adj" fmla="val 98181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412" name="Espace réservé du texte 1411">
            <a:extLst>
              <a:ext uri="{FF2B5EF4-FFF2-40B4-BE49-F238E27FC236}">
                <a16:creationId xmlns:a16="http://schemas.microsoft.com/office/drawing/2014/main" id="{B975A26C-84FD-4C11-BF53-E602FA68DDC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9920" y="812296"/>
            <a:ext cx="36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1413" name="Espace réservé du texte 1412">
            <a:extLst>
              <a:ext uri="{FF2B5EF4-FFF2-40B4-BE49-F238E27FC236}">
                <a16:creationId xmlns:a16="http://schemas.microsoft.com/office/drawing/2014/main" id="{1F3E6244-BF30-44B9-B6F9-BF4959AA80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29920" y="812296"/>
            <a:ext cx="36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1414" name="Titre 1413">
            <a:extLst>
              <a:ext uri="{FF2B5EF4-FFF2-40B4-BE49-F238E27FC236}">
                <a16:creationId xmlns:a16="http://schemas.microsoft.com/office/drawing/2014/main" id="{7B15E4E4-6E7E-48BC-92A9-631F532CE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5123" y="333575"/>
            <a:ext cx="4278481" cy="4247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Titre de la slide</a:t>
            </a:r>
          </a:p>
        </p:txBody>
      </p:sp>
      <p:sp>
        <p:nvSpPr>
          <p:cNvPr id="2704" name="Espace réservé du texte 527">
            <a:extLst>
              <a:ext uri="{FF2B5EF4-FFF2-40B4-BE49-F238E27FC236}">
                <a16:creationId xmlns:a16="http://schemas.microsoft.com/office/drawing/2014/main" id="{CC11CCEC-9F44-4765-82D5-95394B68963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57797" y="4265959"/>
            <a:ext cx="972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2705" name="Espace réservé du texte 528">
            <a:extLst>
              <a:ext uri="{FF2B5EF4-FFF2-40B4-BE49-F238E27FC236}">
                <a16:creationId xmlns:a16="http://schemas.microsoft.com/office/drawing/2014/main" id="{7747CF4E-5B84-4DE3-88F9-EC35BF6D450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527881" y="4265959"/>
            <a:ext cx="972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rgbClr val="3A1B0B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2706" name="Espace réservé du texte 530">
            <a:extLst>
              <a:ext uri="{FF2B5EF4-FFF2-40B4-BE49-F238E27FC236}">
                <a16:creationId xmlns:a16="http://schemas.microsoft.com/office/drawing/2014/main" id="{CCE21332-A8BF-4D34-9256-DD4FFF00788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44353" y="491319"/>
            <a:ext cx="2190214" cy="3455711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100" b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Niveau 2</a:t>
            </a:r>
          </a:p>
        </p:txBody>
      </p:sp>
      <p:sp>
        <p:nvSpPr>
          <p:cNvPr id="905" name="Espace réservé du numéro de diapositive 904">
            <a:extLst>
              <a:ext uri="{FF2B5EF4-FFF2-40B4-BE49-F238E27FC236}">
                <a16:creationId xmlns:a16="http://schemas.microsoft.com/office/drawing/2014/main" id="{8E169AA1-F9FA-4AA9-8089-1E02EB58967C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5500800" y="2"/>
            <a:ext cx="594090" cy="2665951"/>
          </a:xfrm>
          <a:custGeom>
            <a:avLst/>
            <a:gdLst>
              <a:gd name="connsiteX0" fmla="*/ 0 w 594090"/>
              <a:gd name="connsiteY0" fmla="*/ 0 h 2665951"/>
              <a:gd name="connsiteX1" fmla="*/ 594090 w 594090"/>
              <a:gd name="connsiteY1" fmla="*/ 0 h 2665951"/>
              <a:gd name="connsiteX2" fmla="*/ 367119 w 594090"/>
              <a:gd name="connsiteY2" fmla="*/ 2665951 h 2665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94090" h="2665951">
                <a:moveTo>
                  <a:pt x="0" y="0"/>
                </a:moveTo>
                <a:lnTo>
                  <a:pt x="594090" y="0"/>
                </a:lnTo>
                <a:lnTo>
                  <a:pt x="367119" y="2665951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180000" rIns="0" bIns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669151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clair + Texte">
    <p:bg>
      <p:bgPr>
        <a:solidFill>
          <a:srgbClr val="009F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6" name="Groupe 905">
            <a:extLst>
              <a:ext uri="{FF2B5EF4-FFF2-40B4-BE49-F238E27FC236}">
                <a16:creationId xmlns:a16="http://schemas.microsoft.com/office/drawing/2014/main" id="{262DD600-3D98-450E-9C13-1ED3731F0C57}"/>
              </a:ext>
            </a:extLst>
          </p:cNvPr>
          <p:cNvGrpSpPr/>
          <p:nvPr userDrawn="1"/>
        </p:nvGrpSpPr>
        <p:grpSpPr>
          <a:xfrm>
            <a:off x="5646189" y="-56618"/>
            <a:ext cx="3577789" cy="5281077"/>
            <a:chOff x="5646189" y="-56618"/>
            <a:chExt cx="3577789" cy="5281077"/>
          </a:xfrm>
          <a:solidFill>
            <a:schemeClr val="bg2">
              <a:alpha val="5000"/>
            </a:schemeClr>
          </a:solidFill>
        </p:grpSpPr>
        <p:sp>
          <p:nvSpPr>
            <p:cNvPr id="907" name="Forme libre : forme 906">
              <a:extLst>
                <a:ext uri="{FF2B5EF4-FFF2-40B4-BE49-F238E27FC236}">
                  <a16:creationId xmlns:a16="http://schemas.microsoft.com/office/drawing/2014/main" id="{316F36C1-A141-4E61-9E83-EFDA32C46FDD}"/>
                </a:ext>
              </a:extLst>
            </p:cNvPr>
            <p:cNvSpPr/>
            <p:nvPr/>
          </p:nvSpPr>
          <p:spPr>
            <a:xfrm rot="8716295">
              <a:off x="5849244" y="2601866"/>
              <a:ext cx="81391" cy="44199"/>
            </a:xfrm>
            <a:custGeom>
              <a:avLst/>
              <a:gdLst>
                <a:gd name="connsiteX0" fmla="*/ 0 w 81391"/>
                <a:gd name="connsiteY0" fmla="*/ 44199 h 44199"/>
                <a:gd name="connsiteX1" fmla="*/ 0 w 81391"/>
                <a:gd name="connsiteY1" fmla="*/ 0 h 44199"/>
                <a:gd name="connsiteX2" fmla="*/ 81391 w 81391"/>
                <a:gd name="connsiteY2" fmla="*/ 0 h 44199"/>
                <a:gd name="connsiteX3" fmla="*/ 44834 w 81391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1391" h="44199">
                  <a:moveTo>
                    <a:pt x="0" y="44199"/>
                  </a:moveTo>
                  <a:lnTo>
                    <a:pt x="0" y="0"/>
                  </a:lnTo>
                  <a:lnTo>
                    <a:pt x="81391" y="0"/>
                  </a:lnTo>
                  <a:lnTo>
                    <a:pt x="44834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8" name="Forme libre : forme 907">
              <a:extLst>
                <a:ext uri="{FF2B5EF4-FFF2-40B4-BE49-F238E27FC236}">
                  <a16:creationId xmlns:a16="http://schemas.microsoft.com/office/drawing/2014/main" id="{3C10A908-8704-4ED3-B0DC-1D82C51CB83F}"/>
                </a:ext>
              </a:extLst>
            </p:cNvPr>
            <p:cNvSpPr/>
            <p:nvPr/>
          </p:nvSpPr>
          <p:spPr>
            <a:xfrm rot="13089394">
              <a:off x="5767060" y="2734286"/>
              <a:ext cx="230958" cy="317148"/>
            </a:xfrm>
            <a:custGeom>
              <a:avLst/>
              <a:gdLst>
                <a:gd name="connsiteX0" fmla="*/ 230958 w 230958"/>
                <a:gd name="connsiteY0" fmla="*/ 274842 h 317148"/>
                <a:gd name="connsiteX1" fmla="*/ 226070 w 230958"/>
                <a:gd name="connsiteY1" fmla="*/ 278187 h 317148"/>
                <a:gd name="connsiteX2" fmla="*/ 91597 w 230958"/>
                <a:gd name="connsiteY2" fmla="*/ 316985 h 317148"/>
                <a:gd name="connsiteX3" fmla="*/ 23727 w 230958"/>
                <a:gd name="connsiteY3" fmla="*/ 289395 h 317148"/>
                <a:gd name="connsiteX4" fmla="*/ 0 w 230958"/>
                <a:gd name="connsiteY4" fmla="*/ 194488 h 317148"/>
                <a:gd name="connsiteX5" fmla="*/ 0 w 230958"/>
                <a:gd name="connsiteY5" fmla="*/ 26192 h 317148"/>
                <a:gd name="connsiteX6" fmla="*/ 50486 w 230958"/>
                <a:gd name="connsiteY6" fmla="*/ 0 h 317148"/>
                <a:gd name="connsiteX7" fmla="*/ 73727 w 230958"/>
                <a:gd name="connsiteY7" fmla="*/ 35393 h 317148"/>
                <a:gd name="connsiteX8" fmla="*/ 74492 w 230958"/>
                <a:gd name="connsiteY8" fmla="*/ 142068 h 317148"/>
                <a:gd name="connsiteX9" fmla="*/ 87734 w 230958"/>
                <a:gd name="connsiteY9" fmla="*/ 233665 h 317148"/>
                <a:gd name="connsiteX10" fmla="*/ 153949 w 230958"/>
                <a:gd name="connsiteY10" fmla="*/ 270083 h 317148"/>
                <a:gd name="connsiteX11" fmla="*/ 203610 w 230958"/>
                <a:gd name="connsiteY11" fmla="*/ 261254 h 317148"/>
                <a:gd name="connsiteX12" fmla="*/ 218153 w 230958"/>
                <a:gd name="connsiteY12" fmla="*/ 255342 h 317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0958" h="317148">
                  <a:moveTo>
                    <a:pt x="230958" y="274842"/>
                  </a:moveTo>
                  <a:lnTo>
                    <a:pt x="226070" y="278187"/>
                  </a:lnTo>
                  <a:cubicBezTo>
                    <a:pt x="177676" y="304466"/>
                    <a:pt x="125946" y="314915"/>
                    <a:pt x="91597" y="316985"/>
                  </a:cubicBezTo>
                  <a:cubicBezTo>
                    <a:pt x="66215" y="318640"/>
                    <a:pt x="41385" y="307605"/>
                    <a:pt x="23727" y="289395"/>
                  </a:cubicBezTo>
                  <a:cubicBezTo>
                    <a:pt x="4966" y="271187"/>
                    <a:pt x="0" y="239734"/>
                    <a:pt x="0" y="194488"/>
                  </a:cubicBezTo>
                  <a:lnTo>
                    <a:pt x="0" y="26192"/>
                  </a:lnTo>
                  <a:lnTo>
                    <a:pt x="50486" y="0"/>
                  </a:lnTo>
                  <a:lnTo>
                    <a:pt x="73727" y="35393"/>
                  </a:lnTo>
                  <a:lnTo>
                    <a:pt x="74492" y="142068"/>
                  </a:lnTo>
                  <a:cubicBezTo>
                    <a:pt x="72836" y="172968"/>
                    <a:pt x="77802" y="204420"/>
                    <a:pt x="87734" y="233665"/>
                  </a:cubicBezTo>
                  <a:cubicBezTo>
                    <a:pt x="96564" y="257944"/>
                    <a:pt x="119186" y="270083"/>
                    <a:pt x="153949" y="270083"/>
                  </a:cubicBezTo>
                  <a:cubicBezTo>
                    <a:pt x="171055" y="269531"/>
                    <a:pt x="187608" y="266220"/>
                    <a:pt x="203610" y="261254"/>
                  </a:cubicBezTo>
                  <a:lnTo>
                    <a:pt x="218153" y="2553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9" name="Forme libre : forme 908">
              <a:extLst>
                <a:ext uri="{FF2B5EF4-FFF2-40B4-BE49-F238E27FC236}">
                  <a16:creationId xmlns:a16="http://schemas.microsoft.com/office/drawing/2014/main" id="{A199C0B0-5C8A-45B3-BBDF-121576C18A1E}"/>
                </a:ext>
              </a:extLst>
            </p:cNvPr>
            <p:cNvSpPr/>
            <p:nvPr/>
          </p:nvSpPr>
          <p:spPr>
            <a:xfrm rot="8716295">
              <a:off x="5912695" y="253226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0" name="Forme libre : forme 909">
              <a:extLst>
                <a:ext uri="{FF2B5EF4-FFF2-40B4-BE49-F238E27FC236}">
                  <a16:creationId xmlns:a16="http://schemas.microsoft.com/office/drawing/2014/main" id="{674F96B3-B4CB-4FDB-8233-AF794BDAABA3}"/>
                </a:ext>
              </a:extLst>
            </p:cNvPr>
            <p:cNvSpPr/>
            <p:nvPr/>
          </p:nvSpPr>
          <p:spPr>
            <a:xfrm rot="8716295">
              <a:off x="5857614" y="2424677"/>
              <a:ext cx="112409" cy="115397"/>
            </a:xfrm>
            <a:custGeom>
              <a:avLst/>
              <a:gdLst>
                <a:gd name="connsiteX0" fmla="*/ 17477 w 112409"/>
                <a:gd name="connsiteY0" fmla="*/ 101182 h 115397"/>
                <a:gd name="connsiteX1" fmla="*/ 0 w 112409"/>
                <a:gd name="connsiteY1" fmla="*/ 59790 h 115397"/>
                <a:gd name="connsiteX2" fmla="*/ 0 w 112409"/>
                <a:gd name="connsiteY2" fmla="*/ 58869 h 115397"/>
                <a:gd name="connsiteX3" fmla="*/ 17477 w 112409"/>
                <a:gd name="connsiteY3" fmla="*/ 17477 h 115397"/>
                <a:gd name="connsiteX4" fmla="*/ 58869 w 112409"/>
                <a:gd name="connsiteY4" fmla="*/ 0 h 115397"/>
                <a:gd name="connsiteX5" fmla="*/ 100263 w 112409"/>
                <a:gd name="connsiteY5" fmla="*/ 17477 h 115397"/>
                <a:gd name="connsiteX6" fmla="*/ 112409 w 112409"/>
                <a:gd name="connsiteY6" fmla="*/ 35332 h 115397"/>
                <a:gd name="connsiteX7" fmla="*/ 46186 w 112409"/>
                <a:gd name="connsiteY7" fmla="*/ 115397 h 115397"/>
                <a:gd name="connsiteX8" fmla="*/ 36449 w 112409"/>
                <a:gd name="connsiteY8" fmla="*/ 113599 h 115397"/>
                <a:gd name="connsiteX9" fmla="*/ 17477 w 112409"/>
                <a:gd name="connsiteY9" fmla="*/ 101182 h 11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2409" h="115397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2" y="0"/>
                    <a:pt x="58869" y="0"/>
                  </a:cubicBezTo>
                  <a:cubicBezTo>
                    <a:pt x="74507" y="0"/>
                    <a:pt x="89224" y="6439"/>
                    <a:pt x="100263" y="17477"/>
                  </a:cubicBezTo>
                  <a:lnTo>
                    <a:pt x="112409" y="35332"/>
                  </a:lnTo>
                  <a:lnTo>
                    <a:pt x="46186" y="115397"/>
                  </a:lnTo>
                  <a:lnTo>
                    <a:pt x="36449" y="113599"/>
                  </a:lnTo>
                  <a:cubicBezTo>
                    <a:pt x="29435" y="110840"/>
                    <a:pt x="22996" y="106701"/>
                    <a:pt x="17477" y="10118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1" name="Forme libre : forme 910">
              <a:extLst>
                <a:ext uri="{FF2B5EF4-FFF2-40B4-BE49-F238E27FC236}">
                  <a16:creationId xmlns:a16="http://schemas.microsoft.com/office/drawing/2014/main" id="{3DE21975-F28E-4032-8E60-B5D4D4B87EE5}"/>
                </a:ext>
              </a:extLst>
            </p:cNvPr>
            <p:cNvSpPr/>
            <p:nvPr/>
          </p:nvSpPr>
          <p:spPr>
            <a:xfrm rot="8716295">
              <a:off x="5881807" y="2341768"/>
              <a:ext cx="26879" cy="32498"/>
            </a:xfrm>
            <a:custGeom>
              <a:avLst/>
              <a:gdLst>
                <a:gd name="connsiteX0" fmla="*/ 0 w 26879"/>
                <a:gd name="connsiteY0" fmla="*/ 32498 h 32498"/>
                <a:gd name="connsiteX1" fmla="*/ 10867 w 26879"/>
                <a:gd name="connsiteY1" fmla="*/ 6761 h 32498"/>
                <a:gd name="connsiteX2" fmla="*/ 26879 w 26879"/>
                <a:gd name="connsiteY2" fmla="*/ 0 h 32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879" h="32498">
                  <a:moveTo>
                    <a:pt x="0" y="32498"/>
                  </a:moveTo>
                  <a:lnTo>
                    <a:pt x="10867" y="6761"/>
                  </a:lnTo>
                  <a:lnTo>
                    <a:pt x="26879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2" name="Forme libre : forme 911">
              <a:extLst>
                <a:ext uri="{FF2B5EF4-FFF2-40B4-BE49-F238E27FC236}">
                  <a16:creationId xmlns:a16="http://schemas.microsoft.com/office/drawing/2014/main" id="{9764F5B5-C912-4DBF-84E2-7421124A4791}"/>
                </a:ext>
              </a:extLst>
            </p:cNvPr>
            <p:cNvSpPr/>
            <p:nvPr/>
          </p:nvSpPr>
          <p:spPr>
            <a:xfrm rot="8716295">
              <a:off x="5913671" y="466578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3" name="Forme libre : forme 912">
              <a:extLst>
                <a:ext uri="{FF2B5EF4-FFF2-40B4-BE49-F238E27FC236}">
                  <a16:creationId xmlns:a16="http://schemas.microsoft.com/office/drawing/2014/main" id="{28FBA634-B173-4807-AF78-C3BE0198B5A0}"/>
                </a:ext>
              </a:extLst>
            </p:cNvPr>
            <p:cNvSpPr/>
            <p:nvPr/>
          </p:nvSpPr>
          <p:spPr>
            <a:xfrm rot="8716295">
              <a:off x="6003063" y="469502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4" name="Forme libre : forme 913">
              <a:extLst>
                <a:ext uri="{FF2B5EF4-FFF2-40B4-BE49-F238E27FC236}">
                  <a16:creationId xmlns:a16="http://schemas.microsoft.com/office/drawing/2014/main" id="{D8555892-46F5-4C26-887B-701A898C715E}"/>
                </a:ext>
              </a:extLst>
            </p:cNvPr>
            <p:cNvSpPr/>
            <p:nvPr/>
          </p:nvSpPr>
          <p:spPr>
            <a:xfrm rot="8716295">
              <a:off x="5958213" y="460874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5" name="Forme libre : forme 914">
              <a:extLst>
                <a:ext uri="{FF2B5EF4-FFF2-40B4-BE49-F238E27FC236}">
                  <a16:creationId xmlns:a16="http://schemas.microsoft.com/office/drawing/2014/main" id="{681D1B8C-10AD-42F0-942E-CC687ED23676}"/>
                </a:ext>
              </a:extLst>
            </p:cNvPr>
            <p:cNvSpPr/>
            <p:nvPr/>
          </p:nvSpPr>
          <p:spPr>
            <a:xfrm rot="8716295">
              <a:off x="5801437" y="475432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6" name="Forme libre : forme 915">
              <a:extLst>
                <a:ext uri="{FF2B5EF4-FFF2-40B4-BE49-F238E27FC236}">
                  <a16:creationId xmlns:a16="http://schemas.microsoft.com/office/drawing/2014/main" id="{EE1786F7-846D-4C35-BEF0-71DF51874200}"/>
                </a:ext>
              </a:extLst>
            </p:cNvPr>
            <p:cNvSpPr/>
            <p:nvPr/>
          </p:nvSpPr>
          <p:spPr>
            <a:xfrm rot="8716295">
              <a:off x="5676534" y="454565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7" name="Forme libre : forme 916">
              <a:extLst>
                <a:ext uri="{FF2B5EF4-FFF2-40B4-BE49-F238E27FC236}">
                  <a16:creationId xmlns:a16="http://schemas.microsoft.com/office/drawing/2014/main" id="{D6857D82-8E0B-444B-8E66-5012E332E7B3}"/>
                </a:ext>
              </a:extLst>
            </p:cNvPr>
            <p:cNvSpPr/>
            <p:nvPr/>
          </p:nvSpPr>
          <p:spPr>
            <a:xfrm rot="8716295">
              <a:off x="5768458" y="4370657"/>
              <a:ext cx="172989" cy="350829"/>
            </a:xfrm>
            <a:custGeom>
              <a:avLst/>
              <a:gdLst>
                <a:gd name="connsiteX0" fmla="*/ 25299 w 172989"/>
                <a:gd name="connsiteY0" fmla="*/ 321238 h 350829"/>
                <a:gd name="connsiteX1" fmla="*/ 0 w 172989"/>
                <a:gd name="connsiteY1" fmla="*/ 220042 h 350829"/>
                <a:gd name="connsiteX2" fmla="*/ 0 w 172989"/>
                <a:gd name="connsiteY2" fmla="*/ 40596 h 350829"/>
                <a:gd name="connsiteX3" fmla="*/ 78250 w 172989"/>
                <a:gd name="connsiteY3" fmla="*/ 0 h 350829"/>
                <a:gd name="connsiteX4" fmla="*/ 79427 w 172989"/>
                <a:gd name="connsiteY4" fmla="*/ 164149 h 350829"/>
                <a:gd name="connsiteX5" fmla="*/ 93547 w 172989"/>
                <a:gd name="connsiteY5" fmla="*/ 261815 h 350829"/>
                <a:gd name="connsiteX6" fmla="*/ 164149 w 172989"/>
                <a:gd name="connsiteY6" fmla="*/ 300646 h 350829"/>
                <a:gd name="connsiteX7" fmla="*/ 172989 w 172989"/>
                <a:gd name="connsiteY7" fmla="*/ 299074 h 350829"/>
                <a:gd name="connsiteX8" fmla="*/ 134278 w 172989"/>
                <a:gd name="connsiteY8" fmla="*/ 345877 h 350829"/>
                <a:gd name="connsiteX9" fmla="*/ 97665 w 172989"/>
                <a:gd name="connsiteY9" fmla="*/ 350655 h 350829"/>
                <a:gd name="connsiteX10" fmla="*/ 25299 w 172989"/>
                <a:gd name="connsiteY10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2989" h="350829">
                  <a:moveTo>
                    <a:pt x="25299" y="321238"/>
                  </a:moveTo>
                  <a:cubicBezTo>
                    <a:pt x="5295" y="301822"/>
                    <a:pt x="0" y="268287"/>
                    <a:pt x="0" y="220042"/>
                  </a:cubicBez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9" y="300646"/>
                  </a:cubicBezTo>
                  <a:lnTo>
                    <a:pt x="172989" y="299074"/>
                  </a:lnTo>
                  <a:lnTo>
                    <a:pt x="134278" y="345877"/>
                  </a:lnTo>
                  <a:lnTo>
                    <a:pt x="97665" y="350655"/>
                  </a:ln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8" name="Forme libre : forme 917">
              <a:extLst>
                <a:ext uri="{FF2B5EF4-FFF2-40B4-BE49-F238E27FC236}">
                  <a16:creationId xmlns:a16="http://schemas.microsoft.com/office/drawing/2014/main" id="{EB8D3ABA-6A82-4EB5-8976-7A067BF087A1}"/>
                </a:ext>
              </a:extLst>
            </p:cNvPr>
            <p:cNvSpPr/>
            <p:nvPr/>
          </p:nvSpPr>
          <p:spPr>
            <a:xfrm rot="8716295">
              <a:off x="5891615" y="479527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9" name="Forme libre : forme 918">
              <a:extLst>
                <a:ext uri="{FF2B5EF4-FFF2-40B4-BE49-F238E27FC236}">
                  <a16:creationId xmlns:a16="http://schemas.microsoft.com/office/drawing/2014/main" id="{CDE3B9A6-DC2D-4FA6-99E1-2A25E54B47AA}"/>
                </a:ext>
              </a:extLst>
            </p:cNvPr>
            <p:cNvSpPr/>
            <p:nvPr/>
          </p:nvSpPr>
          <p:spPr>
            <a:xfrm rot="8716295">
              <a:off x="6202770" y="441563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0" name="Forme libre : forme 919">
              <a:extLst>
                <a:ext uri="{FF2B5EF4-FFF2-40B4-BE49-F238E27FC236}">
                  <a16:creationId xmlns:a16="http://schemas.microsoft.com/office/drawing/2014/main" id="{5B7D053E-0D42-4B34-AF0A-97083013C28E}"/>
                </a:ext>
              </a:extLst>
            </p:cNvPr>
            <p:cNvSpPr/>
            <p:nvPr/>
          </p:nvSpPr>
          <p:spPr>
            <a:xfrm rot="8716295">
              <a:off x="6292162" y="444487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1" name="Forme libre : forme 920">
              <a:extLst>
                <a:ext uri="{FF2B5EF4-FFF2-40B4-BE49-F238E27FC236}">
                  <a16:creationId xmlns:a16="http://schemas.microsoft.com/office/drawing/2014/main" id="{694450A2-AFB6-47EC-9F1E-9256E1A21402}"/>
                </a:ext>
              </a:extLst>
            </p:cNvPr>
            <p:cNvSpPr/>
            <p:nvPr/>
          </p:nvSpPr>
          <p:spPr>
            <a:xfrm rot="8716295">
              <a:off x="6090536" y="450417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2" name="Forme libre : forme 921">
              <a:extLst>
                <a:ext uri="{FF2B5EF4-FFF2-40B4-BE49-F238E27FC236}">
                  <a16:creationId xmlns:a16="http://schemas.microsoft.com/office/drawing/2014/main" id="{2E1D4188-16BB-4F4E-B396-4368ED517467}"/>
                </a:ext>
              </a:extLst>
            </p:cNvPr>
            <p:cNvSpPr/>
            <p:nvPr/>
          </p:nvSpPr>
          <p:spPr>
            <a:xfrm rot="8716295">
              <a:off x="5965634" y="429550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3" name="Forme libre : forme 922">
              <a:extLst>
                <a:ext uri="{FF2B5EF4-FFF2-40B4-BE49-F238E27FC236}">
                  <a16:creationId xmlns:a16="http://schemas.microsoft.com/office/drawing/2014/main" id="{EBDC38B5-8342-4F3F-B5B5-1F3F235D0C56}"/>
                </a:ext>
              </a:extLst>
            </p:cNvPr>
            <p:cNvSpPr/>
            <p:nvPr/>
          </p:nvSpPr>
          <p:spPr>
            <a:xfrm rot="8716295">
              <a:off x="6180714" y="454512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4" name="Forme libre : forme 923">
              <a:extLst>
                <a:ext uri="{FF2B5EF4-FFF2-40B4-BE49-F238E27FC236}">
                  <a16:creationId xmlns:a16="http://schemas.microsoft.com/office/drawing/2014/main" id="{C4B5129D-445F-4392-8AC2-B9203BB346DD}"/>
                </a:ext>
              </a:extLst>
            </p:cNvPr>
            <p:cNvSpPr/>
            <p:nvPr/>
          </p:nvSpPr>
          <p:spPr>
            <a:xfrm rot="8716295">
              <a:off x="5939263" y="439552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5" name="Forme libre : forme 924">
              <a:extLst>
                <a:ext uri="{FF2B5EF4-FFF2-40B4-BE49-F238E27FC236}">
                  <a16:creationId xmlns:a16="http://schemas.microsoft.com/office/drawing/2014/main" id="{970FEF4F-2806-4E6F-A7A1-4451942C9570}"/>
                </a:ext>
              </a:extLst>
            </p:cNvPr>
            <p:cNvSpPr/>
            <p:nvPr/>
          </p:nvSpPr>
          <p:spPr>
            <a:xfrm rot="7484129">
              <a:off x="6285645" y="473647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6" name="Forme libre : forme 925">
              <a:extLst>
                <a:ext uri="{FF2B5EF4-FFF2-40B4-BE49-F238E27FC236}">
                  <a16:creationId xmlns:a16="http://schemas.microsoft.com/office/drawing/2014/main" id="{168E5BFD-1FF0-4328-BCD6-5A1BDBE7CD08}"/>
                </a:ext>
              </a:extLst>
            </p:cNvPr>
            <p:cNvSpPr/>
            <p:nvPr/>
          </p:nvSpPr>
          <p:spPr>
            <a:xfrm rot="13089394">
              <a:off x="6390465" y="470301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7" name="Forme libre : forme 926">
              <a:extLst>
                <a:ext uri="{FF2B5EF4-FFF2-40B4-BE49-F238E27FC236}">
                  <a16:creationId xmlns:a16="http://schemas.microsoft.com/office/drawing/2014/main" id="{951FD6F9-1046-440D-A307-0E7AB7A12F89}"/>
                </a:ext>
              </a:extLst>
            </p:cNvPr>
            <p:cNvSpPr/>
            <p:nvPr/>
          </p:nvSpPr>
          <p:spPr>
            <a:xfrm rot="8716295">
              <a:off x="6576050" y="451133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8" name="Forme libre : forme 927">
              <a:extLst>
                <a:ext uri="{FF2B5EF4-FFF2-40B4-BE49-F238E27FC236}">
                  <a16:creationId xmlns:a16="http://schemas.microsoft.com/office/drawing/2014/main" id="{1E996269-D47F-468E-AA98-30BA5BAD5601}"/>
                </a:ext>
              </a:extLst>
            </p:cNvPr>
            <p:cNvSpPr/>
            <p:nvPr/>
          </p:nvSpPr>
          <p:spPr>
            <a:xfrm rot="8716295">
              <a:off x="6524245" y="440773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9" name="Forme libre : forme 928">
              <a:extLst>
                <a:ext uri="{FF2B5EF4-FFF2-40B4-BE49-F238E27FC236}">
                  <a16:creationId xmlns:a16="http://schemas.microsoft.com/office/drawing/2014/main" id="{C949C9CA-7367-4FDB-9FDD-5DB19B82AE8D}"/>
                </a:ext>
              </a:extLst>
            </p:cNvPr>
            <p:cNvSpPr/>
            <p:nvPr/>
          </p:nvSpPr>
          <p:spPr>
            <a:xfrm rot="8716295">
              <a:off x="6280999" y="443795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0" name="Forme libre : forme 929">
              <a:extLst>
                <a:ext uri="{FF2B5EF4-FFF2-40B4-BE49-F238E27FC236}">
                  <a16:creationId xmlns:a16="http://schemas.microsoft.com/office/drawing/2014/main" id="{5CC25390-A23A-40EF-A07C-D971AF863154}"/>
                </a:ext>
              </a:extLst>
            </p:cNvPr>
            <p:cNvSpPr/>
            <p:nvPr/>
          </p:nvSpPr>
          <p:spPr>
            <a:xfrm rot="8716295">
              <a:off x="6458451" y="427871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1" name="Forme libre : forme 930">
              <a:extLst>
                <a:ext uri="{FF2B5EF4-FFF2-40B4-BE49-F238E27FC236}">
                  <a16:creationId xmlns:a16="http://schemas.microsoft.com/office/drawing/2014/main" id="{146B7D99-DE33-4639-937C-D36E74FC0553}"/>
                </a:ext>
              </a:extLst>
            </p:cNvPr>
            <p:cNvSpPr/>
            <p:nvPr/>
          </p:nvSpPr>
          <p:spPr>
            <a:xfrm rot="8716295">
              <a:off x="5769872" y="3510436"/>
              <a:ext cx="90341" cy="46972"/>
            </a:xfrm>
            <a:custGeom>
              <a:avLst/>
              <a:gdLst>
                <a:gd name="connsiteX0" fmla="*/ 0 w 90341"/>
                <a:gd name="connsiteY0" fmla="*/ 44199 h 46972"/>
                <a:gd name="connsiteX1" fmla="*/ 0 w 90341"/>
                <a:gd name="connsiteY1" fmla="*/ 0 h 46972"/>
                <a:gd name="connsiteX2" fmla="*/ 90341 w 90341"/>
                <a:gd name="connsiteY2" fmla="*/ 0 h 46972"/>
                <a:gd name="connsiteX3" fmla="*/ 51490 w 90341"/>
                <a:gd name="connsiteY3" fmla="*/ 46972 h 46972"/>
                <a:gd name="connsiteX4" fmla="*/ 51490 w 90341"/>
                <a:gd name="connsiteY4" fmla="*/ 44199 h 46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341" h="46972">
                  <a:moveTo>
                    <a:pt x="0" y="44199"/>
                  </a:moveTo>
                  <a:lnTo>
                    <a:pt x="0" y="0"/>
                  </a:lnTo>
                  <a:lnTo>
                    <a:pt x="90341" y="0"/>
                  </a:lnTo>
                  <a:lnTo>
                    <a:pt x="51490" y="46972"/>
                  </a:lnTo>
                  <a:lnTo>
                    <a:pt x="51490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2" name="Forme libre : forme 931">
              <a:extLst>
                <a:ext uri="{FF2B5EF4-FFF2-40B4-BE49-F238E27FC236}">
                  <a16:creationId xmlns:a16="http://schemas.microsoft.com/office/drawing/2014/main" id="{3DDBB1E4-D3C5-4DF2-B891-FF20DEDD11B2}"/>
                </a:ext>
              </a:extLst>
            </p:cNvPr>
            <p:cNvSpPr/>
            <p:nvPr/>
          </p:nvSpPr>
          <p:spPr>
            <a:xfrm rot="8716295">
              <a:off x="5792621" y="3203487"/>
              <a:ext cx="140657" cy="113060"/>
            </a:xfrm>
            <a:custGeom>
              <a:avLst/>
              <a:gdLst>
                <a:gd name="connsiteX0" fmla="*/ 81109 w 140657"/>
                <a:gd name="connsiteY0" fmla="*/ 113060 h 113060"/>
                <a:gd name="connsiteX1" fmla="*/ 81108 w 140657"/>
                <a:gd name="connsiteY1" fmla="*/ 69717 h 113060"/>
                <a:gd name="connsiteX2" fmla="*/ 81108 w 140657"/>
                <a:gd name="connsiteY2" fmla="*/ 65616 h 113060"/>
                <a:gd name="connsiteX3" fmla="*/ 60604 w 140657"/>
                <a:gd name="connsiteY3" fmla="*/ 50123 h 113060"/>
                <a:gd name="connsiteX4" fmla="*/ 0 w 140657"/>
                <a:gd name="connsiteY4" fmla="*/ 50123 h 113060"/>
                <a:gd name="connsiteX5" fmla="*/ 0 w 140657"/>
                <a:gd name="connsiteY5" fmla="*/ 0 h 113060"/>
                <a:gd name="connsiteX6" fmla="*/ 85209 w 140657"/>
                <a:gd name="connsiteY6" fmla="*/ 0 h 113060"/>
                <a:gd name="connsiteX7" fmla="*/ 138458 w 140657"/>
                <a:gd name="connsiteY7" fmla="*/ 27874 h 113060"/>
                <a:gd name="connsiteX8" fmla="*/ 140657 w 140657"/>
                <a:gd name="connsiteY8" fmla="*/ 41065 h 113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0657" h="113060">
                  <a:moveTo>
                    <a:pt x="81109" y="113060"/>
                  </a:moveTo>
                  <a:lnTo>
                    <a:pt x="81108" y="69717"/>
                  </a:lnTo>
                  <a:cubicBezTo>
                    <a:pt x="81108" y="68350"/>
                    <a:pt x="81109" y="66983"/>
                    <a:pt x="81108" y="65616"/>
                  </a:cubicBezTo>
                  <a:cubicBezTo>
                    <a:pt x="79741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12891" y="0"/>
                    <a:pt x="131089" y="8971"/>
                    <a:pt x="138458" y="27874"/>
                  </a:cubicBezTo>
                  <a:lnTo>
                    <a:pt x="140657" y="4106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3" name="Forme libre : forme 932">
              <a:extLst>
                <a:ext uri="{FF2B5EF4-FFF2-40B4-BE49-F238E27FC236}">
                  <a16:creationId xmlns:a16="http://schemas.microsoft.com/office/drawing/2014/main" id="{D0B2DA57-A70B-43F7-9619-5711704B639A}"/>
                </a:ext>
              </a:extLst>
            </p:cNvPr>
            <p:cNvSpPr/>
            <p:nvPr/>
          </p:nvSpPr>
          <p:spPr>
            <a:xfrm rot="8716295">
              <a:off x="5847477" y="312420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4" name="Forme libre : forme 933">
              <a:extLst>
                <a:ext uri="{FF2B5EF4-FFF2-40B4-BE49-F238E27FC236}">
                  <a16:creationId xmlns:a16="http://schemas.microsoft.com/office/drawing/2014/main" id="{1051B224-B15E-43CC-A0B6-B9EF6E747E24}"/>
                </a:ext>
              </a:extLst>
            </p:cNvPr>
            <p:cNvSpPr/>
            <p:nvPr/>
          </p:nvSpPr>
          <p:spPr>
            <a:xfrm rot="8716295">
              <a:off x="5773507" y="3354505"/>
              <a:ext cx="103435" cy="76949"/>
            </a:xfrm>
            <a:custGeom>
              <a:avLst/>
              <a:gdLst>
                <a:gd name="connsiteX0" fmla="*/ 43288 w 103435"/>
                <a:gd name="connsiteY0" fmla="*/ 76949 h 76949"/>
                <a:gd name="connsiteX1" fmla="*/ 43288 w 103435"/>
                <a:gd name="connsiteY1" fmla="*/ 16404 h 76949"/>
                <a:gd name="connsiteX2" fmla="*/ 0 w 103435"/>
                <a:gd name="connsiteY2" fmla="*/ 16404 h 76949"/>
                <a:gd name="connsiteX3" fmla="*/ 0 w 103435"/>
                <a:gd name="connsiteY3" fmla="*/ 2278 h 76949"/>
                <a:gd name="connsiteX4" fmla="*/ 103435 w 103435"/>
                <a:gd name="connsiteY4" fmla="*/ 0 h 76949"/>
                <a:gd name="connsiteX5" fmla="*/ 103435 w 103435"/>
                <a:gd name="connsiteY5" fmla="*/ 4230 h 76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76949">
                  <a:moveTo>
                    <a:pt x="43288" y="76949"/>
                  </a:move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423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5" name="Forme libre : forme 934">
              <a:extLst>
                <a:ext uri="{FF2B5EF4-FFF2-40B4-BE49-F238E27FC236}">
                  <a16:creationId xmlns:a16="http://schemas.microsoft.com/office/drawing/2014/main" id="{352A9204-99DE-4A12-9185-D55A857434F8}"/>
                </a:ext>
              </a:extLst>
            </p:cNvPr>
            <p:cNvSpPr/>
            <p:nvPr/>
          </p:nvSpPr>
          <p:spPr>
            <a:xfrm rot="7484129">
              <a:off x="5840960" y="341580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6" name="Forme libre : forme 935">
              <a:extLst>
                <a:ext uri="{FF2B5EF4-FFF2-40B4-BE49-F238E27FC236}">
                  <a16:creationId xmlns:a16="http://schemas.microsoft.com/office/drawing/2014/main" id="{1AF7DA6B-CCB6-40AE-904E-CD1E7D32B1FE}"/>
                </a:ext>
              </a:extLst>
            </p:cNvPr>
            <p:cNvSpPr/>
            <p:nvPr/>
          </p:nvSpPr>
          <p:spPr>
            <a:xfrm rot="13089394">
              <a:off x="5945780" y="3382339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7" name="Forme libre : forme 936">
              <a:extLst>
                <a:ext uri="{FF2B5EF4-FFF2-40B4-BE49-F238E27FC236}">
                  <a16:creationId xmlns:a16="http://schemas.microsoft.com/office/drawing/2014/main" id="{92F73C9C-D47A-4DBF-A36A-63EFBB8F7092}"/>
                </a:ext>
              </a:extLst>
            </p:cNvPr>
            <p:cNvSpPr/>
            <p:nvPr/>
          </p:nvSpPr>
          <p:spPr>
            <a:xfrm rot="8716295">
              <a:off x="6131365" y="319065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8" name="Forme libre : forme 937">
              <a:extLst>
                <a:ext uri="{FF2B5EF4-FFF2-40B4-BE49-F238E27FC236}">
                  <a16:creationId xmlns:a16="http://schemas.microsoft.com/office/drawing/2014/main" id="{86E70207-E48B-40D3-9AE0-B4D98BA8D82A}"/>
                </a:ext>
              </a:extLst>
            </p:cNvPr>
            <p:cNvSpPr/>
            <p:nvPr/>
          </p:nvSpPr>
          <p:spPr>
            <a:xfrm rot="8716295">
              <a:off x="6079560" y="308706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9" name="Forme libre : forme 938">
              <a:extLst>
                <a:ext uri="{FF2B5EF4-FFF2-40B4-BE49-F238E27FC236}">
                  <a16:creationId xmlns:a16="http://schemas.microsoft.com/office/drawing/2014/main" id="{578F257E-8AEA-4C62-8BCB-A3EC01FA30A5}"/>
                </a:ext>
              </a:extLst>
            </p:cNvPr>
            <p:cNvSpPr/>
            <p:nvPr/>
          </p:nvSpPr>
          <p:spPr>
            <a:xfrm rot="8716295">
              <a:off x="5836314" y="311728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0" name="Forme libre : forme 939">
              <a:extLst>
                <a:ext uri="{FF2B5EF4-FFF2-40B4-BE49-F238E27FC236}">
                  <a16:creationId xmlns:a16="http://schemas.microsoft.com/office/drawing/2014/main" id="{A29AEA70-F7EC-4CA7-971C-78399CA63009}"/>
                </a:ext>
              </a:extLst>
            </p:cNvPr>
            <p:cNvSpPr/>
            <p:nvPr/>
          </p:nvSpPr>
          <p:spPr>
            <a:xfrm rot="8716295">
              <a:off x="6013766" y="295804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1" name="Forme libre : forme 940">
              <a:extLst>
                <a:ext uri="{FF2B5EF4-FFF2-40B4-BE49-F238E27FC236}">
                  <a16:creationId xmlns:a16="http://schemas.microsoft.com/office/drawing/2014/main" id="{96E0F3D2-C3AC-4108-AFBE-445ECA00ACA7}"/>
                </a:ext>
              </a:extLst>
            </p:cNvPr>
            <p:cNvSpPr/>
            <p:nvPr/>
          </p:nvSpPr>
          <p:spPr>
            <a:xfrm rot="8716295">
              <a:off x="5720177" y="4097348"/>
              <a:ext cx="142168" cy="131086"/>
            </a:xfrm>
            <a:custGeom>
              <a:avLst/>
              <a:gdLst>
                <a:gd name="connsiteX0" fmla="*/ 81108 w 142168"/>
                <a:gd name="connsiteY0" fmla="*/ 131086 h 131086"/>
                <a:gd name="connsiteX1" fmla="*/ 81108 w 142168"/>
                <a:gd name="connsiteY1" fmla="*/ 69717 h 131086"/>
                <a:gd name="connsiteX2" fmla="*/ 81108 w 142168"/>
                <a:gd name="connsiteY2" fmla="*/ 65616 h 131086"/>
                <a:gd name="connsiteX3" fmla="*/ 60604 w 142168"/>
                <a:gd name="connsiteY3" fmla="*/ 50123 h 131086"/>
                <a:gd name="connsiteX4" fmla="*/ 0 w 142168"/>
                <a:gd name="connsiteY4" fmla="*/ 50123 h 131086"/>
                <a:gd name="connsiteX5" fmla="*/ 0 w 142168"/>
                <a:gd name="connsiteY5" fmla="*/ 0 h 131086"/>
                <a:gd name="connsiteX6" fmla="*/ 85209 w 142168"/>
                <a:gd name="connsiteY6" fmla="*/ 0 h 131086"/>
                <a:gd name="connsiteX7" fmla="*/ 142167 w 142168"/>
                <a:gd name="connsiteY7" fmla="*/ 50123 h 131086"/>
                <a:gd name="connsiteX8" fmla="*/ 142168 w 142168"/>
                <a:gd name="connsiteY8" fmla="*/ 57264 h 131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8" h="131086">
                  <a:moveTo>
                    <a:pt x="81108" y="131086"/>
                  </a:moveTo>
                  <a:lnTo>
                    <a:pt x="81108" y="69717"/>
                  </a:lnTo>
                  <a:cubicBezTo>
                    <a:pt x="81108" y="68350"/>
                    <a:pt x="81109" y="66983"/>
                    <a:pt x="81108" y="65616"/>
                  </a:cubicBezTo>
                  <a:cubicBezTo>
                    <a:pt x="79741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9"/>
                    <a:pt x="142167" y="50123"/>
                  </a:cubicBezTo>
                  <a:lnTo>
                    <a:pt x="142168" y="572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2" name="Forme libre : forme 941">
              <a:extLst>
                <a:ext uri="{FF2B5EF4-FFF2-40B4-BE49-F238E27FC236}">
                  <a16:creationId xmlns:a16="http://schemas.microsoft.com/office/drawing/2014/main" id="{D0A7ABF4-BCEC-4B57-BCB3-E83AC5575A2E}"/>
                </a:ext>
              </a:extLst>
            </p:cNvPr>
            <p:cNvSpPr/>
            <p:nvPr/>
          </p:nvSpPr>
          <p:spPr>
            <a:xfrm rot="8716295">
              <a:off x="5781545" y="403405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3" name="Forme libre : forme 942">
              <a:extLst>
                <a:ext uri="{FF2B5EF4-FFF2-40B4-BE49-F238E27FC236}">
                  <a16:creationId xmlns:a16="http://schemas.microsoft.com/office/drawing/2014/main" id="{E7410290-1E3A-47AF-BA4D-8362B73A00E3}"/>
                </a:ext>
              </a:extLst>
            </p:cNvPr>
            <p:cNvSpPr/>
            <p:nvPr/>
          </p:nvSpPr>
          <p:spPr>
            <a:xfrm rot="8716295">
              <a:off x="5736695" y="3947771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4" name="Forme libre : forme 943">
              <a:extLst>
                <a:ext uri="{FF2B5EF4-FFF2-40B4-BE49-F238E27FC236}">
                  <a16:creationId xmlns:a16="http://schemas.microsoft.com/office/drawing/2014/main" id="{9BED9B6C-47E6-4D5F-928F-91F5377B4250}"/>
                </a:ext>
              </a:extLst>
            </p:cNvPr>
            <p:cNvSpPr/>
            <p:nvPr/>
          </p:nvSpPr>
          <p:spPr>
            <a:xfrm rot="8716295">
              <a:off x="5702441" y="4247935"/>
              <a:ext cx="103435" cy="94974"/>
            </a:xfrm>
            <a:custGeom>
              <a:avLst/>
              <a:gdLst>
                <a:gd name="connsiteX0" fmla="*/ 43288 w 103435"/>
                <a:gd name="connsiteY0" fmla="*/ 94974 h 94974"/>
                <a:gd name="connsiteX1" fmla="*/ 43288 w 103435"/>
                <a:gd name="connsiteY1" fmla="*/ 16404 h 94974"/>
                <a:gd name="connsiteX2" fmla="*/ 0 w 103435"/>
                <a:gd name="connsiteY2" fmla="*/ 16404 h 94974"/>
                <a:gd name="connsiteX3" fmla="*/ 0 w 103435"/>
                <a:gd name="connsiteY3" fmla="*/ 2278 h 94974"/>
                <a:gd name="connsiteX4" fmla="*/ 103435 w 103435"/>
                <a:gd name="connsiteY4" fmla="*/ 0 h 94974"/>
                <a:gd name="connsiteX5" fmla="*/ 103435 w 103435"/>
                <a:gd name="connsiteY5" fmla="*/ 22255 h 94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94974">
                  <a:moveTo>
                    <a:pt x="43288" y="94974"/>
                  </a:move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222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5" name="Forme libre : forme 944">
              <a:extLst>
                <a:ext uri="{FF2B5EF4-FFF2-40B4-BE49-F238E27FC236}">
                  <a16:creationId xmlns:a16="http://schemas.microsoft.com/office/drawing/2014/main" id="{3B973B62-C6C8-4FF1-84DA-2CF100C6F600}"/>
                </a:ext>
              </a:extLst>
            </p:cNvPr>
            <p:cNvSpPr/>
            <p:nvPr/>
          </p:nvSpPr>
          <p:spPr>
            <a:xfrm rot="8716295">
              <a:off x="5981252" y="375465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6" name="Forme libre : forme 945">
              <a:extLst>
                <a:ext uri="{FF2B5EF4-FFF2-40B4-BE49-F238E27FC236}">
                  <a16:creationId xmlns:a16="http://schemas.microsoft.com/office/drawing/2014/main" id="{2AF0D86E-53FF-404D-972C-BFC50DCEBF42}"/>
                </a:ext>
              </a:extLst>
            </p:cNvPr>
            <p:cNvSpPr/>
            <p:nvPr/>
          </p:nvSpPr>
          <p:spPr>
            <a:xfrm rot="8716295">
              <a:off x="6070644" y="378389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7" name="Forme libre : forme 946">
              <a:extLst>
                <a:ext uri="{FF2B5EF4-FFF2-40B4-BE49-F238E27FC236}">
                  <a16:creationId xmlns:a16="http://schemas.microsoft.com/office/drawing/2014/main" id="{1CD18C36-834E-4DAE-BDAA-F92E9244DC61}"/>
                </a:ext>
              </a:extLst>
            </p:cNvPr>
            <p:cNvSpPr/>
            <p:nvPr/>
          </p:nvSpPr>
          <p:spPr>
            <a:xfrm rot="8716295">
              <a:off x="5869018" y="384320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8" name="Forme libre : forme 947">
              <a:extLst>
                <a:ext uri="{FF2B5EF4-FFF2-40B4-BE49-F238E27FC236}">
                  <a16:creationId xmlns:a16="http://schemas.microsoft.com/office/drawing/2014/main" id="{3C7E1362-5870-4F46-928D-1A08D53107E4}"/>
                </a:ext>
              </a:extLst>
            </p:cNvPr>
            <p:cNvSpPr/>
            <p:nvPr/>
          </p:nvSpPr>
          <p:spPr>
            <a:xfrm rot="8716295">
              <a:off x="5744116" y="363452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9" name="Forme libre : forme 948">
              <a:extLst>
                <a:ext uri="{FF2B5EF4-FFF2-40B4-BE49-F238E27FC236}">
                  <a16:creationId xmlns:a16="http://schemas.microsoft.com/office/drawing/2014/main" id="{0C5E2F6B-6631-4816-8A8A-1BB8467E77D2}"/>
                </a:ext>
              </a:extLst>
            </p:cNvPr>
            <p:cNvSpPr/>
            <p:nvPr/>
          </p:nvSpPr>
          <p:spPr>
            <a:xfrm rot="8716295">
              <a:off x="5959196" y="3884153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0" name="Forme libre : forme 949">
              <a:extLst>
                <a:ext uri="{FF2B5EF4-FFF2-40B4-BE49-F238E27FC236}">
                  <a16:creationId xmlns:a16="http://schemas.microsoft.com/office/drawing/2014/main" id="{E65DCBA9-55EE-45E1-B233-4077B825D76D}"/>
                </a:ext>
              </a:extLst>
            </p:cNvPr>
            <p:cNvSpPr/>
            <p:nvPr/>
          </p:nvSpPr>
          <p:spPr>
            <a:xfrm rot="8716295">
              <a:off x="5756235" y="3750459"/>
              <a:ext cx="38930" cy="44504"/>
            </a:xfrm>
            <a:custGeom>
              <a:avLst/>
              <a:gdLst>
                <a:gd name="connsiteX0" fmla="*/ 2222 w 38930"/>
                <a:gd name="connsiteY0" fmla="*/ 44504 h 44504"/>
                <a:gd name="connsiteX1" fmla="*/ 0 w 38930"/>
                <a:gd name="connsiteY1" fmla="*/ 39242 h 44504"/>
                <a:gd name="connsiteX2" fmla="*/ 0 w 38930"/>
                <a:gd name="connsiteY2" fmla="*/ 38638 h 44504"/>
                <a:gd name="connsiteX3" fmla="*/ 11471 w 38930"/>
                <a:gd name="connsiteY3" fmla="*/ 11471 h 44504"/>
                <a:gd name="connsiteX4" fmla="*/ 38638 w 38930"/>
                <a:gd name="connsiteY4" fmla="*/ 0 h 44504"/>
                <a:gd name="connsiteX5" fmla="*/ 38930 w 38930"/>
                <a:gd name="connsiteY5" fmla="*/ 123 h 44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930" h="44504">
                  <a:moveTo>
                    <a:pt x="2222" y="44504"/>
                  </a:moveTo>
                  <a:lnTo>
                    <a:pt x="0" y="39242"/>
                  </a:lnTo>
                  <a:lnTo>
                    <a:pt x="0" y="38638"/>
                  </a:lnTo>
                  <a:cubicBezTo>
                    <a:pt x="0" y="28375"/>
                    <a:pt x="4226" y="18716"/>
                    <a:pt x="11471" y="11471"/>
                  </a:cubicBezTo>
                  <a:cubicBezTo>
                    <a:pt x="18716" y="4226"/>
                    <a:pt x="28376" y="0"/>
                    <a:pt x="38638" y="0"/>
                  </a:cubicBezTo>
                  <a:lnTo>
                    <a:pt x="38930" y="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1" name="Forme libre : forme 950">
              <a:extLst>
                <a:ext uri="{FF2B5EF4-FFF2-40B4-BE49-F238E27FC236}">
                  <a16:creationId xmlns:a16="http://schemas.microsoft.com/office/drawing/2014/main" id="{EA118543-7877-4501-A5A0-4C2991DA5E90}"/>
                </a:ext>
              </a:extLst>
            </p:cNvPr>
            <p:cNvSpPr/>
            <p:nvPr/>
          </p:nvSpPr>
          <p:spPr>
            <a:xfrm rot="7484129">
              <a:off x="6064127" y="407550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2" name="Forme libre : forme 951">
              <a:extLst>
                <a:ext uri="{FF2B5EF4-FFF2-40B4-BE49-F238E27FC236}">
                  <a16:creationId xmlns:a16="http://schemas.microsoft.com/office/drawing/2014/main" id="{7AB6C3EC-555A-4C76-B15E-AAB3CAAF24B3}"/>
                </a:ext>
              </a:extLst>
            </p:cNvPr>
            <p:cNvSpPr/>
            <p:nvPr/>
          </p:nvSpPr>
          <p:spPr>
            <a:xfrm rot="13089394">
              <a:off x="6168947" y="4042038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3" name="Forme libre : forme 952">
              <a:extLst>
                <a:ext uri="{FF2B5EF4-FFF2-40B4-BE49-F238E27FC236}">
                  <a16:creationId xmlns:a16="http://schemas.microsoft.com/office/drawing/2014/main" id="{963A3DD5-51DE-4848-9EB9-5B90B6B81918}"/>
                </a:ext>
              </a:extLst>
            </p:cNvPr>
            <p:cNvSpPr/>
            <p:nvPr/>
          </p:nvSpPr>
          <p:spPr>
            <a:xfrm rot="8716295">
              <a:off x="6354532" y="3850357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4" name="Forme libre : forme 953">
              <a:extLst>
                <a:ext uri="{FF2B5EF4-FFF2-40B4-BE49-F238E27FC236}">
                  <a16:creationId xmlns:a16="http://schemas.microsoft.com/office/drawing/2014/main" id="{995C729E-49BA-4503-863A-2DDC26B4CD56}"/>
                </a:ext>
              </a:extLst>
            </p:cNvPr>
            <p:cNvSpPr/>
            <p:nvPr/>
          </p:nvSpPr>
          <p:spPr>
            <a:xfrm rot="8716295">
              <a:off x="6302727" y="374676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5" name="Forme libre : forme 954">
              <a:extLst>
                <a:ext uri="{FF2B5EF4-FFF2-40B4-BE49-F238E27FC236}">
                  <a16:creationId xmlns:a16="http://schemas.microsoft.com/office/drawing/2014/main" id="{B68D55F1-87C8-418D-9415-5E30511E82CD}"/>
                </a:ext>
              </a:extLst>
            </p:cNvPr>
            <p:cNvSpPr/>
            <p:nvPr/>
          </p:nvSpPr>
          <p:spPr>
            <a:xfrm rot="8716295">
              <a:off x="6059481" y="377698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6" name="Forme libre : forme 955">
              <a:extLst>
                <a:ext uri="{FF2B5EF4-FFF2-40B4-BE49-F238E27FC236}">
                  <a16:creationId xmlns:a16="http://schemas.microsoft.com/office/drawing/2014/main" id="{C863A7CC-4158-4F17-9AE2-A72A139B887C}"/>
                </a:ext>
              </a:extLst>
            </p:cNvPr>
            <p:cNvSpPr/>
            <p:nvPr/>
          </p:nvSpPr>
          <p:spPr>
            <a:xfrm rot="8716295">
              <a:off x="6236933" y="361774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7" name="Forme libre : forme 956">
              <a:extLst>
                <a:ext uri="{FF2B5EF4-FFF2-40B4-BE49-F238E27FC236}">
                  <a16:creationId xmlns:a16="http://schemas.microsoft.com/office/drawing/2014/main" id="{FAF82776-068F-41C0-96DF-85F697986F49}"/>
                </a:ext>
              </a:extLst>
            </p:cNvPr>
            <p:cNvSpPr/>
            <p:nvPr/>
          </p:nvSpPr>
          <p:spPr>
            <a:xfrm rot="8716295">
              <a:off x="5646341" y="5012072"/>
              <a:ext cx="61128" cy="44199"/>
            </a:xfrm>
            <a:custGeom>
              <a:avLst/>
              <a:gdLst>
                <a:gd name="connsiteX0" fmla="*/ 0 w 61128"/>
                <a:gd name="connsiteY0" fmla="*/ 44199 h 44199"/>
                <a:gd name="connsiteX1" fmla="*/ 0 w 61128"/>
                <a:gd name="connsiteY1" fmla="*/ 0 h 44199"/>
                <a:gd name="connsiteX2" fmla="*/ 61128 w 61128"/>
                <a:gd name="connsiteY2" fmla="*/ 0 h 44199"/>
                <a:gd name="connsiteX3" fmla="*/ 24570 w 61128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128" h="44199">
                  <a:moveTo>
                    <a:pt x="0" y="44199"/>
                  </a:moveTo>
                  <a:lnTo>
                    <a:pt x="0" y="0"/>
                  </a:lnTo>
                  <a:lnTo>
                    <a:pt x="61128" y="0"/>
                  </a:lnTo>
                  <a:lnTo>
                    <a:pt x="24570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8" name="Forme libre : forme 957">
              <a:extLst>
                <a:ext uri="{FF2B5EF4-FFF2-40B4-BE49-F238E27FC236}">
                  <a16:creationId xmlns:a16="http://schemas.microsoft.com/office/drawing/2014/main" id="{5D62A47A-9C19-4F62-9A51-E8D6D493BCBB}"/>
                </a:ext>
              </a:extLst>
            </p:cNvPr>
            <p:cNvSpPr/>
            <p:nvPr/>
          </p:nvSpPr>
          <p:spPr>
            <a:xfrm rot="8716295">
              <a:off x="5686469" y="4948149"/>
              <a:ext cx="225182" cy="162840"/>
            </a:xfrm>
            <a:custGeom>
              <a:avLst/>
              <a:gdLst>
                <a:gd name="connsiteX0" fmla="*/ 6986 w 225182"/>
                <a:gd name="connsiteY0" fmla="*/ 162840 h 162840"/>
                <a:gd name="connsiteX1" fmla="*/ 0 w 225182"/>
                <a:gd name="connsiteY1" fmla="*/ 153167 h 162840"/>
                <a:gd name="connsiteX2" fmla="*/ 127370 w 225182"/>
                <a:gd name="connsiteY2" fmla="*/ 33321 h 162840"/>
                <a:gd name="connsiteX3" fmla="*/ 191862 w 225182"/>
                <a:gd name="connsiteY3" fmla="*/ 0 h 162840"/>
                <a:gd name="connsiteX4" fmla="*/ 196795 w 225182"/>
                <a:gd name="connsiteY4" fmla="*/ 1164 h 162840"/>
                <a:gd name="connsiteX5" fmla="*/ 219028 w 225182"/>
                <a:gd name="connsiteY5" fmla="*/ 16575 h 162840"/>
                <a:gd name="connsiteX6" fmla="*/ 225182 w 225182"/>
                <a:gd name="connsiteY6" fmla="*/ 39770 h 162840"/>
                <a:gd name="connsiteX7" fmla="*/ 194012 w 225182"/>
                <a:gd name="connsiteY7" fmla="*/ 81689 h 162840"/>
                <a:gd name="connsiteX8" fmla="*/ 194548 w 225182"/>
                <a:gd name="connsiteY8" fmla="*/ 81689 h 162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5182" h="162840">
                  <a:moveTo>
                    <a:pt x="6986" y="162840"/>
                  </a:moveTo>
                  <a:lnTo>
                    <a:pt x="0" y="153167"/>
                  </a:lnTo>
                  <a:lnTo>
                    <a:pt x="127370" y="33321"/>
                  </a:lnTo>
                  <a:cubicBezTo>
                    <a:pt x="143493" y="14511"/>
                    <a:pt x="166602" y="2687"/>
                    <a:pt x="191862" y="0"/>
                  </a:cubicBezTo>
                  <a:lnTo>
                    <a:pt x="196795" y="1164"/>
                  </a:lnTo>
                  <a:lnTo>
                    <a:pt x="219028" y="16575"/>
                  </a:lnTo>
                  <a:lnTo>
                    <a:pt x="225182" y="39770"/>
                  </a:lnTo>
                  <a:cubicBezTo>
                    <a:pt x="223570" y="58580"/>
                    <a:pt x="211208" y="74165"/>
                    <a:pt x="194012" y="81689"/>
                  </a:cubicBezTo>
                  <a:lnTo>
                    <a:pt x="194548" y="816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9" name="Forme libre : forme 958">
              <a:extLst>
                <a:ext uri="{FF2B5EF4-FFF2-40B4-BE49-F238E27FC236}">
                  <a16:creationId xmlns:a16="http://schemas.microsoft.com/office/drawing/2014/main" id="{2F2DED4E-A984-4BA6-A236-177692C90757}"/>
                </a:ext>
              </a:extLst>
            </p:cNvPr>
            <p:cNvSpPr/>
            <p:nvPr/>
          </p:nvSpPr>
          <p:spPr>
            <a:xfrm rot="8716295">
              <a:off x="5646189" y="4843185"/>
              <a:ext cx="103263" cy="109760"/>
            </a:xfrm>
            <a:custGeom>
              <a:avLst/>
              <a:gdLst>
                <a:gd name="connsiteX0" fmla="*/ 17478 w 103263"/>
                <a:gd name="connsiteY0" fmla="*/ 101182 h 109760"/>
                <a:gd name="connsiteX1" fmla="*/ 0 w 103263"/>
                <a:gd name="connsiteY1" fmla="*/ 59790 h 109760"/>
                <a:gd name="connsiteX2" fmla="*/ 0 w 103263"/>
                <a:gd name="connsiteY2" fmla="*/ 58869 h 109760"/>
                <a:gd name="connsiteX3" fmla="*/ 17477 w 103263"/>
                <a:gd name="connsiteY3" fmla="*/ 17477 h 109760"/>
                <a:gd name="connsiteX4" fmla="*/ 58869 w 103263"/>
                <a:gd name="connsiteY4" fmla="*/ 0 h 109760"/>
                <a:gd name="connsiteX5" fmla="*/ 100262 w 103263"/>
                <a:gd name="connsiteY5" fmla="*/ 17478 h 109760"/>
                <a:gd name="connsiteX6" fmla="*/ 103263 w 103263"/>
                <a:gd name="connsiteY6" fmla="*/ 21889 h 109760"/>
                <a:gd name="connsiteX7" fmla="*/ 30583 w 103263"/>
                <a:gd name="connsiteY7" fmla="*/ 109760 h 109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3263" h="109760">
                  <a:moveTo>
                    <a:pt x="17478" y="101182"/>
                  </a:moveTo>
                  <a:cubicBezTo>
                    <a:pt x="6440" y="90144"/>
                    <a:pt x="0" y="75426"/>
                    <a:pt x="0" y="59790"/>
                  </a:cubicBezTo>
                  <a:lnTo>
                    <a:pt x="0" y="58869"/>
                  </a:lnTo>
                  <a:cubicBezTo>
                    <a:pt x="0" y="43232"/>
                    <a:pt x="6439" y="28515"/>
                    <a:pt x="17477" y="17477"/>
                  </a:cubicBezTo>
                  <a:cubicBezTo>
                    <a:pt x="28515" y="6439"/>
                    <a:pt x="43232" y="0"/>
                    <a:pt x="58869" y="0"/>
                  </a:cubicBezTo>
                  <a:cubicBezTo>
                    <a:pt x="74507" y="0"/>
                    <a:pt x="89224" y="6440"/>
                    <a:pt x="100262" y="17478"/>
                  </a:cubicBezTo>
                  <a:lnTo>
                    <a:pt x="103263" y="21889"/>
                  </a:lnTo>
                  <a:lnTo>
                    <a:pt x="30583" y="1097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0" name="Forme libre : forme 959">
              <a:extLst>
                <a:ext uri="{FF2B5EF4-FFF2-40B4-BE49-F238E27FC236}">
                  <a16:creationId xmlns:a16="http://schemas.microsoft.com/office/drawing/2014/main" id="{A6F97576-1723-4483-ABFD-51F7D8B729B6}"/>
                </a:ext>
              </a:extLst>
            </p:cNvPr>
            <p:cNvSpPr/>
            <p:nvPr/>
          </p:nvSpPr>
          <p:spPr>
            <a:xfrm rot="8716295">
              <a:off x="5912192" y="5052711"/>
              <a:ext cx="199936" cy="162182"/>
            </a:xfrm>
            <a:custGeom>
              <a:avLst/>
              <a:gdLst>
                <a:gd name="connsiteX0" fmla="*/ 25299 w 199936"/>
                <a:gd name="connsiteY0" fmla="*/ 132591 h 162182"/>
                <a:gd name="connsiteX1" fmla="*/ 0 w 199936"/>
                <a:gd name="connsiteY1" fmla="*/ 31395 h 162182"/>
                <a:gd name="connsiteX2" fmla="*/ 0 w 199936"/>
                <a:gd name="connsiteY2" fmla="*/ 0 h 162182"/>
                <a:gd name="connsiteX3" fmla="*/ 92209 w 199936"/>
                <a:gd name="connsiteY3" fmla="*/ 63916 h 162182"/>
                <a:gd name="connsiteX4" fmla="*/ 93547 w 199936"/>
                <a:gd name="connsiteY4" fmla="*/ 73168 h 162182"/>
                <a:gd name="connsiteX5" fmla="*/ 118478 w 199936"/>
                <a:gd name="connsiteY5" fmla="*/ 102291 h 162182"/>
                <a:gd name="connsiteX6" fmla="*/ 160439 w 199936"/>
                <a:gd name="connsiteY6" fmla="*/ 111210 h 162182"/>
                <a:gd name="connsiteX7" fmla="*/ 199936 w 199936"/>
                <a:gd name="connsiteY7" fmla="*/ 138589 h 162182"/>
                <a:gd name="connsiteX8" fmla="*/ 189080 w 199936"/>
                <a:gd name="connsiteY8" fmla="*/ 143328 h 162182"/>
                <a:gd name="connsiteX9" fmla="*/ 97665 w 199936"/>
                <a:gd name="connsiteY9" fmla="*/ 162008 h 162182"/>
                <a:gd name="connsiteX10" fmla="*/ 25299 w 199936"/>
                <a:gd name="connsiteY10" fmla="*/ 132591 h 162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9936" h="162182">
                  <a:moveTo>
                    <a:pt x="25299" y="132591"/>
                  </a:moveTo>
                  <a:cubicBezTo>
                    <a:pt x="5295" y="113175"/>
                    <a:pt x="0" y="79640"/>
                    <a:pt x="0" y="31395"/>
                  </a:cubicBezTo>
                  <a:lnTo>
                    <a:pt x="0" y="0"/>
                  </a:lnTo>
                  <a:lnTo>
                    <a:pt x="92209" y="63916"/>
                  </a:lnTo>
                  <a:lnTo>
                    <a:pt x="93547" y="73168"/>
                  </a:lnTo>
                  <a:cubicBezTo>
                    <a:pt x="98254" y="86111"/>
                    <a:pt x="106638" y="95819"/>
                    <a:pt x="118478" y="102291"/>
                  </a:cubicBezTo>
                  <a:lnTo>
                    <a:pt x="160439" y="111210"/>
                  </a:lnTo>
                  <a:lnTo>
                    <a:pt x="199936" y="138589"/>
                  </a:lnTo>
                  <a:lnTo>
                    <a:pt x="189080" y="143328"/>
                  </a:lnTo>
                  <a:cubicBezTo>
                    <a:pt x="154735" y="155095"/>
                    <a:pt x="122082" y="160537"/>
                    <a:pt x="97665" y="162008"/>
                  </a:cubicBezTo>
                  <a:cubicBezTo>
                    <a:pt x="70602" y="163773"/>
                    <a:pt x="44126" y="152006"/>
                    <a:pt x="25299" y="13259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1" name="Forme libre : forme 960">
              <a:extLst>
                <a:ext uri="{FF2B5EF4-FFF2-40B4-BE49-F238E27FC236}">
                  <a16:creationId xmlns:a16="http://schemas.microsoft.com/office/drawing/2014/main" id="{90B8ABE7-A5DD-43D8-841B-962E7DF13DBB}"/>
                </a:ext>
              </a:extLst>
            </p:cNvPr>
            <p:cNvSpPr/>
            <p:nvPr/>
          </p:nvSpPr>
          <p:spPr>
            <a:xfrm rot="8716295">
              <a:off x="6391313" y="5109036"/>
              <a:ext cx="48754" cy="53077"/>
            </a:xfrm>
            <a:custGeom>
              <a:avLst/>
              <a:gdLst>
                <a:gd name="connsiteX0" fmla="*/ 0 w 48754"/>
                <a:gd name="connsiteY0" fmla="*/ 53077 h 53077"/>
                <a:gd name="connsiteX1" fmla="*/ 0 w 48754"/>
                <a:gd name="connsiteY1" fmla="*/ 0 h 53077"/>
                <a:gd name="connsiteX2" fmla="*/ 48754 w 48754"/>
                <a:gd name="connsiteY2" fmla="*/ 33794 h 53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754" h="53077">
                  <a:moveTo>
                    <a:pt x="0" y="53077"/>
                  </a:moveTo>
                  <a:lnTo>
                    <a:pt x="0" y="0"/>
                  </a:lnTo>
                  <a:lnTo>
                    <a:pt x="48754" y="337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2" name="Forme libre : forme 961">
              <a:extLst>
                <a:ext uri="{FF2B5EF4-FFF2-40B4-BE49-F238E27FC236}">
                  <a16:creationId xmlns:a16="http://schemas.microsoft.com/office/drawing/2014/main" id="{FE1A44B8-6EFF-4767-8A7A-1368FB776C2C}"/>
                </a:ext>
              </a:extLst>
            </p:cNvPr>
            <p:cNvSpPr/>
            <p:nvPr/>
          </p:nvSpPr>
          <p:spPr>
            <a:xfrm rot="8716295">
              <a:off x="6604006" y="5086303"/>
              <a:ext cx="59107" cy="81271"/>
            </a:xfrm>
            <a:custGeom>
              <a:avLst/>
              <a:gdLst>
                <a:gd name="connsiteX0" fmla="*/ 0 w 59107"/>
                <a:gd name="connsiteY0" fmla="*/ 81271 h 81271"/>
                <a:gd name="connsiteX1" fmla="*/ 0 w 59107"/>
                <a:gd name="connsiteY1" fmla="*/ 0 h 81271"/>
                <a:gd name="connsiteX2" fmla="*/ 59107 w 59107"/>
                <a:gd name="connsiteY2" fmla="*/ 40971 h 81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9107" h="81271">
                  <a:moveTo>
                    <a:pt x="0" y="81271"/>
                  </a:moveTo>
                  <a:lnTo>
                    <a:pt x="0" y="0"/>
                  </a:lnTo>
                  <a:lnTo>
                    <a:pt x="59107" y="409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3" name="Forme libre : forme 962">
              <a:extLst>
                <a:ext uri="{FF2B5EF4-FFF2-40B4-BE49-F238E27FC236}">
                  <a16:creationId xmlns:a16="http://schemas.microsoft.com/office/drawing/2014/main" id="{564969A8-6844-48A3-9D81-0C8C78AA871A}"/>
                </a:ext>
              </a:extLst>
            </p:cNvPr>
            <p:cNvSpPr/>
            <p:nvPr/>
          </p:nvSpPr>
          <p:spPr>
            <a:xfrm rot="8716295">
              <a:off x="6183968" y="4952734"/>
              <a:ext cx="202937" cy="195874"/>
            </a:xfrm>
            <a:custGeom>
              <a:avLst/>
              <a:gdLst>
                <a:gd name="connsiteX0" fmla="*/ 90709 w 202937"/>
                <a:gd name="connsiteY0" fmla="*/ 195874 h 195874"/>
                <a:gd name="connsiteX1" fmla="*/ 47847 w 202937"/>
                <a:gd name="connsiteY1" fmla="*/ 116129 h 195874"/>
                <a:gd name="connsiteX2" fmla="*/ 69777 w 202937"/>
                <a:gd name="connsiteY2" fmla="*/ 55323 h 195874"/>
                <a:gd name="connsiteX3" fmla="*/ 0 w 202937"/>
                <a:gd name="connsiteY3" fmla="*/ 55323 h 195874"/>
                <a:gd name="connsiteX4" fmla="*/ 0 w 202937"/>
                <a:gd name="connsiteY4" fmla="*/ 0 h 195874"/>
                <a:gd name="connsiteX5" fmla="*/ 123124 w 202937"/>
                <a:gd name="connsiteY5" fmla="*/ 0 h 195874"/>
                <a:gd name="connsiteX6" fmla="*/ 202937 w 202937"/>
                <a:gd name="connsiteY6" fmla="*/ 55323 h 195874"/>
                <a:gd name="connsiteX7" fmla="*/ 139055 w 202937"/>
                <a:gd name="connsiteY7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2937" h="195874">
                  <a:moveTo>
                    <a:pt x="90709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123124" y="0"/>
                  </a:lnTo>
                  <a:lnTo>
                    <a:pt x="20293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4" name="Forme libre : forme 963">
              <a:extLst>
                <a:ext uri="{FF2B5EF4-FFF2-40B4-BE49-F238E27FC236}">
                  <a16:creationId xmlns:a16="http://schemas.microsoft.com/office/drawing/2014/main" id="{08AD032C-6C86-4845-A4B0-3D6B054ABD87}"/>
                </a:ext>
              </a:extLst>
            </p:cNvPr>
            <p:cNvSpPr/>
            <p:nvPr/>
          </p:nvSpPr>
          <p:spPr>
            <a:xfrm rot="8716295">
              <a:off x="6161279" y="505310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5" name="Forme libre : forme 964">
              <a:extLst>
                <a:ext uri="{FF2B5EF4-FFF2-40B4-BE49-F238E27FC236}">
                  <a16:creationId xmlns:a16="http://schemas.microsoft.com/office/drawing/2014/main" id="{1634811C-B4C0-451B-962C-E46A7CD8B922}"/>
                </a:ext>
              </a:extLst>
            </p:cNvPr>
            <p:cNvSpPr/>
            <p:nvPr/>
          </p:nvSpPr>
          <p:spPr>
            <a:xfrm rot="8716295">
              <a:off x="6931575" y="5125548"/>
              <a:ext cx="28968" cy="21142"/>
            </a:xfrm>
            <a:custGeom>
              <a:avLst/>
              <a:gdLst>
                <a:gd name="connsiteX0" fmla="*/ 6986 w 28968"/>
                <a:gd name="connsiteY0" fmla="*/ 21142 h 21142"/>
                <a:gd name="connsiteX1" fmla="*/ 0 w 28968"/>
                <a:gd name="connsiteY1" fmla="*/ 11469 h 21142"/>
                <a:gd name="connsiteX2" fmla="*/ 12189 w 28968"/>
                <a:gd name="connsiteY2" fmla="*/ 0 h 21142"/>
                <a:gd name="connsiteX3" fmla="*/ 28968 w 28968"/>
                <a:gd name="connsiteY3" fmla="*/ 11631 h 2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968" h="21142">
                  <a:moveTo>
                    <a:pt x="6986" y="21142"/>
                  </a:moveTo>
                  <a:lnTo>
                    <a:pt x="0" y="11469"/>
                  </a:lnTo>
                  <a:lnTo>
                    <a:pt x="12189" y="0"/>
                  </a:lnTo>
                  <a:lnTo>
                    <a:pt x="28968" y="116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6" name="Forme libre : forme 965">
              <a:extLst>
                <a:ext uri="{FF2B5EF4-FFF2-40B4-BE49-F238E27FC236}">
                  <a16:creationId xmlns:a16="http://schemas.microsoft.com/office/drawing/2014/main" id="{4DAB4475-0622-4D27-8698-19DE6A41164E}"/>
                </a:ext>
              </a:extLst>
            </p:cNvPr>
            <p:cNvSpPr/>
            <p:nvPr/>
          </p:nvSpPr>
          <p:spPr>
            <a:xfrm rot="8716295">
              <a:off x="6737940" y="5060558"/>
              <a:ext cx="113691" cy="106472"/>
            </a:xfrm>
            <a:custGeom>
              <a:avLst/>
              <a:gdLst>
                <a:gd name="connsiteX0" fmla="*/ 17478 w 113691"/>
                <a:gd name="connsiteY0" fmla="*/ 89915 h 106472"/>
                <a:gd name="connsiteX1" fmla="*/ 0 w 113691"/>
                <a:gd name="connsiteY1" fmla="*/ 48523 h 106472"/>
                <a:gd name="connsiteX2" fmla="*/ 0 w 113691"/>
                <a:gd name="connsiteY2" fmla="*/ 47602 h 106472"/>
                <a:gd name="connsiteX3" fmla="*/ 17477 w 113691"/>
                <a:gd name="connsiteY3" fmla="*/ 6210 h 106472"/>
                <a:gd name="connsiteX4" fmla="*/ 32186 w 113691"/>
                <a:gd name="connsiteY4" fmla="*/ 0 h 106472"/>
                <a:gd name="connsiteX5" fmla="*/ 113691 w 113691"/>
                <a:gd name="connsiteY5" fmla="*/ 56496 h 106472"/>
                <a:gd name="connsiteX6" fmla="*/ 100263 w 113691"/>
                <a:gd name="connsiteY6" fmla="*/ 88995 h 106472"/>
                <a:gd name="connsiteX7" fmla="*/ 58869 w 113691"/>
                <a:gd name="connsiteY7" fmla="*/ 106472 h 106472"/>
                <a:gd name="connsiteX8" fmla="*/ 17478 w 113691"/>
                <a:gd name="connsiteY8" fmla="*/ 89915 h 106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3691" h="106472">
                  <a:moveTo>
                    <a:pt x="17478" y="89915"/>
                  </a:moveTo>
                  <a:cubicBezTo>
                    <a:pt x="6440" y="78877"/>
                    <a:pt x="0" y="64159"/>
                    <a:pt x="0" y="48523"/>
                  </a:cubicBezTo>
                  <a:lnTo>
                    <a:pt x="0" y="47602"/>
                  </a:lnTo>
                  <a:cubicBezTo>
                    <a:pt x="0" y="31965"/>
                    <a:pt x="6439" y="17248"/>
                    <a:pt x="17477" y="6210"/>
                  </a:cubicBezTo>
                  <a:lnTo>
                    <a:pt x="32186" y="0"/>
                  </a:lnTo>
                  <a:lnTo>
                    <a:pt x="113691" y="56496"/>
                  </a:lnTo>
                  <a:lnTo>
                    <a:pt x="100263" y="88995"/>
                  </a:lnTo>
                  <a:cubicBezTo>
                    <a:pt x="89224" y="100033"/>
                    <a:pt x="74507" y="106471"/>
                    <a:pt x="58869" y="106472"/>
                  </a:cubicBezTo>
                  <a:cubicBezTo>
                    <a:pt x="43233" y="106472"/>
                    <a:pt x="28515" y="100952"/>
                    <a:pt x="17478" y="8991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7" name="Forme libre : forme 966">
              <a:extLst>
                <a:ext uri="{FF2B5EF4-FFF2-40B4-BE49-F238E27FC236}">
                  <a16:creationId xmlns:a16="http://schemas.microsoft.com/office/drawing/2014/main" id="{B623F3B8-2654-4B92-BE58-3F7E38DD0FB8}"/>
                </a:ext>
              </a:extLst>
            </p:cNvPr>
            <p:cNvSpPr/>
            <p:nvPr/>
          </p:nvSpPr>
          <p:spPr>
            <a:xfrm rot="8716295">
              <a:off x="6498383" y="5093340"/>
              <a:ext cx="58211" cy="56997"/>
            </a:xfrm>
            <a:custGeom>
              <a:avLst/>
              <a:gdLst>
                <a:gd name="connsiteX0" fmla="*/ 8658 w 58211"/>
                <a:gd name="connsiteY0" fmla="*/ 48794 h 56997"/>
                <a:gd name="connsiteX1" fmla="*/ 0 w 58211"/>
                <a:gd name="connsiteY1" fmla="*/ 28290 h 56997"/>
                <a:gd name="connsiteX2" fmla="*/ 0 w 58211"/>
                <a:gd name="connsiteY2" fmla="*/ 27833 h 56997"/>
                <a:gd name="connsiteX3" fmla="*/ 8658 w 58211"/>
                <a:gd name="connsiteY3" fmla="*/ 7329 h 56997"/>
                <a:gd name="connsiteX4" fmla="*/ 26015 w 58211"/>
                <a:gd name="connsiteY4" fmla="*/ 0 h 56997"/>
                <a:gd name="connsiteX5" fmla="*/ 55042 w 58211"/>
                <a:gd name="connsiteY5" fmla="*/ 20120 h 56997"/>
                <a:gd name="connsiteX6" fmla="*/ 58211 w 58211"/>
                <a:gd name="connsiteY6" fmla="*/ 27663 h 56997"/>
                <a:gd name="connsiteX7" fmla="*/ 49668 w 58211"/>
                <a:gd name="connsiteY7" fmla="*/ 48339 h 56997"/>
                <a:gd name="connsiteX8" fmla="*/ 29163 w 58211"/>
                <a:gd name="connsiteY8" fmla="*/ 56997 h 56997"/>
                <a:gd name="connsiteX9" fmla="*/ 8658 w 58211"/>
                <a:gd name="connsiteY9" fmla="*/ 48794 h 56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8211" h="56997">
                  <a:moveTo>
                    <a:pt x="8658" y="48794"/>
                  </a:moveTo>
                  <a:cubicBezTo>
                    <a:pt x="3190" y="43327"/>
                    <a:pt x="0" y="36035"/>
                    <a:pt x="0" y="28290"/>
                  </a:cubicBezTo>
                  <a:lnTo>
                    <a:pt x="0" y="27833"/>
                  </a:lnTo>
                  <a:cubicBezTo>
                    <a:pt x="0" y="20088"/>
                    <a:pt x="3190" y="12797"/>
                    <a:pt x="8658" y="7329"/>
                  </a:cubicBezTo>
                  <a:lnTo>
                    <a:pt x="26015" y="0"/>
                  </a:lnTo>
                  <a:lnTo>
                    <a:pt x="55042" y="20120"/>
                  </a:lnTo>
                  <a:lnTo>
                    <a:pt x="58211" y="27663"/>
                  </a:lnTo>
                  <a:cubicBezTo>
                    <a:pt x="58212" y="35125"/>
                    <a:pt x="55364" y="42643"/>
                    <a:pt x="49668" y="48339"/>
                  </a:cubicBezTo>
                  <a:cubicBezTo>
                    <a:pt x="44200" y="53807"/>
                    <a:pt x="36909" y="56996"/>
                    <a:pt x="29163" y="56997"/>
                  </a:cubicBezTo>
                  <a:cubicBezTo>
                    <a:pt x="21416" y="56996"/>
                    <a:pt x="14126" y="54262"/>
                    <a:pt x="8658" y="4879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8" name="Forme libre : forme 967">
              <a:extLst>
                <a:ext uri="{FF2B5EF4-FFF2-40B4-BE49-F238E27FC236}">
                  <a16:creationId xmlns:a16="http://schemas.microsoft.com/office/drawing/2014/main" id="{09425ABD-6513-4C44-B2C5-3F8F0BD4C408}"/>
                </a:ext>
              </a:extLst>
            </p:cNvPr>
            <p:cNvSpPr/>
            <p:nvPr/>
          </p:nvSpPr>
          <p:spPr>
            <a:xfrm rot="8716295">
              <a:off x="6680467" y="493629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9" name="Forme libre : forme 968">
              <a:extLst>
                <a:ext uri="{FF2B5EF4-FFF2-40B4-BE49-F238E27FC236}">
                  <a16:creationId xmlns:a16="http://schemas.microsoft.com/office/drawing/2014/main" id="{9B183886-0645-4A14-8362-6B1FDC1B0148}"/>
                </a:ext>
              </a:extLst>
            </p:cNvPr>
            <p:cNvSpPr/>
            <p:nvPr/>
          </p:nvSpPr>
          <p:spPr>
            <a:xfrm rot="8716295">
              <a:off x="6106444" y="219919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0" name="Forme libre : forme 969">
              <a:extLst>
                <a:ext uri="{FF2B5EF4-FFF2-40B4-BE49-F238E27FC236}">
                  <a16:creationId xmlns:a16="http://schemas.microsoft.com/office/drawing/2014/main" id="{2EFB178A-8391-4919-B609-712FE3C8A80B}"/>
                </a:ext>
              </a:extLst>
            </p:cNvPr>
            <p:cNvSpPr/>
            <p:nvPr/>
          </p:nvSpPr>
          <p:spPr>
            <a:xfrm rot="8716295">
              <a:off x="6195836" y="222843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1" name="Forme libre : forme 970">
              <a:extLst>
                <a:ext uri="{FF2B5EF4-FFF2-40B4-BE49-F238E27FC236}">
                  <a16:creationId xmlns:a16="http://schemas.microsoft.com/office/drawing/2014/main" id="{0FFCBE3C-AA93-430F-8E5B-BDFB102AC2EA}"/>
                </a:ext>
              </a:extLst>
            </p:cNvPr>
            <p:cNvSpPr/>
            <p:nvPr/>
          </p:nvSpPr>
          <p:spPr>
            <a:xfrm rot="8716295">
              <a:off x="6150986" y="214215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2" name="Forme libre : forme 971">
              <a:extLst>
                <a:ext uri="{FF2B5EF4-FFF2-40B4-BE49-F238E27FC236}">
                  <a16:creationId xmlns:a16="http://schemas.microsoft.com/office/drawing/2014/main" id="{FFB53123-B577-43B0-94BC-06BEF39D167F}"/>
                </a:ext>
              </a:extLst>
            </p:cNvPr>
            <p:cNvSpPr/>
            <p:nvPr/>
          </p:nvSpPr>
          <p:spPr>
            <a:xfrm rot="8716295">
              <a:off x="5994210" y="228773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3" name="Forme libre : forme 972">
              <a:extLst>
                <a:ext uri="{FF2B5EF4-FFF2-40B4-BE49-F238E27FC236}">
                  <a16:creationId xmlns:a16="http://schemas.microsoft.com/office/drawing/2014/main" id="{42AC1E8A-7A0A-409A-9CF1-4E4EBD069982}"/>
                </a:ext>
              </a:extLst>
            </p:cNvPr>
            <p:cNvSpPr/>
            <p:nvPr/>
          </p:nvSpPr>
          <p:spPr>
            <a:xfrm rot="8716295">
              <a:off x="5869307" y="207906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4" name="Forme libre : forme 973">
              <a:extLst>
                <a:ext uri="{FF2B5EF4-FFF2-40B4-BE49-F238E27FC236}">
                  <a16:creationId xmlns:a16="http://schemas.microsoft.com/office/drawing/2014/main" id="{707943F8-782E-4969-8471-01FE2059FFE2}"/>
                </a:ext>
              </a:extLst>
            </p:cNvPr>
            <p:cNvSpPr/>
            <p:nvPr/>
          </p:nvSpPr>
          <p:spPr>
            <a:xfrm rot="8716295">
              <a:off x="5980698" y="1897979"/>
              <a:ext cx="151619" cy="350829"/>
            </a:xfrm>
            <a:custGeom>
              <a:avLst/>
              <a:gdLst>
                <a:gd name="connsiteX0" fmla="*/ 25299 w 151619"/>
                <a:gd name="connsiteY0" fmla="*/ 321238 h 350829"/>
                <a:gd name="connsiteX1" fmla="*/ 0 w 151619"/>
                <a:gd name="connsiteY1" fmla="*/ 220042 h 350829"/>
                <a:gd name="connsiteX2" fmla="*/ 0 w 151619"/>
                <a:gd name="connsiteY2" fmla="*/ 40596 h 350829"/>
                <a:gd name="connsiteX3" fmla="*/ 78250 w 151619"/>
                <a:gd name="connsiteY3" fmla="*/ 0 h 350829"/>
                <a:gd name="connsiteX4" fmla="*/ 79427 w 151619"/>
                <a:gd name="connsiteY4" fmla="*/ 164149 h 350829"/>
                <a:gd name="connsiteX5" fmla="*/ 93547 w 151619"/>
                <a:gd name="connsiteY5" fmla="*/ 261815 h 350829"/>
                <a:gd name="connsiteX6" fmla="*/ 118478 w 151619"/>
                <a:gd name="connsiteY6" fmla="*/ 290938 h 350829"/>
                <a:gd name="connsiteX7" fmla="*/ 151619 w 151619"/>
                <a:gd name="connsiteY7" fmla="*/ 297983 h 350829"/>
                <a:gd name="connsiteX8" fmla="*/ 109310 w 151619"/>
                <a:gd name="connsiteY8" fmla="*/ 349136 h 350829"/>
                <a:gd name="connsiteX9" fmla="*/ 97665 w 151619"/>
                <a:gd name="connsiteY9" fmla="*/ 350655 h 350829"/>
                <a:gd name="connsiteX10" fmla="*/ 25299 w 151619"/>
                <a:gd name="connsiteY10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1619" h="350829">
                  <a:moveTo>
                    <a:pt x="25299" y="321238"/>
                  </a:moveTo>
                  <a:cubicBezTo>
                    <a:pt x="5295" y="301823"/>
                    <a:pt x="0" y="268287"/>
                    <a:pt x="0" y="220042"/>
                  </a:cubicBez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98254" y="274758"/>
                    <a:pt x="106638" y="284466"/>
                    <a:pt x="118478" y="290938"/>
                  </a:cubicBezTo>
                  <a:lnTo>
                    <a:pt x="151619" y="297983"/>
                  </a:lnTo>
                  <a:lnTo>
                    <a:pt x="109310" y="349136"/>
                  </a:lnTo>
                  <a:lnTo>
                    <a:pt x="97665" y="350655"/>
                  </a:ln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5" name="Forme libre : forme 974">
              <a:extLst>
                <a:ext uri="{FF2B5EF4-FFF2-40B4-BE49-F238E27FC236}">
                  <a16:creationId xmlns:a16="http://schemas.microsoft.com/office/drawing/2014/main" id="{F4544020-0266-41BA-8C00-E24B164AB2ED}"/>
                </a:ext>
              </a:extLst>
            </p:cNvPr>
            <p:cNvSpPr/>
            <p:nvPr/>
          </p:nvSpPr>
          <p:spPr>
            <a:xfrm rot="8716295">
              <a:off x="6084388" y="232868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6" name="Forme libre : forme 975">
              <a:extLst>
                <a:ext uri="{FF2B5EF4-FFF2-40B4-BE49-F238E27FC236}">
                  <a16:creationId xmlns:a16="http://schemas.microsoft.com/office/drawing/2014/main" id="{271CA1CD-963F-4CD4-AA61-A9B8E1C43CF8}"/>
                </a:ext>
              </a:extLst>
            </p:cNvPr>
            <p:cNvSpPr/>
            <p:nvPr/>
          </p:nvSpPr>
          <p:spPr>
            <a:xfrm rot="8716295">
              <a:off x="6395543" y="194904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7" name="Forme libre : forme 976">
              <a:extLst>
                <a:ext uri="{FF2B5EF4-FFF2-40B4-BE49-F238E27FC236}">
                  <a16:creationId xmlns:a16="http://schemas.microsoft.com/office/drawing/2014/main" id="{FE1D00A6-C81C-4E96-A531-7D8D031389D2}"/>
                </a:ext>
              </a:extLst>
            </p:cNvPr>
            <p:cNvSpPr/>
            <p:nvPr/>
          </p:nvSpPr>
          <p:spPr>
            <a:xfrm rot="8716295">
              <a:off x="6484935" y="197828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8" name="Forme libre : forme 977">
              <a:extLst>
                <a:ext uri="{FF2B5EF4-FFF2-40B4-BE49-F238E27FC236}">
                  <a16:creationId xmlns:a16="http://schemas.microsoft.com/office/drawing/2014/main" id="{D1AD4F7D-FFA6-412C-8AC2-97E76C5D511B}"/>
                </a:ext>
              </a:extLst>
            </p:cNvPr>
            <p:cNvSpPr/>
            <p:nvPr/>
          </p:nvSpPr>
          <p:spPr>
            <a:xfrm rot="8716295">
              <a:off x="6283309" y="203758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9" name="Forme libre : forme 978">
              <a:extLst>
                <a:ext uri="{FF2B5EF4-FFF2-40B4-BE49-F238E27FC236}">
                  <a16:creationId xmlns:a16="http://schemas.microsoft.com/office/drawing/2014/main" id="{B6B09C33-56D6-43CA-889B-8BC67F824FD1}"/>
                </a:ext>
              </a:extLst>
            </p:cNvPr>
            <p:cNvSpPr/>
            <p:nvPr/>
          </p:nvSpPr>
          <p:spPr>
            <a:xfrm rot="8716295">
              <a:off x="6158407" y="182891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0" name="Forme libre : forme 979">
              <a:extLst>
                <a:ext uri="{FF2B5EF4-FFF2-40B4-BE49-F238E27FC236}">
                  <a16:creationId xmlns:a16="http://schemas.microsoft.com/office/drawing/2014/main" id="{64E9AC88-77BF-47F7-9F24-3879D854D04A}"/>
                </a:ext>
              </a:extLst>
            </p:cNvPr>
            <p:cNvSpPr/>
            <p:nvPr/>
          </p:nvSpPr>
          <p:spPr>
            <a:xfrm rot="8716295">
              <a:off x="6373487" y="207853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1" name="Forme libre : forme 980">
              <a:extLst>
                <a:ext uri="{FF2B5EF4-FFF2-40B4-BE49-F238E27FC236}">
                  <a16:creationId xmlns:a16="http://schemas.microsoft.com/office/drawing/2014/main" id="{CF11DCA9-1C6D-449B-A7C0-73F03FD1154F}"/>
                </a:ext>
              </a:extLst>
            </p:cNvPr>
            <p:cNvSpPr/>
            <p:nvPr/>
          </p:nvSpPr>
          <p:spPr>
            <a:xfrm rot="8716295">
              <a:off x="6132036" y="192893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2" name="Forme libre : forme 981">
              <a:extLst>
                <a:ext uri="{FF2B5EF4-FFF2-40B4-BE49-F238E27FC236}">
                  <a16:creationId xmlns:a16="http://schemas.microsoft.com/office/drawing/2014/main" id="{4B619A62-FDFD-4430-894F-6ACA1B302C71}"/>
                </a:ext>
              </a:extLst>
            </p:cNvPr>
            <p:cNvSpPr/>
            <p:nvPr/>
          </p:nvSpPr>
          <p:spPr>
            <a:xfrm rot="7484129">
              <a:off x="6478418" y="226988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3" name="Forme libre : forme 982">
              <a:extLst>
                <a:ext uri="{FF2B5EF4-FFF2-40B4-BE49-F238E27FC236}">
                  <a16:creationId xmlns:a16="http://schemas.microsoft.com/office/drawing/2014/main" id="{EEC07FBE-5BAD-4BDB-9368-94EB98E8DB84}"/>
                </a:ext>
              </a:extLst>
            </p:cNvPr>
            <p:cNvSpPr/>
            <p:nvPr/>
          </p:nvSpPr>
          <p:spPr>
            <a:xfrm rot="13089394">
              <a:off x="6583238" y="2236421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4" name="Forme libre : forme 983">
              <a:extLst>
                <a:ext uri="{FF2B5EF4-FFF2-40B4-BE49-F238E27FC236}">
                  <a16:creationId xmlns:a16="http://schemas.microsoft.com/office/drawing/2014/main" id="{6C20D42A-CF2C-4DF9-8389-1987D2DA4730}"/>
                </a:ext>
              </a:extLst>
            </p:cNvPr>
            <p:cNvSpPr/>
            <p:nvPr/>
          </p:nvSpPr>
          <p:spPr>
            <a:xfrm rot="8716295">
              <a:off x="6768823" y="204474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5" name="Forme libre : forme 984">
              <a:extLst>
                <a:ext uri="{FF2B5EF4-FFF2-40B4-BE49-F238E27FC236}">
                  <a16:creationId xmlns:a16="http://schemas.microsoft.com/office/drawing/2014/main" id="{690A085A-5485-49A4-B859-ADCE99BE4188}"/>
                </a:ext>
              </a:extLst>
            </p:cNvPr>
            <p:cNvSpPr/>
            <p:nvPr/>
          </p:nvSpPr>
          <p:spPr>
            <a:xfrm rot="8716295">
              <a:off x="6717018" y="194114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6" name="Forme libre : forme 985">
              <a:extLst>
                <a:ext uri="{FF2B5EF4-FFF2-40B4-BE49-F238E27FC236}">
                  <a16:creationId xmlns:a16="http://schemas.microsoft.com/office/drawing/2014/main" id="{617C9727-2FB5-4490-85D8-1E9D17ED0FFB}"/>
                </a:ext>
              </a:extLst>
            </p:cNvPr>
            <p:cNvSpPr/>
            <p:nvPr/>
          </p:nvSpPr>
          <p:spPr>
            <a:xfrm rot="8716295">
              <a:off x="6473772" y="197136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7" name="Forme libre : forme 986">
              <a:extLst>
                <a:ext uri="{FF2B5EF4-FFF2-40B4-BE49-F238E27FC236}">
                  <a16:creationId xmlns:a16="http://schemas.microsoft.com/office/drawing/2014/main" id="{A4EA73FB-BC31-47BA-B0AF-60CD29A14CE4}"/>
                </a:ext>
              </a:extLst>
            </p:cNvPr>
            <p:cNvSpPr/>
            <p:nvPr/>
          </p:nvSpPr>
          <p:spPr>
            <a:xfrm rot="8716295">
              <a:off x="6651224" y="18121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8" name="Forme libre : forme 987">
              <a:extLst>
                <a:ext uri="{FF2B5EF4-FFF2-40B4-BE49-F238E27FC236}">
                  <a16:creationId xmlns:a16="http://schemas.microsoft.com/office/drawing/2014/main" id="{156A20B8-C2E0-4D62-9BB2-A5D841EE0CF6}"/>
                </a:ext>
              </a:extLst>
            </p:cNvPr>
            <p:cNvSpPr/>
            <p:nvPr/>
          </p:nvSpPr>
          <p:spPr>
            <a:xfrm rot="8716295">
              <a:off x="6329611" y="285889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9" name="Forme libre : forme 988">
              <a:extLst>
                <a:ext uri="{FF2B5EF4-FFF2-40B4-BE49-F238E27FC236}">
                  <a16:creationId xmlns:a16="http://schemas.microsoft.com/office/drawing/2014/main" id="{23E51C9F-FBAB-4ECD-8008-9610D0830C99}"/>
                </a:ext>
              </a:extLst>
            </p:cNvPr>
            <p:cNvSpPr/>
            <p:nvPr/>
          </p:nvSpPr>
          <p:spPr>
            <a:xfrm rot="8716295">
              <a:off x="6419003" y="288813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0" name="Forme libre : forme 989">
              <a:extLst>
                <a:ext uri="{FF2B5EF4-FFF2-40B4-BE49-F238E27FC236}">
                  <a16:creationId xmlns:a16="http://schemas.microsoft.com/office/drawing/2014/main" id="{7F32C77C-4F6E-45B6-AD92-CD6F8E2E6271}"/>
                </a:ext>
              </a:extLst>
            </p:cNvPr>
            <p:cNvSpPr/>
            <p:nvPr/>
          </p:nvSpPr>
          <p:spPr>
            <a:xfrm rot="8716295">
              <a:off x="6374153" y="280185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1" name="Forme libre : forme 990">
              <a:extLst>
                <a:ext uri="{FF2B5EF4-FFF2-40B4-BE49-F238E27FC236}">
                  <a16:creationId xmlns:a16="http://schemas.microsoft.com/office/drawing/2014/main" id="{D4431DD9-04B9-4FE1-A081-03E62FD89C9D}"/>
                </a:ext>
              </a:extLst>
            </p:cNvPr>
            <p:cNvSpPr/>
            <p:nvPr/>
          </p:nvSpPr>
          <p:spPr>
            <a:xfrm rot="8716295">
              <a:off x="6217377" y="294743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2" name="Forme libre : forme 991">
              <a:extLst>
                <a:ext uri="{FF2B5EF4-FFF2-40B4-BE49-F238E27FC236}">
                  <a16:creationId xmlns:a16="http://schemas.microsoft.com/office/drawing/2014/main" id="{3776591D-A273-4F99-BE73-AB66F060ED94}"/>
                </a:ext>
              </a:extLst>
            </p:cNvPr>
            <p:cNvSpPr/>
            <p:nvPr/>
          </p:nvSpPr>
          <p:spPr>
            <a:xfrm rot="8716295">
              <a:off x="6092474" y="273876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3" name="Forme libre : forme 992">
              <a:extLst>
                <a:ext uri="{FF2B5EF4-FFF2-40B4-BE49-F238E27FC236}">
                  <a16:creationId xmlns:a16="http://schemas.microsoft.com/office/drawing/2014/main" id="{70BC3904-666B-4476-94FE-E1509AD90EDA}"/>
                </a:ext>
              </a:extLst>
            </p:cNvPr>
            <p:cNvSpPr/>
            <p:nvPr/>
          </p:nvSpPr>
          <p:spPr>
            <a:xfrm rot="8716295">
              <a:off x="6080422" y="259998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4" name="Forme libre : forme 993">
              <a:extLst>
                <a:ext uri="{FF2B5EF4-FFF2-40B4-BE49-F238E27FC236}">
                  <a16:creationId xmlns:a16="http://schemas.microsoft.com/office/drawing/2014/main" id="{9A71DA94-5749-49E1-B169-14B235223A8A}"/>
                </a:ext>
              </a:extLst>
            </p:cNvPr>
            <p:cNvSpPr/>
            <p:nvPr/>
          </p:nvSpPr>
          <p:spPr>
            <a:xfrm rot="8716295">
              <a:off x="6307555" y="298838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5" name="Forme libre : forme 994">
              <a:extLst>
                <a:ext uri="{FF2B5EF4-FFF2-40B4-BE49-F238E27FC236}">
                  <a16:creationId xmlns:a16="http://schemas.microsoft.com/office/drawing/2014/main" id="{5E531992-BAC1-4C94-95FD-24C15B9EF2BF}"/>
                </a:ext>
              </a:extLst>
            </p:cNvPr>
            <p:cNvSpPr/>
            <p:nvPr/>
          </p:nvSpPr>
          <p:spPr>
            <a:xfrm rot="8716295">
              <a:off x="6618710" y="260873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6" name="Forme libre : forme 995">
              <a:extLst>
                <a:ext uri="{FF2B5EF4-FFF2-40B4-BE49-F238E27FC236}">
                  <a16:creationId xmlns:a16="http://schemas.microsoft.com/office/drawing/2014/main" id="{E4284C6A-7A82-4CAE-89A5-2E977266E045}"/>
                </a:ext>
              </a:extLst>
            </p:cNvPr>
            <p:cNvSpPr/>
            <p:nvPr/>
          </p:nvSpPr>
          <p:spPr>
            <a:xfrm rot="8716295">
              <a:off x="6708102" y="263798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7" name="Forme libre : forme 996">
              <a:extLst>
                <a:ext uri="{FF2B5EF4-FFF2-40B4-BE49-F238E27FC236}">
                  <a16:creationId xmlns:a16="http://schemas.microsoft.com/office/drawing/2014/main" id="{6AD07265-46A4-4F48-AE48-C93ECBEB0115}"/>
                </a:ext>
              </a:extLst>
            </p:cNvPr>
            <p:cNvSpPr/>
            <p:nvPr/>
          </p:nvSpPr>
          <p:spPr>
            <a:xfrm rot="8716295">
              <a:off x="6506476" y="269728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8" name="Forme libre : forme 997">
              <a:extLst>
                <a:ext uri="{FF2B5EF4-FFF2-40B4-BE49-F238E27FC236}">
                  <a16:creationId xmlns:a16="http://schemas.microsoft.com/office/drawing/2014/main" id="{0F626FEE-5136-4D5A-B874-AE58DE51C27B}"/>
                </a:ext>
              </a:extLst>
            </p:cNvPr>
            <p:cNvSpPr/>
            <p:nvPr/>
          </p:nvSpPr>
          <p:spPr>
            <a:xfrm rot="8716295">
              <a:off x="6381574" y="248861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9" name="Forme libre : forme 998">
              <a:extLst>
                <a:ext uri="{FF2B5EF4-FFF2-40B4-BE49-F238E27FC236}">
                  <a16:creationId xmlns:a16="http://schemas.microsoft.com/office/drawing/2014/main" id="{7B0A3539-A5EC-4DA5-B326-1671C80D9FC9}"/>
                </a:ext>
              </a:extLst>
            </p:cNvPr>
            <p:cNvSpPr/>
            <p:nvPr/>
          </p:nvSpPr>
          <p:spPr>
            <a:xfrm rot="8716295">
              <a:off x="6596654" y="273823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0" name="Forme libre : forme 999">
              <a:extLst>
                <a:ext uri="{FF2B5EF4-FFF2-40B4-BE49-F238E27FC236}">
                  <a16:creationId xmlns:a16="http://schemas.microsoft.com/office/drawing/2014/main" id="{A34DFDFC-C834-479E-912E-6B279D3D7039}"/>
                </a:ext>
              </a:extLst>
            </p:cNvPr>
            <p:cNvSpPr/>
            <p:nvPr/>
          </p:nvSpPr>
          <p:spPr>
            <a:xfrm rot="8716295">
              <a:off x="6355203" y="258863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1" name="Forme libre : forme 1000">
              <a:extLst>
                <a:ext uri="{FF2B5EF4-FFF2-40B4-BE49-F238E27FC236}">
                  <a16:creationId xmlns:a16="http://schemas.microsoft.com/office/drawing/2014/main" id="{07620231-653C-4CB4-8F77-0AA8D3803BFF}"/>
                </a:ext>
              </a:extLst>
            </p:cNvPr>
            <p:cNvSpPr/>
            <p:nvPr/>
          </p:nvSpPr>
          <p:spPr>
            <a:xfrm rot="7484129">
              <a:off x="6701585" y="292958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2" name="Forme libre : forme 1001">
              <a:extLst>
                <a:ext uri="{FF2B5EF4-FFF2-40B4-BE49-F238E27FC236}">
                  <a16:creationId xmlns:a16="http://schemas.microsoft.com/office/drawing/2014/main" id="{D290ABBC-41B3-4F18-93F2-164F7D54EBDE}"/>
                </a:ext>
              </a:extLst>
            </p:cNvPr>
            <p:cNvSpPr/>
            <p:nvPr/>
          </p:nvSpPr>
          <p:spPr>
            <a:xfrm rot="13089394">
              <a:off x="6806405" y="289612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3" name="Forme libre : forme 1002">
              <a:extLst>
                <a:ext uri="{FF2B5EF4-FFF2-40B4-BE49-F238E27FC236}">
                  <a16:creationId xmlns:a16="http://schemas.microsoft.com/office/drawing/2014/main" id="{8DD9E291-7841-4F2C-A3C2-BF1A5190446E}"/>
                </a:ext>
              </a:extLst>
            </p:cNvPr>
            <p:cNvSpPr/>
            <p:nvPr/>
          </p:nvSpPr>
          <p:spPr>
            <a:xfrm rot="8716295">
              <a:off x="6991990" y="270443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4" name="Forme libre : forme 1003">
              <a:extLst>
                <a:ext uri="{FF2B5EF4-FFF2-40B4-BE49-F238E27FC236}">
                  <a16:creationId xmlns:a16="http://schemas.microsoft.com/office/drawing/2014/main" id="{41A89C08-3907-4E7D-B1E6-D307FE9BC2BC}"/>
                </a:ext>
              </a:extLst>
            </p:cNvPr>
            <p:cNvSpPr/>
            <p:nvPr/>
          </p:nvSpPr>
          <p:spPr>
            <a:xfrm rot="8716295">
              <a:off x="6940185" y="260084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5" name="Forme libre : forme 1004">
              <a:extLst>
                <a:ext uri="{FF2B5EF4-FFF2-40B4-BE49-F238E27FC236}">
                  <a16:creationId xmlns:a16="http://schemas.microsoft.com/office/drawing/2014/main" id="{157F3384-4A1D-41EA-805B-09275197A993}"/>
                </a:ext>
              </a:extLst>
            </p:cNvPr>
            <p:cNvSpPr/>
            <p:nvPr/>
          </p:nvSpPr>
          <p:spPr>
            <a:xfrm rot="8716295">
              <a:off x="6696939" y="263106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6" name="Forme libre : forme 1005">
              <a:extLst>
                <a:ext uri="{FF2B5EF4-FFF2-40B4-BE49-F238E27FC236}">
                  <a16:creationId xmlns:a16="http://schemas.microsoft.com/office/drawing/2014/main" id="{FF46E72A-AA4E-4A7E-AA90-4EE78B17F3E0}"/>
                </a:ext>
              </a:extLst>
            </p:cNvPr>
            <p:cNvSpPr/>
            <p:nvPr/>
          </p:nvSpPr>
          <p:spPr>
            <a:xfrm rot="8716295">
              <a:off x="6874391" y="247182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7" name="Forme libre : forme 1006">
              <a:extLst>
                <a:ext uri="{FF2B5EF4-FFF2-40B4-BE49-F238E27FC236}">
                  <a16:creationId xmlns:a16="http://schemas.microsoft.com/office/drawing/2014/main" id="{F3CC0703-4FAA-4CF5-BF29-341DDF37A94E}"/>
                </a:ext>
              </a:extLst>
            </p:cNvPr>
            <p:cNvSpPr/>
            <p:nvPr/>
          </p:nvSpPr>
          <p:spPr>
            <a:xfrm rot="8716295">
              <a:off x="6992966" y="483796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8" name="Forme libre : forme 1007">
              <a:extLst>
                <a:ext uri="{FF2B5EF4-FFF2-40B4-BE49-F238E27FC236}">
                  <a16:creationId xmlns:a16="http://schemas.microsoft.com/office/drawing/2014/main" id="{C3F81C70-85AD-4CF6-A01C-4C0E0F9C52D5}"/>
                </a:ext>
              </a:extLst>
            </p:cNvPr>
            <p:cNvSpPr/>
            <p:nvPr/>
          </p:nvSpPr>
          <p:spPr>
            <a:xfrm rot="8716295">
              <a:off x="7082358" y="486720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9" name="Forme libre : forme 1008">
              <a:extLst>
                <a:ext uri="{FF2B5EF4-FFF2-40B4-BE49-F238E27FC236}">
                  <a16:creationId xmlns:a16="http://schemas.microsoft.com/office/drawing/2014/main" id="{8594D2EF-5DEB-4BF2-8AF7-303476CE0CC5}"/>
                </a:ext>
              </a:extLst>
            </p:cNvPr>
            <p:cNvSpPr/>
            <p:nvPr/>
          </p:nvSpPr>
          <p:spPr>
            <a:xfrm rot="8716295">
              <a:off x="7037508" y="478092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0" name="Forme libre : forme 1009">
              <a:extLst>
                <a:ext uri="{FF2B5EF4-FFF2-40B4-BE49-F238E27FC236}">
                  <a16:creationId xmlns:a16="http://schemas.microsoft.com/office/drawing/2014/main" id="{77E9C412-FDC3-454A-B80E-5D8A9E43C4DA}"/>
                </a:ext>
              </a:extLst>
            </p:cNvPr>
            <p:cNvSpPr/>
            <p:nvPr/>
          </p:nvSpPr>
          <p:spPr>
            <a:xfrm rot="8716295">
              <a:off x="6880732" y="49265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1" name="Forme libre : forme 1010">
              <a:extLst>
                <a:ext uri="{FF2B5EF4-FFF2-40B4-BE49-F238E27FC236}">
                  <a16:creationId xmlns:a16="http://schemas.microsoft.com/office/drawing/2014/main" id="{A5D4AA44-D0FA-491F-BE63-FF8A4B5DD958}"/>
                </a:ext>
              </a:extLst>
            </p:cNvPr>
            <p:cNvSpPr/>
            <p:nvPr/>
          </p:nvSpPr>
          <p:spPr>
            <a:xfrm rot="8716295">
              <a:off x="6755829" y="471783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2" name="Forme libre : forme 1011">
              <a:extLst>
                <a:ext uri="{FF2B5EF4-FFF2-40B4-BE49-F238E27FC236}">
                  <a16:creationId xmlns:a16="http://schemas.microsoft.com/office/drawing/2014/main" id="{EA7B1920-6683-4EDE-8D1A-30EA77A457A9}"/>
                </a:ext>
              </a:extLst>
            </p:cNvPr>
            <p:cNvSpPr/>
            <p:nvPr/>
          </p:nvSpPr>
          <p:spPr>
            <a:xfrm rot="8716295">
              <a:off x="6743777" y="4579051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3" name="Forme libre : forme 1012">
              <a:extLst>
                <a:ext uri="{FF2B5EF4-FFF2-40B4-BE49-F238E27FC236}">
                  <a16:creationId xmlns:a16="http://schemas.microsoft.com/office/drawing/2014/main" id="{0C35C265-9177-4FAD-9F28-2B57935811A6}"/>
                </a:ext>
              </a:extLst>
            </p:cNvPr>
            <p:cNvSpPr/>
            <p:nvPr/>
          </p:nvSpPr>
          <p:spPr>
            <a:xfrm rot="8716295">
              <a:off x="6967304" y="4968128"/>
              <a:ext cx="103435" cy="217167"/>
            </a:xfrm>
            <a:custGeom>
              <a:avLst/>
              <a:gdLst>
                <a:gd name="connsiteX0" fmla="*/ 0 w 103435"/>
                <a:gd name="connsiteY0" fmla="*/ 14397 h 217167"/>
                <a:gd name="connsiteX1" fmla="*/ 0 w 103435"/>
                <a:gd name="connsiteY1" fmla="*/ 271 h 217167"/>
                <a:gd name="connsiteX2" fmla="*/ 12306 w 103435"/>
                <a:gd name="connsiteY2" fmla="*/ 0 h 217167"/>
                <a:gd name="connsiteX3" fmla="*/ 33075 w 103435"/>
                <a:gd name="connsiteY3" fmla="*/ 14397 h 217167"/>
                <a:gd name="connsiteX4" fmla="*/ 103435 w 103435"/>
                <a:gd name="connsiteY4" fmla="*/ 217167 h 217167"/>
                <a:gd name="connsiteX5" fmla="*/ 43288 w 103435"/>
                <a:gd name="connsiteY5" fmla="*/ 159297 h 217167"/>
                <a:gd name="connsiteX6" fmla="*/ 43288 w 103435"/>
                <a:gd name="connsiteY6" fmla="*/ 21477 h 217167"/>
                <a:gd name="connsiteX7" fmla="*/ 103435 w 103435"/>
                <a:gd name="connsiteY7" fmla="*/ 63169 h 217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3435" h="217167">
                  <a:moveTo>
                    <a:pt x="0" y="14397"/>
                  </a:moveTo>
                  <a:lnTo>
                    <a:pt x="0" y="271"/>
                  </a:lnTo>
                  <a:lnTo>
                    <a:pt x="12306" y="0"/>
                  </a:lnTo>
                  <a:lnTo>
                    <a:pt x="33075" y="14397"/>
                  </a:lnTo>
                  <a:close/>
                  <a:moveTo>
                    <a:pt x="103435" y="217167"/>
                  </a:moveTo>
                  <a:lnTo>
                    <a:pt x="43288" y="159297"/>
                  </a:lnTo>
                  <a:lnTo>
                    <a:pt x="43288" y="21477"/>
                  </a:lnTo>
                  <a:lnTo>
                    <a:pt x="103435" y="631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4" name="Forme libre : forme 1013">
              <a:extLst>
                <a:ext uri="{FF2B5EF4-FFF2-40B4-BE49-F238E27FC236}">
                  <a16:creationId xmlns:a16="http://schemas.microsoft.com/office/drawing/2014/main" id="{BD244519-3E70-4BEA-A7E9-6D6329332810}"/>
                </a:ext>
              </a:extLst>
            </p:cNvPr>
            <p:cNvSpPr/>
            <p:nvPr/>
          </p:nvSpPr>
          <p:spPr>
            <a:xfrm rot="8716295">
              <a:off x="7282065" y="458780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5" name="Forme libre : forme 1014">
              <a:extLst>
                <a:ext uri="{FF2B5EF4-FFF2-40B4-BE49-F238E27FC236}">
                  <a16:creationId xmlns:a16="http://schemas.microsoft.com/office/drawing/2014/main" id="{B4585F35-0A90-4165-A27A-19AF98E52F16}"/>
                </a:ext>
              </a:extLst>
            </p:cNvPr>
            <p:cNvSpPr/>
            <p:nvPr/>
          </p:nvSpPr>
          <p:spPr>
            <a:xfrm rot="8716295">
              <a:off x="7371457" y="461705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6" name="Forme libre : forme 1015">
              <a:extLst>
                <a:ext uri="{FF2B5EF4-FFF2-40B4-BE49-F238E27FC236}">
                  <a16:creationId xmlns:a16="http://schemas.microsoft.com/office/drawing/2014/main" id="{037BBBAE-DF3D-45D1-93C9-705EA55906DA}"/>
                </a:ext>
              </a:extLst>
            </p:cNvPr>
            <p:cNvSpPr/>
            <p:nvPr/>
          </p:nvSpPr>
          <p:spPr>
            <a:xfrm rot="8716295">
              <a:off x="7169831" y="467635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7" name="Forme libre : forme 1016">
              <a:extLst>
                <a:ext uri="{FF2B5EF4-FFF2-40B4-BE49-F238E27FC236}">
                  <a16:creationId xmlns:a16="http://schemas.microsoft.com/office/drawing/2014/main" id="{79B12E01-567A-4F11-A8EA-E4D5E5D6D861}"/>
                </a:ext>
              </a:extLst>
            </p:cNvPr>
            <p:cNvSpPr/>
            <p:nvPr/>
          </p:nvSpPr>
          <p:spPr>
            <a:xfrm rot="8716295">
              <a:off x="7044929" y="446767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8" name="Forme libre : forme 1017">
              <a:extLst>
                <a:ext uri="{FF2B5EF4-FFF2-40B4-BE49-F238E27FC236}">
                  <a16:creationId xmlns:a16="http://schemas.microsoft.com/office/drawing/2014/main" id="{FD84A8E2-51AA-4D9A-9373-C01406950A10}"/>
                </a:ext>
              </a:extLst>
            </p:cNvPr>
            <p:cNvSpPr/>
            <p:nvPr/>
          </p:nvSpPr>
          <p:spPr>
            <a:xfrm rot="8716295">
              <a:off x="7260009" y="471730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9" name="Forme libre : forme 1018">
              <a:extLst>
                <a:ext uri="{FF2B5EF4-FFF2-40B4-BE49-F238E27FC236}">
                  <a16:creationId xmlns:a16="http://schemas.microsoft.com/office/drawing/2014/main" id="{BA3A5019-01D7-4AD7-A88B-3385609FFFB0}"/>
                </a:ext>
              </a:extLst>
            </p:cNvPr>
            <p:cNvSpPr/>
            <p:nvPr/>
          </p:nvSpPr>
          <p:spPr>
            <a:xfrm rot="8716295">
              <a:off x="7018558" y="456770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0" name="Forme libre : forme 1019">
              <a:extLst>
                <a:ext uri="{FF2B5EF4-FFF2-40B4-BE49-F238E27FC236}">
                  <a16:creationId xmlns:a16="http://schemas.microsoft.com/office/drawing/2014/main" id="{C76C9B6C-CE3D-4347-A6FC-4F62281A45DE}"/>
                </a:ext>
              </a:extLst>
            </p:cNvPr>
            <p:cNvSpPr/>
            <p:nvPr/>
          </p:nvSpPr>
          <p:spPr>
            <a:xfrm rot="7484129">
              <a:off x="7360806" y="490932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199801 w 203847"/>
                <a:gd name="connsiteY5" fmla="*/ 0 h 195874"/>
                <a:gd name="connsiteX6" fmla="*/ 203847 w 203847"/>
                <a:gd name="connsiteY6" fmla="*/ 5835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199801" y="0"/>
                  </a:lnTo>
                  <a:lnTo>
                    <a:pt x="203847" y="5835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1" name="Forme libre : forme 1020">
              <a:extLst>
                <a:ext uri="{FF2B5EF4-FFF2-40B4-BE49-F238E27FC236}">
                  <a16:creationId xmlns:a16="http://schemas.microsoft.com/office/drawing/2014/main" id="{968CDA2A-BCE6-4E6C-B078-182B2D0CB115}"/>
                </a:ext>
              </a:extLst>
            </p:cNvPr>
            <p:cNvSpPr/>
            <p:nvPr/>
          </p:nvSpPr>
          <p:spPr>
            <a:xfrm rot="13089394">
              <a:off x="7492553" y="4879598"/>
              <a:ext cx="272584" cy="252337"/>
            </a:xfrm>
            <a:custGeom>
              <a:avLst/>
              <a:gdLst>
                <a:gd name="connsiteX0" fmla="*/ 272584 w 272584"/>
                <a:gd name="connsiteY0" fmla="*/ 181545 h 252337"/>
                <a:gd name="connsiteX1" fmla="*/ 91597 w 272584"/>
                <a:gd name="connsiteY1" fmla="*/ 252174 h 252337"/>
                <a:gd name="connsiteX2" fmla="*/ 23727 w 272584"/>
                <a:gd name="connsiteY2" fmla="*/ 224584 h 252337"/>
                <a:gd name="connsiteX3" fmla="*/ 0 w 272584"/>
                <a:gd name="connsiteY3" fmla="*/ 129677 h 252337"/>
                <a:gd name="connsiteX4" fmla="*/ 0 w 272584"/>
                <a:gd name="connsiteY4" fmla="*/ 58093 h 252337"/>
                <a:gd name="connsiteX5" fmla="*/ 73938 w 272584"/>
                <a:gd name="connsiteY5" fmla="*/ 0 h 252337"/>
                <a:gd name="connsiteX6" fmla="*/ 74492 w 272584"/>
                <a:gd name="connsiteY6" fmla="*/ 77257 h 252337"/>
                <a:gd name="connsiteX7" fmla="*/ 87734 w 272584"/>
                <a:gd name="connsiteY7" fmla="*/ 168854 h 252337"/>
                <a:gd name="connsiteX8" fmla="*/ 153949 w 272584"/>
                <a:gd name="connsiteY8" fmla="*/ 205272 h 252337"/>
                <a:gd name="connsiteX9" fmla="*/ 203610 w 272584"/>
                <a:gd name="connsiteY9" fmla="*/ 196443 h 252337"/>
                <a:gd name="connsiteX10" fmla="*/ 271481 w 272584"/>
                <a:gd name="connsiteY10" fmla="*/ 168854 h 252337"/>
                <a:gd name="connsiteX11" fmla="*/ 272584 w 272584"/>
                <a:gd name="connsiteY11" fmla="*/ 176027 h 25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2584" h="252337">
                  <a:moveTo>
                    <a:pt x="272584" y="181545"/>
                  </a:moveTo>
                  <a:cubicBezTo>
                    <a:pt x="214095" y="231758"/>
                    <a:pt x="137395" y="249415"/>
                    <a:pt x="91597" y="252174"/>
                  </a:cubicBezTo>
                  <a:cubicBezTo>
                    <a:pt x="66215" y="253830"/>
                    <a:pt x="41384" y="242793"/>
                    <a:pt x="23727" y="224584"/>
                  </a:cubicBezTo>
                  <a:cubicBezTo>
                    <a:pt x="4966" y="206376"/>
                    <a:pt x="0" y="174923"/>
                    <a:pt x="0" y="129677"/>
                  </a:cubicBezTo>
                  <a:lnTo>
                    <a:pt x="0" y="58093"/>
                  </a:lnTo>
                  <a:lnTo>
                    <a:pt x="73938" y="0"/>
                  </a:lnTo>
                  <a:lnTo>
                    <a:pt x="74492" y="77257"/>
                  </a:lnTo>
                  <a:cubicBezTo>
                    <a:pt x="72836" y="108157"/>
                    <a:pt x="77802" y="139609"/>
                    <a:pt x="87734" y="168854"/>
                  </a:cubicBezTo>
                  <a:cubicBezTo>
                    <a:pt x="96563" y="193132"/>
                    <a:pt x="119186" y="205272"/>
                    <a:pt x="153949" y="205272"/>
                  </a:cubicBezTo>
                  <a:cubicBezTo>
                    <a:pt x="171055" y="204720"/>
                    <a:pt x="187608" y="201409"/>
                    <a:pt x="203610" y="196443"/>
                  </a:cubicBezTo>
                  <a:cubicBezTo>
                    <a:pt x="226785" y="189270"/>
                    <a:pt x="249409" y="179890"/>
                    <a:pt x="271481" y="168854"/>
                  </a:cubicBezTo>
                  <a:cubicBezTo>
                    <a:pt x="272032" y="171061"/>
                    <a:pt x="272584" y="173820"/>
                    <a:pt x="272584" y="17602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2" name="Forme libre : forme 1021">
              <a:extLst>
                <a:ext uri="{FF2B5EF4-FFF2-40B4-BE49-F238E27FC236}">
                  <a16:creationId xmlns:a16="http://schemas.microsoft.com/office/drawing/2014/main" id="{ADB8B43F-E5ED-4756-924C-F5F4F7DBE002}"/>
                </a:ext>
              </a:extLst>
            </p:cNvPr>
            <p:cNvSpPr/>
            <p:nvPr/>
          </p:nvSpPr>
          <p:spPr>
            <a:xfrm rot="8716295">
              <a:off x="7655345" y="468350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3" name="Forme libre : forme 1022">
              <a:extLst>
                <a:ext uri="{FF2B5EF4-FFF2-40B4-BE49-F238E27FC236}">
                  <a16:creationId xmlns:a16="http://schemas.microsoft.com/office/drawing/2014/main" id="{FEE379FB-4155-4B72-A7C1-37CBAC14E821}"/>
                </a:ext>
              </a:extLst>
            </p:cNvPr>
            <p:cNvSpPr/>
            <p:nvPr/>
          </p:nvSpPr>
          <p:spPr>
            <a:xfrm rot="8716295">
              <a:off x="7603540" y="457991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4" name="Forme libre : forme 1023">
              <a:extLst>
                <a:ext uri="{FF2B5EF4-FFF2-40B4-BE49-F238E27FC236}">
                  <a16:creationId xmlns:a16="http://schemas.microsoft.com/office/drawing/2014/main" id="{6003D4A9-3A9F-4CD8-9279-C73BEB73CC6E}"/>
                </a:ext>
              </a:extLst>
            </p:cNvPr>
            <p:cNvSpPr/>
            <p:nvPr/>
          </p:nvSpPr>
          <p:spPr>
            <a:xfrm rot="8716295">
              <a:off x="7360294" y="461013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5" name="Forme libre : forme 1024">
              <a:extLst>
                <a:ext uri="{FF2B5EF4-FFF2-40B4-BE49-F238E27FC236}">
                  <a16:creationId xmlns:a16="http://schemas.microsoft.com/office/drawing/2014/main" id="{AFF9EBE2-B2A3-496B-B841-3E5E6836F7FA}"/>
                </a:ext>
              </a:extLst>
            </p:cNvPr>
            <p:cNvSpPr/>
            <p:nvPr/>
          </p:nvSpPr>
          <p:spPr>
            <a:xfrm rot="8716295">
              <a:off x="7537746" y="445089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6" name="Forme libre : forme 1025">
              <a:extLst>
                <a:ext uri="{FF2B5EF4-FFF2-40B4-BE49-F238E27FC236}">
                  <a16:creationId xmlns:a16="http://schemas.microsoft.com/office/drawing/2014/main" id="{CD875011-73F3-4769-8BC4-991165C05F53}"/>
                </a:ext>
              </a:extLst>
            </p:cNvPr>
            <p:cNvSpPr/>
            <p:nvPr/>
          </p:nvSpPr>
          <p:spPr>
            <a:xfrm rot="8716295">
              <a:off x="6548281" y="351728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7" name="Forme libre : forme 1026">
              <a:extLst>
                <a:ext uri="{FF2B5EF4-FFF2-40B4-BE49-F238E27FC236}">
                  <a16:creationId xmlns:a16="http://schemas.microsoft.com/office/drawing/2014/main" id="{0615D39A-2E64-416D-A795-F3C0FDD2FE87}"/>
                </a:ext>
              </a:extLst>
            </p:cNvPr>
            <p:cNvSpPr/>
            <p:nvPr/>
          </p:nvSpPr>
          <p:spPr>
            <a:xfrm rot="8716295">
              <a:off x="6637673" y="354652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8" name="Forme libre : forme 1027">
              <a:extLst>
                <a:ext uri="{FF2B5EF4-FFF2-40B4-BE49-F238E27FC236}">
                  <a16:creationId xmlns:a16="http://schemas.microsoft.com/office/drawing/2014/main" id="{060FADA5-0D30-41B8-8660-35EDACE6E0AC}"/>
                </a:ext>
              </a:extLst>
            </p:cNvPr>
            <p:cNvSpPr/>
            <p:nvPr/>
          </p:nvSpPr>
          <p:spPr>
            <a:xfrm rot="8716295">
              <a:off x="6592823" y="3460249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9" name="Forme libre : forme 1028">
              <a:extLst>
                <a:ext uri="{FF2B5EF4-FFF2-40B4-BE49-F238E27FC236}">
                  <a16:creationId xmlns:a16="http://schemas.microsoft.com/office/drawing/2014/main" id="{3DD05617-C2D8-48AB-B506-5C707825A77C}"/>
                </a:ext>
              </a:extLst>
            </p:cNvPr>
            <p:cNvSpPr/>
            <p:nvPr/>
          </p:nvSpPr>
          <p:spPr>
            <a:xfrm rot="8716295">
              <a:off x="6436047" y="36058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0" name="Forme libre : forme 1029">
              <a:extLst>
                <a:ext uri="{FF2B5EF4-FFF2-40B4-BE49-F238E27FC236}">
                  <a16:creationId xmlns:a16="http://schemas.microsoft.com/office/drawing/2014/main" id="{026125EF-4515-4513-B863-6BC5A9CD34C8}"/>
                </a:ext>
              </a:extLst>
            </p:cNvPr>
            <p:cNvSpPr/>
            <p:nvPr/>
          </p:nvSpPr>
          <p:spPr>
            <a:xfrm rot="8716295">
              <a:off x="6311144" y="339715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1" name="Forme libre : forme 1030">
              <a:extLst>
                <a:ext uri="{FF2B5EF4-FFF2-40B4-BE49-F238E27FC236}">
                  <a16:creationId xmlns:a16="http://schemas.microsoft.com/office/drawing/2014/main" id="{C0D350EA-C4E6-472F-843B-5DB93BCF6803}"/>
                </a:ext>
              </a:extLst>
            </p:cNvPr>
            <p:cNvSpPr/>
            <p:nvPr/>
          </p:nvSpPr>
          <p:spPr>
            <a:xfrm rot="8716295">
              <a:off x="6299092" y="325837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2" name="Forme libre : forme 1031">
              <a:extLst>
                <a:ext uri="{FF2B5EF4-FFF2-40B4-BE49-F238E27FC236}">
                  <a16:creationId xmlns:a16="http://schemas.microsoft.com/office/drawing/2014/main" id="{06276D8F-369A-4565-8BB4-AD96B8E4E096}"/>
                </a:ext>
              </a:extLst>
            </p:cNvPr>
            <p:cNvSpPr/>
            <p:nvPr/>
          </p:nvSpPr>
          <p:spPr>
            <a:xfrm rot="8716295">
              <a:off x="6526225" y="3646783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3" name="Forme libre : forme 1032">
              <a:extLst>
                <a:ext uri="{FF2B5EF4-FFF2-40B4-BE49-F238E27FC236}">
                  <a16:creationId xmlns:a16="http://schemas.microsoft.com/office/drawing/2014/main" id="{A7CF24B1-51CC-4AB6-89E7-65ED0BB80D36}"/>
                </a:ext>
              </a:extLst>
            </p:cNvPr>
            <p:cNvSpPr/>
            <p:nvPr/>
          </p:nvSpPr>
          <p:spPr>
            <a:xfrm rot="8716295">
              <a:off x="6837380" y="326713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4" name="Forme libre : forme 1033">
              <a:extLst>
                <a:ext uri="{FF2B5EF4-FFF2-40B4-BE49-F238E27FC236}">
                  <a16:creationId xmlns:a16="http://schemas.microsoft.com/office/drawing/2014/main" id="{5142FB3F-C994-4469-A365-E36070ACE548}"/>
                </a:ext>
              </a:extLst>
            </p:cNvPr>
            <p:cNvSpPr/>
            <p:nvPr/>
          </p:nvSpPr>
          <p:spPr>
            <a:xfrm rot="8716295">
              <a:off x="6926772" y="329637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5" name="Forme libre : forme 1034">
              <a:extLst>
                <a:ext uri="{FF2B5EF4-FFF2-40B4-BE49-F238E27FC236}">
                  <a16:creationId xmlns:a16="http://schemas.microsoft.com/office/drawing/2014/main" id="{5CF22B05-C83E-4374-AB2F-AF795A582E04}"/>
                </a:ext>
              </a:extLst>
            </p:cNvPr>
            <p:cNvSpPr/>
            <p:nvPr/>
          </p:nvSpPr>
          <p:spPr>
            <a:xfrm rot="8716295">
              <a:off x="6725146" y="335567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6" name="Forme libre : forme 1035">
              <a:extLst>
                <a:ext uri="{FF2B5EF4-FFF2-40B4-BE49-F238E27FC236}">
                  <a16:creationId xmlns:a16="http://schemas.microsoft.com/office/drawing/2014/main" id="{EFD9D455-CD8C-48E5-9EA7-45DB179447D5}"/>
                </a:ext>
              </a:extLst>
            </p:cNvPr>
            <p:cNvSpPr/>
            <p:nvPr/>
          </p:nvSpPr>
          <p:spPr>
            <a:xfrm rot="8716295">
              <a:off x="6600244" y="314700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7" name="Forme libre : forme 1036">
              <a:extLst>
                <a:ext uri="{FF2B5EF4-FFF2-40B4-BE49-F238E27FC236}">
                  <a16:creationId xmlns:a16="http://schemas.microsoft.com/office/drawing/2014/main" id="{35A86230-3679-4051-8A1E-60A8E79938A2}"/>
                </a:ext>
              </a:extLst>
            </p:cNvPr>
            <p:cNvSpPr/>
            <p:nvPr/>
          </p:nvSpPr>
          <p:spPr>
            <a:xfrm rot="8716295">
              <a:off x="6815324" y="3396631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8" name="Forme libre : forme 1037">
              <a:extLst>
                <a:ext uri="{FF2B5EF4-FFF2-40B4-BE49-F238E27FC236}">
                  <a16:creationId xmlns:a16="http://schemas.microsoft.com/office/drawing/2014/main" id="{C9206E0E-FAAE-4EE0-A8C9-53785CD31A1D}"/>
                </a:ext>
              </a:extLst>
            </p:cNvPr>
            <p:cNvSpPr/>
            <p:nvPr/>
          </p:nvSpPr>
          <p:spPr>
            <a:xfrm rot="8716295">
              <a:off x="6573873" y="324703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9" name="Forme libre : forme 1038">
              <a:extLst>
                <a:ext uri="{FF2B5EF4-FFF2-40B4-BE49-F238E27FC236}">
                  <a16:creationId xmlns:a16="http://schemas.microsoft.com/office/drawing/2014/main" id="{249F3AA5-95A4-45B1-849C-670C08A25C3F}"/>
                </a:ext>
              </a:extLst>
            </p:cNvPr>
            <p:cNvSpPr/>
            <p:nvPr/>
          </p:nvSpPr>
          <p:spPr>
            <a:xfrm rot="7484129">
              <a:off x="6920255" y="358798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0" name="Forme libre : forme 1039">
              <a:extLst>
                <a:ext uri="{FF2B5EF4-FFF2-40B4-BE49-F238E27FC236}">
                  <a16:creationId xmlns:a16="http://schemas.microsoft.com/office/drawing/2014/main" id="{1087B106-1BAC-4BF5-B094-3EE0A3C2971B}"/>
                </a:ext>
              </a:extLst>
            </p:cNvPr>
            <p:cNvSpPr/>
            <p:nvPr/>
          </p:nvSpPr>
          <p:spPr>
            <a:xfrm rot="13089394">
              <a:off x="7025075" y="355451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1" name="Forme libre : forme 1040">
              <a:extLst>
                <a:ext uri="{FF2B5EF4-FFF2-40B4-BE49-F238E27FC236}">
                  <a16:creationId xmlns:a16="http://schemas.microsoft.com/office/drawing/2014/main" id="{C7700747-2F7A-44F2-A882-B7E2217A3398}"/>
                </a:ext>
              </a:extLst>
            </p:cNvPr>
            <p:cNvSpPr/>
            <p:nvPr/>
          </p:nvSpPr>
          <p:spPr>
            <a:xfrm rot="8716295">
              <a:off x="7210660" y="336283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2" name="Forme libre : forme 1041">
              <a:extLst>
                <a:ext uri="{FF2B5EF4-FFF2-40B4-BE49-F238E27FC236}">
                  <a16:creationId xmlns:a16="http://schemas.microsoft.com/office/drawing/2014/main" id="{36A96034-BC43-4282-A4BC-768E81ED9FC4}"/>
                </a:ext>
              </a:extLst>
            </p:cNvPr>
            <p:cNvSpPr/>
            <p:nvPr/>
          </p:nvSpPr>
          <p:spPr>
            <a:xfrm rot="8716295">
              <a:off x="7158855" y="325924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3" name="Forme libre : forme 1042">
              <a:extLst>
                <a:ext uri="{FF2B5EF4-FFF2-40B4-BE49-F238E27FC236}">
                  <a16:creationId xmlns:a16="http://schemas.microsoft.com/office/drawing/2014/main" id="{177D614D-3D8E-4B72-A402-6E4739EFD98F}"/>
                </a:ext>
              </a:extLst>
            </p:cNvPr>
            <p:cNvSpPr/>
            <p:nvPr/>
          </p:nvSpPr>
          <p:spPr>
            <a:xfrm rot="8716295">
              <a:off x="6915609" y="328946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4" name="Forme libre : forme 1043">
              <a:extLst>
                <a:ext uri="{FF2B5EF4-FFF2-40B4-BE49-F238E27FC236}">
                  <a16:creationId xmlns:a16="http://schemas.microsoft.com/office/drawing/2014/main" id="{F17CE4CA-0138-428C-BC4F-6826A011B769}"/>
                </a:ext>
              </a:extLst>
            </p:cNvPr>
            <p:cNvSpPr/>
            <p:nvPr/>
          </p:nvSpPr>
          <p:spPr>
            <a:xfrm rot="8716295">
              <a:off x="7093061" y="313022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5" name="Forme libre : forme 1044">
              <a:extLst>
                <a:ext uri="{FF2B5EF4-FFF2-40B4-BE49-F238E27FC236}">
                  <a16:creationId xmlns:a16="http://schemas.microsoft.com/office/drawing/2014/main" id="{4B720940-ABA3-4C23-81DC-0B6806C0661A}"/>
                </a:ext>
              </a:extLst>
            </p:cNvPr>
            <p:cNvSpPr/>
            <p:nvPr/>
          </p:nvSpPr>
          <p:spPr>
            <a:xfrm rot="8716295">
              <a:off x="6771448" y="417698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6" name="Forme libre : forme 1045">
              <a:extLst>
                <a:ext uri="{FF2B5EF4-FFF2-40B4-BE49-F238E27FC236}">
                  <a16:creationId xmlns:a16="http://schemas.microsoft.com/office/drawing/2014/main" id="{EC0DCD9D-823B-45DB-93A0-478BA4EF5F65}"/>
                </a:ext>
              </a:extLst>
            </p:cNvPr>
            <p:cNvSpPr/>
            <p:nvPr/>
          </p:nvSpPr>
          <p:spPr>
            <a:xfrm rot="8716295">
              <a:off x="6860840" y="420622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7" name="Forme libre : forme 1046">
              <a:extLst>
                <a:ext uri="{FF2B5EF4-FFF2-40B4-BE49-F238E27FC236}">
                  <a16:creationId xmlns:a16="http://schemas.microsoft.com/office/drawing/2014/main" id="{6714C14A-42A3-4158-A04D-39890F5FFDD6}"/>
                </a:ext>
              </a:extLst>
            </p:cNvPr>
            <p:cNvSpPr/>
            <p:nvPr/>
          </p:nvSpPr>
          <p:spPr>
            <a:xfrm rot="8716295">
              <a:off x="6815990" y="4119948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8" name="Forme libre : forme 1047">
              <a:extLst>
                <a:ext uri="{FF2B5EF4-FFF2-40B4-BE49-F238E27FC236}">
                  <a16:creationId xmlns:a16="http://schemas.microsoft.com/office/drawing/2014/main" id="{008B8287-375F-405E-8DE9-E2164C398F81}"/>
                </a:ext>
              </a:extLst>
            </p:cNvPr>
            <p:cNvSpPr/>
            <p:nvPr/>
          </p:nvSpPr>
          <p:spPr>
            <a:xfrm rot="8716295">
              <a:off x="6659214" y="42655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9" name="Forme libre : forme 1048">
              <a:extLst>
                <a:ext uri="{FF2B5EF4-FFF2-40B4-BE49-F238E27FC236}">
                  <a16:creationId xmlns:a16="http://schemas.microsoft.com/office/drawing/2014/main" id="{F04C8B7C-4B10-4B6E-8BA5-DDF0AF373E5C}"/>
                </a:ext>
              </a:extLst>
            </p:cNvPr>
            <p:cNvSpPr/>
            <p:nvPr/>
          </p:nvSpPr>
          <p:spPr>
            <a:xfrm rot="8716295">
              <a:off x="6534311" y="405685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0" name="Forme libre : forme 1049">
              <a:extLst>
                <a:ext uri="{FF2B5EF4-FFF2-40B4-BE49-F238E27FC236}">
                  <a16:creationId xmlns:a16="http://schemas.microsoft.com/office/drawing/2014/main" id="{5F188DCA-0384-43CB-8EBE-CC2C38A75C79}"/>
                </a:ext>
              </a:extLst>
            </p:cNvPr>
            <p:cNvSpPr/>
            <p:nvPr/>
          </p:nvSpPr>
          <p:spPr>
            <a:xfrm rot="8716295">
              <a:off x="6522259" y="3918077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1" name="Forme libre : forme 1050">
              <a:extLst>
                <a:ext uri="{FF2B5EF4-FFF2-40B4-BE49-F238E27FC236}">
                  <a16:creationId xmlns:a16="http://schemas.microsoft.com/office/drawing/2014/main" id="{399AA06D-1BD2-4996-9067-7FE24F4CC47C}"/>
                </a:ext>
              </a:extLst>
            </p:cNvPr>
            <p:cNvSpPr/>
            <p:nvPr/>
          </p:nvSpPr>
          <p:spPr>
            <a:xfrm rot="8716295">
              <a:off x="6749392" y="4306482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2" name="Forme libre : forme 1051">
              <a:extLst>
                <a:ext uri="{FF2B5EF4-FFF2-40B4-BE49-F238E27FC236}">
                  <a16:creationId xmlns:a16="http://schemas.microsoft.com/office/drawing/2014/main" id="{FCA379A2-63C0-43B0-AA38-EDFC8609AAA3}"/>
                </a:ext>
              </a:extLst>
            </p:cNvPr>
            <p:cNvSpPr/>
            <p:nvPr/>
          </p:nvSpPr>
          <p:spPr>
            <a:xfrm rot="8716295">
              <a:off x="7060547" y="392683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3" name="Forme libre : forme 1052">
              <a:extLst>
                <a:ext uri="{FF2B5EF4-FFF2-40B4-BE49-F238E27FC236}">
                  <a16:creationId xmlns:a16="http://schemas.microsoft.com/office/drawing/2014/main" id="{F8817E64-249C-4E98-998C-64B73B74C552}"/>
                </a:ext>
              </a:extLst>
            </p:cNvPr>
            <p:cNvSpPr/>
            <p:nvPr/>
          </p:nvSpPr>
          <p:spPr>
            <a:xfrm rot="8716295">
              <a:off x="7149939" y="395607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4" name="Forme libre : forme 1053">
              <a:extLst>
                <a:ext uri="{FF2B5EF4-FFF2-40B4-BE49-F238E27FC236}">
                  <a16:creationId xmlns:a16="http://schemas.microsoft.com/office/drawing/2014/main" id="{D2A1BAFB-4B8B-4354-AED5-B2DA7C911BD1}"/>
                </a:ext>
              </a:extLst>
            </p:cNvPr>
            <p:cNvSpPr/>
            <p:nvPr/>
          </p:nvSpPr>
          <p:spPr>
            <a:xfrm rot="8716295">
              <a:off x="6948313" y="401537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5" name="Forme libre : forme 1054">
              <a:extLst>
                <a:ext uri="{FF2B5EF4-FFF2-40B4-BE49-F238E27FC236}">
                  <a16:creationId xmlns:a16="http://schemas.microsoft.com/office/drawing/2014/main" id="{2D83A4CC-A29C-4FE2-BA50-FF0D6749F766}"/>
                </a:ext>
              </a:extLst>
            </p:cNvPr>
            <p:cNvSpPr/>
            <p:nvPr/>
          </p:nvSpPr>
          <p:spPr>
            <a:xfrm rot="8716295">
              <a:off x="6823411" y="380670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6" name="Forme libre : forme 1055">
              <a:extLst>
                <a:ext uri="{FF2B5EF4-FFF2-40B4-BE49-F238E27FC236}">
                  <a16:creationId xmlns:a16="http://schemas.microsoft.com/office/drawing/2014/main" id="{4A00E427-6E5D-4D47-9A38-C57E5463133B}"/>
                </a:ext>
              </a:extLst>
            </p:cNvPr>
            <p:cNvSpPr/>
            <p:nvPr/>
          </p:nvSpPr>
          <p:spPr>
            <a:xfrm rot="8716295">
              <a:off x="7038491" y="4056330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7" name="Forme libre : forme 1056">
              <a:extLst>
                <a:ext uri="{FF2B5EF4-FFF2-40B4-BE49-F238E27FC236}">
                  <a16:creationId xmlns:a16="http://schemas.microsoft.com/office/drawing/2014/main" id="{D1E998CB-4164-4F0A-AE45-D5940B3F5B03}"/>
                </a:ext>
              </a:extLst>
            </p:cNvPr>
            <p:cNvSpPr/>
            <p:nvPr/>
          </p:nvSpPr>
          <p:spPr>
            <a:xfrm rot="8716295">
              <a:off x="6797040" y="3906730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8" name="Forme libre : forme 1057">
              <a:extLst>
                <a:ext uri="{FF2B5EF4-FFF2-40B4-BE49-F238E27FC236}">
                  <a16:creationId xmlns:a16="http://schemas.microsoft.com/office/drawing/2014/main" id="{E95D9A03-19D9-41CF-AE73-1CCF51881A6C}"/>
                </a:ext>
              </a:extLst>
            </p:cNvPr>
            <p:cNvSpPr/>
            <p:nvPr/>
          </p:nvSpPr>
          <p:spPr>
            <a:xfrm rot="7484129">
              <a:off x="7143422" y="424768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9" name="Forme libre : forme 1058">
              <a:extLst>
                <a:ext uri="{FF2B5EF4-FFF2-40B4-BE49-F238E27FC236}">
                  <a16:creationId xmlns:a16="http://schemas.microsoft.com/office/drawing/2014/main" id="{16E31431-A176-4757-BB37-61FDFC58B5A0}"/>
                </a:ext>
              </a:extLst>
            </p:cNvPr>
            <p:cNvSpPr/>
            <p:nvPr/>
          </p:nvSpPr>
          <p:spPr>
            <a:xfrm rot="13089394">
              <a:off x="7248242" y="4214215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0" name="Forme libre : forme 1059">
              <a:extLst>
                <a:ext uri="{FF2B5EF4-FFF2-40B4-BE49-F238E27FC236}">
                  <a16:creationId xmlns:a16="http://schemas.microsoft.com/office/drawing/2014/main" id="{0E403317-EDA0-44E5-B8CC-1127CBB20F33}"/>
                </a:ext>
              </a:extLst>
            </p:cNvPr>
            <p:cNvSpPr/>
            <p:nvPr/>
          </p:nvSpPr>
          <p:spPr>
            <a:xfrm rot="8716295">
              <a:off x="7433827" y="4022534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1" name="Forme libre : forme 1060">
              <a:extLst>
                <a:ext uri="{FF2B5EF4-FFF2-40B4-BE49-F238E27FC236}">
                  <a16:creationId xmlns:a16="http://schemas.microsoft.com/office/drawing/2014/main" id="{AB67AE90-EF3D-41EE-9989-687C2404CA33}"/>
                </a:ext>
              </a:extLst>
            </p:cNvPr>
            <p:cNvSpPr/>
            <p:nvPr/>
          </p:nvSpPr>
          <p:spPr>
            <a:xfrm rot="8716295">
              <a:off x="7382022" y="391894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2" name="Forme libre : forme 1061">
              <a:extLst>
                <a:ext uri="{FF2B5EF4-FFF2-40B4-BE49-F238E27FC236}">
                  <a16:creationId xmlns:a16="http://schemas.microsoft.com/office/drawing/2014/main" id="{30ED97EE-1D2B-4407-8DB5-1B4E940C148E}"/>
                </a:ext>
              </a:extLst>
            </p:cNvPr>
            <p:cNvSpPr/>
            <p:nvPr/>
          </p:nvSpPr>
          <p:spPr>
            <a:xfrm rot="8716295">
              <a:off x="7138776" y="394916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3" name="Forme libre : forme 1062">
              <a:extLst>
                <a:ext uri="{FF2B5EF4-FFF2-40B4-BE49-F238E27FC236}">
                  <a16:creationId xmlns:a16="http://schemas.microsoft.com/office/drawing/2014/main" id="{095663CC-60E0-4062-92DC-F23C00E2E6AD}"/>
                </a:ext>
              </a:extLst>
            </p:cNvPr>
            <p:cNvSpPr/>
            <p:nvPr/>
          </p:nvSpPr>
          <p:spPr>
            <a:xfrm rot="8716295">
              <a:off x="7316228" y="378992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4" name="Forme libre : forme 1063">
              <a:extLst>
                <a:ext uri="{FF2B5EF4-FFF2-40B4-BE49-F238E27FC236}">
                  <a16:creationId xmlns:a16="http://schemas.microsoft.com/office/drawing/2014/main" id="{AE6FCD97-9FAA-4459-B8EC-324DA8C84CF3}"/>
                </a:ext>
              </a:extLst>
            </p:cNvPr>
            <p:cNvSpPr/>
            <p:nvPr/>
          </p:nvSpPr>
          <p:spPr>
            <a:xfrm rot="8716295">
              <a:off x="5923122" y="1654505"/>
              <a:ext cx="139422" cy="104157"/>
            </a:xfrm>
            <a:custGeom>
              <a:avLst/>
              <a:gdLst>
                <a:gd name="connsiteX0" fmla="*/ 0 w 139422"/>
                <a:gd name="connsiteY0" fmla="*/ 50123 h 104157"/>
                <a:gd name="connsiteX1" fmla="*/ 0 w 139422"/>
                <a:gd name="connsiteY1" fmla="*/ 0 h 104157"/>
                <a:gd name="connsiteX2" fmla="*/ 85209 w 139422"/>
                <a:gd name="connsiteY2" fmla="*/ 0 h 104157"/>
                <a:gd name="connsiteX3" fmla="*/ 138458 w 139422"/>
                <a:gd name="connsiteY3" fmla="*/ 27874 h 104157"/>
                <a:gd name="connsiteX4" fmla="*/ 139422 w 139422"/>
                <a:gd name="connsiteY4" fmla="*/ 33655 h 104157"/>
                <a:gd name="connsiteX5" fmla="*/ 81108 w 139422"/>
                <a:gd name="connsiteY5" fmla="*/ 104157 h 104157"/>
                <a:gd name="connsiteX6" fmla="*/ 81109 w 139422"/>
                <a:gd name="connsiteY6" fmla="*/ 69717 h 104157"/>
                <a:gd name="connsiteX7" fmla="*/ 81108 w 139422"/>
                <a:gd name="connsiteY7" fmla="*/ 65615 h 104157"/>
                <a:gd name="connsiteX8" fmla="*/ 60604 w 139422"/>
                <a:gd name="connsiteY8" fmla="*/ 50123 h 104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9422" h="104157">
                  <a:moveTo>
                    <a:pt x="0" y="50123"/>
                  </a:moveTo>
                  <a:lnTo>
                    <a:pt x="0" y="0"/>
                  </a:lnTo>
                  <a:lnTo>
                    <a:pt x="85209" y="0"/>
                  </a:lnTo>
                  <a:cubicBezTo>
                    <a:pt x="112891" y="0"/>
                    <a:pt x="131089" y="8971"/>
                    <a:pt x="138458" y="27874"/>
                  </a:cubicBezTo>
                  <a:lnTo>
                    <a:pt x="139422" y="33655"/>
                  </a:lnTo>
                  <a:lnTo>
                    <a:pt x="81108" y="104157"/>
                  </a:lnTo>
                  <a:lnTo>
                    <a:pt x="81109" y="69717"/>
                  </a:lnTo>
                  <a:cubicBezTo>
                    <a:pt x="81108" y="68349"/>
                    <a:pt x="81108" y="66983"/>
                    <a:pt x="81108" y="65615"/>
                  </a:cubicBezTo>
                  <a:cubicBezTo>
                    <a:pt x="79741" y="55591"/>
                    <a:pt x="70628" y="48756"/>
                    <a:pt x="60604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5" name="Forme libre : forme 1064">
              <a:extLst>
                <a:ext uri="{FF2B5EF4-FFF2-40B4-BE49-F238E27FC236}">
                  <a16:creationId xmlns:a16="http://schemas.microsoft.com/office/drawing/2014/main" id="{3E102D85-2676-42AD-ABAD-44897C15C1BF}"/>
                </a:ext>
              </a:extLst>
            </p:cNvPr>
            <p:cNvSpPr/>
            <p:nvPr/>
          </p:nvSpPr>
          <p:spPr>
            <a:xfrm rot="8716295">
              <a:off x="5974318" y="15674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6" name="Forme libre : forme 1065">
              <a:extLst>
                <a:ext uri="{FF2B5EF4-FFF2-40B4-BE49-F238E27FC236}">
                  <a16:creationId xmlns:a16="http://schemas.microsoft.com/office/drawing/2014/main" id="{D500F2F4-E9E6-4CF6-AFD9-43967F4858E6}"/>
                </a:ext>
              </a:extLst>
            </p:cNvPr>
            <p:cNvSpPr/>
            <p:nvPr/>
          </p:nvSpPr>
          <p:spPr>
            <a:xfrm rot="8716295">
              <a:off x="5925344" y="1481103"/>
              <a:ext cx="190923" cy="138066"/>
            </a:xfrm>
            <a:custGeom>
              <a:avLst/>
              <a:gdLst>
                <a:gd name="connsiteX0" fmla="*/ 5923 w 190923"/>
                <a:gd name="connsiteY0" fmla="*/ 138066 h 138066"/>
                <a:gd name="connsiteX1" fmla="*/ 0 w 190923"/>
                <a:gd name="connsiteY1" fmla="*/ 129864 h 138066"/>
                <a:gd name="connsiteX2" fmla="*/ 107993 w 190923"/>
                <a:gd name="connsiteY2" fmla="*/ 28251 h 138066"/>
                <a:gd name="connsiteX3" fmla="*/ 162672 w 190923"/>
                <a:gd name="connsiteY3" fmla="*/ 0 h 138066"/>
                <a:gd name="connsiteX4" fmla="*/ 190923 w 190923"/>
                <a:gd name="connsiteY4" fmla="*/ 33719 h 138066"/>
                <a:gd name="connsiteX5" fmla="*/ 184633 w 190923"/>
                <a:gd name="connsiteY5" fmla="*/ 49986 h 138066"/>
                <a:gd name="connsiteX6" fmla="*/ 176335 w 190923"/>
                <a:gd name="connsiteY6" fmla="*/ 60018 h 138066"/>
                <a:gd name="connsiteX7" fmla="*/ 164495 w 190923"/>
                <a:gd name="connsiteY7" fmla="*/ 69261 h 138066"/>
                <a:gd name="connsiteX8" fmla="*/ 164950 w 190923"/>
                <a:gd name="connsiteY8" fmla="*/ 69261 h 138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0923" h="138066">
                  <a:moveTo>
                    <a:pt x="5923" y="138066"/>
                  </a:moveTo>
                  <a:lnTo>
                    <a:pt x="0" y="129864"/>
                  </a:lnTo>
                  <a:lnTo>
                    <a:pt x="107993" y="28251"/>
                  </a:lnTo>
                  <a:cubicBezTo>
                    <a:pt x="121663" y="12303"/>
                    <a:pt x="141256" y="2279"/>
                    <a:pt x="162672" y="0"/>
                  </a:cubicBezTo>
                  <a:cubicBezTo>
                    <a:pt x="184544" y="0"/>
                    <a:pt x="190923" y="19138"/>
                    <a:pt x="190923" y="33719"/>
                  </a:cubicBezTo>
                  <a:lnTo>
                    <a:pt x="184633" y="49986"/>
                  </a:lnTo>
                  <a:lnTo>
                    <a:pt x="176335" y="60018"/>
                  </a:lnTo>
                  <a:lnTo>
                    <a:pt x="164495" y="69261"/>
                  </a:lnTo>
                  <a:lnTo>
                    <a:pt x="164950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7" name="Forme libre : forme 1066">
              <a:extLst>
                <a:ext uri="{FF2B5EF4-FFF2-40B4-BE49-F238E27FC236}">
                  <a16:creationId xmlns:a16="http://schemas.microsoft.com/office/drawing/2014/main" id="{0F62DC4A-077A-45F5-B182-21AD9369750E}"/>
                </a:ext>
              </a:extLst>
            </p:cNvPr>
            <p:cNvSpPr/>
            <p:nvPr/>
          </p:nvSpPr>
          <p:spPr>
            <a:xfrm rot="8716295">
              <a:off x="5906444" y="1804761"/>
              <a:ext cx="99498" cy="67958"/>
            </a:xfrm>
            <a:custGeom>
              <a:avLst/>
              <a:gdLst>
                <a:gd name="connsiteX0" fmla="*/ 43288 w 99498"/>
                <a:gd name="connsiteY0" fmla="*/ 67958 h 67958"/>
                <a:gd name="connsiteX1" fmla="*/ 43288 w 99498"/>
                <a:gd name="connsiteY1" fmla="*/ 16317 h 67958"/>
                <a:gd name="connsiteX2" fmla="*/ 0 w 99498"/>
                <a:gd name="connsiteY2" fmla="*/ 16317 h 67958"/>
                <a:gd name="connsiteX3" fmla="*/ 0 w 99498"/>
                <a:gd name="connsiteY3" fmla="*/ 2192 h 67958"/>
                <a:gd name="connsiteX4" fmla="*/ 99498 w 99498"/>
                <a:gd name="connsiteY4" fmla="*/ 0 h 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98" h="67958">
                  <a:moveTo>
                    <a:pt x="43288" y="67958"/>
                  </a:moveTo>
                  <a:lnTo>
                    <a:pt x="43288" y="16317"/>
                  </a:lnTo>
                  <a:lnTo>
                    <a:pt x="0" y="16317"/>
                  </a:lnTo>
                  <a:lnTo>
                    <a:pt x="0" y="2192"/>
                  </a:lnTo>
                  <a:lnTo>
                    <a:pt x="9949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8" name="Forme libre : forme 1067">
              <a:extLst>
                <a:ext uri="{FF2B5EF4-FFF2-40B4-BE49-F238E27FC236}">
                  <a16:creationId xmlns:a16="http://schemas.microsoft.com/office/drawing/2014/main" id="{559D0A60-2AFB-4EF8-A10C-4FEC23F97476}"/>
                </a:ext>
              </a:extLst>
            </p:cNvPr>
            <p:cNvSpPr/>
            <p:nvPr/>
          </p:nvSpPr>
          <p:spPr>
            <a:xfrm rot="8716295">
              <a:off x="6174025" y="128806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9" name="Forme libre : forme 1068">
              <a:extLst>
                <a:ext uri="{FF2B5EF4-FFF2-40B4-BE49-F238E27FC236}">
                  <a16:creationId xmlns:a16="http://schemas.microsoft.com/office/drawing/2014/main" id="{73861CC2-64F0-42DB-A7B3-CC13005B7BBD}"/>
                </a:ext>
              </a:extLst>
            </p:cNvPr>
            <p:cNvSpPr/>
            <p:nvPr/>
          </p:nvSpPr>
          <p:spPr>
            <a:xfrm rot="8716295">
              <a:off x="6263417" y="131730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0" name="Forme libre : forme 1069">
              <a:extLst>
                <a:ext uri="{FF2B5EF4-FFF2-40B4-BE49-F238E27FC236}">
                  <a16:creationId xmlns:a16="http://schemas.microsoft.com/office/drawing/2014/main" id="{0D1A1D48-D74E-427F-A329-7E9BE8568EC4}"/>
                </a:ext>
              </a:extLst>
            </p:cNvPr>
            <p:cNvSpPr/>
            <p:nvPr/>
          </p:nvSpPr>
          <p:spPr>
            <a:xfrm rot="8716295">
              <a:off x="6061791" y="137661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1" name="Forme libre : forme 1070">
              <a:extLst>
                <a:ext uri="{FF2B5EF4-FFF2-40B4-BE49-F238E27FC236}">
                  <a16:creationId xmlns:a16="http://schemas.microsoft.com/office/drawing/2014/main" id="{DD8B604F-D83A-432D-A7CC-91D01710CD5A}"/>
                </a:ext>
              </a:extLst>
            </p:cNvPr>
            <p:cNvSpPr/>
            <p:nvPr/>
          </p:nvSpPr>
          <p:spPr>
            <a:xfrm rot="8716295">
              <a:off x="5934512" y="1174677"/>
              <a:ext cx="203847" cy="188381"/>
            </a:xfrm>
            <a:custGeom>
              <a:avLst/>
              <a:gdLst>
                <a:gd name="connsiteX0" fmla="*/ 86683 w 203847"/>
                <a:gd name="connsiteY0" fmla="*/ 188381 h 188381"/>
                <a:gd name="connsiteX1" fmla="*/ 47847 w 203847"/>
                <a:gd name="connsiteY1" fmla="*/ 116128 h 188381"/>
                <a:gd name="connsiteX2" fmla="*/ 69777 w 203847"/>
                <a:gd name="connsiteY2" fmla="*/ 55323 h 188381"/>
                <a:gd name="connsiteX3" fmla="*/ 0 w 203847"/>
                <a:gd name="connsiteY3" fmla="*/ 55323 h 188381"/>
                <a:gd name="connsiteX4" fmla="*/ 0 w 203847"/>
                <a:gd name="connsiteY4" fmla="*/ 0 h 188381"/>
                <a:gd name="connsiteX5" fmla="*/ 203847 w 203847"/>
                <a:gd name="connsiteY5" fmla="*/ 0 h 188381"/>
                <a:gd name="connsiteX6" fmla="*/ 203847 w 203847"/>
                <a:gd name="connsiteY6" fmla="*/ 46726 h 188381"/>
                <a:gd name="connsiteX7" fmla="*/ 196736 w 203847"/>
                <a:gd name="connsiteY7" fmla="*/ 55323 h 188381"/>
                <a:gd name="connsiteX8" fmla="*/ 139055 w 203847"/>
                <a:gd name="connsiteY8" fmla="*/ 55323 h 188381"/>
                <a:gd name="connsiteX9" fmla="*/ 97989 w 203847"/>
                <a:gd name="connsiteY9" fmla="*/ 174711 h 188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847" h="188381">
                  <a:moveTo>
                    <a:pt x="86683" y="188381"/>
                  </a:moveTo>
                  <a:lnTo>
                    <a:pt x="47847" y="116128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46726"/>
                  </a:lnTo>
                  <a:lnTo>
                    <a:pt x="196736" y="55323"/>
                  </a:lnTo>
                  <a:lnTo>
                    <a:pt x="139055" y="55323"/>
                  </a:lnTo>
                  <a:lnTo>
                    <a:pt x="97989" y="1747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2" name="Forme libre : forme 1071">
              <a:extLst>
                <a:ext uri="{FF2B5EF4-FFF2-40B4-BE49-F238E27FC236}">
                  <a16:creationId xmlns:a16="http://schemas.microsoft.com/office/drawing/2014/main" id="{B563983C-B171-4A7B-83F3-23BB992AF6EF}"/>
                </a:ext>
              </a:extLst>
            </p:cNvPr>
            <p:cNvSpPr/>
            <p:nvPr/>
          </p:nvSpPr>
          <p:spPr>
            <a:xfrm rot="8716295">
              <a:off x="6151969" y="141756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3" name="Forme libre : forme 1072">
              <a:extLst>
                <a:ext uri="{FF2B5EF4-FFF2-40B4-BE49-F238E27FC236}">
                  <a16:creationId xmlns:a16="http://schemas.microsoft.com/office/drawing/2014/main" id="{831AE182-FAC7-488F-900A-43002A409545}"/>
                </a:ext>
              </a:extLst>
            </p:cNvPr>
            <p:cNvSpPr/>
            <p:nvPr/>
          </p:nvSpPr>
          <p:spPr>
            <a:xfrm rot="7484129">
              <a:off x="6256900" y="160891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4" name="Forme libre : forme 1073">
              <a:extLst>
                <a:ext uri="{FF2B5EF4-FFF2-40B4-BE49-F238E27FC236}">
                  <a16:creationId xmlns:a16="http://schemas.microsoft.com/office/drawing/2014/main" id="{F6941A0F-F413-40E0-B377-19E50B2069BC}"/>
                </a:ext>
              </a:extLst>
            </p:cNvPr>
            <p:cNvSpPr/>
            <p:nvPr/>
          </p:nvSpPr>
          <p:spPr>
            <a:xfrm rot="13089394">
              <a:off x="6361720" y="1575447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5" name="Forme libre : forme 1074">
              <a:extLst>
                <a:ext uri="{FF2B5EF4-FFF2-40B4-BE49-F238E27FC236}">
                  <a16:creationId xmlns:a16="http://schemas.microsoft.com/office/drawing/2014/main" id="{72C44DD1-DEBE-446A-8992-2DDCAF098F91}"/>
                </a:ext>
              </a:extLst>
            </p:cNvPr>
            <p:cNvSpPr/>
            <p:nvPr/>
          </p:nvSpPr>
          <p:spPr>
            <a:xfrm rot="8716295">
              <a:off x="6547305" y="1383766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6" name="Forme libre : forme 1075">
              <a:extLst>
                <a:ext uri="{FF2B5EF4-FFF2-40B4-BE49-F238E27FC236}">
                  <a16:creationId xmlns:a16="http://schemas.microsoft.com/office/drawing/2014/main" id="{2C8F4F40-3004-4B87-BA24-3390EA6EECD4}"/>
                </a:ext>
              </a:extLst>
            </p:cNvPr>
            <p:cNvSpPr/>
            <p:nvPr/>
          </p:nvSpPr>
          <p:spPr>
            <a:xfrm rot="8716295">
              <a:off x="6495500" y="128017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7" name="Forme libre : forme 1076">
              <a:extLst>
                <a:ext uri="{FF2B5EF4-FFF2-40B4-BE49-F238E27FC236}">
                  <a16:creationId xmlns:a16="http://schemas.microsoft.com/office/drawing/2014/main" id="{719509D2-B221-462F-99BE-1A0215C63C3E}"/>
                </a:ext>
              </a:extLst>
            </p:cNvPr>
            <p:cNvSpPr/>
            <p:nvPr/>
          </p:nvSpPr>
          <p:spPr>
            <a:xfrm rot="8716295">
              <a:off x="6252254" y="131039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8" name="Forme libre : forme 1077">
              <a:extLst>
                <a:ext uri="{FF2B5EF4-FFF2-40B4-BE49-F238E27FC236}">
                  <a16:creationId xmlns:a16="http://schemas.microsoft.com/office/drawing/2014/main" id="{75A12CA5-EDD6-41EF-886B-F85DCFC06CE9}"/>
                </a:ext>
              </a:extLst>
            </p:cNvPr>
            <p:cNvSpPr/>
            <p:nvPr/>
          </p:nvSpPr>
          <p:spPr>
            <a:xfrm rot="8716295">
              <a:off x="6429706" y="115115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9" name="Forme libre : forme 1078">
              <a:extLst>
                <a:ext uri="{FF2B5EF4-FFF2-40B4-BE49-F238E27FC236}">
                  <a16:creationId xmlns:a16="http://schemas.microsoft.com/office/drawing/2014/main" id="{AEA4E9A6-FD47-4377-8599-06FE127731A3}"/>
                </a:ext>
              </a:extLst>
            </p:cNvPr>
            <p:cNvSpPr/>
            <p:nvPr/>
          </p:nvSpPr>
          <p:spPr>
            <a:xfrm rot="8716295">
              <a:off x="5983723" y="1040028"/>
              <a:ext cx="68069" cy="44199"/>
            </a:xfrm>
            <a:custGeom>
              <a:avLst/>
              <a:gdLst>
                <a:gd name="connsiteX0" fmla="*/ 0 w 68069"/>
                <a:gd name="connsiteY0" fmla="*/ 44199 h 44199"/>
                <a:gd name="connsiteX1" fmla="*/ 0 w 68069"/>
                <a:gd name="connsiteY1" fmla="*/ 0 h 44199"/>
                <a:gd name="connsiteX2" fmla="*/ 68069 w 68069"/>
                <a:gd name="connsiteY2" fmla="*/ 0 h 44199"/>
                <a:gd name="connsiteX3" fmla="*/ 31511 w 68069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069" h="44199">
                  <a:moveTo>
                    <a:pt x="0" y="44199"/>
                  </a:moveTo>
                  <a:lnTo>
                    <a:pt x="0" y="0"/>
                  </a:lnTo>
                  <a:lnTo>
                    <a:pt x="68069" y="0"/>
                  </a:lnTo>
                  <a:lnTo>
                    <a:pt x="31511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0" name="Forme libre : forme 1079">
              <a:extLst>
                <a:ext uri="{FF2B5EF4-FFF2-40B4-BE49-F238E27FC236}">
                  <a16:creationId xmlns:a16="http://schemas.microsoft.com/office/drawing/2014/main" id="{E1F987B1-1B94-478B-A58C-711372161096}"/>
                </a:ext>
              </a:extLst>
            </p:cNvPr>
            <p:cNvSpPr/>
            <p:nvPr/>
          </p:nvSpPr>
          <p:spPr>
            <a:xfrm rot="8716295">
              <a:off x="5998891" y="759603"/>
              <a:ext cx="134260" cy="86132"/>
            </a:xfrm>
            <a:custGeom>
              <a:avLst/>
              <a:gdLst>
                <a:gd name="connsiteX0" fmla="*/ 0 w 134260"/>
                <a:gd name="connsiteY0" fmla="*/ 50123 h 86132"/>
                <a:gd name="connsiteX1" fmla="*/ 0 w 134260"/>
                <a:gd name="connsiteY1" fmla="*/ 0 h 86132"/>
                <a:gd name="connsiteX2" fmla="*/ 85209 w 134260"/>
                <a:gd name="connsiteY2" fmla="*/ 0 h 86132"/>
                <a:gd name="connsiteX3" fmla="*/ 127529 w 134260"/>
                <a:gd name="connsiteY3" fmla="*/ 12246 h 86132"/>
                <a:gd name="connsiteX4" fmla="*/ 134260 w 134260"/>
                <a:gd name="connsiteY4" fmla="*/ 21871 h 86132"/>
                <a:gd name="connsiteX5" fmla="*/ 81108 w 134260"/>
                <a:gd name="connsiteY5" fmla="*/ 86132 h 86132"/>
                <a:gd name="connsiteX6" fmla="*/ 81108 w 134260"/>
                <a:gd name="connsiteY6" fmla="*/ 69717 h 86132"/>
                <a:gd name="connsiteX7" fmla="*/ 81108 w 134260"/>
                <a:gd name="connsiteY7" fmla="*/ 65615 h 86132"/>
                <a:gd name="connsiteX8" fmla="*/ 60604 w 134260"/>
                <a:gd name="connsiteY8" fmla="*/ 50123 h 86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4260" h="86132">
                  <a:moveTo>
                    <a:pt x="0" y="50123"/>
                  </a:moveTo>
                  <a:lnTo>
                    <a:pt x="0" y="0"/>
                  </a:lnTo>
                  <a:lnTo>
                    <a:pt x="85209" y="0"/>
                  </a:lnTo>
                  <a:cubicBezTo>
                    <a:pt x="103664" y="0"/>
                    <a:pt x="117903" y="3987"/>
                    <a:pt x="127529" y="12246"/>
                  </a:cubicBezTo>
                  <a:lnTo>
                    <a:pt x="134260" y="21871"/>
                  </a:lnTo>
                  <a:lnTo>
                    <a:pt x="81108" y="86132"/>
                  </a:lnTo>
                  <a:lnTo>
                    <a:pt x="81108" y="69717"/>
                  </a:lnTo>
                  <a:cubicBezTo>
                    <a:pt x="81108" y="68349"/>
                    <a:pt x="81108" y="66983"/>
                    <a:pt x="81108" y="65615"/>
                  </a:cubicBezTo>
                  <a:cubicBezTo>
                    <a:pt x="79741" y="55591"/>
                    <a:pt x="70628" y="48756"/>
                    <a:pt x="60604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1" name="Forme libre : forme 1080">
              <a:extLst>
                <a:ext uri="{FF2B5EF4-FFF2-40B4-BE49-F238E27FC236}">
                  <a16:creationId xmlns:a16="http://schemas.microsoft.com/office/drawing/2014/main" id="{D8733639-E083-48C4-B7AC-143FF95DA4EA}"/>
                </a:ext>
              </a:extLst>
            </p:cNvPr>
            <p:cNvSpPr/>
            <p:nvPr/>
          </p:nvSpPr>
          <p:spPr>
            <a:xfrm rot="8716295">
              <a:off x="6040250" y="65760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2" name="Forme libre : forme 1081">
              <a:extLst>
                <a:ext uri="{FF2B5EF4-FFF2-40B4-BE49-F238E27FC236}">
                  <a16:creationId xmlns:a16="http://schemas.microsoft.com/office/drawing/2014/main" id="{4C5AD67D-6BC4-40A6-B419-E1C6D391B5D2}"/>
                </a:ext>
              </a:extLst>
            </p:cNvPr>
            <p:cNvSpPr/>
            <p:nvPr/>
          </p:nvSpPr>
          <p:spPr>
            <a:xfrm rot="8716295">
              <a:off x="5991248" y="907034"/>
              <a:ext cx="84313" cy="49600"/>
            </a:xfrm>
            <a:custGeom>
              <a:avLst/>
              <a:gdLst>
                <a:gd name="connsiteX0" fmla="*/ 43288 w 84313"/>
                <a:gd name="connsiteY0" fmla="*/ 49600 h 49600"/>
                <a:gd name="connsiteX1" fmla="*/ 43288 w 84313"/>
                <a:gd name="connsiteY1" fmla="*/ 15983 h 49600"/>
                <a:gd name="connsiteX2" fmla="*/ 0 w 84313"/>
                <a:gd name="connsiteY2" fmla="*/ 15983 h 49600"/>
                <a:gd name="connsiteX3" fmla="*/ 0 w 84313"/>
                <a:gd name="connsiteY3" fmla="*/ 1857 h 49600"/>
                <a:gd name="connsiteX4" fmla="*/ 84313 w 84313"/>
                <a:gd name="connsiteY4" fmla="*/ 0 h 49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313" h="49600">
                  <a:moveTo>
                    <a:pt x="43288" y="49600"/>
                  </a:moveTo>
                  <a:lnTo>
                    <a:pt x="43288" y="15983"/>
                  </a:lnTo>
                  <a:lnTo>
                    <a:pt x="0" y="15983"/>
                  </a:lnTo>
                  <a:lnTo>
                    <a:pt x="0" y="1857"/>
                  </a:lnTo>
                  <a:lnTo>
                    <a:pt x="84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3" name="Forme libre : forme 1082">
              <a:extLst>
                <a:ext uri="{FF2B5EF4-FFF2-40B4-BE49-F238E27FC236}">
                  <a16:creationId xmlns:a16="http://schemas.microsoft.com/office/drawing/2014/main" id="{E0507806-EEA4-49D9-A332-F46B9C7122A0}"/>
                </a:ext>
              </a:extLst>
            </p:cNvPr>
            <p:cNvSpPr/>
            <p:nvPr/>
          </p:nvSpPr>
          <p:spPr>
            <a:xfrm rot="7484129">
              <a:off x="6033733" y="94921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4" name="Forme libre : forme 1083">
              <a:extLst>
                <a:ext uri="{FF2B5EF4-FFF2-40B4-BE49-F238E27FC236}">
                  <a16:creationId xmlns:a16="http://schemas.microsoft.com/office/drawing/2014/main" id="{AE139150-F899-47C8-9080-822320C87149}"/>
                </a:ext>
              </a:extLst>
            </p:cNvPr>
            <p:cNvSpPr/>
            <p:nvPr/>
          </p:nvSpPr>
          <p:spPr>
            <a:xfrm rot="13089394">
              <a:off x="6138553" y="915748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5" name="Forme libre : forme 1084">
              <a:extLst>
                <a:ext uri="{FF2B5EF4-FFF2-40B4-BE49-F238E27FC236}">
                  <a16:creationId xmlns:a16="http://schemas.microsoft.com/office/drawing/2014/main" id="{912D0E73-F8A3-4A4B-A726-36495324DCAB}"/>
                </a:ext>
              </a:extLst>
            </p:cNvPr>
            <p:cNvSpPr/>
            <p:nvPr/>
          </p:nvSpPr>
          <p:spPr>
            <a:xfrm rot="8716295">
              <a:off x="6324138" y="724067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6" name="Forme libre : forme 1085">
              <a:extLst>
                <a:ext uri="{FF2B5EF4-FFF2-40B4-BE49-F238E27FC236}">
                  <a16:creationId xmlns:a16="http://schemas.microsoft.com/office/drawing/2014/main" id="{2B4B35EE-0BB5-49CB-8C5B-42A88BD793D8}"/>
                </a:ext>
              </a:extLst>
            </p:cNvPr>
            <p:cNvSpPr/>
            <p:nvPr/>
          </p:nvSpPr>
          <p:spPr>
            <a:xfrm rot="8716295">
              <a:off x="6272333" y="62047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7" name="Forme libre : forme 1086">
              <a:extLst>
                <a:ext uri="{FF2B5EF4-FFF2-40B4-BE49-F238E27FC236}">
                  <a16:creationId xmlns:a16="http://schemas.microsoft.com/office/drawing/2014/main" id="{DD0061FC-B163-4DBC-B8D9-4C423CB17A9E}"/>
                </a:ext>
              </a:extLst>
            </p:cNvPr>
            <p:cNvSpPr/>
            <p:nvPr/>
          </p:nvSpPr>
          <p:spPr>
            <a:xfrm rot="8716295">
              <a:off x="6027863" y="648628"/>
              <a:ext cx="55259" cy="57130"/>
            </a:xfrm>
            <a:custGeom>
              <a:avLst/>
              <a:gdLst>
                <a:gd name="connsiteX0" fmla="*/ 8658 w 55259"/>
                <a:gd name="connsiteY0" fmla="*/ 50123 h 57130"/>
                <a:gd name="connsiteX1" fmla="*/ 0 w 55259"/>
                <a:gd name="connsiteY1" fmla="*/ 29619 h 57130"/>
                <a:gd name="connsiteX2" fmla="*/ 0 w 55259"/>
                <a:gd name="connsiteY2" fmla="*/ 29163 h 57130"/>
                <a:gd name="connsiteX3" fmla="*/ 8658 w 55259"/>
                <a:gd name="connsiteY3" fmla="*/ 8658 h 57130"/>
                <a:gd name="connsiteX4" fmla="*/ 29163 w 55259"/>
                <a:gd name="connsiteY4" fmla="*/ 0 h 57130"/>
                <a:gd name="connsiteX5" fmla="*/ 49668 w 55259"/>
                <a:gd name="connsiteY5" fmla="*/ 8658 h 57130"/>
                <a:gd name="connsiteX6" fmla="*/ 55259 w 55259"/>
                <a:gd name="connsiteY6" fmla="*/ 21964 h 57130"/>
                <a:gd name="connsiteX7" fmla="*/ 26173 w 55259"/>
                <a:gd name="connsiteY7" fmla="*/ 57130 h 57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5259" h="57130">
                  <a:moveTo>
                    <a:pt x="8658" y="50123"/>
                  </a:moveTo>
                  <a:cubicBezTo>
                    <a:pt x="3190" y="44655"/>
                    <a:pt x="0" y="37364"/>
                    <a:pt x="0" y="29619"/>
                  </a:cubicBezTo>
                  <a:lnTo>
                    <a:pt x="0" y="29163"/>
                  </a:lnTo>
                  <a:cubicBezTo>
                    <a:pt x="0" y="21417"/>
                    <a:pt x="3190" y="14126"/>
                    <a:pt x="8658" y="8658"/>
                  </a:cubicBezTo>
                  <a:cubicBezTo>
                    <a:pt x="14126" y="3190"/>
                    <a:pt x="21417" y="0"/>
                    <a:pt x="29163" y="0"/>
                  </a:cubicBezTo>
                  <a:cubicBezTo>
                    <a:pt x="36909" y="0"/>
                    <a:pt x="44200" y="3190"/>
                    <a:pt x="49668" y="8658"/>
                  </a:cubicBezTo>
                  <a:lnTo>
                    <a:pt x="55259" y="21964"/>
                  </a:lnTo>
                  <a:lnTo>
                    <a:pt x="26173" y="5713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8" name="Forme libre : forme 1087">
              <a:extLst>
                <a:ext uri="{FF2B5EF4-FFF2-40B4-BE49-F238E27FC236}">
                  <a16:creationId xmlns:a16="http://schemas.microsoft.com/office/drawing/2014/main" id="{4D8AC7F8-F18B-4BC7-A549-62EC42E18C0E}"/>
                </a:ext>
              </a:extLst>
            </p:cNvPr>
            <p:cNvSpPr/>
            <p:nvPr/>
          </p:nvSpPr>
          <p:spPr>
            <a:xfrm rot="8716295">
              <a:off x="6206539" y="49145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9" name="Forme libre : forme 1088">
              <a:extLst>
                <a:ext uri="{FF2B5EF4-FFF2-40B4-BE49-F238E27FC236}">
                  <a16:creationId xmlns:a16="http://schemas.microsoft.com/office/drawing/2014/main" id="{AB9FAD6E-CA1F-425C-B0AC-99CCAEDDC6ED}"/>
                </a:ext>
              </a:extLst>
            </p:cNvPr>
            <p:cNvSpPr/>
            <p:nvPr/>
          </p:nvSpPr>
          <p:spPr>
            <a:xfrm rot="8716295">
              <a:off x="5990259" y="-43220"/>
              <a:ext cx="78210" cy="235131"/>
            </a:xfrm>
            <a:custGeom>
              <a:avLst/>
              <a:gdLst>
                <a:gd name="connsiteX0" fmla="*/ 0 w 78210"/>
                <a:gd name="connsiteY0" fmla="*/ 44199 h 235131"/>
                <a:gd name="connsiteX1" fmla="*/ 0 w 78210"/>
                <a:gd name="connsiteY1" fmla="*/ 0 h 235131"/>
                <a:gd name="connsiteX2" fmla="*/ 58367 w 78210"/>
                <a:gd name="connsiteY2" fmla="*/ 0 h 235131"/>
                <a:gd name="connsiteX3" fmla="*/ 21809 w 78210"/>
                <a:gd name="connsiteY3" fmla="*/ 44199 h 235131"/>
                <a:gd name="connsiteX4" fmla="*/ 78210 w 78210"/>
                <a:gd name="connsiteY4" fmla="*/ 235131 h 235131"/>
                <a:gd name="connsiteX5" fmla="*/ 64850 w 78210"/>
                <a:gd name="connsiteY5" fmla="*/ 225870 h 235131"/>
                <a:gd name="connsiteX6" fmla="*/ 78210 w 78210"/>
                <a:gd name="connsiteY6" fmla="*/ 235131 h 235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210" h="235131">
                  <a:moveTo>
                    <a:pt x="0" y="44199"/>
                  </a:moveTo>
                  <a:lnTo>
                    <a:pt x="0" y="0"/>
                  </a:lnTo>
                  <a:lnTo>
                    <a:pt x="58367" y="0"/>
                  </a:lnTo>
                  <a:lnTo>
                    <a:pt x="21809" y="44199"/>
                  </a:lnTo>
                  <a:close/>
                  <a:moveTo>
                    <a:pt x="78210" y="235131"/>
                  </a:moveTo>
                  <a:lnTo>
                    <a:pt x="64850" y="225870"/>
                  </a:lnTo>
                  <a:lnTo>
                    <a:pt x="78210" y="2351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0" name="Forme libre : forme 1089">
              <a:extLst>
                <a:ext uri="{FF2B5EF4-FFF2-40B4-BE49-F238E27FC236}">
                  <a16:creationId xmlns:a16="http://schemas.microsoft.com/office/drawing/2014/main" id="{76D9A3BA-A429-46B9-9CE6-D737A95DD8B3}"/>
                </a:ext>
              </a:extLst>
            </p:cNvPr>
            <p:cNvSpPr/>
            <p:nvPr/>
          </p:nvSpPr>
          <p:spPr>
            <a:xfrm rot="13089394">
              <a:off x="5976283" y="269816"/>
              <a:ext cx="215080" cy="308935"/>
            </a:xfrm>
            <a:custGeom>
              <a:avLst/>
              <a:gdLst>
                <a:gd name="connsiteX0" fmla="*/ 215080 w 215080"/>
                <a:gd name="connsiteY0" fmla="*/ 274772 h 308935"/>
                <a:gd name="connsiteX1" fmla="*/ 177331 w 215080"/>
                <a:gd name="connsiteY1" fmla="*/ 291252 h 308935"/>
                <a:gd name="connsiteX2" fmla="*/ 91597 w 215080"/>
                <a:gd name="connsiteY2" fmla="*/ 308772 h 308935"/>
                <a:gd name="connsiteX3" fmla="*/ 23726 w 215080"/>
                <a:gd name="connsiteY3" fmla="*/ 281182 h 308935"/>
                <a:gd name="connsiteX4" fmla="*/ 0 w 215080"/>
                <a:gd name="connsiteY4" fmla="*/ 186274 h 308935"/>
                <a:gd name="connsiteX5" fmla="*/ 0 w 215080"/>
                <a:gd name="connsiteY5" fmla="*/ 17979 h 308935"/>
                <a:gd name="connsiteX6" fmla="*/ 34655 w 215080"/>
                <a:gd name="connsiteY6" fmla="*/ 0 h 308935"/>
                <a:gd name="connsiteX7" fmla="*/ 73961 w 215080"/>
                <a:gd name="connsiteY7" fmla="*/ 59860 h 308935"/>
                <a:gd name="connsiteX8" fmla="*/ 74492 w 215080"/>
                <a:gd name="connsiteY8" fmla="*/ 133855 h 308935"/>
                <a:gd name="connsiteX9" fmla="*/ 87734 w 215080"/>
                <a:gd name="connsiteY9" fmla="*/ 225452 h 308935"/>
                <a:gd name="connsiteX10" fmla="*/ 153949 w 215080"/>
                <a:gd name="connsiteY10" fmla="*/ 261870 h 308935"/>
                <a:gd name="connsiteX11" fmla="*/ 201103 w 215080"/>
                <a:gd name="connsiteY11" fmla="*/ 253487 h 308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5080" h="308935">
                  <a:moveTo>
                    <a:pt x="215080" y="274772"/>
                  </a:moveTo>
                  <a:lnTo>
                    <a:pt x="177331" y="291252"/>
                  </a:lnTo>
                  <a:cubicBezTo>
                    <a:pt x="145121" y="302288"/>
                    <a:pt x="114496" y="307392"/>
                    <a:pt x="91597" y="308772"/>
                  </a:cubicBezTo>
                  <a:cubicBezTo>
                    <a:pt x="66215" y="310427"/>
                    <a:pt x="41384" y="299392"/>
                    <a:pt x="23726" y="281182"/>
                  </a:cubicBezTo>
                  <a:cubicBezTo>
                    <a:pt x="4966" y="262973"/>
                    <a:pt x="0" y="231521"/>
                    <a:pt x="0" y="186274"/>
                  </a:cubicBezTo>
                  <a:lnTo>
                    <a:pt x="0" y="17979"/>
                  </a:lnTo>
                  <a:lnTo>
                    <a:pt x="34655" y="0"/>
                  </a:lnTo>
                  <a:lnTo>
                    <a:pt x="73961" y="59860"/>
                  </a:lnTo>
                  <a:lnTo>
                    <a:pt x="74492" y="133855"/>
                  </a:lnTo>
                  <a:cubicBezTo>
                    <a:pt x="72836" y="164755"/>
                    <a:pt x="77802" y="196207"/>
                    <a:pt x="87734" y="225452"/>
                  </a:cubicBezTo>
                  <a:cubicBezTo>
                    <a:pt x="96564" y="249730"/>
                    <a:pt x="119186" y="261870"/>
                    <a:pt x="153949" y="261870"/>
                  </a:cubicBezTo>
                  <a:lnTo>
                    <a:pt x="201103" y="25348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1" name="Forme libre : forme 1090">
              <a:extLst>
                <a:ext uri="{FF2B5EF4-FFF2-40B4-BE49-F238E27FC236}">
                  <a16:creationId xmlns:a16="http://schemas.microsoft.com/office/drawing/2014/main" id="{4E622CC6-C496-4DCE-9057-BDF9539B95A4}"/>
                </a:ext>
              </a:extLst>
            </p:cNvPr>
            <p:cNvSpPr/>
            <p:nvPr/>
          </p:nvSpPr>
          <p:spPr>
            <a:xfrm rot="8716295">
              <a:off x="6105199" y="6200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2" name="Forme libre : forme 1091">
              <a:extLst>
                <a:ext uri="{FF2B5EF4-FFF2-40B4-BE49-F238E27FC236}">
                  <a16:creationId xmlns:a16="http://schemas.microsoft.com/office/drawing/2014/main" id="{7603AAA1-071D-439F-A511-02E260209FED}"/>
                </a:ext>
              </a:extLst>
            </p:cNvPr>
            <p:cNvSpPr/>
            <p:nvPr/>
          </p:nvSpPr>
          <p:spPr>
            <a:xfrm rot="8716295">
              <a:off x="6072242" y="-8046"/>
              <a:ext cx="93729" cy="73541"/>
            </a:xfrm>
            <a:custGeom>
              <a:avLst/>
              <a:gdLst>
                <a:gd name="connsiteX0" fmla="*/ 0 w 93729"/>
                <a:gd name="connsiteY0" fmla="*/ 39235 h 73541"/>
                <a:gd name="connsiteX1" fmla="*/ 9187 w 93729"/>
                <a:gd name="connsiteY1" fmla="*/ 17477 h 73541"/>
                <a:gd name="connsiteX2" fmla="*/ 50579 w 93729"/>
                <a:gd name="connsiteY2" fmla="*/ 0 h 73541"/>
                <a:gd name="connsiteX3" fmla="*/ 91973 w 93729"/>
                <a:gd name="connsiteY3" fmla="*/ 17477 h 73541"/>
                <a:gd name="connsiteX4" fmla="*/ 93729 w 93729"/>
                <a:gd name="connsiteY4" fmla="*/ 20058 h 73541"/>
                <a:gd name="connsiteX5" fmla="*/ 49492 w 93729"/>
                <a:gd name="connsiteY5" fmla="*/ 73541 h 73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729" h="73541">
                  <a:moveTo>
                    <a:pt x="0" y="39235"/>
                  </a:moveTo>
                  <a:lnTo>
                    <a:pt x="9187" y="17477"/>
                  </a:lnTo>
                  <a:cubicBezTo>
                    <a:pt x="20225" y="6439"/>
                    <a:pt x="34943" y="0"/>
                    <a:pt x="50579" y="0"/>
                  </a:cubicBezTo>
                  <a:cubicBezTo>
                    <a:pt x="66217" y="0"/>
                    <a:pt x="80934" y="6439"/>
                    <a:pt x="91973" y="17477"/>
                  </a:cubicBezTo>
                  <a:lnTo>
                    <a:pt x="93729" y="20058"/>
                  </a:lnTo>
                  <a:lnTo>
                    <a:pt x="49492" y="735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3" name="Forme libre : forme 1092">
              <a:extLst>
                <a:ext uri="{FF2B5EF4-FFF2-40B4-BE49-F238E27FC236}">
                  <a16:creationId xmlns:a16="http://schemas.microsoft.com/office/drawing/2014/main" id="{9C8F8AD8-9BE3-4AFF-9D9E-827181BFFE71}"/>
                </a:ext>
              </a:extLst>
            </p:cNvPr>
            <p:cNvSpPr/>
            <p:nvPr/>
          </p:nvSpPr>
          <p:spPr>
            <a:xfrm rot="8716295">
              <a:off x="7172347" y="237144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4" name="Forme libre : forme 1093">
              <a:extLst>
                <a:ext uri="{FF2B5EF4-FFF2-40B4-BE49-F238E27FC236}">
                  <a16:creationId xmlns:a16="http://schemas.microsoft.com/office/drawing/2014/main" id="{B50EEFFE-50F1-41BD-AC0F-C587493B9502}"/>
                </a:ext>
              </a:extLst>
            </p:cNvPr>
            <p:cNvSpPr/>
            <p:nvPr/>
          </p:nvSpPr>
          <p:spPr>
            <a:xfrm rot="8716295">
              <a:off x="7261739" y="240068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5" name="Forme libre : forme 1094">
              <a:extLst>
                <a:ext uri="{FF2B5EF4-FFF2-40B4-BE49-F238E27FC236}">
                  <a16:creationId xmlns:a16="http://schemas.microsoft.com/office/drawing/2014/main" id="{2580D73F-ABFD-46AB-A8B8-663F26EB77C2}"/>
                </a:ext>
              </a:extLst>
            </p:cNvPr>
            <p:cNvSpPr/>
            <p:nvPr/>
          </p:nvSpPr>
          <p:spPr>
            <a:xfrm rot="8716295">
              <a:off x="7216889" y="2314408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6" name="Forme libre : forme 1095">
              <a:extLst>
                <a:ext uri="{FF2B5EF4-FFF2-40B4-BE49-F238E27FC236}">
                  <a16:creationId xmlns:a16="http://schemas.microsoft.com/office/drawing/2014/main" id="{2C3435C1-11AD-43F5-B057-1EA87D25FBC9}"/>
                </a:ext>
              </a:extLst>
            </p:cNvPr>
            <p:cNvSpPr/>
            <p:nvPr/>
          </p:nvSpPr>
          <p:spPr>
            <a:xfrm rot="8716295">
              <a:off x="7060113" y="245999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7" name="Forme libre : forme 1096">
              <a:extLst>
                <a:ext uri="{FF2B5EF4-FFF2-40B4-BE49-F238E27FC236}">
                  <a16:creationId xmlns:a16="http://schemas.microsoft.com/office/drawing/2014/main" id="{4B47ED33-41DD-4DB3-AD1B-B82A88377D4B}"/>
                </a:ext>
              </a:extLst>
            </p:cNvPr>
            <p:cNvSpPr/>
            <p:nvPr/>
          </p:nvSpPr>
          <p:spPr>
            <a:xfrm rot="8716295">
              <a:off x="6935210" y="225131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8" name="Forme libre : forme 1097">
              <a:extLst>
                <a:ext uri="{FF2B5EF4-FFF2-40B4-BE49-F238E27FC236}">
                  <a16:creationId xmlns:a16="http://schemas.microsoft.com/office/drawing/2014/main" id="{FDADFB27-095D-4A69-842C-AC50F274C2CB}"/>
                </a:ext>
              </a:extLst>
            </p:cNvPr>
            <p:cNvSpPr/>
            <p:nvPr/>
          </p:nvSpPr>
          <p:spPr>
            <a:xfrm rot="8716295">
              <a:off x="6923158" y="2112537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9" name="Forme libre : forme 1098">
              <a:extLst>
                <a:ext uri="{FF2B5EF4-FFF2-40B4-BE49-F238E27FC236}">
                  <a16:creationId xmlns:a16="http://schemas.microsoft.com/office/drawing/2014/main" id="{51728AE9-139E-41E1-8F39-80B1269EE624}"/>
                </a:ext>
              </a:extLst>
            </p:cNvPr>
            <p:cNvSpPr/>
            <p:nvPr/>
          </p:nvSpPr>
          <p:spPr>
            <a:xfrm rot="8716295">
              <a:off x="7150291" y="2500942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0" name="Forme libre : forme 1099">
              <a:extLst>
                <a:ext uri="{FF2B5EF4-FFF2-40B4-BE49-F238E27FC236}">
                  <a16:creationId xmlns:a16="http://schemas.microsoft.com/office/drawing/2014/main" id="{92B4175C-E509-4678-8549-D6B4F8ECF63E}"/>
                </a:ext>
              </a:extLst>
            </p:cNvPr>
            <p:cNvSpPr/>
            <p:nvPr/>
          </p:nvSpPr>
          <p:spPr>
            <a:xfrm rot="8716295">
              <a:off x="7461446" y="212129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1" name="Forme libre : forme 1100">
              <a:extLst>
                <a:ext uri="{FF2B5EF4-FFF2-40B4-BE49-F238E27FC236}">
                  <a16:creationId xmlns:a16="http://schemas.microsoft.com/office/drawing/2014/main" id="{03A48A9F-470F-4E42-AB0D-A2092DAB19E1}"/>
                </a:ext>
              </a:extLst>
            </p:cNvPr>
            <p:cNvSpPr/>
            <p:nvPr/>
          </p:nvSpPr>
          <p:spPr>
            <a:xfrm rot="8716295">
              <a:off x="7550838" y="215053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2" name="Forme libre : forme 1101">
              <a:extLst>
                <a:ext uri="{FF2B5EF4-FFF2-40B4-BE49-F238E27FC236}">
                  <a16:creationId xmlns:a16="http://schemas.microsoft.com/office/drawing/2014/main" id="{D787AC24-D650-46E0-AF17-D8D11DE74854}"/>
                </a:ext>
              </a:extLst>
            </p:cNvPr>
            <p:cNvSpPr/>
            <p:nvPr/>
          </p:nvSpPr>
          <p:spPr>
            <a:xfrm rot="8716295">
              <a:off x="7349212" y="220983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3" name="Forme libre : forme 1102">
              <a:extLst>
                <a:ext uri="{FF2B5EF4-FFF2-40B4-BE49-F238E27FC236}">
                  <a16:creationId xmlns:a16="http://schemas.microsoft.com/office/drawing/2014/main" id="{0FB757C5-F53D-4FA3-95F2-B6B3C4253FFC}"/>
                </a:ext>
              </a:extLst>
            </p:cNvPr>
            <p:cNvSpPr/>
            <p:nvPr/>
          </p:nvSpPr>
          <p:spPr>
            <a:xfrm rot="8716295">
              <a:off x="7224310" y="200116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4" name="Forme libre : forme 1103">
              <a:extLst>
                <a:ext uri="{FF2B5EF4-FFF2-40B4-BE49-F238E27FC236}">
                  <a16:creationId xmlns:a16="http://schemas.microsoft.com/office/drawing/2014/main" id="{BF242107-D725-4B4F-BC78-5EDCA137735E}"/>
                </a:ext>
              </a:extLst>
            </p:cNvPr>
            <p:cNvSpPr/>
            <p:nvPr/>
          </p:nvSpPr>
          <p:spPr>
            <a:xfrm rot="8716295">
              <a:off x="7439390" y="2250790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5" name="Forme libre : forme 1104">
              <a:extLst>
                <a:ext uri="{FF2B5EF4-FFF2-40B4-BE49-F238E27FC236}">
                  <a16:creationId xmlns:a16="http://schemas.microsoft.com/office/drawing/2014/main" id="{3CE12C75-E0FA-48A2-87D6-5CE57DDA0BBD}"/>
                </a:ext>
              </a:extLst>
            </p:cNvPr>
            <p:cNvSpPr/>
            <p:nvPr/>
          </p:nvSpPr>
          <p:spPr>
            <a:xfrm rot="8716295">
              <a:off x="7197939" y="2101190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6" name="Forme libre : forme 1105">
              <a:extLst>
                <a:ext uri="{FF2B5EF4-FFF2-40B4-BE49-F238E27FC236}">
                  <a16:creationId xmlns:a16="http://schemas.microsoft.com/office/drawing/2014/main" id="{B337DB84-252C-4B02-A3DE-B9A85A114904}"/>
                </a:ext>
              </a:extLst>
            </p:cNvPr>
            <p:cNvSpPr/>
            <p:nvPr/>
          </p:nvSpPr>
          <p:spPr>
            <a:xfrm rot="7484129">
              <a:off x="7544321" y="244214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7" name="Forme libre : forme 1106">
              <a:extLst>
                <a:ext uri="{FF2B5EF4-FFF2-40B4-BE49-F238E27FC236}">
                  <a16:creationId xmlns:a16="http://schemas.microsoft.com/office/drawing/2014/main" id="{F19E0C83-77A7-4617-BCA2-22616BECAE12}"/>
                </a:ext>
              </a:extLst>
            </p:cNvPr>
            <p:cNvSpPr/>
            <p:nvPr/>
          </p:nvSpPr>
          <p:spPr>
            <a:xfrm rot="13089394">
              <a:off x="7649141" y="2408675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8" name="Forme libre : forme 1107">
              <a:extLst>
                <a:ext uri="{FF2B5EF4-FFF2-40B4-BE49-F238E27FC236}">
                  <a16:creationId xmlns:a16="http://schemas.microsoft.com/office/drawing/2014/main" id="{F5B45C54-84E0-4739-ADB3-959633174024}"/>
                </a:ext>
              </a:extLst>
            </p:cNvPr>
            <p:cNvSpPr/>
            <p:nvPr/>
          </p:nvSpPr>
          <p:spPr>
            <a:xfrm rot="8716295">
              <a:off x="7834726" y="2216994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9" name="Forme libre : forme 1108">
              <a:extLst>
                <a:ext uri="{FF2B5EF4-FFF2-40B4-BE49-F238E27FC236}">
                  <a16:creationId xmlns:a16="http://schemas.microsoft.com/office/drawing/2014/main" id="{66B27175-8CF2-4D68-B9A3-8660A0B5CD05}"/>
                </a:ext>
              </a:extLst>
            </p:cNvPr>
            <p:cNvSpPr/>
            <p:nvPr/>
          </p:nvSpPr>
          <p:spPr>
            <a:xfrm rot="8716295">
              <a:off x="7782921" y="211340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0" name="Forme libre : forme 1109">
              <a:extLst>
                <a:ext uri="{FF2B5EF4-FFF2-40B4-BE49-F238E27FC236}">
                  <a16:creationId xmlns:a16="http://schemas.microsoft.com/office/drawing/2014/main" id="{8FD17293-97E3-4673-AA7F-84B5B99446CA}"/>
                </a:ext>
              </a:extLst>
            </p:cNvPr>
            <p:cNvSpPr/>
            <p:nvPr/>
          </p:nvSpPr>
          <p:spPr>
            <a:xfrm rot="8716295">
              <a:off x="7539675" y="214362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1" name="Forme libre : forme 1110">
              <a:extLst>
                <a:ext uri="{FF2B5EF4-FFF2-40B4-BE49-F238E27FC236}">
                  <a16:creationId xmlns:a16="http://schemas.microsoft.com/office/drawing/2014/main" id="{C73B72CE-98CF-4B2D-903B-F181C83E80BA}"/>
                </a:ext>
              </a:extLst>
            </p:cNvPr>
            <p:cNvSpPr/>
            <p:nvPr/>
          </p:nvSpPr>
          <p:spPr>
            <a:xfrm rot="8716295">
              <a:off x="7717127" y="198438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2" name="Forme libre : forme 1111">
              <a:extLst>
                <a:ext uri="{FF2B5EF4-FFF2-40B4-BE49-F238E27FC236}">
                  <a16:creationId xmlns:a16="http://schemas.microsoft.com/office/drawing/2014/main" id="{696CB62E-C4B4-4490-8872-413E82440B78}"/>
                </a:ext>
              </a:extLst>
            </p:cNvPr>
            <p:cNvSpPr/>
            <p:nvPr/>
          </p:nvSpPr>
          <p:spPr>
            <a:xfrm rot="8716295">
              <a:off x="7395514" y="303114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3" name="Forme libre : forme 1112">
              <a:extLst>
                <a:ext uri="{FF2B5EF4-FFF2-40B4-BE49-F238E27FC236}">
                  <a16:creationId xmlns:a16="http://schemas.microsoft.com/office/drawing/2014/main" id="{B9248AD5-32BA-4917-BA85-0157D956096A}"/>
                </a:ext>
              </a:extLst>
            </p:cNvPr>
            <p:cNvSpPr/>
            <p:nvPr/>
          </p:nvSpPr>
          <p:spPr>
            <a:xfrm rot="8716295">
              <a:off x="7484906" y="306038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4" name="Forme libre : forme 1113">
              <a:extLst>
                <a:ext uri="{FF2B5EF4-FFF2-40B4-BE49-F238E27FC236}">
                  <a16:creationId xmlns:a16="http://schemas.microsoft.com/office/drawing/2014/main" id="{C01A8DA7-4F44-4FB4-AD68-2519B990D7F2}"/>
                </a:ext>
              </a:extLst>
            </p:cNvPr>
            <p:cNvSpPr/>
            <p:nvPr/>
          </p:nvSpPr>
          <p:spPr>
            <a:xfrm rot="8716295">
              <a:off x="7440056" y="297410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5" name="Forme libre : forme 1114">
              <a:extLst>
                <a:ext uri="{FF2B5EF4-FFF2-40B4-BE49-F238E27FC236}">
                  <a16:creationId xmlns:a16="http://schemas.microsoft.com/office/drawing/2014/main" id="{42D9C24E-2646-42DD-BFA5-E1307CC2B5EC}"/>
                </a:ext>
              </a:extLst>
            </p:cNvPr>
            <p:cNvSpPr/>
            <p:nvPr/>
          </p:nvSpPr>
          <p:spPr>
            <a:xfrm rot="8716295">
              <a:off x="7283280" y="311968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6" name="Forme libre : forme 1115">
              <a:extLst>
                <a:ext uri="{FF2B5EF4-FFF2-40B4-BE49-F238E27FC236}">
                  <a16:creationId xmlns:a16="http://schemas.microsoft.com/office/drawing/2014/main" id="{CFABA53A-4A06-4580-8C61-8286352F9F67}"/>
                </a:ext>
              </a:extLst>
            </p:cNvPr>
            <p:cNvSpPr/>
            <p:nvPr/>
          </p:nvSpPr>
          <p:spPr>
            <a:xfrm rot="8716295">
              <a:off x="7158377" y="291101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7" name="Forme libre : forme 1116">
              <a:extLst>
                <a:ext uri="{FF2B5EF4-FFF2-40B4-BE49-F238E27FC236}">
                  <a16:creationId xmlns:a16="http://schemas.microsoft.com/office/drawing/2014/main" id="{C74B7EC2-6979-4A8A-9284-FAC8E9267907}"/>
                </a:ext>
              </a:extLst>
            </p:cNvPr>
            <p:cNvSpPr/>
            <p:nvPr/>
          </p:nvSpPr>
          <p:spPr>
            <a:xfrm rot="8716295">
              <a:off x="7146325" y="277223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8" name="Forme libre : forme 1117">
              <a:extLst>
                <a:ext uri="{FF2B5EF4-FFF2-40B4-BE49-F238E27FC236}">
                  <a16:creationId xmlns:a16="http://schemas.microsoft.com/office/drawing/2014/main" id="{F8DC9ECB-1E3E-434D-AF3D-8360A2556CE1}"/>
                </a:ext>
              </a:extLst>
            </p:cNvPr>
            <p:cNvSpPr/>
            <p:nvPr/>
          </p:nvSpPr>
          <p:spPr>
            <a:xfrm rot="8716295">
              <a:off x="7373458" y="316064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9" name="Forme libre : forme 1118">
              <a:extLst>
                <a:ext uri="{FF2B5EF4-FFF2-40B4-BE49-F238E27FC236}">
                  <a16:creationId xmlns:a16="http://schemas.microsoft.com/office/drawing/2014/main" id="{51772F42-3F0C-424A-977C-894DBAF1080F}"/>
                </a:ext>
              </a:extLst>
            </p:cNvPr>
            <p:cNvSpPr/>
            <p:nvPr/>
          </p:nvSpPr>
          <p:spPr>
            <a:xfrm rot="8716295">
              <a:off x="7684613" y="278099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0" name="Forme libre : forme 1119">
              <a:extLst>
                <a:ext uri="{FF2B5EF4-FFF2-40B4-BE49-F238E27FC236}">
                  <a16:creationId xmlns:a16="http://schemas.microsoft.com/office/drawing/2014/main" id="{B5CD12DE-C7EB-4EFA-AC20-74C4AE1F7190}"/>
                </a:ext>
              </a:extLst>
            </p:cNvPr>
            <p:cNvSpPr/>
            <p:nvPr/>
          </p:nvSpPr>
          <p:spPr>
            <a:xfrm rot="8716295">
              <a:off x="7774005" y="281023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1" name="Forme libre : forme 1120">
              <a:extLst>
                <a:ext uri="{FF2B5EF4-FFF2-40B4-BE49-F238E27FC236}">
                  <a16:creationId xmlns:a16="http://schemas.microsoft.com/office/drawing/2014/main" id="{D4963745-603E-4027-A61D-8C66F68BBCF1}"/>
                </a:ext>
              </a:extLst>
            </p:cNvPr>
            <p:cNvSpPr/>
            <p:nvPr/>
          </p:nvSpPr>
          <p:spPr>
            <a:xfrm rot="8716295">
              <a:off x="7572379" y="286953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2" name="Forme libre : forme 1121">
              <a:extLst>
                <a:ext uri="{FF2B5EF4-FFF2-40B4-BE49-F238E27FC236}">
                  <a16:creationId xmlns:a16="http://schemas.microsoft.com/office/drawing/2014/main" id="{B2AE503B-34E9-4267-86FA-CBE3FB4412BF}"/>
                </a:ext>
              </a:extLst>
            </p:cNvPr>
            <p:cNvSpPr/>
            <p:nvPr/>
          </p:nvSpPr>
          <p:spPr>
            <a:xfrm rot="8716295">
              <a:off x="7447477" y="266086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3" name="Forme libre : forme 1122">
              <a:extLst>
                <a:ext uri="{FF2B5EF4-FFF2-40B4-BE49-F238E27FC236}">
                  <a16:creationId xmlns:a16="http://schemas.microsoft.com/office/drawing/2014/main" id="{555AB00F-5214-4D5A-B856-0D6CE43A6974}"/>
                </a:ext>
              </a:extLst>
            </p:cNvPr>
            <p:cNvSpPr/>
            <p:nvPr/>
          </p:nvSpPr>
          <p:spPr>
            <a:xfrm rot="8716295">
              <a:off x="7662557" y="291048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4" name="Forme libre : forme 1123">
              <a:extLst>
                <a:ext uri="{FF2B5EF4-FFF2-40B4-BE49-F238E27FC236}">
                  <a16:creationId xmlns:a16="http://schemas.microsoft.com/office/drawing/2014/main" id="{E9EF5FF3-F4BF-4CDD-9607-4DBF4C2F0085}"/>
                </a:ext>
              </a:extLst>
            </p:cNvPr>
            <p:cNvSpPr/>
            <p:nvPr/>
          </p:nvSpPr>
          <p:spPr>
            <a:xfrm rot="8716295">
              <a:off x="7421106" y="276088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5" name="Forme libre : forme 1124">
              <a:extLst>
                <a:ext uri="{FF2B5EF4-FFF2-40B4-BE49-F238E27FC236}">
                  <a16:creationId xmlns:a16="http://schemas.microsoft.com/office/drawing/2014/main" id="{59DF2FDB-C1DD-4AAC-8ED6-A9A2F1015694}"/>
                </a:ext>
              </a:extLst>
            </p:cNvPr>
            <p:cNvSpPr/>
            <p:nvPr/>
          </p:nvSpPr>
          <p:spPr>
            <a:xfrm rot="7484129">
              <a:off x="7767488" y="310184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6" name="Forme libre : forme 1125">
              <a:extLst>
                <a:ext uri="{FF2B5EF4-FFF2-40B4-BE49-F238E27FC236}">
                  <a16:creationId xmlns:a16="http://schemas.microsoft.com/office/drawing/2014/main" id="{4196ADC5-483D-4AAF-B032-555B70BC6EE5}"/>
                </a:ext>
              </a:extLst>
            </p:cNvPr>
            <p:cNvSpPr/>
            <p:nvPr/>
          </p:nvSpPr>
          <p:spPr>
            <a:xfrm rot="13089394">
              <a:off x="7872308" y="306837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7" name="Forme libre : forme 1126">
              <a:extLst>
                <a:ext uri="{FF2B5EF4-FFF2-40B4-BE49-F238E27FC236}">
                  <a16:creationId xmlns:a16="http://schemas.microsoft.com/office/drawing/2014/main" id="{32A56DA8-4C3D-4B7F-A319-4811C6B7AA5C}"/>
                </a:ext>
              </a:extLst>
            </p:cNvPr>
            <p:cNvSpPr/>
            <p:nvPr/>
          </p:nvSpPr>
          <p:spPr>
            <a:xfrm rot="8716295">
              <a:off x="8057893" y="287669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8" name="Forme libre : forme 1127">
              <a:extLst>
                <a:ext uri="{FF2B5EF4-FFF2-40B4-BE49-F238E27FC236}">
                  <a16:creationId xmlns:a16="http://schemas.microsoft.com/office/drawing/2014/main" id="{8E0F1C28-8F77-4966-95BD-C88FCEF83216}"/>
                </a:ext>
              </a:extLst>
            </p:cNvPr>
            <p:cNvSpPr/>
            <p:nvPr/>
          </p:nvSpPr>
          <p:spPr>
            <a:xfrm rot="8716295">
              <a:off x="8006088" y="277310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9" name="Forme libre : forme 1128">
              <a:extLst>
                <a:ext uri="{FF2B5EF4-FFF2-40B4-BE49-F238E27FC236}">
                  <a16:creationId xmlns:a16="http://schemas.microsoft.com/office/drawing/2014/main" id="{E5A4A31B-3B75-496C-9F61-22A820F43FCD}"/>
                </a:ext>
              </a:extLst>
            </p:cNvPr>
            <p:cNvSpPr/>
            <p:nvPr/>
          </p:nvSpPr>
          <p:spPr>
            <a:xfrm rot="8716295">
              <a:off x="7762842" y="280332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0" name="Forme libre : forme 1129">
              <a:extLst>
                <a:ext uri="{FF2B5EF4-FFF2-40B4-BE49-F238E27FC236}">
                  <a16:creationId xmlns:a16="http://schemas.microsoft.com/office/drawing/2014/main" id="{4862B135-8953-4E24-B4C9-59ECE15EAE81}"/>
                </a:ext>
              </a:extLst>
            </p:cNvPr>
            <p:cNvSpPr/>
            <p:nvPr/>
          </p:nvSpPr>
          <p:spPr>
            <a:xfrm rot="8716295">
              <a:off x="7940294" y="264407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1" name="Forme libre : forme 1130">
              <a:extLst>
                <a:ext uri="{FF2B5EF4-FFF2-40B4-BE49-F238E27FC236}">
                  <a16:creationId xmlns:a16="http://schemas.microsoft.com/office/drawing/2014/main" id="{3E405773-6C52-4033-9D2E-C77CD5E36C97}"/>
                </a:ext>
              </a:extLst>
            </p:cNvPr>
            <p:cNvSpPr/>
            <p:nvPr/>
          </p:nvSpPr>
          <p:spPr>
            <a:xfrm rot="8716295">
              <a:off x="8044812" y="5014610"/>
              <a:ext cx="142167" cy="185946"/>
            </a:xfrm>
            <a:custGeom>
              <a:avLst/>
              <a:gdLst>
                <a:gd name="connsiteX0" fmla="*/ 0 w 142167"/>
                <a:gd name="connsiteY0" fmla="*/ 3681 h 185946"/>
                <a:gd name="connsiteX1" fmla="*/ 0 w 142167"/>
                <a:gd name="connsiteY1" fmla="*/ 0 h 185946"/>
                <a:gd name="connsiteX2" fmla="*/ 5311 w 142167"/>
                <a:gd name="connsiteY2" fmla="*/ 3681 h 185946"/>
                <a:gd name="connsiteX3" fmla="*/ 81108 w 142167"/>
                <a:gd name="connsiteY3" fmla="*/ 185946 h 185946"/>
                <a:gd name="connsiteX4" fmla="*/ 81108 w 142167"/>
                <a:gd name="connsiteY4" fmla="*/ 56221 h 185946"/>
                <a:gd name="connsiteX5" fmla="*/ 142167 w 142167"/>
                <a:gd name="connsiteY5" fmla="*/ 98545 h 185946"/>
                <a:gd name="connsiteX6" fmla="*/ 142167 w 142167"/>
                <a:gd name="connsiteY6" fmla="*/ 161796 h 185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167" h="185946">
                  <a:moveTo>
                    <a:pt x="0" y="3681"/>
                  </a:moveTo>
                  <a:lnTo>
                    <a:pt x="0" y="0"/>
                  </a:lnTo>
                  <a:lnTo>
                    <a:pt x="5311" y="3681"/>
                  </a:lnTo>
                  <a:close/>
                  <a:moveTo>
                    <a:pt x="81108" y="185946"/>
                  </a:moveTo>
                  <a:lnTo>
                    <a:pt x="81108" y="56221"/>
                  </a:lnTo>
                  <a:lnTo>
                    <a:pt x="142167" y="98545"/>
                  </a:lnTo>
                  <a:lnTo>
                    <a:pt x="142167" y="1617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2" name="Forme libre : forme 1131">
              <a:extLst>
                <a:ext uri="{FF2B5EF4-FFF2-40B4-BE49-F238E27FC236}">
                  <a16:creationId xmlns:a16="http://schemas.microsoft.com/office/drawing/2014/main" id="{1E88E955-7F03-41E3-9D75-6D519C17C0A9}"/>
                </a:ext>
              </a:extLst>
            </p:cNvPr>
            <p:cNvSpPr/>
            <p:nvPr/>
          </p:nvSpPr>
          <p:spPr>
            <a:xfrm rot="8716295">
              <a:off x="8258973" y="5016779"/>
              <a:ext cx="60148" cy="157919"/>
            </a:xfrm>
            <a:custGeom>
              <a:avLst/>
              <a:gdLst>
                <a:gd name="connsiteX0" fmla="*/ 0 w 60148"/>
                <a:gd name="connsiteY0" fmla="*/ 157919 h 157919"/>
                <a:gd name="connsiteX1" fmla="*/ 0 w 60148"/>
                <a:gd name="connsiteY1" fmla="*/ 0 h 157919"/>
                <a:gd name="connsiteX2" fmla="*/ 60148 w 60148"/>
                <a:gd name="connsiteY2" fmla="*/ 41692 h 157919"/>
                <a:gd name="connsiteX3" fmla="*/ 60148 w 60148"/>
                <a:gd name="connsiteY3" fmla="*/ 116909 h 157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8" h="157919">
                  <a:moveTo>
                    <a:pt x="0" y="157919"/>
                  </a:moveTo>
                  <a:lnTo>
                    <a:pt x="0" y="0"/>
                  </a:lnTo>
                  <a:lnTo>
                    <a:pt x="60148" y="41692"/>
                  </a:lnTo>
                  <a:lnTo>
                    <a:pt x="60148" y="11690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3" name="Forme libre : forme 1132">
              <a:extLst>
                <a:ext uri="{FF2B5EF4-FFF2-40B4-BE49-F238E27FC236}">
                  <a16:creationId xmlns:a16="http://schemas.microsoft.com/office/drawing/2014/main" id="{CA2B8755-B7BC-4A60-A8F4-7FADFD1B1DC2}"/>
                </a:ext>
              </a:extLst>
            </p:cNvPr>
            <p:cNvSpPr/>
            <p:nvPr/>
          </p:nvSpPr>
          <p:spPr>
            <a:xfrm rot="8716295">
              <a:off x="8103411" y="495317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4" name="Forme libre : forme 1133">
              <a:extLst>
                <a:ext uri="{FF2B5EF4-FFF2-40B4-BE49-F238E27FC236}">
                  <a16:creationId xmlns:a16="http://schemas.microsoft.com/office/drawing/2014/main" id="{E1AF4DEC-6ACA-4C7B-B12C-9DCB672B78AA}"/>
                </a:ext>
              </a:extLst>
            </p:cNvPr>
            <p:cNvSpPr/>
            <p:nvPr/>
          </p:nvSpPr>
          <p:spPr>
            <a:xfrm rot="8716295">
              <a:off x="7941579" y="5096694"/>
              <a:ext cx="58211" cy="55513"/>
            </a:xfrm>
            <a:custGeom>
              <a:avLst/>
              <a:gdLst>
                <a:gd name="connsiteX0" fmla="*/ 8658 w 58211"/>
                <a:gd name="connsiteY0" fmla="*/ 47310 h 55513"/>
                <a:gd name="connsiteX1" fmla="*/ 0 w 58211"/>
                <a:gd name="connsiteY1" fmla="*/ 26806 h 55513"/>
                <a:gd name="connsiteX2" fmla="*/ 0 w 58211"/>
                <a:gd name="connsiteY2" fmla="*/ 26349 h 55513"/>
                <a:gd name="connsiteX3" fmla="*/ 8658 w 58211"/>
                <a:gd name="connsiteY3" fmla="*/ 5845 h 55513"/>
                <a:gd name="connsiteX4" fmla="*/ 22501 w 58211"/>
                <a:gd name="connsiteY4" fmla="*/ 0 h 55513"/>
                <a:gd name="connsiteX5" fmla="*/ 57366 w 58211"/>
                <a:gd name="connsiteY5" fmla="*/ 24167 h 55513"/>
                <a:gd name="connsiteX6" fmla="*/ 58211 w 58211"/>
                <a:gd name="connsiteY6" fmla="*/ 26179 h 55513"/>
                <a:gd name="connsiteX7" fmla="*/ 49668 w 58211"/>
                <a:gd name="connsiteY7" fmla="*/ 46855 h 55513"/>
                <a:gd name="connsiteX8" fmla="*/ 29163 w 58211"/>
                <a:gd name="connsiteY8" fmla="*/ 55513 h 55513"/>
                <a:gd name="connsiteX9" fmla="*/ 8658 w 58211"/>
                <a:gd name="connsiteY9" fmla="*/ 47310 h 55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8211" h="55513">
                  <a:moveTo>
                    <a:pt x="8658" y="47310"/>
                  </a:moveTo>
                  <a:cubicBezTo>
                    <a:pt x="3190" y="41843"/>
                    <a:pt x="0" y="34551"/>
                    <a:pt x="0" y="26806"/>
                  </a:cubicBezTo>
                  <a:lnTo>
                    <a:pt x="0" y="26349"/>
                  </a:lnTo>
                  <a:cubicBezTo>
                    <a:pt x="0" y="18604"/>
                    <a:pt x="3190" y="11313"/>
                    <a:pt x="8658" y="5845"/>
                  </a:cubicBezTo>
                  <a:lnTo>
                    <a:pt x="22501" y="0"/>
                  </a:lnTo>
                  <a:lnTo>
                    <a:pt x="57366" y="24167"/>
                  </a:lnTo>
                  <a:lnTo>
                    <a:pt x="58211" y="26179"/>
                  </a:lnTo>
                  <a:cubicBezTo>
                    <a:pt x="58212" y="33641"/>
                    <a:pt x="55364" y="41159"/>
                    <a:pt x="49668" y="46855"/>
                  </a:cubicBezTo>
                  <a:cubicBezTo>
                    <a:pt x="44200" y="52323"/>
                    <a:pt x="36909" y="55512"/>
                    <a:pt x="29163" y="55513"/>
                  </a:cubicBezTo>
                  <a:cubicBezTo>
                    <a:pt x="21416" y="55512"/>
                    <a:pt x="14126" y="52778"/>
                    <a:pt x="8658" y="473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5" name="Forme libre : forme 1134">
              <a:extLst>
                <a:ext uri="{FF2B5EF4-FFF2-40B4-BE49-F238E27FC236}">
                  <a16:creationId xmlns:a16="http://schemas.microsoft.com/office/drawing/2014/main" id="{B8F042BB-C9F6-4157-AE20-FD1AD8D9B197}"/>
                </a:ext>
              </a:extLst>
            </p:cNvPr>
            <p:cNvSpPr/>
            <p:nvPr/>
          </p:nvSpPr>
          <p:spPr>
            <a:xfrm rot="8716295">
              <a:off x="7821732" y="489008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6" name="Forme libre : forme 1135">
              <a:extLst>
                <a:ext uri="{FF2B5EF4-FFF2-40B4-BE49-F238E27FC236}">
                  <a16:creationId xmlns:a16="http://schemas.microsoft.com/office/drawing/2014/main" id="{42560913-1E4E-4677-9E81-A4912B35BE09}"/>
                </a:ext>
              </a:extLst>
            </p:cNvPr>
            <p:cNvSpPr/>
            <p:nvPr/>
          </p:nvSpPr>
          <p:spPr>
            <a:xfrm rot="8716295">
              <a:off x="7809680" y="475130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7" name="Forme libre : forme 1136">
              <a:extLst>
                <a:ext uri="{FF2B5EF4-FFF2-40B4-BE49-F238E27FC236}">
                  <a16:creationId xmlns:a16="http://schemas.microsoft.com/office/drawing/2014/main" id="{7BFA6FDC-5CB7-4DDB-87E8-074ECA1084F2}"/>
                </a:ext>
              </a:extLst>
            </p:cNvPr>
            <p:cNvSpPr/>
            <p:nvPr/>
          </p:nvSpPr>
          <p:spPr>
            <a:xfrm rot="8716295">
              <a:off x="8347968" y="476006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8" name="Forme libre : forme 1137">
              <a:extLst>
                <a:ext uri="{FF2B5EF4-FFF2-40B4-BE49-F238E27FC236}">
                  <a16:creationId xmlns:a16="http://schemas.microsoft.com/office/drawing/2014/main" id="{A72146F5-0FE8-433A-B4E4-A08CDA8CE838}"/>
                </a:ext>
              </a:extLst>
            </p:cNvPr>
            <p:cNvSpPr/>
            <p:nvPr/>
          </p:nvSpPr>
          <p:spPr>
            <a:xfrm rot="8716295">
              <a:off x="8437360" y="478930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9" name="Forme libre : forme 1138">
              <a:extLst>
                <a:ext uri="{FF2B5EF4-FFF2-40B4-BE49-F238E27FC236}">
                  <a16:creationId xmlns:a16="http://schemas.microsoft.com/office/drawing/2014/main" id="{B0815185-98D4-4C05-A864-471788D20585}"/>
                </a:ext>
              </a:extLst>
            </p:cNvPr>
            <p:cNvSpPr/>
            <p:nvPr/>
          </p:nvSpPr>
          <p:spPr>
            <a:xfrm rot="8716295">
              <a:off x="8235734" y="484860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0" name="Forme libre : forme 1139">
              <a:extLst>
                <a:ext uri="{FF2B5EF4-FFF2-40B4-BE49-F238E27FC236}">
                  <a16:creationId xmlns:a16="http://schemas.microsoft.com/office/drawing/2014/main" id="{ADDDCEE7-B6A9-4A01-8C1B-1A7C3E608705}"/>
                </a:ext>
              </a:extLst>
            </p:cNvPr>
            <p:cNvSpPr/>
            <p:nvPr/>
          </p:nvSpPr>
          <p:spPr>
            <a:xfrm rot="8716295">
              <a:off x="8110832" y="463993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1" name="Forme libre : forme 1140">
              <a:extLst>
                <a:ext uri="{FF2B5EF4-FFF2-40B4-BE49-F238E27FC236}">
                  <a16:creationId xmlns:a16="http://schemas.microsoft.com/office/drawing/2014/main" id="{286D2BD3-550D-4955-8EE3-067F78BD5B31}"/>
                </a:ext>
              </a:extLst>
            </p:cNvPr>
            <p:cNvSpPr/>
            <p:nvPr/>
          </p:nvSpPr>
          <p:spPr>
            <a:xfrm rot="8716295">
              <a:off x="8325912" y="488955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2" name="Forme libre : forme 1141">
              <a:extLst>
                <a:ext uri="{FF2B5EF4-FFF2-40B4-BE49-F238E27FC236}">
                  <a16:creationId xmlns:a16="http://schemas.microsoft.com/office/drawing/2014/main" id="{74F489EB-7AD1-4764-88E8-EF5930816B76}"/>
                </a:ext>
              </a:extLst>
            </p:cNvPr>
            <p:cNvSpPr/>
            <p:nvPr/>
          </p:nvSpPr>
          <p:spPr>
            <a:xfrm rot="8716295">
              <a:off x="8084461" y="473995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3" name="Forme libre : forme 1142">
              <a:extLst>
                <a:ext uri="{FF2B5EF4-FFF2-40B4-BE49-F238E27FC236}">
                  <a16:creationId xmlns:a16="http://schemas.microsoft.com/office/drawing/2014/main" id="{848DCC45-C596-44D7-A17C-7DD4A4668DE6}"/>
                </a:ext>
              </a:extLst>
            </p:cNvPr>
            <p:cNvSpPr/>
            <p:nvPr/>
          </p:nvSpPr>
          <p:spPr>
            <a:xfrm rot="7484129">
              <a:off x="8500513" y="5042942"/>
              <a:ext cx="102412" cy="181729"/>
            </a:xfrm>
            <a:custGeom>
              <a:avLst/>
              <a:gdLst>
                <a:gd name="connsiteX0" fmla="*/ 0 w 102412"/>
                <a:gd name="connsiteY0" fmla="*/ 41179 h 181729"/>
                <a:gd name="connsiteX1" fmla="*/ 0 w 102412"/>
                <a:gd name="connsiteY1" fmla="*/ 0 h 181729"/>
                <a:gd name="connsiteX2" fmla="*/ 28551 w 102412"/>
                <a:gd name="connsiteY2" fmla="*/ 41179 h 181729"/>
                <a:gd name="connsiteX3" fmla="*/ 90709 w 102412"/>
                <a:gd name="connsiteY3" fmla="*/ 181729 h 181729"/>
                <a:gd name="connsiteX4" fmla="*/ 47847 w 102412"/>
                <a:gd name="connsiteY4" fmla="*/ 101985 h 181729"/>
                <a:gd name="connsiteX5" fmla="*/ 55670 w 102412"/>
                <a:gd name="connsiteY5" fmla="*/ 80292 h 181729"/>
                <a:gd name="connsiteX6" fmla="*/ 102412 w 102412"/>
                <a:gd name="connsiteY6" fmla="*/ 147707 h 181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2412" h="181729">
                  <a:moveTo>
                    <a:pt x="0" y="41179"/>
                  </a:moveTo>
                  <a:lnTo>
                    <a:pt x="0" y="0"/>
                  </a:lnTo>
                  <a:lnTo>
                    <a:pt x="28551" y="41179"/>
                  </a:lnTo>
                  <a:close/>
                  <a:moveTo>
                    <a:pt x="90709" y="181729"/>
                  </a:moveTo>
                  <a:lnTo>
                    <a:pt x="47847" y="101985"/>
                  </a:lnTo>
                  <a:lnTo>
                    <a:pt x="55670" y="80292"/>
                  </a:lnTo>
                  <a:lnTo>
                    <a:pt x="102412" y="14770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4" name="Forme libre : forme 1143">
              <a:extLst>
                <a:ext uri="{FF2B5EF4-FFF2-40B4-BE49-F238E27FC236}">
                  <a16:creationId xmlns:a16="http://schemas.microsoft.com/office/drawing/2014/main" id="{7A947FA2-4A2A-44E5-9A4C-F2720B1B3F87}"/>
                </a:ext>
              </a:extLst>
            </p:cNvPr>
            <p:cNvSpPr/>
            <p:nvPr/>
          </p:nvSpPr>
          <p:spPr>
            <a:xfrm rot="13089394">
              <a:off x="8615617" y="5055433"/>
              <a:ext cx="225779" cy="83483"/>
            </a:xfrm>
            <a:custGeom>
              <a:avLst/>
              <a:gdLst>
                <a:gd name="connsiteX0" fmla="*/ 225779 w 225779"/>
                <a:gd name="connsiteY0" fmla="*/ 12691 h 83483"/>
                <a:gd name="connsiteX1" fmla="*/ 44792 w 225779"/>
                <a:gd name="connsiteY1" fmla="*/ 83320 h 83483"/>
                <a:gd name="connsiteX2" fmla="*/ 7960 w 225779"/>
                <a:gd name="connsiteY2" fmla="*/ 76974 h 83483"/>
                <a:gd name="connsiteX3" fmla="*/ 0 w 225779"/>
                <a:gd name="connsiteY3" fmla="*/ 71526 h 83483"/>
                <a:gd name="connsiteX4" fmla="*/ 70403 w 225779"/>
                <a:gd name="connsiteY4" fmla="*/ 16211 h 83483"/>
                <a:gd name="connsiteX5" fmla="*/ 107144 w 225779"/>
                <a:gd name="connsiteY5" fmla="*/ 36418 h 83483"/>
                <a:gd name="connsiteX6" fmla="*/ 156805 w 225779"/>
                <a:gd name="connsiteY6" fmla="*/ 27589 h 83483"/>
                <a:gd name="connsiteX7" fmla="*/ 224676 w 225779"/>
                <a:gd name="connsiteY7" fmla="*/ 0 h 83483"/>
                <a:gd name="connsiteX8" fmla="*/ 225779 w 225779"/>
                <a:gd name="connsiteY8" fmla="*/ 7173 h 83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5779" h="83483">
                  <a:moveTo>
                    <a:pt x="225779" y="12691"/>
                  </a:moveTo>
                  <a:cubicBezTo>
                    <a:pt x="167290" y="62904"/>
                    <a:pt x="90590" y="80561"/>
                    <a:pt x="44792" y="83320"/>
                  </a:cubicBezTo>
                  <a:cubicBezTo>
                    <a:pt x="32101" y="84147"/>
                    <a:pt x="19548" y="81802"/>
                    <a:pt x="7960" y="76974"/>
                  </a:cubicBezTo>
                  <a:lnTo>
                    <a:pt x="0" y="71526"/>
                  </a:lnTo>
                  <a:lnTo>
                    <a:pt x="70403" y="16211"/>
                  </a:lnTo>
                  <a:lnTo>
                    <a:pt x="107144" y="36418"/>
                  </a:lnTo>
                  <a:cubicBezTo>
                    <a:pt x="124250" y="35866"/>
                    <a:pt x="140803" y="32555"/>
                    <a:pt x="156805" y="27589"/>
                  </a:cubicBezTo>
                  <a:cubicBezTo>
                    <a:pt x="179981" y="20416"/>
                    <a:pt x="202604" y="11036"/>
                    <a:pt x="224676" y="0"/>
                  </a:cubicBezTo>
                  <a:cubicBezTo>
                    <a:pt x="225227" y="2207"/>
                    <a:pt x="225779" y="4965"/>
                    <a:pt x="225779" y="71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5" name="Forme libre : forme 1144">
              <a:extLst>
                <a:ext uri="{FF2B5EF4-FFF2-40B4-BE49-F238E27FC236}">
                  <a16:creationId xmlns:a16="http://schemas.microsoft.com/office/drawing/2014/main" id="{39ED4F39-D158-4423-B25C-BC478768EA1A}"/>
                </a:ext>
              </a:extLst>
            </p:cNvPr>
            <p:cNvSpPr/>
            <p:nvPr/>
          </p:nvSpPr>
          <p:spPr>
            <a:xfrm rot="8716295">
              <a:off x="8721248" y="485576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6" name="Forme libre : forme 1145">
              <a:extLst>
                <a:ext uri="{FF2B5EF4-FFF2-40B4-BE49-F238E27FC236}">
                  <a16:creationId xmlns:a16="http://schemas.microsoft.com/office/drawing/2014/main" id="{1CB5F890-4E11-48EA-BB42-A7836BF6E61A}"/>
                </a:ext>
              </a:extLst>
            </p:cNvPr>
            <p:cNvSpPr/>
            <p:nvPr/>
          </p:nvSpPr>
          <p:spPr>
            <a:xfrm rot="8716295">
              <a:off x="8669443" y="475216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7" name="Forme libre : forme 1146">
              <a:extLst>
                <a:ext uri="{FF2B5EF4-FFF2-40B4-BE49-F238E27FC236}">
                  <a16:creationId xmlns:a16="http://schemas.microsoft.com/office/drawing/2014/main" id="{2FE11692-ECC8-46EB-8FDE-A35EDA11A744}"/>
                </a:ext>
              </a:extLst>
            </p:cNvPr>
            <p:cNvSpPr/>
            <p:nvPr/>
          </p:nvSpPr>
          <p:spPr>
            <a:xfrm rot="8716295">
              <a:off x="8426197" y="478239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8" name="Forme libre : forme 1147">
              <a:extLst>
                <a:ext uri="{FF2B5EF4-FFF2-40B4-BE49-F238E27FC236}">
                  <a16:creationId xmlns:a16="http://schemas.microsoft.com/office/drawing/2014/main" id="{DA75CED1-0CC6-4289-861E-A817A7D7FDCB}"/>
                </a:ext>
              </a:extLst>
            </p:cNvPr>
            <p:cNvSpPr/>
            <p:nvPr/>
          </p:nvSpPr>
          <p:spPr>
            <a:xfrm rot="8716295">
              <a:off x="8603649" y="462314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9" name="Forme libre : forme 1148">
              <a:extLst>
                <a:ext uri="{FF2B5EF4-FFF2-40B4-BE49-F238E27FC236}">
                  <a16:creationId xmlns:a16="http://schemas.microsoft.com/office/drawing/2014/main" id="{E3DA200A-0DBF-467B-A809-7E259C003918}"/>
                </a:ext>
              </a:extLst>
            </p:cNvPr>
            <p:cNvSpPr/>
            <p:nvPr/>
          </p:nvSpPr>
          <p:spPr>
            <a:xfrm rot="8716295">
              <a:off x="7614184" y="368954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0" name="Forme libre : forme 1149">
              <a:extLst>
                <a:ext uri="{FF2B5EF4-FFF2-40B4-BE49-F238E27FC236}">
                  <a16:creationId xmlns:a16="http://schemas.microsoft.com/office/drawing/2014/main" id="{9D92A201-A401-4BB8-B0E2-C72AA1A3DC87}"/>
                </a:ext>
              </a:extLst>
            </p:cNvPr>
            <p:cNvSpPr/>
            <p:nvPr/>
          </p:nvSpPr>
          <p:spPr>
            <a:xfrm rot="8716295">
              <a:off x="7703576" y="371878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1" name="Forme libre : forme 1150">
              <a:extLst>
                <a:ext uri="{FF2B5EF4-FFF2-40B4-BE49-F238E27FC236}">
                  <a16:creationId xmlns:a16="http://schemas.microsoft.com/office/drawing/2014/main" id="{79DA82A8-A0CA-4B4F-BBBB-315766D51523}"/>
                </a:ext>
              </a:extLst>
            </p:cNvPr>
            <p:cNvSpPr/>
            <p:nvPr/>
          </p:nvSpPr>
          <p:spPr>
            <a:xfrm rot="8716295">
              <a:off x="7658726" y="363250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2" name="Forme libre : forme 1151">
              <a:extLst>
                <a:ext uri="{FF2B5EF4-FFF2-40B4-BE49-F238E27FC236}">
                  <a16:creationId xmlns:a16="http://schemas.microsoft.com/office/drawing/2014/main" id="{8B5996A9-C87F-4F13-AF9E-E2187D14CB27}"/>
                </a:ext>
              </a:extLst>
            </p:cNvPr>
            <p:cNvSpPr/>
            <p:nvPr/>
          </p:nvSpPr>
          <p:spPr>
            <a:xfrm rot="8716295">
              <a:off x="7501950" y="377808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3" name="Forme libre : forme 1152">
              <a:extLst>
                <a:ext uri="{FF2B5EF4-FFF2-40B4-BE49-F238E27FC236}">
                  <a16:creationId xmlns:a16="http://schemas.microsoft.com/office/drawing/2014/main" id="{9D90D6A8-2DAB-4C1A-9D9D-7615E3303858}"/>
                </a:ext>
              </a:extLst>
            </p:cNvPr>
            <p:cNvSpPr/>
            <p:nvPr/>
          </p:nvSpPr>
          <p:spPr>
            <a:xfrm rot="8716295">
              <a:off x="7377047" y="356941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4" name="Forme libre : forme 1153">
              <a:extLst>
                <a:ext uri="{FF2B5EF4-FFF2-40B4-BE49-F238E27FC236}">
                  <a16:creationId xmlns:a16="http://schemas.microsoft.com/office/drawing/2014/main" id="{49FBE6DC-FE15-41E4-B5B4-10D7B4864EFF}"/>
                </a:ext>
              </a:extLst>
            </p:cNvPr>
            <p:cNvSpPr/>
            <p:nvPr/>
          </p:nvSpPr>
          <p:spPr>
            <a:xfrm rot="8716295">
              <a:off x="7364995" y="343063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5" name="Forme libre : forme 1154">
              <a:extLst>
                <a:ext uri="{FF2B5EF4-FFF2-40B4-BE49-F238E27FC236}">
                  <a16:creationId xmlns:a16="http://schemas.microsoft.com/office/drawing/2014/main" id="{7D94CD64-B4CB-4A42-A476-CA0C3DFEE258}"/>
                </a:ext>
              </a:extLst>
            </p:cNvPr>
            <p:cNvSpPr/>
            <p:nvPr/>
          </p:nvSpPr>
          <p:spPr>
            <a:xfrm rot="8716295">
              <a:off x="7592128" y="381903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6" name="Forme libre : forme 1155">
              <a:extLst>
                <a:ext uri="{FF2B5EF4-FFF2-40B4-BE49-F238E27FC236}">
                  <a16:creationId xmlns:a16="http://schemas.microsoft.com/office/drawing/2014/main" id="{E15F6D57-42A0-4212-B322-938D731726CE}"/>
                </a:ext>
              </a:extLst>
            </p:cNvPr>
            <p:cNvSpPr/>
            <p:nvPr/>
          </p:nvSpPr>
          <p:spPr>
            <a:xfrm rot="8716295">
              <a:off x="7903283" y="343938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7" name="Forme libre : forme 1156">
              <a:extLst>
                <a:ext uri="{FF2B5EF4-FFF2-40B4-BE49-F238E27FC236}">
                  <a16:creationId xmlns:a16="http://schemas.microsoft.com/office/drawing/2014/main" id="{0096F62B-549C-4459-9305-3A442F92B5A1}"/>
                </a:ext>
              </a:extLst>
            </p:cNvPr>
            <p:cNvSpPr/>
            <p:nvPr/>
          </p:nvSpPr>
          <p:spPr>
            <a:xfrm rot="8716295">
              <a:off x="7992675" y="346863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8" name="Forme libre : forme 1157">
              <a:extLst>
                <a:ext uri="{FF2B5EF4-FFF2-40B4-BE49-F238E27FC236}">
                  <a16:creationId xmlns:a16="http://schemas.microsoft.com/office/drawing/2014/main" id="{3DE0E646-3932-4C85-B367-D7385C416577}"/>
                </a:ext>
              </a:extLst>
            </p:cNvPr>
            <p:cNvSpPr/>
            <p:nvPr/>
          </p:nvSpPr>
          <p:spPr>
            <a:xfrm rot="8716295">
              <a:off x="7791049" y="352793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9" name="Forme libre : forme 1158">
              <a:extLst>
                <a:ext uri="{FF2B5EF4-FFF2-40B4-BE49-F238E27FC236}">
                  <a16:creationId xmlns:a16="http://schemas.microsoft.com/office/drawing/2014/main" id="{340EEC8A-A514-4289-B2AE-301D73A339EB}"/>
                </a:ext>
              </a:extLst>
            </p:cNvPr>
            <p:cNvSpPr/>
            <p:nvPr/>
          </p:nvSpPr>
          <p:spPr>
            <a:xfrm rot="8716295">
              <a:off x="7666147" y="331926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0" name="Forme libre : forme 1159">
              <a:extLst>
                <a:ext uri="{FF2B5EF4-FFF2-40B4-BE49-F238E27FC236}">
                  <a16:creationId xmlns:a16="http://schemas.microsoft.com/office/drawing/2014/main" id="{BBF08D7F-AB50-4F5F-92DC-B2A874D297A9}"/>
                </a:ext>
              </a:extLst>
            </p:cNvPr>
            <p:cNvSpPr/>
            <p:nvPr/>
          </p:nvSpPr>
          <p:spPr>
            <a:xfrm rot="8716295">
              <a:off x="7881227" y="356888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1" name="Forme libre : forme 1160">
              <a:extLst>
                <a:ext uri="{FF2B5EF4-FFF2-40B4-BE49-F238E27FC236}">
                  <a16:creationId xmlns:a16="http://schemas.microsoft.com/office/drawing/2014/main" id="{AF11B51D-4A34-4A10-8CC2-9BAFA07FF6D7}"/>
                </a:ext>
              </a:extLst>
            </p:cNvPr>
            <p:cNvSpPr/>
            <p:nvPr/>
          </p:nvSpPr>
          <p:spPr>
            <a:xfrm rot="8716295">
              <a:off x="7639776" y="341928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2" name="Forme libre : forme 1161">
              <a:extLst>
                <a:ext uri="{FF2B5EF4-FFF2-40B4-BE49-F238E27FC236}">
                  <a16:creationId xmlns:a16="http://schemas.microsoft.com/office/drawing/2014/main" id="{19A2DF71-5EF9-42D2-9E22-9A592E16CE1F}"/>
                </a:ext>
              </a:extLst>
            </p:cNvPr>
            <p:cNvSpPr/>
            <p:nvPr/>
          </p:nvSpPr>
          <p:spPr>
            <a:xfrm rot="7484129">
              <a:off x="7986158" y="376023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3" name="Forme libre : forme 1162">
              <a:extLst>
                <a:ext uri="{FF2B5EF4-FFF2-40B4-BE49-F238E27FC236}">
                  <a16:creationId xmlns:a16="http://schemas.microsoft.com/office/drawing/2014/main" id="{ECF89376-999C-4FB6-A0B0-CD63B4196AF0}"/>
                </a:ext>
              </a:extLst>
            </p:cNvPr>
            <p:cNvSpPr/>
            <p:nvPr/>
          </p:nvSpPr>
          <p:spPr>
            <a:xfrm rot="13089394">
              <a:off x="8090978" y="372677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4" name="Forme libre : forme 1163">
              <a:extLst>
                <a:ext uri="{FF2B5EF4-FFF2-40B4-BE49-F238E27FC236}">
                  <a16:creationId xmlns:a16="http://schemas.microsoft.com/office/drawing/2014/main" id="{2FB7576F-977D-487A-A779-FFB16DC20CBE}"/>
                </a:ext>
              </a:extLst>
            </p:cNvPr>
            <p:cNvSpPr/>
            <p:nvPr/>
          </p:nvSpPr>
          <p:spPr>
            <a:xfrm rot="8716295">
              <a:off x="8276563" y="353508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5" name="Forme libre : forme 1164">
              <a:extLst>
                <a:ext uri="{FF2B5EF4-FFF2-40B4-BE49-F238E27FC236}">
                  <a16:creationId xmlns:a16="http://schemas.microsoft.com/office/drawing/2014/main" id="{B3B583BE-52BB-4659-A9E4-9638AD2373BB}"/>
                </a:ext>
              </a:extLst>
            </p:cNvPr>
            <p:cNvSpPr/>
            <p:nvPr/>
          </p:nvSpPr>
          <p:spPr>
            <a:xfrm rot="8716295">
              <a:off x="8224758" y="343149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6" name="Forme libre : forme 1165">
              <a:extLst>
                <a:ext uri="{FF2B5EF4-FFF2-40B4-BE49-F238E27FC236}">
                  <a16:creationId xmlns:a16="http://schemas.microsoft.com/office/drawing/2014/main" id="{C7154427-FACD-42B2-ADC3-A6FEB97A7B7A}"/>
                </a:ext>
              </a:extLst>
            </p:cNvPr>
            <p:cNvSpPr/>
            <p:nvPr/>
          </p:nvSpPr>
          <p:spPr>
            <a:xfrm rot="8716295">
              <a:off x="7981512" y="346171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7" name="Forme libre : forme 1166">
              <a:extLst>
                <a:ext uri="{FF2B5EF4-FFF2-40B4-BE49-F238E27FC236}">
                  <a16:creationId xmlns:a16="http://schemas.microsoft.com/office/drawing/2014/main" id="{846AA465-4FEC-4EA7-9F46-8AC26FB6F4CA}"/>
                </a:ext>
              </a:extLst>
            </p:cNvPr>
            <p:cNvSpPr/>
            <p:nvPr/>
          </p:nvSpPr>
          <p:spPr>
            <a:xfrm rot="8716295">
              <a:off x="8158964" y="330247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8" name="Forme libre : forme 1167">
              <a:extLst>
                <a:ext uri="{FF2B5EF4-FFF2-40B4-BE49-F238E27FC236}">
                  <a16:creationId xmlns:a16="http://schemas.microsoft.com/office/drawing/2014/main" id="{1C5A03CD-5F8E-4F7E-B077-E3D486F6E4FC}"/>
                </a:ext>
              </a:extLst>
            </p:cNvPr>
            <p:cNvSpPr/>
            <p:nvPr/>
          </p:nvSpPr>
          <p:spPr>
            <a:xfrm rot="8716295">
              <a:off x="7837351" y="434924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9" name="Forme libre : forme 1168">
              <a:extLst>
                <a:ext uri="{FF2B5EF4-FFF2-40B4-BE49-F238E27FC236}">
                  <a16:creationId xmlns:a16="http://schemas.microsoft.com/office/drawing/2014/main" id="{A3C54C69-E017-421B-9FCB-48E02E5B88D5}"/>
                </a:ext>
              </a:extLst>
            </p:cNvPr>
            <p:cNvSpPr/>
            <p:nvPr/>
          </p:nvSpPr>
          <p:spPr>
            <a:xfrm rot="8716295">
              <a:off x="7926743" y="437848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0" name="Forme libre : forme 1169">
              <a:extLst>
                <a:ext uri="{FF2B5EF4-FFF2-40B4-BE49-F238E27FC236}">
                  <a16:creationId xmlns:a16="http://schemas.microsoft.com/office/drawing/2014/main" id="{8629CE69-864F-4EE6-B494-A17DC76E667F}"/>
                </a:ext>
              </a:extLst>
            </p:cNvPr>
            <p:cNvSpPr/>
            <p:nvPr/>
          </p:nvSpPr>
          <p:spPr>
            <a:xfrm rot="8716295">
              <a:off x="7881893" y="429220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1" name="Forme libre : forme 1170">
              <a:extLst>
                <a:ext uri="{FF2B5EF4-FFF2-40B4-BE49-F238E27FC236}">
                  <a16:creationId xmlns:a16="http://schemas.microsoft.com/office/drawing/2014/main" id="{F6A5667A-39C4-44BA-804E-5395FBF424A8}"/>
                </a:ext>
              </a:extLst>
            </p:cNvPr>
            <p:cNvSpPr/>
            <p:nvPr/>
          </p:nvSpPr>
          <p:spPr>
            <a:xfrm rot="8716295">
              <a:off x="7725117" y="443778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2" name="Forme libre : forme 1171">
              <a:extLst>
                <a:ext uri="{FF2B5EF4-FFF2-40B4-BE49-F238E27FC236}">
                  <a16:creationId xmlns:a16="http://schemas.microsoft.com/office/drawing/2014/main" id="{66550BB0-7261-45C4-B672-89C2B638E15A}"/>
                </a:ext>
              </a:extLst>
            </p:cNvPr>
            <p:cNvSpPr/>
            <p:nvPr/>
          </p:nvSpPr>
          <p:spPr>
            <a:xfrm rot="8716295">
              <a:off x="7600214" y="422911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3" name="Forme libre : forme 1172">
              <a:extLst>
                <a:ext uri="{FF2B5EF4-FFF2-40B4-BE49-F238E27FC236}">
                  <a16:creationId xmlns:a16="http://schemas.microsoft.com/office/drawing/2014/main" id="{420EB997-CA34-4E05-86E2-81CD1690B28B}"/>
                </a:ext>
              </a:extLst>
            </p:cNvPr>
            <p:cNvSpPr/>
            <p:nvPr/>
          </p:nvSpPr>
          <p:spPr>
            <a:xfrm rot="8716295">
              <a:off x="7588162" y="4090331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4" name="Forme libre : forme 1173">
              <a:extLst>
                <a:ext uri="{FF2B5EF4-FFF2-40B4-BE49-F238E27FC236}">
                  <a16:creationId xmlns:a16="http://schemas.microsoft.com/office/drawing/2014/main" id="{F89D5A3F-20B8-4A58-8C23-93C433B8124B}"/>
                </a:ext>
              </a:extLst>
            </p:cNvPr>
            <p:cNvSpPr/>
            <p:nvPr/>
          </p:nvSpPr>
          <p:spPr>
            <a:xfrm rot="8716295">
              <a:off x="7815295" y="447873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5" name="Forme libre : forme 1174">
              <a:extLst>
                <a:ext uri="{FF2B5EF4-FFF2-40B4-BE49-F238E27FC236}">
                  <a16:creationId xmlns:a16="http://schemas.microsoft.com/office/drawing/2014/main" id="{3D6899F7-E78B-45C3-8C5E-9B72454B3CE5}"/>
                </a:ext>
              </a:extLst>
            </p:cNvPr>
            <p:cNvSpPr/>
            <p:nvPr/>
          </p:nvSpPr>
          <p:spPr>
            <a:xfrm rot="8716295">
              <a:off x="8126450" y="409908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6" name="Forme libre : forme 1175">
              <a:extLst>
                <a:ext uri="{FF2B5EF4-FFF2-40B4-BE49-F238E27FC236}">
                  <a16:creationId xmlns:a16="http://schemas.microsoft.com/office/drawing/2014/main" id="{4BE7A350-33AF-4013-BE12-592AC789A5B0}"/>
                </a:ext>
              </a:extLst>
            </p:cNvPr>
            <p:cNvSpPr/>
            <p:nvPr/>
          </p:nvSpPr>
          <p:spPr>
            <a:xfrm rot="8716295">
              <a:off x="8215842" y="412833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7" name="Forme libre : forme 1176">
              <a:extLst>
                <a:ext uri="{FF2B5EF4-FFF2-40B4-BE49-F238E27FC236}">
                  <a16:creationId xmlns:a16="http://schemas.microsoft.com/office/drawing/2014/main" id="{8CC775CD-B94F-4EE8-84DE-64B0E72EE88B}"/>
                </a:ext>
              </a:extLst>
            </p:cNvPr>
            <p:cNvSpPr/>
            <p:nvPr/>
          </p:nvSpPr>
          <p:spPr>
            <a:xfrm rot="8716295">
              <a:off x="8014216" y="418763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8" name="Forme libre : forme 1177">
              <a:extLst>
                <a:ext uri="{FF2B5EF4-FFF2-40B4-BE49-F238E27FC236}">
                  <a16:creationId xmlns:a16="http://schemas.microsoft.com/office/drawing/2014/main" id="{D5C7DC3C-BE17-4FC7-B720-096C91CE00BF}"/>
                </a:ext>
              </a:extLst>
            </p:cNvPr>
            <p:cNvSpPr/>
            <p:nvPr/>
          </p:nvSpPr>
          <p:spPr>
            <a:xfrm rot="8716295">
              <a:off x="7889314" y="397895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9" name="Forme libre : forme 1178">
              <a:extLst>
                <a:ext uri="{FF2B5EF4-FFF2-40B4-BE49-F238E27FC236}">
                  <a16:creationId xmlns:a16="http://schemas.microsoft.com/office/drawing/2014/main" id="{6BDC2261-090A-49AA-8E70-A2121C18643A}"/>
                </a:ext>
              </a:extLst>
            </p:cNvPr>
            <p:cNvSpPr/>
            <p:nvPr/>
          </p:nvSpPr>
          <p:spPr>
            <a:xfrm rot="8716295">
              <a:off x="8104394" y="422858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0" name="Forme libre : forme 1179">
              <a:extLst>
                <a:ext uri="{FF2B5EF4-FFF2-40B4-BE49-F238E27FC236}">
                  <a16:creationId xmlns:a16="http://schemas.microsoft.com/office/drawing/2014/main" id="{E0B0FE31-338C-48EF-82D0-84F5E36B60EC}"/>
                </a:ext>
              </a:extLst>
            </p:cNvPr>
            <p:cNvSpPr/>
            <p:nvPr/>
          </p:nvSpPr>
          <p:spPr>
            <a:xfrm rot="8716295">
              <a:off x="7862943" y="407898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1" name="Forme libre : forme 1180">
              <a:extLst>
                <a:ext uri="{FF2B5EF4-FFF2-40B4-BE49-F238E27FC236}">
                  <a16:creationId xmlns:a16="http://schemas.microsoft.com/office/drawing/2014/main" id="{0109B29D-4E66-45E1-8B31-E15A265250AC}"/>
                </a:ext>
              </a:extLst>
            </p:cNvPr>
            <p:cNvSpPr/>
            <p:nvPr/>
          </p:nvSpPr>
          <p:spPr>
            <a:xfrm rot="7484129">
              <a:off x="8209325" y="441993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2" name="Forme libre : forme 1181">
              <a:extLst>
                <a:ext uri="{FF2B5EF4-FFF2-40B4-BE49-F238E27FC236}">
                  <a16:creationId xmlns:a16="http://schemas.microsoft.com/office/drawing/2014/main" id="{3FAC18C9-44B5-40A5-96E0-CFC26768C4D4}"/>
                </a:ext>
              </a:extLst>
            </p:cNvPr>
            <p:cNvSpPr/>
            <p:nvPr/>
          </p:nvSpPr>
          <p:spPr>
            <a:xfrm rot="13089394">
              <a:off x="8314145" y="4386469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3" name="Forme libre : forme 1182">
              <a:extLst>
                <a:ext uri="{FF2B5EF4-FFF2-40B4-BE49-F238E27FC236}">
                  <a16:creationId xmlns:a16="http://schemas.microsoft.com/office/drawing/2014/main" id="{4E3D2B23-BEFF-40D9-B6DB-37F124FD3C95}"/>
                </a:ext>
              </a:extLst>
            </p:cNvPr>
            <p:cNvSpPr/>
            <p:nvPr/>
          </p:nvSpPr>
          <p:spPr>
            <a:xfrm rot="8716295">
              <a:off x="8499730" y="419478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4" name="Forme libre : forme 1183">
              <a:extLst>
                <a:ext uri="{FF2B5EF4-FFF2-40B4-BE49-F238E27FC236}">
                  <a16:creationId xmlns:a16="http://schemas.microsoft.com/office/drawing/2014/main" id="{28DC055A-3C20-403E-B18A-B01A6D4D41D9}"/>
                </a:ext>
              </a:extLst>
            </p:cNvPr>
            <p:cNvSpPr/>
            <p:nvPr/>
          </p:nvSpPr>
          <p:spPr>
            <a:xfrm rot="8716295">
              <a:off x="8447925" y="409119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5" name="Forme libre : forme 1184">
              <a:extLst>
                <a:ext uri="{FF2B5EF4-FFF2-40B4-BE49-F238E27FC236}">
                  <a16:creationId xmlns:a16="http://schemas.microsoft.com/office/drawing/2014/main" id="{4FC27D3B-4F75-4013-B2B8-3865EB368D2F}"/>
                </a:ext>
              </a:extLst>
            </p:cNvPr>
            <p:cNvSpPr/>
            <p:nvPr/>
          </p:nvSpPr>
          <p:spPr>
            <a:xfrm rot="8716295">
              <a:off x="8204679" y="412141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6" name="Forme libre : forme 1185">
              <a:extLst>
                <a:ext uri="{FF2B5EF4-FFF2-40B4-BE49-F238E27FC236}">
                  <a16:creationId xmlns:a16="http://schemas.microsoft.com/office/drawing/2014/main" id="{AA78BC68-C129-41C5-BCC5-3BDBF1C6DDA8}"/>
                </a:ext>
              </a:extLst>
            </p:cNvPr>
            <p:cNvSpPr/>
            <p:nvPr/>
          </p:nvSpPr>
          <p:spPr>
            <a:xfrm rot="8716295">
              <a:off x="8382131" y="396217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7" name="Forme libre : forme 1186">
              <a:extLst>
                <a:ext uri="{FF2B5EF4-FFF2-40B4-BE49-F238E27FC236}">
                  <a16:creationId xmlns:a16="http://schemas.microsoft.com/office/drawing/2014/main" id="{AB1FFA2C-792B-47BA-B840-8265A523ABB9}"/>
                </a:ext>
              </a:extLst>
            </p:cNvPr>
            <p:cNvSpPr/>
            <p:nvPr/>
          </p:nvSpPr>
          <p:spPr>
            <a:xfrm rot="8716295">
              <a:off x="6950829" y="171047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8" name="Forme libre : forme 1187">
              <a:extLst>
                <a:ext uri="{FF2B5EF4-FFF2-40B4-BE49-F238E27FC236}">
                  <a16:creationId xmlns:a16="http://schemas.microsoft.com/office/drawing/2014/main" id="{1340850E-4196-4DCD-9404-99CDA26BEA50}"/>
                </a:ext>
              </a:extLst>
            </p:cNvPr>
            <p:cNvSpPr/>
            <p:nvPr/>
          </p:nvSpPr>
          <p:spPr>
            <a:xfrm rot="8716295">
              <a:off x="7040221" y="173971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9" name="Forme libre : forme 1188">
              <a:extLst>
                <a:ext uri="{FF2B5EF4-FFF2-40B4-BE49-F238E27FC236}">
                  <a16:creationId xmlns:a16="http://schemas.microsoft.com/office/drawing/2014/main" id="{E59EE44C-1FC2-4EAA-9CFD-E7A5FA798CFB}"/>
                </a:ext>
              </a:extLst>
            </p:cNvPr>
            <p:cNvSpPr/>
            <p:nvPr/>
          </p:nvSpPr>
          <p:spPr>
            <a:xfrm rot="8716295">
              <a:off x="6995371" y="165343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0" name="Forme libre : forme 1189">
              <a:extLst>
                <a:ext uri="{FF2B5EF4-FFF2-40B4-BE49-F238E27FC236}">
                  <a16:creationId xmlns:a16="http://schemas.microsoft.com/office/drawing/2014/main" id="{C6B79EE2-6C49-4D52-A8CF-44579DD6EFF4}"/>
                </a:ext>
              </a:extLst>
            </p:cNvPr>
            <p:cNvSpPr/>
            <p:nvPr/>
          </p:nvSpPr>
          <p:spPr>
            <a:xfrm rot="8716295">
              <a:off x="6838595" y="179901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1" name="Forme libre : forme 1190">
              <a:extLst>
                <a:ext uri="{FF2B5EF4-FFF2-40B4-BE49-F238E27FC236}">
                  <a16:creationId xmlns:a16="http://schemas.microsoft.com/office/drawing/2014/main" id="{C13E9905-F473-4E72-BA1A-3BCA03F6BE9A}"/>
                </a:ext>
              </a:extLst>
            </p:cNvPr>
            <p:cNvSpPr/>
            <p:nvPr/>
          </p:nvSpPr>
          <p:spPr>
            <a:xfrm rot="8716295">
              <a:off x="6713692" y="159034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2" name="Forme libre : forme 1191">
              <a:extLst>
                <a:ext uri="{FF2B5EF4-FFF2-40B4-BE49-F238E27FC236}">
                  <a16:creationId xmlns:a16="http://schemas.microsoft.com/office/drawing/2014/main" id="{40BA29EB-56BC-4FAD-86A4-0A628B321930}"/>
                </a:ext>
              </a:extLst>
            </p:cNvPr>
            <p:cNvSpPr/>
            <p:nvPr/>
          </p:nvSpPr>
          <p:spPr>
            <a:xfrm rot="8716295">
              <a:off x="6701640" y="145156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3" name="Forme libre : forme 1192">
              <a:extLst>
                <a:ext uri="{FF2B5EF4-FFF2-40B4-BE49-F238E27FC236}">
                  <a16:creationId xmlns:a16="http://schemas.microsoft.com/office/drawing/2014/main" id="{95F7CF15-1FFD-4AFF-91F7-2E7EEF3CE144}"/>
                </a:ext>
              </a:extLst>
            </p:cNvPr>
            <p:cNvSpPr/>
            <p:nvPr/>
          </p:nvSpPr>
          <p:spPr>
            <a:xfrm rot="8716295">
              <a:off x="6928773" y="183996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4" name="Forme libre : forme 1193">
              <a:extLst>
                <a:ext uri="{FF2B5EF4-FFF2-40B4-BE49-F238E27FC236}">
                  <a16:creationId xmlns:a16="http://schemas.microsoft.com/office/drawing/2014/main" id="{947C422F-B3CC-4BA9-A815-4BFF8E1CD09A}"/>
                </a:ext>
              </a:extLst>
            </p:cNvPr>
            <p:cNvSpPr/>
            <p:nvPr/>
          </p:nvSpPr>
          <p:spPr>
            <a:xfrm rot="8716295">
              <a:off x="7239928" y="146032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5" name="Forme libre : forme 1194">
              <a:extLst>
                <a:ext uri="{FF2B5EF4-FFF2-40B4-BE49-F238E27FC236}">
                  <a16:creationId xmlns:a16="http://schemas.microsoft.com/office/drawing/2014/main" id="{EA8D18A5-23F7-4D1E-A33B-42E161986869}"/>
                </a:ext>
              </a:extLst>
            </p:cNvPr>
            <p:cNvSpPr/>
            <p:nvPr/>
          </p:nvSpPr>
          <p:spPr>
            <a:xfrm rot="8716295">
              <a:off x="7329320" y="148956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6" name="Forme libre : forme 1195">
              <a:extLst>
                <a:ext uri="{FF2B5EF4-FFF2-40B4-BE49-F238E27FC236}">
                  <a16:creationId xmlns:a16="http://schemas.microsoft.com/office/drawing/2014/main" id="{90520389-A6A6-49A2-BB39-41FD8B6EF60F}"/>
                </a:ext>
              </a:extLst>
            </p:cNvPr>
            <p:cNvSpPr/>
            <p:nvPr/>
          </p:nvSpPr>
          <p:spPr>
            <a:xfrm rot="8716295">
              <a:off x="7127694" y="154886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7" name="Forme libre : forme 1196">
              <a:extLst>
                <a:ext uri="{FF2B5EF4-FFF2-40B4-BE49-F238E27FC236}">
                  <a16:creationId xmlns:a16="http://schemas.microsoft.com/office/drawing/2014/main" id="{EE879CA0-425E-4E55-AC41-43CE23168272}"/>
                </a:ext>
              </a:extLst>
            </p:cNvPr>
            <p:cNvSpPr/>
            <p:nvPr/>
          </p:nvSpPr>
          <p:spPr>
            <a:xfrm rot="8716295">
              <a:off x="7002792" y="134019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8" name="Forme libre : forme 1197">
              <a:extLst>
                <a:ext uri="{FF2B5EF4-FFF2-40B4-BE49-F238E27FC236}">
                  <a16:creationId xmlns:a16="http://schemas.microsoft.com/office/drawing/2014/main" id="{CC45E380-8DC0-4437-8CAE-10BBE8319094}"/>
                </a:ext>
              </a:extLst>
            </p:cNvPr>
            <p:cNvSpPr/>
            <p:nvPr/>
          </p:nvSpPr>
          <p:spPr>
            <a:xfrm rot="8716295">
              <a:off x="7217872" y="158981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9" name="Forme libre : forme 1198">
              <a:extLst>
                <a:ext uri="{FF2B5EF4-FFF2-40B4-BE49-F238E27FC236}">
                  <a16:creationId xmlns:a16="http://schemas.microsoft.com/office/drawing/2014/main" id="{A7F354BB-9DA2-43FD-82DC-9135B0A54746}"/>
                </a:ext>
              </a:extLst>
            </p:cNvPr>
            <p:cNvSpPr/>
            <p:nvPr/>
          </p:nvSpPr>
          <p:spPr>
            <a:xfrm rot="8716295">
              <a:off x="6976421" y="144021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0" name="Forme libre : forme 1199">
              <a:extLst>
                <a:ext uri="{FF2B5EF4-FFF2-40B4-BE49-F238E27FC236}">
                  <a16:creationId xmlns:a16="http://schemas.microsoft.com/office/drawing/2014/main" id="{629D5918-99E3-4AFB-9828-C7C893447217}"/>
                </a:ext>
              </a:extLst>
            </p:cNvPr>
            <p:cNvSpPr/>
            <p:nvPr/>
          </p:nvSpPr>
          <p:spPr>
            <a:xfrm rot="7484129">
              <a:off x="7322803" y="178116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1" name="Forme libre : forme 1200">
              <a:extLst>
                <a:ext uri="{FF2B5EF4-FFF2-40B4-BE49-F238E27FC236}">
                  <a16:creationId xmlns:a16="http://schemas.microsoft.com/office/drawing/2014/main" id="{2B5BC839-D232-40BF-9839-AF973EE23896}"/>
                </a:ext>
              </a:extLst>
            </p:cNvPr>
            <p:cNvSpPr/>
            <p:nvPr/>
          </p:nvSpPr>
          <p:spPr>
            <a:xfrm rot="13089394">
              <a:off x="7427623" y="1747701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2" name="Forme libre : forme 1201">
              <a:extLst>
                <a:ext uri="{FF2B5EF4-FFF2-40B4-BE49-F238E27FC236}">
                  <a16:creationId xmlns:a16="http://schemas.microsoft.com/office/drawing/2014/main" id="{17F8EB19-741C-4F5D-8114-83E4E38C0BD0}"/>
                </a:ext>
              </a:extLst>
            </p:cNvPr>
            <p:cNvSpPr/>
            <p:nvPr/>
          </p:nvSpPr>
          <p:spPr>
            <a:xfrm rot="8716295">
              <a:off x="7613208" y="155602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3" name="Forme libre : forme 1202">
              <a:extLst>
                <a:ext uri="{FF2B5EF4-FFF2-40B4-BE49-F238E27FC236}">
                  <a16:creationId xmlns:a16="http://schemas.microsoft.com/office/drawing/2014/main" id="{72D1D28C-63E4-4163-9C3E-64676831F0B1}"/>
                </a:ext>
              </a:extLst>
            </p:cNvPr>
            <p:cNvSpPr/>
            <p:nvPr/>
          </p:nvSpPr>
          <p:spPr>
            <a:xfrm rot="8716295">
              <a:off x="7561403" y="145242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4" name="Forme libre : forme 1203">
              <a:extLst>
                <a:ext uri="{FF2B5EF4-FFF2-40B4-BE49-F238E27FC236}">
                  <a16:creationId xmlns:a16="http://schemas.microsoft.com/office/drawing/2014/main" id="{B09D03B7-6104-4FA1-85AD-34E5E1086C66}"/>
                </a:ext>
              </a:extLst>
            </p:cNvPr>
            <p:cNvSpPr/>
            <p:nvPr/>
          </p:nvSpPr>
          <p:spPr>
            <a:xfrm rot="8716295">
              <a:off x="7318157" y="148264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5" name="Forme libre : forme 1204">
              <a:extLst>
                <a:ext uri="{FF2B5EF4-FFF2-40B4-BE49-F238E27FC236}">
                  <a16:creationId xmlns:a16="http://schemas.microsoft.com/office/drawing/2014/main" id="{DF608D14-5B9F-44E8-A664-3F90091BB211}"/>
                </a:ext>
              </a:extLst>
            </p:cNvPr>
            <p:cNvSpPr/>
            <p:nvPr/>
          </p:nvSpPr>
          <p:spPr>
            <a:xfrm rot="8716295">
              <a:off x="7495609" y="132340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6" name="Forme libre : forme 1205">
              <a:extLst>
                <a:ext uri="{FF2B5EF4-FFF2-40B4-BE49-F238E27FC236}">
                  <a16:creationId xmlns:a16="http://schemas.microsoft.com/office/drawing/2014/main" id="{7A151D09-AFBB-4FA0-B1C3-A8DD66CD3D63}"/>
                </a:ext>
              </a:extLst>
            </p:cNvPr>
            <p:cNvSpPr/>
            <p:nvPr/>
          </p:nvSpPr>
          <p:spPr>
            <a:xfrm rot="8716295">
              <a:off x="6727662" y="105077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7" name="Forme libre : forme 1206">
              <a:extLst>
                <a:ext uri="{FF2B5EF4-FFF2-40B4-BE49-F238E27FC236}">
                  <a16:creationId xmlns:a16="http://schemas.microsoft.com/office/drawing/2014/main" id="{537DC097-29D2-46CB-98BF-879E7F90C023}"/>
                </a:ext>
              </a:extLst>
            </p:cNvPr>
            <p:cNvSpPr/>
            <p:nvPr/>
          </p:nvSpPr>
          <p:spPr>
            <a:xfrm rot="8716295">
              <a:off x="6817054" y="108001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8" name="Forme libre : forme 1207">
              <a:extLst>
                <a:ext uri="{FF2B5EF4-FFF2-40B4-BE49-F238E27FC236}">
                  <a16:creationId xmlns:a16="http://schemas.microsoft.com/office/drawing/2014/main" id="{2DFEF32C-E4B4-44C9-A69A-253F120A6BFE}"/>
                </a:ext>
              </a:extLst>
            </p:cNvPr>
            <p:cNvSpPr/>
            <p:nvPr/>
          </p:nvSpPr>
          <p:spPr>
            <a:xfrm rot="8716295">
              <a:off x="6772204" y="99373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9" name="Forme libre : forme 1208">
              <a:extLst>
                <a:ext uri="{FF2B5EF4-FFF2-40B4-BE49-F238E27FC236}">
                  <a16:creationId xmlns:a16="http://schemas.microsoft.com/office/drawing/2014/main" id="{414D5FAB-9669-4C92-BDB9-096006C9E3F3}"/>
                </a:ext>
              </a:extLst>
            </p:cNvPr>
            <p:cNvSpPr/>
            <p:nvPr/>
          </p:nvSpPr>
          <p:spPr>
            <a:xfrm rot="8716295">
              <a:off x="6615428" y="113931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0" name="Forme libre : forme 1209">
              <a:extLst>
                <a:ext uri="{FF2B5EF4-FFF2-40B4-BE49-F238E27FC236}">
                  <a16:creationId xmlns:a16="http://schemas.microsoft.com/office/drawing/2014/main" id="{33070C28-3765-49B2-B940-22EBB7C77257}"/>
                </a:ext>
              </a:extLst>
            </p:cNvPr>
            <p:cNvSpPr/>
            <p:nvPr/>
          </p:nvSpPr>
          <p:spPr>
            <a:xfrm rot="8716295">
              <a:off x="6490525" y="93064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1" name="Forme libre : forme 1210">
              <a:extLst>
                <a:ext uri="{FF2B5EF4-FFF2-40B4-BE49-F238E27FC236}">
                  <a16:creationId xmlns:a16="http://schemas.microsoft.com/office/drawing/2014/main" id="{3E91FBF7-F71A-4004-BD6B-3B4CA8CC5BC1}"/>
                </a:ext>
              </a:extLst>
            </p:cNvPr>
            <p:cNvSpPr/>
            <p:nvPr/>
          </p:nvSpPr>
          <p:spPr>
            <a:xfrm rot="8716295">
              <a:off x="6478473" y="79186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2" name="Forme libre : forme 1211">
              <a:extLst>
                <a:ext uri="{FF2B5EF4-FFF2-40B4-BE49-F238E27FC236}">
                  <a16:creationId xmlns:a16="http://schemas.microsoft.com/office/drawing/2014/main" id="{DEC26DC2-9B7C-4ED5-8F46-A9DE3CC1E8F6}"/>
                </a:ext>
              </a:extLst>
            </p:cNvPr>
            <p:cNvSpPr/>
            <p:nvPr/>
          </p:nvSpPr>
          <p:spPr>
            <a:xfrm rot="8716295">
              <a:off x="6705606" y="118026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3" name="Forme libre : forme 1212">
              <a:extLst>
                <a:ext uri="{FF2B5EF4-FFF2-40B4-BE49-F238E27FC236}">
                  <a16:creationId xmlns:a16="http://schemas.microsoft.com/office/drawing/2014/main" id="{AEE9DF08-A4FF-4C9E-9471-932A27226041}"/>
                </a:ext>
              </a:extLst>
            </p:cNvPr>
            <p:cNvSpPr/>
            <p:nvPr/>
          </p:nvSpPr>
          <p:spPr>
            <a:xfrm rot="8716295">
              <a:off x="7016761" y="80062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4" name="Forme libre : forme 1213">
              <a:extLst>
                <a:ext uri="{FF2B5EF4-FFF2-40B4-BE49-F238E27FC236}">
                  <a16:creationId xmlns:a16="http://schemas.microsoft.com/office/drawing/2014/main" id="{A4F04E13-842A-4005-8B9F-7B34EAAE6EED}"/>
                </a:ext>
              </a:extLst>
            </p:cNvPr>
            <p:cNvSpPr/>
            <p:nvPr/>
          </p:nvSpPr>
          <p:spPr>
            <a:xfrm rot="8716295">
              <a:off x="7106153" y="82986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5" name="Forme libre : forme 1214">
              <a:extLst>
                <a:ext uri="{FF2B5EF4-FFF2-40B4-BE49-F238E27FC236}">
                  <a16:creationId xmlns:a16="http://schemas.microsoft.com/office/drawing/2014/main" id="{F5247EBE-0FCF-4EAA-AB3A-810D83F18B0E}"/>
                </a:ext>
              </a:extLst>
            </p:cNvPr>
            <p:cNvSpPr/>
            <p:nvPr/>
          </p:nvSpPr>
          <p:spPr>
            <a:xfrm rot="8716295">
              <a:off x="6904527" y="88916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6" name="Forme libre : forme 1215">
              <a:extLst>
                <a:ext uri="{FF2B5EF4-FFF2-40B4-BE49-F238E27FC236}">
                  <a16:creationId xmlns:a16="http://schemas.microsoft.com/office/drawing/2014/main" id="{C7BAA05C-D979-45BB-B4AB-BF6D372F6625}"/>
                </a:ext>
              </a:extLst>
            </p:cNvPr>
            <p:cNvSpPr/>
            <p:nvPr/>
          </p:nvSpPr>
          <p:spPr>
            <a:xfrm rot="8716295">
              <a:off x="6779625" y="68049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7" name="Forme libre : forme 1216">
              <a:extLst>
                <a:ext uri="{FF2B5EF4-FFF2-40B4-BE49-F238E27FC236}">
                  <a16:creationId xmlns:a16="http://schemas.microsoft.com/office/drawing/2014/main" id="{5E1B5732-0C73-4728-BB7A-E84990C08201}"/>
                </a:ext>
              </a:extLst>
            </p:cNvPr>
            <p:cNvSpPr/>
            <p:nvPr/>
          </p:nvSpPr>
          <p:spPr>
            <a:xfrm rot="8716295">
              <a:off x="6994705" y="93011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8" name="Forme libre : forme 1217">
              <a:extLst>
                <a:ext uri="{FF2B5EF4-FFF2-40B4-BE49-F238E27FC236}">
                  <a16:creationId xmlns:a16="http://schemas.microsoft.com/office/drawing/2014/main" id="{C9672C88-6D83-47B9-B7AE-2C7AC95A35BB}"/>
                </a:ext>
              </a:extLst>
            </p:cNvPr>
            <p:cNvSpPr/>
            <p:nvPr/>
          </p:nvSpPr>
          <p:spPr>
            <a:xfrm rot="8716295">
              <a:off x="6753254" y="78051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9" name="Forme libre : forme 1218">
              <a:extLst>
                <a:ext uri="{FF2B5EF4-FFF2-40B4-BE49-F238E27FC236}">
                  <a16:creationId xmlns:a16="http://schemas.microsoft.com/office/drawing/2014/main" id="{7E8C7D36-8D7B-4EC3-8272-B128D4C63C8D}"/>
                </a:ext>
              </a:extLst>
            </p:cNvPr>
            <p:cNvSpPr/>
            <p:nvPr/>
          </p:nvSpPr>
          <p:spPr>
            <a:xfrm rot="7484129">
              <a:off x="7099636" y="112146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0" name="Forme libre : forme 1219">
              <a:extLst>
                <a:ext uri="{FF2B5EF4-FFF2-40B4-BE49-F238E27FC236}">
                  <a16:creationId xmlns:a16="http://schemas.microsoft.com/office/drawing/2014/main" id="{328F1E42-AB6A-4F60-8C64-A19DEE7C769E}"/>
                </a:ext>
              </a:extLst>
            </p:cNvPr>
            <p:cNvSpPr/>
            <p:nvPr/>
          </p:nvSpPr>
          <p:spPr>
            <a:xfrm rot="13089394">
              <a:off x="7204456" y="108800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1" name="Forme libre : forme 1220">
              <a:extLst>
                <a:ext uri="{FF2B5EF4-FFF2-40B4-BE49-F238E27FC236}">
                  <a16:creationId xmlns:a16="http://schemas.microsoft.com/office/drawing/2014/main" id="{509D4D12-E9CA-410B-BB0F-D0713E56A398}"/>
                </a:ext>
              </a:extLst>
            </p:cNvPr>
            <p:cNvSpPr/>
            <p:nvPr/>
          </p:nvSpPr>
          <p:spPr>
            <a:xfrm rot="8716295">
              <a:off x="7390041" y="89632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2" name="Forme libre : forme 1221">
              <a:extLst>
                <a:ext uri="{FF2B5EF4-FFF2-40B4-BE49-F238E27FC236}">
                  <a16:creationId xmlns:a16="http://schemas.microsoft.com/office/drawing/2014/main" id="{830904F0-D47A-4A6A-8ABD-BDF673EC72D4}"/>
                </a:ext>
              </a:extLst>
            </p:cNvPr>
            <p:cNvSpPr/>
            <p:nvPr/>
          </p:nvSpPr>
          <p:spPr>
            <a:xfrm rot="8716295">
              <a:off x="7338236" y="79272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3" name="Forme libre : forme 1222">
              <a:extLst>
                <a:ext uri="{FF2B5EF4-FFF2-40B4-BE49-F238E27FC236}">
                  <a16:creationId xmlns:a16="http://schemas.microsoft.com/office/drawing/2014/main" id="{B303CAC1-0497-41B6-AE51-AFDB58DA234D}"/>
                </a:ext>
              </a:extLst>
            </p:cNvPr>
            <p:cNvSpPr/>
            <p:nvPr/>
          </p:nvSpPr>
          <p:spPr>
            <a:xfrm rot="8716295">
              <a:off x="7094990" y="82294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4" name="Forme libre : forme 1223">
              <a:extLst>
                <a:ext uri="{FF2B5EF4-FFF2-40B4-BE49-F238E27FC236}">
                  <a16:creationId xmlns:a16="http://schemas.microsoft.com/office/drawing/2014/main" id="{7AB18378-0E44-4AB1-8DD6-2E92F7CD14AF}"/>
                </a:ext>
              </a:extLst>
            </p:cNvPr>
            <p:cNvSpPr/>
            <p:nvPr/>
          </p:nvSpPr>
          <p:spPr>
            <a:xfrm rot="8716295">
              <a:off x="7272442" y="66370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5" name="Forme libre : forme 1224">
              <a:extLst>
                <a:ext uri="{FF2B5EF4-FFF2-40B4-BE49-F238E27FC236}">
                  <a16:creationId xmlns:a16="http://schemas.microsoft.com/office/drawing/2014/main" id="{F703561A-BE93-421B-BC6A-B698ECD7F8E2}"/>
                </a:ext>
              </a:extLst>
            </p:cNvPr>
            <p:cNvSpPr/>
            <p:nvPr/>
          </p:nvSpPr>
          <p:spPr>
            <a:xfrm rot="8716295">
              <a:off x="6508723" y="38871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6" name="Forme libre : forme 1225">
              <a:extLst>
                <a:ext uri="{FF2B5EF4-FFF2-40B4-BE49-F238E27FC236}">
                  <a16:creationId xmlns:a16="http://schemas.microsoft.com/office/drawing/2014/main" id="{6483B125-4CCB-42BB-A5D9-88213C0491CD}"/>
                </a:ext>
              </a:extLst>
            </p:cNvPr>
            <p:cNvSpPr/>
            <p:nvPr/>
          </p:nvSpPr>
          <p:spPr>
            <a:xfrm rot="8716295">
              <a:off x="6598115" y="41795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7" name="Forme libre : forme 1226">
              <a:extLst>
                <a:ext uri="{FF2B5EF4-FFF2-40B4-BE49-F238E27FC236}">
                  <a16:creationId xmlns:a16="http://schemas.microsoft.com/office/drawing/2014/main" id="{A49BDE23-F77C-4882-B6C8-151A102158FC}"/>
                </a:ext>
              </a:extLst>
            </p:cNvPr>
            <p:cNvSpPr/>
            <p:nvPr/>
          </p:nvSpPr>
          <p:spPr>
            <a:xfrm rot="8716295">
              <a:off x="6553265" y="33167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8" name="Forme libre : forme 1227">
              <a:extLst>
                <a:ext uri="{FF2B5EF4-FFF2-40B4-BE49-F238E27FC236}">
                  <a16:creationId xmlns:a16="http://schemas.microsoft.com/office/drawing/2014/main" id="{C40CBD4D-C196-457C-9A88-EDB02C0969CB}"/>
                </a:ext>
              </a:extLst>
            </p:cNvPr>
            <p:cNvSpPr/>
            <p:nvPr/>
          </p:nvSpPr>
          <p:spPr>
            <a:xfrm rot="8716295">
              <a:off x="6396489" y="47725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9" name="Forme libre : forme 1228">
              <a:extLst>
                <a:ext uri="{FF2B5EF4-FFF2-40B4-BE49-F238E27FC236}">
                  <a16:creationId xmlns:a16="http://schemas.microsoft.com/office/drawing/2014/main" id="{A27EEF75-7221-4666-98E0-0825D37EA836}"/>
                </a:ext>
              </a:extLst>
            </p:cNvPr>
            <p:cNvSpPr/>
            <p:nvPr/>
          </p:nvSpPr>
          <p:spPr>
            <a:xfrm rot="8716295">
              <a:off x="6271586" y="26858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0" name="Forme libre : forme 1229">
              <a:extLst>
                <a:ext uri="{FF2B5EF4-FFF2-40B4-BE49-F238E27FC236}">
                  <a16:creationId xmlns:a16="http://schemas.microsoft.com/office/drawing/2014/main" id="{B5E1367D-C065-41FF-91C9-C5A9486DC9ED}"/>
                </a:ext>
              </a:extLst>
            </p:cNvPr>
            <p:cNvSpPr/>
            <p:nvPr/>
          </p:nvSpPr>
          <p:spPr>
            <a:xfrm rot="8716295">
              <a:off x="6259534" y="12980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1" name="Forme libre : forme 1230">
              <a:extLst>
                <a:ext uri="{FF2B5EF4-FFF2-40B4-BE49-F238E27FC236}">
                  <a16:creationId xmlns:a16="http://schemas.microsoft.com/office/drawing/2014/main" id="{1913EF5B-0FAD-4DB9-AE2C-65D6AB9888CC}"/>
                </a:ext>
              </a:extLst>
            </p:cNvPr>
            <p:cNvSpPr/>
            <p:nvPr/>
          </p:nvSpPr>
          <p:spPr>
            <a:xfrm rot="8716295">
              <a:off x="6486667" y="51821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2" name="Forme libre : forme 1231">
              <a:extLst>
                <a:ext uri="{FF2B5EF4-FFF2-40B4-BE49-F238E27FC236}">
                  <a16:creationId xmlns:a16="http://schemas.microsoft.com/office/drawing/2014/main" id="{EC81A569-5FA3-4248-96EC-9B1D26C84996}"/>
                </a:ext>
              </a:extLst>
            </p:cNvPr>
            <p:cNvSpPr/>
            <p:nvPr/>
          </p:nvSpPr>
          <p:spPr>
            <a:xfrm rot="8716295">
              <a:off x="6797822" y="13856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3" name="Forme libre : forme 1232">
              <a:extLst>
                <a:ext uri="{FF2B5EF4-FFF2-40B4-BE49-F238E27FC236}">
                  <a16:creationId xmlns:a16="http://schemas.microsoft.com/office/drawing/2014/main" id="{A22DBA90-02BD-4F3A-BDB3-FE0902AA9AB8}"/>
                </a:ext>
              </a:extLst>
            </p:cNvPr>
            <p:cNvSpPr/>
            <p:nvPr/>
          </p:nvSpPr>
          <p:spPr>
            <a:xfrm rot="8716295">
              <a:off x="6887214" y="16780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4" name="Forme libre : forme 1233">
              <a:extLst>
                <a:ext uri="{FF2B5EF4-FFF2-40B4-BE49-F238E27FC236}">
                  <a16:creationId xmlns:a16="http://schemas.microsoft.com/office/drawing/2014/main" id="{FEF05712-8A56-4367-8FEE-945FBECD01B5}"/>
                </a:ext>
              </a:extLst>
            </p:cNvPr>
            <p:cNvSpPr/>
            <p:nvPr/>
          </p:nvSpPr>
          <p:spPr>
            <a:xfrm rot="8716295">
              <a:off x="6685588" y="22710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5" name="Forme libre : forme 1234">
              <a:extLst>
                <a:ext uri="{FF2B5EF4-FFF2-40B4-BE49-F238E27FC236}">
                  <a16:creationId xmlns:a16="http://schemas.microsoft.com/office/drawing/2014/main" id="{2E8C24E9-575D-4C62-9BD6-2C78B3992080}"/>
                </a:ext>
              </a:extLst>
            </p:cNvPr>
            <p:cNvSpPr/>
            <p:nvPr/>
          </p:nvSpPr>
          <p:spPr>
            <a:xfrm rot="8716295">
              <a:off x="6560686" y="1843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6" name="Forme libre : forme 1235">
              <a:extLst>
                <a:ext uri="{FF2B5EF4-FFF2-40B4-BE49-F238E27FC236}">
                  <a16:creationId xmlns:a16="http://schemas.microsoft.com/office/drawing/2014/main" id="{7FFD2C46-732D-4C6D-86D8-43D8100DC4BB}"/>
                </a:ext>
              </a:extLst>
            </p:cNvPr>
            <p:cNvSpPr/>
            <p:nvPr/>
          </p:nvSpPr>
          <p:spPr>
            <a:xfrm rot="8716295">
              <a:off x="6775766" y="26805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7" name="Forme libre : forme 1236">
              <a:extLst>
                <a:ext uri="{FF2B5EF4-FFF2-40B4-BE49-F238E27FC236}">
                  <a16:creationId xmlns:a16="http://schemas.microsoft.com/office/drawing/2014/main" id="{54000F56-7D25-433E-A7C8-6A29B8CAD136}"/>
                </a:ext>
              </a:extLst>
            </p:cNvPr>
            <p:cNvSpPr/>
            <p:nvPr/>
          </p:nvSpPr>
          <p:spPr>
            <a:xfrm rot="8716295">
              <a:off x="6534315" y="11845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8" name="Forme libre : forme 1237">
              <a:extLst>
                <a:ext uri="{FF2B5EF4-FFF2-40B4-BE49-F238E27FC236}">
                  <a16:creationId xmlns:a16="http://schemas.microsoft.com/office/drawing/2014/main" id="{F78F27FF-A989-48C0-90D5-D4D8D52897CB}"/>
                </a:ext>
              </a:extLst>
            </p:cNvPr>
            <p:cNvSpPr/>
            <p:nvPr/>
          </p:nvSpPr>
          <p:spPr>
            <a:xfrm rot="7484129">
              <a:off x="6880697" y="45941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9" name="Forme libre : forme 1238">
              <a:extLst>
                <a:ext uri="{FF2B5EF4-FFF2-40B4-BE49-F238E27FC236}">
                  <a16:creationId xmlns:a16="http://schemas.microsoft.com/office/drawing/2014/main" id="{8DC30F69-7296-48A1-A43C-EC188F89BEA5}"/>
                </a:ext>
              </a:extLst>
            </p:cNvPr>
            <p:cNvSpPr/>
            <p:nvPr/>
          </p:nvSpPr>
          <p:spPr>
            <a:xfrm rot="13089394">
              <a:off x="6985517" y="42594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0" name="Forme libre : forme 1239">
              <a:extLst>
                <a:ext uri="{FF2B5EF4-FFF2-40B4-BE49-F238E27FC236}">
                  <a16:creationId xmlns:a16="http://schemas.microsoft.com/office/drawing/2014/main" id="{D47ED595-5E0B-4FF2-BED8-A5E968958FDA}"/>
                </a:ext>
              </a:extLst>
            </p:cNvPr>
            <p:cNvSpPr/>
            <p:nvPr/>
          </p:nvSpPr>
          <p:spPr>
            <a:xfrm rot="8716295">
              <a:off x="7171102" y="23426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1" name="Forme libre : forme 1240">
              <a:extLst>
                <a:ext uri="{FF2B5EF4-FFF2-40B4-BE49-F238E27FC236}">
                  <a16:creationId xmlns:a16="http://schemas.microsoft.com/office/drawing/2014/main" id="{E870685A-3B15-499C-B93E-DAE343CA274F}"/>
                </a:ext>
              </a:extLst>
            </p:cNvPr>
            <p:cNvSpPr/>
            <p:nvPr/>
          </p:nvSpPr>
          <p:spPr>
            <a:xfrm rot="8716295">
              <a:off x="7119297" y="13067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2" name="Forme libre : forme 1241">
              <a:extLst>
                <a:ext uri="{FF2B5EF4-FFF2-40B4-BE49-F238E27FC236}">
                  <a16:creationId xmlns:a16="http://schemas.microsoft.com/office/drawing/2014/main" id="{25EC0356-F84B-4116-B821-ACE30FB22FFC}"/>
                </a:ext>
              </a:extLst>
            </p:cNvPr>
            <p:cNvSpPr/>
            <p:nvPr/>
          </p:nvSpPr>
          <p:spPr>
            <a:xfrm rot="8716295">
              <a:off x="6876051" y="16089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3" name="Forme libre : forme 1242">
              <a:extLst>
                <a:ext uri="{FF2B5EF4-FFF2-40B4-BE49-F238E27FC236}">
                  <a16:creationId xmlns:a16="http://schemas.microsoft.com/office/drawing/2014/main" id="{C756C41F-43B4-4A5A-9BD8-36D108A4F6F6}"/>
                </a:ext>
              </a:extLst>
            </p:cNvPr>
            <p:cNvSpPr/>
            <p:nvPr/>
          </p:nvSpPr>
          <p:spPr>
            <a:xfrm rot="8716295">
              <a:off x="7053503" y="164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4" name="Forme libre : forme 1243">
              <a:extLst>
                <a:ext uri="{FF2B5EF4-FFF2-40B4-BE49-F238E27FC236}">
                  <a16:creationId xmlns:a16="http://schemas.microsoft.com/office/drawing/2014/main" id="{5023A082-5622-42E1-99CC-B465837313AB}"/>
                </a:ext>
              </a:extLst>
            </p:cNvPr>
            <p:cNvSpPr/>
            <p:nvPr/>
          </p:nvSpPr>
          <p:spPr>
            <a:xfrm rot="8716295">
              <a:off x="6443978" y="-32333"/>
              <a:ext cx="92323" cy="67774"/>
            </a:xfrm>
            <a:custGeom>
              <a:avLst/>
              <a:gdLst>
                <a:gd name="connsiteX0" fmla="*/ 92323 w 92323"/>
                <a:gd name="connsiteY0" fmla="*/ 67774 h 67774"/>
                <a:gd name="connsiteX1" fmla="*/ 0 w 92323"/>
                <a:gd name="connsiteY1" fmla="*/ 3779 h 67774"/>
                <a:gd name="connsiteX2" fmla="*/ 19952 w 92323"/>
                <a:gd name="connsiteY2" fmla="*/ 19 h 67774"/>
                <a:gd name="connsiteX3" fmla="*/ 89989 w 92323"/>
                <a:gd name="connsiteY3" fmla="*/ 50641 h 67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323" h="67774">
                  <a:moveTo>
                    <a:pt x="92323" y="67774"/>
                  </a:moveTo>
                  <a:lnTo>
                    <a:pt x="0" y="3779"/>
                  </a:lnTo>
                  <a:lnTo>
                    <a:pt x="19952" y="19"/>
                  </a:lnTo>
                  <a:cubicBezTo>
                    <a:pt x="55152" y="-664"/>
                    <a:pt x="79843" y="17619"/>
                    <a:pt x="89989" y="5064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5" name="Forme libre : forme 1244">
              <a:extLst>
                <a:ext uri="{FF2B5EF4-FFF2-40B4-BE49-F238E27FC236}">
                  <a16:creationId xmlns:a16="http://schemas.microsoft.com/office/drawing/2014/main" id="{4292D438-03B7-4554-BAAC-30500F05D527}"/>
                </a:ext>
              </a:extLst>
            </p:cNvPr>
            <p:cNvSpPr/>
            <p:nvPr/>
          </p:nvSpPr>
          <p:spPr>
            <a:xfrm rot="8716295">
              <a:off x="6294141" y="-38610"/>
              <a:ext cx="103435" cy="102698"/>
            </a:xfrm>
            <a:custGeom>
              <a:avLst/>
              <a:gdLst>
                <a:gd name="connsiteX0" fmla="*/ 103435 w 103435"/>
                <a:gd name="connsiteY0" fmla="*/ 102698 h 102698"/>
                <a:gd name="connsiteX1" fmla="*/ 43288 w 103435"/>
                <a:gd name="connsiteY1" fmla="*/ 61006 h 102698"/>
                <a:gd name="connsiteX2" fmla="*/ 43288 w 103435"/>
                <a:gd name="connsiteY2" fmla="*/ 16404 h 102698"/>
                <a:gd name="connsiteX3" fmla="*/ 0 w 103435"/>
                <a:gd name="connsiteY3" fmla="*/ 16404 h 102698"/>
                <a:gd name="connsiteX4" fmla="*/ 0 w 103435"/>
                <a:gd name="connsiteY4" fmla="*/ 2279 h 102698"/>
                <a:gd name="connsiteX5" fmla="*/ 103435 w 103435"/>
                <a:gd name="connsiteY5" fmla="*/ 0 h 102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102698">
                  <a:moveTo>
                    <a:pt x="103435" y="102698"/>
                  </a:moveTo>
                  <a:lnTo>
                    <a:pt x="43288" y="61006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2279"/>
                  </a:lnTo>
                  <a:cubicBezTo>
                    <a:pt x="32808" y="3645"/>
                    <a:pt x="66983" y="911"/>
                    <a:pt x="10343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6" name="Forme libre : forme 1245">
              <a:extLst>
                <a:ext uri="{FF2B5EF4-FFF2-40B4-BE49-F238E27FC236}">
                  <a16:creationId xmlns:a16="http://schemas.microsoft.com/office/drawing/2014/main" id="{E78BAE53-0890-439D-972C-8E15B622CE74}"/>
                </a:ext>
              </a:extLst>
            </p:cNvPr>
            <p:cNvSpPr/>
            <p:nvPr/>
          </p:nvSpPr>
          <p:spPr>
            <a:xfrm rot="7484129">
              <a:off x="6746550" y="-26340"/>
              <a:ext cx="41571" cy="55323"/>
            </a:xfrm>
            <a:custGeom>
              <a:avLst/>
              <a:gdLst>
                <a:gd name="connsiteX0" fmla="*/ 38358 w 41571"/>
                <a:gd name="connsiteY0" fmla="*/ 55323 h 55323"/>
                <a:gd name="connsiteX1" fmla="*/ 0 w 41571"/>
                <a:gd name="connsiteY1" fmla="*/ 0 h 55323"/>
                <a:gd name="connsiteX2" fmla="*/ 41571 w 41571"/>
                <a:gd name="connsiteY2" fmla="*/ 0 h 55323"/>
                <a:gd name="connsiteX3" fmla="*/ 41571 w 41571"/>
                <a:gd name="connsiteY3" fmla="*/ 55323 h 55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571" h="55323">
                  <a:moveTo>
                    <a:pt x="38358" y="55323"/>
                  </a:moveTo>
                  <a:lnTo>
                    <a:pt x="0" y="0"/>
                  </a:lnTo>
                  <a:lnTo>
                    <a:pt x="41571" y="0"/>
                  </a:lnTo>
                  <a:lnTo>
                    <a:pt x="41571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7" name="Forme libre : forme 1246">
              <a:extLst>
                <a:ext uri="{FF2B5EF4-FFF2-40B4-BE49-F238E27FC236}">
                  <a16:creationId xmlns:a16="http://schemas.microsoft.com/office/drawing/2014/main" id="{D6E1A050-AAB6-49AB-8BF0-F86E9CB3E3ED}"/>
                </a:ext>
              </a:extLst>
            </p:cNvPr>
            <p:cNvSpPr/>
            <p:nvPr/>
          </p:nvSpPr>
          <p:spPr>
            <a:xfrm rot="13089394">
              <a:off x="6891234" y="-41515"/>
              <a:ext cx="74217" cy="174004"/>
            </a:xfrm>
            <a:custGeom>
              <a:avLst/>
              <a:gdLst>
                <a:gd name="connsiteX0" fmla="*/ 74217 w 74217"/>
                <a:gd name="connsiteY0" fmla="*/ 115692 h 174004"/>
                <a:gd name="connsiteX1" fmla="*/ 0 w 74217"/>
                <a:gd name="connsiteY1" fmla="*/ 174004 h 174004"/>
                <a:gd name="connsiteX2" fmla="*/ 0 w 74217"/>
                <a:gd name="connsiteY2" fmla="*/ 38074 h 174004"/>
                <a:gd name="connsiteX3" fmla="*/ 73388 w 74217"/>
                <a:gd name="connsiteY3" fmla="*/ 0 h 17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217" h="174004">
                  <a:moveTo>
                    <a:pt x="74217" y="115692"/>
                  </a:moveTo>
                  <a:lnTo>
                    <a:pt x="0" y="174004"/>
                  </a:lnTo>
                  <a:lnTo>
                    <a:pt x="0" y="38074"/>
                  </a:lnTo>
                  <a:lnTo>
                    <a:pt x="7338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8" name="Forme libre : forme 1247">
              <a:extLst>
                <a:ext uri="{FF2B5EF4-FFF2-40B4-BE49-F238E27FC236}">
                  <a16:creationId xmlns:a16="http://schemas.microsoft.com/office/drawing/2014/main" id="{2A426EB1-69A8-4B8C-95E3-ADCF2B7D8201}"/>
                </a:ext>
              </a:extLst>
            </p:cNvPr>
            <p:cNvSpPr/>
            <p:nvPr/>
          </p:nvSpPr>
          <p:spPr>
            <a:xfrm rot="8716295">
              <a:off x="8238556" y="254247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9" name="Forme libre : forme 1248">
              <a:extLst>
                <a:ext uri="{FF2B5EF4-FFF2-40B4-BE49-F238E27FC236}">
                  <a16:creationId xmlns:a16="http://schemas.microsoft.com/office/drawing/2014/main" id="{A1136BA6-7E11-4570-BF0A-E022C010F10B}"/>
                </a:ext>
              </a:extLst>
            </p:cNvPr>
            <p:cNvSpPr/>
            <p:nvPr/>
          </p:nvSpPr>
          <p:spPr>
            <a:xfrm rot="8716295">
              <a:off x="8327948" y="257172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0" name="Forme libre : forme 1249">
              <a:extLst>
                <a:ext uri="{FF2B5EF4-FFF2-40B4-BE49-F238E27FC236}">
                  <a16:creationId xmlns:a16="http://schemas.microsoft.com/office/drawing/2014/main" id="{9E188FF5-EB46-4C83-98D2-A6FBCDBA9974}"/>
                </a:ext>
              </a:extLst>
            </p:cNvPr>
            <p:cNvSpPr/>
            <p:nvPr/>
          </p:nvSpPr>
          <p:spPr>
            <a:xfrm rot="8716295">
              <a:off x="8283098" y="2485441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1" name="Forme libre : forme 1250">
              <a:extLst>
                <a:ext uri="{FF2B5EF4-FFF2-40B4-BE49-F238E27FC236}">
                  <a16:creationId xmlns:a16="http://schemas.microsoft.com/office/drawing/2014/main" id="{0F03884C-9A24-4485-8C8A-520F146E35BD}"/>
                </a:ext>
              </a:extLst>
            </p:cNvPr>
            <p:cNvSpPr/>
            <p:nvPr/>
          </p:nvSpPr>
          <p:spPr>
            <a:xfrm rot="8716295">
              <a:off x="8126322" y="263102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2" name="Forme libre : forme 1251">
              <a:extLst>
                <a:ext uri="{FF2B5EF4-FFF2-40B4-BE49-F238E27FC236}">
                  <a16:creationId xmlns:a16="http://schemas.microsoft.com/office/drawing/2014/main" id="{EA64506B-D82A-4EEA-924F-30E2F79C1B7D}"/>
                </a:ext>
              </a:extLst>
            </p:cNvPr>
            <p:cNvSpPr/>
            <p:nvPr/>
          </p:nvSpPr>
          <p:spPr>
            <a:xfrm rot="8716295">
              <a:off x="8001419" y="24223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3" name="Forme libre : forme 1252">
              <a:extLst>
                <a:ext uri="{FF2B5EF4-FFF2-40B4-BE49-F238E27FC236}">
                  <a16:creationId xmlns:a16="http://schemas.microsoft.com/office/drawing/2014/main" id="{5B8FDB35-6753-4D04-985E-254E87C9982E}"/>
                </a:ext>
              </a:extLst>
            </p:cNvPr>
            <p:cNvSpPr/>
            <p:nvPr/>
          </p:nvSpPr>
          <p:spPr>
            <a:xfrm rot="8716295">
              <a:off x="7989367" y="2283570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4" name="Forme libre : forme 1253">
              <a:extLst>
                <a:ext uri="{FF2B5EF4-FFF2-40B4-BE49-F238E27FC236}">
                  <a16:creationId xmlns:a16="http://schemas.microsoft.com/office/drawing/2014/main" id="{F77402CE-B126-41FD-B060-8753DA6781D5}"/>
                </a:ext>
              </a:extLst>
            </p:cNvPr>
            <p:cNvSpPr/>
            <p:nvPr/>
          </p:nvSpPr>
          <p:spPr>
            <a:xfrm rot="8716295">
              <a:off x="8216500" y="267197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5" name="Forme libre : forme 1254">
              <a:extLst>
                <a:ext uri="{FF2B5EF4-FFF2-40B4-BE49-F238E27FC236}">
                  <a16:creationId xmlns:a16="http://schemas.microsoft.com/office/drawing/2014/main" id="{D662227F-81B5-45A3-8065-CFABAFC187C6}"/>
                </a:ext>
              </a:extLst>
            </p:cNvPr>
            <p:cNvSpPr/>
            <p:nvPr/>
          </p:nvSpPr>
          <p:spPr>
            <a:xfrm rot="8716295">
              <a:off x="8527655" y="229232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6" name="Forme libre : forme 1255">
              <a:extLst>
                <a:ext uri="{FF2B5EF4-FFF2-40B4-BE49-F238E27FC236}">
                  <a16:creationId xmlns:a16="http://schemas.microsoft.com/office/drawing/2014/main" id="{B3F07D8E-83A0-44A5-8F5F-C55A1A045146}"/>
                </a:ext>
              </a:extLst>
            </p:cNvPr>
            <p:cNvSpPr/>
            <p:nvPr/>
          </p:nvSpPr>
          <p:spPr>
            <a:xfrm rot="8716295">
              <a:off x="8617047" y="232156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7" name="Forme libre : forme 1256">
              <a:extLst>
                <a:ext uri="{FF2B5EF4-FFF2-40B4-BE49-F238E27FC236}">
                  <a16:creationId xmlns:a16="http://schemas.microsoft.com/office/drawing/2014/main" id="{BEC9833E-1103-4B09-9C27-70B4371CFFC3}"/>
                </a:ext>
              </a:extLst>
            </p:cNvPr>
            <p:cNvSpPr/>
            <p:nvPr/>
          </p:nvSpPr>
          <p:spPr>
            <a:xfrm rot="8716295">
              <a:off x="8415421" y="238087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8" name="Forme libre : forme 1257">
              <a:extLst>
                <a:ext uri="{FF2B5EF4-FFF2-40B4-BE49-F238E27FC236}">
                  <a16:creationId xmlns:a16="http://schemas.microsoft.com/office/drawing/2014/main" id="{B1FB9B12-3BD9-453E-A39D-3DAA86A44344}"/>
                </a:ext>
              </a:extLst>
            </p:cNvPr>
            <p:cNvSpPr/>
            <p:nvPr/>
          </p:nvSpPr>
          <p:spPr>
            <a:xfrm rot="8716295">
              <a:off x="8290519" y="217219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9" name="Forme libre : forme 1258">
              <a:extLst>
                <a:ext uri="{FF2B5EF4-FFF2-40B4-BE49-F238E27FC236}">
                  <a16:creationId xmlns:a16="http://schemas.microsoft.com/office/drawing/2014/main" id="{3C2388FE-8F47-47D7-86C1-60ACC4D81856}"/>
                </a:ext>
              </a:extLst>
            </p:cNvPr>
            <p:cNvSpPr/>
            <p:nvPr/>
          </p:nvSpPr>
          <p:spPr>
            <a:xfrm rot="8716295">
              <a:off x="8505599" y="2421823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0" name="Forme libre : forme 1259">
              <a:extLst>
                <a:ext uri="{FF2B5EF4-FFF2-40B4-BE49-F238E27FC236}">
                  <a16:creationId xmlns:a16="http://schemas.microsoft.com/office/drawing/2014/main" id="{A11C39A7-D0D0-434D-A171-90D1234959F5}"/>
                </a:ext>
              </a:extLst>
            </p:cNvPr>
            <p:cNvSpPr/>
            <p:nvPr/>
          </p:nvSpPr>
          <p:spPr>
            <a:xfrm rot="8716295">
              <a:off x="8264148" y="2272223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1" name="Forme libre : forme 1260">
              <a:extLst>
                <a:ext uri="{FF2B5EF4-FFF2-40B4-BE49-F238E27FC236}">
                  <a16:creationId xmlns:a16="http://schemas.microsoft.com/office/drawing/2014/main" id="{4C61989D-4DFE-46E1-AF97-41DE6361CDB1}"/>
                </a:ext>
              </a:extLst>
            </p:cNvPr>
            <p:cNvSpPr/>
            <p:nvPr/>
          </p:nvSpPr>
          <p:spPr>
            <a:xfrm rot="7484129">
              <a:off x="8610530" y="261317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2" name="Forme libre : forme 1261">
              <a:extLst>
                <a:ext uri="{FF2B5EF4-FFF2-40B4-BE49-F238E27FC236}">
                  <a16:creationId xmlns:a16="http://schemas.microsoft.com/office/drawing/2014/main" id="{5C49FF36-E600-4A74-B23E-CD8D4047E6EE}"/>
                </a:ext>
              </a:extLst>
            </p:cNvPr>
            <p:cNvSpPr/>
            <p:nvPr/>
          </p:nvSpPr>
          <p:spPr>
            <a:xfrm rot="13089394">
              <a:off x="8715350" y="2579708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3" name="Forme libre : forme 1262">
              <a:extLst>
                <a:ext uri="{FF2B5EF4-FFF2-40B4-BE49-F238E27FC236}">
                  <a16:creationId xmlns:a16="http://schemas.microsoft.com/office/drawing/2014/main" id="{1D04E94A-1C0D-454D-9922-50FF5EBE6C43}"/>
                </a:ext>
              </a:extLst>
            </p:cNvPr>
            <p:cNvSpPr/>
            <p:nvPr/>
          </p:nvSpPr>
          <p:spPr>
            <a:xfrm rot="8716295">
              <a:off x="8900935" y="2388027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4" name="Forme libre : forme 1263">
              <a:extLst>
                <a:ext uri="{FF2B5EF4-FFF2-40B4-BE49-F238E27FC236}">
                  <a16:creationId xmlns:a16="http://schemas.microsoft.com/office/drawing/2014/main" id="{10563C18-A269-4229-B70A-8D68962158B9}"/>
                </a:ext>
              </a:extLst>
            </p:cNvPr>
            <p:cNvSpPr/>
            <p:nvPr/>
          </p:nvSpPr>
          <p:spPr>
            <a:xfrm rot="8716295">
              <a:off x="8849130" y="228443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5" name="Forme libre : forme 1264">
              <a:extLst>
                <a:ext uri="{FF2B5EF4-FFF2-40B4-BE49-F238E27FC236}">
                  <a16:creationId xmlns:a16="http://schemas.microsoft.com/office/drawing/2014/main" id="{208F3E00-CBC6-4CD3-9BBC-C388642BC9E1}"/>
                </a:ext>
              </a:extLst>
            </p:cNvPr>
            <p:cNvSpPr/>
            <p:nvPr/>
          </p:nvSpPr>
          <p:spPr>
            <a:xfrm rot="8716295">
              <a:off x="8605884" y="231465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6" name="Forme libre : forme 1265">
              <a:extLst>
                <a:ext uri="{FF2B5EF4-FFF2-40B4-BE49-F238E27FC236}">
                  <a16:creationId xmlns:a16="http://schemas.microsoft.com/office/drawing/2014/main" id="{A7B737F3-1AE0-4B4A-887B-DCA6987975B9}"/>
                </a:ext>
              </a:extLst>
            </p:cNvPr>
            <p:cNvSpPr/>
            <p:nvPr/>
          </p:nvSpPr>
          <p:spPr>
            <a:xfrm rot="8716295">
              <a:off x="8783336" y="215541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7" name="Forme libre : forme 1266">
              <a:extLst>
                <a:ext uri="{FF2B5EF4-FFF2-40B4-BE49-F238E27FC236}">
                  <a16:creationId xmlns:a16="http://schemas.microsoft.com/office/drawing/2014/main" id="{ED038CD8-6F63-4DEA-AFB9-416565E0B1AE}"/>
                </a:ext>
              </a:extLst>
            </p:cNvPr>
            <p:cNvSpPr/>
            <p:nvPr/>
          </p:nvSpPr>
          <p:spPr>
            <a:xfrm rot="8716295">
              <a:off x="8461723" y="320217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8" name="Forme libre : forme 1267">
              <a:extLst>
                <a:ext uri="{FF2B5EF4-FFF2-40B4-BE49-F238E27FC236}">
                  <a16:creationId xmlns:a16="http://schemas.microsoft.com/office/drawing/2014/main" id="{4ADDF2AA-F777-43E8-985A-08DA5C91CAC3}"/>
                </a:ext>
              </a:extLst>
            </p:cNvPr>
            <p:cNvSpPr/>
            <p:nvPr/>
          </p:nvSpPr>
          <p:spPr>
            <a:xfrm rot="8716295">
              <a:off x="8551115" y="323142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9" name="Forme libre : forme 1268">
              <a:extLst>
                <a:ext uri="{FF2B5EF4-FFF2-40B4-BE49-F238E27FC236}">
                  <a16:creationId xmlns:a16="http://schemas.microsoft.com/office/drawing/2014/main" id="{5F6A757A-2778-41F5-B5E1-C920513FE4A3}"/>
                </a:ext>
              </a:extLst>
            </p:cNvPr>
            <p:cNvSpPr/>
            <p:nvPr/>
          </p:nvSpPr>
          <p:spPr>
            <a:xfrm rot="8716295">
              <a:off x="8506265" y="314514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0" name="Forme libre : forme 1269">
              <a:extLst>
                <a:ext uri="{FF2B5EF4-FFF2-40B4-BE49-F238E27FC236}">
                  <a16:creationId xmlns:a16="http://schemas.microsoft.com/office/drawing/2014/main" id="{0EFEE5D5-C1BD-4136-8474-BA19679B6FE6}"/>
                </a:ext>
              </a:extLst>
            </p:cNvPr>
            <p:cNvSpPr/>
            <p:nvPr/>
          </p:nvSpPr>
          <p:spPr>
            <a:xfrm rot="8716295">
              <a:off x="8349489" y="329072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1" name="Forme libre : forme 1270">
              <a:extLst>
                <a:ext uri="{FF2B5EF4-FFF2-40B4-BE49-F238E27FC236}">
                  <a16:creationId xmlns:a16="http://schemas.microsoft.com/office/drawing/2014/main" id="{478BD2EF-1B5E-4C0F-83FF-65BB9BDBEB73}"/>
                </a:ext>
              </a:extLst>
            </p:cNvPr>
            <p:cNvSpPr/>
            <p:nvPr/>
          </p:nvSpPr>
          <p:spPr>
            <a:xfrm rot="8716295">
              <a:off x="8224586" y="308204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2" name="Forme libre : forme 1271">
              <a:extLst>
                <a:ext uri="{FF2B5EF4-FFF2-40B4-BE49-F238E27FC236}">
                  <a16:creationId xmlns:a16="http://schemas.microsoft.com/office/drawing/2014/main" id="{CA9F447E-DAA7-42DE-BF9D-296DA2E235D4}"/>
                </a:ext>
              </a:extLst>
            </p:cNvPr>
            <p:cNvSpPr/>
            <p:nvPr/>
          </p:nvSpPr>
          <p:spPr>
            <a:xfrm rot="8716295">
              <a:off x="8212534" y="2943269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3" name="Forme libre : forme 1272">
              <a:extLst>
                <a:ext uri="{FF2B5EF4-FFF2-40B4-BE49-F238E27FC236}">
                  <a16:creationId xmlns:a16="http://schemas.microsoft.com/office/drawing/2014/main" id="{B7FB840A-B629-4503-ACF9-05EB6F60350A}"/>
                </a:ext>
              </a:extLst>
            </p:cNvPr>
            <p:cNvSpPr/>
            <p:nvPr/>
          </p:nvSpPr>
          <p:spPr>
            <a:xfrm rot="8716295">
              <a:off x="8439667" y="333167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4" name="Forme libre : forme 1273">
              <a:extLst>
                <a:ext uri="{FF2B5EF4-FFF2-40B4-BE49-F238E27FC236}">
                  <a16:creationId xmlns:a16="http://schemas.microsoft.com/office/drawing/2014/main" id="{284BE434-693F-4B53-B96A-BC8BBBAA6451}"/>
                </a:ext>
              </a:extLst>
            </p:cNvPr>
            <p:cNvSpPr/>
            <p:nvPr/>
          </p:nvSpPr>
          <p:spPr>
            <a:xfrm rot="8716295">
              <a:off x="8750822" y="295202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5" name="Forme libre : forme 1274">
              <a:extLst>
                <a:ext uri="{FF2B5EF4-FFF2-40B4-BE49-F238E27FC236}">
                  <a16:creationId xmlns:a16="http://schemas.microsoft.com/office/drawing/2014/main" id="{00E031F6-CDA7-4F23-85AC-0C03588D8BFF}"/>
                </a:ext>
              </a:extLst>
            </p:cNvPr>
            <p:cNvSpPr/>
            <p:nvPr/>
          </p:nvSpPr>
          <p:spPr>
            <a:xfrm rot="8716295">
              <a:off x="8840214" y="298126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6" name="Forme libre : forme 1275">
              <a:extLst>
                <a:ext uri="{FF2B5EF4-FFF2-40B4-BE49-F238E27FC236}">
                  <a16:creationId xmlns:a16="http://schemas.microsoft.com/office/drawing/2014/main" id="{48A487FF-161F-413C-A2D1-AFC7148CC4B0}"/>
                </a:ext>
              </a:extLst>
            </p:cNvPr>
            <p:cNvSpPr/>
            <p:nvPr/>
          </p:nvSpPr>
          <p:spPr>
            <a:xfrm rot="8716295">
              <a:off x="8638588" y="304057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7" name="Forme libre : forme 1276">
              <a:extLst>
                <a:ext uri="{FF2B5EF4-FFF2-40B4-BE49-F238E27FC236}">
                  <a16:creationId xmlns:a16="http://schemas.microsoft.com/office/drawing/2014/main" id="{DD5BE4D1-C7C8-4842-9CD7-28661B0A4744}"/>
                </a:ext>
              </a:extLst>
            </p:cNvPr>
            <p:cNvSpPr/>
            <p:nvPr/>
          </p:nvSpPr>
          <p:spPr>
            <a:xfrm rot="8716295">
              <a:off x="8513686" y="283189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8" name="Forme libre : forme 1277">
              <a:extLst>
                <a:ext uri="{FF2B5EF4-FFF2-40B4-BE49-F238E27FC236}">
                  <a16:creationId xmlns:a16="http://schemas.microsoft.com/office/drawing/2014/main" id="{0B4DA140-E81E-4D65-A5C9-F035DA31F730}"/>
                </a:ext>
              </a:extLst>
            </p:cNvPr>
            <p:cNvSpPr/>
            <p:nvPr/>
          </p:nvSpPr>
          <p:spPr>
            <a:xfrm rot="8716295">
              <a:off x="8728766" y="308152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9" name="Forme libre : forme 1278">
              <a:extLst>
                <a:ext uri="{FF2B5EF4-FFF2-40B4-BE49-F238E27FC236}">
                  <a16:creationId xmlns:a16="http://schemas.microsoft.com/office/drawing/2014/main" id="{14371798-95AB-4DEA-8474-58BAC0008E89}"/>
                </a:ext>
              </a:extLst>
            </p:cNvPr>
            <p:cNvSpPr/>
            <p:nvPr/>
          </p:nvSpPr>
          <p:spPr>
            <a:xfrm rot="8716295">
              <a:off x="8487315" y="293192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0" name="Forme libre : forme 1279">
              <a:extLst>
                <a:ext uri="{FF2B5EF4-FFF2-40B4-BE49-F238E27FC236}">
                  <a16:creationId xmlns:a16="http://schemas.microsoft.com/office/drawing/2014/main" id="{B40273FF-66D0-4D54-A913-9136C391E5E9}"/>
                </a:ext>
              </a:extLst>
            </p:cNvPr>
            <p:cNvSpPr/>
            <p:nvPr/>
          </p:nvSpPr>
          <p:spPr>
            <a:xfrm rot="7484129">
              <a:off x="8833697" y="32728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1" name="Forme libre : forme 1280">
              <a:extLst>
                <a:ext uri="{FF2B5EF4-FFF2-40B4-BE49-F238E27FC236}">
                  <a16:creationId xmlns:a16="http://schemas.microsoft.com/office/drawing/2014/main" id="{FCD6CCFC-12B5-4C32-A6C9-28B6678973BF}"/>
                </a:ext>
              </a:extLst>
            </p:cNvPr>
            <p:cNvSpPr/>
            <p:nvPr/>
          </p:nvSpPr>
          <p:spPr>
            <a:xfrm rot="13089394">
              <a:off x="8933167" y="3248496"/>
              <a:ext cx="272584" cy="314617"/>
            </a:xfrm>
            <a:custGeom>
              <a:avLst/>
              <a:gdLst>
                <a:gd name="connsiteX0" fmla="*/ 77412 w 272584"/>
                <a:gd name="connsiteY0" fmla="*/ 203022 h 314617"/>
                <a:gd name="connsiteX1" fmla="*/ 0 w 272584"/>
                <a:gd name="connsiteY1" fmla="*/ 104495 h 314617"/>
                <a:gd name="connsiteX2" fmla="*/ 0 w 272584"/>
                <a:gd name="connsiteY2" fmla="*/ 38074 h 314617"/>
                <a:gd name="connsiteX3" fmla="*/ 73388 w 272584"/>
                <a:gd name="connsiteY3" fmla="*/ 0 h 314617"/>
                <a:gd name="connsiteX4" fmla="*/ 74492 w 272584"/>
                <a:gd name="connsiteY4" fmla="*/ 153950 h 314617"/>
                <a:gd name="connsiteX5" fmla="*/ 76768 w 272584"/>
                <a:gd name="connsiteY5" fmla="*/ 200369 h 314617"/>
                <a:gd name="connsiteX6" fmla="*/ 272584 w 272584"/>
                <a:gd name="connsiteY6" fmla="*/ 258238 h 314617"/>
                <a:gd name="connsiteX7" fmla="*/ 177331 w 272584"/>
                <a:gd name="connsiteY7" fmla="*/ 311348 h 314617"/>
                <a:gd name="connsiteX8" fmla="*/ 165091 w 272584"/>
                <a:gd name="connsiteY8" fmla="*/ 314617 h 314617"/>
                <a:gd name="connsiteX9" fmla="*/ 136528 w 272584"/>
                <a:gd name="connsiteY9" fmla="*/ 278262 h 314617"/>
                <a:gd name="connsiteX10" fmla="*/ 153949 w 272584"/>
                <a:gd name="connsiteY10" fmla="*/ 281965 h 314617"/>
                <a:gd name="connsiteX11" fmla="*/ 203610 w 272584"/>
                <a:gd name="connsiteY11" fmla="*/ 273137 h 314617"/>
                <a:gd name="connsiteX12" fmla="*/ 271481 w 272584"/>
                <a:gd name="connsiteY12" fmla="*/ 245547 h 314617"/>
                <a:gd name="connsiteX13" fmla="*/ 272584 w 272584"/>
                <a:gd name="connsiteY13" fmla="*/ 252720 h 314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2584" h="314617">
                  <a:moveTo>
                    <a:pt x="77412" y="203022"/>
                  </a:moveTo>
                  <a:lnTo>
                    <a:pt x="0" y="104495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3664" y="169400"/>
                    <a:pt x="74491" y="184988"/>
                    <a:pt x="76768" y="200369"/>
                  </a:cubicBezTo>
                  <a:close/>
                  <a:moveTo>
                    <a:pt x="272584" y="258238"/>
                  </a:moveTo>
                  <a:cubicBezTo>
                    <a:pt x="243339" y="283344"/>
                    <a:pt x="209542" y="300312"/>
                    <a:pt x="177331" y="311348"/>
                  </a:cubicBezTo>
                  <a:lnTo>
                    <a:pt x="165091" y="314617"/>
                  </a:lnTo>
                  <a:lnTo>
                    <a:pt x="136528" y="278262"/>
                  </a:lnTo>
                  <a:lnTo>
                    <a:pt x="153949" y="281965"/>
                  </a:lnTo>
                  <a:cubicBezTo>
                    <a:pt x="171055" y="281413"/>
                    <a:pt x="187608" y="278102"/>
                    <a:pt x="203610" y="273137"/>
                  </a:cubicBezTo>
                  <a:cubicBezTo>
                    <a:pt x="226786" y="265963"/>
                    <a:pt x="249409" y="256583"/>
                    <a:pt x="271481" y="245547"/>
                  </a:cubicBezTo>
                  <a:cubicBezTo>
                    <a:pt x="272032" y="247754"/>
                    <a:pt x="272584" y="250512"/>
                    <a:pt x="272584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2" name="Forme libre : forme 1281">
              <a:extLst>
                <a:ext uri="{FF2B5EF4-FFF2-40B4-BE49-F238E27FC236}">
                  <a16:creationId xmlns:a16="http://schemas.microsoft.com/office/drawing/2014/main" id="{49322978-3720-487C-8006-BF9E3F6D1CD3}"/>
                </a:ext>
              </a:extLst>
            </p:cNvPr>
            <p:cNvSpPr/>
            <p:nvPr/>
          </p:nvSpPr>
          <p:spPr>
            <a:xfrm rot="8716295">
              <a:off x="9063436" y="2943322"/>
              <a:ext cx="105430" cy="113008"/>
            </a:xfrm>
            <a:custGeom>
              <a:avLst/>
              <a:gdLst>
                <a:gd name="connsiteX0" fmla="*/ 5398 w 105430"/>
                <a:gd name="connsiteY0" fmla="*/ 96451 h 113008"/>
                <a:gd name="connsiteX1" fmla="*/ 0 w 105430"/>
                <a:gd name="connsiteY1" fmla="*/ 83667 h 113008"/>
                <a:gd name="connsiteX2" fmla="*/ 57995 w 105430"/>
                <a:gd name="connsiteY2" fmla="*/ 0 h 113008"/>
                <a:gd name="connsiteX3" fmla="*/ 88184 w 105430"/>
                <a:gd name="connsiteY3" fmla="*/ 12746 h 113008"/>
                <a:gd name="connsiteX4" fmla="*/ 88183 w 105430"/>
                <a:gd name="connsiteY4" fmla="*/ 95531 h 113008"/>
                <a:gd name="connsiteX5" fmla="*/ 46790 w 105430"/>
                <a:gd name="connsiteY5" fmla="*/ 113008 h 113008"/>
                <a:gd name="connsiteX6" fmla="*/ 5398 w 105430"/>
                <a:gd name="connsiteY6" fmla="*/ 96451 h 113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5430" h="113008">
                  <a:moveTo>
                    <a:pt x="5398" y="96451"/>
                  </a:moveTo>
                  <a:lnTo>
                    <a:pt x="0" y="83667"/>
                  </a:lnTo>
                  <a:lnTo>
                    <a:pt x="57995" y="0"/>
                  </a:lnTo>
                  <a:lnTo>
                    <a:pt x="88184" y="12746"/>
                  </a:lnTo>
                  <a:cubicBezTo>
                    <a:pt x="111179" y="34822"/>
                    <a:pt x="111179" y="72535"/>
                    <a:pt x="88183" y="95531"/>
                  </a:cubicBezTo>
                  <a:cubicBezTo>
                    <a:pt x="77145" y="106569"/>
                    <a:pt x="62428" y="113008"/>
                    <a:pt x="46790" y="113008"/>
                  </a:cubicBezTo>
                  <a:cubicBezTo>
                    <a:pt x="31154" y="113008"/>
                    <a:pt x="16436" y="107489"/>
                    <a:pt x="5398" y="9645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3" name="Forme libre : forme 1282">
              <a:extLst>
                <a:ext uri="{FF2B5EF4-FFF2-40B4-BE49-F238E27FC236}">
                  <a16:creationId xmlns:a16="http://schemas.microsoft.com/office/drawing/2014/main" id="{0E79394D-1F93-4DAB-A031-4180A71FEAA6}"/>
                </a:ext>
              </a:extLst>
            </p:cNvPr>
            <p:cNvSpPr/>
            <p:nvPr/>
          </p:nvSpPr>
          <p:spPr>
            <a:xfrm rot="8716295">
              <a:off x="8829051" y="297435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4" name="Forme libre : forme 1283">
              <a:extLst>
                <a:ext uri="{FF2B5EF4-FFF2-40B4-BE49-F238E27FC236}">
                  <a16:creationId xmlns:a16="http://schemas.microsoft.com/office/drawing/2014/main" id="{A779B4B1-CCAB-4B22-BE71-EFFAA7770D63}"/>
                </a:ext>
              </a:extLst>
            </p:cNvPr>
            <p:cNvSpPr/>
            <p:nvPr/>
          </p:nvSpPr>
          <p:spPr>
            <a:xfrm rot="8716295">
              <a:off x="9006503" y="281511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5" name="Forme libre : forme 1284">
              <a:extLst>
                <a:ext uri="{FF2B5EF4-FFF2-40B4-BE49-F238E27FC236}">
                  <a16:creationId xmlns:a16="http://schemas.microsoft.com/office/drawing/2014/main" id="{755E45E0-E074-4D6C-9B76-6EFDFD1013C0}"/>
                </a:ext>
              </a:extLst>
            </p:cNvPr>
            <p:cNvSpPr/>
            <p:nvPr/>
          </p:nvSpPr>
          <p:spPr>
            <a:xfrm rot="8716295">
              <a:off x="8951372" y="5039787"/>
              <a:ext cx="114842" cy="149763"/>
            </a:xfrm>
            <a:custGeom>
              <a:avLst/>
              <a:gdLst>
                <a:gd name="connsiteX0" fmla="*/ 0 w 114842"/>
                <a:gd name="connsiteY0" fmla="*/ 9212 h 149763"/>
                <a:gd name="connsiteX1" fmla="*/ 0 w 114842"/>
                <a:gd name="connsiteY1" fmla="*/ 0 h 149763"/>
                <a:gd name="connsiteX2" fmla="*/ 13290 w 114842"/>
                <a:gd name="connsiteY2" fmla="*/ 9212 h 149763"/>
                <a:gd name="connsiteX3" fmla="*/ 90709 w 114842"/>
                <a:gd name="connsiteY3" fmla="*/ 149763 h 149763"/>
                <a:gd name="connsiteX4" fmla="*/ 47847 w 114842"/>
                <a:gd name="connsiteY4" fmla="*/ 70018 h 149763"/>
                <a:gd name="connsiteX5" fmla="*/ 58479 w 114842"/>
                <a:gd name="connsiteY5" fmla="*/ 40536 h 149763"/>
                <a:gd name="connsiteX6" fmla="*/ 114842 w 114842"/>
                <a:gd name="connsiteY6" fmla="*/ 79604 h 149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842" h="149763">
                  <a:moveTo>
                    <a:pt x="0" y="9212"/>
                  </a:moveTo>
                  <a:lnTo>
                    <a:pt x="0" y="0"/>
                  </a:lnTo>
                  <a:lnTo>
                    <a:pt x="13290" y="9212"/>
                  </a:lnTo>
                  <a:close/>
                  <a:moveTo>
                    <a:pt x="90709" y="149763"/>
                  </a:moveTo>
                  <a:lnTo>
                    <a:pt x="47847" y="70018"/>
                  </a:lnTo>
                  <a:lnTo>
                    <a:pt x="58479" y="40536"/>
                  </a:lnTo>
                  <a:lnTo>
                    <a:pt x="114842" y="796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6" name="Forme libre : forme 1285">
              <a:extLst>
                <a:ext uri="{FF2B5EF4-FFF2-40B4-BE49-F238E27FC236}">
                  <a16:creationId xmlns:a16="http://schemas.microsoft.com/office/drawing/2014/main" id="{8AED8A80-C2CB-4353-A4D6-B63B770DAFE6}"/>
                </a:ext>
              </a:extLst>
            </p:cNvPr>
            <p:cNvSpPr/>
            <p:nvPr/>
          </p:nvSpPr>
          <p:spPr>
            <a:xfrm rot="8716295">
              <a:off x="8858304" y="4924131"/>
              <a:ext cx="290644" cy="300328"/>
            </a:xfrm>
            <a:custGeom>
              <a:avLst/>
              <a:gdLst>
                <a:gd name="connsiteX0" fmla="*/ 25298 w 290644"/>
                <a:gd name="connsiteY0" fmla="*/ 270737 h 300328"/>
                <a:gd name="connsiteX1" fmla="*/ 1 w 290644"/>
                <a:gd name="connsiteY1" fmla="*/ 169541 h 300328"/>
                <a:gd name="connsiteX2" fmla="*/ 0 w 290644"/>
                <a:gd name="connsiteY2" fmla="*/ 113409 h 300328"/>
                <a:gd name="connsiteX3" fmla="*/ 78612 w 290644"/>
                <a:gd name="connsiteY3" fmla="*/ 0 h 300328"/>
                <a:gd name="connsiteX4" fmla="*/ 79427 w 290644"/>
                <a:gd name="connsiteY4" fmla="*/ 113648 h 300328"/>
                <a:gd name="connsiteX5" fmla="*/ 93547 w 290644"/>
                <a:gd name="connsiteY5" fmla="*/ 211314 h 300328"/>
                <a:gd name="connsiteX6" fmla="*/ 164149 w 290644"/>
                <a:gd name="connsiteY6" fmla="*/ 250145 h 300328"/>
                <a:gd name="connsiteX7" fmla="*/ 217100 w 290644"/>
                <a:gd name="connsiteY7" fmla="*/ 240732 h 300328"/>
                <a:gd name="connsiteX8" fmla="*/ 289467 w 290644"/>
                <a:gd name="connsiteY8" fmla="*/ 211314 h 300328"/>
                <a:gd name="connsiteX9" fmla="*/ 290643 w 290644"/>
                <a:gd name="connsiteY9" fmla="*/ 218962 h 300328"/>
                <a:gd name="connsiteX10" fmla="*/ 290644 w 290644"/>
                <a:gd name="connsiteY10" fmla="*/ 224846 h 300328"/>
                <a:gd name="connsiteX11" fmla="*/ 97666 w 290644"/>
                <a:gd name="connsiteY11" fmla="*/ 300154 h 300328"/>
                <a:gd name="connsiteX12" fmla="*/ 25298 w 290644"/>
                <a:gd name="connsiteY12" fmla="*/ 270737 h 300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0644" h="300328">
                  <a:moveTo>
                    <a:pt x="25298" y="270737"/>
                  </a:moveTo>
                  <a:cubicBezTo>
                    <a:pt x="5295" y="251321"/>
                    <a:pt x="0" y="217786"/>
                    <a:pt x="1" y="169541"/>
                  </a:cubicBezTo>
                  <a:lnTo>
                    <a:pt x="0" y="113409"/>
                  </a:lnTo>
                  <a:lnTo>
                    <a:pt x="78612" y="0"/>
                  </a:lnTo>
                  <a:lnTo>
                    <a:pt x="79427" y="113648"/>
                  </a:lnTo>
                  <a:cubicBezTo>
                    <a:pt x="77662" y="146596"/>
                    <a:pt x="82956" y="180131"/>
                    <a:pt x="93547" y="211314"/>
                  </a:cubicBezTo>
                  <a:cubicBezTo>
                    <a:pt x="102961" y="237201"/>
                    <a:pt x="127083" y="250145"/>
                    <a:pt x="164149" y="250145"/>
                  </a:cubicBezTo>
                  <a:cubicBezTo>
                    <a:pt x="182388" y="249557"/>
                    <a:pt x="200038" y="246026"/>
                    <a:pt x="217100" y="240732"/>
                  </a:cubicBezTo>
                  <a:cubicBezTo>
                    <a:pt x="241810" y="233083"/>
                    <a:pt x="265932" y="223080"/>
                    <a:pt x="289467" y="211314"/>
                  </a:cubicBezTo>
                  <a:cubicBezTo>
                    <a:pt x="290055" y="213668"/>
                    <a:pt x="290643" y="216609"/>
                    <a:pt x="290643" y="218962"/>
                  </a:cubicBezTo>
                  <a:lnTo>
                    <a:pt x="290644" y="224846"/>
                  </a:lnTo>
                  <a:cubicBezTo>
                    <a:pt x="228278" y="278385"/>
                    <a:pt x="146498" y="297213"/>
                    <a:pt x="97666" y="300154"/>
                  </a:cubicBezTo>
                  <a:cubicBezTo>
                    <a:pt x="70602" y="301920"/>
                    <a:pt x="44126" y="290152"/>
                    <a:pt x="25298" y="27073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7" name="Forme libre : forme 1286">
              <a:extLst>
                <a:ext uri="{FF2B5EF4-FFF2-40B4-BE49-F238E27FC236}">
                  <a16:creationId xmlns:a16="http://schemas.microsoft.com/office/drawing/2014/main" id="{F6434F03-7136-449A-AE8B-69AAC2772741}"/>
                </a:ext>
              </a:extLst>
            </p:cNvPr>
            <p:cNvSpPr/>
            <p:nvPr/>
          </p:nvSpPr>
          <p:spPr>
            <a:xfrm rot="8716295">
              <a:off x="8680393" y="386057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8" name="Forme libre : forme 1287">
              <a:extLst>
                <a:ext uri="{FF2B5EF4-FFF2-40B4-BE49-F238E27FC236}">
                  <a16:creationId xmlns:a16="http://schemas.microsoft.com/office/drawing/2014/main" id="{18FA482F-B79B-416B-B433-51E98289C96F}"/>
                </a:ext>
              </a:extLst>
            </p:cNvPr>
            <p:cNvSpPr/>
            <p:nvPr/>
          </p:nvSpPr>
          <p:spPr>
            <a:xfrm rot="8716295">
              <a:off x="8769785" y="388981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9" name="Forme libre : forme 1288">
              <a:extLst>
                <a:ext uri="{FF2B5EF4-FFF2-40B4-BE49-F238E27FC236}">
                  <a16:creationId xmlns:a16="http://schemas.microsoft.com/office/drawing/2014/main" id="{0633B816-D2AD-461A-8DC1-A0C291E15BED}"/>
                </a:ext>
              </a:extLst>
            </p:cNvPr>
            <p:cNvSpPr/>
            <p:nvPr/>
          </p:nvSpPr>
          <p:spPr>
            <a:xfrm rot="8716295">
              <a:off x="8724935" y="380353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0" name="Forme libre : forme 1289">
              <a:extLst>
                <a:ext uri="{FF2B5EF4-FFF2-40B4-BE49-F238E27FC236}">
                  <a16:creationId xmlns:a16="http://schemas.microsoft.com/office/drawing/2014/main" id="{6AEF1F62-3BB3-42AF-9ABA-6922472D9D4C}"/>
                </a:ext>
              </a:extLst>
            </p:cNvPr>
            <p:cNvSpPr/>
            <p:nvPr/>
          </p:nvSpPr>
          <p:spPr>
            <a:xfrm rot="8716295">
              <a:off x="8568159" y="394911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1" name="Forme libre : forme 1290">
              <a:extLst>
                <a:ext uri="{FF2B5EF4-FFF2-40B4-BE49-F238E27FC236}">
                  <a16:creationId xmlns:a16="http://schemas.microsoft.com/office/drawing/2014/main" id="{37A3E740-A35C-49B8-BCA6-B63F53924CD9}"/>
                </a:ext>
              </a:extLst>
            </p:cNvPr>
            <p:cNvSpPr/>
            <p:nvPr/>
          </p:nvSpPr>
          <p:spPr>
            <a:xfrm rot="8716295">
              <a:off x="8443256" y="374044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2" name="Forme libre : forme 1291">
              <a:extLst>
                <a:ext uri="{FF2B5EF4-FFF2-40B4-BE49-F238E27FC236}">
                  <a16:creationId xmlns:a16="http://schemas.microsoft.com/office/drawing/2014/main" id="{4BC6A6C6-3506-4720-B433-50EBFD398AB2}"/>
                </a:ext>
              </a:extLst>
            </p:cNvPr>
            <p:cNvSpPr/>
            <p:nvPr/>
          </p:nvSpPr>
          <p:spPr>
            <a:xfrm rot="8716295">
              <a:off x="8431204" y="360166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3" name="Forme libre : forme 1292">
              <a:extLst>
                <a:ext uri="{FF2B5EF4-FFF2-40B4-BE49-F238E27FC236}">
                  <a16:creationId xmlns:a16="http://schemas.microsoft.com/office/drawing/2014/main" id="{856A2550-AA18-418C-9080-EC3036E4F436}"/>
                </a:ext>
              </a:extLst>
            </p:cNvPr>
            <p:cNvSpPr/>
            <p:nvPr/>
          </p:nvSpPr>
          <p:spPr>
            <a:xfrm rot="8716295">
              <a:off x="8658337" y="399007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4" name="Forme libre : forme 1293">
              <a:extLst>
                <a:ext uri="{FF2B5EF4-FFF2-40B4-BE49-F238E27FC236}">
                  <a16:creationId xmlns:a16="http://schemas.microsoft.com/office/drawing/2014/main" id="{D5235751-C722-4643-BB69-A63D9B7E2C7F}"/>
                </a:ext>
              </a:extLst>
            </p:cNvPr>
            <p:cNvSpPr/>
            <p:nvPr/>
          </p:nvSpPr>
          <p:spPr>
            <a:xfrm rot="8716295">
              <a:off x="8968661" y="3610682"/>
              <a:ext cx="142168" cy="232388"/>
            </a:xfrm>
            <a:custGeom>
              <a:avLst/>
              <a:gdLst>
                <a:gd name="connsiteX0" fmla="*/ 81109 w 142168"/>
                <a:gd name="connsiteY0" fmla="*/ 232388 h 232388"/>
                <a:gd name="connsiteX1" fmla="*/ 81108 w 142168"/>
                <a:gd name="connsiteY1" fmla="*/ 69717 h 232388"/>
                <a:gd name="connsiteX2" fmla="*/ 81108 w 142168"/>
                <a:gd name="connsiteY2" fmla="*/ 65615 h 232388"/>
                <a:gd name="connsiteX3" fmla="*/ 60603 w 142168"/>
                <a:gd name="connsiteY3" fmla="*/ 50123 h 232388"/>
                <a:gd name="connsiteX4" fmla="*/ 0 w 142168"/>
                <a:gd name="connsiteY4" fmla="*/ 50123 h 232388"/>
                <a:gd name="connsiteX5" fmla="*/ 0 w 142168"/>
                <a:gd name="connsiteY5" fmla="*/ 35740 h 232388"/>
                <a:gd name="connsiteX6" fmla="*/ 24774 w 142168"/>
                <a:gd name="connsiteY6" fmla="*/ 0 h 232388"/>
                <a:gd name="connsiteX7" fmla="*/ 85210 w 142168"/>
                <a:gd name="connsiteY7" fmla="*/ 0 h 232388"/>
                <a:gd name="connsiteX8" fmla="*/ 142168 w 142168"/>
                <a:gd name="connsiteY8" fmla="*/ 50123 h 232388"/>
                <a:gd name="connsiteX9" fmla="*/ 142167 w 142168"/>
                <a:gd name="connsiteY9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2168" h="232388">
                  <a:moveTo>
                    <a:pt x="81109" y="232388"/>
                  </a:moveTo>
                  <a:lnTo>
                    <a:pt x="81108" y="69717"/>
                  </a:lnTo>
                  <a:cubicBezTo>
                    <a:pt x="81108" y="68350"/>
                    <a:pt x="81108" y="66982"/>
                    <a:pt x="81108" y="65615"/>
                  </a:cubicBezTo>
                  <a:cubicBezTo>
                    <a:pt x="79741" y="55591"/>
                    <a:pt x="70628" y="48756"/>
                    <a:pt x="60603" y="50123"/>
                  </a:cubicBezTo>
                  <a:lnTo>
                    <a:pt x="0" y="50123"/>
                  </a:lnTo>
                  <a:lnTo>
                    <a:pt x="0" y="35740"/>
                  </a:lnTo>
                  <a:lnTo>
                    <a:pt x="24774" y="0"/>
                  </a:lnTo>
                  <a:lnTo>
                    <a:pt x="85210" y="0"/>
                  </a:lnTo>
                  <a:cubicBezTo>
                    <a:pt x="122118" y="0"/>
                    <a:pt x="142167" y="15949"/>
                    <a:pt x="142168" y="50123"/>
                  </a:cubicBezTo>
                  <a:lnTo>
                    <a:pt x="142167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5" name="Forme libre : forme 1294">
              <a:extLst>
                <a:ext uri="{FF2B5EF4-FFF2-40B4-BE49-F238E27FC236}">
                  <a16:creationId xmlns:a16="http://schemas.microsoft.com/office/drawing/2014/main" id="{85A06E5C-7F12-4A00-B7C2-0D110DC8B17B}"/>
                </a:ext>
              </a:extLst>
            </p:cNvPr>
            <p:cNvSpPr/>
            <p:nvPr/>
          </p:nvSpPr>
          <p:spPr>
            <a:xfrm rot="8716295">
              <a:off x="9109023" y="3840461"/>
              <a:ext cx="57223" cy="60210"/>
            </a:xfrm>
            <a:custGeom>
              <a:avLst/>
              <a:gdLst>
                <a:gd name="connsiteX0" fmla="*/ 0 w 57223"/>
                <a:gd name="connsiteY0" fmla="*/ 60210 h 60210"/>
                <a:gd name="connsiteX1" fmla="*/ 41735 w 57223"/>
                <a:gd name="connsiteY1" fmla="*/ 0 h 60210"/>
                <a:gd name="connsiteX2" fmla="*/ 57223 w 57223"/>
                <a:gd name="connsiteY2" fmla="*/ 50920 h 60210"/>
                <a:gd name="connsiteX3" fmla="*/ 57223 w 57223"/>
                <a:gd name="connsiteY3" fmla="*/ 56844 h 60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223" h="60210">
                  <a:moveTo>
                    <a:pt x="0" y="60210"/>
                  </a:moveTo>
                  <a:lnTo>
                    <a:pt x="41735" y="0"/>
                  </a:lnTo>
                  <a:lnTo>
                    <a:pt x="57223" y="50920"/>
                  </a:lnTo>
                  <a:lnTo>
                    <a:pt x="57223" y="568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6" name="Forme libre : forme 1295">
              <a:extLst>
                <a:ext uri="{FF2B5EF4-FFF2-40B4-BE49-F238E27FC236}">
                  <a16:creationId xmlns:a16="http://schemas.microsoft.com/office/drawing/2014/main" id="{1252EC58-9E57-4107-B2FC-C59BA27CE7DF}"/>
                </a:ext>
              </a:extLst>
            </p:cNvPr>
            <p:cNvSpPr/>
            <p:nvPr/>
          </p:nvSpPr>
          <p:spPr>
            <a:xfrm rot="8716295">
              <a:off x="8857258" y="369896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7" name="Forme libre : forme 1296">
              <a:extLst>
                <a:ext uri="{FF2B5EF4-FFF2-40B4-BE49-F238E27FC236}">
                  <a16:creationId xmlns:a16="http://schemas.microsoft.com/office/drawing/2014/main" id="{1954E87D-9885-4B97-8ACC-9DDD71F1F192}"/>
                </a:ext>
              </a:extLst>
            </p:cNvPr>
            <p:cNvSpPr/>
            <p:nvPr/>
          </p:nvSpPr>
          <p:spPr>
            <a:xfrm rot="8716295">
              <a:off x="8732356" y="349029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8" name="Forme libre : forme 1297">
              <a:extLst>
                <a:ext uri="{FF2B5EF4-FFF2-40B4-BE49-F238E27FC236}">
                  <a16:creationId xmlns:a16="http://schemas.microsoft.com/office/drawing/2014/main" id="{7DA0C229-B685-46FD-A282-2DDCFCEDAB1D}"/>
                </a:ext>
              </a:extLst>
            </p:cNvPr>
            <p:cNvSpPr/>
            <p:nvPr/>
          </p:nvSpPr>
          <p:spPr>
            <a:xfrm rot="8716295">
              <a:off x="8947436" y="373991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9" name="Forme libre : forme 1298">
              <a:extLst>
                <a:ext uri="{FF2B5EF4-FFF2-40B4-BE49-F238E27FC236}">
                  <a16:creationId xmlns:a16="http://schemas.microsoft.com/office/drawing/2014/main" id="{E583C73B-C59E-4715-A88F-1B25FEE34388}"/>
                </a:ext>
              </a:extLst>
            </p:cNvPr>
            <p:cNvSpPr/>
            <p:nvPr/>
          </p:nvSpPr>
          <p:spPr>
            <a:xfrm rot="8716295">
              <a:off x="8705985" y="359031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0" name="Forme libre : forme 1299">
              <a:extLst>
                <a:ext uri="{FF2B5EF4-FFF2-40B4-BE49-F238E27FC236}">
                  <a16:creationId xmlns:a16="http://schemas.microsoft.com/office/drawing/2014/main" id="{38178581-3BEA-4A48-A870-1DDB85404FFE}"/>
                </a:ext>
              </a:extLst>
            </p:cNvPr>
            <p:cNvSpPr/>
            <p:nvPr/>
          </p:nvSpPr>
          <p:spPr>
            <a:xfrm rot="7484129">
              <a:off x="9046498" y="3963386"/>
              <a:ext cx="145510" cy="161114"/>
            </a:xfrm>
            <a:custGeom>
              <a:avLst/>
              <a:gdLst>
                <a:gd name="connsiteX0" fmla="*/ 115849 w 145510"/>
                <a:gd name="connsiteY0" fmla="*/ 20564 h 161114"/>
                <a:gd name="connsiteX1" fmla="*/ 145509 w 145510"/>
                <a:gd name="connsiteY1" fmla="*/ 0 h 161114"/>
                <a:gd name="connsiteX2" fmla="*/ 145510 w 145510"/>
                <a:gd name="connsiteY2" fmla="*/ 20564 h 161114"/>
                <a:gd name="connsiteX3" fmla="*/ 32372 w 145510"/>
                <a:gd name="connsiteY3" fmla="*/ 161114 h 161114"/>
                <a:gd name="connsiteX4" fmla="*/ 0 w 145510"/>
                <a:gd name="connsiteY4" fmla="*/ 100888 h 161114"/>
                <a:gd name="connsiteX5" fmla="*/ 69714 w 145510"/>
                <a:gd name="connsiteY5" fmla="*/ 52552 h 161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5510" h="161114">
                  <a:moveTo>
                    <a:pt x="115849" y="20564"/>
                  </a:moveTo>
                  <a:lnTo>
                    <a:pt x="145509" y="0"/>
                  </a:lnTo>
                  <a:lnTo>
                    <a:pt x="145510" y="20564"/>
                  </a:lnTo>
                  <a:close/>
                  <a:moveTo>
                    <a:pt x="32372" y="161114"/>
                  </a:moveTo>
                  <a:lnTo>
                    <a:pt x="0" y="100888"/>
                  </a:lnTo>
                  <a:lnTo>
                    <a:pt x="69714" y="525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1" name="Forme libre : forme 1300">
              <a:extLst>
                <a:ext uri="{FF2B5EF4-FFF2-40B4-BE49-F238E27FC236}">
                  <a16:creationId xmlns:a16="http://schemas.microsoft.com/office/drawing/2014/main" id="{2DF0D885-AE91-4D82-A22C-467632822CD4}"/>
                </a:ext>
              </a:extLst>
            </p:cNvPr>
            <p:cNvSpPr/>
            <p:nvPr/>
          </p:nvSpPr>
          <p:spPr>
            <a:xfrm rot="8716295">
              <a:off x="9047721" y="363275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2" name="Forme libre : forme 1301">
              <a:extLst>
                <a:ext uri="{FF2B5EF4-FFF2-40B4-BE49-F238E27FC236}">
                  <a16:creationId xmlns:a16="http://schemas.microsoft.com/office/drawing/2014/main" id="{33C52D86-EED4-4053-8849-8D331CAB4CF0}"/>
                </a:ext>
              </a:extLst>
            </p:cNvPr>
            <p:cNvSpPr/>
            <p:nvPr/>
          </p:nvSpPr>
          <p:spPr>
            <a:xfrm rot="8716295">
              <a:off x="8903560" y="452027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3" name="Forme libre : forme 1302">
              <a:extLst>
                <a:ext uri="{FF2B5EF4-FFF2-40B4-BE49-F238E27FC236}">
                  <a16:creationId xmlns:a16="http://schemas.microsoft.com/office/drawing/2014/main" id="{0AC4DA6A-C1AB-4D56-874A-91BC5CE716BE}"/>
                </a:ext>
              </a:extLst>
            </p:cNvPr>
            <p:cNvSpPr/>
            <p:nvPr/>
          </p:nvSpPr>
          <p:spPr>
            <a:xfrm rot="8716295">
              <a:off x="8995011" y="4560813"/>
              <a:ext cx="209150" cy="252972"/>
            </a:xfrm>
            <a:custGeom>
              <a:avLst/>
              <a:gdLst>
                <a:gd name="connsiteX0" fmla="*/ 147180 w 209150"/>
                <a:gd name="connsiteY0" fmla="*/ 96224 h 252972"/>
                <a:gd name="connsiteX1" fmla="*/ 147180 w 209150"/>
                <a:gd name="connsiteY1" fmla="*/ 79820 h 252972"/>
                <a:gd name="connsiteX2" fmla="*/ 113461 w 209150"/>
                <a:gd name="connsiteY2" fmla="*/ 38355 h 252972"/>
                <a:gd name="connsiteX3" fmla="*/ 111078 w 209150"/>
                <a:gd name="connsiteY3" fmla="*/ 39142 h 252972"/>
                <a:gd name="connsiteX4" fmla="*/ 138210 w 209150"/>
                <a:gd name="connsiteY4" fmla="*/ 0 h 252972"/>
                <a:gd name="connsiteX5" fmla="*/ 189158 w 209150"/>
                <a:gd name="connsiteY5" fmla="*/ 20925 h 252972"/>
                <a:gd name="connsiteX6" fmla="*/ 209150 w 209150"/>
                <a:gd name="connsiteY6" fmla="*/ 86655 h 252972"/>
                <a:gd name="connsiteX7" fmla="*/ 209150 w 209150"/>
                <a:gd name="connsiteY7" fmla="*/ 92579 h 252972"/>
                <a:gd name="connsiteX8" fmla="*/ 0 w 209150"/>
                <a:gd name="connsiteY8" fmla="*/ 252972 h 252972"/>
                <a:gd name="connsiteX9" fmla="*/ 0 w 209150"/>
                <a:gd name="connsiteY9" fmla="*/ 199389 h 252972"/>
                <a:gd name="connsiteX10" fmla="*/ 62137 w 209150"/>
                <a:gd name="connsiteY10" fmla="*/ 109748 h 252972"/>
                <a:gd name="connsiteX11" fmla="*/ 60149 w 209150"/>
                <a:gd name="connsiteY11" fmla="*/ 125842 h 252972"/>
                <a:gd name="connsiteX12" fmla="*/ 60149 w 209150"/>
                <a:gd name="connsiteY12" fmla="*/ 211963 h 252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9150" h="252972">
                  <a:moveTo>
                    <a:pt x="147180" y="96224"/>
                  </a:moveTo>
                  <a:lnTo>
                    <a:pt x="147180" y="79820"/>
                  </a:lnTo>
                  <a:cubicBezTo>
                    <a:pt x="147180" y="55214"/>
                    <a:pt x="133055" y="38354"/>
                    <a:pt x="113461" y="38355"/>
                  </a:cubicBezTo>
                  <a:lnTo>
                    <a:pt x="111078" y="39142"/>
                  </a:lnTo>
                  <a:lnTo>
                    <a:pt x="138210" y="0"/>
                  </a:lnTo>
                  <a:lnTo>
                    <a:pt x="189158" y="20925"/>
                  </a:lnTo>
                  <a:cubicBezTo>
                    <a:pt x="202088" y="36076"/>
                    <a:pt x="209150" y="58404"/>
                    <a:pt x="209150" y="86655"/>
                  </a:cubicBezTo>
                  <a:lnTo>
                    <a:pt x="209150" y="92579"/>
                  </a:lnTo>
                  <a:close/>
                  <a:moveTo>
                    <a:pt x="0" y="252972"/>
                  </a:moveTo>
                  <a:lnTo>
                    <a:pt x="0" y="199389"/>
                  </a:lnTo>
                  <a:lnTo>
                    <a:pt x="62137" y="109748"/>
                  </a:lnTo>
                  <a:lnTo>
                    <a:pt x="60149" y="125842"/>
                  </a:lnTo>
                  <a:lnTo>
                    <a:pt x="60149" y="211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4" name="Forme libre : forme 1303">
              <a:extLst>
                <a:ext uri="{FF2B5EF4-FFF2-40B4-BE49-F238E27FC236}">
                  <a16:creationId xmlns:a16="http://schemas.microsoft.com/office/drawing/2014/main" id="{46EFB273-913D-41A4-BE13-A8E412E897AD}"/>
                </a:ext>
              </a:extLst>
            </p:cNvPr>
            <p:cNvSpPr/>
            <p:nvPr/>
          </p:nvSpPr>
          <p:spPr>
            <a:xfrm rot="8716295">
              <a:off x="8948102" y="446323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5" name="Forme libre : forme 1304">
              <a:extLst>
                <a:ext uri="{FF2B5EF4-FFF2-40B4-BE49-F238E27FC236}">
                  <a16:creationId xmlns:a16="http://schemas.microsoft.com/office/drawing/2014/main" id="{C8AFD01E-66A1-4775-A3BB-2B5B572FDEF5}"/>
                </a:ext>
              </a:extLst>
            </p:cNvPr>
            <p:cNvSpPr/>
            <p:nvPr/>
          </p:nvSpPr>
          <p:spPr>
            <a:xfrm rot="8716295">
              <a:off x="8791326" y="460881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6" name="Forme libre : forme 1305">
              <a:extLst>
                <a:ext uri="{FF2B5EF4-FFF2-40B4-BE49-F238E27FC236}">
                  <a16:creationId xmlns:a16="http://schemas.microsoft.com/office/drawing/2014/main" id="{C962FDB1-0DD4-43C1-8205-DE0798092D1A}"/>
                </a:ext>
              </a:extLst>
            </p:cNvPr>
            <p:cNvSpPr/>
            <p:nvPr/>
          </p:nvSpPr>
          <p:spPr>
            <a:xfrm rot="8716295">
              <a:off x="8666423" y="440014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7" name="Forme libre : forme 1306">
              <a:extLst>
                <a:ext uri="{FF2B5EF4-FFF2-40B4-BE49-F238E27FC236}">
                  <a16:creationId xmlns:a16="http://schemas.microsoft.com/office/drawing/2014/main" id="{0480D47A-1697-4D7E-813B-FF226D47F8DF}"/>
                </a:ext>
              </a:extLst>
            </p:cNvPr>
            <p:cNvSpPr/>
            <p:nvPr/>
          </p:nvSpPr>
          <p:spPr>
            <a:xfrm rot="8716295">
              <a:off x="8654371" y="426136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8" name="Forme libre : forme 1307">
              <a:extLst>
                <a:ext uri="{FF2B5EF4-FFF2-40B4-BE49-F238E27FC236}">
                  <a16:creationId xmlns:a16="http://schemas.microsoft.com/office/drawing/2014/main" id="{65904141-C75F-433C-BE0F-46087197E036}"/>
                </a:ext>
              </a:extLst>
            </p:cNvPr>
            <p:cNvSpPr/>
            <p:nvPr/>
          </p:nvSpPr>
          <p:spPr>
            <a:xfrm rot="8716295">
              <a:off x="8881504" y="464976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9" name="Forme libre : forme 1308">
              <a:extLst>
                <a:ext uri="{FF2B5EF4-FFF2-40B4-BE49-F238E27FC236}">
                  <a16:creationId xmlns:a16="http://schemas.microsoft.com/office/drawing/2014/main" id="{A0CD19D0-7C1F-40D5-AA23-F68A2F38F994}"/>
                </a:ext>
              </a:extLst>
            </p:cNvPr>
            <p:cNvSpPr/>
            <p:nvPr/>
          </p:nvSpPr>
          <p:spPr>
            <a:xfrm rot="8716295">
              <a:off x="9080425" y="435866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0" name="Forme libre : forme 1309">
              <a:extLst>
                <a:ext uri="{FF2B5EF4-FFF2-40B4-BE49-F238E27FC236}">
                  <a16:creationId xmlns:a16="http://schemas.microsoft.com/office/drawing/2014/main" id="{81CE2624-1FCB-48DB-8B92-3586C59F8F57}"/>
                </a:ext>
              </a:extLst>
            </p:cNvPr>
            <p:cNvSpPr/>
            <p:nvPr/>
          </p:nvSpPr>
          <p:spPr>
            <a:xfrm rot="8716295">
              <a:off x="9127247" y="4438294"/>
              <a:ext cx="21643" cy="52047"/>
            </a:xfrm>
            <a:custGeom>
              <a:avLst/>
              <a:gdLst>
                <a:gd name="connsiteX0" fmla="*/ 21643 w 21643"/>
                <a:gd name="connsiteY0" fmla="*/ 52047 h 52047"/>
                <a:gd name="connsiteX1" fmla="*/ 0 w 21643"/>
                <a:gd name="connsiteY1" fmla="*/ 31224 h 52047"/>
                <a:gd name="connsiteX2" fmla="*/ 21643 w 21643"/>
                <a:gd name="connsiteY2" fmla="*/ 0 h 52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643" h="52047">
                  <a:moveTo>
                    <a:pt x="21643" y="52047"/>
                  </a:moveTo>
                  <a:lnTo>
                    <a:pt x="0" y="31224"/>
                  </a:lnTo>
                  <a:lnTo>
                    <a:pt x="2164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1" name="Forme libre : forme 1310">
              <a:extLst>
                <a:ext uri="{FF2B5EF4-FFF2-40B4-BE49-F238E27FC236}">
                  <a16:creationId xmlns:a16="http://schemas.microsoft.com/office/drawing/2014/main" id="{31C12572-D0CA-4CC0-9BB5-4B6FE0704FA0}"/>
                </a:ext>
              </a:extLst>
            </p:cNvPr>
            <p:cNvSpPr/>
            <p:nvPr/>
          </p:nvSpPr>
          <p:spPr>
            <a:xfrm rot="8716295">
              <a:off x="8929152" y="425001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2" name="Forme libre : forme 1311">
              <a:extLst>
                <a:ext uri="{FF2B5EF4-FFF2-40B4-BE49-F238E27FC236}">
                  <a16:creationId xmlns:a16="http://schemas.microsoft.com/office/drawing/2014/main" id="{06FE0F28-DCFA-4771-A32B-AC14F208D6DB}"/>
                </a:ext>
              </a:extLst>
            </p:cNvPr>
            <p:cNvSpPr/>
            <p:nvPr/>
          </p:nvSpPr>
          <p:spPr>
            <a:xfrm rot="8716295">
              <a:off x="8017038" y="188150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3" name="Forme libre : forme 1312">
              <a:extLst>
                <a:ext uri="{FF2B5EF4-FFF2-40B4-BE49-F238E27FC236}">
                  <a16:creationId xmlns:a16="http://schemas.microsoft.com/office/drawing/2014/main" id="{03B42E83-510C-4BBE-9C20-B941145EA450}"/>
                </a:ext>
              </a:extLst>
            </p:cNvPr>
            <p:cNvSpPr/>
            <p:nvPr/>
          </p:nvSpPr>
          <p:spPr>
            <a:xfrm rot="8716295">
              <a:off x="8106430" y="191074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4" name="Forme libre : forme 1313">
              <a:extLst>
                <a:ext uri="{FF2B5EF4-FFF2-40B4-BE49-F238E27FC236}">
                  <a16:creationId xmlns:a16="http://schemas.microsoft.com/office/drawing/2014/main" id="{E67399C3-F788-46B5-AAA0-190EC08469BC}"/>
                </a:ext>
              </a:extLst>
            </p:cNvPr>
            <p:cNvSpPr/>
            <p:nvPr/>
          </p:nvSpPr>
          <p:spPr>
            <a:xfrm rot="8716295">
              <a:off x="8061580" y="182446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5" name="Forme libre : forme 1314">
              <a:extLst>
                <a:ext uri="{FF2B5EF4-FFF2-40B4-BE49-F238E27FC236}">
                  <a16:creationId xmlns:a16="http://schemas.microsoft.com/office/drawing/2014/main" id="{BD7D0800-7564-4656-8A63-156A029FB19B}"/>
                </a:ext>
              </a:extLst>
            </p:cNvPr>
            <p:cNvSpPr/>
            <p:nvPr/>
          </p:nvSpPr>
          <p:spPr>
            <a:xfrm rot="8716295">
              <a:off x="7904804" y="197004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6" name="Forme libre : forme 1315">
              <a:extLst>
                <a:ext uri="{FF2B5EF4-FFF2-40B4-BE49-F238E27FC236}">
                  <a16:creationId xmlns:a16="http://schemas.microsoft.com/office/drawing/2014/main" id="{E030DE09-FA2D-4210-A1C0-5CFD337D68EF}"/>
                </a:ext>
              </a:extLst>
            </p:cNvPr>
            <p:cNvSpPr/>
            <p:nvPr/>
          </p:nvSpPr>
          <p:spPr>
            <a:xfrm rot="8716295">
              <a:off x="7779901" y="17613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7" name="Forme libre : forme 1316">
              <a:extLst>
                <a:ext uri="{FF2B5EF4-FFF2-40B4-BE49-F238E27FC236}">
                  <a16:creationId xmlns:a16="http://schemas.microsoft.com/office/drawing/2014/main" id="{441C3211-E12F-43F5-818D-D86C03979435}"/>
                </a:ext>
              </a:extLst>
            </p:cNvPr>
            <p:cNvSpPr/>
            <p:nvPr/>
          </p:nvSpPr>
          <p:spPr>
            <a:xfrm rot="8716295">
              <a:off x="7767849" y="162259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8" name="Forme libre : forme 1317">
              <a:extLst>
                <a:ext uri="{FF2B5EF4-FFF2-40B4-BE49-F238E27FC236}">
                  <a16:creationId xmlns:a16="http://schemas.microsoft.com/office/drawing/2014/main" id="{C81B3DBB-390A-4D8F-BC6E-FD3ECDEE0BB0}"/>
                </a:ext>
              </a:extLst>
            </p:cNvPr>
            <p:cNvSpPr/>
            <p:nvPr/>
          </p:nvSpPr>
          <p:spPr>
            <a:xfrm rot="8716295">
              <a:off x="7994982" y="201100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9" name="Forme libre : forme 1318">
              <a:extLst>
                <a:ext uri="{FF2B5EF4-FFF2-40B4-BE49-F238E27FC236}">
                  <a16:creationId xmlns:a16="http://schemas.microsoft.com/office/drawing/2014/main" id="{BFAFB460-4ECD-40BE-A4EC-4006AC399A7C}"/>
                </a:ext>
              </a:extLst>
            </p:cNvPr>
            <p:cNvSpPr/>
            <p:nvPr/>
          </p:nvSpPr>
          <p:spPr>
            <a:xfrm rot="8716295">
              <a:off x="8306137" y="163135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0" name="Forme libre : forme 1319">
              <a:extLst>
                <a:ext uri="{FF2B5EF4-FFF2-40B4-BE49-F238E27FC236}">
                  <a16:creationId xmlns:a16="http://schemas.microsoft.com/office/drawing/2014/main" id="{7B541B2F-C4AD-4DCD-BCB5-5352D9CFB3ED}"/>
                </a:ext>
              </a:extLst>
            </p:cNvPr>
            <p:cNvSpPr/>
            <p:nvPr/>
          </p:nvSpPr>
          <p:spPr>
            <a:xfrm rot="8716295">
              <a:off x="8395529" y="166059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1" name="Forme libre : forme 1320">
              <a:extLst>
                <a:ext uri="{FF2B5EF4-FFF2-40B4-BE49-F238E27FC236}">
                  <a16:creationId xmlns:a16="http://schemas.microsoft.com/office/drawing/2014/main" id="{A45C4522-56D9-451A-9CF4-67FE5A5396B0}"/>
                </a:ext>
              </a:extLst>
            </p:cNvPr>
            <p:cNvSpPr/>
            <p:nvPr/>
          </p:nvSpPr>
          <p:spPr>
            <a:xfrm rot="8716295">
              <a:off x="8193903" y="171989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2" name="Forme libre : forme 1321">
              <a:extLst>
                <a:ext uri="{FF2B5EF4-FFF2-40B4-BE49-F238E27FC236}">
                  <a16:creationId xmlns:a16="http://schemas.microsoft.com/office/drawing/2014/main" id="{E7717817-0555-4B4B-895C-A33E36D53D8F}"/>
                </a:ext>
              </a:extLst>
            </p:cNvPr>
            <p:cNvSpPr/>
            <p:nvPr/>
          </p:nvSpPr>
          <p:spPr>
            <a:xfrm rot="8716295">
              <a:off x="8069001" y="151122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3" name="Forme libre : forme 1322">
              <a:extLst>
                <a:ext uri="{FF2B5EF4-FFF2-40B4-BE49-F238E27FC236}">
                  <a16:creationId xmlns:a16="http://schemas.microsoft.com/office/drawing/2014/main" id="{5BD4E83D-6535-4EE0-A9B7-D5185CFA466C}"/>
                </a:ext>
              </a:extLst>
            </p:cNvPr>
            <p:cNvSpPr/>
            <p:nvPr/>
          </p:nvSpPr>
          <p:spPr>
            <a:xfrm rot="8716295">
              <a:off x="8284081" y="176084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4" name="Forme libre : forme 1323">
              <a:extLst>
                <a:ext uri="{FF2B5EF4-FFF2-40B4-BE49-F238E27FC236}">
                  <a16:creationId xmlns:a16="http://schemas.microsoft.com/office/drawing/2014/main" id="{550B4B31-795C-4AC8-BA83-B9758B5300F7}"/>
                </a:ext>
              </a:extLst>
            </p:cNvPr>
            <p:cNvSpPr/>
            <p:nvPr/>
          </p:nvSpPr>
          <p:spPr>
            <a:xfrm rot="8716295">
              <a:off x="8042630" y="161124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5" name="Forme libre : forme 1324">
              <a:extLst>
                <a:ext uri="{FF2B5EF4-FFF2-40B4-BE49-F238E27FC236}">
                  <a16:creationId xmlns:a16="http://schemas.microsoft.com/office/drawing/2014/main" id="{7AE347C2-0FF0-43F2-9E07-9395DE30E665}"/>
                </a:ext>
              </a:extLst>
            </p:cNvPr>
            <p:cNvSpPr/>
            <p:nvPr/>
          </p:nvSpPr>
          <p:spPr>
            <a:xfrm rot="7484129">
              <a:off x="8389012" y="195220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6" name="Forme libre : forme 1325">
              <a:extLst>
                <a:ext uri="{FF2B5EF4-FFF2-40B4-BE49-F238E27FC236}">
                  <a16:creationId xmlns:a16="http://schemas.microsoft.com/office/drawing/2014/main" id="{D3A4F277-D48F-4980-838D-133EBFE3B58C}"/>
                </a:ext>
              </a:extLst>
            </p:cNvPr>
            <p:cNvSpPr/>
            <p:nvPr/>
          </p:nvSpPr>
          <p:spPr>
            <a:xfrm rot="13089394">
              <a:off x="8493832" y="191873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7" name="Forme libre : forme 1326">
              <a:extLst>
                <a:ext uri="{FF2B5EF4-FFF2-40B4-BE49-F238E27FC236}">
                  <a16:creationId xmlns:a16="http://schemas.microsoft.com/office/drawing/2014/main" id="{F44857BA-0E6D-444C-8130-0CFA8DA44B30}"/>
                </a:ext>
              </a:extLst>
            </p:cNvPr>
            <p:cNvSpPr/>
            <p:nvPr/>
          </p:nvSpPr>
          <p:spPr>
            <a:xfrm rot="8716295">
              <a:off x="8679417" y="172705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8" name="Forme libre : forme 1327">
              <a:extLst>
                <a:ext uri="{FF2B5EF4-FFF2-40B4-BE49-F238E27FC236}">
                  <a16:creationId xmlns:a16="http://schemas.microsoft.com/office/drawing/2014/main" id="{D4C84979-7E73-4B70-A159-042D83A98EA4}"/>
                </a:ext>
              </a:extLst>
            </p:cNvPr>
            <p:cNvSpPr/>
            <p:nvPr/>
          </p:nvSpPr>
          <p:spPr>
            <a:xfrm rot="8716295">
              <a:off x="8627612" y="162346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9" name="Forme libre : forme 1328">
              <a:extLst>
                <a:ext uri="{FF2B5EF4-FFF2-40B4-BE49-F238E27FC236}">
                  <a16:creationId xmlns:a16="http://schemas.microsoft.com/office/drawing/2014/main" id="{C1D10C79-BBC0-4738-9EE2-1E8709B72D7D}"/>
                </a:ext>
              </a:extLst>
            </p:cNvPr>
            <p:cNvSpPr/>
            <p:nvPr/>
          </p:nvSpPr>
          <p:spPr>
            <a:xfrm rot="8716295">
              <a:off x="8384366" y="165368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0" name="Forme libre : forme 1329">
              <a:extLst>
                <a:ext uri="{FF2B5EF4-FFF2-40B4-BE49-F238E27FC236}">
                  <a16:creationId xmlns:a16="http://schemas.microsoft.com/office/drawing/2014/main" id="{84968DC1-9DA6-4257-AB15-0940E818C029}"/>
                </a:ext>
              </a:extLst>
            </p:cNvPr>
            <p:cNvSpPr/>
            <p:nvPr/>
          </p:nvSpPr>
          <p:spPr>
            <a:xfrm rot="8716295">
              <a:off x="8561818" y="149443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1" name="Forme libre : forme 1330">
              <a:extLst>
                <a:ext uri="{FF2B5EF4-FFF2-40B4-BE49-F238E27FC236}">
                  <a16:creationId xmlns:a16="http://schemas.microsoft.com/office/drawing/2014/main" id="{259462E3-1804-418C-9BF0-9C34C3096E62}"/>
                </a:ext>
              </a:extLst>
            </p:cNvPr>
            <p:cNvSpPr/>
            <p:nvPr/>
          </p:nvSpPr>
          <p:spPr>
            <a:xfrm rot="8716295">
              <a:off x="7793871" y="122180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2" name="Forme libre : forme 1331">
              <a:extLst>
                <a:ext uri="{FF2B5EF4-FFF2-40B4-BE49-F238E27FC236}">
                  <a16:creationId xmlns:a16="http://schemas.microsoft.com/office/drawing/2014/main" id="{7B2E794A-058D-4204-8976-C2253563124B}"/>
                </a:ext>
              </a:extLst>
            </p:cNvPr>
            <p:cNvSpPr/>
            <p:nvPr/>
          </p:nvSpPr>
          <p:spPr>
            <a:xfrm rot="8716295">
              <a:off x="7883263" y="125104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3" name="Forme libre : forme 1332">
              <a:extLst>
                <a:ext uri="{FF2B5EF4-FFF2-40B4-BE49-F238E27FC236}">
                  <a16:creationId xmlns:a16="http://schemas.microsoft.com/office/drawing/2014/main" id="{31CF00F1-0460-4F25-BB21-EB3DEDFBD98D}"/>
                </a:ext>
              </a:extLst>
            </p:cNvPr>
            <p:cNvSpPr/>
            <p:nvPr/>
          </p:nvSpPr>
          <p:spPr>
            <a:xfrm rot="8716295">
              <a:off x="7838413" y="1164768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4" name="Forme libre : forme 1333">
              <a:extLst>
                <a:ext uri="{FF2B5EF4-FFF2-40B4-BE49-F238E27FC236}">
                  <a16:creationId xmlns:a16="http://schemas.microsoft.com/office/drawing/2014/main" id="{BCBED745-150E-4526-8568-62C6BF9E77BE}"/>
                </a:ext>
              </a:extLst>
            </p:cNvPr>
            <p:cNvSpPr/>
            <p:nvPr/>
          </p:nvSpPr>
          <p:spPr>
            <a:xfrm rot="8716295">
              <a:off x="7681637" y="131035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5" name="Forme libre : forme 1334">
              <a:extLst>
                <a:ext uri="{FF2B5EF4-FFF2-40B4-BE49-F238E27FC236}">
                  <a16:creationId xmlns:a16="http://schemas.microsoft.com/office/drawing/2014/main" id="{4F66BBCB-B640-4584-ADDB-9A235DECC828}"/>
                </a:ext>
              </a:extLst>
            </p:cNvPr>
            <p:cNvSpPr/>
            <p:nvPr/>
          </p:nvSpPr>
          <p:spPr>
            <a:xfrm rot="8716295">
              <a:off x="7556734" y="110167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6" name="Forme libre : forme 1335">
              <a:extLst>
                <a:ext uri="{FF2B5EF4-FFF2-40B4-BE49-F238E27FC236}">
                  <a16:creationId xmlns:a16="http://schemas.microsoft.com/office/drawing/2014/main" id="{E6E36EEB-8827-4842-B89F-26523D1637B2}"/>
                </a:ext>
              </a:extLst>
            </p:cNvPr>
            <p:cNvSpPr/>
            <p:nvPr/>
          </p:nvSpPr>
          <p:spPr>
            <a:xfrm rot="8716295">
              <a:off x="7544682" y="962897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7" name="Forme libre : forme 1336">
              <a:extLst>
                <a:ext uri="{FF2B5EF4-FFF2-40B4-BE49-F238E27FC236}">
                  <a16:creationId xmlns:a16="http://schemas.microsoft.com/office/drawing/2014/main" id="{ECE47C5C-3D06-4911-A1DE-543CB20F5396}"/>
                </a:ext>
              </a:extLst>
            </p:cNvPr>
            <p:cNvSpPr/>
            <p:nvPr/>
          </p:nvSpPr>
          <p:spPr>
            <a:xfrm rot="8716295">
              <a:off x="7771815" y="1351302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8" name="Forme libre : forme 1337">
              <a:extLst>
                <a:ext uri="{FF2B5EF4-FFF2-40B4-BE49-F238E27FC236}">
                  <a16:creationId xmlns:a16="http://schemas.microsoft.com/office/drawing/2014/main" id="{8CC68F11-D64D-4203-A8DD-898BE62FB0FE}"/>
                </a:ext>
              </a:extLst>
            </p:cNvPr>
            <p:cNvSpPr/>
            <p:nvPr/>
          </p:nvSpPr>
          <p:spPr>
            <a:xfrm rot="8716295">
              <a:off x="8082970" y="97165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9" name="Forme libre : forme 1338">
              <a:extLst>
                <a:ext uri="{FF2B5EF4-FFF2-40B4-BE49-F238E27FC236}">
                  <a16:creationId xmlns:a16="http://schemas.microsoft.com/office/drawing/2014/main" id="{1B97A536-69CC-493F-9F28-150068FA4CCA}"/>
                </a:ext>
              </a:extLst>
            </p:cNvPr>
            <p:cNvSpPr/>
            <p:nvPr/>
          </p:nvSpPr>
          <p:spPr>
            <a:xfrm rot="8716295">
              <a:off x="8172362" y="100089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0" name="Forme libre : forme 1339">
              <a:extLst>
                <a:ext uri="{FF2B5EF4-FFF2-40B4-BE49-F238E27FC236}">
                  <a16:creationId xmlns:a16="http://schemas.microsoft.com/office/drawing/2014/main" id="{CCB2D551-0206-4F5E-9C9A-7BFB60BB3657}"/>
                </a:ext>
              </a:extLst>
            </p:cNvPr>
            <p:cNvSpPr/>
            <p:nvPr/>
          </p:nvSpPr>
          <p:spPr>
            <a:xfrm rot="8716295">
              <a:off x="7970736" y="106019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1" name="Forme libre : forme 1340">
              <a:extLst>
                <a:ext uri="{FF2B5EF4-FFF2-40B4-BE49-F238E27FC236}">
                  <a16:creationId xmlns:a16="http://schemas.microsoft.com/office/drawing/2014/main" id="{9A449D56-39AF-4FEE-8AA3-483E9E2127DF}"/>
                </a:ext>
              </a:extLst>
            </p:cNvPr>
            <p:cNvSpPr/>
            <p:nvPr/>
          </p:nvSpPr>
          <p:spPr>
            <a:xfrm rot="8716295">
              <a:off x="7845834" y="85152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2" name="Forme libre : forme 1341">
              <a:extLst>
                <a:ext uri="{FF2B5EF4-FFF2-40B4-BE49-F238E27FC236}">
                  <a16:creationId xmlns:a16="http://schemas.microsoft.com/office/drawing/2014/main" id="{2C1F0455-4C7C-4E73-A620-001FD7ED9AB5}"/>
                </a:ext>
              </a:extLst>
            </p:cNvPr>
            <p:cNvSpPr/>
            <p:nvPr/>
          </p:nvSpPr>
          <p:spPr>
            <a:xfrm rot="8716295">
              <a:off x="8060914" y="1101150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3" name="Forme libre : forme 1342">
              <a:extLst>
                <a:ext uri="{FF2B5EF4-FFF2-40B4-BE49-F238E27FC236}">
                  <a16:creationId xmlns:a16="http://schemas.microsoft.com/office/drawing/2014/main" id="{41DB3307-8152-4BE9-B762-06FE2A91823A}"/>
                </a:ext>
              </a:extLst>
            </p:cNvPr>
            <p:cNvSpPr/>
            <p:nvPr/>
          </p:nvSpPr>
          <p:spPr>
            <a:xfrm rot="8716295">
              <a:off x="7819463" y="951550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4" name="Forme libre : forme 1343">
              <a:extLst>
                <a:ext uri="{FF2B5EF4-FFF2-40B4-BE49-F238E27FC236}">
                  <a16:creationId xmlns:a16="http://schemas.microsoft.com/office/drawing/2014/main" id="{2DB83C87-A139-49A9-B6AB-1102034F7247}"/>
                </a:ext>
              </a:extLst>
            </p:cNvPr>
            <p:cNvSpPr/>
            <p:nvPr/>
          </p:nvSpPr>
          <p:spPr>
            <a:xfrm rot="7484129">
              <a:off x="8165845" y="129250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5" name="Forme libre : forme 1344">
              <a:extLst>
                <a:ext uri="{FF2B5EF4-FFF2-40B4-BE49-F238E27FC236}">
                  <a16:creationId xmlns:a16="http://schemas.microsoft.com/office/drawing/2014/main" id="{11C329AE-CBAF-4CCB-B99D-3F22C888BA7C}"/>
                </a:ext>
              </a:extLst>
            </p:cNvPr>
            <p:cNvSpPr/>
            <p:nvPr/>
          </p:nvSpPr>
          <p:spPr>
            <a:xfrm rot="13089394">
              <a:off x="8270665" y="1259035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6" name="Forme libre : forme 1345">
              <a:extLst>
                <a:ext uri="{FF2B5EF4-FFF2-40B4-BE49-F238E27FC236}">
                  <a16:creationId xmlns:a16="http://schemas.microsoft.com/office/drawing/2014/main" id="{E706AB59-2595-41B4-8522-59590F4D9699}"/>
                </a:ext>
              </a:extLst>
            </p:cNvPr>
            <p:cNvSpPr/>
            <p:nvPr/>
          </p:nvSpPr>
          <p:spPr>
            <a:xfrm rot="8716295">
              <a:off x="8456250" y="1067354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7" name="Forme libre : forme 1346">
              <a:extLst>
                <a:ext uri="{FF2B5EF4-FFF2-40B4-BE49-F238E27FC236}">
                  <a16:creationId xmlns:a16="http://schemas.microsoft.com/office/drawing/2014/main" id="{8B218DA3-4C20-417B-B0EF-ABDFE6AB8CC6}"/>
                </a:ext>
              </a:extLst>
            </p:cNvPr>
            <p:cNvSpPr/>
            <p:nvPr/>
          </p:nvSpPr>
          <p:spPr>
            <a:xfrm rot="8716295">
              <a:off x="8404445" y="96376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8" name="Forme libre : forme 1347">
              <a:extLst>
                <a:ext uri="{FF2B5EF4-FFF2-40B4-BE49-F238E27FC236}">
                  <a16:creationId xmlns:a16="http://schemas.microsoft.com/office/drawing/2014/main" id="{377AE419-7F42-4BED-883F-DE4817AED47F}"/>
                </a:ext>
              </a:extLst>
            </p:cNvPr>
            <p:cNvSpPr/>
            <p:nvPr/>
          </p:nvSpPr>
          <p:spPr>
            <a:xfrm rot="8716295">
              <a:off x="8161199" y="99398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9" name="Forme libre : forme 1348">
              <a:extLst>
                <a:ext uri="{FF2B5EF4-FFF2-40B4-BE49-F238E27FC236}">
                  <a16:creationId xmlns:a16="http://schemas.microsoft.com/office/drawing/2014/main" id="{7E83A637-26B0-46B8-8EFD-0E2059469BCD}"/>
                </a:ext>
              </a:extLst>
            </p:cNvPr>
            <p:cNvSpPr/>
            <p:nvPr/>
          </p:nvSpPr>
          <p:spPr>
            <a:xfrm rot="8716295">
              <a:off x="8338651" y="83474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0" name="Forme libre : forme 1349">
              <a:extLst>
                <a:ext uri="{FF2B5EF4-FFF2-40B4-BE49-F238E27FC236}">
                  <a16:creationId xmlns:a16="http://schemas.microsoft.com/office/drawing/2014/main" id="{C18F78D3-27CA-4FE7-8D10-288FCA710C52}"/>
                </a:ext>
              </a:extLst>
            </p:cNvPr>
            <p:cNvSpPr/>
            <p:nvPr/>
          </p:nvSpPr>
          <p:spPr>
            <a:xfrm rot="8716295">
              <a:off x="7574932" y="55974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1" name="Forme libre : forme 1350">
              <a:extLst>
                <a:ext uri="{FF2B5EF4-FFF2-40B4-BE49-F238E27FC236}">
                  <a16:creationId xmlns:a16="http://schemas.microsoft.com/office/drawing/2014/main" id="{A924F1C2-2B76-450B-9A77-8646D18AD03B}"/>
                </a:ext>
              </a:extLst>
            </p:cNvPr>
            <p:cNvSpPr/>
            <p:nvPr/>
          </p:nvSpPr>
          <p:spPr>
            <a:xfrm rot="8716295">
              <a:off x="7664324" y="58899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2" name="Forme libre : forme 1351">
              <a:extLst>
                <a:ext uri="{FF2B5EF4-FFF2-40B4-BE49-F238E27FC236}">
                  <a16:creationId xmlns:a16="http://schemas.microsoft.com/office/drawing/2014/main" id="{60DD2207-E931-4D7C-9A6C-4E56F5350FC4}"/>
                </a:ext>
              </a:extLst>
            </p:cNvPr>
            <p:cNvSpPr/>
            <p:nvPr/>
          </p:nvSpPr>
          <p:spPr>
            <a:xfrm rot="8716295">
              <a:off x="7619474" y="50271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3" name="Forme libre : forme 1352">
              <a:extLst>
                <a:ext uri="{FF2B5EF4-FFF2-40B4-BE49-F238E27FC236}">
                  <a16:creationId xmlns:a16="http://schemas.microsoft.com/office/drawing/2014/main" id="{689E2E49-7D57-46D6-AA9A-1A26E7895ACE}"/>
                </a:ext>
              </a:extLst>
            </p:cNvPr>
            <p:cNvSpPr/>
            <p:nvPr/>
          </p:nvSpPr>
          <p:spPr>
            <a:xfrm rot="8716295">
              <a:off x="7462698" y="64829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4" name="Forme libre : forme 1353">
              <a:extLst>
                <a:ext uri="{FF2B5EF4-FFF2-40B4-BE49-F238E27FC236}">
                  <a16:creationId xmlns:a16="http://schemas.microsoft.com/office/drawing/2014/main" id="{E762F27D-A5ED-44DC-B200-6B930738C39C}"/>
                </a:ext>
              </a:extLst>
            </p:cNvPr>
            <p:cNvSpPr/>
            <p:nvPr/>
          </p:nvSpPr>
          <p:spPr>
            <a:xfrm rot="8716295">
              <a:off x="7337795" y="43961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5" name="Forme libre : forme 1354">
              <a:extLst>
                <a:ext uri="{FF2B5EF4-FFF2-40B4-BE49-F238E27FC236}">
                  <a16:creationId xmlns:a16="http://schemas.microsoft.com/office/drawing/2014/main" id="{CE2E4ED8-7B2D-48C9-B5B5-5ED6C2B0B006}"/>
                </a:ext>
              </a:extLst>
            </p:cNvPr>
            <p:cNvSpPr/>
            <p:nvPr/>
          </p:nvSpPr>
          <p:spPr>
            <a:xfrm rot="8716295">
              <a:off x="7325743" y="300839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6" name="Forme libre : forme 1355">
              <a:extLst>
                <a:ext uri="{FF2B5EF4-FFF2-40B4-BE49-F238E27FC236}">
                  <a16:creationId xmlns:a16="http://schemas.microsoft.com/office/drawing/2014/main" id="{9FB8DA68-5ABC-4DC0-834A-BDB943EA68FB}"/>
                </a:ext>
              </a:extLst>
            </p:cNvPr>
            <p:cNvSpPr/>
            <p:nvPr/>
          </p:nvSpPr>
          <p:spPr>
            <a:xfrm rot="8716295">
              <a:off x="7552876" y="68924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7" name="Forme libre : forme 1356">
              <a:extLst>
                <a:ext uri="{FF2B5EF4-FFF2-40B4-BE49-F238E27FC236}">
                  <a16:creationId xmlns:a16="http://schemas.microsoft.com/office/drawing/2014/main" id="{2532A1A1-AFF9-4E4A-AE61-85F94FA9A1F0}"/>
                </a:ext>
              </a:extLst>
            </p:cNvPr>
            <p:cNvSpPr/>
            <p:nvPr/>
          </p:nvSpPr>
          <p:spPr>
            <a:xfrm rot="8716295">
              <a:off x="7864031" y="30959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8" name="Forme libre : forme 1357">
              <a:extLst>
                <a:ext uri="{FF2B5EF4-FFF2-40B4-BE49-F238E27FC236}">
                  <a16:creationId xmlns:a16="http://schemas.microsoft.com/office/drawing/2014/main" id="{DED91229-5351-48DF-B7EF-4609E3893D59}"/>
                </a:ext>
              </a:extLst>
            </p:cNvPr>
            <p:cNvSpPr/>
            <p:nvPr/>
          </p:nvSpPr>
          <p:spPr>
            <a:xfrm rot="8716295">
              <a:off x="7953423" y="33883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9" name="Forme libre : forme 1358">
              <a:extLst>
                <a:ext uri="{FF2B5EF4-FFF2-40B4-BE49-F238E27FC236}">
                  <a16:creationId xmlns:a16="http://schemas.microsoft.com/office/drawing/2014/main" id="{F6DE1FE8-6182-462A-B540-3AB721D4880E}"/>
                </a:ext>
              </a:extLst>
            </p:cNvPr>
            <p:cNvSpPr/>
            <p:nvPr/>
          </p:nvSpPr>
          <p:spPr>
            <a:xfrm rot="8716295">
              <a:off x="7751797" y="39814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0" name="Forme libre : forme 1359">
              <a:extLst>
                <a:ext uri="{FF2B5EF4-FFF2-40B4-BE49-F238E27FC236}">
                  <a16:creationId xmlns:a16="http://schemas.microsoft.com/office/drawing/2014/main" id="{2928CCE2-867E-4FA8-A555-51BA581DB6E0}"/>
                </a:ext>
              </a:extLst>
            </p:cNvPr>
            <p:cNvSpPr/>
            <p:nvPr/>
          </p:nvSpPr>
          <p:spPr>
            <a:xfrm rot="8716295">
              <a:off x="7626895" y="18946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1" name="Forme libre : forme 1360">
              <a:extLst>
                <a:ext uri="{FF2B5EF4-FFF2-40B4-BE49-F238E27FC236}">
                  <a16:creationId xmlns:a16="http://schemas.microsoft.com/office/drawing/2014/main" id="{055FDC26-CCE7-48FF-9A8C-B56F5E68D13A}"/>
                </a:ext>
              </a:extLst>
            </p:cNvPr>
            <p:cNvSpPr/>
            <p:nvPr/>
          </p:nvSpPr>
          <p:spPr>
            <a:xfrm rot="8716295">
              <a:off x="7841975" y="43909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2" name="Forme libre : forme 1361">
              <a:extLst>
                <a:ext uri="{FF2B5EF4-FFF2-40B4-BE49-F238E27FC236}">
                  <a16:creationId xmlns:a16="http://schemas.microsoft.com/office/drawing/2014/main" id="{988F6F8A-D004-4539-900F-79E6C75585ED}"/>
                </a:ext>
              </a:extLst>
            </p:cNvPr>
            <p:cNvSpPr/>
            <p:nvPr/>
          </p:nvSpPr>
          <p:spPr>
            <a:xfrm rot="8716295">
              <a:off x="7600524" y="28949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3" name="Forme libre : forme 1362">
              <a:extLst>
                <a:ext uri="{FF2B5EF4-FFF2-40B4-BE49-F238E27FC236}">
                  <a16:creationId xmlns:a16="http://schemas.microsoft.com/office/drawing/2014/main" id="{4FDA5393-01D2-4137-A7AE-DC3D20BA6CB3}"/>
                </a:ext>
              </a:extLst>
            </p:cNvPr>
            <p:cNvSpPr/>
            <p:nvPr/>
          </p:nvSpPr>
          <p:spPr>
            <a:xfrm rot="7484129">
              <a:off x="7946906" y="63044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4" name="Forme libre : forme 1363">
              <a:extLst>
                <a:ext uri="{FF2B5EF4-FFF2-40B4-BE49-F238E27FC236}">
                  <a16:creationId xmlns:a16="http://schemas.microsoft.com/office/drawing/2014/main" id="{B758289F-AE2B-40D9-A572-42C3517F5AA9}"/>
                </a:ext>
              </a:extLst>
            </p:cNvPr>
            <p:cNvSpPr/>
            <p:nvPr/>
          </p:nvSpPr>
          <p:spPr>
            <a:xfrm rot="13089394">
              <a:off x="8051726" y="596977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5" name="Forme libre : forme 1364">
              <a:extLst>
                <a:ext uri="{FF2B5EF4-FFF2-40B4-BE49-F238E27FC236}">
                  <a16:creationId xmlns:a16="http://schemas.microsoft.com/office/drawing/2014/main" id="{ED6E2519-7C8C-4C17-B032-71686AF10CAE}"/>
                </a:ext>
              </a:extLst>
            </p:cNvPr>
            <p:cNvSpPr/>
            <p:nvPr/>
          </p:nvSpPr>
          <p:spPr>
            <a:xfrm rot="8716295">
              <a:off x="8237311" y="405296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6" name="Forme libre : forme 1365">
              <a:extLst>
                <a:ext uri="{FF2B5EF4-FFF2-40B4-BE49-F238E27FC236}">
                  <a16:creationId xmlns:a16="http://schemas.microsoft.com/office/drawing/2014/main" id="{8B98362B-5544-455D-AD14-4D640A01A342}"/>
                </a:ext>
              </a:extLst>
            </p:cNvPr>
            <p:cNvSpPr/>
            <p:nvPr/>
          </p:nvSpPr>
          <p:spPr>
            <a:xfrm rot="8716295">
              <a:off x="8185506" y="30170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7" name="Forme libre : forme 1366">
              <a:extLst>
                <a:ext uri="{FF2B5EF4-FFF2-40B4-BE49-F238E27FC236}">
                  <a16:creationId xmlns:a16="http://schemas.microsoft.com/office/drawing/2014/main" id="{25F3D004-02E6-4757-8DE0-F470300CA68C}"/>
                </a:ext>
              </a:extLst>
            </p:cNvPr>
            <p:cNvSpPr/>
            <p:nvPr/>
          </p:nvSpPr>
          <p:spPr>
            <a:xfrm rot="8716295">
              <a:off x="7942260" y="33192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8" name="Forme libre : forme 1367">
              <a:extLst>
                <a:ext uri="{FF2B5EF4-FFF2-40B4-BE49-F238E27FC236}">
                  <a16:creationId xmlns:a16="http://schemas.microsoft.com/office/drawing/2014/main" id="{D4EFEE6B-69F7-42E4-9007-3A49D0282381}"/>
                </a:ext>
              </a:extLst>
            </p:cNvPr>
            <p:cNvSpPr/>
            <p:nvPr/>
          </p:nvSpPr>
          <p:spPr>
            <a:xfrm rot="8716295">
              <a:off x="8119712" y="17268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9" name="Forme libre : forme 1368">
              <a:extLst>
                <a:ext uri="{FF2B5EF4-FFF2-40B4-BE49-F238E27FC236}">
                  <a16:creationId xmlns:a16="http://schemas.microsoft.com/office/drawing/2014/main" id="{AF4B2206-0455-407E-9842-620BA12D9F9F}"/>
                </a:ext>
              </a:extLst>
            </p:cNvPr>
            <p:cNvSpPr/>
            <p:nvPr/>
          </p:nvSpPr>
          <p:spPr>
            <a:xfrm rot="8716295">
              <a:off x="7366062" y="-56618"/>
              <a:ext cx="142168" cy="181024"/>
            </a:xfrm>
            <a:custGeom>
              <a:avLst/>
              <a:gdLst>
                <a:gd name="connsiteX0" fmla="*/ 142168 w 142168"/>
                <a:gd name="connsiteY0" fmla="*/ 181024 h 181024"/>
                <a:gd name="connsiteX1" fmla="*/ 81108 w 142168"/>
                <a:gd name="connsiteY1" fmla="*/ 138700 h 181024"/>
                <a:gd name="connsiteX2" fmla="*/ 81108 w 142168"/>
                <a:gd name="connsiteY2" fmla="*/ 69717 h 181024"/>
                <a:gd name="connsiteX3" fmla="*/ 81108 w 142168"/>
                <a:gd name="connsiteY3" fmla="*/ 65616 h 181024"/>
                <a:gd name="connsiteX4" fmla="*/ 60604 w 142168"/>
                <a:gd name="connsiteY4" fmla="*/ 50123 h 181024"/>
                <a:gd name="connsiteX5" fmla="*/ 0 w 142168"/>
                <a:gd name="connsiteY5" fmla="*/ 50123 h 181024"/>
                <a:gd name="connsiteX6" fmla="*/ 0 w 142168"/>
                <a:gd name="connsiteY6" fmla="*/ 0 h 181024"/>
                <a:gd name="connsiteX7" fmla="*/ 85209 w 142168"/>
                <a:gd name="connsiteY7" fmla="*/ 0 h 181024"/>
                <a:gd name="connsiteX8" fmla="*/ 142167 w 142168"/>
                <a:gd name="connsiteY8" fmla="*/ 50123 h 18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8" h="181024">
                  <a:moveTo>
                    <a:pt x="142168" y="181024"/>
                  </a:moveTo>
                  <a:lnTo>
                    <a:pt x="81108" y="138700"/>
                  </a:lnTo>
                  <a:lnTo>
                    <a:pt x="81108" y="69717"/>
                  </a:lnTo>
                  <a:cubicBezTo>
                    <a:pt x="81108" y="68349"/>
                    <a:pt x="81108" y="66983"/>
                    <a:pt x="81108" y="65616"/>
                  </a:cubicBezTo>
                  <a:cubicBezTo>
                    <a:pt x="79741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9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0" name="Forme libre : forme 1369">
              <a:extLst>
                <a:ext uri="{FF2B5EF4-FFF2-40B4-BE49-F238E27FC236}">
                  <a16:creationId xmlns:a16="http://schemas.microsoft.com/office/drawing/2014/main" id="{60AE319B-5FB3-4EAD-96BF-8E2F415B0911}"/>
                </a:ext>
              </a:extLst>
            </p:cNvPr>
            <p:cNvSpPr/>
            <p:nvPr/>
          </p:nvSpPr>
          <p:spPr>
            <a:xfrm rot="8716295">
              <a:off x="7462482" y="-4908"/>
              <a:ext cx="260639" cy="174584"/>
            </a:xfrm>
            <a:custGeom>
              <a:avLst/>
              <a:gdLst>
                <a:gd name="connsiteX0" fmla="*/ 111638 w 260639"/>
                <a:gd name="connsiteY0" fmla="*/ 174584 h 174584"/>
                <a:gd name="connsiteX1" fmla="*/ 51490 w 260639"/>
                <a:gd name="connsiteY1" fmla="*/ 132891 h 174584"/>
                <a:gd name="connsiteX2" fmla="*/ 51490 w 260639"/>
                <a:gd name="connsiteY2" fmla="*/ 45624 h 174584"/>
                <a:gd name="connsiteX3" fmla="*/ 0 w 260639"/>
                <a:gd name="connsiteY3" fmla="*/ 45624 h 174584"/>
                <a:gd name="connsiteX4" fmla="*/ 0 w 260639"/>
                <a:gd name="connsiteY4" fmla="*/ 1425 h 174584"/>
                <a:gd name="connsiteX5" fmla="*/ 104803 w 260639"/>
                <a:gd name="connsiteY5" fmla="*/ 1425 h 174584"/>
                <a:gd name="connsiteX6" fmla="*/ 104803 w 260639"/>
                <a:gd name="connsiteY6" fmla="*/ 75242 h 174584"/>
                <a:gd name="connsiteX7" fmla="*/ 106169 w 260639"/>
                <a:gd name="connsiteY7" fmla="*/ 75242 h 174584"/>
                <a:gd name="connsiteX8" fmla="*/ 154014 w 260639"/>
                <a:gd name="connsiteY8" fmla="*/ 5981 h 174584"/>
                <a:gd name="connsiteX9" fmla="*/ 185455 w 260639"/>
                <a:gd name="connsiteY9" fmla="*/ 57 h 174584"/>
                <a:gd name="connsiteX10" fmla="*/ 260639 w 260639"/>
                <a:gd name="connsiteY10" fmla="*/ 88456 h 174584"/>
                <a:gd name="connsiteX11" fmla="*/ 260639 w 260639"/>
                <a:gd name="connsiteY11" fmla="*/ 94380 h 174584"/>
                <a:gd name="connsiteX12" fmla="*/ 198669 w 260639"/>
                <a:gd name="connsiteY12" fmla="*/ 98025 h 174584"/>
                <a:gd name="connsiteX13" fmla="*/ 198669 w 260639"/>
                <a:gd name="connsiteY13" fmla="*/ 81621 h 174584"/>
                <a:gd name="connsiteX14" fmla="*/ 164950 w 260639"/>
                <a:gd name="connsiteY14" fmla="*/ 40156 h 174584"/>
                <a:gd name="connsiteX15" fmla="*/ 111638 w 260639"/>
                <a:gd name="connsiteY15" fmla="*/ 127643 h 174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0639" h="174584">
                  <a:moveTo>
                    <a:pt x="111638" y="174584"/>
                  </a:moveTo>
                  <a:lnTo>
                    <a:pt x="51490" y="132891"/>
                  </a:ln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5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1" name="Forme libre : forme 1370">
              <a:extLst>
                <a:ext uri="{FF2B5EF4-FFF2-40B4-BE49-F238E27FC236}">
                  <a16:creationId xmlns:a16="http://schemas.microsoft.com/office/drawing/2014/main" id="{9DF7A270-CA19-4125-81C5-D8ACDF29EE64}"/>
                </a:ext>
              </a:extLst>
            </p:cNvPr>
            <p:cNvSpPr/>
            <p:nvPr/>
          </p:nvSpPr>
          <p:spPr>
            <a:xfrm rot="8716295">
              <a:off x="7443082" y="-10146"/>
              <a:ext cx="28973" cy="21279"/>
            </a:xfrm>
            <a:custGeom>
              <a:avLst/>
              <a:gdLst>
                <a:gd name="connsiteX0" fmla="*/ 28973 w 28973"/>
                <a:gd name="connsiteY0" fmla="*/ 21279 h 21279"/>
                <a:gd name="connsiteX1" fmla="*/ 0 w 28973"/>
                <a:gd name="connsiteY1" fmla="*/ 1196 h 21279"/>
                <a:gd name="connsiteX2" fmla="*/ 4022 w 28973"/>
                <a:gd name="connsiteY2" fmla="*/ 0 h 21279"/>
                <a:gd name="connsiteX3" fmla="*/ 26350 w 28973"/>
                <a:gd name="connsiteY3" fmla="*/ 11392 h 21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973" h="21279">
                  <a:moveTo>
                    <a:pt x="28973" y="21279"/>
                  </a:moveTo>
                  <a:lnTo>
                    <a:pt x="0" y="1196"/>
                  </a:lnTo>
                  <a:lnTo>
                    <a:pt x="4022" y="0"/>
                  </a:lnTo>
                  <a:cubicBezTo>
                    <a:pt x="14958" y="0"/>
                    <a:pt x="22021" y="4785"/>
                    <a:pt x="26350" y="113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2" name="Forme libre : forme 1371">
              <a:extLst>
                <a:ext uri="{FF2B5EF4-FFF2-40B4-BE49-F238E27FC236}">
                  <a16:creationId xmlns:a16="http://schemas.microsoft.com/office/drawing/2014/main" id="{3D6704E2-4C91-48C3-B5AB-B19397D56649}"/>
                </a:ext>
              </a:extLst>
            </p:cNvPr>
            <p:cNvSpPr/>
            <p:nvPr/>
          </p:nvSpPr>
          <p:spPr>
            <a:xfrm rot="8716295">
              <a:off x="7237548" y="-11765"/>
              <a:ext cx="56281" cy="52701"/>
            </a:xfrm>
            <a:custGeom>
              <a:avLst/>
              <a:gdLst>
                <a:gd name="connsiteX0" fmla="*/ 40554 w 56281"/>
                <a:gd name="connsiteY0" fmla="*/ 52701 h 52701"/>
                <a:gd name="connsiteX1" fmla="*/ 0 w 56281"/>
                <a:gd name="connsiteY1" fmla="*/ 24591 h 52701"/>
                <a:gd name="connsiteX2" fmla="*/ 6728 w 56281"/>
                <a:gd name="connsiteY2" fmla="*/ 8658 h 52701"/>
                <a:gd name="connsiteX3" fmla="*/ 27232 w 56281"/>
                <a:gd name="connsiteY3" fmla="*/ 0 h 52701"/>
                <a:gd name="connsiteX4" fmla="*/ 47738 w 56281"/>
                <a:gd name="connsiteY4" fmla="*/ 8658 h 52701"/>
                <a:gd name="connsiteX5" fmla="*/ 47738 w 56281"/>
                <a:gd name="connsiteY5" fmla="*/ 49668 h 52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281" h="52701">
                  <a:moveTo>
                    <a:pt x="40554" y="52701"/>
                  </a:moveTo>
                  <a:lnTo>
                    <a:pt x="0" y="24591"/>
                  </a:lnTo>
                  <a:lnTo>
                    <a:pt x="6728" y="8658"/>
                  </a:lnTo>
                  <a:cubicBezTo>
                    <a:pt x="12196" y="3190"/>
                    <a:pt x="19487" y="0"/>
                    <a:pt x="27232" y="0"/>
                  </a:cubicBezTo>
                  <a:cubicBezTo>
                    <a:pt x="34979" y="0"/>
                    <a:pt x="42270" y="3190"/>
                    <a:pt x="47738" y="8658"/>
                  </a:cubicBezTo>
                  <a:cubicBezTo>
                    <a:pt x="59130" y="19594"/>
                    <a:pt x="59129" y="38276"/>
                    <a:pt x="47738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3" name="Forme libre : forme 1372">
              <a:extLst>
                <a:ext uri="{FF2B5EF4-FFF2-40B4-BE49-F238E27FC236}">
                  <a16:creationId xmlns:a16="http://schemas.microsoft.com/office/drawing/2014/main" id="{AF0E56D3-9FDC-4C86-AF97-6A5B745021CC}"/>
                </a:ext>
              </a:extLst>
            </p:cNvPr>
            <p:cNvSpPr/>
            <p:nvPr/>
          </p:nvSpPr>
          <p:spPr>
            <a:xfrm rot="8716295">
              <a:off x="7178221" y="-7670"/>
              <a:ext cx="22135" cy="15343"/>
            </a:xfrm>
            <a:custGeom>
              <a:avLst/>
              <a:gdLst>
                <a:gd name="connsiteX0" fmla="*/ 22135 w 22135"/>
                <a:gd name="connsiteY0" fmla="*/ 15343 h 15343"/>
                <a:gd name="connsiteX1" fmla="*/ 0 w 22135"/>
                <a:gd name="connsiteY1" fmla="*/ 0 h 15343"/>
                <a:gd name="connsiteX2" fmla="*/ 22135 w 22135"/>
                <a:gd name="connsiteY2" fmla="*/ 0 h 15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135" h="15343">
                  <a:moveTo>
                    <a:pt x="22135" y="15343"/>
                  </a:moveTo>
                  <a:lnTo>
                    <a:pt x="0" y="0"/>
                  </a:lnTo>
                  <a:lnTo>
                    <a:pt x="2213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4" name="Forme libre : forme 1373">
              <a:extLst>
                <a:ext uri="{FF2B5EF4-FFF2-40B4-BE49-F238E27FC236}">
                  <a16:creationId xmlns:a16="http://schemas.microsoft.com/office/drawing/2014/main" id="{F9D2269A-12D2-478A-A148-0174F4547759}"/>
                </a:ext>
              </a:extLst>
            </p:cNvPr>
            <p:cNvSpPr/>
            <p:nvPr/>
          </p:nvSpPr>
          <p:spPr>
            <a:xfrm rot="8716295">
              <a:off x="7330206" y="2582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5" name="Forme libre : forme 1374">
              <a:extLst>
                <a:ext uri="{FF2B5EF4-FFF2-40B4-BE49-F238E27FC236}">
                  <a16:creationId xmlns:a16="http://schemas.microsoft.com/office/drawing/2014/main" id="{AF2048E4-EBEC-4616-8234-D6C4143F0269}"/>
                </a:ext>
              </a:extLst>
            </p:cNvPr>
            <p:cNvSpPr/>
            <p:nvPr/>
          </p:nvSpPr>
          <p:spPr>
            <a:xfrm rot="7484129">
              <a:off x="7724236" y="-3297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6" name="Forme libre : forme 1375">
              <a:extLst>
                <a:ext uri="{FF2B5EF4-FFF2-40B4-BE49-F238E27FC236}">
                  <a16:creationId xmlns:a16="http://schemas.microsoft.com/office/drawing/2014/main" id="{BCCFC94C-6F39-428B-907F-F878519A4EFD}"/>
                </a:ext>
              </a:extLst>
            </p:cNvPr>
            <p:cNvSpPr/>
            <p:nvPr/>
          </p:nvSpPr>
          <p:spPr>
            <a:xfrm rot="13089394">
              <a:off x="7941179" y="-29293"/>
              <a:ext cx="145407" cy="327190"/>
            </a:xfrm>
            <a:custGeom>
              <a:avLst/>
              <a:gdLst>
                <a:gd name="connsiteX0" fmla="*/ 145407 w 145407"/>
                <a:gd name="connsiteY0" fmla="*/ 277267 h 327190"/>
                <a:gd name="connsiteX1" fmla="*/ 81867 w 145407"/>
                <a:gd name="connsiteY1" fmla="*/ 327190 h 327190"/>
                <a:gd name="connsiteX2" fmla="*/ 54765 w 145407"/>
                <a:gd name="connsiteY2" fmla="*/ 322521 h 327190"/>
                <a:gd name="connsiteX3" fmla="*/ 23727 w 145407"/>
                <a:gd name="connsiteY3" fmla="*/ 301277 h 327190"/>
                <a:gd name="connsiteX4" fmla="*/ 0 w 145407"/>
                <a:gd name="connsiteY4" fmla="*/ 206369 h 327190"/>
                <a:gd name="connsiteX5" fmla="*/ 0 w 145407"/>
                <a:gd name="connsiteY5" fmla="*/ 38074 h 327190"/>
                <a:gd name="connsiteX6" fmla="*/ 73388 w 145407"/>
                <a:gd name="connsiteY6" fmla="*/ 0 h 327190"/>
                <a:gd name="connsiteX7" fmla="*/ 74492 w 145407"/>
                <a:gd name="connsiteY7" fmla="*/ 153950 h 327190"/>
                <a:gd name="connsiteX8" fmla="*/ 87734 w 145407"/>
                <a:gd name="connsiteY8" fmla="*/ 245547 h 327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5407" h="327190">
                  <a:moveTo>
                    <a:pt x="145407" y="277267"/>
                  </a:moveTo>
                  <a:lnTo>
                    <a:pt x="81867" y="327190"/>
                  </a:lnTo>
                  <a:lnTo>
                    <a:pt x="54765" y="322521"/>
                  </a:lnTo>
                  <a:cubicBezTo>
                    <a:pt x="43178" y="317693"/>
                    <a:pt x="32556" y="310382"/>
                    <a:pt x="23727" y="301277"/>
                  </a:cubicBezTo>
                  <a:cubicBezTo>
                    <a:pt x="4966" y="283069"/>
                    <a:pt x="0" y="251616"/>
                    <a:pt x="0" y="206369"/>
                  </a:cubicBez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2836" y="184850"/>
                    <a:pt x="77802" y="216302"/>
                    <a:pt x="87734" y="2455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7" name="Forme libre : forme 1376">
              <a:extLst>
                <a:ext uri="{FF2B5EF4-FFF2-40B4-BE49-F238E27FC236}">
                  <a16:creationId xmlns:a16="http://schemas.microsoft.com/office/drawing/2014/main" id="{53C58AA9-5E6A-49CD-9AC5-5641232CD965}"/>
                </a:ext>
              </a:extLst>
            </p:cNvPr>
            <p:cNvSpPr/>
            <p:nvPr/>
          </p:nvSpPr>
          <p:spPr>
            <a:xfrm rot="8716295">
              <a:off x="9089009" y="2081072"/>
              <a:ext cx="61059" cy="173964"/>
            </a:xfrm>
            <a:custGeom>
              <a:avLst/>
              <a:gdLst>
                <a:gd name="connsiteX0" fmla="*/ 0 w 61059"/>
                <a:gd name="connsiteY0" fmla="*/ 173964 h 173964"/>
                <a:gd name="connsiteX1" fmla="*/ 0 w 61059"/>
                <a:gd name="connsiteY1" fmla="*/ 88087 h 173964"/>
                <a:gd name="connsiteX2" fmla="*/ 61059 w 61059"/>
                <a:gd name="connsiteY2" fmla="*/ 0 h 173964"/>
                <a:gd name="connsiteX3" fmla="*/ 61059 w 61059"/>
                <a:gd name="connsiteY3" fmla="*/ 149814 h 173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059" h="173964">
                  <a:moveTo>
                    <a:pt x="0" y="173964"/>
                  </a:moveTo>
                  <a:lnTo>
                    <a:pt x="0" y="88087"/>
                  </a:lnTo>
                  <a:lnTo>
                    <a:pt x="61059" y="0"/>
                  </a:lnTo>
                  <a:lnTo>
                    <a:pt x="61059" y="14981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8" name="Forme libre : forme 1377">
              <a:extLst>
                <a:ext uri="{FF2B5EF4-FFF2-40B4-BE49-F238E27FC236}">
                  <a16:creationId xmlns:a16="http://schemas.microsoft.com/office/drawing/2014/main" id="{67AAFA86-3922-4406-A9C1-01A9C544B234}"/>
                </a:ext>
              </a:extLst>
            </p:cNvPr>
            <p:cNvSpPr/>
            <p:nvPr/>
          </p:nvSpPr>
          <p:spPr>
            <a:xfrm rot="8716295">
              <a:off x="8987023" y="214104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9" name="Forme libre : forme 1378">
              <a:extLst>
                <a:ext uri="{FF2B5EF4-FFF2-40B4-BE49-F238E27FC236}">
                  <a16:creationId xmlns:a16="http://schemas.microsoft.com/office/drawing/2014/main" id="{F49E9DC2-C797-4A9E-913F-D8431378EB92}"/>
                </a:ext>
              </a:extLst>
            </p:cNvPr>
            <p:cNvSpPr/>
            <p:nvPr/>
          </p:nvSpPr>
          <p:spPr>
            <a:xfrm rot="8716295">
              <a:off x="8862120" y="19323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0" name="Forme libre : forme 1379">
              <a:extLst>
                <a:ext uri="{FF2B5EF4-FFF2-40B4-BE49-F238E27FC236}">
                  <a16:creationId xmlns:a16="http://schemas.microsoft.com/office/drawing/2014/main" id="{1BF45189-83CA-4A70-B575-8A2D9D49B065}"/>
                </a:ext>
              </a:extLst>
            </p:cNvPr>
            <p:cNvSpPr/>
            <p:nvPr/>
          </p:nvSpPr>
          <p:spPr>
            <a:xfrm rot="8716295">
              <a:off x="8845263" y="1791394"/>
              <a:ext cx="290644" cy="345190"/>
            </a:xfrm>
            <a:custGeom>
              <a:avLst/>
              <a:gdLst>
                <a:gd name="connsiteX0" fmla="*/ 25298 w 290644"/>
                <a:gd name="connsiteY0" fmla="*/ 315598 h 345190"/>
                <a:gd name="connsiteX1" fmla="*/ 0 w 290644"/>
                <a:gd name="connsiteY1" fmla="*/ 214403 h 345190"/>
                <a:gd name="connsiteX2" fmla="*/ 0 w 290644"/>
                <a:gd name="connsiteY2" fmla="*/ 112946 h 345190"/>
                <a:gd name="connsiteX3" fmla="*/ 78290 w 290644"/>
                <a:gd name="connsiteY3" fmla="*/ 0 h 345190"/>
                <a:gd name="connsiteX4" fmla="*/ 79427 w 290644"/>
                <a:gd name="connsiteY4" fmla="*/ 158510 h 345190"/>
                <a:gd name="connsiteX5" fmla="*/ 93547 w 290644"/>
                <a:gd name="connsiteY5" fmla="*/ 256176 h 345190"/>
                <a:gd name="connsiteX6" fmla="*/ 164149 w 290644"/>
                <a:gd name="connsiteY6" fmla="*/ 295007 h 345190"/>
                <a:gd name="connsiteX7" fmla="*/ 217100 w 290644"/>
                <a:gd name="connsiteY7" fmla="*/ 285593 h 345190"/>
                <a:gd name="connsiteX8" fmla="*/ 289467 w 290644"/>
                <a:gd name="connsiteY8" fmla="*/ 256176 h 345190"/>
                <a:gd name="connsiteX9" fmla="*/ 290644 w 290644"/>
                <a:gd name="connsiteY9" fmla="*/ 263824 h 345190"/>
                <a:gd name="connsiteX10" fmla="*/ 290644 w 290644"/>
                <a:gd name="connsiteY10" fmla="*/ 269708 h 345190"/>
                <a:gd name="connsiteX11" fmla="*/ 97666 w 290644"/>
                <a:gd name="connsiteY11" fmla="*/ 345016 h 345190"/>
                <a:gd name="connsiteX12" fmla="*/ 25298 w 290644"/>
                <a:gd name="connsiteY12" fmla="*/ 315598 h 345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0644" h="345190">
                  <a:moveTo>
                    <a:pt x="25298" y="315598"/>
                  </a:moveTo>
                  <a:cubicBezTo>
                    <a:pt x="5294" y="296183"/>
                    <a:pt x="0" y="262647"/>
                    <a:pt x="0" y="214403"/>
                  </a:cubicBezTo>
                  <a:lnTo>
                    <a:pt x="0" y="112946"/>
                  </a:lnTo>
                  <a:lnTo>
                    <a:pt x="78290" y="0"/>
                  </a:lnTo>
                  <a:lnTo>
                    <a:pt x="79427" y="158510"/>
                  </a:lnTo>
                  <a:cubicBezTo>
                    <a:pt x="77662" y="191458"/>
                    <a:pt x="82956" y="224993"/>
                    <a:pt x="93547" y="256176"/>
                  </a:cubicBezTo>
                  <a:cubicBezTo>
                    <a:pt x="102961" y="282063"/>
                    <a:pt x="127083" y="295007"/>
                    <a:pt x="164149" y="295007"/>
                  </a:cubicBezTo>
                  <a:cubicBezTo>
                    <a:pt x="182388" y="294418"/>
                    <a:pt x="200038" y="290888"/>
                    <a:pt x="217100" y="285593"/>
                  </a:cubicBezTo>
                  <a:cubicBezTo>
                    <a:pt x="241810" y="277945"/>
                    <a:pt x="265932" y="267942"/>
                    <a:pt x="289467" y="256176"/>
                  </a:cubicBezTo>
                  <a:cubicBezTo>
                    <a:pt x="290055" y="258529"/>
                    <a:pt x="290643" y="261471"/>
                    <a:pt x="290644" y="263824"/>
                  </a:cubicBezTo>
                  <a:lnTo>
                    <a:pt x="290644" y="269708"/>
                  </a:lnTo>
                  <a:cubicBezTo>
                    <a:pt x="228278" y="323247"/>
                    <a:pt x="146498" y="342075"/>
                    <a:pt x="97666" y="345016"/>
                  </a:cubicBezTo>
                  <a:cubicBezTo>
                    <a:pt x="70602" y="346782"/>
                    <a:pt x="44126" y="335014"/>
                    <a:pt x="25298" y="31559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1" name="Forme libre : forme 1380">
              <a:extLst>
                <a:ext uri="{FF2B5EF4-FFF2-40B4-BE49-F238E27FC236}">
                  <a16:creationId xmlns:a16="http://schemas.microsoft.com/office/drawing/2014/main" id="{3AC6BB5F-39B7-428A-B7D5-ED66181C770C}"/>
                </a:ext>
              </a:extLst>
            </p:cNvPr>
            <p:cNvSpPr/>
            <p:nvPr/>
          </p:nvSpPr>
          <p:spPr>
            <a:xfrm rot="8716295">
              <a:off x="9077116" y="2195107"/>
              <a:ext cx="60148" cy="215998"/>
            </a:xfrm>
            <a:custGeom>
              <a:avLst/>
              <a:gdLst>
                <a:gd name="connsiteX0" fmla="*/ 60148 w 60148"/>
                <a:gd name="connsiteY0" fmla="*/ 215998 h 215998"/>
                <a:gd name="connsiteX1" fmla="*/ 1 w 60148"/>
                <a:gd name="connsiteY1" fmla="*/ 158129 h 215998"/>
                <a:gd name="connsiteX2" fmla="*/ 0 w 60148"/>
                <a:gd name="connsiteY2" fmla="*/ 86771 h 215998"/>
                <a:gd name="connsiteX3" fmla="*/ 60147 w 60148"/>
                <a:gd name="connsiteY3" fmla="*/ 0 h 215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8" h="215998">
                  <a:moveTo>
                    <a:pt x="60148" y="215998"/>
                  </a:moveTo>
                  <a:lnTo>
                    <a:pt x="1" y="158129"/>
                  </a:lnTo>
                  <a:lnTo>
                    <a:pt x="0" y="86771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2" name="Forme libre : forme 1381">
              <a:extLst>
                <a:ext uri="{FF2B5EF4-FFF2-40B4-BE49-F238E27FC236}">
                  <a16:creationId xmlns:a16="http://schemas.microsoft.com/office/drawing/2014/main" id="{62FF5918-1B87-4604-8492-36999A995344}"/>
                </a:ext>
              </a:extLst>
            </p:cNvPr>
            <p:cNvSpPr/>
            <p:nvPr/>
          </p:nvSpPr>
          <p:spPr>
            <a:xfrm rot="8716295">
              <a:off x="9116544" y="1789625"/>
              <a:ext cx="46394" cy="58308"/>
            </a:xfrm>
            <a:custGeom>
              <a:avLst/>
              <a:gdLst>
                <a:gd name="connsiteX0" fmla="*/ 0 w 46394"/>
                <a:gd name="connsiteY0" fmla="*/ 55145 h 58308"/>
                <a:gd name="connsiteX1" fmla="*/ 38225 w 46394"/>
                <a:gd name="connsiteY1" fmla="*/ 0 h 58308"/>
                <a:gd name="connsiteX2" fmla="*/ 46394 w 46394"/>
                <a:gd name="connsiteY2" fmla="*/ 19443 h 58308"/>
                <a:gd name="connsiteX3" fmla="*/ 35074 w 46394"/>
                <a:gd name="connsiteY3" fmla="*/ 46837 h 58308"/>
                <a:gd name="connsiteX4" fmla="*/ 7907 w 46394"/>
                <a:gd name="connsiteY4" fmla="*/ 58308 h 58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394" h="58308">
                  <a:moveTo>
                    <a:pt x="0" y="55145"/>
                  </a:moveTo>
                  <a:lnTo>
                    <a:pt x="38225" y="0"/>
                  </a:lnTo>
                  <a:lnTo>
                    <a:pt x="46394" y="19443"/>
                  </a:lnTo>
                  <a:cubicBezTo>
                    <a:pt x="46394" y="29329"/>
                    <a:pt x="42621" y="39290"/>
                    <a:pt x="35074" y="46837"/>
                  </a:cubicBezTo>
                  <a:cubicBezTo>
                    <a:pt x="27830" y="54082"/>
                    <a:pt x="18170" y="58308"/>
                    <a:pt x="7907" y="5830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3" name="Forme libre : forme 1382">
              <a:extLst>
                <a:ext uri="{FF2B5EF4-FFF2-40B4-BE49-F238E27FC236}">
                  <a16:creationId xmlns:a16="http://schemas.microsoft.com/office/drawing/2014/main" id="{413B021A-A885-48B9-8570-152DCC9A71A5}"/>
                </a:ext>
              </a:extLst>
            </p:cNvPr>
            <p:cNvSpPr/>
            <p:nvPr/>
          </p:nvSpPr>
          <p:spPr>
            <a:xfrm rot="8716295">
              <a:off x="9083119" y="2618313"/>
              <a:ext cx="117324" cy="177047"/>
            </a:xfrm>
            <a:custGeom>
              <a:avLst/>
              <a:gdLst>
                <a:gd name="connsiteX0" fmla="*/ 92026 w 117324"/>
                <a:gd name="connsiteY0" fmla="*/ 36497 h 177047"/>
                <a:gd name="connsiteX1" fmla="*/ 117324 w 117324"/>
                <a:gd name="connsiteY1" fmla="*/ 0 h 177047"/>
                <a:gd name="connsiteX2" fmla="*/ 117324 w 117324"/>
                <a:gd name="connsiteY2" fmla="*/ 36497 h 177047"/>
                <a:gd name="connsiteX3" fmla="*/ 4187 w 117324"/>
                <a:gd name="connsiteY3" fmla="*/ 177047 h 177047"/>
                <a:gd name="connsiteX4" fmla="*/ 0 w 117324"/>
                <a:gd name="connsiteY4" fmla="*/ 169258 h 177047"/>
                <a:gd name="connsiteX5" fmla="*/ 13629 w 117324"/>
                <a:gd name="connsiteY5" fmla="*/ 149597 h 177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7324" h="177047">
                  <a:moveTo>
                    <a:pt x="92026" y="36497"/>
                  </a:moveTo>
                  <a:lnTo>
                    <a:pt x="117324" y="0"/>
                  </a:lnTo>
                  <a:lnTo>
                    <a:pt x="117324" y="36497"/>
                  </a:lnTo>
                  <a:close/>
                  <a:moveTo>
                    <a:pt x="4187" y="177047"/>
                  </a:moveTo>
                  <a:lnTo>
                    <a:pt x="0" y="169258"/>
                  </a:lnTo>
                  <a:lnTo>
                    <a:pt x="13629" y="14959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4" name="Forme libre : forme 1383">
              <a:extLst>
                <a:ext uri="{FF2B5EF4-FFF2-40B4-BE49-F238E27FC236}">
                  <a16:creationId xmlns:a16="http://schemas.microsoft.com/office/drawing/2014/main" id="{9BA6659A-4363-4246-884D-227E97C0C14A}"/>
                </a:ext>
              </a:extLst>
            </p:cNvPr>
            <p:cNvSpPr/>
            <p:nvPr/>
          </p:nvSpPr>
          <p:spPr>
            <a:xfrm rot="8716295">
              <a:off x="9006440" y="2509028"/>
              <a:ext cx="177822" cy="85743"/>
            </a:xfrm>
            <a:custGeom>
              <a:avLst/>
              <a:gdLst>
                <a:gd name="connsiteX0" fmla="*/ 0 w 177822"/>
                <a:gd name="connsiteY0" fmla="*/ 85743 h 85743"/>
                <a:gd name="connsiteX1" fmla="*/ 37709 w 177822"/>
                <a:gd name="connsiteY1" fmla="*/ 31342 h 85743"/>
                <a:gd name="connsiteX2" fmla="*/ 51327 w 177822"/>
                <a:gd name="connsiteY2" fmla="*/ 38831 h 85743"/>
                <a:gd name="connsiteX3" fmla="*/ 104278 w 177822"/>
                <a:gd name="connsiteY3" fmla="*/ 29418 h 85743"/>
                <a:gd name="connsiteX4" fmla="*/ 176645 w 177822"/>
                <a:gd name="connsiteY4" fmla="*/ 0 h 85743"/>
                <a:gd name="connsiteX5" fmla="*/ 177822 w 177822"/>
                <a:gd name="connsiteY5" fmla="*/ 7648 h 85743"/>
                <a:gd name="connsiteX6" fmla="*/ 177822 w 177822"/>
                <a:gd name="connsiteY6" fmla="*/ 13532 h 85743"/>
                <a:gd name="connsiteX7" fmla="*/ 76258 w 177822"/>
                <a:gd name="connsiteY7" fmla="*/ 70160 h 85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7822" h="85743">
                  <a:moveTo>
                    <a:pt x="0" y="85743"/>
                  </a:moveTo>
                  <a:lnTo>
                    <a:pt x="37709" y="31342"/>
                  </a:lnTo>
                  <a:lnTo>
                    <a:pt x="51327" y="38831"/>
                  </a:lnTo>
                  <a:cubicBezTo>
                    <a:pt x="69566" y="38242"/>
                    <a:pt x="87216" y="34712"/>
                    <a:pt x="104278" y="29418"/>
                  </a:cubicBezTo>
                  <a:cubicBezTo>
                    <a:pt x="128988" y="21768"/>
                    <a:pt x="153111" y="11766"/>
                    <a:pt x="176645" y="0"/>
                  </a:cubicBezTo>
                  <a:cubicBezTo>
                    <a:pt x="177233" y="2354"/>
                    <a:pt x="177821" y="5295"/>
                    <a:pt x="177822" y="7648"/>
                  </a:cubicBezTo>
                  <a:lnTo>
                    <a:pt x="177822" y="13532"/>
                  </a:lnTo>
                  <a:cubicBezTo>
                    <a:pt x="146639" y="40301"/>
                    <a:pt x="110603" y="58393"/>
                    <a:pt x="76258" y="7016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5" name="Forme libre : forme 1384">
              <a:extLst>
                <a:ext uri="{FF2B5EF4-FFF2-40B4-BE49-F238E27FC236}">
                  <a16:creationId xmlns:a16="http://schemas.microsoft.com/office/drawing/2014/main" id="{CD8F4158-D52E-4B42-86D9-9C394223B4E4}"/>
                </a:ext>
              </a:extLst>
            </p:cNvPr>
            <p:cNvSpPr/>
            <p:nvPr/>
          </p:nvSpPr>
          <p:spPr>
            <a:xfrm rot="8716295">
              <a:off x="8877739" y="139153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6" name="Forme libre : forme 1385">
              <a:extLst>
                <a:ext uri="{FF2B5EF4-FFF2-40B4-BE49-F238E27FC236}">
                  <a16:creationId xmlns:a16="http://schemas.microsoft.com/office/drawing/2014/main" id="{34819D09-90FC-40AC-A71E-2F09A9E62118}"/>
                </a:ext>
              </a:extLst>
            </p:cNvPr>
            <p:cNvSpPr/>
            <p:nvPr/>
          </p:nvSpPr>
          <p:spPr>
            <a:xfrm rot="8716295">
              <a:off x="8969693" y="1431914"/>
              <a:ext cx="209150" cy="254735"/>
            </a:xfrm>
            <a:custGeom>
              <a:avLst/>
              <a:gdLst>
                <a:gd name="connsiteX0" fmla="*/ 0 w 209150"/>
                <a:gd name="connsiteY0" fmla="*/ 254735 h 254735"/>
                <a:gd name="connsiteX1" fmla="*/ 0 w 209150"/>
                <a:gd name="connsiteY1" fmla="*/ 155827 h 254735"/>
                <a:gd name="connsiteX2" fmla="*/ 104101 w 209150"/>
                <a:gd name="connsiteY2" fmla="*/ 5646 h 254735"/>
                <a:gd name="connsiteX3" fmla="*/ 133965 w 209150"/>
                <a:gd name="connsiteY3" fmla="*/ 19 h 254735"/>
                <a:gd name="connsiteX4" fmla="*/ 209150 w 209150"/>
                <a:gd name="connsiteY4" fmla="*/ 88418 h 254735"/>
                <a:gd name="connsiteX5" fmla="*/ 209150 w 209150"/>
                <a:gd name="connsiteY5" fmla="*/ 94342 h 254735"/>
                <a:gd name="connsiteX6" fmla="*/ 147180 w 209150"/>
                <a:gd name="connsiteY6" fmla="*/ 97987 h 254735"/>
                <a:gd name="connsiteX7" fmla="*/ 147180 w 209150"/>
                <a:gd name="connsiteY7" fmla="*/ 81584 h 254735"/>
                <a:gd name="connsiteX8" fmla="*/ 113461 w 209150"/>
                <a:gd name="connsiteY8" fmla="*/ 40118 h 254735"/>
                <a:gd name="connsiteX9" fmla="*/ 60149 w 209150"/>
                <a:gd name="connsiteY9" fmla="*/ 127605 h 254735"/>
                <a:gd name="connsiteX10" fmla="*/ 60149 w 209150"/>
                <a:gd name="connsiteY10" fmla="*/ 213726 h 254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9150" h="254735">
                  <a:moveTo>
                    <a:pt x="0" y="254735"/>
                  </a:moveTo>
                  <a:lnTo>
                    <a:pt x="0" y="155827"/>
                  </a:lnTo>
                  <a:lnTo>
                    <a:pt x="104101" y="5646"/>
                  </a:lnTo>
                  <a:lnTo>
                    <a:pt x="133965" y="19"/>
                  </a:lnTo>
                  <a:cubicBezTo>
                    <a:pt x="180899" y="-892"/>
                    <a:pt x="209150" y="31916"/>
                    <a:pt x="209150" y="88418"/>
                  </a:cubicBezTo>
                  <a:lnTo>
                    <a:pt x="209150" y="94342"/>
                  </a:lnTo>
                  <a:lnTo>
                    <a:pt x="147180" y="97987"/>
                  </a:lnTo>
                  <a:lnTo>
                    <a:pt x="147180" y="81584"/>
                  </a:lnTo>
                  <a:cubicBezTo>
                    <a:pt x="147180" y="56977"/>
                    <a:pt x="133054" y="40118"/>
                    <a:pt x="113461" y="40118"/>
                  </a:cubicBezTo>
                  <a:cubicBezTo>
                    <a:pt x="84299" y="40118"/>
                    <a:pt x="60149" y="78850"/>
                    <a:pt x="60149" y="127605"/>
                  </a:cubicBezTo>
                  <a:lnTo>
                    <a:pt x="60149" y="21372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7" name="Forme libre : forme 1386">
              <a:extLst>
                <a:ext uri="{FF2B5EF4-FFF2-40B4-BE49-F238E27FC236}">
                  <a16:creationId xmlns:a16="http://schemas.microsoft.com/office/drawing/2014/main" id="{A927842F-CF5D-4DDB-980D-DAEB7684488A}"/>
                </a:ext>
              </a:extLst>
            </p:cNvPr>
            <p:cNvSpPr/>
            <p:nvPr/>
          </p:nvSpPr>
          <p:spPr>
            <a:xfrm rot="8716295">
              <a:off x="8922281" y="133449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8" name="Forme libre : forme 1387">
              <a:extLst>
                <a:ext uri="{FF2B5EF4-FFF2-40B4-BE49-F238E27FC236}">
                  <a16:creationId xmlns:a16="http://schemas.microsoft.com/office/drawing/2014/main" id="{360EB861-FB1A-4E23-9134-68DC077A8790}"/>
                </a:ext>
              </a:extLst>
            </p:cNvPr>
            <p:cNvSpPr/>
            <p:nvPr/>
          </p:nvSpPr>
          <p:spPr>
            <a:xfrm rot="8716295">
              <a:off x="8765505" y="148007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9" name="Forme libre : forme 1388">
              <a:extLst>
                <a:ext uri="{FF2B5EF4-FFF2-40B4-BE49-F238E27FC236}">
                  <a16:creationId xmlns:a16="http://schemas.microsoft.com/office/drawing/2014/main" id="{0001364E-BDF9-4964-AFCF-8B1B5ED15F9E}"/>
                </a:ext>
              </a:extLst>
            </p:cNvPr>
            <p:cNvSpPr/>
            <p:nvPr/>
          </p:nvSpPr>
          <p:spPr>
            <a:xfrm rot="8716295">
              <a:off x="8640602" y="127140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0" name="Forme libre : forme 1389">
              <a:extLst>
                <a:ext uri="{FF2B5EF4-FFF2-40B4-BE49-F238E27FC236}">
                  <a16:creationId xmlns:a16="http://schemas.microsoft.com/office/drawing/2014/main" id="{EE73FF96-9E36-461F-A96C-8FEF57947F14}"/>
                </a:ext>
              </a:extLst>
            </p:cNvPr>
            <p:cNvSpPr/>
            <p:nvPr/>
          </p:nvSpPr>
          <p:spPr>
            <a:xfrm rot="8716295">
              <a:off x="8628550" y="113262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1" name="Forme libre : forme 1390">
              <a:extLst>
                <a:ext uri="{FF2B5EF4-FFF2-40B4-BE49-F238E27FC236}">
                  <a16:creationId xmlns:a16="http://schemas.microsoft.com/office/drawing/2014/main" id="{6DB2B1A4-E2FA-49FA-9C05-6E8348596F60}"/>
                </a:ext>
              </a:extLst>
            </p:cNvPr>
            <p:cNvSpPr/>
            <p:nvPr/>
          </p:nvSpPr>
          <p:spPr>
            <a:xfrm rot="8716295">
              <a:off x="8855683" y="152102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2" name="Forme libre : forme 1391">
              <a:extLst>
                <a:ext uri="{FF2B5EF4-FFF2-40B4-BE49-F238E27FC236}">
                  <a16:creationId xmlns:a16="http://schemas.microsoft.com/office/drawing/2014/main" id="{C6D4FFEB-A683-4FE3-8068-6610CCEEB1B0}"/>
                </a:ext>
              </a:extLst>
            </p:cNvPr>
            <p:cNvSpPr/>
            <p:nvPr/>
          </p:nvSpPr>
          <p:spPr>
            <a:xfrm rot="8716295">
              <a:off x="9129108" y="1200690"/>
              <a:ext cx="29782" cy="42964"/>
            </a:xfrm>
            <a:custGeom>
              <a:avLst/>
              <a:gdLst>
                <a:gd name="connsiteX0" fmla="*/ 0 w 29782"/>
                <a:gd name="connsiteY0" fmla="*/ 42964 h 42964"/>
                <a:gd name="connsiteX1" fmla="*/ 29782 w 29782"/>
                <a:gd name="connsiteY1" fmla="*/ 0 h 42964"/>
                <a:gd name="connsiteX2" fmla="*/ 29782 w 29782"/>
                <a:gd name="connsiteY2" fmla="*/ 31185 h 4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9782" h="42964">
                  <a:moveTo>
                    <a:pt x="0" y="42964"/>
                  </a:moveTo>
                  <a:lnTo>
                    <a:pt x="29782" y="0"/>
                  </a:lnTo>
                  <a:lnTo>
                    <a:pt x="29782" y="311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3" name="Forme libre : forme 1392">
              <a:extLst>
                <a:ext uri="{FF2B5EF4-FFF2-40B4-BE49-F238E27FC236}">
                  <a16:creationId xmlns:a16="http://schemas.microsoft.com/office/drawing/2014/main" id="{EA725989-A234-4480-B04C-CFCEE23774F2}"/>
                </a:ext>
              </a:extLst>
            </p:cNvPr>
            <p:cNvSpPr/>
            <p:nvPr/>
          </p:nvSpPr>
          <p:spPr>
            <a:xfrm rot="8716295">
              <a:off x="9054604" y="122992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4" name="Forme libre : forme 1393">
              <a:extLst>
                <a:ext uri="{FF2B5EF4-FFF2-40B4-BE49-F238E27FC236}">
                  <a16:creationId xmlns:a16="http://schemas.microsoft.com/office/drawing/2014/main" id="{466911C7-5D17-4DD5-91B8-36CEBB4BC9F6}"/>
                </a:ext>
              </a:extLst>
            </p:cNvPr>
            <p:cNvSpPr/>
            <p:nvPr/>
          </p:nvSpPr>
          <p:spPr>
            <a:xfrm rot="8716295">
              <a:off x="8929702" y="10212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5" name="Forme libre : forme 1394">
              <a:extLst>
                <a:ext uri="{FF2B5EF4-FFF2-40B4-BE49-F238E27FC236}">
                  <a16:creationId xmlns:a16="http://schemas.microsoft.com/office/drawing/2014/main" id="{87609BCB-7D37-4FB0-A906-2BDD38155F26}"/>
                </a:ext>
              </a:extLst>
            </p:cNvPr>
            <p:cNvSpPr/>
            <p:nvPr/>
          </p:nvSpPr>
          <p:spPr>
            <a:xfrm rot="8716295">
              <a:off x="9112658" y="1300147"/>
              <a:ext cx="40491" cy="97371"/>
            </a:xfrm>
            <a:custGeom>
              <a:avLst/>
              <a:gdLst>
                <a:gd name="connsiteX0" fmla="*/ 40491 w 40491"/>
                <a:gd name="connsiteY0" fmla="*/ 97371 h 97371"/>
                <a:gd name="connsiteX1" fmla="*/ 0 w 40491"/>
                <a:gd name="connsiteY1" fmla="*/ 58414 h 97371"/>
                <a:gd name="connsiteX2" fmla="*/ 40491 w 40491"/>
                <a:gd name="connsiteY2" fmla="*/ 0 h 9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491" h="97371">
                  <a:moveTo>
                    <a:pt x="40491" y="97371"/>
                  </a:moveTo>
                  <a:lnTo>
                    <a:pt x="0" y="58414"/>
                  </a:lnTo>
                  <a:lnTo>
                    <a:pt x="4049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6" name="Forme libre : forme 1395">
              <a:extLst>
                <a:ext uri="{FF2B5EF4-FFF2-40B4-BE49-F238E27FC236}">
                  <a16:creationId xmlns:a16="http://schemas.microsoft.com/office/drawing/2014/main" id="{947B4F8A-AEF6-4C9F-8CA5-B6B423F87C52}"/>
                </a:ext>
              </a:extLst>
            </p:cNvPr>
            <p:cNvSpPr/>
            <p:nvPr/>
          </p:nvSpPr>
          <p:spPr>
            <a:xfrm rot="8716295">
              <a:off x="8903331" y="112127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7" name="Forme libre : forme 1396">
              <a:extLst>
                <a:ext uri="{FF2B5EF4-FFF2-40B4-BE49-F238E27FC236}">
                  <a16:creationId xmlns:a16="http://schemas.microsoft.com/office/drawing/2014/main" id="{ECC3872B-A5B2-45B1-9D4A-B953AF7F8C47}"/>
                </a:ext>
              </a:extLst>
            </p:cNvPr>
            <p:cNvSpPr/>
            <p:nvPr/>
          </p:nvSpPr>
          <p:spPr>
            <a:xfrm rot="8716295">
              <a:off x="8654572" y="73183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9" name="Forme libre : forme 1398">
              <a:extLst>
                <a:ext uri="{FF2B5EF4-FFF2-40B4-BE49-F238E27FC236}">
                  <a16:creationId xmlns:a16="http://schemas.microsoft.com/office/drawing/2014/main" id="{EF2C5093-481E-4A2C-8B5F-4CE69A605FED}"/>
                </a:ext>
              </a:extLst>
            </p:cNvPr>
            <p:cNvSpPr/>
            <p:nvPr/>
          </p:nvSpPr>
          <p:spPr>
            <a:xfrm rot="8716295">
              <a:off x="8743964" y="76107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0" name="Forme libre : forme 1399">
              <a:extLst>
                <a:ext uri="{FF2B5EF4-FFF2-40B4-BE49-F238E27FC236}">
                  <a16:creationId xmlns:a16="http://schemas.microsoft.com/office/drawing/2014/main" id="{30AF5DC6-0C45-4EE5-BDB7-B8625E175365}"/>
                </a:ext>
              </a:extLst>
            </p:cNvPr>
            <p:cNvSpPr/>
            <p:nvPr/>
          </p:nvSpPr>
          <p:spPr>
            <a:xfrm rot="8716295">
              <a:off x="8699114" y="67479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3" name="Forme libre : forme 1402">
              <a:extLst>
                <a:ext uri="{FF2B5EF4-FFF2-40B4-BE49-F238E27FC236}">
                  <a16:creationId xmlns:a16="http://schemas.microsoft.com/office/drawing/2014/main" id="{B70C0FD5-7DFB-4A0C-AE55-F5A7B134B91A}"/>
                </a:ext>
              </a:extLst>
            </p:cNvPr>
            <p:cNvSpPr/>
            <p:nvPr/>
          </p:nvSpPr>
          <p:spPr>
            <a:xfrm rot="8716295">
              <a:off x="8542338" y="82037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4" name="Forme libre : forme 1403">
              <a:extLst>
                <a:ext uri="{FF2B5EF4-FFF2-40B4-BE49-F238E27FC236}">
                  <a16:creationId xmlns:a16="http://schemas.microsoft.com/office/drawing/2014/main" id="{9023C4A5-B8BC-415D-A51C-5615A6A3B1AB}"/>
                </a:ext>
              </a:extLst>
            </p:cNvPr>
            <p:cNvSpPr/>
            <p:nvPr/>
          </p:nvSpPr>
          <p:spPr>
            <a:xfrm rot="8716295">
              <a:off x="8417435" y="61170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5" name="Forme libre : forme 1404">
              <a:extLst>
                <a:ext uri="{FF2B5EF4-FFF2-40B4-BE49-F238E27FC236}">
                  <a16:creationId xmlns:a16="http://schemas.microsoft.com/office/drawing/2014/main" id="{E7A0D7D3-B881-47A9-8F6D-CE2F06D30D49}"/>
                </a:ext>
              </a:extLst>
            </p:cNvPr>
            <p:cNvSpPr/>
            <p:nvPr/>
          </p:nvSpPr>
          <p:spPr>
            <a:xfrm rot="8716295">
              <a:off x="8405383" y="47292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7" name="Forme libre : forme 1406">
              <a:extLst>
                <a:ext uri="{FF2B5EF4-FFF2-40B4-BE49-F238E27FC236}">
                  <a16:creationId xmlns:a16="http://schemas.microsoft.com/office/drawing/2014/main" id="{63003894-E4F2-4BC2-83BB-B9FC026CCC8B}"/>
                </a:ext>
              </a:extLst>
            </p:cNvPr>
            <p:cNvSpPr/>
            <p:nvPr/>
          </p:nvSpPr>
          <p:spPr>
            <a:xfrm rot="8716295">
              <a:off x="8632516" y="86132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8" name="Forme libre : forme 1407">
              <a:extLst>
                <a:ext uri="{FF2B5EF4-FFF2-40B4-BE49-F238E27FC236}">
                  <a16:creationId xmlns:a16="http://schemas.microsoft.com/office/drawing/2014/main" id="{4177F84E-2F46-4B16-B2EB-2A6CAAA999C1}"/>
                </a:ext>
              </a:extLst>
            </p:cNvPr>
            <p:cNvSpPr/>
            <p:nvPr/>
          </p:nvSpPr>
          <p:spPr>
            <a:xfrm rot="8716295">
              <a:off x="8943671" y="48168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9" name="Forme libre : forme 1408">
              <a:extLst>
                <a:ext uri="{FF2B5EF4-FFF2-40B4-BE49-F238E27FC236}">
                  <a16:creationId xmlns:a16="http://schemas.microsoft.com/office/drawing/2014/main" id="{7ECC4D0A-0137-4778-9C34-ECD007160309}"/>
                </a:ext>
              </a:extLst>
            </p:cNvPr>
            <p:cNvSpPr/>
            <p:nvPr/>
          </p:nvSpPr>
          <p:spPr>
            <a:xfrm rot="8716295">
              <a:off x="9036942" y="543643"/>
              <a:ext cx="187036" cy="222292"/>
            </a:xfrm>
            <a:custGeom>
              <a:avLst/>
              <a:gdLst>
                <a:gd name="connsiteX0" fmla="*/ 125066 w 187036"/>
                <a:gd name="connsiteY0" fmla="*/ 80621 h 222292"/>
                <a:gd name="connsiteX1" fmla="*/ 125066 w 187036"/>
                <a:gd name="connsiteY1" fmla="*/ 64217 h 222292"/>
                <a:gd name="connsiteX2" fmla="*/ 120199 w 187036"/>
                <a:gd name="connsiteY2" fmla="*/ 48887 h 222292"/>
                <a:gd name="connsiteX3" fmla="*/ 154086 w 187036"/>
                <a:gd name="connsiteY3" fmla="*/ 0 h 222292"/>
                <a:gd name="connsiteX4" fmla="*/ 167044 w 187036"/>
                <a:gd name="connsiteY4" fmla="*/ 5322 h 222292"/>
                <a:gd name="connsiteX5" fmla="*/ 187036 w 187036"/>
                <a:gd name="connsiteY5" fmla="*/ 71052 h 222292"/>
                <a:gd name="connsiteX6" fmla="*/ 187036 w 187036"/>
                <a:gd name="connsiteY6" fmla="*/ 76976 h 222292"/>
                <a:gd name="connsiteX7" fmla="*/ 0 w 187036"/>
                <a:gd name="connsiteY7" fmla="*/ 222292 h 222292"/>
                <a:gd name="connsiteX8" fmla="*/ 38035 w 187036"/>
                <a:gd name="connsiteY8" fmla="*/ 167421 h 222292"/>
                <a:gd name="connsiteX9" fmla="*/ 38035 w 187036"/>
                <a:gd name="connsiteY9" fmla="*/ 196360 h 222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036" h="222292">
                  <a:moveTo>
                    <a:pt x="125066" y="80621"/>
                  </a:moveTo>
                  <a:lnTo>
                    <a:pt x="125066" y="64217"/>
                  </a:lnTo>
                  <a:lnTo>
                    <a:pt x="120199" y="48887"/>
                  </a:lnTo>
                  <a:lnTo>
                    <a:pt x="154086" y="0"/>
                  </a:lnTo>
                  <a:lnTo>
                    <a:pt x="167044" y="5322"/>
                  </a:lnTo>
                  <a:cubicBezTo>
                    <a:pt x="179974" y="20473"/>
                    <a:pt x="187036" y="42801"/>
                    <a:pt x="187036" y="71052"/>
                  </a:cubicBezTo>
                  <a:lnTo>
                    <a:pt x="187036" y="76976"/>
                  </a:lnTo>
                  <a:close/>
                  <a:moveTo>
                    <a:pt x="0" y="222292"/>
                  </a:moveTo>
                  <a:lnTo>
                    <a:pt x="38035" y="167421"/>
                  </a:lnTo>
                  <a:lnTo>
                    <a:pt x="38035" y="1963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0" name="Forme libre : forme 1409">
              <a:extLst>
                <a:ext uri="{FF2B5EF4-FFF2-40B4-BE49-F238E27FC236}">
                  <a16:creationId xmlns:a16="http://schemas.microsoft.com/office/drawing/2014/main" id="{8CF1C17D-8FE5-4586-84EC-797BF0C748ED}"/>
                </a:ext>
              </a:extLst>
            </p:cNvPr>
            <p:cNvSpPr/>
            <p:nvPr/>
          </p:nvSpPr>
          <p:spPr>
            <a:xfrm rot="8716295">
              <a:off x="8831437" y="57022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1" name="Forme libre : forme 1410">
              <a:extLst>
                <a:ext uri="{FF2B5EF4-FFF2-40B4-BE49-F238E27FC236}">
                  <a16:creationId xmlns:a16="http://schemas.microsoft.com/office/drawing/2014/main" id="{AE830191-0020-4FE4-A98C-BF2C46A15C3D}"/>
                </a:ext>
              </a:extLst>
            </p:cNvPr>
            <p:cNvSpPr/>
            <p:nvPr/>
          </p:nvSpPr>
          <p:spPr>
            <a:xfrm rot="8716295">
              <a:off x="8706535" y="36155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5" name="Forme libre : forme 1414">
              <a:extLst>
                <a:ext uri="{FF2B5EF4-FFF2-40B4-BE49-F238E27FC236}">
                  <a16:creationId xmlns:a16="http://schemas.microsoft.com/office/drawing/2014/main" id="{EE8C59D9-229F-48BD-A5E1-860C9FC9870C}"/>
                </a:ext>
              </a:extLst>
            </p:cNvPr>
            <p:cNvSpPr/>
            <p:nvPr/>
          </p:nvSpPr>
          <p:spPr>
            <a:xfrm rot="8716295">
              <a:off x="8921615" y="61117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7" name="Forme libre : forme 1416">
              <a:extLst>
                <a:ext uri="{FF2B5EF4-FFF2-40B4-BE49-F238E27FC236}">
                  <a16:creationId xmlns:a16="http://schemas.microsoft.com/office/drawing/2014/main" id="{8B3EDBB4-588F-4A74-A7EE-F28AB8A86698}"/>
                </a:ext>
              </a:extLst>
            </p:cNvPr>
            <p:cNvSpPr/>
            <p:nvPr/>
          </p:nvSpPr>
          <p:spPr>
            <a:xfrm rot="8716295">
              <a:off x="8680164" y="46157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8" name="Forme libre : forme 1417">
              <a:extLst>
                <a:ext uri="{FF2B5EF4-FFF2-40B4-BE49-F238E27FC236}">
                  <a16:creationId xmlns:a16="http://schemas.microsoft.com/office/drawing/2014/main" id="{E513DE33-1C86-4B9E-A5D2-1C775A4B6B9A}"/>
                </a:ext>
              </a:extLst>
            </p:cNvPr>
            <p:cNvSpPr/>
            <p:nvPr/>
          </p:nvSpPr>
          <p:spPr>
            <a:xfrm rot="7484129">
              <a:off x="9031331" y="823575"/>
              <a:ext cx="156001" cy="192535"/>
            </a:xfrm>
            <a:custGeom>
              <a:avLst/>
              <a:gdLst>
                <a:gd name="connsiteX0" fmla="*/ 42863 w 156001"/>
                <a:gd name="connsiteY0" fmla="*/ 192535 h 192535"/>
                <a:gd name="connsiteX1" fmla="*/ 0 w 156001"/>
                <a:gd name="connsiteY1" fmla="*/ 112791 h 192535"/>
                <a:gd name="connsiteX2" fmla="*/ 2226 w 156001"/>
                <a:gd name="connsiteY2" fmla="*/ 106620 h 192535"/>
                <a:gd name="connsiteX3" fmla="*/ 156001 w 156001"/>
                <a:gd name="connsiteY3" fmla="*/ 0 h 192535"/>
                <a:gd name="connsiteX4" fmla="*/ 156001 w 156001"/>
                <a:gd name="connsiteY4" fmla="*/ 51985 h 192535"/>
                <a:gd name="connsiteX5" fmla="*/ 91208 w 156001"/>
                <a:gd name="connsiteY5" fmla="*/ 51985 h 192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6001" h="192535">
                  <a:moveTo>
                    <a:pt x="42863" y="192535"/>
                  </a:moveTo>
                  <a:lnTo>
                    <a:pt x="0" y="112791"/>
                  </a:lnTo>
                  <a:lnTo>
                    <a:pt x="2226" y="106620"/>
                  </a:lnTo>
                  <a:lnTo>
                    <a:pt x="156001" y="0"/>
                  </a:lnTo>
                  <a:lnTo>
                    <a:pt x="156001" y="51985"/>
                  </a:lnTo>
                  <a:lnTo>
                    <a:pt x="91208" y="519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9" name="Forme libre : forme 1418">
              <a:extLst>
                <a:ext uri="{FF2B5EF4-FFF2-40B4-BE49-F238E27FC236}">
                  <a16:creationId xmlns:a16="http://schemas.microsoft.com/office/drawing/2014/main" id="{A1C128FB-3960-4D7F-8598-CEF9CD401A08}"/>
                </a:ext>
              </a:extLst>
            </p:cNvPr>
            <p:cNvSpPr/>
            <p:nvPr/>
          </p:nvSpPr>
          <p:spPr>
            <a:xfrm rot="8716295">
              <a:off x="9021900" y="50400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0" name="Forme libre : forme 1419">
              <a:extLst>
                <a:ext uri="{FF2B5EF4-FFF2-40B4-BE49-F238E27FC236}">
                  <a16:creationId xmlns:a16="http://schemas.microsoft.com/office/drawing/2014/main" id="{BC46D4D0-028A-4521-9F49-7D03D0168DF3}"/>
                </a:ext>
              </a:extLst>
            </p:cNvPr>
            <p:cNvSpPr/>
            <p:nvPr/>
          </p:nvSpPr>
          <p:spPr>
            <a:xfrm rot="8716295">
              <a:off x="8435633" y="6977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1" name="Forme libre : forme 1420">
              <a:extLst>
                <a:ext uri="{FF2B5EF4-FFF2-40B4-BE49-F238E27FC236}">
                  <a16:creationId xmlns:a16="http://schemas.microsoft.com/office/drawing/2014/main" id="{6EAA635A-78A6-405C-8277-7FA4213ACDA7}"/>
                </a:ext>
              </a:extLst>
            </p:cNvPr>
            <p:cNvSpPr/>
            <p:nvPr/>
          </p:nvSpPr>
          <p:spPr>
            <a:xfrm rot="8716295">
              <a:off x="8525025" y="9901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2" name="Forme libre : forme 1421">
              <a:extLst>
                <a:ext uri="{FF2B5EF4-FFF2-40B4-BE49-F238E27FC236}">
                  <a16:creationId xmlns:a16="http://schemas.microsoft.com/office/drawing/2014/main" id="{C5FD0327-5E56-4ECB-88CA-C38610032A32}"/>
                </a:ext>
              </a:extLst>
            </p:cNvPr>
            <p:cNvSpPr/>
            <p:nvPr/>
          </p:nvSpPr>
          <p:spPr>
            <a:xfrm rot="8716295">
              <a:off x="8481025" y="28568"/>
              <a:ext cx="174031" cy="125883"/>
            </a:xfrm>
            <a:custGeom>
              <a:avLst/>
              <a:gdLst>
                <a:gd name="connsiteX0" fmla="*/ 17189 w 174031"/>
                <a:gd name="connsiteY0" fmla="*/ 125883 h 125883"/>
                <a:gd name="connsiteX1" fmla="*/ 0 w 174031"/>
                <a:gd name="connsiteY1" fmla="*/ 113969 h 125883"/>
                <a:gd name="connsiteX2" fmla="*/ 91100 w 174031"/>
                <a:gd name="connsiteY2" fmla="*/ 28251 h 125883"/>
                <a:gd name="connsiteX3" fmla="*/ 145780 w 174031"/>
                <a:gd name="connsiteY3" fmla="*/ 0 h 125883"/>
                <a:gd name="connsiteX4" fmla="*/ 174031 w 174031"/>
                <a:gd name="connsiteY4" fmla="*/ 33719 h 125883"/>
                <a:gd name="connsiteX5" fmla="*/ 147603 w 174031"/>
                <a:gd name="connsiteY5" fmla="*/ 69261 h 125883"/>
                <a:gd name="connsiteX6" fmla="*/ 148058 w 174031"/>
                <a:gd name="connsiteY6" fmla="*/ 69261 h 125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4031" h="125883">
                  <a:moveTo>
                    <a:pt x="17189" y="125883"/>
                  </a:moveTo>
                  <a:lnTo>
                    <a:pt x="0" y="113969"/>
                  </a:lnTo>
                  <a:lnTo>
                    <a:pt x="91100" y="28251"/>
                  </a:lnTo>
                  <a:cubicBezTo>
                    <a:pt x="104771" y="12303"/>
                    <a:pt x="124364" y="2279"/>
                    <a:pt x="145780" y="0"/>
                  </a:cubicBezTo>
                  <a:cubicBezTo>
                    <a:pt x="167652" y="0"/>
                    <a:pt x="174031" y="19138"/>
                    <a:pt x="174031" y="33719"/>
                  </a:cubicBezTo>
                  <a:cubicBezTo>
                    <a:pt x="172664" y="49668"/>
                    <a:pt x="162183" y="62881"/>
                    <a:pt x="147603" y="69261"/>
                  </a:cubicBezTo>
                  <a:lnTo>
                    <a:pt x="148058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3" name="Forme libre : forme 1422">
              <a:extLst>
                <a:ext uri="{FF2B5EF4-FFF2-40B4-BE49-F238E27FC236}">
                  <a16:creationId xmlns:a16="http://schemas.microsoft.com/office/drawing/2014/main" id="{8E0D4F69-3810-42E5-A76B-E65DD8821F35}"/>
                </a:ext>
              </a:extLst>
            </p:cNvPr>
            <p:cNvSpPr/>
            <p:nvPr/>
          </p:nvSpPr>
          <p:spPr>
            <a:xfrm rot="8716295">
              <a:off x="8323399" y="15831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4" name="Forme libre : forme 1423">
              <a:extLst>
                <a:ext uri="{FF2B5EF4-FFF2-40B4-BE49-F238E27FC236}">
                  <a16:creationId xmlns:a16="http://schemas.microsoft.com/office/drawing/2014/main" id="{25E613B1-767E-4C1C-A1A1-1C6EDD583421}"/>
                </a:ext>
              </a:extLst>
            </p:cNvPr>
            <p:cNvSpPr/>
            <p:nvPr/>
          </p:nvSpPr>
          <p:spPr>
            <a:xfrm rot="8716295">
              <a:off x="8205007" y="-15193"/>
              <a:ext cx="203847" cy="157180"/>
            </a:xfrm>
            <a:custGeom>
              <a:avLst/>
              <a:gdLst>
                <a:gd name="connsiteX0" fmla="*/ 104019 w 203847"/>
                <a:gd name="connsiteY0" fmla="*/ 157180 h 157180"/>
                <a:gd name="connsiteX1" fmla="*/ 49658 w 203847"/>
                <a:gd name="connsiteY1" fmla="*/ 119499 h 157180"/>
                <a:gd name="connsiteX2" fmla="*/ 47847 w 203847"/>
                <a:gd name="connsiteY2" fmla="*/ 116129 h 157180"/>
                <a:gd name="connsiteX3" fmla="*/ 69777 w 203847"/>
                <a:gd name="connsiteY3" fmla="*/ 55323 h 157180"/>
                <a:gd name="connsiteX4" fmla="*/ 0 w 203847"/>
                <a:gd name="connsiteY4" fmla="*/ 55323 h 157180"/>
                <a:gd name="connsiteX5" fmla="*/ 0 w 203847"/>
                <a:gd name="connsiteY5" fmla="*/ 0 h 157180"/>
                <a:gd name="connsiteX6" fmla="*/ 203847 w 203847"/>
                <a:gd name="connsiteY6" fmla="*/ 0 h 157180"/>
                <a:gd name="connsiteX7" fmla="*/ 203847 w 203847"/>
                <a:gd name="connsiteY7" fmla="*/ 55323 h 157180"/>
                <a:gd name="connsiteX8" fmla="*/ 139055 w 203847"/>
                <a:gd name="connsiteY8" fmla="*/ 55323 h 157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57180">
                  <a:moveTo>
                    <a:pt x="104019" y="157180"/>
                  </a:moveTo>
                  <a:lnTo>
                    <a:pt x="49658" y="119499"/>
                  </a:ln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5" name="Forme libre : forme 1424">
              <a:extLst>
                <a:ext uri="{FF2B5EF4-FFF2-40B4-BE49-F238E27FC236}">
                  <a16:creationId xmlns:a16="http://schemas.microsoft.com/office/drawing/2014/main" id="{F63808BA-4F7E-40A3-8486-7E6DEBA484C6}"/>
                </a:ext>
              </a:extLst>
            </p:cNvPr>
            <p:cNvSpPr/>
            <p:nvPr/>
          </p:nvSpPr>
          <p:spPr>
            <a:xfrm rot="8716295">
              <a:off x="8444752" y="-32262"/>
              <a:ext cx="79035" cy="109481"/>
            </a:xfrm>
            <a:custGeom>
              <a:avLst/>
              <a:gdLst>
                <a:gd name="connsiteX0" fmla="*/ 79035 w 79035"/>
                <a:gd name="connsiteY0" fmla="*/ 109481 h 109481"/>
                <a:gd name="connsiteX1" fmla="*/ 0 w 79035"/>
                <a:gd name="connsiteY1" fmla="*/ 54697 h 109481"/>
                <a:gd name="connsiteX2" fmla="*/ 0 w 79035"/>
                <a:gd name="connsiteY2" fmla="*/ 40597 h 109481"/>
                <a:gd name="connsiteX3" fmla="*/ 78250 w 79035"/>
                <a:gd name="connsiteY3" fmla="*/ 0 h 109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035" h="109481">
                  <a:moveTo>
                    <a:pt x="79035" y="109481"/>
                  </a:moveTo>
                  <a:lnTo>
                    <a:pt x="0" y="54697"/>
                  </a:lnTo>
                  <a:lnTo>
                    <a:pt x="0" y="40597"/>
                  </a:lnTo>
                  <a:lnTo>
                    <a:pt x="7825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6" name="Forme libre : forme 1425">
              <a:extLst>
                <a:ext uri="{FF2B5EF4-FFF2-40B4-BE49-F238E27FC236}">
                  <a16:creationId xmlns:a16="http://schemas.microsoft.com/office/drawing/2014/main" id="{D63DA307-52BC-4792-8492-1FEF33029CFC}"/>
                </a:ext>
              </a:extLst>
            </p:cNvPr>
            <p:cNvSpPr/>
            <p:nvPr/>
          </p:nvSpPr>
          <p:spPr>
            <a:xfrm rot="8716295">
              <a:off x="8413577" y="19927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7" name="Forme libre : forme 1426">
              <a:extLst>
                <a:ext uri="{FF2B5EF4-FFF2-40B4-BE49-F238E27FC236}">
                  <a16:creationId xmlns:a16="http://schemas.microsoft.com/office/drawing/2014/main" id="{AD849204-8303-4A61-8B71-EA8E15704047}"/>
                </a:ext>
              </a:extLst>
            </p:cNvPr>
            <p:cNvSpPr/>
            <p:nvPr/>
          </p:nvSpPr>
          <p:spPr>
            <a:xfrm rot="8716295">
              <a:off x="8766514" y="-43842"/>
              <a:ext cx="126501" cy="87686"/>
            </a:xfrm>
            <a:custGeom>
              <a:avLst/>
              <a:gdLst>
                <a:gd name="connsiteX0" fmla="*/ 126501 w 126501"/>
                <a:gd name="connsiteY0" fmla="*/ 87686 h 87686"/>
                <a:gd name="connsiteX1" fmla="*/ 0 w 126501"/>
                <a:gd name="connsiteY1" fmla="*/ 0 h 87686"/>
                <a:gd name="connsiteX2" fmla="*/ 69543 w 126501"/>
                <a:gd name="connsiteY2" fmla="*/ 0 h 87686"/>
                <a:gd name="connsiteX3" fmla="*/ 126501 w 126501"/>
                <a:gd name="connsiteY3" fmla="*/ 50123 h 87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501" h="87686">
                  <a:moveTo>
                    <a:pt x="126501" y="87686"/>
                  </a:moveTo>
                  <a:lnTo>
                    <a:pt x="0" y="0"/>
                  </a:lnTo>
                  <a:lnTo>
                    <a:pt x="69543" y="0"/>
                  </a:lnTo>
                  <a:cubicBezTo>
                    <a:pt x="106451" y="0"/>
                    <a:pt x="126500" y="15949"/>
                    <a:pt x="126501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8" name="Forme libre : forme 1427">
              <a:extLst>
                <a:ext uri="{FF2B5EF4-FFF2-40B4-BE49-F238E27FC236}">
                  <a16:creationId xmlns:a16="http://schemas.microsoft.com/office/drawing/2014/main" id="{A2D7FB67-3D0C-4319-811C-4A6A2542C621}"/>
                </a:ext>
              </a:extLst>
            </p:cNvPr>
            <p:cNvSpPr/>
            <p:nvPr/>
          </p:nvSpPr>
          <p:spPr>
            <a:xfrm rot="8716295">
              <a:off x="8856759" y="-11878"/>
              <a:ext cx="260639" cy="98025"/>
            </a:xfrm>
            <a:custGeom>
              <a:avLst/>
              <a:gdLst>
                <a:gd name="connsiteX0" fmla="*/ 121640 w 260639"/>
                <a:gd name="connsiteY0" fmla="*/ 88179 h 98025"/>
                <a:gd name="connsiteX1" fmla="*/ 0 w 260639"/>
                <a:gd name="connsiteY1" fmla="*/ 3862 h 98025"/>
                <a:gd name="connsiteX2" fmla="*/ 0 w 260639"/>
                <a:gd name="connsiteY2" fmla="*/ 1424 h 98025"/>
                <a:gd name="connsiteX3" fmla="*/ 104802 w 260639"/>
                <a:gd name="connsiteY3" fmla="*/ 1424 h 98025"/>
                <a:gd name="connsiteX4" fmla="*/ 104802 w 260639"/>
                <a:gd name="connsiteY4" fmla="*/ 75242 h 98025"/>
                <a:gd name="connsiteX5" fmla="*/ 106170 w 260639"/>
                <a:gd name="connsiteY5" fmla="*/ 75242 h 98025"/>
                <a:gd name="connsiteX6" fmla="*/ 154014 w 260639"/>
                <a:gd name="connsiteY6" fmla="*/ 5981 h 98025"/>
                <a:gd name="connsiteX7" fmla="*/ 185454 w 260639"/>
                <a:gd name="connsiteY7" fmla="*/ 57 h 98025"/>
                <a:gd name="connsiteX8" fmla="*/ 260639 w 260639"/>
                <a:gd name="connsiteY8" fmla="*/ 88456 h 98025"/>
                <a:gd name="connsiteX9" fmla="*/ 260639 w 260639"/>
                <a:gd name="connsiteY9" fmla="*/ 94380 h 98025"/>
                <a:gd name="connsiteX10" fmla="*/ 198669 w 260639"/>
                <a:gd name="connsiteY10" fmla="*/ 98025 h 98025"/>
                <a:gd name="connsiteX11" fmla="*/ 198669 w 260639"/>
                <a:gd name="connsiteY11" fmla="*/ 81621 h 98025"/>
                <a:gd name="connsiteX12" fmla="*/ 164950 w 260639"/>
                <a:gd name="connsiteY12" fmla="*/ 40156 h 98025"/>
                <a:gd name="connsiteX13" fmla="*/ 127358 w 260639"/>
                <a:gd name="connsiteY13" fmla="*/ 65616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60639" h="98025">
                  <a:moveTo>
                    <a:pt x="121640" y="88179"/>
                  </a:moveTo>
                  <a:lnTo>
                    <a:pt x="0" y="3862"/>
                  </a:lnTo>
                  <a:lnTo>
                    <a:pt x="0" y="1424"/>
                  </a:lnTo>
                  <a:lnTo>
                    <a:pt x="104802" y="1424"/>
                  </a:lnTo>
                  <a:lnTo>
                    <a:pt x="104802" y="75242"/>
                  </a:lnTo>
                  <a:lnTo>
                    <a:pt x="106170" y="75242"/>
                  </a:lnTo>
                  <a:cubicBezTo>
                    <a:pt x="120751" y="31954"/>
                    <a:pt x="132143" y="15095"/>
                    <a:pt x="154014" y="5981"/>
                  </a:cubicBezTo>
                  <a:cubicBezTo>
                    <a:pt x="164039" y="1880"/>
                    <a:pt x="174519" y="-398"/>
                    <a:pt x="185454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5"/>
                    <a:pt x="184543" y="40156"/>
                    <a:pt x="164950" y="40156"/>
                  </a:cubicBezTo>
                  <a:cubicBezTo>
                    <a:pt x="150369" y="40156"/>
                    <a:pt x="137041" y="49839"/>
                    <a:pt x="127358" y="656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9" name="Forme libre : forme 1428">
              <a:extLst>
                <a:ext uri="{FF2B5EF4-FFF2-40B4-BE49-F238E27FC236}">
                  <a16:creationId xmlns:a16="http://schemas.microsoft.com/office/drawing/2014/main" id="{7EB29EE7-8CE0-4F9C-BE94-981E02C14E6E}"/>
                </a:ext>
              </a:extLst>
            </p:cNvPr>
            <p:cNvSpPr/>
            <p:nvPr/>
          </p:nvSpPr>
          <p:spPr>
            <a:xfrm rot="8716295">
              <a:off x="8702676" y="-5088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0" name="Forme libre : forme 1429">
              <a:extLst>
                <a:ext uri="{FF2B5EF4-FFF2-40B4-BE49-F238E27FC236}">
                  <a16:creationId xmlns:a16="http://schemas.microsoft.com/office/drawing/2014/main" id="{0BDDD1E9-AF02-445F-B0F9-274E91D802B8}"/>
                </a:ext>
              </a:extLst>
            </p:cNvPr>
            <p:cNvSpPr/>
            <p:nvPr/>
          </p:nvSpPr>
          <p:spPr>
            <a:xfrm rot="7484129">
              <a:off x="8807607" y="14046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1" name="Forme libre : forme 1430">
              <a:extLst>
                <a:ext uri="{FF2B5EF4-FFF2-40B4-BE49-F238E27FC236}">
                  <a16:creationId xmlns:a16="http://schemas.microsoft.com/office/drawing/2014/main" id="{2995B139-7C17-446E-807C-66D934593AD9}"/>
                </a:ext>
              </a:extLst>
            </p:cNvPr>
            <p:cNvSpPr/>
            <p:nvPr/>
          </p:nvSpPr>
          <p:spPr>
            <a:xfrm rot="13089394">
              <a:off x="8909339" y="109550"/>
              <a:ext cx="272584" cy="321941"/>
            </a:xfrm>
            <a:custGeom>
              <a:avLst/>
              <a:gdLst>
                <a:gd name="connsiteX0" fmla="*/ 272584 w 272584"/>
                <a:gd name="connsiteY0" fmla="*/ 258238 h 321941"/>
                <a:gd name="connsiteX1" fmla="*/ 177331 w 272584"/>
                <a:gd name="connsiteY1" fmla="*/ 311348 h 321941"/>
                <a:gd name="connsiteX2" fmla="*/ 137666 w 272584"/>
                <a:gd name="connsiteY2" fmla="*/ 321941 h 321941"/>
                <a:gd name="connsiteX3" fmla="*/ 0 w 272584"/>
                <a:gd name="connsiteY3" fmla="*/ 146725 h 321941"/>
                <a:gd name="connsiteX4" fmla="*/ 0 w 272584"/>
                <a:gd name="connsiteY4" fmla="*/ 38074 h 321941"/>
                <a:gd name="connsiteX5" fmla="*/ 73387 w 272584"/>
                <a:gd name="connsiteY5" fmla="*/ 0 h 321941"/>
                <a:gd name="connsiteX6" fmla="*/ 74491 w 272584"/>
                <a:gd name="connsiteY6" fmla="*/ 153950 h 321941"/>
                <a:gd name="connsiteX7" fmla="*/ 87734 w 272584"/>
                <a:gd name="connsiteY7" fmla="*/ 245547 h 321941"/>
                <a:gd name="connsiteX8" fmla="*/ 153949 w 272584"/>
                <a:gd name="connsiteY8" fmla="*/ 281965 h 321941"/>
                <a:gd name="connsiteX9" fmla="*/ 203610 w 272584"/>
                <a:gd name="connsiteY9" fmla="*/ 273136 h 321941"/>
                <a:gd name="connsiteX10" fmla="*/ 271481 w 272584"/>
                <a:gd name="connsiteY10" fmla="*/ 245547 h 321941"/>
                <a:gd name="connsiteX11" fmla="*/ 272584 w 272584"/>
                <a:gd name="connsiteY11" fmla="*/ 252720 h 321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2584" h="321941">
                  <a:moveTo>
                    <a:pt x="272584" y="258238"/>
                  </a:moveTo>
                  <a:cubicBezTo>
                    <a:pt x="243339" y="283344"/>
                    <a:pt x="209542" y="300312"/>
                    <a:pt x="177331" y="311348"/>
                  </a:cubicBezTo>
                  <a:lnTo>
                    <a:pt x="137666" y="321941"/>
                  </a:lnTo>
                  <a:lnTo>
                    <a:pt x="0" y="146725"/>
                  </a:lnTo>
                  <a:lnTo>
                    <a:pt x="0" y="38074"/>
                  </a:lnTo>
                  <a:lnTo>
                    <a:pt x="73387" y="0"/>
                  </a:lnTo>
                  <a:lnTo>
                    <a:pt x="74491" y="153950"/>
                  </a:lnTo>
                  <a:cubicBezTo>
                    <a:pt x="72836" y="184850"/>
                    <a:pt x="77802" y="216301"/>
                    <a:pt x="87734" y="245547"/>
                  </a:cubicBezTo>
                  <a:cubicBezTo>
                    <a:pt x="96563" y="269826"/>
                    <a:pt x="119187" y="281965"/>
                    <a:pt x="153949" y="281965"/>
                  </a:cubicBezTo>
                  <a:cubicBezTo>
                    <a:pt x="171055" y="281413"/>
                    <a:pt x="187608" y="278102"/>
                    <a:pt x="203610" y="273136"/>
                  </a:cubicBezTo>
                  <a:cubicBezTo>
                    <a:pt x="226786" y="265962"/>
                    <a:pt x="249409" y="256583"/>
                    <a:pt x="271481" y="245547"/>
                  </a:cubicBezTo>
                  <a:cubicBezTo>
                    <a:pt x="272032" y="247754"/>
                    <a:pt x="272584" y="250512"/>
                    <a:pt x="272584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2" name="Forme libre : forme 1431">
              <a:extLst>
                <a:ext uri="{FF2B5EF4-FFF2-40B4-BE49-F238E27FC236}">
                  <a16:creationId xmlns:a16="http://schemas.microsoft.com/office/drawing/2014/main" id="{5A473123-E00F-4291-A955-BB5219A058F6}"/>
                </a:ext>
              </a:extLst>
            </p:cNvPr>
            <p:cNvSpPr/>
            <p:nvPr/>
          </p:nvSpPr>
          <p:spPr>
            <a:xfrm rot="8716295">
              <a:off x="9122688" y="40501"/>
              <a:ext cx="40667" cy="55234"/>
            </a:xfrm>
            <a:custGeom>
              <a:avLst/>
              <a:gdLst>
                <a:gd name="connsiteX0" fmla="*/ 0 w 40667"/>
                <a:gd name="connsiteY0" fmla="*/ 55234 h 55234"/>
                <a:gd name="connsiteX1" fmla="*/ 38286 w 40667"/>
                <a:gd name="connsiteY1" fmla="*/ 0 h 55234"/>
                <a:gd name="connsiteX2" fmla="*/ 40667 w 40667"/>
                <a:gd name="connsiteY2" fmla="*/ 8974 h 55234"/>
                <a:gd name="connsiteX3" fmla="*/ 9497 w 40667"/>
                <a:gd name="connsiteY3" fmla="*/ 50893 h 55234"/>
                <a:gd name="connsiteX4" fmla="*/ 10033 w 40667"/>
                <a:gd name="connsiteY4" fmla="*/ 50893 h 55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667" h="55234">
                  <a:moveTo>
                    <a:pt x="0" y="55234"/>
                  </a:moveTo>
                  <a:lnTo>
                    <a:pt x="38286" y="0"/>
                  </a:lnTo>
                  <a:lnTo>
                    <a:pt x="40667" y="8974"/>
                  </a:lnTo>
                  <a:cubicBezTo>
                    <a:pt x="39055" y="27784"/>
                    <a:pt x="26693" y="43369"/>
                    <a:pt x="9497" y="50893"/>
                  </a:cubicBezTo>
                  <a:lnTo>
                    <a:pt x="10033" y="508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3" name="Forme libre : forme 1432">
              <a:extLst>
                <a:ext uri="{FF2B5EF4-FFF2-40B4-BE49-F238E27FC236}">
                  <a16:creationId xmlns:a16="http://schemas.microsoft.com/office/drawing/2014/main" id="{EE271554-B785-4605-928F-70CAFB70DEA7}"/>
                </a:ext>
              </a:extLst>
            </p:cNvPr>
            <p:cNvSpPr/>
            <p:nvPr/>
          </p:nvSpPr>
          <p:spPr>
            <a:xfrm rot="8716295">
              <a:off x="8952852" y="4155793"/>
              <a:ext cx="183188" cy="195873"/>
            </a:xfrm>
            <a:custGeom>
              <a:avLst/>
              <a:gdLst>
                <a:gd name="connsiteX0" fmla="*/ 70051 w 183188"/>
                <a:gd name="connsiteY0" fmla="*/ 195873 h 195873"/>
                <a:gd name="connsiteX1" fmla="*/ 27188 w 183188"/>
                <a:gd name="connsiteY1" fmla="*/ 116129 h 195873"/>
                <a:gd name="connsiteX2" fmla="*/ 49117 w 183188"/>
                <a:gd name="connsiteY2" fmla="*/ 55323 h 195873"/>
                <a:gd name="connsiteX3" fmla="*/ 0 w 183188"/>
                <a:gd name="connsiteY3" fmla="*/ 55323 h 195873"/>
                <a:gd name="connsiteX4" fmla="*/ 38348 w 183188"/>
                <a:gd name="connsiteY4" fmla="*/ 0 h 195873"/>
                <a:gd name="connsiteX5" fmla="*/ 183188 w 183188"/>
                <a:gd name="connsiteY5" fmla="*/ 0 h 195873"/>
                <a:gd name="connsiteX6" fmla="*/ 183188 w 183188"/>
                <a:gd name="connsiteY6" fmla="*/ 55323 h 195873"/>
                <a:gd name="connsiteX7" fmla="*/ 118395 w 183188"/>
                <a:gd name="connsiteY7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3188" h="195873">
                  <a:moveTo>
                    <a:pt x="70051" y="195873"/>
                  </a:moveTo>
                  <a:lnTo>
                    <a:pt x="27188" y="116129"/>
                  </a:lnTo>
                  <a:lnTo>
                    <a:pt x="49117" y="55323"/>
                  </a:lnTo>
                  <a:lnTo>
                    <a:pt x="0" y="55323"/>
                  </a:lnTo>
                  <a:lnTo>
                    <a:pt x="38348" y="0"/>
                  </a:lnTo>
                  <a:lnTo>
                    <a:pt x="183188" y="0"/>
                  </a:lnTo>
                  <a:lnTo>
                    <a:pt x="183188" y="55323"/>
                  </a:lnTo>
                  <a:lnTo>
                    <a:pt x="11839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1434" name="Forme libre : forme 1433">
            <a:extLst>
              <a:ext uri="{FF2B5EF4-FFF2-40B4-BE49-F238E27FC236}">
                <a16:creationId xmlns:a16="http://schemas.microsoft.com/office/drawing/2014/main" id="{3099C65B-8B10-484F-B315-40A09E366107}"/>
              </a:ext>
            </a:extLst>
          </p:cNvPr>
          <p:cNvSpPr/>
          <p:nvPr userDrawn="1"/>
        </p:nvSpPr>
        <p:spPr>
          <a:xfrm>
            <a:off x="1" y="0"/>
            <a:ext cx="6096000" cy="5143500"/>
          </a:xfrm>
          <a:custGeom>
            <a:avLst/>
            <a:gdLst>
              <a:gd name="connsiteX0" fmla="*/ 0 w 6096000"/>
              <a:gd name="connsiteY0" fmla="*/ 0 h 5143500"/>
              <a:gd name="connsiteX1" fmla="*/ 6096000 w 6096000"/>
              <a:gd name="connsiteY1" fmla="*/ 0 h 5143500"/>
              <a:gd name="connsiteX2" fmla="*/ 5658098 w 6096000"/>
              <a:gd name="connsiteY2" fmla="*/ 5143500 h 5143500"/>
              <a:gd name="connsiteX3" fmla="*/ 0 w 6096000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5143500">
                <a:moveTo>
                  <a:pt x="0" y="0"/>
                </a:moveTo>
                <a:lnTo>
                  <a:pt x="6096000" y="0"/>
                </a:lnTo>
                <a:lnTo>
                  <a:pt x="5658098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412" name="Espace réservé du texte 1411">
            <a:extLst>
              <a:ext uri="{FF2B5EF4-FFF2-40B4-BE49-F238E27FC236}">
                <a16:creationId xmlns:a16="http://schemas.microsoft.com/office/drawing/2014/main" id="{B975A26C-84FD-4C11-BF53-E602FA68DDC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9920" y="812296"/>
            <a:ext cx="36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1413" name="Espace réservé du texte 1412">
            <a:extLst>
              <a:ext uri="{FF2B5EF4-FFF2-40B4-BE49-F238E27FC236}">
                <a16:creationId xmlns:a16="http://schemas.microsoft.com/office/drawing/2014/main" id="{1F3E6244-BF30-44B9-B6F9-BF4959AA80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29920" y="812296"/>
            <a:ext cx="36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1414" name="Titre 1413">
            <a:extLst>
              <a:ext uri="{FF2B5EF4-FFF2-40B4-BE49-F238E27FC236}">
                <a16:creationId xmlns:a16="http://schemas.microsoft.com/office/drawing/2014/main" id="{7B15E4E4-6E7E-48BC-92A9-631F532CE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5123" y="333575"/>
            <a:ext cx="4278481" cy="4247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Titre de la slide</a:t>
            </a:r>
          </a:p>
        </p:txBody>
      </p:sp>
      <p:sp>
        <p:nvSpPr>
          <p:cNvPr id="1435" name="Espace réservé du texte 527">
            <a:extLst>
              <a:ext uri="{FF2B5EF4-FFF2-40B4-BE49-F238E27FC236}">
                <a16:creationId xmlns:a16="http://schemas.microsoft.com/office/drawing/2014/main" id="{122505A0-011B-4B6A-B1E5-4E67B987548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57797" y="4265959"/>
            <a:ext cx="972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1436" name="Espace réservé du texte 528">
            <a:extLst>
              <a:ext uri="{FF2B5EF4-FFF2-40B4-BE49-F238E27FC236}">
                <a16:creationId xmlns:a16="http://schemas.microsoft.com/office/drawing/2014/main" id="{FA2FD6D6-E4AA-4328-9FAB-C95B52D0740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527881" y="4265959"/>
            <a:ext cx="972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rgbClr val="3A1B0B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1437" name="Espace réservé du texte 530">
            <a:extLst>
              <a:ext uri="{FF2B5EF4-FFF2-40B4-BE49-F238E27FC236}">
                <a16:creationId xmlns:a16="http://schemas.microsoft.com/office/drawing/2014/main" id="{08A6D908-22E3-475D-AFD6-C01F2E5AFFB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44353" y="491319"/>
            <a:ext cx="2190214" cy="3455711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1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Niveau 2</a:t>
            </a:r>
          </a:p>
        </p:txBody>
      </p:sp>
      <p:sp>
        <p:nvSpPr>
          <p:cNvPr id="531" name="Espace réservé du numéro de diapositive 530">
            <a:extLst>
              <a:ext uri="{FF2B5EF4-FFF2-40B4-BE49-F238E27FC236}">
                <a16:creationId xmlns:a16="http://schemas.microsoft.com/office/drawing/2014/main" id="{88C86476-5A7E-47D7-A0E9-020EE06E65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00800" y="0"/>
            <a:ext cx="594090" cy="2665951"/>
          </a:xfrm>
          <a:custGeom>
            <a:avLst/>
            <a:gdLst>
              <a:gd name="connsiteX0" fmla="*/ 0 w 594090"/>
              <a:gd name="connsiteY0" fmla="*/ 0 h 2665951"/>
              <a:gd name="connsiteX1" fmla="*/ 594090 w 594090"/>
              <a:gd name="connsiteY1" fmla="*/ 0 h 2665951"/>
              <a:gd name="connsiteX2" fmla="*/ 367119 w 594090"/>
              <a:gd name="connsiteY2" fmla="*/ 2665951 h 2665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94090" h="2665951">
                <a:moveTo>
                  <a:pt x="0" y="0"/>
                </a:moveTo>
                <a:lnTo>
                  <a:pt x="594090" y="0"/>
                </a:lnTo>
                <a:lnTo>
                  <a:pt x="367119" y="2665951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180000" rIns="0" bIns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970671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ur une ligne + Conten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Espace réservé du numéro de diapositive 129">
            <a:extLst>
              <a:ext uri="{FF2B5EF4-FFF2-40B4-BE49-F238E27FC236}">
                <a16:creationId xmlns:a16="http://schemas.microsoft.com/office/drawing/2014/main" id="{62EE913C-626B-433C-BC1F-844371E1C2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9681" y="3148262"/>
            <a:ext cx="444626" cy="1995238"/>
          </a:xfrm>
          <a:custGeom>
            <a:avLst/>
            <a:gdLst>
              <a:gd name="connsiteX0" fmla="*/ 169868 w 444626"/>
              <a:gd name="connsiteY0" fmla="*/ 0 h 1995238"/>
              <a:gd name="connsiteX1" fmla="*/ 444626 w 444626"/>
              <a:gd name="connsiteY1" fmla="*/ 1995238 h 1995238"/>
              <a:gd name="connsiteX2" fmla="*/ 0 w 444626"/>
              <a:gd name="connsiteY2" fmla="*/ 1995238 h 1995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4626" h="1995238">
                <a:moveTo>
                  <a:pt x="169868" y="0"/>
                </a:moveTo>
                <a:lnTo>
                  <a:pt x="444626" y="1995238"/>
                </a:lnTo>
                <a:lnTo>
                  <a:pt x="0" y="199523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180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138" name="Forme libre : forme 137">
            <a:extLst>
              <a:ext uri="{FF2B5EF4-FFF2-40B4-BE49-F238E27FC236}">
                <a16:creationId xmlns:a16="http://schemas.microsoft.com/office/drawing/2014/main" id="{0FDE4FE4-FDFC-41B3-BDA4-CE918EEAE71E}"/>
              </a:ext>
            </a:extLst>
          </p:cNvPr>
          <p:cNvSpPr/>
          <p:nvPr userDrawn="1"/>
        </p:nvSpPr>
        <p:spPr>
          <a:xfrm>
            <a:off x="629550" y="0"/>
            <a:ext cx="8514451" cy="5143499"/>
          </a:xfrm>
          <a:custGeom>
            <a:avLst/>
            <a:gdLst>
              <a:gd name="connsiteX0" fmla="*/ 689595 w 8514451"/>
              <a:gd name="connsiteY0" fmla="*/ 884098 h 5143499"/>
              <a:gd name="connsiteX1" fmla="*/ 689595 w 8514451"/>
              <a:gd name="connsiteY1" fmla="*/ 929817 h 5143499"/>
              <a:gd name="connsiteX2" fmla="*/ 1049595 w 8514451"/>
              <a:gd name="connsiteY2" fmla="*/ 929817 h 5143499"/>
              <a:gd name="connsiteX3" fmla="*/ 1049595 w 8514451"/>
              <a:gd name="connsiteY3" fmla="*/ 884098 h 5143499"/>
              <a:gd name="connsiteX4" fmla="*/ 268034 w 8514451"/>
              <a:gd name="connsiteY4" fmla="*/ 0 h 5143499"/>
              <a:gd name="connsiteX5" fmla="*/ 8514451 w 8514451"/>
              <a:gd name="connsiteY5" fmla="*/ 0 h 5143499"/>
              <a:gd name="connsiteX6" fmla="*/ 8514451 w 8514451"/>
              <a:gd name="connsiteY6" fmla="*/ 5143499 h 5143499"/>
              <a:gd name="connsiteX7" fmla="*/ 274758 w 8514451"/>
              <a:gd name="connsiteY7" fmla="*/ 5143499 h 5143499"/>
              <a:gd name="connsiteX8" fmla="*/ 0 w 8514451"/>
              <a:gd name="connsiteY8" fmla="*/ 3148262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514451" h="5143499">
                <a:moveTo>
                  <a:pt x="689595" y="884098"/>
                </a:moveTo>
                <a:lnTo>
                  <a:pt x="689595" y="929817"/>
                </a:lnTo>
                <a:lnTo>
                  <a:pt x="1049595" y="929817"/>
                </a:lnTo>
                <a:lnTo>
                  <a:pt x="1049595" y="884098"/>
                </a:lnTo>
                <a:close/>
                <a:moveTo>
                  <a:pt x="268034" y="0"/>
                </a:moveTo>
                <a:lnTo>
                  <a:pt x="8514451" y="0"/>
                </a:lnTo>
                <a:lnTo>
                  <a:pt x="8514451" y="5143499"/>
                </a:lnTo>
                <a:lnTo>
                  <a:pt x="274758" y="5143499"/>
                </a:lnTo>
                <a:lnTo>
                  <a:pt x="0" y="31482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48DF42C1-5220-478C-ABAC-92E468D673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Titre de la slide sur une ligne</a:t>
            </a:r>
          </a:p>
        </p:txBody>
      </p:sp>
      <p:sp>
        <p:nvSpPr>
          <p:cNvPr id="9" name="Forme libre : forme 8">
            <a:extLst>
              <a:ext uri="{FF2B5EF4-FFF2-40B4-BE49-F238E27FC236}">
                <a16:creationId xmlns:a16="http://schemas.microsoft.com/office/drawing/2014/main" id="{4100D4C0-1B0B-4813-97B4-727B3F07A2B3}"/>
              </a:ext>
            </a:extLst>
          </p:cNvPr>
          <p:cNvSpPr/>
          <p:nvPr/>
        </p:nvSpPr>
        <p:spPr>
          <a:xfrm rot="8716295">
            <a:off x="617786" y="1780350"/>
            <a:ext cx="152726" cy="195873"/>
          </a:xfrm>
          <a:custGeom>
            <a:avLst/>
            <a:gdLst>
              <a:gd name="connsiteX0" fmla="*/ 39589 w 152726"/>
              <a:gd name="connsiteY0" fmla="*/ 195873 h 195873"/>
              <a:gd name="connsiteX1" fmla="*/ 0 w 152726"/>
              <a:gd name="connsiteY1" fmla="*/ 122219 h 195873"/>
              <a:gd name="connsiteX2" fmla="*/ 101089 w 152726"/>
              <a:gd name="connsiteY2" fmla="*/ 0 h 195873"/>
              <a:gd name="connsiteX3" fmla="*/ 152726 w 152726"/>
              <a:gd name="connsiteY3" fmla="*/ 0 h 195873"/>
              <a:gd name="connsiteX4" fmla="*/ 152726 w 152726"/>
              <a:gd name="connsiteY4" fmla="*/ 55323 h 195873"/>
              <a:gd name="connsiteX5" fmla="*/ 87934 w 152726"/>
              <a:gd name="connsiteY5" fmla="*/ 55323 h 195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2726" h="195873">
                <a:moveTo>
                  <a:pt x="39589" y="195873"/>
                </a:moveTo>
                <a:lnTo>
                  <a:pt x="0" y="122219"/>
                </a:lnTo>
                <a:lnTo>
                  <a:pt x="101089" y="0"/>
                </a:lnTo>
                <a:lnTo>
                  <a:pt x="152726" y="0"/>
                </a:lnTo>
                <a:lnTo>
                  <a:pt x="152726" y="55323"/>
                </a:lnTo>
                <a:lnTo>
                  <a:pt x="87934" y="5532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" name="Forme libre : forme 9">
            <a:extLst>
              <a:ext uri="{FF2B5EF4-FFF2-40B4-BE49-F238E27FC236}">
                <a16:creationId xmlns:a16="http://schemas.microsoft.com/office/drawing/2014/main" id="{CB9A2237-374C-411A-AB62-0191ED80FFE2}"/>
              </a:ext>
            </a:extLst>
          </p:cNvPr>
          <p:cNvSpPr/>
          <p:nvPr/>
        </p:nvSpPr>
        <p:spPr>
          <a:xfrm rot="8716295">
            <a:off x="534441" y="1654353"/>
            <a:ext cx="262864" cy="103234"/>
          </a:xfrm>
          <a:custGeom>
            <a:avLst/>
            <a:gdLst>
              <a:gd name="connsiteX0" fmla="*/ 0 w 262864"/>
              <a:gd name="connsiteY0" fmla="*/ 75341 h 103234"/>
              <a:gd name="connsiteX1" fmla="*/ 62316 w 262864"/>
              <a:gd name="connsiteY1" fmla="*/ 0 h 103234"/>
              <a:gd name="connsiteX2" fmla="*/ 65768 w 262864"/>
              <a:gd name="connsiteY2" fmla="*/ 14220 h 103234"/>
              <a:gd name="connsiteX3" fmla="*/ 136369 w 262864"/>
              <a:gd name="connsiteY3" fmla="*/ 53051 h 103234"/>
              <a:gd name="connsiteX4" fmla="*/ 189321 w 262864"/>
              <a:gd name="connsiteY4" fmla="*/ 43637 h 103234"/>
              <a:gd name="connsiteX5" fmla="*/ 261688 w 262864"/>
              <a:gd name="connsiteY5" fmla="*/ 14220 h 103234"/>
              <a:gd name="connsiteX6" fmla="*/ 262864 w 262864"/>
              <a:gd name="connsiteY6" fmla="*/ 21868 h 103234"/>
              <a:gd name="connsiteX7" fmla="*/ 262864 w 262864"/>
              <a:gd name="connsiteY7" fmla="*/ 27752 h 103234"/>
              <a:gd name="connsiteX8" fmla="*/ 69887 w 262864"/>
              <a:gd name="connsiteY8" fmla="*/ 103060 h 103234"/>
              <a:gd name="connsiteX9" fmla="*/ 30615 w 262864"/>
              <a:gd name="connsiteY9" fmla="*/ 96294 h 1032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2864" h="103234">
                <a:moveTo>
                  <a:pt x="0" y="75341"/>
                </a:moveTo>
                <a:lnTo>
                  <a:pt x="62316" y="0"/>
                </a:lnTo>
                <a:lnTo>
                  <a:pt x="65768" y="14220"/>
                </a:lnTo>
                <a:cubicBezTo>
                  <a:pt x="75182" y="40107"/>
                  <a:pt x="99304" y="53051"/>
                  <a:pt x="136369" y="53051"/>
                </a:cubicBezTo>
                <a:cubicBezTo>
                  <a:pt x="154609" y="52462"/>
                  <a:pt x="172259" y="48932"/>
                  <a:pt x="189321" y="43637"/>
                </a:cubicBezTo>
                <a:cubicBezTo>
                  <a:pt x="214031" y="35988"/>
                  <a:pt x="238154" y="25987"/>
                  <a:pt x="261688" y="14220"/>
                </a:cubicBezTo>
                <a:cubicBezTo>
                  <a:pt x="262276" y="16573"/>
                  <a:pt x="262864" y="19515"/>
                  <a:pt x="262864" y="21868"/>
                </a:cubicBezTo>
                <a:lnTo>
                  <a:pt x="262864" y="27752"/>
                </a:lnTo>
                <a:cubicBezTo>
                  <a:pt x="200500" y="81291"/>
                  <a:pt x="118719" y="100119"/>
                  <a:pt x="69887" y="103060"/>
                </a:cubicBezTo>
                <a:cubicBezTo>
                  <a:pt x="56355" y="103943"/>
                  <a:pt x="42970" y="101442"/>
                  <a:pt x="30615" y="96294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" name="Forme libre : forme 10">
            <a:extLst>
              <a:ext uri="{FF2B5EF4-FFF2-40B4-BE49-F238E27FC236}">
                <a16:creationId xmlns:a16="http://schemas.microsoft.com/office/drawing/2014/main" id="{8F8A3734-3F77-44C7-9A38-570198540CBC}"/>
              </a:ext>
            </a:extLst>
          </p:cNvPr>
          <p:cNvSpPr/>
          <p:nvPr/>
        </p:nvSpPr>
        <p:spPr>
          <a:xfrm rot="8716295">
            <a:off x="632719" y="1232432"/>
            <a:ext cx="121558" cy="232388"/>
          </a:xfrm>
          <a:custGeom>
            <a:avLst/>
            <a:gdLst>
              <a:gd name="connsiteX0" fmla="*/ 60499 w 121558"/>
              <a:gd name="connsiteY0" fmla="*/ 232388 h 232388"/>
              <a:gd name="connsiteX1" fmla="*/ 60499 w 121558"/>
              <a:gd name="connsiteY1" fmla="*/ 69717 h 232388"/>
              <a:gd name="connsiteX2" fmla="*/ 60499 w 121558"/>
              <a:gd name="connsiteY2" fmla="*/ 65615 h 232388"/>
              <a:gd name="connsiteX3" fmla="*/ 39995 w 121558"/>
              <a:gd name="connsiteY3" fmla="*/ 50123 h 232388"/>
              <a:gd name="connsiteX4" fmla="*/ 0 w 121558"/>
              <a:gd name="connsiteY4" fmla="*/ 50123 h 232388"/>
              <a:gd name="connsiteX5" fmla="*/ 41457 w 121558"/>
              <a:gd name="connsiteY5" fmla="*/ 0 h 232388"/>
              <a:gd name="connsiteX6" fmla="*/ 64601 w 121558"/>
              <a:gd name="connsiteY6" fmla="*/ 0 h 232388"/>
              <a:gd name="connsiteX7" fmla="*/ 121558 w 121558"/>
              <a:gd name="connsiteY7" fmla="*/ 50123 h 232388"/>
              <a:gd name="connsiteX8" fmla="*/ 121558 w 121558"/>
              <a:gd name="connsiteY8" fmla="*/ 208238 h 232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558" h="232388">
                <a:moveTo>
                  <a:pt x="60499" y="232388"/>
                </a:moveTo>
                <a:lnTo>
                  <a:pt x="60499" y="69717"/>
                </a:lnTo>
                <a:cubicBezTo>
                  <a:pt x="60499" y="68349"/>
                  <a:pt x="60499" y="66983"/>
                  <a:pt x="60499" y="65615"/>
                </a:cubicBezTo>
                <a:cubicBezTo>
                  <a:pt x="59133" y="55591"/>
                  <a:pt x="50019" y="48756"/>
                  <a:pt x="39995" y="50123"/>
                </a:cubicBezTo>
                <a:lnTo>
                  <a:pt x="0" y="50123"/>
                </a:lnTo>
                <a:lnTo>
                  <a:pt x="41457" y="0"/>
                </a:lnTo>
                <a:lnTo>
                  <a:pt x="64601" y="0"/>
                </a:lnTo>
                <a:cubicBezTo>
                  <a:pt x="101509" y="0"/>
                  <a:pt x="121558" y="15948"/>
                  <a:pt x="121558" y="50123"/>
                </a:cubicBezTo>
                <a:lnTo>
                  <a:pt x="121558" y="208238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" name="Forme libre : forme 11">
            <a:extLst>
              <a:ext uri="{FF2B5EF4-FFF2-40B4-BE49-F238E27FC236}">
                <a16:creationId xmlns:a16="http://schemas.microsoft.com/office/drawing/2014/main" id="{70856B7B-717B-4AEA-95A4-A1E79A999538}"/>
              </a:ext>
            </a:extLst>
          </p:cNvPr>
          <p:cNvSpPr/>
          <p:nvPr/>
        </p:nvSpPr>
        <p:spPr>
          <a:xfrm rot="8716295">
            <a:off x="763454" y="1474783"/>
            <a:ext cx="14143" cy="14319"/>
          </a:xfrm>
          <a:custGeom>
            <a:avLst/>
            <a:gdLst>
              <a:gd name="connsiteX0" fmla="*/ 0 w 14143"/>
              <a:gd name="connsiteY0" fmla="*/ 14319 h 14319"/>
              <a:gd name="connsiteX1" fmla="*/ 11843 w 14143"/>
              <a:gd name="connsiteY1" fmla="*/ 0 h 14319"/>
              <a:gd name="connsiteX2" fmla="*/ 14143 w 14143"/>
              <a:gd name="connsiteY2" fmla="*/ 7563 h 14319"/>
              <a:gd name="connsiteX3" fmla="*/ 14143 w 14143"/>
              <a:gd name="connsiteY3" fmla="*/ 13487 h 143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143" h="14319">
                <a:moveTo>
                  <a:pt x="0" y="14319"/>
                </a:moveTo>
                <a:lnTo>
                  <a:pt x="11843" y="0"/>
                </a:lnTo>
                <a:lnTo>
                  <a:pt x="14143" y="7563"/>
                </a:lnTo>
                <a:lnTo>
                  <a:pt x="14143" y="13487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3E264A51-6081-4342-94AB-E5098D8BEE47}"/>
              </a:ext>
            </a:extLst>
          </p:cNvPr>
          <p:cNvSpPr/>
          <p:nvPr/>
        </p:nvSpPr>
        <p:spPr>
          <a:xfrm rot="8716295">
            <a:off x="672878" y="1171577"/>
            <a:ext cx="183964" cy="137618"/>
          </a:xfrm>
          <a:custGeom>
            <a:avLst/>
            <a:gdLst>
              <a:gd name="connsiteX0" fmla="*/ 0 w 183964"/>
              <a:gd name="connsiteY0" fmla="*/ 137618 h 137618"/>
              <a:gd name="connsiteX1" fmla="*/ 53346 w 183964"/>
              <a:gd name="connsiteY1" fmla="*/ 73121 h 137618"/>
              <a:gd name="connsiteX2" fmla="*/ 101034 w 183964"/>
              <a:gd name="connsiteY2" fmla="*/ 28251 h 137618"/>
              <a:gd name="connsiteX3" fmla="*/ 155713 w 183964"/>
              <a:gd name="connsiteY3" fmla="*/ 0 h 137618"/>
              <a:gd name="connsiteX4" fmla="*/ 183964 w 183964"/>
              <a:gd name="connsiteY4" fmla="*/ 33719 h 137618"/>
              <a:gd name="connsiteX5" fmla="*/ 157536 w 183964"/>
              <a:gd name="connsiteY5" fmla="*/ 69261 h 137618"/>
              <a:gd name="connsiteX6" fmla="*/ 157991 w 183964"/>
              <a:gd name="connsiteY6" fmla="*/ 69261 h 137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3964" h="137618">
                <a:moveTo>
                  <a:pt x="0" y="137618"/>
                </a:moveTo>
                <a:lnTo>
                  <a:pt x="53346" y="73121"/>
                </a:lnTo>
                <a:lnTo>
                  <a:pt x="101034" y="28251"/>
                </a:lnTo>
                <a:cubicBezTo>
                  <a:pt x="114703" y="12303"/>
                  <a:pt x="134297" y="2278"/>
                  <a:pt x="155713" y="0"/>
                </a:cubicBezTo>
                <a:cubicBezTo>
                  <a:pt x="177585" y="0"/>
                  <a:pt x="183964" y="19138"/>
                  <a:pt x="183964" y="33719"/>
                </a:cubicBezTo>
                <a:cubicBezTo>
                  <a:pt x="182597" y="49667"/>
                  <a:pt x="172117" y="62881"/>
                  <a:pt x="157536" y="69261"/>
                </a:cubicBezTo>
                <a:lnTo>
                  <a:pt x="157991" y="69261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03D4C536-74A8-424A-B4F4-647CD66813A6}"/>
              </a:ext>
            </a:extLst>
          </p:cNvPr>
          <p:cNvSpPr/>
          <p:nvPr/>
        </p:nvSpPr>
        <p:spPr>
          <a:xfrm rot="8716295">
            <a:off x="519479" y="1314846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5" name="Forme libre : forme 14">
            <a:extLst>
              <a:ext uri="{FF2B5EF4-FFF2-40B4-BE49-F238E27FC236}">
                <a16:creationId xmlns:a16="http://schemas.microsoft.com/office/drawing/2014/main" id="{6C726A65-5764-428F-B78B-B207E19CC8A7}"/>
              </a:ext>
            </a:extLst>
          </p:cNvPr>
          <p:cNvSpPr/>
          <p:nvPr/>
        </p:nvSpPr>
        <p:spPr>
          <a:xfrm rot="8716295">
            <a:off x="394576" y="1106173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6" name="Forme libre : forme 15">
            <a:extLst>
              <a:ext uri="{FF2B5EF4-FFF2-40B4-BE49-F238E27FC236}">
                <a16:creationId xmlns:a16="http://schemas.microsoft.com/office/drawing/2014/main" id="{B057F75B-3923-494B-B65B-A96E682E21D4}"/>
              </a:ext>
            </a:extLst>
          </p:cNvPr>
          <p:cNvSpPr/>
          <p:nvPr/>
        </p:nvSpPr>
        <p:spPr>
          <a:xfrm rot="8716295">
            <a:off x="382524" y="967393"/>
            <a:ext cx="288290" cy="347125"/>
          </a:xfrm>
          <a:custGeom>
            <a:avLst/>
            <a:gdLst>
              <a:gd name="connsiteX0" fmla="*/ 470535 w 466725"/>
              <a:gd name="connsiteY0" fmla="*/ 436245 h 561975"/>
              <a:gd name="connsiteX1" fmla="*/ 470535 w 466725"/>
              <a:gd name="connsiteY1" fmla="*/ 445770 h 561975"/>
              <a:gd name="connsiteX2" fmla="*/ 158115 w 466725"/>
              <a:gd name="connsiteY2" fmla="*/ 567690 h 561975"/>
              <a:gd name="connsiteX3" fmla="*/ 40957 w 466725"/>
              <a:gd name="connsiteY3" fmla="*/ 520065 h 561975"/>
              <a:gd name="connsiteX4" fmla="*/ 0 w 466725"/>
              <a:gd name="connsiteY4" fmla="*/ 356235 h 561975"/>
              <a:gd name="connsiteX5" fmla="*/ 0 w 466725"/>
              <a:gd name="connsiteY5" fmla="*/ 65723 h 561975"/>
              <a:gd name="connsiteX6" fmla="*/ 126682 w 466725"/>
              <a:gd name="connsiteY6" fmla="*/ 0 h 561975"/>
              <a:gd name="connsiteX7" fmla="*/ 128588 w 466725"/>
              <a:gd name="connsiteY7" fmla="*/ 265748 h 561975"/>
              <a:gd name="connsiteX8" fmla="*/ 151447 w 466725"/>
              <a:gd name="connsiteY8" fmla="*/ 423863 h 561975"/>
              <a:gd name="connsiteX9" fmla="*/ 265747 w 466725"/>
              <a:gd name="connsiteY9" fmla="*/ 486728 h 561975"/>
              <a:gd name="connsiteX10" fmla="*/ 351472 w 466725"/>
              <a:gd name="connsiteY10" fmla="*/ 471488 h 561975"/>
              <a:gd name="connsiteX11" fmla="*/ 468630 w 466725"/>
              <a:gd name="connsiteY11" fmla="*/ 423863 h 561975"/>
              <a:gd name="connsiteX12" fmla="*/ 470535 w 466725"/>
              <a:gd name="connsiteY12" fmla="*/ 436245 h 56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6725" h="561975">
                <a:moveTo>
                  <a:pt x="470535" y="436245"/>
                </a:moveTo>
                <a:lnTo>
                  <a:pt x="470535" y="445770"/>
                </a:lnTo>
                <a:cubicBezTo>
                  <a:pt x="369570" y="532448"/>
                  <a:pt x="237172" y="562928"/>
                  <a:pt x="158115" y="567690"/>
                </a:cubicBezTo>
                <a:cubicBezTo>
                  <a:pt x="114300" y="570548"/>
                  <a:pt x="71438" y="551498"/>
                  <a:pt x="40957" y="520065"/>
                </a:cubicBezTo>
                <a:cubicBezTo>
                  <a:pt x="8572" y="488633"/>
                  <a:pt x="0" y="434340"/>
                  <a:pt x="0" y="356235"/>
                </a:cubicBezTo>
                <a:lnTo>
                  <a:pt x="0" y="65723"/>
                </a:lnTo>
                <a:lnTo>
                  <a:pt x="126682" y="0"/>
                </a:lnTo>
                <a:lnTo>
                  <a:pt x="128588" y="265748"/>
                </a:lnTo>
                <a:cubicBezTo>
                  <a:pt x="125730" y="319088"/>
                  <a:pt x="134302" y="373380"/>
                  <a:pt x="151447" y="423863"/>
                </a:cubicBezTo>
                <a:cubicBezTo>
                  <a:pt x="166688" y="465773"/>
                  <a:pt x="205740" y="486728"/>
                  <a:pt x="265747" y="486728"/>
                </a:cubicBezTo>
                <a:cubicBezTo>
                  <a:pt x="295275" y="485775"/>
                  <a:pt x="323850" y="480060"/>
                  <a:pt x="351472" y="471488"/>
                </a:cubicBezTo>
                <a:cubicBezTo>
                  <a:pt x="391477" y="459105"/>
                  <a:pt x="430530" y="442913"/>
                  <a:pt x="468630" y="423863"/>
                </a:cubicBezTo>
                <a:cubicBezTo>
                  <a:pt x="469582" y="427673"/>
                  <a:pt x="470535" y="432435"/>
                  <a:pt x="470535" y="43624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7" name="Forme libre : forme 16">
            <a:extLst>
              <a:ext uri="{FF2B5EF4-FFF2-40B4-BE49-F238E27FC236}">
                <a16:creationId xmlns:a16="http://schemas.microsoft.com/office/drawing/2014/main" id="{B57FA1DB-CF40-4C3B-8603-B0C589DE9032}"/>
              </a:ext>
            </a:extLst>
          </p:cNvPr>
          <p:cNvSpPr/>
          <p:nvPr/>
        </p:nvSpPr>
        <p:spPr>
          <a:xfrm rot="8716295">
            <a:off x="609657" y="1355798"/>
            <a:ext cx="100246" cy="218718"/>
          </a:xfrm>
          <a:custGeom>
            <a:avLst/>
            <a:gdLst>
              <a:gd name="connsiteX0" fmla="*/ 216217 w 209550"/>
              <a:gd name="connsiteY0" fmla="*/ 0 h 457200"/>
              <a:gd name="connsiteX1" fmla="*/ 216217 w 209550"/>
              <a:gd name="connsiteY1" fmla="*/ 458153 h 457200"/>
              <a:gd name="connsiteX2" fmla="*/ 90488 w 209550"/>
              <a:gd name="connsiteY2" fmla="*/ 337185 h 457200"/>
              <a:gd name="connsiteX3" fmla="*/ 90488 w 209550"/>
              <a:gd name="connsiteY3" fmla="*/ 34290 h 457200"/>
              <a:gd name="connsiteX4" fmla="*/ 0 w 209550"/>
              <a:gd name="connsiteY4" fmla="*/ 34290 h 457200"/>
              <a:gd name="connsiteX5" fmla="*/ 0 w 209550"/>
              <a:gd name="connsiteY5" fmla="*/ 4763 h 457200"/>
              <a:gd name="connsiteX6" fmla="*/ 216217 w 209550"/>
              <a:gd name="connsiteY6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9550" h="457200">
                <a:moveTo>
                  <a:pt x="216217" y="0"/>
                </a:moveTo>
                <a:lnTo>
                  <a:pt x="216217" y="458153"/>
                </a:lnTo>
                <a:lnTo>
                  <a:pt x="90488" y="337185"/>
                </a:lnTo>
                <a:lnTo>
                  <a:pt x="90488" y="34290"/>
                </a:lnTo>
                <a:lnTo>
                  <a:pt x="0" y="34290"/>
                </a:lnTo>
                <a:lnTo>
                  <a:pt x="0" y="4763"/>
                </a:lnTo>
                <a:cubicBezTo>
                  <a:pt x="68580" y="7620"/>
                  <a:pt x="140017" y="1905"/>
                  <a:pt x="216217" y="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8" name="Forme libre : forme 17">
            <a:extLst>
              <a:ext uri="{FF2B5EF4-FFF2-40B4-BE49-F238E27FC236}">
                <a16:creationId xmlns:a16="http://schemas.microsoft.com/office/drawing/2014/main" id="{8AA6873E-3CFC-4928-9C0D-5E1C199A6A43}"/>
              </a:ext>
            </a:extLst>
          </p:cNvPr>
          <p:cNvSpPr/>
          <p:nvPr/>
        </p:nvSpPr>
        <p:spPr>
          <a:xfrm rot="8716295">
            <a:off x="683426" y="869567"/>
            <a:ext cx="156000" cy="195873"/>
          </a:xfrm>
          <a:custGeom>
            <a:avLst/>
            <a:gdLst>
              <a:gd name="connsiteX0" fmla="*/ 42863 w 156000"/>
              <a:gd name="connsiteY0" fmla="*/ 195873 h 195873"/>
              <a:gd name="connsiteX1" fmla="*/ 0 w 156000"/>
              <a:gd name="connsiteY1" fmla="*/ 116129 h 195873"/>
              <a:gd name="connsiteX2" fmla="*/ 5100 w 156000"/>
              <a:gd name="connsiteY2" fmla="*/ 101988 h 195873"/>
              <a:gd name="connsiteX3" fmla="*/ 89456 w 156000"/>
              <a:gd name="connsiteY3" fmla="*/ 0 h 195873"/>
              <a:gd name="connsiteX4" fmla="*/ 156000 w 156000"/>
              <a:gd name="connsiteY4" fmla="*/ 0 h 195873"/>
              <a:gd name="connsiteX5" fmla="*/ 156000 w 156000"/>
              <a:gd name="connsiteY5" fmla="*/ 55323 h 195873"/>
              <a:gd name="connsiteX6" fmla="*/ 91208 w 156000"/>
              <a:gd name="connsiteY6" fmla="*/ 55323 h 195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6000" h="195873">
                <a:moveTo>
                  <a:pt x="42863" y="195873"/>
                </a:moveTo>
                <a:lnTo>
                  <a:pt x="0" y="116129"/>
                </a:lnTo>
                <a:lnTo>
                  <a:pt x="5100" y="101988"/>
                </a:lnTo>
                <a:lnTo>
                  <a:pt x="89456" y="0"/>
                </a:lnTo>
                <a:lnTo>
                  <a:pt x="156000" y="0"/>
                </a:lnTo>
                <a:lnTo>
                  <a:pt x="156000" y="55323"/>
                </a:lnTo>
                <a:lnTo>
                  <a:pt x="91208" y="5532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9" name="Forme libre : forme 18">
            <a:extLst>
              <a:ext uri="{FF2B5EF4-FFF2-40B4-BE49-F238E27FC236}">
                <a16:creationId xmlns:a16="http://schemas.microsoft.com/office/drawing/2014/main" id="{0609DC7B-52A5-4494-9388-1386F1B7ECA0}"/>
              </a:ext>
            </a:extLst>
          </p:cNvPr>
          <p:cNvSpPr/>
          <p:nvPr/>
        </p:nvSpPr>
        <p:spPr>
          <a:xfrm rot="8716295">
            <a:off x="657305" y="956046"/>
            <a:ext cx="72447" cy="72447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0" name="Forme libre : forme 19">
            <a:extLst>
              <a:ext uri="{FF2B5EF4-FFF2-40B4-BE49-F238E27FC236}">
                <a16:creationId xmlns:a16="http://schemas.microsoft.com/office/drawing/2014/main" id="{FA9B5438-F371-4C5C-851A-CA35F035D933}"/>
              </a:ext>
            </a:extLst>
          </p:cNvPr>
          <p:cNvSpPr/>
          <p:nvPr/>
        </p:nvSpPr>
        <p:spPr>
          <a:xfrm rot="8716295">
            <a:off x="412774" y="564244"/>
            <a:ext cx="141256" cy="232388"/>
          </a:xfrm>
          <a:custGeom>
            <a:avLst/>
            <a:gdLst>
              <a:gd name="connsiteX0" fmla="*/ 297180 w 295275"/>
              <a:gd name="connsiteY0" fmla="*/ 104775 h 485775"/>
              <a:gd name="connsiteX1" fmla="*/ 297180 w 295275"/>
              <a:gd name="connsiteY1" fmla="*/ 435293 h 485775"/>
              <a:gd name="connsiteX2" fmla="*/ 169545 w 295275"/>
              <a:gd name="connsiteY2" fmla="*/ 485775 h 485775"/>
              <a:gd name="connsiteX3" fmla="*/ 169545 w 295275"/>
              <a:gd name="connsiteY3" fmla="*/ 145733 h 485775"/>
              <a:gd name="connsiteX4" fmla="*/ 169545 w 295275"/>
              <a:gd name="connsiteY4" fmla="*/ 137160 h 485775"/>
              <a:gd name="connsiteX5" fmla="*/ 126683 w 295275"/>
              <a:gd name="connsiteY5" fmla="*/ 104775 h 485775"/>
              <a:gd name="connsiteX6" fmla="*/ 0 w 295275"/>
              <a:gd name="connsiteY6" fmla="*/ 104775 h 485775"/>
              <a:gd name="connsiteX7" fmla="*/ 0 w 295275"/>
              <a:gd name="connsiteY7" fmla="*/ 0 h 485775"/>
              <a:gd name="connsiteX8" fmla="*/ 178118 w 295275"/>
              <a:gd name="connsiteY8" fmla="*/ 0 h 485775"/>
              <a:gd name="connsiteX9" fmla="*/ 297180 w 295275"/>
              <a:gd name="connsiteY9" fmla="*/ 104775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95275" h="485775">
                <a:moveTo>
                  <a:pt x="297180" y="104775"/>
                </a:moveTo>
                <a:lnTo>
                  <a:pt x="297180" y="435293"/>
                </a:lnTo>
                <a:lnTo>
                  <a:pt x="169545" y="485775"/>
                </a:lnTo>
                <a:lnTo>
                  <a:pt x="169545" y="145733"/>
                </a:lnTo>
                <a:cubicBezTo>
                  <a:pt x="169545" y="142875"/>
                  <a:pt x="169545" y="140018"/>
                  <a:pt x="169545" y="137160"/>
                </a:cubicBezTo>
                <a:cubicBezTo>
                  <a:pt x="166688" y="116205"/>
                  <a:pt x="147638" y="101918"/>
                  <a:pt x="126683" y="104775"/>
                </a:cubicBezTo>
                <a:lnTo>
                  <a:pt x="0" y="104775"/>
                </a:lnTo>
                <a:lnTo>
                  <a:pt x="0" y="0"/>
                </a:lnTo>
                <a:lnTo>
                  <a:pt x="178118" y="0"/>
                </a:lnTo>
                <a:cubicBezTo>
                  <a:pt x="255270" y="0"/>
                  <a:pt x="297180" y="33338"/>
                  <a:pt x="297180" y="10477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1" name="Forme libre : forme 20">
            <a:extLst>
              <a:ext uri="{FF2B5EF4-FFF2-40B4-BE49-F238E27FC236}">
                <a16:creationId xmlns:a16="http://schemas.microsoft.com/office/drawing/2014/main" id="{ED2997EF-2C09-4DA3-BB88-8DA5032A40C8}"/>
              </a:ext>
            </a:extLst>
          </p:cNvPr>
          <p:cNvSpPr/>
          <p:nvPr/>
        </p:nvSpPr>
        <p:spPr>
          <a:xfrm rot="8716295">
            <a:off x="502166" y="593486"/>
            <a:ext cx="259728" cy="250615"/>
          </a:xfrm>
          <a:custGeom>
            <a:avLst/>
            <a:gdLst>
              <a:gd name="connsiteX0" fmla="*/ 544830 w 542925"/>
              <a:gd name="connsiteY0" fmla="*/ 184905 h 523875"/>
              <a:gd name="connsiteX1" fmla="*/ 544830 w 542925"/>
              <a:gd name="connsiteY1" fmla="*/ 197288 h 523875"/>
              <a:gd name="connsiteX2" fmla="*/ 415290 w 542925"/>
              <a:gd name="connsiteY2" fmla="*/ 204908 h 523875"/>
              <a:gd name="connsiteX3" fmla="*/ 415290 w 542925"/>
              <a:gd name="connsiteY3" fmla="*/ 170618 h 523875"/>
              <a:gd name="connsiteX4" fmla="*/ 344805 w 542925"/>
              <a:gd name="connsiteY4" fmla="*/ 83940 h 523875"/>
              <a:gd name="connsiteX5" fmla="*/ 233363 w 542925"/>
              <a:gd name="connsiteY5" fmla="*/ 266820 h 523875"/>
              <a:gd name="connsiteX6" fmla="*/ 233363 w 542925"/>
              <a:gd name="connsiteY6" fmla="*/ 446843 h 523875"/>
              <a:gd name="connsiteX7" fmla="*/ 107632 w 542925"/>
              <a:gd name="connsiteY7" fmla="*/ 532568 h 523875"/>
              <a:gd name="connsiteX8" fmla="*/ 107632 w 542925"/>
              <a:gd name="connsiteY8" fmla="*/ 95370 h 523875"/>
              <a:gd name="connsiteX9" fmla="*/ 0 w 542925"/>
              <a:gd name="connsiteY9" fmla="*/ 95370 h 523875"/>
              <a:gd name="connsiteX10" fmla="*/ 0 w 542925"/>
              <a:gd name="connsiteY10" fmla="*/ 2978 h 523875"/>
              <a:gd name="connsiteX11" fmla="*/ 219075 w 542925"/>
              <a:gd name="connsiteY11" fmla="*/ 2978 h 523875"/>
              <a:gd name="connsiteX12" fmla="*/ 219075 w 542925"/>
              <a:gd name="connsiteY12" fmla="*/ 157283 h 523875"/>
              <a:gd name="connsiteX13" fmla="*/ 221932 w 542925"/>
              <a:gd name="connsiteY13" fmla="*/ 157283 h 523875"/>
              <a:gd name="connsiteX14" fmla="*/ 321945 w 542925"/>
              <a:gd name="connsiteY14" fmla="*/ 12503 h 523875"/>
              <a:gd name="connsiteX15" fmla="*/ 387667 w 542925"/>
              <a:gd name="connsiteY15" fmla="*/ 120 h 523875"/>
              <a:gd name="connsiteX16" fmla="*/ 544830 w 542925"/>
              <a:gd name="connsiteY16" fmla="*/ 18490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42925" h="523875">
                <a:moveTo>
                  <a:pt x="544830" y="184905"/>
                </a:moveTo>
                <a:lnTo>
                  <a:pt x="544830" y="197288"/>
                </a:lnTo>
                <a:lnTo>
                  <a:pt x="415290" y="204908"/>
                </a:lnTo>
                <a:lnTo>
                  <a:pt x="415290" y="170618"/>
                </a:lnTo>
                <a:cubicBezTo>
                  <a:pt x="415290" y="119183"/>
                  <a:pt x="385763" y="83940"/>
                  <a:pt x="344805" y="83940"/>
                </a:cubicBezTo>
                <a:cubicBezTo>
                  <a:pt x="283845" y="83940"/>
                  <a:pt x="233363" y="164903"/>
                  <a:pt x="233363" y="266820"/>
                </a:cubicBezTo>
                <a:lnTo>
                  <a:pt x="233363" y="446843"/>
                </a:lnTo>
                <a:lnTo>
                  <a:pt x="107632" y="532568"/>
                </a:lnTo>
                <a:lnTo>
                  <a:pt x="107632" y="95370"/>
                </a:lnTo>
                <a:lnTo>
                  <a:pt x="0" y="95370"/>
                </a:lnTo>
                <a:lnTo>
                  <a:pt x="0" y="2978"/>
                </a:lnTo>
                <a:lnTo>
                  <a:pt x="219075" y="2978"/>
                </a:lnTo>
                <a:lnTo>
                  <a:pt x="219075" y="157283"/>
                </a:lnTo>
                <a:lnTo>
                  <a:pt x="221932" y="157283"/>
                </a:lnTo>
                <a:cubicBezTo>
                  <a:pt x="252413" y="66795"/>
                  <a:pt x="276225" y="31553"/>
                  <a:pt x="321945" y="12503"/>
                </a:cubicBezTo>
                <a:cubicBezTo>
                  <a:pt x="342900" y="3930"/>
                  <a:pt x="364807" y="-832"/>
                  <a:pt x="387667" y="120"/>
                </a:cubicBezTo>
                <a:cubicBezTo>
                  <a:pt x="485775" y="-1785"/>
                  <a:pt x="544830" y="66795"/>
                  <a:pt x="544830" y="18490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2" name="Forme libre : forme 21">
            <a:extLst>
              <a:ext uri="{FF2B5EF4-FFF2-40B4-BE49-F238E27FC236}">
                <a16:creationId xmlns:a16="http://schemas.microsoft.com/office/drawing/2014/main" id="{DBD136C4-820E-4184-B91F-ED5B5690DC24}"/>
              </a:ext>
            </a:extLst>
          </p:cNvPr>
          <p:cNvSpPr/>
          <p:nvPr/>
        </p:nvSpPr>
        <p:spPr>
          <a:xfrm rot="8716295">
            <a:off x="457316" y="507206"/>
            <a:ext cx="186822" cy="136699"/>
          </a:xfrm>
          <a:custGeom>
            <a:avLst/>
            <a:gdLst>
              <a:gd name="connsiteX0" fmla="*/ 343853 w 390525"/>
              <a:gd name="connsiteY0" fmla="*/ 144780 h 285750"/>
              <a:gd name="connsiteX1" fmla="*/ 344805 w 390525"/>
              <a:gd name="connsiteY1" fmla="*/ 144780 h 285750"/>
              <a:gd name="connsiteX2" fmla="*/ 12382 w 390525"/>
              <a:gd name="connsiteY2" fmla="*/ 288608 h 285750"/>
              <a:gd name="connsiteX3" fmla="*/ 0 w 390525"/>
              <a:gd name="connsiteY3" fmla="*/ 271463 h 285750"/>
              <a:gd name="connsiteX4" fmla="*/ 225743 w 390525"/>
              <a:gd name="connsiteY4" fmla="*/ 59055 h 285750"/>
              <a:gd name="connsiteX5" fmla="*/ 340043 w 390525"/>
              <a:gd name="connsiteY5" fmla="*/ 0 h 285750"/>
              <a:gd name="connsiteX6" fmla="*/ 399098 w 390525"/>
              <a:gd name="connsiteY6" fmla="*/ 70485 h 285750"/>
              <a:gd name="connsiteX7" fmla="*/ 343853 w 390525"/>
              <a:gd name="connsiteY7" fmla="*/ 14478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0525" h="285750">
                <a:moveTo>
                  <a:pt x="343853" y="144780"/>
                </a:moveTo>
                <a:lnTo>
                  <a:pt x="344805" y="144780"/>
                </a:lnTo>
                <a:lnTo>
                  <a:pt x="12382" y="288608"/>
                </a:lnTo>
                <a:lnTo>
                  <a:pt x="0" y="271463"/>
                </a:lnTo>
                <a:lnTo>
                  <a:pt x="225743" y="59055"/>
                </a:lnTo>
                <a:cubicBezTo>
                  <a:pt x="254318" y="25718"/>
                  <a:pt x="295275" y="4763"/>
                  <a:pt x="340043" y="0"/>
                </a:cubicBezTo>
                <a:cubicBezTo>
                  <a:pt x="385763" y="0"/>
                  <a:pt x="399098" y="40005"/>
                  <a:pt x="399098" y="70485"/>
                </a:cubicBezTo>
                <a:cubicBezTo>
                  <a:pt x="396240" y="103823"/>
                  <a:pt x="374332" y="131445"/>
                  <a:pt x="343853" y="14478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3" name="Forme libre : forme 22">
            <a:extLst>
              <a:ext uri="{FF2B5EF4-FFF2-40B4-BE49-F238E27FC236}">
                <a16:creationId xmlns:a16="http://schemas.microsoft.com/office/drawing/2014/main" id="{8BD8CCA9-A2C8-4634-B0CF-620A635CE67A}"/>
              </a:ext>
            </a:extLst>
          </p:cNvPr>
          <p:cNvSpPr/>
          <p:nvPr/>
        </p:nvSpPr>
        <p:spPr>
          <a:xfrm rot="8716295">
            <a:off x="300540" y="652788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4" name="Forme libre : forme 23">
            <a:extLst>
              <a:ext uri="{FF2B5EF4-FFF2-40B4-BE49-F238E27FC236}">
                <a16:creationId xmlns:a16="http://schemas.microsoft.com/office/drawing/2014/main" id="{33B24AF7-29F7-4408-AE25-97A38660E784}"/>
              </a:ext>
            </a:extLst>
          </p:cNvPr>
          <p:cNvSpPr/>
          <p:nvPr/>
        </p:nvSpPr>
        <p:spPr>
          <a:xfrm rot="8716295">
            <a:off x="175637" y="444115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5" name="Forme libre : forme 24">
            <a:extLst>
              <a:ext uri="{FF2B5EF4-FFF2-40B4-BE49-F238E27FC236}">
                <a16:creationId xmlns:a16="http://schemas.microsoft.com/office/drawing/2014/main" id="{506A4C62-4148-4841-838F-A205F53AD573}"/>
              </a:ext>
            </a:extLst>
          </p:cNvPr>
          <p:cNvSpPr/>
          <p:nvPr/>
        </p:nvSpPr>
        <p:spPr>
          <a:xfrm rot="8716295">
            <a:off x="163585" y="305335"/>
            <a:ext cx="288290" cy="347125"/>
          </a:xfrm>
          <a:custGeom>
            <a:avLst/>
            <a:gdLst>
              <a:gd name="connsiteX0" fmla="*/ 470535 w 466725"/>
              <a:gd name="connsiteY0" fmla="*/ 436245 h 561975"/>
              <a:gd name="connsiteX1" fmla="*/ 470535 w 466725"/>
              <a:gd name="connsiteY1" fmla="*/ 445770 h 561975"/>
              <a:gd name="connsiteX2" fmla="*/ 158115 w 466725"/>
              <a:gd name="connsiteY2" fmla="*/ 567690 h 561975"/>
              <a:gd name="connsiteX3" fmla="*/ 40957 w 466725"/>
              <a:gd name="connsiteY3" fmla="*/ 520065 h 561975"/>
              <a:gd name="connsiteX4" fmla="*/ 0 w 466725"/>
              <a:gd name="connsiteY4" fmla="*/ 356235 h 561975"/>
              <a:gd name="connsiteX5" fmla="*/ 0 w 466725"/>
              <a:gd name="connsiteY5" fmla="*/ 65723 h 561975"/>
              <a:gd name="connsiteX6" fmla="*/ 126682 w 466725"/>
              <a:gd name="connsiteY6" fmla="*/ 0 h 561975"/>
              <a:gd name="connsiteX7" fmla="*/ 128588 w 466725"/>
              <a:gd name="connsiteY7" fmla="*/ 265748 h 561975"/>
              <a:gd name="connsiteX8" fmla="*/ 151447 w 466725"/>
              <a:gd name="connsiteY8" fmla="*/ 423863 h 561975"/>
              <a:gd name="connsiteX9" fmla="*/ 265747 w 466725"/>
              <a:gd name="connsiteY9" fmla="*/ 486728 h 561975"/>
              <a:gd name="connsiteX10" fmla="*/ 351472 w 466725"/>
              <a:gd name="connsiteY10" fmla="*/ 471488 h 561975"/>
              <a:gd name="connsiteX11" fmla="*/ 468630 w 466725"/>
              <a:gd name="connsiteY11" fmla="*/ 423863 h 561975"/>
              <a:gd name="connsiteX12" fmla="*/ 470535 w 466725"/>
              <a:gd name="connsiteY12" fmla="*/ 436245 h 56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6725" h="561975">
                <a:moveTo>
                  <a:pt x="470535" y="436245"/>
                </a:moveTo>
                <a:lnTo>
                  <a:pt x="470535" y="445770"/>
                </a:lnTo>
                <a:cubicBezTo>
                  <a:pt x="369570" y="532448"/>
                  <a:pt x="237172" y="562928"/>
                  <a:pt x="158115" y="567690"/>
                </a:cubicBezTo>
                <a:cubicBezTo>
                  <a:pt x="114300" y="570548"/>
                  <a:pt x="71438" y="551498"/>
                  <a:pt x="40957" y="520065"/>
                </a:cubicBezTo>
                <a:cubicBezTo>
                  <a:pt x="8572" y="488633"/>
                  <a:pt x="0" y="434340"/>
                  <a:pt x="0" y="356235"/>
                </a:cubicBezTo>
                <a:lnTo>
                  <a:pt x="0" y="65723"/>
                </a:lnTo>
                <a:lnTo>
                  <a:pt x="126682" y="0"/>
                </a:lnTo>
                <a:lnTo>
                  <a:pt x="128588" y="265748"/>
                </a:lnTo>
                <a:cubicBezTo>
                  <a:pt x="125730" y="319088"/>
                  <a:pt x="134302" y="373380"/>
                  <a:pt x="151447" y="423863"/>
                </a:cubicBezTo>
                <a:cubicBezTo>
                  <a:pt x="166688" y="465773"/>
                  <a:pt x="205740" y="486728"/>
                  <a:pt x="265747" y="486728"/>
                </a:cubicBezTo>
                <a:cubicBezTo>
                  <a:pt x="295275" y="485775"/>
                  <a:pt x="323850" y="480060"/>
                  <a:pt x="351472" y="471488"/>
                </a:cubicBezTo>
                <a:cubicBezTo>
                  <a:pt x="391477" y="459105"/>
                  <a:pt x="430530" y="442913"/>
                  <a:pt x="468630" y="423863"/>
                </a:cubicBezTo>
                <a:cubicBezTo>
                  <a:pt x="469582" y="427673"/>
                  <a:pt x="470535" y="432435"/>
                  <a:pt x="470535" y="43624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6" name="Forme libre : forme 25">
            <a:extLst>
              <a:ext uri="{FF2B5EF4-FFF2-40B4-BE49-F238E27FC236}">
                <a16:creationId xmlns:a16="http://schemas.microsoft.com/office/drawing/2014/main" id="{1C1A41D0-65C3-44E5-8A29-ECCEBE983C62}"/>
              </a:ext>
            </a:extLst>
          </p:cNvPr>
          <p:cNvSpPr/>
          <p:nvPr/>
        </p:nvSpPr>
        <p:spPr>
          <a:xfrm rot="8716295">
            <a:off x="390718" y="693740"/>
            <a:ext cx="100246" cy="218718"/>
          </a:xfrm>
          <a:custGeom>
            <a:avLst/>
            <a:gdLst>
              <a:gd name="connsiteX0" fmla="*/ 216217 w 209550"/>
              <a:gd name="connsiteY0" fmla="*/ 0 h 457200"/>
              <a:gd name="connsiteX1" fmla="*/ 216217 w 209550"/>
              <a:gd name="connsiteY1" fmla="*/ 458153 h 457200"/>
              <a:gd name="connsiteX2" fmla="*/ 90488 w 209550"/>
              <a:gd name="connsiteY2" fmla="*/ 337185 h 457200"/>
              <a:gd name="connsiteX3" fmla="*/ 90488 w 209550"/>
              <a:gd name="connsiteY3" fmla="*/ 34290 h 457200"/>
              <a:gd name="connsiteX4" fmla="*/ 0 w 209550"/>
              <a:gd name="connsiteY4" fmla="*/ 34290 h 457200"/>
              <a:gd name="connsiteX5" fmla="*/ 0 w 209550"/>
              <a:gd name="connsiteY5" fmla="*/ 4763 h 457200"/>
              <a:gd name="connsiteX6" fmla="*/ 216217 w 209550"/>
              <a:gd name="connsiteY6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9550" h="457200">
                <a:moveTo>
                  <a:pt x="216217" y="0"/>
                </a:moveTo>
                <a:lnTo>
                  <a:pt x="216217" y="458153"/>
                </a:lnTo>
                <a:lnTo>
                  <a:pt x="90488" y="337185"/>
                </a:lnTo>
                <a:lnTo>
                  <a:pt x="90488" y="34290"/>
                </a:lnTo>
                <a:lnTo>
                  <a:pt x="0" y="34290"/>
                </a:lnTo>
                <a:lnTo>
                  <a:pt x="0" y="4763"/>
                </a:lnTo>
                <a:cubicBezTo>
                  <a:pt x="68580" y="7620"/>
                  <a:pt x="140017" y="1905"/>
                  <a:pt x="216217" y="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7" name="Forme libre : forme 26">
            <a:extLst>
              <a:ext uri="{FF2B5EF4-FFF2-40B4-BE49-F238E27FC236}">
                <a16:creationId xmlns:a16="http://schemas.microsoft.com/office/drawing/2014/main" id="{A93B008E-5902-4D55-9E1E-85F07149CD35}"/>
              </a:ext>
            </a:extLst>
          </p:cNvPr>
          <p:cNvSpPr/>
          <p:nvPr/>
        </p:nvSpPr>
        <p:spPr>
          <a:xfrm rot="8716295">
            <a:off x="702015" y="317459"/>
            <a:ext cx="131260" cy="232388"/>
          </a:xfrm>
          <a:custGeom>
            <a:avLst/>
            <a:gdLst>
              <a:gd name="connsiteX0" fmla="*/ 70201 w 131260"/>
              <a:gd name="connsiteY0" fmla="*/ 232388 h 232388"/>
              <a:gd name="connsiteX1" fmla="*/ 70201 w 131260"/>
              <a:gd name="connsiteY1" fmla="*/ 69717 h 232388"/>
              <a:gd name="connsiteX2" fmla="*/ 70201 w 131260"/>
              <a:gd name="connsiteY2" fmla="*/ 65615 h 232388"/>
              <a:gd name="connsiteX3" fmla="*/ 49697 w 131260"/>
              <a:gd name="connsiteY3" fmla="*/ 50123 h 232388"/>
              <a:gd name="connsiteX4" fmla="*/ 0 w 131260"/>
              <a:gd name="connsiteY4" fmla="*/ 50123 h 232388"/>
              <a:gd name="connsiteX5" fmla="*/ 41457 w 131260"/>
              <a:gd name="connsiteY5" fmla="*/ 0 h 232388"/>
              <a:gd name="connsiteX6" fmla="*/ 74303 w 131260"/>
              <a:gd name="connsiteY6" fmla="*/ 0 h 232388"/>
              <a:gd name="connsiteX7" fmla="*/ 131260 w 131260"/>
              <a:gd name="connsiteY7" fmla="*/ 50123 h 232388"/>
              <a:gd name="connsiteX8" fmla="*/ 131260 w 131260"/>
              <a:gd name="connsiteY8" fmla="*/ 208238 h 232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1260" h="232388">
                <a:moveTo>
                  <a:pt x="70201" y="232388"/>
                </a:moveTo>
                <a:lnTo>
                  <a:pt x="70201" y="69717"/>
                </a:lnTo>
                <a:cubicBezTo>
                  <a:pt x="70201" y="68349"/>
                  <a:pt x="70201" y="66983"/>
                  <a:pt x="70201" y="65615"/>
                </a:cubicBezTo>
                <a:cubicBezTo>
                  <a:pt x="68835" y="55591"/>
                  <a:pt x="59721" y="48756"/>
                  <a:pt x="49697" y="50123"/>
                </a:cubicBezTo>
                <a:lnTo>
                  <a:pt x="0" y="50123"/>
                </a:lnTo>
                <a:lnTo>
                  <a:pt x="41457" y="0"/>
                </a:lnTo>
                <a:lnTo>
                  <a:pt x="74303" y="0"/>
                </a:lnTo>
                <a:cubicBezTo>
                  <a:pt x="111211" y="0"/>
                  <a:pt x="131260" y="15948"/>
                  <a:pt x="131260" y="50123"/>
                </a:cubicBezTo>
                <a:lnTo>
                  <a:pt x="131260" y="208238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8" name="Forme libre : forme 27">
            <a:extLst>
              <a:ext uri="{FF2B5EF4-FFF2-40B4-BE49-F238E27FC236}">
                <a16:creationId xmlns:a16="http://schemas.microsoft.com/office/drawing/2014/main" id="{8AA688E0-8B68-432D-AC4C-16B34E3E659F}"/>
              </a:ext>
            </a:extLst>
          </p:cNvPr>
          <p:cNvSpPr/>
          <p:nvPr/>
        </p:nvSpPr>
        <p:spPr>
          <a:xfrm rot="8716295">
            <a:off x="834978" y="558357"/>
            <a:ext cx="24341" cy="23495"/>
          </a:xfrm>
          <a:custGeom>
            <a:avLst/>
            <a:gdLst>
              <a:gd name="connsiteX0" fmla="*/ 0 w 24341"/>
              <a:gd name="connsiteY0" fmla="*/ 23495 h 23495"/>
              <a:gd name="connsiteX1" fmla="*/ 19433 w 24341"/>
              <a:gd name="connsiteY1" fmla="*/ 0 h 23495"/>
              <a:gd name="connsiteX2" fmla="*/ 24341 w 24341"/>
              <a:gd name="connsiteY2" fmla="*/ 16139 h 23495"/>
              <a:gd name="connsiteX3" fmla="*/ 24341 w 24341"/>
              <a:gd name="connsiteY3" fmla="*/ 22063 h 23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341" h="23495">
                <a:moveTo>
                  <a:pt x="0" y="23495"/>
                </a:moveTo>
                <a:lnTo>
                  <a:pt x="19433" y="0"/>
                </a:lnTo>
                <a:lnTo>
                  <a:pt x="24341" y="16139"/>
                </a:lnTo>
                <a:lnTo>
                  <a:pt x="24341" y="2206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672AA540-A579-4E8F-A234-CD30C1FF0A89}"/>
              </a:ext>
            </a:extLst>
          </p:cNvPr>
          <p:cNvSpPr/>
          <p:nvPr/>
        </p:nvSpPr>
        <p:spPr>
          <a:xfrm rot="8716295">
            <a:off x="589639" y="402636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0" name="Forme libre : forme 29">
            <a:extLst>
              <a:ext uri="{FF2B5EF4-FFF2-40B4-BE49-F238E27FC236}">
                <a16:creationId xmlns:a16="http://schemas.microsoft.com/office/drawing/2014/main" id="{C0BAD361-E55B-42F0-893F-014DB3986A10}"/>
              </a:ext>
            </a:extLst>
          </p:cNvPr>
          <p:cNvSpPr/>
          <p:nvPr/>
        </p:nvSpPr>
        <p:spPr>
          <a:xfrm rot="8716295">
            <a:off x="464737" y="193963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7776BC0-23C7-4489-8F09-E129A530C0CC}"/>
              </a:ext>
            </a:extLst>
          </p:cNvPr>
          <p:cNvSpPr/>
          <p:nvPr/>
        </p:nvSpPr>
        <p:spPr>
          <a:xfrm rot="8716295">
            <a:off x="679817" y="443588"/>
            <a:ext cx="100246" cy="218719"/>
          </a:xfrm>
          <a:custGeom>
            <a:avLst/>
            <a:gdLst>
              <a:gd name="connsiteX0" fmla="*/ 216217 w 209550"/>
              <a:gd name="connsiteY0" fmla="*/ 0 h 457200"/>
              <a:gd name="connsiteX1" fmla="*/ 216217 w 209550"/>
              <a:gd name="connsiteY1" fmla="*/ 458153 h 457200"/>
              <a:gd name="connsiteX2" fmla="*/ 90488 w 209550"/>
              <a:gd name="connsiteY2" fmla="*/ 337185 h 457200"/>
              <a:gd name="connsiteX3" fmla="*/ 90488 w 209550"/>
              <a:gd name="connsiteY3" fmla="*/ 34290 h 457200"/>
              <a:gd name="connsiteX4" fmla="*/ 0 w 209550"/>
              <a:gd name="connsiteY4" fmla="*/ 34290 h 457200"/>
              <a:gd name="connsiteX5" fmla="*/ 0 w 209550"/>
              <a:gd name="connsiteY5" fmla="*/ 4763 h 457200"/>
              <a:gd name="connsiteX6" fmla="*/ 216217 w 209550"/>
              <a:gd name="connsiteY6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9550" h="457200">
                <a:moveTo>
                  <a:pt x="216217" y="0"/>
                </a:moveTo>
                <a:lnTo>
                  <a:pt x="216217" y="458153"/>
                </a:lnTo>
                <a:lnTo>
                  <a:pt x="90488" y="337185"/>
                </a:lnTo>
                <a:lnTo>
                  <a:pt x="90488" y="34290"/>
                </a:lnTo>
                <a:lnTo>
                  <a:pt x="0" y="34290"/>
                </a:lnTo>
                <a:lnTo>
                  <a:pt x="0" y="4763"/>
                </a:lnTo>
                <a:cubicBezTo>
                  <a:pt x="68580" y="7620"/>
                  <a:pt x="140017" y="1905"/>
                  <a:pt x="216217" y="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2" name="Forme libre : forme 31">
            <a:extLst>
              <a:ext uri="{FF2B5EF4-FFF2-40B4-BE49-F238E27FC236}">
                <a16:creationId xmlns:a16="http://schemas.microsoft.com/office/drawing/2014/main" id="{6EC00833-27CA-42E8-A3F4-264B72DC896E}"/>
              </a:ext>
            </a:extLst>
          </p:cNvPr>
          <p:cNvSpPr/>
          <p:nvPr/>
        </p:nvSpPr>
        <p:spPr>
          <a:xfrm rot="8716295">
            <a:off x="438366" y="293988"/>
            <a:ext cx="72447" cy="72447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3" name="Forme libre : forme 32">
            <a:extLst>
              <a:ext uri="{FF2B5EF4-FFF2-40B4-BE49-F238E27FC236}">
                <a16:creationId xmlns:a16="http://schemas.microsoft.com/office/drawing/2014/main" id="{1FD6DD85-FCBC-4AED-9D6D-4125AB918B1C}"/>
              </a:ext>
            </a:extLst>
          </p:cNvPr>
          <p:cNvSpPr/>
          <p:nvPr/>
        </p:nvSpPr>
        <p:spPr>
          <a:xfrm rot="7484129">
            <a:off x="811674" y="658874"/>
            <a:ext cx="31078" cy="46141"/>
          </a:xfrm>
          <a:custGeom>
            <a:avLst/>
            <a:gdLst>
              <a:gd name="connsiteX0" fmla="*/ 15207 w 31078"/>
              <a:gd name="connsiteY0" fmla="*/ 46141 h 46141"/>
              <a:gd name="connsiteX1" fmla="*/ 0 w 31078"/>
              <a:gd name="connsiteY1" fmla="*/ 17849 h 46141"/>
              <a:gd name="connsiteX2" fmla="*/ 31078 w 31078"/>
              <a:gd name="connsiteY2" fmla="*/ 0 h 461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078" h="46141">
                <a:moveTo>
                  <a:pt x="15207" y="46141"/>
                </a:moveTo>
                <a:lnTo>
                  <a:pt x="0" y="17849"/>
                </a:lnTo>
                <a:lnTo>
                  <a:pt x="31078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4" name="Forme libre : forme 33">
            <a:extLst>
              <a:ext uri="{FF2B5EF4-FFF2-40B4-BE49-F238E27FC236}">
                <a16:creationId xmlns:a16="http://schemas.microsoft.com/office/drawing/2014/main" id="{ED8E04A5-1CCB-474C-BB14-6861F24B92EE}"/>
              </a:ext>
            </a:extLst>
          </p:cNvPr>
          <p:cNvSpPr/>
          <p:nvPr/>
        </p:nvSpPr>
        <p:spPr>
          <a:xfrm rot="8716295">
            <a:off x="780102" y="336420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5" name="Forme libre : forme 34">
            <a:extLst>
              <a:ext uri="{FF2B5EF4-FFF2-40B4-BE49-F238E27FC236}">
                <a16:creationId xmlns:a16="http://schemas.microsoft.com/office/drawing/2014/main" id="{D2589E01-70DB-4980-9D5E-15028C3BF442}"/>
              </a:ext>
            </a:extLst>
          </p:cNvPr>
          <p:cNvSpPr/>
          <p:nvPr/>
        </p:nvSpPr>
        <p:spPr>
          <a:xfrm rot="8716295">
            <a:off x="202348" y="-57106"/>
            <a:ext cx="142167" cy="186494"/>
          </a:xfrm>
          <a:custGeom>
            <a:avLst/>
            <a:gdLst>
              <a:gd name="connsiteX0" fmla="*/ 142167 w 142167"/>
              <a:gd name="connsiteY0" fmla="*/ 186494 h 186494"/>
              <a:gd name="connsiteX1" fmla="*/ 81108 w 142167"/>
              <a:gd name="connsiteY1" fmla="*/ 144170 h 186494"/>
              <a:gd name="connsiteX2" fmla="*/ 81108 w 142167"/>
              <a:gd name="connsiteY2" fmla="*/ 69717 h 186494"/>
              <a:gd name="connsiteX3" fmla="*/ 81108 w 142167"/>
              <a:gd name="connsiteY3" fmla="*/ 65615 h 186494"/>
              <a:gd name="connsiteX4" fmla="*/ 60603 w 142167"/>
              <a:gd name="connsiteY4" fmla="*/ 50123 h 186494"/>
              <a:gd name="connsiteX5" fmla="*/ 0 w 142167"/>
              <a:gd name="connsiteY5" fmla="*/ 50123 h 186494"/>
              <a:gd name="connsiteX6" fmla="*/ 0 w 142167"/>
              <a:gd name="connsiteY6" fmla="*/ 0 h 186494"/>
              <a:gd name="connsiteX7" fmla="*/ 85209 w 142167"/>
              <a:gd name="connsiteY7" fmla="*/ 0 h 186494"/>
              <a:gd name="connsiteX8" fmla="*/ 142167 w 142167"/>
              <a:gd name="connsiteY8" fmla="*/ 50123 h 186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2167" h="186494">
                <a:moveTo>
                  <a:pt x="142167" y="186494"/>
                </a:moveTo>
                <a:lnTo>
                  <a:pt x="81108" y="144170"/>
                </a:lnTo>
                <a:lnTo>
                  <a:pt x="81108" y="69717"/>
                </a:lnTo>
                <a:cubicBezTo>
                  <a:pt x="81108" y="68349"/>
                  <a:pt x="81108" y="66983"/>
                  <a:pt x="81108" y="65615"/>
                </a:cubicBezTo>
                <a:cubicBezTo>
                  <a:pt x="79741" y="55591"/>
                  <a:pt x="70628" y="48756"/>
                  <a:pt x="60603" y="50123"/>
                </a:cubicBezTo>
                <a:lnTo>
                  <a:pt x="0" y="50123"/>
                </a:lnTo>
                <a:lnTo>
                  <a:pt x="0" y="0"/>
                </a:lnTo>
                <a:lnTo>
                  <a:pt x="85209" y="0"/>
                </a:lnTo>
                <a:cubicBezTo>
                  <a:pt x="122118" y="0"/>
                  <a:pt x="142167" y="15948"/>
                  <a:pt x="142167" y="501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6" name="Forme libre : forme 35">
            <a:extLst>
              <a:ext uri="{FF2B5EF4-FFF2-40B4-BE49-F238E27FC236}">
                <a16:creationId xmlns:a16="http://schemas.microsoft.com/office/drawing/2014/main" id="{2AEF8F7A-52DD-4323-9058-8F5D8BF7C257}"/>
              </a:ext>
            </a:extLst>
          </p:cNvPr>
          <p:cNvSpPr/>
          <p:nvPr/>
        </p:nvSpPr>
        <p:spPr>
          <a:xfrm rot="8716295">
            <a:off x="298766" y="-5395"/>
            <a:ext cx="260639" cy="180054"/>
          </a:xfrm>
          <a:custGeom>
            <a:avLst/>
            <a:gdLst>
              <a:gd name="connsiteX0" fmla="*/ 111638 w 260639"/>
              <a:gd name="connsiteY0" fmla="*/ 180054 h 180054"/>
              <a:gd name="connsiteX1" fmla="*/ 51490 w 260639"/>
              <a:gd name="connsiteY1" fmla="*/ 138362 h 180054"/>
              <a:gd name="connsiteX2" fmla="*/ 51490 w 260639"/>
              <a:gd name="connsiteY2" fmla="*/ 45624 h 180054"/>
              <a:gd name="connsiteX3" fmla="*/ 0 w 260639"/>
              <a:gd name="connsiteY3" fmla="*/ 45624 h 180054"/>
              <a:gd name="connsiteX4" fmla="*/ 0 w 260639"/>
              <a:gd name="connsiteY4" fmla="*/ 1425 h 180054"/>
              <a:gd name="connsiteX5" fmla="*/ 104802 w 260639"/>
              <a:gd name="connsiteY5" fmla="*/ 1425 h 180054"/>
              <a:gd name="connsiteX6" fmla="*/ 104802 w 260639"/>
              <a:gd name="connsiteY6" fmla="*/ 75242 h 180054"/>
              <a:gd name="connsiteX7" fmla="*/ 106169 w 260639"/>
              <a:gd name="connsiteY7" fmla="*/ 75242 h 180054"/>
              <a:gd name="connsiteX8" fmla="*/ 154014 w 260639"/>
              <a:gd name="connsiteY8" fmla="*/ 5981 h 180054"/>
              <a:gd name="connsiteX9" fmla="*/ 185455 w 260639"/>
              <a:gd name="connsiteY9" fmla="*/ 57 h 180054"/>
              <a:gd name="connsiteX10" fmla="*/ 260639 w 260639"/>
              <a:gd name="connsiteY10" fmla="*/ 88456 h 180054"/>
              <a:gd name="connsiteX11" fmla="*/ 260639 w 260639"/>
              <a:gd name="connsiteY11" fmla="*/ 94380 h 180054"/>
              <a:gd name="connsiteX12" fmla="*/ 198669 w 260639"/>
              <a:gd name="connsiteY12" fmla="*/ 98025 h 180054"/>
              <a:gd name="connsiteX13" fmla="*/ 198669 w 260639"/>
              <a:gd name="connsiteY13" fmla="*/ 81621 h 180054"/>
              <a:gd name="connsiteX14" fmla="*/ 164950 w 260639"/>
              <a:gd name="connsiteY14" fmla="*/ 40156 h 180054"/>
              <a:gd name="connsiteX15" fmla="*/ 111638 w 260639"/>
              <a:gd name="connsiteY15" fmla="*/ 127643 h 180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60639" h="180054">
                <a:moveTo>
                  <a:pt x="111638" y="180054"/>
                </a:moveTo>
                <a:lnTo>
                  <a:pt x="51490" y="138362"/>
                </a:lnTo>
                <a:lnTo>
                  <a:pt x="51490" y="45624"/>
                </a:lnTo>
                <a:lnTo>
                  <a:pt x="0" y="45624"/>
                </a:lnTo>
                <a:lnTo>
                  <a:pt x="0" y="1425"/>
                </a:lnTo>
                <a:lnTo>
                  <a:pt x="104802" y="1425"/>
                </a:lnTo>
                <a:lnTo>
                  <a:pt x="104802" y="75242"/>
                </a:lnTo>
                <a:lnTo>
                  <a:pt x="106169" y="75242"/>
                </a:lnTo>
                <a:cubicBezTo>
                  <a:pt x="120751" y="31954"/>
                  <a:pt x="132142" y="15094"/>
                  <a:pt x="154014" y="5981"/>
                </a:cubicBezTo>
                <a:cubicBezTo>
                  <a:pt x="164039" y="1880"/>
                  <a:pt x="174519" y="-398"/>
                  <a:pt x="185455" y="57"/>
                </a:cubicBezTo>
                <a:cubicBezTo>
                  <a:pt x="232388" y="-854"/>
                  <a:pt x="260639" y="31954"/>
                  <a:pt x="260639" y="88456"/>
                </a:cubicBezTo>
                <a:lnTo>
                  <a:pt x="260639" y="94380"/>
                </a:lnTo>
                <a:lnTo>
                  <a:pt x="198669" y="98025"/>
                </a:lnTo>
                <a:lnTo>
                  <a:pt x="198669" y="81621"/>
                </a:lnTo>
                <a:cubicBezTo>
                  <a:pt x="198669" y="57016"/>
                  <a:pt x="184544" y="40156"/>
                  <a:pt x="164950" y="40156"/>
                </a:cubicBezTo>
                <a:cubicBezTo>
                  <a:pt x="135788" y="40156"/>
                  <a:pt x="111638" y="78887"/>
                  <a:pt x="111638" y="12764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7" name="Forme libre : forme 36">
            <a:extLst>
              <a:ext uri="{FF2B5EF4-FFF2-40B4-BE49-F238E27FC236}">
                <a16:creationId xmlns:a16="http://schemas.microsoft.com/office/drawing/2014/main" id="{4EA5F182-B436-49C8-8170-C1AD6D2F32D5}"/>
              </a:ext>
            </a:extLst>
          </p:cNvPr>
          <p:cNvSpPr/>
          <p:nvPr/>
        </p:nvSpPr>
        <p:spPr>
          <a:xfrm rot="8716295">
            <a:off x="276903" y="-12823"/>
            <a:ext cx="36272" cy="27982"/>
          </a:xfrm>
          <a:custGeom>
            <a:avLst/>
            <a:gdLst>
              <a:gd name="connsiteX0" fmla="*/ 36272 w 36272"/>
              <a:gd name="connsiteY0" fmla="*/ 27982 h 27982"/>
              <a:gd name="connsiteX1" fmla="*/ 0 w 36272"/>
              <a:gd name="connsiteY1" fmla="*/ 2840 h 27982"/>
              <a:gd name="connsiteX2" fmla="*/ 9543 w 36272"/>
              <a:gd name="connsiteY2" fmla="*/ 0 h 27982"/>
              <a:gd name="connsiteX3" fmla="*/ 31871 w 36272"/>
              <a:gd name="connsiteY3" fmla="*/ 11392 h 27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272" h="27982">
                <a:moveTo>
                  <a:pt x="36272" y="27982"/>
                </a:moveTo>
                <a:lnTo>
                  <a:pt x="0" y="2840"/>
                </a:lnTo>
                <a:lnTo>
                  <a:pt x="9543" y="0"/>
                </a:lnTo>
                <a:cubicBezTo>
                  <a:pt x="20479" y="0"/>
                  <a:pt x="27542" y="4784"/>
                  <a:pt x="31871" y="11392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8" name="Forme libre : forme 37">
            <a:extLst>
              <a:ext uri="{FF2B5EF4-FFF2-40B4-BE49-F238E27FC236}">
                <a16:creationId xmlns:a16="http://schemas.microsoft.com/office/drawing/2014/main" id="{F421218E-0235-4F72-A3A0-C0DE2686EE65}"/>
              </a:ext>
            </a:extLst>
          </p:cNvPr>
          <p:cNvSpPr/>
          <p:nvPr/>
        </p:nvSpPr>
        <p:spPr>
          <a:xfrm rot="8716295">
            <a:off x="74640" y="-9665"/>
            <a:ext cx="58068" cy="54772"/>
          </a:xfrm>
          <a:custGeom>
            <a:avLst/>
            <a:gdLst>
              <a:gd name="connsiteX0" fmla="*/ 37436 w 58068"/>
              <a:gd name="connsiteY0" fmla="*/ 54772 h 54772"/>
              <a:gd name="connsiteX1" fmla="*/ 0 w 58068"/>
              <a:gd name="connsiteY1" fmla="*/ 28823 h 54772"/>
              <a:gd name="connsiteX2" fmla="*/ 8515 w 58068"/>
              <a:gd name="connsiteY2" fmla="*/ 8658 h 54772"/>
              <a:gd name="connsiteX3" fmla="*/ 29020 w 58068"/>
              <a:gd name="connsiteY3" fmla="*/ 0 h 54772"/>
              <a:gd name="connsiteX4" fmla="*/ 49525 w 58068"/>
              <a:gd name="connsiteY4" fmla="*/ 8658 h 54772"/>
              <a:gd name="connsiteX5" fmla="*/ 49525 w 58068"/>
              <a:gd name="connsiteY5" fmla="*/ 49668 h 54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068" h="54772">
                <a:moveTo>
                  <a:pt x="37436" y="54772"/>
                </a:moveTo>
                <a:lnTo>
                  <a:pt x="0" y="28823"/>
                </a:lnTo>
                <a:lnTo>
                  <a:pt x="8515" y="8658"/>
                </a:lnTo>
                <a:cubicBezTo>
                  <a:pt x="13983" y="3190"/>
                  <a:pt x="21273" y="0"/>
                  <a:pt x="29020" y="0"/>
                </a:cubicBezTo>
                <a:cubicBezTo>
                  <a:pt x="36766" y="0"/>
                  <a:pt x="44057" y="3190"/>
                  <a:pt x="49525" y="8658"/>
                </a:cubicBezTo>
                <a:cubicBezTo>
                  <a:pt x="60916" y="19594"/>
                  <a:pt x="60916" y="38276"/>
                  <a:pt x="49525" y="49668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9" name="Forme libre : forme 38">
            <a:extLst>
              <a:ext uri="{FF2B5EF4-FFF2-40B4-BE49-F238E27FC236}">
                <a16:creationId xmlns:a16="http://schemas.microsoft.com/office/drawing/2014/main" id="{CE77A4A5-0ECD-4D80-A03D-A10DC965EA39}"/>
              </a:ext>
            </a:extLst>
          </p:cNvPr>
          <p:cNvSpPr/>
          <p:nvPr/>
        </p:nvSpPr>
        <p:spPr>
          <a:xfrm rot="8716295">
            <a:off x="13802" y="-10406"/>
            <a:ext cx="30027" cy="20814"/>
          </a:xfrm>
          <a:custGeom>
            <a:avLst/>
            <a:gdLst>
              <a:gd name="connsiteX0" fmla="*/ 30027 w 30027"/>
              <a:gd name="connsiteY0" fmla="*/ 20814 h 20814"/>
              <a:gd name="connsiteX1" fmla="*/ 0 w 30027"/>
              <a:gd name="connsiteY1" fmla="*/ 0 h 20814"/>
              <a:gd name="connsiteX2" fmla="*/ 30027 w 30027"/>
              <a:gd name="connsiteY2" fmla="*/ 0 h 20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027" h="20814">
                <a:moveTo>
                  <a:pt x="30027" y="20814"/>
                </a:moveTo>
                <a:lnTo>
                  <a:pt x="0" y="0"/>
                </a:lnTo>
                <a:lnTo>
                  <a:pt x="30027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0" name="Forme libre : forme 39">
            <a:extLst>
              <a:ext uri="{FF2B5EF4-FFF2-40B4-BE49-F238E27FC236}">
                <a16:creationId xmlns:a16="http://schemas.microsoft.com/office/drawing/2014/main" id="{403799C4-A408-4325-A92C-9E809B8BB4D4}"/>
              </a:ext>
            </a:extLst>
          </p:cNvPr>
          <p:cNvSpPr/>
          <p:nvPr/>
        </p:nvSpPr>
        <p:spPr>
          <a:xfrm rot="8716295">
            <a:off x="168048" y="30325"/>
            <a:ext cx="100246" cy="218718"/>
          </a:xfrm>
          <a:custGeom>
            <a:avLst/>
            <a:gdLst>
              <a:gd name="connsiteX0" fmla="*/ 216217 w 209550"/>
              <a:gd name="connsiteY0" fmla="*/ 0 h 457200"/>
              <a:gd name="connsiteX1" fmla="*/ 216217 w 209550"/>
              <a:gd name="connsiteY1" fmla="*/ 458153 h 457200"/>
              <a:gd name="connsiteX2" fmla="*/ 90488 w 209550"/>
              <a:gd name="connsiteY2" fmla="*/ 337185 h 457200"/>
              <a:gd name="connsiteX3" fmla="*/ 90488 w 209550"/>
              <a:gd name="connsiteY3" fmla="*/ 34290 h 457200"/>
              <a:gd name="connsiteX4" fmla="*/ 0 w 209550"/>
              <a:gd name="connsiteY4" fmla="*/ 34290 h 457200"/>
              <a:gd name="connsiteX5" fmla="*/ 0 w 209550"/>
              <a:gd name="connsiteY5" fmla="*/ 4763 h 457200"/>
              <a:gd name="connsiteX6" fmla="*/ 216217 w 209550"/>
              <a:gd name="connsiteY6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9550" h="457200">
                <a:moveTo>
                  <a:pt x="216217" y="0"/>
                </a:moveTo>
                <a:lnTo>
                  <a:pt x="216217" y="458153"/>
                </a:lnTo>
                <a:lnTo>
                  <a:pt x="90488" y="337185"/>
                </a:lnTo>
                <a:lnTo>
                  <a:pt x="90488" y="34290"/>
                </a:lnTo>
                <a:lnTo>
                  <a:pt x="0" y="34290"/>
                </a:lnTo>
                <a:lnTo>
                  <a:pt x="0" y="4763"/>
                </a:lnTo>
                <a:cubicBezTo>
                  <a:pt x="68580" y="7620"/>
                  <a:pt x="140017" y="1905"/>
                  <a:pt x="216217" y="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1" name="Forme libre : forme 40">
            <a:extLst>
              <a:ext uri="{FF2B5EF4-FFF2-40B4-BE49-F238E27FC236}">
                <a16:creationId xmlns:a16="http://schemas.microsoft.com/office/drawing/2014/main" id="{01FB23B7-9B20-4D2E-83CD-6A7A68C9BDC4}"/>
              </a:ext>
            </a:extLst>
          </p:cNvPr>
          <p:cNvSpPr/>
          <p:nvPr/>
        </p:nvSpPr>
        <p:spPr>
          <a:xfrm rot="7484129">
            <a:off x="562078" y="-28476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2" name="Forme libre : forme 41">
            <a:extLst>
              <a:ext uri="{FF2B5EF4-FFF2-40B4-BE49-F238E27FC236}">
                <a16:creationId xmlns:a16="http://schemas.microsoft.com/office/drawing/2014/main" id="{ACF32F9A-0344-4E5B-A601-5E2A5DCEE676}"/>
              </a:ext>
            </a:extLst>
          </p:cNvPr>
          <p:cNvSpPr/>
          <p:nvPr/>
        </p:nvSpPr>
        <p:spPr>
          <a:xfrm rot="13089394">
            <a:off x="767127" y="-2787"/>
            <a:ext cx="149688" cy="301067"/>
          </a:xfrm>
          <a:custGeom>
            <a:avLst/>
            <a:gdLst>
              <a:gd name="connsiteX0" fmla="*/ 149688 w 149688"/>
              <a:gd name="connsiteY0" fmla="*/ 279622 h 301067"/>
              <a:gd name="connsiteX1" fmla="*/ 122393 w 149688"/>
              <a:gd name="connsiteY1" fmla="*/ 301067 h 301067"/>
              <a:gd name="connsiteX2" fmla="*/ 0 w 149688"/>
              <a:gd name="connsiteY2" fmla="*/ 114672 h 301067"/>
              <a:gd name="connsiteX3" fmla="*/ 0 w 149688"/>
              <a:gd name="connsiteY3" fmla="*/ 38074 h 301067"/>
              <a:gd name="connsiteX4" fmla="*/ 73388 w 149688"/>
              <a:gd name="connsiteY4" fmla="*/ 0 h 301067"/>
              <a:gd name="connsiteX5" fmla="*/ 74492 w 149688"/>
              <a:gd name="connsiteY5" fmla="*/ 153950 h 301067"/>
              <a:gd name="connsiteX6" fmla="*/ 87734 w 149688"/>
              <a:gd name="connsiteY6" fmla="*/ 245547 h 301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9688" h="301067">
                <a:moveTo>
                  <a:pt x="149688" y="279622"/>
                </a:moveTo>
                <a:lnTo>
                  <a:pt x="122393" y="301067"/>
                </a:lnTo>
                <a:lnTo>
                  <a:pt x="0" y="114672"/>
                </a:lnTo>
                <a:lnTo>
                  <a:pt x="0" y="38074"/>
                </a:lnTo>
                <a:lnTo>
                  <a:pt x="73388" y="0"/>
                </a:lnTo>
                <a:lnTo>
                  <a:pt x="74492" y="153950"/>
                </a:lnTo>
                <a:cubicBezTo>
                  <a:pt x="72836" y="184850"/>
                  <a:pt x="77802" y="216302"/>
                  <a:pt x="87734" y="245547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9B540A9C-752F-4966-AE11-E0DA13D5676A}"/>
              </a:ext>
            </a:extLst>
          </p:cNvPr>
          <p:cNvSpPr/>
          <p:nvPr/>
        </p:nvSpPr>
        <p:spPr>
          <a:xfrm rot="8716295">
            <a:off x="212141" y="3045028"/>
            <a:ext cx="141256" cy="232388"/>
          </a:xfrm>
          <a:custGeom>
            <a:avLst/>
            <a:gdLst>
              <a:gd name="connsiteX0" fmla="*/ 297180 w 295275"/>
              <a:gd name="connsiteY0" fmla="*/ 104775 h 485775"/>
              <a:gd name="connsiteX1" fmla="*/ 297180 w 295275"/>
              <a:gd name="connsiteY1" fmla="*/ 435293 h 485775"/>
              <a:gd name="connsiteX2" fmla="*/ 169545 w 295275"/>
              <a:gd name="connsiteY2" fmla="*/ 485775 h 485775"/>
              <a:gd name="connsiteX3" fmla="*/ 169545 w 295275"/>
              <a:gd name="connsiteY3" fmla="*/ 145733 h 485775"/>
              <a:gd name="connsiteX4" fmla="*/ 169545 w 295275"/>
              <a:gd name="connsiteY4" fmla="*/ 137160 h 485775"/>
              <a:gd name="connsiteX5" fmla="*/ 126683 w 295275"/>
              <a:gd name="connsiteY5" fmla="*/ 104775 h 485775"/>
              <a:gd name="connsiteX6" fmla="*/ 0 w 295275"/>
              <a:gd name="connsiteY6" fmla="*/ 104775 h 485775"/>
              <a:gd name="connsiteX7" fmla="*/ 0 w 295275"/>
              <a:gd name="connsiteY7" fmla="*/ 0 h 485775"/>
              <a:gd name="connsiteX8" fmla="*/ 178118 w 295275"/>
              <a:gd name="connsiteY8" fmla="*/ 0 h 485775"/>
              <a:gd name="connsiteX9" fmla="*/ 297180 w 295275"/>
              <a:gd name="connsiteY9" fmla="*/ 104775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95275" h="485775">
                <a:moveTo>
                  <a:pt x="297180" y="104775"/>
                </a:moveTo>
                <a:lnTo>
                  <a:pt x="297180" y="435293"/>
                </a:lnTo>
                <a:lnTo>
                  <a:pt x="169545" y="485775"/>
                </a:lnTo>
                <a:lnTo>
                  <a:pt x="169545" y="145733"/>
                </a:lnTo>
                <a:cubicBezTo>
                  <a:pt x="169545" y="142875"/>
                  <a:pt x="169545" y="140018"/>
                  <a:pt x="169545" y="137160"/>
                </a:cubicBezTo>
                <a:cubicBezTo>
                  <a:pt x="166688" y="116205"/>
                  <a:pt x="147638" y="101918"/>
                  <a:pt x="126683" y="104775"/>
                </a:cubicBezTo>
                <a:lnTo>
                  <a:pt x="0" y="104775"/>
                </a:lnTo>
                <a:lnTo>
                  <a:pt x="0" y="0"/>
                </a:lnTo>
                <a:lnTo>
                  <a:pt x="178118" y="0"/>
                </a:lnTo>
                <a:cubicBezTo>
                  <a:pt x="255270" y="0"/>
                  <a:pt x="297180" y="33338"/>
                  <a:pt x="297180" y="10477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4" name="Forme libre : forme 43">
            <a:extLst>
              <a:ext uri="{FF2B5EF4-FFF2-40B4-BE49-F238E27FC236}">
                <a16:creationId xmlns:a16="http://schemas.microsoft.com/office/drawing/2014/main" id="{27352092-3B53-44B3-ABC2-E6A268F28524}"/>
              </a:ext>
            </a:extLst>
          </p:cNvPr>
          <p:cNvSpPr/>
          <p:nvPr/>
        </p:nvSpPr>
        <p:spPr>
          <a:xfrm rot="8716295">
            <a:off x="301533" y="3074270"/>
            <a:ext cx="259728" cy="250615"/>
          </a:xfrm>
          <a:custGeom>
            <a:avLst/>
            <a:gdLst>
              <a:gd name="connsiteX0" fmla="*/ 544830 w 542925"/>
              <a:gd name="connsiteY0" fmla="*/ 184905 h 523875"/>
              <a:gd name="connsiteX1" fmla="*/ 544830 w 542925"/>
              <a:gd name="connsiteY1" fmla="*/ 197288 h 523875"/>
              <a:gd name="connsiteX2" fmla="*/ 415290 w 542925"/>
              <a:gd name="connsiteY2" fmla="*/ 204908 h 523875"/>
              <a:gd name="connsiteX3" fmla="*/ 415290 w 542925"/>
              <a:gd name="connsiteY3" fmla="*/ 170618 h 523875"/>
              <a:gd name="connsiteX4" fmla="*/ 344805 w 542925"/>
              <a:gd name="connsiteY4" fmla="*/ 83940 h 523875"/>
              <a:gd name="connsiteX5" fmla="*/ 233363 w 542925"/>
              <a:gd name="connsiteY5" fmla="*/ 266820 h 523875"/>
              <a:gd name="connsiteX6" fmla="*/ 233363 w 542925"/>
              <a:gd name="connsiteY6" fmla="*/ 446843 h 523875"/>
              <a:gd name="connsiteX7" fmla="*/ 107632 w 542925"/>
              <a:gd name="connsiteY7" fmla="*/ 532568 h 523875"/>
              <a:gd name="connsiteX8" fmla="*/ 107632 w 542925"/>
              <a:gd name="connsiteY8" fmla="*/ 95370 h 523875"/>
              <a:gd name="connsiteX9" fmla="*/ 0 w 542925"/>
              <a:gd name="connsiteY9" fmla="*/ 95370 h 523875"/>
              <a:gd name="connsiteX10" fmla="*/ 0 w 542925"/>
              <a:gd name="connsiteY10" fmla="*/ 2978 h 523875"/>
              <a:gd name="connsiteX11" fmla="*/ 219075 w 542925"/>
              <a:gd name="connsiteY11" fmla="*/ 2978 h 523875"/>
              <a:gd name="connsiteX12" fmla="*/ 219075 w 542925"/>
              <a:gd name="connsiteY12" fmla="*/ 157283 h 523875"/>
              <a:gd name="connsiteX13" fmla="*/ 221932 w 542925"/>
              <a:gd name="connsiteY13" fmla="*/ 157283 h 523875"/>
              <a:gd name="connsiteX14" fmla="*/ 321945 w 542925"/>
              <a:gd name="connsiteY14" fmla="*/ 12503 h 523875"/>
              <a:gd name="connsiteX15" fmla="*/ 387667 w 542925"/>
              <a:gd name="connsiteY15" fmla="*/ 120 h 523875"/>
              <a:gd name="connsiteX16" fmla="*/ 544830 w 542925"/>
              <a:gd name="connsiteY16" fmla="*/ 18490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42925" h="523875">
                <a:moveTo>
                  <a:pt x="544830" y="184905"/>
                </a:moveTo>
                <a:lnTo>
                  <a:pt x="544830" y="197288"/>
                </a:lnTo>
                <a:lnTo>
                  <a:pt x="415290" y="204908"/>
                </a:lnTo>
                <a:lnTo>
                  <a:pt x="415290" y="170618"/>
                </a:lnTo>
                <a:cubicBezTo>
                  <a:pt x="415290" y="119183"/>
                  <a:pt x="385763" y="83940"/>
                  <a:pt x="344805" y="83940"/>
                </a:cubicBezTo>
                <a:cubicBezTo>
                  <a:pt x="283845" y="83940"/>
                  <a:pt x="233363" y="164903"/>
                  <a:pt x="233363" y="266820"/>
                </a:cubicBezTo>
                <a:lnTo>
                  <a:pt x="233363" y="446843"/>
                </a:lnTo>
                <a:lnTo>
                  <a:pt x="107632" y="532568"/>
                </a:lnTo>
                <a:lnTo>
                  <a:pt x="107632" y="95370"/>
                </a:lnTo>
                <a:lnTo>
                  <a:pt x="0" y="95370"/>
                </a:lnTo>
                <a:lnTo>
                  <a:pt x="0" y="2978"/>
                </a:lnTo>
                <a:lnTo>
                  <a:pt x="219075" y="2978"/>
                </a:lnTo>
                <a:lnTo>
                  <a:pt x="219075" y="157283"/>
                </a:lnTo>
                <a:lnTo>
                  <a:pt x="221932" y="157283"/>
                </a:lnTo>
                <a:cubicBezTo>
                  <a:pt x="252413" y="66795"/>
                  <a:pt x="276225" y="31553"/>
                  <a:pt x="321945" y="12503"/>
                </a:cubicBezTo>
                <a:cubicBezTo>
                  <a:pt x="342900" y="3930"/>
                  <a:pt x="364807" y="-832"/>
                  <a:pt x="387667" y="120"/>
                </a:cubicBezTo>
                <a:cubicBezTo>
                  <a:pt x="485775" y="-1785"/>
                  <a:pt x="544830" y="66795"/>
                  <a:pt x="544830" y="18490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5" name="Forme libre : forme 44">
            <a:extLst>
              <a:ext uri="{FF2B5EF4-FFF2-40B4-BE49-F238E27FC236}">
                <a16:creationId xmlns:a16="http://schemas.microsoft.com/office/drawing/2014/main" id="{1A1EEC7B-8896-4B95-9A1A-B0F21E6748C1}"/>
              </a:ext>
            </a:extLst>
          </p:cNvPr>
          <p:cNvSpPr/>
          <p:nvPr/>
        </p:nvSpPr>
        <p:spPr>
          <a:xfrm rot="8716295">
            <a:off x="256683" y="2987990"/>
            <a:ext cx="186822" cy="136699"/>
          </a:xfrm>
          <a:custGeom>
            <a:avLst/>
            <a:gdLst>
              <a:gd name="connsiteX0" fmla="*/ 343853 w 390525"/>
              <a:gd name="connsiteY0" fmla="*/ 144780 h 285750"/>
              <a:gd name="connsiteX1" fmla="*/ 344805 w 390525"/>
              <a:gd name="connsiteY1" fmla="*/ 144780 h 285750"/>
              <a:gd name="connsiteX2" fmla="*/ 12382 w 390525"/>
              <a:gd name="connsiteY2" fmla="*/ 288608 h 285750"/>
              <a:gd name="connsiteX3" fmla="*/ 0 w 390525"/>
              <a:gd name="connsiteY3" fmla="*/ 271463 h 285750"/>
              <a:gd name="connsiteX4" fmla="*/ 225743 w 390525"/>
              <a:gd name="connsiteY4" fmla="*/ 59055 h 285750"/>
              <a:gd name="connsiteX5" fmla="*/ 340043 w 390525"/>
              <a:gd name="connsiteY5" fmla="*/ 0 h 285750"/>
              <a:gd name="connsiteX6" fmla="*/ 399098 w 390525"/>
              <a:gd name="connsiteY6" fmla="*/ 70485 h 285750"/>
              <a:gd name="connsiteX7" fmla="*/ 343853 w 390525"/>
              <a:gd name="connsiteY7" fmla="*/ 14478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0525" h="285750">
                <a:moveTo>
                  <a:pt x="343853" y="144780"/>
                </a:moveTo>
                <a:lnTo>
                  <a:pt x="344805" y="144780"/>
                </a:lnTo>
                <a:lnTo>
                  <a:pt x="12382" y="288608"/>
                </a:lnTo>
                <a:lnTo>
                  <a:pt x="0" y="271463"/>
                </a:lnTo>
                <a:lnTo>
                  <a:pt x="225743" y="59055"/>
                </a:lnTo>
                <a:cubicBezTo>
                  <a:pt x="254318" y="25718"/>
                  <a:pt x="295275" y="4763"/>
                  <a:pt x="340043" y="0"/>
                </a:cubicBezTo>
                <a:cubicBezTo>
                  <a:pt x="385763" y="0"/>
                  <a:pt x="399098" y="40005"/>
                  <a:pt x="399098" y="70485"/>
                </a:cubicBezTo>
                <a:cubicBezTo>
                  <a:pt x="396240" y="103823"/>
                  <a:pt x="374332" y="131445"/>
                  <a:pt x="343853" y="14478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6" name="Forme libre : forme 45">
            <a:extLst>
              <a:ext uri="{FF2B5EF4-FFF2-40B4-BE49-F238E27FC236}">
                <a16:creationId xmlns:a16="http://schemas.microsoft.com/office/drawing/2014/main" id="{4FA7D1EC-A217-4326-8F37-649F5ADE83EB}"/>
              </a:ext>
            </a:extLst>
          </p:cNvPr>
          <p:cNvSpPr/>
          <p:nvPr/>
        </p:nvSpPr>
        <p:spPr>
          <a:xfrm rot="8716295">
            <a:off x="99907" y="3133572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7" name="Forme libre : forme 46">
            <a:extLst>
              <a:ext uri="{FF2B5EF4-FFF2-40B4-BE49-F238E27FC236}">
                <a16:creationId xmlns:a16="http://schemas.microsoft.com/office/drawing/2014/main" id="{33C99497-0B48-43C7-BD1A-0279E44CA612}"/>
              </a:ext>
            </a:extLst>
          </p:cNvPr>
          <p:cNvSpPr/>
          <p:nvPr/>
        </p:nvSpPr>
        <p:spPr>
          <a:xfrm rot="8716295">
            <a:off x="-24996" y="2924899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8" name="Forme libre : forme 47">
            <a:extLst>
              <a:ext uri="{FF2B5EF4-FFF2-40B4-BE49-F238E27FC236}">
                <a16:creationId xmlns:a16="http://schemas.microsoft.com/office/drawing/2014/main" id="{A93858F0-0010-48FE-BF9C-AFE6080030D7}"/>
              </a:ext>
            </a:extLst>
          </p:cNvPr>
          <p:cNvSpPr/>
          <p:nvPr/>
        </p:nvSpPr>
        <p:spPr>
          <a:xfrm rot="8716295">
            <a:off x="51899" y="2754602"/>
            <a:ext cx="189488" cy="350829"/>
          </a:xfrm>
          <a:custGeom>
            <a:avLst/>
            <a:gdLst>
              <a:gd name="connsiteX0" fmla="*/ 25299 w 189488"/>
              <a:gd name="connsiteY0" fmla="*/ 321238 h 350829"/>
              <a:gd name="connsiteX1" fmla="*/ 0 w 189488"/>
              <a:gd name="connsiteY1" fmla="*/ 220042 h 350829"/>
              <a:gd name="connsiteX2" fmla="*/ 0 w 189488"/>
              <a:gd name="connsiteY2" fmla="*/ 40596 h 350829"/>
              <a:gd name="connsiteX3" fmla="*/ 78250 w 189488"/>
              <a:gd name="connsiteY3" fmla="*/ 0 h 350829"/>
              <a:gd name="connsiteX4" fmla="*/ 79427 w 189488"/>
              <a:gd name="connsiteY4" fmla="*/ 164149 h 350829"/>
              <a:gd name="connsiteX5" fmla="*/ 93547 w 189488"/>
              <a:gd name="connsiteY5" fmla="*/ 261815 h 350829"/>
              <a:gd name="connsiteX6" fmla="*/ 164148 w 189488"/>
              <a:gd name="connsiteY6" fmla="*/ 300646 h 350829"/>
              <a:gd name="connsiteX7" fmla="*/ 189488 w 189488"/>
              <a:gd name="connsiteY7" fmla="*/ 296141 h 350829"/>
              <a:gd name="connsiteX8" fmla="*/ 160617 w 189488"/>
              <a:gd name="connsiteY8" fmla="*/ 337791 h 350829"/>
              <a:gd name="connsiteX9" fmla="*/ 97666 w 189488"/>
              <a:gd name="connsiteY9" fmla="*/ 350655 h 350829"/>
              <a:gd name="connsiteX10" fmla="*/ 25299 w 189488"/>
              <a:gd name="connsiteY10" fmla="*/ 321238 h 350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9488" h="350829">
                <a:moveTo>
                  <a:pt x="25299" y="321238"/>
                </a:moveTo>
                <a:cubicBezTo>
                  <a:pt x="5295" y="301823"/>
                  <a:pt x="0" y="268286"/>
                  <a:pt x="0" y="220042"/>
                </a:cubicBezTo>
                <a:lnTo>
                  <a:pt x="0" y="40596"/>
                </a:lnTo>
                <a:lnTo>
                  <a:pt x="78250" y="0"/>
                </a:lnTo>
                <a:lnTo>
                  <a:pt x="79427" y="164149"/>
                </a:lnTo>
                <a:cubicBezTo>
                  <a:pt x="77662" y="197097"/>
                  <a:pt x="82957" y="230632"/>
                  <a:pt x="93547" y="261815"/>
                </a:cubicBezTo>
                <a:cubicBezTo>
                  <a:pt x="102961" y="287702"/>
                  <a:pt x="127083" y="300646"/>
                  <a:pt x="164148" y="300646"/>
                </a:cubicBezTo>
                <a:lnTo>
                  <a:pt x="189488" y="296141"/>
                </a:lnTo>
                <a:lnTo>
                  <a:pt x="160617" y="337791"/>
                </a:lnTo>
                <a:lnTo>
                  <a:pt x="97666" y="350655"/>
                </a:lnTo>
                <a:cubicBezTo>
                  <a:pt x="70602" y="352420"/>
                  <a:pt x="44126" y="340653"/>
                  <a:pt x="25299" y="321238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9" name="Forme libre : forme 48">
            <a:extLst>
              <a:ext uri="{FF2B5EF4-FFF2-40B4-BE49-F238E27FC236}">
                <a16:creationId xmlns:a16="http://schemas.microsoft.com/office/drawing/2014/main" id="{CAFD1C73-118C-42A8-A6D1-F7527C0F98CE}"/>
              </a:ext>
            </a:extLst>
          </p:cNvPr>
          <p:cNvSpPr/>
          <p:nvPr/>
        </p:nvSpPr>
        <p:spPr>
          <a:xfrm rot="8716295">
            <a:off x="190085" y="3174524"/>
            <a:ext cx="100246" cy="218718"/>
          </a:xfrm>
          <a:custGeom>
            <a:avLst/>
            <a:gdLst>
              <a:gd name="connsiteX0" fmla="*/ 216217 w 209550"/>
              <a:gd name="connsiteY0" fmla="*/ 0 h 457200"/>
              <a:gd name="connsiteX1" fmla="*/ 216217 w 209550"/>
              <a:gd name="connsiteY1" fmla="*/ 458153 h 457200"/>
              <a:gd name="connsiteX2" fmla="*/ 90488 w 209550"/>
              <a:gd name="connsiteY2" fmla="*/ 337185 h 457200"/>
              <a:gd name="connsiteX3" fmla="*/ 90488 w 209550"/>
              <a:gd name="connsiteY3" fmla="*/ 34290 h 457200"/>
              <a:gd name="connsiteX4" fmla="*/ 0 w 209550"/>
              <a:gd name="connsiteY4" fmla="*/ 34290 h 457200"/>
              <a:gd name="connsiteX5" fmla="*/ 0 w 209550"/>
              <a:gd name="connsiteY5" fmla="*/ 4763 h 457200"/>
              <a:gd name="connsiteX6" fmla="*/ 216217 w 209550"/>
              <a:gd name="connsiteY6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9550" h="457200">
                <a:moveTo>
                  <a:pt x="216217" y="0"/>
                </a:moveTo>
                <a:lnTo>
                  <a:pt x="216217" y="458153"/>
                </a:lnTo>
                <a:lnTo>
                  <a:pt x="90488" y="337185"/>
                </a:lnTo>
                <a:lnTo>
                  <a:pt x="90488" y="34290"/>
                </a:lnTo>
                <a:lnTo>
                  <a:pt x="0" y="34290"/>
                </a:lnTo>
                <a:lnTo>
                  <a:pt x="0" y="4763"/>
                </a:lnTo>
                <a:cubicBezTo>
                  <a:pt x="68580" y="7620"/>
                  <a:pt x="140017" y="1905"/>
                  <a:pt x="216217" y="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0" name="Forme libre : forme 49">
            <a:extLst>
              <a:ext uri="{FF2B5EF4-FFF2-40B4-BE49-F238E27FC236}">
                <a16:creationId xmlns:a16="http://schemas.microsoft.com/office/drawing/2014/main" id="{E7F4D18B-0BB2-451B-AA77-2B268E142A91}"/>
              </a:ext>
            </a:extLst>
          </p:cNvPr>
          <p:cNvSpPr/>
          <p:nvPr/>
        </p:nvSpPr>
        <p:spPr>
          <a:xfrm rot="8716295">
            <a:off x="502599" y="2802136"/>
            <a:ext cx="117588" cy="232388"/>
          </a:xfrm>
          <a:custGeom>
            <a:avLst/>
            <a:gdLst>
              <a:gd name="connsiteX0" fmla="*/ 56529 w 117588"/>
              <a:gd name="connsiteY0" fmla="*/ 232388 h 232388"/>
              <a:gd name="connsiteX1" fmla="*/ 56529 w 117588"/>
              <a:gd name="connsiteY1" fmla="*/ 69717 h 232388"/>
              <a:gd name="connsiteX2" fmla="*/ 56529 w 117588"/>
              <a:gd name="connsiteY2" fmla="*/ 65615 h 232388"/>
              <a:gd name="connsiteX3" fmla="*/ 36025 w 117588"/>
              <a:gd name="connsiteY3" fmla="*/ 50123 h 232388"/>
              <a:gd name="connsiteX4" fmla="*/ 0 w 117588"/>
              <a:gd name="connsiteY4" fmla="*/ 50123 h 232388"/>
              <a:gd name="connsiteX5" fmla="*/ 41458 w 117588"/>
              <a:gd name="connsiteY5" fmla="*/ 0 h 232388"/>
              <a:gd name="connsiteX6" fmla="*/ 60630 w 117588"/>
              <a:gd name="connsiteY6" fmla="*/ 0 h 232388"/>
              <a:gd name="connsiteX7" fmla="*/ 117588 w 117588"/>
              <a:gd name="connsiteY7" fmla="*/ 50123 h 232388"/>
              <a:gd name="connsiteX8" fmla="*/ 117588 w 117588"/>
              <a:gd name="connsiteY8" fmla="*/ 208238 h 232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588" h="232388">
                <a:moveTo>
                  <a:pt x="56529" y="232388"/>
                </a:moveTo>
                <a:lnTo>
                  <a:pt x="56529" y="69717"/>
                </a:lnTo>
                <a:cubicBezTo>
                  <a:pt x="56529" y="68349"/>
                  <a:pt x="56529" y="66983"/>
                  <a:pt x="56529" y="65615"/>
                </a:cubicBezTo>
                <a:cubicBezTo>
                  <a:pt x="55163" y="55591"/>
                  <a:pt x="46049" y="48756"/>
                  <a:pt x="36025" y="50123"/>
                </a:cubicBezTo>
                <a:lnTo>
                  <a:pt x="0" y="50123"/>
                </a:lnTo>
                <a:lnTo>
                  <a:pt x="41458" y="0"/>
                </a:lnTo>
                <a:lnTo>
                  <a:pt x="60630" y="0"/>
                </a:lnTo>
                <a:cubicBezTo>
                  <a:pt x="97539" y="0"/>
                  <a:pt x="117588" y="15948"/>
                  <a:pt x="117588" y="50123"/>
                </a:cubicBezTo>
                <a:lnTo>
                  <a:pt x="117588" y="208238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1" name="Forme libre : forme 50">
            <a:extLst>
              <a:ext uri="{FF2B5EF4-FFF2-40B4-BE49-F238E27FC236}">
                <a16:creationId xmlns:a16="http://schemas.microsoft.com/office/drawing/2014/main" id="{6F67DBA9-AD6C-4780-AA17-98BCE9381DC5}"/>
              </a:ext>
            </a:extLst>
          </p:cNvPr>
          <p:cNvSpPr/>
          <p:nvPr/>
        </p:nvSpPr>
        <p:spPr>
          <a:xfrm rot="8716295">
            <a:off x="389006" y="2883420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2" name="Forme libre : forme 51">
            <a:extLst>
              <a:ext uri="{FF2B5EF4-FFF2-40B4-BE49-F238E27FC236}">
                <a16:creationId xmlns:a16="http://schemas.microsoft.com/office/drawing/2014/main" id="{60CE2A9A-219E-42C9-9F53-FED763C7A971}"/>
              </a:ext>
            </a:extLst>
          </p:cNvPr>
          <p:cNvSpPr/>
          <p:nvPr/>
        </p:nvSpPr>
        <p:spPr>
          <a:xfrm rot="8716295">
            <a:off x="264104" y="2674747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3" name="Forme libre : forme 52">
            <a:extLst>
              <a:ext uri="{FF2B5EF4-FFF2-40B4-BE49-F238E27FC236}">
                <a16:creationId xmlns:a16="http://schemas.microsoft.com/office/drawing/2014/main" id="{5F47A361-80F1-4C02-906B-845AB367B960}"/>
              </a:ext>
            </a:extLst>
          </p:cNvPr>
          <p:cNvSpPr/>
          <p:nvPr/>
        </p:nvSpPr>
        <p:spPr>
          <a:xfrm rot="8716295">
            <a:off x="479184" y="2924372"/>
            <a:ext cx="100246" cy="218719"/>
          </a:xfrm>
          <a:custGeom>
            <a:avLst/>
            <a:gdLst>
              <a:gd name="connsiteX0" fmla="*/ 216217 w 209550"/>
              <a:gd name="connsiteY0" fmla="*/ 0 h 457200"/>
              <a:gd name="connsiteX1" fmla="*/ 216217 w 209550"/>
              <a:gd name="connsiteY1" fmla="*/ 458153 h 457200"/>
              <a:gd name="connsiteX2" fmla="*/ 90488 w 209550"/>
              <a:gd name="connsiteY2" fmla="*/ 337185 h 457200"/>
              <a:gd name="connsiteX3" fmla="*/ 90488 w 209550"/>
              <a:gd name="connsiteY3" fmla="*/ 34290 h 457200"/>
              <a:gd name="connsiteX4" fmla="*/ 0 w 209550"/>
              <a:gd name="connsiteY4" fmla="*/ 34290 h 457200"/>
              <a:gd name="connsiteX5" fmla="*/ 0 w 209550"/>
              <a:gd name="connsiteY5" fmla="*/ 4763 h 457200"/>
              <a:gd name="connsiteX6" fmla="*/ 216217 w 209550"/>
              <a:gd name="connsiteY6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9550" h="457200">
                <a:moveTo>
                  <a:pt x="216217" y="0"/>
                </a:moveTo>
                <a:lnTo>
                  <a:pt x="216217" y="458153"/>
                </a:lnTo>
                <a:lnTo>
                  <a:pt x="90488" y="337185"/>
                </a:lnTo>
                <a:lnTo>
                  <a:pt x="90488" y="34290"/>
                </a:lnTo>
                <a:lnTo>
                  <a:pt x="0" y="34290"/>
                </a:lnTo>
                <a:lnTo>
                  <a:pt x="0" y="4763"/>
                </a:lnTo>
                <a:cubicBezTo>
                  <a:pt x="68580" y="7620"/>
                  <a:pt x="140017" y="1905"/>
                  <a:pt x="216217" y="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4" name="Forme libre : forme 53">
            <a:extLst>
              <a:ext uri="{FF2B5EF4-FFF2-40B4-BE49-F238E27FC236}">
                <a16:creationId xmlns:a16="http://schemas.microsoft.com/office/drawing/2014/main" id="{2CC40EA3-7663-4B10-9112-24251EC60BEA}"/>
              </a:ext>
            </a:extLst>
          </p:cNvPr>
          <p:cNvSpPr/>
          <p:nvPr/>
        </p:nvSpPr>
        <p:spPr>
          <a:xfrm rot="8716295">
            <a:off x="237733" y="2774772"/>
            <a:ext cx="72447" cy="72447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5" name="Forme libre : forme 54">
            <a:extLst>
              <a:ext uri="{FF2B5EF4-FFF2-40B4-BE49-F238E27FC236}">
                <a16:creationId xmlns:a16="http://schemas.microsoft.com/office/drawing/2014/main" id="{96946020-930E-406D-ABEE-7096E7CB1426}"/>
              </a:ext>
            </a:extLst>
          </p:cNvPr>
          <p:cNvSpPr/>
          <p:nvPr/>
        </p:nvSpPr>
        <p:spPr>
          <a:xfrm rot="7484129">
            <a:off x="609980" y="3142825"/>
            <a:ext cx="20881" cy="31001"/>
          </a:xfrm>
          <a:custGeom>
            <a:avLst/>
            <a:gdLst>
              <a:gd name="connsiteX0" fmla="*/ 10218 w 20881"/>
              <a:gd name="connsiteY0" fmla="*/ 31001 h 31001"/>
              <a:gd name="connsiteX1" fmla="*/ 0 w 20881"/>
              <a:gd name="connsiteY1" fmla="*/ 11992 h 31001"/>
              <a:gd name="connsiteX2" fmla="*/ 20881 w 20881"/>
              <a:gd name="connsiteY2" fmla="*/ 0 h 31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881" h="31001">
                <a:moveTo>
                  <a:pt x="10218" y="31001"/>
                </a:moveTo>
                <a:lnTo>
                  <a:pt x="0" y="11992"/>
                </a:lnTo>
                <a:lnTo>
                  <a:pt x="20881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6" name="Forme libre : forme 55">
            <a:extLst>
              <a:ext uri="{FF2B5EF4-FFF2-40B4-BE49-F238E27FC236}">
                <a16:creationId xmlns:a16="http://schemas.microsoft.com/office/drawing/2014/main" id="{9709EEED-4F73-41F3-A069-C965126CECA4}"/>
              </a:ext>
            </a:extLst>
          </p:cNvPr>
          <p:cNvSpPr/>
          <p:nvPr/>
        </p:nvSpPr>
        <p:spPr>
          <a:xfrm rot="8716295">
            <a:off x="579469" y="2817204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7" name="Forme libre : forme 56">
            <a:extLst>
              <a:ext uri="{FF2B5EF4-FFF2-40B4-BE49-F238E27FC236}">
                <a16:creationId xmlns:a16="http://schemas.microsoft.com/office/drawing/2014/main" id="{AB7C8B58-13F0-4FCC-99DC-3B3AAD65E69B}"/>
              </a:ext>
            </a:extLst>
          </p:cNvPr>
          <p:cNvSpPr/>
          <p:nvPr/>
        </p:nvSpPr>
        <p:spPr>
          <a:xfrm rot="8716295">
            <a:off x="437995" y="3716235"/>
            <a:ext cx="102679" cy="232388"/>
          </a:xfrm>
          <a:custGeom>
            <a:avLst/>
            <a:gdLst>
              <a:gd name="connsiteX0" fmla="*/ 41620 w 102679"/>
              <a:gd name="connsiteY0" fmla="*/ 232388 h 232388"/>
              <a:gd name="connsiteX1" fmla="*/ 41620 w 102679"/>
              <a:gd name="connsiteY1" fmla="*/ 69717 h 232388"/>
              <a:gd name="connsiteX2" fmla="*/ 41620 w 102679"/>
              <a:gd name="connsiteY2" fmla="*/ 65615 h 232388"/>
              <a:gd name="connsiteX3" fmla="*/ 21116 w 102679"/>
              <a:gd name="connsiteY3" fmla="*/ 50123 h 232388"/>
              <a:gd name="connsiteX4" fmla="*/ 0 w 102679"/>
              <a:gd name="connsiteY4" fmla="*/ 50123 h 232388"/>
              <a:gd name="connsiteX5" fmla="*/ 41457 w 102679"/>
              <a:gd name="connsiteY5" fmla="*/ 0 h 232388"/>
              <a:gd name="connsiteX6" fmla="*/ 45721 w 102679"/>
              <a:gd name="connsiteY6" fmla="*/ 0 h 232388"/>
              <a:gd name="connsiteX7" fmla="*/ 102679 w 102679"/>
              <a:gd name="connsiteY7" fmla="*/ 50123 h 232388"/>
              <a:gd name="connsiteX8" fmla="*/ 102679 w 102679"/>
              <a:gd name="connsiteY8" fmla="*/ 208238 h 232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2679" h="232388">
                <a:moveTo>
                  <a:pt x="41620" y="232388"/>
                </a:moveTo>
                <a:lnTo>
                  <a:pt x="41620" y="69717"/>
                </a:lnTo>
                <a:cubicBezTo>
                  <a:pt x="41620" y="68349"/>
                  <a:pt x="41620" y="66983"/>
                  <a:pt x="41620" y="65615"/>
                </a:cubicBezTo>
                <a:cubicBezTo>
                  <a:pt x="40254" y="55591"/>
                  <a:pt x="31140" y="48756"/>
                  <a:pt x="21116" y="50123"/>
                </a:cubicBezTo>
                <a:lnTo>
                  <a:pt x="0" y="50123"/>
                </a:lnTo>
                <a:lnTo>
                  <a:pt x="41457" y="0"/>
                </a:lnTo>
                <a:lnTo>
                  <a:pt x="45721" y="0"/>
                </a:lnTo>
                <a:cubicBezTo>
                  <a:pt x="82630" y="0"/>
                  <a:pt x="102679" y="15948"/>
                  <a:pt x="102679" y="50123"/>
                </a:cubicBezTo>
                <a:lnTo>
                  <a:pt x="102679" y="208238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8" name="Forme libre : forme 57">
            <a:extLst>
              <a:ext uri="{FF2B5EF4-FFF2-40B4-BE49-F238E27FC236}">
                <a16:creationId xmlns:a16="http://schemas.microsoft.com/office/drawing/2014/main" id="{9C4DC6CC-AFAA-4414-8BA6-D58CC891D657}"/>
              </a:ext>
            </a:extLst>
          </p:cNvPr>
          <p:cNvSpPr/>
          <p:nvPr/>
        </p:nvSpPr>
        <p:spPr>
          <a:xfrm rot="8716295">
            <a:off x="482715" y="3669965"/>
            <a:ext cx="154563" cy="124897"/>
          </a:xfrm>
          <a:custGeom>
            <a:avLst/>
            <a:gdLst>
              <a:gd name="connsiteX0" fmla="*/ 0 w 154563"/>
              <a:gd name="connsiteY0" fmla="*/ 124897 h 124897"/>
              <a:gd name="connsiteX1" fmla="*/ 95474 w 154563"/>
              <a:gd name="connsiteY1" fmla="*/ 9467 h 124897"/>
              <a:gd name="connsiteX2" fmla="*/ 96067 w 154563"/>
              <a:gd name="connsiteY2" fmla="*/ 9000 h 124897"/>
              <a:gd name="connsiteX3" fmla="*/ 126312 w 154563"/>
              <a:gd name="connsiteY3" fmla="*/ 0 h 124897"/>
              <a:gd name="connsiteX4" fmla="*/ 154563 w 154563"/>
              <a:gd name="connsiteY4" fmla="*/ 33719 h 124897"/>
              <a:gd name="connsiteX5" fmla="*/ 128135 w 154563"/>
              <a:gd name="connsiteY5" fmla="*/ 69261 h 124897"/>
              <a:gd name="connsiteX6" fmla="*/ 128590 w 154563"/>
              <a:gd name="connsiteY6" fmla="*/ 69261 h 124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4563" h="124897">
                <a:moveTo>
                  <a:pt x="0" y="124897"/>
                </a:moveTo>
                <a:lnTo>
                  <a:pt x="95474" y="9467"/>
                </a:lnTo>
                <a:lnTo>
                  <a:pt x="96067" y="9000"/>
                </a:lnTo>
                <a:cubicBezTo>
                  <a:pt x="105351" y="4215"/>
                  <a:pt x="115604" y="1139"/>
                  <a:pt x="126312" y="0"/>
                </a:cubicBezTo>
                <a:cubicBezTo>
                  <a:pt x="148184" y="0"/>
                  <a:pt x="154563" y="19138"/>
                  <a:pt x="154563" y="33719"/>
                </a:cubicBezTo>
                <a:cubicBezTo>
                  <a:pt x="153196" y="49668"/>
                  <a:pt x="142715" y="62882"/>
                  <a:pt x="128135" y="69261"/>
                </a:cubicBezTo>
                <a:lnTo>
                  <a:pt x="128590" y="69261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9" name="Forme libre : forme 58">
            <a:extLst>
              <a:ext uri="{FF2B5EF4-FFF2-40B4-BE49-F238E27FC236}">
                <a16:creationId xmlns:a16="http://schemas.microsoft.com/office/drawing/2014/main" id="{4EE0C0AC-519B-4FC6-8231-6D03F18E647C}"/>
              </a:ext>
            </a:extLst>
          </p:cNvPr>
          <p:cNvSpPr/>
          <p:nvPr/>
        </p:nvSpPr>
        <p:spPr>
          <a:xfrm rot="8716295">
            <a:off x="323074" y="3793271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0" name="Forme libre : forme 59">
            <a:extLst>
              <a:ext uri="{FF2B5EF4-FFF2-40B4-BE49-F238E27FC236}">
                <a16:creationId xmlns:a16="http://schemas.microsoft.com/office/drawing/2014/main" id="{D6F59EA5-8316-4C20-AADC-7D706ECCBE6F}"/>
              </a:ext>
            </a:extLst>
          </p:cNvPr>
          <p:cNvSpPr/>
          <p:nvPr/>
        </p:nvSpPr>
        <p:spPr>
          <a:xfrm rot="8716295">
            <a:off x="198171" y="3584598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1" name="Forme libre : forme 60">
            <a:extLst>
              <a:ext uri="{FF2B5EF4-FFF2-40B4-BE49-F238E27FC236}">
                <a16:creationId xmlns:a16="http://schemas.microsoft.com/office/drawing/2014/main" id="{B0440107-C1DF-4CF9-A961-BF836C4847FA}"/>
              </a:ext>
            </a:extLst>
          </p:cNvPr>
          <p:cNvSpPr/>
          <p:nvPr/>
        </p:nvSpPr>
        <p:spPr>
          <a:xfrm rot="8716295">
            <a:off x="186119" y="3445818"/>
            <a:ext cx="288290" cy="347125"/>
          </a:xfrm>
          <a:custGeom>
            <a:avLst/>
            <a:gdLst>
              <a:gd name="connsiteX0" fmla="*/ 470535 w 466725"/>
              <a:gd name="connsiteY0" fmla="*/ 436245 h 561975"/>
              <a:gd name="connsiteX1" fmla="*/ 470535 w 466725"/>
              <a:gd name="connsiteY1" fmla="*/ 445770 h 561975"/>
              <a:gd name="connsiteX2" fmla="*/ 158115 w 466725"/>
              <a:gd name="connsiteY2" fmla="*/ 567690 h 561975"/>
              <a:gd name="connsiteX3" fmla="*/ 40957 w 466725"/>
              <a:gd name="connsiteY3" fmla="*/ 520065 h 561975"/>
              <a:gd name="connsiteX4" fmla="*/ 0 w 466725"/>
              <a:gd name="connsiteY4" fmla="*/ 356235 h 561975"/>
              <a:gd name="connsiteX5" fmla="*/ 0 w 466725"/>
              <a:gd name="connsiteY5" fmla="*/ 65723 h 561975"/>
              <a:gd name="connsiteX6" fmla="*/ 126682 w 466725"/>
              <a:gd name="connsiteY6" fmla="*/ 0 h 561975"/>
              <a:gd name="connsiteX7" fmla="*/ 128588 w 466725"/>
              <a:gd name="connsiteY7" fmla="*/ 265748 h 561975"/>
              <a:gd name="connsiteX8" fmla="*/ 151447 w 466725"/>
              <a:gd name="connsiteY8" fmla="*/ 423863 h 561975"/>
              <a:gd name="connsiteX9" fmla="*/ 265747 w 466725"/>
              <a:gd name="connsiteY9" fmla="*/ 486728 h 561975"/>
              <a:gd name="connsiteX10" fmla="*/ 351472 w 466725"/>
              <a:gd name="connsiteY10" fmla="*/ 471488 h 561975"/>
              <a:gd name="connsiteX11" fmla="*/ 468630 w 466725"/>
              <a:gd name="connsiteY11" fmla="*/ 423863 h 561975"/>
              <a:gd name="connsiteX12" fmla="*/ 470535 w 466725"/>
              <a:gd name="connsiteY12" fmla="*/ 436245 h 56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6725" h="561975">
                <a:moveTo>
                  <a:pt x="470535" y="436245"/>
                </a:moveTo>
                <a:lnTo>
                  <a:pt x="470535" y="445770"/>
                </a:lnTo>
                <a:cubicBezTo>
                  <a:pt x="369570" y="532448"/>
                  <a:pt x="237172" y="562928"/>
                  <a:pt x="158115" y="567690"/>
                </a:cubicBezTo>
                <a:cubicBezTo>
                  <a:pt x="114300" y="570548"/>
                  <a:pt x="71438" y="551498"/>
                  <a:pt x="40957" y="520065"/>
                </a:cubicBezTo>
                <a:cubicBezTo>
                  <a:pt x="8572" y="488633"/>
                  <a:pt x="0" y="434340"/>
                  <a:pt x="0" y="356235"/>
                </a:cubicBezTo>
                <a:lnTo>
                  <a:pt x="0" y="65723"/>
                </a:lnTo>
                <a:lnTo>
                  <a:pt x="126682" y="0"/>
                </a:lnTo>
                <a:lnTo>
                  <a:pt x="128588" y="265748"/>
                </a:lnTo>
                <a:cubicBezTo>
                  <a:pt x="125730" y="319088"/>
                  <a:pt x="134302" y="373380"/>
                  <a:pt x="151447" y="423863"/>
                </a:cubicBezTo>
                <a:cubicBezTo>
                  <a:pt x="166688" y="465773"/>
                  <a:pt x="205740" y="486728"/>
                  <a:pt x="265747" y="486728"/>
                </a:cubicBezTo>
                <a:cubicBezTo>
                  <a:pt x="295275" y="485775"/>
                  <a:pt x="323850" y="480060"/>
                  <a:pt x="351472" y="471488"/>
                </a:cubicBezTo>
                <a:cubicBezTo>
                  <a:pt x="391477" y="459105"/>
                  <a:pt x="430530" y="442913"/>
                  <a:pt x="468630" y="423863"/>
                </a:cubicBezTo>
                <a:cubicBezTo>
                  <a:pt x="469582" y="427673"/>
                  <a:pt x="470535" y="432435"/>
                  <a:pt x="470535" y="43624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2" name="Forme libre : forme 61">
            <a:extLst>
              <a:ext uri="{FF2B5EF4-FFF2-40B4-BE49-F238E27FC236}">
                <a16:creationId xmlns:a16="http://schemas.microsoft.com/office/drawing/2014/main" id="{FAD20847-20DA-4661-A963-D2C01E523D8E}"/>
              </a:ext>
            </a:extLst>
          </p:cNvPr>
          <p:cNvSpPr/>
          <p:nvPr/>
        </p:nvSpPr>
        <p:spPr>
          <a:xfrm rot="8716295">
            <a:off x="410218" y="3834716"/>
            <a:ext cx="103435" cy="219174"/>
          </a:xfrm>
          <a:custGeom>
            <a:avLst/>
            <a:gdLst>
              <a:gd name="connsiteX0" fmla="*/ 103435 w 103435"/>
              <a:gd name="connsiteY0" fmla="*/ 219174 h 219174"/>
              <a:gd name="connsiteX1" fmla="*/ 43288 w 103435"/>
              <a:gd name="connsiteY1" fmla="*/ 161305 h 219174"/>
              <a:gd name="connsiteX2" fmla="*/ 43288 w 103435"/>
              <a:gd name="connsiteY2" fmla="*/ 16404 h 219174"/>
              <a:gd name="connsiteX3" fmla="*/ 0 w 103435"/>
              <a:gd name="connsiteY3" fmla="*/ 16404 h 219174"/>
              <a:gd name="connsiteX4" fmla="*/ 0 w 103435"/>
              <a:gd name="connsiteY4" fmla="*/ 16028 h 219174"/>
              <a:gd name="connsiteX5" fmla="*/ 11583 w 103435"/>
              <a:gd name="connsiteY5" fmla="*/ 2023 h 219174"/>
              <a:gd name="connsiteX6" fmla="*/ 103435 w 103435"/>
              <a:gd name="connsiteY6" fmla="*/ 0 h 2191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3435" h="219174">
                <a:moveTo>
                  <a:pt x="103435" y="219174"/>
                </a:moveTo>
                <a:lnTo>
                  <a:pt x="43288" y="161305"/>
                </a:lnTo>
                <a:lnTo>
                  <a:pt x="43288" y="16404"/>
                </a:lnTo>
                <a:lnTo>
                  <a:pt x="0" y="16404"/>
                </a:lnTo>
                <a:lnTo>
                  <a:pt x="0" y="16028"/>
                </a:lnTo>
                <a:lnTo>
                  <a:pt x="11583" y="2023"/>
                </a:lnTo>
                <a:lnTo>
                  <a:pt x="103435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3" name="Forme libre : forme 62">
            <a:extLst>
              <a:ext uri="{FF2B5EF4-FFF2-40B4-BE49-F238E27FC236}">
                <a16:creationId xmlns:a16="http://schemas.microsoft.com/office/drawing/2014/main" id="{28D4D932-7CCD-4A1C-82BE-BDC6C863C34D}"/>
              </a:ext>
            </a:extLst>
          </p:cNvPr>
          <p:cNvSpPr/>
          <p:nvPr/>
        </p:nvSpPr>
        <p:spPr>
          <a:xfrm rot="8716295">
            <a:off x="487452" y="3349370"/>
            <a:ext cx="151162" cy="195873"/>
          </a:xfrm>
          <a:custGeom>
            <a:avLst/>
            <a:gdLst>
              <a:gd name="connsiteX0" fmla="*/ 38025 w 151162"/>
              <a:gd name="connsiteY0" fmla="*/ 195873 h 195873"/>
              <a:gd name="connsiteX1" fmla="*/ 0 w 151162"/>
              <a:gd name="connsiteY1" fmla="*/ 125130 h 195873"/>
              <a:gd name="connsiteX2" fmla="*/ 103497 w 151162"/>
              <a:gd name="connsiteY2" fmla="*/ 0 h 195873"/>
              <a:gd name="connsiteX3" fmla="*/ 151162 w 151162"/>
              <a:gd name="connsiteY3" fmla="*/ 0 h 195873"/>
              <a:gd name="connsiteX4" fmla="*/ 151162 w 151162"/>
              <a:gd name="connsiteY4" fmla="*/ 55323 h 195873"/>
              <a:gd name="connsiteX5" fmla="*/ 86370 w 151162"/>
              <a:gd name="connsiteY5" fmla="*/ 55323 h 195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1162" h="195873">
                <a:moveTo>
                  <a:pt x="38025" y="195873"/>
                </a:moveTo>
                <a:lnTo>
                  <a:pt x="0" y="125130"/>
                </a:lnTo>
                <a:lnTo>
                  <a:pt x="103497" y="0"/>
                </a:lnTo>
                <a:lnTo>
                  <a:pt x="151162" y="0"/>
                </a:lnTo>
                <a:lnTo>
                  <a:pt x="151162" y="55323"/>
                </a:lnTo>
                <a:lnTo>
                  <a:pt x="86370" y="5532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4" name="Forme libre : forme 63">
            <a:extLst>
              <a:ext uri="{FF2B5EF4-FFF2-40B4-BE49-F238E27FC236}">
                <a16:creationId xmlns:a16="http://schemas.microsoft.com/office/drawing/2014/main" id="{CC6BD8CB-3AAF-4232-9DAB-6067219DB083}"/>
              </a:ext>
            </a:extLst>
          </p:cNvPr>
          <p:cNvSpPr/>
          <p:nvPr/>
        </p:nvSpPr>
        <p:spPr>
          <a:xfrm rot="8716295">
            <a:off x="460900" y="3434471"/>
            <a:ext cx="72447" cy="72447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5" name="Forme libre : forme 64">
            <a:extLst>
              <a:ext uri="{FF2B5EF4-FFF2-40B4-BE49-F238E27FC236}">
                <a16:creationId xmlns:a16="http://schemas.microsoft.com/office/drawing/2014/main" id="{C4402BE5-EFA1-455E-87AA-2CF0F2131AB9}"/>
              </a:ext>
            </a:extLst>
          </p:cNvPr>
          <p:cNvSpPr/>
          <p:nvPr/>
        </p:nvSpPr>
        <p:spPr>
          <a:xfrm rot="8716295">
            <a:off x="417336" y="4258920"/>
            <a:ext cx="147637" cy="195874"/>
          </a:xfrm>
          <a:custGeom>
            <a:avLst/>
            <a:gdLst>
              <a:gd name="connsiteX0" fmla="*/ 34500 w 147637"/>
              <a:gd name="connsiteY0" fmla="*/ 195874 h 195874"/>
              <a:gd name="connsiteX1" fmla="*/ 0 w 147637"/>
              <a:gd name="connsiteY1" fmla="*/ 131688 h 195874"/>
              <a:gd name="connsiteX2" fmla="*/ 108921 w 147637"/>
              <a:gd name="connsiteY2" fmla="*/ 0 h 195874"/>
              <a:gd name="connsiteX3" fmla="*/ 147637 w 147637"/>
              <a:gd name="connsiteY3" fmla="*/ 0 h 195874"/>
              <a:gd name="connsiteX4" fmla="*/ 147637 w 147637"/>
              <a:gd name="connsiteY4" fmla="*/ 55323 h 195874"/>
              <a:gd name="connsiteX5" fmla="*/ 82845 w 147637"/>
              <a:gd name="connsiteY5" fmla="*/ 55323 h 195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7637" h="195874">
                <a:moveTo>
                  <a:pt x="34500" y="195874"/>
                </a:moveTo>
                <a:lnTo>
                  <a:pt x="0" y="131688"/>
                </a:lnTo>
                <a:lnTo>
                  <a:pt x="108921" y="0"/>
                </a:lnTo>
                <a:lnTo>
                  <a:pt x="147637" y="0"/>
                </a:lnTo>
                <a:lnTo>
                  <a:pt x="147637" y="55323"/>
                </a:lnTo>
                <a:lnTo>
                  <a:pt x="82845" y="5532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6" name="Forme libre : forme 65">
            <a:extLst>
              <a:ext uri="{FF2B5EF4-FFF2-40B4-BE49-F238E27FC236}">
                <a16:creationId xmlns:a16="http://schemas.microsoft.com/office/drawing/2014/main" id="{61A670F2-3CC6-425A-A67F-3F30EE51B04A}"/>
              </a:ext>
            </a:extLst>
          </p:cNvPr>
          <p:cNvSpPr/>
          <p:nvPr/>
        </p:nvSpPr>
        <p:spPr>
          <a:xfrm rot="8716295">
            <a:off x="330834" y="4134902"/>
            <a:ext cx="254613" cy="91157"/>
          </a:xfrm>
          <a:custGeom>
            <a:avLst/>
            <a:gdLst>
              <a:gd name="connsiteX0" fmla="*/ 0 w 254613"/>
              <a:gd name="connsiteY0" fmla="*/ 68911 h 91157"/>
              <a:gd name="connsiteX1" fmla="*/ 56997 w 254613"/>
              <a:gd name="connsiteY1" fmla="*/ 0 h 91157"/>
              <a:gd name="connsiteX2" fmla="*/ 57517 w 254613"/>
              <a:gd name="connsiteY2" fmla="*/ 2143 h 91157"/>
              <a:gd name="connsiteX3" fmla="*/ 128118 w 254613"/>
              <a:gd name="connsiteY3" fmla="*/ 40974 h 91157"/>
              <a:gd name="connsiteX4" fmla="*/ 181070 w 254613"/>
              <a:gd name="connsiteY4" fmla="*/ 31560 h 91157"/>
              <a:gd name="connsiteX5" fmla="*/ 253437 w 254613"/>
              <a:gd name="connsiteY5" fmla="*/ 2143 h 91157"/>
              <a:gd name="connsiteX6" fmla="*/ 254613 w 254613"/>
              <a:gd name="connsiteY6" fmla="*/ 9791 h 91157"/>
              <a:gd name="connsiteX7" fmla="*/ 254613 w 254613"/>
              <a:gd name="connsiteY7" fmla="*/ 15674 h 91157"/>
              <a:gd name="connsiteX8" fmla="*/ 61636 w 254613"/>
              <a:gd name="connsiteY8" fmla="*/ 90983 h 91157"/>
              <a:gd name="connsiteX9" fmla="*/ 22363 w 254613"/>
              <a:gd name="connsiteY9" fmla="*/ 84217 h 91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54613" h="91157">
                <a:moveTo>
                  <a:pt x="0" y="68911"/>
                </a:moveTo>
                <a:lnTo>
                  <a:pt x="56997" y="0"/>
                </a:lnTo>
                <a:lnTo>
                  <a:pt x="57517" y="2143"/>
                </a:lnTo>
                <a:cubicBezTo>
                  <a:pt x="66931" y="28030"/>
                  <a:pt x="91053" y="40974"/>
                  <a:pt x="128118" y="40974"/>
                </a:cubicBezTo>
                <a:cubicBezTo>
                  <a:pt x="146357" y="40385"/>
                  <a:pt x="164008" y="36855"/>
                  <a:pt x="181070" y="31560"/>
                </a:cubicBezTo>
                <a:cubicBezTo>
                  <a:pt x="205780" y="23912"/>
                  <a:pt x="229903" y="13910"/>
                  <a:pt x="253437" y="2143"/>
                </a:cubicBezTo>
                <a:cubicBezTo>
                  <a:pt x="254025" y="4496"/>
                  <a:pt x="254613" y="7438"/>
                  <a:pt x="254613" y="9791"/>
                </a:cubicBezTo>
                <a:lnTo>
                  <a:pt x="254613" y="15674"/>
                </a:lnTo>
                <a:cubicBezTo>
                  <a:pt x="192249" y="69215"/>
                  <a:pt x="110468" y="88042"/>
                  <a:pt x="61636" y="90983"/>
                </a:cubicBezTo>
                <a:cubicBezTo>
                  <a:pt x="48104" y="91866"/>
                  <a:pt x="34719" y="89365"/>
                  <a:pt x="22363" y="84217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7" name="Forme libre : forme 66">
            <a:extLst>
              <a:ext uri="{FF2B5EF4-FFF2-40B4-BE49-F238E27FC236}">
                <a16:creationId xmlns:a16="http://schemas.microsoft.com/office/drawing/2014/main" id="{8311F45B-46D1-4E93-B5FB-C96A0B131FB3}"/>
              </a:ext>
            </a:extLst>
          </p:cNvPr>
          <p:cNvSpPr/>
          <p:nvPr/>
        </p:nvSpPr>
        <p:spPr>
          <a:xfrm rot="8716295">
            <a:off x="-3428" y="2405990"/>
            <a:ext cx="142167" cy="208592"/>
          </a:xfrm>
          <a:custGeom>
            <a:avLst/>
            <a:gdLst>
              <a:gd name="connsiteX0" fmla="*/ 81108 w 142167"/>
              <a:gd name="connsiteY0" fmla="*/ 208592 h 208592"/>
              <a:gd name="connsiteX1" fmla="*/ 81108 w 142167"/>
              <a:gd name="connsiteY1" fmla="*/ 69717 h 208592"/>
              <a:gd name="connsiteX2" fmla="*/ 81108 w 142167"/>
              <a:gd name="connsiteY2" fmla="*/ 65615 h 208592"/>
              <a:gd name="connsiteX3" fmla="*/ 60604 w 142167"/>
              <a:gd name="connsiteY3" fmla="*/ 50123 h 208592"/>
              <a:gd name="connsiteX4" fmla="*/ 0 w 142167"/>
              <a:gd name="connsiteY4" fmla="*/ 50123 h 208592"/>
              <a:gd name="connsiteX5" fmla="*/ 0 w 142167"/>
              <a:gd name="connsiteY5" fmla="*/ 0 h 208592"/>
              <a:gd name="connsiteX6" fmla="*/ 85210 w 142167"/>
              <a:gd name="connsiteY6" fmla="*/ 0 h 208592"/>
              <a:gd name="connsiteX7" fmla="*/ 142167 w 142167"/>
              <a:gd name="connsiteY7" fmla="*/ 50123 h 208592"/>
              <a:gd name="connsiteX8" fmla="*/ 142167 w 142167"/>
              <a:gd name="connsiteY8" fmla="*/ 120504 h 208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2167" h="208592">
                <a:moveTo>
                  <a:pt x="81108" y="208592"/>
                </a:moveTo>
                <a:lnTo>
                  <a:pt x="81108" y="69717"/>
                </a:lnTo>
                <a:cubicBezTo>
                  <a:pt x="81108" y="68350"/>
                  <a:pt x="81108" y="66983"/>
                  <a:pt x="81108" y="65615"/>
                </a:cubicBezTo>
                <a:cubicBezTo>
                  <a:pt x="79742" y="55591"/>
                  <a:pt x="70628" y="48756"/>
                  <a:pt x="60604" y="50123"/>
                </a:cubicBezTo>
                <a:lnTo>
                  <a:pt x="0" y="50123"/>
                </a:lnTo>
                <a:lnTo>
                  <a:pt x="0" y="0"/>
                </a:lnTo>
                <a:lnTo>
                  <a:pt x="85210" y="0"/>
                </a:lnTo>
                <a:cubicBezTo>
                  <a:pt x="122118" y="0"/>
                  <a:pt x="142167" y="15948"/>
                  <a:pt x="142167" y="50123"/>
                </a:cubicBezTo>
                <a:lnTo>
                  <a:pt x="142167" y="120504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8" name="Forme libre : forme 67">
            <a:extLst>
              <a:ext uri="{FF2B5EF4-FFF2-40B4-BE49-F238E27FC236}">
                <a16:creationId xmlns:a16="http://schemas.microsoft.com/office/drawing/2014/main" id="{FBB49843-79D6-49E9-8512-3ED8074BAF49}"/>
              </a:ext>
            </a:extLst>
          </p:cNvPr>
          <p:cNvSpPr/>
          <p:nvPr/>
        </p:nvSpPr>
        <p:spPr>
          <a:xfrm rot="8716295">
            <a:off x="80015" y="2413296"/>
            <a:ext cx="259728" cy="250615"/>
          </a:xfrm>
          <a:custGeom>
            <a:avLst/>
            <a:gdLst>
              <a:gd name="connsiteX0" fmla="*/ 544830 w 542925"/>
              <a:gd name="connsiteY0" fmla="*/ 184905 h 523875"/>
              <a:gd name="connsiteX1" fmla="*/ 544830 w 542925"/>
              <a:gd name="connsiteY1" fmla="*/ 197288 h 523875"/>
              <a:gd name="connsiteX2" fmla="*/ 415290 w 542925"/>
              <a:gd name="connsiteY2" fmla="*/ 204908 h 523875"/>
              <a:gd name="connsiteX3" fmla="*/ 415290 w 542925"/>
              <a:gd name="connsiteY3" fmla="*/ 170618 h 523875"/>
              <a:gd name="connsiteX4" fmla="*/ 344805 w 542925"/>
              <a:gd name="connsiteY4" fmla="*/ 83940 h 523875"/>
              <a:gd name="connsiteX5" fmla="*/ 233363 w 542925"/>
              <a:gd name="connsiteY5" fmla="*/ 266820 h 523875"/>
              <a:gd name="connsiteX6" fmla="*/ 233363 w 542925"/>
              <a:gd name="connsiteY6" fmla="*/ 446843 h 523875"/>
              <a:gd name="connsiteX7" fmla="*/ 107632 w 542925"/>
              <a:gd name="connsiteY7" fmla="*/ 532568 h 523875"/>
              <a:gd name="connsiteX8" fmla="*/ 107632 w 542925"/>
              <a:gd name="connsiteY8" fmla="*/ 95370 h 523875"/>
              <a:gd name="connsiteX9" fmla="*/ 0 w 542925"/>
              <a:gd name="connsiteY9" fmla="*/ 95370 h 523875"/>
              <a:gd name="connsiteX10" fmla="*/ 0 w 542925"/>
              <a:gd name="connsiteY10" fmla="*/ 2978 h 523875"/>
              <a:gd name="connsiteX11" fmla="*/ 219075 w 542925"/>
              <a:gd name="connsiteY11" fmla="*/ 2978 h 523875"/>
              <a:gd name="connsiteX12" fmla="*/ 219075 w 542925"/>
              <a:gd name="connsiteY12" fmla="*/ 157283 h 523875"/>
              <a:gd name="connsiteX13" fmla="*/ 221932 w 542925"/>
              <a:gd name="connsiteY13" fmla="*/ 157283 h 523875"/>
              <a:gd name="connsiteX14" fmla="*/ 321945 w 542925"/>
              <a:gd name="connsiteY14" fmla="*/ 12503 h 523875"/>
              <a:gd name="connsiteX15" fmla="*/ 387667 w 542925"/>
              <a:gd name="connsiteY15" fmla="*/ 120 h 523875"/>
              <a:gd name="connsiteX16" fmla="*/ 544830 w 542925"/>
              <a:gd name="connsiteY16" fmla="*/ 18490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42925" h="523875">
                <a:moveTo>
                  <a:pt x="544830" y="184905"/>
                </a:moveTo>
                <a:lnTo>
                  <a:pt x="544830" y="197288"/>
                </a:lnTo>
                <a:lnTo>
                  <a:pt x="415290" y="204908"/>
                </a:lnTo>
                <a:lnTo>
                  <a:pt x="415290" y="170618"/>
                </a:lnTo>
                <a:cubicBezTo>
                  <a:pt x="415290" y="119183"/>
                  <a:pt x="385763" y="83940"/>
                  <a:pt x="344805" y="83940"/>
                </a:cubicBezTo>
                <a:cubicBezTo>
                  <a:pt x="283845" y="83940"/>
                  <a:pt x="233363" y="164903"/>
                  <a:pt x="233363" y="266820"/>
                </a:cubicBezTo>
                <a:lnTo>
                  <a:pt x="233363" y="446843"/>
                </a:lnTo>
                <a:lnTo>
                  <a:pt x="107632" y="532568"/>
                </a:lnTo>
                <a:lnTo>
                  <a:pt x="107632" y="95370"/>
                </a:lnTo>
                <a:lnTo>
                  <a:pt x="0" y="95370"/>
                </a:lnTo>
                <a:lnTo>
                  <a:pt x="0" y="2978"/>
                </a:lnTo>
                <a:lnTo>
                  <a:pt x="219075" y="2978"/>
                </a:lnTo>
                <a:lnTo>
                  <a:pt x="219075" y="157283"/>
                </a:lnTo>
                <a:lnTo>
                  <a:pt x="221932" y="157283"/>
                </a:lnTo>
                <a:cubicBezTo>
                  <a:pt x="252413" y="66795"/>
                  <a:pt x="276225" y="31553"/>
                  <a:pt x="321945" y="12503"/>
                </a:cubicBezTo>
                <a:cubicBezTo>
                  <a:pt x="342900" y="3930"/>
                  <a:pt x="364807" y="-832"/>
                  <a:pt x="387667" y="120"/>
                </a:cubicBezTo>
                <a:cubicBezTo>
                  <a:pt x="485775" y="-1785"/>
                  <a:pt x="544830" y="66795"/>
                  <a:pt x="544830" y="18490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9" name="Forme libre : forme 68">
            <a:extLst>
              <a:ext uri="{FF2B5EF4-FFF2-40B4-BE49-F238E27FC236}">
                <a16:creationId xmlns:a16="http://schemas.microsoft.com/office/drawing/2014/main" id="{2588E0D5-81C5-4973-87D7-DBF7607FAFF4}"/>
              </a:ext>
            </a:extLst>
          </p:cNvPr>
          <p:cNvSpPr/>
          <p:nvPr/>
        </p:nvSpPr>
        <p:spPr>
          <a:xfrm rot="8716295">
            <a:off x="35165" y="2327016"/>
            <a:ext cx="186822" cy="136699"/>
          </a:xfrm>
          <a:custGeom>
            <a:avLst/>
            <a:gdLst>
              <a:gd name="connsiteX0" fmla="*/ 343853 w 390525"/>
              <a:gd name="connsiteY0" fmla="*/ 144780 h 285750"/>
              <a:gd name="connsiteX1" fmla="*/ 344805 w 390525"/>
              <a:gd name="connsiteY1" fmla="*/ 144780 h 285750"/>
              <a:gd name="connsiteX2" fmla="*/ 12382 w 390525"/>
              <a:gd name="connsiteY2" fmla="*/ 288608 h 285750"/>
              <a:gd name="connsiteX3" fmla="*/ 0 w 390525"/>
              <a:gd name="connsiteY3" fmla="*/ 271463 h 285750"/>
              <a:gd name="connsiteX4" fmla="*/ 225743 w 390525"/>
              <a:gd name="connsiteY4" fmla="*/ 59055 h 285750"/>
              <a:gd name="connsiteX5" fmla="*/ 340043 w 390525"/>
              <a:gd name="connsiteY5" fmla="*/ 0 h 285750"/>
              <a:gd name="connsiteX6" fmla="*/ 399098 w 390525"/>
              <a:gd name="connsiteY6" fmla="*/ 70485 h 285750"/>
              <a:gd name="connsiteX7" fmla="*/ 343853 w 390525"/>
              <a:gd name="connsiteY7" fmla="*/ 14478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0525" h="285750">
                <a:moveTo>
                  <a:pt x="343853" y="144780"/>
                </a:moveTo>
                <a:lnTo>
                  <a:pt x="344805" y="144780"/>
                </a:lnTo>
                <a:lnTo>
                  <a:pt x="12382" y="288608"/>
                </a:lnTo>
                <a:lnTo>
                  <a:pt x="0" y="271463"/>
                </a:lnTo>
                <a:lnTo>
                  <a:pt x="225743" y="59055"/>
                </a:lnTo>
                <a:cubicBezTo>
                  <a:pt x="254318" y="25718"/>
                  <a:pt x="295275" y="4763"/>
                  <a:pt x="340043" y="0"/>
                </a:cubicBezTo>
                <a:cubicBezTo>
                  <a:pt x="385763" y="0"/>
                  <a:pt x="399098" y="40005"/>
                  <a:pt x="399098" y="70485"/>
                </a:cubicBezTo>
                <a:cubicBezTo>
                  <a:pt x="396240" y="103823"/>
                  <a:pt x="374332" y="131445"/>
                  <a:pt x="343853" y="14478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0" name="Forme libre : forme 69">
            <a:extLst>
              <a:ext uri="{FF2B5EF4-FFF2-40B4-BE49-F238E27FC236}">
                <a16:creationId xmlns:a16="http://schemas.microsoft.com/office/drawing/2014/main" id="{4C19B60F-0DA9-4BC3-BAAD-2E7DE57F5376}"/>
              </a:ext>
            </a:extLst>
          </p:cNvPr>
          <p:cNvSpPr/>
          <p:nvPr/>
        </p:nvSpPr>
        <p:spPr>
          <a:xfrm rot="8716295">
            <a:off x="-20257" y="2217087"/>
            <a:ext cx="78731" cy="180665"/>
          </a:xfrm>
          <a:custGeom>
            <a:avLst/>
            <a:gdLst>
              <a:gd name="connsiteX0" fmla="*/ 0 w 78731"/>
              <a:gd name="connsiteY0" fmla="*/ 180665 h 180665"/>
              <a:gd name="connsiteX1" fmla="*/ 0 w 78731"/>
              <a:gd name="connsiteY1" fmla="*/ 40596 h 180665"/>
              <a:gd name="connsiteX2" fmla="*/ 78250 w 78731"/>
              <a:gd name="connsiteY2" fmla="*/ 0 h 180665"/>
              <a:gd name="connsiteX3" fmla="*/ 78731 w 78731"/>
              <a:gd name="connsiteY3" fmla="*/ 67083 h 180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8731" h="180665">
                <a:moveTo>
                  <a:pt x="0" y="180665"/>
                </a:moveTo>
                <a:lnTo>
                  <a:pt x="0" y="40596"/>
                </a:lnTo>
                <a:lnTo>
                  <a:pt x="78250" y="0"/>
                </a:lnTo>
                <a:lnTo>
                  <a:pt x="78731" y="6708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1" name="Forme libre : forme 70">
            <a:extLst>
              <a:ext uri="{FF2B5EF4-FFF2-40B4-BE49-F238E27FC236}">
                <a16:creationId xmlns:a16="http://schemas.microsoft.com/office/drawing/2014/main" id="{6EC16758-5536-44AA-B18E-D5428BFF36DA}"/>
              </a:ext>
            </a:extLst>
          </p:cNvPr>
          <p:cNvSpPr/>
          <p:nvPr/>
        </p:nvSpPr>
        <p:spPr>
          <a:xfrm rot="8716295">
            <a:off x="-15341" y="2575209"/>
            <a:ext cx="103435" cy="152027"/>
          </a:xfrm>
          <a:custGeom>
            <a:avLst/>
            <a:gdLst>
              <a:gd name="connsiteX0" fmla="*/ 43288 w 103435"/>
              <a:gd name="connsiteY0" fmla="*/ 152027 h 152027"/>
              <a:gd name="connsiteX1" fmla="*/ 43288 w 103435"/>
              <a:gd name="connsiteY1" fmla="*/ 16404 h 152027"/>
              <a:gd name="connsiteX2" fmla="*/ 0 w 103435"/>
              <a:gd name="connsiteY2" fmla="*/ 16404 h 152027"/>
              <a:gd name="connsiteX3" fmla="*/ 0 w 103435"/>
              <a:gd name="connsiteY3" fmla="*/ 2278 h 152027"/>
              <a:gd name="connsiteX4" fmla="*/ 103435 w 103435"/>
              <a:gd name="connsiteY4" fmla="*/ 0 h 152027"/>
              <a:gd name="connsiteX5" fmla="*/ 103435 w 103435"/>
              <a:gd name="connsiteY5" fmla="*/ 65255 h 152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3435" h="152027">
                <a:moveTo>
                  <a:pt x="43288" y="152027"/>
                </a:moveTo>
                <a:lnTo>
                  <a:pt x="43288" y="16404"/>
                </a:lnTo>
                <a:lnTo>
                  <a:pt x="0" y="16404"/>
                </a:lnTo>
                <a:lnTo>
                  <a:pt x="0" y="2278"/>
                </a:lnTo>
                <a:cubicBezTo>
                  <a:pt x="32808" y="3645"/>
                  <a:pt x="66982" y="911"/>
                  <a:pt x="103435" y="0"/>
                </a:cubicBezTo>
                <a:lnTo>
                  <a:pt x="103435" y="65255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2" name="Forme libre : forme 71">
            <a:extLst>
              <a:ext uri="{FF2B5EF4-FFF2-40B4-BE49-F238E27FC236}">
                <a16:creationId xmlns:a16="http://schemas.microsoft.com/office/drawing/2014/main" id="{F8CD2FD6-8E29-4A7B-A6E7-A08269AC0224}"/>
              </a:ext>
            </a:extLst>
          </p:cNvPr>
          <p:cNvSpPr/>
          <p:nvPr/>
        </p:nvSpPr>
        <p:spPr>
          <a:xfrm rot="8716295">
            <a:off x="279722" y="2133902"/>
            <a:ext cx="141256" cy="232388"/>
          </a:xfrm>
          <a:custGeom>
            <a:avLst/>
            <a:gdLst>
              <a:gd name="connsiteX0" fmla="*/ 297180 w 295275"/>
              <a:gd name="connsiteY0" fmla="*/ 104775 h 485775"/>
              <a:gd name="connsiteX1" fmla="*/ 297180 w 295275"/>
              <a:gd name="connsiteY1" fmla="*/ 435293 h 485775"/>
              <a:gd name="connsiteX2" fmla="*/ 169545 w 295275"/>
              <a:gd name="connsiteY2" fmla="*/ 485775 h 485775"/>
              <a:gd name="connsiteX3" fmla="*/ 169545 w 295275"/>
              <a:gd name="connsiteY3" fmla="*/ 145733 h 485775"/>
              <a:gd name="connsiteX4" fmla="*/ 169545 w 295275"/>
              <a:gd name="connsiteY4" fmla="*/ 137160 h 485775"/>
              <a:gd name="connsiteX5" fmla="*/ 126683 w 295275"/>
              <a:gd name="connsiteY5" fmla="*/ 104775 h 485775"/>
              <a:gd name="connsiteX6" fmla="*/ 0 w 295275"/>
              <a:gd name="connsiteY6" fmla="*/ 104775 h 485775"/>
              <a:gd name="connsiteX7" fmla="*/ 0 w 295275"/>
              <a:gd name="connsiteY7" fmla="*/ 0 h 485775"/>
              <a:gd name="connsiteX8" fmla="*/ 178118 w 295275"/>
              <a:gd name="connsiteY8" fmla="*/ 0 h 485775"/>
              <a:gd name="connsiteX9" fmla="*/ 297180 w 295275"/>
              <a:gd name="connsiteY9" fmla="*/ 104775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95275" h="485775">
                <a:moveTo>
                  <a:pt x="297180" y="104775"/>
                </a:moveTo>
                <a:lnTo>
                  <a:pt x="297180" y="435293"/>
                </a:lnTo>
                <a:lnTo>
                  <a:pt x="169545" y="485775"/>
                </a:lnTo>
                <a:lnTo>
                  <a:pt x="169545" y="145733"/>
                </a:lnTo>
                <a:cubicBezTo>
                  <a:pt x="169545" y="142875"/>
                  <a:pt x="169545" y="140018"/>
                  <a:pt x="169545" y="137160"/>
                </a:cubicBezTo>
                <a:cubicBezTo>
                  <a:pt x="166688" y="116205"/>
                  <a:pt x="147638" y="101918"/>
                  <a:pt x="126683" y="104775"/>
                </a:cubicBezTo>
                <a:lnTo>
                  <a:pt x="0" y="104775"/>
                </a:lnTo>
                <a:lnTo>
                  <a:pt x="0" y="0"/>
                </a:lnTo>
                <a:lnTo>
                  <a:pt x="178118" y="0"/>
                </a:lnTo>
                <a:cubicBezTo>
                  <a:pt x="255270" y="0"/>
                  <a:pt x="297180" y="33338"/>
                  <a:pt x="297180" y="10477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3" name="Forme libre : forme 72">
            <a:extLst>
              <a:ext uri="{FF2B5EF4-FFF2-40B4-BE49-F238E27FC236}">
                <a16:creationId xmlns:a16="http://schemas.microsoft.com/office/drawing/2014/main" id="{B8E4BE1C-C619-4E1A-8472-B00AFC43BA29}"/>
              </a:ext>
            </a:extLst>
          </p:cNvPr>
          <p:cNvSpPr/>
          <p:nvPr/>
        </p:nvSpPr>
        <p:spPr>
          <a:xfrm rot="8716295">
            <a:off x="369114" y="2163144"/>
            <a:ext cx="259728" cy="250615"/>
          </a:xfrm>
          <a:custGeom>
            <a:avLst/>
            <a:gdLst>
              <a:gd name="connsiteX0" fmla="*/ 544830 w 542925"/>
              <a:gd name="connsiteY0" fmla="*/ 184905 h 523875"/>
              <a:gd name="connsiteX1" fmla="*/ 544830 w 542925"/>
              <a:gd name="connsiteY1" fmla="*/ 197288 h 523875"/>
              <a:gd name="connsiteX2" fmla="*/ 415290 w 542925"/>
              <a:gd name="connsiteY2" fmla="*/ 204908 h 523875"/>
              <a:gd name="connsiteX3" fmla="*/ 415290 w 542925"/>
              <a:gd name="connsiteY3" fmla="*/ 170618 h 523875"/>
              <a:gd name="connsiteX4" fmla="*/ 344805 w 542925"/>
              <a:gd name="connsiteY4" fmla="*/ 83940 h 523875"/>
              <a:gd name="connsiteX5" fmla="*/ 233363 w 542925"/>
              <a:gd name="connsiteY5" fmla="*/ 266820 h 523875"/>
              <a:gd name="connsiteX6" fmla="*/ 233363 w 542925"/>
              <a:gd name="connsiteY6" fmla="*/ 446843 h 523875"/>
              <a:gd name="connsiteX7" fmla="*/ 107632 w 542925"/>
              <a:gd name="connsiteY7" fmla="*/ 532568 h 523875"/>
              <a:gd name="connsiteX8" fmla="*/ 107632 w 542925"/>
              <a:gd name="connsiteY8" fmla="*/ 95370 h 523875"/>
              <a:gd name="connsiteX9" fmla="*/ 0 w 542925"/>
              <a:gd name="connsiteY9" fmla="*/ 95370 h 523875"/>
              <a:gd name="connsiteX10" fmla="*/ 0 w 542925"/>
              <a:gd name="connsiteY10" fmla="*/ 2978 h 523875"/>
              <a:gd name="connsiteX11" fmla="*/ 219075 w 542925"/>
              <a:gd name="connsiteY11" fmla="*/ 2978 h 523875"/>
              <a:gd name="connsiteX12" fmla="*/ 219075 w 542925"/>
              <a:gd name="connsiteY12" fmla="*/ 157283 h 523875"/>
              <a:gd name="connsiteX13" fmla="*/ 221932 w 542925"/>
              <a:gd name="connsiteY13" fmla="*/ 157283 h 523875"/>
              <a:gd name="connsiteX14" fmla="*/ 321945 w 542925"/>
              <a:gd name="connsiteY14" fmla="*/ 12503 h 523875"/>
              <a:gd name="connsiteX15" fmla="*/ 387667 w 542925"/>
              <a:gd name="connsiteY15" fmla="*/ 120 h 523875"/>
              <a:gd name="connsiteX16" fmla="*/ 544830 w 542925"/>
              <a:gd name="connsiteY16" fmla="*/ 18490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42925" h="523875">
                <a:moveTo>
                  <a:pt x="544830" y="184905"/>
                </a:moveTo>
                <a:lnTo>
                  <a:pt x="544830" y="197288"/>
                </a:lnTo>
                <a:lnTo>
                  <a:pt x="415290" y="204908"/>
                </a:lnTo>
                <a:lnTo>
                  <a:pt x="415290" y="170618"/>
                </a:lnTo>
                <a:cubicBezTo>
                  <a:pt x="415290" y="119183"/>
                  <a:pt x="385763" y="83940"/>
                  <a:pt x="344805" y="83940"/>
                </a:cubicBezTo>
                <a:cubicBezTo>
                  <a:pt x="283845" y="83940"/>
                  <a:pt x="233363" y="164903"/>
                  <a:pt x="233363" y="266820"/>
                </a:cubicBezTo>
                <a:lnTo>
                  <a:pt x="233363" y="446843"/>
                </a:lnTo>
                <a:lnTo>
                  <a:pt x="107632" y="532568"/>
                </a:lnTo>
                <a:lnTo>
                  <a:pt x="107632" y="95370"/>
                </a:lnTo>
                <a:lnTo>
                  <a:pt x="0" y="95370"/>
                </a:lnTo>
                <a:lnTo>
                  <a:pt x="0" y="2978"/>
                </a:lnTo>
                <a:lnTo>
                  <a:pt x="219075" y="2978"/>
                </a:lnTo>
                <a:lnTo>
                  <a:pt x="219075" y="157283"/>
                </a:lnTo>
                <a:lnTo>
                  <a:pt x="221932" y="157283"/>
                </a:lnTo>
                <a:cubicBezTo>
                  <a:pt x="252413" y="66795"/>
                  <a:pt x="276225" y="31553"/>
                  <a:pt x="321945" y="12503"/>
                </a:cubicBezTo>
                <a:cubicBezTo>
                  <a:pt x="342900" y="3930"/>
                  <a:pt x="364807" y="-832"/>
                  <a:pt x="387667" y="120"/>
                </a:cubicBezTo>
                <a:cubicBezTo>
                  <a:pt x="485775" y="-1785"/>
                  <a:pt x="544830" y="66795"/>
                  <a:pt x="544830" y="18490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4" name="Forme libre : forme 73">
            <a:extLst>
              <a:ext uri="{FF2B5EF4-FFF2-40B4-BE49-F238E27FC236}">
                <a16:creationId xmlns:a16="http://schemas.microsoft.com/office/drawing/2014/main" id="{E00D5309-AD7C-43C7-8A0B-B7211B97E879}"/>
              </a:ext>
            </a:extLst>
          </p:cNvPr>
          <p:cNvSpPr/>
          <p:nvPr/>
        </p:nvSpPr>
        <p:spPr>
          <a:xfrm rot="8716295">
            <a:off x="167488" y="2222446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5" name="Forme libre : forme 74">
            <a:extLst>
              <a:ext uri="{FF2B5EF4-FFF2-40B4-BE49-F238E27FC236}">
                <a16:creationId xmlns:a16="http://schemas.microsoft.com/office/drawing/2014/main" id="{569B59A1-12B4-4886-9F85-B0AFCE236D87}"/>
              </a:ext>
            </a:extLst>
          </p:cNvPr>
          <p:cNvSpPr/>
          <p:nvPr/>
        </p:nvSpPr>
        <p:spPr>
          <a:xfrm rot="8716295">
            <a:off x="42586" y="2013773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6" name="Forme libre : forme 75">
            <a:extLst>
              <a:ext uri="{FF2B5EF4-FFF2-40B4-BE49-F238E27FC236}">
                <a16:creationId xmlns:a16="http://schemas.microsoft.com/office/drawing/2014/main" id="{F564295A-16CC-45A5-86A1-4CEC6CD90425}"/>
              </a:ext>
            </a:extLst>
          </p:cNvPr>
          <p:cNvSpPr/>
          <p:nvPr/>
        </p:nvSpPr>
        <p:spPr>
          <a:xfrm rot="8716295">
            <a:off x="257666" y="2263398"/>
            <a:ext cx="100246" cy="218719"/>
          </a:xfrm>
          <a:custGeom>
            <a:avLst/>
            <a:gdLst>
              <a:gd name="connsiteX0" fmla="*/ 216217 w 209550"/>
              <a:gd name="connsiteY0" fmla="*/ 0 h 457200"/>
              <a:gd name="connsiteX1" fmla="*/ 216217 w 209550"/>
              <a:gd name="connsiteY1" fmla="*/ 458153 h 457200"/>
              <a:gd name="connsiteX2" fmla="*/ 90488 w 209550"/>
              <a:gd name="connsiteY2" fmla="*/ 337185 h 457200"/>
              <a:gd name="connsiteX3" fmla="*/ 90488 w 209550"/>
              <a:gd name="connsiteY3" fmla="*/ 34290 h 457200"/>
              <a:gd name="connsiteX4" fmla="*/ 0 w 209550"/>
              <a:gd name="connsiteY4" fmla="*/ 34290 h 457200"/>
              <a:gd name="connsiteX5" fmla="*/ 0 w 209550"/>
              <a:gd name="connsiteY5" fmla="*/ 4763 h 457200"/>
              <a:gd name="connsiteX6" fmla="*/ 216217 w 209550"/>
              <a:gd name="connsiteY6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9550" h="457200">
                <a:moveTo>
                  <a:pt x="216217" y="0"/>
                </a:moveTo>
                <a:lnTo>
                  <a:pt x="216217" y="458153"/>
                </a:lnTo>
                <a:lnTo>
                  <a:pt x="90488" y="337185"/>
                </a:lnTo>
                <a:lnTo>
                  <a:pt x="90488" y="34290"/>
                </a:lnTo>
                <a:lnTo>
                  <a:pt x="0" y="34290"/>
                </a:lnTo>
                <a:lnTo>
                  <a:pt x="0" y="4763"/>
                </a:lnTo>
                <a:cubicBezTo>
                  <a:pt x="68580" y="7620"/>
                  <a:pt x="140017" y="1905"/>
                  <a:pt x="216217" y="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7" name="Forme libre : forme 76">
            <a:extLst>
              <a:ext uri="{FF2B5EF4-FFF2-40B4-BE49-F238E27FC236}">
                <a16:creationId xmlns:a16="http://schemas.microsoft.com/office/drawing/2014/main" id="{2384700C-00D8-4B4D-ABDF-BE0456A14505}"/>
              </a:ext>
            </a:extLst>
          </p:cNvPr>
          <p:cNvSpPr/>
          <p:nvPr/>
        </p:nvSpPr>
        <p:spPr>
          <a:xfrm rot="8716295">
            <a:off x="16215" y="2113798"/>
            <a:ext cx="72447" cy="72447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8" name="Forme libre : forme 77">
            <a:extLst>
              <a:ext uri="{FF2B5EF4-FFF2-40B4-BE49-F238E27FC236}">
                <a16:creationId xmlns:a16="http://schemas.microsoft.com/office/drawing/2014/main" id="{D8BA4606-ED26-402C-93D7-D77E55C056EF}"/>
              </a:ext>
            </a:extLst>
          </p:cNvPr>
          <p:cNvSpPr/>
          <p:nvPr/>
        </p:nvSpPr>
        <p:spPr>
          <a:xfrm rot="7484129">
            <a:off x="362597" y="2454749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9" name="Forme libre : forme 78">
            <a:extLst>
              <a:ext uri="{FF2B5EF4-FFF2-40B4-BE49-F238E27FC236}">
                <a16:creationId xmlns:a16="http://schemas.microsoft.com/office/drawing/2014/main" id="{3CCE9711-ABFF-417D-B3E6-0BDB1263FCD1}"/>
              </a:ext>
            </a:extLst>
          </p:cNvPr>
          <p:cNvSpPr/>
          <p:nvPr/>
        </p:nvSpPr>
        <p:spPr>
          <a:xfrm rot="13089394">
            <a:off x="463440" y="2426400"/>
            <a:ext cx="272584" cy="319064"/>
          </a:xfrm>
          <a:custGeom>
            <a:avLst/>
            <a:gdLst>
              <a:gd name="connsiteX0" fmla="*/ 80445 w 272584"/>
              <a:gd name="connsiteY0" fmla="*/ 215518 h 319064"/>
              <a:gd name="connsiteX1" fmla="*/ 0 w 272584"/>
              <a:gd name="connsiteY1" fmla="*/ 93007 h 319064"/>
              <a:gd name="connsiteX2" fmla="*/ 0 w 272584"/>
              <a:gd name="connsiteY2" fmla="*/ 38074 h 319064"/>
              <a:gd name="connsiteX3" fmla="*/ 73388 w 272584"/>
              <a:gd name="connsiteY3" fmla="*/ 0 h 319064"/>
              <a:gd name="connsiteX4" fmla="*/ 74492 w 272584"/>
              <a:gd name="connsiteY4" fmla="*/ 153950 h 319064"/>
              <a:gd name="connsiteX5" fmla="*/ 76768 w 272584"/>
              <a:gd name="connsiteY5" fmla="*/ 200369 h 319064"/>
              <a:gd name="connsiteX6" fmla="*/ 272584 w 272584"/>
              <a:gd name="connsiteY6" fmla="*/ 258238 h 319064"/>
              <a:gd name="connsiteX7" fmla="*/ 177331 w 272584"/>
              <a:gd name="connsiteY7" fmla="*/ 311347 h 319064"/>
              <a:gd name="connsiteX8" fmla="*/ 148437 w 272584"/>
              <a:gd name="connsiteY8" fmla="*/ 319064 h 319064"/>
              <a:gd name="connsiteX9" fmla="*/ 119231 w 272584"/>
              <a:gd name="connsiteY9" fmla="*/ 274585 h 319064"/>
              <a:gd name="connsiteX10" fmla="*/ 153949 w 272584"/>
              <a:gd name="connsiteY10" fmla="*/ 281965 h 319064"/>
              <a:gd name="connsiteX11" fmla="*/ 203610 w 272584"/>
              <a:gd name="connsiteY11" fmla="*/ 273136 h 319064"/>
              <a:gd name="connsiteX12" fmla="*/ 271481 w 272584"/>
              <a:gd name="connsiteY12" fmla="*/ 245547 h 319064"/>
              <a:gd name="connsiteX13" fmla="*/ 272584 w 272584"/>
              <a:gd name="connsiteY13" fmla="*/ 252720 h 319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72584" h="319064">
                <a:moveTo>
                  <a:pt x="80445" y="215518"/>
                </a:moveTo>
                <a:lnTo>
                  <a:pt x="0" y="93007"/>
                </a:lnTo>
                <a:lnTo>
                  <a:pt x="0" y="38074"/>
                </a:lnTo>
                <a:lnTo>
                  <a:pt x="73388" y="0"/>
                </a:lnTo>
                <a:lnTo>
                  <a:pt x="74492" y="153950"/>
                </a:lnTo>
                <a:cubicBezTo>
                  <a:pt x="73664" y="169400"/>
                  <a:pt x="74492" y="184988"/>
                  <a:pt x="76768" y="200369"/>
                </a:cubicBezTo>
                <a:close/>
                <a:moveTo>
                  <a:pt x="272584" y="258238"/>
                </a:moveTo>
                <a:cubicBezTo>
                  <a:pt x="243339" y="283344"/>
                  <a:pt x="209542" y="300312"/>
                  <a:pt x="177331" y="311347"/>
                </a:cubicBezTo>
                <a:lnTo>
                  <a:pt x="148437" y="319064"/>
                </a:lnTo>
                <a:lnTo>
                  <a:pt x="119231" y="274585"/>
                </a:lnTo>
                <a:lnTo>
                  <a:pt x="153949" y="281965"/>
                </a:lnTo>
                <a:cubicBezTo>
                  <a:pt x="171055" y="281413"/>
                  <a:pt x="187609" y="278102"/>
                  <a:pt x="203610" y="273136"/>
                </a:cubicBezTo>
                <a:cubicBezTo>
                  <a:pt x="226785" y="265963"/>
                  <a:pt x="249409" y="256583"/>
                  <a:pt x="271481" y="245547"/>
                </a:cubicBezTo>
                <a:cubicBezTo>
                  <a:pt x="272032" y="247754"/>
                  <a:pt x="272584" y="250513"/>
                  <a:pt x="272584" y="25272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0" name="Forme libre : forme 79">
            <a:extLst>
              <a:ext uri="{FF2B5EF4-FFF2-40B4-BE49-F238E27FC236}">
                <a16:creationId xmlns:a16="http://schemas.microsoft.com/office/drawing/2014/main" id="{6E12610B-6A34-4C00-8EC5-09F9F5AEEEF0}"/>
              </a:ext>
            </a:extLst>
          </p:cNvPr>
          <p:cNvSpPr/>
          <p:nvPr/>
        </p:nvSpPr>
        <p:spPr>
          <a:xfrm rot="8716295">
            <a:off x="675867" y="2357327"/>
            <a:ext cx="38012" cy="45752"/>
          </a:xfrm>
          <a:custGeom>
            <a:avLst/>
            <a:gdLst>
              <a:gd name="connsiteX0" fmla="*/ 0 w 38012"/>
              <a:gd name="connsiteY0" fmla="*/ 45752 h 45752"/>
              <a:gd name="connsiteX1" fmla="*/ 37842 w 38012"/>
              <a:gd name="connsiteY1" fmla="*/ 0 h 45752"/>
              <a:gd name="connsiteX2" fmla="*/ 38012 w 38012"/>
              <a:gd name="connsiteY2" fmla="*/ 641 h 45752"/>
              <a:gd name="connsiteX3" fmla="*/ 6841 w 38012"/>
              <a:gd name="connsiteY3" fmla="*/ 42560 h 45752"/>
              <a:gd name="connsiteX4" fmla="*/ 7378 w 38012"/>
              <a:gd name="connsiteY4" fmla="*/ 42560 h 45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012" h="45752">
                <a:moveTo>
                  <a:pt x="0" y="45752"/>
                </a:moveTo>
                <a:lnTo>
                  <a:pt x="37842" y="0"/>
                </a:lnTo>
                <a:lnTo>
                  <a:pt x="38012" y="641"/>
                </a:lnTo>
                <a:cubicBezTo>
                  <a:pt x="36400" y="19451"/>
                  <a:pt x="24039" y="35036"/>
                  <a:pt x="6841" y="42560"/>
                </a:cubicBezTo>
                <a:lnTo>
                  <a:pt x="7378" y="4256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1" name="Forme libre : forme 80">
            <a:extLst>
              <a:ext uri="{FF2B5EF4-FFF2-40B4-BE49-F238E27FC236}">
                <a16:creationId xmlns:a16="http://schemas.microsoft.com/office/drawing/2014/main" id="{04C60C27-7F84-4DDC-864F-602B18A26BC5}"/>
              </a:ext>
            </a:extLst>
          </p:cNvPr>
          <p:cNvSpPr/>
          <p:nvPr/>
        </p:nvSpPr>
        <p:spPr>
          <a:xfrm rot="8716295">
            <a:off x="601197" y="2126009"/>
            <a:ext cx="110380" cy="1103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2" name="Forme libre : forme 81">
            <a:extLst>
              <a:ext uri="{FF2B5EF4-FFF2-40B4-BE49-F238E27FC236}">
                <a16:creationId xmlns:a16="http://schemas.microsoft.com/office/drawing/2014/main" id="{603BCEF5-66FB-4B3A-9672-2C4F09A114FA}"/>
              </a:ext>
            </a:extLst>
          </p:cNvPr>
          <p:cNvSpPr/>
          <p:nvPr/>
        </p:nvSpPr>
        <p:spPr>
          <a:xfrm rot="8716295">
            <a:off x="357951" y="2156230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3" name="Forme libre : forme 82">
            <a:extLst>
              <a:ext uri="{FF2B5EF4-FFF2-40B4-BE49-F238E27FC236}">
                <a16:creationId xmlns:a16="http://schemas.microsoft.com/office/drawing/2014/main" id="{47C10671-5456-47FF-825A-4447688D4139}"/>
              </a:ext>
            </a:extLst>
          </p:cNvPr>
          <p:cNvSpPr/>
          <p:nvPr/>
        </p:nvSpPr>
        <p:spPr>
          <a:xfrm rot="8716295">
            <a:off x="535403" y="1996988"/>
            <a:ext cx="110380" cy="1103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4" name="Forme libre : forme 83">
            <a:extLst>
              <a:ext uri="{FF2B5EF4-FFF2-40B4-BE49-F238E27FC236}">
                <a16:creationId xmlns:a16="http://schemas.microsoft.com/office/drawing/2014/main" id="{DB34C374-02D3-4583-9890-9C27CA821837}"/>
              </a:ext>
            </a:extLst>
          </p:cNvPr>
          <p:cNvSpPr/>
          <p:nvPr/>
        </p:nvSpPr>
        <p:spPr>
          <a:xfrm rot="8716295">
            <a:off x="-76043" y="1768178"/>
            <a:ext cx="197178" cy="215049"/>
          </a:xfrm>
          <a:custGeom>
            <a:avLst/>
            <a:gdLst>
              <a:gd name="connsiteX0" fmla="*/ 51490 w 197178"/>
              <a:gd name="connsiteY0" fmla="*/ 215049 h 215049"/>
              <a:gd name="connsiteX1" fmla="*/ 51490 w 197178"/>
              <a:gd name="connsiteY1" fmla="*/ 45624 h 215049"/>
              <a:gd name="connsiteX2" fmla="*/ 0 w 197178"/>
              <a:gd name="connsiteY2" fmla="*/ 45624 h 215049"/>
              <a:gd name="connsiteX3" fmla="*/ 0 w 197178"/>
              <a:gd name="connsiteY3" fmla="*/ 1424 h 215049"/>
              <a:gd name="connsiteX4" fmla="*/ 104803 w 197178"/>
              <a:gd name="connsiteY4" fmla="*/ 1425 h 215049"/>
              <a:gd name="connsiteX5" fmla="*/ 104803 w 197178"/>
              <a:gd name="connsiteY5" fmla="*/ 75242 h 215049"/>
              <a:gd name="connsiteX6" fmla="*/ 106169 w 197178"/>
              <a:gd name="connsiteY6" fmla="*/ 75242 h 215049"/>
              <a:gd name="connsiteX7" fmla="*/ 154014 w 197178"/>
              <a:gd name="connsiteY7" fmla="*/ 5981 h 215049"/>
              <a:gd name="connsiteX8" fmla="*/ 185455 w 197178"/>
              <a:gd name="connsiteY8" fmla="*/ 57 h 215049"/>
              <a:gd name="connsiteX9" fmla="*/ 197178 w 197178"/>
              <a:gd name="connsiteY9" fmla="*/ 4872 h 215049"/>
              <a:gd name="connsiteX10" fmla="*/ 170795 w 197178"/>
              <a:gd name="connsiteY10" fmla="*/ 42934 h 215049"/>
              <a:gd name="connsiteX11" fmla="*/ 164950 w 197178"/>
              <a:gd name="connsiteY11" fmla="*/ 40156 h 215049"/>
              <a:gd name="connsiteX12" fmla="*/ 111638 w 197178"/>
              <a:gd name="connsiteY12" fmla="*/ 127643 h 215049"/>
              <a:gd name="connsiteX13" fmla="*/ 111638 w 197178"/>
              <a:gd name="connsiteY13" fmla="*/ 128277 h 215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97178" h="215049">
                <a:moveTo>
                  <a:pt x="51490" y="215049"/>
                </a:moveTo>
                <a:lnTo>
                  <a:pt x="51490" y="45624"/>
                </a:lnTo>
                <a:lnTo>
                  <a:pt x="0" y="45624"/>
                </a:lnTo>
                <a:lnTo>
                  <a:pt x="0" y="1424"/>
                </a:lnTo>
                <a:lnTo>
                  <a:pt x="104803" y="1425"/>
                </a:lnTo>
                <a:lnTo>
                  <a:pt x="104803" y="75242"/>
                </a:lnTo>
                <a:lnTo>
                  <a:pt x="106169" y="75242"/>
                </a:lnTo>
                <a:cubicBezTo>
                  <a:pt x="120751" y="31954"/>
                  <a:pt x="132142" y="15094"/>
                  <a:pt x="154014" y="5981"/>
                </a:cubicBezTo>
                <a:cubicBezTo>
                  <a:pt x="164039" y="1880"/>
                  <a:pt x="174519" y="-398"/>
                  <a:pt x="185455" y="57"/>
                </a:cubicBezTo>
                <a:lnTo>
                  <a:pt x="197178" y="4872"/>
                </a:lnTo>
                <a:lnTo>
                  <a:pt x="170795" y="42934"/>
                </a:lnTo>
                <a:lnTo>
                  <a:pt x="164950" y="40156"/>
                </a:lnTo>
                <a:cubicBezTo>
                  <a:pt x="135788" y="40156"/>
                  <a:pt x="111638" y="78887"/>
                  <a:pt x="111638" y="127643"/>
                </a:cubicBezTo>
                <a:lnTo>
                  <a:pt x="111638" y="128277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5" name="Forme libre : forme 84">
            <a:extLst>
              <a:ext uri="{FF2B5EF4-FFF2-40B4-BE49-F238E27FC236}">
                <a16:creationId xmlns:a16="http://schemas.microsoft.com/office/drawing/2014/main" id="{F27A5053-248B-4729-A180-CFD83FBA8C7D}"/>
              </a:ext>
            </a:extLst>
          </p:cNvPr>
          <p:cNvSpPr/>
          <p:nvPr/>
        </p:nvSpPr>
        <p:spPr>
          <a:xfrm rot="8716295">
            <a:off x="56555" y="1474203"/>
            <a:ext cx="141256" cy="232388"/>
          </a:xfrm>
          <a:custGeom>
            <a:avLst/>
            <a:gdLst>
              <a:gd name="connsiteX0" fmla="*/ 297180 w 295275"/>
              <a:gd name="connsiteY0" fmla="*/ 104775 h 485775"/>
              <a:gd name="connsiteX1" fmla="*/ 297180 w 295275"/>
              <a:gd name="connsiteY1" fmla="*/ 435293 h 485775"/>
              <a:gd name="connsiteX2" fmla="*/ 169545 w 295275"/>
              <a:gd name="connsiteY2" fmla="*/ 485775 h 485775"/>
              <a:gd name="connsiteX3" fmla="*/ 169545 w 295275"/>
              <a:gd name="connsiteY3" fmla="*/ 145733 h 485775"/>
              <a:gd name="connsiteX4" fmla="*/ 169545 w 295275"/>
              <a:gd name="connsiteY4" fmla="*/ 137160 h 485775"/>
              <a:gd name="connsiteX5" fmla="*/ 126683 w 295275"/>
              <a:gd name="connsiteY5" fmla="*/ 104775 h 485775"/>
              <a:gd name="connsiteX6" fmla="*/ 0 w 295275"/>
              <a:gd name="connsiteY6" fmla="*/ 104775 h 485775"/>
              <a:gd name="connsiteX7" fmla="*/ 0 w 295275"/>
              <a:gd name="connsiteY7" fmla="*/ 0 h 485775"/>
              <a:gd name="connsiteX8" fmla="*/ 178118 w 295275"/>
              <a:gd name="connsiteY8" fmla="*/ 0 h 485775"/>
              <a:gd name="connsiteX9" fmla="*/ 297180 w 295275"/>
              <a:gd name="connsiteY9" fmla="*/ 104775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95275" h="485775">
                <a:moveTo>
                  <a:pt x="297180" y="104775"/>
                </a:moveTo>
                <a:lnTo>
                  <a:pt x="297180" y="435293"/>
                </a:lnTo>
                <a:lnTo>
                  <a:pt x="169545" y="485775"/>
                </a:lnTo>
                <a:lnTo>
                  <a:pt x="169545" y="145733"/>
                </a:lnTo>
                <a:cubicBezTo>
                  <a:pt x="169545" y="142875"/>
                  <a:pt x="169545" y="140018"/>
                  <a:pt x="169545" y="137160"/>
                </a:cubicBezTo>
                <a:cubicBezTo>
                  <a:pt x="166688" y="116205"/>
                  <a:pt x="147638" y="101918"/>
                  <a:pt x="126683" y="104775"/>
                </a:cubicBezTo>
                <a:lnTo>
                  <a:pt x="0" y="104775"/>
                </a:lnTo>
                <a:lnTo>
                  <a:pt x="0" y="0"/>
                </a:lnTo>
                <a:lnTo>
                  <a:pt x="178118" y="0"/>
                </a:lnTo>
                <a:cubicBezTo>
                  <a:pt x="255270" y="0"/>
                  <a:pt x="297180" y="33338"/>
                  <a:pt x="297180" y="10477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6" name="Forme libre : forme 85">
            <a:extLst>
              <a:ext uri="{FF2B5EF4-FFF2-40B4-BE49-F238E27FC236}">
                <a16:creationId xmlns:a16="http://schemas.microsoft.com/office/drawing/2014/main" id="{9918622A-7E96-4EC8-A35B-CBCD19A79AE2}"/>
              </a:ext>
            </a:extLst>
          </p:cNvPr>
          <p:cNvSpPr/>
          <p:nvPr/>
        </p:nvSpPr>
        <p:spPr>
          <a:xfrm rot="8716295">
            <a:off x="145947" y="1503445"/>
            <a:ext cx="259728" cy="250615"/>
          </a:xfrm>
          <a:custGeom>
            <a:avLst/>
            <a:gdLst>
              <a:gd name="connsiteX0" fmla="*/ 544830 w 542925"/>
              <a:gd name="connsiteY0" fmla="*/ 184905 h 523875"/>
              <a:gd name="connsiteX1" fmla="*/ 544830 w 542925"/>
              <a:gd name="connsiteY1" fmla="*/ 197288 h 523875"/>
              <a:gd name="connsiteX2" fmla="*/ 415290 w 542925"/>
              <a:gd name="connsiteY2" fmla="*/ 204908 h 523875"/>
              <a:gd name="connsiteX3" fmla="*/ 415290 w 542925"/>
              <a:gd name="connsiteY3" fmla="*/ 170618 h 523875"/>
              <a:gd name="connsiteX4" fmla="*/ 344805 w 542925"/>
              <a:gd name="connsiteY4" fmla="*/ 83940 h 523875"/>
              <a:gd name="connsiteX5" fmla="*/ 233363 w 542925"/>
              <a:gd name="connsiteY5" fmla="*/ 266820 h 523875"/>
              <a:gd name="connsiteX6" fmla="*/ 233363 w 542925"/>
              <a:gd name="connsiteY6" fmla="*/ 446843 h 523875"/>
              <a:gd name="connsiteX7" fmla="*/ 107632 w 542925"/>
              <a:gd name="connsiteY7" fmla="*/ 532568 h 523875"/>
              <a:gd name="connsiteX8" fmla="*/ 107632 w 542925"/>
              <a:gd name="connsiteY8" fmla="*/ 95370 h 523875"/>
              <a:gd name="connsiteX9" fmla="*/ 0 w 542925"/>
              <a:gd name="connsiteY9" fmla="*/ 95370 h 523875"/>
              <a:gd name="connsiteX10" fmla="*/ 0 w 542925"/>
              <a:gd name="connsiteY10" fmla="*/ 2978 h 523875"/>
              <a:gd name="connsiteX11" fmla="*/ 219075 w 542925"/>
              <a:gd name="connsiteY11" fmla="*/ 2978 h 523875"/>
              <a:gd name="connsiteX12" fmla="*/ 219075 w 542925"/>
              <a:gd name="connsiteY12" fmla="*/ 157283 h 523875"/>
              <a:gd name="connsiteX13" fmla="*/ 221932 w 542925"/>
              <a:gd name="connsiteY13" fmla="*/ 157283 h 523875"/>
              <a:gd name="connsiteX14" fmla="*/ 321945 w 542925"/>
              <a:gd name="connsiteY14" fmla="*/ 12503 h 523875"/>
              <a:gd name="connsiteX15" fmla="*/ 387667 w 542925"/>
              <a:gd name="connsiteY15" fmla="*/ 120 h 523875"/>
              <a:gd name="connsiteX16" fmla="*/ 544830 w 542925"/>
              <a:gd name="connsiteY16" fmla="*/ 18490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42925" h="523875">
                <a:moveTo>
                  <a:pt x="544830" y="184905"/>
                </a:moveTo>
                <a:lnTo>
                  <a:pt x="544830" y="197288"/>
                </a:lnTo>
                <a:lnTo>
                  <a:pt x="415290" y="204908"/>
                </a:lnTo>
                <a:lnTo>
                  <a:pt x="415290" y="170618"/>
                </a:lnTo>
                <a:cubicBezTo>
                  <a:pt x="415290" y="119183"/>
                  <a:pt x="385763" y="83940"/>
                  <a:pt x="344805" y="83940"/>
                </a:cubicBezTo>
                <a:cubicBezTo>
                  <a:pt x="283845" y="83940"/>
                  <a:pt x="233363" y="164903"/>
                  <a:pt x="233363" y="266820"/>
                </a:cubicBezTo>
                <a:lnTo>
                  <a:pt x="233363" y="446843"/>
                </a:lnTo>
                <a:lnTo>
                  <a:pt x="107632" y="532568"/>
                </a:lnTo>
                <a:lnTo>
                  <a:pt x="107632" y="95370"/>
                </a:lnTo>
                <a:lnTo>
                  <a:pt x="0" y="95370"/>
                </a:lnTo>
                <a:lnTo>
                  <a:pt x="0" y="2978"/>
                </a:lnTo>
                <a:lnTo>
                  <a:pt x="219075" y="2978"/>
                </a:lnTo>
                <a:lnTo>
                  <a:pt x="219075" y="157283"/>
                </a:lnTo>
                <a:lnTo>
                  <a:pt x="221932" y="157283"/>
                </a:lnTo>
                <a:cubicBezTo>
                  <a:pt x="252413" y="66795"/>
                  <a:pt x="276225" y="31553"/>
                  <a:pt x="321945" y="12503"/>
                </a:cubicBezTo>
                <a:cubicBezTo>
                  <a:pt x="342900" y="3930"/>
                  <a:pt x="364807" y="-832"/>
                  <a:pt x="387667" y="120"/>
                </a:cubicBezTo>
                <a:cubicBezTo>
                  <a:pt x="485775" y="-1785"/>
                  <a:pt x="544830" y="66795"/>
                  <a:pt x="544830" y="18490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7" name="Forme libre : forme 86">
            <a:extLst>
              <a:ext uri="{FF2B5EF4-FFF2-40B4-BE49-F238E27FC236}">
                <a16:creationId xmlns:a16="http://schemas.microsoft.com/office/drawing/2014/main" id="{0ECD9757-2AFD-4623-9C3D-24E52F11F047}"/>
              </a:ext>
            </a:extLst>
          </p:cNvPr>
          <p:cNvSpPr/>
          <p:nvPr/>
        </p:nvSpPr>
        <p:spPr>
          <a:xfrm rot="8716295">
            <a:off x="-21870" y="1443501"/>
            <a:ext cx="68614" cy="55323"/>
          </a:xfrm>
          <a:custGeom>
            <a:avLst/>
            <a:gdLst>
              <a:gd name="connsiteX0" fmla="*/ 0 w 68614"/>
              <a:gd name="connsiteY0" fmla="*/ 55323 h 55323"/>
              <a:gd name="connsiteX1" fmla="*/ 0 w 68614"/>
              <a:gd name="connsiteY1" fmla="*/ 0 h 55323"/>
              <a:gd name="connsiteX2" fmla="*/ 68614 w 68614"/>
              <a:gd name="connsiteY2" fmla="*/ 0 h 55323"/>
              <a:gd name="connsiteX3" fmla="*/ 30266 w 68614"/>
              <a:gd name="connsiteY3" fmla="*/ 55323 h 553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614" h="55323">
                <a:moveTo>
                  <a:pt x="0" y="55323"/>
                </a:moveTo>
                <a:lnTo>
                  <a:pt x="0" y="0"/>
                </a:lnTo>
                <a:lnTo>
                  <a:pt x="68614" y="0"/>
                </a:lnTo>
                <a:lnTo>
                  <a:pt x="30266" y="5532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8" name="Forme libre : forme 87">
            <a:extLst>
              <a:ext uri="{FF2B5EF4-FFF2-40B4-BE49-F238E27FC236}">
                <a16:creationId xmlns:a16="http://schemas.microsoft.com/office/drawing/2014/main" id="{661ED1FA-7FC0-427E-9226-6E31215700D9}"/>
              </a:ext>
            </a:extLst>
          </p:cNvPr>
          <p:cNvSpPr/>
          <p:nvPr/>
        </p:nvSpPr>
        <p:spPr>
          <a:xfrm rot="8716295">
            <a:off x="35817" y="1618109"/>
            <a:ext cx="103435" cy="203897"/>
          </a:xfrm>
          <a:custGeom>
            <a:avLst/>
            <a:gdLst>
              <a:gd name="connsiteX0" fmla="*/ 87556 w 103435"/>
              <a:gd name="connsiteY0" fmla="*/ 203897 h 203897"/>
              <a:gd name="connsiteX1" fmla="*/ 43288 w 103435"/>
              <a:gd name="connsiteY1" fmla="*/ 161305 h 203897"/>
              <a:gd name="connsiteX2" fmla="*/ 43288 w 103435"/>
              <a:gd name="connsiteY2" fmla="*/ 16404 h 203897"/>
              <a:gd name="connsiteX3" fmla="*/ 0 w 103435"/>
              <a:gd name="connsiteY3" fmla="*/ 16404 h 203897"/>
              <a:gd name="connsiteX4" fmla="*/ 0 w 103435"/>
              <a:gd name="connsiteY4" fmla="*/ 2278 h 203897"/>
              <a:gd name="connsiteX5" fmla="*/ 103435 w 103435"/>
              <a:gd name="connsiteY5" fmla="*/ 0 h 203897"/>
              <a:gd name="connsiteX6" fmla="*/ 103435 w 103435"/>
              <a:gd name="connsiteY6" fmla="*/ 180989 h 203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3435" h="203897">
                <a:moveTo>
                  <a:pt x="87556" y="203897"/>
                </a:moveTo>
                <a:lnTo>
                  <a:pt x="43288" y="161305"/>
                </a:lnTo>
                <a:lnTo>
                  <a:pt x="43288" y="16404"/>
                </a:lnTo>
                <a:lnTo>
                  <a:pt x="0" y="16404"/>
                </a:lnTo>
                <a:lnTo>
                  <a:pt x="0" y="2278"/>
                </a:lnTo>
                <a:cubicBezTo>
                  <a:pt x="32808" y="3645"/>
                  <a:pt x="66982" y="911"/>
                  <a:pt x="103435" y="0"/>
                </a:cubicBezTo>
                <a:lnTo>
                  <a:pt x="103435" y="180989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9" name="Forme libre : forme 88">
            <a:extLst>
              <a:ext uri="{FF2B5EF4-FFF2-40B4-BE49-F238E27FC236}">
                <a16:creationId xmlns:a16="http://schemas.microsoft.com/office/drawing/2014/main" id="{A1295F39-BDBB-432C-B32B-C5B551977FC2}"/>
              </a:ext>
            </a:extLst>
          </p:cNvPr>
          <p:cNvSpPr/>
          <p:nvPr/>
        </p:nvSpPr>
        <p:spPr>
          <a:xfrm rot="7484129">
            <a:off x="139430" y="1795050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0" name="Forme libre : forme 89">
            <a:extLst>
              <a:ext uri="{FF2B5EF4-FFF2-40B4-BE49-F238E27FC236}">
                <a16:creationId xmlns:a16="http://schemas.microsoft.com/office/drawing/2014/main" id="{F2E91B5E-C359-4716-9781-DAEDAFFE884C}"/>
              </a:ext>
            </a:extLst>
          </p:cNvPr>
          <p:cNvSpPr/>
          <p:nvPr/>
        </p:nvSpPr>
        <p:spPr>
          <a:xfrm rot="13089394">
            <a:off x="244250" y="1761584"/>
            <a:ext cx="270377" cy="325556"/>
          </a:xfrm>
          <a:custGeom>
            <a:avLst/>
            <a:gdLst>
              <a:gd name="connsiteX0" fmla="*/ 470535 w 466725"/>
              <a:gd name="connsiteY0" fmla="*/ 436245 h 561975"/>
              <a:gd name="connsiteX1" fmla="*/ 470535 w 466725"/>
              <a:gd name="connsiteY1" fmla="*/ 445770 h 561975"/>
              <a:gd name="connsiteX2" fmla="*/ 158115 w 466725"/>
              <a:gd name="connsiteY2" fmla="*/ 567690 h 561975"/>
              <a:gd name="connsiteX3" fmla="*/ 40957 w 466725"/>
              <a:gd name="connsiteY3" fmla="*/ 520065 h 561975"/>
              <a:gd name="connsiteX4" fmla="*/ 0 w 466725"/>
              <a:gd name="connsiteY4" fmla="*/ 356235 h 561975"/>
              <a:gd name="connsiteX5" fmla="*/ 0 w 466725"/>
              <a:gd name="connsiteY5" fmla="*/ 65723 h 561975"/>
              <a:gd name="connsiteX6" fmla="*/ 126682 w 466725"/>
              <a:gd name="connsiteY6" fmla="*/ 0 h 561975"/>
              <a:gd name="connsiteX7" fmla="*/ 128588 w 466725"/>
              <a:gd name="connsiteY7" fmla="*/ 265748 h 561975"/>
              <a:gd name="connsiteX8" fmla="*/ 151447 w 466725"/>
              <a:gd name="connsiteY8" fmla="*/ 423863 h 561975"/>
              <a:gd name="connsiteX9" fmla="*/ 265747 w 466725"/>
              <a:gd name="connsiteY9" fmla="*/ 486728 h 561975"/>
              <a:gd name="connsiteX10" fmla="*/ 351472 w 466725"/>
              <a:gd name="connsiteY10" fmla="*/ 471488 h 561975"/>
              <a:gd name="connsiteX11" fmla="*/ 468630 w 466725"/>
              <a:gd name="connsiteY11" fmla="*/ 423863 h 561975"/>
              <a:gd name="connsiteX12" fmla="*/ 470535 w 466725"/>
              <a:gd name="connsiteY12" fmla="*/ 436245 h 56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6725" h="561975">
                <a:moveTo>
                  <a:pt x="470535" y="436245"/>
                </a:moveTo>
                <a:lnTo>
                  <a:pt x="470535" y="445770"/>
                </a:lnTo>
                <a:cubicBezTo>
                  <a:pt x="369570" y="532448"/>
                  <a:pt x="237172" y="562928"/>
                  <a:pt x="158115" y="567690"/>
                </a:cubicBezTo>
                <a:cubicBezTo>
                  <a:pt x="114300" y="570548"/>
                  <a:pt x="71438" y="551498"/>
                  <a:pt x="40957" y="520065"/>
                </a:cubicBezTo>
                <a:cubicBezTo>
                  <a:pt x="8572" y="488633"/>
                  <a:pt x="0" y="434340"/>
                  <a:pt x="0" y="356235"/>
                </a:cubicBezTo>
                <a:lnTo>
                  <a:pt x="0" y="65723"/>
                </a:lnTo>
                <a:lnTo>
                  <a:pt x="126682" y="0"/>
                </a:lnTo>
                <a:lnTo>
                  <a:pt x="128588" y="265748"/>
                </a:lnTo>
                <a:cubicBezTo>
                  <a:pt x="125730" y="319088"/>
                  <a:pt x="134302" y="373380"/>
                  <a:pt x="151447" y="423863"/>
                </a:cubicBezTo>
                <a:cubicBezTo>
                  <a:pt x="166688" y="465773"/>
                  <a:pt x="205740" y="486728"/>
                  <a:pt x="265747" y="486728"/>
                </a:cubicBezTo>
                <a:cubicBezTo>
                  <a:pt x="295275" y="485775"/>
                  <a:pt x="323850" y="480060"/>
                  <a:pt x="351472" y="471488"/>
                </a:cubicBezTo>
                <a:cubicBezTo>
                  <a:pt x="391477" y="459105"/>
                  <a:pt x="430530" y="442913"/>
                  <a:pt x="468630" y="423863"/>
                </a:cubicBezTo>
                <a:cubicBezTo>
                  <a:pt x="469582" y="427673"/>
                  <a:pt x="470535" y="432435"/>
                  <a:pt x="470535" y="43624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1" name="Forme libre : forme 90">
            <a:extLst>
              <a:ext uri="{FF2B5EF4-FFF2-40B4-BE49-F238E27FC236}">
                <a16:creationId xmlns:a16="http://schemas.microsoft.com/office/drawing/2014/main" id="{4C9CCC26-5417-41E7-B753-3B7D59038FBD}"/>
              </a:ext>
            </a:extLst>
          </p:cNvPr>
          <p:cNvSpPr/>
          <p:nvPr/>
        </p:nvSpPr>
        <p:spPr>
          <a:xfrm rot="8716295">
            <a:off x="429835" y="1569903"/>
            <a:ext cx="220345" cy="161228"/>
          </a:xfrm>
          <a:custGeom>
            <a:avLst/>
            <a:gdLst>
              <a:gd name="connsiteX0" fmla="*/ 343853 w 390525"/>
              <a:gd name="connsiteY0" fmla="*/ 144780 h 285750"/>
              <a:gd name="connsiteX1" fmla="*/ 344805 w 390525"/>
              <a:gd name="connsiteY1" fmla="*/ 144780 h 285750"/>
              <a:gd name="connsiteX2" fmla="*/ 12382 w 390525"/>
              <a:gd name="connsiteY2" fmla="*/ 288608 h 285750"/>
              <a:gd name="connsiteX3" fmla="*/ 0 w 390525"/>
              <a:gd name="connsiteY3" fmla="*/ 271463 h 285750"/>
              <a:gd name="connsiteX4" fmla="*/ 225743 w 390525"/>
              <a:gd name="connsiteY4" fmla="*/ 59055 h 285750"/>
              <a:gd name="connsiteX5" fmla="*/ 340043 w 390525"/>
              <a:gd name="connsiteY5" fmla="*/ 0 h 285750"/>
              <a:gd name="connsiteX6" fmla="*/ 399098 w 390525"/>
              <a:gd name="connsiteY6" fmla="*/ 70485 h 285750"/>
              <a:gd name="connsiteX7" fmla="*/ 343853 w 390525"/>
              <a:gd name="connsiteY7" fmla="*/ 14478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0525" h="285750">
                <a:moveTo>
                  <a:pt x="343853" y="144780"/>
                </a:moveTo>
                <a:lnTo>
                  <a:pt x="344805" y="144780"/>
                </a:lnTo>
                <a:lnTo>
                  <a:pt x="12382" y="288608"/>
                </a:lnTo>
                <a:lnTo>
                  <a:pt x="0" y="271463"/>
                </a:lnTo>
                <a:lnTo>
                  <a:pt x="225743" y="59055"/>
                </a:lnTo>
                <a:cubicBezTo>
                  <a:pt x="254318" y="25718"/>
                  <a:pt x="295275" y="4763"/>
                  <a:pt x="340043" y="0"/>
                </a:cubicBezTo>
                <a:cubicBezTo>
                  <a:pt x="385763" y="0"/>
                  <a:pt x="399098" y="40005"/>
                  <a:pt x="399098" y="70485"/>
                </a:cubicBezTo>
                <a:cubicBezTo>
                  <a:pt x="396240" y="103823"/>
                  <a:pt x="374332" y="131445"/>
                  <a:pt x="343853" y="14478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2" name="Forme libre : forme 91">
            <a:extLst>
              <a:ext uri="{FF2B5EF4-FFF2-40B4-BE49-F238E27FC236}">
                <a16:creationId xmlns:a16="http://schemas.microsoft.com/office/drawing/2014/main" id="{D6712892-AD9E-4694-AEF5-3D17C5AEEE1D}"/>
              </a:ext>
            </a:extLst>
          </p:cNvPr>
          <p:cNvSpPr/>
          <p:nvPr/>
        </p:nvSpPr>
        <p:spPr>
          <a:xfrm rot="8716295">
            <a:off x="378030" y="1466310"/>
            <a:ext cx="110380" cy="1103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3" name="Forme libre : forme 92">
            <a:extLst>
              <a:ext uri="{FF2B5EF4-FFF2-40B4-BE49-F238E27FC236}">
                <a16:creationId xmlns:a16="http://schemas.microsoft.com/office/drawing/2014/main" id="{8DA7EFED-D0A6-45D4-A875-2F1DCEFC57C8}"/>
              </a:ext>
            </a:extLst>
          </p:cNvPr>
          <p:cNvSpPr/>
          <p:nvPr/>
        </p:nvSpPr>
        <p:spPr>
          <a:xfrm rot="8716295">
            <a:off x="134784" y="1496531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4" name="Forme libre : forme 93">
            <a:extLst>
              <a:ext uri="{FF2B5EF4-FFF2-40B4-BE49-F238E27FC236}">
                <a16:creationId xmlns:a16="http://schemas.microsoft.com/office/drawing/2014/main" id="{32971A81-1820-4964-A66E-2FD721A16F56}"/>
              </a:ext>
            </a:extLst>
          </p:cNvPr>
          <p:cNvSpPr/>
          <p:nvPr/>
        </p:nvSpPr>
        <p:spPr>
          <a:xfrm rot="8716295">
            <a:off x="312236" y="1337289"/>
            <a:ext cx="110380" cy="1103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5" name="Forme libre : forme 94">
            <a:extLst>
              <a:ext uri="{FF2B5EF4-FFF2-40B4-BE49-F238E27FC236}">
                <a16:creationId xmlns:a16="http://schemas.microsoft.com/office/drawing/2014/main" id="{BC42F9C8-99E7-4F04-B258-C142D2DE142F}"/>
              </a:ext>
            </a:extLst>
          </p:cNvPr>
          <p:cNvSpPr/>
          <p:nvPr/>
        </p:nvSpPr>
        <p:spPr>
          <a:xfrm rot="8716295">
            <a:off x="-17798" y="949199"/>
            <a:ext cx="39526" cy="50123"/>
          </a:xfrm>
          <a:custGeom>
            <a:avLst/>
            <a:gdLst>
              <a:gd name="connsiteX0" fmla="*/ 0 w 39526"/>
              <a:gd name="connsiteY0" fmla="*/ 50123 h 50123"/>
              <a:gd name="connsiteX1" fmla="*/ 0 w 39526"/>
              <a:gd name="connsiteY1" fmla="*/ 0 h 50123"/>
              <a:gd name="connsiteX2" fmla="*/ 39526 w 39526"/>
              <a:gd name="connsiteY2" fmla="*/ 0 h 50123"/>
              <a:gd name="connsiteX3" fmla="*/ 4782 w 39526"/>
              <a:gd name="connsiteY3" fmla="*/ 50123 h 50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526" h="50123">
                <a:moveTo>
                  <a:pt x="0" y="50123"/>
                </a:moveTo>
                <a:lnTo>
                  <a:pt x="0" y="0"/>
                </a:lnTo>
                <a:lnTo>
                  <a:pt x="39526" y="0"/>
                </a:lnTo>
                <a:lnTo>
                  <a:pt x="4782" y="5012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6" name="Forme libre : forme 95">
            <a:extLst>
              <a:ext uri="{FF2B5EF4-FFF2-40B4-BE49-F238E27FC236}">
                <a16:creationId xmlns:a16="http://schemas.microsoft.com/office/drawing/2014/main" id="{D29A62DB-0DC5-407D-A1DF-C8A39BAC784A}"/>
              </a:ext>
            </a:extLst>
          </p:cNvPr>
          <p:cNvSpPr/>
          <p:nvPr/>
        </p:nvSpPr>
        <p:spPr>
          <a:xfrm rot="8716295">
            <a:off x="-64996" y="834728"/>
            <a:ext cx="249650" cy="254774"/>
          </a:xfrm>
          <a:custGeom>
            <a:avLst/>
            <a:gdLst>
              <a:gd name="connsiteX0" fmla="*/ 51490 w 249650"/>
              <a:gd name="connsiteY0" fmla="*/ 254774 h 254774"/>
              <a:gd name="connsiteX1" fmla="*/ 51490 w 249650"/>
              <a:gd name="connsiteY1" fmla="*/ 45624 h 254774"/>
              <a:gd name="connsiteX2" fmla="*/ 0 w 249650"/>
              <a:gd name="connsiteY2" fmla="*/ 45624 h 254774"/>
              <a:gd name="connsiteX3" fmla="*/ 0 w 249650"/>
              <a:gd name="connsiteY3" fmla="*/ 1425 h 254774"/>
              <a:gd name="connsiteX4" fmla="*/ 104803 w 249650"/>
              <a:gd name="connsiteY4" fmla="*/ 1425 h 254774"/>
              <a:gd name="connsiteX5" fmla="*/ 104803 w 249650"/>
              <a:gd name="connsiteY5" fmla="*/ 75242 h 254774"/>
              <a:gd name="connsiteX6" fmla="*/ 106169 w 249650"/>
              <a:gd name="connsiteY6" fmla="*/ 75242 h 254774"/>
              <a:gd name="connsiteX7" fmla="*/ 154014 w 249650"/>
              <a:gd name="connsiteY7" fmla="*/ 5981 h 254774"/>
              <a:gd name="connsiteX8" fmla="*/ 185455 w 249650"/>
              <a:gd name="connsiteY8" fmla="*/ 57 h 254774"/>
              <a:gd name="connsiteX9" fmla="*/ 240647 w 249650"/>
              <a:gd name="connsiteY9" fmla="*/ 22727 h 254774"/>
              <a:gd name="connsiteX10" fmla="*/ 249650 w 249650"/>
              <a:gd name="connsiteY10" fmla="*/ 52327 h 254774"/>
              <a:gd name="connsiteX11" fmla="*/ 218795 w 249650"/>
              <a:gd name="connsiteY11" fmla="*/ 96841 h 254774"/>
              <a:gd name="connsiteX12" fmla="*/ 198669 w 249650"/>
              <a:gd name="connsiteY12" fmla="*/ 98025 h 254774"/>
              <a:gd name="connsiteX13" fmla="*/ 198669 w 249650"/>
              <a:gd name="connsiteY13" fmla="*/ 81621 h 254774"/>
              <a:gd name="connsiteX14" fmla="*/ 164950 w 249650"/>
              <a:gd name="connsiteY14" fmla="*/ 40156 h 254774"/>
              <a:gd name="connsiteX15" fmla="*/ 111638 w 249650"/>
              <a:gd name="connsiteY15" fmla="*/ 127643 h 254774"/>
              <a:gd name="connsiteX16" fmla="*/ 111638 w 249650"/>
              <a:gd name="connsiteY16" fmla="*/ 213764 h 254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49650" h="254774">
                <a:moveTo>
                  <a:pt x="51490" y="254774"/>
                </a:moveTo>
                <a:lnTo>
                  <a:pt x="51490" y="45624"/>
                </a:lnTo>
                <a:lnTo>
                  <a:pt x="0" y="45624"/>
                </a:lnTo>
                <a:lnTo>
                  <a:pt x="0" y="1425"/>
                </a:lnTo>
                <a:lnTo>
                  <a:pt x="104803" y="1425"/>
                </a:lnTo>
                <a:lnTo>
                  <a:pt x="104803" y="75242"/>
                </a:lnTo>
                <a:lnTo>
                  <a:pt x="106169" y="75242"/>
                </a:lnTo>
                <a:cubicBezTo>
                  <a:pt x="120751" y="31954"/>
                  <a:pt x="132142" y="15094"/>
                  <a:pt x="154014" y="5981"/>
                </a:cubicBezTo>
                <a:cubicBezTo>
                  <a:pt x="164039" y="1880"/>
                  <a:pt x="174519" y="-398"/>
                  <a:pt x="185455" y="57"/>
                </a:cubicBezTo>
                <a:cubicBezTo>
                  <a:pt x="208922" y="-398"/>
                  <a:pt x="227718" y="7576"/>
                  <a:pt x="240647" y="22727"/>
                </a:cubicBezTo>
                <a:lnTo>
                  <a:pt x="249650" y="52327"/>
                </a:lnTo>
                <a:lnTo>
                  <a:pt x="218795" y="96841"/>
                </a:lnTo>
                <a:lnTo>
                  <a:pt x="198669" y="98025"/>
                </a:lnTo>
                <a:lnTo>
                  <a:pt x="198669" y="81621"/>
                </a:lnTo>
                <a:cubicBezTo>
                  <a:pt x="198669" y="57016"/>
                  <a:pt x="184544" y="40156"/>
                  <a:pt x="164950" y="40156"/>
                </a:cubicBezTo>
                <a:cubicBezTo>
                  <a:pt x="135788" y="40156"/>
                  <a:pt x="111638" y="78887"/>
                  <a:pt x="111638" y="127643"/>
                </a:cubicBezTo>
                <a:lnTo>
                  <a:pt x="111638" y="213764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7" name="Forme libre : forme 96">
            <a:extLst>
              <a:ext uri="{FF2B5EF4-FFF2-40B4-BE49-F238E27FC236}">
                <a16:creationId xmlns:a16="http://schemas.microsoft.com/office/drawing/2014/main" id="{4160A2B5-61C4-44D3-8FA4-49A1FCD41A0C}"/>
              </a:ext>
            </a:extLst>
          </p:cNvPr>
          <p:cNvSpPr/>
          <p:nvPr/>
        </p:nvSpPr>
        <p:spPr>
          <a:xfrm rot="7484129">
            <a:off x="-63314" y="1172497"/>
            <a:ext cx="203848" cy="146395"/>
          </a:xfrm>
          <a:custGeom>
            <a:avLst/>
            <a:gdLst>
              <a:gd name="connsiteX0" fmla="*/ 0 w 203848"/>
              <a:gd name="connsiteY0" fmla="*/ 55323 h 146395"/>
              <a:gd name="connsiteX1" fmla="*/ 0 w 203848"/>
              <a:gd name="connsiteY1" fmla="*/ 0 h 146395"/>
              <a:gd name="connsiteX2" fmla="*/ 203848 w 203848"/>
              <a:gd name="connsiteY2" fmla="*/ 0 h 146395"/>
              <a:gd name="connsiteX3" fmla="*/ 203847 w 203848"/>
              <a:gd name="connsiteY3" fmla="*/ 49512 h 146395"/>
              <a:gd name="connsiteX4" fmla="*/ 195466 w 203848"/>
              <a:gd name="connsiteY4" fmla="*/ 55323 h 146395"/>
              <a:gd name="connsiteX5" fmla="*/ 139055 w 203848"/>
              <a:gd name="connsiteY5" fmla="*/ 55323 h 146395"/>
              <a:gd name="connsiteX6" fmla="*/ 121388 w 203848"/>
              <a:gd name="connsiteY6" fmla="*/ 106685 h 146395"/>
              <a:gd name="connsiteX7" fmla="*/ 64115 w 203848"/>
              <a:gd name="connsiteY7" fmla="*/ 146395 h 146395"/>
              <a:gd name="connsiteX8" fmla="*/ 47847 w 203848"/>
              <a:gd name="connsiteY8" fmla="*/ 116129 h 146395"/>
              <a:gd name="connsiteX9" fmla="*/ 69777 w 203848"/>
              <a:gd name="connsiteY9" fmla="*/ 55323 h 146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3848" h="146395">
                <a:moveTo>
                  <a:pt x="0" y="55323"/>
                </a:moveTo>
                <a:lnTo>
                  <a:pt x="0" y="0"/>
                </a:lnTo>
                <a:lnTo>
                  <a:pt x="203848" y="0"/>
                </a:lnTo>
                <a:lnTo>
                  <a:pt x="203847" y="49512"/>
                </a:lnTo>
                <a:lnTo>
                  <a:pt x="195466" y="55323"/>
                </a:lnTo>
                <a:lnTo>
                  <a:pt x="139055" y="55323"/>
                </a:lnTo>
                <a:lnTo>
                  <a:pt x="121388" y="106685"/>
                </a:lnTo>
                <a:lnTo>
                  <a:pt x="64115" y="146395"/>
                </a:lnTo>
                <a:lnTo>
                  <a:pt x="47847" y="116129"/>
                </a:lnTo>
                <a:lnTo>
                  <a:pt x="69777" y="5532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8" name="Forme libre : forme 97">
            <a:extLst>
              <a:ext uri="{FF2B5EF4-FFF2-40B4-BE49-F238E27FC236}">
                <a16:creationId xmlns:a16="http://schemas.microsoft.com/office/drawing/2014/main" id="{0F651F8F-312F-4D1A-9E4B-A79B81999918}"/>
              </a:ext>
            </a:extLst>
          </p:cNvPr>
          <p:cNvSpPr/>
          <p:nvPr/>
        </p:nvSpPr>
        <p:spPr>
          <a:xfrm rot="13089394">
            <a:off x="25311" y="1099526"/>
            <a:ext cx="270377" cy="325556"/>
          </a:xfrm>
          <a:custGeom>
            <a:avLst/>
            <a:gdLst>
              <a:gd name="connsiteX0" fmla="*/ 470535 w 466725"/>
              <a:gd name="connsiteY0" fmla="*/ 436245 h 561975"/>
              <a:gd name="connsiteX1" fmla="*/ 470535 w 466725"/>
              <a:gd name="connsiteY1" fmla="*/ 445770 h 561975"/>
              <a:gd name="connsiteX2" fmla="*/ 158115 w 466725"/>
              <a:gd name="connsiteY2" fmla="*/ 567690 h 561975"/>
              <a:gd name="connsiteX3" fmla="*/ 40957 w 466725"/>
              <a:gd name="connsiteY3" fmla="*/ 520065 h 561975"/>
              <a:gd name="connsiteX4" fmla="*/ 0 w 466725"/>
              <a:gd name="connsiteY4" fmla="*/ 356235 h 561975"/>
              <a:gd name="connsiteX5" fmla="*/ 0 w 466725"/>
              <a:gd name="connsiteY5" fmla="*/ 65723 h 561975"/>
              <a:gd name="connsiteX6" fmla="*/ 126682 w 466725"/>
              <a:gd name="connsiteY6" fmla="*/ 0 h 561975"/>
              <a:gd name="connsiteX7" fmla="*/ 128588 w 466725"/>
              <a:gd name="connsiteY7" fmla="*/ 265748 h 561975"/>
              <a:gd name="connsiteX8" fmla="*/ 151447 w 466725"/>
              <a:gd name="connsiteY8" fmla="*/ 423863 h 561975"/>
              <a:gd name="connsiteX9" fmla="*/ 265747 w 466725"/>
              <a:gd name="connsiteY9" fmla="*/ 486728 h 561975"/>
              <a:gd name="connsiteX10" fmla="*/ 351472 w 466725"/>
              <a:gd name="connsiteY10" fmla="*/ 471488 h 561975"/>
              <a:gd name="connsiteX11" fmla="*/ 468630 w 466725"/>
              <a:gd name="connsiteY11" fmla="*/ 423863 h 561975"/>
              <a:gd name="connsiteX12" fmla="*/ 470535 w 466725"/>
              <a:gd name="connsiteY12" fmla="*/ 436245 h 56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6725" h="561975">
                <a:moveTo>
                  <a:pt x="470535" y="436245"/>
                </a:moveTo>
                <a:lnTo>
                  <a:pt x="470535" y="445770"/>
                </a:lnTo>
                <a:cubicBezTo>
                  <a:pt x="369570" y="532448"/>
                  <a:pt x="237172" y="562928"/>
                  <a:pt x="158115" y="567690"/>
                </a:cubicBezTo>
                <a:cubicBezTo>
                  <a:pt x="114300" y="570548"/>
                  <a:pt x="71438" y="551498"/>
                  <a:pt x="40957" y="520065"/>
                </a:cubicBezTo>
                <a:cubicBezTo>
                  <a:pt x="8572" y="488633"/>
                  <a:pt x="0" y="434340"/>
                  <a:pt x="0" y="356235"/>
                </a:cubicBezTo>
                <a:lnTo>
                  <a:pt x="0" y="65723"/>
                </a:lnTo>
                <a:lnTo>
                  <a:pt x="126682" y="0"/>
                </a:lnTo>
                <a:lnTo>
                  <a:pt x="128588" y="265748"/>
                </a:lnTo>
                <a:cubicBezTo>
                  <a:pt x="125730" y="319088"/>
                  <a:pt x="134302" y="373380"/>
                  <a:pt x="151447" y="423863"/>
                </a:cubicBezTo>
                <a:cubicBezTo>
                  <a:pt x="166688" y="465773"/>
                  <a:pt x="205740" y="486728"/>
                  <a:pt x="265747" y="486728"/>
                </a:cubicBezTo>
                <a:cubicBezTo>
                  <a:pt x="295275" y="485775"/>
                  <a:pt x="323850" y="480060"/>
                  <a:pt x="351472" y="471488"/>
                </a:cubicBezTo>
                <a:cubicBezTo>
                  <a:pt x="391477" y="459105"/>
                  <a:pt x="430530" y="442913"/>
                  <a:pt x="468630" y="423863"/>
                </a:cubicBezTo>
                <a:cubicBezTo>
                  <a:pt x="469582" y="427673"/>
                  <a:pt x="470535" y="432435"/>
                  <a:pt x="470535" y="43624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9" name="Forme libre : forme 98">
            <a:extLst>
              <a:ext uri="{FF2B5EF4-FFF2-40B4-BE49-F238E27FC236}">
                <a16:creationId xmlns:a16="http://schemas.microsoft.com/office/drawing/2014/main" id="{12E33E54-ECAF-462B-B069-F233780DF121}"/>
              </a:ext>
            </a:extLst>
          </p:cNvPr>
          <p:cNvSpPr/>
          <p:nvPr/>
        </p:nvSpPr>
        <p:spPr>
          <a:xfrm rot="8716295">
            <a:off x="210896" y="907845"/>
            <a:ext cx="220345" cy="161228"/>
          </a:xfrm>
          <a:custGeom>
            <a:avLst/>
            <a:gdLst>
              <a:gd name="connsiteX0" fmla="*/ 343853 w 390525"/>
              <a:gd name="connsiteY0" fmla="*/ 144780 h 285750"/>
              <a:gd name="connsiteX1" fmla="*/ 344805 w 390525"/>
              <a:gd name="connsiteY1" fmla="*/ 144780 h 285750"/>
              <a:gd name="connsiteX2" fmla="*/ 12382 w 390525"/>
              <a:gd name="connsiteY2" fmla="*/ 288608 h 285750"/>
              <a:gd name="connsiteX3" fmla="*/ 0 w 390525"/>
              <a:gd name="connsiteY3" fmla="*/ 271463 h 285750"/>
              <a:gd name="connsiteX4" fmla="*/ 225743 w 390525"/>
              <a:gd name="connsiteY4" fmla="*/ 59055 h 285750"/>
              <a:gd name="connsiteX5" fmla="*/ 340043 w 390525"/>
              <a:gd name="connsiteY5" fmla="*/ 0 h 285750"/>
              <a:gd name="connsiteX6" fmla="*/ 399098 w 390525"/>
              <a:gd name="connsiteY6" fmla="*/ 70485 h 285750"/>
              <a:gd name="connsiteX7" fmla="*/ 343853 w 390525"/>
              <a:gd name="connsiteY7" fmla="*/ 14478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0525" h="285750">
                <a:moveTo>
                  <a:pt x="343853" y="144780"/>
                </a:moveTo>
                <a:lnTo>
                  <a:pt x="344805" y="144780"/>
                </a:lnTo>
                <a:lnTo>
                  <a:pt x="12382" y="288608"/>
                </a:lnTo>
                <a:lnTo>
                  <a:pt x="0" y="271463"/>
                </a:lnTo>
                <a:lnTo>
                  <a:pt x="225743" y="59055"/>
                </a:lnTo>
                <a:cubicBezTo>
                  <a:pt x="254318" y="25718"/>
                  <a:pt x="295275" y="4763"/>
                  <a:pt x="340043" y="0"/>
                </a:cubicBezTo>
                <a:cubicBezTo>
                  <a:pt x="385763" y="0"/>
                  <a:pt x="399098" y="40005"/>
                  <a:pt x="399098" y="70485"/>
                </a:cubicBezTo>
                <a:cubicBezTo>
                  <a:pt x="396240" y="103823"/>
                  <a:pt x="374332" y="131445"/>
                  <a:pt x="343853" y="14478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0" name="Forme libre : forme 99">
            <a:extLst>
              <a:ext uri="{FF2B5EF4-FFF2-40B4-BE49-F238E27FC236}">
                <a16:creationId xmlns:a16="http://schemas.microsoft.com/office/drawing/2014/main" id="{42ACC1F1-A8E1-420C-B7DE-55FFEE501260}"/>
              </a:ext>
            </a:extLst>
          </p:cNvPr>
          <p:cNvSpPr/>
          <p:nvPr/>
        </p:nvSpPr>
        <p:spPr>
          <a:xfrm rot="8716295">
            <a:off x="159091" y="804252"/>
            <a:ext cx="110380" cy="1103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1" name="Forme libre : forme 100">
            <a:extLst>
              <a:ext uri="{FF2B5EF4-FFF2-40B4-BE49-F238E27FC236}">
                <a16:creationId xmlns:a16="http://schemas.microsoft.com/office/drawing/2014/main" id="{B902C445-D42B-4D0E-8897-FDE236E78375}"/>
              </a:ext>
            </a:extLst>
          </p:cNvPr>
          <p:cNvSpPr/>
          <p:nvPr/>
        </p:nvSpPr>
        <p:spPr>
          <a:xfrm rot="8716295">
            <a:off x="93297" y="675231"/>
            <a:ext cx="110380" cy="1103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2" name="Forme libre : forme 101">
            <a:extLst>
              <a:ext uri="{FF2B5EF4-FFF2-40B4-BE49-F238E27FC236}">
                <a16:creationId xmlns:a16="http://schemas.microsoft.com/office/drawing/2014/main" id="{4EDB9DFE-AA44-492B-9D2C-70F199FD6162}"/>
              </a:ext>
            </a:extLst>
          </p:cNvPr>
          <p:cNvSpPr/>
          <p:nvPr/>
        </p:nvSpPr>
        <p:spPr>
          <a:xfrm rot="8716295">
            <a:off x="-7001" y="316701"/>
            <a:ext cx="14001" cy="20198"/>
          </a:xfrm>
          <a:custGeom>
            <a:avLst/>
            <a:gdLst>
              <a:gd name="connsiteX0" fmla="*/ 0 w 14001"/>
              <a:gd name="connsiteY0" fmla="*/ 20198 h 20198"/>
              <a:gd name="connsiteX1" fmla="*/ 0 w 14001"/>
              <a:gd name="connsiteY1" fmla="*/ 0 h 20198"/>
              <a:gd name="connsiteX2" fmla="*/ 14001 w 14001"/>
              <a:gd name="connsiteY2" fmla="*/ 0 h 20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001" h="20198">
                <a:moveTo>
                  <a:pt x="0" y="20198"/>
                </a:moveTo>
                <a:lnTo>
                  <a:pt x="0" y="0"/>
                </a:lnTo>
                <a:lnTo>
                  <a:pt x="14001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3" name="Forme libre : forme 102">
            <a:extLst>
              <a:ext uri="{FF2B5EF4-FFF2-40B4-BE49-F238E27FC236}">
                <a16:creationId xmlns:a16="http://schemas.microsoft.com/office/drawing/2014/main" id="{9B8E4668-5129-4061-833F-DDB8DC144C55}"/>
              </a:ext>
            </a:extLst>
          </p:cNvPr>
          <p:cNvSpPr/>
          <p:nvPr/>
        </p:nvSpPr>
        <p:spPr>
          <a:xfrm rot="13089394">
            <a:off x="-81658" y="472652"/>
            <a:ext cx="173631" cy="237684"/>
          </a:xfrm>
          <a:custGeom>
            <a:avLst/>
            <a:gdLst>
              <a:gd name="connsiteX0" fmla="*/ 173631 w 173631"/>
              <a:gd name="connsiteY0" fmla="*/ 220990 h 237684"/>
              <a:gd name="connsiteX1" fmla="*/ 130972 w 173631"/>
              <a:gd name="connsiteY1" fmla="*/ 232382 h 237684"/>
              <a:gd name="connsiteX2" fmla="*/ 91597 w 173631"/>
              <a:gd name="connsiteY2" fmla="*/ 237521 h 237684"/>
              <a:gd name="connsiteX3" fmla="*/ 23727 w 173631"/>
              <a:gd name="connsiteY3" fmla="*/ 209931 h 237684"/>
              <a:gd name="connsiteX4" fmla="*/ 0 w 173631"/>
              <a:gd name="connsiteY4" fmla="*/ 115023 h 237684"/>
              <a:gd name="connsiteX5" fmla="*/ 0 w 173631"/>
              <a:gd name="connsiteY5" fmla="*/ 0 h 237684"/>
              <a:gd name="connsiteX6" fmla="*/ 76176 w 173631"/>
              <a:gd name="connsiteY6" fmla="*/ 96953 h 237684"/>
              <a:gd name="connsiteX7" fmla="*/ 76768 w 173631"/>
              <a:gd name="connsiteY7" fmla="*/ 109023 h 237684"/>
              <a:gd name="connsiteX8" fmla="*/ 87734 w 173631"/>
              <a:gd name="connsiteY8" fmla="*/ 154201 h 237684"/>
              <a:gd name="connsiteX9" fmla="*/ 111117 w 173631"/>
              <a:gd name="connsiteY9" fmla="*/ 181514 h 237684"/>
              <a:gd name="connsiteX10" fmla="*/ 148930 w 173631"/>
              <a:gd name="connsiteY10" fmla="*/ 189552 h 237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73631" h="237684">
                <a:moveTo>
                  <a:pt x="173631" y="220990"/>
                </a:moveTo>
                <a:lnTo>
                  <a:pt x="130972" y="232382"/>
                </a:lnTo>
                <a:cubicBezTo>
                  <a:pt x="116428" y="235210"/>
                  <a:pt x="103047" y="236831"/>
                  <a:pt x="91597" y="237521"/>
                </a:cubicBezTo>
                <a:cubicBezTo>
                  <a:pt x="66215" y="239176"/>
                  <a:pt x="41384" y="228141"/>
                  <a:pt x="23727" y="209931"/>
                </a:cubicBezTo>
                <a:cubicBezTo>
                  <a:pt x="4966" y="191722"/>
                  <a:pt x="0" y="160270"/>
                  <a:pt x="0" y="115023"/>
                </a:cubicBezTo>
                <a:lnTo>
                  <a:pt x="0" y="0"/>
                </a:lnTo>
                <a:lnTo>
                  <a:pt x="76176" y="96953"/>
                </a:lnTo>
                <a:lnTo>
                  <a:pt x="76768" y="109023"/>
                </a:lnTo>
                <a:cubicBezTo>
                  <a:pt x="79044" y="124404"/>
                  <a:pt x="82768" y="139578"/>
                  <a:pt x="87734" y="154201"/>
                </a:cubicBezTo>
                <a:cubicBezTo>
                  <a:pt x="92149" y="166340"/>
                  <a:pt x="100012" y="175445"/>
                  <a:pt x="111117" y="181514"/>
                </a:cubicBezTo>
                <a:lnTo>
                  <a:pt x="148930" y="189552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4" name="Forme libre : forme 103">
            <a:extLst>
              <a:ext uri="{FF2B5EF4-FFF2-40B4-BE49-F238E27FC236}">
                <a16:creationId xmlns:a16="http://schemas.microsoft.com/office/drawing/2014/main" id="{99FF5E45-909E-4FF2-B754-B344F6F11F69}"/>
              </a:ext>
            </a:extLst>
          </p:cNvPr>
          <p:cNvSpPr/>
          <p:nvPr/>
        </p:nvSpPr>
        <p:spPr>
          <a:xfrm rot="8716295">
            <a:off x="-11774" y="244430"/>
            <a:ext cx="220345" cy="161228"/>
          </a:xfrm>
          <a:custGeom>
            <a:avLst/>
            <a:gdLst>
              <a:gd name="connsiteX0" fmla="*/ 343853 w 390525"/>
              <a:gd name="connsiteY0" fmla="*/ 144780 h 285750"/>
              <a:gd name="connsiteX1" fmla="*/ 344805 w 390525"/>
              <a:gd name="connsiteY1" fmla="*/ 144780 h 285750"/>
              <a:gd name="connsiteX2" fmla="*/ 12382 w 390525"/>
              <a:gd name="connsiteY2" fmla="*/ 288608 h 285750"/>
              <a:gd name="connsiteX3" fmla="*/ 0 w 390525"/>
              <a:gd name="connsiteY3" fmla="*/ 271463 h 285750"/>
              <a:gd name="connsiteX4" fmla="*/ 225743 w 390525"/>
              <a:gd name="connsiteY4" fmla="*/ 59055 h 285750"/>
              <a:gd name="connsiteX5" fmla="*/ 340043 w 390525"/>
              <a:gd name="connsiteY5" fmla="*/ 0 h 285750"/>
              <a:gd name="connsiteX6" fmla="*/ 399098 w 390525"/>
              <a:gd name="connsiteY6" fmla="*/ 70485 h 285750"/>
              <a:gd name="connsiteX7" fmla="*/ 343853 w 390525"/>
              <a:gd name="connsiteY7" fmla="*/ 14478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0525" h="285750">
                <a:moveTo>
                  <a:pt x="343853" y="144780"/>
                </a:moveTo>
                <a:lnTo>
                  <a:pt x="344805" y="144780"/>
                </a:lnTo>
                <a:lnTo>
                  <a:pt x="12382" y="288608"/>
                </a:lnTo>
                <a:lnTo>
                  <a:pt x="0" y="271463"/>
                </a:lnTo>
                <a:lnTo>
                  <a:pt x="225743" y="59055"/>
                </a:lnTo>
                <a:cubicBezTo>
                  <a:pt x="254318" y="25718"/>
                  <a:pt x="295275" y="4763"/>
                  <a:pt x="340043" y="0"/>
                </a:cubicBezTo>
                <a:cubicBezTo>
                  <a:pt x="385763" y="0"/>
                  <a:pt x="399098" y="40005"/>
                  <a:pt x="399098" y="70485"/>
                </a:cubicBezTo>
                <a:cubicBezTo>
                  <a:pt x="396240" y="103823"/>
                  <a:pt x="374332" y="131445"/>
                  <a:pt x="343853" y="14478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5" name="Forme libre : forme 104">
            <a:extLst>
              <a:ext uri="{FF2B5EF4-FFF2-40B4-BE49-F238E27FC236}">
                <a16:creationId xmlns:a16="http://schemas.microsoft.com/office/drawing/2014/main" id="{EB79107E-889E-47A5-A1AB-E4F4B49C7BFA}"/>
              </a:ext>
            </a:extLst>
          </p:cNvPr>
          <p:cNvSpPr/>
          <p:nvPr/>
        </p:nvSpPr>
        <p:spPr>
          <a:xfrm rot="8716295">
            <a:off x="-30092" y="143486"/>
            <a:ext cx="77721" cy="97260"/>
          </a:xfrm>
          <a:custGeom>
            <a:avLst/>
            <a:gdLst>
              <a:gd name="connsiteX0" fmla="*/ 15821 w 77721"/>
              <a:gd name="connsiteY0" fmla="*/ 97260 h 97260"/>
              <a:gd name="connsiteX1" fmla="*/ 0 w 77721"/>
              <a:gd name="connsiteY1" fmla="*/ 59790 h 97260"/>
              <a:gd name="connsiteX2" fmla="*/ 0 w 77721"/>
              <a:gd name="connsiteY2" fmla="*/ 58869 h 97260"/>
              <a:gd name="connsiteX3" fmla="*/ 17477 w 77721"/>
              <a:gd name="connsiteY3" fmla="*/ 17477 h 97260"/>
              <a:gd name="connsiteX4" fmla="*/ 58869 w 77721"/>
              <a:gd name="connsiteY4" fmla="*/ 0 h 97260"/>
              <a:gd name="connsiteX5" fmla="*/ 77721 w 77721"/>
              <a:gd name="connsiteY5" fmla="*/ 7960 h 97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7721" h="97260">
                <a:moveTo>
                  <a:pt x="15821" y="97260"/>
                </a:moveTo>
                <a:lnTo>
                  <a:pt x="0" y="59790"/>
                </a:lnTo>
                <a:lnTo>
                  <a:pt x="0" y="58869"/>
                </a:lnTo>
                <a:cubicBezTo>
                  <a:pt x="0" y="43233"/>
                  <a:pt x="6439" y="28515"/>
                  <a:pt x="17477" y="17477"/>
                </a:cubicBezTo>
                <a:cubicBezTo>
                  <a:pt x="28515" y="6439"/>
                  <a:pt x="43233" y="0"/>
                  <a:pt x="58869" y="0"/>
                </a:cubicBezTo>
                <a:lnTo>
                  <a:pt x="77721" y="796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6" name="Forme libre : forme 105">
            <a:extLst>
              <a:ext uri="{FF2B5EF4-FFF2-40B4-BE49-F238E27FC236}">
                <a16:creationId xmlns:a16="http://schemas.microsoft.com/office/drawing/2014/main" id="{D8EC7674-F8C4-4C98-B223-FB48E7028D2B}"/>
              </a:ext>
            </a:extLst>
          </p:cNvPr>
          <p:cNvSpPr/>
          <p:nvPr/>
        </p:nvSpPr>
        <p:spPr>
          <a:xfrm rot="8716295">
            <a:off x="-17797" y="3452694"/>
            <a:ext cx="58455" cy="44199"/>
          </a:xfrm>
          <a:custGeom>
            <a:avLst/>
            <a:gdLst>
              <a:gd name="connsiteX0" fmla="*/ 0 w 58455"/>
              <a:gd name="connsiteY0" fmla="*/ 44199 h 44199"/>
              <a:gd name="connsiteX1" fmla="*/ 0 w 58455"/>
              <a:gd name="connsiteY1" fmla="*/ 0 h 44199"/>
              <a:gd name="connsiteX2" fmla="*/ 58455 w 58455"/>
              <a:gd name="connsiteY2" fmla="*/ 0 h 44199"/>
              <a:gd name="connsiteX3" fmla="*/ 27817 w 58455"/>
              <a:gd name="connsiteY3" fmla="*/ 44199 h 44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455" h="44199">
                <a:moveTo>
                  <a:pt x="0" y="44199"/>
                </a:moveTo>
                <a:lnTo>
                  <a:pt x="0" y="0"/>
                </a:lnTo>
                <a:lnTo>
                  <a:pt x="58455" y="0"/>
                </a:lnTo>
                <a:lnTo>
                  <a:pt x="27817" y="44199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7" name="Forme libre : forme 106">
            <a:extLst>
              <a:ext uri="{FF2B5EF4-FFF2-40B4-BE49-F238E27FC236}">
                <a16:creationId xmlns:a16="http://schemas.microsoft.com/office/drawing/2014/main" id="{4367C4D5-414D-49AB-A590-D84D23E38E78}"/>
              </a:ext>
            </a:extLst>
          </p:cNvPr>
          <p:cNvSpPr/>
          <p:nvPr/>
        </p:nvSpPr>
        <p:spPr>
          <a:xfrm rot="13089394">
            <a:off x="-91485" y="3601812"/>
            <a:ext cx="206527" cy="292654"/>
          </a:xfrm>
          <a:custGeom>
            <a:avLst/>
            <a:gdLst>
              <a:gd name="connsiteX0" fmla="*/ 206527 w 206527"/>
              <a:gd name="connsiteY0" fmla="*/ 258693 h 292654"/>
              <a:gd name="connsiteX1" fmla="*/ 177331 w 206527"/>
              <a:gd name="connsiteY1" fmla="*/ 274971 h 292654"/>
              <a:gd name="connsiteX2" fmla="*/ 91597 w 206527"/>
              <a:gd name="connsiteY2" fmla="*/ 292491 h 292654"/>
              <a:gd name="connsiteX3" fmla="*/ 23727 w 206527"/>
              <a:gd name="connsiteY3" fmla="*/ 264901 h 292654"/>
              <a:gd name="connsiteX4" fmla="*/ 0 w 206527"/>
              <a:gd name="connsiteY4" fmla="*/ 169993 h 292654"/>
              <a:gd name="connsiteX5" fmla="*/ 0 w 206527"/>
              <a:gd name="connsiteY5" fmla="*/ 1698 h 292654"/>
              <a:gd name="connsiteX6" fmla="*/ 3273 w 206527"/>
              <a:gd name="connsiteY6" fmla="*/ 0 h 292654"/>
              <a:gd name="connsiteX7" fmla="*/ 74297 w 206527"/>
              <a:gd name="connsiteY7" fmla="*/ 90396 h 292654"/>
              <a:gd name="connsiteX8" fmla="*/ 74492 w 206527"/>
              <a:gd name="connsiteY8" fmla="*/ 117574 h 292654"/>
              <a:gd name="connsiteX9" fmla="*/ 87734 w 206527"/>
              <a:gd name="connsiteY9" fmla="*/ 209171 h 292654"/>
              <a:gd name="connsiteX10" fmla="*/ 153949 w 206527"/>
              <a:gd name="connsiteY10" fmla="*/ 245589 h 292654"/>
              <a:gd name="connsiteX11" fmla="*/ 191049 w 206527"/>
              <a:gd name="connsiteY11" fmla="*/ 238993 h 2926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06527" h="292654">
                <a:moveTo>
                  <a:pt x="206527" y="258693"/>
                </a:moveTo>
                <a:lnTo>
                  <a:pt x="177331" y="274971"/>
                </a:lnTo>
                <a:cubicBezTo>
                  <a:pt x="145121" y="286007"/>
                  <a:pt x="114496" y="291111"/>
                  <a:pt x="91597" y="292491"/>
                </a:cubicBezTo>
                <a:cubicBezTo>
                  <a:pt x="66215" y="294146"/>
                  <a:pt x="41385" y="283111"/>
                  <a:pt x="23727" y="264901"/>
                </a:cubicBezTo>
                <a:cubicBezTo>
                  <a:pt x="4966" y="246692"/>
                  <a:pt x="0" y="215240"/>
                  <a:pt x="0" y="169993"/>
                </a:cubicBezTo>
                <a:lnTo>
                  <a:pt x="0" y="1698"/>
                </a:lnTo>
                <a:lnTo>
                  <a:pt x="3273" y="0"/>
                </a:lnTo>
                <a:lnTo>
                  <a:pt x="74297" y="90396"/>
                </a:lnTo>
                <a:lnTo>
                  <a:pt x="74492" y="117574"/>
                </a:lnTo>
                <a:cubicBezTo>
                  <a:pt x="72836" y="148474"/>
                  <a:pt x="77802" y="179926"/>
                  <a:pt x="87734" y="209171"/>
                </a:cubicBezTo>
                <a:cubicBezTo>
                  <a:pt x="96564" y="233450"/>
                  <a:pt x="119187" y="245589"/>
                  <a:pt x="153949" y="245589"/>
                </a:cubicBezTo>
                <a:lnTo>
                  <a:pt x="191049" y="23899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8" name="Forme libre : forme 107">
            <a:extLst>
              <a:ext uri="{FF2B5EF4-FFF2-40B4-BE49-F238E27FC236}">
                <a16:creationId xmlns:a16="http://schemas.microsoft.com/office/drawing/2014/main" id="{C0F2930B-1B76-4127-88A5-3C45B984D36E}"/>
              </a:ext>
            </a:extLst>
          </p:cNvPr>
          <p:cNvSpPr/>
          <p:nvPr/>
        </p:nvSpPr>
        <p:spPr>
          <a:xfrm rot="8716295">
            <a:off x="24761" y="3389623"/>
            <a:ext cx="220345" cy="161228"/>
          </a:xfrm>
          <a:custGeom>
            <a:avLst/>
            <a:gdLst>
              <a:gd name="connsiteX0" fmla="*/ 343853 w 390525"/>
              <a:gd name="connsiteY0" fmla="*/ 144780 h 285750"/>
              <a:gd name="connsiteX1" fmla="*/ 344805 w 390525"/>
              <a:gd name="connsiteY1" fmla="*/ 144780 h 285750"/>
              <a:gd name="connsiteX2" fmla="*/ 12382 w 390525"/>
              <a:gd name="connsiteY2" fmla="*/ 288608 h 285750"/>
              <a:gd name="connsiteX3" fmla="*/ 0 w 390525"/>
              <a:gd name="connsiteY3" fmla="*/ 271463 h 285750"/>
              <a:gd name="connsiteX4" fmla="*/ 225743 w 390525"/>
              <a:gd name="connsiteY4" fmla="*/ 59055 h 285750"/>
              <a:gd name="connsiteX5" fmla="*/ 340043 w 390525"/>
              <a:gd name="connsiteY5" fmla="*/ 0 h 285750"/>
              <a:gd name="connsiteX6" fmla="*/ 399098 w 390525"/>
              <a:gd name="connsiteY6" fmla="*/ 70485 h 285750"/>
              <a:gd name="connsiteX7" fmla="*/ 343853 w 390525"/>
              <a:gd name="connsiteY7" fmla="*/ 14478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0525" h="285750">
                <a:moveTo>
                  <a:pt x="343853" y="144780"/>
                </a:moveTo>
                <a:lnTo>
                  <a:pt x="344805" y="144780"/>
                </a:lnTo>
                <a:lnTo>
                  <a:pt x="12382" y="288608"/>
                </a:lnTo>
                <a:lnTo>
                  <a:pt x="0" y="271463"/>
                </a:lnTo>
                <a:lnTo>
                  <a:pt x="225743" y="59055"/>
                </a:lnTo>
                <a:cubicBezTo>
                  <a:pt x="254318" y="25718"/>
                  <a:pt x="295275" y="4763"/>
                  <a:pt x="340043" y="0"/>
                </a:cubicBezTo>
                <a:cubicBezTo>
                  <a:pt x="385763" y="0"/>
                  <a:pt x="399098" y="40005"/>
                  <a:pt x="399098" y="70485"/>
                </a:cubicBezTo>
                <a:cubicBezTo>
                  <a:pt x="396240" y="103823"/>
                  <a:pt x="374332" y="131445"/>
                  <a:pt x="343853" y="14478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9" name="Forme libre : forme 108">
            <a:extLst>
              <a:ext uri="{FF2B5EF4-FFF2-40B4-BE49-F238E27FC236}">
                <a16:creationId xmlns:a16="http://schemas.microsoft.com/office/drawing/2014/main" id="{5D516E03-78DF-4FFF-8FB2-A397635DD48F}"/>
              </a:ext>
            </a:extLst>
          </p:cNvPr>
          <p:cNvSpPr/>
          <p:nvPr/>
        </p:nvSpPr>
        <p:spPr>
          <a:xfrm rot="8716295">
            <a:off x="-24047" y="3281741"/>
            <a:ext cx="106042" cy="113733"/>
          </a:xfrm>
          <a:custGeom>
            <a:avLst/>
            <a:gdLst>
              <a:gd name="connsiteX0" fmla="*/ 17477 w 106042"/>
              <a:gd name="connsiteY0" fmla="*/ 101182 h 113733"/>
              <a:gd name="connsiteX1" fmla="*/ 0 w 106042"/>
              <a:gd name="connsiteY1" fmla="*/ 59790 h 113733"/>
              <a:gd name="connsiteX2" fmla="*/ 0 w 106042"/>
              <a:gd name="connsiteY2" fmla="*/ 58869 h 113733"/>
              <a:gd name="connsiteX3" fmla="*/ 17477 w 106042"/>
              <a:gd name="connsiteY3" fmla="*/ 17477 h 113733"/>
              <a:gd name="connsiteX4" fmla="*/ 58869 w 106042"/>
              <a:gd name="connsiteY4" fmla="*/ 0 h 113733"/>
              <a:gd name="connsiteX5" fmla="*/ 100262 w 106042"/>
              <a:gd name="connsiteY5" fmla="*/ 17477 h 113733"/>
              <a:gd name="connsiteX6" fmla="*/ 106042 w 106042"/>
              <a:gd name="connsiteY6" fmla="*/ 31234 h 113733"/>
              <a:gd name="connsiteX7" fmla="*/ 48856 w 106042"/>
              <a:gd name="connsiteY7" fmla="*/ 113733 h 1137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6042" h="113733">
                <a:moveTo>
                  <a:pt x="17477" y="101182"/>
                </a:moveTo>
                <a:cubicBezTo>
                  <a:pt x="6439" y="90144"/>
                  <a:pt x="0" y="75426"/>
                  <a:pt x="0" y="59790"/>
                </a:cubicBezTo>
                <a:lnTo>
                  <a:pt x="0" y="58869"/>
                </a:lnTo>
                <a:cubicBezTo>
                  <a:pt x="0" y="43233"/>
                  <a:pt x="6439" y="28515"/>
                  <a:pt x="17477" y="17477"/>
                </a:cubicBezTo>
                <a:cubicBezTo>
                  <a:pt x="28515" y="6439"/>
                  <a:pt x="43233" y="0"/>
                  <a:pt x="58869" y="0"/>
                </a:cubicBezTo>
                <a:cubicBezTo>
                  <a:pt x="74507" y="0"/>
                  <a:pt x="89224" y="6439"/>
                  <a:pt x="100262" y="17477"/>
                </a:cubicBezTo>
                <a:lnTo>
                  <a:pt x="106042" y="31234"/>
                </a:lnTo>
                <a:lnTo>
                  <a:pt x="48856" y="11373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0" name="Forme libre : forme 109">
            <a:extLst>
              <a:ext uri="{FF2B5EF4-FFF2-40B4-BE49-F238E27FC236}">
                <a16:creationId xmlns:a16="http://schemas.microsoft.com/office/drawing/2014/main" id="{4709179C-E348-4A89-8150-2CCBA6DE45C5}"/>
              </a:ext>
            </a:extLst>
          </p:cNvPr>
          <p:cNvSpPr/>
          <p:nvPr/>
        </p:nvSpPr>
        <p:spPr>
          <a:xfrm rot="8716295">
            <a:off x="-21924" y="3179872"/>
            <a:ext cx="45776" cy="62656"/>
          </a:xfrm>
          <a:custGeom>
            <a:avLst/>
            <a:gdLst>
              <a:gd name="connsiteX0" fmla="*/ 2345 w 45776"/>
              <a:gd name="connsiteY0" fmla="*/ 62656 h 62656"/>
              <a:gd name="connsiteX1" fmla="*/ 0 w 45776"/>
              <a:gd name="connsiteY1" fmla="*/ 57104 h 62656"/>
              <a:gd name="connsiteX2" fmla="*/ 0 w 45776"/>
              <a:gd name="connsiteY2" fmla="*/ 56183 h 62656"/>
              <a:gd name="connsiteX3" fmla="*/ 17477 w 45776"/>
              <a:gd name="connsiteY3" fmla="*/ 14791 h 62656"/>
              <a:gd name="connsiteX4" fmla="*/ 36449 w 45776"/>
              <a:gd name="connsiteY4" fmla="*/ 1913 h 62656"/>
              <a:gd name="connsiteX5" fmla="*/ 45776 w 45776"/>
              <a:gd name="connsiteY5" fmla="*/ 0 h 626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776" h="62656">
                <a:moveTo>
                  <a:pt x="2345" y="62656"/>
                </a:moveTo>
                <a:lnTo>
                  <a:pt x="0" y="57104"/>
                </a:lnTo>
                <a:lnTo>
                  <a:pt x="0" y="56183"/>
                </a:lnTo>
                <a:cubicBezTo>
                  <a:pt x="0" y="40547"/>
                  <a:pt x="6439" y="25829"/>
                  <a:pt x="17477" y="14791"/>
                </a:cubicBezTo>
                <a:cubicBezTo>
                  <a:pt x="22996" y="9272"/>
                  <a:pt x="29435" y="4903"/>
                  <a:pt x="36449" y="1913"/>
                </a:cubicBezTo>
                <a:lnTo>
                  <a:pt x="45776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1" name="Forme libre : forme 110">
            <a:extLst>
              <a:ext uri="{FF2B5EF4-FFF2-40B4-BE49-F238E27FC236}">
                <a16:creationId xmlns:a16="http://schemas.microsoft.com/office/drawing/2014/main" id="{E216B864-0116-44B5-A0E9-8D6C9FB4451C}"/>
              </a:ext>
            </a:extLst>
          </p:cNvPr>
          <p:cNvSpPr/>
          <p:nvPr/>
        </p:nvSpPr>
        <p:spPr>
          <a:xfrm rot="8716295">
            <a:off x="-21324" y="4100649"/>
            <a:ext cx="79113" cy="50123"/>
          </a:xfrm>
          <a:custGeom>
            <a:avLst/>
            <a:gdLst>
              <a:gd name="connsiteX0" fmla="*/ 0 w 79113"/>
              <a:gd name="connsiteY0" fmla="*/ 50123 h 50123"/>
              <a:gd name="connsiteX1" fmla="*/ 0 w 79113"/>
              <a:gd name="connsiteY1" fmla="*/ 0 h 50123"/>
              <a:gd name="connsiteX2" fmla="*/ 79113 w 79113"/>
              <a:gd name="connsiteY2" fmla="*/ 0 h 50123"/>
              <a:gd name="connsiteX3" fmla="*/ 44369 w 79113"/>
              <a:gd name="connsiteY3" fmla="*/ 50123 h 50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9113" h="50123">
                <a:moveTo>
                  <a:pt x="0" y="50123"/>
                </a:moveTo>
                <a:lnTo>
                  <a:pt x="0" y="0"/>
                </a:lnTo>
                <a:lnTo>
                  <a:pt x="79113" y="0"/>
                </a:lnTo>
                <a:lnTo>
                  <a:pt x="44369" y="5012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2" name="Forme libre : forme 111">
            <a:extLst>
              <a:ext uri="{FF2B5EF4-FFF2-40B4-BE49-F238E27FC236}">
                <a16:creationId xmlns:a16="http://schemas.microsoft.com/office/drawing/2014/main" id="{E81DDFAA-1A06-4A18-8287-C68132D6876A}"/>
              </a:ext>
            </a:extLst>
          </p:cNvPr>
          <p:cNvSpPr/>
          <p:nvPr/>
        </p:nvSpPr>
        <p:spPr>
          <a:xfrm rot="8716295">
            <a:off x="-40457" y="3981561"/>
            <a:ext cx="259728" cy="250615"/>
          </a:xfrm>
          <a:custGeom>
            <a:avLst/>
            <a:gdLst>
              <a:gd name="connsiteX0" fmla="*/ 544830 w 542925"/>
              <a:gd name="connsiteY0" fmla="*/ 184905 h 523875"/>
              <a:gd name="connsiteX1" fmla="*/ 544830 w 542925"/>
              <a:gd name="connsiteY1" fmla="*/ 197288 h 523875"/>
              <a:gd name="connsiteX2" fmla="*/ 415290 w 542925"/>
              <a:gd name="connsiteY2" fmla="*/ 204908 h 523875"/>
              <a:gd name="connsiteX3" fmla="*/ 415290 w 542925"/>
              <a:gd name="connsiteY3" fmla="*/ 170618 h 523875"/>
              <a:gd name="connsiteX4" fmla="*/ 344805 w 542925"/>
              <a:gd name="connsiteY4" fmla="*/ 83940 h 523875"/>
              <a:gd name="connsiteX5" fmla="*/ 233363 w 542925"/>
              <a:gd name="connsiteY5" fmla="*/ 266820 h 523875"/>
              <a:gd name="connsiteX6" fmla="*/ 233363 w 542925"/>
              <a:gd name="connsiteY6" fmla="*/ 446843 h 523875"/>
              <a:gd name="connsiteX7" fmla="*/ 107632 w 542925"/>
              <a:gd name="connsiteY7" fmla="*/ 532568 h 523875"/>
              <a:gd name="connsiteX8" fmla="*/ 107632 w 542925"/>
              <a:gd name="connsiteY8" fmla="*/ 95370 h 523875"/>
              <a:gd name="connsiteX9" fmla="*/ 0 w 542925"/>
              <a:gd name="connsiteY9" fmla="*/ 95370 h 523875"/>
              <a:gd name="connsiteX10" fmla="*/ 0 w 542925"/>
              <a:gd name="connsiteY10" fmla="*/ 2978 h 523875"/>
              <a:gd name="connsiteX11" fmla="*/ 219075 w 542925"/>
              <a:gd name="connsiteY11" fmla="*/ 2978 h 523875"/>
              <a:gd name="connsiteX12" fmla="*/ 219075 w 542925"/>
              <a:gd name="connsiteY12" fmla="*/ 157283 h 523875"/>
              <a:gd name="connsiteX13" fmla="*/ 221932 w 542925"/>
              <a:gd name="connsiteY13" fmla="*/ 157283 h 523875"/>
              <a:gd name="connsiteX14" fmla="*/ 321945 w 542925"/>
              <a:gd name="connsiteY14" fmla="*/ 12503 h 523875"/>
              <a:gd name="connsiteX15" fmla="*/ 387667 w 542925"/>
              <a:gd name="connsiteY15" fmla="*/ 120 h 523875"/>
              <a:gd name="connsiteX16" fmla="*/ 544830 w 542925"/>
              <a:gd name="connsiteY16" fmla="*/ 18490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42925" h="523875">
                <a:moveTo>
                  <a:pt x="544830" y="184905"/>
                </a:moveTo>
                <a:lnTo>
                  <a:pt x="544830" y="197288"/>
                </a:lnTo>
                <a:lnTo>
                  <a:pt x="415290" y="204908"/>
                </a:lnTo>
                <a:lnTo>
                  <a:pt x="415290" y="170618"/>
                </a:lnTo>
                <a:cubicBezTo>
                  <a:pt x="415290" y="119183"/>
                  <a:pt x="385763" y="83940"/>
                  <a:pt x="344805" y="83940"/>
                </a:cubicBezTo>
                <a:cubicBezTo>
                  <a:pt x="283845" y="83940"/>
                  <a:pt x="233363" y="164903"/>
                  <a:pt x="233363" y="266820"/>
                </a:cubicBezTo>
                <a:lnTo>
                  <a:pt x="233363" y="446843"/>
                </a:lnTo>
                <a:lnTo>
                  <a:pt x="107632" y="532568"/>
                </a:lnTo>
                <a:lnTo>
                  <a:pt x="107632" y="95370"/>
                </a:lnTo>
                <a:lnTo>
                  <a:pt x="0" y="95370"/>
                </a:lnTo>
                <a:lnTo>
                  <a:pt x="0" y="2978"/>
                </a:lnTo>
                <a:lnTo>
                  <a:pt x="219075" y="2978"/>
                </a:lnTo>
                <a:lnTo>
                  <a:pt x="219075" y="157283"/>
                </a:lnTo>
                <a:lnTo>
                  <a:pt x="221932" y="157283"/>
                </a:lnTo>
                <a:cubicBezTo>
                  <a:pt x="252413" y="66795"/>
                  <a:pt x="276225" y="31553"/>
                  <a:pt x="321945" y="12503"/>
                </a:cubicBezTo>
                <a:cubicBezTo>
                  <a:pt x="342900" y="3930"/>
                  <a:pt x="364807" y="-832"/>
                  <a:pt x="387667" y="120"/>
                </a:cubicBezTo>
                <a:cubicBezTo>
                  <a:pt x="485775" y="-1785"/>
                  <a:pt x="544830" y="66795"/>
                  <a:pt x="544830" y="18490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3" name="Forme libre : forme 112">
            <a:extLst>
              <a:ext uri="{FF2B5EF4-FFF2-40B4-BE49-F238E27FC236}">
                <a16:creationId xmlns:a16="http://schemas.microsoft.com/office/drawing/2014/main" id="{1D567C73-1317-457C-BAF4-E866C8E84479}"/>
              </a:ext>
            </a:extLst>
          </p:cNvPr>
          <p:cNvSpPr/>
          <p:nvPr/>
        </p:nvSpPr>
        <p:spPr>
          <a:xfrm rot="7484129">
            <a:off x="-46974" y="4273166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4" name="Forme libre : forme 113">
            <a:extLst>
              <a:ext uri="{FF2B5EF4-FFF2-40B4-BE49-F238E27FC236}">
                <a16:creationId xmlns:a16="http://schemas.microsoft.com/office/drawing/2014/main" id="{4B07308E-D0A0-4D3E-9DEB-C235BB5B8299}"/>
              </a:ext>
            </a:extLst>
          </p:cNvPr>
          <p:cNvSpPr/>
          <p:nvPr/>
        </p:nvSpPr>
        <p:spPr>
          <a:xfrm rot="13089394">
            <a:off x="57846" y="4239700"/>
            <a:ext cx="270377" cy="325556"/>
          </a:xfrm>
          <a:custGeom>
            <a:avLst/>
            <a:gdLst>
              <a:gd name="connsiteX0" fmla="*/ 470535 w 466725"/>
              <a:gd name="connsiteY0" fmla="*/ 436245 h 561975"/>
              <a:gd name="connsiteX1" fmla="*/ 470535 w 466725"/>
              <a:gd name="connsiteY1" fmla="*/ 445770 h 561975"/>
              <a:gd name="connsiteX2" fmla="*/ 158115 w 466725"/>
              <a:gd name="connsiteY2" fmla="*/ 567690 h 561975"/>
              <a:gd name="connsiteX3" fmla="*/ 40957 w 466725"/>
              <a:gd name="connsiteY3" fmla="*/ 520065 h 561975"/>
              <a:gd name="connsiteX4" fmla="*/ 0 w 466725"/>
              <a:gd name="connsiteY4" fmla="*/ 356235 h 561975"/>
              <a:gd name="connsiteX5" fmla="*/ 0 w 466725"/>
              <a:gd name="connsiteY5" fmla="*/ 65723 h 561975"/>
              <a:gd name="connsiteX6" fmla="*/ 126682 w 466725"/>
              <a:gd name="connsiteY6" fmla="*/ 0 h 561975"/>
              <a:gd name="connsiteX7" fmla="*/ 128588 w 466725"/>
              <a:gd name="connsiteY7" fmla="*/ 265748 h 561975"/>
              <a:gd name="connsiteX8" fmla="*/ 151447 w 466725"/>
              <a:gd name="connsiteY8" fmla="*/ 423863 h 561975"/>
              <a:gd name="connsiteX9" fmla="*/ 265747 w 466725"/>
              <a:gd name="connsiteY9" fmla="*/ 486728 h 561975"/>
              <a:gd name="connsiteX10" fmla="*/ 351472 w 466725"/>
              <a:gd name="connsiteY10" fmla="*/ 471488 h 561975"/>
              <a:gd name="connsiteX11" fmla="*/ 468630 w 466725"/>
              <a:gd name="connsiteY11" fmla="*/ 423863 h 561975"/>
              <a:gd name="connsiteX12" fmla="*/ 470535 w 466725"/>
              <a:gd name="connsiteY12" fmla="*/ 436245 h 56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6725" h="561975">
                <a:moveTo>
                  <a:pt x="470535" y="436245"/>
                </a:moveTo>
                <a:lnTo>
                  <a:pt x="470535" y="445770"/>
                </a:lnTo>
                <a:cubicBezTo>
                  <a:pt x="369570" y="532448"/>
                  <a:pt x="237172" y="562928"/>
                  <a:pt x="158115" y="567690"/>
                </a:cubicBezTo>
                <a:cubicBezTo>
                  <a:pt x="114300" y="570548"/>
                  <a:pt x="71438" y="551498"/>
                  <a:pt x="40957" y="520065"/>
                </a:cubicBezTo>
                <a:cubicBezTo>
                  <a:pt x="8572" y="488633"/>
                  <a:pt x="0" y="434340"/>
                  <a:pt x="0" y="356235"/>
                </a:cubicBezTo>
                <a:lnTo>
                  <a:pt x="0" y="65723"/>
                </a:lnTo>
                <a:lnTo>
                  <a:pt x="126682" y="0"/>
                </a:lnTo>
                <a:lnTo>
                  <a:pt x="128588" y="265748"/>
                </a:lnTo>
                <a:cubicBezTo>
                  <a:pt x="125730" y="319088"/>
                  <a:pt x="134302" y="373380"/>
                  <a:pt x="151447" y="423863"/>
                </a:cubicBezTo>
                <a:cubicBezTo>
                  <a:pt x="166688" y="465773"/>
                  <a:pt x="205740" y="486728"/>
                  <a:pt x="265747" y="486728"/>
                </a:cubicBezTo>
                <a:cubicBezTo>
                  <a:pt x="295275" y="485775"/>
                  <a:pt x="323850" y="480060"/>
                  <a:pt x="351472" y="471488"/>
                </a:cubicBezTo>
                <a:cubicBezTo>
                  <a:pt x="391477" y="459105"/>
                  <a:pt x="430530" y="442913"/>
                  <a:pt x="468630" y="423863"/>
                </a:cubicBezTo>
                <a:cubicBezTo>
                  <a:pt x="469582" y="427673"/>
                  <a:pt x="470535" y="432435"/>
                  <a:pt x="470535" y="43624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5" name="Forme libre : forme 114">
            <a:extLst>
              <a:ext uri="{FF2B5EF4-FFF2-40B4-BE49-F238E27FC236}">
                <a16:creationId xmlns:a16="http://schemas.microsoft.com/office/drawing/2014/main" id="{B3D02E0E-617A-4DDE-855C-BECF0834C305}"/>
              </a:ext>
            </a:extLst>
          </p:cNvPr>
          <p:cNvSpPr/>
          <p:nvPr/>
        </p:nvSpPr>
        <p:spPr>
          <a:xfrm rot="8716295">
            <a:off x="243431" y="4048019"/>
            <a:ext cx="220345" cy="161228"/>
          </a:xfrm>
          <a:custGeom>
            <a:avLst/>
            <a:gdLst>
              <a:gd name="connsiteX0" fmla="*/ 343853 w 390525"/>
              <a:gd name="connsiteY0" fmla="*/ 144780 h 285750"/>
              <a:gd name="connsiteX1" fmla="*/ 344805 w 390525"/>
              <a:gd name="connsiteY1" fmla="*/ 144780 h 285750"/>
              <a:gd name="connsiteX2" fmla="*/ 12382 w 390525"/>
              <a:gd name="connsiteY2" fmla="*/ 288608 h 285750"/>
              <a:gd name="connsiteX3" fmla="*/ 0 w 390525"/>
              <a:gd name="connsiteY3" fmla="*/ 271463 h 285750"/>
              <a:gd name="connsiteX4" fmla="*/ 225743 w 390525"/>
              <a:gd name="connsiteY4" fmla="*/ 59055 h 285750"/>
              <a:gd name="connsiteX5" fmla="*/ 340043 w 390525"/>
              <a:gd name="connsiteY5" fmla="*/ 0 h 285750"/>
              <a:gd name="connsiteX6" fmla="*/ 399098 w 390525"/>
              <a:gd name="connsiteY6" fmla="*/ 70485 h 285750"/>
              <a:gd name="connsiteX7" fmla="*/ 343853 w 390525"/>
              <a:gd name="connsiteY7" fmla="*/ 14478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0525" h="285750">
                <a:moveTo>
                  <a:pt x="343853" y="144780"/>
                </a:moveTo>
                <a:lnTo>
                  <a:pt x="344805" y="144780"/>
                </a:lnTo>
                <a:lnTo>
                  <a:pt x="12382" y="288608"/>
                </a:lnTo>
                <a:lnTo>
                  <a:pt x="0" y="271463"/>
                </a:lnTo>
                <a:lnTo>
                  <a:pt x="225743" y="59055"/>
                </a:lnTo>
                <a:cubicBezTo>
                  <a:pt x="254318" y="25718"/>
                  <a:pt x="295275" y="4763"/>
                  <a:pt x="340043" y="0"/>
                </a:cubicBezTo>
                <a:cubicBezTo>
                  <a:pt x="385763" y="0"/>
                  <a:pt x="399098" y="40005"/>
                  <a:pt x="399098" y="70485"/>
                </a:cubicBezTo>
                <a:cubicBezTo>
                  <a:pt x="396240" y="103823"/>
                  <a:pt x="374332" y="131445"/>
                  <a:pt x="343853" y="14478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6" name="Forme libre : forme 115">
            <a:extLst>
              <a:ext uri="{FF2B5EF4-FFF2-40B4-BE49-F238E27FC236}">
                <a16:creationId xmlns:a16="http://schemas.microsoft.com/office/drawing/2014/main" id="{FCFFBDC4-0942-4E6E-9EF4-22477617D5C9}"/>
              </a:ext>
            </a:extLst>
          </p:cNvPr>
          <p:cNvSpPr/>
          <p:nvPr/>
        </p:nvSpPr>
        <p:spPr>
          <a:xfrm rot="8716295">
            <a:off x="191626" y="3944426"/>
            <a:ext cx="110380" cy="1103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7" name="Forme libre : forme 116">
            <a:extLst>
              <a:ext uri="{FF2B5EF4-FFF2-40B4-BE49-F238E27FC236}">
                <a16:creationId xmlns:a16="http://schemas.microsoft.com/office/drawing/2014/main" id="{6779D405-E211-4D4D-B286-FEED219E73DF}"/>
              </a:ext>
            </a:extLst>
          </p:cNvPr>
          <p:cNvSpPr/>
          <p:nvPr/>
        </p:nvSpPr>
        <p:spPr>
          <a:xfrm rot="8716295">
            <a:off x="125832" y="3815405"/>
            <a:ext cx="110380" cy="1103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8" name="Forme libre : forme 117">
            <a:extLst>
              <a:ext uri="{FF2B5EF4-FFF2-40B4-BE49-F238E27FC236}">
                <a16:creationId xmlns:a16="http://schemas.microsoft.com/office/drawing/2014/main" id="{1B98413D-C7CC-484D-AF71-C6706295A09F}"/>
              </a:ext>
            </a:extLst>
          </p:cNvPr>
          <p:cNvSpPr/>
          <p:nvPr/>
        </p:nvSpPr>
        <p:spPr>
          <a:xfrm rot="8716295">
            <a:off x="-73048" y="4876828"/>
            <a:ext cx="221382" cy="253349"/>
          </a:xfrm>
          <a:custGeom>
            <a:avLst/>
            <a:gdLst>
              <a:gd name="connsiteX0" fmla="*/ 51490 w 221382"/>
              <a:gd name="connsiteY0" fmla="*/ 253349 h 253349"/>
              <a:gd name="connsiteX1" fmla="*/ 51490 w 221382"/>
              <a:gd name="connsiteY1" fmla="*/ 44199 h 253349"/>
              <a:gd name="connsiteX2" fmla="*/ 0 w 221382"/>
              <a:gd name="connsiteY2" fmla="*/ 44199 h 253349"/>
              <a:gd name="connsiteX3" fmla="*/ 0 w 221382"/>
              <a:gd name="connsiteY3" fmla="*/ 0 h 253349"/>
              <a:gd name="connsiteX4" fmla="*/ 104803 w 221382"/>
              <a:gd name="connsiteY4" fmla="*/ 0 h 253349"/>
              <a:gd name="connsiteX5" fmla="*/ 104802 w 221382"/>
              <a:gd name="connsiteY5" fmla="*/ 73817 h 253349"/>
              <a:gd name="connsiteX6" fmla="*/ 106169 w 221382"/>
              <a:gd name="connsiteY6" fmla="*/ 73817 h 253349"/>
              <a:gd name="connsiteX7" fmla="*/ 154014 w 221382"/>
              <a:gd name="connsiteY7" fmla="*/ 4556 h 253349"/>
              <a:gd name="connsiteX8" fmla="*/ 174650 w 221382"/>
              <a:gd name="connsiteY8" fmla="*/ 668 h 253349"/>
              <a:gd name="connsiteX9" fmla="*/ 214075 w 221382"/>
              <a:gd name="connsiteY9" fmla="*/ 27996 h 253349"/>
              <a:gd name="connsiteX10" fmla="*/ 221382 w 221382"/>
              <a:gd name="connsiteY10" fmla="*/ 33060 h 253349"/>
              <a:gd name="connsiteX11" fmla="*/ 195540 w 221382"/>
              <a:gd name="connsiteY11" fmla="*/ 70341 h 253349"/>
              <a:gd name="connsiteX12" fmla="*/ 189157 w 221382"/>
              <a:gd name="connsiteY12" fmla="*/ 50236 h 253349"/>
              <a:gd name="connsiteX13" fmla="*/ 164950 w 221382"/>
              <a:gd name="connsiteY13" fmla="*/ 38731 h 253349"/>
              <a:gd name="connsiteX14" fmla="*/ 111638 w 221382"/>
              <a:gd name="connsiteY14" fmla="*/ 126218 h 253349"/>
              <a:gd name="connsiteX15" fmla="*/ 111638 w 221382"/>
              <a:gd name="connsiteY15" fmla="*/ 191383 h 253349"/>
              <a:gd name="connsiteX16" fmla="*/ 84096 w 221382"/>
              <a:gd name="connsiteY16" fmla="*/ 231117 h 2533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21382" h="253349">
                <a:moveTo>
                  <a:pt x="51490" y="253349"/>
                </a:moveTo>
                <a:lnTo>
                  <a:pt x="51490" y="44199"/>
                </a:lnTo>
                <a:lnTo>
                  <a:pt x="0" y="44199"/>
                </a:lnTo>
                <a:lnTo>
                  <a:pt x="0" y="0"/>
                </a:lnTo>
                <a:lnTo>
                  <a:pt x="104803" y="0"/>
                </a:lnTo>
                <a:lnTo>
                  <a:pt x="104802" y="73817"/>
                </a:lnTo>
                <a:lnTo>
                  <a:pt x="106169" y="73817"/>
                </a:lnTo>
                <a:cubicBezTo>
                  <a:pt x="120751" y="30529"/>
                  <a:pt x="132142" y="13670"/>
                  <a:pt x="154014" y="4556"/>
                </a:cubicBezTo>
                <a:lnTo>
                  <a:pt x="174650" y="668"/>
                </a:lnTo>
                <a:lnTo>
                  <a:pt x="214075" y="27996"/>
                </a:lnTo>
                <a:lnTo>
                  <a:pt x="221382" y="33060"/>
                </a:lnTo>
                <a:lnTo>
                  <a:pt x="195540" y="70341"/>
                </a:lnTo>
                <a:lnTo>
                  <a:pt x="189157" y="50236"/>
                </a:lnTo>
                <a:cubicBezTo>
                  <a:pt x="183177" y="42946"/>
                  <a:pt x="174747" y="38731"/>
                  <a:pt x="164950" y="38731"/>
                </a:cubicBezTo>
                <a:cubicBezTo>
                  <a:pt x="135788" y="38731"/>
                  <a:pt x="111638" y="77463"/>
                  <a:pt x="111638" y="126218"/>
                </a:cubicBezTo>
                <a:lnTo>
                  <a:pt x="111638" y="191383"/>
                </a:lnTo>
                <a:lnTo>
                  <a:pt x="84096" y="231117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9" name="Forme libre : forme 118">
            <a:extLst>
              <a:ext uri="{FF2B5EF4-FFF2-40B4-BE49-F238E27FC236}">
                <a16:creationId xmlns:a16="http://schemas.microsoft.com/office/drawing/2014/main" id="{6176F84A-9766-45D5-91E9-4847B60A5CD4}"/>
              </a:ext>
            </a:extLst>
          </p:cNvPr>
          <p:cNvSpPr/>
          <p:nvPr/>
        </p:nvSpPr>
        <p:spPr>
          <a:xfrm rot="8716295">
            <a:off x="93318" y="4612018"/>
            <a:ext cx="141256" cy="232388"/>
          </a:xfrm>
          <a:custGeom>
            <a:avLst/>
            <a:gdLst>
              <a:gd name="connsiteX0" fmla="*/ 297180 w 295275"/>
              <a:gd name="connsiteY0" fmla="*/ 104775 h 485775"/>
              <a:gd name="connsiteX1" fmla="*/ 297180 w 295275"/>
              <a:gd name="connsiteY1" fmla="*/ 435293 h 485775"/>
              <a:gd name="connsiteX2" fmla="*/ 169545 w 295275"/>
              <a:gd name="connsiteY2" fmla="*/ 485775 h 485775"/>
              <a:gd name="connsiteX3" fmla="*/ 169545 w 295275"/>
              <a:gd name="connsiteY3" fmla="*/ 145733 h 485775"/>
              <a:gd name="connsiteX4" fmla="*/ 169545 w 295275"/>
              <a:gd name="connsiteY4" fmla="*/ 137160 h 485775"/>
              <a:gd name="connsiteX5" fmla="*/ 126683 w 295275"/>
              <a:gd name="connsiteY5" fmla="*/ 104775 h 485775"/>
              <a:gd name="connsiteX6" fmla="*/ 0 w 295275"/>
              <a:gd name="connsiteY6" fmla="*/ 104775 h 485775"/>
              <a:gd name="connsiteX7" fmla="*/ 0 w 295275"/>
              <a:gd name="connsiteY7" fmla="*/ 0 h 485775"/>
              <a:gd name="connsiteX8" fmla="*/ 178118 w 295275"/>
              <a:gd name="connsiteY8" fmla="*/ 0 h 485775"/>
              <a:gd name="connsiteX9" fmla="*/ 297180 w 295275"/>
              <a:gd name="connsiteY9" fmla="*/ 104775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95275" h="485775">
                <a:moveTo>
                  <a:pt x="297180" y="104775"/>
                </a:moveTo>
                <a:lnTo>
                  <a:pt x="297180" y="435293"/>
                </a:lnTo>
                <a:lnTo>
                  <a:pt x="169545" y="485775"/>
                </a:lnTo>
                <a:lnTo>
                  <a:pt x="169545" y="145733"/>
                </a:lnTo>
                <a:cubicBezTo>
                  <a:pt x="169545" y="142875"/>
                  <a:pt x="169545" y="140018"/>
                  <a:pt x="169545" y="137160"/>
                </a:cubicBezTo>
                <a:cubicBezTo>
                  <a:pt x="166688" y="116205"/>
                  <a:pt x="147638" y="101918"/>
                  <a:pt x="126683" y="104775"/>
                </a:cubicBezTo>
                <a:lnTo>
                  <a:pt x="0" y="104775"/>
                </a:lnTo>
                <a:lnTo>
                  <a:pt x="0" y="0"/>
                </a:lnTo>
                <a:lnTo>
                  <a:pt x="178118" y="0"/>
                </a:lnTo>
                <a:cubicBezTo>
                  <a:pt x="255270" y="0"/>
                  <a:pt x="297180" y="33338"/>
                  <a:pt x="297180" y="10477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0" name="Forme libre : forme 119">
            <a:extLst>
              <a:ext uri="{FF2B5EF4-FFF2-40B4-BE49-F238E27FC236}">
                <a16:creationId xmlns:a16="http://schemas.microsoft.com/office/drawing/2014/main" id="{3DA54937-5DEF-4122-B904-83A03268CA89}"/>
              </a:ext>
            </a:extLst>
          </p:cNvPr>
          <p:cNvSpPr/>
          <p:nvPr/>
        </p:nvSpPr>
        <p:spPr>
          <a:xfrm rot="8716295">
            <a:off x="182710" y="4641260"/>
            <a:ext cx="259728" cy="250615"/>
          </a:xfrm>
          <a:custGeom>
            <a:avLst/>
            <a:gdLst>
              <a:gd name="connsiteX0" fmla="*/ 544830 w 542925"/>
              <a:gd name="connsiteY0" fmla="*/ 184905 h 523875"/>
              <a:gd name="connsiteX1" fmla="*/ 544830 w 542925"/>
              <a:gd name="connsiteY1" fmla="*/ 197288 h 523875"/>
              <a:gd name="connsiteX2" fmla="*/ 415290 w 542925"/>
              <a:gd name="connsiteY2" fmla="*/ 204908 h 523875"/>
              <a:gd name="connsiteX3" fmla="*/ 415290 w 542925"/>
              <a:gd name="connsiteY3" fmla="*/ 170618 h 523875"/>
              <a:gd name="connsiteX4" fmla="*/ 344805 w 542925"/>
              <a:gd name="connsiteY4" fmla="*/ 83940 h 523875"/>
              <a:gd name="connsiteX5" fmla="*/ 233363 w 542925"/>
              <a:gd name="connsiteY5" fmla="*/ 266820 h 523875"/>
              <a:gd name="connsiteX6" fmla="*/ 233363 w 542925"/>
              <a:gd name="connsiteY6" fmla="*/ 446843 h 523875"/>
              <a:gd name="connsiteX7" fmla="*/ 107632 w 542925"/>
              <a:gd name="connsiteY7" fmla="*/ 532568 h 523875"/>
              <a:gd name="connsiteX8" fmla="*/ 107632 w 542925"/>
              <a:gd name="connsiteY8" fmla="*/ 95370 h 523875"/>
              <a:gd name="connsiteX9" fmla="*/ 0 w 542925"/>
              <a:gd name="connsiteY9" fmla="*/ 95370 h 523875"/>
              <a:gd name="connsiteX10" fmla="*/ 0 w 542925"/>
              <a:gd name="connsiteY10" fmla="*/ 2978 h 523875"/>
              <a:gd name="connsiteX11" fmla="*/ 219075 w 542925"/>
              <a:gd name="connsiteY11" fmla="*/ 2978 h 523875"/>
              <a:gd name="connsiteX12" fmla="*/ 219075 w 542925"/>
              <a:gd name="connsiteY12" fmla="*/ 157283 h 523875"/>
              <a:gd name="connsiteX13" fmla="*/ 221932 w 542925"/>
              <a:gd name="connsiteY13" fmla="*/ 157283 h 523875"/>
              <a:gd name="connsiteX14" fmla="*/ 321945 w 542925"/>
              <a:gd name="connsiteY14" fmla="*/ 12503 h 523875"/>
              <a:gd name="connsiteX15" fmla="*/ 387667 w 542925"/>
              <a:gd name="connsiteY15" fmla="*/ 120 h 523875"/>
              <a:gd name="connsiteX16" fmla="*/ 544830 w 542925"/>
              <a:gd name="connsiteY16" fmla="*/ 18490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42925" h="523875">
                <a:moveTo>
                  <a:pt x="544830" y="184905"/>
                </a:moveTo>
                <a:lnTo>
                  <a:pt x="544830" y="197288"/>
                </a:lnTo>
                <a:lnTo>
                  <a:pt x="415290" y="204908"/>
                </a:lnTo>
                <a:lnTo>
                  <a:pt x="415290" y="170618"/>
                </a:lnTo>
                <a:cubicBezTo>
                  <a:pt x="415290" y="119183"/>
                  <a:pt x="385763" y="83940"/>
                  <a:pt x="344805" y="83940"/>
                </a:cubicBezTo>
                <a:cubicBezTo>
                  <a:pt x="283845" y="83940"/>
                  <a:pt x="233363" y="164903"/>
                  <a:pt x="233363" y="266820"/>
                </a:cubicBezTo>
                <a:lnTo>
                  <a:pt x="233363" y="446843"/>
                </a:lnTo>
                <a:lnTo>
                  <a:pt x="107632" y="532568"/>
                </a:lnTo>
                <a:lnTo>
                  <a:pt x="107632" y="95370"/>
                </a:lnTo>
                <a:lnTo>
                  <a:pt x="0" y="95370"/>
                </a:lnTo>
                <a:lnTo>
                  <a:pt x="0" y="2978"/>
                </a:lnTo>
                <a:lnTo>
                  <a:pt x="219075" y="2978"/>
                </a:lnTo>
                <a:lnTo>
                  <a:pt x="219075" y="157283"/>
                </a:lnTo>
                <a:lnTo>
                  <a:pt x="221932" y="157283"/>
                </a:lnTo>
                <a:cubicBezTo>
                  <a:pt x="252413" y="66795"/>
                  <a:pt x="276225" y="31553"/>
                  <a:pt x="321945" y="12503"/>
                </a:cubicBezTo>
                <a:cubicBezTo>
                  <a:pt x="342900" y="3930"/>
                  <a:pt x="364807" y="-832"/>
                  <a:pt x="387667" y="120"/>
                </a:cubicBezTo>
                <a:cubicBezTo>
                  <a:pt x="485775" y="-1785"/>
                  <a:pt x="544830" y="66795"/>
                  <a:pt x="544830" y="18490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1" name="Forme libre : forme 120">
            <a:extLst>
              <a:ext uri="{FF2B5EF4-FFF2-40B4-BE49-F238E27FC236}">
                <a16:creationId xmlns:a16="http://schemas.microsoft.com/office/drawing/2014/main" id="{24CD3C2A-51CB-4CA4-A2B4-FE03D227C422}"/>
              </a:ext>
            </a:extLst>
          </p:cNvPr>
          <p:cNvSpPr/>
          <p:nvPr/>
        </p:nvSpPr>
        <p:spPr>
          <a:xfrm rot="8716295">
            <a:off x="-14524" y="4699631"/>
            <a:ext cx="49997" cy="54238"/>
          </a:xfrm>
          <a:custGeom>
            <a:avLst/>
            <a:gdLst>
              <a:gd name="connsiteX0" fmla="*/ 8658 w 49997"/>
              <a:gd name="connsiteY0" fmla="*/ 50123 h 54238"/>
              <a:gd name="connsiteX1" fmla="*/ 0 w 49997"/>
              <a:gd name="connsiteY1" fmla="*/ 29619 h 54238"/>
              <a:gd name="connsiteX2" fmla="*/ 0 w 49997"/>
              <a:gd name="connsiteY2" fmla="*/ 29162 h 54238"/>
              <a:gd name="connsiteX3" fmla="*/ 8658 w 49997"/>
              <a:gd name="connsiteY3" fmla="*/ 8658 h 54238"/>
              <a:gd name="connsiteX4" fmla="*/ 29163 w 49997"/>
              <a:gd name="connsiteY4" fmla="*/ 0 h 54238"/>
              <a:gd name="connsiteX5" fmla="*/ 49668 w 49997"/>
              <a:gd name="connsiteY5" fmla="*/ 8658 h 54238"/>
              <a:gd name="connsiteX6" fmla="*/ 49997 w 49997"/>
              <a:gd name="connsiteY6" fmla="*/ 9441 h 54238"/>
              <a:gd name="connsiteX7" fmla="*/ 18945 w 49997"/>
              <a:gd name="connsiteY7" fmla="*/ 54238 h 54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9997" h="54238">
                <a:moveTo>
                  <a:pt x="8658" y="50123"/>
                </a:moveTo>
                <a:cubicBezTo>
                  <a:pt x="3190" y="44655"/>
                  <a:pt x="0" y="37365"/>
                  <a:pt x="0" y="29619"/>
                </a:cubicBezTo>
                <a:lnTo>
                  <a:pt x="0" y="29162"/>
                </a:lnTo>
                <a:cubicBezTo>
                  <a:pt x="0" y="21417"/>
                  <a:pt x="3190" y="14126"/>
                  <a:pt x="8658" y="8658"/>
                </a:cubicBezTo>
                <a:cubicBezTo>
                  <a:pt x="14126" y="3190"/>
                  <a:pt x="21416" y="0"/>
                  <a:pt x="29163" y="0"/>
                </a:cubicBezTo>
                <a:cubicBezTo>
                  <a:pt x="36909" y="0"/>
                  <a:pt x="44200" y="3190"/>
                  <a:pt x="49668" y="8658"/>
                </a:cubicBezTo>
                <a:lnTo>
                  <a:pt x="49997" y="9441"/>
                </a:lnTo>
                <a:lnTo>
                  <a:pt x="18945" y="54238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2" name="Forme libre : forme 121">
            <a:extLst>
              <a:ext uri="{FF2B5EF4-FFF2-40B4-BE49-F238E27FC236}">
                <a16:creationId xmlns:a16="http://schemas.microsoft.com/office/drawing/2014/main" id="{7A46CCF0-E67A-4E1E-9549-23C0DBDB68E2}"/>
              </a:ext>
            </a:extLst>
          </p:cNvPr>
          <p:cNvSpPr/>
          <p:nvPr/>
        </p:nvSpPr>
        <p:spPr>
          <a:xfrm rot="8716295">
            <a:off x="-30327" y="4579755"/>
            <a:ext cx="113346" cy="71024"/>
          </a:xfrm>
          <a:custGeom>
            <a:avLst/>
            <a:gdLst>
              <a:gd name="connsiteX0" fmla="*/ 0 w 113346"/>
              <a:gd name="connsiteY0" fmla="*/ 55323 h 71024"/>
              <a:gd name="connsiteX1" fmla="*/ 0 w 113346"/>
              <a:gd name="connsiteY1" fmla="*/ 0 h 71024"/>
              <a:gd name="connsiteX2" fmla="*/ 113346 w 113346"/>
              <a:gd name="connsiteY2" fmla="*/ 0 h 71024"/>
              <a:gd name="connsiteX3" fmla="*/ 64114 w 113346"/>
              <a:gd name="connsiteY3" fmla="*/ 71024 h 71024"/>
              <a:gd name="connsiteX4" fmla="*/ 69777 w 113346"/>
              <a:gd name="connsiteY4" fmla="*/ 55323 h 71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346" h="71024">
                <a:moveTo>
                  <a:pt x="0" y="55323"/>
                </a:moveTo>
                <a:lnTo>
                  <a:pt x="0" y="0"/>
                </a:lnTo>
                <a:lnTo>
                  <a:pt x="113346" y="0"/>
                </a:lnTo>
                <a:lnTo>
                  <a:pt x="64114" y="71024"/>
                </a:lnTo>
                <a:lnTo>
                  <a:pt x="69777" y="5532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3" name="Forme libre : forme 122">
            <a:extLst>
              <a:ext uri="{FF2B5EF4-FFF2-40B4-BE49-F238E27FC236}">
                <a16:creationId xmlns:a16="http://schemas.microsoft.com/office/drawing/2014/main" id="{01D04BC1-282A-4CFE-BF99-5B57F855BCBC}"/>
              </a:ext>
            </a:extLst>
          </p:cNvPr>
          <p:cNvSpPr/>
          <p:nvPr/>
        </p:nvSpPr>
        <p:spPr>
          <a:xfrm rot="8716295">
            <a:off x="71262" y="4741514"/>
            <a:ext cx="100246" cy="218719"/>
          </a:xfrm>
          <a:custGeom>
            <a:avLst/>
            <a:gdLst>
              <a:gd name="connsiteX0" fmla="*/ 216217 w 209550"/>
              <a:gd name="connsiteY0" fmla="*/ 0 h 457200"/>
              <a:gd name="connsiteX1" fmla="*/ 216217 w 209550"/>
              <a:gd name="connsiteY1" fmla="*/ 458153 h 457200"/>
              <a:gd name="connsiteX2" fmla="*/ 90488 w 209550"/>
              <a:gd name="connsiteY2" fmla="*/ 337185 h 457200"/>
              <a:gd name="connsiteX3" fmla="*/ 90488 w 209550"/>
              <a:gd name="connsiteY3" fmla="*/ 34290 h 457200"/>
              <a:gd name="connsiteX4" fmla="*/ 0 w 209550"/>
              <a:gd name="connsiteY4" fmla="*/ 34290 h 457200"/>
              <a:gd name="connsiteX5" fmla="*/ 0 w 209550"/>
              <a:gd name="connsiteY5" fmla="*/ 4763 h 457200"/>
              <a:gd name="connsiteX6" fmla="*/ 216217 w 209550"/>
              <a:gd name="connsiteY6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9550" h="457200">
                <a:moveTo>
                  <a:pt x="216217" y="0"/>
                </a:moveTo>
                <a:lnTo>
                  <a:pt x="216217" y="458153"/>
                </a:lnTo>
                <a:lnTo>
                  <a:pt x="90488" y="337185"/>
                </a:lnTo>
                <a:lnTo>
                  <a:pt x="90488" y="34290"/>
                </a:lnTo>
                <a:lnTo>
                  <a:pt x="0" y="34290"/>
                </a:lnTo>
                <a:lnTo>
                  <a:pt x="0" y="4763"/>
                </a:lnTo>
                <a:cubicBezTo>
                  <a:pt x="68580" y="7620"/>
                  <a:pt x="140017" y="1905"/>
                  <a:pt x="216217" y="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4" name="Forme libre : forme 123">
            <a:extLst>
              <a:ext uri="{FF2B5EF4-FFF2-40B4-BE49-F238E27FC236}">
                <a16:creationId xmlns:a16="http://schemas.microsoft.com/office/drawing/2014/main" id="{A04953EA-5C79-45C4-9757-065EFCA47539}"/>
              </a:ext>
            </a:extLst>
          </p:cNvPr>
          <p:cNvSpPr/>
          <p:nvPr/>
        </p:nvSpPr>
        <p:spPr>
          <a:xfrm rot="7484129">
            <a:off x="172059" y="4933533"/>
            <a:ext cx="203847" cy="195874"/>
          </a:xfrm>
          <a:custGeom>
            <a:avLst/>
            <a:gdLst>
              <a:gd name="connsiteX0" fmla="*/ 90710 w 203847"/>
              <a:gd name="connsiteY0" fmla="*/ 195874 h 195874"/>
              <a:gd name="connsiteX1" fmla="*/ 47847 w 203847"/>
              <a:gd name="connsiteY1" fmla="*/ 116129 h 195874"/>
              <a:gd name="connsiteX2" fmla="*/ 69777 w 203847"/>
              <a:gd name="connsiteY2" fmla="*/ 55323 h 195874"/>
              <a:gd name="connsiteX3" fmla="*/ 0 w 203847"/>
              <a:gd name="connsiteY3" fmla="*/ 55323 h 195874"/>
              <a:gd name="connsiteX4" fmla="*/ 0 w 203847"/>
              <a:gd name="connsiteY4" fmla="*/ 0 h 195874"/>
              <a:gd name="connsiteX5" fmla="*/ 170341 w 203847"/>
              <a:gd name="connsiteY5" fmla="*/ 0 h 195874"/>
              <a:gd name="connsiteX6" fmla="*/ 203847 w 203847"/>
              <a:gd name="connsiteY6" fmla="*/ 48325 h 195874"/>
              <a:gd name="connsiteX7" fmla="*/ 203847 w 203847"/>
              <a:gd name="connsiteY7" fmla="*/ 55323 h 195874"/>
              <a:gd name="connsiteX8" fmla="*/ 139055 w 203847"/>
              <a:gd name="connsiteY8" fmla="*/ 55323 h 195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3847" h="195874">
                <a:moveTo>
                  <a:pt x="90710" y="195874"/>
                </a:moveTo>
                <a:lnTo>
                  <a:pt x="47847" y="116129"/>
                </a:lnTo>
                <a:lnTo>
                  <a:pt x="69777" y="55323"/>
                </a:lnTo>
                <a:lnTo>
                  <a:pt x="0" y="55323"/>
                </a:lnTo>
                <a:lnTo>
                  <a:pt x="0" y="0"/>
                </a:lnTo>
                <a:lnTo>
                  <a:pt x="170341" y="0"/>
                </a:lnTo>
                <a:lnTo>
                  <a:pt x="203847" y="48325"/>
                </a:lnTo>
                <a:lnTo>
                  <a:pt x="203847" y="55323"/>
                </a:lnTo>
                <a:lnTo>
                  <a:pt x="139055" y="5532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5" name="Forme libre : forme 124">
            <a:extLst>
              <a:ext uri="{FF2B5EF4-FFF2-40B4-BE49-F238E27FC236}">
                <a16:creationId xmlns:a16="http://schemas.microsoft.com/office/drawing/2014/main" id="{49CB50EA-8DFB-4219-A82A-979E56D219DC}"/>
              </a:ext>
            </a:extLst>
          </p:cNvPr>
          <p:cNvSpPr/>
          <p:nvPr/>
        </p:nvSpPr>
        <p:spPr>
          <a:xfrm rot="13089394">
            <a:off x="313551" y="4906246"/>
            <a:ext cx="221827" cy="205098"/>
          </a:xfrm>
          <a:custGeom>
            <a:avLst/>
            <a:gdLst>
              <a:gd name="connsiteX0" fmla="*/ 24153 w 221827"/>
              <a:gd name="connsiteY0" fmla="*/ 55168 h 205098"/>
              <a:gd name="connsiteX1" fmla="*/ 0 w 221827"/>
              <a:gd name="connsiteY1" fmla="*/ 18385 h 205098"/>
              <a:gd name="connsiteX2" fmla="*/ 23400 w 221827"/>
              <a:gd name="connsiteY2" fmla="*/ 0 h 205098"/>
              <a:gd name="connsiteX3" fmla="*/ 23735 w 221827"/>
              <a:gd name="connsiteY3" fmla="*/ 46640 h 205098"/>
              <a:gd name="connsiteX4" fmla="*/ 221827 w 221827"/>
              <a:gd name="connsiteY4" fmla="*/ 150928 h 205098"/>
              <a:gd name="connsiteX5" fmla="*/ 126574 w 221827"/>
              <a:gd name="connsiteY5" fmla="*/ 204038 h 205098"/>
              <a:gd name="connsiteX6" fmla="*/ 122603 w 221827"/>
              <a:gd name="connsiteY6" fmla="*/ 205098 h 205098"/>
              <a:gd name="connsiteX7" fmla="*/ 102519 w 221827"/>
              <a:gd name="connsiteY7" fmla="*/ 174512 h 205098"/>
              <a:gd name="connsiteX8" fmla="*/ 103192 w 221827"/>
              <a:gd name="connsiteY8" fmla="*/ 174655 h 205098"/>
              <a:gd name="connsiteX9" fmla="*/ 152853 w 221827"/>
              <a:gd name="connsiteY9" fmla="*/ 165826 h 205098"/>
              <a:gd name="connsiteX10" fmla="*/ 220723 w 221827"/>
              <a:gd name="connsiteY10" fmla="*/ 138237 h 205098"/>
              <a:gd name="connsiteX11" fmla="*/ 221827 w 221827"/>
              <a:gd name="connsiteY11" fmla="*/ 145410 h 205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21827" h="205098">
                <a:moveTo>
                  <a:pt x="24153" y="55168"/>
                </a:moveTo>
                <a:lnTo>
                  <a:pt x="0" y="18385"/>
                </a:lnTo>
                <a:lnTo>
                  <a:pt x="23400" y="0"/>
                </a:lnTo>
                <a:lnTo>
                  <a:pt x="23735" y="46640"/>
                </a:lnTo>
                <a:close/>
                <a:moveTo>
                  <a:pt x="221827" y="150928"/>
                </a:moveTo>
                <a:cubicBezTo>
                  <a:pt x="192582" y="176035"/>
                  <a:pt x="158785" y="193002"/>
                  <a:pt x="126574" y="204038"/>
                </a:cubicBezTo>
                <a:lnTo>
                  <a:pt x="122603" y="205098"/>
                </a:lnTo>
                <a:lnTo>
                  <a:pt x="102519" y="174512"/>
                </a:lnTo>
                <a:lnTo>
                  <a:pt x="103192" y="174655"/>
                </a:lnTo>
                <a:cubicBezTo>
                  <a:pt x="120298" y="174103"/>
                  <a:pt x="136851" y="170792"/>
                  <a:pt x="152853" y="165826"/>
                </a:cubicBezTo>
                <a:cubicBezTo>
                  <a:pt x="176028" y="158653"/>
                  <a:pt x="198652" y="149273"/>
                  <a:pt x="220723" y="138237"/>
                </a:cubicBezTo>
                <a:cubicBezTo>
                  <a:pt x="221275" y="140444"/>
                  <a:pt x="221827" y="143203"/>
                  <a:pt x="221827" y="14541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6" name="Forme libre : forme 125">
            <a:extLst>
              <a:ext uri="{FF2B5EF4-FFF2-40B4-BE49-F238E27FC236}">
                <a16:creationId xmlns:a16="http://schemas.microsoft.com/office/drawing/2014/main" id="{5146513B-5632-4832-9AF5-1E4051EECD28}"/>
              </a:ext>
            </a:extLst>
          </p:cNvPr>
          <p:cNvSpPr/>
          <p:nvPr/>
        </p:nvSpPr>
        <p:spPr>
          <a:xfrm rot="8716295">
            <a:off x="406370" y="4600606"/>
            <a:ext cx="113655" cy="117117"/>
          </a:xfrm>
          <a:custGeom>
            <a:avLst/>
            <a:gdLst>
              <a:gd name="connsiteX0" fmla="*/ 13623 w 113655"/>
              <a:gd name="connsiteY0" fmla="*/ 100559 h 117117"/>
              <a:gd name="connsiteX1" fmla="*/ 0 w 113655"/>
              <a:gd name="connsiteY1" fmla="*/ 68296 h 117117"/>
              <a:gd name="connsiteX2" fmla="*/ 56488 w 113655"/>
              <a:gd name="connsiteY2" fmla="*/ 0 h 117117"/>
              <a:gd name="connsiteX3" fmla="*/ 96408 w 113655"/>
              <a:gd name="connsiteY3" fmla="*/ 16856 h 117117"/>
              <a:gd name="connsiteX4" fmla="*/ 96408 w 113655"/>
              <a:gd name="connsiteY4" fmla="*/ 99640 h 117117"/>
              <a:gd name="connsiteX5" fmla="*/ 55015 w 113655"/>
              <a:gd name="connsiteY5" fmla="*/ 117117 h 117117"/>
              <a:gd name="connsiteX6" fmla="*/ 13623 w 113655"/>
              <a:gd name="connsiteY6" fmla="*/ 100559 h 117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3655" h="117117">
                <a:moveTo>
                  <a:pt x="13623" y="100559"/>
                </a:moveTo>
                <a:lnTo>
                  <a:pt x="0" y="68296"/>
                </a:lnTo>
                <a:lnTo>
                  <a:pt x="56488" y="0"/>
                </a:lnTo>
                <a:lnTo>
                  <a:pt x="96408" y="16856"/>
                </a:lnTo>
                <a:cubicBezTo>
                  <a:pt x="119404" y="38931"/>
                  <a:pt x="119404" y="76644"/>
                  <a:pt x="96408" y="99640"/>
                </a:cubicBezTo>
                <a:cubicBezTo>
                  <a:pt x="85370" y="110678"/>
                  <a:pt x="70653" y="117116"/>
                  <a:pt x="55015" y="117117"/>
                </a:cubicBezTo>
                <a:cubicBezTo>
                  <a:pt x="39378" y="117117"/>
                  <a:pt x="24661" y="111597"/>
                  <a:pt x="13623" y="100559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7" name="Forme libre : forme 126">
            <a:extLst>
              <a:ext uri="{FF2B5EF4-FFF2-40B4-BE49-F238E27FC236}">
                <a16:creationId xmlns:a16="http://schemas.microsoft.com/office/drawing/2014/main" id="{FE3150CC-51A0-4255-BE10-7C4DD2D82ED1}"/>
              </a:ext>
            </a:extLst>
          </p:cNvPr>
          <p:cNvSpPr/>
          <p:nvPr/>
        </p:nvSpPr>
        <p:spPr>
          <a:xfrm rot="8716295">
            <a:off x="171547" y="4634346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8" name="Forme libre : forme 127">
            <a:extLst>
              <a:ext uri="{FF2B5EF4-FFF2-40B4-BE49-F238E27FC236}">
                <a16:creationId xmlns:a16="http://schemas.microsoft.com/office/drawing/2014/main" id="{3071C62B-77D8-4A0E-86A6-83549F6B4AD6}"/>
              </a:ext>
            </a:extLst>
          </p:cNvPr>
          <p:cNvSpPr/>
          <p:nvPr/>
        </p:nvSpPr>
        <p:spPr>
          <a:xfrm rot="8716295">
            <a:off x="348999" y="4475104"/>
            <a:ext cx="110380" cy="1103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BED9834D-49E7-4AFD-BEE4-8AB20B969F92}"/>
              </a:ext>
            </a:extLst>
          </p:cNvPr>
          <p:cNvSpPr/>
          <p:nvPr/>
        </p:nvSpPr>
        <p:spPr>
          <a:xfrm>
            <a:off x="1675026" y="884098"/>
            <a:ext cx="360000" cy="457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29" name="Espace réservé du texte 533">
            <a:extLst>
              <a:ext uri="{FF2B5EF4-FFF2-40B4-BE49-F238E27FC236}">
                <a16:creationId xmlns:a16="http://schemas.microsoft.com/office/drawing/2014/main" id="{935C0E43-331D-4BB2-8807-8DF7E7628E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97959" y="1375576"/>
            <a:ext cx="7316491" cy="3260705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300"/>
              </a:spcBef>
              <a:spcAft>
                <a:spcPts val="1000"/>
              </a:spcAft>
              <a:buNone/>
              <a:defRPr sz="1100">
                <a:solidFill>
                  <a:schemeClr val="tx1"/>
                </a:solidFill>
              </a:defRPr>
            </a:lvl2pPr>
            <a:lvl3pPr marL="270000" indent="-270000" algn="l" defTabSz="457200" rtl="0" eaLnBrk="1" latinLnBrk="0" hangingPunct="1">
              <a:spcBef>
                <a:spcPts val="400"/>
              </a:spcBef>
              <a:spcAft>
                <a:spcPts val="1000"/>
              </a:spcAft>
              <a:buSzPct val="100000"/>
              <a:buFontTx/>
              <a:buBlip>
                <a:blip r:embed="rId2"/>
              </a:buBlip>
              <a:defRPr lang="fr-FR" sz="1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0000" indent="-269875">
              <a:spcBef>
                <a:spcPts val="400"/>
              </a:spcBef>
              <a:spcAft>
                <a:spcPts val="1000"/>
              </a:spcAft>
              <a:buFontTx/>
              <a:buBlip>
                <a:blip r:embed="rId3"/>
              </a:buBlip>
              <a:defRPr sz="1000" b="1">
                <a:solidFill>
                  <a:schemeClr val="tx1"/>
                </a:solidFill>
              </a:defRPr>
            </a:lvl4pPr>
            <a:lvl5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4"/>
              </a:buBlip>
              <a:defRPr sz="1000" b="1">
                <a:solidFill>
                  <a:schemeClr val="tx1"/>
                </a:solidFill>
              </a:defRPr>
            </a:lvl5pPr>
            <a:lvl6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5"/>
              </a:buBlip>
              <a:defRPr sz="1000" b="1">
                <a:solidFill>
                  <a:schemeClr val="tx1"/>
                </a:solidFill>
              </a:defRPr>
            </a:lvl6pPr>
            <a:lvl7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6"/>
              </a:buBlip>
              <a:defRPr sz="1000" b="1">
                <a:solidFill>
                  <a:schemeClr val="tx1"/>
                </a:solidFill>
              </a:defRPr>
            </a:lvl7pPr>
            <a:lvl8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7"/>
              </a:buBlip>
              <a:defRPr sz="1000" b="1">
                <a:solidFill>
                  <a:schemeClr val="tx1"/>
                </a:solidFill>
              </a:defRPr>
            </a:lvl8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Puce bleu</a:t>
            </a:r>
          </a:p>
          <a:p>
            <a:pPr lvl="3"/>
            <a:r>
              <a:rPr lang="fr-FR" dirty="0"/>
              <a:t>Puce orange</a:t>
            </a:r>
          </a:p>
          <a:p>
            <a:pPr lvl="4"/>
            <a:r>
              <a:rPr lang="fr-FR" dirty="0"/>
              <a:t>Puce rouge</a:t>
            </a:r>
          </a:p>
          <a:p>
            <a:pPr lvl="5"/>
            <a:r>
              <a:rPr lang="fr-FR" dirty="0"/>
              <a:t>Puce vert d’eau</a:t>
            </a:r>
          </a:p>
          <a:p>
            <a:pPr lvl="6"/>
            <a:r>
              <a:rPr lang="fr-FR" dirty="0"/>
              <a:t>Puce verte</a:t>
            </a:r>
          </a:p>
          <a:p>
            <a:pPr lvl="7"/>
            <a:r>
              <a:rPr lang="fr-FR" dirty="0"/>
              <a:t>Puce violette</a:t>
            </a:r>
          </a:p>
        </p:txBody>
      </p:sp>
    </p:spTree>
    <p:extLst>
      <p:ext uri="{BB962C8B-B14F-4D97-AF65-F5344CB8AC3E}">
        <p14:creationId xmlns:p14="http://schemas.microsoft.com/office/powerpoint/2010/main" val="220038896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ur deux lignes + Conten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Forme libre : forme 134">
            <a:extLst>
              <a:ext uri="{FF2B5EF4-FFF2-40B4-BE49-F238E27FC236}">
                <a16:creationId xmlns:a16="http://schemas.microsoft.com/office/drawing/2014/main" id="{BCA8F2DB-0EFB-46C7-BE50-C48C3F133EFC}"/>
              </a:ext>
            </a:extLst>
          </p:cNvPr>
          <p:cNvSpPr/>
          <p:nvPr userDrawn="1"/>
        </p:nvSpPr>
        <p:spPr>
          <a:xfrm>
            <a:off x="629550" y="0"/>
            <a:ext cx="8514451" cy="5143499"/>
          </a:xfrm>
          <a:custGeom>
            <a:avLst/>
            <a:gdLst>
              <a:gd name="connsiteX0" fmla="*/ 685476 w 8514451"/>
              <a:gd name="connsiteY0" fmla="*/ 1246048 h 5143499"/>
              <a:gd name="connsiteX1" fmla="*/ 685476 w 8514451"/>
              <a:gd name="connsiteY1" fmla="*/ 1291767 h 5143499"/>
              <a:gd name="connsiteX2" fmla="*/ 1045476 w 8514451"/>
              <a:gd name="connsiteY2" fmla="*/ 1291767 h 5143499"/>
              <a:gd name="connsiteX3" fmla="*/ 1045476 w 8514451"/>
              <a:gd name="connsiteY3" fmla="*/ 1246048 h 5143499"/>
              <a:gd name="connsiteX4" fmla="*/ 268034 w 8514451"/>
              <a:gd name="connsiteY4" fmla="*/ 0 h 5143499"/>
              <a:gd name="connsiteX5" fmla="*/ 8514451 w 8514451"/>
              <a:gd name="connsiteY5" fmla="*/ 0 h 5143499"/>
              <a:gd name="connsiteX6" fmla="*/ 8514451 w 8514451"/>
              <a:gd name="connsiteY6" fmla="*/ 5143499 h 5143499"/>
              <a:gd name="connsiteX7" fmla="*/ 274758 w 8514451"/>
              <a:gd name="connsiteY7" fmla="*/ 5143499 h 5143499"/>
              <a:gd name="connsiteX8" fmla="*/ 0 w 8514451"/>
              <a:gd name="connsiteY8" fmla="*/ 3148262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514451" h="5143499">
                <a:moveTo>
                  <a:pt x="685476" y="1246048"/>
                </a:moveTo>
                <a:lnTo>
                  <a:pt x="685476" y="1291767"/>
                </a:lnTo>
                <a:lnTo>
                  <a:pt x="1045476" y="1291767"/>
                </a:lnTo>
                <a:lnTo>
                  <a:pt x="1045476" y="1246048"/>
                </a:lnTo>
                <a:close/>
                <a:moveTo>
                  <a:pt x="268034" y="0"/>
                </a:moveTo>
                <a:lnTo>
                  <a:pt x="8514451" y="0"/>
                </a:lnTo>
                <a:lnTo>
                  <a:pt x="8514451" y="5143499"/>
                </a:lnTo>
                <a:lnTo>
                  <a:pt x="274758" y="5143499"/>
                </a:lnTo>
                <a:lnTo>
                  <a:pt x="0" y="31482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48DF42C1-5220-478C-ABAC-92E468D673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8859" y="342566"/>
            <a:ext cx="7316491" cy="757130"/>
          </a:xfrm>
        </p:spPr>
        <p:txBody>
          <a:bodyPr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Titre de la slide</a:t>
            </a:r>
            <a:br>
              <a:rPr lang="fr-FR" dirty="0"/>
            </a:br>
            <a:r>
              <a:rPr lang="fr-FR" dirty="0"/>
              <a:t>sur deux lignes</a:t>
            </a:r>
          </a:p>
        </p:txBody>
      </p:sp>
      <p:grpSp>
        <p:nvGrpSpPr>
          <p:cNvPr id="4" name="Groupe 3">
            <a:extLst>
              <a:ext uri="{FF2B5EF4-FFF2-40B4-BE49-F238E27FC236}">
                <a16:creationId xmlns:a16="http://schemas.microsoft.com/office/drawing/2014/main" id="{7D4448DD-C686-4013-AFB5-FE86795F0079}"/>
              </a:ext>
            </a:extLst>
          </p:cNvPr>
          <p:cNvGrpSpPr/>
          <p:nvPr userDrawn="1"/>
        </p:nvGrpSpPr>
        <p:grpSpPr>
          <a:xfrm>
            <a:off x="-91485" y="-57106"/>
            <a:ext cx="1008300" cy="5190499"/>
            <a:chOff x="-91485" y="-57106"/>
            <a:chExt cx="1008300" cy="5190499"/>
          </a:xfrm>
          <a:solidFill>
            <a:schemeClr val="bg2">
              <a:alpha val="5000"/>
            </a:schemeClr>
          </a:solidFill>
        </p:grpSpPr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4100D4C0-1B0B-4813-97B4-727B3F07A2B3}"/>
                </a:ext>
              </a:extLst>
            </p:cNvPr>
            <p:cNvSpPr/>
            <p:nvPr/>
          </p:nvSpPr>
          <p:spPr>
            <a:xfrm rot="8716295">
              <a:off x="617786" y="1780350"/>
              <a:ext cx="152726" cy="195873"/>
            </a:xfrm>
            <a:custGeom>
              <a:avLst/>
              <a:gdLst>
                <a:gd name="connsiteX0" fmla="*/ 39589 w 152726"/>
                <a:gd name="connsiteY0" fmla="*/ 195873 h 195873"/>
                <a:gd name="connsiteX1" fmla="*/ 0 w 152726"/>
                <a:gd name="connsiteY1" fmla="*/ 122219 h 195873"/>
                <a:gd name="connsiteX2" fmla="*/ 101089 w 152726"/>
                <a:gd name="connsiteY2" fmla="*/ 0 h 195873"/>
                <a:gd name="connsiteX3" fmla="*/ 152726 w 152726"/>
                <a:gd name="connsiteY3" fmla="*/ 0 h 195873"/>
                <a:gd name="connsiteX4" fmla="*/ 152726 w 152726"/>
                <a:gd name="connsiteY4" fmla="*/ 55323 h 195873"/>
                <a:gd name="connsiteX5" fmla="*/ 87934 w 152726"/>
                <a:gd name="connsiteY5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726" h="195873">
                  <a:moveTo>
                    <a:pt x="39589" y="195873"/>
                  </a:moveTo>
                  <a:lnTo>
                    <a:pt x="0" y="122219"/>
                  </a:lnTo>
                  <a:lnTo>
                    <a:pt x="101089" y="0"/>
                  </a:lnTo>
                  <a:lnTo>
                    <a:pt x="152726" y="0"/>
                  </a:lnTo>
                  <a:lnTo>
                    <a:pt x="152726" y="55323"/>
                  </a:lnTo>
                  <a:lnTo>
                    <a:pt x="87934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CB9A2237-374C-411A-AB62-0191ED80FFE2}"/>
                </a:ext>
              </a:extLst>
            </p:cNvPr>
            <p:cNvSpPr/>
            <p:nvPr/>
          </p:nvSpPr>
          <p:spPr>
            <a:xfrm rot="8716295">
              <a:off x="534441" y="1654353"/>
              <a:ext cx="262864" cy="103234"/>
            </a:xfrm>
            <a:custGeom>
              <a:avLst/>
              <a:gdLst>
                <a:gd name="connsiteX0" fmla="*/ 0 w 262864"/>
                <a:gd name="connsiteY0" fmla="*/ 75341 h 103234"/>
                <a:gd name="connsiteX1" fmla="*/ 62316 w 262864"/>
                <a:gd name="connsiteY1" fmla="*/ 0 h 103234"/>
                <a:gd name="connsiteX2" fmla="*/ 65768 w 262864"/>
                <a:gd name="connsiteY2" fmla="*/ 14220 h 103234"/>
                <a:gd name="connsiteX3" fmla="*/ 136369 w 262864"/>
                <a:gd name="connsiteY3" fmla="*/ 53051 h 103234"/>
                <a:gd name="connsiteX4" fmla="*/ 189321 w 262864"/>
                <a:gd name="connsiteY4" fmla="*/ 43637 h 103234"/>
                <a:gd name="connsiteX5" fmla="*/ 261688 w 262864"/>
                <a:gd name="connsiteY5" fmla="*/ 14220 h 103234"/>
                <a:gd name="connsiteX6" fmla="*/ 262864 w 262864"/>
                <a:gd name="connsiteY6" fmla="*/ 21868 h 103234"/>
                <a:gd name="connsiteX7" fmla="*/ 262864 w 262864"/>
                <a:gd name="connsiteY7" fmla="*/ 27752 h 103234"/>
                <a:gd name="connsiteX8" fmla="*/ 69887 w 262864"/>
                <a:gd name="connsiteY8" fmla="*/ 103060 h 103234"/>
                <a:gd name="connsiteX9" fmla="*/ 30615 w 262864"/>
                <a:gd name="connsiteY9" fmla="*/ 96294 h 103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2864" h="103234">
                  <a:moveTo>
                    <a:pt x="0" y="75341"/>
                  </a:moveTo>
                  <a:lnTo>
                    <a:pt x="62316" y="0"/>
                  </a:lnTo>
                  <a:lnTo>
                    <a:pt x="65768" y="14220"/>
                  </a:lnTo>
                  <a:cubicBezTo>
                    <a:pt x="75182" y="40107"/>
                    <a:pt x="99304" y="53051"/>
                    <a:pt x="136369" y="53051"/>
                  </a:cubicBezTo>
                  <a:cubicBezTo>
                    <a:pt x="154609" y="52462"/>
                    <a:pt x="172259" y="48932"/>
                    <a:pt x="189321" y="43637"/>
                  </a:cubicBezTo>
                  <a:cubicBezTo>
                    <a:pt x="214031" y="35988"/>
                    <a:pt x="238154" y="25987"/>
                    <a:pt x="261688" y="14220"/>
                  </a:cubicBezTo>
                  <a:cubicBezTo>
                    <a:pt x="262276" y="16573"/>
                    <a:pt x="262864" y="19515"/>
                    <a:pt x="262864" y="21868"/>
                  </a:cubicBezTo>
                  <a:lnTo>
                    <a:pt x="262864" y="27752"/>
                  </a:lnTo>
                  <a:cubicBezTo>
                    <a:pt x="200500" y="81291"/>
                    <a:pt x="118719" y="100119"/>
                    <a:pt x="69887" y="103060"/>
                  </a:cubicBezTo>
                  <a:cubicBezTo>
                    <a:pt x="56355" y="103943"/>
                    <a:pt x="42970" y="101442"/>
                    <a:pt x="30615" y="9629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8F8A3734-3F77-44C7-9A38-570198540CBC}"/>
                </a:ext>
              </a:extLst>
            </p:cNvPr>
            <p:cNvSpPr/>
            <p:nvPr/>
          </p:nvSpPr>
          <p:spPr>
            <a:xfrm rot="8716295">
              <a:off x="632719" y="1232432"/>
              <a:ext cx="121558" cy="232388"/>
            </a:xfrm>
            <a:custGeom>
              <a:avLst/>
              <a:gdLst>
                <a:gd name="connsiteX0" fmla="*/ 60499 w 121558"/>
                <a:gd name="connsiteY0" fmla="*/ 232388 h 232388"/>
                <a:gd name="connsiteX1" fmla="*/ 60499 w 121558"/>
                <a:gd name="connsiteY1" fmla="*/ 69717 h 232388"/>
                <a:gd name="connsiteX2" fmla="*/ 60499 w 121558"/>
                <a:gd name="connsiteY2" fmla="*/ 65615 h 232388"/>
                <a:gd name="connsiteX3" fmla="*/ 39995 w 121558"/>
                <a:gd name="connsiteY3" fmla="*/ 50123 h 232388"/>
                <a:gd name="connsiteX4" fmla="*/ 0 w 121558"/>
                <a:gd name="connsiteY4" fmla="*/ 50123 h 232388"/>
                <a:gd name="connsiteX5" fmla="*/ 41457 w 121558"/>
                <a:gd name="connsiteY5" fmla="*/ 0 h 232388"/>
                <a:gd name="connsiteX6" fmla="*/ 64601 w 121558"/>
                <a:gd name="connsiteY6" fmla="*/ 0 h 232388"/>
                <a:gd name="connsiteX7" fmla="*/ 121558 w 121558"/>
                <a:gd name="connsiteY7" fmla="*/ 50123 h 232388"/>
                <a:gd name="connsiteX8" fmla="*/ 121558 w 121558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558" h="232388">
                  <a:moveTo>
                    <a:pt x="60499" y="232388"/>
                  </a:moveTo>
                  <a:lnTo>
                    <a:pt x="60499" y="69717"/>
                  </a:lnTo>
                  <a:cubicBezTo>
                    <a:pt x="60499" y="68349"/>
                    <a:pt x="60499" y="66983"/>
                    <a:pt x="60499" y="65615"/>
                  </a:cubicBezTo>
                  <a:cubicBezTo>
                    <a:pt x="59133" y="55591"/>
                    <a:pt x="50019" y="48756"/>
                    <a:pt x="39995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64601" y="0"/>
                  </a:lnTo>
                  <a:cubicBezTo>
                    <a:pt x="101509" y="0"/>
                    <a:pt x="121558" y="15948"/>
                    <a:pt x="121558" y="50123"/>
                  </a:cubicBezTo>
                  <a:lnTo>
                    <a:pt x="121558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70856B7B-717B-4AEA-95A4-A1E79A999538}"/>
                </a:ext>
              </a:extLst>
            </p:cNvPr>
            <p:cNvSpPr/>
            <p:nvPr/>
          </p:nvSpPr>
          <p:spPr>
            <a:xfrm rot="8716295">
              <a:off x="763454" y="1474783"/>
              <a:ext cx="14143" cy="14319"/>
            </a:xfrm>
            <a:custGeom>
              <a:avLst/>
              <a:gdLst>
                <a:gd name="connsiteX0" fmla="*/ 0 w 14143"/>
                <a:gd name="connsiteY0" fmla="*/ 14319 h 14319"/>
                <a:gd name="connsiteX1" fmla="*/ 11843 w 14143"/>
                <a:gd name="connsiteY1" fmla="*/ 0 h 14319"/>
                <a:gd name="connsiteX2" fmla="*/ 14143 w 14143"/>
                <a:gd name="connsiteY2" fmla="*/ 7563 h 14319"/>
                <a:gd name="connsiteX3" fmla="*/ 14143 w 14143"/>
                <a:gd name="connsiteY3" fmla="*/ 13487 h 1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43" h="14319">
                  <a:moveTo>
                    <a:pt x="0" y="14319"/>
                  </a:moveTo>
                  <a:lnTo>
                    <a:pt x="11843" y="0"/>
                  </a:lnTo>
                  <a:lnTo>
                    <a:pt x="14143" y="7563"/>
                  </a:lnTo>
                  <a:lnTo>
                    <a:pt x="14143" y="1348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3E264A51-6081-4342-94AB-E5098D8BEE47}"/>
                </a:ext>
              </a:extLst>
            </p:cNvPr>
            <p:cNvSpPr/>
            <p:nvPr/>
          </p:nvSpPr>
          <p:spPr>
            <a:xfrm rot="8716295">
              <a:off x="672878" y="1171577"/>
              <a:ext cx="183964" cy="137618"/>
            </a:xfrm>
            <a:custGeom>
              <a:avLst/>
              <a:gdLst>
                <a:gd name="connsiteX0" fmla="*/ 0 w 183964"/>
                <a:gd name="connsiteY0" fmla="*/ 137618 h 137618"/>
                <a:gd name="connsiteX1" fmla="*/ 53346 w 183964"/>
                <a:gd name="connsiteY1" fmla="*/ 73121 h 137618"/>
                <a:gd name="connsiteX2" fmla="*/ 101034 w 183964"/>
                <a:gd name="connsiteY2" fmla="*/ 28251 h 137618"/>
                <a:gd name="connsiteX3" fmla="*/ 155713 w 183964"/>
                <a:gd name="connsiteY3" fmla="*/ 0 h 137618"/>
                <a:gd name="connsiteX4" fmla="*/ 183964 w 183964"/>
                <a:gd name="connsiteY4" fmla="*/ 33719 h 137618"/>
                <a:gd name="connsiteX5" fmla="*/ 157536 w 183964"/>
                <a:gd name="connsiteY5" fmla="*/ 69261 h 137618"/>
                <a:gd name="connsiteX6" fmla="*/ 157991 w 183964"/>
                <a:gd name="connsiteY6" fmla="*/ 69261 h 137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3964" h="137618">
                  <a:moveTo>
                    <a:pt x="0" y="137618"/>
                  </a:moveTo>
                  <a:lnTo>
                    <a:pt x="53346" y="73121"/>
                  </a:lnTo>
                  <a:lnTo>
                    <a:pt x="101034" y="28251"/>
                  </a:lnTo>
                  <a:cubicBezTo>
                    <a:pt x="114703" y="12303"/>
                    <a:pt x="134297" y="2278"/>
                    <a:pt x="155713" y="0"/>
                  </a:cubicBezTo>
                  <a:cubicBezTo>
                    <a:pt x="177585" y="0"/>
                    <a:pt x="183964" y="19138"/>
                    <a:pt x="183964" y="33719"/>
                  </a:cubicBezTo>
                  <a:cubicBezTo>
                    <a:pt x="182597" y="49667"/>
                    <a:pt x="172117" y="62881"/>
                    <a:pt x="157536" y="69261"/>
                  </a:cubicBezTo>
                  <a:lnTo>
                    <a:pt x="157991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03D4C536-74A8-424A-B4F4-647CD66813A6}"/>
                </a:ext>
              </a:extLst>
            </p:cNvPr>
            <p:cNvSpPr/>
            <p:nvPr/>
          </p:nvSpPr>
          <p:spPr>
            <a:xfrm rot="8716295">
              <a:off x="519479" y="13148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6C726A65-5764-428F-B78B-B207E19CC8A7}"/>
                </a:ext>
              </a:extLst>
            </p:cNvPr>
            <p:cNvSpPr/>
            <p:nvPr/>
          </p:nvSpPr>
          <p:spPr>
            <a:xfrm rot="8716295">
              <a:off x="394576" y="11061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B057F75B-3923-494B-B65B-A96E682E21D4}"/>
                </a:ext>
              </a:extLst>
            </p:cNvPr>
            <p:cNvSpPr/>
            <p:nvPr/>
          </p:nvSpPr>
          <p:spPr>
            <a:xfrm rot="8716295">
              <a:off x="382524" y="96739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B57FA1DB-CF40-4C3B-8603-B0C589DE9032}"/>
                </a:ext>
              </a:extLst>
            </p:cNvPr>
            <p:cNvSpPr/>
            <p:nvPr/>
          </p:nvSpPr>
          <p:spPr>
            <a:xfrm rot="8716295">
              <a:off x="609657" y="135579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8AA6873E-3CFC-4928-9C0D-5E1C199A6A43}"/>
                </a:ext>
              </a:extLst>
            </p:cNvPr>
            <p:cNvSpPr/>
            <p:nvPr/>
          </p:nvSpPr>
          <p:spPr>
            <a:xfrm rot="8716295">
              <a:off x="683426" y="869567"/>
              <a:ext cx="156000" cy="195873"/>
            </a:xfrm>
            <a:custGeom>
              <a:avLst/>
              <a:gdLst>
                <a:gd name="connsiteX0" fmla="*/ 42863 w 156000"/>
                <a:gd name="connsiteY0" fmla="*/ 195873 h 195873"/>
                <a:gd name="connsiteX1" fmla="*/ 0 w 156000"/>
                <a:gd name="connsiteY1" fmla="*/ 116129 h 195873"/>
                <a:gd name="connsiteX2" fmla="*/ 5100 w 156000"/>
                <a:gd name="connsiteY2" fmla="*/ 101988 h 195873"/>
                <a:gd name="connsiteX3" fmla="*/ 89456 w 156000"/>
                <a:gd name="connsiteY3" fmla="*/ 0 h 195873"/>
                <a:gd name="connsiteX4" fmla="*/ 156000 w 156000"/>
                <a:gd name="connsiteY4" fmla="*/ 0 h 195873"/>
                <a:gd name="connsiteX5" fmla="*/ 156000 w 156000"/>
                <a:gd name="connsiteY5" fmla="*/ 55323 h 195873"/>
                <a:gd name="connsiteX6" fmla="*/ 91208 w 156000"/>
                <a:gd name="connsiteY6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000" h="195873">
                  <a:moveTo>
                    <a:pt x="42863" y="195873"/>
                  </a:moveTo>
                  <a:lnTo>
                    <a:pt x="0" y="116129"/>
                  </a:lnTo>
                  <a:lnTo>
                    <a:pt x="5100" y="101988"/>
                  </a:lnTo>
                  <a:lnTo>
                    <a:pt x="89456" y="0"/>
                  </a:lnTo>
                  <a:lnTo>
                    <a:pt x="156000" y="0"/>
                  </a:lnTo>
                  <a:lnTo>
                    <a:pt x="156000" y="55323"/>
                  </a:lnTo>
                  <a:lnTo>
                    <a:pt x="91208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0609DC7B-52A5-4494-9388-1386F1B7ECA0}"/>
                </a:ext>
              </a:extLst>
            </p:cNvPr>
            <p:cNvSpPr/>
            <p:nvPr/>
          </p:nvSpPr>
          <p:spPr>
            <a:xfrm rot="8716295">
              <a:off x="657305" y="95604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FA9B5438-F371-4C5C-851A-CA35F035D933}"/>
                </a:ext>
              </a:extLst>
            </p:cNvPr>
            <p:cNvSpPr/>
            <p:nvPr/>
          </p:nvSpPr>
          <p:spPr>
            <a:xfrm rot="8716295">
              <a:off x="412774" y="56424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ED2997EF-2C09-4DA3-BB88-8DA5032A40C8}"/>
                </a:ext>
              </a:extLst>
            </p:cNvPr>
            <p:cNvSpPr/>
            <p:nvPr/>
          </p:nvSpPr>
          <p:spPr>
            <a:xfrm rot="8716295">
              <a:off x="502166" y="59348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DBD136C4-820E-4184-B91F-ED5B5690DC24}"/>
                </a:ext>
              </a:extLst>
            </p:cNvPr>
            <p:cNvSpPr/>
            <p:nvPr/>
          </p:nvSpPr>
          <p:spPr>
            <a:xfrm rot="8716295">
              <a:off x="457316" y="50720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8BD8CCA9-A2C8-4634-B0CF-620A635CE67A}"/>
                </a:ext>
              </a:extLst>
            </p:cNvPr>
            <p:cNvSpPr/>
            <p:nvPr/>
          </p:nvSpPr>
          <p:spPr>
            <a:xfrm rot="8716295">
              <a:off x="300540" y="65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33B24AF7-29F7-4408-AE25-97A38660E784}"/>
                </a:ext>
              </a:extLst>
            </p:cNvPr>
            <p:cNvSpPr/>
            <p:nvPr/>
          </p:nvSpPr>
          <p:spPr>
            <a:xfrm rot="8716295">
              <a:off x="175637" y="44411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506A4C62-4148-4841-838F-A205F53AD573}"/>
                </a:ext>
              </a:extLst>
            </p:cNvPr>
            <p:cNvSpPr/>
            <p:nvPr/>
          </p:nvSpPr>
          <p:spPr>
            <a:xfrm rot="8716295">
              <a:off x="163585" y="30533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1C1A41D0-65C3-44E5-8A29-ECCEBE983C62}"/>
                </a:ext>
              </a:extLst>
            </p:cNvPr>
            <p:cNvSpPr/>
            <p:nvPr/>
          </p:nvSpPr>
          <p:spPr>
            <a:xfrm rot="8716295">
              <a:off x="390718" y="69374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A93B008E-5902-4D55-9E1E-85F07149CD35}"/>
                </a:ext>
              </a:extLst>
            </p:cNvPr>
            <p:cNvSpPr/>
            <p:nvPr/>
          </p:nvSpPr>
          <p:spPr>
            <a:xfrm rot="8716295">
              <a:off x="702015" y="317459"/>
              <a:ext cx="131260" cy="232388"/>
            </a:xfrm>
            <a:custGeom>
              <a:avLst/>
              <a:gdLst>
                <a:gd name="connsiteX0" fmla="*/ 70201 w 131260"/>
                <a:gd name="connsiteY0" fmla="*/ 232388 h 232388"/>
                <a:gd name="connsiteX1" fmla="*/ 70201 w 131260"/>
                <a:gd name="connsiteY1" fmla="*/ 69717 h 232388"/>
                <a:gd name="connsiteX2" fmla="*/ 70201 w 131260"/>
                <a:gd name="connsiteY2" fmla="*/ 65615 h 232388"/>
                <a:gd name="connsiteX3" fmla="*/ 49697 w 131260"/>
                <a:gd name="connsiteY3" fmla="*/ 50123 h 232388"/>
                <a:gd name="connsiteX4" fmla="*/ 0 w 131260"/>
                <a:gd name="connsiteY4" fmla="*/ 50123 h 232388"/>
                <a:gd name="connsiteX5" fmla="*/ 41457 w 131260"/>
                <a:gd name="connsiteY5" fmla="*/ 0 h 232388"/>
                <a:gd name="connsiteX6" fmla="*/ 74303 w 131260"/>
                <a:gd name="connsiteY6" fmla="*/ 0 h 232388"/>
                <a:gd name="connsiteX7" fmla="*/ 131260 w 131260"/>
                <a:gd name="connsiteY7" fmla="*/ 50123 h 232388"/>
                <a:gd name="connsiteX8" fmla="*/ 131260 w 131260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1260" h="232388">
                  <a:moveTo>
                    <a:pt x="70201" y="232388"/>
                  </a:moveTo>
                  <a:lnTo>
                    <a:pt x="70201" y="69717"/>
                  </a:lnTo>
                  <a:cubicBezTo>
                    <a:pt x="70201" y="68349"/>
                    <a:pt x="70201" y="66983"/>
                    <a:pt x="70201" y="65615"/>
                  </a:cubicBezTo>
                  <a:cubicBezTo>
                    <a:pt x="68835" y="55591"/>
                    <a:pt x="59721" y="48756"/>
                    <a:pt x="49697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74303" y="0"/>
                  </a:lnTo>
                  <a:cubicBezTo>
                    <a:pt x="111211" y="0"/>
                    <a:pt x="131260" y="15948"/>
                    <a:pt x="131260" y="50123"/>
                  </a:cubicBezTo>
                  <a:lnTo>
                    <a:pt x="131260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8AA688E0-8B68-432D-AC4C-16B34E3E659F}"/>
                </a:ext>
              </a:extLst>
            </p:cNvPr>
            <p:cNvSpPr/>
            <p:nvPr/>
          </p:nvSpPr>
          <p:spPr>
            <a:xfrm rot="8716295">
              <a:off x="834978" y="558357"/>
              <a:ext cx="24341" cy="23495"/>
            </a:xfrm>
            <a:custGeom>
              <a:avLst/>
              <a:gdLst>
                <a:gd name="connsiteX0" fmla="*/ 0 w 24341"/>
                <a:gd name="connsiteY0" fmla="*/ 23495 h 23495"/>
                <a:gd name="connsiteX1" fmla="*/ 19433 w 24341"/>
                <a:gd name="connsiteY1" fmla="*/ 0 h 23495"/>
                <a:gd name="connsiteX2" fmla="*/ 24341 w 24341"/>
                <a:gd name="connsiteY2" fmla="*/ 16139 h 23495"/>
                <a:gd name="connsiteX3" fmla="*/ 24341 w 24341"/>
                <a:gd name="connsiteY3" fmla="*/ 22063 h 23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41" h="23495">
                  <a:moveTo>
                    <a:pt x="0" y="23495"/>
                  </a:moveTo>
                  <a:lnTo>
                    <a:pt x="19433" y="0"/>
                  </a:lnTo>
                  <a:lnTo>
                    <a:pt x="24341" y="16139"/>
                  </a:lnTo>
                  <a:lnTo>
                    <a:pt x="24341" y="220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672AA540-A579-4E8F-A234-CD30C1FF0A89}"/>
                </a:ext>
              </a:extLst>
            </p:cNvPr>
            <p:cNvSpPr/>
            <p:nvPr/>
          </p:nvSpPr>
          <p:spPr>
            <a:xfrm rot="8716295">
              <a:off x="589639" y="40263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C0BAD361-E55B-42F0-893F-014DB3986A10}"/>
                </a:ext>
              </a:extLst>
            </p:cNvPr>
            <p:cNvSpPr/>
            <p:nvPr/>
          </p:nvSpPr>
          <p:spPr>
            <a:xfrm rot="8716295">
              <a:off x="464737" y="19396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C7776BC0-23C7-4489-8F09-E129A530C0CC}"/>
                </a:ext>
              </a:extLst>
            </p:cNvPr>
            <p:cNvSpPr/>
            <p:nvPr/>
          </p:nvSpPr>
          <p:spPr>
            <a:xfrm rot="8716295">
              <a:off x="679817" y="44358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6EC00833-27CA-42E8-A3F4-264B72DC896E}"/>
                </a:ext>
              </a:extLst>
            </p:cNvPr>
            <p:cNvSpPr/>
            <p:nvPr/>
          </p:nvSpPr>
          <p:spPr>
            <a:xfrm rot="8716295">
              <a:off x="438366" y="29398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1FD6DD85-FCBC-4AED-9D6D-4125AB918B1C}"/>
                </a:ext>
              </a:extLst>
            </p:cNvPr>
            <p:cNvSpPr/>
            <p:nvPr/>
          </p:nvSpPr>
          <p:spPr>
            <a:xfrm rot="7484129">
              <a:off x="811674" y="658874"/>
              <a:ext cx="31078" cy="46141"/>
            </a:xfrm>
            <a:custGeom>
              <a:avLst/>
              <a:gdLst>
                <a:gd name="connsiteX0" fmla="*/ 15207 w 31078"/>
                <a:gd name="connsiteY0" fmla="*/ 46141 h 46141"/>
                <a:gd name="connsiteX1" fmla="*/ 0 w 31078"/>
                <a:gd name="connsiteY1" fmla="*/ 17849 h 46141"/>
                <a:gd name="connsiteX2" fmla="*/ 31078 w 31078"/>
                <a:gd name="connsiteY2" fmla="*/ 0 h 46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078" h="46141">
                  <a:moveTo>
                    <a:pt x="15207" y="46141"/>
                  </a:moveTo>
                  <a:lnTo>
                    <a:pt x="0" y="17849"/>
                  </a:lnTo>
                  <a:lnTo>
                    <a:pt x="3107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ED8E04A5-1CCB-474C-BB14-6861F24B92EE}"/>
                </a:ext>
              </a:extLst>
            </p:cNvPr>
            <p:cNvSpPr/>
            <p:nvPr/>
          </p:nvSpPr>
          <p:spPr>
            <a:xfrm rot="8716295">
              <a:off x="780102" y="336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D2589E01-70DB-4980-9D5E-15028C3BF442}"/>
                </a:ext>
              </a:extLst>
            </p:cNvPr>
            <p:cNvSpPr/>
            <p:nvPr/>
          </p:nvSpPr>
          <p:spPr>
            <a:xfrm rot="8716295">
              <a:off x="202348" y="-57106"/>
              <a:ext cx="142167" cy="186494"/>
            </a:xfrm>
            <a:custGeom>
              <a:avLst/>
              <a:gdLst>
                <a:gd name="connsiteX0" fmla="*/ 142167 w 142167"/>
                <a:gd name="connsiteY0" fmla="*/ 186494 h 186494"/>
                <a:gd name="connsiteX1" fmla="*/ 81108 w 142167"/>
                <a:gd name="connsiteY1" fmla="*/ 144170 h 186494"/>
                <a:gd name="connsiteX2" fmla="*/ 81108 w 142167"/>
                <a:gd name="connsiteY2" fmla="*/ 69717 h 186494"/>
                <a:gd name="connsiteX3" fmla="*/ 81108 w 142167"/>
                <a:gd name="connsiteY3" fmla="*/ 65615 h 186494"/>
                <a:gd name="connsiteX4" fmla="*/ 60603 w 142167"/>
                <a:gd name="connsiteY4" fmla="*/ 50123 h 186494"/>
                <a:gd name="connsiteX5" fmla="*/ 0 w 142167"/>
                <a:gd name="connsiteY5" fmla="*/ 50123 h 186494"/>
                <a:gd name="connsiteX6" fmla="*/ 0 w 142167"/>
                <a:gd name="connsiteY6" fmla="*/ 0 h 186494"/>
                <a:gd name="connsiteX7" fmla="*/ 85209 w 142167"/>
                <a:gd name="connsiteY7" fmla="*/ 0 h 186494"/>
                <a:gd name="connsiteX8" fmla="*/ 142167 w 142167"/>
                <a:gd name="connsiteY8" fmla="*/ 50123 h 186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86494">
                  <a:moveTo>
                    <a:pt x="142167" y="186494"/>
                  </a:moveTo>
                  <a:lnTo>
                    <a:pt x="81108" y="144170"/>
                  </a:lnTo>
                  <a:lnTo>
                    <a:pt x="81108" y="69717"/>
                  </a:lnTo>
                  <a:cubicBezTo>
                    <a:pt x="81108" y="68349"/>
                    <a:pt x="81108" y="66983"/>
                    <a:pt x="81108" y="65615"/>
                  </a:cubicBezTo>
                  <a:cubicBezTo>
                    <a:pt x="79741" y="55591"/>
                    <a:pt x="70628" y="48756"/>
                    <a:pt x="60603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2AEF8F7A-52DD-4323-9058-8F5D8BF7C257}"/>
                </a:ext>
              </a:extLst>
            </p:cNvPr>
            <p:cNvSpPr/>
            <p:nvPr/>
          </p:nvSpPr>
          <p:spPr>
            <a:xfrm rot="8716295">
              <a:off x="298766" y="-5395"/>
              <a:ext cx="260639" cy="180054"/>
            </a:xfrm>
            <a:custGeom>
              <a:avLst/>
              <a:gdLst>
                <a:gd name="connsiteX0" fmla="*/ 111638 w 260639"/>
                <a:gd name="connsiteY0" fmla="*/ 180054 h 180054"/>
                <a:gd name="connsiteX1" fmla="*/ 51490 w 260639"/>
                <a:gd name="connsiteY1" fmla="*/ 138362 h 180054"/>
                <a:gd name="connsiteX2" fmla="*/ 51490 w 260639"/>
                <a:gd name="connsiteY2" fmla="*/ 45624 h 180054"/>
                <a:gd name="connsiteX3" fmla="*/ 0 w 260639"/>
                <a:gd name="connsiteY3" fmla="*/ 45624 h 180054"/>
                <a:gd name="connsiteX4" fmla="*/ 0 w 260639"/>
                <a:gd name="connsiteY4" fmla="*/ 1425 h 180054"/>
                <a:gd name="connsiteX5" fmla="*/ 104802 w 260639"/>
                <a:gd name="connsiteY5" fmla="*/ 1425 h 180054"/>
                <a:gd name="connsiteX6" fmla="*/ 104802 w 260639"/>
                <a:gd name="connsiteY6" fmla="*/ 75242 h 180054"/>
                <a:gd name="connsiteX7" fmla="*/ 106169 w 260639"/>
                <a:gd name="connsiteY7" fmla="*/ 75242 h 180054"/>
                <a:gd name="connsiteX8" fmla="*/ 154014 w 260639"/>
                <a:gd name="connsiteY8" fmla="*/ 5981 h 180054"/>
                <a:gd name="connsiteX9" fmla="*/ 185455 w 260639"/>
                <a:gd name="connsiteY9" fmla="*/ 57 h 180054"/>
                <a:gd name="connsiteX10" fmla="*/ 260639 w 260639"/>
                <a:gd name="connsiteY10" fmla="*/ 88456 h 180054"/>
                <a:gd name="connsiteX11" fmla="*/ 260639 w 260639"/>
                <a:gd name="connsiteY11" fmla="*/ 94380 h 180054"/>
                <a:gd name="connsiteX12" fmla="*/ 198669 w 260639"/>
                <a:gd name="connsiteY12" fmla="*/ 98025 h 180054"/>
                <a:gd name="connsiteX13" fmla="*/ 198669 w 260639"/>
                <a:gd name="connsiteY13" fmla="*/ 81621 h 180054"/>
                <a:gd name="connsiteX14" fmla="*/ 164950 w 260639"/>
                <a:gd name="connsiteY14" fmla="*/ 40156 h 180054"/>
                <a:gd name="connsiteX15" fmla="*/ 111638 w 260639"/>
                <a:gd name="connsiteY15" fmla="*/ 127643 h 180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0639" h="180054">
                  <a:moveTo>
                    <a:pt x="111638" y="180054"/>
                  </a:moveTo>
                  <a:lnTo>
                    <a:pt x="51490" y="138362"/>
                  </a:ln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4EA5F182-B436-49C8-8170-C1AD6D2F32D5}"/>
                </a:ext>
              </a:extLst>
            </p:cNvPr>
            <p:cNvSpPr/>
            <p:nvPr/>
          </p:nvSpPr>
          <p:spPr>
            <a:xfrm rot="8716295">
              <a:off x="276903" y="-12823"/>
              <a:ext cx="36272" cy="27982"/>
            </a:xfrm>
            <a:custGeom>
              <a:avLst/>
              <a:gdLst>
                <a:gd name="connsiteX0" fmla="*/ 36272 w 36272"/>
                <a:gd name="connsiteY0" fmla="*/ 27982 h 27982"/>
                <a:gd name="connsiteX1" fmla="*/ 0 w 36272"/>
                <a:gd name="connsiteY1" fmla="*/ 2840 h 27982"/>
                <a:gd name="connsiteX2" fmla="*/ 9543 w 36272"/>
                <a:gd name="connsiteY2" fmla="*/ 0 h 27982"/>
                <a:gd name="connsiteX3" fmla="*/ 31871 w 36272"/>
                <a:gd name="connsiteY3" fmla="*/ 11392 h 27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272" h="27982">
                  <a:moveTo>
                    <a:pt x="36272" y="27982"/>
                  </a:moveTo>
                  <a:lnTo>
                    <a:pt x="0" y="2840"/>
                  </a:lnTo>
                  <a:lnTo>
                    <a:pt x="9543" y="0"/>
                  </a:lnTo>
                  <a:cubicBezTo>
                    <a:pt x="20479" y="0"/>
                    <a:pt x="27542" y="4784"/>
                    <a:pt x="31871" y="113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F421218E-0235-4F72-A3A0-C0DE2686EE65}"/>
                </a:ext>
              </a:extLst>
            </p:cNvPr>
            <p:cNvSpPr/>
            <p:nvPr/>
          </p:nvSpPr>
          <p:spPr>
            <a:xfrm rot="8716295">
              <a:off x="74640" y="-9665"/>
              <a:ext cx="58068" cy="54772"/>
            </a:xfrm>
            <a:custGeom>
              <a:avLst/>
              <a:gdLst>
                <a:gd name="connsiteX0" fmla="*/ 37436 w 58068"/>
                <a:gd name="connsiteY0" fmla="*/ 54772 h 54772"/>
                <a:gd name="connsiteX1" fmla="*/ 0 w 58068"/>
                <a:gd name="connsiteY1" fmla="*/ 28823 h 54772"/>
                <a:gd name="connsiteX2" fmla="*/ 8515 w 58068"/>
                <a:gd name="connsiteY2" fmla="*/ 8658 h 54772"/>
                <a:gd name="connsiteX3" fmla="*/ 29020 w 58068"/>
                <a:gd name="connsiteY3" fmla="*/ 0 h 54772"/>
                <a:gd name="connsiteX4" fmla="*/ 49525 w 58068"/>
                <a:gd name="connsiteY4" fmla="*/ 8658 h 54772"/>
                <a:gd name="connsiteX5" fmla="*/ 49525 w 58068"/>
                <a:gd name="connsiteY5" fmla="*/ 49668 h 5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068" h="54772">
                  <a:moveTo>
                    <a:pt x="37436" y="54772"/>
                  </a:moveTo>
                  <a:lnTo>
                    <a:pt x="0" y="28823"/>
                  </a:lnTo>
                  <a:lnTo>
                    <a:pt x="8515" y="8658"/>
                  </a:lnTo>
                  <a:cubicBezTo>
                    <a:pt x="13983" y="3190"/>
                    <a:pt x="21273" y="0"/>
                    <a:pt x="29020" y="0"/>
                  </a:cubicBezTo>
                  <a:cubicBezTo>
                    <a:pt x="36766" y="0"/>
                    <a:pt x="44057" y="3190"/>
                    <a:pt x="49525" y="8658"/>
                  </a:cubicBezTo>
                  <a:cubicBezTo>
                    <a:pt x="60916" y="19594"/>
                    <a:pt x="60916" y="38276"/>
                    <a:pt x="49525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CE77A4A5-0ECD-4D80-A03D-A10DC965EA39}"/>
                </a:ext>
              </a:extLst>
            </p:cNvPr>
            <p:cNvSpPr/>
            <p:nvPr/>
          </p:nvSpPr>
          <p:spPr>
            <a:xfrm rot="8716295">
              <a:off x="13802" y="-10406"/>
              <a:ext cx="30027" cy="20814"/>
            </a:xfrm>
            <a:custGeom>
              <a:avLst/>
              <a:gdLst>
                <a:gd name="connsiteX0" fmla="*/ 30027 w 30027"/>
                <a:gd name="connsiteY0" fmla="*/ 20814 h 20814"/>
                <a:gd name="connsiteX1" fmla="*/ 0 w 30027"/>
                <a:gd name="connsiteY1" fmla="*/ 0 h 20814"/>
                <a:gd name="connsiteX2" fmla="*/ 30027 w 30027"/>
                <a:gd name="connsiteY2" fmla="*/ 0 h 20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027" h="20814">
                  <a:moveTo>
                    <a:pt x="30027" y="20814"/>
                  </a:moveTo>
                  <a:lnTo>
                    <a:pt x="0" y="0"/>
                  </a:lnTo>
                  <a:lnTo>
                    <a:pt x="3002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403799C4-A408-4325-A92C-9E809B8BB4D4}"/>
                </a:ext>
              </a:extLst>
            </p:cNvPr>
            <p:cNvSpPr/>
            <p:nvPr/>
          </p:nvSpPr>
          <p:spPr>
            <a:xfrm rot="8716295">
              <a:off x="168048" y="3032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01FB23B7-9B20-4D2E-83CD-6A7A68C9BDC4}"/>
                </a:ext>
              </a:extLst>
            </p:cNvPr>
            <p:cNvSpPr/>
            <p:nvPr/>
          </p:nvSpPr>
          <p:spPr>
            <a:xfrm rot="7484129">
              <a:off x="562078" y="-284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ACF32F9A-0344-4E5B-A601-5E2A5DCEE676}"/>
                </a:ext>
              </a:extLst>
            </p:cNvPr>
            <p:cNvSpPr/>
            <p:nvPr/>
          </p:nvSpPr>
          <p:spPr>
            <a:xfrm rot="13089394">
              <a:off x="767127" y="-2787"/>
              <a:ext cx="149688" cy="301067"/>
            </a:xfrm>
            <a:custGeom>
              <a:avLst/>
              <a:gdLst>
                <a:gd name="connsiteX0" fmla="*/ 149688 w 149688"/>
                <a:gd name="connsiteY0" fmla="*/ 279622 h 301067"/>
                <a:gd name="connsiteX1" fmla="*/ 122393 w 149688"/>
                <a:gd name="connsiteY1" fmla="*/ 301067 h 301067"/>
                <a:gd name="connsiteX2" fmla="*/ 0 w 149688"/>
                <a:gd name="connsiteY2" fmla="*/ 114672 h 301067"/>
                <a:gd name="connsiteX3" fmla="*/ 0 w 149688"/>
                <a:gd name="connsiteY3" fmla="*/ 38074 h 301067"/>
                <a:gd name="connsiteX4" fmla="*/ 73388 w 149688"/>
                <a:gd name="connsiteY4" fmla="*/ 0 h 301067"/>
                <a:gd name="connsiteX5" fmla="*/ 74492 w 149688"/>
                <a:gd name="connsiteY5" fmla="*/ 153950 h 301067"/>
                <a:gd name="connsiteX6" fmla="*/ 87734 w 149688"/>
                <a:gd name="connsiteY6" fmla="*/ 245547 h 301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9688" h="301067">
                  <a:moveTo>
                    <a:pt x="149688" y="279622"/>
                  </a:moveTo>
                  <a:lnTo>
                    <a:pt x="122393" y="301067"/>
                  </a:lnTo>
                  <a:lnTo>
                    <a:pt x="0" y="114672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2836" y="184850"/>
                    <a:pt x="77802" y="216302"/>
                    <a:pt x="87734" y="2455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9B540A9C-752F-4966-AE11-E0DA13D5676A}"/>
                </a:ext>
              </a:extLst>
            </p:cNvPr>
            <p:cNvSpPr/>
            <p:nvPr/>
          </p:nvSpPr>
          <p:spPr>
            <a:xfrm rot="8716295">
              <a:off x="212141" y="304502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27352092-3B53-44B3-ABC2-E6A268F28524}"/>
                </a:ext>
              </a:extLst>
            </p:cNvPr>
            <p:cNvSpPr/>
            <p:nvPr/>
          </p:nvSpPr>
          <p:spPr>
            <a:xfrm rot="8716295">
              <a:off x="301533" y="307427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1A1EEC7B-8896-4B95-9A1A-B0F21E6748C1}"/>
                </a:ext>
              </a:extLst>
            </p:cNvPr>
            <p:cNvSpPr/>
            <p:nvPr/>
          </p:nvSpPr>
          <p:spPr>
            <a:xfrm rot="8716295">
              <a:off x="256683" y="298799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4FA7D1EC-A217-4326-8F37-649F5ADE83EB}"/>
                </a:ext>
              </a:extLst>
            </p:cNvPr>
            <p:cNvSpPr/>
            <p:nvPr/>
          </p:nvSpPr>
          <p:spPr>
            <a:xfrm rot="8716295">
              <a:off x="99907" y="31335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33C99497-0B48-43C7-BD1A-0279E44CA612}"/>
                </a:ext>
              </a:extLst>
            </p:cNvPr>
            <p:cNvSpPr/>
            <p:nvPr/>
          </p:nvSpPr>
          <p:spPr>
            <a:xfrm rot="8716295">
              <a:off x="-24996" y="29248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A93858F0-0010-48FE-BF9C-AFE6080030D7}"/>
                </a:ext>
              </a:extLst>
            </p:cNvPr>
            <p:cNvSpPr/>
            <p:nvPr/>
          </p:nvSpPr>
          <p:spPr>
            <a:xfrm rot="8716295">
              <a:off x="51899" y="2754602"/>
              <a:ext cx="189488" cy="350829"/>
            </a:xfrm>
            <a:custGeom>
              <a:avLst/>
              <a:gdLst>
                <a:gd name="connsiteX0" fmla="*/ 25299 w 189488"/>
                <a:gd name="connsiteY0" fmla="*/ 321238 h 350829"/>
                <a:gd name="connsiteX1" fmla="*/ 0 w 189488"/>
                <a:gd name="connsiteY1" fmla="*/ 220042 h 350829"/>
                <a:gd name="connsiteX2" fmla="*/ 0 w 189488"/>
                <a:gd name="connsiteY2" fmla="*/ 40596 h 350829"/>
                <a:gd name="connsiteX3" fmla="*/ 78250 w 189488"/>
                <a:gd name="connsiteY3" fmla="*/ 0 h 350829"/>
                <a:gd name="connsiteX4" fmla="*/ 79427 w 189488"/>
                <a:gd name="connsiteY4" fmla="*/ 164149 h 350829"/>
                <a:gd name="connsiteX5" fmla="*/ 93547 w 189488"/>
                <a:gd name="connsiteY5" fmla="*/ 261815 h 350829"/>
                <a:gd name="connsiteX6" fmla="*/ 164148 w 189488"/>
                <a:gd name="connsiteY6" fmla="*/ 300646 h 350829"/>
                <a:gd name="connsiteX7" fmla="*/ 189488 w 189488"/>
                <a:gd name="connsiteY7" fmla="*/ 296141 h 350829"/>
                <a:gd name="connsiteX8" fmla="*/ 160617 w 189488"/>
                <a:gd name="connsiteY8" fmla="*/ 337791 h 350829"/>
                <a:gd name="connsiteX9" fmla="*/ 97666 w 189488"/>
                <a:gd name="connsiteY9" fmla="*/ 350655 h 350829"/>
                <a:gd name="connsiteX10" fmla="*/ 25299 w 189488"/>
                <a:gd name="connsiteY10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9488" h="350829">
                  <a:moveTo>
                    <a:pt x="25299" y="321238"/>
                  </a:moveTo>
                  <a:cubicBezTo>
                    <a:pt x="5295" y="301823"/>
                    <a:pt x="0" y="268286"/>
                    <a:pt x="0" y="220042"/>
                  </a:cubicBez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8" y="300646"/>
                  </a:cubicBezTo>
                  <a:lnTo>
                    <a:pt x="189488" y="296141"/>
                  </a:lnTo>
                  <a:lnTo>
                    <a:pt x="160617" y="337791"/>
                  </a:lnTo>
                  <a:lnTo>
                    <a:pt x="97666" y="350655"/>
                  </a:ln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CAFD1C73-118C-42A8-A6D1-F7527C0F98CE}"/>
                </a:ext>
              </a:extLst>
            </p:cNvPr>
            <p:cNvSpPr/>
            <p:nvPr/>
          </p:nvSpPr>
          <p:spPr>
            <a:xfrm rot="8716295">
              <a:off x="190085" y="317452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E7F4D18B-0BB2-451B-AA77-2B268E142A91}"/>
                </a:ext>
              </a:extLst>
            </p:cNvPr>
            <p:cNvSpPr/>
            <p:nvPr/>
          </p:nvSpPr>
          <p:spPr>
            <a:xfrm rot="8716295">
              <a:off x="502599" y="2802136"/>
              <a:ext cx="117588" cy="232388"/>
            </a:xfrm>
            <a:custGeom>
              <a:avLst/>
              <a:gdLst>
                <a:gd name="connsiteX0" fmla="*/ 56529 w 117588"/>
                <a:gd name="connsiteY0" fmla="*/ 232388 h 232388"/>
                <a:gd name="connsiteX1" fmla="*/ 56529 w 117588"/>
                <a:gd name="connsiteY1" fmla="*/ 69717 h 232388"/>
                <a:gd name="connsiteX2" fmla="*/ 56529 w 117588"/>
                <a:gd name="connsiteY2" fmla="*/ 65615 h 232388"/>
                <a:gd name="connsiteX3" fmla="*/ 36025 w 117588"/>
                <a:gd name="connsiteY3" fmla="*/ 50123 h 232388"/>
                <a:gd name="connsiteX4" fmla="*/ 0 w 117588"/>
                <a:gd name="connsiteY4" fmla="*/ 50123 h 232388"/>
                <a:gd name="connsiteX5" fmla="*/ 41458 w 117588"/>
                <a:gd name="connsiteY5" fmla="*/ 0 h 232388"/>
                <a:gd name="connsiteX6" fmla="*/ 60630 w 117588"/>
                <a:gd name="connsiteY6" fmla="*/ 0 h 232388"/>
                <a:gd name="connsiteX7" fmla="*/ 117588 w 117588"/>
                <a:gd name="connsiteY7" fmla="*/ 50123 h 232388"/>
                <a:gd name="connsiteX8" fmla="*/ 117588 w 117588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7588" h="232388">
                  <a:moveTo>
                    <a:pt x="56529" y="232388"/>
                  </a:moveTo>
                  <a:lnTo>
                    <a:pt x="56529" y="69717"/>
                  </a:lnTo>
                  <a:cubicBezTo>
                    <a:pt x="56529" y="68349"/>
                    <a:pt x="56529" y="66983"/>
                    <a:pt x="56529" y="65615"/>
                  </a:cubicBezTo>
                  <a:cubicBezTo>
                    <a:pt x="55163" y="55591"/>
                    <a:pt x="46049" y="48756"/>
                    <a:pt x="36025" y="50123"/>
                  </a:cubicBezTo>
                  <a:lnTo>
                    <a:pt x="0" y="50123"/>
                  </a:lnTo>
                  <a:lnTo>
                    <a:pt x="41458" y="0"/>
                  </a:lnTo>
                  <a:lnTo>
                    <a:pt x="60630" y="0"/>
                  </a:lnTo>
                  <a:cubicBezTo>
                    <a:pt x="97539" y="0"/>
                    <a:pt x="117588" y="15948"/>
                    <a:pt x="117588" y="50123"/>
                  </a:cubicBezTo>
                  <a:lnTo>
                    <a:pt x="117588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6F67DBA9-AD6C-4780-AA17-98BCE9381DC5}"/>
                </a:ext>
              </a:extLst>
            </p:cNvPr>
            <p:cNvSpPr/>
            <p:nvPr/>
          </p:nvSpPr>
          <p:spPr>
            <a:xfrm rot="8716295">
              <a:off x="389006" y="2883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60CE2A9A-219E-42C9-9F53-FED763C7A971}"/>
                </a:ext>
              </a:extLst>
            </p:cNvPr>
            <p:cNvSpPr/>
            <p:nvPr/>
          </p:nvSpPr>
          <p:spPr>
            <a:xfrm rot="8716295">
              <a:off x="264104" y="267474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5F47A361-80F1-4C02-906B-845AB367B960}"/>
                </a:ext>
              </a:extLst>
            </p:cNvPr>
            <p:cNvSpPr/>
            <p:nvPr/>
          </p:nvSpPr>
          <p:spPr>
            <a:xfrm rot="8716295">
              <a:off x="479184" y="292437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2CC40EA3-7663-4B10-9112-24251EC60BEA}"/>
                </a:ext>
              </a:extLst>
            </p:cNvPr>
            <p:cNvSpPr/>
            <p:nvPr/>
          </p:nvSpPr>
          <p:spPr>
            <a:xfrm rot="8716295">
              <a:off x="237733" y="277477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96946020-930E-406D-ABEE-7096E7CB1426}"/>
                </a:ext>
              </a:extLst>
            </p:cNvPr>
            <p:cNvSpPr/>
            <p:nvPr/>
          </p:nvSpPr>
          <p:spPr>
            <a:xfrm rot="7484129">
              <a:off x="609980" y="3142825"/>
              <a:ext cx="20881" cy="31001"/>
            </a:xfrm>
            <a:custGeom>
              <a:avLst/>
              <a:gdLst>
                <a:gd name="connsiteX0" fmla="*/ 10218 w 20881"/>
                <a:gd name="connsiteY0" fmla="*/ 31001 h 31001"/>
                <a:gd name="connsiteX1" fmla="*/ 0 w 20881"/>
                <a:gd name="connsiteY1" fmla="*/ 11992 h 31001"/>
                <a:gd name="connsiteX2" fmla="*/ 20881 w 20881"/>
                <a:gd name="connsiteY2" fmla="*/ 0 h 31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881" h="31001">
                  <a:moveTo>
                    <a:pt x="10218" y="31001"/>
                  </a:moveTo>
                  <a:lnTo>
                    <a:pt x="0" y="11992"/>
                  </a:lnTo>
                  <a:lnTo>
                    <a:pt x="2088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9709EEED-4F73-41F3-A069-C965126CECA4}"/>
                </a:ext>
              </a:extLst>
            </p:cNvPr>
            <p:cNvSpPr/>
            <p:nvPr/>
          </p:nvSpPr>
          <p:spPr>
            <a:xfrm rot="8716295">
              <a:off x="579469" y="28172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AB7C8B58-13F0-4FCC-99DC-3B3AAD65E69B}"/>
                </a:ext>
              </a:extLst>
            </p:cNvPr>
            <p:cNvSpPr/>
            <p:nvPr/>
          </p:nvSpPr>
          <p:spPr>
            <a:xfrm rot="8716295">
              <a:off x="437995" y="3716235"/>
              <a:ext cx="102679" cy="232388"/>
            </a:xfrm>
            <a:custGeom>
              <a:avLst/>
              <a:gdLst>
                <a:gd name="connsiteX0" fmla="*/ 41620 w 102679"/>
                <a:gd name="connsiteY0" fmla="*/ 232388 h 232388"/>
                <a:gd name="connsiteX1" fmla="*/ 41620 w 102679"/>
                <a:gd name="connsiteY1" fmla="*/ 69717 h 232388"/>
                <a:gd name="connsiteX2" fmla="*/ 41620 w 102679"/>
                <a:gd name="connsiteY2" fmla="*/ 65615 h 232388"/>
                <a:gd name="connsiteX3" fmla="*/ 21116 w 102679"/>
                <a:gd name="connsiteY3" fmla="*/ 50123 h 232388"/>
                <a:gd name="connsiteX4" fmla="*/ 0 w 102679"/>
                <a:gd name="connsiteY4" fmla="*/ 50123 h 232388"/>
                <a:gd name="connsiteX5" fmla="*/ 41457 w 102679"/>
                <a:gd name="connsiteY5" fmla="*/ 0 h 232388"/>
                <a:gd name="connsiteX6" fmla="*/ 45721 w 102679"/>
                <a:gd name="connsiteY6" fmla="*/ 0 h 232388"/>
                <a:gd name="connsiteX7" fmla="*/ 102679 w 102679"/>
                <a:gd name="connsiteY7" fmla="*/ 50123 h 232388"/>
                <a:gd name="connsiteX8" fmla="*/ 102679 w 102679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2679" h="232388">
                  <a:moveTo>
                    <a:pt x="41620" y="232388"/>
                  </a:moveTo>
                  <a:lnTo>
                    <a:pt x="41620" y="69717"/>
                  </a:lnTo>
                  <a:cubicBezTo>
                    <a:pt x="41620" y="68349"/>
                    <a:pt x="41620" y="66983"/>
                    <a:pt x="41620" y="65615"/>
                  </a:cubicBezTo>
                  <a:cubicBezTo>
                    <a:pt x="40254" y="55591"/>
                    <a:pt x="31140" y="48756"/>
                    <a:pt x="21116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45721" y="0"/>
                  </a:lnTo>
                  <a:cubicBezTo>
                    <a:pt x="82630" y="0"/>
                    <a:pt x="102679" y="15948"/>
                    <a:pt x="102679" y="50123"/>
                  </a:cubicBezTo>
                  <a:lnTo>
                    <a:pt x="102679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9C4DC6CC-AFAA-4414-8BA6-D58CC891D657}"/>
                </a:ext>
              </a:extLst>
            </p:cNvPr>
            <p:cNvSpPr/>
            <p:nvPr/>
          </p:nvSpPr>
          <p:spPr>
            <a:xfrm rot="8716295">
              <a:off x="482715" y="3669965"/>
              <a:ext cx="154563" cy="124897"/>
            </a:xfrm>
            <a:custGeom>
              <a:avLst/>
              <a:gdLst>
                <a:gd name="connsiteX0" fmla="*/ 0 w 154563"/>
                <a:gd name="connsiteY0" fmla="*/ 124897 h 124897"/>
                <a:gd name="connsiteX1" fmla="*/ 95474 w 154563"/>
                <a:gd name="connsiteY1" fmla="*/ 9467 h 124897"/>
                <a:gd name="connsiteX2" fmla="*/ 96067 w 154563"/>
                <a:gd name="connsiteY2" fmla="*/ 9000 h 124897"/>
                <a:gd name="connsiteX3" fmla="*/ 126312 w 154563"/>
                <a:gd name="connsiteY3" fmla="*/ 0 h 124897"/>
                <a:gd name="connsiteX4" fmla="*/ 154563 w 154563"/>
                <a:gd name="connsiteY4" fmla="*/ 33719 h 124897"/>
                <a:gd name="connsiteX5" fmla="*/ 128135 w 154563"/>
                <a:gd name="connsiteY5" fmla="*/ 69261 h 124897"/>
                <a:gd name="connsiteX6" fmla="*/ 128590 w 154563"/>
                <a:gd name="connsiteY6" fmla="*/ 69261 h 12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4563" h="124897">
                  <a:moveTo>
                    <a:pt x="0" y="124897"/>
                  </a:moveTo>
                  <a:lnTo>
                    <a:pt x="95474" y="9467"/>
                  </a:lnTo>
                  <a:lnTo>
                    <a:pt x="96067" y="9000"/>
                  </a:lnTo>
                  <a:cubicBezTo>
                    <a:pt x="105351" y="4215"/>
                    <a:pt x="115604" y="1139"/>
                    <a:pt x="126312" y="0"/>
                  </a:cubicBezTo>
                  <a:cubicBezTo>
                    <a:pt x="148184" y="0"/>
                    <a:pt x="154563" y="19138"/>
                    <a:pt x="154563" y="33719"/>
                  </a:cubicBezTo>
                  <a:cubicBezTo>
                    <a:pt x="153196" y="49668"/>
                    <a:pt x="142715" y="62882"/>
                    <a:pt x="128135" y="69261"/>
                  </a:cubicBezTo>
                  <a:lnTo>
                    <a:pt x="128590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orme libre : forme 58">
              <a:extLst>
                <a:ext uri="{FF2B5EF4-FFF2-40B4-BE49-F238E27FC236}">
                  <a16:creationId xmlns:a16="http://schemas.microsoft.com/office/drawing/2014/main" id="{4EE0C0AC-519B-4FC6-8231-6D03F18E647C}"/>
                </a:ext>
              </a:extLst>
            </p:cNvPr>
            <p:cNvSpPr/>
            <p:nvPr/>
          </p:nvSpPr>
          <p:spPr>
            <a:xfrm rot="8716295">
              <a:off x="323074" y="379327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orme libre : forme 59">
              <a:extLst>
                <a:ext uri="{FF2B5EF4-FFF2-40B4-BE49-F238E27FC236}">
                  <a16:creationId xmlns:a16="http://schemas.microsoft.com/office/drawing/2014/main" id="{D6F59EA5-8316-4C20-AADC-7D706ECCBE6F}"/>
                </a:ext>
              </a:extLst>
            </p:cNvPr>
            <p:cNvSpPr/>
            <p:nvPr/>
          </p:nvSpPr>
          <p:spPr>
            <a:xfrm rot="8716295">
              <a:off x="198171" y="358459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orme libre : forme 60">
              <a:extLst>
                <a:ext uri="{FF2B5EF4-FFF2-40B4-BE49-F238E27FC236}">
                  <a16:creationId xmlns:a16="http://schemas.microsoft.com/office/drawing/2014/main" id="{B0440107-C1DF-4CF9-A961-BF836C4847FA}"/>
                </a:ext>
              </a:extLst>
            </p:cNvPr>
            <p:cNvSpPr/>
            <p:nvPr/>
          </p:nvSpPr>
          <p:spPr>
            <a:xfrm rot="8716295">
              <a:off x="186119" y="344581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orme libre : forme 61">
              <a:extLst>
                <a:ext uri="{FF2B5EF4-FFF2-40B4-BE49-F238E27FC236}">
                  <a16:creationId xmlns:a16="http://schemas.microsoft.com/office/drawing/2014/main" id="{FAD20847-20DA-4661-A963-D2C01E523D8E}"/>
                </a:ext>
              </a:extLst>
            </p:cNvPr>
            <p:cNvSpPr/>
            <p:nvPr/>
          </p:nvSpPr>
          <p:spPr>
            <a:xfrm rot="8716295">
              <a:off x="410218" y="3834716"/>
              <a:ext cx="103435" cy="219174"/>
            </a:xfrm>
            <a:custGeom>
              <a:avLst/>
              <a:gdLst>
                <a:gd name="connsiteX0" fmla="*/ 103435 w 103435"/>
                <a:gd name="connsiteY0" fmla="*/ 219174 h 219174"/>
                <a:gd name="connsiteX1" fmla="*/ 43288 w 103435"/>
                <a:gd name="connsiteY1" fmla="*/ 161305 h 219174"/>
                <a:gd name="connsiteX2" fmla="*/ 43288 w 103435"/>
                <a:gd name="connsiteY2" fmla="*/ 16404 h 219174"/>
                <a:gd name="connsiteX3" fmla="*/ 0 w 103435"/>
                <a:gd name="connsiteY3" fmla="*/ 16404 h 219174"/>
                <a:gd name="connsiteX4" fmla="*/ 0 w 103435"/>
                <a:gd name="connsiteY4" fmla="*/ 16028 h 219174"/>
                <a:gd name="connsiteX5" fmla="*/ 11583 w 103435"/>
                <a:gd name="connsiteY5" fmla="*/ 2023 h 219174"/>
                <a:gd name="connsiteX6" fmla="*/ 103435 w 103435"/>
                <a:gd name="connsiteY6" fmla="*/ 0 h 219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19174">
                  <a:moveTo>
                    <a:pt x="103435" y="219174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16028"/>
                  </a:lnTo>
                  <a:lnTo>
                    <a:pt x="11583" y="2023"/>
                  </a:lnTo>
                  <a:lnTo>
                    <a:pt x="10343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orme libre : forme 62">
              <a:extLst>
                <a:ext uri="{FF2B5EF4-FFF2-40B4-BE49-F238E27FC236}">
                  <a16:creationId xmlns:a16="http://schemas.microsoft.com/office/drawing/2014/main" id="{28D4D932-7CCD-4A1C-82BE-BDC6C863C34D}"/>
                </a:ext>
              </a:extLst>
            </p:cNvPr>
            <p:cNvSpPr/>
            <p:nvPr/>
          </p:nvSpPr>
          <p:spPr>
            <a:xfrm rot="8716295">
              <a:off x="487452" y="3349370"/>
              <a:ext cx="151162" cy="195873"/>
            </a:xfrm>
            <a:custGeom>
              <a:avLst/>
              <a:gdLst>
                <a:gd name="connsiteX0" fmla="*/ 38025 w 151162"/>
                <a:gd name="connsiteY0" fmla="*/ 195873 h 195873"/>
                <a:gd name="connsiteX1" fmla="*/ 0 w 151162"/>
                <a:gd name="connsiteY1" fmla="*/ 125130 h 195873"/>
                <a:gd name="connsiteX2" fmla="*/ 103497 w 151162"/>
                <a:gd name="connsiteY2" fmla="*/ 0 h 195873"/>
                <a:gd name="connsiteX3" fmla="*/ 151162 w 151162"/>
                <a:gd name="connsiteY3" fmla="*/ 0 h 195873"/>
                <a:gd name="connsiteX4" fmla="*/ 151162 w 151162"/>
                <a:gd name="connsiteY4" fmla="*/ 55323 h 195873"/>
                <a:gd name="connsiteX5" fmla="*/ 86370 w 151162"/>
                <a:gd name="connsiteY5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1162" h="195873">
                  <a:moveTo>
                    <a:pt x="38025" y="195873"/>
                  </a:moveTo>
                  <a:lnTo>
                    <a:pt x="0" y="125130"/>
                  </a:lnTo>
                  <a:lnTo>
                    <a:pt x="103497" y="0"/>
                  </a:lnTo>
                  <a:lnTo>
                    <a:pt x="151162" y="0"/>
                  </a:lnTo>
                  <a:lnTo>
                    <a:pt x="151162" y="55323"/>
                  </a:lnTo>
                  <a:lnTo>
                    <a:pt x="86370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orme libre : forme 63">
              <a:extLst>
                <a:ext uri="{FF2B5EF4-FFF2-40B4-BE49-F238E27FC236}">
                  <a16:creationId xmlns:a16="http://schemas.microsoft.com/office/drawing/2014/main" id="{CC6BD8CB-3AAF-4232-9DAB-6067219DB083}"/>
                </a:ext>
              </a:extLst>
            </p:cNvPr>
            <p:cNvSpPr/>
            <p:nvPr/>
          </p:nvSpPr>
          <p:spPr>
            <a:xfrm rot="8716295">
              <a:off x="460900" y="343447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orme libre : forme 64">
              <a:extLst>
                <a:ext uri="{FF2B5EF4-FFF2-40B4-BE49-F238E27FC236}">
                  <a16:creationId xmlns:a16="http://schemas.microsoft.com/office/drawing/2014/main" id="{C4402BE5-EFA1-455E-87AA-2CF0F2131AB9}"/>
                </a:ext>
              </a:extLst>
            </p:cNvPr>
            <p:cNvSpPr/>
            <p:nvPr/>
          </p:nvSpPr>
          <p:spPr>
            <a:xfrm rot="8716295">
              <a:off x="417336" y="4258920"/>
              <a:ext cx="147637" cy="195874"/>
            </a:xfrm>
            <a:custGeom>
              <a:avLst/>
              <a:gdLst>
                <a:gd name="connsiteX0" fmla="*/ 34500 w 147637"/>
                <a:gd name="connsiteY0" fmla="*/ 195874 h 195874"/>
                <a:gd name="connsiteX1" fmla="*/ 0 w 147637"/>
                <a:gd name="connsiteY1" fmla="*/ 131688 h 195874"/>
                <a:gd name="connsiteX2" fmla="*/ 108921 w 147637"/>
                <a:gd name="connsiteY2" fmla="*/ 0 h 195874"/>
                <a:gd name="connsiteX3" fmla="*/ 147637 w 147637"/>
                <a:gd name="connsiteY3" fmla="*/ 0 h 195874"/>
                <a:gd name="connsiteX4" fmla="*/ 147637 w 147637"/>
                <a:gd name="connsiteY4" fmla="*/ 55323 h 195874"/>
                <a:gd name="connsiteX5" fmla="*/ 82845 w 147637"/>
                <a:gd name="connsiteY5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7637" h="195874">
                  <a:moveTo>
                    <a:pt x="34500" y="195874"/>
                  </a:moveTo>
                  <a:lnTo>
                    <a:pt x="0" y="131688"/>
                  </a:lnTo>
                  <a:lnTo>
                    <a:pt x="108921" y="0"/>
                  </a:lnTo>
                  <a:lnTo>
                    <a:pt x="147637" y="0"/>
                  </a:lnTo>
                  <a:lnTo>
                    <a:pt x="147637" y="55323"/>
                  </a:lnTo>
                  <a:lnTo>
                    <a:pt x="8284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orme libre : forme 65">
              <a:extLst>
                <a:ext uri="{FF2B5EF4-FFF2-40B4-BE49-F238E27FC236}">
                  <a16:creationId xmlns:a16="http://schemas.microsoft.com/office/drawing/2014/main" id="{61A670F2-3CC6-425A-A67F-3F30EE51B04A}"/>
                </a:ext>
              </a:extLst>
            </p:cNvPr>
            <p:cNvSpPr/>
            <p:nvPr/>
          </p:nvSpPr>
          <p:spPr>
            <a:xfrm rot="8716295">
              <a:off x="330834" y="4134902"/>
              <a:ext cx="254613" cy="91157"/>
            </a:xfrm>
            <a:custGeom>
              <a:avLst/>
              <a:gdLst>
                <a:gd name="connsiteX0" fmla="*/ 0 w 254613"/>
                <a:gd name="connsiteY0" fmla="*/ 68911 h 91157"/>
                <a:gd name="connsiteX1" fmla="*/ 56997 w 254613"/>
                <a:gd name="connsiteY1" fmla="*/ 0 h 91157"/>
                <a:gd name="connsiteX2" fmla="*/ 57517 w 254613"/>
                <a:gd name="connsiteY2" fmla="*/ 2143 h 91157"/>
                <a:gd name="connsiteX3" fmla="*/ 128118 w 254613"/>
                <a:gd name="connsiteY3" fmla="*/ 40974 h 91157"/>
                <a:gd name="connsiteX4" fmla="*/ 181070 w 254613"/>
                <a:gd name="connsiteY4" fmla="*/ 31560 h 91157"/>
                <a:gd name="connsiteX5" fmla="*/ 253437 w 254613"/>
                <a:gd name="connsiteY5" fmla="*/ 2143 h 91157"/>
                <a:gd name="connsiteX6" fmla="*/ 254613 w 254613"/>
                <a:gd name="connsiteY6" fmla="*/ 9791 h 91157"/>
                <a:gd name="connsiteX7" fmla="*/ 254613 w 254613"/>
                <a:gd name="connsiteY7" fmla="*/ 15674 h 91157"/>
                <a:gd name="connsiteX8" fmla="*/ 61636 w 254613"/>
                <a:gd name="connsiteY8" fmla="*/ 90983 h 91157"/>
                <a:gd name="connsiteX9" fmla="*/ 22363 w 254613"/>
                <a:gd name="connsiteY9" fmla="*/ 84217 h 91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4613" h="91157">
                  <a:moveTo>
                    <a:pt x="0" y="68911"/>
                  </a:moveTo>
                  <a:lnTo>
                    <a:pt x="56997" y="0"/>
                  </a:lnTo>
                  <a:lnTo>
                    <a:pt x="57517" y="2143"/>
                  </a:lnTo>
                  <a:cubicBezTo>
                    <a:pt x="66931" y="28030"/>
                    <a:pt x="91053" y="40974"/>
                    <a:pt x="128118" y="40974"/>
                  </a:cubicBezTo>
                  <a:cubicBezTo>
                    <a:pt x="146357" y="40385"/>
                    <a:pt x="164008" y="36855"/>
                    <a:pt x="181070" y="31560"/>
                  </a:cubicBezTo>
                  <a:cubicBezTo>
                    <a:pt x="205780" y="23912"/>
                    <a:pt x="229903" y="13910"/>
                    <a:pt x="253437" y="2143"/>
                  </a:cubicBezTo>
                  <a:cubicBezTo>
                    <a:pt x="254025" y="4496"/>
                    <a:pt x="254613" y="7438"/>
                    <a:pt x="254613" y="9791"/>
                  </a:cubicBezTo>
                  <a:lnTo>
                    <a:pt x="254613" y="15674"/>
                  </a:lnTo>
                  <a:cubicBezTo>
                    <a:pt x="192249" y="69215"/>
                    <a:pt x="110468" y="88042"/>
                    <a:pt x="61636" y="90983"/>
                  </a:cubicBezTo>
                  <a:cubicBezTo>
                    <a:pt x="48104" y="91866"/>
                    <a:pt x="34719" y="89365"/>
                    <a:pt x="22363" y="842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orme libre : forme 66">
              <a:extLst>
                <a:ext uri="{FF2B5EF4-FFF2-40B4-BE49-F238E27FC236}">
                  <a16:creationId xmlns:a16="http://schemas.microsoft.com/office/drawing/2014/main" id="{8311F45B-46D1-4E93-B5FB-C96A0B131FB3}"/>
                </a:ext>
              </a:extLst>
            </p:cNvPr>
            <p:cNvSpPr/>
            <p:nvPr/>
          </p:nvSpPr>
          <p:spPr>
            <a:xfrm rot="8716295">
              <a:off x="-3428" y="2405990"/>
              <a:ext cx="142167" cy="208592"/>
            </a:xfrm>
            <a:custGeom>
              <a:avLst/>
              <a:gdLst>
                <a:gd name="connsiteX0" fmla="*/ 81108 w 142167"/>
                <a:gd name="connsiteY0" fmla="*/ 208592 h 208592"/>
                <a:gd name="connsiteX1" fmla="*/ 81108 w 142167"/>
                <a:gd name="connsiteY1" fmla="*/ 69717 h 208592"/>
                <a:gd name="connsiteX2" fmla="*/ 81108 w 142167"/>
                <a:gd name="connsiteY2" fmla="*/ 65615 h 208592"/>
                <a:gd name="connsiteX3" fmla="*/ 60604 w 142167"/>
                <a:gd name="connsiteY3" fmla="*/ 50123 h 208592"/>
                <a:gd name="connsiteX4" fmla="*/ 0 w 142167"/>
                <a:gd name="connsiteY4" fmla="*/ 50123 h 208592"/>
                <a:gd name="connsiteX5" fmla="*/ 0 w 142167"/>
                <a:gd name="connsiteY5" fmla="*/ 0 h 208592"/>
                <a:gd name="connsiteX6" fmla="*/ 85210 w 142167"/>
                <a:gd name="connsiteY6" fmla="*/ 0 h 208592"/>
                <a:gd name="connsiteX7" fmla="*/ 142167 w 142167"/>
                <a:gd name="connsiteY7" fmla="*/ 50123 h 208592"/>
                <a:gd name="connsiteX8" fmla="*/ 142167 w 142167"/>
                <a:gd name="connsiteY8" fmla="*/ 120504 h 20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08592">
                  <a:moveTo>
                    <a:pt x="81108" y="208592"/>
                  </a:moveTo>
                  <a:lnTo>
                    <a:pt x="81108" y="69717"/>
                  </a:lnTo>
                  <a:cubicBezTo>
                    <a:pt x="81108" y="68350"/>
                    <a:pt x="81108" y="66983"/>
                    <a:pt x="81108" y="65615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10" y="0"/>
                  </a:lnTo>
                  <a:cubicBezTo>
                    <a:pt x="122118" y="0"/>
                    <a:pt x="142167" y="15948"/>
                    <a:pt x="142167" y="50123"/>
                  </a:cubicBezTo>
                  <a:lnTo>
                    <a:pt x="142167" y="1205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FBB49843-79D6-49E9-8512-3ED8074BAF49}"/>
                </a:ext>
              </a:extLst>
            </p:cNvPr>
            <p:cNvSpPr/>
            <p:nvPr/>
          </p:nvSpPr>
          <p:spPr>
            <a:xfrm rot="8716295">
              <a:off x="80015" y="241329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orme libre : forme 68">
              <a:extLst>
                <a:ext uri="{FF2B5EF4-FFF2-40B4-BE49-F238E27FC236}">
                  <a16:creationId xmlns:a16="http://schemas.microsoft.com/office/drawing/2014/main" id="{2588E0D5-81C5-4973-87D7-DBF7607FAFF4}"/>
                </a:ext>
              </a:extLst>
            </p:cNvPr>
            <p:cNvSpPr/>
            <p:nvPr/>
          </p:nvSpPr>
          <p:spPr>
            <a:xfrm rot="8716295">
              <a:off x="35165" y="232701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orme libre : forme 69">
              <a:extLst>
                <a:ext uri="{FF2B5EF4-FFF2-40B4-BE49-F238E27FC236}">
                  <a16:creationId xmlns:a16="http://schemas.microsoft.com/office/drawing/2014/main" id="{4C19B60F-0DA9-4BC3-BAAD-2E7DE57F5376}"/>
                </a:ext>
              </a:extLst>
            </p:cNvPr>
            <p:cNvSpPr/>
            <p:nvPr/>
          </p:nvSpPr>
          <p:spPr>
            <a:xfrm rot="8716295">
              <a:off x="-20257" y="2217087"/>
              <a:ext cx="78731" cy="180665"/>
            </a:xfrm>
            <a:custGeom>
              <a:avLst/>
              <a:gdLst>
                <a:gd name="connsiteX0" fmla="*/ 0 w 78731"/>
                <a:gd name="connsiteY0" fmla="*/ 180665 h 180665"/>
                <a:gd name="connsiteX1" fmla="*/ 0 w 78731"/>
                <a:gd name="connsiteY1" fmla="*/ 40596 h 180665"/>
                <a:gd name="connsiteX2" fmla="*/ 78250 w 78731"/>
                <a:gd name="connsiteY2" fmla="*/ 0 h 180665"/>
                <a:gd name="connsiteX3" fmla="*/ 78731 w 78731"/>
                <a:gd name="connsiteY3" fmla="*/ 67083 h 180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731" h="180665">
                  <a:moveTo>
                    <a:pt x="0" y="180665"/>
                  </a:moveTo>
                  <a:lnTo>
                    <a:pt x="0" y="40596"/>
                  </a:lnTo>
                  <a:lnTo>
                    <a:pt x="78250" y="0"/>
                  </a:lnTo>
                  <a:lnTo>
                    <a:pt x="78731" y="670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orme libre : forme 70">
              <a:extLst>
                <a:ext uri="{FF2B5EF4-FFF2-40B4-BE49-F238E27FC236}">
                  <a16:creationId xmlns:a16="http://schemas.microsoft.com/office/drawing/2014/main" id="{6EC16758-5536-44AA-B18E-D5428BFF36DA}"/>
                </a:ext>
              </a:extLst>
            </p:cNvPr>
            <p:cNvSpPr/>
            <p:nvPr/>
          </p:nvSpPr>
          <p:spPr>
            <a:xfrm rot="8716295">
              <a:off x="-15341" y="2575209"/>
              <a:ext cx="103435" cy="152027"/>
            </a:xfrm>
            <a:custGeom>
              <a:avLst/>
              <a:gdLst>
                <a:gd name="connsiteX0" fmla="*/ 43288 w 103435"/>
                <a:gd name="connsiteY0" fmla="*/ 152027 h 152027"/>
                <a:gd name="connsiteX1" fmla="*/ 43288 w 103435"/>
                <a:gd name="connsiteY1" fmla="*/ 16404 h 152027"/>
                <a:gd name="connsiteX2" fmla="*/ 0 w 103435"/>
                <a:gd name="connsiteY2" fmla="*/ 16404 h 152027"/>
                <a:gd name="connsiteX3" fmla="*/ 0 w 103435"/>
                <a:gd name="connsiteY3" fmla="*/ 2278 h 152027"/>
                <a:gd name="connsiteX4" fmla="*/ 103435 w 103435"/>
                <a:gd name="connsiteY4" fmla="*/ 0 h 152027"/>
                <a:gd name="connsiteX5" fmla="*/ 103435 w 103435"/>
                <a:gd name="connsiteY5" fmla="*/ 65255 h 152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152027">
                  <a:moveTo>
                    <a:pt x="43288" y="152027"/>
                  </a:move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652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orme libre : forme 71">
              <a:extLst>
                <a:ext uri="{FF2B5EF4-FFF2-40B4-BE49-F238E27FC236}">
                  <a16:creationId xmlns:a16="http://schemas.microsoft.com/office/drawing/2014/main" id="{F8CD2FD6-8E29-4A7B-A6E7-A08269AC0224}"/>
                </a:ext>
              </a:extLst>
            </p:cNvPr>
            <p:cNvSpPr/>
            <p:nvPr/>
          </p:nvSpPr>
          <p:spPr>
            <a:xfrm rot="8716295">
              <a:off x="279722" y="21339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orme libre : forme 72">
              <a:extLst>
                <a:ext uri="{FF2B5EF4-FFF2-40B4-BE49-F238E27FC236}">
                  <a16:creationId xmlns:a16="http://schemas.microsoft.com/office/drawing/2014/main" id="{B8E4BE1C-C619-4E1A-8472-B00AFC43BA29}"/>
                </a:ext>
              </a:extLst>
            </p:cNvPr>
            <p:cNvSpPr/>
            <p:nvPr/>
          </p:nvSpPr>
          <p:spPr>
            <a:xfrm rot="8716295">
              <a:off x="369114" y="21631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" name="Forme libre : forme 73">
              <a:extLst>
                <a:ext uri="{FF2B5EF4-FFF2-40B4-BE49-F238E27FC236}">
                  <a16:creationId xmlns:a16="http://schemas.microsoft.com/office/drawing/2014/main" id="{E00D5309-AD7C-43C7-8A0B-B7211B97E879}"/>
                </a:ext>
              </a:extLst>
            </p:cNvPr>
            <p:cNvSpPr/>
            <p:nvPr/>
          </p:nvSpPr>
          <p:spPr>
            <a:xfrm rot="8716295">
              <a:off x="167488" y="22224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" name="Forme libre : forme 74">
              <a:extLst>
                <a:ext uri="{FF2B5EF4-FFF2-40B4-BE49-F238E27FC236}">
                  <a16:creationId xmlns:a16="http://schemas.microsoft.com/office/drawing/2014/main" id="{569B59A1-12B4-4886-9F85-B0AFCE236D87}"/>
                </a:ext>
              </a:extLst>
            </p:cNvPr>
            <p:cNvSpPr/>
            <p:nvPr/>
          </p:nvSpPr>
          <p:spPr>
            <a:xfrm rot="8716295">
              <a:off x="42586" y="20137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" name="Forme libre : forme 75">
              <a:extLst>
                <a:ext uri="{FF2B5EF4-FFF2-40B4-BE49-F238E27FC236}">
                  <a16:creationId xmlns:a16="http://schemas.microsoft.com/office/drawing/2014/main" id="{F564295A-16CC-45A5-86A1-4CEC6CD90425}"/>
                </a:ext>
              </a:extLst>
            </p:cNvPr>
            <p:cNvSpPr/>
            <p:nvPr/>
          </p:nvSpPr>
          <p:spPr>
            <a:xfrm rot="8716295">
              <a:off x="257666" y="226339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" name="Forme libre : forme 76">
              <a:extLst>
                <a:ext uri="{FF2B5EF4-FFF2-40B4-BE49-F238E27FC236}">
                  <a16:creationId xmlns:a16="http://schemas.microsoft.com/office/drawing/2014/main" id="{2384700C-00D8-4B4D-ABDF-BE0456A14505}"/>
                </a:ext>
              </a:extLst>
            </p:cNvPr>
            <p:cNvSpPr/>
            <p:nvPr/>
          </p:nvSpPr>
          <p:spPr>
            <a:xfrm rot="8716295">
              <a:off x="16215" y="211379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" name="Forme libre : forme 77">
              <a:extLst>
                <a:ext uri="{FF2B5EF4-FFF2-40B4-BE49-F238E27FC236}">
                  <a16:creationId xmlns:a16="http://schemas.microsoft.com/office/drawing/2014/main" id="{D8BA4606-ED26-402C-93D7-D77E55C056EF}"/>
                </a:ext>
              </a:extLst>
            </p:cNvPr>
            <p:cNvSpPr/>
            <p:nvPr/>
          </p:nvSpPr>
          <p:spPr>
            <a:xfrm rot="7484129">
              <a:off x="362597" y="245474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orme libre : forme 78">
              <a:extLst>
                <a:ext uri="{FF2B5EF4-FFF2-40B4-BE49-F238E27FC236}">
                  <a16:creationId xmlns:a16="http://schemas.microsoft.com/office/drawing/2014/main" id="{3CCE9711-ABFF-417D-B3E6-0BDB1263FCD1}"/>
                </a:ext>
              </a:extLst>
            </p:cNvPr>
            <p:cNvSpPr/>
            <p:nvPr/>
          </p:nvSpPr>
          <p:spPr>
            <a:xfrm rot="13089394">
              <a:off x="463440" y="2426400"/>
              <a:ext cx="272584" cy="319064"/>
            </a:xfrm>
            <a:custGeom>
              <a:avLst/>
              <a:gdLst>
                <a:gd name="connsiteX0" fmla="*/ 80445 w 272584"/>
                <a:gd name="connsiteY0" fmla="*/ 215518 h 319064"/>
                <a:gd name="connsiteX1" fmla="*/ 0 w 272584"/>
                <a:gd name="connsiteY1" fmla="*/ 93007 h 319064"/>
                <a:gd name="connsiteX2" fmla="*/ 0 w 272584"/>
                <a:gd name="connsiteY2" fmla="*/ 38074 h 319064"/>
                <a:gd name="connsiteX3" fmla="*/ 73388 w 272584"/>
                <a:gd name="connsiteY3" fmla="*/ 0 h 319064"/>
                <a:gd name="connsiteX4" fmla="*/ 74492 w 272584"/>
                <a:gd name="connsiteY4" fmla="*/ 153950 h 319064"/>
                <a:gd name="connsiteX5" fmla="*/ 76768 w 272584"/>
                <a:gd name="connsiteY5" fmla="*/ 200369 h 319064"/>
                <a:gd name="connsiteX6" fmla="*/ 272584 w 272584"/>
                <a:gd name="connsiteY6" fmla="*/ 258238 h 319064"/>
                <a:gd name="connsiteX7" fmla="*/ 177331 w 272584"/>
                <a:gd name="connsiteY7" fmla="*/ 311347 h 319064"/>
                <a:gd name="connsiteX8" fmla="*/ 148437 w 272584"/>
                <a:gd name="connsiteY8" fmla="*/ 319064 h 319064"/>
                <a:gd name="connsiteX9" fmla="*/ 119231 w 272584"/>
                <a:gd name="connsiteY9" fmla="*/ 274585 h 319064"/>
                <a:gd name="connsiteX10" fmla="*/ 153949 w 272584"/>
                <a:gd name="connsiteY10" fmla="*/ 281965 h 319064"/>
                <a:gd name="connsiteX11" fmla="*/ 203610 w 272584"/>
                <a:gd name="connsiteY11" fmla="*/ 273136 h 319064"/>
                <a:gd name="connsiteX12" fmla="*/ 271481 w 272584"/>
                <a:gd name="connsiteY12" fmla="*/ 245547 h 319064"/>
                <a:gd name="connsiteX13" fmla="*/ 272584 w 272584"/>
                <a:gd name="connsiteY13" fmla="*/ 252720 h 319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2584" h="319064">
                  <a:moveTo>
                    <a:pt x="80445" y="215518"/>
                  </a:moveTo>
                  <a:lnTo>
                    <a:pt x="0" y="93007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3664" y="169400"/>
                    <a:pt x="74492" y="184988"/>
                    <a:pt x="76768" y="200369"/>
                  </a:cubicBezTo>
                  <a:close/>
                  <a:moveTo>
                    <a:pt x="272584" y="258238"/>
                  </a:moveTo>
                  <a:cubicBezTo>
                    <a:pt x="243339" y="283344"/>
                    <a:pt x="209542" y="300312"/>
                    <a:pt x="177331" y="311347"/>
                  </a:cubicBezTo>
                  <a:lnTo>
                    <a:pt x="148437" y="319064"/>
                  </a:lnTo>
                  <a:lnTo>
                    <a:pt x="119231" y="274585"/>
                  </a:lnTo>
                  <a:lnTo>
                    <a:pt x="153949" y="281965"/>
                  </a:lnTo>
                  <a:cubicBezTo>
                    <a:pt x="171055" y="281413"/>
                    <a:pt x="187609" y="278102"/>
                    <a:pt x="203610" y="273136"/>
                  </a:cubicBezTo>
                  <a:cubicBezTo>
                    <a:pt x="226785" y="265963"/>
                    <a:pt x="249409" y="256583"/>
                    <a:pt x="271481" y="245547"/>
                  </a:cubicBezTo>
                  <a:cubicBezTo>
                    <a:pt x="272032" y="247754"/>
                    <a:pt x="272584" y="250513"/>
                    <a:pt x="272584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Forme libre : forme 79">
              <a:extLst>
                <a:ext uri="{FF2B5EF4-FFF2-40B4-BE49-F238E27FC236}">
                  <a16:creationId xmlns:a16="http://schemas.microsoft.com/office/drawing/2014/main" id="{6E12610B-6A34-4C00-8EC5-09F9F5AEEEF0}"/>
                </a:ext>
              </a:extLst>
            </p:cNvPr>
            <p:cNvSpPr/>
            <p:nvPr/>
          </p:nvSpPr>
          <p:spPr>
            <a:xfrm rot="8716295">
              <a:off x="675867" y="2357327"/>
              <a:ext cx="38012" cy="45752"/>
            </a:xfrm>
            <a:custGeom>
              <a:avLst/>
              <a:gdLst>
                <a:gd name="connsiteX0" fmla="*/ 0 w 38012"/>
                <a:gd name="connsiteY0" fmla="*/ 45752 h 45752"/>
                <a:gd name="connsiteX1" fmla="*/ 37842 w 38012"/>
                <a:gd name="connsiteY1" fmla="*/ 0 h 45752"/>
                <a:gd name="connsiteX2" fmla="*/ 38012 w 38012"/>
                <a:gd name="connsiteY2" fmla="*/ 641 h 45752"/>
                <a:gd name="connsiteX3" fmla="*/ 6841 w 38012"/>
                <a:gd name="connsiteY3" fmla="*/ 42560 h 45752"/>
                <a:gd name="connsiteX4" fmla="*/ 7378 w 38012"/>
                <a:gd name="connsiteY4" fmla="*/ 42560 h 45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012" h="45752">
                  <a:moveTo>
                    <a:pt x="0" y="45752"/>
                  </a:moveTo>
                  <a:lnTo>
                    <a:pt x="37842" y="0"/>
                  </a:lnTo>
                  <a:lnTo>
                    <a:pt x="38012" y="641"/>
                  </a:lnTo>
                  <a:cubicBezTo>
                    <a:pt x="36400" y="19451"/>
                    <a:pt x="24039" y="35036"/>
                    <a:pt x="6841" y="42560"/>
                  </a:cubicBezTo>
                  <a:lnTo>
                    <a:pt x="7378" y="425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" name="Forme libre : forme 80">
              <a:extLst>
                <a:ext uri="{FF2B5EF4-FFF2-40B4-BE49-F238E27FC236}">
                  <a16:creationId xmlns:a16="http://schemas.microsoft.com/office/drawing/2014/main" id="{04C60C27-7F84-4DDC-864F-602B18A26BC5}"/>
                </a:ext>
              </a:extLst>
            </p:cNvPr>
            <p:cNvSpPr/>
            <p:nvPr/>
          </p:nvSpPr>
          <p:spPr>
            <a:xfrm rot="8716295">
              <a:off x="601197" y="21260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orme libre : forme 81">
              <a:extLst>
                <a:ext uri="{FF2B5EF4-FFF2-40B4-BE49-F238E27FC236}">
                  <a16:creationId xmlns:a16="http://schemas.microsoft.com/office/drawing/2014/main" id="{603BCEF5-66FB-4B3A-9672-2C4F09A114FA}"/>
                </a:ext>
              </a:extLst>
            </p:cNvPr>
            <p:cNvSpPr/>
            <p:nvPr/>
          </p:nvSpPr>
          <p:spPr>
            <a:xfrm rot="8716295">
              <a:off x="357951" y="21562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Forme libre : forme 82">
              <a:extLst>
                <a:ext uri="{FF2B5EF4-FFF2-40B4-BE49-F238E27FC236}">
                  <a16:creationId xmlns:a16="http://schemas.microsoft.com/office/drawing/2014/main" id="{47C10671-5456-47FF-825A-4447688D4139}"/>
                </a:ext>
              </a:extLst>
            </p:cNvPr>
            <p:cNvSpPr/>
            <p:nvPr/>
          </p:nvSpPr>
          <p:spPr>
            <a:xfrm rot="8716295">
              <a:off x="535403" y="199698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4" name="Forme libre : forme 83">
              <a:extLst>
                <a:ext uri="{FF2B5EF4-FFF2-40B4-BE49-F238E27FC236}">
                  <a16:creationId xmlns:a16="http://schemas.microsoft.com/office/drawing/2014/main" id="{DB34C374-02D3-4583-9890-9C27CA821837}"/>
                </a:ext>
              </a:extLst>
            </p:cNvPr>
            <p:cNvSpPr/>
            <p:nvPr/>
          </p:nvSpPr>
          <p:spPr>
            <a:xfrm rot="8716295">
              <a:off x="-76043" y="1768178"/>
              <a:ext cx="197178" cy="215049"/>
            </a:xfrm>
            <a:custGeom>
              <a:avLst/>
              <a:gdLst>
                <a:gd name="connsiteX0" fmla="*/ 51490 w 197178"/>
                <a:gd name="connsiteY0" fmla="*/ 215049 h 215049"/>
                <a:gd name="connsiteX1" fmla="*/ 51490 w 197178"/>
                <a:gd name="connsiteY1" fmla="*/ 45624 h 215049"/>
                <a:gd name="connsiteX2" fmla="*/ 0 w 197178"/>
                <a:gd name="connsiteY2" fmla="*/ 45624 h 215049"/>
                <a:gd name="connsiteX3" fmla="*/ 0 w 197178"/>
                <a:gd name="connsiteY3" fmla="*/ 1424 h 215049"/>
                <a:gd name="connsiteX4" fmla="*/ 104803 w 197178"/>
                <a:gd name="connsiteY4" fmla="*/ 1425 h 215049"/>
                <a:gd name="connsiteX5" fmla="*/ 104803 w 197178"/>
                <a:gd name="connsiteY5" fmla="*/ 75242 h 215049"/>
                <a:gd name="connsiteX6" fmla="*/ 106169 w 197178"/>
                <a:gd name="connsiteY6" fmla="*/ 75242 h 215049"/>
                <a:gd name="connsiteX7" fmla="*/ 154014 w 197178"/>
                <a:gd name="connsiteY7" fmla="*/ 5981 h 215049"/>
                <a:gd name="connsiteX8" fmla="*/ 185455 w 197178"/>
                <a:gd name="connsiteY8" fmla="*/ 57 h 215049"/>
                <a:gd name="connsiteX9" fmla="*/ 197178 w 197178"/>
                <a:gd name="connsiteY9" fmla="*/ 4872 h 215049"/>
                <a:gd name="connsiteX10" fmla="*/ 170795 w 197178"/>
                <a:gd name="connsiteY10" fmla="*/ 42934 h 215049"/>
                <a:gd name="connsiteX11" fmla="*/ 164950 w 197178"/>
                <a:gd name="connsiteY11" fmla="*/ 40156 h 215049"/>
                <a:gd name="connsiteX12" fmla="*/ 111638 w 197178"/>
                <a:gd name="connsiteY12" fmla="*/ 127643 h 215049"/>
                <a:gd name="connsiteX13" fmla="*/ 111638 w 197178"/>
                <a:gd name="connsiteY13" fmla="*/ 128277 h 21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178" h="215049">
                  <a:moveTo>
                    <a:pt x="51490" y="215049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4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lnTo>
                    <a:pt x="197178" y="4872"/>
                  </a:lnTo>
                  <a:lnTo>
                    <a:pt x="170795" y="42934"/>
                  </a:lnTo>
                  <a:lnTo>
                    <a:pt x="164950" y="40156"/>
                  </a:ln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1282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5" name="Forme libre : forme 84">
              <a:extLst>
                <a:ext uri="{FF2B5EF4-FFF2-40B4-BE49-F238E27FC236}">
                  <a16:creationId xmlns:a16="http://schemas.microsoft.com/office/drawing/2014/main" id="{F27A5053-248B-4729-A180-CFD83FBA8C7D}"/>
                </a:ext>
              </a:extLst>
            </p:cNvPr>
            <p:cNvSpPr/>
            <p:nvPr/>
          </p:nvSpPr>
          <p:spPr>
            <a:xfrm rot="8716295">
              <a:off x="56555" y="14742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6" name="Forme libre : forme 85">
              <a:extLst>
                <a:ext uri="{FF2B5EF4-FFF2-40B4-BE49-F238E27FC236}">
                  <a16:creationId xmlns:a16="http://schemas.microsoft.com/office/drawing/2014/main" id="{9918622A-7E96-4EC8-A35B-CBCD19A79AE2}"/>
                </a:ext>
              </a:extLst>
            </p:cNvPr>
            <p:cNvSpPr/>
            <p:nvPr/>
          </p:nvSpPr>
          <p:spPr>
            <a:xfrm rot="8716295">
              <a:off x="145947" y="15034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7" name="Forme libre : forme 86">
              <a:extLst>
                <a:ext uri="{FF2B5EF4-FFF2-40B4-BE49-F238E27FC236}">
                  <a16:creationId xmlns:a16="http://schemas.microsoft.com/office/drawing/2014/main" id="{0ECD9757-2AFD-4623-9C3D-24E52F11F047}"/>
                </a:ext>
              </a:extLst>
            </p:cNvPr>
            <p:cNvSpPr/>
            <p:nvPr/>
          </p:nvSpPr>
          <p:spPr>
            <a:xfrm rot="8716295">
              <a:off x="-21870" y="1443501"/>
              <a:ext cx="68614" cy="55323"/>
            </a:xfrm>
            <a:custGeom>
              <a:avLst/>
              <a:gdLst>
                <a:gd name="connsiteX0" fmla="*/ 0 w 68614"/>
                <a:gd name="connsiteY0" fmla="*/ 55323 h 55323"/>
                <a:gd name="connsiteX1" fmla="*/ 0 w 68614"/>
                <a:gd name="connsiteY1" fmla="*/ 0 h 55323"/>
                <a:gd name="connsiteX2" fmla="*/ 68614 w 68614"/>
                <a:gd name="connsiteY2" fmla="*/ 0 h 55323"/>
                <a:gd name="connsiteX3" fmla="*/ 30266 w 68614"/>
                <a:gd name="connsiteY3" fmla="*/ 55323 h 55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614" h="55323">
                  <a:moveTo>
                    <a:pt x="0" y="55323"/>
                  </a:moveTo>
                  <a:lnTo>
                    <a:pt x="0" y="0"/>
                  </a:lnTo>
                  <a:lnTo>
                    <a:pt x="68614" y="0"/>
                  </a:lnTo>
                  <a:lnTo>
                    <a:pt x="30266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8" name="Forme libre : forme 87">
              <a:extLst>
                <a:ext uri="{FF2B5EF4-FFF2-40B4-BE49-F238E27FC236}">
                  <a16:creationId xmlns:a16="http://schemas.microsoft.com/office/drawing/2014/main" id="{661ED1FA-7FC0-427E-9226-6E31215700D9}"/>
                </a:ext>
              </a:extLst>
            </p:cNvPr>
            <p:cNvSpPr/>
            <p:nvPr/>
          </p:nvSpPr>
          <p:spPr>
            <a:xfrm rot="8716295">
              <a:off x="35817" y="1618109"/>
              <a:ext cx="103435" cy="203897"/>
            </a:xfrm>
            <a:custGeom>
              <a:avLst/>
              <a:gdLst>
                <a:gd name="connsiteX0" fmla="*/ 87556 w 103435"/>
                <a:gd name="connsiteY0" fmla="*/ 203897 h 203897"/>
                <a:gd name="connsiteX1" fmla="*/ 43288 w 103435"/>
                <a:gd name="connsiteY1" fmla="*/ 161305 h 203897"/>
                <a:gd name="connsiteX2" fmla="*/ 43288 w 103435"/>
                <a:gd name="connsiteY2" fmla="*/ 16404 h 203897"/>
                <a:gd name="connsiteX3" fmla="*/ 0 w 103435"/>
                <a:gd name="connsiteY3" fmla="*/ 16404 h 203897"/>
                <a:gd name="connsiteX4" fmla="*/ 0 w 103435"/>
                <a:gd name="connsiteY4" fmla="*/ 2278 h 203897"/>
                <a:gd name="connsiteX5" fmla="*/ 103435 w 103435"/>
                <a:gd name="connsiteY5" fmla="*/ 0 h 203897"/>
                <a:gd name="connsiteX6" fmla="*/ 103435 w 103435"/>
                <a:gd name="connsiteY6" fmla="*/ 180989 h 203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03897">
                  <a:moveTo>
                    <a:pt x="87556" y="203897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1809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9" name="Forme libre : forme 88">
              <a:extLst>
                <a:ext uri="{FF2B5EF4-FFF2-40B4-BE49-F238E27FC236}">
                  <a16:creationId xmlns:a16="http://schemas.microsoft.com/office/drawing/2014/main" id="{A1295F39-BDBB-432C-B32B-C5B551977FC2}"/>
                </a:ext>
              </a:extLst>
            </p:cNvPr>
            <p:cNvSpPr/>
            <p:nvPr/>
          </p:nvSpPr>
          <p:spPr>
            <a:xfrm rot="7484129">
              <a:off x="139430" y="17950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" name="Forme libre : forme 89">
              <a:extLst>
                <a:ext uri="{FF2B5EF4-FFF2-40B4-BE49-F238E27FC236}">
                  <a16:creationId xmlns:a16="http://schemas.microsoft.com/office/drawing/2014/main" id="{F2E91B5E-C359-4716-9781-DAEDAFFE884C}"/>
                </a:ext>
              </a:extLst>
            </p:cNvPr>
            <p:cNvSpPr/>
            <p:nvPr/>
          </p:nvSpPr>
          <p:spPr>
            <a:xfrm rot="13089394">
              <a:off x="244250" y="17615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" name="Forme libre : forme 90">
              <a:extLst>
                <a:ext uri="{FF2B5EF4-FFF2-40B4-BE49-F238E27FC236}">
                  <a16:creationId xmlns:a16="http://schemas.microsoft.com/office/drawing/2014/main" id="{4C9CCC26-5417-41E7-B753-3B7D59038FBD}"/>
                </a:ext>
              </a:extLst>
            </p:cNvPr>
            <p:cNvSpPr/>
            <p:nvPr/>
          </p:nvSpPr>
          <p:spPr>
            <a:xfrm rot="8716295">
              <a:off x="429835" y="15699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" name="Forme libre : forme 91">
              <a:extLst>
                <a:ext uri="{FF2B5EF4-FFF2-40B4-BE49-F238E27FC236}">
                  <a16:creationId xmlns:a16="http://schemas.microsoft.com/office/drawing/2014/main" id="{D6712892-AD9E-4694-AEF5-3D17C5AEEE1D}"/>
                </a:ext>
              </a:extLst>
            </p:cNvPr>
            <p:cNvSpPr/>
            <p:nvPr/>
          </p:nvSpPr>
          <p:spPr>
            <a:xfrm rot="8716295">
              <a:off x="378030" y="14663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" name="Forme libre : forme 92">
              <a:extLst>
                <a:ext uri="{FF2B5EF4-FFF2-40B4-BE49-F238E27FC236}">
                  <a16:creationId xmlns:a16="http://schemas.microsoft.com/office/drawing/2014/main" id="{8DA7EFED-D0A6-45D4-A875-2F1DCEFC57C8}"/>
                </a:ext>
              </a:extLst>
            </p:cNvPr>
            <p:cNvSpPr/>
            <p:nvPr/>
          </p:nvSpPr>
          <p:spPr>
            <a:xfrm rot="8716295">
              <a:off x="134784" y="14965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" name="Forme libre : forme 93">
              <a:extLst>
                <a:ext uri="{FF2B5EF4-FFF2-40B4-BE49-F238E27FC236}">
                  <a16:creationId xmlns:a16="http://schemas.microsoft.com/office/drawing/2014/main" id="{32971A81-1820-4964-A66E-2FD721A16F56}"/>
                </a:ext>
              </a:extLst>
            </p:cNvPr>
            <p:cNvSpPr/>
            <p:nvPr/>
          </p:nvSpPr>
          <p:spPr>
            <a:xfrm rot="8716295">
              <a:off x="312236" y="13372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orme libre : forme 94">
              <a:extLst>
                <a:ext uri="{FF2B5EF4-FFF2-40B4-BE49-F238E27FC236}">
                  <a16:creationId xmlns:a16="http://schemas.microsoft.com/office/drawing/2014/main" id="{BC42F9C8-99E7-4F04-B258-C142D2DE142F}"/>
                </a:ext>
              </a:extLst>
            </p:cNvPr>
            <p:cNvSpPr/>
            <p:nvPr/>
          </p:nvSpPr>
          <p:spPr>
            <a:xfrm rot="8716295">
              <a:off x="-17798" y="949199"/>
              <a:ext cx="39526" cy="50123"/>
            </a:xfrm>
            <a:custGeom>
              <a:avLst/>
              <a:gdLst>
                <a:gd name="connsiteX0" fmla="*/ 0 w 39526"/>
                <a:gd name="connsiteY0" fmla="*/ 50123 h 50123"/>
                <a:gd name="connsiteX1" fmla="*/ 0 w 39526"/>
                <a:gd name="connsiteY1" fmla="*/ 0 h 50123"/>
                <a:gd name="connsiteX2" fmla="*/ 39526 w 39526"/>
                <a:gd name="connsiteY2" fmla="*/ 0 h 50123"/>
                <a:gd name="connsiteX3" fmla="*/ 4782 w 39526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26" h="50123">
                  <a:moveTo>
                    <a:pt x="0" y="50123"/>
                  </a:moveTo>
                  <a:lnTo>
                    <a:pt x="0" y="0"/>
                  </a:lnTo>
                  <a:lnTo>
                    <a:pt x="39526" y="0"/>
                  </a:lnTo>
                  <a:lnTo>
                    <a:pt x="4782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Forme libre : forme 95">
              <a:extLst>
                <a:ext uri="{FF2B5EF4-FFF2-40B4-BE49-F238E27FC236}">
                  <a16:creationId xmlns:a16="http://schemas.microsoft.com/office/drawing/2014/main" id="{D29A62DB-0DC5-407D-A1DF-C8A39BAC784A}"/>
                </a:ext>
              </a:extLst>
            </p:cNvPr>
            <p:cNvSpPr/>
            <p:nvPr/>
          </p:nvSpPr>
          <p:spPr>
            <a:xfrm rot="8716295">
              <a:off x="-64996" y="834728"/>
              <a:ext cx="249650" cy="254774"/>
            </a:xfrm>
            <a:custGeom>
              <a:avLst/>
              <a:gdLst>
                <a:gd name="connsiteX0" fmla="*/ 51490 w 249650"/>
                <a:gd name="connsiteY0" fmla="*/ 254774 h 254774"/>
                <a:gd name="connsiteX1" fmla="*/ 51490 w 249650"/>
                <a:gd name="connsiteY1" fmla="*/ 45624 h 254774"/>
                <a:gd name="connsiteX2" fmla="*/ 0 w 249650"/>
                <a:gd name="connsiteY2" fmla="*/ 45624 h 254774"/>
                <a:gd name="connsiteX3" fmla="*/ 0 w 249650"/>
                <a:gd name="connsiteY3" fmla="*/ 1425 h 254774"/>
                <a:gd name="connsiteX4" fmla="*/ 104803 w 249650"/>
                <a:gd name="connsiteY4" fmla="*/ 1425 h 254774"/>
                <a:gd name="connsiteX5" fmla="*/ 104803 w 249650"/>
                <a:gd name="connsiteY5" fmla="*/ 75242 h 254774"/>
                <a:gd name="connsiteX6" fmla="*/ 106169 w 249650"/>
                <a:gd name="connsiteY6" fmla="*/ 75242 h 254774"/>
                <a:gd name="connsiteX7" fmla="*/ 154014 w 249650"/>
                <a:gd name="connsiteY7" fmla="*/ 5981 h 254774"/>
                <a:gd name="connsiteX8" fmla="*/ 185455 w 249650"/>
                <a:gd name="connsiteY8" fmla="*/ 57 h 254774"/>
                <a:gd name="connsiteX9" fmla="*/ 240647 w 249650"/>
                <a:gd name="connsiteY9" fmla="*/ 22727 h 254774"/>
                <a:gd name="connsiteX10" fmla="*/ 249650 w 249650"/>
                <a:gd name="connsiteY10" fmla="*/ 52327 h 254774"/>
                <a:gd name="connsiteX11" fmla="*/ 218795 w 249650"/>
                <a:gd name="connsiteY11" fmla="*/ 96841 h 254774"/>
                <a:gd name="connsiteX12" fmla="*/ 198669 w 249650"/>
                <a:gd name="connsiteY12" fmla="*/ 98025 h 254774"/>
                <a:gd name="connsiteX13" fmla="*/ 198669 w 249650"/>
                <a:gd name="connsiteY13" fmla="*/ 81621 h 254774"/>
                <a:gd name="connsiteX14" fmla="*/ 164950 w 249650"/>
                <a:gd name="connsiteY14" fmla="*/ 40156 h 254774"/>
                <a:gd name="connsiteX15" fmla="*/ 111638 w 249650"/>
                <a:gd name="connsiteY15" fmla="*/ 127643 h 254774"/>
                <a:gd name="connsiteX16" fmla="*/ 111638 w 249650"/>
                <a:gd name="connsiteY16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9650" h="254774">
                  <a:moveTo>
                    <a:pt x="51490" y="254774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08922" y="-398"/>
                    <a:pt x="227718" y="7576"/>
                    <a:pt x="240647" y="22727"/>
                  </a:cubicBezTo>
                  <a:lnTo>
                    <a:pt x="249650" y="52327"/>
                  </a:lnTo>
                  <a:lnTo>
                    <a:pt x="218795" y="96841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" name="Forme libre : forme 96">
              <a:extLst>
                <a:ext uri="{FF2B5EF4-FFF2-40B4-BE49-F238E27FC236}">
                  <a16:creationId xmlns:a16="http://schemas.microsoft.com/office/drawing/2014/main" id="{4160A2B5-61C4-44D3-8FA4-49A1FCD41A0C}"/>
                </a:ext>
              </a:extLst>
            </p:cNvPr>
            <p:cNvSpPr/>
            <p:nvPr/>
          </p:nvSpPr>
          <p:spPr>
            <a:xfrm rot="7484129">
              <a:off x="-63314" y="1172497"/>
              <a:ext cx="203848" cy="146395"/>
            </a:xfrm>
            <a:custGeom>
              <a:avLst/>
              <a:gdLst>
                <a:gd name="connsiteX0" fmla="*/ 0 w 203848"/>
                <a:gd name="connsiteY0" fmla="*/ 55323 h 146395"/>
                <a:gd name="connsiteX1" fmla="*/ 0 w 203848"/>
                <a:gd name="connsiteY1" fmla="*/ 0 h 146395"/>
                <a:gd name="connsiteX2" fmla="*/ 203848 w 203848"/>
                <a:gd name="connsiteY2" fmla="*/ 0 h 146395"/>
                <a:gd name="connsiteX3" fmla="*/ 203847 w 203848"/>
                <a:gd name="connsiteY3" fmla="*/ 49512 h 146395"/>
                <a:gd name="connsiteX4" fmla="*/ 195466 w 203848"/>
                <a:gd name="connsiteY4" fmla="*/ 55323 h 146395"/>
                <a:gd name="connsiteX5" fmla="*/ 139055 w 203848"/>
                <a:gd name="connsiteY5" fmla="*/ 55323 h 146395"/>
                <a:gd name="connsiteX6" fmla="*/ 121388 w 203848"/>
                <a:gd name="connsiteY6" fmla="*/ 106685 h 146395"/>
                <a:gd name="connsiteX7" fmla="*/ 64115 w 203848"/>
                <a:gd name="connsiteY7" fmla="*/ 146395 h 146395"/>
                <a:gd name="connsiteX8" fmla="*/ 47847 w 203848"/>
                <a:gd name="connsiteY8" fmla="*/ 116129 h 146395"/>
                <a:gd name="connsiteX9" fmla="*/ 69777 w 203848"/>
                <a:gd name="connsiteY9" fmla="*/ 55323 h 146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848" h="146395">
                  <a:moveTo>
                    <a:pt x="0" y="55323"/>
                  </a:moveTo>
                  <a:lnTo>
                    <a:pt x="0" y="0"/>
                  </a:lnTo>
                  <a:lnTo>
                    <a:pt x="203848" y="0"/>
                  </a:lnTo>
                  <a:lnTo>
                    <a:pt x="203847" y="49512"/>
                  </a:lnTo>
                  <a:lnTo>
                    <a:pt x="195466" y="55323"/>
                  </a:lnTo>
                  <a:lnTo>
                    <a:pt x="139055" y="55323"/>
                  </a:lnTo>
                  <a:lnTo>
                    <a:pt x="121388" y="106685"/>
                  </a:lnTo>
                  <a:lnTo>
                    <a:pt x="64115" y="146395"/>
                  </a:lnTo>
                  <a:lnTo>
                    <a:pt x="47847" y="116129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" name="Forme libre : forme 97">
              <a:extLst>
                <a:ext uri="{FF2B5EF4-FFF2-40B4-BE49-F238E27FC236}">
                  <a16:creationId xmlns:a16="http://schemas.microsoft.com/office/drawing/2014/main" id="{0F651F8F-312F-4D1A-9E4B-A79B81999918}"/>
                </a:ext>
              </a:extLst>
            </p:cNvPr>
            <p:cNvSpPr/>
            <p:nvPr/>
          </p:nvSpPr>
          <p:spPr>
            <a:xfrm rot="13089394">
              <a:off x="25311" y="109952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" name="Forme libre : forme 98">
              <a:extLst>
                <a:ext uri="{FF2B5EF4-FFF2-40B4-BE49-F238E27FC236}">
                  <a16:creationId xmlns:a16="http://schemas.microsoft.com/office/drawing/2014/main" id="{12E33E54-ECAF-462B-B069-F233780DF121}"/>
                </a:ext>
              </a:extLst>
            </p:cNvPr>
            <p:cNvSpPr/>
            <p:nvPr/>
          </p:nvSpPr>
          <p:spPr>
            <a:xfrm rot="8716295">
              <a:off x="210896" y="90784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orme libre : forme 99">
              <a:extLst>
                <a:ext uri="{FF2B5EF4-FFF2-40B4-BE49-F238E27FC236}">
                  <a16:creationId xmlns:a16="http://schemas.microsoft.com/office/drawing/2014/main" id="{42ACC1F1-A8E1-420C-B7DE-55FFEE501260}"/>
                </a:ext>
              </a:extLst>
            </p:cNvPr>
            <p:cNvSpPr/>
            <p:nvPr/>
          </p:nvSpPr>
          <p:spPr>
            <a:xfrm rot="8716295">
              <a:off x="159091" y="80425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Forme libre : forme 100">
              <a:extLst>
                <a:ext uri="{FF2B5EF4-FFF2-40B4-BE49-F238E27FC236}">
                  <a16:creationId xmlns:a16="http://schemas.microsoft.com/office/drawing/2014/main" id="{B902C445-D42B-4D0E-8897-FDE236E78375}"/>
                </a:ext>
              </a:extLst>
            </p:cNvPr>
            <p:cNvSpPr/>
            <p:nvPr/>
          </p:nvSpPr>
          <p:spPr>
            <a:xfrm rot="8716295">
              <a:off x="93297" y="67523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" name="Forme libre : forme 101">
              <a:extLst>
                <a:ext uri="{FF2B5EF4-FFF2-40B4-BE49-F238E27FC236}">
                  <a16:creationId xmlns:a16="http://schemas.microsoft.com/office/drawing/2014/main" id="{4EDB9DFE-AA44-492B-9D2C-70F199FD6162}"/>
                </a:ext>
              </a:extLst>
            </p:cNvPr>
            <p:cNvSpPr/>
            <p:nvPr/>
          </p:nvSpPr>
          <p:spPr>
            <a:xfrm rot="8716295">
              <a:off x="-7001" y="316701"/>
              <a:ext cx="14001" cy="20198"/>
            </a:xfrm>
            <a:custGeom>
              <a:avLst/>
              <a:gdLst>
                <a:gd name="connsiteX0" fmla="*/ 0 w 14001"/>
                <a:gd name="connsiteY0" fmla="*/ 20198 h 20198"/>
                <a:gd name="connsiteX1" fmla="*/ 0 w 14001"/>
                <a:gd name="connsiteY1" fmla="*/ 0 h 20198"/>
                <a:gd name="connsiteX2" fmla="*/ 14001 w 14001"/>
                <a:gd name="connsiteY2" fmla="*/ 0 h 2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01" h="20198">
                  <a:moveTo>
                    <a:pt x="0" y="20198"/>
                  </a:moveTo>
                  <a:lnTo>
                    <a:pt x="0" y="0"/>
                  </a:lnTo>
                  <a:lnTo>
                    <a:pt x="1400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" name="Forme libre : forme 102">
              <a:extLst>
                <a:ext uri="{FF2B5EF4-FFF2-40B4-BE49-F238E27FC236}">
                  <a16:creationId xmlns:a16="http://schemas.microsoft.com/office/drawing/2014/main" id="{9B8E4668-5129-4061-833F-DDB8DC144C55}"/>
                </a:ext>
              </a:extLst>
            </p:cNvPr>
            <p:cNvSpPr/>
            <p:nvPr/>
          </p:nvSpPr>
          <p:spPr>
            <a:xfrm rot="13089394">
              <a:off x="-81658" y="472652"/>
              <a:ext cx="173631" cy="237684"/>
            </a:xfrm>
            <a:custGeom>
              <a:avLst/>
              <a:gdLst>
                <a:gd name="connsiteX0" fmla="*/ 173631 w 173631"/>
                <a:gd name="connsiteY0" fmla="*/ 220990 h 237684"/>
                <a:gd name="connsiteX1" fmla="*/ 130972 w 173631"/>
                <a:gd name="connsiteY1" fmla="*/ 232382 h 237684"/>
                <a:gd name="connsiteX2" fmla="*/ 91597 w 173631"/>
                <a:gd name="connsiteY2" fmla="*/ 237521 h 237684"/>
                <a:gd name="connsiteX3" fmla="*/ 23727 w 173631"/>
                <a:gd name="connsiteY3" fmla="*/ 209931 h 237684"/>
                <a:gd name="connsiteX4" fmla="*/ 0 w 173631"/>
                <a:gd name="connsiteY4" fmla="*/ 115023 h 237684"/>
                <a:gd name="connsiteX5" fmla="*/ 0 w 173631"/>
                <a:gd name="connsiteY5" fmla="*/ 0 h 237684"/>
                <a:gd name="connsiteX6" fmla="*/ 76176 w 173631"/>
                <a:gd name="connsiteY6" fmla="*/ 96953 h 237684"/>
                <a:gd name="connsiteX7" fmla="*/ 76768 w 173631"/>
                <a:gd name="connsiteY7" fmla="*/ 109023 h 237684"/>
                <a:gd name="connsiteX8" fmla="*/ 87734 w 173631"/>
                <a:gd name="connsiteY8" fmla="*/ 154201 h 237684"/>
                <a:gd name="connsiteX9" fmla="*/ 111117 w 173631"/>
                <a:gd name="connsiteY9" fmla="*/ 181514 h 237684"/>
                <a:gd name="connsiteX10" fmla="*/ 148930 w 173631"/>
                <a:gd name="connsiteY10" fmla="*/ 189552 h 237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3631" h="237684">
                  <a:moveTo>
                    <a:pt x="173631" y="220990"/>
                  </a:moveTo>
                  <a:lnTo>
                    <a:pt x="130972" y="232382"/>
                  </a:lnTo>
                  <a:cubicBezTo>
                    <a:pt x="116428" y="235210"/>
                    <a:pt x="103047" y="236831"/>
                    <a:pt x="91597" y="237521"/>
                  </a:cubicBezTo>
                  <a:cubicBezTo>
                    <a:pt x="66215" y="239176"/>
                    <a:pt x="41384" y="228141"/>
                    <a:pt x="23727" y="209931"/>
                  </a:cubicBezTo>
                  <a:cubicBezTo>
                    <a:pt x="4966" y="191722"/>
                    <a:pt x="0" y="160270"/>
                    <a:pt x="0" y="115023"/>
                  </a:cubicBezTo>
                  <a:lnTo>
                    <a:pt x="0" y="0"/>
                  </a:lnTo>
                  <a:lnTo>
                    <a:pt x="76176" y="96953"/>
                  </a:lnTo>
                  <a:lnTo>
                    <a:pt x="76768" y="109023"/>
                  </a:lnTo>
                  <a:cubicBezTo>
                    <a:pt x="79044" y="124404"/>
                    <a:pt x="82768" y="139578"/>
                    <a:pt x="87734" y="154201"/>
                  </a:cubicBezTo>
                  <a:cubicBezTo>
                    <a:pt x="92149" y="166340"/>
                    <a:pt x="100012" y="175445"/>
                    <a:pt x="111117" y="181514"/>
                  </a:cubicBezTo>
                  <a:lnTo>
                    <a:pt x="148930" y="1895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" name="Forme libre : forme 103">
              <a:extLst>
                <a:ext uri="{FF2B5EF4-FFF2-40B4-BE49-F238E27FC236}">
                  <a16:creationId xmlns:a16="http://schemas.microsoft.com/office/drawing/2014/main" id="{99FF5E45-909E-4FF2-B754-B344F6F11F69}"/>
                </a:ext>
              </a:extLst>
            </p:cNvPr>
            <p:cNvSpPr/>
            <p:nvPr/>
          </p:nvSpPr>
          <p:spPr>
            <a:xfrm rot="8716295">
              <a:off x="-11774" y="24443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" name="Forme libre : forme 104">
              <a:extLst>
                <a:ext uri="{FF2B5EF4-FFF2-40B4-BE49-F238E27FC236}">
                  <a16:creationId xmlns:a16="http://schemas.microsoft.com/office/drawing/2014/main" id="{EB79107E-889E-47A5-A1AB-E4F4B49C7BFA}"/>
                </a:ext>
              </a:extLst>
            </p:cNvPr>
            <p:cNvSpPr/>
            <p:nvPr/>
          </p:nvSpPr>
          <p:spPr>
            <a:xfrm rot="8716295">
              <a:off x="-30092" y="143486"/>
              <a:ext cx="77721" cy="97260"/>
            </a:xfrm>
            <a:custGeom>
              <a:avLst/>
              <a:gdLst>
                <a:gd name="connsiteX0" fmla="*/ 15821 w 77721"/>
                <a:gd name="connsiteY0" fmla="*/ 97260 h 97260"/>
                <a:gd name="connsiteX1" fmla="*/ 0 w 77721"/>
                <a:gd name="connsiteY1" fmla="*/ 59790 h 97260"/>
                <a:gd name="connsiteX2" fmla="*/ 0 w 77721"/>
                <a:gd name="connsiteY2" fmla="*/ 58869 h 97260"/>
                <a:gd name="connsiteX3" fmla="*/ 17477 w 77721"/>
                <a:gd name="connsiteY3" fmla="*/ 17477 h 97260"/>
                <a:gd name="connsiteX4" fmla="*/ 58869 w 77721"/>
                <a:gd name="connsiteY4" fmla="*/ 0 h 97260"/>
                <a:gd name="connsiteX5" fmla="*/ 77721 w 77721"/>
                <a:gd name="connsiteY5" fmla="*/ 7960 h 97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721" h="97260">
                  <a:moveTo>
                    <a:pt x="15821" y="97260"/>
                  </a:moveTo>
                  <a:lnTo>
                    <a:pt x="0" y="59790"/>
                  </a:ln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lnTo>
                    <a:pt x="77721" y="79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" name="Forme libre : forme 105">
              <a:extLst>
                <a:ext uri="{FF2B5EF4-FFF2-40B4-BE49-F238E27FC236}">
                  <a16:creationId xmlns:a16="http://schemas.microsoft.com/office/drawing/2014/main" id="{D8EC7674-F8C4-4C98-B223-FB48E7028D2B}"/>
                </a:ext>
              </a:extLst>
            </p:cNvPr>
            <p:cNvSpPr/>
            <p:nvPr/>
          </p:nvSpPr>
          <p:spPr>
            <a:xfrm rot="8716295">
              <a:off x="-17797" y="3452694"/>
              <a:ext cx="58455" cy="44199"/>
            </a:xfrm>
            <a:custGeom>
              <a:avLst/>
              <a:gdLst>
                <a:gd name="connsiteX0" fmla="*/ 0 w 58455"/>
                <a:gd name="connsiteY0" fmla="*/ 44199 h 44199"/>
                <a:gd name="connsiteX1" fmla="*/ 0 w 58455"/>
                <a:gd name="connsiteY1" fmla="*/ 0 h 44199"/>
                <a:gd name="connsiteX2" fmla="*/ 58455 w 58455"/>
                <a:gd name="connsiteY2" fmla="*/ 0 h 44199"/>
                <a:gd name="connsiteX3" fmla="*/ 27817 w 58455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55" h="44199">
                  <a:moveTo>
                    <a:pt x="0" y="44199"/>
                  </a:moveTo>
                  <a:lnTo>
                    <a:pt x="0" y="0"/>
                  </a:lnTo>
                  <a:lnTo>
                    <a:pt x="58455" y="0"/>
                  </a:lnTo>
                  <a:lnTo>
                    <a:pt x="27817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" name="Forme libre : forme 106">
              <a:extLst>
                <a:ext uri="{FF2B5EF4-FFF2-40B4-BE49-F238E27FC236}">
                  <a16:creationId xmlns:a16="http://schemas.microsoft.com/office/drawing/2014/main" id="{4367C4D5-414D-49AB-A590-D84D23E38E78}"/>
                </a:ext>
              </a:extLst>
            </p:cNvPr>
            <p:cNvSpPr/>
            <p:nvPr/>
          </p:nvSpPr>
          <p:spPr>
            <a:xfrm rot="13089394">
              <a:off x="-91485" y="3601812"/>
              <a:ext cx="206527" cy="292654"/>
            </a:xfrm>
            <a:custGeom>
              <a:avLst/>
              <a:gdLst>
                <a:gd name="connsiteX0" fmla="*/ 206527 w 206527"/>
                <a:gd name="connsiteY0" fmla="*/ 258693 h 292654"/>
                <a:gd name="connsiteX1" fmla="*/ 177331 w 206527"/>
                <a:gd name="connsiteY1" fmla="*/ 274971 h 292654"/>
                <a:gd name="connsiteX2" fmla="*/ 91597 w 206527"/>
                <a:gd name="connsiteY2" fmla="*/ 292491 h 292654"/>
                <a:gd name="connsiteX3" fmla="*/ 23727 w 206527"/>
                <a:gd name="connsiteY3" fmla="*/ 264901 h 292654"/>
                <a:gd name="connsiteX4" fmla="*/ 0 w 206527"/>
                <a:gd name="connsiteY4" fmla="*/ 169993 h 292654"/>
                <a:gd name="connsiteX5" fmla="*/ 0 w 206527"/>
                <a:gd name="connsiteY5" fmla="*/ 1698 h 292654"/>
                <a:gd name="connsiteX6" fmla="*/ 3273 w 206527"/>
                <a:gd name="connsiteY6" fmla="*/ 0 h 292654"/>
                <a:gd name="connsiteX7" fmla="*/ 74297 w 206527"/>
                <a:gd name="connsiteY7" fmla="*/ 90396 h 292654"/>
                <a:gd name="connsiteX8" fmla="*/ 74492 w 206527"/>
                <a:gd name="connsiteY8" fmla="*/ 117574 h 292654"/>
                <a:gd name="connsiteX9" fmla="*/ 87734 w 206527"/>
                <a:gd name="connsiteY9" fmla="*/ 209171 h 292654"/>
                <a:gd name="connsiteX10" fmla="*/ 153949 w 206527"/>
                <a:gd name="connsiteY10" fmla="*/ 245589 h 292654"/>
                <a:gd name="connsiteX11" fmla="*/ 191049 w 206527"/>
                <a:gd name="connsiteY11" fmla="*/ 238993 h 292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527" h="292654">
                  <a:moveTo>
                    <a:pt x="206527" y="258693"/>
                  </a:moveTo>
                  <a:lnTo>
                    <a:pt x="177331" y="274971"/>
                  </a:lnTo>
                  <a:cubicBezTo>
                    <a:pt x="145121" y="286007"/>
                    <a:pt x="114496" y="291111"/>
                    <a:pt x="91597" y="292491"/>
                  </a:cubicBezTo>
                  <a:cubicBezTo>
                    <a:pt x="66215" y="294146"/>
                    <a:pt x="41385" y="283111"/>
                    <a:pt x="23727" y="264901"/>
                  </a:cubicBezTo>
                  <a:cubicBezTo>
                    <a:pt x="4966" y="246692"/>
                    <a:pt x="0" y="215240"/>
                    <a:pt x="0" y="169993"/>
                  </a:cubicBezTo>
                  <a:lnTo>
                    <a:pt x="0" y="1698"/>
                  </a:lnTo>
                  <a:lnTo>
                    <a:pt x="3273" y="0"/>
                  </a:lnTo>
                  <a:lnTo>
                    <a:pt x="74297" y="90396"/>
                  </a:lnTo>
                  <a:lnTo>
                    <a:pt x="74492" y="117574"/>
                  </a:lnTo>
                  <a:cubicBezTo>
                    <a:pt x="72836" y="148474"/>
                    <a:pt x="77802" y="179926"/>
                    <a:pt x="87734" y="209171"/>
                  </a:cubicBezTo>
                  <a:cubicBezTo>
                    <a:pt x="96564" y="233450"/>
                    <a:pt x="119187" y="245589"/>
                    <a:pt x="153949" y="245589"/>
                  </a:cubicBezTo>
                  <a:lnTo>
                    <a:pt x="191049" y="2389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" name="Forme libre : forme 107">
              <a:extLst>
                <a:ext uri="{FF2B5EF4-FFF2-40B4-BE49-F238E27FC236}">
                  <a16:creationId xmlns:a16="http://schemas.microsoft.com/office/drawing/2014/main" id="{C0F2930B-1B76-4127-88A5-3C45B984D36E}"/>
                </a:ext>
              </a:extLst>
            </p:cNvPr>
            <p:cNvSpPr/>
            <p:nvPr/>
          </p:nvSpPr>
          <p:spPr>
            <a:xfrm rot="8716295">
              <a:off x="24761" y="33896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" name="Forme libre : forme 108">
              <a:extLst>
                <a:ext uri="{FF2B5EF4-FFF2-40B4-BE49-F238E27FC236}">
                  <a16:creationId xmlns:a16="http://schemas.microsoft.com/office/drawing/2014/main" id="{5D516E03-78DF-4FFF-8FB2-A397635DD48F}"/>
                </a:ext>
              </a:extLst>
            </p:cNvPr>
            <p:cNvSpPr/>
            <p:nvPr/>
          </p:nvSpPr>
          <p:spPr>
            <a:xfrm rot="8716295">
              <a:off x="-24047" y="3281741"/>
              <a:ext cx="106042" cy="113733"/>
            </a:xfrm>
            <a:custGeom>
              <a:avLst/>
              <a:gdLst>
                <a:gd name="connsiteX0" fmla="*/ 17477 w 106042"/>
                <a:gd name="connsiteY0" fmla="*/ 101182 h 113733"/>
                <a:gd name="connsiteX1" fmla="*/ 0 w 106042"/>
                <a:gd name="connsiteY1" fmla="*/ 59790 h 113733"/>
                <a:gd name="connsiteX2" fmla="*/ 0 w 106042"/>
                <a:gd name="connsiteY2" fmla="*/ 58869 h 113733"/>
                <a:gd name="connsiteX3" fmla="*/ 17477 w 106042"/>
                <a:gd name="connsiteY3" fmla="*/ 17477 h 113733"/>
                <a:gd name="connsiteX4" fmla="*/ 58869 w 106042"/>
                <a:gd name="connsiteY4" fmla="*/ 0 h 113733"/>
                <a:gd name="connsiteX5" fmla="*/ 100262 w 106042"/>
                <a:gd name="connsiteY5" fmla="*/ 17477 h 113733"/>
                <a:gd name="connsiteX6" fmla="*/ 106042 w 106042"/>
                <a:gd name="connsiteY6" fmla="*/ 31234 h 113733"/>
                <a:gd name="connsiteX7" fmla="*/ 48856 w 106042"/>
                <a:gd name="connsiteY7" fmla="*/ 113733 h 11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042" h="113733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cubicBezTo>
                    <a:pt x="74507" y="0"/>
                    <a:pt x="89224" y="6439"/>
                    <a:pt x="100262" y="17477"/>
                  </a:cubicBezTo>
                  <a:lnTo>
                    <a:pt x="106042" y="31234"/>
                  </a:lnTo>
                  <a:lnTo>
                    <a:pt x="48856" y="1137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" name="Forme libre : forme 109">
              <a:extLst>
                <a:ext uri="{FF2B5EF4-FFF2-40B4-BE49-F238E27FC236}">
                  <a16:creationId xmlns:a16="http://schemas.microsoft.com/office/drawing/2014/main" id="{4709179C-E348-4A89-8150-2CCBA6DE45C5}"/>
                </a:ext>
              </a:extLst>
            </p:cNvPr>
            <p:cNvSpPr/>
            <p:nvPr/>
          </p:nvSpPr>
          <p:spPr>
            <a:xfrm rot="8716295">
              <a:off x="-21924" y="3179872"/>
              <a:ext cx="45776" cy="62656"/>
            </a:xfrm>
            <a:custGeom>
              <a:avLst/>
              <a:gdLst>
                <a:gd name="connsiteX0" fmla="*/ 2345 w 45776"/>
                <a:gd name="connsiteY0" fmla="*/ 62656 h 62656"/>
                <a:gd name="connsiteX1" fmla="*/ 0 w 45776"/>
                <a:gd name="connsiteY1" fmla="*/ 57104 h 62656"/>
                <a:gd name="connsiteX2" fmla="*/ 0 w 45776"/>
                <a:gd name="connsiteY2" fmla="*/ 56183 h 62656"/>
                <a:gd name="connsiteX3" fmla="*/ 17477 w 45776"/>
                <a:gd name="connsiteY3" fmla="*/ 14791 h 62656"/>
                <a:gd name="connsiteX4" fmla="*/ 36449 w 45776"/>
                <a:gd name="connsiteY4" fmla="*/ 1913 h 62656"/>
                <a:gd name="connsiteX5" fmla="*/ 45776 w 45776"/>
                <a:gd name="connsiteY5" fmla="*/ 0 h 62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776" h="62656">
                  <a:moveTo>
                    <a:pt x="2345" y="62656"/>
                  </a:moveTo>
                  <a:lnTo>
                    <a:pt x="0" y="57104"/>
                  </a:lnTo>
                  <a:lnTo>
                    <a:pt x="0" y="56183"/>
                  </a:lnTo>
                  <a:cubicBezTo>
                    <a:pt x="0" y="40547"/>
                    <a:pt x="6439" y="25829"/>
                    <a:pt x="17477" y="14791"/>
                  </a:cubicBezTo>
                  <a:cubicBezTo>
                    <a:pt x="22996" y="9272"/>
                    <a:pt x="29435" y="4903"/>
                    <a:pt x="36449" y="1913"/>
                  </a:cubicBezTo>
                  <a:lnTo>
                    <a:pt x="4577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" name="Forme libre : forme 110">
              <a:extLst>
                <a:ext uri="{FF2B5EF4-FFF2-40B4-BE49-F238E27FC236}">
                  <a16:creationId xmlns:a16="http://schemas.microsoft.com/office/drawing/2014/main" id="{E216B864-0116-44B5-A0E9-8D6C9FB4451C}"/>
                </a:ext>
              </a:extLst>
            </p:cNvPr>
            <p:cNvSpPr/>
            <p:nvPr/>
          </p:nvSpPr>
          <p:spPr>
            <a:xfrm rot="8716295">
              <a:off x="-21324" y="4100649"/>
              <a:ext cx="79113" cy="50123"/>
            </a:xfrm>
            <a:custGeom>
              <a:avLst/>
              <a:gdLst>
                <a:gd name="connsiteX0" fmla="*/ 0 w 79113"/>
                <a:gd name="connsiteY0" fmla="*/ 50123 h 50123"/>
                <a:gd name="connsiteX1" fmla="*/ 0 w 79113"/>
                <a:gd name="connsiteY1" fmla="*/ 0 h 50123"/>
                <a:gd name="connsiteX2" fmla="*/ 79113 w 79113"/>
                <a:gd name="connsiteY2" fmla="*/ 0 h 50123"/>
                <a:gd name="connsiteX3" fmla="*/ 44369 w 79113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113" h="50123">
                  <a:moveTo>
                    <a:pt x="0" y="50123"/>
                  </a:moveTo>
                  <a:lnTo>
                    <a:pt x="0" y="0"/>
                  </a:lnTo>
                  <a:lnTo>
                    <a:pt x="79113" y="0"/>
                  </a:lnTo>
                  <a:lnTo>
                    <a:pt x="44369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" name="Forme libre : forme 111">
              <a:extLst>
                <a:ext uri="{FF2B5EF4-FFF2-40B4-BE49-F238E27FC236}">
                  <a16:creationId xmlns:a16="http://schemas.microsoft.com/office/drawing/2014/main" id="{E81DDFAA-1A06-4A18-8287-C68132D6876A}"/>
                </a:ext>
              </a:extLst>
            </p:cNvPr>
            <p:cNvSpPr/>
            <p:nvPr/>
          </p:nvSpPr>
          <p:spPr>
            <a:xfrm rot="8716295">
              <a:off x="-40457" y="398156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" name="Forme libre : forme 112">
              <a:extLst>
                <a:ext uri="{FF2B5EF4-FFF2-40B4-BE49-F238E27FC236}">
                  <a16:creationId xmlns:a16="http://schemas.microsoft.com/office/drawing/2014/main" id="{1D567C73-1317-457C-BAF4-E866C8E84479}"/>
                </a:ext>
              </a:extLst>
            </p:cNvPr>
            <p:cNvSpPr/>
            <p:nvPr/>
          </p:nvSpPr>
          <p:spPr>
            <a:xfrm rot="7484129">
              <a:off x="-46974" y="427316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" name="Forme libre : forme 113">
              <a:extLst>
                <a:ext uri="{FF2B5EF4-FFF2-40B4-BE49-F238E27FC236}">
                  <a16:creationId xmlns:a16="http://schemas.microsoft.com/office/drawing/2014/main" id="{4B07308E-D0A0-4D3E-9DEB-C235BB5B8299}"/>
                </a:ext>
              </a:extLst>
            </p:cNvPr>
            <p:cNvSpPr/>
            <p:nvPr/>
          </p:nvSpPr>
          <p:spPr>
            <a:xfrm rot="13089394">
              <a:off x="57846" y="423970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" name="Forme libre : forme 114">
              <a:extLst>
                <a:ext uri="{FF2B5EF4-FFF2-40B4-BE49-F238E27FC236}">
                  <a16:creationId xmlns:a16="http://schemas.microsoft.com/office/drawing/2014/main" id="{B3D02E0E-617A-4DDE-855C-BECF0834C305}"/>
                </a:ext>
              </a:extLst>
            </p:cNvPr>
            <p:cNvSpPr/>
            <p:nvPr/>
          </p:nvSpPr>
          <p:spPr>
            <a:xfrm rot="8716295">
              <a:off x="243431" y="404801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" name="Forme libre : forme 115">
              <a:extLst>
                <a:ext uri="{FF2B5EF4-FFF2-40B4-BE49-F238E27FC236}">
                  <a16:creationId xmlns:a16="http://schemas.microsoft.com/office/drawing/2014/main" id="{FCFFBDC4-0942-4E6E-9EF4-22477617D5C9}"/>
                </a:ext>
              </a:extLst>
            </p:cNvPr>
            <p:cNvSpPr/>
            <p:nvPr/>
          </p:nvSpPr>
          <p:spPr>
            <a:xfrm rot="8716295">
              <a:off x="191626" y="39444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" name="Forme libre : forme 116">
              <a:extLst>
                <a:ext uri="{FF2B5EF4-FFF2-40B4-BE49-F238E27FC236}">
                  <a16:creationId xmlns:a16="http://schemas.microsoft.com/office/drawing/2014/main" id="{6779D405-E211-4D4D-B286-FEED219E73DF}"/>
                </a:ext>
              </a:extLst>
            </p:cNvPr>
            <p:cNvSpPr/>
            <p:nvPr/>
          </p:nvSpPr>
          <p:spPr>
            <a:xfrm rot="8716295">
              <a:off x="125832" y="381540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" name="Forme libre : forme 117">
              <a:extLst>
                <a:ext uri="{FF2B5EF4-FFF2-40B4-BE49-F238E27FC236}">
                  <a16:creationId xmlns:a16="http://schemas.microsoft.com/office/drawing/2014/main" id="{1B98413D-C7CC-484D-AF71-C6706295A09F}"/>
                </a:ext>
              </a:extLst>
            </p:cNvPr>
            <p:cNvSpPr/>
            <p:nvPr/>
          </p:nvSpPr>
          <p:spPr>
            <a:xfrm rot="8716295">
              <a:off x="-73048" y="4876828"/>
              <a:ext cx="221382" cy="253349"/>
            </a:xfrm>
            <a:custGeom>
              <a:avLst/>
              <a:gdLst>
                <a:gd name="connsiteX0" fmla="*/ 51490 w 221382"/>
                <a:gd name="connsiteY0" fmla="*/ 253349 h 253349"/>
                <a:gd name="connsiteX1" fmla="*/ 51490 w 221382"/>
                <a:gd name="connsiteY1" fmla="*/ 44199 h 253349"/>
                <a:gd name="connsiteX2" fmla="*/ 0 w 221382"/>
                <a:gd name="connsiteY2" fmla="*/ 44199 h 253349"/>
                <a:gd name="connsiteX3" fmla="*/ 0 w 221382"/>
                <a:gd name="connsiteY3" fmla="*/ 0 h 253349"/>
                <a:gd name="connsiteX4" fmla="*/ 104803 w 221382"/>
                <a:gd name="connsiteY4" fmla="*/ 0 h 253349"/>
                <a:gd name="connsiteX5" fmla="*/ 104802 w 221382"/>
                <a:gd name="connsiteY5" fmla="*/ 73817 h 253349"/>
                <a:gd name="connsiteX6" fmla="*/ 106169 w 221382"/>
                <a:gd name="connsiteY6" fmla="*/ 73817 h 253349"/>
                <a:gd name="connsiteX7" fmla="*/ 154014 w 221382"/>
                <a:gd name="connsiteY7" fmla="*/ 4556 h 253349"/>
                <a:gd name="connsiteX8" fmla="*/ 174650 w 221382"/>
                <a:gd name="connsiteY8" fmla="*/ 668 h 253349"/>
                <a:gd name="connsiteX9" fmla="*/ 214075 w 221382"/>
                <a:gd name="connsiteY9" fmla="*/ 27996 h 253349"/>
                <a:gd name="connsiteX10" fmla="*/ 221382 w 221382"/>
                <a:gd name="connsiteY10" fmla="*/ 33060 h 253349"/>
                <a:gd name="connsiteX11" fmla="*/ 195540 w 221382"/>
                <a:gd name="connsiteY11" fmla="*/ 70341 h 253349"/>
                <a:gd name="connsiteX12" fmla="*/ 189157 w 221382"/>
                <a:gd name="connsiteY12" fmla="*/ 50236 h 253349"/>
                <a:gd name="connsiteX13" fmla="*/ 164950 w 221382"/>
                <a:gd name="connsiteY13" fmla="*/ 38731 h 253349"/>
                <a:gd name="connsiteX14" fmla="*/ 111638 w 221382"/>
                <a:gd name="connsiteY14" fmla="*/ 126218 h 253349"/>
                <a:gd name="connsiteX15" fmla="*/ 111638 w 221382"/>
                <a:gd name="connsiteY15" fmla="*/ 191383 h 253349"/>
                <a:gd name="connsiteX16" fmla="*/ 84096 w 221382"/>
                <a:gd name="connsiteY16" fmla="*/ 231117 h 253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1382" h="253349">
                  <a:moveTo>
                    <a:pt x="51490" y="253349"/>
                  </a:moveTo>
                  <a:lnTo>
                    <a:pt x="51490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104803" y="0"/>
                  </a:lnTo>
                  <a:lnTo>
                    <a:pt x="104802" y="73817"/>
                  </a:lnTo>
                  <a:lnTo>
                    <a:pt x="106169" y="73817"/>
                  </a:lnTo>
                  <a:cubicBezTo>
                    <a:pt x="120751" y="30529"/>
                    <a:pt x="132142" y="13670"/>
                    <a:pt x="154014" y="4556"/>
                  </a:cubicBezTo>
                  <a:lnTo>
                    <a:pt x="174650" y="668"/>
                  </a:lnTo>
                  <a:lnTo>
                    <a:pt x="214075" y="27996"/>
                  </a:lnTo>
                  <a:lnTo>
                    <a:pt x="221382" y="33060"/>
                  </a:lnTo>
                  <a:lnTo>
                    <a:pt x="195540" y="70341"/>
                  </a:lnTo>
                  <a:lnTo>
                    <a:pt x="189157" y="50236"/>
                  </a:lnTo>
                  <a:cubicBezTo>
                    <a:pt x="183177" y="42946"/>
                    <a:pt x="174747" y="38731"/>
                    <a:pt x="164950" y="38731"/>
                  </a:cubicBezTo>
                  <a:cubicBezTo>
                    <a:pt x="135788" y="38731"/>
                    <a:pt x="111638" y="77463"/>
                    <a:pt x="111638" y="126218"/>
                  </a:cubicBezTo>
                  <a:lnTo>
                    <a:pt x="111638" y="191383"/>
                  </a:lnTo>
                  <a:lnTo>
                    <a:pt x="84096" y="2311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" name="Forme libre : forme 118">
              <a:extLst>
                <a:ext uri="{FF2B5EF4-FFF2-40B4-BE49-F238E27FC236}">
                  <a16:creationId xmlns:a16="http://schemas.microsoft.com/office/drawing/2014/main" id="{6176F84A-9766-45D5-91E9-4847B60A5CD4}"/>
                </a:ext>
              </a:extLst>
            </p:cNvPr>
            <p:cNvSpPr/>
            <p:nvPr/>
          </p:nvSpPr>
          <p:spPr>
            <a:xfrm rot="8716295">
              <a:off x="93318" y="46120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" name="Forme libre : forme 119">
              <a:extLst>
                <a:ext uri="{FF2B5EF4-FFF2-40B4-BE49-F238E27FC236}">
                  <a16:creationId xmlns:a16="http://schemas.microsoft.com/office/drawing/2014/main" id="{3DA54937-5DEF-4122-B904-83A03268CA89}"/>
                </a:ext>
              </a:extLst>
            </p:cNvPr>
            <p:cNvSpPr/>
            <p:nvPr/>
          </p:nvSpPr>
          <p:spPr>
            <a:xfrm rot="8716295">
              <a:off x="182710" y="46412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" name="Forme libre : forme 120">
              <a:extLst>
                <a:ext uri="{FF2B5EF4-FFF2-40B4-BE49-F238E27FC236}">
                  <a16:creationId xmlns:a16="http://schemas.microsoft.com/office/drawing/2014/main" id="{24CD3C2A-51CB-4CA4-A2B4-FE03D227C422}"/>
                </a:ext>
              </a:extLst>
            </p:cNvPr>
            <p:cNvSpPr/>
            <p:nvPr/>
          </p:nvSpPr>
          <p:spPr>
            <a:xfrm rot="8716295">
              <a:off x="-14524" y="4699631"/>
              <a:ext cx="49997" cy="54238"/>
            </a:xfrm>
            <a:custGeom>
              <a:avLst/>
              <a:gdLst>
                <a:gd name="connsiteX0" fmla="*/ 8658 w 49997"/>
                <a:gd name="connsiteY0" fmla="*/ 50123 h 54238"/>
                <a:gd name="connsiteX1" fmla="*/ 0 w 49997"/>
                <a:gd name="connsiteY1" fmla="*/ 29619 h 54238"/>
                <a:gd name="connsiteX2" fmla="*/ 0 w 49997"/>
                <a:gd name="connsiteY2" fmla="*/ 29162 h 54238"/>
                <a:gd name="connsiteX3" fmla="*/ 8658 w 49997"/>
                <a:gd name="connsiteY3" fmla="*/ 8658 h 54238"/>
                <a:gd name="connsiteX4" fmla="*/ 29163 w 49997"/>
                <a:gd name="connsiteY4" fmla="*/ 0 h 54238"/>
                <a:gd name="connsiteX5" fmla="*/ 49668 w 49997"/>
                <a:gd name="connsiteY5" fmla="*/ 8658 h 54238"/>
                <a:gd name="connsiteX6" fmla="*/ 49997 w 49997"/>
                <a:gd name="connsiteY6" fmla="*/ 9441 h 54238"/>
                <a:gd name="connsiteX7" fmla="*/ 18945 w 49997"/>
                <a:gd name="connsiteY7" fmla="*/ 54238 h 54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997" h="54238">
                  <a:moveTo>
                    <a:pt x="8658" y="50123"/>
                  </a:moveTo>
                  <a:cubicBezTo>
                    <a:pt x="3190" y="44655"/>
                    <a:pt x="0" y="37365"/>
                    <a:pt x="0" y="29619"/>
                  </a:cubicBezTo>
                  <a:lnTo>
                    <a:pt x="0" y="29162"/>
                  </a:lnTo>
                  <a:cubicBezTo>
                    <a:pt x="0" y="21417"/>
                    <a:pt x="3190" y="14126"/>
                    <a:pt x="8658" y="8658"/>
                  </a:cubicBezTo>
                  <a:cubicBezTo>
                    <a:pt x="14126" y="3190"/>
                    <a:pt x="21416" y="0"/>
                    <a:pt x="29163" y="0"/>
                  </a:cubicBezTo>
                  <a:cubicBezTo>
                    <a:pt x="36909" y="0"/>
                    <a:pt x="44200" y="3190"/>
                    <a:pt x="49668" y="8658"/>
                  </a:cubicBezTo>
                  <a:lnTo>
                    <a:pt x="49997" y="9441"/>
                  </a:lnTo>
                  <a:lnTo>
                    <a:pt x="18945" y="54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" name="Forme libre : forme 121">
              <a:extLst>
                <a:ext uri="{FF2B5EF4-FFF2-40B4-BE49-F238E27FC236}">
                  <a16:creationId xmlns:a16="http://schemas.microsoft.com/office/drawing/2014/main" id="{7A46CCF0-E67A-4E1E-9549-23C0DBDB68E2}"/>
                </a:ext>
              </a:extLst>
            </p:cNvPr>
            <p:cNvSpPr/>
            <p:nvPr/>
          </p:nvSpPr>
          <p:spPr>
            <a:xfrm rot="8716295">
              <a:off x="-30327" y="4579755"/>
              <a:ext cx="113346" cy="71024"/>
            </a:xfrm>
            <a:custGeom>
              <a:avLst/>
              <a:gdLst>
                <a:gd name="connsiteX0" fmla="*/ 0 w 113346"/>
                <a:gd name="connsiteY0" fmla="*/ 55323 h 71024"/>
                <a:gd name="connsiteX1" fmla="*/ 0 w 113346"/>
                <a:gd name="connsiteY1" fmla="*/ 0 h 71024"/>
                <a:gd name="connsiteX2" fmla="*/ 113346 w 113346"/>
                <a:gd name="connsiteY2" fmla="*/ 0 h 71024"/>
                <a:gd name="connsiteX3" fmla="*/ 64114 w 113346"/>
                <a:gd name="connsiteY3" fmla="*/ 71024 h 71024"/>
                <a:gd name="connsiteX4" fmla="*/ 69777 w 113346"/>
                <a:gd name="connsiteY4" fmla="*/ 55323 h 7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346" h="71024">
                  <a:moveTo>
                    <a:pt x="0" y="55323"/>
                  </a:moveTo>
                  <a:lnTo>
                    <a:pt x="0" y="0"/>
                  </a:lnTo>
                  <a:lnTo>
                    <a:pt x="113346" y="0"/>
                  </a:lnTo>
                  <a:lnTo>
                    <a:pt x="64114" y="71024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" name="Forme libre : forme 122">
              <a:extLst>
                <a:ext uri="{FF2B5EF4-FFF2-40B4-BE49-F238E27FC236}">
                  <a16:creationId xmlns:a16="http://schemas.microsoft.com/office/drawing/2014/main" id="{01D04BC1-282A-4CFE-BF99-5B57F855BCBC}"/>
                </a:ext>
              </a:extLst>
            </p:cNvPr>
            <p:cNvSpPr/>
            <p:nvPr/>
          </p:nvSpPr>
          <p:spPr>
            <a:xfrm rot="8716295">
              <a:off x="71262" y="47415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" name="Forme libre : forme 123">
              <a:extLst>
                <a:ext uri="{FF2B5EF4-FFF2-40B4-BE49-F238E27FC236}">
                  <a16:creationId xmlns:a16="http://schemas.microsoft.com/office/drawing/2014/main" id="{A04953EA-5C79-45C4-9757-065EFCA47539}"/>
                </a:ext>
              </a:extLst>
            </p:cNvPr>
            <p:cNvSpPr/>
            <p:nvPr/>
          </p:nvSpPr>
          <p:spPr>
            <a:xfrm rot="7484129">
              <a:off x="172059" y="493353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170341 w 203847"/>
                <a:gd name="connsiteY5" fmla="*/ 0 h 195874"/>
                <a:gd name="connsiteX6" fmla="*/ 203847 w 203847"/>
                <a:gd name="connsiteY6" fmla="*/ 48325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170341" y="0"/>
                  </a:lnTo>
                  <a:lnTo>
                    <a:pt x="203847" y="48325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" name="Forme libre : forme 124">
              <a:extLst>
                <a:ext uri="{FF2B5EF4-FFF2-40B4-BE49-F238E27FC236}">
                  <a16:creationId xmlns:a16="http://schemas.microsoft.com/office/drawing/2014/main" id="{49CB50EA-8DFB-4219-A82A-979E56D219DC}"/>
                </a:ext>
              </a:extLst>
            </p:cNvPr>
            <p:cNvSpPr/>
            <p:nvPr/>
          </p:nvSpPr>
          <p:spPr>
            <a:xfrm rot="13089394">
              <a:off x="313551" y="4906246"/>
              <a:ext cx="221827" cy="205098"/>
            </a:xfrm>
            <a:custGeom>
              <a:avLst/>
              <a:gdLst>
                <a:gd name="connsiteX0" fmla="*/ 24153 w 221827"/>
                <a:gd name="connsiteY0" fmla="*/ 55168 h 205098"/>
                <a:gd name="connsiteX1" fmla="*/ 0 w 221827"/>
                <a:gd name="connsiteY1" fmla="*/ 18385 h 205098"/>
                <a:gd name="connsiteX2" fmla="*/ 23400 w 221827"/>
                <a:gd name="connsiteY2" fmla="*/ 0 h 205098"/>
                <a:gd name="connsiteX3" fmla="*/ 23735 w 221827"/>
                <a:gd name="connsiteY3" fmla="*/ 46640 h 205098"/>
                <a:gd name="connsiteX4" fmla="*/ 221827 w 221827"/>
                <a:gd name="connsiteY4" fmla="*/ 150928 h 205098"/>
                <a:gd name="connsiteX5" fmla="*/ 126574 w 221827"/>
                <a:gd name="connsiteY5" fmla="*/ 204038 h 205098"/>
                <a:gd name="connsiteX6" fmla="*/ 122603 w 221827"/>
                <a:gd name="connsiteY6" fmla="*/ 205098 h 205098"/>
                <a:gd name="connsiteX7" fmla="*/ 102519 w 221827"/>
                <a:gd name="connsiteY7" fmla="*/ 174512 h 205098"/>
                <a:gd name="connsiteX8" fmla="*/ 103192 w 221827"/>
                <a:gd name="connsiteY8" fmla="*/ 174655 h 205098"/>
                <a:gd name="connsiteX9" fmla="*/ 152853 w 221827"/>
                <a:gd name="connsiteY9" fmla="*/ 165826 h 205098"/>
                <a:gd name="connsiteX10" fmla="*/ 220723 w 221827"/>
                <a:gd name="connsiteY10" fmla="*/ 138237 h 205098"/>
                <a:gd name="connsiteX11" fmla="*/ 221827 w 221827"/>
                <a:gd name="connsiteY11" fmla="*/ 145410 h 205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1827" h="205098">
                  <a:moveTo>
                    <a:pt x="24153" y="55168"/>
                  </a:moveTo>
                  <a:lnTo>
                    <a:pt x="0" y="18385"/>
                  </a:lnTo>
                  <a:lnTo>
                    <a:pt x="23400" y="0"/>
                  </a:lnTo>
                  <a:lnTo>
                    <a:pt x="23735" y="46640"/>
                  </a:lnTo>
                  <a:close/>
                  <a:moveTo>
                    <a:pt x="221827" y="150928"/>
                  </a:moveTo>
                  <a:cubicBezTo>
                    <a:pt x="192582" y="176035"/>
                    <a:pt x="158785" y="193002"/>
                    <a:pt x="126574" y="204038"/>
                  </a:cubicBezTo>
                  <a:lnTo>
                    <a:pt x="122603" y="205098"/>
                  </a:lnTo>
                  <a:lnTo>
                    <a:pt x="102519" y="174512"/>
                  </a:lnTo>
                  <a:lnTo>
                    <a:pt x="103192" y="174655"/>
                  </a:lnTo>
                  <a:cubicBezTo>
                    <a:pt x="120298" y="174103"/>
                    <a:pt x="136851" y="170792"/>
                    <a:pt x="152853" y="165826"/>
                  </a:cubicBezTo>
                  <a:cubicBezTo>
                    <a:pt x="176028" y="158653"/>
                    <a:pt x="198652" y="149273"/>
                    <a:pt x="220723" y="138237"/>
                  </a:cubicBezTo>
                  <a:cubicBezTo>
                    <a:pt x="221275" y="140444"/>
                    <a:pt x="221827" y="143203"/>
                    <a:pt x="221827" y="1454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" name="Forme libre : forme 125">
              <a:extLst>
                <a:ext uri="{FF2B5EF4-FFF2-40B4-BE49-F238E27FC236}">
                  <a16:creationId xmlns:a16="http://schemas.microsoft.com/office/drawing/2014/main" id="{5146513B-5632-4832-9AF5-1E4051EECD28}"/>
                </a:ext>
              </a:extLst>
            </p:cNvPr>
            <p:cNvSpPr/>
            <p:nvPr/>
          </p:nvSpPr>
          <p:spPr>
            <a:xfrm rot="8716295">
              <a:off x="406370" y="4600606"/>
              <a:ext cx="113655" cy="117117"/>
            </a:xfrm>
            <a:custGeom>
              <a:avLst/>
              <a:gdLst>
                <a:gd name="connsiteX0" fmla="*/ 13623 w 113655"/>
                <a:gd name="connsiteY0" fmla="*/ 100559 h 117117"/>
                <a:gd name="connsiteX1" fmla="*/ 0 w 113655"/>
                <a:gd name="connsiteY1" fmla="*/ 68296 h 117117"/>
                <a:gd name="connsiteX2" fmla="*/ 56488 w 113655"/>
                <a:gd name="connsiteY2" fmla="*/ 0 h 117117"/>
                <a:gd name="connsiteX3" fmla="*/ 96408 w 113655"/>
                <a:gd name="connsiteY3" fmla="*/ 16856 h 117117"/>
                <a:gd name="connsiteX4" fmla="*/ 96408 w 113655"/>
                <a:gd name="connsiteY4" fmla="*/ 99640 h 117117"/>
                <a:gd name="connsiteX5" fmla="*/ 55015 w 113655"/>
                <a:gd name="connsiteY5" fmla="*/ 117117 h 117117"/>
                <a:gd name="connsiteX6" fmla="*/ 13623 w 113655"/>
                <a:gd name="connsiteY6" fmla="*/ 100559 h 117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655" h="117117">
                  <a:moveTo>
                    <a:pt x="13623" y="100559"/>
                  </a:moveTo>
                  <a:lnTo>
                    <a:pt x="0" y="68296"/>
                  </a:lnTo>
                  <a:lnTo>
                    <a:pt x="56488" y="0"/>
                  </a:lnTo>
                  <a:lnTo>
                    <a:pt x="96408" y="16856"/>
                  </a:lnTo>
                  <a:cubicBezTo>
                    <a:pt x="119404" y="38931"/>
                    <a:pt x="119404" y="76644"/>
                    <a:pt x="96408" y="99640"/>
                  </a:cubicBezTo>
                  <a:cubicBezTo>
                    <a:pt x="85370" y="110678"/>
                    <a:pt x="70653" y="117116"/>
                    <a:pt x="55015" y="117117"/>
                  </a:cubicBezTo>
                  <a:cubicBezTo>
                    <a:pt x="39378" y="117117"/>
                    <a:pt x="24661" y="111597"/>
                    <a:pt x="13623" y="10055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" name="Forme libre : forme 126">
              <a:extLst>
                <a:ext uri="{FF2B5EF4-FFF2-40B4-BE49-F238E27FC236}">
                  <a16:creationId xmlns:a16="http://schemas.microsoft.com/office/drawing/2014/main" id="{FE3150CC-51A0-4255-BE10-7C4DD2D82ED1}"/>
                </a:ext>
              </a:extLst>
            </p:cNvPr>
            <p:cNvSpPr/>
            <p:nvPr/>
          </p:nvSpPr>
          <p:spPr>
            <a:xfrm rot="8716295">
              <a:off x="171547" y="46343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" name="Forme libre : forme 127">
              <a:extLst>
                <a:ext uri="{FF2B5EF4-FFF2-40B4-BE49-F238E27FC236}">
                  <a16:creationId xmlns:a16="http://schemas.microsoft.com/office/drawing/2014/main" id="{3071C62B-77D8-4A0E-86A6-83549F6B4AD6}"/>
                </a:ext>
              </a:extLst>
            </p:cNvPr>
            <p:cNvSpPr/>
            <p:nvPr/>
          </p:nvSpPr>
          <p:spPr>
            <a:xfrm rot="8716295">
              <a:off x="348999" y="44751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131" name="Rectangle 130">
            <a:extLst>
              <a:ext uri="{FF2B5EF4-FFF2-40B4-BE49-F238E27FC236}">
                <a16:creationId xmlns:a16="http://schemas.microsoft.com/office/drawing/2014/main" id="{37E36065-AEDE-402C-AFB2-AFD8D421B3D5}"/>
              </a:ext>
            </a:extLst>
          </p:cNvPr>
          <p:cNvSpPr/>
          <p:nvPr/>
        </p:nvSpPr>
        <p:spPr>
          <a:xfrm>
            <a:off x="1675026" y="1246048"/>
            <a:ext cx="360000" cy="45719"/>
          </a:xfrm>
          <a:prstGeom prst="rect">
            <a:avLst/>
          </a:prstGeom>
          <a:solidFill>
            <a:srgbClr val="3A1B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41" name="Espace réservé du texte 533">
            <a:extLst>
              <a:ext uri="{FF2B5EF4-FFF2-40B4-BE49-F238E27FC236}">
                <a16:creationId xmlns:a16="http://schemas.microsoft.com/office/drawing/2014/main" id="{9CC94730-7BAA-423F-882E-35EC64D162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97959" y="1685677"/>
            <a:ext cx="7316491" cy="295060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300"/>
              </a:spcBef>
              <a:spcAft>
                <a:spcPts val="1000"/>
              </a:spcAft>
              <a:buNone/>
              <a:defRPr sz="1100">
                <a:solidFill>
                  <a:schemeClr val="tx1"/>
                </a:solidFill>
              </a:defRPr>
            </a:lvl2pPr>
            <a:lvl3pPr marL="270000" indent="-270000" algn="l" defTabSz="457200" rtl="0" eaLnBrk="1" latinLnBrk="0" hangingPunct="1">
              <a:spcBef>
                <a:spcPts val="400"/>
              </a:spcBef>
              <a:spcAft>
                <a:spcPts val="1000"/>
              </a:spcAft>
              <a:buSzPct val="100000"/>
              <a:buFontTx/>
              <a:buBlip>
                <a:blip r:embed="rId2"/>
              </a:buBlip>
              <a:defRPr lang="fr-FR" sz="1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0000" indent="-269875">
              <a:spcBef>
                <a:spcPts val="400"/>
              </a:spcBef>
              <a:spcAft>
                <a:spcPts val="1000"/>
              </a:spcAft>
              <a:buFontTx/>
              <a:buBlip>
                <a:blip r:embed="rId3"/>
              </a:buBlip>
              <a:defRPr sz="1000" b="1">
                <a:solidFill>
                  <a:schemeClr val="tx1"/>
                </a:solidFill>
              </a:defRPr>
            </a:lvl4pPr>
            <a:lvl5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4"/>
              </a:buBlip>
              <a:defRPr sz="1000" b="1">
                <a:solidFill>
                  <a:schemeClr val="tx1"/>
                </a:solidFill>
              </a:defRPr>
            </a:lvl5pPr>
            <a:lvl6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5"/>
              </a:buBlip>
              <a:defRPr sz="1000" b="1">
                <a:solidFill>
                  <a:schemeClr val="tx1"/>
                </a:solidFill>
              </a:defRPr>
            </a:lvl6pPr>
            <a:lvl7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6"/>
              </a:buBlip>
              <a:defRPr sz="1000" b="1">
                <a:solidFill>
                  <a:schemeClr val="tx1"/>
                </a:solidFill>
              </a:defRPr>
            </a:lvl7pPr>
            <a:lvl8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7"/>
              </a:buBlip>
              <a:defRPr sz="1000" b="1">
                <a:solidFill>
                  <a:schemeClr val="tx1"/>
                </a:solidFill>
              </a:defRPr>
            </a:lvl8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Puce bleu</a:t>
            </a:r>
          </a:p>
          <a:p>
            <a:pPr lvl="3"/>
            <a:r>
              <a:rPr lang="fr-FR" dirty="0"/>
              <a:t>Puce orange</a:t>
            </a:r>
          </a:p>
          <a:p>
            <a:pPr lvl="4"/>
            <a:r>
              <a:rPr lang="fr-FR" dirty="0"/>
              <a:t>Puce rouge</a:t>
            </a:r>
          </a:p>
          <a:p>
            <a:pPr lvl="5"/>
            <a:r>
              <a:rPr lang="fr-FR" dirty="0"/>
              <a:t>Puce vert d’eau</a:t>
            </a:r>
          </a:p>
          <a:p>
            <a:pPr lvl="6"/>
            <a:r>
              <a:rPr lang="fr-FR" dirty="0"/>
              <a:t>Puce verte</a:t>
            </a:r>
          </a:p>
          <a:p>
            <a:pPr lvl="7"/>
            <a:r>
              <a:rPr lang="fr-FR" dirty="0"/>
              <a:t>Puce violette</a:t>
            </a:r>
          </a:p>
        </p:txBody>
      </p:sp>
      <p:sp>
        <p:nvSpPr>
          <p:cNvPr id="129" name="Espace réservé du numéro de diapositive 128">
            <a:extLst>
              <a:ext uri="{FF2B5EF4-FFF2-40B4-BE49-F238E27FC236}">
                <a16:creationId xmlns:a16="http://schemas.microsoft.com/office/drawing/2014/main" id="{9351D048-E652-4E14-9A68-6779614909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9681" y="3148262"/>
            <a:ext cx="444626" cy="1995238"/>
          </a:xfrm>
          <a:custGeom>
            <a:avLst/>
            <a:gdLst>
              <a:gd name="connsiteX0" fmla="*/ 169868 w 444626"/>
              <a:gd name="connsiteY0" fmla="*/ 0 h 1995238"/>
              <a:gd name="connsiteX1" fmla="*/ 444626 w 444626"/>
              <a:gd name="connsiteY1" fmla="*/ 1995238 h 1995238"/>
              <a:gd name="connsiteX2" fmla="*/ 0 w 444626"/>
              <a:gd name="connsiteY2" fmla="*/ 1995238 h 1995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4626" h="1995238">
                <a:moveTo>
                  <a:pt x="169868" y="0"/>
                </a:moveTo>
                <a:lnTo>
                  <a:pt x="444626" y="1995238"/>
                </a:lnTo>
                <a:lnTo>
                  <a:pt x="0" y="199523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180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805076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ur une lign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Forme libre : forme 137">
            <a:extLst>
              <a:ext uri="{FF2B5EF4-FFF2-40B4-BE49-F238E27FC236}">
                <a16:creationId xmlns:a16="http://schemas.microsoft.com/office/drawing/2014/main" id="{0FDE4FE4-FDFC-41B3-BDA4-CE918EEAE71E}"/>
              </a:ext>
            </a:extLst>
          </p:cNvPr>
          <p:cNvSpPr/>
          <p:nvPr userDrawn="1"/>
        </p:nvSpPr>
        <p:spPr>
          <a:xfrm>
            <a:off x="629550" y="0"/>
            <a:ext cx="8514451" cy="5143499"/>
          </a:xfrm>
          <a:custGeom>
            <a:avLst/>
            <a:gdLst>
              <a:gd name="connsiteX0" fmla="*/ 689595 w 8514451"/>
              <a:gd name="connsiteY0" fmla="*/ 884098 h 5143499"/>
              <a:gd name="connsiteX1" fmla="*/ 689595 w 8514451"/>
              <a:gd name="connsiteY1" fmla="*/ 929817 h 5143499"/>
              <a:gd name="connsiteX2" fmla="*/ 1049595 w 8514451"/>
              <a:gd name="connsiteY2" fmla="*/ 929817 h 5143499"/>
              <a:gd name="connsiteX3" fmla="*/ 1049595 w 8514451"/>
              <a:gd name="connsiteY3" fmla="*/ 884098 h 5143499"/>
              <a:gd name="connsiteX4" fmla="*/ 268034 w 8514451"/>
              <a:gd name="connsiteY4" fmla="*/ 0 h 5143499"/>
              <a:gd name="connsiteX5" fmla="*/ 8514451 w 8514451"/>
              <a:gd name="connsiteY5" fmla="*/ 0 h 5143499"/>
              <a:gd name="connsiteX6" fmla="*/ 8514451 w 8514451"/>
              <a:gd name="connsiteY6" fmla="*/ 5143499 h 5143499"/>
              <a:gd name="connsiteX7" fmla="*/ 274758 w 8514451"/>
              <a:gd name="connsiteY7" fmla="*/ 5143499 h 5143499"/>
              <a:gd name="connsiteX8" fmla="*/ 0 w 8514451"/>
              <a:gd name="connsiteY8" fmla="*/ 3148262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514451" h="5143499">
                <a:moveTo>
                  <a:pt x="689595" y="884098"/>
                </a:moveTo>
                <a:lnTo>
                  <a:pt x="689595" y="929817"/>
                </a:lnTo>
                <a:lnTo>
                  <a:pt x="1049595" y="929817"/>
                </a:lnTo>
                <a:lnTo>
                  <a:pt x="1049595" y="884098"/>
                </a:lnTo>
                <a:close/>
                <a:moveTo>
                  <a:pt x="268034" y="0"/>
                </a:moveTo>
                <a:lnTo>
                  <a:pt x="8514451" y="0"/>
                </a:lnTo>
                <a:lnTo>
                  <a:pt x="8514451" y="5143499"/>
                </a:lnTo>
                <a:lnTo>
                  <a:pt x="274758" y="5143499"/>
                </a:lnTo>
                <a:lnTo>
                  <a:pt x="0" y="31482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48DF42C1-5220-478C-ABAC-92E468D673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Titre de la slide sur une ligne</a:t>
            </a:r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EE6FDC8C-3CED-409B-A90D-CC766521C58C}"/>
              </a:ext>
            </a:extLst>
          </p:cNvPr>
          <p:cNvGrpSpPr/>
          <p:nvPr userDrawn="1"/>
        </p:nvGrpSpPr>
        <p:grpSpPr>
          <a:xfrm>
            <a:off x="-91485" y="-57106"/>
            <a:ext cx="1008300" cy="5190499"/>
            <a:chOff x="-91485" y="-57106"/>
            <a:chExt cx="1008300" cy="5190499"/>
          </a:xfrm>
        </p:grpSpPr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4100D4C0-1B0B-4813-97B4-727B3F07A2B3}"/>
                </a:ext>
              </a:extLst>
            </p:cNvPr>
            <p:cNvSpPr/>
            <p:nvPr/>
          </p:nvSpPr>
          <p:spPr>
            <a:xfrm rot="8716295">
              <a:off x="617786" y="1780350"/>
              <a:ext cx="152726" cy="195873"/>
            </a:xfrm>
            <a:custGeom>
              <a:avLst/>
              <a:gdLst>
                <a:gd name="connsiteX0" fmla="*/ 39589 w 152726"/>
                <a:gd name="connsiteY0" fmla="*/ 195873 h 195873"/>
                <a:gd name="connsiteX1" fmla="*/ 0 w 152726"/>
                <a:gd name="connsiteY1" fmla="*/ 122219 h 195873"/>
                <a:gd name="connsiteX2" fmla="*/ 101089 w 152726"/>
                <a:gd name="connsiteY2" fmla="*/ 0 h 195873"/>
                <a:gd name="connsiteX3" fmla="*/ 152726 w 152726"/>
                <a:gd name="connsiteY3" fmla="*/ 0 h 195873"/>
                <a:gd name="connsiteX4" fmla="*/ 152726 w 152726"/>
                <a:gd name="connsiteY4" fmla="*/ 55323 h 195873"/>
                <a:gd name="connsiteX5" fmla="*/ 87934 w 152726"/>
                <a:gd name="connsiteY5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726" h="195873">
                  <a:moveTo>
                    <a:pt x="39589" y="195873"/>
                  </a:moveTo>
                  <a:lnTo>
                    <a:pt x="0" y="122219"/>
                  </a:lnTo>
                  <a:lnTo>
                    <a:pt x="101089" y="0"/>
                  </a:lnTo>
                  <a:lnTo>
                    <a:pt x="152726" y="0"/>
                  </a:lnTo>
                  <a:lnTo>
                    <a:pt x="152726" y="55323"/>
                  </a:lnTo>
                  <a:lnTo>
                    <a:pt x="87934" y="5532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CB9A2237-374C-411A-AB62-0191ED80FFE2}"/>
                </a:ext>
              </a:extLst>
            </p:cNvPr>
            <p:cNvSpPr/>
            <p:nvPr/>
          </p:nvSpPr>
          <p:spPr>
            <a:xfrm rot="8716295">
              <a:off x="534441" y="1654353"/>
              <a:ext cx="262864" cy="103234"/>
            </a:xfrm>
            <a:custGeom>
              <a:avLst/>
              <a:gdLst>
                <a:gd name="connsiteX0" fmla="*/ 0 w 262864"/>
                <a:gd name="connsiteY0" fmla="*/ 75341 h 103234"/>
                <a:gd name="connsiteX1" fmla="*/ 62316 w 262864"/>
                <a:gd name="connsiteY1" fmla="*/ 0 h 103234"/>
                <a:gd name="connsiteX2" fmla="*/ 65768 w 262864"/>
                <a:gd name="connsiteY2" fmla="*/ 14220 h 103234"/>
                <a:gd name="connsiteX3" fmla="*/ 136369 w 262864"/>
                <a:gd name="connsiteY3" fmla="*/ 53051 h 103234"/>
                <a:gd name="connsiteX4" fmla="*/ 189321 w 262864"/>
                <a:gd name="connsiteY4" fmla="*/ 43637 h 103234"/>
                <a:gd name="connsiteX5" fmla="*/ 261688 w 262864"/>
                <a:gd name="connsiteY5" fmla="*/ 14220 h 103234"/>
                <a:gd name="connsiteX6" fmla="*/ 262864 w 262864"/>
                <a:gd name="connsiteY6" fmla="*/ 21868 h 103234"/>
                <a:gd name="connsiteX7" fmla="*/ 262864 w 262864"/>
                <a:gd name="connsiteY7" fmla="*/ 27752 h 103234"/>
                <a:gd name="connsiteX8" fmla="*/ 69887 w 262864"/>
                <a:gd name="connsiteY8" fmla="*/ 103060 h 103234"/>
                <a:gd name="connsiteX9" fmla="*/ 30615 w 262864"/>
                <a:gd name="connsiteY9" fmla="*/ 96294 h 103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2864" h="103234">
                  <a:moveTo>
                    <a:pt x="0" y="75341"/>
                  </a:moveTo>
                  <a:lnTo>
                    <a:pt x="62316" y="0"/>
                  </a:lnTo>
                  <a:lnTo>
                    <a:pt x="65768" y="14220"/>
                  </a:lnTo>
                  <a:cubicBezTo>
                    <a:pt x="75182" y="40107"/>
                    <a:pt x="99304" y="53051"/>
                    <a:pt x="136369" y="53051"/>
                  </a:cubicBezTo>
                  <a:cubicBezTo>
                    <a:pt x="154609" y="52462"/>
                    <a:pt x="172259" y="48932"/>
                    <a:pt x="189321" y="43637"/>
                  </a:cubicBezTo>
                  <a:cubicBezTo>
                    <a:pt x="214031" y="35988"/>
                    <a:pt x="238154" y="25987"/>
                    <a:pt x="261688" y="14220"/>
                  </a:cubicBezTo>
                  <a:cubicBezTo>
                    <a:pt x="262276" y="16573"/>
                    <a:pt x="262864" y="19515"/>
                    <a:pt x="262864" y="21868"/>
                  </a:cubicBezTo>
                  <a:lnTo>
                    <a:pt x="262864" y="27752"/>
                  </a:lnTo>
                  <a:cubicBezTo>
                    <a:pt x="200500" y="81291"/>
                    <a:pt x="118719" y="100119"/>
                    <a:pt x="69887" y="103060"/>
                  </a:cubicBezTo>
                  <a:cubicBezTo>
                    <a:pt x="56355" y="103943"/>
                    <a:pt x="42970" y="101442"/>
                    <a:pt x="30615" y="96294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8F8A3734-3F77-44C7-9A38-570198540CBC}"/>
                </a:ext>
              </a:extLst>
            </p:cNvPr>
            <p:cNvSpPr/>
            <p:nvPr/>
          </p:nvSpPr>
          <p:spPr>
            <a:xfrm rot="8716295">
              <a:off x="632719" y="1232432"/>
              <a:ext cx="121558" cy="232388"/>
            </a:xfrm>
            <a:custGeom>
              <a:avLst/>
              <a:gdLst>
                <a:gd name="connsiteX0" fmla="*/ 60499 w 121558"/>
                <a:gd name="connsiteY0" fmla="*/ 232388 h 232388"/>
                <a:gd name="connsiteX1" fmla="*/ 60499 w 121558"/>
                <a:gd name="connsiteY1" fmla="*/ 69717 h 232388"/>
                <a:gd name="connsiteX2" fmla="*/ 60499 w 121558"/>
                <a:gd name="connsiteY2" fmla="*/ 65615 h 232388"/>
                <a:gd name="connsiteX3" fmla="*/ 39995 w 121558"/>
                <a:gd name="connsiteY3" fmla="*/ 50123 h 232388"/>
                <a:gd name="connsiteX4" fmla="*/ 0 w 121558"/>
                <a:gd name="connsiteY4" fmla="*/ 50123 h 232388"/>
                <a:gd name="connsiteX5" fmla="*/ 41457 w 121558"/>
                <a:gd name="connsiteY5" fmla="*/ 0 h 232388"/>
                <a:gd name="connsiteX6" fmla="*/ 64601 w 121558"/>
                <a:gd name="connsiteY6" fmla="*/ 0 h 232388"/>
                <a:gd name="connsiteX7" fmla="*/ 121558 w 121558"/>
                <a:gd name="connsiteY7" fmla="*/ 50123 h 232388"/>
                <a:gd name="connsiteX8" fmla="*/ 121558 w 121558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558" h="232388">
                  <a:moveTo>
                    <a:pt x="60499" y="232388"/>
                  </a:moveTo>
                  <a:lnTo>
                    <a:pt x="60499" y="69717"/>
                  </a:lnTo>
                  <a:cubicBezTo>
                    <a:pt x="60499" y="68349"/>
                    <a:pt x="60499" y="66983"/>
                    <a:pt x="60499" y="65615"/>
                  </a:cubicBezTo>
                  <a:cubicBezTo>
                    <a:pt x="59133" y="55591"/>
                    <a:pt x="50019" y="48756"/>
                    <a:pt x="39995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64601" y="0"/>
                  </a:lnTo>
                  <a:cubicBezTo>
                    <a:pt x="101509" y="0"/>
                    <a:pt x="121558" y="15948"/>
                    <a:pt x="121558" y="50123"/>
                  </a:cubicBezTo>
                  <a:lnTo>
                    <a:pt x="121558" y="208238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70856B7B-717B-4AEA-95A4-A1E79A999538}"/>
                </a:ext>
              </a:extLst>
            </p:cNvPr>
            <p:cNvSpPr/>
            <p:nvPr/>
          </p:nvSpPr>
          <p:spPr>
            <a:xfrm rot="8716295">
              <a:off x="763454" y="1474783"/>
              <a:ext cx="14143" cy="14319"/>
            </a:xfrm>
            <a:custGeom>
              <a:avLst/>
              <a:gdLst>
                <a:gd name="connsiteX0" fmla="*/ 0 w 14143"/>
                <a:gd name="connsiteY0" fmla="*/ 14319 h 14319"/>
                <a:gd name="connsiteX1" fmla="*/ 11843 w 14143"/>
                <a:gd name="connsiteY1" fmla="*/ 0 h 14319"/>
                <a:gd name="connsiteX2" fmla="*/ 14143 w 14143"/>
                <a:gd name="connsiteY2" fmla="*/ 7563 h 14319"/>
                <a:gd name="connsiteX3" fmla="*/ 14143 w 14143"/>
                <a:gd name="connsiteY3" fmla="*/ 13487 h 1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43" h="14319">
                  <a:moveTo>
                    <a:pt x="0" y="14319"/>
                  </a:moveTo>
                  <a:lnTo>
                    <a:pt x="11843" y="0"/>
                  </a:lnTo>
                  <a:lnTo>
                    <a:pt x="14143" y="7563"/>
                  </a:lnTo>
                  <a:lnTo>
                    <a:pt x="14143" y="13487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3E264A51-6081-4342-94AB-E5098D8BEE47}"/>
                </a:ext>
              </a:extLst>
            </p:cNvPr>
            <p:cNvSpPr/>
            <p:nvPr/>
          </p:nvSpPr>
          <p:spPr>
            <a:xfrm rot="8716295">
              <a:off x="672878" y="1171577"/>
              <a:ext cx="183964" cy="137618"/>
            </a:xfrm>
            <a:custGeom>
              <a:avLst/>
              <a:gdLst>
                <a:gd name="connsiteX0" fmla="*/ 0 w 183964"/>
                <a:gd name="connsiteY0" fmla="*/ 137618 h 137618"/>
                <a:gd name="connsiteX1" fmla="*/ 53346 w 183964"/>
                <a:gd name="connsiteY1" fmla="*/ 73121 h 137618"/>
                <a:gd name="connsiteX2" fmla="*/ 101034 w 183964"/>
                <a:gd name="connsiteY2" fmla="*/ 28251 h 137618"/>
                <a:gd name="connsiteX3" fmla="*/ 155713 w 183964"/>
                <a:gd name="connsiteY3" fmla="*/ 0 h 137618"/>
                <a:gd name="connsiteX4" fmla="*/ 183964 w 183964"/>
                <a:gd name="connsiteY4" fmla="*/ 33719 h 137618"/>
                <a:gd name="connsiteX5" fmla="*/ 157536 w 183964"/>
                <a:gd name="connsiteY5" fmla="*/ 69261 h 137618"/>
                <a:gd name="connsiteX6" fmla="*/ 157991 w 183964"/>
                <a:gd name="connsiteY6" fmla="*/ 69261 h 137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3964" h="137618">
                  <a:moveTo>
                    <a:pt x="0" y="137618"/>
                  </a:moveTo>
                  <a:lnTo>
                    <a:pt x="53346" y="73121"/>
                  </a:lnTo>
                  <a:lnTo>
                    <a:pt x="101034" y="28251"/>
                  </a:lnTo>
                  <a:cubicBezTo>
                    <a:pt x="114703" y="12303"/>
                    <a:pt x="134297" y="2278"/>
                    <a:pt x="155713" y="0"/>
                  </a:cubicBezTo>
                  <a:cubicBezTo>
                    <a:pt x="177585" y="0"/>
                    <a:pt x="183964" y="19138"/>
                    <a:pt x="183964" y="33719"/>
                  </a:cubicBezTo>
                  <a:cubicBezTo>
                    <a:pt x="182597" y="49667"/>
                    <a:pt x="172117" y="62881"/>
                    <a:pt x="157536" y="69261"/>
                  </a:cubicBezTo>
                  <a:lnTo>
                    <a:pt x="157991" y="69261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03D4C536-74A8-424A-B4F4-647CD66813A6}"/>
                </a:ext>
              </a:extLst>
            </p:cNvPr>
            <p:cNvSpPr/>
            <p:nvPr/>
          </p:nvSpPr>
          <p:spPr>
            <a:xfrm rot="8716295">
              <a:off x="519479" y="13148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6C726A65-5764-428F-B78B-B207E19CC8A7}"/>
                </a:ext>
              </a:extLst>
            </p:cNvPr>
            <p:cNvSpPr/>
            <p:nvPr/>
          </p:nvSpPr>
          <p:spPr>
            <a:xfrm rot="8716295">
              <a:off x="394576" y="11061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B057F75B-3923-494B-B65B-A96E682E21D4}"/>
                </a:ext>
              </a:extLst>
            </p:cNvPr>
            <p:cNvSpPr/>
            <p:nvPr/>
          </p:nvSpPr>
          <p:spPr>
            <a:xfrm rot="8716295">
              <a:off x="382524" y="96739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B57FA1DB-CF40-4C3B-8603-B0C589DE9032}"/>
                </a:ext>
              </a:extLst>
            </p:cNvPr>
            <p:cNvSpPr/>
            <p:nvPr/>
          </p:nvSpPr>
          <p:spPr>
            <a:xfrm rot="8716295">
              <a:off x="609657" y="135579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8AA6873E-3CFC-4928-9C0D-5E1C199A6A43}"/>
                </a:ext>
              </a:extLst>
            </p:cNvPr>
            <p:cNvSpPr/>
            <p:nvPr/>
          </p:nvSpPr>
          <p:spPr>
            <a:xfrm rot="8716295">
              <a:off x="683426" y="869567"/>
              <a:ext cx="156000" cy="195873"/>
            </a:xfrm>
            <a:custGeom>
              <a:avLst/>
              <a:gdLst>
                <a:gd name="connsiteX0" fmla="*/ 42863 w 156000"/>
                <a:gd name="connsiteY0" fmla="*/ 195873 h 195873"/>
                <a:gd name="connsiteX1" fmla="*/ 0 w 156000"/>
                <a:gd name="connsiteY1" fmla="*/ 116129 h 195873"/>
                <a:gd name="connsiteX2" fmla="*/ 5100 w 156000"/>
                <a:gd name="connsiteY2" fmla="*/ 101988 h 195873"/>
                <a:gd name="connsiteX3" fmla="*/ 89456 w 156000"/>
                <a:gd name="connsiteY3" fmla="*/ 0 h 195873"/>
                <a:gd name="connsiteX4" fmla="*/ 156000 w 156000"/>
                <a:gd name="connsiteY4" fmla="*/ 0 h 195873"/>
                <a:gd name="connsiteX5" fmla="*/ 156000 w 156000"/>
                <a:gd name="connsiteY5" fmla="*/ 55323 h 195873"/>
                <a:gd name="connsiteX6" fmla="*/ 91208 w 156000"/>
                <a:gd name="connsiteY6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000" h="195873">
                  <a:moveTo>
                    <a:pt x="42863" y="195873"/>
                  </a:moveTo>
                  <a:lnTo>
                    <a:pt x="0" y="116129"/>
                  </a:lnTo>
                  <a:lnTo>
                    <a:pt x="5100" y="101988"/>
                  </a:lnTo>
                  <a:lnTo>
                    <a:pt x="89456" y="0"/>
                  </a:lnTo>
                  <a:lnTo>
                    <a:pt x="156000" y="0"/>
                  </a:lnTo>
                  <a:lnTo>
                    <a:pt x="156000" y="55323"/>
                  </a:lnTo>
                  <a:lnTo>
                    <a:pt x="91208" y="5532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0609DC7B-52A5-4494-9388-1386F1B7ECA0}"/>
                </a:ext>
              </a:extLst>
            </p:cNvPr>
            <p:cNvSpPr/>
            <p:nvPr/>
          </p:nvSpPr>
          <p:spPr>
            <a:xfrm rot="8716295">
              <a:off x="657305" y="95604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FA9B5438-F371-4C5C-851A-CA35F035D933}"/>
                </a:ext>
              </a:extLst>
            </p:cNvPr>
            <p:cNvSpPr/>
            <p:nvPr/>
          </p:nvSpPr>
          <p:spPr>
            <a:xfrm rot="8716295">
              <a:off x="412774" y="56424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ED2997EF-2C09-4DA3-BB88-8DA5032A40C8}"/>
                </a:ext>
              </a:extLst>
            </p:cNvPr>
            <p:cNvSpPr/>
            <p:nvPr/>
          </p:nvSpPr>
          <p:spPr>
            <a:xfrm rot="8716295">
              <a:off x="502166" y="59348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DBD136C4-820E-4184-B91F-ED5B5690DC24}"/>
                </a:ext>
              </a:extLst>
            </p:cNvPr>
            <p:cNvSpPr/>
            <p:nvPr/>
          </p:nvSpPr>
          <p:spPr>
            <a:xfrm rot="8716295">
              <a:off x="457316" y="50720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8BD8CCA9-A2C8-4634-B0CF-620A635CE67A}"/>
                </a:ext>
              </a:extLst>
            </p:cNvPr>
            <p:cNvSpPr/>
            <p:nvPr/>
          </p:nvSpPr>
          <p:spPr>
            <a:xfrm rot="8716295">
              <a:off x="300540" y="65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33B24AF7-29F7-4408-AE25-97A38660E784}"/>
                </a:ext>
              </a:extLst>
            </p:cNvPr>
            <p:cNvSpPr/>
            <p:nvPr/>
          </p:nvSpPr>
          <p:spPr>
            <a:xfrm rot="8716295">
              <a:off x="175637" y="44411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506A4C62-4148-4841-838F-A205F53AD573}"/>
                </a:ext>
              </a:extLst>
            </p:cNvPr>
            <p:cNvSpPr/>
            <p:nvPr/>
          </p:nvSpPr>
          <p:spPr>
            <a:xfrm rot="8716295">
              <a:off x="163585" y="30533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1C1A41D0-65C3-44E5-8A29-ECCEBE983C62}"/>
                </a:ext>
              </a:extLst>
            </p:cNvPr>
            <p:cNvSpPr/>
            <p:nvPr/>
          </p:nvSpPr>
          <p:spPr>
            <a:xfrm rot="8716295">
              <a:off x="390718" y="69374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A93B008E-5902-4D55-9E1E-85F07149CD35}"/>
                </a:ext>
              </a:extLst>
            </p:cNvPr>
            <p:cNvSpPr/>
            <p:nvPr/>
          </p:nvSpPr>
          <p:spPr>
            <a:xfrm rot="8716295">
              <a:off x="702015" y="317459"/>
              <a:ext cx="131260" cy="232388"/>
            </a:xfrm>
            <a:custGeom>
              <a:avLst/>
              <a:gdLst>
                <a:gd name="connsiteX0" fmla="*/ 70201 w 131260"/>
                <a:gd name="connsiteY0" fmla="*/ 232388 h 232388"/>
                <a:gd name="connsiteX1" fmla="*/ 70201 w 131260"/>
                <a:gd name="connsiteY1" fmla="*/ 69717 h 232388"/>
                <a:gd name="connsiteX2" fmla="*/ 70201 w 131260"/>
                <a:gd name="connsiteY2" fmla="*/ 65615 h 232388"/>
                <a:gd name="connsiteX3" fmla="*/ 49697 w 131260"/>
                <a:gd name="connsiteY3" fmla="*/ 50123 h 232388"/>
                <a:gd name="connsiteX4" fmla="*/ 0 w 131260"/>
                <a:gd name="connsiteY4" fmla="*/ 50123 h 232388"/>
                <a:gd name="connsiteX5" fmla="*/ 41457 w 131260"/>
                <a:gd name="connsiteY5" fmla="*/ 0 h 232388"/>
                <a:gd name="connsiteX6" fmla="*/ 74303 w 131260"/>
                <a:gd name="connsiteY6" fmla="*/ 0 h 232388"/>
                <a:gd name="connsiteX7" fmla="*/ 131260 w 131260"/>
                <a:gd name="connsiteY7" fmla="*/ 50123 h 232388"/>
                <a:gd name="connsiteX8" fmla="*/ 131260 w 131260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1260" h="232388">
                  <a:moveTo>
                    <a:pt x="70201" y="232388"/>
                  </a:moveTo>
                  <a:lnTo>
                    <a:pt x="70201" y="69717"/>
                  </a:lnTo>
                  <a:cubicBezTo>
                    <a:pt x="70201" y="68349"/>
                    <a:pt x="70201" y="66983"/>
                    <a:pt x="70201" y="65615"/>
                  </a:cubicBezTo>
                  <a:cubicBezTo>
                    <a:pt x="68835" y="55591"/>
                    <a:pt x="59721" y="48756"/>
                    <a:pt x="49697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74303" y="0"/>
                  </a:lnTo>
                  <a:cubicBezTo>
                    <a:pt x="111211" y="0"/>
                    <a:pt x="131260" y="15948"/>
                    <a:pt x="131260" y="50123"/>
                  </a:cubicBezTo>
                  <a:lnTo>
                    <a:pt x="131260" y="208238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8AA688E0-8B68-432D-AC4C-16B34E3E659F}"/>
                </a:ext>
              </a:extLst>
            </p:cNvPr>
            <p:cNvSpPr/>
            <p:nvPr/>
          </p:nvSpPr>
          <p:spPr>
            <a:xfrm rot="8716295">
              <a:off x="834978" y="558357"/>
              <a:ext cx="24341" cy="23495"/>
            </a:xfrm>
            <a:custGeom>
              <a:avLst/>
              <a:gdLst>
                <a:gd name="connsiteX0" fmla="*/ 0 w 24341"/>
                <a:gd name="connsiteY0" fmla="*/ 23495 h 23495"/>
                <a:gd name="connsiteX1" fmla="*/ 19433 w 24341"/>
                <a:gd name="connsiteY1" fmla="*/ 0 h 23495"/>
                <a:gd name="connsiteX2" fmla="*/ 24341 w 24341"/>
                <a:gd name="connsiteY2" fmla="*/ 16139 h 23495"/>
                <a:gd name="connsiteX3" fmla="*/ 24341 w 24341"/>
                <a:gd name="connsiteY3" fmla="*/ 22063 h 23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41" h="23495">
                  <a:moveTo>
                    <a:pt x="0" y="23495"/>
                  </a:moveTo>
                  <a:lnTo>
                    <a:pt x="19433" y="0"/>
                  </a:lnTo>
                  <a:lnTo>
                    <a:pt x="24341" y="16139"/>
                  </a:lnTo>
                  <a:lnTo>
                    <a:pt x="24341" y="2206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672AA540-A579-4E8F-A234-CD30C1FF0A89}"/>
                </a:ext>
              </a:extLst>
            </p:cNvPr>
            <p:cNvSpPr/>
            <p:nvPr/>
          </p:nvSpPr>
          <p:spPr>
            <a:xfrm rot="8716295">
              <a:off x="589639" y="40263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C0BAD361-E55B-42F0-893F-014DB3986A10}"/>
                </a:ext>
              </a:extLst>
            </p:cNvPr>
            <p:cNvSpPr/>
            <p:nvPr/>
          </p:nvSpPr>
          <p:spPr>
            <a:xfrm rot="8716295">
              <a:off x="464737" y="19396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C7776BC0-23C7-4489-8F09-E129A530C0CC}"/>
                </a:ext>
              </a:extLst>
            </p:cNvPr>
            <p:cNvSpPr/>
            <p:nvPr/>
          </p:nvSpPr>
          <p:spPr>
            <a:xfrm rot="8716295">
              <a:off x="679817" y="44358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6EC00833-27CA-42E8-A3F4-264B72DC896E}"/>
                </a:ext>
              </a:extLst>
            </p:cNvPr>
            <p:cNvSpPr/>
            <p:nvPr/>
          </p:nvSpPr>
          <p:spPr>
            <a:xfrm rot="8716295">
              <a:off x="438366" y="29398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1FD6DD85-FCBC-4AED-9D6D-4125AB918B1C}"/>
                </a:ext>
              </a:extLst>
            </p:cNvPr>
            <p:cNvSpPr/>
            <p:nvPr/>
          </p:nvSpPr>
          <p:spPr>
            <a:xfrm rot="7484129">
              <a:off x="811674" y="658874"/>
              <a:ext cx="31078" cy="46141"/>
            </a:xfrm>
            <a:custGeom>
              <a:avLst/>
              <a:gdLst>
                <a:gd name="connsiteX0" fmla="*/ 15207 w 31078"/>
                <a:gd name="connsiteY0" fmla="*/ 46141 h 46141"/>
                <a:gd name="connsiteX1" fmla="*/ 0 w 31078"/>
                <a:gd name="connsiteY1" fmla="*/ 17849 h 46141"/>
                <a:gd name="connsiteX2" fmla="*/ 31078 w 31078"/>
                <a:gd name="connsiteY2" fmla="*/ 0 h 46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078" h="46141">
                  <a:moveTo>
                    <a:pt x="15207" y="46141"/>
                  </a:moveTo>
                  <a:lnTo>
                    <a:pt x="0" y="17849"/>
                  </a:lnTo>
                  <a:lnTo>
                    <a:pt x="31078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ED8E04A5-1CCB-474C-BB14-6861F24B92EE}"/>
                </a:ext>
              </a:extLst>
            </p:cNvPr>
            <p:cNvSpPr/>
            <p:nvPr/>
          </p:nvSpPr>
          <p:spPr>
            <a:xfrm rot="8716295">
              <a:off x="780102" y="336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D2589E01-70DB-4980-9D5E-15028C3BF442}"/>
                </a:ext>
              </a:extLst>
            </p:cNvPr>
            <p:cNvSpPr/>
            <p:nvPr/>
          </p:nvSpPr>
          <p:spPr>
            <a:xfrm rot="8716295">
              <a:off x="202348" y="-57106"/>
              <a:ext cx="142167" cy="186494"/>
            </a:xfrm>
            <a:custGeom>
              <a:avLst/>
              <a:gdLst>
                <a:gd name="connsiteX0" fmla="*/ 142167 w 142167"/>
                <a:gd name="connsiteY0" fmla="*/ 186494 h 186494"/>
                <a:gd name="connsiteX1" fmla="*/ 81108 w 142167"/>
                <a:gd name="connsiteY1" fmla="*/ 144170 h 186494"/>
                <a:gd name="connsiteX2" fmla="*/ 81108 w 142167"/>
                <a:gd name="connsiteY2" fmla="*/ 69717 h 186494"/>
                <a:gd name="connsiteX3" fmla="*/ 81108 w 142167"/>
                <a:gd name="connsiteY3" fmla="*/ 65615 h 186494"/>
                <a:gd name="connsiteX4" fmla="*/ 60603 w 142167"/>
                <a:gd name="connsiteY4" fmla="*/ 50123 h 186494"/>
                <a:gd name="connsiteX5" fmla="*/ 0 w 142167"/>
                <a:gd name="connsiteY5" fmla="*/ 50123 h 186494"/>
                <a:gd name="connsiteX6" fmla="*/ 0 w 142167"/>
                <a:gd name="connsiteY6" fmla="*/ 0 h 186494"/>
                <a:gd name="connsiteX7" fmla="*/ 85209 w 142167"/>
                <a:gd name="connsiteY7" fmla="*/ 0 h 186494"/>
                <a:gd name="connsiteX8" fmla="*/ 142167 w 142167"/>
                <a:gd name="connsiteY8" fmla="*/ 50123 h 186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86494">
                  <a:moveTo>
                    <a:pt x="142167" y="186494"/>
                  </a:moveTo>
                  <a:lnTo>
                    <a:pt x="81108" y="144170"/>
                  </a:lnTo>
                  <a:lnTo>
                    <a:pt x="81108" y="69717"/>
                  </a:lnTo>
                  <a:cubicBezTo>
                    <a:pt x="81108" y="68349"/>
                    <a:pt x="81108" y="66983"/>
                    <a:pt x="81108" y="65615"/>
                  </a:cubicBezTo>
                  <a:cubicBezTo>
                    <a:pt x="79741" y="55591"/>
                    <a:pt x="70628" y="48756"/>
                    <a:pt x="60603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2AEF8F7A-52DD-4323-9058-8F5D8BF7C257}"/>
                </a:ext>
              </a:extLst>
            </p:cNvPr>
            <p:cNvSpPr/>
            <p:nvPr/>
          </p:nvSpPr>
          <p:spPr>
            <a:xfrm rot="8716295">
              <a:off x="298766" y="-5395"/>
              <a:ext cx="260639" cy="180054"/>
            </a:xfrm>
            <a:custGeom>
              <a:avLst/>
              <a:gdLst>
                <a:gd name="connsiteX0" fmla="*/ 111638 w 260639"/>
                <a:gd name="connsiteY0" fmla="*/ 180054 h 180054"/>
                <a:gd name="connsiteX1" fmla="*/ 51490 w 260639"/>
                <a:gd name="connsiteY1" fmla="*/ 138362 h 180054"/>
                <a:gd name="connsiteX2" fmla="*/ 51490 w 260639"/>
                <a:gd name="connsiteY2" fmla="*/ 45624 h 180054"/>
                <a:gd name="connsiteX3" fmla="*/ 0 w 260639"/>
                <a:gd name="connsiteY3" fmla="*/ 45624 h 180054"/>
                <a:gd name="connsiteX4" fmla="*/ 0 w 260639"/>
                <a:gd name="connsiteY4" fmla="*/ 1425 h 180054"/>
                <a:gd name="connsiteX5" fmla="*/ 104802 w 260639"/>
                <a:gd name="connsiteY5" fmla="*/ 1425 h 180054"/>
                <a:gd name="connsiteX6" fmla="*/ 104802 w 260639"/>
                <a:gd name="connsiteY6" fmla="*/ 75242 h 180054"/>
                <a:gd name="connsiteX7" fmla="*/ 106169 w 260639"/>
                <a:gd name="connsiteY7" fmla="*/ 75242 h 180054"/>
                <a:gd name="connsiteX8" fmla="*/ 154014 w 260639"/>
                <a:gd name="connsiteY8" fmla="*/ 5981 h 180054"/>
                <a:gd name="connsiteX9" fmla="*/ 185455 w 260639"/>
                <a:gd name="connsiteY9" fmla="*/ 57 h 180054"/>
                <a:gd name="connsiteX10" fmla="*/ 260639 w 260639"/>
                <a:gd name="connsiteY10" fmla="*/ 88456 h 180054"/>
                <a:gd name="connsiteX11" fmla="*/ 260639 w 260639"/>
                <a:gd name="connsiteY11" fmla="*/ 94380 h 180054"/>
                <a:gd name="connsiteX12" fmla="*/ 198669 w 260639"/>
                <a:gd name="connsiteY12" fmla="*/ 98025 h 180054"/>
                <a:gd name="connsiteX13" fmla="*/ 198669 w 260639"/>
                <a:gd name="connsiteY13" fmla="*/ 81621 h 180054"/>
                <a:gd name="connsiteX14" fmla="*/ 164950 w 260639"/>
                <a:gd name="connsiteY14" fmla="*/ 40156 h 180054"/>
                <a:gd name="connsiteX15" fmla="*/ 111638 w 260639"/>
                <a:gd name="connsiteY15" fmla="*/ 127643 h 180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0639" h="180054">
                  <a:moveTo>
                    <a:pt x="111638" y="180054"/>
                  </a:moveTo>
                  <a:lnTo>
                    <a:pt x="51490" y="138362"/>
                  </a:ln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4EA5F182-B436-49C8-8170-C1AD6D2F32D5}"/>
                </a:ext>
              </a:extLst>
            </p:cNvPr>
            <p:cNvSpPr/>
            <p:nvPr/>
          </p:nvSpPr>
          <p:spPr>
            <a:xfrm rot="8716295">
              <a:off x="276903" y="-12823"/>
              <a:ext cx="36272" cy="27982"/>
            </a:xfrm>
            <a:custGeom>
              <a:avLst/>
              <a:gdLst>
                <a:gd name="connsiteX0" fmla="*/ 36272 w 36272"/>
                <a:gd name="connsiteY0" fmla="*/ 27982 h 27982"/>
                <a:gd name="connsiteX1" fmla="*/ 0 w 36272"/>
                <a:gd name="connsiteY1" fmla="*/ 2840 h 27982"/>
                <a:gd name="connsiteX2" fmla="*/ 9543 w 36272"/>
                <a:gd name="connsiteY2" fmla="*/ 0 h 27982"/>
                <a:gd name="connsiteX3" fmla="*/ 31871 w 36272"/>
                <a:gd name="connsiteY3" fmla="*/ 11392 h 27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272" h="27982">
                  <a:moveTo>
                    <a:pt x="36272" y="27982"/>
                  </a:moveTo>
                  <a:lnTo>
                    <a:pt x="0" y="2840"/>
                  </a:lnTo>
                  <a:lnTo>
                    <a:pt x="9543" y="0"/>
                  </a:lnTo>
                  <a:cubicBezTo>
                    <a:pt x="20479" y="0"/>
                    <a:pt x="27542" y="4784"/>
                    <a:pt x="31871" y="11392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F421218E-0235-4F72-A3A0-C0DE2686EE65}"/>
                </a:ext>
              </a:extLst>
            </p:cNvPr>
            <p:cNvSpPr/>
            <p:nvPr/>
          </p:nvSpPr>
          <p:spPr>
            <a:xfrm rot="8716295">
              <a:off x="74640" y="-9665"/>
              <a:ext cx="58068" cy="54772"/>
            </a:xfrm>
            <a:custGeom>
              <a:avLst/>
              <a:gdLst>
                <a:gd name="connsiteX0" fmla="*/ 37436 w 58068"/>
                <a:gd name="connsiteY0" fmla="*/ 54772 h 54772"/>
                <a:gd name="connsiteX1" fmla="*/ 0 w 58068"/>
                <a:gd name="connsiteY1" fmla="*/ 28823 h 54772"/>
                <a:gd name="connsiteX2" fmla="*/ 8515 w 58068"/>
                <a:gd name="connsiteY2" fmla="*/ 8658 h 54772"/>
                <a:gd name="connsiteX3" fmla="*/ 29020 w 58068"/>
                <a:gd name="connsiteY3" fmla="*/ 0 h 54772"/>
                <a:gd name="connsiteX4" fmla="*/ 49525 w 58068"/>
                <a:gd name="connsiteY4" fmla="*/ 8658 h 54772"/>
                <a:gd name="connsiteX5" fmla="*/ 49525 w 58068"/>
                <a:gd name="connsiteY5" fmla="*/ 49668 h 5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068" h="54772">
                  <a:moveTo>
                    <a:pt x="37436" y="54772"/>
                  </a:moveTo>
                  <a:lnTo>
                    <a:pt x="0" y="28823"/>
                  </a:lnTo>
                  <a:lnTo>
                    <a:pt x="8515" y="8658"/>
                  </a:lnTo>
                  <a:cubicBezTo>
                    <a:pt x="13983" y="3190"/>
                    <a:pt x="21273" y="0"/>
                    <a:pt x="29020" y="0"/>
                  </a:cubicBezTo>
                  <a:cubicBezTo>
                    <a:pt x="36766" y="0"/>
                    <a:pt x="44057" y="3190"/>
                    <a:pt x="49525" y="8658"/>
                  </a:cubicBezTo>
                  <a:cubicBezTo>
                    <a:pt x="60916" y="19594"/>
                    <a:pt x="60916" y="38276"/>
                    <a:pt x="49525" y="49668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CE77A4A5-0ECD-4D80-A03D-A10DC965EA39}"/>
                </a:ext>
              </a:extLst>
            </p:cNvPr>
            <p:cNvSpPr/>
            <p:nvPr/>
          </p:nvSpPr>
          <p:spPr>
            <a:xfrm rot="8716295">
              <a:off x="13802" y="-10406"/>
              <a:ext cx="30027" cy="20814"/>
            </a:xfrm>
            <a:custGeom>
              <a:avLst/>
              <a:gdLst>
                <a:gd name="connsiteX0" fmla="*/ 30027 w 30027"/>
                <a:gd name="connsiteY0" fmla="*/ 20814 h 20814"/>
                <a:gd name="connsiteX1" fmla="*/ 0 w 30027"/>
                <a:gd name="connsiteY1" fmla="*/ 0 h 20814"/>
                <a:gd name="connsiteX2" fmla="*/ 30027 w 30027"/>
                <a:gd name="connsiteY2" fmla="*/ 0 h 20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027" h="20814">
                  <a:moveTo>
                    <a:pt x="30027" y="20814"/>
                  </a:moveTo>
                  <a:lnTo>
                    <a:pt x="0" y="0"/>
                  </a:lnTo>
                  <a:lnTo>
                    <a:pt x="30027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403799C4-A408-4325-A92C-9E809B8BB4D4}"/>
                </a:ext>
              </a:extLst>
            </p:cNvPr>
            <p:cNvSpPr/>
            <p:nvPr/>
          </p:nvSpPr>
          <p:spPr>
            <a:xfrm rot="8716295">
              <a:off x="168048" y="3032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01FB23B7-9B20-4D2E-83CD-6A7A68C9BDC4}"/>
                </a:ext>
              </a:extLst>
            </p:cNvPr>
            <p:cNvSpPr/>
            <p:nvPr/>
          </p:nvSpPr>
          <p:spPr>
            <a:xfrm rot="7484129">
              <a:off x="562078" y="-284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ACF32F9A-0344-4E5B-A601-5E2A5DCEE676}"/>
                </a:ext>
              </a:extLst>
            </p:cNvPr>
            <p:cNvSpPr/>
            <p:nvPr/>
          </p:nvSpPr>
          <p:spPr>
            <a:xfrm rot="13089394">
              <a:off x="767127" y="-2787"/>
              <a:ext cx="149688" cy="301067"/>
            </a:xfrm>
            <a:custGeom>
              <a:avLst/>
              <a:gdLst>
                <a:gd name="connsiteX0" fmla="*/ 149688 w 149688"/>
                <a:gd name="connsiteY0" fmla="*/ 279622 h 301067"/>
                <a:gd name="connsiteX1" fmla="*/ 122393 w 149688"/>
                <a:gd name="connsiteY1" fmla="*/ 301067 h 301067"/>
                <a:gd name="connsiteX2" fmla="*/ 0 w 149688"/>
                <a:gd name="connsiteY2" fmla="*/ 114672 h 301067"/>
                <a:gd name="connsiteX3" fmla="*/ 0 w 149688"/>
                <a:gd name="connsiteY3" fmla="*/ 38074 h 301067"/>
                <a:gd name="connsiteX4" fmla="*/ 73388 w 149688"/>
                <a:gd name="connsiteY4" fmla="*/ 0 h 301067"/>
                <a:gd name="connsiteX5" fmla="*/ 74492 w 149688"/>
                <a:gd name="connsiteY5" fmla="*/ 153950 h 301067"/>
                <a:gd name="connsiteX6" fmla="*/ 87734 w 149688"/>
                <a:gd name="connsiteY6" fmla="*/ 245547 h 301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9688" h="301067">
                  <a:moveTo>
                    <a:pt x="149688" y="279622"/>
                  </a:moveTo>
                  <a:lnTo>
                    <a:pt x="122393" y="301067"/>
                  </a:lnTo>
                  <a:lnTo>
                    <a:pt x="0" y="114672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2836" y="184850"/>
                    <a:pt x="77802" y="216302"/>
                    <a:pt x="87734" y="245547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9B540A9C-752F-4966-AE11-E0DA13D5676A}"/>
                </a:ext>
              </a:extLst>
            </p:cNvPr>
            <p:cNvSpPr/>
            <p:nvPr/>
          </p:nvSpPr>
          <p:spPr>
            <a:xfrm rot="8716295">
              <a:off x="212141" y="304502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27352092-3B53-44B3-ABC2-E6A268F28524}"/>
                </a:ext>
              </a:extLst>
            </p:cNvPr>
            <p:cNvSpPr/>
            <p:nvPr/>
          </p:nvSpPr>
          <p:spPr>
            <a:xfrm rot="8716295">
              <a:off x="301533" y="307427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1A1EEC7B-8896-4B95-9A1A-B0F21E6748C1}"/>
                </a:ext>
              </a:extLst>
            </p:cNvPr>
            <p:cNvSpPr/>
            <p:nvPr/>
          </p:nvSpPr>
          <p:spPr>
            <a:xfrm rot="8716295">
              <a:off x="256683" y="298799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4FA7D1EC-A217-4326-8F37-649F5ADE83EB}"/>
                </a:ext>
              </a:extLst>
            </p:cNvPr>
            <p:cNvSpPr/>
            <p:nvPr/>
          </p:nvSpPr>
          <p:spPr>
            <a:xfrm rot="8716295">
              <a:off x="99907" y="31335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33C99497-0B48-43C7-BD1A-0279E44CA612}"/>
                </a:ext>
              </a:extLst>
            </p:cNvPr>
            <p:cNvSpPr/>
            <p:nvPr/>
          </p:nvSpPr>
          <p:spPr>
            <a:xfrm rot="8716295">
              <a:off x="-24996" y="29248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A93858F0-0010-48FE-BF9C-AFE6080030D7}"/>
                </a:ext>
              </a:extLst>
            </p:cNvPr>
            <p:cNvSpPr/>
            <p:nvPr/>
          </p:nvSpPr>
          <p:spPr>
            <a:xfrm rot="8716295">
              <a:off x="51899" y="2754602"/>
              <a:ext cx="189488" cy="350829"/>
            </a:xfrm>
            <a:custGeom>
              <a:avLst/>
              <a:gdLst>
                <a:gd name="connsiteX0" fmla="*/ 25299 w 189488"/>
                <a:gd name="connsiteY0" fmla="*/ 321238 h 350829"/>
                <a:gd name="connsiteX1" fmla="*/ 0 w 189488"/>
                <a:gd name="connsiteY1" fmla="*/ 220042 h 350829"/>
                <a:gd name="connsiteX2" fmla="*/ 0 w 189488"/>
                <a:gd name="connsiteY2" fmla="*/ 40596 h 350829"/>
                <a:gd name="connsiteX3" fmla="*/ 78250 w 189488"/>
                <a:gd name="connsiteY3" fmla="*/ 0 h 350829"/>
                <a:gd name="connsiteX4" fmla="*/ 79427 w 189488"/>
                <a:gd name="connsiteY4" fmla="*/ 164149 h 350829"/>
                <a:gd name="connsiteX5" fmla="*/ 93547 w 189488"/>
                <a:gd name="connsiteY5" fmla="*/ 261815 h 350829"/>
                <a:gd name="connsiteX6" fmla="*/ 164148 w 189488"/>
                <a:gd name="connsiteY6" fmla="*/ 300646 h 350829"/>
                <a:gd name="connsiteX7" fmla="*/ 189488 w 189488"/>
                <a:gd name="connsiteY7" fmla="*/ 296141 h 350829"/>
                <a:gd name="connsiteX8" fmla="*/ 160617 w 189488"/>
                <a:gd name="connsiteY8" fmla="*/ 337791 h 350829"/>
                <a:gd name="connsiteX9" fmla="*/ 97666 w 189488"/>
                <a:gd name="connsiteY9" fmla="*/ 350655 h 350829"/>
                <a:gd name="connsiteX10" fmla="*/ 25299 w 189488"/>
                <a:gd name="connsiteY10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9488" h="350829">
                  <a:moveTo>
                    <a:pt x="25299" y="321238"/>
                  </a:moveTo>
                  <a:cubicBezTo>
                    <a:pt x="5295" y="301823"/>
                    <a:pt x="0" y="268286"/>
                    <a:pt x="0" y="220042"/>
                  </a:cubicBez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8" y="300646"/>
                  </a:cubicBezTo>
                  <a:lnTo>
                    <a:pt x="189488" y="296141"/>
                  </a:lnTo>
                  <a:lnTo>
                    <a:pt x="160617" y="337791"/>
                  </a:lnTo>
                  <a:lnTo>
                    <a:pt x="97666" y="350655"/>
                  </a:ln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CAFD1C73-118C-42A8-A6D1-F7527C0F98CE}"/>
                </a:ext>
              </a:extLst>
            </p:cNvPr>
            <p:cNvSpPr/>
            <p:nvPr/>
          </p:nvSpPr>
          <p:spPr>
            <a:xfrm rot="8716295">
              <a:off x="190085" y="317452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E7F4D18B-0BB2-451B-AA77-2B268E142A91}"/>
                </a:ext>
              </a:extLst>
            </p:cNvPr>
            <p:cNvSpPr/>
            <p:nvPr/>
          </p:nvSpPr>
          <p:spPr>
            <a:xfrm rot="8716295">
              <a:off x="502599" y="2802136"/>
              <a:ext cx="117588" cy="232388"/>
            </a:xfrm>
            <a:custGeom>
              <a:avLst/>
              <a:gdLst>
                <a:gd name="connsiteX0" fmla="*/ 56529 w 117588"/>
                <a:gd name="connsiteY0" fmla="*/ 232388 h 232388"/>
                <a:gd name="connsiteX1" fmla="*/ 56529 w 117588"/>
                <a:gd name="connsiteY1" fmla="*/ 69717 h 232388"/>
                <a:gd name="connsiteX2" fmla="*/ 56529 w 117588"/>
                <a:gd name="connsiteY2" fmla="*/ 65615 h 232388"/>
                <a:gd name="connsiteX3" fmla="*/ 36025 w 117588"/>
                <a:gd name="connsiteY3" fmla="*/ 50123 h 232388"/>
                <a:gd name="connsiteX4" fmla="*/ 0 w 117588"/>
                <a:gd name="connsiteY4" fmla="*/ 50123 h 232388"/>
                <a:gd name="connsiteX5" fmla="*/ 41458 w 117588"/>
                <a:gd name="connsiteY5" fmla="*/ 0 h 232388"/>
                <a:gd name="connsiteX6" fmla="*/ 60630 w 117588"/>
                <a:gd name="connsiteY6" fmla="*/ 0 h 232388"/>
                <a:gd name="connsiteX7" fmla="*/ 117588 w 117588"/>
                <a:gd name="connsiteY7" fmla="*/ 50123 h 232388"/>
                <a:gd name="connsiteX8" fmla="*/ 117588 w 117588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7588" h="232388">
                  <a:moveTo>
                    <a:pt x="56529" y="232388"/>
                  </a:moveTo>
                  <a:lnTo>
                    <a:pt x="56529" y="69717"/>
                  </a:lnTo>
                  <a:cubicBezTo>
                    <a:pt x="56529" y="68349"/>
                    <a:pt x="56529" y="66983"/>
                    <a:pt x="56529" y="65615"/>
                  </a:cubicBezTo>
                  <a:cubicBezTo>
                    <a:pt x="55163" y="55591"/>
                    <a:pt x="46049" y="48756"/>
                    <a:pt x="36025" y="50123"/>
                  </a:cubicBezTo>
                  <a:lnTo>
                    <a:pt x="0" y="50123"/>
                  </a:lnTo>
                  <a:lnTo>
                    <a:pt x="41458" y="0"/>
                  </a:lnTo>
                  <a:lnTo>
                    <a:pt x="60630" y="0"/>
                  </a:lnTo>
                  <a:cubicBezTo>
                    <a:pt x="97539" y="0"/>
                    <a:pt x="117588" y="15948"/>
                    <a:pt x="117588" y="50123"/>
                  </a:cubicBezTo>
                  <a:lnTo>
                    <a:pt x="117588" y="208238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6F67DBA9-AD6C-4780-AA17-98BCE9381DC5}"/>
                </a:ext>
              </a:extLst>
            </p:cNvPr>
            <p:cNvSpPr/>
            <p:nvPr/>
          </p:nvSpPr>
          <p:spPr>
            <a:xfrm rot="8716295">
              <a:off x="389006" y="2883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60CE2A9A-219E-42C9-9F53-FED763C7A971}"/>
                </a:ext>
              </a:extLst>
            </p:cNvPr>
            <p:cNvSpPr/>
            <p:nvPr/>
          </p:nvSpPr>
          <p:spPr>
            <a:xfrm rot="8716295">
              <a:off x="264104" y="267474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5F47A361-80F1-4C02-906B-845AB367B960}"/>
                </a:ext>
              </a:extLst>
            </p:cNvPr>
            <p:cNvSpPr/>
            <p:nvPr/>
          </p:nvSpPr>
          <p:spPr>
            <a:xfrm rot="8716295">
              <a:off x="479184" y="292437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2CC40EA3-7663-4B10-9112-24251EC60BEA}"/>
                </a:ext>
              </a:extLst>
            </p:cNvPr>
            <p:cNvSpPr/>
            <p:nvPr/>
          </p:nvSpPr>
          <p:spPr>
            <a:xfrm rot="8716295">
              <a:off x="237733" y="277477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96946020-930E-406D-ABEE-7096E7CB1426}"/>
                </a:ext>
              </a:extLst>
            </p:cNvPr>
            <p:cNvSpPr/>
            <p:nvPr/>
          </p:nvSpPr>
          <p:spPr>
            <a:xfrm rot="7484129">
              <a:off x="609980" y="3142825"/>
              <a:ext cx="20881" cy="31001"/>
            </a:xfrm>
            <a:custGeom>
              <a:avLst/>
              <a:gdLst>
                <a:gd name="connsiteX0" fmla="*/ 10218 w 20881"/>
                <a:gd name="connsiteY0" fmla="*/ 31001 h 31001"/>
                <a:gd name="connsiteX1" fmla="*/ 0 w 20881"/>
                <a:gd name="connsiteY1" fmla="*/ 11992 h 31001"/>
                <a:gd name="connsiteX2" fmla="*/ 20881 w 20881"/>
                <a:gd name="connsiteY2" fmla="*/ 0 h 31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881" h="31001">
                  <a:moveTo>
                    <a:pt x="10218" y="31001"/>
                  </a:moveTo>
                  <a:lnTo>
                    <a:pt x="0" y="11992"/>
                  </a:lnTo>
                  <a:lnTo>
                    <a:pt x="20881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9709EEED-4F73-41F3-A069-C965126CECA4}"/>
                </a:ext>
              </a:extLst>
            </p:cNvPr>
            <p:cNvSpPr/>
            <p:nvPr/>
          </p:nvSpPr>
          <p:spPr>
            <a:xfrm rot="8716295">
              <a:off x="579469" y="28172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AB7C8B58-13F0-4FCC-99DC-3B3AAD65E69B}"/>
                </a:ext>
              </a:extLst>
            </p:cNvPr>
            <p:cNvSpPr/>
            <p:nvPr/>
          </p:nvSpPr>
          <p:spPr>
            <a:xfrm rot="8716295">
              <a:off x="437995" y="3716235"/>
              <a:ext cx="102679" cy="232388"/>
            </a:xfrm>
            <a:custGeom>
              <a:avLst/>
              <a:gdLst>
                <a:gd name="connsiteX0" fmla="*/ 41620 w 102679"/>
                <a:gd name="connsiteY0" fmla="*/ 232388 h 232388"/>
                <a:gd name="connsiteX1" fmla="*/ 41620 w 102679"/>
                <a:gd name="connsiteY1" fmla="*/ 69717 h 232388"/>
                <a:gd name="connsiteX2" fmla="*/ 41620 w 102679"/>
                <a:gd name="connsiteY2" fmla="*/ 65615 h 232388"/>
                <a:gd name="connsiteX3" fmla="*/ 21116 w 102679"/>
                <a:gd name="connsiteY3" fmla="*/ 50123 h 232388"/>
                <a:gd name="connsiteX4" fmla="*/ 0 w 102679"/>
                <a:gd name="connsiteY4" fmla="*/ 50123 h 232388"/>
                <a:gd name="connsiteX5" fmla="*/ 41457 w 102679"/>
                <a:gd name="connsiteY5" fmla="*/ 0 h 232388"/>
                <a:gd name="connsiteX6" fmla="*/ 45721 w 102679"/>
                <a:gd name="connsiteY6" fmla="*/ 0 h 232388"/>
                <a:gd name="connsiteX7" fmla="*/ 102679 w 102679"/>
                <a:gd name="connsiteY7" fmla="*/ 50123 h 232388"/>
                <a:gd name="connsiteX8" fmla="*/ 102679 w 102679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2679" h="232388">
                  <a:moveTo>
                    <a:pt x="41620" y="232388"/>
                  </a:moveTo>
                  <a:lnTo>
                    <a:pt x="41620" y="69717"/>
                  </a:lnTo>
                  <a:cubicBezTo>
                    <a:pt x="41620" y="68349"/>
                    <a:pt x="41620" y="66983"/>
                    <a:pt x="41620" y="65615"/>
                  </a:cubicBezTo>
                  <a:cubicBezTo>
                    <a:pt x="40254" y="55591"/>
                    <a:pt x="31140" y="48756"/>
                    <a:pt x="21116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45721" y="0"/>
                  </a:lnTo>
                  <a:cubicBezTo>
                    <a:pt x="82630" y="0"/>
                    <a:pt x="102679" y="15948"/>
                    <a:pt x="102679" y="50123"/>
                  </a:cubicBezTo>
                  <a:lnTo>
                    <a:pt x="102679" y="208238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9C4DC6CC-AFAA-4414-8BA6-D58CC891D657}"/>
                </a:ext>
              </a:extLst>
            </p:cNvPr>
            <p:cNvSpPr/>
            <p:nvPr/>
          </p:nvSpPr>
          <p:spPr>
            <a:xfrm rot="8716295">
              <a:off x="482715" y="3669965"/>
              <a:ext cx="154563" cy="124897"/>
            </a:xfrm>
            <a:custGeom>
              <a:avLst/>
              <a:gdLst>
                <a:gd name="connsiteX0" fmla="*/ 0 w 154563"/>
                <a:gd name="connsiteY0" fmla="*/ 124897 h 124897"/>
                <a:gd name="connsiteX1" fmla="*/ 95474 w 154563"/>
                <a:gd name="connsiteY1" fmla="*/ 9467 h 124897"/>
                <a:gd name="connsiteX2" fmla="*/ 96067 w 154563"/>
                <a:gd name="connsiteY2" fmla="*/ 9000 h 124897"/>
                <a:gd name="connsiteX3" fmla="*/ 126312 w 154563"/>
                <a:gd name="connsiteY3" fmla="*/ 0 h 124897"/>
                <a:gd name="connsiteX4" fmla="*/ 154563 w 154563"/>
                <a:gd name="connsiteY4" fmla="*/ 33719 h 124897"/>
                <a:gd name="connsiteX5" fmla="*/ 128135 w 154563"/>
                <a:gd name="connsiteY5" fmla="*/ 69261 h 124897"/>
                <a:gd name="connsiteX6" fmla="*/ 128590 w 154563"/>
                <a:gd name="connsiteY6" fmla="*/ 69261 h 12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4563" h="124897">
                  <a:moveTo>
                    <a:pt x="0" y="124897"/>
                  </a:moveTo>
                  <a:lnTo>
                    <a:pt x="95474" y="9467"/>
                  </a:lnTo>
                  <a:lnTo>
                    <a:pt x="96067" y="9000"/>
                  </a:lnTo>
                  <a:cubicBezTo>
                    <a:pt x="105351" y="4215"/>
                    <a:pt x="115604" y="1139"/>
                    <a:pt x="126312" y="0"/>
                  </a:cubicBezTo>
                  <a:cubicBezTo>
                    <a:pt x="148184" y="0"/>
                    <a:pt x="154563" y="19138"/>
                    <a:pt x="154563" y="33719"/>
                  </a:cubicBezTo>
                  <a:cubicBezTo>
                    <a:pt x="153196" y="49668"/>
                    <a:pt x="142715" y="62882"/>
                    <a:pt x="128135" y="69261"/>
                  </a:cubicBezTo>
                  <a:lnTo>
                    <a:pt x="128590" y="69261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orme libre : forme 58">
              <a:extLst>
                <a:ext uri="{FF2B5EF4-FFF2-40B4-BE49-F238E27FC236}">
                  <a16:creationId xmlns:a16="http://schemas.microsoft.com/office/drawing/2014/main" id="{4EE0C0AC-519B-4FC6-8231-6D03F18E647C}"/>
                </a:ext>
              </a:extLst>
            </p:cNvPr>
            <p:cNvSpPr/>
            <p:nvPr/>
          </p:nvSpPr>
          <p:spPr>
            <a:xfrm rot="8716295">
              <a:off x="323074" y="379327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orme libre : forme 59">
              <a:extLst>
                <a:ext uri="{FF2B5EF4-FFF2-40B4-BE49-F238E27FC236}">
                  <a16:creationId xmlns:a16="http://schemas.microsoft.com/office/drawing/2014/main" id="{D6F59EA5-8316-4C20-AADC-7D706ECCBE6F}"/>
                </a:ext>
              </a:extLst>
            </p:cNvPr>
            <p:cNvSpPr/>
            <p:nvPr/>
          </p:nvSpPr>
          <p:spPr>
            <a:xfrm rot="8716295">
              <a:off x="198171" y="358459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orme libre : forme 60">
              <a:extLst>
                <a:ext uri="{FF2B5EF4-FFF2-40B4-BE49-F238E27FC236}">
                  <a16:creationId xmlns:a16="http://schemas.microsoft.com/office/drawing/2014/main" id="{B0440107-C1DF-4CF9-A961-BF836C4847FA}"/>
                </a:ext>
              </a:extLst>
            </p:cNvPr>
            <p:cNvSpPr/>
            <p:nvPr/>
          </p:nvSpPr>
          <p:spPr>
            <a:xfrm rot="8716295">
              <a:off x="186119" y="344581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orme libre : forme 61">
              <a:extLst>
                <a:ext uri="{FF2B5EF4-FFF2-40B4-BE49-F238E27FC236}">
                  <a16:creationId xmlns:a16="http://schemas.microsoft.com/office/drawing/2014/main" id="{FAD20847-20DA-4661-A963-D2C01E523D8E}"/>
                </a:ext>
              </a:extLst>
            </p:cNvPr>
            <p:cNvSpPr/>
            <p:nvPr/>
          </p:nvSpPr>
          <p:spPr>
            <a:xfrm rot="8716295">
              <a:off x="410218" y="3834716"/>
              <a:ext cx="103435" cy="219174"/>
            </a:xfrm>
            <a:custGeom>
              <a:avLst/>
              <a:gdLst>
                <a:gd name="connsiteX0" fmla="*/ 103435 w 103435"/>
                <a:gd name="connsiteY0" fmla="*/ 219174 h 219174"/>
                <a:gd name="connsiteX1" fmla="*/ 43288 w 103435"/>
                <a:gd name="connsiteY1" fmla="*/ 161305 h 219174"/>
                <a:gd name="connsiteX2" fmla="*/ 43288 w 103435"/>
                <a:gd name="connsiteY2" fmla="*/ 16404 h 219174"/>
                <a:gd name="connsiteX3" fmla="*/ 0 w 103435"/>
                <a:gd name="connsiteY3" fmla="*/ 16404 h 219174"/>
                <a:gd name="connsiteX4" fmla="*/ 0 w 103435"/>
                <a:gd name="connsiteY4" fmla="*/ 16028 h 219174"/>
                <a:gd name="connsiteX5" fmla="*/ 11583 w 103435"/>
                <a:gd name="connsiteY5" fmla="*/ 2023 h 219174"/>
                <a:gd name="connsiteX6" fmla="*/ 103435 w 103435"/>
                <a:gd name="connsiteY6" fmla="*/ 0 h 219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19174">
                  <a:moveTo>
                    <a:pt x="103435" y="219174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16028"/>
                  </a:lnTo>
                  <a:lnTo>
                    <a:pt x="11583" y="2023"/>
                  </a:lnTo>
                  <a:lnTo>
                    <a:pt x="103435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orme libre : forme 62">
              <a:extLst>
                <a:ext uri="{FF2B5EF4-FFF2-40B4-BE49-F238E27FC236}">
                  <a16:creationId xmlns:a16="http://schemas.microsoft.com/office/drawing/2014/main" id="{28D4D932-7CCD-4A1C-82BE-BDC6C863C34D}"/>
                </a:ext>
              </a:extLst>
            </p:cNvPr>
            <p:cNvSpPr/>
            <p:nvPr/>
          </p:nvSpPr>
          <p:spPr>
            <a:xfrm rot="8716295">
              <a:off x="487452" y="3349370"/>
              <a:ext cx="151162" cy="195873"/>
            </a:xfrm>
            <a:custGeom>
              <a:avLst/>
              <a:gdLst>
                <a:gd name="connsiteX0" fmla="*/ 38025 w 151162"/>
                <a:gd name="connsiteY0" fmla="*/ 195873 h 195873"/>
                <a:gd name="connsiteX1" fmla="*/ 0 w 151162"/>
                <a:gd name="connsiteY1" fmla="*/ 125130 h 195873"/>
                <a:gd name="connsiteX2" fmla="*/ 103497 w 151162"/>
                <a:gd name="connsiteY2" fmla="*/ 0 h 195873"/>
                <a:gd name="connsiteX3" fmla="*/ 151162 w 151162"/>
                <a:gd name="connsiteY3" fmla="*/ 0 h 195873"/>
                <a:gd name="connsiteX4" fmla="*/ 151162 w 151162"/>
                <a:gd name="connsiteY4" fmla="*/ 55323 h 195873"/>
                <a:gd name="connsiteX5" fmla="*/ 86370 w 151162"/>
                <a:gd name="connsiteY5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1162" h="195873">
                  <a:moveTo>
                    <a:pt x="38025" y="195873"/>
                  </a:moveTo>
                  <a:lnTo>
                    <a:pt x="0" y="125130"/>
                  </a:lnTo>
                  <a:lnTo>
                    <a:pt x="103497" y="0"/>
                  </a:lnTo>
                  <a:lnTo>
                    <a:pt x="151162" y="0"/>
                  </a:lnTo>
                  <a:lnTo>
                    <a:pt x="151162" y="55323"/>
                  </a:lnTo>
                  <a:lnTo>
                    <a:pt x="86370" y="5532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orme libre : forme 63">
              <a:extLst>
                <a:ext uri="{FF2B5EF4-FFF2-40B4-BE49-F238E27FC236}">
                  <a16:creationId xmlns:a16="http://schemas.microsoft.com/office/drawing/2014/main" id="{CC6BD8CB-3AAF-4232-9DAB-6067219DB083}"/>
                </a:ext>
              </a:extLst>
            </p:cNvPr>
            <p:cNvSpPr/>
            <p:nvPr/>
          </p:nvSpPr>
          <p:spPr>
            <a:xfrm rot="8716295">
              <a:off x="460900" y="343447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orme libre : forme 64">
              <a:extLst>
                <a:ext uri="{FF2B5EF4-FFF2-40B4-BE49-F238E27FC236}">
                  <a16:creationId xmlns:a16="http://schemas.microsoft.com/office/drawing/2014/main" id="{C4402BE5-EFA1-455E-87AA-2CF0F2131AB9}"/>
                </a:ext>
              </a:extLst>
            </p:cNvPr>
            <p:cNvSpPr/>
            <p:nvPr/>
          </p:nvSpPr>
          <p:spPr>
            <a:xfrm rot="8716295">
              <a:off x="417336" y="4258920"/>
              <a:ext cx="147637" cy="195874"/>
            </a:xfrm>
            <a:custGeom>
              <a:avLst/>
              <a:gdLst>
                <a:gd name="connsiteX0" fmla="*/ 34500 w 147637"/>
                <a:gd name="connsiteY0" fmla="*/ 195874 h 195874"/>
                <a:gd name="connsiteX1" fmla="*/ 0 w 147637"/>
                <a:gd name="connsiteY1" fmla="*/ 131688 h 195874"/>
                <a:gd name="connsiteX2" fmla="*/ 108921 w 147637"/>
                <a:gd name="connsiteY2" fmla="*/ 0 h 195874"/>
                <a:gd name="connsiteX3" fmla="*/ 147637 w 147637"/>
                <a:gd name="connsiteY3" fmla="*/ 0 h 195874"/>
                <a:gd name="connsiteX4" fmla="*/ 147637 w 147637"/>
                <a:gd name="connsiteY4" fmla="*/ 55323 h 195874"/>
                <a:gd name="connsiteX5" fmla="*/ 82845 w 147637"/>
                <a:gd name="connsiteY5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7637" h="195874">
                  <a:moveTo>
                    <a:pt x="34500" y="195874"/>
                  </a:moveTo>
                  <a:lnTo>
                    <a:pt x="0" y="131688"/>
                  </a:lnTo>
                  <a:lnTo>
                    <a:pt x="108921" y="0"/>
                  </a:lnTo>
                  <a:lnTo>
                    <a:pt x="147637" y="0"/>
                  </a:lnTo>
                  <a:lnTo>
                    <a:pt x="147637" y="55323"/>
                  </a:lnTo>
                  <a:lnTo>
                    <a:pt x="82845" y="5532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orme libre : forme 65">
              <a:extLst>
                <a:ext uri="{FF2B5EF4-FFF2-40B4-BE49-F238E27FC236}">
                  <a16:creationId xmlns:a16="http://schemas.microsoft.com/office/drawing/2014/main" id="{61A670F2-3CC6-425A-A67F-3F30EE51B04A}"/>
                </a:ext>
              </a:extLst>
            </p:cNvPr>
            <p:cNvSpPr/>
            <p:nvPr/>
          </p:nvSpPr>
          <p:spPr>
            <a:xfrm rot="8716295">
              <a:off x="330834" y="4134902"/>
              <a:ext cx="254613" cy="91157"/>
            </a:xfrm>
            <a:custGeom>
              <a:avLst/>
              <a:gdLst>
                <a:gd name="connsiteX0" fmla="*/ 0 w 254613"/>
                <a:gd name="connsiteY0" fmla="*/ 68911 h 91157"/>
                <a:gd name="connsiteX1" fmla="*/ 56997 w 254613"/>
                <a:gd name="connsiteY1" fmla="*/ 0 h 91157"/>
                <a:gd name="connsiteX2" fmla="*/ 57517 w 254613"/>
                <a:gd name="connsiteY2" fmla="*/ 2143 h 91157"/>
                <a:gd name="connsiteX3" fmla="*/ 128118 w 254613"/>
                <a:gd name="connsiteY3" fmla="*/ 40974 h 91157"/>
                <a:gd name="connsiteX4" fmla="*/ 181070 w 254613"/>
                <a:gd name="connsiteY4" fmla="*/ 31560 h 91157"/>
                <a:gd name="connsiteX5" fmla="*/ 253437 w 254613"/>
                <a:gd name="connsiteY5" fmla="*/ 2143 h 91157"/>
                <a:gd name="connsiteX6" fmla="*/ 254613 w 254613"/>
                <a:gd name="connsiteY6" fmla="*/ 9791 h 91157"/>
                <a:gd name="connsiteX7" fmla="*/ 254613 w 254613"/>
                <a:gd name="connsiteY7" fmla="*/ 15674 h 91157"/>
                <a:gd name="connsiteX8" fmla="*/ 61636 w 254613"/>
                <a:gd name="connsiteY8" fmla="*/ 90983 h 91157"/>
                <a:gd name="connsiteX9" fmla="*/ 22363 w 254613"/>
                <a:gd name="connsiteY9" fmla="*/ 84217 h 91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4613" h="91157">
                  <a:moveTo>
                    <a:pt x="0" y="68911"/>
                  </a:moveTo>
                  <a:lnTo>
                    <a:pt x="56997" y="0"/>
                  </a:lnTo>
                  <a:lnTo>
                    <a:pt x="57517" y="2143"/>
                  </a:lnTo>
                  <a:cubicBezTo>
                    <a:pt x="66931" y="28030"/>
                    <a:pt x="91053" y="40974"/>
                    <a:pt x="128118" y="40974"/>
                  </a:cubicBezTo>
                  <a:cubicBezTo>
                    <a:pt x="146357" y="40385"/>
                    <a:pt x="164008" y="36855"/>
                    <a:pt x="181070" y="31560"/>
                  </a:cubicBezTo>
                  <a:cubicBezTo>
                    <a:pt x="205780" y="23912"/>
                    <a:pt x="229903" y="13910"/>
                    <a:pt x="253437" y="2143"/>
                  </a:cubicBezTo>
                  <a:cubicBezTo>
                    <a:pt x="254025" y="4496"/>
                    <a:pt x="254613" y="7438"/>
                    <a:pt x="254613" y="9791"/>
                  </a:cubicBezTo>
                  <a:lnTo>
                    <a:pt x="254613" y="15674"/>
                  </a:lnTo>
                  <a:cubicBezTo>
                    <a:pt x="192249" y="69215"/>
                    <a:pt x="110468" y="88042"/>
                    <a:pt x="61636" y="90983"/>
                  </a:cubicBezTo>
                  <a:cubicBezTo>
                    <a:pt x="48104" y="91866"/>
                    <a:pt x="34719" y="89365"/>
                    <a:pt x="22363" y="84217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orme libre : forme 66">
              <a:extLst>
                <a:ext uri="{FF2B5EF4-FFF2-40B4-BE49-F238E27FC236}">
                  <a16:creationId xmlns:a16="http://schemas.microsoft.com/office/drawing/2014/main" id="{8311F45B-46D1-4E93-B5FB-C96A0B131FB3}"/>
                </a:ext>
              </a:extLst>
            </p:cNvPr>
            <p:cNvSpPr/>
            <p:nvPr/>
          </p:nvSpPr>
          <p:spPr>
            <a:xfrm rot="8716295">
              <a:off x="-3428" y="2405990"/>
              <a:ext cx="142167" cy="208592"/>
            </a:xfrm>
            <a:custGeom>
              <a:avLst/>
              <a:gdLst>
                <a:gd name="connsiteX0" fmla="*/ 81108 w 142167"/>
                <a:gd name="connsiteY0" fmla="*/ 208592 h 208592"/>
                <a:gd name="connsiteX1" fmla="*/ 81108 w 142167"/>
                <a:gd name="connsiteY1" fmla="*/ 69717 h 208592"/>
                <a:gd name="connsiteX2" fmla="*/ 81108 w 142167"/>
                <a:gd name="connsiteY2" fmla="*/ 65615 h 208592"/>
                <a:gd name="connsiteX3" fmla="*/ 60604 w 142167"/>
                <a:gd name="connsiteY3" fmla="*/ 50123 h 208592"/>
                <a:gd name="connsiteX4" fmla="*/ 0 w 142167"/>
                <a:gd name="connsiteY4" fmla="*/ 50123 h 208592"/>
                <a:gd name="connsiteX5" fmla="*/ 0 w 142167"/>
                <a:gd name="connsiteY5" fmla="*/ 0 h 208592"/>
                <a:gd name="connsiteX6" fmla="*/ 85210 w 142167"/>
                <a:gd name="connsiteY6" fmla="*/ 0 h 208592"/>
                <a:gd name="connsiteX7" fmla="*/ 142167 w 142167"/>
                <a:gd name="connsiteY7" fmla="*/ 50123 h 208592"/>
                <a:gd name="connsiteX8" fmla="*/ 142167 w 142167"/>
                <a:gd name="connsiteY8" fmla="*/ 120504 h 20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08592">
                  <a:moveTo>
                    <a:pt x="81108" y="208592"/>
                  </a:moveTo>
                  <a:lnTo>
                    <a:pt x="81108" y="69717"/>
                  </a:lnTo>
                  <a:cubicBezTo>
                    <a:pt x="81108" y="68350"/>
                    <a:pt x="81108" y="66983"/>
                    <a:pt x="81108" y="65615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10" y="0"/>
                  </a:lnTo>
                  <a:cubicBezTo>
                    <a:pt x="122118" y="0"/>
                    <a:pt x="142167" y="15948"/>
                    <a:pt x="142167" y="50123"/>
                  </a:cubicBezTo>
                  <a:lnTo>
                    <a:pt x="142167" y="120504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FBB49843-79D6-49E9-8512-3ED8074BAF49}"/>
                </a:ext>
              </a:extLst>
            </p:cNvPr>
            <p:cNvSpPr/>
            <p:nvPr/>
          </p:nvSpPr>
          <p:spPr>
            <a:xfrm rot="8716295">
              <a:off x="80015" y="241329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orme libre : forme 68">
              <a:extLst>
                <a:ext uri="{FF2B5EF4-FFF2-40B4-BE49-F238E27FC236}">
                  <a16:creationId xmlns:a16="http://schemas.microsoft.com/office/drawing/2014/main" id="{2588E0D5-81C5-4973-87D7-DBF7607FAFF4}"/>
                </a:ext>
              </a:extLst>
            </p:cNvPr>
            <p:cNvSpPr/>
            <p:nvPr/>
          </p:nvSpPr>
          <p:spPr>
            <a:xfrm rot="8716295">
              <a:off x="35165" y="232701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orme libre : forme 69">
              <a:extLst>
                <a:ext uri="{FF2B5EF4-FFF2-40B4-BE49-F238E27FC236}">
                  <a16:creationId xmlns:a16="http://schemas.microsoft.com/office/drawing/2014/main" id="{4C19B60F-0DA9-4BC3-BAAD-2E7DE57F5376}"/>
                </a:ext>
              </a:extLst>
            </p:cNvPr>
            <p:cNvSpPr/>
            <p:nvPr/>
          </p:nvSpPr>
          <p:spPr>
            <a:xfrm rot="8716295">
              <a:off x="-20257" y="2217087"/>
              <a:ext cx="78731" cy="180665"/>
            </a:xfrm>
            <a:custGeom>
              <a:avLst/>
              <a:gdLst>
                <a:gd name="connsiteX0" fmla="*/ 0 w 78731"/>
                <a:gd name="connsiteY0" fmla="*/ 180665 h 180665"/>
                <a:gd name="connsiteX1" fmla="*/ 0 w 78731"/>
                <a:gd name="connsiteY1" fmla="*/ 40596 h 180665"/>
                <a:gd name="connsiteX2" fmla="*/ 78250 w 78731"/>
                <a:gd name="connsiteY2" fmla="*/ 0 h 180665"/>
                <a:gd name="connsiteX3" fmla="*/ 78731 w 78731"/>
                <a:gd name="connsiteY3" fmla="*/ 67083 h 180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731" h="180665">
                  <a:moveTo>
                    <a:pt x="0" y="180665"/>
                  </a:moveTo>
                  <a:lnTo>
                    <a:pt x="0" y="40596"/>
                  </a:lnTo>
                  <a:lnTo>
                    <a:pt x="78250" y="0"/>
                  </a:lnTo>
                  <a:lnTo>
                    <a:pt x="78731" y="6708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orme libre : forme 70">
              <a:extLst>
                <a:ext uri="{FF2B5EF4-FFF2-40B4-BE49-F238E27FC236}">
                  <a16:creationId xmlns:a16="http://schemas.microsoft.com/office/drawing/2014/main" id="{6EC16758-5536-44AA-B18E-D5428BFF36DA}"/>
                </a:ext>
              </a:extLst>
            </p:cNvPr>
            <p:cNvSpPr/>
            <p:nvPr/>
          </p:nvSpPr>
          <p:spPr>
            <a:xfrm rot="8716295">
              <a:off x="-15341" y="2575209"/>
              <a:ext cx="103435" cy="152027"/>
            </a:xfrm>
            <a:custGeom>
              <a:avLst/>
              <a:gdLst>
                <a:gd name="connsiteX0" fmla="*/ 43288 w 103435"/>
                <a:gd name="connsiteY0" fmla="*/ 152027 h 152027"/>
                <a:gd name="connsiteX1" fmla="*/ 43288 w 103435"/>
                <a:gd name="connsiteY1" fmla="*/ 16404 h 152027"/>
                <a:gd name="connsiteX2" fmla="*/ 0 w 103435"/>
                <a:gd name="connsiteY2" fmla="*/ 16404 h 152027"/>
                <a:gd name="connsiteX3" fmla="*/ 0 w 103435"/>
                <a:gd name="connsiteY3" fmla="*/ 2278 h 152027"/>
                <a:gd name="connsiteX4" fmla="*/ 103435 w 103435"/>
                <a:gd name="connsiteY4" fmla="*/ 0 h 152027"/>
                <a:gd name="connsiteX5" fmla="*/ 103435 w 103435"/>
                <a:gd name="connsiteY5" fmla="*/ 65255 h 152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152027">
                  <a:moveTo>
                    <a:pt x="43288" y="152027"/>
                  </a:move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65255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orme libre : forme 71">
              <a:extLst>
                <a:ext uri="{FF2B5EF4-FFF2-40B4-BE49-F238E27FC236}">
                  <a16:creationId xmlns:a16="http://schemas.microsoft.com/office/drawing/2014/main" id="{F8CD2FD6-8E29-4A7B-A6E7-A08269AC0224}"/>
                </a:ext>
              </a:extLst>
            </p:cNvPr>
            <p:cNvSpPr/>
            <p:nvPr/>
          </p:nvSpPr>
          <p:spPr>
            <a:xfrm rot="8716295">
              <a:off x="279722" y="21339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orme libre : forme 72">
              <a:extLst>
                <a:ext uri="{FF2B5EF4-FFF2-40B4-BE49-F238E27FC236}">
                  <a16:creationId xmlns:a16="http://schemas.microsoft.com/office/drawing/2014/main" id="{B8E4BE1C-C619-4E1A-8472-B00AFC43BA29}"/>
                </a:ext>
              </a:extLst>
            </p:cNvPr>
            <p:cNvSpPr/>
            <p:nvPr/>
          </p:nvSpPr>
          <p:spPr>
            <a:xfrm rot="8716295">
              <a:off x="369114" y="21631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" name="Forme libre : forme 73">
              <a:extLst>
                <a:ext uri="{FF2B5EF4-FFF2-40B4-BE49-F238E27FC236}">
                  <a16:creationId xmlns:a16="http://schemas.microsoft.com/office/drawing/2014/main" id="{E00D5309-AD7C-43C7-8A0B-B7211B97E879}"/>
                </a:ext>
              </a:extLst>
            </p:cNvPr>
            <p:cNvSpPr/>
            <p:nvPr/>
          </p:nvSpPr>
          <p:spPr>
            <a:xfrm rot="8716295">
              <a:off x="167488" y="22224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" name="Forme libre : forme 74">
              <a:extLst>
                <a:ext uri="{FF2B5EF4-FFF2-40B4-BE49-F238E27FC236}">
                  <a16:creationId xmlns:a16="http://schemas.microsoft.com/office/drawing/2014/main" id="{569B59A1-12B4-4886-9F85-B0AFCE236D87}"/>
                </a:ext>
              </a:extLst>
            </p:cNvPr>
            <p:cNvSpPr/>
            <p:nvPr/>
          </p:nvSpPr>
          <p:spPr>
            <a:xfrm rot="8716295">
              <a:off x="42586" y="20137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" name="Forme libre : forme 75">
              <a:extLst>
                <a:ext uri="{FF2B5EF4-FFF2-40B4-BE49-F238E27FC236}">
                  <a16:creationId xmlns:a16="http://schemas.microsoft.com/office/drawing/2014/main" id="{F564295A-16CC-45A5-86A1-4CEC6CD90425}"/>
                </a:ext>
              </a:extLst>
            </p:cNvPr>
            <p:cNvSpPr/>
            <p:nvPr/>
          </p:nvSpPr>
          <p:spPr>
            <a:xfrm rot="8716295">
              <a:off x="257666" y="226339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" name="Forme libre : forme 76">
              <a:extLst>
                <a:ext uri="{FF2B5EF4-FFF2-40B4-BE49-F238E27FC236}">
                  <a16:creationId xmlns:a16="http://schemas.microsoft.com/office/drawing/2014/main" id="{2384700C-00D8-4B4D-ABDF-BE0456A14505}"/>
                </a:ext>
              </a:extLst>
            </p:cNvPr>
            <p:cNvSpPr/>
            <p:nvPr/>
          </p:nvSpPr>
          <p:spPr>
            <a:xfrm rot="8716295">
              <a:off x="16215" y="211379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" name="Forme libre : forme 77">
              <a:extLst>
                <a:ext uri="{FF2B5EF4-FFF2-40B4-BE49-F238E27FC236}">
                  <a16:creationId xmlns:a16="http://schemas.microsoft.com/office/drawing/2014/main" id="{D8BA4606-ED26-402C-93D7-D77E55C056EF}"/>
                </a:ext>
              </a:extLst>
            </p:cNvPr>
            <p:cNvSpPr/>
            <p:nvPr/>
          </p:nvSpPr>
          <p:spPr>
            <a:xfrm rot="7484129">
              <a:off x="362597" y="245474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orme libre : forme 78">
              <a:extLst>
                <a:ext uri="{FF2B5EF4-FFF2-40B4-BE49-F238E27FC236}">
                  <a16:creationId xmlns:a16="http://schemas.microsoft.com/office/drawing/2014/main" id="{3CCE9711-ABFF-417D-B3E6-0BDB1263FCD1}"/>
                </a:ext>
              </a:extLst>
            </p:cNvPr>
            <p:cNvSpPr/>
            <p:nvPr/>
          </p:nvSpPr>
          <p:spPr>
            <a:xfrm rot="13089394">
              <a:off x="463440" y="2426400"/>
              <a:ext cx="272584" cy="319064"/>
            </a:xfrm>
            <a:custGeom>
              <a:avLst/>
              <a:gdLst>
                <a:gd name="connsiteX0" fmla="*/ 80445 w 272584"/>
                <a:gd name="connsiteY0" fmla="*/ 215518 h 319064"/>
                <a:gd name="connsiteX1" fmla="*/ 0 w 272584"/>
                <a:gd name="connsiteY1" fmla="*/ 93007 h 319064"/>
                <a:gd name="connsiteX2" fmla="*/ 0 w 272584"/>
                <a:gd name="connsiteY2" fmla="*/ 38074 h 319064"/>
                <a:gd name="connsiteX3" fmla="*/ 73388 w 272584"/>
                <a:gd name="connsiteY3" fmla="*/ 0 h 319064"/>
                <a:gd name="connsiteX4" fmla="*/ 74492 w 272584"/>
                <a:gd name="connsiteY4" fmla="*/ 153950 h 319064"/>
                <a:gd name="connsiteX5" fmla="*/ 76768 w 272584"/>
                <a:gd name="connsiteY5" fmla="*/ 200369 h 319064"/>
                <a:gd name="connsiteX6" fmla="*/ 272584 w 272584"/>
                <a:gd name="connsiteY6" fmla="*/ 258238 h 319064"/>
                <a:gd name="connsiteX7" fmla="*/ 177331 w 272584"/>
                <a:gd name="connsiteY7" fmla="*/ 311347 h 319064"/>
                <a:gd name="connsiteX8" fmla="*/ 148437 w 272584"/>
                <a:gd name="connsiteY8" fmla="*/ 319064 h 319064"/>
                <a:gd name="connsiteX9" fmla="*/ 119231 w 272584"/>
                <a:gd name="connsiteY9" fmla="*/ 274585 h 319064"/>
                <a:gd name="connsiteX10" fmla="*/ 153949 w 272584"/>
                <a:gd name="connsiteY10" fmla="*/ 281965 h 319064"/>
                <a:gd name="connsiteX11" fmla="*/ 203610 w 272584"/>
                <a:gd name="connsiteY11" fmla="*/ 273136 h 319064"/>
                <a:gd name="connsiteX12" fmla="*/ 271481 w 272584"/>
                <a:gd name="connsiteY12" fmla="*/ 245547 h 319064"/>
                <a:gd name="connsiteX13" fmla="*/ 272584 w 272584"/>
                <a:gd name="connsiteY13" fmla="*/ 252720 h 319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2584" h="319064">
                  <a:moveTo>
                    <a:pt x="80445" y="215518"/>
                  </a:moveTo>
                  <a:lnTo>
                    <a:pt x="0" y="93007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3664" y="169400"/>
                    <a:pt x="74492" y="184988"/>
                    <a:pt x="76768" y="200369"/>
                  </a:cubicBezTo>
                  <a:close/>
                  <a:moveTo>
                    <a:pt x="272584" y="258238"/>
                  </a:moveTo>
                  <a:cubicBezTo>
                    <a:pt x="243339" y="283344"/>
                    <a:pt x="209542" y="300312"/>
                    <a:pt x="177331" y="311347"/>
                  </a:cubicBezTo>
                  <a:lnTo>
                    <a:pt x="148437" y="319064"/>
                  </a:lnTo>
                  <a:lnTo>
                    <a:pt x="119231" y="274585"/>
                  </a:lnTo>
                  <a:lnTo>
                    <a:pt x="153949" y="281965"/>
                  </a:lnTo>
                  <a:cubicBezTo>
                    <a:pt x="171055" y="281413"/>
                    <a:pt x="187609" y="278102"/>
                    <a:pt x="203610" y="273136"/>
                  </a:cubicBezTo>
                  <a:cubicBezTo>
                    <a:pt x="226785" y="265963"/>
                    <a:pt x="249409" y="256583"/>
                    <a:pt x="271481" y="245547"/>
                  </a:cubicBezTo>
                  <a:cubicBezTo>
                    <a:pt x="272032" y="247754"/>
                    <a:pt x="272584" y="250513"/>
                    <a:pt x="272584" y="25272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Forme libre : forme 79">
              <a:extLst>
                <a:ext uri="{FF2B5EF4-FFF2-40B4-BE49-F238E27FC236}">
                  <a16:creationId xmlns:a16="http://schemas.microsoft.com/office/drawing/2014/main" id="{6E12610B-6A34-4C00-8EC5-09F9F5AEEEF0}"/>
                </a:ext>
              </a:extLst>
            </p:cNvPr>
            <p:cNvSpPr/>
            <p:nvPr/>
          </p:nvSpPr>
          <p:spPr>
            <a:xfrm rot="8716295">
              <a:off x="675867" y="2357327"/>
              <a:ext cx="38012" cy="45752"/>
            </a:xfrm>
            <a:custGeom>
              <a:avLst/>
              <a:gdLst>
                <a:gd name="connsiteX0" fmla="*/ 0 w 38012"/>
                <a:gd name="connsiteY0" fmla="*/ 45752 h 45752"/>
                <a:gd name="connsiteX1" fmla="*/ 37842 w 38012"/>
                <a:gd name="connsiteY1" fmla="*/ 0 h 45752"/>
                <a:gd name="connsiteX2" fmla="*/ 38012 w 38012"/>
                <a:gd name="connsiteY2" fmla="*/ 641 h 45752"/>
                <a:gd name="connsiteX3" fmla="*/ 6841 w 38012"/>
                <a:gd name="connsiteY3" fmla="*/ 42560 h 45752"/>
                <a:gd name="connsiteX4" fmla="*/ 7378 w 38012"/>
                <a:gd name="connsiteY4" fmla="*/ 42560 h 45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012" h="45752">
                  <a:moveTo>
                    <a:pt x="0" y="45752"/>
                  </a:moveTo>
                  <a:lnTo>
                    <a:pt x="37842" y="0"/>
                  </a:lnTo>
                  <a:lnTo>
                    <a:pt x="38012" y="641"/>
                  </a:lnTo>
                  <a:cubicBezTo>
                    <a:pt x="36400" y="19451"/>
                    <a:pt x="24039" y="35036"/>
                    <a:pt x="6841" y="42560"/>
                  </a:cubicBezTo>
                  <a:lnTo>
                    <a:pt x="7378" y="4256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" name="Forme libre : forme 80">
              <a:extLst>
                <a:ext uri="{FF2B5EF4-FFF2-40B4-BE49-F238E27FC236}">
                  <a16:creationId xmlns:a16="http://schemas.microsoft.com/office/drawing/2014/main" id="{04C60C27-7F84-4DDC-864F-602B18A26BC5}"/>
                </a:ext>
              </a:extLst>
            </p:cNvPr>
            <p:cNvSpPr/>
            <p:nvPr/>
          </p:nvSpPr>
          <p:spPr>
            <a:xfrm rot="8716295">
              <a:off x="601197" y="21260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orme libre : forme 81">
              <a:extLst>
                <a:ext uri="{FF2B5EF4-FFF2-40B4-BE49-F238E27FC236}">
                  <a16:creationId xmlns:a16="http://schemas.microsoft.com/office/drawing/2014/main" id="{603BCEF5-66FB-4B3A-9672-2C4F09A114FA}"/>
                </a:ext>
              </a:extLst>
            </p:cNvPr>
            <p:cNvSpPr/>
            <p:nvPr/>
          </p:nvSpPr>
          <p:spPr>
            <a:xfrm rot="8716295">
              <a:off x="357951" y="21562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Forme libre : forme 82">
              <a:extLst>
                <a:ext uri="{FF2B5EF4-FFF2-40B4-BE49-F238E27FC236}">
                  <a16:creationId xmlns:a16="http://schemas.microsoft.com/office/drawing/2014/main" id="{47C10671-5456-47FF-825A-4447688D4139}"/>
                </a:ext>
              </a:extLst>
            </p:cNvPr>
            <p:cNvSpPr/>
            <p:nvPr/>
          </p:nvSpPr>
          <p:spPr>
            <a:xfrm rot="8716295">
              <a:off x="535403" y="199698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4" name="Forme libre : forme 83">
              <a:extLst>
                <a:ext uri="{FF2B5EF4-FFF2-40B4-BE49-F238E27FC236}">
                  <a16:creationId xmlns:a16="http://schemas.microsoft.com/office/drawing/2014/main" id="{DB34C374-02D3-4583-9890-9C27CA821837}"/>
                </a:ext>
              </a:extLst>
            </p:cNvPr>
            <p:cNvSpPr/>
            <p:nvPr/>
          </p:nvSpPr>
          <p:spPr>
            <a:xfrm rot="8716295">
              <a:off x="-76043" y="1768178"/>
              <a:ext cx="197178" cy="215049"/>
            </a:xfrm>
            <a:custGeom>
              <a:avLst/>
              <a:gdLst>
                <a:gd name="connsiteX0" fmla="*/ 51490 w 197178"/>
                <a:gd name="connsiteY0" fmla="*/ 215049 h 215049"/>
                <a:gd name="connsiteX1" fmla="*/ 51490 w 197178"/>
                <a:gd name="connsiteY1" fmla="*/ 45624 h 215049"/>
                <a:gd name="connsiteX2" fmla="*/ 0 w 197178"/>
                <a:gd name="connsiteY2" fmla="*/ 45624 h 215049"/>
                <a:gd name="connsiteX3" fmla="*/ 0 w 197178"/>
                <a:gd name="connsiteY3" fmla="*/ 1424 h 215049"/>
                <a:gd name="connsiteX4" fmla="*/ 104803 w 197178"/>
                <a:gd name="connsiteY4" fmla="*/ 1425 h 215049"/>
                <a:gd name="connsiteX5" fmla="*/ 104803 w 197178"/>
                <a:gd name="connsiteY5" fmla="*/ 75242 h 215049"/>
                <a:gd name="connsiteX6" fmla="*/ 106169 w 197178"/>
                <a:gd name="connsiteY6" fmla="*/ 75242 h 215049"/>
                <a:gd name="connsiteX7" fmla="*/ 154014 w 197178"/>
                <a:gd name="connsiteY7" fmla="*/ 5981 h 215049"/>
                <a:gd name="connsiteX8" fmla="*/ 185455 w 197178"/>
                <a:gd name="connsiteY8" fmla="*/ 57 h 215049"/>
                <a:gd name="connsiteX9" fmla="*/ 197178 w 197178"/>
                <a:gd name="connsiteY9" fmla="*/ 4872 h 215049"/>
                <a:gd name="connsiteX10" fmla="*/ 170795 w 197178"/>
                <a:gd name="connsiteY10" fmla="*/ 42934 h 215049"/>
                <a:gd name="connsiteX11" fmla="*/ 164950 w 197178"/>
                <a:gd name="connsiteY11" fmla="*/ 40156 h 215049"/>
                <a:gd name="connsiteX12" fmla="*/ 111638 w 197178"/>
                <a:gd name="connsiteY12" fmla="*/ 127643 h 215049"/>
                <a:gd name="connsiteX13" fmla="*/ 111638 w 197178"/>
                <a:gd name="connsiteY13" fmla="*/ 128277 h 21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178" h="215049">
                  <a:moveTo>
                    <a:pt x="51490" y="215049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4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lnTo>
                    <a:pt x="197178" y="4872"/>
                  </a:lnTo>
                  <a:lnTo>
                    <a:pt x="170795" y="42934"/>
                  </a:lnTo>
                  <a:lnTo>
                    <a:pt x="164950" y="40156"/>
                  </a:ln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128277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5" name="Forme libre : forme 84">
              <a:extLst>
                <a:ext uri="{FF2B5EF4-FFF2-40B4-BE49-F238E27FC236}">
                  <a16:creationId xmlns:a16="http://schemas.microsoft.com/office/drawing/2014/main" id="{F27A5053-248B-4729-A180-CFD83FBA8C7D}"/>
                </a:ext>
              </a:extLst>
            </p:cNvPr>
            <p:cNvSpPr/>
            <p:nvPr/>
          </p:nvSpPr>
          <p:spPr>
            <a:xfrm rot="8716295">
              <a:off x="56555" y="14742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6" name="Forme libre : forme 85">
              <a:extLst>
                <a:ext uri="{FF2B5EF4-FFF2-40B4-BE49-F238E27FC236}">
                  <a16:creationId xmlns:a16="http://schemas.microsoft.com/office/drawing/2014/main" id="{9918622A-7E96-4EC8-A35B-CBCD19A79AE2}"/>
                </a:ext>
              </a:extLst>
            </p:cNvPr>
            <p:cNvSpPr/>
            <p:nvPr/>
          </p:nvSpPr>
          <p:spPr>
            <a:xfrm rot="8716295">
              <a:off x="145947" y="15034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7" name="Forme libre : forme 86">
              <a:extLst>
                <a:ext uri="{FF2B5EF4-FFF2-40B4-BE49-F238E27FC236}">
                  <a16:creationId xmlns:a16="http://schemas.microsoft.com/office/drawing/2014/main" id="{0ECD9757-2AFD-4623-9C3D-24E52F11F047}"/>
                </a:ext>
              </a:extLst>
            </p:cNvPr>
            <p:cNvSpPr/>
            <p:nvPr/>
          </p:nvSpPr>
          <p:spPr>
            <a:xfrm rot="8716295">
              <a:off x="-21870" y="1443501"/>
              <a:ext cx="68614" cy="55323"/>
            </a:xfrm>
            <a:custGeom>
              <a:avLst/>
              <a:gdLst>
                <a:gd name="connsiteX0" fmla="*/ 0 w 68614"/>
                <a:gd name="connsiteY0" fmla="*/ 55323 h 55323"/>
                <a:gd name="connsiteX1" fmla="*/ 0 w 68614"/>
                <a:gd name="connsiteY1" fmla="*/ 0 h 55323"/>
                <a:gd name="connsiteX2" fmla="*/ 68614 w 68614"/>
                <a:gd name="connsiteY2" fmla="*/ 0 h 55323"/>
                <a:gd name="connsiteX3" fmla="*/ 30266 w 68614"/>
                <a:gd name="connsiteY3" fmla="*/ 55323 h 55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614" h="55323">
                  <a:moveTo>
                    <a:pt x="0" y="55323"/>
                  </a:moveTo>
                  <a:lnTo>
                    <a:pt x="0" y="0"/>
                  </a:lnTo>
                  <a:lnTo>
                    <a:pt x="68614" y="0"/>
                  </a:lnTo>
                  <a:lnTo>
                    <a:pt x="30266" y="5532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8" name="Forme libre : forme 87">
              <a:extLst>
                <a:ext uri="{FF2B5EF4-FFF2-40B4-BE49-F238E27FC236}">
                  <a16:creationId xmlns:a16="http://schemas.microsoft.com/office/drawing/2014/main" id="{661ED1FA-7FC0-427E-9226-6E31215700D9}"/>
                </a:ext>
              </a:extLst>
            </p:cNvPr>
            <p:cNvSpPr/>
            <p:nvPr/>
          </p:nvSpPr>
          <p:spPr>
            <a:xfrm rot="8716295">
              <a:off x="35817" y="1618109"/>
              <a:ext cx="103435" cy="203897"/>
            </a:xfrm>
            <a:custGeom>
              <a:avLst/>
              <a:gdLst>
                <a:gd name="connsiteX0" fmla="*/ 87556 w 103435"/>
                <a:gd name="connsiteY0" fmla="*/ 203897 h 203897"/>
                <a:gd name="connsiteX1" fmla="*/ 43288 w 103435"/>
                <a:gd name="connsiteY1" fmla="*/ 161305 h 203897"/>
                <a:gd name="connsiteX2" fmla="*/ 43288 w 103435"/>
                <a:gd name="connsiteY2" fmla="*/ 16404 h 203897"/>
                <a:gd name="connsiteX3" fmla="*/ 0 w 103435"/>
                <a:gd name="connsiteY3" fmla="*/ 16404 h 203897"/>
                <a:gd name="connsiteX4" fmla="*/ 0 w 103435"/>
                <a:gd name="connsiteY4" fmla="*/ 2278 h 203897"/>
                <a:gd name="connsiteX5" fmla="*/ 103435 w 103435"/>
                <a:gd name="connsiteY5" fmla="*/ 0 h 203897"/>
                <a:gd name="connsiteX6" fmla="*/ 103435 w 103435"/>
                <a:gd name="connsiteY6" fmla="*/ 180989 h 203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03897">
                  <a:moveTo>
                    <a:pt x="87556" y="203897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180989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9" name="Forme libre : forme 88">
              <a:extLst>
                <a:ext uri="{FF2B5EF4-FFF2-40B4-BE49-F238E27FC236}">
                  <a16:creationId xmlns:a16="http://schemas.microsoft.com/office/drawing/2014/main" id="{A1295F39-BDBB-432C-B32B-C5B551977FC2}"/>
                </a:ext>
              </a:extLst>
            </p:cNvPr>
            <p:cNvSpPr/>
            <p:nvPr/>
          </p:nvSpPr>
          <p:spPr>
            <a:xfrm rot="7484129">
              <a:off x="139430" y="17950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" name="Forme libre : forme 89">
              <a:extLst>
                <a:ext uri="{FF2B5EF4-FFF2-40B4-BE49-F238E27FC236}">
                  <a16:creationId xmlns:a16="http://schemas.microsoft.com/office/drawing/2014/main" id="{F2E91B5E-C359-4716-9781-DAEDAFFE884C}"/>
                </a:ext>
              </a:extLst>
            </p:cNvPr>
            <p:cNvSpPr/>
            <p:nvPr/>
          </p:nvSpPr>
          <p:spPr>
            <a:xfrm rot="13089394">
              <a:off x="244250" y="17615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" name="Forme libre : forme 90">
              <a:extLst>
                <a:ext uri="{FF2B5EF4-FFF2-40B4-BE49-F238E27FC236}">
                  <a16:creationId xmlns:a16="http://schemas.microsoft.com/office/drawing/2014/main" id="{4C9CCC26-5417-41E7-B753-3B7D59038FBD}"/>
                </a:ext>
              </a:extLst>
            </p:cNvPr>
            <p:cNvSpPr/>
            <p:nvPr/>
          </p:nvSpPr>
          <p:spPr>
            <a:xfrm rot="8716295">
              <a:off x="429835" y="15699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" name="Forme libre : forme 91">
              <a:extLst>
                <a:ext uri="{FF2B5EF4-FFF2-40B4-BE49-F238E27FC236}">
                  <a16:creationId xmlns:a16="http://schemas.microsoft.com/office/drawing/2014/main" id="{D6712892-AD9E-4694-AEF5-3D17C5AEEE1D}"/>
                </a:ext>
              </a:extLst>
            </p:cNvPr>
            <p:cNvSpPr/>
            <p:nvPr/>
          </p:nvSpPr>
          <p:spPr>
            <a:xfrm rot="8716295">
              <a:off x="378030" y="14663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" name="Forme libre : forme 92">
              <a:extLst>
                <a:ext uri="{FF2B5EF4-FFF2-40B4-BE49-F238E27FC236}">
                  <a16:creationId xmlns:a16="http://schemas.microsoft.com/office/drawing/2014/main" id="{8DA7EFED-D0A6-45D4-A875-2F1DCEFC57C8}"/>
                </a:ext>
              </a:extLst>
            </p:cNvPr>
            <p:cNvSpPr/>
            <p:nvPr/>
          </p:nvSpPr>
          <p:spPr>
            <a:xfrm rot="8716295">
              <a:off x="134784" y="14965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" name="Forme libre : forme 93">
              <a:extLst>
                <a:ext uri="{FF2B5EF4-FFF2-40B4-BE49-F238E27FC236}">
                  <a16:creationId xmlns:a16="http://schemas.microsoft.com/office/drawing/2014/main" id="{32971A81-1820-4964-A66E-2FD721A16F56}"/>
                </a:ext>
              </a:extLst>
            </p:cNvPr>
            <p:cNvSpPr/>
            <p:nvPr/>
          </p:nvSpPr>
          <p:spPr>
            <a:xfrm rot="8716295">
              <a:off x="312236" y="13372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orme libre : forme 94">
              <a:extLst>
                <a:ext uri="{FF2B5EF4-FFF2-40B4-BE49-F238E27FC236}">
                  <a16:creationId xmlns:a16="http://schemas.microsoft.com/office/drawing/2014/main" id="{BC42F9C8-99E7-4F04-B258-C142D2DE142F}"/>
                </a:ext>
              </a:extLst>
            </p:cNvPr>
            <p:cNvSpPr/>
            <p:nvPr/>
          </p:nvSpPr>
          <p:spPr>
            <a:xfrm rot="8716295">
              <a:off x="-17798" y="949199"/>
              <a:ext cx="39526" cy="50123"/>
            </a:xfrm>
            <a:custGeom>
              <a:avLst/>
              <a:gdLst>
                <a:gd name="connsiteX0" fmla="*/ 0 w 39526"/>
                <a:gd name="connsiteY0" fmla="*/ 50123 h 50123"/>
                <a:gd name="connsiteX1" fmla="*/ 0 w 39526"/>
                <a:gd name="connsiteY1" fmla="*/ 0 h 50123"/>
                <a:gd name="connsiteX2" fmla="*/ 39526 w 39526"/>
                <a:gd name="connsiteY2" fmla="*/ 0 h 50123"/>
                <a:gd name="connsiteX3" fmla="*/ 4782 w 39526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26" h="50123">
                  <a:moveTo>
                    <a:pt x="0" y="50123"/>
                  </a:moveTo>
                  <a:lnTo>
                    <a:pt x="0" y="0"/>
                  </a:lnTo>
                  <a:lnTo>
                    <a:pt x="39526" y="0"/>
                  </a:lnTo>
                  <a:lnTo>
                    <a:pt x="4782" y="5012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Forme libre : forme 95">
              <a:extLst>
                <a:ext uri="{FF2B5EF4-FFF2-40B4-BE49-F238E27FC236}">
                  <a16:creationId xmlns:a16="http://schemas.microsoft.com/office/drawing/2014/main" id="{D29A62DB-0DC5-407D-A1DF-C8A39BAC784A}"/>
                </a:ext>
              </a:extLst>
            </p:cNvPr>
            <p:cNvSpPr/>
            <p:nvPr/>
          </p:nvSpPr>
          <p:spPr>
            <a:xfrm rot="8716295">
              <a:off x="-64996" y="834728"/>
              <a:ext cx="249650" cy="254774"/>
            </a:xfrm>
            <a:custGeom>
              <a:avLst/>
              <a:gdLst>
                <a:gd name="connsiteX0" fmla="*/ 51490 w 249650"/>
                <a:gd name="connsiteY0" fmla="*/ 254774 h 254774"/>
                <a:gd name="connsiteX1" fmla="*/ 51490 w 249650"/>
                <a:gd name="connsiteY1" fmla="*/ 45624 h 254774"/>
                <a:gd name="connsiteX2" fmla="*/ 0 w 249650"/>
                <a:gd name="connsiteY2" fmla="*/ 45624 h 254774"/>
                <a:gd name="connsiteX3" fmla="*/ 0 w 249650"/>
                <a:gd name="connsiteY3" fmla="*/ 1425 h 254774"/>
                <a:gd name="connsiteX4" fmla="*/ 104803 w 249650"/>
                <a:gd name="connsiteY4" fmla="*/ 1425 h 254774"/>
                <a:gd name="connsiteX5" fmla="*/ 104803 w 249650"/>
                <a:gd name="connsiteY5" fmla="*/ 75242 h 254774"/>
                <a:gd name="connsiteX6" fmla="*/ 106169 w 249650"/>
                <a:gd name="connsiteY6" fmla="*/ 75242 h 254774"/>
                <a:gd name="connsiteX7" fmla="*/ 154014 w 249650"/>
                <a:gd name="connsiteY7" fmla="*/ 5981 h 254774"/>
                <a:gd name="connsiteX8" fmla="*/ 185455 w 249650"/>
                <a:gd name="connsiteY8" fmla="*/ 57 h 254774"/>
                <a:gd name="connsiteX9" fmla="*/ 240647 w 249650"/>
                <a:gd name="connsiteY9" fmla="*/ 22727 h 254774"/>
                <a:gd name="connsiteX10" fmla="*/ 249650 w 249650"/>
                <a:gd name="connsiteY10" fmla="*/ 52327 h 254774"/>
                <a:gd name="connsiteX11" fmla="*/ 218795 w 249650"/>
                <a:gd name="connsiteY11" fmla="*/ 96841 h 254774"/>
                <a:gd name="connsiteX12" fmla="*/ 198669 w 249650"/>
                <a:gd name="connsiteY12" fmla="*/ 98025 h 254774"/>
                <a:gd name="connsiteX13" fmla="*/ 198669 w 249650"/>
                <a:gd name="connsiteY13" fmla="*/ 81621 h 254774"/>
                <a:gd name="connsiteX14" fmla="*/ 164950 w 249650"/>
                <a:gd name="connsiteY14" fmla="*/ 40156 h 254774"/>
                <a:gd name="connsiteX15" fmla="*/ 111638 w 249650"/>
                <a:gd name="connsiteY15" fmla="*/ 127643 h 254774"/>
                <a:gd name="connsiteX16" fmla="*/ 111638 w 249650"/>
                <a:gd name="connsiteY16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9650" h="254774">
                  <a:moveTo>
                    <a:pt x="51490" y="254774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08922" y="-398"/>
                    <a:pt x="227718" y="7576"/>
                    <a:pt x="240647" y="22727"/>
                  </a:cubicBezTo>
                  <a:lnTo>
                    <a:pt x="249650" y="52327"/>
                  </a:lnTo>
                  <a:lnTo>
                    <a:pt x="218795" y="96841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213764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" name="Forme libre : forme 96">
              <a:extLst>
                <a:ext uri="{FF2B5EF4-FFF2-40B4-BE49-F238E27FC236}">
                  <a16:creationId xmlns:a16="http://schemas.microsoft.com/office/drawing/2014/main" id="{4160A2B5-61C4-44D3-8FA4-49A1FCD41A0C}"/>
                </a:ext>
              </a:extLst>
            </p:cNvPr>
            <p:cNvSpPr/>
            <p:nvPr/>
          </p:nvSpPr>
          <p:spPr>
            <a:xfrm rot="7484129">
              <a:off x="-63314" y="1172497"/>
              <a:ext cx="203848" cy="146395"/>
            </a:xfrm>
            <a:custGeom>
              <a:avLst/>
              <a:gdLst>
                <a:gd name="connsiteX0" fmla="*/ 0 w 203848"/>
                <a:gd name="connsiteY0" fmla="*/ 55323 h 146395"/>
                <a:gd name="connsiteX1" fmla="*/ 0 w 203848"/>
                <a:gd name="connsiteY1" fmla="*/ 0 h 146395"/>
                <a:gd name="connsiteX2" fmla="*/ 203848 w 203848"/>
                <a:gd name="connsiteY2" fmla="*/ 0 h 146395"/>
                <a:gd name="connsiteX3" fmla="*/ 203847 w 203848"/>
                <a:gd name="connsiteY3" fmla="*/ 49512 h 146395"/>
                <a:gd name="connsiteX4" fmla="*/ 195466 w 203848"/>
                <a:gd name="connsiteY4" fmla="*/ 55323 h 146395"/>
                <a:gd name="connsiteX5" fmla="*/ 139055 w 203848"/>
                <a:gd name="connsiteY5" fmla="*/ 55323 h 146395"/>
                <a:gd name="connsiteX6" fmla="*/ 121388 w 203848"/>
                <a:gd name="connsiteY6" fmla="*/ 106685 h 146395"/>
                <a:gd name="connsiteX7" fmla="*/ 64115 w 203848"/>
                <a:gd name="connsiteY7" fmla="*/ 146395 h 146395"/>
                <a:gd name="connsiteX8" fmla="*/ 47847 w 203848"/>
                <a:gd name="connsiteY8" fmla="*/ 116129 h 146395"/>
                <a:gd name="connsiteX9" fmla="*/ 69777 w 203848"/>
                <a:gd name="connsiteY9" fmla="*/ 55323 h 146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848" h="146395">
                  <a:moveTo>
                    <a:pt x="0" y="55323"/>
                  </a:moveTo>
                  <a:lnTo>
                    <a:pt x="0" y="0"/>
                  </a:lnTo>
                  <a:lnTo>
                    <a:pt x="203848" y="0"/>
                  </a:lnTo>
                  <a:lnTo>
                    <a:pt x="203847" y="49512"/>
                  </a:lnTo>
                  <a:lnTo>
                    <a:pt x="195466" y="55323"/>
                  </a:lnTo>
                  <a:lnTo>
                    <a:pt x="139055" y="55323"/>
                  </a:lnTo>
                  <a:lnTo>
                    <a:pt x="121388" y="106685"/>
                  </a:lnTo>
                  <a:lnTo>
                    <a:pt x="64115" y="146395"/>
                  </a:lnTo>
                  <a:lnTo>
                    <a:pt x="47847" y="116129"/>
                  </a:lnTo>
                  <a:lnTo>
                    <a:pt x="69777" y="5532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" name="Forme libre : forme 97">
              <a:extLst>
                <a:ext uri="{FF2B5EF4-FFF2-40B4-BE49-F238E27FC236}">
                  <a16:creationId xmlns:a16="http://schemas.microsoft.com/office/drawing/2014/main" id="{0F651F8F-312F-4D1A-9E4B-A79B81999918}"/>
                </a:ext>
              </a:extLst>
            </p:cNvPr>
            <p:cNvSpPr/>
            <p:nvPr/>
          </p:nvSpPr>
          <p:spPr>
            <a:xfrm rot="13089394">
              <a:off x="25311" y="109952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" name="Forme libre : forme 98">
              <a:extLst>
                <a:ext uri="{FF2B5EF4-FFF2-40B4-BE49-F238E27FC236}">
                  <a16:creationId xmlns:a16="http://schemas.microsoft.com/office/drawing/2014/main" id="{12E33E54-ECAF-462B-B069-F233780DF121}"/>
                </a:ext>
              </a:extLst>
            </p:cNvPr>
            <p:cNvSpPr/>
            <p:nvPr/>
          </p:nvSpPr>
          <p:spPr>
            <a:xfrm rot="8716295">
              <a:off x="210896" y="90784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orme libre : forme 99">
              <a:extLst>
                <a:ext uri="{FF2B5EF4-FFF2-40B4-BE49-F238E27FC236}">
                  <a16:creationId xmlns:a16="http://schemas.microsoft.com/office/drawing/2014/main" id="{42ACC1F1-A8E1-420C-B7DE-55FFEE501260}"/>
                </a:ext>
              </a:extLst>
            </p:cNvPr>
            <p:cNvSpPr/>
            <p:nvPr/>
          </p:nvSpPr>
          <p:spPr>
            <a:xfrm rot="8716295">
              <a:off x="159091" y="80425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Forme libre : forme 100">
              <a:extLst>
                <a:ext uri="{FF2B5EF4-FFF2-40B4-BE49-F238E27FC236}">
                  <a16:creationId xmlns:a16="http://schemas.microsoft.com/office/drawing/2014/main" id="{B902C445-D42B-4D0E-8897-FDE236E78375}"/>
                </a:ext>
              </a:extLst>
            </p:cNvPr>
            <p:cNvSpPr/>
            <p:nvPr/>
          </p:nvSpPr>
          <p:spPr>
            <a:xfrm rot="8716295">
              <a:off x="93297" y="67523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" name="Forme libre : forme 101">
              <a:extLst>
                <a:ext uri="{FF2B5EF4-FFF2-40B4-BE49-F238E27FC236}">
                  <a16:creationId xmlns:a16="http://schemas.microsoft.com/office/drawing/2014/main" id="{4EDB9DFE-AA44-492B-9D2C-70F199FD6162}"/>
                </a:ext>
              </a:extLst>
            </p:cNvPr>
            <p:cNvSpPr/>
            <p:nvPr/>
          </p:nvSpPr>
          <p:spPr>
            <a:xfrm rot="8716295">
              <a:off x="-7001" y="316701"/>
              <a:ext cx="14001" cy="20198"/>
            </a:xfrm>
            <a:custGeom>
              <a:avLst/>
              <a:gdLst>
                <a:gd name="connsiteX0" fmla="*/ 0 w 14001"/>
                <a:gd name="connsiteY0" fmla="*/ 20198 h 20198"/>
                <a:gd name="connsiteX1" fmla="*/ 0 w 14001"/>
                <a:gd name="connsiteY1" fmla="*/ 0 h 20198"/>
                <a:gd name="connsiteX2" fmla="*/ 14001 w 14001"/>
                <a:gd name="connsiteY2" fmla="*/ 0 h 2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01" h="20198">
                  <a:moveTo>
                    <a:pt x="0" y="20198"/>
                  </a:moveTo>
                  <a:lnTo>
                    <a:pt x="0" y="0"/>
                  </a:lnTo>
                  <a:lnTo>
                    <a:pt x="14001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" name="Forme libre : forme 102">
              <a:extLst>
                <a:ext uri="{FF2B5EF4-FFF2-40B4-BE49-F238E27FC236}">
                  <a16:creationId xmlns:a16="http://schemas.microsoft.com/office/drawing/2014/main" id="{9B8E4668-5129-4061-833F-DDB8DC144C55}"/>
                </a:ext>
              </a:extLst>
            </p:cNvPr>
            <p:cNvSpPr/>
            <p:nvPr/>
          </p:nvSpPr>
          <p:spPr>
            <a:xfrm rot="13089394">
              <a:off x="-81658" y="472652"/>
              <a:ext cx="173631" cy="237684"/>
            </a:xfrm>
            <a:custGeom>
              <a:avLst/>
              <a:gdLst>
                <a:gd name="connsiteX0" fmla="*/ 173631 w 173631"/>
                <a:gd name="connsiteY0" fmla="*/ 220990 h 237684"/>
                <a:gd name="connsiteX1" fmla="*/ 130972 w 173631"/>
                <a:gd name="connsiteY1" fmla="*/ 232382 h 237684"/>
                <a:gd name="connsiteX2" fmla="*/ 91597 w 173631"/>
                <a:gd name="connsiteY2" fmla="*/ 237521 h 237684"/>
                <a:gd name="connsiteX3" fmla="*/ 23727 w 173631"/>
                <a:gd name="connsiteY3" fmla="*/ 209931 h 237684"/>
                <a:gd name="connsiteX4" fmla="*/ 0 w 173631"/>
                <a:gd name="connsiteY4" fmla="*/ 115023 h 237684"/>
                <a:gd name="connsiteX5" fmla="*/ 0 w 173631"/>
                <a:gd name="connsiteY5" fmla="*/ 0 h 237684"/>
                <a:gd name="connsiteX6" fmla="*/ 76176 w 173631"/>
                <a:gd name="connsiteY6" fmla="*/ 96953 h 237684"/>
                <a:gd name="connsiteX7" fmla="*/ 76768 w 173631"/>
                <a:gd name="connsiteY7" fmla="*/ 109023 h 237684"/>
                <a:gd name="connsiteX8" fmla="*/ 87734 w 173631"/>
                <a:gd name="connsiteY8" fmla="*/ 154201 h 237684"/>
                <a:gd name="connsiteX9" fmla="*/ 111117 w 173631"/>
                <a:gd name="connsiteY9" fmla="*/ 181514 h 237684"/>
                <a:gd name="connsiteX10" fmla="*/ 148930 w 173631"/>
                <a:gd name="connsiteY10" fmla="*/ 189552 h 237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3631" h="237684">
                  <a:moveTo>
                    <a:pt x="173631" y="220990"/>
                  </a:moveTo>
                  <a:lnTo>
                    <a:pt x="130972" y="232382"/>
                  </a:lnTo>
                  <a:cubicBezTo>
                    <a:pt x="116428" y="235210"/>
                    <a:pt x="103047" y="236831"/>
                    <a:pt x="91597" y="237521"/>
                  </a:cubicBezTo>
                  <a:cubicBezTo>
                    <a:pt x="66215" y="239176"/>
                    <a:pt x="41384" y="228141"/>
                    <a:pt x="23727" y="209931"/>
                  </a:cubicBezTo>
                  <a:cubicBezTo>
                    <a:pt x="4966" y="191722"/>
                    <a:pt x="0" y="160270"/>
                    <a:pt x="0" y="115023"/>
                  </a:cubicBezTo>
                  <a:lnTo>
                    <a:pt x="0" y="0"/>
                  </a:lnTo>
                  <a:lnTo>
                    <a:pt x="76176" y="96953"/>
                  </a:lnTo>
                  <a:lnTo>
                    <a:pt x="76768" y="109023"/>
                  </a:lnTo>
                  <a:cubicBezTo>
                    <a:pt x="79044" y="124404"/>
                    <a:pt x="82768" y="139578"/>
                    <a:pt x="87734" y="154201"/>
                  </a:cubicBezTo>
                  <a:cubicBezTo>
                    <a:pt x="92149" y="166340"/>
                    <a:pt x="100012" y="175445"/>
                    <a:pt x="111117" y="181514"/>
                  </a:cubicBezTo>
                  <a:lnTo>
                    <a:pt x="148930" y="189552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" name="Forme libre : forme 103">
              <a:extLst>
                <a:ext uri="{FF2B5EF4-FFF2-40B4-BE49-F238E27FC236}">
                  <a16:creationId xmlns:a16="http://schemas.microsoft.com/office/drawing/2014/main" id="{99FF5E45-909E-4FF2-B754-B344F6F11F69}"/>
                </a:ext>
              </a:extLst>
            </p:cNvPr>
            <p:cNvSpPr/>
            <p:nvPr/>
          </p:nvSpPr>
          <p:spPr>
            <a:xfrm rot="8716295">
              <a:off x="-11774" y="24443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" name="Forme libre : forme 104">
              <a:extLst>
                <a:ext uri="{FF2B5EF4-FFF2-40B4-BE49-F238E27FC236}">
                  <a16:creationId xmlns:a16="http://schemas.microsoft.com/office/drawing/2014/main" id="{EB79107E-889E-47A5-A1AB-E4F4B49C7BFA}"/>
                </a:ext>
              </a:extLst>
            </p:cNvPr>
            <p:cNvSpPr/>
            <p:nvPr/>
          </p:nvSpPr>
          <p:spPr>
            <a:xfrm rot="8716295">
              <a:off x="-30092" y="143486"/>
              <a:ext cx="77721" cy="97260"/>
            </a:xfrm>
            <a:custGeom>
              <a:avLst/>
              <a:gdLst>
                <a:gd name="connsiteX0" fmla="*/ 15821 w 77721"/>
                <a:gd name="connsiteY0" fmla="*/ 97260 h 97260"/>
                <a:gd name="connsiteX1" fmla="*/ 0 w 77721"/>
                <a:gd name="connsiteY1" fmla="*/ 59790 h 97260"/>
                <a:gd name="connsiteX2" fmla="*/ 0 w 77721"/>
                <a:gd name="connsiteY2" fmla="*/ 58869 h 97260"/>
                <a:gd name="connsiteX3" fmla="*/ 17477 w 77721"/>
                <a:gd name="connsiteY3" fmla="*/ 17477 h 97260"/>
                <a:gd name="connsiteX4" fmla="*/ 58869 w 77721"/>
                <a:gd name="connsiteY4" fmla="*/ 0 h 97260"/>
                <a:gd name="connsiteX5" fmla="*/ 77721 w 77721"/>
                <a:gd name="connsiteY5" fmla="*/ 7960 h 97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721" h="97260">
                  <a:moveTo>
                    <a:pt x="15821" y="97260"/>
                  </a:moveTo>
                  <a:lnTo>
                    <a:pt x="0" y="59790"/>
                  </a:ln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lnTo>
                    <a:pt x="77721" y="796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" name="Forme libre : forme 105">
              <a:extLst>
                <a:ext uri="{FF2B5EF4-FFF2-40B4-BE49-F238E27FC236}">
                  <a16:creationId xmlns:a16="http://schemas.microsoft.com/office/drawing/2014/main" id="{D8EC7674-F8C4-4C98-B223-FB48E7028D2B}"/>
                </a:ext>
              </a:extLst>
            </p:cNvPr>
            <p:cNvSpPr/>
            <p:nvPr/>
          </p:nvSpPr>
          <p:spPr>
            <a:xfrm rot="8716295">
              <a:off x="-17797" y="3452694"/>
              <a:ext cx="58455" cy="44199"/>
            </a:xfrm>
            <a:custGeom>
              <a:avLst/>
              <a:gdLst>
                <a:gd name="connsiteX0" fmla="*/ 0 w 58455"/>
                <a:gd name="connsiteY0" fmla="*/ 44199 h 44199"/>
                <a:gd name="connsiteX1" fmla="*/ 0 w 58455"/>
                <a:gd name="connsiteY1" fmla="*/ 0 h 44199"/>
                <a:gd name="connsiteX2" fmla="*/ 58455 w 58455"/>
                <a:gd name="connsiteY2" fmla="*/ 0 h 44199"/>
                <a:gd name="connsiteX3" fmla="*/ 27817 w 58455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55" h="44199">
                  <a:moveTo>
                    <a:pt x="0" y="44199"/>
                  </a:moveTo>
                  <a:lnTo>
                    <a:pt x="0" y="0"/>
                  </a:lnTo>
                  <a:lnTo>
                    <a:pt x="58455" y="0"/>
                  </a:lnTo>
                  <a:lnTo>
                    <a:pt x="27817" y="44199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" name="Forme libre : forme 106">
              <a:extLst>
                <a:ext uri="{FF2B5EF4-FFF2-40B4-BE49-F238E27FC236}">
                  <a16:creationId xmlns:a16="http://schemas.microsoft.com/office/drawing/2014/main" id="{4367C4D5-414D-49AB-A590-D84D23E38E78}"/>
                </a:ext>
              </a:extLst>
            </p:cNvPr>
            <p:cNvSpPr/>
            <p:nvPr/>
          </p:nvSpPr>
          <p:spPr>
            <a:xfrm rot="13089394">
              <a:off x="-91485" y="3601812"/>
              <a:ext cx="206527" cy="292654"/>
            </a:xfrm>
            <a:custGeom>
              <a:avLst/>
              <a:gdLst>
                <a:gd name="connsiteX0" fmla="*/ 206527 w 206527"/>
                <a:gd name="connsiteY0" fmla="*/ 258693 h 292654"/>
                <a:gd name="connsiteX1" fmla="*/ 177331 w 206527"/>
                <a:gd name="connsiteY1" fmla="*/ 274971 h 292654"/>
                <a:gd name="connsiteX2" fmla="*/ 91597 w 206527"/>
                <a:gd name="connsiteY2" fmla="*/ 292491 h 292654"/>
                <a:gd name="connsiteX3" fmla="*/ 23727 w 206527"/>
                <a:gd name="connsiteY3" fmla="*/ 264901 h 292654"/>
                <a:gd name="connsiteX4" fmla="*/ 0 w 206527"/>
                <a:gd name="connsiteY4" fmla="*/ 169993 h 292654"/>
                <a:gd name="connsiteX5" fmla="*/ 0 w 206527"/>
                <a:gd name="connsiteY5" fmla="*/ 1698 h 292654"/>
                <a:gd name="connsiteX6" fmla="*/ 3273 w 206527"/>
                <a:gd name="connsiteY6" fmla="*/ 0 h 292654"/>
                <a:gd name="connsiteX7" fmla="*/ 74297 w 206527"/>
                <a:gd name="connsiteY7" fmla="*/ 90396 h 292654"/>
                <a:gd name="connsiteX8" fmla="*/ 74492 w 206527"/>
                <a:gd name="connsiteY8" fmla="*/ 117574 h 292654"/>
                <a:gd name="connsiteX9" fmla="*/ 87734 w 206527"/>
                <a:gd name="connsiteY9" fmla="*/ 209171 h 292654"/>
                <a:gd name="connsiteX10" fmla="*/ 153949 w 206527"/>
                <a:gd name="connsiteY10" fmla="*/ 245589 h 292654"/>
                <a:gd name="connsiteX11" fmla="*/ 191049 w 206527"/>
                <a:gd name="connsiteY11" fmla="*/ 238993 h 292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527" h="292654">
                  <a:moveTo>
                    <a:pt x="206527" y="258693"/>
                  </a:moveTo>
                  <a:lnTo>
                    <a:pt x="177331" y="274971"/>
                  </a:lnTo>
                  <a:cubicBezTo>
                    <a:pt x="145121" y="286007"/>
                    <a:pt x="114496" y="291111"/>
                    <a:pt x="91597" y="292491"/>
                  </a:cubicBezTo>
                  <a:cubicBezTo>
                    <a:pt x="66215" y="294146"/>
                    <a:pt x="41385" y="283111"/>
                    <a:pt x="23727" y="264901"/>
                  </a:cubicBezTo>
                  <a:cubicBezTo>
                    <a:pt x="4966" y="246692"/>
                    <a:pt x="0" y="215240"/>
                    <a:pt x="0" y="169993"/>
                  </a:cubicBezTo>
                  <a:lnTo>
                    <a:pt x="0" y="1698"/>
                  </a:lnTo>
                  <a:lnTo>
                    <a:pt x="3273" y="0"/>
                  </a:lnTo>
                  <a:lnTo>
                    <a:pt x="74297" y="90396"/>
                  </a:lnTo>
                  <a:lnTo>
                    <a:pt x="74492" y="117574"/>
                  </a:lnTo>
                  <a:cubicBezTo>
                    <a:pt x="72836" y="148474"/>
                    <a:pt x="77802" y="179926"/>
                    <a:pt x="87734" y="209171"/>
                  </a:cubicBezTo>
                  <a:cubicBezTo>
                    <a:pt x="96564" y="233450"/>
                    <a:pt x="119187" y="245589"/>
                    <a:pt x="153949" y="245589"/>
                  </a:cubicBezTo>
                  <a:lnTo>
                    <a:pt x="191049" y="23899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" name="Forme libre : forme 107">
              <a:extLst>
                <a:ext uri="{FF2B5EF4-FFF2-40B4-BE49-F238E27FC236}">
                  <a16:creationId xmlns:a16="http://schemas.microsoft.com/office/drawing/2014/main" id="{C0F2930B-1B76-4127-88A5-3C45B984D36E}"/>
                </a:ext>
              </a:extLst>
            </p:cNvPr>
            <p:cNvSpPr/>
            <p:nvPr/>
          </p:nvSpPr>
          <p:spPr>
            <a:xfrm rot="8716295">
              <a:off x="24761" y="33896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" name="Forme libre : forme 108">
              <a:extLst>
                <a:ext uri="{FF2B5EF4-FFF2-40B4-BE49-F238E27FC236}">
                  <a16:creationId xmlns:a16="http://schemas.microsoft.com/office/drawing/2014/main" id="{5D516E03-78DF-4FFF-8FB2-A397635DD48F}"/>
                </a:ext>
              </a:extLst>
            </p:cNvPr>
            <p:cNvSpPr/>
            <p:nvPr/>
          </p:nvSpPr>
          <p:spPr>
            <a:xfrm rot="8716295">
              <a:off x="-24047" y="3281741"/>
              <a:ext cx="106042" cy="113733"/>
            </a:xfrm>
            <a:custGeom>
              <a:avLst/>
              <a:gdLst>
                <a:gd name="connsiteX0" fmla="*/ 17477 w 106042"/>
                <a:gd name="connsiteY0" fmla="*/ 101182 h 113733"/>
                <a:gd name="connsiteX1" fmla="*/ 0 w 106042"/>
                <a:gd name="connsiteY1" fmla="*/ 59790 h 113733"/>
                <a:gd name="connsiteX2" fmla="*/ 0 w 106042"/>
                <a:gd name="connsiteY2" fmla="*/ 58869 h 113733"/>
                <a:gd name="connsiteX3" fmla="*/ 17477 w 106042"/>
                <a:gd name="connsiteY3" fmla="*/ 17477 h 113733"/>
                <a:gd name="connsiteX4" fmla="*/ 58869 w 106042"/>
                <a:gd name="connsiteY4" fmla="*/ 0 h 113733"/>
                <a:gd name="connsiteX5" fmla="*/ 100262 w 106042"/>
                <a:gd name="connsiteY5" fmla="*/ 17477 h 113733"/>
                <a:gd name="connsiteX6" fmla="*/ 106042 w 106042"/>
                <a:gd name="connsiteY6" fmla="*/ 31234 h 113733"/>
                <a:gd name="connsiteX7" fmla="*/ 48856 w 106042"/>
                <a:gd name="connsiteY7" fmla="*/ 113733 h 11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042" h="113733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cubicBezTo>
                    <a:pt x="74507" y="0"/>
                    <a:pt x="89224" y="6439"/>
                    <a:pt x="100262" y="17477"/>
                  </a:cubicBezTo>
                  <a:lnTo>
                    <a:pt x="106042" y="31234"/>
                  </a:lnTo>
                  <a:lnTo>
                    <a:pt x="48856" y="11373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" name="Forme libre : forme 109">
              <a:extLst>
                <a:ext uri="{FF2B5EF4-FFF2-40B4-BE49-F238E27FC236}">
                  <a16:creationId xmlns:a16="http://schemas.microsoft.com/office/drawing/2014/main" id="{4709179C-E348-4A89-8150-2CCBA6DE45C5}"/>
                </a:ext>
              </a:extLst>
            </p:cNvPr>
            <p:cNvSpPr/>
            <p:nvPr/>
          </p:nvSpPr>
          <p:spPr>
            <a:xfrm rot="8716295">
              <a:off x="-21924" y="3179872"/>
              <a:ext cx="45776" cy="62656"/>
            </a:xfrm>
            <a:custGeom>
              <a:avLst/>
              <a:gdLst>
                <a:gd name="connsiteX0" fmla="*/ 2345 w 45776"/>
                <a:gd name="connsiteY0" fmla="*/ 62656 h 62656"/>
                <a:gd name="connsiteX1" fmla="*/ 0 w 45776"/>
                <a:gd name="connsiteY1" fmla="*/ 57104 h 62656"/>
                <a:gd name="connsiteX2" fmla="*/ 0 w 45776"/>
                <a:gd name="connsiteY2" fmla="*/ 56183 h 62656"/>
                <a:gd name="connsiteX3" fmla="*/ 17477 w 45776"/>
                <a:gd name="connsiteY3" fmla="*/ 14791 h 62656"/>
                <a:gd name="connsiteX4" fmla="*/ 36449 w 45776"/>
                <a:gd name="connsiteY4" fmla="*/ 1913 h 62656"/>
                <a:gd name="connsiteX5" fmla="*/ 45776 w 45776"/>
                <a:gd name="connsiteY5" fmla="*/ 0 h 62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776" h="62656">
                  <a:moveTo>
                    <a:pt x="2345" y="62656"/>
                  </a:moveTo>
                  <a:lnTo>
                    <a:pt x="0" y="57104"/>
                  </a:lnTo>
                  <a:lnTo>
                    <a:pt x="0" y="56183"/>
                  </a:lnTo>
                  <a:cubicBezTo>
                    <a:pt x="0" y="40547"/>
                    <a:pt x="6439" y="25829"/>
                    <a:pt x="17477" y="14791"/>
                  </a:cubicBezTo>
                  <a:cubicBezTo>
                    <a:pt x="22996" y="9272"/>
                    <a:pt x="29435" y="4903"/>
                    <a:pt x="36449" y="1913"/>
                  </a:cubicBezTo>
                  <a:lnTo>
                    <a:pt x="45776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" name="Forme libre : forme 110">
              <a:extLst>
                <a:ext uri="{FF2B5EF4-FFF2-40B4-BE49-F238E27FC236}">
                  <a16:creationId xmlns:a16="http://schemas.microsoft.com/office/drawing/2014/main" id="{E216B864-0116-44B5-A0E9-8D6C9FB4451C}"/>
                </a:ext>
              </a:extLst>
            </p:cNvPr>
            <p:cNvSpPr/>
            <p:nvPr/>
          </p:nvSpPr>
          <p:spPr>
            <a:xfrm rot="8716295">
              <a:off x="-21324" y="4100649"/>
              <a:ext cx="79113" cy="50123"/>
            </a:xfrm>
            <a:custGeom>
              <a:avLst/>
              <a:gdLst>
                <a:gd name="connsiteX0" fmla="*/ 0 w 79113"/>
                <a:gd name="connsiteY0" fmla="*/ 50123 h 50123"/>
                <a:gd name="connsiteX1" fmla="*/ 0 w 79113"/>
                <a:gd name="connsiteY1" fmla="*/ 0 h 50123"/>
                <a:gd name="connsiteX2" fmla="*/ 79113 w 79113"/>
                <a:gd name="connsiteY2" fmla="*/ 0 h 50123"/>
                <a:gd name="connsiteX3" fmla="*/ 44369 w 79113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113" h="50123">
                  <a:moveTo>
                    <a:pt x="0" y="50123"/>
                  </a:moveTo>
                  <a:lnTo>
                    <a:pt x="0" y="0"/>
                  </a:lnTo>
                  <a:lnTo>
                    <a:pt x="79113" y="0"/>
                  </a:lnTo>
                  <a:lnTo>
                    <a:pt x="44369" y="5012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" name="Forme libre : forme 111">
              <a:extLst>
                <a:ext uri="{FF2B5EF4-FFF2-40B4-BE49-F238E27FC236}">
                  <a16:creationId xmlns:a16="http://schemas.microsoft.com/office/drawing/2014/main" id="{E81DDFAA-1A06-4A18-8287-C68132D6876A}"/>
                </a:ext>
              </a:extLst>
            </p:cNvPr>
            <p:cNvSpPr/>
            <p:nvPr/>
          </p:nvSpPr>
          <p:spPr>
            <a:xfrm rot="8716295">
              <a:off x="-40457" y="398156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" name="Forme libre : forme 112">
              <a:extLst>
                <a:ext uri="{FF2B5EF4-FFF2-40B4-BE49-F238E27FC236}">
                  <a16:creationId xmlns:a16="http://schemas.microsoft.com/office/drawing/2014/main" id="{1D567C73-1317-457C-BAF4-E866C8E84479}"/>
                </a:ext>
              </a:extLst>
            </p:cNvPr>
            <p:cNvSpPr/>
            <p:nvPr/>
          </p:nvSpPr>
          <p:spPr>
            <a:xfrm rot="7484129">
              <a:off x="-46974" y="427316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" name="Forme libre : forme 113">
              <a:extLst>
                <a:ext uri="{FF2B5EF4-FFF2-40B4-BE49-F238E27FC236}">
                  <a16:creationId xmlns:a16="http://schemas.microsoft.com/office/drawing/2014/main" id="{4B07308E-D0A0-4D3E-9DEB-C235BB5B8299}"/>
                </a:ext>
              </a:extLst>
            </p:cNvPr>
            <p:cNvSpPr/>
            <p:nvPr/>
          </p:nvSpPr>
          <p:spPr>
            <a:xfrm rot="13089394">
              <a:off x="57846" y="423970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" name="Forme libre : forme 114">
              <a:extLst>
                <a:ext uri="{FF2B5EF4-FFF2-40B4-BE49-F238E27FC236}">
                  <a16:creationId xmlns:a16="http://schemas.microsoft.com/office/drawing/2014/main" id="{B3D02E0E-617A-4DDE-855C-BECF0834C305}"/>
                </a:ext>
              </a:extLst>
            </p:cNvPr>
            <p:cNvSpPr/>
            <p:nvPr/>
          </p:nvSpPr>
          <p:spPr>
            <a:xfrm rot="8716295">
              <a:off x="243431" y="404801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" name="Forme libre : forme 115">
              <a:extLst>
                <a:ext uri="{FF2B5EF4-FFF2-40B4-BE49-F238E27FC236}">
                  <a16:creationId xmlns:a16="http://schemas.microsoft.com/office/drawing/2014/main" id="{FCFFBDC4-0942-4E6E-9EF4-22477617D5C9}"/>
                </a:ext>
              </a:extLst>
            </p:cNvPr>
            <p:cNvSpPr/>
            <p:nvPr/>
          </p:nvSpPr>
          <p:spPr>
            <a:xfrm rot="8716295">
              <a:off x="191626" y="39444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" name="Forme libre : forme 116">
              <a:extLst>
                <a:ext uri="{FF2B5EF4-FFF2-40B4-BE49-F238E27FC236}">
                  <a16:creationId xmlns:a16="http://schemas.microsoft.com/office/drawing/2014/main" id="{6779D405-E211-4D4D-B286-FEED219E73DF}"/>
                </a:ext>
              </a:extLst>
            </p:cNvPr>
            <p:cNvSpPr/>
            <p:nvPr/>
          </p:nvSpPr>
          <p:spPr>
            <a:xfrm rot="8716295">
              <a:off x="125832" y="381540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" name="Forme libre : forme 117">
              <a:extLst>
                <a:ext uri="{FF2B5EF4-FFF2-40B4-BE49-F238E27FC236}">
                  <a16:creationId xmlns:a16="http://schemas.microsoft.com/office/drawing/2014/main" id="{1B98413D-C7CC-484D-AF71-C6706295A09F}"/>
                </a:ext>
              </a:extLst>
            </p:cNvPr>
            <p:cNvSpPr/>
            <p:nvPr/>
          </p:nvSpPr>
          <p:spPr>
            <a:xfrm rot="8716295">
              <a:off x="-73048" y="4876828"/>
              <a:ext cx="221382" cy="253349"/>
            </a:xfrm>
            <a:custGeom>
              <a:avLst/>
              <a:gdLst>
                <a:gd name="connsiteX0" fmla="*/ 51490 w 221382"/>
                <a:gd name="connsiteY0" fmla="*/ 253349 h 253349"/>
                <a:gd name="connsiteX1" fmla="*/ 51490 w 221382"/>
                <a:gd name="connsiteY1" fmla="*/ 44199 h 253349"/>
                <a:gd name="connsiteX2" fmla="*/ 0 w 221382"/>
                <a:gd name="connsiteY2" fmla="*/ 44199 h 253349"/>
                <a:gd name="connsiteX3" fmla="*/ 0 w 221382"/>
                <a:gd name="connsiteY3" fmla="*/ 0 h 253349"/>
                <a:gd name="connsiteX4" fmla="*/ 104803 w 221382"/>
                <a:gd name="connsiteY4" fmla="*/ 0 h 253349"/>
                <a:gd name="connsiteX5" fmla="*/ 104802 w 221382"/>
                <a:gd name="connsiteY5" fmla="*/ 73817 h 253349"/>
                <a:gd name="connsiteX6" fmla="*/ 106169 w 221382"/>
                <a:gd name="connsiteY6" fmla="*/ 73817 h 253349"/>
                <a:gd name="connsiteX7" fmla="*/ 154014 w 221382"/>
                <a:gd name="connsiteY7" fmla="*/ 4556 h 253349"/>
                <a:gd name="connsiteX8" fmla="*/ 174650 w 221382"/>
                <a:gd name="connsiteY8" fmla="*/ 668 h 253349"/>
                <a:gd name="connsiteX9" fmla="*/ 214075 w 221382"/>
                <a:gd name="connsiteY9" fmla="*/ 27996 h 253349"/>
                <a:gd name="connsiteX10" fmla="*/ 221382 w 221382"/>
                <a:gd name="connsiteY10" fmla="*/ 33060 h 253349"/>
                <a:gd name="connsiteX11" fmla="*/ 195540 w 221382"/>
                <a:gd name="connsiteY11" fmla="*/ 70341 h 253349"/>
                <a:gd name="connsiteX12" fmla="*/ 189157 w 221382"/>
                <a:gd name="connsiteY12" fmla="*/ 50236 h 253349"/>
                <a:gd name="connsiteX13" fmla="*/ 164950 w 221382"/>
                <a:gd name="connsiteY13" fmla="*/ 38731 h 253349"/>
                <a:gd name="connsiteX14" fmla="*/ 111638 w 221382"/>
                <a:gd name="connsiteY14" fmla="*/ 126218 h 253349"/>
                <a:gd name="connsiteX15" fmla="*/ 111638 w 221382"/>
                <a:gd name="connsiteY15" fmla="*/ 191383 h 253349"/>
                <a:gd name="connsiteX16" fmla="*/ 84096 w 221382"/>
                <a:gd name="connsiteY16" fmla="*/ 231117 h 253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1382" h="253349">
                  <a:moveTo>
                    <a:pt x="51490" y="253349"/>
                  </a:moveTo>
                  <a:lnTo>
                    <a:pt x="51490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104803" y="0"/>
                  </a:lnTo>
                  <a:lnTo>
                    <a:pt x="104802" y="73817"/>
                  </a:lnTo>
                  <a:lnTo>
                    <a:pt x="106169" y="73817"/>
                  </a:lnTo>
                  <a:cubicBezTo>
                    <a:pt x="120751" y="30529"/>
                    <a:pt x="132142" y="13670"/>
                    <a:pt x="154014" y="4556"/>
                  </a:cubicBezTo>
                  <a:lnTo>
                    <a:pt x="174650" y="668"/>
                  </a:lnTo>
                  <a:lnTo>
                    <a:pt x="214075" y="27996"/>
                  </a:lnTo>
                  <a:lnTo>
                    <a:pt x="221382" y="33060"/>
                  </a:lnTo>
                  <a:lnTo>
                    <a:pt x="195540" y="70341"/>
                  </a:lnTo>
                  <a:lnTo>
                    <a:pt x="189157" y="50236"/>
                  </a:lnTo>
                  <a:cubicBezTo>
                    <a:pt x="183177" y="42946"/>
                    <a:pt x="174747" y="38731"/>
                    <a:pt x="164950" y="38731"/>
                  </a:cubicBezTo>
                  <a:cubicBezTo>
                    <a:pt x="135788" y="38731"/>
                    <a:pt x="111638" y="77463"/>
                    <a:pt x="111638" y="126218"/>
                  </a:cubicBezTo>
                  <a:lnTo>
                    <a:pt x="111638" y="191383"/>
                  </a:lnTo>
                  <a:lnTo>
                    <a:pt x="84096" y="231117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" name="Forme libre : forme 118">
              <a:extLst>
                <a:ext uri="{FF2B5EF4-FFF2-40B4-BE49-F238E27FC236}">
                  <a16:creationId xmlns:a16="http://schemas.microsoft.com/office/drawing/2014/main" id="{6176F84A-9766-45D5-91E9-4847B60A5CD4}"/>
                </a:ext>
              </a:extLst>
            </p:cNvPr>
            <p:cNvSpPr/>
            <p:nvPr/>
          </p:nvSpPr>
          <p:spPr>
            <a:xfrm rot="8716295">
              <a:off x="93318" y="46120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" name="Forme libre : forme 119">
              <a:extLst>
                <a:ext uri="{FF2B5EF4-FFF2-40B4-BE49-F238E27FC236}">
                  <a16:creationId xmlns:a16="http://schemas.microsoft.com/office/drawing/2014/main" id="{3DA54937-5DEF-4122-B904-83A03268CA89}"/>
                </a:ext>
              </a:extLst>
            </p:cNvPr>
            <p:cNvSpPr/>
            <p:nvPr/>
          </p:nvSpPr>
          <p:spPr>
            <a:xfrm rot="8716295">
              <a:off x="182710" y="46412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" name="Forme libre : forme 120">
              <a:extLst>
                <a:ext uri="{FF2B5EF4-FFF2-40B4-BE49-F238E27FC236}">
                  <a16:creationId xmlns:a16="http://schemas.microsoft.com/office/drawing/2014/main" id="{24CD3C2A-51CB-4CA4-A2B4-FE03D227C422}"/>
                </a:ext>
              </a:extLst>
            </p:cNvPr>
            <p:cNvSpPr/>
            <p:nvPr/>
          </p:nvSpPr>
          <p:spPr>
            <a:xfrm rot="8716295">
              <a:off x="-14524" y="4699631"/>
              <a:ext cx="49997" cy="54238"/>
            </a:xfrm>
            <a:custGeom>
              <a:avLst/>
              <a:gdLst>
                <a:gd name="connsiteX0" fmla="*/ 8658 w 49997"/>
                <a:gd name="connsiteY0" fmla="*/ 50123 h 54238"/>
                <a:gd name="connsiteX1" fmla="*/ 0 w 49997"/>
                <a:gd name="connsiteY1" fmla="*/ 29619 h 54238"/>
                <a:gd name="connsiteX2" fmla="*/ 0 w 49997"/>
                <a:gd name="connsiteY2" fmla="*/ 29162 h 54238"/>
                <a:gd name="connsiteX3" fmla="*/ 8658 w 49997"/>
                <a:gd name="connsiteY3" fmla="*/ 8658 h 54238"/>
                <a:gd name="connsiteX4" fmla="*/ 29163 w 49997"/>
                <a:gd name="connsiteY4" fmla="*/ 0 h 54238"/>
                <a:gd name="connsiteX5" fmla="*/ 49668 w 49997"/>
                <a:gd name="connsiteY5" fmla="*/ 8658 h 54238"/>
                <a:gd name="connsiteX6" fmla="*/ 49997 w 49997"/>
                <a:gd name="connsiteY6" fmla="*/ 9441 h 54238"/>
                <a:gd name="connsiteX7" fmla="*/ 18945 w 49997"/>
                <a:gd name="connsiteY7" fmla="*/ 54238 h 54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997" h="54238">
                  <a:moveTo>
                    <a:pt x="8658" y="50123"/>
                  </a:moveTo>
                  <a:cubicBezTo>
                    <a:pt x="3190" y="44655"/>
                    <a:pt x="0" y="37365"/>
                    <a:pt x="0" y="29619"/>
                  </a:cubicBezTo>
                  <a:lnTo>
                    <a:pt x="0" y="29162"/>
                  </a:lnTo>
                  <a:cubicBezTo>
                    <a:pt x="0" y="21417"/>
                    <a:pt x="3190" y="14126"/>
                    <a:pt x="8658" y="8658"/>
                  </a:cubicBezTo>
                  <a:cubicBezTo>
                    <a:pt x="14126" y="3190"/>
                    <a:pt x="21416" y="0"/>
                    <a:pt x="29163" y="0"/>
                  </a:cubicBezTo>
                  <a:cubicBezTo>
                    <a:pt x="36909" y="0"/>
                    <a:pt x="44200" y="3190"/>
                    <a:pt x="49668" y="8658"/>
                  </a:cubicBezTo>
                  <a:lnTo>
                    <a:pt x="49997" y="9441"/>
                  </a:lnTo>
                  <a:lnTo>
                    <a:pt x="18945" y="54238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" name="Forme libre : forme 121">
              <a:extLst>
                <a:ext uri="{FF2B5EF4-FFF2-40B4-BE49-F238E27FC236}">
                  <a16:creationId xmlns:a16="http://schemas.microsoft.com/office/drawing/2014/main" id="{7A46CCF0-E67A-4E1E-9549-23C0DBDB68E2}"/>
                </a:ext>
              </a:extLst>
            </p:cNvPr>
            <p:cNvSpPr/>
            <p:nvPr/>
          </p:nvSpPr>
          <p:spPr>
            <a:xfrm rot="8716295">
              <a:off x="-30327" y="4579755"/>
              <a:ext cx="113346" cy="71024"/>
            </a:xfrm>
            <a:custGeom>
              <a:avLst/>
              <a:gdLst>
                <a:gd name="connsiteX0" fmla="*/ 0 w 113346"/>
                <a:gd name="connsiteY0" fmla="*/ 55323 h 71024"/>
                <a:gd name="connsiteX1" fmla="*/ 0 w 113346"/>
                <a:gd name="connsiteY1" fmla="*/ 0 h 71024"/>
                <a:gd name="connsiteX2" fmla="*/ 113346 w 113346"/>
                <a:gd name="connsiteY2" fmla="*/ 0 h 71024"/>
                <a:gd name="connsiteX3" fmla="*/ 64114 w 113346"/>
                <a:gd name="connsiteY3" fmla="*/ 71024 h 71024"/>
                <a:gd name="connsiteX4" fmla="*/ 69777 w 113346"/>
                <a:gd name="connsiteY4" fmla="*/ 55323 h 7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346" h="71024">
                  <a:moveTo>
                    <a:pt x="0" y="55323"/>
                  </a:moveTo>
                  <a:lnTo>
                    <a:pt x="0" y="0"/>
                  </a:lnTo>
                  <a:lnTo>
                    <a:pt x="113346" y="0"/>
                  </a:lnTo>
                  <a:lnTo>
                    <a:pt x="64114" y="71024"/>
                  </a:lnTo>
                  <a:lnTo>
                    <a:pt x="69777" y="5532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" name="Forme libre : forme 122">
              <a:extLst>
                <a:ext uri="{FF2B5EF4-FFF2-40B4-BE49-F238E27FC236}">
                  <a16:creationId xmlns:a16="http://schemas.microsoft.com/office/drawing/2014/main" id="{01D04BC1-282A-4CFE-BF99-5B57F855BCBC}"/>
                </a:ext>
              </a:extLst>
            </p:cNvPr>
            <p:cNvSpPr/>
            <p:nvPr/>
          </p:nvSpPr>
          <p:spPr>
            <a:xfrm rot="8716295">
              <a:off x="71262" y="47415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" name="Forme libre : forme 123">
              <a:extLst>
                <a:ext uri="{FF2B5EF4-FFF2-40B4-BE49-F238E27FC236}">
                  <a16:creationId xmlns:a16="http://schemas.microsoft.com/office/drawing/2014/main" id="{A04953EA-5C79-45C4-9757-065EFCA47539}"/>
                </a:ext>
              </a:extLst>
            </p:cNvPr>
            <p:cNvSpPr/>
            <p:nvPr/>
          </p:nvSpPr>
          <p:spPr>
            <a:xfrm rot="7484129">
              <a:off x="172059" y="493353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170341 w 203847"/>
                <a:gd name="connsiteY5" fmla="*/ 0 h 195874"/>
                <a:gd name="connsiteX6" fmla="*/ 203847 w 203847"/>
                <a:gd name="connsiteY6" fmla="*/ 48325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170341" y="0"/>
                  </a:lnTo>
                  <a:lnTo>
                    <a:pt x="203847" y="48325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" name="Forme libre : forme 124">
              <a:extLst>
                <a:ext uri="{FF2B5EF4-FFF2-40B4-BE49-F238E27FC236}">
                  <a16:creationId xmlns:a16="http://schemas.microsoft.com/office/drawing/2014/main" id="{49CB50EA-8DFB-4219-A82A-979E56D219DC}"/>
                </a:ext>
              </a:extLst>
            </p:cNvPr>
            <p:cNvSpPr/>
            <p:nvPr/>
          </p:nvSpPr>
          <p:spPr>
            <a:xfrm rot="13089394">
              <a:off x="313551" y="4906246"/>
              <a:ext cx="221827" cy="205098"/>
            </a:xfrm>
            <a:custGeom>
              <a:avLst/>
              <a:gdLst>
                <a:gd name="connsiteX0" fmla="*/ 24153 w 221827"/>
                <a:gd name="connsiteY0" fmla="*/ 55168 h 205098"/>
                <a:gd name="connsiteX1" fmla="*/ 0 w 221827"/>
                <a:gd name="connsiteY1" fmla="*/ 18385 h 205098"/>
                <a:gd name="connsiteX2" fmla="*/ 23400 w 221827"/>
                <a:gd name="connsiteY2" fmla="*/ 0 h 205098"/>
                <a:gd name="connsiteX3" fmla="*/ 23735 w 221827"/>
                <a:gd name="connsiteY3" fmla="*/ 46640 h 205098"/>
                <a:gd name="connsiteX4" fmla="*/ 221827 w 221827"/>
                <a:gd name="connsiteY4" fmla="*/ 150928 h 205098"/>
                <a:gd name="connsiteX5" fmla="*/ 126574 w 221827"/>
                <a:gd name="connsiteY5" fmla="*/ 204038 h 205098"/>
                <a:gd name="connsiteX6" fmla="*/ 122603 w 221827"/>
                <a:gd name="connsiteY6" fmla="*/ 205098 h 205098"/>
                <a:gd name="connsiteX7" fmla="*/ 102519 w 221827"/>
                <a:gd name="connsiteY7" fmla="*/ 174512 h 205098"/>
                <a:gd name="connsiteX8" fmla="*/ 103192 w 221827"/>
                <a:gd name="connsiteY8" fmla="*/ 174655 h 205098"/>
                <a:gd name="connsiteX9" fmla="*/ 152853 w 221827"/>
                <a:gd name="connsiteY9" fmla="*/ 165826 h 205098"/>
                <a:gd name="connsiteX10" fmla="*/ 220723 w 221827"/>
                <a:gd name="connsiteY10" fmla="*/ 138237 h 205098"/>
                <a:gd name="connsiteX11" fmla="*/ 221827 w 221827"/>
                <a:gd name="connsiteY11" fmla="*/ 145410 h 205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1827" h="205098">
                  <a:moveTo>
                    <a:pt x="24153" y="55168"/>
                  </a:moveTo>
                  <a:lnTo>
                    <a:pt x="0" y="18385"/>
                  </a:lnTo>
                  <a:lnTo>
                    <a:pt x="23400" y="0"/>
                  </a:lnTo>
                  <a:lnTo>
                    <a:pt x="23735" y="46640"/>
                  </a:lnTo>
                  <a:close/>
                  <a:moveTo>
                    <a:pt x="221827" y="150928"/>
                  </a:moveTo>
                  <a:cubicBezTo>
                    <a:pt x="192582" y="176035"/>
                    <a:pt x="158785" y="193002"/>
                    <a:pt x="126574" y="204038"/>
                  </a:cubicBezTo>
                  <a:lnTo>
                    <a:pt x="122603" y="205098"/>
                  </a:lnTo>
                  <a:lnTo>
                    <a:pt x="102519" y="174512"/>
                  </a:lnTo>
                  <a:lnTo>
                    <a:pt x="103192" y="174655"/>
                  </a:lnTo>
                  <a:cubicBezTo>
                    <a:pt x="120298" y="174103"/>
                    <a:pt x="136851" y="170792"/>
                    <a:pt x="152853" y="165826"/>
                  </a:cubicBezTo>
                  <a:cubicBezTo>
                    <a:pt x="176028" y="158653"/>
                    <a:pt x="198652" y="149273"/>
                    <a:pt x="220723" y="138237"/>
                  </a:cubicBezTo>
                  <a:cubicBezTo>
                    <a:pt x="221275" y="140444"/>
                    <a:pt x="221827" y="143203"/>
                    <a:pt x="221827" y="14541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" name="Forme libre : forme 125">
              <a:extLst>
                <a:ext uri="{FF2B5EF4-FFF2-40B4-BE49-F238E27FC236}">
                  <a16:creationId xmlns:a16="http://schemas.microsoft.com/office/drawing/2014/main" id="{5146513B-5632-4832-9AF5-1E4051EECD28}"/>
                </a:ext>
              </a:extLst>
            </p:cNvPr>
            <p:cNvSpPr/>
            <p:nvPr/>
          </p:nvSpPr>
          <p:spPr>
            <a:xfrm rot="8716295">
              <a:off x="406370" y="4600606"/>
              <a:ext cx="113655" cy="117117"/>
            </a:xfrm>
            <a:custGeom>
              <a:avLst/>
              <a:gdLst>
                <a:gd name="connsiteX0" fmla="*/ 13623 w 113655"/>
                <a:gd name="connsiteY0" fmla="*/ 100559 h 117117"/>
                <a:gd name="connsiteX1" fmla="*/ 0 w 113655"/>
                <a:gd name="connsiteY1" fmla="*/ 68296 h 117117"/>
                <a:gd name="connsiteX2" fmla="*/ 56488 w 113655"/>
                <a:gd name="connsiteY2" fmla="*/ 0 h 117117"/>
                <a:gd name="connsiteX3" fmla="*/ 96408 w 113655"/>
                <a:gd name="connsiteY3" fmla="*/ 16856 h 117117"/>
                <a:gd name="connsiteX4" fmla="*/ 96408 w 113655"/>
                <a:gd name="connsiteY4" fmla="*/ 99640 h 117117"/>
                <a:gd name="connsiteX5" fmla="*/ 55015 w 113655"/>
                <a:gd name="connsiteY5" fmla="*/ 117117 h 117117"/>
                <a:gd name="connsiteX6" fmla="*/ 13623 w 113655"/>
                <a:gd name="connsiteY6" fmla="*/ 100559 h 117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655" h="117117">
                  <a:moveTo>
                    <a:pt x="13623" y="100559"/>
                  </a:moveTo>
                  <a:lnTo>
                    <a:pt x="0" y="68296"/>
                  </a:lnTo>
                  <a:lnTo>
                    <a:pt x="56488" y="0"/>
                  </a:lnTo>
                  <a:lnTo>
                    <a:pt x="96408" y="16856"/>
                  </a:lnTo>
                  <a:cubicBezTo>
                    <a:pt x="119404" y="38931"/>
                    <a:pt x="119404" y="76644"/>
                    <a:pt x="96408" y="99640"/>
                  </a:cubicBezTo>
                  <a:cubicBezTo>
                    <a:pt x="85370" y="110678"/>
                    <a:pt x="70653" y="117116"/>
                    <a:pt x="55015" y="117117"/>
                  </a:cubicBezTo>
                  <a:cubicBezTo>
                    <a:pt x="39378" y="117117"/>
                    <a:pt x="24661" y="111597"/>
                    <a:pt x="13623" y="100559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" name="Forme libre : forme 126">
              <a:extLst>
                <a:ext uri="{FF2B5EF4-FFF2-40B4-BE49-F238E27FC236}">
                  <a16:creationId xmlns:a16="http://schemas.microsoft.com/office/drawing/2014/main" id="{FE3150CC-51A0-4255-BE10-7C4DD2D82ED1}"/>
                </a:ext>
              </a:extLst>
            </p:cNvPr>
            <p:cNvSpPr/>
            <p:nvPr/>
          </p:nvSpPr>
          <p:spPr>
            <a:xfrm rot="8716295">
              <a:off x="171547" y="46343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" name="Forme libre : forme 127">
              <a:extLst>
                <a:ext uri="{FF2B5EF4-FFF2-40B4-BE49-F238E27FC236}">
                  <a16:creationId xmlns:a16="http://schemas.microsoft.com/office/drawing/2014/main" id="{3071C62B-77D8-4A0E-86A6-83549F6B4AD6}"/>
                </a:ext>
              </a:extLst>
            </p:cNvPr>
            <p:cNvSpPr/>
            <p:nvPr/>
          </p:nvSpPr>
          <p:spPr>
            <a:xfrm rot="8716295">
              <a:off x="348999" y="44751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137" name="Rectangle 136">
            <a:extLst>
              <a:ext uri="{FF2B5EF4-FFF2-40B4-BE49-F238E27FC236}">
                <a16:creationId xmlns:a16="http://schemas.microsoft.com/office/drawing/2014/main" id="{BED9834D-49E7-4AFD-BEE4-8AB20B969F92}"/>
              </a:ext>
            </a:extLst>
          </p:cNvPr>
          <p:cNvSpPr/>
          <p:nvPr/>
        </p:nvSpPr>
        <p:spPr>
          <a:xfrm>
            <a:off x="1675026" y="884098"/>
            <a:ext cx="360000" cy="457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29" name="Espace réservé du numéro de diapositive 128">
            <a:extLst>
              <a:ext uri="{FF2B5EF4-FFF2-40B4-BE49-F238E27FC236}">
                <a16:creationId xmlns:a16="http://schemas.microsoft.com/office/drawing/2014/main" id="{DC511B95-0CDE-42B1-A913-D72AAC6127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9681" y="3148262"/>
            <a:ext cx="444626" cy="1995238"/>
          </a:xfrm>
          <a:custGeom>
            <a:avLst/>
            <a:gdLst>
              <a:gd name="connsiteX0" fmla="*/ 169868 w 444626"/>
              <a:gd name="connsiteY0" fmla="*/ 0 h 1995238"/>
              <a:gd name="connsiteX1" fmla="*/ 444626 w 444626"/>
              <a:gd name="connsiteY1" fmla="*/ 1995238 h 1995238"/>
              <a:gd name="connsiteX2" fmla="*/ 0 w 444626"/>
              <a:gd name="connsiteY2" fmla="*/ 1995238 h 1995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4626" h="1995238">
                <a:moveTo>
                  <a:pt x="169868" y="0"/>
                </a:moveTo>
                <a:lnTo>
                  <a:pt x="444626" y="1995238"/>
                </a:lnTo>
                <a:lnTo>
                  <a:pt x="0" y="199523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180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715486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e 4">
            <a:extLst>
              <a:ext uri="{FF2B5EF4-FFF2-40B4-BE49-F238E27FC236}">
                <a16:creationId xmlns:a16="http://schemas.microsoft.com/office/drawing/2014/main" id="{DDCE9304-D911-423A-A19F-03B0F7F07569}"/>
              </a:ext>
            </a:extLst>
          </p:cNvPr>
          <p:cNvGrpSpPr/>
          <p:nvPr userDrawn="1"/>
        </p:nvGrpSpPr>
        <p:grpSpPr>
          <a:xfrm>
            <a:off x="-91485" y="-57106"/>
            <a:ext cx="1008300" cy="5190499"/>
            <a:chOff x="-91485" y="-57106"/>
            <a:chExt cx="1008300" cy="5190499"/>
          </a:xfrm>
          <a:solidFill>
            <a:schemeClr val="bg2">
              <a:alpha val="5000"/>
            </a:schemeClr>
          </a:solidFill>
        </p:grpSpPr>
        <p:sp>
          <p:nvSpPr>
            <p:cNvPr id="6" name="Forme libre : forme 5">
              <a:extLst>
                <a:ext uri="{FF2B5EF4-FFF2-40B4-BE49-F238E27FC236}">
                  <a16:creationId xmlns:a16="http://schemas.microsoft.com/office/drawing/2014/main" id="{8BF43435-37FA-4F29-AABD-F905029537BD}"/>
                </a:ext>
              </a:extLst>
            </p:cNvPr>
            <p:cNvSpPr/>
            <p:nvPr/>
          </p:nvSpPr>
          <p:spPr>
            <a:xfrm rot="8716295">
              <a:off x="617786" y="1780350"/>
              <a:ext cx="152726" cy="195873"/>
            </a:xfrm>
            <a:custGeom>
              <a:avLst/>
              <a:gdLst>
                <a:gd name="connsiteX0" fmla="*/ 39589 w 152726"/>
                <a:gd name="connsiteY0" fmla="*/ 195873 h 195873"/>
                <a:gd name="connsiteX1" fmla="*/ 0 w 152726"/>
                <a:gd name="connsiteY1" fmla="*/ 122219 h 195873"/>
                <a:gd name="connsiteX2" fmla="*/ 101089 w 152726"/>
                <a:gd name="connsiteY2" fmla="*/ 0 h 195873"/>
                <a:gd name="connsiteX3" fmla="*/ 152726 w 152726"/>
                <a:gd name="connsiteY3" fmla="*/ 0 h 195873"/>
                <a:gd name="connsiteX4" fmla="*/ 152726 w 152726"/>
                <a:gd name="connsiteY4" fmla="*/ 55323 h 195873"/>
                <a:gd name="connsiteX5" fmla="*/ 87934 w 152726"/>
                <a:gd name="connsiteY5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726" h="195873">
                  <a:moveTo>
                    <a:pt x="39589" y="195873"/>
                  </a:moveTo>
                  <a:lnTo>
                    <a:pt x="0" y="122219"/>
                  </a:lnTo>
                  <a:lnTo>
                    <a:pt x="101089" y="0"/>
                  </a:lnTo>
                  <a:lnTo>
                    <a:pt x="152726" y="0"/>
                  </a:lnTo>
                  <a:lnTo>
                    <a:pt x="152726" y="55323"/>
                  </a:lnTo>
                  <a:lnTo>
                    <a:pt x="87934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" name="Forme libre : forme 6">
              <a:extLst>
                <a:ext uri="{FF2B5EF4-FFF2-40B4-BE49-F238E27FC236}">
                  <a16:creationId xmlns:a16="http://schemas.microsoft.com/office/drawing/2014/main" id="{8B995644-775E-4EEC-A2B1-C17BB27E6FAF}"/>
                </a:ext>
              </a:extLst>
            </p:cNvPr>
            <p:cNvSpPr/>
            <p:nvPr/>
          </p:nvSpPr>
          <p:spPr>
            <a:xfrm rot="8716295">
              <a:off x="534441" y="1654353"/>
              <a:ext cx="262864" cy="103234"/>
            </a:xfrm>
            <a:custGeom>
              <a:avLst/>
              <a:gdLst>
                <a:gd name="connsiteX0" fmla="*/ 0 w 262864"/>
                <a:gd name="connsiteY0" fmla="*/ 75341 h 103234"/>
                <a:gd name="connsiteX1" fmla="*/ 62316 w 262864"/>
                <a:gd name="connsiteY1" fmla="*/ 0 h 103234"/>
                <a:gd name="connsiteX2" fmla="*/ 65768 w 262864"/>
                <a:gd name="connsiteY2" fmla="*/ 14220 h 103234"/>
                <a:gd name="connsiteX3" fmla="*/ 136369 w 262864"/>
                <a:gd name="connsiteY3" fmla="*/ 53051 h 103234"/>
                <a:gd name="connsiteX4" fmla="*/ 189321 w 262864"/>
                <a:gd name="connsiteY4" fmla="*/ 43637 h 103234"/>
                <a:gd name="connsiteX5" fmla="*/ 261688 w 262864"/>
                <a:gd name="connsiteY5" fmla="*/ 14220 h 103234"/>
                <a:gd name="connsiteX6" fmla="*/ 262864 w 262864"/>
                <a:gd name="connsiteY6" fmla="*/ 21868 h 103234"/>
                <a:gd name="connsiteX7" fmla="*/ 262864 w 262864"/>
                <a:gd name="connsiteY7" fmla="*/ 27752 h 103234"/>
                <a:gd name="connsiteX8" fmla="*/ 69887 w 262864"/>
                <a:gd name="connsiteY8" fmla="*/ 103060 h 103234"/>
                <a:gd name="connsiteX9" fmla="*/ 30615 w 262864"/>
                <a:gd name="connsiteY9" fmla="*/ 96294 h 103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2864" h="103234">
                  <a:moveTo>
                    <a:pt x="0" y="75341"/>
                  </a:moveTo>
                  <a:lnTo>
                    <a:pt x="62316" y="0"/>
                  </a:lnTo>
                  <a:lnTo>
                    <a:pt x="65768" y="14220"/>
                  </a:lnTo>
                  <a:cubicBezTo>
                    <a:pt x="75182" y="40107"/>
                    <a:pt x="99304" y="53051"/>
                    <a:pt x="136369" y="53051"/>
                  </a:cubicBezTo>
                  <a:cubicBezTo>
                    <a:pt x="154609" y="52462"/>
                    <a:pt x="172259" y="48932"/>
                    <a:pt x="189321" y="43637"/>
                  </a:cubicBezTo>
                  <a:cubicBezTo>
                    <a:pt x="214031" y="35988"/>
                    <a:pt x="238154" y="25987"/>
                    <a:pt x="261688" y="14220"/>
                  </a:cubicBezTo>
                  <a:cubicBezTo>
                    <a:pt x="262276" y="16573"/>
                    <a:pt x="262864" y="19515"/>
                    <a:pt x="262864" y="21868"/>
                  </a:cubicBezTo>
                  <a:lnTo>
                    <a:pt x="262864" y="27752"/>
                  </a:lnTo>
                  <a:cubicBezTo>
                    <a:pt x="200500" y="81291"/>
                    <a:pt x="118719" y="100119"/>
                    <a:pt x="69887" y="103060"/>
                  </a:cubicBezTo>
                  <a:cubicBezTo>
                    <a:pt x="56355" y="103943"/>
                    <a:pt x="42970" y="101442"/>
                    <a:pt x="30615" y="9629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ECEF6D56-E3A3-4A1A-A07B-637782F55FFB}"/>
                </a:ext>
              </a:extLst>
            </p:cNvPr>
            <p:cNvSpPr/>
            <p:nvPr/>
          </p:nvSpPr>
          <p:spPr>
            <a:xfrm rot="8716295">
              <a:off x="632719" y="1232432"/>
              <a:ext cx="121558" cy="232388"/>
            </a:xfrm>
            <a:custGeom>
              <a:avLst/>
              <a:gdLst>
                <a:gd name="connsiteX0" fmla="*/ 60499 w 121558"/>
                <a:gd name="connsiteY0" fmla="*/ 232388 h 232388"/>
                <a:gd name="connsiteX1" fmla="*/ 60499 w 121558"/>
                <a:gd name="connsiteY1" fmla="*/ 69717 h 232388"/>
                <a:gd name="connsiteX2" fmla="*/ 60499 w 121558"/>
                <a:gd name="connsiteY2" fmla="*/ 65615 h 232388"/>
                <a:gd name="connsiteX3" fmla="*/ 39995 w 121558"/>
                <a:gd name="connsiteY3" fmla="*/ 50123 h 232388"/>
                <a:gd name="connsiteX4" fmla="*/ 0 w 121558"/>
                <a:gd name="connsiteY4" fmla="*/ 50123 h 232388"/>
                <a:gd name="connsiteX5" fmla="*/ 41457 w 121558"/>
                <a:gd name="connsiteY5" fmla="*/ 0 h 232388"/>
                <a:gd name="connsiteX6" fmla="*/ 64601 w 121558"/>
                <a:gd name="connsiteY6" fmla="*/ 0 h 232388"/>
                <a:gd name="connsiteX7" fmla="*/ 121558 w 121558"/>
                <a:gd name="connsiteY7" fmla="*/ 50123 h 232388"/>
                <a:gd name="connsiteX8" fmla="*/ 121558 w 121558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558" h="232388">
                  <a:moveTo>
                    <a:pt x="60499" y="232388"/>
                  </a:moveTo>
                  <a:lnTo>
                    <a:pt x="60499" y="69717"/>
                  </a:lnTo>
                  <a:cubicBezTo>
                    <a:pt x="60499" y="68349"/>
                    <a:pt x="60499" y="66983"/>
                    <a:pt x="60499" y="65615"/>
                  </a:cubicBezTo>
                  <a:cubicBezTo>
                    <a:pt x="59133" y="55591"/>
                    <a:pt x="50019" y="48756"/>
                    <a:pt x="39995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64601" y="0"/>
                  </a:lnTo>
                  <a:cubicBezTo>
                    <a:pt x="101509" y="0"/>
                    <a:pt x="121558" y="15948"/>
                    <a:pt x="121558" y="50123"/>
                  </a:cubicBezTo>
                  <a:lnTo>
                    <a:pt x="121558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C210E3DF-2FB4-4CAE-8361-8A940B0AC92D}"/>
                </a:ext>
              </a:extLst>
            </p:cNvPr>
            <p:cNvSpPr/>
            <p:nvPr/>
          </p:nvSpPr>
          <p:spPr>
            <a:xfrm rot="8716295">
              <a:off x="763454" y="1474783"/>
              <a:ext cx="14143" cy="14319"/>
            </a:xfrm>
            <a:custGeom>
              <a:avLst/>
              <a:gdLst>
                <a:gd name="connsiteX0" fmla="*/ 0 w 14143"/>
                <a:gd name="connsiteY0" fmla="*/ 14319 h 14319"/>
                <a:gd name="connsiteX1" fmla="*/ 11843 w 14143"/>
                <a:gd name="connsiteY1" fmla="*/ 0 h 14319"/>
                <a:gd name="connsiteX2" fmla="*/ 14143 w 14143"/>
                <a:gd name="connsiteY2" fmla="*/ 7563 h 14319"/>
                <a:gd name="connsiteX3" fmla="*/ 14143 w 14143"/>
                <a:gd name="connsiteY3" fmla="*/ 13487 h 1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43" h="14319">
                  <a:moveTo>
                    <a:pt x="0" y="14319"/>
                  </a:moveTo>
                  <a:lnTo>
                    <a:pt x="11843" y="0"/>
                  </a:lnTo>
                  <a:lnTo>
                    <a:pt x="14143" y="7563"/>
                  </a:lnTo>
                  <a:lnTo>
                    <a:pt x="14143" y="1348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F29133E2-23FE-4A05-8C3E-06E82B2EE756}"/>
                </a:ext>
              </a:extLst>
            </p:cNvPr>
            <p:cNvSpPr/>
            <p:nvPr/>
          </p:nvSpPr>
          <p:spPr>
            <a:xfrm rot="8716295">
              <a:off x="672878" y="1171577"/>
              <a:ext cx="183964" cy="137618"/>
            </a:xfrm>
            <a:custGeom>
              <a:avLst/>
              <a:gdLst>
                <a:gd name="connsiteX0" fmla="*/ 0 w 183964"/>
                <a:gd name="connsiteY0" fmla="*/ 137618 h 137618"/>
                <a:gd name="connsiteX1" fmla="*/ 53346 w 183964"/>
                <a:gd name="connsiteY1" fmla="*/ 73121 h 137618"/>
                <a:gd name="connsiteX2" fmla="*/ 101034 w 183964"/>
                <a:gd name="connsiteY2" fmla="*/ 28251 h 137618"/>
                <a:gd name="connsiteX3" fmla="*/ 155713 w 183964"/>
                <a:gd name="connsiteY3" fmla="*/ 0 h 137618"/>
                <a:gd name="connsiteX4" fmla="*/ 183964 w 183964"/>
                <a:gd name="connsiteY4" fmla="*/ 33719 h 137618"/>
                <a:gd name="connsiteX5" fmla="*/ 157536 w 183964"/>
                <a:gd name="connsiteY5" fmla="*/ 69261 h 137618"/>
                <a:gd name="connsiteX6" fmla="*/ 157991 w 183964"/>
                <a:gd name="connsiteY6" fmla="*/ 69261 h 137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3964" h="137618">
                  <a:moveTo>
                    <a:pt x="0" y="137618"/>
                  </a:moveTo>
                  <a:lnTo>
                    <a:pt x="53346" y="73121"/>
                  </a:lnTo>
                  <a:lnTo>
                    <a:pt x="101034" y="28251"/>
                  </a:lnTo>
                  <a:cubicBezTo>
                    <a:pt x="114703" y="12303"/>
                    <a:pt x="134297" y="2278"/>
                    <a:pt x="155713" y="0"/>
                  </a:cubicBezTo>
                  <a:cubicBezTo>
                    <a:pt x="177585" y="0"/>
                    <a:pt x="183964" y="19138"/>
                    <a:pt x="183964" y="33719"/>
                  </a:cubicBezTo>
                  <a:cubicBezTo>
                    <a:pt x="182597" y="49667"/>
                    <a:pt x="172117" y="62881"/>
                    <a:pt x="157536" y="69261"/>
                  </a:cubicBezTo>
                  <a:lnTo>
                    <a:pt x="157991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5E79E2F7-FE77-428C-929F-4D7C8FB066A9}"/>
                </a:ext>
              </a:extLst>
            </p:cNvPr>
            <p:cNvSpPr/>
            <p:nvPr/>
          </p:nvSpPr>
          <p:spPr>
            <a:xfrm rot="8716295">
              <a:off x="519479" y="13148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AC49361A-028A-4CA3-A2A1-A372F544DB33}"/>
                </a:ext>
              </a:extLst>
            </p:cNvPr>
            <p:cNvSpPr/>
            <p:nvPr/>
          </p:nvSpPr>
          <p:spPr>
            <a:xfrm rot="8716295">
              <a:off x="394576" y="11061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CAB08DB6-35D5-40DF-BB68-8D985BEBA2F5}"/>
                </a:ext>
              </a:extLst>
            </p:cNvPr>
            <p:cNvSpPr/>
            <p:nvPr/>
          </p:nvSpPr>
          <p:spPr>
            <a:xfrm rot="8716295">
              <a:off x="382524" y="96739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EF0B79A4-ED29-4509-A025-0FDBC80DDF4D}"/>
                </a:ext>
              </a:extLst>
            </p:cNvPr>
            <p:cNvSpPr/>
            <p:nvPr/>
          </p:nvSpPr>
          <p:spPr>
            <a:xfrm rot="8716295">
              <a:off x="609657" y="135579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8A5B8AD6-0C7B-4FD4-A763-E4D6A3665D82}"/>
                </a:ext>
              </a:extLst>
            </p:cNvPr>
            <p:cNvSpPr/>
            <p:nvPr/>
          </p:nvSpPr>
          <p:spPr>
            <a:xfrm rot="8716295">
              <a:off x="683426" y="869567"/>
              <a:ext cx="156000" cy="195873"/>
            </a:xfrm>
            <a:custGeom>
              <a:avLst/>
              <a:gdLst>
                <a:gd name="connsiteX0" fmla="*/ 42863 w 156000"/>
                <a:gd name="connsiteY0" fmla="*/ 195873 h 195873"/>
                <a:gd name="connsiteX1" fmla="*/ 0 w 156000"/>
                <a:gd name="connsiteY1" fmla="*/ 116129 h 195873"/>
                <a:gd name="connsiteX2" fmla="*/ 5100 w 156000"/>
                <a:gd name="connsiteY2" fmla="*/ 101988 h 195873"/>
                <a:gd name="connsiteX3" fmla="*/ 89456 w 156000"/>
                <a:gd name="connsiteY3" fmla="*/ 0 h 195873"/>
                <a:gd name="connsiteX4" fmla="*/ 156000 w 156000"/>
                <a:gd name="connsiteY4" fmla="*/ 0 h 195873"/>
                <a:gd name="connsiteX5" fmla="*/ 156000 w 156000"/>
                <a:gd name="connsiteY5" fmla="*/ 55323 h 195873"/>
                <a:gd name="connsiteX6" fmla="*/ 91208 w 156000"/>
                <a:gd name="connsiteY6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000" h="195873">
                  <a:moveTo>
                    <a:pt x="42863" y="195873"/>
                  </a:moveTo>
                  <a:lnTo>
                    <a:pt x="0" y="116129"/>
                  </a:lnTo>
                  <a:lnTo>
                    <a:pt x="5100" y="101988"/>
                  </a:lnTo>
                  <a:lnTo>
                    <a:pt x="89456" y="0"/>
                  </a:lnTo>
                  <a:lnTo>
                    <a:pt x="156000" y="0"/>
                  </a:lnTo>
                  <a:lnTo>
                    <a:pt x="156000" y="55323"/>
                  </a:lnTo>
                  <a:lnTo>
                    <a:pt x="91208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7DFCEA7D-F372-4371-803B-1BDFB976A5FE}"/>
                </a:ext>
              </a:extLst>
            </p:cNvPr>
            <p:cNvSpPr/>
            <p:nvPr/>
          </p:nvSpPr>
          <p:spPr>
            <a:xfrm rot="8716295">
              <a:off x="657305" y="95604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813AE7E0-5367-40AE-8648-A812F3FCEFB0}"/>
                </a:ext>
              </a:extLst>
            </p:cNvPr>
            <p:cNvSpPr/>
            <p:nvPr/>
          </p:nvSpPr>
          <p:spPr>
            <a:xfrm rot="8716295">
              <a:off x="412774" y="56424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4F0C8F89-3692-4CD2-AB49-0CA987B88CD5}"/>
                </a:ext>
              </a:extLst>
            </p:cNvPr>
            <p:cNvSpPr/>
            <p:nvPr/>
          </p:nvSpPr>
          <p:spPr>
            <a:xfrm rot="8716295">
              <a:off x="502166" y="59348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284418CA-40AC-4E29-8D1E-8E40819DE436}"/>
                </a:ext>
              </a:extLst>
            </p:cNvPr>
            <p:cNvSpPr/>
            <p:nvPr/>
          </p:nvSpPr>
          <p:spPr>
            <a:xfrm rot="8716295">
              <a:off x="457316" y="50720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19514F15-38A0-4598-8B03-DA5265616C1F}"/>
                </a:ext>
              </a:extLst>
            </p:cNvPr>
            <p:cNvSpPr/>
            <p:nvPr/>
          </p:nvSpPr>
          <p:spPr>
            <a:xfrm rot="8716295">
              <a:off x="300540" y="65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35129A39-F7B1-40CB-9723-42A8577DE4D8}"/>
                </a:ext>
              </a:extLst>
            </p:cNvPr>
            <p:cNvSpPr/>
            <p:nvPr/>
          </p:nvSpPr>
          <p:spPr>
            <a:xfrm rot="8716295">
              <a:off x="175637" y="44411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C7017F0B-1736-4A46-A863-13134C22DD70}"/>
                </a:ext>
              </a:extLst>
            </p:cNvPr>
            <p:cNvSpPr/>
            <p:nvPr/>
          </p:nvSpPr>
          <p:spPr>
            <a:xfrm rot="8716295">
              <a:off x="163585" y="30533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E31096BD-DD71-4593-87A9-9B536F3877A9}"/>
                </a:ext>
              </a:extLst>
            </p:cNvPr>
            <p:cNvSpPr/>
            <p:nvPr/>
          </p:nvSpPr>
          <p:spPr>
            <a:xfrm rot="8716295">
              <a:off x="390718" y="69374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489E6E27-B2DC-4644-8C61-0B68592B9997}"/>
                </a:ext>
              </a:extLst>
            </p:cNvPr>
            <p:cNvSpPr/>
            <p:nvPr/>
          </p:nvSpPr>
          <p:spPr>
            <a:xfrm rot="8716295">
              <a:off x="702015" y="317459"/>
              <a:ext cx="131260" cy="232388"/>
            </a:xfrm>
            <a:custGeom>
              <a:avLst/>
              <a:gdLst>
                <a:gd name="connsiteX0" fmla="*/ 70201 w 131260"/>
                <a:gd name="connsiteY0" fmla="*/ 232388 h 232388"/>
                <a:gd name="connsiteX1" fmla="*/ 70201 w 131260"/>
                <a:gd name="connsiteY1" fmla="*/ 69717 h 232388"/>
                <a:gd name="connsiteX2" fmla="*/ 70201 w 131260"/>
                <a:gd name="connsiteY2" fmla="*/ 65615 h 232388"/>
                <a:gd name="connsiteX3" fmla="*/ 49697 w 131260"/>
                <a:gd name="connsiteY3" fmla="*/ 50123 h 232388"/>
                <a:gd name="connsiteX4" fmla="*/ 0 w 131260"/>
                <a:gd name="connsiteY4" fmla="*/ 50123 h 232388"/>
                <a:gd name="connsiteX5" fmla="*/ 41457 w 131260"/>
                <a:gd name="connsiteY5" fmla="*/ 0 h 232388"/>
                <a:gd name="connsiteX6" fmla="*/ 74303 w 131260"/>
                <a:gd name="connsiteY6" fmla="*/ 0 h 232388"/>
                <a:gd name="connsiteX7" fmla="*/ 131260 w 131260"/>
                <a:gd name="connsiteY7" fmla="*/ 50123 h 232388"/>
                <a:gd name="connsiteX8" fmla="*/ 131260 w 131260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1260" h="232388">
                  <a:moveTo>
                    <a:pt x="70201" y="232388"/>
                  </a:moveTo>
                  <a:lnTo>
                    <a:pt x="70201" y="69717"/>
                  </a:lnTo>
                  <a:cubicBezTo>
                    <a:pt x="70201" y="68349"/>
                    <a:pt x="70201" y="66983"/>
                    <a:pt x="70201" y="65615"/>
                  </a:cubicBezTo>
                  <a:cubicBezTo>
                    <a:pt x="68835" y="55591"/>
                    <a:pt x="59721" y="48756"/>
                    <a:pt x="49697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74303" y="0"/>
                  </a:lnTo>
                  <a:cubicBezTo>
                    <a:pt x="111211" y="0"/>
                    <a:pt x="131260" y="15948"/>
                    <a:pt x="131260" y="50123"/>
                  </a:cubicBezTo>
                  <a:lnTo>
                    <a:pt x="131260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64B1D5CD-AA1A-4511-A70C-3D1648AA7620}"/>
                </a:ext>
              </a:extLst>
            </p:cNvPr>
            <p:cNvSpPr/>
            <p:nvPr/>
          </p:nvSpPr>
          <p:spPr>
            <a:xfrm rot="8716295">
              <a:off x="834978" y="558357"/>
              <a:ext cx="24341" cy="23495"/>
            </a:xfrm>
            <a:custGeom>
              <a:avLst/>
              <a:gdLst>
                <a:gd name="connsiteX0" fmla="*/ 0 w 24341"/>
                <a:gd name="connsiteY0" fmla="*/ 23495 h 23495"/>
                <a:gd name="connsiteX1" fmla="*/ 19433 w 24341"/>
                <a:gd name="connsiteY1" fmla="*/ 0 h 23495"/>
                <a:gd name="connsiteX2" fmla="*/ 24341 w 24341"/>
                <a:gd name="connsiteY2" fmla="*/ 16139 h 23495"/>
                <a:gd name="connsiteX3" fmla="*/ 24341 w 24341"/>
                <a:gd name="connsiteY3" fmla="*/ 22063 h 23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41" h="23495">
                  <a:moveTo>
                    <a:pt x="0" y="23495"/>
                  </a:moveTo>
                  <a:lnTo>
                    <a:pt x="19433" y="0"/>
                  </a:lnTo>
                  <a:lnTo>
                    <a:pt x="24341" y="16139"/>
                  </a:lnTo>
                  <a:lnTo>
                    <a:pt x="24341" y="220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C7E6623E-E147-4C70-B4C9-2964958B77BB}"/>
                </a:ext>
              </a:extLst>
            </p:cNvPr>
            <p:cNvSpPr/>
            <p:nvPr/>
          </p:nvSpPr>
          <p:spPr>
            <a:xfrm rot="8716295">
              <a:off x="589639" y="40263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4DE4261E-A052-44C0-B4E1-A4180EFF5C4E}"/>
                </a:ext>
              </a:extLst>
            </p:cNvPr>
            <p:cNvSpPr/>
            <p:nvPr/>
          </p:nvSpPr>
          <p:spPr>
            <a:xfrm rot="8716295">
              <a:off x="464737" y="19396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088943E8-6233-4A69-B579-FE8F6D2031DE}"/>
                </a:ext>
              </a:extLst>
            </p:cNvPr>
            <p:cNvSpPr/>
            <p:nvPr/>
          </p:nvSpPr>
          <p:spPr>
            <a:xfrm rot="8716295">
              <a:off x="679817" y="44358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C9608DDB-F100-4197-8B1F-FCABCA12152A}"/>
                </a:ext>
              </a:extLst>
            </p:cNvPr>
            <p:cNvSpPr/>
            <p:nvPr/>
          </p:nvSpPr>
          <p:spPr>
            <a:xfrm rot="8716295">
              <a:off x="438366" y="29398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D82830A6-34DE-41A5-85EB-BBC1292CFD2D}"/>
                </a:ext>
              </a:extLst>
            </p:cNvPr>
            <p:cNvSpPr/>
            <p:nvPr/>
          </p:nvSpPr>
          <p:spPr>
            <a:xfrm rot="7484129">
              <a:off x="811674" y="658874"/>
              <a:ext cx="31078" cy="46141"/>
            </a:xfrm>
            <a:custGeom>
              <a:avLst/>
              <a:gdLst>
                <a:gd name="connsiteX0" fmla="*/ 15207 w 31078"/>
                <a:gd name="connsiteY0" fmla="*/ 46141 h 46141"/>
                <a:gd name="connsiteX1" fmla="*/ 0 w 31078"/>
                <a:gd name="connsiteY1" fmla="*/ 17849 h 46141"/>
                <a:gd name="connsiteX2" fmla="*/ 31078 w 31078"/>
                <a:gd name="connsiteY2" fmla="*/ 0 h 46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078" h="46141">
                  <a:moveTo>
                    <a:pt x="15207" y="46141"/>
                  </a:moveTo>
                  <a:lnTo>
                    <a:pt x="0" y="17849"/>
                  </a:lnTo>
                  <a:lnTo>
                    <a:pt x="3107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F95DC290-4BE0-47A6-9E13-46128747A546}"/>
                </a:ext>
              </a:extLst>
            </p:cNvPr>
            <p:cNvSpPr/>
            <p:nvPr/>
          </p:nvSpPr>
          <p:spPr>
            <a:xfrm rot="8716295">
              <a:off x="780102" y="336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2DFDD14A-8BE6-4683-84E9-692286466F04}"/>
                </a:ext>
              </a:extLst>
            </p:cNvPr>
            <p:cNvSpPr/>
            <p:nvPr/>
          </p:nvSpPr>
          <p:spPr>
            <a:xfrm rot="8716295">
              <a:off x="202348" y="-57106"/>
              <a:ext cx="142167" cy="186494"/>
            </a:xfrm>
            <a:custGeom>
              <a:avLst/>
              <a:gdLst>
                <a:gd name="connsiteX0" fmla="*/ 142167 w 142167"/>
                <a:gd name="connsiteY0" fmla="*/ 186494 h 186494"/>
                <a:gd name="connsiteX1" fmla="*/ 81108 w 142167"/>
                <a:gd name="connsiteY1" fmla="*/ 144170 h 186494"/>
                <a:gd name="connsiteX2" fmla="*/ 81108 w 142167"/>
                <a:gd name="connsiteY2" fmla="*/ 69717 h 186494"/>
                <a:gd name="connsiteX3" fmla="*/ 81108 w 142167"/>
                <a:gd name="connsiteY3" fmla="*/ 65615 h 186494"/>
                <a:gd name="connsiteX4" fmla="*/ 60603 w 142167"/>
                <a:gd name="connsiteY4" fmla="*/ 50123 h 186494"/>
                <a:gd name="connsiteX5" fmla="*/ 0 w 142167"/>
                <a:gd name="connsiteY5" fmla="*/ 50123 h 186494"/>
                <a:gd name="connsiteX6" fmla="*/ 0 w 142167"/>
                <a:gd name="connsiteY6" fmla="*/ 0 h 186494"/>
                <a:gd name="connsiteX7" fmla="*/ 85209 w 142167"/>
                <a:gd name="connsiteY7" fmla="*/ 0 h 186494"/>
                <a:gd name="connsiteX8" fmla="*/ 142167 w 142167"/>
                <a:gd name="connsiteY8" fmla="*/ 50123 h 186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86494">
                  <a:moveTo>
                    <a:pt x="142167" y="186494"/>
                  </a:moveTo>
                  <a:lnTo>
                    <a:pt x="81108" y="144170"/>
                  </a:lnTo>
                  <a:lnTo>
                    <a:pt x="81108" y="69717"/>
                  </a:lnTo>
                  <a:cubicBezTo>
                    <a:pt x="81108" y="68349"/>
                    <a:pt x="81108" y="66983"/>
                    <a:pt x="81108" y="65615"/>
                  </a:cubicBezTo>
                  <a:cubicBezTo>
                    <a:pt x="79741" y="55591"/>
                    <a:pt x="70628" y="48756"/>
                    <a:pt x="60603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1290DDF0-32AF-49C1-9855-D4608A5165C7}"/>
                </a:ext>
              </a:extLst>
            </p:cNvPr>
            <p:cNvSpPr/>
            <p:nvPr/>
          </p:nvSpPr>
          <p:spPr>
            <a:xfrm rot="8716295">
              <a:off x="298766" y="-5395"/>
              <a:ext cx="260639" cy="180054"/>
            </a:xfrm>
            <a:custGeom>
              <a:avLst/>
              <a:gdLst>
                <a:gd name="connsiteX0" fmla="*/ 111638 w 260639"/>
                <a:gd name="connsiteY0" fmla="*/ 180054 h 180054"/>
                <a:gd name="connsiteX1" fmla="*/ 51490 w 260639"/>
                <a:gd name="connsiteY1" fmla="*/ 138362 h 180054"/>
                <a:gd name="connsiteX2" fmla="*/ 51490 w 260639"/>
                <a:gd name="connsiteY2" fmla="*/ 45624 h 180054"/>
                <a:gd name="connsiteX3" fmla="*/ 0 w 260639"/>
                <a:gd name="connsiteY3" fmla="*/ 45624 h 180054"/>
                <a:gd name="connsiteX4" fmla="*/ 0 w 260639"/>
                <a:gd name="connsiteY4" fmla="*/ 1425 h 180054"/>
                <a:gd name="connsiteX5" fmla="*/ 104802 w 260639"/>
                <a:gd name="connsiteY5" fmla="*/ 1425 h 180054"/>
                <a:gd name="connsiteX6" fmla="*/ 104802 w 260639"/>
                <a:gd name="connsiteY6" fmla="*/ 75242 h 180054"/>
                <a:gd name="connsiteX7" fmla="*/ 106169 w 260639"/>
                <a:gd name="connsiteY7" fmla="*/ 75242 h 180054"/>
                <a:gd name="connsiteX8" fmla="*/ 154014 w 260639"/>
                <a:gd name="connsiteY8" fmla="*/ 5981 h 180054"/>
                <a:gd name="connsiteX9" fmla="*/ 185455 w 260639"/>
                <a:gd name="connsiteY9" fmla="*/ 57 h 180054"/>
                <a:gd name="connsiteX10" fmla="*/ 260639 w 260639"/>
                <a:gd name="connsiteY10" fmla="*/ 88456 h 180054"/>
                <a:gd name="connsiteX11" fmla="*/ 260639 w 260639"/>
                <a:gd name="connsiteY11" fmla="*/ 94380 h 180054"/>
                <a:gd name="connsiteX12" fmla="*/ 198669 w 260639"/>
                <a:gd name="connsiteY12" fmla="*/ 98025 h 180054"/>
                <a:gd name="connsiteX13" fmla="*/ 198669 w 260639"/>
                <a:gd name="connsiteY13" fmla="*/ 81621 h 180054"/>
                <a:gd name="connsiteX14" fmla="*/ 164950 w 260639"/>
                <a:gd name="connsiteY14" fmla="*/ 40156 h 180054"/>
                <a:gd name="connsiteX15" fmla="*/ 111638 w 260639"/>
                <a:gd name="connsiteY15" fmla="*/ 127643 h 180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0639" h="180054">
                  <a:moveTo>
                    <a:pt x="111638" y="180054"/>
                  </a:moveTo>
                  <a:lnTo>
                    <a:pt x="51490" y="138362"/>
                  </a:ln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35F53667-6F8A-4DCE-969D-0E4C74C133AE}"/>
                </a:ext>
              </a:extLst>
            </p:cNvPr>
            <p:cNvSpPr/>
            <p:nvPr/>
          </p:nvSpPr>
          <p:spPr>
            <a:xfrm rot="8716295">
              <a:off x="276903" y="-12823"/>
              <a:ext cx="36272" cy="27982"/>
            </a:xfrm>
            <a:custGeom>
              <a:avLst/>
              <a:gdLst>
                <a:gd name="connsiteX0" fmla="*/ 36272 w 36272"/>
                <a:gd name="connsiteY0" fmla="*/ 27982 h 27982"/>
                <a:gd name="connsiteX1" fmla="*/ 0 w 36272"/>
                <a:gd name="connsiteY1" fmla="*/ 2840 h 27982"/>
                <a:gd name="connsiteX2" fmla="*/ 9543 w 36272"/>
                <a:gd name="connsiteY2" fmla="*/ 0 h 27982"/>
                <a:gd name="connsiteX3" fmla="*/ 31871 w 36272"/>
                <a:gd name="connsiteY3" fmla="*/ 11392 h 27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272" h="27982">
                  <a:moveTo>
                    <a:pt x="36272" y="27982"/>
                  </a:moveTo>
                  <a:lnTo>
                    <a:pt x="0" y="2840"/>
                  </a:lnTo>
                  <a:lnTo>
                    <a:pt x="9543" y="0"/>
                  </a:lnTo>
                  <a:cubicBezTo>
                    <a:pt x="20479" y="0"/>
                    <a:pt x="27542" y="4784"/>
                    <a:pt x="31871" y="113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7EAA08B2-D955-4718-8A05-F3FD6783C060}"/>
                </a:ext>
              </a:extLst>
            </p:cNvPr>
            <p:cNvSpPr/>
            <p:nvPr/>
          </p:nvSpPr>
          <p:spPr>
            <a:xfrm rot="8716295">
              <a:off x="74640" y="-9665"/>
              <a:ext cx="58068" cy="54772"/>
            </a:xfrm>
            <a:custGeom>
              <a:avLst/>
              <a:gdLst>
                <a:gd name="connsiteX0" fmla="*/ 37436 w 58068"/>
                <a:gd name="connsiteY0" fmla="*/ 54772 h 54772"/>
                <a:gd name="connsiteX1" fmla="*/ 0 w 58068"/>
                <a:gd name="connsiteY1" fmla="*/ 28823 h 54772"/>
                <a:gd name="connsiteX2" fmla="*/ 8515 w 58068"/>
                <a:gd name="connsiteY2" fmla="*/ 8658 h 54772"/>
                <a:gd name="connsiteX3" fmla="*/ 29020 w 58068"/>
                <a:gd name="connsiteY3" fmla="*/ 0 h 54772"/>
                <a:gd name="connsiteX4" fmla="*/ 49525 w 58068"/>
                <a:gd name="connsiteY4" fmla="*/ 8658 h 54772"/>
                <a:gd name="connsiteX5" fmla="*/ 49525 w 58068"/>
                <a:gd name="connsiteY5" fmla="*/ 49668 h 5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068" h="54772">
                  <a:moveTo>
                    <a:pt x="37436" y="54772"/>
                  </a:moveTo>
                  <a:lnTo>
                    <a:pt x="0" y="28823"/>
                  </a:lnTo>
                  <a:lnTo>
                    <a:pt x="8515" y="8658"/>
                  </a:lnTo>
                  <a:cubicBezTo>
                    <a:pt x="13983" y="3190"/>
                    <a:pt x="21273" y="0"/>
                    <a:pt x="29020" y="0"/>
                  </a:cubicBezTo>
                  <a:cubicBezTo>
                    <a:pt x="36766" y="0"/>
                    <a:pt x="44057" y="3190"/>
                    <a:pt x="49525" y="8658"/>
                  </a:cubicBezTo>
                  <a:cubicBezTo>
                    <a:pt x="60916" y="19594"/>
                    <a:pt x="60916" y="38276"/>
                    <a:pt x="49525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91D311A3-3988-4CE3-A999-8E18D0FD85FD}"/>
                </a:ext>
              </a:extLst>
            </p:cNvPr>
            <p:cNvSpPr/>
            <p:nvPr/>
          </p:nvSpPr>
          <p:spPr>
            <a:xfrm rot="8716295">
              <a:off x="13802" y="-10406"/>
              <a:ext cx="30027" cy="20814"/>
            </a:xfrm>
            <a:custGeom>
              <a:avLst/>
              <a:gdLst>
                <a:gd name="connsiteX0" fmla="*/ 30027 w 30027"/>
                <a:gd name="connsiteY0" fmla="*/ 20814 h 20814"/>
                <a:gd name="connsiteX1" fmla="*/ 0 w 30027"/>
                <a:gd name="connsiteY1" fmla="*/ 0 h 20814"/>
                <a:gd name="connsiteX2" fmla="*/ 30027 w 30027"/>
                <a:gd name="connsiteY2" fmla="*/ 0 h 20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027" h="20814">
                  <a:moveTo>
                    <a:pt x="30027" y="20814"/>
                  </a:moveTo>
                  <a:lnTo>
                    <a:pt x="0" y="0"/>
                  </a:lnTo>
                  <a:lnTo>
                    <a:pt x="3002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7D873286-5EB5-4CF8-8AF6-196B8CFE1B78}"/>
                </a:ext>
              </a:extLst>
            </p:cNvPr>
            <p:cNvSpPr/>
            <p:nvPr/>
          </p:nvSpPr>
          <p:spPr>
            <a:xfrm rot="8716295">
              <a:off x="168048" y="3032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7A821114-A2EA-43FA-A71F-B45BB20754C5}"/>
                </a:ext>
              </a:extLst>
            </p:cNvPr>
            <p:cNvSpPr/>
            <p:nvPr/>
          </p:nvSpPr>
          <p:spPr>
            <a:xfrm rot="7484129">
              <a:off x="562078" y="-284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3685BB38-9BA5-4418-8C8D-FBEB60E347A8}"/>
                </a:ext>
              </a:extLst>
            </p:cNvPr>
            <p:cNvSpPr/>
            <p:nvPr/>
          </p:nvSpPr>
          <p:spPr>
            <a:xfrm rot="13089394">
              <a:off x="767127" y="-2787"/>
              <a:ext cx="149688" cy="301067"/>
            </a:xfrm>
            <a:custGeom>
              <a:avLst/>
              <a:gdLst>
                <a:gd name="connsiteX0" fmla="*/ 149688 w 149688"/>
                <a:gd name="connsiteY0" fmla="*/ 279622 h 301067"/>
                <a:gd name="connsiteX1" fmla="*/ 122393 w 149688"/>
                <a:gd name="connsiteY1" fmla="*/ 301067 h 301067"/>
                <a:gd name="connsiteX2" fmla="*/ 0 w 149688"/>
                <a:gd name="connsiteY2" fmla="*/ 114672 h 301067"/>
                <a:gd name="connsiteX3" fmla="*/ 0 w 149688"/>
                <a:gd name="connsiteY3" fmla="*/ 38074 h 301067"/>
                <a:gd name="connsiteX4" fmla="*/ 73388 w 149688"/>
                <a:gd name="connsiteY4" fmla="*/ 0 h 301067"/>
                <a:gd name="connsiteX5" fmla="*/ 74492 w 149688"/>
                <a:gd name="connsiteY5" fmla="*/ 153950 h 301067"/>
                <a:gd name="connsiteX6" fmla="*/ 87734 w 149688"/>
                <a:gd name="connsiteY6" fmla="*/ 245547 h 301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9688" h="301067">
                  <a:moveTo>
                    <a:pt x="149688" y="279622"/>
                  </a:moveTo>
                  <a:lnTo>
                    <a:pt x="122393" y="301067"/>
                  </a:lnTo>
                  <a:lnTo>
                    <a:pt x="0" y="114672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2836" y="184850"/>
                    <a:pt x="77802" y="216302"/>
                    <a:pt x="87734" y="2455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114D5DAD-A121-412D-8EC9-36550D867937}"/>
                </a:ext>
              </a:extLst>
            </p:cNvPr>
            <p:cNvSpPr/>
            <p:nvPr/>
          </p:nvSpPr>
          <p:spPr>
            <a:xfrm rot="8716295">
              <a:off x="212141" y="304502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61E96B9A-4D28-4F84-A968-91920B4F682F}"/>
                </a:ext>
              </a:extLst>
            </p:cNvPr>
            <p:cNvSpPr/>
            <p:nvPr/>
          </p:nvSpPr>
          <p:spPr>
            <a:xfrm rot="8716295">
              <a:off x="301533" y="307427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EFBE6CB5-44BD-4FB1-964B-F9876CB1F02D}"/>
                </a:ext>
              </a:extLst>
            </p:cNvPr>
            <p:cNvSpPr/>
            <p:nvPr/>
          </p:nvSpPr>
          <p:spPr>
            <a:xfrm rot="8716295">
              <a:off x="256683" y="298799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38E45A1E-C02E-4B0D-9660-74BB6C6525C0}"/>
                </a:ext>
              </a:extLst>
            </p:cNvPr>
            <p:cNvSpPr/>
            <p:nvPr/>
          </p:nvSpPr>
          <p:spPr>
            <a:xfrm rot="8716295">
              <a:off x="99907" y="31335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6D3358CE-572A-49E2-A96A-A71EBB4EE87B}"/>
                </a:ext>
              </a:extLst>
            </p:cNvPr>
            <p:cNvSpPr/>
            <p:nvPr/>
          </p:nvSpPr>
          <p:spPr>
            <a:xfrm rot="8716295">
              <a:off x="-24996" y="29248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FD4661B5-95D9-433F-BEC2-9F56D7A1586B}"/>
                </a:ext>
              </a:extLst>
            </p:cNvPr>
            <p:cNvSpPr/>
            <p:nvPr/>
          </p:nvSpPr>
          <p:spPr>
            <a:xfrm rot="8716295">
              <a:off x="51899" y="2754602"/>
              <a:ext cx="189488" cy="350829"/>
            </a:xfrm>
            <a:custGeom>
              <a:avLst/>
              <a:gdLst>
                <a:gd name="connsiteX0" fmla="*/ 25299 w 189488"/>
                <a:gd name="connsiteY0" fmla="*/ 321238 h 350829"/>
                <a:gd name="connsiteX1" fmla="*/ 0 w 189488"/>
                <a:gd name="connsiteY1" fmla="*/ 220042 h 350829"/>
                <a:gd name="connsiteX2" fmla="*/ 0 w 189488"/>
                <a:gd name="connsiteY2" fmla="*/ 40596 h 350829"/>
                <a:gd name="connsiteX3" fmla="*/ 78250 w 189488"/>
                <a:gd name="connsiteY3" fmla="*/ 0 h 350829"/>
                <a:gd name="connsiteX4" fmla="*/ 79427 w 189488"/>
                <a:gd name="connsiteY4" fmla="*/ 164149 h 350829"/>
                <a:gd name="connsiteX5" fmla="*/ 93547 w 189488"/>
                <a:gd name="connsiteY5" fmla="*/ 261815 h 350829"/>
                <a:gd name="connsiteX6" fmla="*/ 164148 w 189488"/>
                <a:gd name="connsiteY6" fmla="*/ 300646 h 350829"/>
                <a:gd name="connsiteX7" fmla="*/ 189488 w 189488"/>
                <a:gd name="connsiteY7" fmla="*/ 296141 h 350829"/>
                <a:gd name="connsiteX8" fmla="*/ 160617 w 189488"/>
                <a:gd name="connsiteY8" fmla="*/ 337791 h 350829"/>
                <a:gd name="connsiteX9" fmla="*/ 97666 w 189488"/>
                <a:gd name="connsiteY9" fmla="*/ 350655 h 350829"/>
                <a:gd name="connsiteX10" fmla="*/ 25299 w 189488"/>
                <a:gd name="connsiteY10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9488" h="350829">
                  <a:moveTo>
                    <a:pt x="25299" y="321238"/>
                  </a:moveTo>
                  <a:cubicBezTo>
                    <a:pt x="5295" y="301823"/>
                    <a:pt x="0" y="268286"/>
                    <a:pt x="0" y="220042"/>
                  </a:cubicBez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8" y="300646"/>
                  </a:cubicBezTo>
                  <a:lnTo>
                    <a:pt x="189488" y="296141"/>
                  </a:lnTo>
                  <a:lnTo>
                    <a:pt x="160617" y="337791"/>
                  </a:lnTo>
                  <a:lnTo>
                    <a:pt x="97666" y="350655"/>
                  </a:ln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B2B32B95-C256-448F-A1B2-6C67C09DF5AE}"/>
                </a:ext>
              </a:extLst>
            </p:cNvPr>
            <p:cNvSpPr/>
            <p:nvPr/>
          </p:nvSpPr>
          <p:spPr>
            <a:xfrm rot="8716295">
              <a:off x="190085" y="317452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E877EB14-51C5-4A81-B0BF-26680B1F705F}"/>
                </a:ext>
              </a:extLst>
            </p:cNvPr>
            <p:cNvSpPr/>
            <p:nvPr/>
          </p:nvSpPr>
          <p:spPr>
            <a:xfrm rot="8716295">
              <a:off x="502599" y="2802136"/>
              <a:ext cx="117588" cy="232388"/>
            </a:xfrm>
            <a:custGeom>
              <a:avLst/>
              <a:gdLst>
                <a:gd name="connsiteX0" fmla="*/ 56529 w 117588"/>
                <a:gd name="connsiteY0" fmla="*/ 232388 h 232388"/>
                <a:gd name="connsiteX1" fmla="*/ 56529 w 117588"/>
                <a:gd name="connsiteY1" fmla="*/ 69717 h 232388"/>
                <a:gd name="connsiteX2" fmla="*/ 56529 w 117588"/>
                <a:gd name="connsiteY2" fmla="*/ 65615 h 232388"/>
                <a:gd name="connsiteX3" fmla="*/ 36025 w 117588"/>
                <a:gd name="connsiteY3" fmla="*/ 50123 h 232388"/>
                <a:gd name="connsiteX4" fmla="*/ 0 w 117588"/>
                <a:gd name="connsiteY4" fmla="*/ 50123 h 232388"/>
                <a:gd name="connsiteX5" fmla="*/ 41458 w 117588"/>
                <a:gd name="connsiteY5" fmla="*/ 0 h 232388"/>
                <a:gd name="connsiteX6" fmla="*/ 60630 w 117588"/>
                <a:gd name="connsiteY6" fmla="*/ 0 h 232388"/>
                <a:gd name="connsiteX7" fmla="*/ 117588 w 117588"/>
                <a:gd name="connsiteY7" fmla="*/ 50123 h 232388"/>
                <a:gd name="connsiteX8" fmla="*/ 117588 w 117588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7588" h="232388">
                  <a:moveTo>
                    <a:pt x="56529" y="232388"/>
                  </a:moveTo>
                  <a:lnTo>
                    <a:pt x="56529" y="69717"/>
                  </a:lnTo>
                  <a:cubicBezTo>
                    <a:pt x="56529" y="68349"/>
                    <a:pt x="56529" y="66983"/>
                    <a:pt x="56529" y="65615"/>
                  </a:cubicBezTo>
                  <a:cubicBezTo>
                    <a:pt x="55163" y="55591"/>
                    <a:pt x="46049" y="48756"/>
                    <a:pt x="36025" y="50123"/>
                  </a:cubicBezTo>
                  <a:lnTo>
                    <a:pt x="0" y="50123"/>
                  </a:lnTo>
                  <a:lnTo>
                    <a:pt x="41458" y="0"/>
                  </a:lnTo>
                  <a:lnTo>
                    <a:pt x="60630" y="0"/>
                  </a:lnTo>
                  <a:cubicBezTo>
                    <a:pt x="97539" y="0"/>
                    <a:pt x="117588" y="15948"/>
                    <a:pt x="117588" y="50123"/>
                  </a:cubicBezTo>
                  <a:lnTo>
                    <a:pt x="117588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AE770E37-12A5-49E8-A852-2213359AF064}"/>
                </a:ext>
              </a:extLst>
            </p:cNvPr>
            <p:cNvSpPr/>
            <p:nvPr/>
          </p:nvSpPr>
          <p:spPr>
            <a:xfrm rot="8716295">
              <a:off x="389006" y="2883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575CB7EC-73D6-440C-8D11-02C25DB1B58E}"/>
                </a:ext>
              </a:extLst>
            </p:cNvPr>
            <p:cNvSpPr/>
            <p:nvPr/>
          </p:nvSpPr>
          <p:spPr>
            <a:xfrm rot="8716295">
              <a:off x="264104" y="267474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3E6E4B66-1F26-432C-A14D-A0BFBE670784}"/>
                </a:ext>
              </a:extLst>
            </p:cNvPr>
            <p:cNvSpPr/>
            <p:nvPr/>
          </p:nvSpPr>
          <p:spPr>
            <a:xfrm rot="8716295">
              <a:off x="479184" y="292437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8324BF72-C5F2-44D4-8888-E752B7FEDC5D}"/>
                </a:ext>
              </a:extLst>
            </p:cNvPr>
            <p:cNvSpPr/>
            <p:nvPr/>
          </p:nvSpPr>
          <p:spPr>
            <a:xfrm rot="8716295">
              <a:off x="237733" y="277477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8239F27B-FC1E-4A05-9289-AB74F556DCB2}"/>
                </a:ext>
              </a:extLst>
            </p:cNvPr>
            <p:cNvSpPr/>
            <p:nvPr/>
          </p:nvSpPr>
          <p:spPr>
            <a:xfrm rot="7484129">
              <a:off x="609980" y="3142825"/>
              <a:ext cx="20881" cy="31001"/>
            </a:xfrm>
            <a:custGeom>
              <a:avLst/>
              <a:gdLst>
                <a:gd name="connsiteX0" fmla="*/ 10218 w 20881"/>
                <a:gd name="connsiteY0" fmla="*/ 31001 h 31001"/>
                <a:gd name="connsiteX1" fmla="*/ 0 w 20881"/>
                <a:gd name="connsiteY1" fmla="*/ 11992 h 31001"/>
                <a:gd name="connsiteX2" fmla="*/ 20881 w 20881"/>
                <a:gd name="connsiteY2" fmla="*/ 0 h 31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881" h="31001">
                  <a:moveTo>
                    <a:pt x="10218" y="31001"/>
                  </a:moveTo>
                  <a:lnTo>
                    <a:pt x="0" y="11992"/>
                  </a:lnTo>
                  <a:lnTo>
                    <a:pt x="2088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F966E638-4286-459E-B12F-23BB9A1D87B8}"/>
                </a:ext>
              </a:extLst>
            </p:cNvPr>
            <p:cNvSpPr/>
            <p:nvPr/>
          </p:nvSpPr>
          <p:spPr>
            <a:xfrm rot="8716295">
              <a:off x="579469" y="28172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B2C65482-1A23-4074-8C10-932297BE6093}"/>
                </a:ext>
              </a:extLst>
            </p:cNvPr>
            <p:cNvSpPr/>
            <p:nvPr/>
          </p:nvSpPr>
          <p:spPr>
            <a:xfrm rot="8716295">
              <a:off x="437995" y="3716235"/>
              <a:ext cx="102679" cy="232388"/>
            </a:xfrm>
            <a:custGeom>
              <a:avLst/>
              <a:gdLst>
                <a:gd name="connsiteX0" fmla="*/ 41620 w 102679"/>
                <a:gd name="connsiteY0" fmla="*/ 232388 h 232388"/>
                <a:gd name="connsiteX1" fmla="*/ 41620 w 102679"/>
                <a:gd name="connsiteY1" fmla="*/ 69717 h 232388"/>
                <a:gd name="connsiteX2" fmla="*/ 41620 w 102679"/>
                <a:gd name="connsiteY2" fmla="*/ 65615 h 232388"/>
                <a:gd name="connsiteX3" fmla="*/ 21116 w 102679"/>
                <a:gd name="connsiteY3" fmla="*/ 50123 h 232388"/>
                <a:gd name="connsiteX4" fmla="*/ 0 w 102679"/>
                <a:gd name="connsiteY4" fmla="*/ 50123 h 232388"/>
                <a:gd name="connsiteX5" fmla="*/ 41457 w 102679"/>
                <a:gd name="connsiteY5" fmla="*/ 0 h 232388"/>
                <a:gd name="connsiteX6" fmla="*/ 45721 w 102679"/>
                <a:gd name="connsiteY6" fmla="*/ 0 h 232388"/>
                <a:gd name="connsiteX7" fmla="*/ 102679 w 102679"/>
                <a:gd name="connsiteY7" fmla="*/ 50123 h 232388"/>
                <a:gd name="connsiteX8" fmla="*/ 102679 w 102679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2679" h="232388">
                  <a:moveTo>
                    <a:pt x="41620" y="232388"/>
                  </a:moveTo>
                  <a:lnTo>
                    <a:pt x="41620" y="69717"/>
                  </a:lnTo>
                  <a:cubicBezTo>
                    <a:pt x="41620" y="68349"/>
                    <a:pt x="41620" y="66983"/>
                    <a:pt x="41620" y="65615"/>
                  </a:cubicBezTo>
                  <a:cubicBezTo>
                    <a:pt x="40254" y="55591"/>
                    <a:pt x="31140" y="48756"/>
                    <a:pt x="21116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45721" y="0"/>
                  </a:lnTo>
                  <a:cubicBezTo>
                    <a:pt x="82630" y="0"/>
                    <a:pt x="102679" y="15948"/>
                    <a:pt x="102679" y="50123"/>
                  </a:cubicBezTo>
                  <a:lnTo>
                    <a:pt x="102679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3086E34F-1198-4AFB-9061-33B48AB15AF3}"/>
                </a:ext>
              </a:extLst>
            </p:cNvPr>
            <p:cNvSpPr/>
            <p:nvPr/>
          </p:nvSpPr>
          <p:spPr>
            <a:xfrm rot="8716295">
              <a:off x="482715" y="3669965"/>
              <a:ext cx="154563" cy="124897"/>
            </a:xfrm>
            <a:custGeom>
              <a:avLst/>
              <a:gdLst>
                <a:gd name="connsiteX0" fmla="*/ 0 w 154563"/>
                <a:gd name="connsiteY0" fmla="*/ 124897 h 124897"/>
                <a:gd name="connsiteX1" fmla="*/ 95474 w 154563"/>
                <a:gd name="connsiteY1" fmla="*/ 9467 h 124897"/>
                <a:gd name="connsiteX2" fmla="*/ 96067 w 154563"/>
                <a:gd name="connsiteY2" fmla="*/ 9000 h 124897"/>
                <a:gd name="connsiteX3" fmla="*/ 126312 w 154563"/>
                <a:gd name="connsiteY3" fmla="*/ 0 h 124897"/>
                <a:gd name="connsiteX4" fmla="*/ 154563 w 154563"/>
                <a:gd name="connsiteY4" fmla="*/ 33719 h 124897"/>
                <a:gd name="connsiteX5" fmla="*/ 128135 w 154563"/>
                <a:gd name="connsiteY5" fmla="*/ 69261 h 124897"/>
                <a:gd name="connsiteX6" fmla="*/ 128590 w 154563"/>
                <a:gd name="connsiteY6" fmla="*/ 69261 h 12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4563" h="124897">
                  <a:moveTo>
                    <a:pt x="0" y="124897"/>
                  </a:moveTo>
                  <a:lnTo>
                    <a:pt x="95474" y="9467"/>
                  </a:lnTo>
                  <a:lnTo>
                    <a:pt x="96067" y="9000"/>
                  </a:lnTo>
                  <a:cubicBezTo>
                    <a:pt x="105351" y="4215"/>
                    <a:pt x="115604" y="1139"/>
                    <a:pt x="126312" y="0"/>
                  </a:cubicBezTo>
                  <a:cubicBezTo>
                    <a:pt x="148184" y="0"/>
                    <a:pt x="154563" y="19138"/>
                    <a:pt x="154563" y="33719"/>
                  </a:cubicBezTo>
                  <a:cubicBezTo>
                    <a:pt x="153196" y="49668"/>
                    <a:pt x="142715" y="62882"/>
                    <a:pt x="128135" y="69261"/>
                  </a:cubicBezTo>
                  <a:lnTo>
                    <a:pt x="128590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34D8ECB7-8525-4B33-96F7-6EC94DA1622C}"/>
                </a:ext>
              </a:extLst>
            </p:cNvPr>
            <p:cNvSpPr/>
            <p:nvPr/>
          </p:nvSpPr>
          <p:spPr>
            <a:xfrm rot="8716295">
              <a:off x="323074" y="379327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F43D6D3D-6C35-4427-9A74-A2D3472F3BCC}"/>
                </a:ext>
              </a:extLst>
            </p:cNvPr>
            <p:cNvSpPr/>
            <p:nvPr/>
          </p:nvSpPr>
          <p:spPr>
            <a:xfrm rot="8716295">
              <a:off x="198171" y="358459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4464E862-CB30-4363-9C1D-B97AACD89182}"/>
                </a:ext>
              </a:extLst>
            </p:cNvPr>
            <p:cNvSpPr/>
            <p:nvPr/>
          </p:nvSpPr>
          <p:spPr>
            <a:xfrm rot="8716295">
              <a:off x="186119" y="344581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orme libre : forme 58">
              <a:extLst>
                <a:ext uri="{FF2B5EF4-FFF2-40B4-BE49-F238E27FC236}">
                  <a16:creationId xmlns:a16="http://schemas.microsoft.com/office/drawing/2014/main" id="{88BD8233-E48E-4089-A094-B851A84F1E37}"/>
                </a:ext>
              </a:extLst>
            </p:cNvPr>
            <p:cNvSpPr/>
            <p:nvPr/>
          </p:nvSpPr>
          <p:spPr>
            <a:xfrm rot="8716295">
              <a:off x="410218" y="3834716"/>
              <a:ext cx="103435" cy="219174"/>
            </a:xfrm>
            <a:custGeom>
              <a:avLst/>
              <a:gdLst>
                <a:gd name="connsiteX0" fmla="*/ 103435 w 103435"/>
                <a:gd name="connsiteY0" fmla="*/ 219174 h 219174"/>
                <a:gd name="connsiteX1" fmla="*/ 43288 w 103435"/>
                <a:gd name="connsiteY1" fmla="*/ 161305 h 219174"/>
                <a:gd name="connsiteX2" fmla="*/ 43288 w 103435"/>
                <a:gd name="connsiteY2" fmla="*/ 16404 h 219174"/>
                <a:gd name="connsiteX3" fmla="*/ 0 w 103435"/>
                <a:gd name="connsiteY3" fmla="*/ 16404 h 219174"/>
                <a:gd name="connsiteX4" fmla="*/ 0 w 103435"/>
                <a:gd name="connsiteY4" fmla="*/ 16028 h 219174"/>
                <a:gd name="connsiteX5" fmla="*/ 11583 w 103435"/>
                <a:gd name="connsiteY5" fmla="*/ 2023 h 219174"/>
                <a:gd name="connsiteX6" fmla="*/ 103435 w 103435"/>
                <a:gd name="connsiteY6" fmla="*/ 0 h 219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19174">
                  <a:moveTo>
                    <a:pt x="103435" y="219174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16028"/>
                  </a:lnTo>
                  <a:lnTo>
                    <a:pt x="11583" y="2023"/>
                  </a:lnTo>
                  <a:lnTo>
                    <a:pt x="10343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orme libre : forme 59">
              <a:extLst>
                <a:ext uri="{FF2B5EF4-FFF2-40B4-BE49-F238E27FC236}">
                  <a16:creationId xmlns:a16="http://schemas.microsoft.com/office/drawing/2014/main" id="{D72BA86C-11E8-4C7D-A93A-11E890905CBF}"/>
                </a:ext>
              </a:extLst>
            </p:cNvPr>
            <p:cNvSpPr/>
            <p:nvPr/>
          </p:nvSpPr>
          <p:spPr>
            <a:xfrm rot="8716295">
              <a:off x="487452" y="3349370"/>
              <a:ext cx="151162" cy="195873"/>
            </a:xfrm>
            <a:custGeom>
              <a:avLst/>
              <a:gdLst>
                <a:gd name="connsiteX0" fmla="*/ 38025 w 151162"/>
                <a:gd name="connsiteY0" fmla="*/ 195873 h 195873"/>
                <a:gd name="connsiteX1" fmla="*/ 0 w 151162"/>
                <a:gd name="connsiteY1" fmla="*/ 125130 h 195873"/>
                <a:gd name="connsiteX2" fmla="*/ 103497 w 151162"/>
                <a:gd name="connsiteY2" fmla="*/ 0 h 195873"/>
                <a:gd name="connsiteX3" fmla="*/ 151162 w 151162"/>
                <a:gd name="connsiteY3" fmla="*/ 0 h 195873"/>
                <a:gd name="connsiteX4" fmla="*/ 151162 w 151162"/>
                <a:gd name="connsiteY4" fmla="*/ 55323 h 195873"/>
                <a:gd name="connsiteX5" fmla="*/ 86370 w 151162"/>
                <a:gd name="connsiteY5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1162" h="195873">
                  <a:moveTo>
                    <a:pt x="38025" y="195873"/>
                  </a:moveTo>
                  <a:lnTo>
                    <a:pt x="0" y="125130"/>
                  </a:lnTo>
                  <a:lnTo>
                    <a:pt x="103497" y="0"/>
                  </a:lnTo>
                  <a:lnTo>
                    <a:pt x="151162" y="0"/>
                  </a:lnTo>
                  <a:lnTo>
                    <a:pt x="151162" y="55323"/>
                  </a:lnTo>
                  <a:lnTo>
                    <a:pt x="86370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orme libre : forme 60">
              <a:extLst>
                <a:ext uri="{FF2B5EF4-FFF2-40B4-BE49-F238E27FC236}">
                  <a16:creationId xmlns:a16="http://schemas.microsoft.com/office/drawing/2014/main" id="{BE142581-218C-47B8-9F20-81B808628CD1}"/>
                </a:ext>
              </a:extLst>
            </p:cNvPr>
            <p:cNvSpPr/>
            <p:nvPr/>
          </p:nvSpPr>
          <p:spPr>
            <a:xfrm rot="8716295">
              <a:off x="460900" y="343447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orme libre : forme 61">
              <a:extLst>
                <a:ext uri="{FF2B5EF4-FFF2-40B4-BE49-F238E27FC236}">
                  <a16:creationId xmlns:a16="http://schemas.microsoft.com/office/drawing/2014/main" id="{DB847D65-EDE7-4D20-A3B5-D7E0E2A3E756}"/>
                </a:ext>
              </a:extLst>
            </p:cNvPr>
            <p:cNvSpPr/>
            <p:nvPr/>
          </p:nvSpPr>
          <p:spPr>
            <a:xfrm rot="8716295">
              <a:off x="417336" y="4258920"/>
              <a:ext cx="147637" cy="195874"/>
            </a:xfrm>
            <a:custGeom>
              <a:avLst/>
              <a:gdLst>
                <a:gd name="connsiteX0" fmla="*/ 34500 w 147637"/>
                <a:gd name="connsiteY0" fmla="*/ 195874 h 195874"/>
                <a:gd name="connsiteX1" fmla="*/ 0 w 147637"/>
                <a:gd name="connsiteY1" fmla="*/ 131688 h 195874"/>
                <a:gd name="connsiteX2" fmla="*/ 108921 w 147637"/>
                <a:gd name="connsiteY2" fmla="*/ 0 h 195874"/>
                <a:gd name="connsiteX3" fmla="*/ 147637 w 147637"/>
                <a:gd name="connsiteY3" fmla="*/ 0 h 195874"/>
                <a:gd name="connsiteX4" fmla="*/ 147637 w 147637"/>
                <a:gd name="connsiteY4" fmla="*/ 55323 h 195874"/>
                <a:gd name="connsiteX5" fmla="*/ 82845 w 147637"/>
                <a:gd name="connsiteY5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7637" h="195874">
                  <a:moveTo>
                    <a:pt x="34500" y="195874"/>
                  </a:moveTo>
                  <a:lnTo>
                    <a:pt x="0" y="131688"/>
                  </a:lnTo>
                  <a:lnTo>
                    <a:pt x="108921" y="0"/>
                  </a:lnTo>
                  <a:lnTo>
                    <a:pt x="147637" y="0"/>
                  </a:lnTo>
                  <a:lnTo>
                    <a:pt x="147637" y="55323"/>
                  </a:lnTo>
                  <a:lnTo>
                    <a:pt x="8284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orme libre : forme 62">
              <a:extLst>
                <a:ext uri="{FF2B5EF4-FFF2-40B4-BE49-F238E27FC236}">
                  <a16:creationId xmlns:a16="http://schemas.microsoft.com/office/drawing/2014/main" id="{C9478417-E8D6-452F-A916-ED7E53424518}"/>
                </a:ext>
              </a:extLst>
            </p:cNvPr>
            <p:cNvSpPr/>
            <p:nvPr/>
          </p:nvSpPr>
          <p:spPr>
            <a:xfrm rot="8716295">
              <a:off x="330834" y="4134902"/>
              <a:ext cx="254613" cy="91157"/>
            </a:xfrm>
            <a:custGeom>
              <a:avLst/>
              <a:gdLst>
                <a:gd name="connsiteX0" fmla="*/ 0 w 254613"/>
                <a:gd name="connsiteY0" fmla="*/ 68911 h 91157"/>
                <a:gd name="connsiteX1" fmla="*/ 56997 w 254613"/>
                <a:gd name="connsiteY1" fmla="*/ 0 h 91157"/>
                <a:gd name="connsiteX2" fmla="*/ 57517 w 254613"/>
                <a:gd name="connsiteY2" fmla="*/ 2143 h 91157"/>
                <a:gd name="connsiteX3" fmla="*/ 128118 w 254613"/>
                <a:gd name="connsiteY3" fmla="*/ 40974 h 91157"/>
                <a:gd name="connsiteX4" fmla="*/ 181070 w 254613"/>
                <a:gd name="connsiteY4" fmla="*/ 31560 h 91157"/>
                <a:gd name="connsiteX5" fmla="*/ 253437 w 254613"/>
                <a:gd name="connsiteY5" fmla="*/ 2143 h 91157"/>
                <a:gd name="connsiteX6" fmla="*/ 254613 w 254613"/>
                <a:gd name="connsiteY6" fmla="*/ 9791 h 91157"/>
                <a:gd name="connsiteX7" fmla="*/ 254613 w 254613"/>
                <a:gd name="connsiteY7" fmla="*/ 15674 h 91157"/>
                <a:gd name="connsiteX8" fmla="*/ 61636 w 254613"/>
                <a:gd name="connsiteY8" fmla="*/ 90983 h 91157"/>
                <a:gd name="connsiteX9" fmla="*/ 22363 w 254613"/>
                <a:gd name="connsiteY9" fmla="*/ 84217 h 91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4613" h="91157">
                  <a:moveTo>
                    <a:pt x="0" y="68911"/>
                  </a:moveTo>
                  <a:lnTo>
                    <a:pt x="56997" y="0"/>
                  </a:lnTo>
                  <a:lnTo>
                    <a:pt x="57517" y="2143"/>
                  </a:lnTo>
                  <a:cubicBezTo>
                    <a:pt x="66931" y="28030"/>
                    <a:pt x="91053" y="40974"/>
                    <a:pt x="128118" y="40974"/>
                  </a:cubicBezTo>
                  <a:cubicBezTo>
                    <a:pt x="146357" y="40385"/>
                    <a:pt x="164008" y="36855"/>
                    <a:pt x="181070" y="31560"/>
                  </a:cubicBezTo>
                  <a:cubicBezTo>
                    <a:pt x="205780" y="23912"/>
                    <a:pt x="229903" y="13910"/>
                    <a:pt x="253437" y="2143"/>
                  </a:cubicBezTo>
                  <a:cubicBezTo>
                    <a:pt x="254025" y="4496"/>
                    <a:pt x="254613" y="7438"/>
                    <a:pt x="254613" y="9791"/>
                  </a:cubicBezTo>
                  <a:lnTo>
                    <a:pt x="254613" y="15674"/>
                  </a:lnTo>
                  <a:cubicBezTo>
                    <a:pt x="192249" y="69215"/>
                    <a:pt x="110468" y="88042"/>
                    <a:pt x="61636" y="90983"/>
                  </a:cubicBezTo>
                  <a:cubicBezTo>
                    <a:pt x="48104" y="91866"/>
                    <a:pt x="34719" y="89365"/>
                    <a:pt x="22363" y="842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orme libre : forme 63">
              <a:extLst>
                <a:ext uri="{FF2B5EF4-FFF2-40B4-BE49-F238E27FC236}">
                  <a16:creationId xmlns:a16="http://schemas.microsoft.com/office/drawing/2014/main" id="{59F2B7E5-77D6-489A-B472-1F63C4176A21}"/>
                </a:ext>
              </a:extLst>
            </p:cNvPr>
            <p:cNvSpPr/>
            <p:nvPr/>
          </p:nvSpPr>
          <p:spPr>
            <a:xfrm rot="8716295">
              <a:off x="-3428" y="2405990"/>
              <a:ext cx="142167" cy="208592"/>
            </a:xfrm>
            <a:custGeom>
              <a:avLst/>
              <a:gdLst>
                <a:gd name="connsiteX0" fmla="*/ 81108 w 142167"/>
                <a:gd name="connsiteY0" fmla="*/ 208592 h 208592"/>
                <a:gd name="connsiteX1" fmla="*/ 81108 w 142167"/>
                <a:gd name="connsiteY1" fmla="*/ 69717 h 208592"/>
                <a:gd name="connsiteX2" fmla="*/ 81108 w 142167"/>
                <a:gd name="connsiteY2" fmla="*/ 65615 h 208592"/>
                <a:gd name="connsiteX3" fmla="*/ 60604 w 142167"/>
                <a:gd name="connsiteY3" fmla="*/ 50123 h 208592"/>
                <a:gd name="connsiteX4" fmla="*/ 0 w 142167"/>
                <a:gd name="connsiteY4" fmla="*/ 50123 h 208592"/>
                <a:gd name="connsiteX5" fmla="*/ 0 w 142167"/>
                <a:gd name="connsiteY5" fmla="*/ 0 h 208592"/>
                <a:gd name="connsiteX6" fmla="*/ 85210 w 142167"/>
                <a:gd name="connsiteY6" fmla="*/ 0 h 208592"/>
                <a:gd name="connsiteX7" fmla="*/ 142167 w 142167"/>
                <a:gd name="connsiteY7" fmla="*/ 50123 h 208592"/>
                <a:gd name="connsiteX8" fmla="*/ 142167 w 142167"/>
                <a:gd name="connsiteY8" fmla="*/ 120504 h 20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08592">
                  <a:moveTo>
                    <a:pt x="81108" y="208592"/>
                  </a:moveTo>
                  <a:lnTo>
                    <a:pt x="81108" y="69717"/>
                  </a:lnTo>
                  <a:cubicBezTo>
                    <a:pt x="81108" y="68350"/>
                    <a:pt x="81108" y="66983"/>
                    <a:pt x="81108" y="65615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10" y="0"/>
                  </a:lnTo>
                  <a:cubicBezTo>
                    <a:pt x="122118" y="0"/>
                    <a:pt x="142167" y="15948"/>
                    <a:pt x="142167" y="50123"/>
                  </a:cubicBezTo>
                  <a:lnTo>
                    <a:pt x="142167" y="1205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orme libre : forme 64">
              <a:extLst>
                <a:ext uri="{FF2B5EF4-FFF2-40B4-BE49-F238E27FC236}">
                  <a16:creationId xmlns:a16="http://schemas.microsoft.com/office/drawing/2014/main" id="{58CACDEB-619D-4E1A-8308-201ECECE7C5B}"/>
                </a:ext>
              </a:extLst>
            </p:cNvPr>
            <p:cNvSpPr/>
            <p:nvPr/>
          </p:nvSpPr>
          <p:spPr>
            <a:xfrm rot="8716295">
              <a:off x="80015" y="241329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orme libre : forme 65">
              <a:extLst>
                <a:ext uri="{FF2B5EF4-FFF2-40B4-BE49-F238E27FC236}">
                  <a16:creationId xmlns:a16="http://schemas.microsoft.com/office/drawing/2014/main" id="{121B25A8-5A69-4AD6-9F92-752EBBD3BB04}"/>
                </a:ext>
              </a:extLst>
            </p:cNvPr>
            <p:cNvSpPr/>
            <p:nvPr/>
          </p:nvSpPr>
          <p:spPr>
            <a:xfrm rot="8716295">
              <a:off x="35165" y="232701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orme libre : forme 66">
              <a:extLst>
                <a:ext uri="{FF2B5EF4-FFF2-40B4-BE49-F238E27FC236}">
                  <a16:creationId xmlns:a16="http://schemas.microsoft.com/office/drawing/2014/main" id="{123E728A-9EE1-481E-BA1E-5D72AE6CC637}"/>
                </a:ext>
              </a:extLst>
            </p:cNvPr>
            <p:cNvSpPr/>
            <p:nvPr/>
          </p:nvSpPr>
          <p:spPr>
            <a:xfrm rot="8716295">
              <a:off x="-20257" y="2217087"/>
              <a:ext cx="78731" cy="180665"/>
            </a:xfrm>
            <a:custGeom>
              <a:avLst/>
              <a:gdLst>
                <a:gd name="connsiteX0" fmla="*/ 0 w 78731"/>
                <a:gd name="connsiteY0" fmla="*/ 180665 h 180665"/>
                <a:gd name="connsiteX1" fmla="*/ 0 w 78731"/>
                <a:gd name="connsiteY1" fmla="*/ 40596 h 180665"/>
                <a:gd name="connsiteX2" fmla="*/ 78250 w 78731"/>
                <a:gd name="connsiteY2" fmla="*/ 0 h 180665"/>
                <a:gd name="connsiteX3" fmla="*/ 78731 w 78731"/>
                <a:gd name="connsiteY3" fmla="*/ 67083 h 180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731" h="180665">
                  <a:moveTo>
                    <a:pt x="0" y="180665"/>
                  </a:moveTo>
                  <a:lnTo>
                    <a:pt x="0" y="40596"/>
                  </a:lnTo>
                  <a:lnTo>
                    <a:pt x="78250" y="0"/>
                  </a:lnTo>
                  <a:lnTo>
                    <a:pt x="78731" y="670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078C7082-EAB5-441A-B46A-D723C18E0F9C}"/>
                </a:ext>
              </a:extLst>
            </p:cNvPr>
            <p:cNvSpPr/>
            <p:nvPr/>
          </p:nvSpPr>
          <p:spPr>
            <a:xfrm rot="8716295">
              <a:off x="-15341" y="2575209"/>
              <a:ext cx="103435" cy="152027"/>
            </a:xfrm>
            <a:custGeom>
              <a:avLst/>
              <a:gdLst>
                <a:gd name="connsiteX0" fmla="*/ 43288 w 103435"/>
                <a:gd name="connsiteY0" fmla="*/ 152027 h 152027"/>
                <a:gd name="connsiteX1" fmla="*/ 43288 w 103435"/>
                <a:gd name="connsiteY1" fmla="*/ 16404 h 152027"/>
                <a:gd name="connsiteX2" fmla="*/ 0 w 103435"/>
                <a:gd name="connsiteY2" fmla="*/ 16404 h 152027"/>
                <a:gd name="connsiteX3" fmla="*/ 0 w 103435"/>
                <a:gd name="connsiteY3" fmla="*/ 2278 h 152027"/>
                <a:gd name="connsiteX4" fmla="*/ 103435 w 103435"/>
                <a:gd name="connsiteY4" fmla="*/ 0 h 152027"/>
                <a:gd name="connsiteX5" fmla="*/ 103435 w 103435"/>
                <a:gd name="connsiteY5" fmla="*/ 65255 h 152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152027">
                  <a:moveTo>
                    <a:pt x="43288" y="152027"/>
                  </a:move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652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orme libre : forme 68">
              <a:extLst>
                <a:ext uri="{FF2B5EF4-FFF2-40B4-BE49-F238E27FC236}">
                  <a16:creationId xmlns:a16="http://schemas.microsoft.com/office/drawing/2014/main" id="{74837562-030E-4828-9572-DEE64E263932}"/>
                </a:ext>
              </a:extLst>
            </p:cNvPr>
            <p:cNvSpPr/>
            <p:nvPr/>
          </p:nvSpPr>
          <p:spPr>
            <a:xfrm rot="8716295">
              <a:off x="279722" y="21339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orme libre : forme 69">
              <a:extLst>
                <a:ext uri="{FF2B5EF4-FFF2-40B4-BE49-F238E27FC236}">
                  <a16:creationId xmlns:a16="http://schemas.microsoft.com/office/drawing/2014/main" id="{DB4BA735-F92E-4D5D-ABB4-34ABAF286FF1}"/>
                </a:ext>
              </a:extLst>
            </p:cNvPr>
            <p:cNvSpPr/>
            <p:nvPr/>
          </p:nvSpPr>
          <p:spPr>
            <a:xfrm rot="8716295">
              <a:off x="369114" y="21631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orme libre : forme 70">
              <a:extLst>
                <a:ext uri="{FF2B5EF4-FFF2-40B4-BE49-F238E27FC236}">
                  <a16:creationId xmlns:a16="http://schemas.microsoft.com/office/drawing/2014/main" id="{2E20AC3A-A861-46F6-BDD8-390DF4BE3CED}"/>
                </a:ext>
              </a:extLst>
            </p:cNvPr>
            <p:cNvSpPr/>
            <p:nvPr/>
          </p:nvSpPr>
          <p:spPr>
            <a:xfrm rot="8716295">
              <a:off x="167488" y="22224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orme libre : forme 71">
              <a:extLst>
                <a:ext uri="{FF2B5EF4-FFF2-40B4-BE49-F238E27FC236}">
                  <a16:creationId xmlns:a16="http://schemas.microsoft.com/office/drawing/2014/main" id="{C0645F34-CD0D-494F-A821-08AC0632B9BD}"/>
                </a:ext>
              </a:extLst>
            </p:cNvPr>
            <p:cNvSpPr/>
            <p:nvPr/>
          </p:nvSpPr>
          <p:spPr>
            <a:xfrm rot="8716295">
              <a:off x="42586" y="20137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orme libre : forme 72">
              <a:extLst>
                <a:ext uri="{FF2B5EF4-FFF2-40B4-BE49-F238E27FC236}">
                  <a16:creationId xmlns:a16="http://schemas.microsoft.com/office/drawing/2014/main" id="{D42C02D3-67F7-4963-8807-40F86032EE07}"/>
                </a:ext>
              </a:extLst>
            </p:cNvPr>
            <p:cNvSpPr/>
            <p:nvPr/>
          </p:nvSpPr>
          <p:spPr>
            <a:xfrm rot="8716295">
              <a:off x="257666" y="226339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" name="Forme libre : forme 73">
              <a:extLst>
                <a:ext uri="{FF2B5EF4-FFF2-40B4-BE49-F238E27FC236}">
                  <a16:creationId xmlns:a16="http://schemas.microsoft.com/office/drawing/2014/main" id="{E5391012-9EC2-494D-B5E3-A045F6898117}"/>
                </a:ext>
              </a:extLst>
            </p:cNvPr>
            <p:cNvSpPr/>
            <p:nvPr/>
          </p:nvSpPr>
          <p:spPr>
            <a:xfrm rot="8716295">
              <a:off x="16215" y="211379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" name="Forme libre : forme 74">
              <a:extLst>
                <a:ext uri="{FF2B5EF4-FFF2-40B4-BE49-F238E27FC236}">
                  <a16:creationId xmlns:a16="http://schemas.microsoft.com/office/drawing/2014/main" id="{3E9CDE54-D663-4CD6-BAFF-9CD31B4515CC}"/>
                </a:ext>
              </a:extLst>
            </p:cNvPr>
            <p:cNvSpPr/>
            <p:nvPr/>
          </p:nvSpPr>
          <p:spPr>
            <a:xfrm rot="7484129">
              <a:off x="362597" y="245474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" name="Forme libre : forme 75">
              <a:extLst>
                <a:ext uri="{FF2B5EF4-FFF2-40B4-BE49-F238E27FC236}">
                  <a16:creationId xmlns:a16="http://schemas.microsoft.com/office/drawing/2014/main" id="{1542052B-ACD1-4069-A62D-DB3DE17F9DFB}"/>
                </a:ext>
              </a:extLst>
            </p:cNvPr>
            <p:cNvSpPr/>
            <p:nvPr/>
          </p:nvSpPr>
          <p:spPr>
            <a:xfrm rot="13089394">
              <a:off x="463440" y="2426400"/>
              <a:ext cx="272584" cy="319064"/>
            </a:xfrm>
            <a:custGeom>
              <a:avLst/>
              <a:gdLst>
                <a:gd name="connsiteX0" fmla="*/ 80445 w 272584"/>
                <a:gd name="connsiteY0" fmla="*/ 215518 h 319064"/>
                <a:gd name="connsiteX1" fmla="*/ 0 w 272584"/>
                <a:gd name="connsiteY1" fmla="*/ 93007 h 319064"/>
                <a:gd name="connsiteX2" fmla="*/ 0 w 272584"/>
                <a:gd name="connsiteY2" fmla="*/ 38074 h 319064"/>
                <a:gd name="connsiteX3" fmla="*/ 73388 w 272584"/>
                <a:gd name="connsiteY3" fmla="*/ 0 h 319064"/>
                <a:gd name="connsiteX4" fmla="*/ 74492 w 272584"/>
                <a:gd name="connsiteY4" fmla="*/ 153950 h 319064"/>
                <a:gd name="connsiteX5" fmla="*/ 76768 w 272584"/>
                <a:gd name="connsiteY5" fmla="*/ 200369 h 319064"/>
                <a:gd name="connsiteX6" fmla="*/ 272584 w 272584"/>
                <a:gd name="connsiteY6" fmla="*/ 258238 h 319064"/>
                <a:gd name="connsiteX7" fmla="*/ 177331 w 272584"/>
                <a:gd name="connsiteY7" fmla="*/ 311347 h 319064"/>
                <a:gd name="connsiteX8" fmla="*/ 148437 w 272584"/>
                <a:gd name="connsiteY8" fmla="*/ 319064 h 319064"/>
                <a:gd name="connsiteX9" fmla="*/ 119231 w 272584"/>
                <a:gd name="connsiteY9" fmla="*/ 274585 h 319064"/>
                <a:gd name="connsiteX10" fmla="*/ 153949 w 272584"/>
                <a:gd name="connsiteY10" fmla="*/ 281965 h 319064"/>
                <a:gd name="connsiteX11" fmla="*/ 203610 w 272584"/>
                <a:gd name="connsiteY11" fmla="*/ 273136 h 319064"/>
                <a:gd name="connsiteX12" fmla="*/ 271481 w 272584"/>
                <a:gd name="connsiteY12" fmla="*/ 245547 h 319064"/>
                <a:gd name="connsiteX13" fmla="*/ 272584 w 272584"/>
                <a:gd name="connsiteY13" fmla="*/ 252720 h 319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2584" h="319064">
                  <a:moveTo>
                    <a:pt x="80445" y="215518"/>
                  </a:moveTo>
                  <a:lnTo>
                    <a:pt x="0" y="93007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3664" y="169400"/>
                    <a:pt x="74492" y="184988"/>
                    <a:pt x="76768" y="200369"/>
                  </a:cubicBezTo>
                  <a:close/>
                  <a:moveTo>
                    <a:pt x="272584" y="258238"/>
                  </a:moveTo>
                  <a:cubicBezTo>
                    <a:pt x="243339" y="283344"/>
                    <a:pt x="209542" y="300312"/>
                    <a:pt x="177331" y="311347"/>
                  </a:cubicBezTo>
                  <a:lnTo>
                    <a:pt x="148437" y="319064"/>
                  </a:lnTo>
                  <a:lnTo>
                    <a:pt x="119231" y="274585"/>
                  </a:lnTo>
                  <a:lnTo>
                    <a:pt x="153949" y="281965"/>
                  </a:lnTo>
                  <a:cubicBezTo>
                    <a:pt x="171055" y="281413"/>
                    <a:pt x="187609" y="278102"/>
                    <a:pt x="203610" y="273136"/>
                  </a:cubicBezTo>
                  <a:cubicBezTo>
                    <a:pt x="226785" y="265963"/>
                    <a:pt x="249409" y="256583"/>
                    <a:pt x="271481" y="245547"/>
                  </a:cubicBezTo>
                  <a:cubicBezTo>
                    <a:pt x="272032" y="247754"/>
                    <a:pt x="272584" y="250513"/>
                    <a:pt x="272584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" name="Forme libre : forme 76">
              <a:extLst>
                <a:ext uri="{FF2B5EF4-FFF2-40B4-BE49-F238E27FC236}">
                  <a16:creationId xmlns:a16="http://schemas.microsoft.com/office/drawing/2014/main" id="{008086AB-D1B5-4A02-9688-BF0E6F507FBE}"/>
                </a:ext>
              </a:extLst>
            </p:cNvPr>
            <p:cNvSpPr/>
            <p:nvPr/>
          </p:nvSpPr>
          <p:spPr>
            <a:xfrm rot="8716295">
              <a:off x="675867" y="2357327"/>
              <a:ext cx="38012" cy="45752"/>
            </a:xfrm>
            <a:custGeom>
              <a:avLst/>
              <a:gdLst>
                <a:gd name="connsiteX0" fmla="*/ 0 w 38012"/>
                <a:gd name="connsiteY0" fmla="*/ 45752 h 45752"/>
                <a:gd name="connsiteX1" fmla="*/ 37842 w 38012"/>
                <a:gd name="connsiteY1" fmla="*/ 0 h 45752"/>
                <a:gd name="connsiteX2" fmla="*/ 38012 w 38012"/>
                <a:gd name="connsiteY2" fmla="*/ 641 h 45752"/>
                <a:gd name="connsiteX3" fmla="*/ 6841 w 38012"/>
                <a:gd name="connsiteY3" fmla="*/ 42560 h 45752"/>
                <a:gd name="connsiteX4" fmla="*/ 7378 w 38012"/>
                <a:gd name="connsiteY4" fmla="*/ 42560 h 45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012" h="45752">
                  <a:moveTo>
                    <a:pt x="0" y="45752"/>
                  </a:moveTo>
                  <a:lnTo>
                    <a:pt x="37842" y="0"/>
                  </a:lnTo>
                  <a:lnTo>
                    <a:pt x="38012" y="641"/>
                  </a:lnTo>
                  <a:cubicBezTo>
                    <a:pt x="36400" y="19451"/>
                    <a:pt x="24039" y="35036"/>
                    <a:pt x="6841" y="42560"/>
                  </a:cubicBezTo>
                  <a:lnTo>
                    <a:pt x="7378" y="425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" name="Forme libre : forme 77">
              <a:extLst>
                <a:ext uri="{FF2B5EF4-FFF2-40B4-BE49-F238E27FC236}">
                  <a16:creationId xmlns:a16="http://schemas.microsoft.com/office/drawing/2014/main" id="{9B2F10B6-851C-47E9-B83A-9B630209C4B4}"/>
                </a:ext>
              </a:extLst>
            </p:cNvPr>
            <p:cNvSpPr/>
            <p:nvPr/>
          </p:nvSpPr>
          <p:spPr>
            <a:xfrm rot="8716295">
              <a:off x="601197" y="21260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orme libre : forme 78">
              <a:extLst>
                <a:ext uri="{FF2B5EF4-FFF2-40B4-BE49-F238E27FC236}">
                  <a16:creationId xmlns:a16="http://schemas.microsoft.com/office/drawing/2014/main" id="{6C363324-5366-4BE0-9D94-DFCC2BE5B63F}"/>
                </a:ext>
              </a:extLst>
            </p:cNvPr>
            <p:cNvSpPr/>
            <p:nvPr/>
          </p:nvSpPr>
          <p:spPr>
            <a:xfrm rot="8716295">
              <a:off x="357951" y="21562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Forme libre : forme 79">
              <a:extLst>
                <a:ext uri="{FF2B5EF4-FFF2-40B4-BE49-F238E27FC236}">
                  <a16:creationId xmlns:a16="http://schemas.microsoft.com/office/drawing/2014/main" id="{9E637F42-3062-43A4-9D13-33DD5D4E936B}"/>
                </a:ext>
              </a:extLst>
            </p:cNvPr>
            <p:cNvSpPr/>
            <p:nvPr/>
          </p:nvSpPr>
          <p:spPr>
            <a:xfrm rot="8716295">
              <a:off x="535403" y="199698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" name="Forme libre : forme 80">
              <a:extLst>
                <a:ext uri="{FF2B5EF4-FFF2-40B4-BE49-F238E27FC236}">
                  <a16:creationId xmlns:a16="http://schemas.microsoft.com/office/drawing/2014/main" id="{B543A244-6E3B-4DEA-9891-1869B5B7D6A2}"/>
                </a:ext>
              </a:extLst>
            </p:cNvPr>
            <p:cNvSpPr/>
            <p:nvPr/>
          </p:nvSpPr>
          <p:spPr>
            <a:xfrm rot="8716295">
              <a:off x="-76043" y="1768178"/>
              <a:ext cx="197178" cy="215049"/>
            </a:xfrm>
            <a:custGeom>
              <a:avLst/>
              <a:gdLst>
                <a:gd name="connsiteX0" fmla="*/ 51490 w 197178"/>
                <a:gd name="connsiteY0" fmla="*/ 215049 h 215049"/>
                <a:gd name="connsiteX1" fmla="*/ 51490 w 197178"/>
                <a:gd name="connsiteY1" fmla="*/ 45624 h 215049"/>
                <a:gd name="connsiteX2" fmla="*/ 0 w 197178"/>
                <a:gd name="connsiteY2" fmla="*/ 45624 h 215049"/>
                <a:gd name="connsiteX3" fmla="*/ 0 w 197178"/>
                <a:gd name="connsiteY3" fmla="*/ 1424 h 215049"/>
                <a:gd name="connsiteX4" fmla="*/ 104803 w 197178"/>
                <a:gd name="connsiteY4" fmla="*/ 1425 h 215049"/>
                <a:gd name="connsiteX5" fmla="*/ 104803 w 197178"/>
                <a:gd name="connsiteY5" fmla="*/ 75242 h 215049"/>
                <a:gd name="connsiteX6" fmla="*/ 106169 w 197178"/>
                <a:gd name="connsiteY6" fmla="*/ 75242 h 215049"/>
                <a:gd name="connsiteX7" fmla="*/ 154014 w 197178"/>
                <a:gd name="connsiteY7" fmla="*/ 5981 h 215049"/>
                <a:gd name="connsiteX8" fmla="*/ 185455 w 197178"/>
                <a:gd name="connsiteY8" fmla="*/ 57 h 215049"/>
                <a:gd name="connsiteX9" fmla="*/ 197178 w 197178"/>
                <a:gd name="connsiteY9" fmla="*/ 4872 h 215049"/>
                <a:gd name="connsiteX10" fmla="*/ 170795 w 197178"/>
                <a:gd name="connsiteY10" fmla="*/ 42934 h 215049"/>
                <a:gd name="connsiteX11" fmla="*/ 164950 w 197178"/>
                <a:gd name="connsiteY11" fmla="*/ 40156 h 215049"/>
                <a:gd name="connsiteX12" fmla="*/ 111638 w 197178"/>
                <a:gd name="connsiteY12" fmla="*/ 127643 h 215049"/>
                <a:gd name="connsiteX13" fmla="*/ 111638 w 197178"/>
                <a:gd name="connsiteY13" fmla="*/ 128277 h 21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178" h="215049">
                  <a:moveTo>
                    <a:pt x="51490" y="215049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4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lnTo>
                    <a:pt x="197178" y="4872"/>
                  </a:lnTo>
                  <a:lnTo>
                    <a:pt x="170795" y="42934"/>
                  </a:lnTo>
                  <a:lnTo>
                    <a:pt x="164950" y="40156"/>
                  </a:ln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1282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orme libre : forme 81">
              <a:extLst>
                <a:ext uri="{FF2B5EF4-FFF2-40B4-BE49-F238E27FC236}">
                  <a16:creationId xmlns:a16="http://schemas.microsoft.com/office/drawing/2014/main" id="{5E1EF854-2162-442F-89D8-C209E584C6CD}"/>
                </a:ext>
              </a:extLst>
            </p:cNvPr>
            <p:cNvSpPr/>
            <p:nvPr/>
          </p:nvSpPr>
          <p:spPr>
            <a:xfrm rot="8716295">
              <a:off x="56555" y="14742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Forme libre : forme 82">
              <a:extLst>
                <a:ext uri="{FF2B5EF4-FFF2-40B4-BE49-F238E27FC236}">
                  <a16:creationId xmlns:a16="http://schemas.microsoft.com/office/drawing/2014/main" id="{18D9B3DC-64EA-4A25-9936-D0DEB0918428}"/>
                </a:ext>
              </a:extLst>
            </p:cNvPr>
            <p:cNvSpPr/>
            <p:nvPr/>
          </p:nvSpPr>
          <p:spPr>
            <a:xfrm rot="8716295">
              <a:off x="145947" y="15034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4" name="Forme libre : forme 83">
              <a:extLst>
                <a:ext uri="{FF2B5EF4-FFF2-40B4-BE49-F238E27FC236}">
                  <a16:creationId xmlns:a16="http://schemas.microsoft.com/office/drawing/2014/main" id="{09DE79A5-7E6F-42F4-BAE3-86955C2B68BA}"/>
                </a:ext>
              </a:extLst>
            </p:cNvPr>
            <p:cNvSpPr/>
            <p:nvPr/>
          </p:nvSpPr>
          <p:spPr>
            <a:xfrm rot="8716295">
              <a:off x="-21870" y="1443501"/>
              <a:ext cx="68614" cy="55323"/>
            </a:xfrm>
            <a:custGeom>
              <a:avLst/>
              <a:gdLst>
                <a:gd name="connsiteX0" fmla="*/ 0 w 68614"/>
                <a:gd name="connsiteY0" fmla="*/ 55323 h 55323"/>
                <a:gd name="connsiteX1" fmla="*/ 0 w 68614"/>
                <a:gd name="connsiteY1" fmla="*/ 0 h 55323"/>
                <a:gd name="connsiteX2" fmla="*/ 68614 w 68614"/>
                <a:gd name="connsiteY2" fmla="*/ 0 h 55323"/>
                <a:gd name="connsiteX3" fmla="*/ 30266 w 68614"/>
                <a:gd name="connsiteY3" fmla="*/ 55323 h 55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614" h="55323">
                  <a:moveTo>
                    <a:pt x="0" y="55323"/>
                  </a:moveTo>
                  <a:lnTo>
                    <a:pt x="0" y="0"/>
                  </a:lnTo>
                  <a:lnTo>
                    <a:pt x="68614" y="0"/>
                  </a:lnTo>
                  <a:lnTo>
                    <a:pt x="30266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5" name="Forme libre : forme 84">
              <a:extLst>
                <a:ext uri="{FF2B5EF4-FFF2-40B4-BE49-F238E27FC236}">
                  <a16:creationId xmlns:a16="http://schemas.microsoft.com/office/drawing/2014/main" id="{BF3B0698-561F-4C4D-847E-2B32780BA604}"/>
                </a:ext>
              </a:extLst>
            </p:cNvPr>
            <p:cNvSpPr/>
            <p:nvPr/>
          </p:nvSpPr>
          <p:spPr>
            <a:xfrm rot="8716295">
              <a:off x="35817" y="1618109"/>
              <a:ext cx="103435" cy="203897"/>
            </a:xfrm>
            <a:custGeom>
              <a:avLst/>
              <a:gdLst>
                <a:gd name="connsiteX0" fmla="*/ 87556 w 103435"/>
                <a:gd name="connsiteY0" fmla="*/ 203897 h 203897"/>
                <a:gd name="connsiteX1" fmla="*/ 43288 w 103435"/>
                <a:gd name="connsiteY1" fmla="*/ 161305 h 203897"/>
                <a:gd name="connsiteX2" fmla="*/ 43288 w 103435"/>
                <a:gd name="connsiteY2" fmla="*/ 16404 h 203897"/>
                <a:gd name="connsiteX3" fmla="*/ 0 w 103435"/>
                <a:gd name="connsiteY3" fmla="*/ 16404 h 203897"/>
                <a:gd name="connsiteX4" fmla="*/ 0 w 103435"/>
                <a:gd name="connsiteY4" fmla="*/ 2278 h 203897"/>
                <a:gd name="connsiteX5" fmla="*/ 103435 w 103435"/>
                <a:gd name="connsiteY5" fmla="*/ 0 h 203897"/>
                <a:gd name="connsiteX6" fmla="*/ 103435 w 103435"/>
                <a:gd name="connsiteY6" fmla="*/ 180989 h 203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03897">
                  <a:moveTo>
                    <a:pt x="87556" y="203897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1809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6" name="Forme libre : forme 85">
              <a:extLst>
                <a:ext uri="{FF2B5EF4-FFF2-40B4-BE49-F238E27FC236}">
                  <a16:creationId xmlns:a16="http://schemas.microsoft.com/office/drawing/2014/main" id="{7C271A8B-9C78-428F-B810-6F06C7D59A76}"/>
                </a:ext>
              </a:extLst>
            </p:cNvPr>
            <p:cNvSpPr/>
            <p:nvPr/>
          </p:nvSpPr>
          <p:spPr>
            <a:xfrm rot="7484129">
              <a:off x="139430" y="17950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7" name="Forme libre : forme 86">
              <a:extLst>
                <a:ext uri="{FF2B5EF4-FFF2-40B4-BE49-F238E27FC236}">
                  <a16:creationId xmlns:a16="http://schemas.microsoft.com/office/drawing/2014/main" id="{D36DE129-2836-4CBE-AD58-6C1713D6B3EE}"/>
                </a:ext>
              </a:extLst>
            </p:cNvPr>
            <p:cNvSpPr/>
            <p:nvPr/>
          </p:nvSpPr>
          <p:spPr>
            <a:xfrm rot="13089394">
              <a:off x="244250" y="17615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8" name="Forme libre : forme 87">
              <a:extLst>
                <a:ext uri="{FF2B5EF4-FFF2-40B4-BE49-F238E27FC236}">
                  <a16:creationId xmlns:a16="http://schemas.microsoft.com/office/drawing/2014/main" id="{79EA854C-B4CC-4CA7-8B2A-6C6BC24B199C}"/>
                </a:ext>
              </a:extLst>
            </p:cNvPr>
            <p:cNvSpPr/>
            <p:nvPr/>
          </p:nvSpPr>
          <p:spPr>
            <a:xfrm rot="8716295">
              <a:off x="429835" y="15699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9" name="Forme libre : forme 88">
              <a:extLst>
                <a:ext uri="{FF2B5EF4-FFF2-40B4-BE49-F238E27FC236}">
                  <a16:creationId xmlns:a16="http://schemas.microsoft.com/office/drawing/2014/main" id="{6B913878-9B85-4AB9-9126-9F632954B90F}"/>
                </a:ext>
              </a:extLst>
            </p:cNvPr>
            <p:cNvSpPr/>
            <p:nvPr/>
          </p:nvSpPr>
          <p:spPr>
            <a:xfrm rot="8716295">
              <a:off x="378030" y="14663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" name="Forme libre : forme 89">
              <a:extLst>
                <a:ext uri="{FF2B5EF4-FFF2-40B4-BE49-F238E27FC236}">
                  <a16:creationId xmlns:a16="http://schemas.microsoft.com/office/drawing/2014/main" id="{F162DFE3-5AFB-43AF-B410-9A244C9F4B59}"/>
                </a:ext>
              </a:extLst>
            </p:cNvPr>
            <p:cNvSpPr/>
            <p:nvPr/>
          </p:nvSpPr>
          <p:spPr>
            <a:xfrm rot="8716295">
              <a:off x="134784" y="14965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" name="Forme libre : forme 90">
              <a:extLst>
                <a:ext uri="{FF2B5EF4-FFF2-40B4-BE49-F238E27FC236}">
                  <a16:creationId xmlns:a16="http://schemas.microsoft.com/office/drawing/2014/main" id="{AC3582EB-A41A-446C-B180-6765259FBCEA}"/>
                </a:ext>
              </a:extLst>
            </p:cNvPr>
            <p:cNvSpPr/>
            <p:nvPr/>
          </p:nvSpPr>
          <p:spPr>
            <a:xfrm rot="8716295">
              <a:off x="312236" y="13372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" name="Forme libre : forme 91">
              <a:extLst>
                <a:ext uri="{FF2B5EF4-FFF2-40B4-BE49-F238E27FC236}">
                  <a16:creationId xmlns:a16="http://schemas.microsoft.com/office/drawing/2014/main" id="{B7D17BE7-3087-4D16-B830-BE754FB16667}"/>
                </a:ext>
              </a:extLst>
            </p:cNvPr>
            <p:cNvSpPr/>
            <p:nvPr/>
          </p:nvSpPr>
          <p:spPr>
            <a:xfrm rot="8716295">
              <a:off x="-17798" y="949199"/>
              <a:ext cx="39526" cy="50123"/>
            </a:xfrm>
            <a:custGeom>
              <a:avLst/>
              <a:gdLst>
                <a:gd name="connsiteX0" fmla="*/ 0 w 39526"/>
                <a:gd name="connsiteY0" fmla="*/ 50123 h 50123"/>
                <a:gd name="connsiteX1" fmla="*/ 0 w 39526"/>
                <a:gd name="connsiteY1" fmla="*/ 0 h 50123"/>
                <a:gd name="connsiteX2" fmla="*/ 39526 w 39526"/>
                <a:gd name="connsiteY2" fmla="*/ 0 h 50123"/>
                <a:gd name="connsiteX3" fmla="*/ 4782 w 39526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26" h="50123">
                  <a:moveTo>
                    <a:pt x="0" y="50123"/>
                  </a:moveTo>
                  <a:lnTo>
                    <a:pt x="0" y="0"/>
                  </a:lnTo>
                  <a:lnTo>
                    <a:pt x="39526" y="0"/>
                  </a:lnTo>
                  <a:lnTo>
                    <a:pt x="4782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" name="Forme libre : forme 92">
              <a:extLst>
                <a:ext uri="{FF2B5EF4-FFF2-40B4-BE49-F238E27FC236}">
                  <a16:creationId xmlns:a16="http://schemas.microsoft.com/office/drawing/2014/main" id="{2B1FCA7E-1DA9-4BE4-ACE8-6A5B3C76B12F}"/>
                </a:ext>
              </a:extLst>
            </p:cNvPr>
            <p:cNvSpPr/>
            <p:nvPr/>
          </p:nvSpPr>
          <p:spPr>
            <a:xfrm rot="8716295">
              <a:off x="-64996" y="834728"/>
              <a:ext cx="249650" cy="254774"/>
            </a:xfrm>
            <a:custGeom>
              <a:avLst/>
              <a:gdLst>
                <a:gd name="connsiteX0" fmla="*/ 51490 w 249650"/>
                <a:gd name="connsiteY0" fmla="*/ 254774 h 254774"/>
                <a:gd name="connsiteX1" fmla="*/ 51490 w 249650"/>
                <a:gd name="connsiteY1" fmla="*/ 45624 h 254774"/>
                <a:gd name="connsiteX2" fmla="*/ 0 w 249650"/>
                <a:gd name="connsiteY2" fmla="*/ 45624 h 254774"/>
                <a:gd name="connsiteX3" fmla="*/ 0 w 249650"/>
                <a:gd name="connsiteY3" fmla="*/ 1425 h 254774"/>
                <a:gd name="connsiteX4" fmla="*/ 104803 w 249650"/>
                <a:gd name="connsiteY4" fmla="*/ 1425 h 254774"/>
                <a:gd name="connsiteX5" fmla="*/ 104803 w 249650"/>
                <a:gd name="connsiteY5" fmla="*/ 75242 h 254774"/>
                <a:gd name="connsiteX6" fmla="*/ 106169 w 249650"/>
                <a:gd name="connsiteY6" fmla="*/ 75242 h 254774"/>
                <a:gd name="connsiteX7" fmla="*/ 154014 w 249650"/>
                <a:gd name="connsiteY7" fmla="*/ 5981 h 254774"/>
                <a:gd name="connsiteX8" fmla="*/ 185455 w 249650"/>
                <a:gd name="connsiteY8" fmla="*/ 57 h 254774"/>
                <a:gd name="connsiteX9" fmla="*/ 240647 w 249650"/>
                <a:gd name="connsiteY9" fmla="*/ 22727 h 254774"/>
                <a:gd name="connsiteX10" fmla="*/ 249650 w 249650"/>
                <a:gd name="connsiteY10" fmla="*/ 52327 h 254774"/>
                <a:gd name="connsiteX11" fmla="*/ 218795 w 249650"/>
                <a:gd name="connsiteY11" fmla="*/ 96841 h 254774"/>
                <a:gd name="connsiteX12" fmla="*/ 198669 w 249650"/>
                <a:gd name="connsiteY12" fmla="*/ 98025 h 254774"/>
                <a:gd name="connsiteX13" fmla="*/ 198669 w 249650"/>
                <a:gd name="connsiteY13" fmla="*/ 81621 h 254774"/>
                <a:gd name="connsiteX14" fmla="*/ 164950 w 249650"/>
                <a:gd name="connsiteY14" fmla="*/ 40156 h 254774"/>
                <a:gd name="connsiteX15" fmla="*/ 111638 w 249650"/>
                <a:gd name="connsiteY15" fmla="*/ 127643 h 254774"/>
                <a:gd name="connsiteX16" fmla="*/ 111638 w 249650"/>
                <a:gd name="connsiteY16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9650" h="254774">
                  <a:moveTo>
                    <a:pt x="51490" y="254774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08922" y="-398"/>
                    <a:pt x="227718" y="7576"/>
                    <a:pt x="240647" y="22727"/>
                  </a:cubicBezTo>
                  <a:lnTo>
                    <a:pt x="249650" y="52327"/>
                  </a:lnTo>
                  <a:lnTo>
                    <a:pt x="218795" y="96841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" name="Forme libre : forme 93">
              <a:extLst>
                <a:ext uri="{FF2B5EF4-FFF2-40B4-BE49-F238E27FC236}">
                  <a16:creationId xmlns:a16="http://schemas.microsoft.com/office/drawing/2014/main" id="{0E9593F0-A5A3-4981-A2E1-BBA808D790D1}"/>
                </a:ext>
              </a:extLst>
            </p:cNvPr>
            <p:cNvSpPr/>
            <p:nvPr/>
          </p:nvSpPr>
          <p:spPr>
            <a:xfrm rot="7484129">
              <a:off x="-63314" y="1172497"/>
              <a:ext cx="203848" cy="146395"/>
            </a:xfrm>
            <a:custGeom>
              <a:avLst/>
              <a:gdLst>
                <a:gd name="connsiteX0" fmla="*/ 0 w 203848"/>
                <a:gd name="connsiteY0" fmla="*/ 55323 h 146395"/>
                <a:gd name="connsiteX1" fmla="*/ 0 w 203848"/>
                <a:gd name="connsiteY1" fmla="*/ 0 h 146395"/>
                <a:gd name="connsiteX2" fmla="*/ 203848 w 203848"/>
                <a:gd name="connsiteY2" fmla="*/ 0 h 146395"/>
                <a:gd name="connsiteX3" fmla="*/ 203847 w 203848"/>
                <a:gd name="connsiteY3" fmla="*/ 49512 h 146395"/>
                <a:gd name="connsiteX4" fmla="*/ 195466 w 203848"/>
                <a:gd name="connsiteY4" fmla="*/ 55323 h 146395"/>
                <a:gd name="connsiteX5" fmla="*/ 139055 w 203848"/>
                <a:gd name="connsiteY5" fmla="*/ 55323 h 146395"/>
                <a:gd name="connsiteX6" fmla="*/ 121388 w 203848"/>
                <a:gd name="connsiteY6" fmla="*/ 106685 h 146395"/>
                <a:gd name="connsiteX7" fmla="*/ 64115 w 203848"/>
                <a:gd name="connsiteY7" fmla="*/ 146395 h 146395"/>
                <a:gd name="connsiteX8" fmla="*/ 47847 w 203848"/>
                <a:gd name="connsiteY8" fmla="*/ 116129 h 146395"/>
                <a:gd name="connsiteX9" fmla="*/ 69777 w 203848"/>
                <a:gd name="connsiteY9" fmla="*/ 55323 h 146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848" h="146395">
                  <a:moveTo>
                    <a:pt x="0" y="55323"/>
                  </a:moveTo>
                  <a:lnTo>
                    <a:pt x="0" y="0"/>
                  </a:lnTo>
                  <a:lnTo>
                    <a:pt x="203848" y="0"/>
                  </a:lnTo>
                  <a:lnTo>
                    <a:pt x="203847" y="49512"/>
                  </a:lnTo>
                  <a:lnTo>
                    <a:pt x="195466" y="55323"/>
                  </a:lnTo>
                  <a:lnTo>
                    <a:pt x="139055" y="55323"/>
                  </a:lnTo>
                  <a:lnTo>
                    <a:pt x="121388" y="106685"/>
                  </a:lnTo>
                  <a:lnTo>
                    <a:pt x="64115" y="146395"/>
                  </a:lnTo>
                  <a:lnTo>
                    <a:pt x="47847" y="116129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orme libre : forme 94">
              <a:extLst>
                <a:ext uri="{FF2B5EF4-FFF2-40B4-BE49-F238E27FC236}">
                  <a16:creationId xmlns:a16="http://schemas.microsoft.com/office/drawing/2014/main" id="{A6E76600-79D9-426B-9766-916282D4ABFE}"/>
                </a:ext>
              </a:extLst>
            </p:cNvPr>
            <p:cNvSpPr/>
            <p:nvPr/>
          </p:nvSpPr>
          <p:spPr>
            <a:xfrm rot="13089394">
              <a:off x="25311" y="109952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Forme libre : forme 95">
              <a:extLst>
                <a:ext uri="{FF2B5EF4-FFF2-40B4-BE49-F238E27FC236}">
                  <a16:creationId xmlns:a16="http://schemas.microsoft.com/office/drawing/2014/main" id="{1F255997-FD45-4250-B7D1-37AA1C212612}"/>
                </a:ext>
              </a:extLst>
            </p:cNvPr>
            <p:cNvSpPr/>
            <p:nvPr/>
          </p:nvSpPr>
          <p:spPr>
            <a:xfrm rot="8716295">
              <a:off x="210896" y="90784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" name="Forme libre : forme 96">
              <a:extLst>
                <a:ext uri="{FF2B5EF4-FFF2-40B4-BE49-F238E27FC236}">
                  <a16:creationId xmlns:a16="http://schemas.microsoft.com/office/drawing/2014/main" id="{6A36727B-2BE2-4161-AC0F-4C17D31824EA}"/>
                </a:ext>
              </a:extLst>
            </p:cNvPr>
            <p:cNvSpPr/>
            <p:nvPr/>
          </p:nvSpPr>
          <p:spPr>
            <a:xfrm rot="8716295">
              <a:off x="159091" y="80425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" name="Forme libre : forme 97">
              <a:extLst>
                <a:ext uri="{FF2B5EF4-FFF2-40B4-BE49-F238E27FC236}">
                  <a16:creationId xmlns:a16="http://schemas.microsoft.com/office/drawing/2014/main" id="{68E6EB3F-C519-4331-8DEC-97189DA5A2F9}"/>
                </a:ext>
              </a:extLst>
            </p:cNvPr>
            <p:cNvSpPr/>
            <p:nvPr/>
          </p:nvSpPr>
          <p:spPr>
            <a:xfrm rot="8716295">
              <a:off x="93297" y="67523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" name="Forme libre : forme 98">
              <a:extLst>
                <a:ext uri="{FF2B5EF4-FFF2-40B4-BE49-F238E27FC236}">
                  <a16:creationId xmlns:a16="http://schemas.microsoft.com/office/drawing/2014/main" id="{D6679E24-2A30-4105-9E55-76CEB4537132}"/>
                </a:ext>
              </a:extLst>
            </p:cNvPr>
            <p:cNvSpPr/>
            <p:nvPr/>
          </p:nvSpPr>
          <p:spPr>
            <a:xfrm rot="8716295">
              <a:off x="-7001" y="316701"/>
              <a:ext cx="14001" cy="20198"/>
            </a:xfrm>
            <a:custGeom>
              <a:avLst/>
              <a:gdLst>
                <a:gd name="connsiteX0" fmla="*/ 0 w 14001"/>
                <a:gd name="connsiteY0" fmla="*/ 20198 h 20198"/>
                <a:gd name="connsiteX1" fmla="*/ 0 w 14001"/>
                <a:gd name="connsiteY1" fmla="*/ 0 h 20198"/>
                <a:gd name="connsiteX2" fmla="*/ 14001 w 14001"/>
                <a:gd name="connsiteY2" fmla="*/ 0 h 2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01" h="20198">
                  <a:moveTo>
                    <a:pt x="0" y="20198"/>
                  </a:moveTo>
                  <a:lnTo>
                    <a:pt x="0" y="0"/>
                  </a:lnTo>
                  <a:lnTo>
                    <a:pt x="1400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orme libre : forme 99">
              <a:extLst>
                <a:ext uri="{FF2B5EF4-FFF2-40B4-BE49-F238E27FC236}">
                  <a16:creationId xmlns:a16="http://schemas.microsoft.com/office/drawing/2014/main" id="{0A78184A-E22F-4398-9ADF-6D98FA09F99E}"/>
                </a:ext>
              </a:extLst>
            </p:cNvPr>
            <p:cNvSpPr/>
            <p:nvPr/>
          </p:nvSpPr>
          <p:spPr>
            <a:xfrm rot="13089394">
              <a:off x="-81658" y="472652"/>
              <a:ext cx="173631" cy="237684"/>
            </a:xfrm>
            <a:custGeom>
              <a:avLst/>
              <a:gdLst>
                <a:gd name="connsiteX0" fmla="*/ 173631 w 173631"/>
                <a:gd name="connsiteY0" fmla="*/ 220990 h 237684"/>
                <a:gd name="connsiteX1" fmla="*/ 130972 w 173631"/>
                <a:gd name="connsiteY1" fmla="*/ 232382 h 237684"/>
                <a:gd name="connsiteX2" fmla="*/ 91597 w 173631"/>
                <a:gd name="connsiteY2" fmla="*/ 237521 h 237684"/>
                <a:gd name="connsiteX3" fmla="*/ 23727 w 173631"/>
                <a:gd name="connsiteY3" fmla="*/ 209931 h 237684"/>
                <a:gd name="connsiteX4" fmla="*/ 0 w 173631"/>
                <a:gd name="connsiteY4" fmla="*/ 115023 h 237684"/>
                <a:gd name="connsiteX5" fmla="*/ 0 w 173631"/>
                <a:gd name="connsiteY5" fmla="*/ 0 h 237684"/>
                <a:gd name="connsiteX6" fmla="*/ 76176 w 173631"/>
                <a:gd name="connsiteY6" fmla="*/ 96953 h 237684"/>
                <a:gd name="connsiteX7" fmla="*/ 76768 w 173631"/>
                <a:gd name="connsiteY7" fmla="*/ 109023 h 237684"/>
                <a:gd name="connsiteX8" fmla="*/ 87734 w 173631"/>
                <a:gd name="connsiteY8" fmla="*/ 154201 h 237684"/>
                <a:gd name="connsiteX9" fmla="*/ 111117 w 173631"/>
                <a:gd name="connsiteY9" fmla="*/ 181514 h 237684"/>
                <a:gd name="connsiteX10" fmla="*/ 148930 w 173631"/>
                <a:gd name="connsiteY10" fmla="*/ 189552 h 237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3631" h="237684">
                  <a:moveTo>
                    <a:pt x="173631" y="220990"/>
                  </a:moveTo>
                  <a:lnTo>
                    <a:pt x="130972" y="232382"/>
                  </a:lnTo>
                  <a:cubicBezTo>
                    <a:pt x="116428" y="235210"/>
                    <a:pt x="103047" y="236831"/>
                    <a:pt x="91597" y="237521"/>
                  </a:cubicBezTo>
                  <a:cubicBezTo>
                    <a:pt x="66215" y="239176"/>
                    <a:pt x="41384" y="228141"/>
                    <a:pt x="23727" y="209931"/>
                  </a:cubicBezTo>
                  <a:cubicBezTo>
                    <a:pt x="4966" y="191722"/>
                    <a:pt x="0" y="160270"/>
                    <a:pt x="0" y="115023"/>
                  </a:cubicBezTo>
                  <a:lnTo>
                    <a:pt x="0" y="0"/>
                  </a:lnTo>
                  <a:lnTo>
                    <a:pt x="76176" y="96953"/>
                  </a:lnTo>
                  <a:lnTo>
                    <a:pt x="76768" y="109023"/>
                  </a:lnTo>
                  <a:cubicBezTo>
                    <a:pt x="79044" y="124404"/>
                    <a:pt x="82768" y="139578"/>
                    <a:pt x="87734" y="154201"/>
                  </a:cubicBezTo>
                  <a:cubicBezTo>
                    <a:pt x="92149" y="166340"/>
                    <a:pt x="100012" y="175445"/>
                    <a:pt x="111117" y="181514"/>
                  </a:cubicBezTo>
                  <a:lnTo>
                    <a:pt x="148930" y="1895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Forme libre : forme 100">
              <a:extLst>
                <a:ext uri="{FF2B5EF4-FFF2-40B4-BE49-F238E27FC236}">
                  <a16:creationId xmlns:a16="http://schemas.microsoft.com/office/drawing/2014/main" id="{AD07E803-83BA-4CC0-BF0B-A773586C07A0}"/>
                </a:ext>
              </a:extLst>
            </p:cNvPr>
            <p:cNvSpPr/>
            <p:nvPr/>
          </p:nvSpPr>
          <p:spPr>
            <a:xfrm rot="8716295">
              <a:off x="-11774" y="24443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" name="Forme libre : forme 101">
              <a:extLst>
                <a:ext uri="{FF2B5EF4-FFF2-40B4-BE49-F238E27FC236}">
                  <a16:creationId xmlns:a16="http://schemas.microsoft.com/office/drawing/2014/main" id="{D7DD021A-277F-41FC-B62D-7AD8FCE94AB8}"/>
                </a:ext>
              </a:extLst>
            </p:cNvPr>
            <p:cNvSpPr/>
            <p:nvPr/>
          </p:nvSpPr>
          <p:spPr>
            <a:xfrm rot="8716295">
              <a:off x="-30092" y="143486"/>
              <a:ext cx="77721" cy="97260"/>
            </a:xfrm>
            <a:custGeom>
              <a:avLst/>
              <a:gdLst>
                <a:gd name="connsiteX0" fmla="*/ 15821 w 77721"/>
                <a:gd name="connsiteY0" fmla="*/ 97260 h 97260"/>
                <a:gd name="connsiteX1" fmla="*/ 0 w 77721"/>
                <a:gd name="connsiteY1" fmla="*/ 59790 h 97260"/>
                <a:gd name="connsiteX2" fmla="*/ 0 w 77721"/>
                <a:gd name="connsiteY2" fmla="*/ 58869 h 97260"/>
                <a:gd name="connsiteX3" fmla="*/ 17477 w 77721"/>
                <a:gd name="connsiteY3" fmla="*/ 17477 h 97260"/>
                <a:gd name="connsiteX4" fmla="*/ 58869 w 77721"/>
                <a:gd name="connsiteY4" fmla="*/ 0 h 97260"/>
                <a:gd name="connsiteX5" fmla="*/ 77721 w 77721"/>
                <a:gd name="connsiteY5" fmla="*/ 7960 h 97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721" h="97260">
                  <a:moveTo>
                    <a:pt x="15821" y="97260"/>
                  </a:moveTo>
                  <a:lnTo>
                    <a:pt x="0" y="59790"/>
                  </a:ln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lnTo>
                    <a:pt x="77721" y="79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" name="Forme libre : forme 102">
              <a:extLst>
                <a:ext uri="{FF2B5EF4-FFF2-40B4-BE49-F238E27FC236}">
                  <a16:creationId xmlns:a16="http://schemas.microsoft.com/office/drawing/2014/main" id="{4776F911-AFBC-41FE-BE2B-77BA9B6B6148}"/>
                </a:ext>
              </a:extLst>
            </p:cNvPr>
            <p:cNvSpPr/>
            <p:nvPr/>
          </p:nvSpPr>
          <p:spPr>
            <a:xfrm rot="8716295">
              <a:off x="-17797" y="3452694"/>
              <a:ext cx="58455" cy="44199"/>
            </a:xfrm>
            <a:custGeom>
              <a:avLst/>
              <a:gdLst>
                <a:gd name="connsiteX0" fmla="*/ 0 w 58455"/>
                <a:gd name="connsiteY0" fmla="*/ 44199 h 44199"/>
                <a:gd name="connsiteX1" fmla="*/ 0 w 58455"/>
                <a:gd name="connsiteY1" fmla="*/ 0 h 44199"/>
                <a:gd name="connsiteX2" fmla="*/ 58455 w 58455"/>
                <a:gd name="connsiteY2" fmla="*/ 0 h 44199"/>
                <a:gd name="connsiteX3" fmla="*/ 27817 w 58455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55" h="44199">
                  <a:moveTo>
                    <a:pt x="0" y="44199"/>
                  </a:moveTo>
                  <a:lnTo>
                    <a:pt x="0" y="0"/>
                  </a:lnTo>
                  <a:lnTo>
                    <a:pt x="58455" y="0"/>
                  </a:lnTo>
                  <a:lnTo>
                    <a:pt x="27817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" name="Forme libre : forme 103">
              <a:extLst>
                <a:ext uri="{FF2B5EF4-FFF2-40B4-BE49-F238E27FC236}">
                  <a16:creationId xmlns:a16="http://schemas.microsoft.com/office/drawing/2014/main" id="{33763C32-3833-42AB-BA5F-981A96FDD6C2}"/>
                </a:ext>
              </a:extLst>
            </p:cNvPr>
            <p:cNvSpPr/>
            <p:nvPr/>
          </p:nvSpPr>
          <p:spPr>
            <a:xfrm rot="13089394">
              <a:off x="-91485" y="3601812"/>
              <a:ext cx="206527" cy="292654"/>
            </a:xfrm>
            <a:custGeom>
              <a:avLst/>
              <a:gdLst>
                <a:gd name="connsiteX0" fmla="*/ 206527 w 206527"/>
                <a:gd name="connsiteY0" fmla="*/ 258693 h 292654"/>
                <a:gd name="connsiteX1" fmla="*/ 177331 w 206527"/>
                <a:gd name="connsiteY1" fmla="*/ 274971 h 292654"/>
                <a:gd name="connsiteX2" fmla="*/ 91597 w 206527"/>
                <a:gd name="connsiteY2" fmla="*/ 292491 h 292654"/>
                <a:gd name="connsiteX3" fmla="*/ 23727 w 206527"/>
                <a:gd name="connsiteY3" fmla="*/ 264901 h 292654"/>
                <a:gd name="connsiteX4" fmla="*/ 0 w 206527"/>
                <a:gd name="connsiteY4" fmla="*/ 169993 h 292654"/>
                <a:gd name="connsiteX5" fmla="*/ 0 w 206527"/>
                <a:gd name="connsiteY5" fmla="*/ 1698 h 292654"/>
                <a:gd name="connsiteX6" fmla="*/ 3273 w 206527"/>
                <a:gd name="connsiteY6" fmla="*/ 0 h 292654"/>
                <a:gd name="connsiteX7" fmla="*/ 74297 w 206527"/>
                <a:gd name="connsiteY7" fmla="*/ 90396 h 292654"/>
                <a:gd name="connsiteX8" fmla="*/ 74492 w 206527"/>
                <a:gd name="connsiteY8" fmla="*/ 117574 h 292654"/>
                <a:gd name="connsiteX9" fmla="*/ 87734 w 206527"/>
                <a:gd name="connsiteY9" fmla="*/ 209171 h 292654"/>
                <a:gd name="connsiteX10" fmla="*/ 153949 w 206527"/>
                <a:gd name="connsiteY10" fmla="*/ 245589 h 292654"/>
                <a:gd name="connsiteX11" fmla="*/ 191049 w 206527"/>
                <a:gd name="connsiteY11" fmla="*/ 238993 h 292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527" h="292654">
                  <a:moveTo>
                    <a:pt x="206527" y="258693"/>
                  </a:moveTo>
                  <a:lnTo>
                    <a:pt x="177331" y="274971"/>
                  </a:lnTo>
                  <a:cubicBezTo>
                    <a:pt x="145121" y="286007"/>
                    <a:pt x="114496" y="291111"/>
                    <a:pt x="91597" y="292491"/>
                  </a:cubicBezTo>
                  <a:cubicBezTo>
                    <a:pt x="66215" y="294146"/>
                    <a:pt x="41385" y="283111"/>
                    <a:pt x="23727" y="264901"/>
                  </a:cubicBezTo>
                  <a:cubicBezTo>
                    <a:pt x="4966" y="246692"/>
                    <a:pt x="0" y="215240"/>
                    <a:pt x="0" y="169993"/>
                  </a:cubicBezTo>
                  <a:lnTo>
                    <a:pt x="0" y="1698"/>
                  </a:lnTo>
                  <a:lnTo>
                    <a:pt x="3273" y="0"/>
                  </a:lnTo>
                  <a:lnTo>
                    <a:pt x="74297" y="90396"/>
                  </a:lnTo>
                  <a:lnTo>
                    <a:pt x="74492" y="117574"/>
                  </a:lnTo>
                  <a:cubicBezTo>
                    <a:pt x="72836" y="148474"/>
                    <a:pt x="77802" y="179926"/>
                    <a:pt x="87734" y="209171"/>
                  </a:cubicBezTo>
                  <a:cubicBezTo>
                    <a:pt x="96564" y="233450"/>
                    <a:pt x="119187" y="245589"/>
                    <a:pt x="153949" y="245589"/>
                  </a:cubicBezTo>
                  <a:lnTo>
                    <a:pt x="191049" y="2389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" name="Forme libre : forme 104">
              <a:extLst>
                <a:ext uri="{FF2B5EF4-FFF2-40B4-BE49-F238E27FC236}">
                  <a16:creationId xmlns:a16="http://schemas.microsoft.com/office/drawing/2014/main" id="{2884ED04-80A3-4E4F-8446-F1E8822CAE35}"/>
                </a:ext>
              </a:extLst>
            </p:cNvPr>
            <p:cNvSpPr/>
            <p:nvPr/>
          </p:nvSpPr>
          <p:spPr>
            <a:xfrm rot="8716295">
              <a:off x="24761" y="33896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" name="Forme libre : forme 105">
              <a:extLst>
                <a:ext uri="{FF2B5EF4-FFF2-40B4-BE49-F238E27FC236}">
                  <a16:creationId xmlns:a16="http://schemas.microsoft.com/office/drawing/2014/main" id="{31CC9695-68DF-410B-864E-7B9EA5DA2286}"/>
                </a:ext>
              </a:extLst>
            </p:cNvPr>
            <p:cNvSpPr/>
            <p:nvPr/>
          </p:nvSpPr>
          <p:spPr>
            <a:xfrm rot="8716295">
              <a:off x="-24047" y="3281741"/>
              <a:ext cx="106042" cy="113733"/>
            </a:xfrm>
            <a:custGeom>
              <a:avLst/>
              <a:gdLst>
                <a:gd name="connsiteX0" fmla="*/ 17477 w 106042"/>
                <a:gd name="connsiteY0" fmla="*/ 101182 h 113733"/>
                <a:gd name="connsiteX1" fmla="*/ 0 w 106042"/>
                <a:gd name="connsiteY1" fmla="*/ 59790 h 113733"/>
                <a:gd name="connsiteX2" fmla="*/ 0 w 106042"/>
                <a:gd name="connsiteY2" fmla="*/ 58869 h 113733"/>
                <a:gd name="connsiteX3" fmla="*/ 17477 w 106042"/>
                <a:gd name="connsiteY3" fmla="*/ 17477 h 113733"/>
                <a:gd name="connsiteX4" fmla="*/ 58869 w 106042"/>
                <a:gd name="connsiteY4" fmla="*/ 0 h 113733"/>
                <a:gd name="connsiteX5" fmla="*/ 100262 w 106042"/>
                <a:gd name="connsiteY5" fmla="*/ 17477 h 113733"/>
                <a:gd name="connsiteX6" fmla="*/ 106042 w 106042"/>
                <a:gd name="connsiteY6" fmla="*/ 31234 h 113733"/>
                <a:gd name="connsiteX7" fmla="*/ 48856 w 106042"/>
                <a:gd name="connsiteY7" fmla="*/ 113733 h 11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042" h="113733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cubicBezTo>
                    <a:pt x="74507" y="0"/>
                    <a:pt x="89224" y="6439"/>
                    <a:pt x="100262" y="17477"/>
                  </a:cubicBezTo>
                  <a:lnTo>
                    <a:pt x="106042" y="31234"/>
                  </a:lnTo>
                  <a:lnTo>
                    <a:pt x="48856" y="1137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" name="Forme libre : forme 106">
              <a:extLst>
                <a:ext uri="{FF2B5EF4-FFF2-40B4-BE49-F238E27FC236}">
                  <a16:creationId xmlns:a16="http://schemas.microsoft.com/office/drawing/2014/main" id="{1798CCB7-EC4B-437B-AB85-16FA76906419}"/>
                </a:ext>
              </a:extLst>
            </p:cNvPr>
            <p:cNvSpPr/>
            <p:nvPr/>
          </p:nvSpPr>
          <p:spPr>
            <a:xfrm rot="8716295">
              <a:off x="-21924" y="3179872"/>
              <a:ext cx="45776" cy="62656"/>
            </a:xfrm>
            <a:custGeom>
              <a:avLst/>
              <a:gdLst>
                <a:gd name="connsiteX0" fmla="*/ 2345 w 45776"/>
                <a:gd name="connsiteY0" fmla="*/ 62656 h 62656"/>
                <a:gd name="connsiteX1" fmla="*/ 0 w 45776"/>
                <a:gd name="connsiteY1" fmla="*/ 57104 h 62656"/>
                <a:gd name="connsiteX2" fmla="*/ 0 w 45776"/>
                <a:gd name="connsiteY2" fmla="*/ 56183 h 62656"/>
                <a:gd name="connsiteX3" fmla="*/ 17477 w 45776"/>
                <a:gd name="connsiteY3" fmla="*/ 14791 h 62656"/>
                <a:gd name="connsiteX4" fmla="*/ 36449 w 45776"/>
                <a:gd name="connsiteY4" fmla="*/ 1913 h 62656"/>
                <a:gd name="connsiteX5" fmla="*/ 45776 w 45776"/>
                <a:gd name="connsiteY5" fmla="*/ 0 h 62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776" h="62656">
                  <a:moveTo>
                    <a:pt x="2345" y="62656"/>
                  </a:moveTo>
                  <a:lnTo>
                    <a:pt x="0" y="57104"/>
                  </a:lnTo>
                  <a:lnTo>
                    <a:pt x="0" y="56183"/>
                  </a:lnTo>
                  <a:cubicBezTo>
                    <a:pt x="0" y="40547"/>
                    <a:pt x="6439" y="25829"/>
                    <a:pt x="17477" y="14791"/>
                  </a:cubicBezTo>
                  <a:cubicBezTo>
                    <a:pt x="22996" y="9272"/>
                    <a:pt x="29435" y="4903"/>
                    <a:pt x="36449" y="1913"/>
                  </a:cubicBezTo>
                  <a:lnTo>
                    <a:pt x="4577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" name="Forme libre : forme 107">
              <a:extLst>
                <a:ext uri="{FF2B5EF4-FFF2-40B4-BE49-F238E27FC236}">
                  <a16:creationId xmlns:a16="http://schemas.microsoft.com/office/drawing/2014/main" id="{6EA1D3A3-3395-441B-A805-B0DD713086F0}"/>
                </a:ext>
              </a:extLst>
            </p:cNvPr>
            <p:cNvSpPr/>
            <p:nvPr/>
          </p:nvSpPr>
          <p:spPr>
            <a:xfrm rot="8716295">
              <a:off x="-21324" y="4100649"/>
              <a:ext cx="79113" cy="50123"/>
            </a:xfrm>
            <a:custGeom>
              <a:avLst/>
              <a:gdLst>
                <a:gd name="connsiteX0" fmla="*/ 0 w 79113"/>
                <a:gd name="connsiteY0" fmla="*/ 50123 h 50123"/>
                <a:gd name="connsiteX1" fmla="*/ 0 w 79113"/>
                <a:gd name="connsiteY1" fmla="*/ 0 h 50123"/>
                <a:gd name="connsiteX2" fmla="*/ 79113 w 79113"/>
                <a:gd name="connsiteY2" fmla="*/ 0 h 50123"/>
                <a:gd name="connsiteX3" fmla="*/ 44369 w 79113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113" h="50123">
                  <a:moveTo>
                    <a:pt x="0" y="50123"/>
                  </a:moveTo>
                  <a:lnTo>
                    <a:pt x="0" y="0"/>
                  </a:lnTo>
                  <a:lnTo>
                    <a:pt x="79113" y="0"/>
                  </a:lnTo>
                  <a:lnTo>
                    <a:pt x="44369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" name="Forme libre : forme 108">
              <a:extLst>
                <a:ext uri="{FF2B5EF4-FFF2-40B4-BE49-F238E27FC236}">
                  <a16:creationId xmlns:a16="http://schemas.microsoft.com/office/drawing/2014/main" id="{441E37C8-B014-48F8-9D8A-E28C0A81E8F3}"/>
                </a:ext>
              </a:extLst>
            </p:cNvPr>
            <p:cNvSpPr/>
            <p:nvPr/>
          </p:nvSpPr>
          <p:spPr>
            <a:xfrm rot="8716295">
              <a:off x="-40457" y="398156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" name="Forme libre : forme 109">
              <a:extLst>
                <a:ext uri="{FF2B5EF4-FFF2-40B4-BE49-F238E27FC236}">
                  <a16:creationId xmlns:a16="http://schemas.microsoft.com/office/drawing/2014/main" id="{F00696DB-228C-441B-90E6-48605040C93E}"/>
                </a:ext>
              </a:extLst>
            </p:cNvPr>
            <p:cNvSpPr/>
            <p:nvPr/>
          </p:nvSpPr>
          <p:spPr>
            <a:xfrm rot="7484129">
              <a:off x="-46974" y="427316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" name="Forme libre : forme 110">
              <a:extLst>
                <a:ext uri="{FF2B5EF4-FFF2-40B4-BE49-F238E27FC236}">
                  <a16:creationId xmlns:a16="http://schemas.microsoft.com/office/drawing/2014/main" id="{9A6E1EC7-4FA0-43D8-BEC4-78E0A6587EAD}"/>
                </a:ext>
              </a:extLst>
            </p:cNvPr>
            <p:cNvSpPr/>
            <p:nvPr/>
          </p:nvSpPr>
          <p:spPr>
            <a:xfrm rot="13089394">
              <a:off x="57846" y="423970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" name="Forme libre : forme 111">
              <a:extLst>
                <a:ext uri="{FF2B5EF4-FFF2-40B4-BE49-F238E27FC236}">
                  <a16:creationId xmlns:a16="http://schemas.microsoft.com/office/drawing/2014/main" id="{80389F25-A4FB-4DBD-9B89-4F2BFC751AF3}"/>
                </a:ext>
              </a:extLst>
            </p:cNvPr>
            <p:cNvSpPr/>
            <p:nvPr/>
          </p:nvSpPr>
          <p:spPr>
            <a:xfrm rot="8716295">
              <a:off x="243431" y="404801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" name="Forme libre : forme 112">
              <a:extLst>
                <a:ext uri="{FF2B5EF4-FFF2-40B4-BE49-F238E27FC236}">
                  <a16:creationId xmlns:a16="http://schemas.microsoft.com/office/drawing/2014/main" id="{04EEF1E4-3A54-4E97-9251-258A8E514A0A}"/>
                </a:ext>
              </a:extLst>
            </p:cNvPr>
            <p:cNvSpPr/>
            <p:nvPr/>
          </p:nvSpPr>
          <p:spPr>
            <a:xfrm rot="8716295">
              <a:off x="191626" y="39444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" name="Forme libre : forme 113">
              <a:extLst>
                <a:ext uri="{FF2B5EF4-FFF2-40B4-BE49-F238E27FC236}">
                  <a16:creationId xmlns:a16="http://schemas.microsoft.com/office/drawing/2014/main" id="{6E5BBE1F-D3AC-46AF-8453-7400C641EAAA}"/>
                </a:ext>
              </a:extLst>
            </p:cNvPr>
            <p:cNvSpPr/>
            <p:nvPr/>
          </p:nvSpPr>
          <p:spPr>
            <a:xfrm rot="8716295">
              <a:off x="125832" y="381540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" name="Forme libre : forme 114">
              <a:extLst>
                <a:ext uri="{FF2B5EF4-FFF2-40B4-BE49-F238E27FC236}">
                  <a16:creationId xmlns:a16="http://schemas.microsoft.com/office/drawing/2014/main" id="{8071E294-ECD8-45A0-992E-907B1B9AB08E}"/>
                </a:ext>
              </a:extLst>
            </p:cNvPr>
            <p:cNvSpPr/>
            <p:nvPr/>
          </p:nvSpPr>
          <p:spPr>
            <a:xfrm rot="8716295">
              <a:off x="-73048" y="4876828"/>
              <a:ext cx="221382" cy="253349"/>
            </a:xfrm>
            <a:custGeom>
              <a:avLst/>
              <a:gdLst>
                <a:gd name="connsiteX0" fmla="*/ 51490 w 221382"/>
                <a:gd name="connsiteY0" fmla="*/ 253349 h 253349"/>
                <a:gd name="connsiteX1" fmla="*/ 51490 w 221382"/>
                <a:gd name="connsiteY1" fmla="*/ 44199 h 253349"/>
                <a:gd name="connsiteX2" fmla="*/ 0 w 221382"/>
                <a:gd name="connsiteY2" fmla="*/ 44199 h 253349"/>
                <a:gd name="connsiteX3" fmla="*/ 0 w 221382"/>
                <a:gd name="connsiteY3" fmla="*/ 0 h 253349"/>
                <a:gd name="connsiteX4" fmla="*/ 104803 w 221382"/>
                <a:gd name="connsiteY4" fmla="*/ 0 h 253349"/>
                <a:gd name="connsiteX5" fmla="*/ 104802 w 221382"/>
                <a:gd name="connsiteY5" fmla="*/ 73817 h 253349"/>
                <a:gd name="connsiteX6" fmla="*/ 106169 w 221382"/>
                <a:gd name="connsiteY6" fmla="*/ 73817 h 253349"/>
                <a:gd name="connsiteX7" fmla="*/ 154014 w 221382"/>
                <a:gd name="connsiteY7" fmla="*/ 4556 h 253349"/>
                <a:gd name="connsiteX8" fmla="*/ 174650 w 221382"/>
                <a:gd name="connsiteY8" fmla="*/ 668 h 253349"/>
                <a:gd name="connsiteX9" fmla="*/ 214075 w 221382"/>
                <a:gd name="connsiteY9" fmla="*/ 27996 h 253349"/>
                <a:gd name="connsiteX10" fmla="*/ 221382 w 221382"/>
                <a:gd name="connsiteY10" fmla="*/ 33060 h 253349"/>
                <a:gd name="connsiteX11" fmla="*/ 195540 w 221382"/>
                <a:gd name="connsiteY11" fmla="*/ 70341 h 253349"/>
                <a:gd name="connsiteX12" fmla="*/ 189157 w 221382"/>
                <a:gd name="connsiteY12" fmla="*/ 50236 h 253349"/>
                <a:gd name="connsiteX13" fmla="*/ 164950 w 221382"/>
                <a:gd name="connsiteY13" fmla="*/ 38731 h 253349"/>
                <a:gd name="connsiteX14" fmla="*/ 111638 w 221382"/>
                <a:gd name="connsiteY14" fmla="*/ 126218 h 253349"/>
                <a:gd name="connsiteX15" fmla="*/ 111638 w 221382"/>
                <a:gd name="connsiteY15" fmla="*/ 191383 h 253349"/>
                <a:gd name="connsiteX16" fmla="*/ 84096 w 221382"/>
                <a:gd name="connsiteY16" fmla="*/ 231117 h 253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1382" h="253349">
                  <a:moveTo>
                    <a:pt x="51490" y="253349"/>
                  </a:moveTo>
                  <a:lnTo>
                    <a:pt x="51490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104803" y="0"/>
                  </a:lnTo>
                  <a:lnTo>
                    <a:pt x="104802" y="73817"/>
                  </a:lnTo>
                  <a:lnTo>
                    <a:pt x="106169" y="73817"/>
                  </a:lnTo>
                  <a:cubicBezTo>
                    <a:pt x="120751" y="30529"/>
                    <a:pt x="132142" y="13670"/>
                    <a:pt x="154014" y="4556"/>
                  </a:cubicBezTo>
                  <a:lnTo>
                    <a:pt x="174650" y="668"/>
                  </a:lnTo>
                  <a:lnTo>
                    <a:pt x="214075" y="27996"/>
                  </a:lnTo>
                  <a:lnTo>
                    <a:pt x="221382" y="33060"/>
                  </a:lnTo>
                  <a:lnTo>
                    <a:pt x="195540" y="70341"/>
                  </a:lnTo>
                  <a:lnTo>
                    <a:pt x="189157" y="50236"/>
                  </a:lnTo>
                  <a:cubicBezTo>
                    <a:pt x="183177" y="42946"/>
                    <a:pt x="174747" y="38731"/>
                    <a:pt x="164950" y="38731"/>
                  </a:cubicBezTo>
                  <a:cubicBezTo>
                    <a:pt x="135788" y="38731"/>
                    <a:pt x="111638" y="77463"/>
                    <a:pt x="111638" y="126218"/>
                  </a:cubicBezTo>
                  <a:lnTo>
                    <a:pt x="111638" y="191383"/>
                  </a:lnTo>
                  <a:lnTo>
                    <a:pt x="84096" y="2311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" name="Forme libre : forme 115">
              <a:extLst>
                <a:ext uri="{FF2B5EF4-FFF2-40B4-BE49-F238E27FC236}">
                  <a16:creationId xmlns:a16="http://schemas.microsoft.com/office/drawing/2014/main" id="{E67B14CE-B3ED-42B6-983E-18D9D51B5069}"/>
                </a:ext>
              </a:extLst>
            </p:cNvPr>
            <p:cNvSpPr/>
            <p:nvPr/>
          </p:nvSpPr>
          <p:spPr>
            <a:xfrm rot="8716295">
              <a:off x="93318" y="46120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" name="Forme libre : forme 116">
              <a:extLst>
                <a:ext uri="{FF2B5EF4-FFF2-40B4-BE49-F238E27FC236}">
                  <a16:creationId xmlns:a16="http://schemas.microsoft.com/office/drawing/2014/main" id="{5F92E036-918D-4A69-A634-EF67D2AA85CF}"/>
                </a:ext>
              </a:extLst>
            </p:cNvPr>
            <p:cNvSpPr/>
            <p:nvPr/>
          </p:nvSpPr>
          <p:spPr>
            <a:xfrm rot="8716295">
              <a:off x="182710" y="46412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" name="Forme libre : forme 117">
              <a:extLst>
                <a:ext uri="{FF2B5EF4-FFF2-40B4-BE49-F238E27FC236}">
                  <a16:creationId xmlns:a16="http://schemas.microsoft.com/office/drawing/2014/main" id="{51C689BA-330C-44EA-8320-9417DA402819}"/>
                </a:ext>
              </a:extLst>
            </p:cNvPr>
            <p:cNvSpPr/>
            <p:nvPr/>
          </p:nvSpPr>
          <p:spPr>
            <a:xfrm rot="8716295">
              <a:off x="-14524" y="4699631"/>
              <a:ext cx="49997" cy="54238"/>
            </a:xfrm>
            <a:custGeom>
              <a:avLst/>
              <a:gdLst>
                <a:gd name="connsiteX0" fmla="*/ 8658 w 49997"/>
                <a:gd name="connsiteY0" fmla="*/ 50123 h 54238"/>
                <a:gd name="connsiteX1" fmla="*/ 0 w 49997"/>
                <a:gd name="connsiteY1" fmla="*/ 29619 h 54238"/>
                <a:gd name="connsiteX2" fmla="*/ 0 w 49997"/>
                <a:gd name="connsiteY2" fmla="*/ 29162 h 54238"/>
                <a:gd name="connsiteX3" fmla="*/ 8658 w 49997"/>
                <a:gd name="connsiteY3" fmla="*/ 8658 h 54238"/>
                <a:gd name="connsiteX4" fmla="*/ 29163 w 49997"/>
                <a:gd name="connsiteY4" fmla="*/ 0 h 54238"/>
                <a:gd name="connsiteX5" fmla="*/ 49668 w 49997"/>
                <a:gd name="connsiteY5" fmla="*/ 8658 h 54238"/>
                <a:gd name="connsiteX6" fmla="*/ 49997 w 49997"/>
                <a:gd name="connsiteY6" fmla="*/ 9441 h 54238"/>
                <a:gd name="connsiteX7" fmla="*/ 18945 w 49997"/>
                <a:gd name="connsiteY7" fmla="*/ 54238 h 54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997" h="54238">
                  <a:moveTo>
                    <a:pt x="8658" y="50123"/>
                  </a:moveTo>
                  <a:cubicBezTo>
                    <a:pt x="3190" y="44655"/>
                    <a:pt x="0" y="37365"/>
                    <a:pt x="0" y="29619"/>
                  </a:cubicBezTo>
                  <a:lnTo>
                    <a:pt x="0" y="29162"/>
                  </a:lnTo>
                  <a:cubicBezTo>
                    <a:pt x="0" y="21417"/>
                    <a:pt x="3190" y="14126"/>
                    <a:pt x="8658" y="8658"/>
                  </a:cubicBezTo>
                  <a:cubicBezTo>
                    <a:pt x="14126" y="3190"/>
                    <a:pt x="21416" y="0"/>
                    <a:pt x="29163" y="0"/>
                  </a:cubicBezTo>
                  <a:cubicBezTo>
                    <a:pt x="36909" y="0"/>
                    <a:pt x="44200" y="3190"/>
                    <a:pt x="49668" y="8658"/>
                  </a:cubicBezTo>
                  <a:lnTo>
                    <a:pt x="49997" y="9441"/>
                  </a:lnTo>
                  <a:lnTo>
                    <a:pt x="18945" y="54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" name="Forme libre : forme 118">
              <a:extLst>
                <a:ext uri="{FF2B5EF4-FFF2-40B4-BE49-F238E27FC236}">
                  <a16:creationId xmlns:a16="http://schemas.microsoft.com/office/drawing/2014/main" id="{F2474D32-2245-427E-9F4C-2458D31C5E60}"/>
                </a:ext>
              </a:extLst>
            </p:cNvPr>
            <p:cNvSpPr/>
            <p:nvPr/>
          </p:nvSpPr>
          <p:spPr>
            <a:xfrm rot="8716295">
              <a:off x="-30327" y="4579755"/>
              <a:ext cx="113346" cy="71024"/>
            </a:xfrm>
            <a:custGeom>
              <a:avLst/>
              <a:gdLst>
                <a:gd name="connsiteX0" fmla="*/ 0 w 113346"/>
                <a:gd name="connsiteY0" fmla="*/ 55323 h 71024"/>
                <a:gd name="connsiteX1" fmla="*/ 0 w 113346"/>
                <a:gd name="connsiteY1" fmla="*/ 0 h 71024"/>
                <a:gd name="connsiteX2" fmla="*/ 113346 w 113346"/>
                <a:gd name="connsiteY2" fmla="*/ 0 h 71024"/>
                <a:gd name="connsiteX3" fmla="*/ 64114 w 113346"/>
                <a:gd name="connsiteY3" fmla="*/ 71024 h 71024"/>
                <a:gd name="connsiteX4" fmla="*/ 69777 w 113346"/>
                <a:gd name="connsiteY4" fmla="*/ 55323 h 7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346" h="71024">
                  <a:moveTo>
                    <a:pt x="0" y="55323"/>
                  </a:moveTo>
                  <a:lnTo>
                    <a:pt x="0" y="0"/>
                  </a:lnTo>
                  <a:lnTo>
                    <a:pt x="113346" y="0"/>
                  </a:lnTo>
                  <a:lnTo>
                    <a:pt x="64114" y="71024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" name="Forme libre : forme 119">
              <a:extLst>
                <a:ext uri="{FF2B5EF4-FFF2-40B4-BE49-F238E27FC236}">
                  <a16:creationId xmlns:a16="http://schemas.microsoft.com/office/drawing/2014/main" id="{D5E32DFA-FE41-4DBB-9EA3-322E61838D6F}"/>
                </a:ext>
              </a:extLst>
            </p:cNvPr>
            <p:cNvSpPr/>
            <p:nvPr/>
          </p:nvSpPr>
          <p:spPr>
            <a:xfrm rot="8716295">
              <a:off x="71262" y="47415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" name="Forme libre : forme 120">
              <a:extLst>
                <a:ext uri="{FF2B5EF4-FFF2-40B4-BE49-F238E27FC236}">
                  <a16:creationId xmlns:a16="http://schemas.microsoft.com/office/drawing/2014/main" id="{98C82C88-21C9-41B9-8186-F52C472D7412}"/>
                </a:ext>
              </a:extLst>
            </p:cNvPr>
            <p:cNvSpPr/>
            <p:nvPr/>
          </p:nvSpPr>
          <p:spPr>
            <a:xfrm rot="7484129">
              <a:off x="172059" y="493353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170341 w 203847"/>
                <a:gd name="connsiteY5" fmla="*/ 0 h 195874"/>
                <a:gd name="connsiteX6" fmla="*/ 203847 w 203847"/>
                <a:gd name="connsiteY6" fmla="*/ 48325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170341" y="0"/>
                  </a:lnTo>
                  <a:lnTo>
                    <a:pt x="203847" y="48325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" name="Forme libre : forme 121">
              <a:extLst>
                <a:ext uri="{FF2B5EF4-FFF2-40B4-BE49-F238E27FC236}">
                  <a16:creationId xmlns:a16="http://schemas.microsoft.com/office/drawing/2014/main" id="{A66417E9-C757-466D-8994-1F366AA16F5B}"/>
                </a:ext>
              </a:extLst>
            </p:cNvPr>
            <p:cNvSpPr/>
            <p:nvPr/>
          </p:nvSpPr>
          <p:spPr>
            <a:xfrm rot="13089394">
              <a:off x="313551" y="4906246"/>
              <a:ext cx="221827" cy="205098"/>
            </a:xfrm>
            <a:custGeom>
              <a:avLst/>
              <a:gdLst>
                <a:gd name="connsiteX0" fmla="*/ 24153 w 221827"/>
                <a:gd name="connsiteY0" fmla="*/ 55168 h 205098"/>
                <a:gd name="connsiteX1" fmla="*/ 0 w 221827"/>
                <a:gd name="connsiteY1" fmla="*/ 18385 h 205098"/>
                <a:gd name="connsiteX2" fmla="*/ 23400 w 221827"/>
                <a:gd name="connsiteY2" fmla="*/ 0 h 205098"/>
                <a:gd name="connsiteX3" fmla="*/ 23735 w 221827"/>
                <a:gd name="connsiteY3" fmla="*/ 46640 h 205098"/>
                <a:gd name="connsiteX4" fmla="*/ 221827 w 221827"/>
                <a:gd name="connsiteY4" fmla="*/ 150928 h 205098"/>
                <a:gd name="connsiteX5" fmla="*/ 126574 w 221827"/>
                <a:gd name="connsiteY5" fmla="*/ 204038 h 205098"/>
                <a:gd name="connsiteX6" fmla="*/ 122603 w 221827"/>
                <a:gd name="connsiteY6" fmla="*/ 205098 h 205098"/>
                <a:gd name="connsiteX7" fmla="*/ 102519 w 221827"/>
                <a:gd name="connsiteY7" fmla="*/ 174512 h 205098"/>
                <a:gd name="connsiteX8" fmla="*/ 103192 w 221827"/>
                <a:gd name="connsiteY8" fmla="*/ 174655 h 205098"/>
                <a:gd name="connsiteX9" fmla="*/ 152853 w 221827"/>
                <a:gd name="connsiteY9" fmla="*/ 165826 h 205098"/>
                <a:gd name="connsiteX10" fmla="*/ 220723 w 221827"/>
                <a:gd name="connsiteY10" fmla="*/ 138237 h 205098"/>
                <a:gd name="connsiteX11" fmla="*/ 221827 w 221827"/>
                <a:gd name="connsiteY11" fmla="*/ 145410 h 205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1827" h="205098">
                  <a:moveTo>
                    <a:pt x="24153" y="55168"/>
                  </a:moveTo>
                  <a:lnTo>
                    <a:pt x="0" y="18385"/>
                  </a:lnTo>
                  <a:lnTo>
                    <a:pt x="23400" y="0"/>
                  </a:lnTo>
                  <a:lnTo>
                    <a:pt x="23735" y="46640"/>
                  </a:lnTo>
                  <a:close/>
                  <a:moveTo>
                    <a:pt x="221827" y="150928"/>
                  </a:moveTo>
                  <a:cubicBezTo>
                    <a:pt x="192582" y="176035"/>
                    <a:pt x="158785" y="193002"/>
                    <a:pt x="126574" y="204038"/>
                  </a:cubicBezTo>
                  <a:lnTo>
                    <a:pt x="122603" y="205098"/>
                  </a:lnTo>
                  <a:lnTo>
                    <a:pt x="102519" y="174512"/>
                  </a:lnTo>
                  <a:lnTo>
                    <a:pt x="103192" y="174655"/>
                  </a:lnTo>
                  <a:cubicBezTo>
                    <a:pt x="120298" y="174103"/>
                    <a:pt x="136851" y="170792"/>
                    <a:pt x="152853" y="165826"/>
                  </a:cubicBezTo>
                  <a:cubicBezTo>
                    <a:pt x="176028" y="158653"/>
                    <a:pt x="198652" y="149273"/>
                    <a:pt x="220723" y="138237"/>
                  </a:cubicBezTo>
                  <a:cubicBezTo>
                    <a:pt x="221275" y="140444"/>
                    <a:pt x="221827" y="143203"/>
                    <a:pt x="221827" y="1454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" name="Forme libre : forme 122">
              <a:extLst>
                <a:ext uri="{FF2B5EF4-FFF2-40B4-BE49-F238E27FC236}">
                  <a16:creationId xmlns:a16="http://schemas.microsoft.com/office/drawing/2014/main" id="{A36747DA-F5EA-42E3-9BB6-64441C3802E9}"/>
                </a:ext>
              </a:extLst>
            </p:cNvPr>
            <p:cNvSpPr/>
            <p:nvPr/>
          </p:nvSpPr>
          <p:spPr>
            <a:xfrm rot="8716295">
              <a:off x="406370" y="4600606"/>
              <a:ext cx="113655" cy="117117"/>
            </a:xfrm>
            <a:custGeom>
              <a:avLst/>
              <a:gdLst>
                <a:gd name="connsiteX0" fmla="*/ 13623 w 113655"/>
                <a:gd name="connsiteY0" fmla="*/ 100559 h 117117"/>
                <a:gd name="connsiteX1" fmla="*/ 0 w 113655"/>
                <a:gd name="connsiteY1" fmla="*/ 68296 h 117117"/>
                <a:gd name="connsiteX2" fmla="*/ 56488 w 113655"/>
                <a:gd name="connsiteY2" fmla="*/ 0 h 117117"/>
                <a:gd name="connsiteX3" fmla="*/ 96408 w 113655"/>
                <a:gd name="connsiteY3" fmla="*/ 16856 h 117117"/>
                <a:gd name="connsiteX4" fmla="*/ 96408 w 113655"/>
                <a:gd name="connsiteY4" fmla="*/ 99640 h 117117"/>
                <a:gd name="connsiteX5" fmla="*/ 55015 w 113655"/>
                <a:gd name="connsiteY5" fmla="*/ 117117 h 117117"/>
                <a:gd name="connsiteX6" fmla="*/ 13623 w 113655"/>
                <a:gd name="connsiteY6" fmla="*/ 100559 h 117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655" h="117117">
                  <a:moveTo>
                    <a:pt x="13623" y="100559"/>
                  </a:moveTo>
                  <a:lnTo>
                    <a:pt x="0" y="68296"/>
                  </a:lnTo>
                  <a:lnTo>
                    <a:pt x="56488" y="0"/>
                  </a:lnTo>
                  <a:lnTo>
                    <a:pt x="96408" y="16856"/>
                  </a:lnTo>
                  <a:cubicBezTo>
                    <a:pt x="119404" y="38931"/>
                    <a:pt x="119404" y="76644"/>
                    <a:pt x="96408" y="99640"/>
                  </a:cubicBezTo>
                  <a:cubicBezTo>
                    <a:pt x="85370" y="110678"/>
                    <a:pt x="70653" y="117116"/>
                    <a:pt x="55015" y="117117"/>
                  </a:cubicBezTo>
                  <a:cubicBezTo>
                    <a:pt x="39378" y="117117"/>
                    <a:pt x="24661" y="111597"/>
                    <a:pt x="13623" y="10055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" name="Forme libre : forme 123">
              <a:extLst>
                <a:ext uri="{FF2B5EF4-FFF2-40B4-BE49-F238E27FC236}">
                  <a16:creationId xmlns:a16="http://schemas.microsoft.com/office/drawing/2014/main" id="{AD73B6BA-63FC-484E-8F99-0F24CBA78B87}"/>
                </a:ext>
              </a:extLst>
            </p:cNvPr>
            <p:cNvSpPr/>
            <p:nvPr/>
          </p:nvSpPr>
          <p:spPr>
            <a:xfrm rot="8716295">
              <a:off x="171547" y="46343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" name="Forme libre : forme 124">
              <a:extLst>
                <a:ext uri="{FF2B5EF4-FFF2-40B4-BE49-F238E27FC236}">
                  <a16:creationId xmlns:a16="http://schemas.microsoft.com/office/drawing/2014/main" id="{066AF92B-6B4A-4726-9E49-C3D23D71D48B}"/>
                </a:ext>
              </a:extLst>
            </p:cNvPr>
            <p:cNvSpPr/>
            <p:nvPr/>
          </p:nvSpPr>
          <p:spPr>
            <a:xfrm rot="8716295">
              <a:off x="348999" y="44751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127" name="Forme libre : forme 126">
            <a:extLst>
              <a:ext uri="{FF2B5EF4-FFF2-40B4-BE49-F238E27FC236}">
                <a16:creationId xmlns:a16="http://schemas.microsoft.com/office/drawing/2014/main" id="{3DCAAB30-E6A5-4696-B938-B81AECA9B049}"/>
              </a:ext>
            </a:extLst>
          </p:cNvPr>
          <p:cNvSpPr/>
          <p:nvPr userDrawn="1"/>
        </p:nvSpPr>
        <p:spPr>
          <a:xfrm>
            <a:off x="629550" y="0"/>
            <a:ext cx="8514451" cy="5143499"/>
          </a:xfrm>
          <a:custGeom>
            <a:avLst/>
            <a:gdLst>
              <a:gd name="connsiteX0" fmla="*/ 268034 w 8514451"/>
              <a:gd name="connsiteY0" fmla="*/ 0 h 5143499"/>
              <a:gd name="connsiteX1" fmla="*/ 8514451 w 8514451"/>
              <a:gd name="connsiteY1" fmla="*/ 0 h 5143499"/>
              <a:gd name="connsiteX2" fmla="*/ 8514451 w 8514451"/>
              <a:gd name="connsiteY2" fmla="*/ 5143499 h 5143499"/>
              <a:gd name="connsiteX3" fmla="*/ 274758 w 8514451"/>
              <a:gd name="connsiteY3" fmla="*/ 5143499 h 5143499"/>
              <a:gd name="connsiteX4" fmla="*/ 0 w 8514451"/>
              <a:gd name="connsiteY4" fmla="*/ 3148262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14451" h="5143499">
                <a:moveTo>
                  <a:pt x="268034" y="0"/>
                </a:moveTo>
                <a:lnTo>
                  <a:pt x="8514451" y="0"/>
                </a:lnTo>
                <a:lnTo>
                  <a:pt x="8514451" y="5143499"/>
                </a:lnTo>
                <a:lnTo>
                  <a:pt x="274758" y="5143499"/>
                </a:lnTo>
                <a:lnTo>
                  <a:pt x="0" y="31482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26" name="Espace réservé du numéro de diapositive 125">
            <a:extLst>
              <a:ext uri="{FF2B5EF4-FFF2-40B4-BE49-F238E27FC236}">
                <a16:creationId xmlns:a16="http://schemas.microsoft.com/office/drawing/2014/main" id="{EB3A4323-AB23-411F-A098-2140921A34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9681" y="3148262"/>
            <a:ext cx="444626" cy="1995238"/>
          </a:xfrm>
          <a:custGeom>
            <a:avLst/>
            <a:gdLst>
              <a:gd name="connsiteX0" fmla="*/ 169868 w 444626"/>
              <a:gd name="connsiteY0" fmla="*/ 0 h 1995238"/>
              <a:gd name="connsiteX1" fmla="*/ 444626 w 444626"/>
              <a:gd name="connsiteY1" fmla="*/ 1995238 h 1995238"/>
              <a:gd name="connsiteX2" fmla="*/ 0 w 444626"/>
              <a:gd name="connsiteY2" fmla="*/ 1995238 h 1995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4626" h="1995238">
                <a:moveTo>
                  <a:pt x="169868" y="0"/>
                </a:moveTo>
                <a:lnTo>
                  <a:pt x="444626" y="1995238"/>
                </a:lnTo>
                <a:lnTo>
                  <a:pt x="0" y="199523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180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570474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Conten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8" name="Espace réservé du numéro de diapositive 517">
            <a:extLst>
              <a:ext uri="{FF2B5EF4-FFF2-40B4-BE49-F238E27FC236}">
                <a16:creationId xmlns:a16="http://schemas.microsoft.com/office/drawing/2014/main" id="{FFC307C1-4A5E-4267-B3FA-6564E6513B0C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3048000" y="2811362"/>
            <a:ext cx="519702" cy="2332138"/>
          </a:xfrm>
          <a:custGeom>
            <a:avLst/>
            <a:gdLst>
              <a:gd name="connsiteX0" fmla="*/ 198551 w 519702"/>
              <a:gd name="connsiteY0" fmla="*/ 0 h 2332138"/>
              <a:gd name="connsiteX1" fmla="*/ 519702 w 519702"/>
              <a:gd name="connsiteY1" fmla="*/ 2332138 h 2332138"/>
              <a:gd name="connsiteX2" fmla="*/ 0 w 519702"/>
              <a:gd name="connsiteY2" fmla="*/ 2332138 h 2332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19702" h="2332138">
                <a:moveTo>
                  <a:pt x="198551" y="0"/>
                </a:moveTo>
                <a:lnTo>
                  <a:pt x="519702" y="2332138"/>
                </a:lnTo>
                <a:lnTo>
                  <a:pt x="0" y="233213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180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523" name="Forme libre : forme 522">
            <a:extLst>
              <a:ext uri="{FF2B5EF4-FFF2-40B4-BE49-F238E27FC236}">
                <a16:creationId xmlns:a16="http://schemas.microsoft.com/office/drawing/2014/main" id="{C7F1D93A-4718-405C-AAEF-810045870EFB}"/>
              </a:ext>
            </a:extLst>
          </p:cNvPr>
          <p:cNvSpPr/>
          <p:nvPr userDrawn="1"/>
        </p:nvSpPr>
        <p:spPr>
          <a:xfrm>
            <a:off x="0" y="-1"/>
            <a:ext cx="9144000" cy="5143501"/>
          </a:xfrm>
          <a:custGeom>
            <a:avLst/>
            <a:gdLst>
              <a:gd name="connsiteX0" fmla="*/ 0 w 9144000"/>
              <a:gd name="connsiteY0" fmla="*/ 0 h 5143501"/>
              <a:gd name="connsiteX1" fmla="*/ 9144000 w 9144000"/>
              <a:gd name="connsiteY1" fmla="*/ 0 h 5143501"/>
              <a:gd name="connsiteX2" fmla="*/ 9144000 w 9144000"/>
              <a:gd name="connsiteY2" fmla="*/ 5143501 h 5143501"/>
              <a:gd name="connsiteX3" fmla="*/ 3567702 w 9144000"/>
              <a:gd name="connsiteY3" fmla="*/ 5143501 h 5143501"/>
              <a:gd name="connsiteX4" fmla="*/ 3246551 w 9144000"/>
              <a:gd name="connsiteY4" fmla="*/ 2811363 h 5143501"/>
              <a:gd name="connsiteX5" fmla="*/ 3485902 w 9144000"/>
              <a:gd name="connsiteY5" fmla="*/ 1 h 5143501"/>
              <a:gd name="connsiteX6" fmla="*/ 3048000 w 9144000"/>
              <a:gd name="connsiteY6" fmla="*/ 1 h 5143501"/>
              <a:gd name="connsiteX7" fmla="*/ 2859408 w 9144000"/>
              <a:gd name="connsiteY7" fmla="*/ 1 h 5143501"/>
              <a:gd name="connsiteX8" fmla="*/ 0 w 9144000"/>
              <a:gd name="connsiteY8" fmla="*/ 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4000" h="5143501">
                <a:moveTo>
                  <a:pt x="0" y="0"/>
                </a:moveTo>
                <a:lnTo>
                  <a:pt x="9144000" y="0"/>
                </a:lnTo>
                <a:lnTo>
                  <a:pt x="9144000" y="5143501"/>
                </a:lnTo>
                <a:lnTo>
                  <a:pt x="3567702" y="5143501"/>
                </a:lnTo>
                <a:lnTo>
                  <a:pt x="3246551" y="2811363"/>
                </a:lnTo>
                <a:lnTo>
                  <a:pt x="3485902" y="1"/>
                </a:lnTo>
                <a:lnTo>
                  <a:pt x="3048000" y="1"/>
                </a:lnTo>
                <a:lnTo>
                  <a:pt x="2859408" y="1"/>
                </a:lnTo>
                <a:lnTo>
                  <a:pt x="0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6CB10B59-8983-482C-BCD8-596396CF9E36}"/>
              </a:ext>
            </a:extLst>
          </p:cNvPr>
          <p:cNvGrpSpPr/>
          <p:nvPr userDrawn="1"/>
        </p:nvGrpSpPr>
        <p:grpSpPr>
          <a:xfrm>
            <a:off x="-91485" y="-107301"/>
            <a:ext cx="3580993" cy="5352842"/>
            <a:chOff x="-91485" y="-107301"/>
            <a:chExt cx="3580993" cy="5352842"/>
          </a:xfrm>
          <a:solidFill>
            <a:schemeClr val="bg2">
              <a:alpha val="5000"/>
            </a:schemeClr>
          </a:solidFill>
        </p:grpSpPr>
        <p:sp>
          <p:nvSpPr>
            <p:cNvPr id="7" name="Forme libre : forme 6">
              <a:extLst>
                <a:ext uri="{FF2B5EF4-FFF2-40B4-BE49-F238E27FC236}">
                  <a16:creationId xmlns:a16="http://schemas.microsoft.com/office/drawing/2014/main" id="{FB10E9E7-487F-4046-97FA-383A90CB2678}"/>
                </a:ext>
              </a:extLst>
            </p:cNvPr>
            <p:cNvSpPr/>
            <p:nvPr/>
          </p:nvSpPr>
          <p:spPr>
            <a:xfrm rot="8716295">
              <a:off x="3051469" y="229467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857E0B3E-CF84-4275-8769-4FA84ACE4C3B}"/>
                </a:ext>
              </a:extLst>
            </p:cNvPr>
            <p:cNvSpPr/>
            <p:nvPr/>
          </p:nvSpPr>
          <p:spPr>
            <a:xfrm rot="8716295">
              <a:off x="3141426" y="2335684"/>
              <a:ext cx="209149" cy="247728"/>
            </a:xfrm>
            <a:custGeom>
              <a:avLst/>
              <a:gdLst>
                <a:gd name="connsiteX0" fmla="*/ 147179 w 209149"/>
                <a:gd name="connsiteY0" fmla="*/ 90980 h 247728"/>
                <a:gd name="connsiteX1" fmla="*/ 147179 w 209149"/>
                <a:gd name="connsiteY1" fmla="*/ 74577 h 247728"/>
                <a:gd name="connsiteX2" fmla="*/ 137667 w 209149"/>
                <a:gd name="connsiteY2" fmla="*/ 44616 h 247728"/>
                <a:gd name="connsiteX3" fmla="*/ 132652 w 209149"/>
                <a:gd name="connsiteY3" fmla="*/ 42232 h 247728"/>
                <a:gd name="connsiteX4" fmla="*/ 167583 w 209149"/>
                <a:gd name="connsiteY4" fmla="*/ 0 h 247728"/>
                <a:gd name="connsiteX5" fmla="*/ 189157 w 209149"/>
                <a:gd name="connsiteY5" fmla="*/ 15682 h 247728"/>
                <a:gd name="connsiteX6" fmla="*/ 209149 w 209149"/>
                <a:gd name="connsiteY6" fmla="*/ 81411 h 247728"/>
                <a:gd name="connsiteX7" fmla="*/ 209149 w 209149"/>
                <a:gd name="connsiteY7" fmla="*/ 87335 h 247728"/>
                <a:gd name="connsiteX8" fmla="*/ 0 w 209149"/>
                <a:gd name="connsiteY8" fmla="*/ 247728 h 247728"/>
                <a:gd name="connsiteX9" fmla="*/ 0 w 209149"/>
                <a:gd name="connsiteY9" fmla="*/ 202611 h 247728"/>
                <a:gd name="connsiteX10" fmla="*/ 60148 w 209149"/>
                <a:gd name="connsiteY10" fmla="*/ 129891 h 247728"/>
                <a:gd name="connsiteX11" fmla="*/ 60148 w 209149"/>
                <a:gd name="connsiteY11" fmla="*/ 206719 h 24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9149" h="247728">
                  <a:moveTo>
                    <a:pt x="147179" y="90980"/>
                  </a:moveTo>
                  <a:lnTo>
                    <a:pt x="147179" y="74577"/>
                  </a:lnTo>
                  <a:cubicBezTo>
                    <a:pt x="147179" y="62273"/>
                    <a:pt x="143648" y="51907"/>
                    <a:pt x="137667" y="44616"/>
                  </a:cubicBezTo>
                  <a:lnTo>
                    <a:pt x="132652" y="42232"/>
                  </a:lnTo>
                  <a:lnTo>
                    <a:pt x="167583" y="0"/>
                  </a:lnTo>
                  <a:lnTo>
                    <a:pt x="189157" y="15682"/>
                  </a:lnTo>
                  <a:cubicBezTo>
                    <a:pt x="202086" y="30833"/>
                    <a:pt x="209149" y="53160"/>
                    <a:pt x="209149" y="81411"/>
                  </a:cubicBezTo>
                  <a:lnTo>
                    <a:pt x="209149" y="87335"/>
                  </a:lnTo>
                  <a:close/>
                  <a:moveTo>
                    <a:pt x="0" y="247728"/>
                  </a:moveTo>
                  <a:lnTo>
                    <a:pt x="0" y="202611"/>
                  </a:lnTo>
                  <a:lnTo>
                    <a:pt x="60148" y="129891"/>
                  </a:lnTo>
                  <a:lnTo>
                    <a:pt x="60148" y="20671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CA2EC427-A3CB-46EB-8802-9FA3F8105B5A}"/>
                </a:ext>
              </a:extLst>
            </p:cNvPr>
            <p:cNvSpPr/>
            <p:nvPr/>
          </p:nvSpPr>
          <p:spPr>
            <a:xfrm rot="8716295">
              <a:off x="3096011" y="2237639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474F4DDA-4FC2-4669-AB5F-02BB5506B529}"/>
                </a:ext>
              </a:extLst>
            </p:cNvPr>
            <p:cNvSpPr/>
            <p:nvPr/>
          </p:nvSpPr>
          <p:spPr>
            <a:xfrm rot="8716295">
              <a:off x="2939235" y="238322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D8FF9A2A-12F4-4D4A-838C-2EA6068FA2AB}"/>
                </a:ext>
              </a:extLst>
            </p:cNvPr>
            <p:cNvSpPr/>
            <p:nvPr/>
          </p:nvSpPr>
          <p:spPr>
            <a:xfrm rot="8716295">
              <a:off x="2814332" y="217454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56247F38-2BB4-4C4A-A842-2BBC34C00B4B}"/>
                </a:ext>
              </a:extLst>
            </p:cNvPr>
            <p:cNvSpPr/>
            <p:nvPr/>
          </p:nvSpPr>
          <p:spPr>
            <a:xfrm rot="8716295">
              <a:off x="2802280" y="203576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6B40DCDD-1ED3-48EB-9DB0-DEE21DA8FE29}"/>
                </a:ext>
              </a:extLst>
            </p:cNvPr>
            <p:cNvSpPr/>
            <p:nvPr/>
          </p:nvSpPr>
          <p:spPr>
            <a:xfrm rot="8716295">
              <a:off x="3029413" y="2424173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EEC2D8FD-062C-4F42-B8C0-F129DEB5F20C}"/>
                </a:ext>
              </a:extLst>
            </p:cNvPr>
            <p:cNvSpPr/>
            <p:nvPr/>
          </p:nvSpPr>
          <p:spPr>
            <a:xfrm rot="8716295">
              <a:off x="3300250" y="2118999"/>
              <a:ext cx="9515" cy="11504"/>
            </a:xfrm>
            <a:custGeom>
              <a:avLst/>
              <a:gdLst>
                <a:gd name="connsiteX0" fmla="*/ 0 w 9515"/>
                <a:gd name="connsiteY0" fmla="*/ 11504 h 11504"/>
                <a:gd name="connsiteX1" fmla="*/ 9515 w 9515"/>
                <a:gd name="connsiteY1" fmla="*/ 0 h 11504"/>
                <a:gd name="connsiteX2" fmla="*/ 9515 w 9515"/>
                <a:gd name="connsiteY2" fmla="*/ 7741 h 11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15" h="11504">
                  <a:moveTo>
                    <a:pt x="0" y="11504"/>
                  </a:moveTo>
                  <a:lnTo>
                    <a:pt x="9515" y="0"/>
                  </a:lnTo>
                  <a:lnTo>
                    <a:pt x="9515" y="77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15A33F8C-9B7A-4D6A-854E-3D326335591D}"/>
                </a:ext>
              </a:extLst>
            </p:cNvPr>
            <p:cNvSpPr/>
            <p:nvPr/>
          </p:nvSpPr>
          <p:spPr>
            <a:xfrm rot="8716295">
              <a:off x="3228334" y="213306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949EEDA1-3E93-4DFB-8B0F-8D57B83C540E}"/>
                </a:ext>
              </a:extLst>
            </p:cNvPr>
            <p:cNvSpPr/>
            <p:nvPr/>
          </p:nvSpPr>
          <p:spPr>
            <a:xfrm rot="8716295">
              <a:off x="3098921" y="1924310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44680 h 195874"/>
                <a:gd name="connsiteX5" fmla="*/ 36955 w 203847"/>
                <a:gd name="connsiteY5" fmla="*/ 0 h 195874"/>
                <a:gd name="connsiteX6" fmla="*/ 203847 w 203847"/>
                <a:gd name="connsiteY6" fmla="*/ 0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44680"/>
                  </a:lnTo>
                  <a:lnTo>
                    <a:pt x="36955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513E3AB2-D8F3-4D40-BC3C-53ABB60A2331}"/>
                </a:ext>
              </a:extLst>
            </p:cNvPr>
            <p:cNvSpPr/>
            <p:nvPr/>
          </p:nvSpPr>
          <p:spPr>
            <a:xfrm rot="8716295">
              <a:off x="3275349" y="2211673"/>
              <a:ext cx="24727" cy="53686"/>
            </a:xfrm>
            <a:custGeom>
              <a:avLst/>
              <a:gdLst>
                <a:gd name="connsiteX0" fmla="*/ 24727 w 24727"/>
                <a:gd name="connsiteY0" fmla="*/ 53686 h 53686"/>
                <a:gd name="connsiteX1" fmla="*/ 0 w 24727"/>
                <a:gd name="connsiteY1" fmla="*/ 29895 h 53686"/>
                <a:gd name="connsiteX2" fmla="*/ 24727 w 24727"/>
                <a:gd name="connsiteY2" fmla="*/ 0 h 53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27" h="53686">
                  <a:moveTo>
                    <a:pt x="24727" y="53686"/>
                  </a:moveTo>
                  <a:lnTo>
                    <a:pt x="0" y="29895"/>
                  </a:lnTo>
                  <a:lnTo>
                    <a:pt x="2472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69A3C0F4-2579-479E-90C6-255E973C947C}"/>
                </a:ext>
              </a:extLst>
            </p:cNvPr>
            <p:cNvSpPr/>
            <p:nvPr/>
          </p:nvSpPr>
          <p:spPr>
            <a:xfrm rot="8716295">
              <a:off x="3077061" y="202442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9022B708-F9CE-40AF-852D-9A004CAB7675}"/>
                </a:ext>
              </a:extLst>
            </p:cNvPr>
            <p:cNvSpPr/>
            <p:nvPr/>
          </p:nvSpPr>
          <p:spPr>
            <a:xfrm rot="8716295">
              <a:off x="3162402" y="30429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19F4F78B-5673-4710-BAF3-3B1975D1B861}"/>
                </a:ext>
              </a:extLst>
            </p:cNvPr>
            <p:cNvSpPr/>
            <p:nvPr/>
          </p:nvSpPr>
          <p:spPr>
            <a:xfrm rot="8716295">
              <a:off x="3033531" y="2835902"/>
              <a:ext cx="197743" cy="195873"/>
            </a:xfrm>
            <a:custGeom>
              <a:avLst/>
              <a:gdLst>
                <a:gd name="connsiteX0" fmla="*/ 84606 w 197743"/>
                <a:gd name="connsiteY0" fmla="*/ 195873 h 195873"/>
                <a:gd name="connsiteX1" fmla="*/ 41743 w 197743"/>
                <a:gd name="connsiteY1" fmla="*/ 116129 h 195873"/>
                <a:gd name="connsiteX2" fmla="*/ 63673 w 197743"/>
                <a:gd name="connsiteY2" fmla="*/ 55323 h 195873"/>
                <a:gd name="connsiteX3" fmla="*/ 0 w 197743"/>
                <a:gd name="connsiteY3" fmla="*/ 55323 h 195873"/>
                <a:gd name="connsiteX4" fmla="*/ 45759 w 197743"/>
                <a:gd name="connsiteY4" fmla="*/ 0 h 195873"/>
                <a:gd name="connsiteX5" fmla="*/ 197743 w 197743"/>
                <a:gd name="connsiteY5" fmla="*/ 0 h 195873"/>
                <a:gd name="connsiteX6" fmla="*/ 197743 w 197743"/>
                <a:gd name="connsiteY6" fmla="*/ 55323 h 195873"/>
                <a:gd name="connsiteX7" fmla="*/ 132951 w 197743"/>
                <a:gd name="connsiteY7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7743" h="195873">
                  <a:moveTo>
                    <a:pt x="84606" y="195873"/>
                  </a:moveTo>
                  <a:lnTo>
                    <a:pt x="41743" y="116129"/>
                  </a:lnTo>
                  <a:lnTo>
                    <a:pt x="63673" y="55323"/>
                  </a:lnTo>
                  <a:lnTo>
                    <a:pt x="0" y="55323"/>
                  </a:lnTo>
                  <a:lnTo>
                    <a:pt x="45759" y="0"/>
                  </a:lnTo>
                  <a:lnTo>
                    <a:pt x="197743" y="0"/>
                  </a:lnTo>
                  <a:lnTo>
                    <a:pt x="197743" y="55323"/>
                  </a:lnTo>
                  <a:lnTo>
                    <a:pt x="132951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0BB66207-2F6B-4469-9703-071564C7D57B}"/>
                </a:ext>
              </a:extLst>
            </p:cNvPr>
            <p:cNvSpPr/>
            <p:nvPr/>
          </p:nvSpPr>
          <p:spPr>
            <a:xfrm rot="8716295">
              <a:off x="2982649" y="2705505"/>
              <a:ext cx="289489" cy="211444"/>
            </a:xfrm>
            <a:custGeom>
              <a:avLst/>
              <a:gdLst>
                <a:gd name="connsiteX0" fmla="*/ 24145 w 289489"/>
                <a:gd name="connsiteY0" fmla="*/ 181853 h 211444"/>
                <a:gd name="connsiteX1" fmla="*/ 3994 w 289489"/>
                <a:gd name="connsiteY1" fmla="*/ 142066 h 211444"/>
                <a:gd name="connsiteX2" fmla="*/ 0 w 289489"/>
                <a:gd name="connsiteY2" fmla="*/ 94419 h 211444"/>
                <a:gd name="connsiteX3" fmla="*/ 78096 w 289489"/>
                <a:gd name="connsiteY3" fmla="*/ 0 h 211444"/>
                <a:gd name="connsiteX4" fmla="*/ 78273 w 289489"/>
                <a:gd name="connsiteY4" fmla="*/ 24764 h 211444"/>
                <a:gd name="connsiteX5" fmla="*/ 92393 w 289489"/>
                <a:gd name="connsiteY5" fmla="*/ 122430 h 211444"/>
                <a:gd name="connsiteX6" fmla="*/ 162994 w 289489"/>
                <a:gd name="connsiteY6" fmla="*/ 161261 h 211444"/>
                <a:gd name="connsiteX7" fmla="*/ 215946 w 289489"/>
                <a:gd name="connsiteY7" fmla="*/ 151847 h 211444"/>
                <a:gd name="connsiteX8" fmla="*/ 288313 w 289489"/>
                <a:gd name="connsiteY8" fmla="*/ 122430 h 211444"/>
                <a:gd name="connsiteX9" fmla="*/ 289489 w 289489"/>
                <a:gd name="connsiteY9" fmla="*/ 130078 h 211444"/>
                <a:gd name="connsiteX10" fmla="*/ 289489 w 289489"/>
                <a:gd name="connsiteY10" fmla="*/ 135962 h 211444"/>
                <a:gd name="connsiteX11" fmla="*/ 96512 w 289489"/>
                <a:gd name="connsiteY11" fmla="*/ 211270 h 211444"/>
                <a:gd name="connsiteX12" fmla="*/ 24145 w 289489"/>
                <a:gd name="connsiteY12" fmla="*/ 181853 h 211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9489" h="211444">
                  <a:moveTo>
                    <a:pt x="24145" y="181853"/>
                  </a:moveTo>
                  <a:cubicBezTo>
                    <a:pt x="14143" y="172145"/>
                    <a:pt x="7818" y="158907"/>
                    <a:pt x="3994" y="142066"/>
                  </a:cubicBezTo>
                  <a:lnTo>
                    <a:pt x="0" y="94419"/>
                  </a:lnTo>
                  <a:lnTo>
                    <a:pt x="78096" y="0"/>
                  </a:lnTo>
                  <a:lnTo>
                    <a:pt x="78273" y="24764"/>
                  </a:lnTo>
                  <a:cubicBezTo>
                    <a:pt x="76508" y="57712"/>
                    <a:pt x="81803" y="91247"/>
                    <a:pt x="92393" y="122430"/>
                  </a:cubicBezTo>
                  <a:cubicBezTo>
                    <a:pt x="101807" y="148317"/>
                    <a:pt x="125929" y="161261"/>
                    <a:pt x="162994" y="161261"/>
                  </a:cubicBezTo>
                  <a:cubicBezTo>
                    <a:pt x="181234" y="160672"/>
                    <a:pt x="198884" y="157142"/>
                    <a:pt x="215946" y="151847"/>
                  </a:cubicBezTo>
                  <a:cubicBezTo>
                    <a:pt x="240656" y="144198"/>
                    <a:pt x="264779" y="134197"/>
                    <a:pt x="288313" y="122430"/>
                  </a:cubicBezTo>
                  <a:cubicBezTo>
                    <a:pt x="288901" y="124783"/>
                    <a:pt x="289489" y="127725"/>
                    <a:pt x="289489" y="130078"/>
                  </a:cubicBezTo>
                  <a:lnTo>
                    <a:pt x="289489" y="135962"/>
                  </a:lnTo>
                  <a:cubicBezTo>
                    <a:pt x="227125" y="189501"/>
                    <a:pt x="145344" y="208329"/>
                    <a:pt x="96512" y="211270"/>
                  </a:cubicBezTo>
                  <a:cubicBezTo>
                    <a:pt x="69448" y="213035"/>
                    <a:pt x="42972" y="201268"/>
                    <a:pt x="24145" y="18185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4BE2CE41-0D24-49C7-BC05-1CA24F174056}"/>
                </a:ext>
              </a:extLst>
            </p:cNvPr>
            <p:cNvSpPr/>
            <p:nvPr/>
          </p:nvSpPr>
          <p:spPr>
            <a:xfrm rot="8716295">
              <a:off x="3205022" y="3125495"/>
              <a:ext cx="16424" cy="35661"/>
            </a:xfrm>
            <a:custGeom>
              <a:avLst/>
              <a:gdLst>
                <a:gd name="connsiteX0" fmla="*/ 16424 w 16424"/>
                <a:gd name="connsiteY0" fmla="*/ 35661 h 35661"/>
                <a:gd name="connsiteX1" fmla="*/ 0 w 16424"/>
                <a:gd name="connsiteY1" fmla="*/ 19858 h 35661"/>
                <a:gd name="connsiteX2" fmla="*/ 16424 w 16424"/>
                <a:gd name="connsiteY2" fmla="*/ 0 h 35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24" h="35661">
                  <a:moveTo>
                    <a:pt x="16424" y="35661"/>
                  </a:moveTo>
                  <a:lnTo>
                    <a:pt x="0" y="19858"/>
                  </a:lnTo>
                  <a:lnTo>
                    <a:pt x="16424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3C113F76-2275-4CD3-8629-730BFE6915AD}"/>
                </a:ext>
              </a:extLst>
            </p:cNvPr>
            <p:cNvSpPr/>
            <p:nvPr/>
          </p:nvSpPr>
          <p:spPr>
            <a:xfrm rot="8716295">
              <a:off x="2829951" y="16337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7B2BDFC9-A5B6-45EA-A262-AC19DCF358A2}"/>
                </a:ext>
              </a:extLst>
            </p:cNvPr>
            <p:cNvSpPr/>
            <p:nvPr/>
          </p:nvSpPr>
          <p:spPr>
            <a:xfrm rot="8716295">
              <a:off x="2919343" y="16629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2A249ED1-9FC2-465F-B1C2-CE832E06DAAB}"/>
                </a:ext>
              </a:extLst>
            </p:cNvPr>
            <p:cNvSpPr/>
            <p:nvPr/>
          </p:nvSpPr>
          <p:spPr>
            <a:xfrm rot="8716295">
              <a:off x="2874493" y="157666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D737513C-09E2-4A85-9268-7028FEA47AEC}"/>
                </a:ext>
              </a:extLst>
            </p:cNvPr>
            <p:cNvSpPr/>
            <p:nvPr/>
          </p:nvSpPr>
          <p:spPr>
            <a:xfrm rot="8716295">
              <a:off x="2717717" y="172224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B6E113ED-200A-42D1-8A9B-64F2EA6FEC37}"/>
                </a:ext>
              </a:extLst>
            </p:cNvPr>
            <p:cNvSpPr/>
            <p:nvPr/>
          </p:nvSpPr>
          <p:spPr>
            <a:xfrm rot="8716295">
              <a:off x="2592814" y="151357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C7386AEF-343D-4F67-937B-2D8AE784432C}"/>
                </a:ext>
              </a:extLst>
            </p:cNvPr>
            <p:cNvSpPr/>
            <p:nvPr/>
          </p:nvSpPr>
          <p:spPr>
            <a:xfrm rot="8716295">
              <a:off x="2580762" y="137479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D18230E6-6046-4801-9551-295B7C3DC9AE}"/>
                </a:ext>
              </a:extLst>
            </p:cNvPr>
            <p:cNvSpPr/>
            <p:nvPr/>
          </p:nvSpPr>
          <p:spPr>
            <a:xfrm rot="8716295">
              <a:off x="2807895" y="176319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AA767CF2-B25B-4F2C-8315-830DDA4419B8}"/>
                </a:ext>
              </a:extLst>
            </p:cNvPr>
            <p:cNvSpPr/>
            <p:nvPr/>
          </p:nvSpPr>
          <p:spPr>
            <a:xfrm rot="8716295">
              <a:off x="3119050" y="138355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AAABA641-3338-40FA-9C39-41C30A22033E}"/>
                </a:ext>
              </a:extLst>
            </p:cNvPr>
            <p:cNvSpPr/>
            <p:nvPr/>
          </p:nvSpPr>
          <p:spPr>
            <a:xfrm rot="8716295">
              <a:off x="3209851" y="1424295"/>
              <a:ext cx="209149" cy="250692"/>
            </a:xfrm>
            <a:custGeom>
              <a:avLst/>
              <a:gdLst>
                <a:gd name="connsiteX0" fmla="*/ 147179 w 209149"/>
                <a:gd name="connsiteY0" fmla="*/ 93944 h 250692"/>
                <a:gd name="connsiteX1" fmla="*/ 147179 w 209149"/>
                <a:gd name="connsiteY1" fmla="*/ 77540 h 250692"/>
                <a:gd name="connsiteX2" fmla="*/ 137667 w 209149"/>
                <a:gd name="connsiteY2" fmla="*/ 47580 h 250692"/>
                <a:gd name="connsiteX3" fmla="*/ 123379 w 209149"/>
                <a:gd name="connsiteY3" fmla="*/ 40789 h 250692"/>
                <a:gd name="connsiteX4" fmla="*/ 157117 w 209149"/>
                <a:gd name="connsiteY4" fmla="*/ 0 h 250692"/>
                <a:gd name="connsiteX5" fmla="*/ 165512 w 209149"/>
                <a:gd name="connsiteY5" fmla="*/ 1459 h 250692"/>
                <a:gd name="connsiteX6" fmla="*/ 209149 w 209149"/>
                <a:gd name="connsiteY6" fmla="*/ 84375 h 250692"/>
                <a:gd name="connsiteX7" fmla="*/ 209149 w 209149"/>
                <a:gd name="connsiteY7" fmla="*/ 90299 h 250692"/>
                <a:gd name="connsiteX8" fmla="*/ 0 w 209149"/>
                <a:gd name="connsiteY8" fmla="*/ 250692 h 250692"/>
                <a:gd name="connsiteX9" fmla="*/ 0 w 209149"/>
                <a:gd name="connsiteY9" fmla="*/ 189958 h 250692"/>
                <a:gd name="connsiteX10" fmla="*/ 61066 w 209149"/>
                <a:gd name="connsiteY10" fmla="*/ 116127 h 250692"/>
                <a:gd name="connsiteX11" fmla="*/ 60148 w 209149"/>
                <a:gd name="connsiteY11" fmla="*/ 123562 h 250692"/>
                <a:gd name="connsiteX12" fmla="*/ 60148 w 209149"/>
                <a:gd name="connsiteY12" fmla="*/ 209683 h 250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9149" h="250692">
                  <a:moveTo>
                    <a:pt x="147179" y="93944"/>
                  </a:moveTo>
                  <a:lnTo>
                    <a:pt x="147179" y="77540"/>
                  </a:lnTo>
                  <a:cubicBezTo>
                    <a:pt x="147179" y="65237"/>
                    <a:pt x="143648" y="54871"/>
                    <a:pt x="137667" y="47580"/>
                  </a:cubicBezTo>
                  <a:lnTo>
                    <a:pt x="123379" y="40789"/>
                  </a:lnTo>
                  <a:lnTo>
                    <a:pt x="157117" y="0"/>
                  </a:lnTo>
                  <a:lnTo>
                    <a:pt x="165512" y="1459"/>
                  </a:lnTo>
                  <a:cubicBezTo>
                    <a:pt x="193258" y="12950"/>
                    <a:pt x="209149" y="41998"/>
                    <a:pt x="209149" y="84375"/>
                  </a:cubicBezTo>
                  <a:lnTo>
                    <a:pt x="209149" y="90299"/>
                  </a:lnTo>
                  <a:close/>
                  <a:moveTo>
                    <a:pt x="0" y="250692"/>
                  </a:moveTo>
                  <a:lnTo>
                    <a:pt x="0" y="189958"/>
                  </a:lnTo>
                  <a:lnTo>
                    <a:pt x="61066" y="116127"/>
                  </a:lnTo>
                  <a:lnTo>
                    <a:pt x="60148" y="123562"/>
                  </a:lnTo>
                  <a:lnTo>
                    <a:pt x="60148" y="2096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B2896D46-0FA6-4563-B073-9C0C36686641}"/>
                </a:ext>
              </a:extLst>
            </p:cNvPr>
            <p:cNvSpPr/>
            <p:nvPr/>
          </p:nvSpPr>
          <p:spPr>
            <a:xfrm rot="8716295">
              <a:off x="3006816" y="147209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6EEB717B-FEDB-4989-BE8E-3CB6F80A9A3D}"/>
                </a:ext>
              </a:extLst>
            </p:cNvPr>
            <p:cNvSpPr/>
            <p:nvPr/>
          </p:nvSpPr>
          <p:spPr>
            <a:xfrm rot="8716295">
              <a:off x="2881914" y="126342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F9A3D111-F2E6-4EEC-BA5F-E3F48E1BC144}"/>
                </a:ext>
              </a:extLst>
            </p:cNvPr>
            <p:cNvSpPr/>
            <p:nvPr/>
          </p:nvSpPr>
          <p:spPr>
            <a:xfrm rot="8716295">
              <a:off x="3096994" y="151304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F60E79F3-84EF-445B-800D-9716EB35B924}"/>
                </a:ext>
              </a:extLst>
            </p:cNvPr>
            <p:cNvSpPr/>
            <p:nvPr/>
          </p:nvSpPr>
          <p:spPr>
            <a:xfrm rot="8716295">
              <a:off x="2855543" y="136344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FDB4A4C0-E883-499D-A6D3-A301318DCD73}"/>
                </a:ext>
              </a:extLst>
            </p:cNvPr>
            <p:cNvSpPr/>
            <p:nvPr/>
          </p:nvSpPr>
          <p:spPr>
            <a:xfrm rot="7484129">
              <a:off x="3207325" y="1725125"/>
              <a:ext cx="156001" cy="194030"/>
            </a:xfrm>
            <a:custGeom>
              <a:avLst/>
              <a:gdLst>
                <a:gd name="connsiteX0" fmla="*/ 42863 w 156001"/>
                <a:gd name="connsiteY0" fmla="*/ 194030 h 194030"/>
                <a:gd name="connsiteX1" fmla="*/ 0 w 156001"/>
                <a:gd name="connsiteY1" fmla="*/ 114286 h 194030"/>
                <a:gd name="connsiteX2" fmla="*/ 11232 w 156001"/>
                <a:gd name="connsiteY2" fmla="*/ 83143 h 194030"/>
                <a:gd name="connsiteX3" fmla="*/ 156000 w 156001"/>
                <a:gd name="connsiteY3" fmla="*/ 0 h 194030"/>
                <a:gd name="connsiteX4" fmla="*/ 156001 w 156001"/>
                <a:gd name="connsiteY4" fmla="*/ 53480 h 194030"/>
                <a:gd name="connsiteX5" fmla="*/ 91208 w 156001"/>
                <a:gd name="connsiteY5" fmla="*/ 53480 h 194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6001" h="194030">
                  <a:moveTo>
                    <a:pt x="42863" y="194030"/>
                  </a:moveTo>
                  <a:lnTo>
                    <a:pt x="0" y="114286"/>
                  </a:lnTo>
                  <a:lnTo>
                    <a:pt x="11232" y="83143"/>
                  </a:lnTo>
                  <a:lnTo>
                    <a:pt x="156000" y="0"/>
                  </a:lnTo>
                  <a:lnTo>
                    <a:pt x="156001" y="53480"/>
                  </a:lnTo>
                  <a:lnTo>
                    <a:pt x="91208" y="5348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0B787B40-9B3B-4DF6-B826-D34E59D7A748}"/>
                </a:ext>
              </a:extLst>
            </p:cNvPr>
            <p:cNvSpPr/>
            <p:nvPr/>
          </p:nvSpPr>
          <p:spPr>
            <a:xfrm rot="8716295">
              <a:off x="3197279" y="140587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0A8098AC-35DA-4C71-BDFA-C584261AED79}"/>
                </a:ext>
              </a:extLst>
            </p:cNvPr>
            <p:cNvSpPr/>
            <p:nvPr/>
          </p:nvSpPr>
          <p:spPr>
            <a:xfrm rot="8716295">
              <a:off x="3356472" y="1273070"/>
              <a:ext cx="38162" cy="46138"/>
            </a:xfrm>
            <a:custGeom>
              <a:avLst/>
              <a:gdLst>
                <a:gd name="connsiteX0" fmla="*/ 0 w 38162"/>
                <a:gd name="connsiteY0" fmla="*/ 46138 h 46138"/>
                <a:gd name="connsiteX1" fmla="*/ 38162 w 38162"/>
                <a:gd name="connsiteY1" fmla="*/ 0 h 46138"/>
                <a:gd name="connsiteX2" fmla="*/ 35645 w 38162"/>
                <a:gd name="connsiteY2" fmla="*/ 12962 h 46138"/>
                <a:gd name="connsiteX3" fmla="*/ 22710 w 38162"/>
                <a:gd name="connsiteY3" fmla="*/ 32494 h 46138"/>
                <a:gd name="connsiteX4" fmla="*/ 3739 w 38162"/>
                <a:gd name="connsiteY4" fmla="*/ 45372 h 46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62" h="46138">
                  <a:moveTo>
                    <a:pt x="0" y="46138"/>
                  </a:moveTo>
                  <a:lnTo>
                    <a:pt x="38162" y="0"/>
                  </a:lnTo>
                  <a:lnTo>
                    <a:pt x="35645" y="12962"/>
                  </a:lnTo>
                  <a:cubicBezTo>
                    <a:pt x="32771" y="20076"/>
                    <a:pt x="28459" y="26745"/>
                    <a:pt x="22710" y="32494"/>
                  </a:cubicBezTo>
                  <a:cubicBezTo>
                    <a:pt x="17191" y="38013"/>
                    <a:pt x="10753" y="42382"/>
                    <a:pt x="3739" y="4537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C5475FFB-2FE6-47F1-ADB1-3564B7362FBC}"/>
                </a:ext>
              </a:extLst>
            </p:cNvPr>
            <p:cNvSpPr/>
            <p:nvPr/>
          </p:nvSpPr>
          <p:spPr>
            <a:xfrm rot="8716295">
              <a:off x="2606784" y="97400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9DEC1430-749E-4073-9884-D3917B891663}"/>
                </a:ext>
              </a:extLst>
            </p:cNvPr>
            <p:cNvSpPr/>
            <p:nvPr/>
          </p:nvSpPr>
          <p:spPr>
            <a:xfrm rot="8716295">
              <a:off x="2696176" y="100324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626F965F-1168-4906-A312-B88FB685E6C8}"/>
                </a:ext>
              </a:extLst>
            </p:cNvPr>
            <p:cNvSpPr/>
            <p:nvPr/>
          </p:nvSpPr>
          <p:spPr>
            <a:xfrm rot="8716295">
              <a:off x="2651326" y="91696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63FEE4FF-1D87-4CAE-9FA8-9CF6A9D96EFB}"/>
                </a:ext>
              </a:extLst>
            </p:cNvPr>
            <p:cNvSpPr/>
            <p:nvPr/>
          </p:nvSpPr>
          <p:spPr>
            <a:xfrm rot="8716295">
              <a:off x="2494550" y="106254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BC11557D-3B0F-4F99-BB1C-10D4CD358771}"/>
                </a:ext>
              </a:extLst>
            </p:cNvPr>
            <p:cNvSpPr/>
            <p:nvPr/>
          </p:nvSpPr>
          <p:spPr>
            <a:xfrm rot="8716295">
              <a:off x="2369647" y="85387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1BF9B5DD-16B3-4C9A-A0CB-19167186C695}"/>
                </a:ext>
              </a:extLst>
            </p:cNvPr>
            <p:cNvSpPr/>
            <p:nvPr/>
          </p:nvSpPr>
          <p:spPr>
            <a:xfrm rot="8716295">
              <a:off x="2357595" y="71509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4BDAD41E-2E62-46D5-8972-DD9B42CE139E}"/>
                </a:ext>
              </a:extLst>
            </p:cNvPr>
            <p:cNvSpPr/>
            <p:nvPr/>
          </p:nvSpPr>
          <p:spPr>
            <a:xfrm rot="8716295">
              <a:off x="2584728" y="110350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49E7137B-1AE9-4612-BDE2-1AD75C253D82}"/>
                </a:ext>
              </a:extLst>
            </p:cNvPr>
            <p:cNvSpPr/>
            <p:nvPr/>
          </p:nvSpPr>
          <p:spPr>
            <a:xfrm rot="8716295">
              <a:off x="2895883" y="72385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FB51623D-A683-4809-B6F7-B7284C8425E7}"/>
                </a:ext>
              </a:extLst>
            </p:cNvPr>
            <p:cNvSpPr/>
            <p:nvPr/>
          </p:nvSpPr>
          <p:spPr>
            <a:xfrm rot="8716295">
              <a:off x="2985275" y="75309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281173AB-108D-4FE0-B6D3-50708833EE4A}"/>
                </a:ext>
              </a:extLst>
            </p:cNvPr>
            <p:cNvSpPr/>
            <p:nvPr/>
          </p:nvSpPr>
          <p:spPr>
            <a:xfrm rot="8716295">
              <a:off x="2783649" y="81239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BF07C4A0-5324-4C7F-B4EC-CC1184768828}"/>
                </a:ext>
              </a:extLst>
            </p:cNvPr>
            <p:cNvSpPr/>
            <p:nvPr/>
          </p:nvSpPr>
          <p:spPr>
            <a:xfrm rot="8716295">
              <a:off x="2658747" y="60372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6C1ACB1E-5691-49AE-AB29-06C5DC240D79}"/>
                </a:ext>
              </a:extLst>
            </p:cNvPr>
            <p:cNvSpPr/>
            <p:nvPr/>
          </p:nvSpPr>
          <p:spPr>
            <a:xfrm rot="8716295">
              <a:off x="2873827" y="85334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BBA32666-AB2E-4FC3-AC66-C412DC6DB6FE}"/>
                </a:ext>
              </a:extLst>
            </p:cNvPr>
            <p:cNvSpPr/>
            <p:nvPr/>
          </p:nvSpPr>
          <p:spPr>
            <a:xfrm rot="8716295">
              <a:off x="2632376" y="70374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446CB3B3-0538-4236-9A2B-B81F3C70F649}"/>
                </a:ext>
              </a:extLst>
            </p:cNvPr>
            <p:cNvSpPr/>
            <p:nvPr/>
          </p:nvSpPr>
          <p:spPr>
            <a:xfrm rot="7484129">
              <a:off x="2978758" y="10446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6FEF6605-DD46-4B6F-9434-E75F685EB3F1}"/>
                </a:ext>
              </a:extLst>
            </p:cNvPr>
            <p:cNvSpPr/>
            <p:nvPr/>
          </p:nvSpPr>
          <p:spPr>
            <a:xfrm rot="13089394">
              <a:off x="3083578" y="101123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5FAEA535-E5DC-4ECD-AC87-B4CF523A4E30}"/>
                </a:ext>
              </a:extLst>
            </p:cNvPr>
            <p:cNvSpPr/>
            <p:nvPr/>
          </p:nvSpPr>
          <p:spPr>
            <a:xfrm rot="8716295">
              <a:off x="3269163" y="81955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C4FD16EB-0DAD-4759-8354-258732BCDC6A}"/>
                </a:ext>
              </a:extLst>
            </p:cNvPr>
            <p:cNvSpPr/>
            <p:nvPr/>
          </p:nvSpPr>
          <p:spPr>
            <a:xfrm rot="8716295">
              <a:off x="3217358" y="71595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C79D5733-4C6C-4FFD-A38D-A89F64FE54C8}"/>
                </a:ext>
              </a:extLst>
            </p:cNvPr>
            <p:cNvSpPr/>
            <p:nvPr/>
          </p:nvSpPr>
          <p:spPr>
            <a:xfrm rot="8716295">
              <a:off x="2974112" y="74618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133AF81E-5F8E-4D81-87C0-011CC96E3CC9}"/>
                </a:ext>
              </a:extLst>
            </p:cNvPr>
            <p:cNvSpPr/>
            <p:nvPr/>
          </p:nvSpPr>
          <p:spPr>
            <a:xfrm rot="8716295">
              <a:off x="3151564" y="58693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F5BAA1B0-C7A6-44B2-8867-FEAE18AC26E8}"/>
                </a:ext>
              </a:extLst>
            </p:cNvPr>
            <p:cNvSpPr/>
            <p:nvPr/>
          </p:nvSpPr>
          <p:spPr>
            <a:xfrm rot="8716295">
              <a:off x="2387845" y="31194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orme libre : forme 58">
              <a:extLst>
                <a:ext uri="{FF2B5EF4-FFF2-40B4-BE49-F238E27FC236}">
                  <a16:creationId xmlns:a16="http://schemas.microsoft.com/office/drawing/2014/main" id="{B51F8FF7-DB45-4A7D-B87B-E8E0B15A9D38}"/>
                </a:ext>
              </a:extLst>
            </p:cNvPr>
            <p:cNvSpPr/>
            <p:nvPr/>
          </p:nvSpPr>
          <p:spPr>
            <a:xfrm rot="8716295">
              <a:off x="2477237" y="34118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orme libre : forme 59">
              <a:extLst>
                <a:ext uri="{FF2B5EF4-FFF2-40B4-BE49-F238E27FC236}">
                  <a16:creationId xmlns:a16="http://schemas.microsoft.com/office/drawing/2014/main" id="{1950BE25-03A0-4561-B14B-331445B0D0C3}"/>
                </a:ext>
              </a:extLst>
            </p:cNvPr>
            <p:cNvSpPr/>
            <p:nvPr/>
          </p:nvSpPr>
          <p:spPr>
            <a:xfrm rot="8716295">
              <a:off x="2432387" y="254908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orme libre : forme 60">
              <a:extLst>
                <a:ext uri="{FF2B5EF4-FFF2-40B4-BE49-F238E27FC236}">
                  <a16:creationId xmlns:a16="http://schemas.microsoft.com/office/drawing/2014/main" id="{1E041962-91AE-4D89-B179-1A31E1910CF1}"/>
                </a:ext>
              </a:extLst>
            </p:cNvPr>
            <p:cNvSpPr/>
            <p:nvPr/>
          </p:nvSpPr>
          <p:spPr>
            <a:xfrm rot="8716295">
              <a:off x="2275611" y="40049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orme libre : forme 61">
              <a:extLst>
                <a:ext uri="{FF2B5EF4-FFF2-40B4-BE49-F238E27FC236}">
                  <a16:creationId xmlns:a16="http://schemas.microsoft.com/office/drawing/2014/main" id="{376CFCCF-38DC-4A35-AA3F-E03998AD805A}"/>
                </a:ext>
              </a:extLst>
            </p:cNvPr>
            <p:cNvSpPr/>
            <p:nvPr/>
          </p:nvSpPr>
          <p:spPr>
            <a:xfrm rot="8716295">
              <a:off x="2150708" y="19181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orme libre : forme 62">
              <a:extLst>
                <a:ext uri="{FF2B5EF4-FFF2-40B4-BE49-F238E27FC236}">
                  <a16:creationId xmlns:a16="http://schemas.microsoft.com/office/drawing/2014/main" id="{68D158FE-3FEF-4222-A8A6-28BC2EB41760}"/>
                </a:ext>
              </a:extLst>
            </p:cNvPr>
            <p:cNvSpPr/>
            <p:nvPr/>
          </p:nvSpPr>
          <p:spPr>
            <a:xfrm rot="8716295">
              <a:off x="2138656" y="53037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orme libre : forme 63">
              <a:extLst>
                <a:ext uri="{FF2B5EF4-FFF2-40B4-BE49-F238E27FC236}">
                  <a16:creationId xmlns:a16="http://schemas.microsoft.com/office/drawing/2014/main" id="{DC9E9862-78FC-4213-B2E2-61DF3173636D}"/>
                </a:ext>
              </a:extLst>
            </p:cNvPr>
            <p:cNvSpPr/>
            <p:nvPr/>
          </p:nvSpPr>
          <p:spPr>
            <a:xfrm rot="8716295">
              <a:off x="2365789" y="441442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orme libre : forme 64">
              <a:extLst>
                <a:ext uri="{FF2B5EF4-FFF2-40B4-BE49-F238E27FC236}">
                  <a16:creationId xmlns:a16="http://schemas.microsoft.com/office/drawing/2014/main" id="{8722DBD7-5E81-4E3D-870A-6CD5E129D96B}"/>
                </a:ext>
              </a:extLst>
            </p:cNvPr>
            <p:cNvSpPr/>
            <p:nvPr/>
          </p:nvSpPr>
          <p:spPr>
            <a:xfrm rot="8716295">
              <a:off x="2676944" y="6179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orme libre : forme 65">
              <a:extLst>
                <a:ext uri="{FF2B5EF4-FFF2-40B4-BE49-F238E27FC236}">
                  <a16:creationId xmlns:a16="http://schemas.microsoft.com/office/drawing/2014/main" id="{43ED8C5C-290C-4E36-A603-A668764D918E}"/>
                </a:ext>
              </a:extLst>
            </p:cNvPr>
            <p:cNvSpPr/>
            <p:nvPr/>
          </p:nvSpPr>
          <p:spPr>
            <a:xfrm rot="8716295">
              <a:off x="2766336" y="9103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orme libre : forme 66">
              <a:extLst>
                <a:ext uri="{FF2B5EF4-FFF2-40B4-BE49-F238E27FC236}">
                  <a16:creationId xmlns:a16="http://schemas.microsoft.com/office/drawing/2014/main" id="{143AD9CC-AEFC-4AE6-ADAB-C03B27727981}"/>
                </a:ext>
              </a:extLst>
            </p:cNvPr>
            <p:cNvSpPr/>
            <p:nvPr/>
          </p:nvSpPr>
          <p:spPr>
            <a:xfrm rot="8716295">
              <a:off x="2564710" y="15033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03CE5A8E-699E-421E-ABA5-42929237719B}"/>
                </a:ext>
              </a:extLst>
            </p:cNvPr>
            <p:cNvSpPr/>
            <p:nvPr/>
          </p:nvSpPr>
          <p:spPr>
            <a:xfrm rot="8716295">
              <a:off x="2448552" y="-16031"/>
              <a:ext cx="203847" cy="149340"/>
            </a:xfrm>
            <a:custGeom>
              <a:avLst/>
              <a:gdLst>
                <a:gd name="connsiteX0" fmla="*/ 106716 w 203847"/>
                <a:gd name="connsiteY0" fmla="*/ 149340 h 149340"/>
                <a:gd name="connsiteX1" fmla="*/ 50038 w 203847"/>
                <a:gd name="connsiteY1" fmla="*/ 110053 h 149340"/>
                <a:gd name="connsiteX2" fmla="*/ 69777 w 203847"/>
                <a:gd name="connsiteY2" fmla="*/ 55323 h 149340"/>
                <a:gd name="connsiteX3" fmla="*/ 0 w 203847"/>
                <a:gd name="connsiteY3" fmla="*/ 55323 h 149340"/>
                <a:gd name="connsiteX4" fmla="*/ 0 w 203847"/>
                <a:gd name="connsiteY4" fmla="*/ 0 h 149340"/>
                <a:gd name="connsiteX5" fmla="*/ 203847 w 203847"/>
                <a:gd name="connsiteY5" fmla="*/ 0 h 149340"/>
                <a:gd name="connsiteX6" fmla="*/ 203847 w 203847"/>
                <a:gd name="connsiteY6" fmla="*/ 55323 h 149340"/>
                <a:gd name="connsiteX7" fmla="*/ 139055 w 203847"/>
                <a:gd name="connsiteY7" fmla="*/ 55323 h 14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49340">
                  <a:moveTo>
                    <a:pt x="106716" y="149340"/>
                  </a:moveTo>
                  <a:lnTo>
                    <a:pt x="50038" y="110053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orme libre : forme 68">
              <a:extLst>
                <a:ext uri="{FF2B5EF4-FFF2-40B4-BE49-F238E27FC236}">
                  <a16:creationId xmlns:a16="http://schemas.microsoft.com/office/drawing/2014/main" id="{4F51AFD5-9DB6-4DCA-8489-09E9C4297801}"/>
                </a:ext>
              </a:extLst>
            </p:cNvPr>
            <p:cNvSpPr/>
            <p:nvPr/>
          </p:nvSpPr>
          <p:spPr>
            <a:xfrm rot="8716295">
              <a:off x="2654888" y="191290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orme libre : forme 69">
              <a:extLst>
                <a:ext uri="{FF2B5EF4-FFF2-40B4-BE49-F238E27FC236}">
                  <a16:creationId xmlns:a16="http://schemas.microsoft.com/office/drawing/2014/main" id="{A2ECF224-799C-4DC5-AB51-FEB15AA2B828}"/>
                </a:ext>
              </a:extLst>
            </p:cNvPr>
            <p:cNvSpPr/>
            <p:nvPr/>
          </p:nvSpPr>
          <p:spPr>
            <a:xfrm rot="8716295">
              <a:off x="2413437" y="41690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orme libre : forme 70">
              <a:extLst>
                <a:ext uri="{FF2B5EF4-FFF2-40B4-BE49-F238E27FC236}">
                  <a16:creationId xmlns:a16="http://schemas.microsoft.com/office/drawing/2014/main" id="{1302BF26-B64E-4C90-894D-A7C67007EE36}"/>
                </a:ext>
              </a:extLst>
            </p:cNvPr>
            <p:cNvSpPr/>
            <p:nvPr/>
          </p:nvSpPr>
          <p:spPr>
            <a:xfrm rot="7484129">
              <a:off x="2759819" y="38264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orme libre : forme 71">
              <a:extLst>
                <a:ext uri="{FF2B5EF4-FFF2-40B4-BE49-F238E27FC236}">
                  <a16:creationId xmlns:a16="http://schemas.microsoft.com/office/drawing/2014/main" id="{170CE256-57E7-488F-BBB2-5B7F98B8FB76}"/>
                </a:ext>
              </a:extLst>
            </p:cNvPr>
            <p:cNvSpPr/>
            <p:nvPr/>
          </p:nvSpPr>
          <p:spPr>
            <a:xfrm rot="13089394">
              <a:off x="2864639" y="349175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orme libre : forme 72">
              <a:extLst>
                <a:ext uri="{FF2B5EF4-FFF2-40B4-BE49-F238E27FC236}">
                  <a16:creationId xmlns:a16="http://schemas.microsoft.com/office/drawing/2014/main" id="{5E848AEE-AD50-4EC7-B6E2-006804A78B57}"/>
                </a:ext>
              </a:extLst>
            </p:cNvPr>
            <p:cNvSpPr/>
            <p:nvPr/>
          </p:nvSpPr>
          <p:spPr>
            <a:xfrm rot="8716295">
              <a:off x="3050224" y="157494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" name="Forme libre : forme 73">
              <a:extLst>
                <a:ext uri="{FF2B5EF4-FFF2-40B4-BE49-F238E27FC236}">
                  <a16:creationId xmlns:a16="http://schemas.microsoft.com/office/drawing/2014/main" id="{BEE1CAE8-6503-4A10-B1BA-C6183C9E0E74}"/>
                </a:ext>
              </a:extLst>
            </p:cNvPr>
            <p:cNvSpPr/>
            <p:nvPr/>
          </p:nvSpPr>
          <p:spPr>
            <a:xfrm rot="8716295">
              <a:off x="2998419" y="5390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" name="Forme libre : forme 74">
              <a:extLst>
                <a:ext uri="{FF2B5EF4-FFF2-40B4-BE49-F238E27FC236}">
                  <a16:creationId xmlns:a16="http://schemas.microsoft.com/office/drawing/2014/main" id="{34A8E996-3975-4581-B536-E2CE9D88EBFE}"/>
                </a:ext>
              </a:extLst>
            </p:cNvPr>
            <p:cNvSpPr/>
            <p:nvPr/>
          </p:nvSpPr>
          <p:spPr>
            <a:xfrm rot="8716295">
              <a:off x="2755173" y="8412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" name="Forme libre : forme 75">
              <a:extLst>
                <a:ext uri="{FF2B5EF4-FFF2-40B4-BE49-F238E27FC236}">
                  <a16:creationId xmlns:a16="http://schemas.microsoft.com/office/drawing/2014/main" id="{3BE41751-0FE9-4A5C-97A5-9AF2319641D6}"/>
                </a:ext>
              </a:extLst>
            </p:cNvPr>
            <p:cNvSpPr/>
            <p:nvPr/>
          </p:nvSpPr>
          <p:spPr>
            <a:xfrm rot="8716295">
              <a:off x="2940014" y="-28690"/>
              <a:ext cx="88664" cy="70660"/>
            </a:xfrm>
            <a:custGeom>
              <a:avLst/>
              <a:gdLst>
                <a:gd name="connsiteX0" fmla="*/ 83649 w 88664"/>
                <a:gd name="connsiteY0" fmla="*/ 70660 h 70660"/>
                <a:gd name="connsiteX1" fmla="*/ 0 w 88664"/>
                <a:gd name="connsiteY1" fmla="*/ 12677 h 70660"/>
                <a:gd name="connsiteX2" fmla="*/ 30024 w 88664"/>
                <a:gd name="connsiteY2" fmla="*/ 0 h 70660"/>
                <a:gd name="connsiteX3" fmla="*/ 71417 w 88664"/>
                <a:gd name="connsiteY3" fmla="*/ 17477 h 70660"/>
                <a:gd name="connsiteX4" fmla="*/ 88664 w 88664"/>
                <a:gd name="connsiteY4" fmla="*/ 58525 h 70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664" h="70660">
                  <a:moveTo>
                    <a:pt x="83649" y="70660"/>
                  </a:moveTo>
                  <a:lnTo>
                    <a:pt x="0" y="12677"/>
                  </a:lnTo>
                  <a:lnTo>
                    <a:pt x="30024" y="0"/>
                  </a:lnTo>
                  <a:cubicBezTo>
                    <a:pt x="45662" y="0"/>
                    <a:pt x="60379" y="6439"/>
                    <a:pt x="71417" y="17477"/>
                  </a:cubicBezTo>
                  <a:cubicBezTo>
                    <a:pt x="82915" y="28515"/>
                    <a:pt x="88664" y="43462"/>
                    <a:pt x="88664" y="58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" name="Forme libre : forme 76">
              <a:extLst>
                <a:ext uri="{FF2B5EF4-FFF2-40B4-BE49-F238E27FC236}">
                  <a16:creationId xmlns:a16="http://schemas.microsoft.com/office/drawing/2014/main" id="{7C593DEA-1D52-4373-8D6B-6BD1BBF8835C}"/>
                </a:ext>
              </a:extLst>
            </p:cNvPr>
            <p:cNvSpPr/>
            <p:nvPr/>
          </p:nvSpPr>
          <p:spPr>
            <a:xfrm rot="13089394">
              <a:off x="2740820" y="-30870"/>
              <a:ext cx="73521" cy="76374"/>
            </a:xfrm>
            <a:custGeom>
              <a:avLst/>
              <a:gdLst>
                <a:gd name="connsiteX0" fmla="*/ 73521 w 73521"/>
                <a:gd name="connsiteY0" fmla="*/ 18609 h 76374"/>
                <a:gd name="connsiteX1" fmla="*/ 0 w 73521"/>
                <a:gd name="connsiteY1" fmla="*/ 76374 h 76374"/>
                <a:gd name="connsiteX2" fmla="*/ 0 w 73521"/>
                <a:gd name="connsiteY2" fmla="*/ 38074 h 76374"/>
                <a:gd name="connsiteX3" fmla="*/ 73388 w 73521"/>
                <a:gd name="connsiteY3" fmla="*/ 0 h 7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521" h="76374">
                  <a:moveTo>
                    <a:pt x="73521" y="18609"/>
                  </a:moveTo>
                  <a:lnTo>
                    <a:pt x="0" y="76374"/>
                  </a:lnTo>
                  <a:lnTo>
                    <a:pt x="0" y="38074"/>
                  </a:lnTo>
                  <a:lnTo>
                    <a:pt x="7338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" name="Forme libre : forme 77">
              <a:extLst>
                <a:ext uri="{FF2B5EF4-FFF2-40B4-BE49-F238E27FC236}">
                  <a16:creationId xmlns:a16="http://schemas.microsoft.com/office/drawing/2014/main" id="{31F42A73-BF6E-4A9E-A2F6-7111DF0FD878}"/>
                </a:ext>
              </a:extLst>
            </p:cNvPr>
            <p:cNvSpPr/>
            <p:nvPr/>
          </p:nvSpPr>
          <p:spPr>
            <a:xfrm rot="8716295">
              <a:off x="2166753" y="273158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orme libre : forme 78">
              <a:extLst>
                <a:ext uri="{FF2B5EF4-FFF2-40B4-BE49-F238E27FC236}">
                  <a16:creationId xmlns:a16="http://schemas.microsoft.com/office/drawing/2014/main" id="{863BEFD8-472A-4A82-B952-ACFEE2251E69}"/>
                </a:ext>
              </a:extLst>
            </p:cNvPr>
            <p:cNvSpPr/>
            <p:nvPr/>
          </p:nvSpPr>
          <p:spPr>
            <a:xfrm rot="8716295">
              <a:off x="2256145" y="276082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Forme libre : forme 79">
              <a:extLst>
                <a:ext uri="{FF2B5EF4-FFF2-40B4-BE49-F238E27FC236}">
                  <a16:creationId xmlns:a16="http://schemas.microsoft.com/office/drawing/2014/main" id="{9D41F395-157D-4566-AD0B-619CCA4FE6BE}"/>
                </a:ext>
              </a:extLst>
            </p:cNvPr>
            <p:cNvSpPr/>
            <p:nvPr/>
          </p:nvSpPr>
          <p:spPr>
            <a:xfrm rot="8716295">
              <a:off x="2211295" y="2674548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" name="Forme libre : forme 80">
              <a:extLst>
                <a:ext uri="{FF2B5EF4-FFF2-40B4-BE49-F238E27FC236}">
                  <a16:creationId xmlns:a16="http://schemas.microsoft.com/office/drawing/2014/main" id="{BF76F399-DC6B-4DE2-9E3A-1FFB94BB6465}"/>
                </a:ext>
              </a:extLst>
            </p:cNvPr>
            <p:cNvSpPr/>
            <p:nvPr/>
          </p:nvSpPr>
          <p:spPr>
            <a:xfrm rot="8716295">
              <a:off x="2054519" y="28201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orme libre : forme 81">
              <a:extLst>
                <a:ext uri="{FF2B5EF4-FFF2-40B4-BE49-F238E27FC236}">
                  <a16:creationId xmlns:a16="http://schemas.microsoft.com/office/drawing/2014/main" id="{3065D63F-B336-46ED-922F-641AF1B7B83C}"/>
                </a:ext>
              </a:extLst>
            </p:cNvPr>
            <p:cNvSpPr/>
            <p:nvPr/>
          </p:nvSpPr>
          <p:spPr>
            <a:xfrm rot="8716295">
              <a:off x="1929616" y="261145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Forme libre : forme 82">
              <a:extLst>
                <a:ext uri="{FF2B5EF4-FFF2-40B4-BE49-F238E27FC236}">
                  <a16:creationId xmlns:a16="http://schemas.microsoft.com/office/drawing/2014/main" id="{68BC6F5F-0186-40DD-8404-566D70BB9E99}"/>
                </a:ext>
              </a:extLst>
            </p:cNvPr>
            <p:cNvSpPr/>
            <p:nvPr/>
          </p:nvSpPr>
          <p:spPr>
            <a:xfrm rot="8716295">
              <a:off x="1917564" y="2472677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4" name="Forme libre : forme 83">
              <a:extLst>
                <a:ext uri="{FF2B5EF4-FFF2-40B4-BE49-F238E27FC236}">
                  <a16:creationId xmlns:a16="http://schemas.microsoft.com/office/drawing/2014/main" id="{E12469CC-5FF5-4C57-A661-5C5E14481CD9}"/>
                </a:ext>
              </a:extLst>
            </p:cNvPr>
            <p:cNvSpPr/>
            <p:nvPr/>
          </p:nvSpPr>
          <p:spPr>
            <a:xfrm rot="8716295">
              <a:off x="2144697" y="2861082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5" name="Forme libre : forme 84">
              <a:extLst>
                <a:ext uri="{FF2B5EF4-FFF2-40B4-BE49-F238E27FC236}">
                  <a16:creationId xmlns:a16="http://schemas.microsoft.com/office/drawing/2014/main" id="{30210F38-CF8D-4D63-B79E-43CAC77B4950}"/>
                </a:ext>
              </a:extLst>
            </p:cNvPr>
            <p:cNvSpPr/>
            <p:nvPr/>
          </p:nvSpPr>
          <p:spPr>
            <a:xfrm rot="8716295">
              <a:off x="2455852" y="248143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6" name="Forme libre : forme 85">
              <a:extLst>
                <a:ext uri="{FF2B5EF4-FFF2-40B4-BE49-F238E27FC236}">
                  <a16:creationId xmlns:a16="http://schemas.microsoft.com/office/drawing/2014/main" id="{695A233A-6503-484C-8F4F-186E71E5B99E}"/>
                </a:ext>
              </a:extLst>
            </p:cNvPr>
            <p:cNvSpPr/>
            <p:nvPr/>
          </p:nvSpPr>
          <p:spPr>
            <a:xfrm rot="8716295">
              <a:off x="2545244" y="251067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7" name="Forme libre : forme 86">
              <a:extLst>
                <a:ext uri="{FF2B5EF4-FFF2-40B4-BE49-F238E27FC236}">
                  <a16:creationId xmlns:a16="http://schemas.microsoft.com/office/drawing/2014/main" id="{C4016FC8-3862-4EDD-AD90-D27F3C486D6C}"/>
                </a:ext>
              </a:extLst>
            </p:cNvPr>
            <p:cNvSpPr/>
            <p:nvPr/>
          </p:nvSpPr>
          <p:spPr>
            <a:xfrm rot="8716295">
              <a:off x="2343618" y="256997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8" name="Forme libre : forme 87">
              <a:extLst>
                <a:ext uri="{FF2B5EF4-FFF2-40B4-BE49-F238E27FC236}">
                  <a16:creationId xmlns:a16="http://schemas.microsoft.com/office/drawing/2014/main" id="{841AD7D6-9A1D-47F3-B8D0-0F3912F8A2E1}"/>
                </a:ext>
              </a:extLst>
            </p:cNvPr>
            <p:cNvSpPr/>
            <p:nvPr/>
          </p:nvSpPr>
          <p:spPr>
            <a:xfrm rot="8716295">
              <a:off x="2218716" y="236130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9" name="Forme libre : forme 88">
              <a:extLst>
                <a:ext uri="{FF2B5EF4-FFF2-40B4-BE49-F238E27FC236}">
                  <a16:creationId xmlns:a16="http://schemas.microsoft.com/office/drawing/2014/main" id="{70BCC5A3-9952-4F01-975F-6F986E6B55DD}"/>
                </a:ext>
              </a:extLst>
            </p:cNvPr>
            <p:cNvSpPr/>
            <p:nvPr/>
          </p:nvSpPr>
          <p:spPr>
            <a:xfrm rot="8716295">
              <a:off x="2433796" y="2610930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" name="Forme libre : forme 89">
              <a:extLst>
                <a:ext uri="{FF2B5EF4-FFF2-40B4-BE49-F238E27FC236}">
                  <a16:creationId xmlns:a16="http://schemas.microsoft.com/office/drawing/2014/main" id="{48292A7A-33E9-4FF2-9525-C481018D3541}"/>
                </a:ext>
              </a:extLst>
            </p:cNvPr>
            <p:cNvSpPr/>
            <p:nvPr/>
          </p:nvSpPr>
          <p:spPr>
            <a:xfrm rot="8716295">
              <a:off x="2192345" y="2461330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" name="Forme libre : forme 90">
              <a:extLst>
                <a:ext uri="{FF2B5EF4-FFF2-40B4-BE49-F238E27FC236}">
                  <a16:creationId xmlns:a16="http://schemas.microsoft.com/office/drawing/2014/main" id="{3C5BF462-E2E4-4E2E-A187-F82081942730}"/>
                </a:ext>
              </a:extLst>
            </p:cNvPr>
            <p:cNvSpPr/>
            <p:nvPr/>
          </p:nvSpPr>
          <p:spPr>
            <a:xfrm rot="7484129">
              <a:off x="2538727" y="280228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" name="Forme libre : forme 91">
              <a:extLst>
                <a:ext uri="{FF2B5EF4-FFF2-40B4-BE49-F238E27FC236}">
                  <a16:creationId xmlns:a16="http://schemas.microsoft.com/office/drawing/2014/main" id="{53F93EE7-2FCB-4993-A211-9ABCA8AB16A1}"/>
                </a:ext>
              </a:extLst>
            </p:cNvPr>
            <p:cNvSpPr/>
            <p:nvPr/>
          </p:nvSpPr>
          <p:spPr>
            <a:xfrm rot="13089394">
              <a:off x="2643547" y="2768815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" name="Forme libre : forme 92">
              <a:extLst>
                <a:ext uri="{FF2B5EF4-FFF2-40B4-BE49-F238E27FC236}">
                  <a16:creationId xmlns:a16="http://schemas.microsoft.com/office/drawing/2014/main" id="{ACCCC6BB-9AC5-40F1-8FDF-2D7AAA4F97CC}"/>
                </a:ext>
              </a:extLst>
            </p:cNvPr>
            <p:cNvSpPr/>
            <p:nvPr/>
          </p:nvSpPr>
          <p:spPr>
            <a:xfrm rot="8716295">
              <a:off x="2829132" y="2577134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" name="Forme libre : forme 93">
              <a:extLst>
                <a:ext uri="{FF2B5EF4-FFF2-40B4-BE49-F238E27FC236}">
                  <a16:creationId xmlns:a16="http://schemas.microsoft.com/office/drawing/2014/main" id="{C83E96A9-D46F-4FBD-BA31-A3DDCAF05013}"/>
                </a:ext>
              </a:extLst>
            </p:cNvPr>
            <p:cNvSpPr/>
            <p:nvPr/>
          </p:nvSpPr>
          <p:spPr>
            <a:xfrm rot="8716295">
              <a:off x="2777327" y="247354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orme libre : forme 94">
              <a:extLst>
                <a:ext uri="{FF2B5EF4-FFF2-40B4-BE49-F238E27FC236}">
                  <a16:creationId xmlns:a16="http://schemas.microsoft.com/office/drawing/2014/main" id="{819524D5-42FD-49C2-A52C-138204093572}"/>
                </a:ext>
              </a:extLst>
            </p:cNvPr>
            <p:cNvSpPr/>
            <p:nvPr/>
          </p:nvSpPr>
          <p:spPr>
            <a:xfrm rot="8716295">
              <a:off x="2534081" y="250376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Forme libre : forme 95">
              <a:extLst>
                <a:ext uri="{FF2B5EF4-FFF2-40B4-BE49-F238E27FC236}">
                  <a16:creationId xmlns:a16="http://schemas.microsoft.com/office/drawing/2014/main" id="{D4292037-242B-4F99-8EE6-4056BF8CE17A}"/>
                </a:ext>
              </a:extLst>
            </p:cNvPr>
            <p:cNvSpPr/>
            <p:nvPr/>
          </p:nvSpPr>
          <p:spPr>
            <a:xfrm rot="8716295">
              <a:off x="2711533" y="234452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" name="Forme libre : forme 96">
              <a:extLst>
                <a:ext uri="{FF2B5EF4-FFF2-40B4-BE49-F238E27FC236}">
                  <a16:creationId xmlns:a16="http://schemas.microsoft.com/office/drawing/2014/main" id="{B300D5E8-99AD-4100-BBB0-F9335C60ABF1}"/>
                </a:ext>
              </a:extLst>
            </p:cNvPr>
            <p:cNvSpPr/>
            <p:nvPr/>
          </p:nvSpPr>
          <p:spPr>
            <a:xfrm rot="8716295">
              <a:off x="2389920" y="339128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" name="Forme libre : forme 97">
              <a:extLst>
                <a:ext uri="{FF2B5EF4-FFF2-40B4-BE49-F238E27FC236}">
                  <a16:creationId xmlns:a16="http://schemas.microsoft.com/office/drawing/2014/main" id="{050E0B4C-4868-4ECB-B52A-F4534FB3428C}"/>
                </a:ext>
              </a:extLst>
            </p:cNvPr>
            <p:cNvSpPr/>
            <p:nvPr/>
          </p:nvSpPr>
          <p:spPr>
            <a:xfrm rot="8716295">
              <a:off x="2479312" y="342052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" name="Forme libre : forme 98">
              <a:extLst>
                <a:ext uri="{FF2B5EF4-FFF2-40B4-BE49-F238E27FC236}">
                  <a16:creationId xmlns:a16="http://schemas.microsoft.com/office/drawing/2014/main" id="{2B753CAD-2E05-40BF-8117-865D3F8A49DD}"/>
                </a:ext>
              </a:extLst>
            </p:cNvPr>
            <p:cNvSpPr/>
            <p:nvPr/>
          </p:nvSpPr>
          <p:spPr>
            <a:xfrm rot="8716295">
              <a:off x="2434462" y="333424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orme libre : forme 99">
              <a:extLst>
                <a:ext uri="{FF2B5EF4-FFF2-40B4-BE49-F238E27FC236}">
                  <a16:creationId xmlns:a16="http://schemas.microsoft.com/office/drawing/2014/main" id="{5C8FF835-B7A5-4E03-BDCA-7B70EA22A6CB}"/>
                </a:ext>
              </a:extLst>
            </p:cNvPr>
            <p:cNvSpPr/>
            <p:nvPr/>
          </p:nvSpPr>
          <p:spPr>
            <a:xfrm rot="8716295">
              <a:off x="2277686" y="347982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Forme libre : forme 100">
              <a:extLst>
                <a:ext uri="{FF2B5EF4-FFF2-40B4-BE49-F238E27FC236}">
                  <a16:creationId xmlns:a16="http://schemas.microsoft.com/office/drawing/2014/main" id="{E640627F-DD46-4D4D-BFB7-C32CE4CD2C6E}"/>
                </a:ext>
              </a:extLst>
            </p:cNvPr>
            <p:cNvSpPr/>
            <p:nvPr/>
          </p:nvSpPr>
          <p:spPr>
            <a:xfrm rot="8716295">
              <a:off x="2152783" y="327115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" name="Forme libre : forme 101">
              <a:extLst>
                <a:ext uri="{FF2B5EF4-FFF2-40B4-BE49-F238E27FC236}">
                  <a16:creationId xmlns:a16="http://schemas.microsoft.com/office/drawing/2014/main" id="{D6CFC66E-117A-4E7B-A1B3-B61883DBC87C}"/>
                </a:ext>
              </a:extLst>
            </p:cNvPr>
            <p:cNvSpPr/>
            <p:nvPr/>
          </p:nvSpPr>
          <p:spPr>
            <a:xfrm rot="8716295">
              <a:off x="2140731" y="313237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" name="Forme libre : forme 102">
              <a:extLst>
                <a:ext uri="{FF2B5EF4-FFF2-40B4-BE49-F238E27FC236}">
                  <a16:creationId xmlns:a16="http://schemas.microsoft.com/office/drawing/2014/main" id="{44370D0A-70C8-47DE-B919-BD8689E5F0BD}"/>
                </a:ext>
              </a:extLst>
            </p:cNvPr>
            <p:cNvSpPr/>
            <p:nvPr/>
          </p:nvSpPr>
          <p:spPr>
            <a:xfrm rot="8716295">
              <a:off x="2367864" y="352078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" name="Forme libre : forme 103">
              <a:extLst>
                <a:ext uri="{FF2B5EF4-FFF2-40B4-BE49-F238E27FC236}">
                  <a16:creationId xmlns:a16="http://schemas.microsoft.com/office/drawing/2014/main" id="{6021BDC8-861D-486E-B439-FE7F06960030}"/>
                </a:ext>
              </a:extLst>
            </p:cNvPr>
            <p:cNvSpPr/>
            <p:nvPr/>
          </p:nvSpPr>
          <p:spPr>
            <a:xfrm rot="8716295">
              <a:off x="2679019" y="314113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" name="Forme libre : forme 104">
              <a:extLst>
                <a:ext uri="{FF2B5EF4-FFF2-40B4-BE49-F238E27FC236}">
                  <a16:creationId xmlns:a16="http://schemas.microsoft.com/office/drawing/2014/main" id="{0F608F19-E3BE-4D17-880D-C88146244ED4}"/>
                </a:ext>
              </a:extLst>
            </p:cNvPr>
            <p:cNvSpPr/>
            <p:nvPr/>
          </p:nvSpPr>
          <p:spPr>
            <a:xfrm rot="8716295">
              <a:off x="2768411" y="317037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" name="Forme libre : forme 105">
              <a:extLst>
                <a:ext uri="{FF2B5EF4-FFF2-40B4-BE49-F238E27FC236}">
                  <a16:creationId xmlns:a16="http://schemas.microsoft.com/office/drawing/2014/main" id="{64944F3B-C664-4365-A1CE-C418E167A34E}"/>
                </a:ext>
              </a:extLst>
            </p:cNvPr>
            <p:cNvSpPr/>
            <p:nvPr/>
          </p:nvSpPr>
          <p:spPr>
            <a:xfrm rot="8716295">
              <a:off x="2566785" y="322967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" name="Forme libre : forme 106">
              <a:extLst>
                <a:ext uri="{FF2B5EF4-FFF2-40B4-BE49-F238E27FC236}">
                  <a16:creationId xmlns:a16="http://schemas.microsoft.com/office/drawing/2014/main" id="{58328446-A7EA-46E8-B0B2-5078B627604C}"/>
                </a:ext>
              </a:extLst>
            </p:cNvPr>
            <p:cNvSpPr/>
            <p:nvPr/>
          </p:nvSpPr>
          <p:spPr>
            <a:xfrm rot="8716295">
              <a:off x="2441883" y="302100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" name="Forme libre : forme 107">
              <a:extLst>
                <a:ext uri="{FF2B5EF4-FFF2-40B4-BE49-F238E27FC236}">
                  <a16:creationId xmlns:a16="http://schemas.microsoft.com/office/drawing/2014/main" id="{358F3EE5-D858-432A-A907-9710D31351C8}"/>
                </a:ext>
              </a:extLst>
            </p:cNvPr>
            <p:cNvSpPr/>
            <p:nvPr/>
          </p:nvSpPr>
          <p:spPr>
            <a:xfrm rot="8716295">
              <a:off x="2656963" y="327062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" name="Forme libre : forme 108">
              <a:extLst>
                <a:ext uri="{FF2B5EF4-FFF2-40B4-BE49-F238E27FC236}">
                  <a16:creationId xmlns:a16="http://schemas.microsoft.com/office/drawing/2014/main" id="{B0966A7E-6D89-444C-8034-A9352897C897}"/>
                </a:ext>
              </a:extLst>
            </p:cNvPr>
            <p:cNvSpPr/>
            <p:nvPr/>
          </p:nvSpPr>
          <p:spPr>
            <a:xfrm rot="8716295">
              <a:off x="2415512" y="312102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" name="Forme libre : forme 109">
              <a:extLst>
                <a:ext uri="{FF2B5EF4-FFF2-40B4-BE49-F238E27FC236}">
                  <a16:creationId xmlns:a16="http://schemas.microsoft.com/office/drawing/2014/main" id="{37222F27-8DF7-4207-88C1-2429DD93BED2}"/>
                </a:ext>
              </a:extLst>
            </p:cNvPr>
            <p:cNvSpPr/>
            <p:nvPr/>
          </p:nvSpPr>
          <p:spPr>
            <a:xfrm rot="7484129">
              <a:off x="2761894" y="346198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" name="Forme libre : forme 110">
              <a:extLst>
                <a:ext uri="{FF2B5EF4-FFF2-40B4-BE49-F238E27FC236}">
                  <a16:creationId xmlns:a16="http://schemas.microsoft.com/office/drawing/2014/main" id="{993939CC-3AE4-419F-A9EE-0969EF61AE9B}"/>
                </a:ext>
              </a:extLst>
            </p:cNvPr>
            <p:cNvSpPr/>
            <p:nvPr/>
          </p:nvSpPr>
          <p:spPr>
            <a:xfrm rot="13089394">
              <a:off x="2866714" y="342851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" name="Forme libre : forme 111">
              <a:extLst>
                <a:ext uri="{FF2B5EF4-FFF2-40B4-BE49-F238E27FC236}">
                  <a16:creationId xmlns:a16="http://schemas.microsoft.com/office/drawing/2014/main" id="{A6A63E2F-4261-4DBF-8276-418D86D19210}"/>
                </a:ext>
              </a:extLst>
            </p:cNvPr>
            <p:cNvSpPr/>
            <p:nvPr/>
          </p:nvSpPr>
          <p:spPr>
            <a:xfrm rot="8716295">
              <a:off x="3052299" y="323683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" name="Forme libre : forme 112">
              <a:extLst>
                <a:ext uri="{FF2B5EF4-FFF2-40B4-BE49-F238E27FC236}">
                  <a16:creationId xmlns:a16="http://schemas.microsoft.com/office/drawing/2014/main" id="{1F2896C9-A0C7-4B2C-B1EE-DCCCD9009233}"/>
                </a:ext>
              </a:extLst>
            </p:cNvPr>
            <p:cNvSpPr/>
            <p:nvPr/>
          </p:nvSpPr>
          <p:spPr>
            <a:xfrm rot="8716295">
              <a:off x="3000494" y="313324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" name="Forme libre : forme 113">
              <a:extLst>
                <a:ext uri="{FF2B5EF4-FFF2-40B4-BE49-F238E27FC236}">
                  <a16:creationId xmlns:a16="http://schemas.microsoft.com/office/drawing/2014/main" id="{BFC2A5AA-74CC-447F-BCB7-82C53A9C1EBE}"/>
                </a:ext>
              </a:extLst>
            </p:cNvPr>
            <p:cNvSpPr/>
            <p:nvPr/>
          </p:nvSpPr>
          <p:spPr>
            <a:xfrm rot="8716295">
              <a:off x="2757248" y="316346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" name="Forme libre : forme 114">
              <a:extLst>
                <a:ext uri="{FF2B5EF4-FFF2-40B4-BE49-F238E27FC236}">
                  <a16:creationId xmlns:a16="http://schemas.microsoft.com/office/drawing/2014/main" id="{7736B671-8666-4922-9305-32A24DFDD7BC}"/>
                </a:ext>
              </a:extLst>
            </p:cNvPr>
            <p:cNvSpPr/>
            <p:nvPr/>
          </p:nvSpPr>
          <p:spPr>
            <a:xfrm rot="8716295">
              <a:off x="2934700" y="300421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" name="Forme libre : forme 115">
              <a:extLst>
                <a:ext uri="{FF2B5EF4-FFF2-40B4-BE49-F238E27FC236}">
                  <a16:creationId xmlns:a16="http://schemas.microsoft.com/office/drawing/2014/main" id="{4CF00AFF-9FDA-4C59-A1DE-7CCCB194DEA5}"/>
                </a:ext>
              </a:extLst>
            </p:cNvPr>
            <p:cNvSpPr/>
            <p:nvPr/>
          </p:nvSpPr>
          <p:spPr>
            <a:xfrm rot="8716295">
              <a:off x="2865744" y="5089178"/>
              <a:ext cx="140009" cy="103412"/>
            </a:xfrm>
            <a:custGeom>
              <a:avLst/>
              <a:gdLst>
                <a:gd name="connsiteX0" fmla="*/ 23004 w 140009"/>
                <a:gd name="connsiteY0" fmla="*/ 73821 h 103412"/>
                <a:gd name="connsiteX1" fmla="*/ 2853 w 140009"/>
                <a:gd name="connsiteY1" fmla="*/ 34034 h 103412"/>
                <a:gd name="connsiteX2" fmla="*/ 0 w 140009"/>
                <a:gd name="connsiteY2" fmla="*/ 0 h 103412"/>
                <a:gd name="connsiteX3" fmla="*/ 140009 w 140009"/>
                <a:gd name="connsiteY3" fmla="*/ 97050 h 103412"/>
                <a:gd name="connsiteX4" fmla="*/ 137354 w 140009"/>
                <a:gd name="connsiteY4" fmla="*/ 97759 h 103412"/>
                <a:gd name="connsiteX5" fmla="*/ 95370 w 140009"/>
                <a:gd name="connsiteY5" fmla="*/ 103238 h 103412"/>
                <a:gd name="connsiteX6" fmla="*/ 23004 w 140009"/>
                <a:gd name="connsiteY6" fmla="*/ 73821 h 103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0009" h="103412">
                  <a:moveTo>
                    <a:pt x="23004" y="73821"/>
                  </a:moveTo>
                  <a:cubicBezTo>
                    <a:pt x="13002" y="64113"/>
                    <a:pt x="6677" y="50875"/>
                    <a:pt x="2853" y="34034"/>
                  </a:cubicBezTo>
                  <a:lnTo>
                    <a:pt x="0" y="0"/>
                  </a:lnTo>
                  <a:lnTo>
                    <a:pt x="140009" y="97050"/>
                  </a:lnTo>
                  <a:lnTo>
                    <a:pt x="137354" y="97759"/>
                  </a:lnTo>
                  <a:cubicBezTo>
                    <a:pt x="121846" y="100775"/>
                    <a:pt x="107579" y="102502"/>
                    <a:pt x="95370" y="103238"/>
                  </a:cubicBezTo>
                  <a:cubicBezTo>
                    <a:pt x="68307" y="105003"/>
                    <a:pt x="41831" y="93236"/>
                    <a:pt x="23004" y="7382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" name="Forme libre : forme 116">
              <a:extLst>
                <a:ext uri="{FF2B5EF4-FFF2-40B4-BE49-F238E27FC236}">
                  <a16:creationId xmlns:a16="http://schemas.microsoft.com/office/drawing/2014/main" id="{7486FE8B-6DC8-400F-8B49-3D0FF59EDA59}"/>
                </a:ext>
              </a:extLst>
            </p:cNvPr>
            <p:cNvSpPr/>
            <p:nvPr/>
          </p:nvSpPr>
          <p:spPr>
            <a:xfrm rot="8716295">
              <a:off x="2608590" y="404968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" name="Forme libre : forme 117">
              <a:extLst>
                <a:ext uri="{FF2B5EF4-FFF2-40B4-BE49-F238E27FC236}">
                  <a16:creationId xmlns:a16="http://schemas.microsoft.com/office/drawing/2014/main" id="{409E4F60-3261-496F-85E7-0CED778B23AA}"/>
                </a:ext>
              </a:extLst>
            </p:cNvPr>
            <p:cNvSpPr/>
            <p:nvPr/>
          </p:nvSpPr>
          <p:spPr>
            <a:xfrm rot="8716295">
              <a:off x="2697982" y="407892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" name="Forme libre : forme 118">
              <a:extLst>
                <a:ext uri="{FF2B5EF4-FFF2-40B4-BE49-F238E27FC236}">
                  <a16:creationId xmlns:a16="http://schemas.microsoft.com/office/drawing/2014/main" id="{B4A7442C-1C02-4AB6-8CC3-22865B34D758}"/>
                </a:ext>
              </a:extLst>
            </p:cNvPr>
            <p:cNvSpPr/>
            <p:nvPr/>
          </p:nvSpPr>
          <p:spPr>
            <a:xfrm rot="8716295">
              <a:off x="2653132" y="399264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" name="Forme libre : forme 119">
              <a:extLst>
                <a:ext uri="{FF2B5EF4-FFF2-40B4-BE49-F238E27FC236}">
                  <a16:creationId xmlns:a16="http://schemas.microsoft.com/office/drawing/2014/main" id="{84547BFC-5C73-4C79-BC1E-65D2DA2F8F0F}"/>
                </a:ext>
              </a:extLst>
            </p:cNvPr>
            <p:cNvSpPr/>
            <p:nvPr/>
          </p:nvSpPr>
          <p:spPr>
            <a:xfrm rot="8716295">
              <a:off x="2496356" y="413822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" name="Forme libre : forme 120">
              <a:extLst>
                <a:ext uri="{FF2B5EF4-FFF2-40B4-BE49-F238E27FC236}">
                  <a16:creationId xmlns:a16="http://schemas.microsoft.com/office/drawing/2014/main" id="{1433A272-01C5-407E-A681-F11EFA1E77DE}"/>
                </a:ext>
              </a:extLst>
            </p:cNvPr>
            <p:cNvSpPr/>
            <p:nvPr/>
          </p:nvSpPr>
          <p:spPr>
            <a:xfrm rot="8716295">
              <a:off x="2371453" y="392955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" name="Forme libre : forme 121">
              <a:extLst>
                <a:ext uri="{FF2B5EF4-FFF2-40B4-BE49-F238E27FC236}">
                  <a16:creationId xmlns:a16="http://schemas.microsoft.com/office/drawing/2014/main" id="{B66B2FCE-B89D-4CFE-947C-F30A5386F13E}"/>
                </a:ext>
              </a:extLst>
            </p:cNvPr>
            <p:cNvSpPr/>
            <p:nvPr/>
          </p:nvSpPr>
          <p:spPr>
            <a:xfrm rot="8716295">
              <a:off x="2359401" y="379077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" name="Forme libre : forme 122">
              <a:extLst>
                <a:ext uri="{FF2B5EF4-FFF2-40B4-BE49-F238E27FC236}">
                  <a16:creationId xmlns:a16="http://schemas.microsoft.com/office/drawing/2014/main" id="{CB1F906C-3F04-489D-B712-86F36DCF301D}"/>
                </a:ext>
              </a:extLst>
            </p:cNvPr>
            <p:cNvSpPr/>
            <p:nvPr/>
          </p:nvSpPr>
          <p:spPr>
            <a:xfrm rot="8716295">
              <a:off x="2586534" y="417917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" name="Forme libre : forme 123">
              <a:extLst>
                <a:ext uri="{FF2B5EF4-FFF2-40B4-BE49-F238E27FC236}">
                  <a16:creationId xmlns:a16="http://schemas.microsoft.com/office/drawing/2014/main" id="{BA0DE2D1-2098-4B24-BF1D-8B4133E050A7}"/>
                </a:ext>
              </a:extLst>
            </p:cNvPr>
            <p:cNvSpPr/>
            <p:nvPr/>
          </p:nvSpPr>
          <p:spPr>
            <a:xfrm rot="8716295">
              <a:off x="2897689" y="379952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" name="Forme libre : forme 124">
              <a:extLst>
                <a:ext uri="{FF2B5EF4-FFF2-40B4-BE49-F238E27FC236}">
                  <a16:creationId xmlns:a16="http://schemas.microsoft.com/office/drawing/2014/main" id="{280C5645-8889-4114-AA92-3C2F280AAAB1}"/>
                </a:ext>
              </a:extLst>
            </p:cNvPr>
            <p:cNvSpPr/>
            <p:nvPr/>
          </p:nvSpPr>
          <p:spPr>
            <a:xfrm rot="8716295">
              <a:off x="2989368" y="3839999"/>
              <a:ext cx="209149" cy="253771"/>
            </a:xfrm>
            <a:custGeom>
              <a:avLst/>
              <a:gdLst>
                <a:gd name="connsiteX0" fmla="*/ 147179 w 209149"/>
                <a:gd name="connsiteY0" fmla="*/ 97023 h 253771"/>
                <a:gd name="connsiteX1" fmla="*/ 147179 w 209149"/>
                <a:gd name="connsiteY1" fmla="*/ 80620 h 253771"/>
                <a:gd name="connsiteX2" fmla="*/ 113460 w 209149"/>
                <a:gd name="connsiteY2" fmla="*/ 39154 h 253771"/>
                <a:gd name="connsiteX3" fmla="*/ 104592 w 209149"/>
                <a:gd name="connsiteY3" fmla="*/ 42082 h 253771"/>
                <a:gd name="connsiteX4" fmla="*/ 139399 w 209149"/>
                <a:gd name="connsiteY4" fmla="*/ 0 h 253771"/>
                <a:gd name="connsiteX5" fmla="*/ 165512 w 209149"/>
                <a:gd name="connsiteY5" fmla="*/ 4538 h 253771"/>
                <a:gd name="connsiteX6" fmla="*/ 209149 w 209149"/>
                <a:gd name="connsiteY6" fmla="*/ 87454 h 253771"/>
                <a:gd name="connsiteX7" fmla="*/ 209149 w 209149"/>
                <a:gd name="connsiteY7" fmla="*/ 93378 h 253771"/>
                <a:gd name="connsiteX8" fmla="*/ 0 w 209149"/>
                <a:gd name="connsiteY8" fmla="*/ 253771 h 253771"/>
                <a:gd name="connsiteX9" fmla="*/ 0 w 209149"/>
                <a:gd name="connsiteY9" fmla="*/ 168537 h 253771"/>
                <a:gd name="connsiteX10" fmla="*/ 65782 w 209149"/>
                <a:gd name="connsiteY10" fmla="*/ 89005 h 253771"/>
                <a:gd name="connsiteX11" fmla="*/ 64377 w 209149"/>
                <a:gd name="connsiteY11" fmla="*/ 92403 h 253771"/>
                <a:gd name="connsiteX12" fmla="*/ 60148 w 209149"/>
                <a:gd name="connsiteY12" fmla="*/ 126641 h 253771"/>
                <a:gd name="connsiteX13" fmla="*/ 60148 w 209149"/>
                <a:gd name="connsiteY13" fmla="*/ 212762 h 253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9149" h="253771">
                  <a:moveTo>
                    <a:pt x="147179" y="97023"/>
                  </a:moveTo>
                  <a:lnTo>
                    <a:pt x="147179" y="80620"/>
                  </a:lnTo>
                  <a:cubicBezTo>
                    <a:pt x="147179" y="56013"/>
                    <a:pt x="133054" y="39154"/>
                    <a:pt x="113460" y="39154"/>
                  </a:cubicBezTo>
                  <a:lnTo>
                    <a:pt x="104592" y="42082"/>
                  </a:lnTo>
                  <a:lnTo>
                    <a:pt x="139399" y="0"/>
                  </a:lnTo>
                  <a:lnTo>
                    <a:pt x="165512" y="4538"/>
                  </a:lnTo>
                  <a:cubicBezTo>
                    <a:pt x="193258" y="16029"/>
                    <a:pt x="209149" y="45077"/>
                    <a:pt x="209149" y="87454"/>
                  </a:cubicBezTo>
                  <a:lnTo>
                    <a:pt x="209149" y="93378"/>
                  </a:lnTo>
                  <a:close/>
                  <a:moveTo>
                    <a:pt x="0" y="253771"/>
                  </a:moveTo>
                  <a:lnTo>
                    <a:pt x="0" y="168537"/>
                  </a:lnTo>
                  <a:lnTo>
                    <a:pt x="65782" y="89005"/>
                  </a:lnTo>
                  <a:lnTo>
                    <a:pt x="64377" y="92403"/>
                  </a:lnTo>
                  <a:cubicBezTo>
                    <a:pt x="61657" y="102890"/>
                    <a:pt x="60148" y="114452"/>
                    <a:pt x="60148" y="126641"/>
                  </a:cubicBezTo>
                  <a:lnTo>
                    <a:pt x="60148" y="2127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" name="Forme libre : forme 125">
              <a:extLst>
                <a:ext uri="{FF2B5EF4-FFF2-40B4-BE49-F238E27FC236}">
                  <a16:creationId xmlns:a16="http://schemas.microsoft.com/office/drawing/2014/main" id="{12C74CA9-7295-4DD3-B257-BC02E33DC169}"/>
                </a:ext>
              </a:extLst>
            </p:cNvPr>
            <p:cNvSpPr/>
            <p:nvPr/>
          </p:nvSpPr>
          <p:spPr>
            <a:xfrm rot="8716295">
              <a:off x="2785455" y="388807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" name="Forme libre : forme 126">
              <a:extLst>
                <a:ext uri="{FF2B5EF4-FFF2-40B4-BE49-F238E27FC236}">
                  <a16:creationId xmlns:a16="http://schemas.microsoft.com/office/drawing/2014/main" id="{5EABE596-751A-434B-B681-D5C7A4015BC8}"/>
                </a:ext>
              </a:extLst>
            </p:cNvPr>
            <p:cNvSpPr/>
            <p:nvPr/>
          </p:nvSpPr>
          <p:spPr>
            <a:xfrm rot="8716295">
              <a:off x="2660553" y="367940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" name="Forme libre : forme 127">
              <a:extLst>
                <a:ext uri="{FF2B5EF4-FFF2-40B4-BE49-F238E27FC236}">
                  <a16:creationId xmlns:a16="http://schemas.microsoft.com/office/drawing/2014/main" id="{34A25BB8-E5A6-43A3-A6BE-6CBEBC3F2CD9}"/>
                </a:ext>
              </a:extLst>
            </p:cNvPr>
            <p:cNvSpPr/>
            <p:nvPr/>
          </p:nvSpPr>
          <p:spPr>
            <a:xfrm rot="8716295">
              <a:off x="2875633" y="392902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" name="Forme libre : forme 128">
              <a:extLst>
                <a:ext uri="{FF2B5EF4-FFF2-40B4-BE49-F238E27FC236}">
                  <a16:creationId xmlns:a16="http://schemas.microsoft.com/office/drawing/2014/main" id="{BC27C288-1E66-4F8B-924C-4EDB2BC25294}"/>
                </a:ext>
              </a:extLst>
            </p:cNvPr>
            <p:cNvSpPr/>
            <p:nvPr/>
          </p:nvSpPr>
          <p:spPr>
            <a:xfrm rot="8716295">
              <a:off x="2634182" y="377942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" name="Forme libre : forme 129">
              <a:extLst>
                <a:ext uri="{FF2B5EF4-FFF2-40B4-BE49-F238E27FC236}">
                  <a16:creationId xmlns:a16="http://schemas.microsoft.com/office/drawing/2014/main" id="{C22A0888-0C9E-4945-82D7-7EE608C46CC7}"/>
                </a:ext>
              </a:extLst>
            </p:cNvPr>
            <p:cNvSpPr/>
            <p:nvPr/>
          </p:nvSpPr>
          <p:spPr>
            <a:xfrm rot="7484129">
              <a:off x="2986722" y="4140706"/>
              <a:ext cx="156000" cy="195873"/>
            </a:xfrm>
            <a:custGeom>
              <a:avLst/>
              <a:gdLst>
                <a:gd name="connsiteX0" fmla="*/ 42863 w 156000"/>
                <a:gd name="connsiteY0" fmla="*/ 195873 h 195873"/>
                <a:gd name="connsiteX1" fmla="*/ 0 w 156000"/>
                <a:gd name="connsiteY1" fmla="*/ 116129 h 195873"/>
                <a:gd name="connsiteX2" fmla="*/ 19423 w 156000"/>
                <a:gd name="connsiteY2" fmla="*/ 62274 h 195873"/>
                <a:gd name="connsiteX3" fmla="*/ 127856 w 156000"/>
                <a:gd name="connsiteY3" fmla="*/ 0 h 195873"/>
                <a:gd name="connsiteX4" fmla="*/ 156000 w 156000"/>
                <a:gd name="connsiteY4" fmla="*/ 0 h 195873"/>
                <a:gd name="connsiteX5" fmla="*/ 156000 w 156000"/>
                <a:gd name="connsiteY5" fmla="*/ 55323 h 195873"/>
                <a:gd name="connsiteX6" fmla="*/ 91208 w 156000"/>
                <a:gd name="connsiteY6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000" h="195873">
                  <a:moveTo>
                    <a:pt x="42863" y="195873"/>
                  </a:moveTo>
                  <a:lnTo>
                    <a:pt x="0" y="116129"/>
                  </a:lnTo>
                  <a:lnTo>
                    <a:pt x="19423" y="62274"/>
                  </a:lnTo>
                  <a:lnTo>
                    <a:pt x="127856" y="0"/>
                  </a:lnTo>
                  <a:lnTo>
                    <a:pt x="156000" y="0"/>
                  </a:lnTo>
                  <a:lnTo>
                    <a:pt x="156000" y="55323"/>
                  </a:lnTo>
                  <a:lnTo>
                    <a:pt x="91208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" name="Forme libre : forme 130">
              <a:extLst>
                <a:ext uri="{FF2B5EF4-FFF2-40B4-BE49-F238E27FC236}">
                  <a16:creationId xmlns:a16="http://schemas.microsoft.com/office/drawing/2014/main" id="{B1E3FE16-8016-4EF3-8614-3D1D60105986}"/>
                </a:ext>
              </a:extLst>
            </p:cNvPr>
            <p:cNvSpPr/>
            <p:nvPr/>
          </p:nvSpPr>
          <p:spPr>
            <a:xfrm rot="8716295">
              <a:off x="2975918" y="382185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" name="Forme libre : forme 131">
              <a:extLst>
                <a:ext uri="{FF2B5EF4-FFF2-40B4-BE49-F238E27FC236}">
                  <a16:creationId xmlns:a16="http://schemas.microsoft.com/office/drawing/2014/main" id="{E69AE829-0E6B-4637-B9A4-FB76BF7CE509}"/>
                </a:ext>
              </a:extLst>
            </p:cNvPr>
            <p:cNvSpPr/>
            <p:nvPr/>
          </p:nvSpPr>
          <p:spPr>
            <a:xfrm rot="8716295">
              <a:off x="3136327" y="3677877"/>
              <a:ext cx="62210" cy="70771"/>
            </a:xfrm>
            <a:custGeom>
              <a:avLst/>
              <a:gdLst>
                <a:gd name="connsiteX0" fmla="*/ 0 w 62210"/>
                <a:gd name="connsiteY0" fmla="*/ 69343 h 70771"/>
                <a:gd name="connsiteX1" fmla="*/ 57354 w 62210"/>
                <a:gd name="connsiteY1" fmla="*/ 0 h 70771"/>
                <a:gd name="connsiteX2" fmla="*/ 62210 w 62210"/>
                <a:gd name="connsiteY2" fmla="*/ 11557 h 70771"/>
                <a:gd name="connsiteX3" fmla="*/ 44963 w 62210"/>
                <a:gd name="connsiteY3" fmla="*/ 53294 h 70771"/>
                <a:gd name="connsiteX4" fmla="*/ 3570 w 62210"/>
                <a:gd name="connsiteY4" fmla="*/ 70771 h 70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210" h="70771">
                  <a:moveTo>
                    <a:pt x="0" y="69343"/>
                  </a:moveTo>
                  <a:lnTo>
                    <a:pt x="57354" y="0"/>
                  </a:lnTo>
                  <a:lnTo>
                    <a:pt x="62210" y="11557"/>
                  </a:lnTo>
                  <a:cubicBezTo>
                    <a:pt x="62210" y="26619"/>
                    <a:pt x="56461" y="41796"/>
                    <a:pt x="44963" y="53294"/>
                  </a:cubicBezTo>
                  <a:cubicBezTo>
                    <a:pt x="33925" y="64332"/>
                    <a:pt x="19208" y="70771"/>
                    <a:pt x="3570" y="7077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" name="Forme libre : forme 132">
              <a:extLst>
                <a:ext uri="{FF2B5EF4-FFF2-40B4-BE49-F238E27FC236}">
                  <a16:creationId xmlns:a16="http://schemas.microsoft.com/office/drawing/2014/main" id="{D37688C2-C0A6-4E05-B609-4CB494CE709C}"/>
                </a:ext>
              </a:extLst>
            </p:cNvPr>
            <p:cNvSpPr/>
            <p:nvPr/>
          </p:nvSpPr>
          <p:spPr>
            <a:xfrm rot="8716295">
              <a:off x="2831757" y="470938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" name="Forme libre : forme 133">
              <a:extLst>
                <a:ext uri="{FF2B5EF4-FFF2-40B4-BE49-F238E27FC236}">
                  <a16:creationId xmlns:a16="http://schemas.microsoft.com/office/drawing/2014/main" id="{A3A6BF4C-1E72-4FF3-8FB3-699E9245E152}"/>
                </a:ext>
              </a:extLst>
            </p:cNvPr>
            <p:cNvSpPr/>
            <p:nvPr/>
          </p:nvSpPr>
          <p:spPr>
            <a:xfrm rot="8716295">
              <a:off x="2922791" y="4750051"/>
              <a:ext cx="209149" cy="251506"/>
            </a:xfrm>
            <a:custGeom>
              <a:avLst/>
              <a:gdLst>
                <a:gd name="connsiteX0" fmla="*/ 147179 w 209149"/>
                <a:gd name="connsiteY0" fmla="*/ 94758 h 251506"/>
                <a:gd name="connsiteX1" fmla="*/ 147179 w 209149"/>
                <a:gd name="connsiteY1" fmla="*/ 78354 h 251506"/>
                <a:gd name="connsiteX2" fmla="*/ 137667 w 209149"/>
                <a:gd name="connsiteY2" fmla="*/ 48394 h 251506"/>
                <a:gd name="connsiteX3" fmla="*/ 119535 w 209149"/>
                <a:gd name="connsiteY3" fmla="*/ 39776 h 251506"/>
                <a:gd name="connsiteX4" fmla="*/ 152434 w 209149"/>
                <a:gd name="connsiteY4" fmla="*/ 0 h 251506"/>
                <a:gd name="connsiteX5" fmla="*/ 165512 w 209149"/>
                <a:gd name="connsiteY5" fmla="*/ 2273 h 251506"/>
                <a:gd name="connsiteX6" fmla="*/ 209149 w 209149"/>
                <a:gd name="connsiteY6" fmla="*/ 85189 h 251506"/>
                <a:gd name="connsiteX7" fmla="*/ 209149 w 209149"/>
                <a:gd name="connsiteY7" fmla="*/ 91113 h 251506"/>
                <a:gd name="connsiteX8" fmla="*/ 0 w 209149"/>
                <a:gd name="connsiteY8" fmla="*/ 251506 h 251506"/>
                <a:gd name="connsiteX9" fmla="*/ 0 w 209149"/>
                <a:gd name="connsiteY9" fmla="*/ 184297 h 251506"/>
                <a:gd name="connsiteX10" fmla="*/ 62006 w 209149"/>
                <a:gd name="connsiteY10" fmla="*/ 109330 h 251506"/>
                <a:gd name="connsiteX11" fmla="*/ 60148 w 209149"/>
                <a:gd name="connsiteY11" fmla="*/ 124376 h 251506"/>
                <a:gd name="connsiteX12" fmla="*/ 60148 w 209149"/>
                <a:gd name="connsiteY12" fmla="*/ 210497 h 251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9149" h="251506">
                  <a:moveTo>
                    <a:pt x="147179" y="94758"/>
                  </a:moveTo>
                  <a:lnTo>
                    <a:pt x="147179" y="78354"/>
                  </a:lnTo>
                  <a:cubicBezTo>
                    <a:pt x="147179" y="66051"/>
                    <a:pt x="143648" y="55685"/>
                    <a:pt x="137667" y="48394"/>
                  </a:cubicBezTo>
                  <a:lnTo>
                    <a:pt x="119535" y="39776"/>
                  </a:lnTo>
                  <a:lnTo>
                    <a:pt x="152434" y="0"/>
                  </a:lnTo>
                  <a:lnTo>
                    <a:pt x="165512" y="2273"/>
                  </a:lnTo>
                  <a:cubicBezTo>
                    <a:pt x="193258" y="13764"/>
                    <a:pt x="209149" y="42812"/>
                    <a:pt x="209149" y="85189"/>
                  </a:cubicBezTo>
                  <a:lnTo>
                    <a:pt x="209149" y="91113"/>
                  </a:lnTo>
                  <a:close/>
                  <a:moveTo>
                    <a:pt x="0" y="251506"/>
                  </a:moveTo>
                  <a:lnTo>
                    <a:pt x="0" y="184297"/>
                  </a:lnTo>
                  <a:lnTo>
                    <a:pt x="62006" y="109330"/>
                  </a:lnTo>
                  <a:lnTo>
                    <a:pt x="60148" y="124376"/>
                  </a:lnTo>
                  <a:lnTo>
                    <a:pt x="60148" y="21049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" name="Forme libre : forme 134">
              <a:extLst>
                <a:ext uri="{FF2B5EF4-FFF2-40B4-BE49-F238E27FC236}">
                  <a16:creationId xmlns:a16="http://schemas.microsoft.com/office/drawing/2014/main" id="{5140B893-7827-4D80-AD77-FD3E70DDBAED}"/>
                </a:ext>
              </a:extLst>
            </p:cNvPr>
            <p:cNvSpPr/>
            <p:nvPr/>
          </p:nvSpPr>
          <p:spPr>
            <a:xfrm rot="8716295">
              <a:off x="2876299" y="465234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" name="Forme libre : forme 135">
              <a:extLst>
                <a:ext uri="{FF2B5EF4-FFF2-40B4-BE49-F238E27FC236}">
                  <a16:creationId xmlns:a16="http://schemas.microsoft.com/office/drawing/2014/main" id="{CEF19F0C-E18C-48D8-9AB5-6885668C7FC0}"/>
                </a:ext>
              </a:extLst>
            </p:cNvPr>
            <p:cNvSpPr/>
            <p:nvPr/>
          </p:nvSpPr>
          <p:spPr>
            <a:xfrm rot="8716295">
              <a:off x="2719523" y="479792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" name="Forme libre : forme 136">
              <a:extLst>
                <a:ext uri="{FF2B5EF4-FFF2-40B4-BE49-F238E27FC236}">
                  <a16:creationId xmlns:a16="http://schemas.microsoft.com/office/drawing/2014/main" id="{0BB22A70-3803-482F-84FC-984B6EC6C374}"/>
                </a:ext>
              </a:extLst>
            </p:cNvPr>
            <p:cNvSpPr/>
            <p:nvPr/>
          </p:nvSpPr>
          <p:spPr>
            <a:xfrm rot="8716295">
              <a:off x="2594620" y="458925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" name="Forme libre : forme 137">
              <a:extLst>
                <a:ext uri="{FF2B5EF4-FFF2-40B4-BE49-F238E27FC236}">
                  <a16:creationId xmlns:a16="http://schemas.microsoft.com/office/drawing/2014/main" id="{BB66996B-CABF-4C18-97CF-8361430CCC5E}"/>
                </a:ext>
              </a:extLst>
            </p:cNvPr>
            <p:cNvSpPr/>
            <p:nvPr/>
          </p:nvSpPr>
          <p:spPr>
            <a:xfrm rot="8716295">
              <a:off x="2582568" y="4450471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" name="Forme libre : forme 138">
              <a:extLst>
                <a:ext uri="{FF2B5EF4-FFF2-40B4-BE49-F238E27FC236}">
                  <a16:creationId xmlns:a16="http://schemas.microsoft.com/office/drawing/2014/main" id="{EE47147C-71F2-4045-A9A2-5EC38820966E}"/>
                </a:ext>
              </a:extLst>
            </p:cNvPr>
            <p:cNvSpPr/>
            <p:nvPr/>
          </p:nvSpPr>
          <p:spPr>
            <a:xfrm rot="8716295">
              <a:off x="2809701" y="483887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" name="Forme libre : forme 139">
              <a:extLst>
                <a:ext uri="{FF2B5EF4-FFF2-40B4-BE49-F238E27FC236}">
                  <a16:creationId xmlns:a16="http://schemas.microsoft.com/office/drawing/2014/main" id="{89BAF661-43F0-4B4A-A23C-BA7CE46BDD71}"/>
                </a:ext>
              </a:extLst>
            </p:cNvPr>
            <p:cNvSpPr/>
            <p:nvPr/>
          </p:nvSpPr>
          <p:spPr>
            <a:xfrm rot="8716295">
              <a:off x="3081353" y="4514214"/>
              <a:ext cx="36672" cy="44337"/>
            </a:xfrm>
            <a:custGeom>
              <a:avLst/>
              <a:gdLst>
                <a:gd name="connsiteX0" fmla="*/ 0 w 36672"/>
                <a:gd name="connsiteY0" fmla="*/ 44337 h 44337"/>
                <a:gd name="connsiteX1" fmla="*/ 36672 w 36672"/>
                <a:gd name="connsiteY1" fmla="*/ 0 h 44337"/>
                <a:gd name="connsiteX2" fmla="*/ 36672 w 36672"/>
                <a:gd name="connsiteY2" fmla="*/ 29833 h 44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672" h="44337">
                  <a:moveTo>
                    <a:pt x="0" y="44337"/>
                  </a:moveTo>
                  <a:lnTo>
                    <a:pt x="36672" y="0"/>
                  </a:lnTo>
                  <a:lnTo>
                    <a:pt x="36672" y="298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" name="Forme libre : forme 140">
              <a:extLst>
                <a:ext uri="{FF2B5EF4-FFF2-40B4-BE49-F238E27FC236}">
                  <a16:creationId xmlns:a16="http://schemas.microsoft.com/office/drawing/2014/main" id="{63A651C5-5D05-4459-83FE-EB640DC8F382}"/>
                </a:ext>
              </a:extLst>
            </p:cNvPr>
            <p:cNvSpPr/>
            <p:nvPr/>
          </p:nvSpPr>
          <p:spPr>
            <a:xfrm rot="8716295">
              <a:off x="3008622" y="45477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" name="Forme libre : forme 141">
              <a:extLst>
                <a:ext uri="{FF2B5EF4-FFF2-40B4-BE49-F238E27FC236}">
                  <a16:creationId xmlns:a16="http://schemas.microsoft.com/office/drawing/2014/main" id="{092AE7DF-4653-4199-BFAC-73916EFC860A}"/>
                </a:ext>
              </a:extLst>
            </p:cNvPr>
            <p:cNvSpPr/>
            <p:nvPr/>
          </p:nvSpPr>
          <p:spPr>
            <a:xfrm rot="8716295">
              <a:off x="2879209" y="433901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22587 h 195874"/>
                <a:gd name="connsiteX5" fmla="*/ 18682 w 203847"/>
                <a:gd name="connsiteY5" fmla="*/ 0 h 195874"/>
                <a:gd name="connsiteX6" fmla="*/ 203847 w 203847"/>
                <a:gd name="connsiteY6" fmla="*/ 0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22587"/>
                  </a:lnTo>
                  <a:lnTo>
                    <a:pt x="18682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" name="Forme libre : forme 142">
              <a:extLst>
                <a:ext uri="{FF2B5EF4-FFF2-40B4-BE49-F238E27FC236}">
                  <a16:creationId xmlns:a16="http://schemas.microsoft.com/office/drawing/2014/main" id="{D41ED30F-3026-421E-ABA6-358575487EBA}"/>
                </a:ext>
              </a:extLst>
            </p:cNvPr>
            <p:cNvSpPr/>
            <p:nvPr/>
          </p:nvSpPr>
          <p:spPr>
            <a:xfrm rot="8716295">
              <a:off x="3061023" y="4621511"/>
              <a:ext cx="34902" cy="75779"/>
            </a:xfrm>
            <a:custGeom>
              <a:avLst/>
              <a:gdLst>
                <a:gd name="connsiteX0" fmla="*/ 34902 w 34902"/>
                <a:gd name="connsiteY0" fmla="*/ 75779 h 75779"/>
                <a:gd name="connsiteX1" fmla="*/ 0 w 34902"/>
                <a:gd name="connsiteY1" fmla="*/ 42198 h 75779"/>
                <a:gd name="connsiteX2" fmla="*/ 34902 w 34902"/>
                <a:gd name="connsiteY2" fmla="*/ 0 h 75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902" h="75779">
                  <a:moveTo>
                    <a:pt x="34902" y="75779"/>
                  </a:moveTo>
                  <a:lnTo>
                    <a:pt x="0" y="42198"/>
                  </a:lnTo>
                  <a:lnTo>
                    <a:pt x="3490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4" name="Forme libre : forme 143">
              <a:extLst>
                <a:ext uri="{FF2B5EF4-FFF2-40B4-BE49-F238E27FC236}">
                  <a16:creationId xmlns:a16="http://schemas.microsoft.com/office/drawing/2014/main" id="{3F91EA7A-2760-47AB-B973-A377384BFCEB}"/>
                </a:ext>
              </a:extLst>
            </p:cNvPr>
            <p:cNvSpPr/>
            <p:nvPr/>
          </p:nvSpPr>
          <p:spPr>
            <a:xfrm rot="8716295">
              <a:off x="2857349" y="443912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5" name="Forme libre : forme 144">
              <a:extLst>
                <a:ext uri="{FF2B5EF4-FFF2-40B4-BE49-F238E27FC236}">
                  <a16:creationId xmlns:a16="http://schemas.microsoft.com/office/drawing/2014/main" id="{41EE0DAC-E1CD-4DF6-B038-DF99C017AF47}"/>
                </a:ext>
              </a:extLst>
            </p:cNvPr>
            <p:cNvSpPr/>
            <p:nvPr/>
          </p:nvSpPr>
          <p:spPr>
            <a:xfrm rot="8716295">
              <a:off x="1945235" y="207061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6" name="Forme libre : forme 145">
              <a:extLst>
                <a:ext uri="{FF2B5EF4-FFF2-40B4-BE49-F238E27FC236}">
                  <a16:creationId xmlns:a16="http://schemas.microsoft.com/office/drawing/2014/main" id="{280B0FCB-6B6E-4C11-92C1-4D7A5EC1D4AD}"/>
                </a:ext>
              </a:extLst>
            </p:cNvPr>
            <p:cNvSpPr/>
            <p:nvPr/>
          </p:nvSpPr>
          <p:spPr>
            <a:xfrm rot="8716295">
              <a:off x="2034627" y="209985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7" name="Forme libre : forme 146">
              <a:extLst>
                <a:ext uri="{FF2B5EF4-FFF2-40B4-BE49-F238E27FC236}">
                  <a16:creationId xmlns:a16="http://schemas.microsoft.com/office/drawing/2014/main" id="{9891BA28-484A-4733-8CF3-53CE88879C65}"/>
                </a:ext>
              </a:extLst>
            </p:cNvPr>
            <p:cNvSpPr/>
            <p:nvPr/>
          </p:nvSpPr>
          <p:spPr>
            <a:xfrm rot="8716295">
              <a:off x="1989777" y="201357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8" name="Forme libre : forme 147">
              <a:extLst>
                <a:ext uri="{FF2B5EF4-FFF2-40B4-BE49-F238E27FC236}">
                  <a16:creationId xmlns:a16="http://schemas.microsoft.com/office/drawing/2014/main" id="{9E43636F-0BE6-4C9B-B96D-D3D316F85163}"/>
                </a:ext>
              </a:extLst>
            </p:cNvPr>
            <p:cNvSpPr/>
            <p:nvPr/>
          </p:nvSpPr>
          <p:spPr>
            <a:xfrm rot="8716295">
              <a:off x="1833001" y="215915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9" name="Forme libre : forme 148">
              <a:extLst>
                <a:ext uri="{FF2B5EF4-FFF2-40B4-BE49-F238E27FC236}">
                  <a16:creationId xmlns:a16="http://schemas.microsoft.com/office/drawing/2014/main" id="{E5C5D07F-1F3F-49A7-9D1F-45F1F92DDF33}"/>
                </a:ext>
              </a:extLst>
            </p:cNvPr>
            <p:cNvSpPr/>
            <p:nvPr/>
          </p:nvSpPr>
          <p:spPr>
            <a:xfrm rot="8716295">
              <a:off x="1708098" y="195048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0" name="Forme libre : forme 149">
              <a:extLst>
                <a:ext uri="{FF2B5EF4-FFF2-40B4-BE49-F238E27FC236}">
                  <a16:creationId xmlns:a16="http://schemas.microsoft.com/office/drawing/2014/main" id="{207E57C6-B2AE-4BC9-A0BC-164A405D607B}"/>
                </a:ext>
              </a:extLst>
            </p:cNvPr>
            <p:cNvSpPr/>
            <p:nvPr/>
          </p:nvSpPr>
          <p:spPr>
            <a:xfrm rot="8716295">
              <a:off x="1696046" y="181170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1" name="Forme libre : forme 150">
              <a:extLst>
                <a:ext uri="{FF2B5EF4-FFF2-40B4-BE49-F238E27FC236}">
                  <a16:creationId xmlns:a16="http://schemas.microsoft.com/office/drawing/2014/main" id="{FD7783C5-00B3-479F-9977-DAF07693A1CC}"/>
                </a:ext>
              </a:extLst>
            </p:cNvPr>
            <p:cNvSpPr/>
            <p:nvPr/>
          </p:nvSpPr>
          <p:spPr>
            <a:xfrm rot="8716295">
              <a:off x="1923179" y="220010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2" name="Forme libre : forme 151">
              <a:extLst>
                <a:ext uri="{FF2B5EF4-FFF2-40B4-BE49-F238E27FC236}">
                  <a16:creationId xmlns:a16="http://schemas.microsoft.com/office/drawing/2014/main" id="{DEFBD7BA-14F9-43E3-A392-63B2C3EB3D89}"/>
                </a:ext>
              </a:extLst>
            </p:cNvPr>
            <p:cNvSpPr/>
            <p:nvPr/>
          </p:nvSpPr>
          <p:spPr>
            <a:xfrm rot="8716295">
              <a:off x="2234334" y="182046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3" name="Forme libre : forme 152">
              <a:extLst>
                <a:ext uri="{FF2B5EF4-FFF2-40B4-BE49-F238E27FC236}">
                  <a16:creationId xmlns:a16="http://schemas.microsoft.com/office/drawing/2014/main" id="{FA5B5BF3-F8F8-4C26-90BE-9AB63A9858C0}"/>
                </a:ext>
              </a:extLst>
            </p:cNvPr>
            <p:cNvSpPr/>
            <p:nvPr/>
          </p:nvSpPr>
          <p:spPr>
            <a:xfrm rot="8716295">
              <a:off x="2323726" y="184970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4" name="Forme libre : forme 153">
              <a:extLst>
                <a:ext uri="{FF2B5EF4-FFF2-40B4-BE49-F238E27FC236}">
                  <a16:creationId xmlns:a16="http://schemas.microsoft.com/office/drawing/2014/main" id="{7D4A76DD-C0C6-4680-9B5E-C0F67CFE2306}"/>
                </a:ext>
              </a:extLst>
            </p:cNvPr>
            <p:cNvSpPr/>
            <p:nvPr/>
          </p:nvSpPr>
          <p:spPr>
            <a:xfrm rot="8716295">
              <a:off x="2122100" y="19090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5" name="Forme libre : forme 154">
              <a:extLst>
                <a:ext uri="{FF2B5EF4-FFF2-40B4-BE49-F238E27FC236}">
                  <a16:creationId xmlns:a16="http://schemas.microsoft.com/office/drawing/2014/main" id="{6F20D922-BA49-4338-8552-0E24349BE40F}"/>
                </a:ext>
              </a:extLst>
            </p:cNvPr>
            <p:cNvSpPr/>
            <p:nvPr/>
          </p:nvSpPr>
          <p:spPr>
            <a:xfrm rot="8716295">
              <a:off x="1997198" y="170033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6" name="Forme libre : forme 155">
              <a:extLst>
                <a:ext uri="{FF2B5EF4-FFF2-40B4-BE49-F238E27FC236}">
                  <a16:creationId xmlns:a16="http://schemas.microsoft.com/office/drawing/2014/main" id="{C49CE272-F4B5-48DE-8F4E-72BDDD64982A}"/>
                </a:ext>
              </a:extLst>
            </p:cNvPr>
            <p:cNvSpPr/>
            <p:nvPr/>
          </p:nvSpPr>
          <p:spPr>
            <a:xfrm rot="8716295">
              <a:off x="2212278" y="194995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7" name="Forme libre : forme 156">
              <a:extLst>
                <a:ext uri="{FF2B5EF4-FFF2-40B4-BE49-F238E27FC236}">
                  <a16:creationId xmlns:a16="http://schemas.microsoft.com/office/drawing/2014/main" id="{89A0B9F3-EFEE-493B-B0C9-5CE4EF3AC015}"/>
                </a:ext>
              </a:extLst>
            </p:cNvPr>
            <p:cNvSpPr/>
            <p:nvPr/>
          </p:nvSpPr>
          <p:spPr>
            <a:xfrm rot="8716295">
              <a:off x="1970827" y="180035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8" name="Forme libre : forme 157">
              <a:extLst>
                <a:ext uri="{FF2B5EF4-FFF2-40B4-BE49-F238E27FC236}">
                  <a16:creationId xmlns:a16="http://schemas.microsoft.com/office/drawing/2014/main" id="{381186EF-923B-4BA3-A64F-0BC643A96F05}"/>
                </a:ext>
              </a:extLst>
            </p:cNvPr>
            <p:cNvSpPr/>
            <p:nvPr/>
          </p:nvSpPr>
          <p:spPr>
            <a:xfrm rot="7484129">
              <a:off x="2317209" y="214130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9" name="Forme libre : forme 158">
              <a:extLst>
                <a:ext uri="{FF2B5EF4-FFF2-40B4-BE49-F238E27FC236}">
                  <a16:creationId xmlns:a16="http://schemas.microsoft.com/office/drawing/2014/main" id="{788393C8-C36C-4E12-8713-6D9894A034E5}"/>
                </a:ext>
              </a:extLst>
            </p:cNvPr>
            <p:cNvSpPr/>
            <p:nvPr/>
          </p:nvSpPr>
          <p:spPr>
            <a:xfrm rot="13089394">
              <a:off x="2422029" y="2107841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0" name="Forme libre : forme 159">
              <a:extLst>
                <a:ext uri="{FF2B5EF4-FFF2-40B4-BE49-F238E27FC236}">
                  <a16:creationId xmlns:a16="http://schemas.microsoft.com/office/drawing/2014/main" id="{C4FA5850-C1BD-4E2E-921F-011D1E41FA44}"/>
                </a:ext>
              </a:extLst>
            </p:cNvPr>
            <p:cNvSpPr/>
            <p:nvPr/>
          </p:nvSpPr>
          <p:spPr>
            <a:xfrm rot="8716295">
              <a:off x="2607614" y="191616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1" name="Forme libre : forme 160">
              <a:extLst>
                <a:ext uri="{FF2B5EF4-FFF2-40B4-BE49-F238E27FC236}">
                  <a16:creationId xmlns:a16="http://schemas.microsoft.com/office/drawing/2014/main" id="{D19371A5-FFF2-4505-BA78-FDBD81E756C8}"/>
                </a:ext>
              </a:extLst>
            </p:cNvPr>
            <p:cNvSpPr/>
            <p:nvPr/>
          </p:nvSpPr>
          <p:spPr>
            <a:xfrm rot="8716295">
              <a:off x="2555809" y="181256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2" name="Forme libre : forme 161">
              <a:extLst>
                <a:ext uri="{FF2B5EF4-FFF2-40B4-BE49-F238E27FC236}">
                  <a16:creationId xmlns:a16="http://schemas.microsoft.com/office/drawing/2014/main" id="{A15BB5DD-2D34-4EE6-A86F-363F8D953409}"/>
                </a:ext>
              </a:extLst>
            </p:cNvPr>
            <p:cNvSpPr/>
            <p:nvPr/>
          </p:nvSpPr>
          <p:spPr>
            <a:xfrm rot="8716295">
              <a:off x="2312563" y="184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3" name="Forme libre : forme 162">
              <a:extLst>
                <a:ext uri="{FF2B5EF4-FFF2-40B4-BE49-F238E27FC236}">
                  <a16:creationId xmlns:a16="http://schemas.microsoft.com/office/drawing/2014/main" id="{EA840678-0C4C-427E-B930-90E4B3D4F4F5}"/>
                </a:ext>
              </a:extLst>
            </p:cNvPr>
            <p:cNvSpPr/>
            <p:nvPr/>
          </p:nvSpPr>
          <p:spPr>
            <a:xfrm rot="8716295">
              <a:off x="2490015" y="168354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4" name="Forme libre : forme 163">
              <a:extLst>
                <a:ext uri="{FF2B5EF4-FFF2-40B4-BE49-F238E27FC236}">
                  <a16:creationId xmlns:a16="http://schemas.microsoft.com/office/drawing/2014/main" id="{D24A7F84-D7C5-48B5-A2D9-046539552BF1}"/>
                </a:ext>
              </a:extLst>
            </p:cNvPr>
            <p:cNvSpPr/>
            <p:nvPr/>
          </p:nvSpPr>
          <p:spPr>
            <a:xfrm rot="8716295">
              <a:off x="1722068" y="141091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5" name="Forme libre : forme 164">
              <a:extLst>
                <a:ext uri="{FF2B5EF4-FFF2-40B4-BE49-F238E27FC236}">
                  <a16:creationId xmlns:a16="http://schemas.microsoft.com/office/drawing/2014/main" id="{5057A8E5-18E1-48A6-876F-42538393E91C}"/>
                </a:ext>
              </a:extLst>
            </p:cNvPr>
            <p:cNvSpPr/>
            <p:nvPr/>
          </p:nvSpPr>
          <p:spPr>
            <a:xfrm rot="8716295">
              <a:off x="1811460" y="144015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6" name="Forme libre : forme 165">
              <a:extLst>
                <a:ext uri="{FF2B5EF4-FFF2-40B4-BE49-F238E27FC236}">
                  <a16:creationId xmlns:a16="http://schemas.microsoft.com/office/drawing/2014/main" id="{F17BAF41-442E-4918-95C6-E19EEA6D7525}"/>
                </a:ext>
              </a:extLst>
            </p:cNvPr>
            <p:cNvSpPr/>
            <p:nvPr/>
          </p:nvSpPr>
          <p:spPr>
            <a:xfrm rot="8716295">
              <a:off x="1766610" y="135387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7" name="Forme libre : forme 166">
              <a:extLst>
                <a:ext uri="{FF2B5EF4-FFF2-40B4-BE49-F238E27FC236}">
                  <a16:creationId xmlns:a16="http://schemas.microsoft.com/office/drawing/2014/main" id="{62988CCC-AFDA-4601-89EC-2DCFE47EF1C9}"/>
                </a:ext>
              </a:extLst>
            </p:cNvPr>
            <p:cNvSpPr/>
            <p:nvPr/>
          </p:nvSpPr>
          <p:spPr>
            <a:xfrm rot="8716295">
              <a:off x="1609834" y="149945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8" name="Forme libre : forme 167">
              <a:extLst>
                <a:ext uri="{FF2B5EF4-FFF2-40B4-BE49-F238E27FC236}">
                  <a16:creationId xmlns:a16="http://schemas.microsoft.com/office/drawing/2014/main" id="{5054FA74-E8B8-46F3-A02A-768107F93576}"/>
                </a:ext>
              </a:extLst>
            </p:cNvPr>
            <p:cNvSpPr/>
            <p:nvPr/>
          </p:nvSpPr>
          <p:spPr>
            <a:xfrm rot="8716295">
              <a:off x="1484931" y="129078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9" name="Forme libre : forme 168">
              <a:extLst>
                <a:ext uri="{FF2B5EF4-FFF2-40B4-BE49-F238E27FC236}">
                  <a16:creationId xmlns:a16="http://schemas.microsoft.com/office/drawing/2014/main" id="{A04E0DF6-BDC7-4FC4-B1B7-F62238D08C5B}"/>
                </a:ext>
              </a:extLst>
            </p:cNvPr>
            <p:cNvSpPr/>
            <p:nvPr/>
          </p:nvSpPr>
          <p:spPr>
            <a:xfrm rot="8716295">
              <a:off x="1472879" y="115200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0" name="Forme libre : forme 169">
              <a:extLst>
                <a:ext uri="{FF2B5EF4-FFF2-40B4-BE49-F238E27FC236}">
                  <a16:creationId xmlns:a16="http://schemas.microsoft.com/office/drawing/2014/main" id="{57389608-4676-4687-8ECB-4D71B8133D4F}"/>
                </a:ext>
              </a:extLst>
            </p:cNvPr>
            <p:cNvSpPr/>
            <p:nvPr/>
          </p:nvSpPr>
          <p:spPr>
            <a:xfrm rot="8716295">
              <a:off x="1700012" y="154040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1" name="Forme libre : forme 170">
              <a:extLst>
                <a:ext uri="{FF2B5EF4-FFF2-40B4-BE49-F238E27FC236}">
                  <a16:creationId xmlns:a16="http://schemas.microsoft.com/office/drawing/2014/main" id="{B4719429-3450-446C-9492-3B4DE807655B}"/>
                </a:ext>
              </a:extLst>
            </p:cNvPr>
            <p:cNvSpPr/>
            <p:nvPr/>
          </p:nvSpPr>
          <p:spPr>
            <a:xfrm rot="8716295">
              <a:off x="2011167" y="116076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2" name="Forme libre : forme 171">
              <a:extLst>
                <a:ext uri="{FF2B5EF4-FFF2-40B4-BE49-F238E27FC236}">
                  <a16:creationId xmlns:a16="http://schemas.microsoft.com/office/drawing/2014/main" id="{1BD21CA5-EDB3-4B1C-9DA6-85A17C61C7E0}"/>
                </a:ext>
              </a:extLst>
            </p:cNvPr>
            <p:cNvSpPr/>
            <p:nvPr/>
          </p:nvSpPr>
          <p:spPr>
            <a:xfrm rot="8716295">
              <a:off x="2100559" y="119000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3" name="Forme libre : forme 172">
              <a:extLst>
                <a:ext uri="{FF2B5EF4-FFF2-40B4-BE49-F238E27FC236}">
                  <a16:creationId xmlns:a16="http://schemas.microsoft.com/office/drawing/2014/main" id="{7CA91DF5-20FD-481D-801E-1A30383F35AF}"/>
                </a:ext>
              </a:extLst>
            </p:cNvPr>
            <p:cNvSpPr/>
            <p:nvPr/>
          </p:nvSpPr>
          <p:spPr>
            <a:xfrm rot="8716295">
              <a:off x="1898933" y="124930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4" name="Forme libre : forme 173">
              <a:extLst>
                <a:ext uri="{FF2B5EF4-FFF2-40B4-BE49-F238E27FC236}">
                  <a16:creationId xmlns:a16="http://schemas.microsoft.com/office/drawing/2014/main" id="{14C3D20C-5774-494C-8893-5288670D0889}"/>
                </a:ext>
              </a:extLst>
            </p:cNvPr>
            <p:cNvSpPr/>
            <p:nvPr/>
          </p:nvSpPr>
          <p:spPr>
            <a:xfrm rot="8716295">
              <a:off x="1774031" y="104063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5" name="Forme libre : forme 174">
              <a:extLst>
                <a:ext uri="{FF2B5EF4-FFF2-40B4-BE49-F238E27FC236}">
                  <a16:creationId xmlns:a16="http://schemas.microsoft.com/office/drawing/2014/main" id="{921096A6-36F4-49A7-A062-8CA8DFB2FA2B}"/>
                </a:ext>
              </a:extLst>
            </p:cNvPr>
            <p:cNvSpPr/>
            <p:nvPr/>
          </p:nvSpPr>
          <p:spPr>
            <a:xfrm rot="8716295">
              <a:off x="1989111" y="129025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6" name="Forme libre : forme 175">
              <a:extLst>
                <a:ext uri="{FF2B5EF4-FFF2-40B4-BE49-F238E27FC236}">
                  <a16:creationId xmlns:a16="http://schemas.microsoft.com/office/drawing/2014/main" id="{B0920127-DB05-4341-ACD2-55A82DB831D0}"/>
                </a:ext>
              </a:extLst>
            </p:cNvPr>
            <p:cNvSpPr/>
            <p:nvPr/>
          </p:nvSpPr>
          <p:spPr>
            <a:xfrm rot="8716295">
              <a:off x="1747660" y="114065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7" name="Forme libre : forme 176">
              <a:extLst>
                <a:ext uri="{FF2B5EF4-FFF2-40B4-BE49-F238E27FC236}">
                  <a16:creationId xmlns:a16="http://schemas.microsoft.com/office/drawing/2014/main" id="{247E137A-2962-45C6-854D-3C335B97D942}"/>
                </a:ext>
              </a:extLst>
            </p:cNvPr>
            <p:cNvSpPr/>
            <p:nvPr/>
          </p:nvSpPr>
          <p:spPr>
            <a:xfrm rot="7484129">
              <a:off x="2094042" y="148160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8" name="Forme libre : forme 177">
              <a:extLst>
                <a:ext uri="{FF2B5EF4-FFF2-40B4-BE49-F238E27FC236}">
                  <a16:creationId xmlns:a16="http://schemas.microsoft.com/office/drawing/2014/main" id="{AF26B0FA-FC69-4100-A938-0778F8E044BC}"/>
                </a:ext>
              </a:extLst>
            </p:cNvPr>
            <p:cNvSpPr/>
            <p:nvPr/>
          </p:nvSpPr>
          <p:spPr>
            <a:xfrm rot="13089394">
              <a:off x="2198862" y="144814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9" name="Forme libre : forme 178">
              <a:extLst>
                <a:ext uri="{FF2B5EF4-FFF2-40B4-BE49-F238E27FC236}">
                  <a16:creationId xmlns:a16="http://schemas.microsoft.com/office/drawing/2014/main" id="{39EC1976-14A4-4281-9016-8D042C84E539}"/>
                </a:ext>
              </a:extLst>
            </p:cNvPr>
            <p:cNvSpPr/>
            <p:nvPr/>
          </p:nvSpPr>
          <p:spPr>
            <a:xfrm rot="8716295">
              <a:off x="2384447" y="125646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0" name="Forme libre : forme 179">
              <a:extLst>
                <a:ext uri="{FF2B5EF4-FFF2-40B4-BE49-F238E27FC236}">
                  <a16:creationId xmlns:a16="http://schemas.microsoft.com/office/drawing/2014/main" id="{C3D1445E-47EC-4B9A-86DA-68830C5A9003}"/>
                </a:ext>
              </a:extLst>
            </p:cNvPr>
            <p:cNvSpPr/>
            <p:nvPr/>
          </p:nvSpPr>
          <p:spPr>
            <a:xfrm rot="8716295">
              <a:off x="2332642" y="115286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" name="Forme libre : forme 180">
              <a:extLst>
                <a:ext uri="{FF2B5EF4-FFF2-40B4-BE49-F238E27FC236}">
                  <a16:creationId xmlns:a16="http://schemas.microsoft.com/office/drawing/2014/main" id="{6D64B041-AA03-4C2C-B195-E69DDAF61BCF}"/>
                </a:ext>
              </a:extLst>
            </p:cNvPr>
            <p:cNvSpPr/>
            <p:nvPr/>
          </p:nvSpPr>
          <p:spPr>
            <a:xfrm rot="8716295">
              <a:off x="2089396" y="118308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" name="Forme libre : forme 181">
              <a:extLst>
                <a:ext uri="{FF2B5EF4-FFF2-40B4-BE49-F238E27FC236}">
                  <a16:creationId xmlns:a16="http://schemas.microsoft.com/office/drawing/2014/main" id="{6929DCAA-A61B-45A7-8707-91162650FFF3}"/>
                </a:ext>
              </a:extLst>
            </p:cNvPr>
            <p:cNvSpPr/>
            <p:nvPr/>
          </p:nvSpPr>
          <p:spPr>
            <a:xfrm rot="8716295">
              <a:off x="2266848" y="102384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" name="Forme libre : forme 182">
              <a:extLst>
                <a:ext uri="{FF2B5EF4-FFF2-40B4-BE49-F238E27FC236}">
                  <a16:creationId xmlns:a16="http://schemas.microsoft.com/office/drawing/2014/main" id="{606C2101-E652-4D30-867F-39388545E11E}"/>
                </a:ext>
              </a:extLst>
            </p:cNvPr>
            <p:cNvSpPr/>
            <p:nvPr/>
          </p:nvSpPr>
          <p:spPr>
            <a:xfrm rot="8716295">
              <a:off x="1503129" y="74885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" name="Forme libre : forme 183">
              <a:extLst>
                <a:ext uri="{FF2B5EF4-FFF2-40B4-BE49-F238E27FC236}">
                  <a16:creationId xmlns:a16="http://schemas.microsoft.com/office/drawing/2014/main" id="{BCCF4C0A-B226-447A-AED6-6E411077F313}"/>
                </a:ext>
              </a:extLst>
            </p:cNvPr>
            <p:cNvSpPr/>
            <p:nvPr/>
          </p:nvSpPr>
          <p:spPr>
            <a:xfrm rot="8716295">
              <a:off x="1592521" y="77809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" name="Forme libre : forme 184">
              <a:extLst>
                <a:ext uri="{FF2B5EF4-FFF2-40B4-BE49-F238E27FC236}">
                  <a16:creationId xmlns:a16="http://schemas.microsoft.com/office/drawing/2014/main" id="{1047FAEE-E0A8-4DC0-AF81-D0262E51D58E}"/>
                </a:ext>
              </a:extLst>
            </p:cNvPr>
            <p:cNvSpPr/>
            <p:nvPr/>
          </p:nvSpPr>
          <p:spPr>
            <a:xfrm rot="8716295">
              <a:off x="1547671" y="69181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" name="Forme libre : forme 185">
              <a:extLst>
                <a:ext uri="{FF2B5EF4-FFF2-40B4-BE49-F238E27FC236}">
                  <a16:creationId xmlns:a16="http://schemas.microsoft.com/office/drawing/2014/main" id="{30E94405-5131-4E4F-8725-C67590E30DB2}"/>
                </a:ext>
              </a:extLst>
            </p:cNvPr>
            <p:cNvSpPr/>
            <p:nvPr/>
          </p:nvSpPr>
          <p:spPr>
            <a:xfrm rot="8716295">
              <a:off x="1390895" y="83739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" name="Forme libre : forme 186">
              <a:extLst>
                <a:ext uri="{FF2B5EF4-FFF2-40B4-BE49-F238E27FC236}">
                  <a16:creationId xmlns:a16="http://schemas.microsoft.com/office/drawing/2014/main" id="{3592B2BF-462B-42D1-B159-935FE013A746}"/>
                </a:ext>
              </a:extLst>
            </p:cNvPr>
            <p:cNvSpPr/>
            <p:nvPr/>
          </p:nvSpPr>
          <p:spPr>
            <a:xfrm rot="8716295">
              <a:off x="1265992" y="62872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" name="Forme libre : forme 187">
              <a:extLst>
                <a:ext uri="{FF2B5EF4-FFF2-40B4-BE49-F238E27FC236}">
                  <a16:creationId xmlns:a16="http://schemas.microsoft.com/office/drawing/2014/main" id="{1E56EF9D-6FEF-4D8D-A155-3A26210B9301}"/>
                </a:ext>
              </a:extLst>
            </p:cNvPr>
            <p:cNvSpPr/>
            <p:nvPr/>
          </p:nvSpPr>
          <p:spPr>
            <a:xfrm rot="8716295">
              <a:off x="1253940" y="48994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" name="Forme libre : forme 188">
              <a:extLst>
                <a:ext uri="{FF2B5EF4-FFF2-40B4-BE49-F238E27FC236}">
                  <a16:creationId xmlns:a16="http://schemas.microsoft.com/office/drawing/2014/main" id="{ABF55A8B-11D0-49F1-BB9C-9578891D6FAC}"/>
                </a:ext>
              </a:extLst>
            </p:cNvPr>
            <p:cNvSpPr/>
            <p:nvPr/>
          </p:nvSpPr>
          <p:spPr>
            <a:xfrm rot="8716295">
              <a:off x="1481073" y="87835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" name="Forme libre : forme 189">
              <a:extLst>
                <a:ext uri="{FF2B5EF4-FFF2-40B4-BE49-F238E27FC236}">
                  <a16:creationId xmlns:a16="http://schemas.microsoft.com/office/drawing/2014/main" id="{946D037D-9BA1-48DA-87EF-5EF5B831A0E1}"/>
                </a:ext>
              </a:extLst>
            </p:cNvPr>
            <p:cNvSpPr/>
            <p:nvPr/>
          </p:nvSpPr>
          <p:spPr>
            <a:xfrm rot="8716295">
              <a:off x="1792228" y="4987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" name="Forme libre : forme 190">
              <a:extLst>
                <a:ext uri="{FF2B5EF4-FFF2-40B4-BE49-F238E27FC236}">
                  <a16:creationId xmlns:a16="http://schemas.microsoft.com/office/drawing/2014/main" id="{27B82C76-9BEA-43A1-96FA-84295CCF0AA5}"/>
                </a:ext>
              </a:extLst>
            </p:cNvPr>
            <p:cNvSpPr/>
            <p:nvPr/>
          </p:nvSpPr>
          <p:spPr>
            <a:xfrm rot="8716295">
              <a:off x="1881620" y="5279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" name="Forme libre : forme 191">
              <a:extLst>
                <a:ext uri="{FF2B5EF4-FFF2-40B4-BE49-F238E27FC236}">
                  <a16:creationId xmlns:a16="http://schemas.microsoft.com/office/drawing/2014/main" id="{C9AF6FC6-301E-4498-93BF-1A9EB1439FE6}"/>
                </a:ext>
              </a:extLst>
            </p:cNvPr>
            <p:cNvSpPr/>
            <p:nvPr/>
          </p:nvSpPr>
          <p:spPr>
            <a:xfrm rot="8716295">
              <a:off x="1679994" y="58724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" name="Forme libre : forme 192">
              <a:extLst>
                <a:ext uri="{FF2B5EF4-FFF2-40B4-BE49-F238E27FC236}">
                  <a16:creationId xmlns:a16="http://schemas.microsoft.com/office/drawing/2014/main" id="{988C10D0-6B50-41AB-B9B5-23D20681103E}"/>
                </a:ext>
              </a:extLst>
            </p:cNvPr>
            <p:cNvSpPr/>
            <p:nvPr/>
          </p:nvSpPr>
          <p:spPr>
            <a:xfrm rot="8716295">
              <a:off x="1555092" y="37857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" name="Forme libre : forme 193">
              <a:extLst>
                <a:ext uri="{FF2B5EF4-FFF2-40B4-BE49-F238E27FC236}">
                  <a16:creationId xmlns:a16="http://schemas.microsoft.com/office/drawing/2014/main" id="{BA88EE97-63F0-4D28-BDD9-E175569D56C8}"/>
                </a:ext>
              </a:extLst>
            </p:cNvPr>
            <p:cNvSpPr/>
            <p:nvPr/>
          </p:nvSpPr>
          <p:spPr>
            <a:xfrm rot="8716295">
              <a:off x="1770172" y="62819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" name="Forme libre : forme 194">
              <a:extLst>
                <a:ext uri="{FF2B5EF4-FFF2-40B4-BE49-F238E27FC236}">
                  <a16:creationId xmlns:a16="http://schemas.microsoft.com/office/drawing/2014/main" id="{7DB936D3-752D-4426-96C6-451097B40A6E}"/>
                </a:ext>
              </a:extLst>
            </p:cNvPr>
            <p:cNvSpPr/>
            <p:nvPr/>
          </p:nvSpPr>
          <p:spPr>
            <a:xfrm rot="8716295">
              <a:off x="1528721" y="47859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" name="Forme libre : forme 195">
              <a:extLst>
                <a:ext uri="{FF2B5EF4-FFF2-40B4-BE49-F238E27FC236}">
                  <a16:creationId xmlns:a16="http://schemas.microsoft.com/office/drawing/2014/main" id="{6E95CB13-89AC-4C2B-9D9A-140661272E61}"/>
                </a:ext>
              </a:extLst>
            </p:cNvPr>
            <p:cNvSpPr/>
            <p:nvPr/>
          </p:nvSpPr>
          <p:spPr>
            <a:xfrm rot="7484129">
              <a:off x="1875103" y="8195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" name="Forme libre : forme 196">
              <a:extLst>
                <a:ext uri="{FF2B5EF4-FFF2-40B4-BE49-F238E27FC236}">
                  <a16:creationId xmlns:a16="http://schemas.microsoft.com/office/drawing/2014/main" id="{E94CA442-8190-4409-8D0E-996A3C13C977}"/>
                </a:ext>
              </a:extLst>
            </p:cNvPr>
            <p:cNvSpPr/>
            <p:nvPr/>
          </p:nvSpPr>
          <p:spPr>
            <a:xfrm rot="13089394">
              <a:off x="1979923" y="7860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" name="Forme libre : forme 197">
              <a:extLst>
                <a:ext uri="{FF2B5EF4-FFF2-40B4-BE49-F238E27FC236}">
                  <a16:creationId xmlns:a16="http://schemas.microsoft.com/office/drawing/2014/main" id="{52184F7E-FD35-4373-B77A-668CA5FF6983}"/>
                </a:ext>
              </a:extLst>
            </p:cNvPr>
            <p:cNvSpPr/>
            <p:nvPr/>
          </p:nvSpPr>
          <p:spPr>
            <a:xfrm rot="8716295">
              <a:off x="2165508" y="5944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" name="Forme libre : forme 198">
              <a:extLst>
                <a:ext uri="{FF2B5EF4-FFF2-40B4-BE49-F238E27FC236}">
                  <a16:creationId xmlns:a16="http://schemas.microsoft.com/office/drawing/2014/main" id="{203E9F12-3C6B-465D-9FDE-0F57C68E6794}"/>
                </a:ext>
              </a:extLst>
            </p:cNvPr>
            <p:cNvSpPr/>
            <p:nvPr/>
          </p:nvSpPr>
          <p:spPr>
            <a:xfrm rot="8716295">
              <a:off x="2113703" y="4908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" name="Forme libre : forme 199">
              <a:extLst>
                <a:ext uri="{FF2B5EF4-FFF2-40B4-BE49-F238E27FC236}">
                  <a16:creationId xmlns:a16="http://schemas.microsoft.com/office/drawing/2014/main" id="{3A4792DF-206D-4745-96BF-57BE9528DC29}"/>
                </a:ext>
              </a:extLst>
            </p:cNvPr>
            <p:cNvSpPr/>
            <p:nvPr/>
          </p:nvSpPr>
          <p:spPr>
            <a:xfrm rot="8716295">
              <a:off x="1870457" y="5210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" name="Forme libre : forme 200">
              <a:extLst>
                <a:ext uri="{FF2B5EF4-FFF2-40B4-BE49-F238E27FC236}">
                  <a16:creationId xmlns:a16="http://schemas.microsoft.com/office/drawing/2014/main" id="{D95C5BFF-0992-4FE2-933F-F0F5A8B60014}"/>
                </a:ext>
              </a:extLst>
            </p:cNvPr>
            <p:cNvSpPr/>
            <p:nvPr/>
          </p:nvSpPr>
          <p:spPr>
            <a:xfrm rot="8716295">
              <a:off x="2047909" y="3617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" name="Forme libre : forme 201">
              <a:extLst>
                <a:ext uri="{FF2B5EF4-FFF2-40B4-BE49-F238E27FC236}">
                  <a16:creationId xmlns:a16="http://schemas.microsoft.com/office/drawing/2014/main" id="{20C3FF4D-8F7D-4FCE-A8F6-F7C60C54B616}"/>
                </a:ext>
              </a:extLst>
            </p:cNvPr>
            <p:cNvSpPr/>
            <p:nvPr/>
          </p:nvSpPr>
          <p:spPr>
            <a:xfrm rot="8716295">
              <a:off x="1280459" y="8544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" name="Forme libre : forme 202">
              <a:extLst>
                <a:ext uri="{FF2B5EF4-FFF2-40B4-BE49-F238E27FC236}">
                  <a16:creationId xmlns:a16="http://schemas.microsoft.com/office/drawing/2014/main" id="{4A2EE2E0-D7CF-43D6-ACB3-BE33DBCC49BB}"/>
                </a:ext>
              </a:extLst>
            </p:cNvPr>
            <p:cNvSpPr/>
            <p:nvPr/>
          </p:nvSpPr>
          <p:spPr>
            <a:xfrm rot="8716295">
              <a:off x="1369851" y="11468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" name="Forme libre : forme 203">
              <a:extLst>
                <a:ext uri="{FF2B5EF4-FFF2-40B4-BE49-F238E27FC236}">
                  <a16:creationId xmlns:a16="http://schemas.microsoft.com/office/drawing/2014/main" id="{ADCFE50E-B4B9-4301-A613-96CD6C8E76F5}"/>
                </a:ext>
              </a:extLst>
            </p:cNvPr>
            <p:cNvSpPr/>
            <p:nvPr/>
          </p:nvSpPr>
          <p:spPr>
            <a:xfrm rot="8716295">
              <a:off x="1325001" y="2840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" name="Forme libre : forme 204">
              <a:extLst>
                <a:ext uri="{FF2B5EF4-FFF2-40B4-BE49-F238E27FC236}">
                  <a16:creationId xmlns:a16="http://schemas.microsoft.com/office/drawing/2014/main" id="{1C78DD3D-BA43-491E-A425-4F726ABF99F2}"/>
                </a:ext>
              </a:extLst>
            </p:cNvPr>
            <p:cNvSpPr/>
            <p:nvPr/>
          </p:nvSpPr>
          <p:spPr>
            <a:xfrm rot="8716295">
              <a:off x="1168225" y="17398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" name="Forme libre : forme 205">
              <a:extLst>
                <a:ext uri="{FF2B5EF4-FFF2-40B4-BE49-F238E27FC236}">
                  <a16:creationId xmlns:a16="http://schemas.microsoft.com/office/drawing/2014/main" id="{58A93461-0B09-4176-BDF3-87683487BEBD}"/>
                </a:ext>
              </a:extLst>
            </p:cNvPr>
            <p:cNvSpPr/>
            <p:nvPr/>
          </p:nvSpPr>
          <p:spPr>
            <a:xfrm rot="8716295">
              <a:off x="1045449" y="-13548"/>
              <a:ext cx="203847" cy="172572"/>
            </a:xfrm>
            <a:custGeom>
              <a:avLst/>
              <a:gdLst>
                <a:gd name="connsiteX0" fmla="*/ 98725 w 203847"/>
                <a:gd name="connsiteY0" fmla="*/ 172572 h 172572"/>
                <a:gd name="connsiteX1" fmla="*/ 65988 w 203847"/>
                <a:gd name="connsiteY1" fmla="*/ 149880 h 172572"/>
                <a:gd name="connsiteX2" fmla="*/ 47847 w 203847"/>
                <a:gd name="connsiteY2" fmla="*/ 116129 h 172572"/>
                <a:gd name="connsiteX3" fmla="*/ 69777 w 203847"/>
                <a:gd name="connsiteY3" fmla="*/ 55323 h 172572"/>
                <a:gd name="connsiteX4" fmla="*/ 0 w 203847"/>
                <a:gd name="connsiteY4" fmla="*/ 55323 h 172572"/>
                <a:gd name="connsiteX5" fmla="*/ 0 w 203847"/>
                <a:gd name="connsiteY5" fmla="*/ 0 h 172572"/>
                <a:gd name="connsiteX6" fmla="*/ 203847 w 203847"/>
                <a:gd name="connsiteY6" fmla="*/ 0 h 172572"/>
                <a:gd name="connsiteX7" fmla="*/ 203847 w 203847"/>
                <a:gd name="connsiteY7" fmla="*/ 55323 h 172572"/>
                <a:gd name="connsiteX8" fmla="*/ 139055 w 203847"/>
                <a:gd name="connsiteY8" fmla="*/ 55323 h 172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72572">
                  <a:moveTo>
                    <a:pt x="98725" y="172572"/>
                  </a:moveTo>
                  <a:lnTo>
                    <a:pt x="65988" y="149880"/>
                  </a:ln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" name="Forme libre : forme 206">
              <a:extLst>
                <a:ext uri="{FF2B5EF4-FFF2-40B4-BE49-F238E27FC236}">
                  <a16:creationId xmlns:a16="http://schemas.microsoft.com/office/drawing/2014/main" id="{F6E141F6-F3D7-4382-A5A9-B9DC46311949}"/>
                </a:ext>
              </a:extLst>
            </p:cNvPr>
            <p:cNvSpPr/>
            <p:nvPr/>
          </p:nvSpPr>
          <p:spPr>
            <a:xfrm rot="8716295">
              <a:off x="1049608" y="-107301"/>
              <a:ext cx="290643" cy="275223"/>
            </a:xfrm>
            <a:custGeom>
              <a:avLst/>
              <a:gdLst>
                <a:gd name="connsiteX0" fmla="*/ 79172 w 290643"/>
                <a:gd name="connsiteY0" fmla="*/ 128638 h 275223"/>
                <a:gd name="connsiteX1" fmla="*/ 0 w 290643"/>
                <a:gd name="connsiteY1" fmla="*/ 73758 h 275223"/>
                <a:gd name="connsiteX2" fmla="*/ 0 w 290643"/>
                <a:gd name="connsiteY2" fmla="*/ 40596 h 275223"/>
                <a:gd name="connsiteX3" fmla="*/ 78250 w 290643"/>
                <a:gd name="connsiteY3" fmla="*/ 0 h 275223"/>
                <a:gd name="connsiteX4" fmla="*/ 290643 w 290643"/>
                <a:gd name="connsiteY4" fmla="*/ 275223 h 275223"/>
                <a:gd name="connsiteX5" fmla="*/ 278016 w 290643"/>
                <a:gd name="connsiteY5" fmla="*/ 266470 h 275223"/>
                <a:gd name="connsiteX6" fmla="*/ 289467 w 290643"/>
                <a:gd name="connsiteY6" fmla="*/ 261815 h 275223"/>
                <a:gd name="connsiteX7" fmla="*/ 290643 w 290643"/>
                <a:gd name="connsiteY7" fmla="*/ 269463 h 27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0643" h="275223">
                  <a:moveTo>
                    <a:pt x="79172" y="128638"/>
                  </a:moveTo>
                  <a:lnTo>
                    <a:pt x="0" y="73758"/>
                  </a:lnTo>
                  <a:lnTo>
                    <a:pt x="0" y="40596"/>
                  </a:lnTo>
                  <a:lnTo>
                    <a:pt x="78250" y="0"/>
                  </a:lnTo>
                  <a:close/>
                  <a:moveTo>
                    <a:pt x="290643" y="275223"/>
                  </a:moveTo>
                  <a:lnTo>
                    <a:pt x="278016" y="266470"/>
                  </a:lnTo>
                  <a:lnTo>
                    <a:pt x="289467" y="261815"/>
                  </a:lnTo>
                  <a:cubicBezTo>
                    <a:pt x="290055" y="264168"/>
                    <a:pt x="290643" y="267110"/>
                    <a:pt x="290643" y="2694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" name="Forme libre : forme 207">
              <a:extLst>
                <a:ext uri="{FF2B5EF4-FFF2-40B4-BE49-F238E27FC236}">
                  <a16:creationId xmlns:a16="http://schemas.microsoft.com/office/drawing/2014/main" id="{4C5F5C19-6F05-476E-8B4C-2E1271E3709B}"/>
                </a:ext>
              </a:extLst>
            </p:cNvPr>
            <p:cNvSpPr/>
            <p:nvPr/>
          </p:nvSpPr>
          <p:spPr>
            <a:xfrm rot="8716295">
              <a:off x="1258403" y="21493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" name="Forme libre : forme 208">
              <a:extLst>
                <a:ext uri="{FF2B5EF4-FFF2-40B4-BE49-F238E27FC236}">
                  <a16:creationId xmlns:a16="http://schemas.microsoft.com/office/drawing/2014/main" id="{99462675-4E20-4299-99A1-8C989AC1AC7A}"/>
                </a:ext>
              </a:extLst>
            </p:cNvPr>
            <p:cNvSpPr/>
            <p:nvPr/>
          </p:nvSpPr>
          <p:spPr>
            <a:xfrm rot="8716295">
              <a:off x="1604517" y="-50002"/>
              <a:ext cx="142167" cy="106747"/>
            </a:xfrm>
            <a:custGeom>
              <a:avLst/>
              <a:gdLst>
                <a:gd name="connsiteX0" fmla="*/ 142167 w 142167"/>
                <a:gd name="connsiteY0" fmla="*/ 106747 h 106747"/>
                <a:gd name="connsiteX1" fmla="*/ 79942 w 142167"/>
                <a:gd name="connsiteY1" fmla="*/ 63615 h 106747"/>
                <a:gd name="connsiteX2" fmla="*/ 74103 w 142167"/>
                <a:gd name="connsiteY2" fmla="*/ 53597 h 106747"/>
                <a:gd name="connsiteX3" fmla="*/ 60604 w 142167"/>
                <a:gd name="connsiteY3" fmla="*/ 50123 h 106747"/>
                <a:gd name="connsiteX4" fmla="*/ 60478 w 142167"/>
                <a:gd name="connsiteY4" fmla="*/ 50123 h 106747"/>
                <a:gd name="connsiteX5" fmla="*/ 0 w 142167"/>
                <a:gd name="connsiteY5" fmla="*/ 8201 h 106747"/>
                <a:gd name="connsiteX6" fmla="*/ 0 w 142167"/>
                <a:gd name="connsiteY6" fmla="*/ 0 h 106747"/>
                <a:gd name="connsiteX7" fmla="*/ 85209 w 142167"/>
                <a:gd name="connsiteY7" fmla="*/ 0 h 106747"/>
                <a:gd name="connsiteX8" fmla="*/ 142167 w 142167"/>
                <a:gd name="connsiteY8" fmla="*/ 50123 h 10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06747">
                  <a:moveTo>
                    <a:pt x="142167" y="106747"/>
                  </a:moveTo>
                  <a:lnTo>
                    <a:pt x="79942" y="63615"/>
                  </a:lnTo>
                  <a:lnTo>
                    <a:pt x="74103" y="53597"/>
                  </a:lnTo>
                  <a:cubicBezTo>
                    <a:pt x="70400" y="50806"/>
                    <a:pt x="65616" y="49439"/>
                    <a:pt x="60604" y="50123"/>
                  </a:cubicBezTo>
                  <a:lnTo>
                    <a:pt x="60478" y="50123"/>
                  </a:lnTo>
                  <a:lnTo>
                    <a:pt x="0" y="8201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" name="Forme libre : forme 209">
              <a:extLst>
                <a:ext uri="{FF2B5EF4-FFF2-40B4-BE49-F238E27FC236}">
                  <a16:creationId xmlns:a16="http://schemas.microsoft.com/office/drawing/2014/main" id="{F18E365A-DFDC-47DB-8B33-290827288FD8}"/>
                </a:ext>
              </a:extLst>
            </p:cNvPr>
            <p:cNvSpPr/>
            <p:nvPr/>
          </p:nvSpPr>
          <p:spPr>
            <a:xfrm rot="8716295">
              <a:off x="1699771" y="-2013"/>
              <a:ext cx="260639" cy="104392"/>
            </a:xfrm>
            <a:custGeom>
              <a:avLst/>
              <a:gdLst>
                <a:gd name="connsiteX0" fmla="*/ 117530 w 260639"/>
                <a:gd name="connsiteY0" fmla="*/ 104392 h 104392"/>
                <a:gd name="connsiteX1" fmla="*/ 51490 w 260639"/>
                <a:gd name="connsiteY1" fmla="*/ 58614 h 104392"/>
                <a:gd name="connsiteX2" fmla="*/ 51490 w 260639"/>
                <a:gd name="connsiteY2" fmla="*/ 45624 h 104392"/>
                <a:gd name="connsiteX3" fmla="*/ 32748 w 260639"/>
                <a:gd name="connsiteY3" fmla="*/ 45624 h 104392"/>
                <a:gd name="connsiteX4" fmla="*/ 0 w 260639"/>
                <a:gd name="connsiteY4" fmla="*/ 22924 h 104392"/>
                <a:gd name="connsiteX5" fmla="*/ 0 w 260639"/>
                <a:gd name="connsiteY5" fmla="*/ 1425 h 104392"/>
                <a:gd name="connsiteX6" fmla="*/ 104802 w 260639"/>
                <a:gd name="connsiteY6" fmla="*/ 1425 h 104392"/>
                <a:gd name="connsiteX7" fmla="*/ 104802 w 260639"/>
                <a:gd name="connsiteY7" fmla="*/ 75242 h 104392"/>
                <a:gd name="connsiteX8" fmla="*/ 106169 w 260639"/>
                <a:gd name="connsiteY8" fmla="*/ 75242 h 104392"/>
                <a:gd name="connsiteX9" fmla="*/ 154014 w 260639"/>
                <a:gd name="connsiteY9" fmla="*/ 5981 h 104392"/>
                <a:gd name="connsiteX10" fmla="*/ 185455 w 260639"/>
                <a:gd name="connsiteY10" fmla="*/ 57 h 104392"/>
                <a:gd name="connsiteX11" fmla="*/ 260639 w 260639"/>
                <a:gd name="connsiteY11" fmla="*/ 88456 h 104392"/>
                <a:gd name="connsiteX12" fmla="*/ 260639 w 260639"/>
                <a:gd name="connsiteY12" fmla="*/ 94380 h 104392"/>
                <a:gd name="connsiteX13" fmla="*/ 198669 w 260639"/>
                <a:gd name="connsiteY13" fmla="*/ 98025 h 104392"/>
                <a:gd name="connsiteX14" fmla="*/ 198669 w 260639"/>
                <a:gd name="connsiteY14" fmla="*/ 81621 h 104392"/>
                <a:gd name="connsiteX15" fmla="*/ 164950 w 260639"/>
                <a:gd name="connsiteY15" fmla="*/ 40156 h 104392"/>
                <a:gd name="connsiteX16" fmla="*/ 127358 w 260639"/>
                <a:gd name="connsiteY16" fmla="*/ 65616 h 104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60639" h="104392">
                  <a:moveTo>
                    <a:pt x="117530" y="104392"/>
                  </a:moveTo>
                  <a:lnTo>
                    <a:pt x="51490" y="58614"/>
                  </a:lnTo>
                  <a:lnTo>
                    <a:pt x="51490" y="45624"/>
                  </a:lnTo>
                  <a:lnTo>
                    <a:pt x="32748" y="45624"/>
                  </a:lnTo>
                  <a:lnTo>
                    <a:pt x="0" y="229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5"/>
                    <a:pt x="184544" y="40156"/>
                    <a:pt x="164950" y="40156"/>
                  </a:cubicBezTo>
                  <a:cubicBezTo>
                    <a:pt x="150369" y="40156"/>
                    <a:pt x="137041" y="49839"/>
                    <a:pt x="127358" y="656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" name="Forme libre : forme 210">
              <a:extLst>
                <a:ext uri="{FF2B5EF4-FFF2-40B4-BE49-F238E27FC236}">
                  <a16:creationId xmlns:a16="http://schemas.microsoft.com/office/drawing/2014/main" id="{BD9DBA5B-B938-49AE-B4FF-DC0E17DDD56F}"/>
                </a:ext>
              </a:extLst>
            </p:cNvPr>
            <p:cNvSpPr/>
            <p:nvPr/>
          </p:nvSpPr>
          <p:spPr>
            <a:xfrm rot="8716295">
              <a:off x="1547502" y="-3521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" name="Forme libre : forme 211">
              <a:extLst>
                <a:ext uri="{FF2B5EF4-FFF2-40B4-BE49-F238E27FC236}">
                  <a16:creationId xmlns:a16="http://schemas.microsoft.com/office/drawing/2014/main" id="{8C64BFA5-88D5-4B19-8DD4-8DB6B59A61D8}"/>
                </a:ext>
              </a:extLst>
            </p:cNvPr>
            <p:cNvSpPr/>
            <p:nvPr/>
          </p:nvSpPr>
          <p:spPr>
            <a:xfrm rot="7484129">
              <a:off x="1652433" y="15613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" name="Forme libre : forme 212">
              <a:extLst>
                <a:ext uri="{FF2B5EF4-FFF2-40B4-BE49-F238E27FC236}">
                  <a16:creationId xmlns:a16="http://schemas.microsoft.com/office/drawing/2014/main" id="{034CC524-D8AC-40AF-8EAB-AB1B464A30AF}"/>
                </a:ext>
              </a:extLst>
            </p:cNvPr>
            <p:cNvSpPr/>
            <p:nvPr/>
          </p:nvSpPr>
          <p:spPr>
            <a:xfrm rot="13089394">
              <a:off x="1757253" y="122669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" name="Forme libre : forme 213">
              <a:extLst>
                <a:ext uri="{FF2B5EF4-FFF2-40B4-BE49-F238E27FC236}">
                  <a16:creationId xmlns:a16="http://schemas.microsoft.com/office/drawing/2014/main" id="{D78ECCFB-E224-46B7-92F0-42F89F972C82}"/>
                </a:ext>
              </a:extLst>
            </p:cNvPr>
            <p:cNvSpPr/>
            <p:nvPr/>
          </p:nvSpPr>
          <p:spPr>
            <a:xfrm rot="8716295">
              <a:off x="1960606" y="3279"/>
              <a:ext cx="142687" cy="109177"/>
            </a:xfrm>
            <a:custGeom>
              <a:avLst/>
              <a:gdLst>
                <a:gd name="connsiteX0" fmla="*/ 48521 w 142687"/>
                <a:gd name="connsiteY0" fmla="*/ 109177 h 109177"/>
                <a:gd name="connsiteX1" fmla="*/ 0 w 142687"/>
                <a:gd name="connsiteY1" fmla="*/ 75545 h 109177"/>
                <a:gd name="connsiteX2" fmla="*/ 44875 w 142687"/>
                <a:gd name="connsiteY2" fmla="*/ 33320 h 109177"/>
                <a:gd name="connsiteX3" fmla="*/ 109367 w 142687"/>
                <a:gd name="connsiteY3" fmla="*/ 0 h 109177"/>
                <a:gd name="connsiteX4" fmla="*/ 142687 w 142687"/>
                <a:gd name="connsiteY4" fmla="*/ 39770 h 109177"/>
                <a:gd name="connsiteX5" fmla="*/ 111516 w 142687"/>
                <a:gd name="connsiteY5" fmla="*/ 81689 h 109177"/>
                <a:gd name="connsiteX6" fmla="*/ 112053 w 142687"/>
                <a:gd name="connsiteY6" fmla="*/ 81689 h 109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687" h="109177">
                  <a:moveTo>
                    <a:pt x="48521" y="109177"/>
                  </a:moveTo>
                  <a:lnTo>
                    <a:pt x="0" y="75545"/>
                  </a:lnTo>
                  <a:lnTo>
                    <a:pt x="44875" y="33320"/>
                  </a:lnTo>
                  <a:cubicBezTo>
                    <a:pt x="60998" y="14511"/>
                    <a:pt x="84107" y="2687"/>
                    <a:pt x="109367" y="0"/>
                  </a:cubicBezTo>
                  <a:cubicBezTo>
                    <a:pt x="135163" y="0"/>
                    <a:pt x="142687" y="22572"/>
                    <a:pt x="142687" y="39770"/>
                  </a:cubicBezTo>
                  <a:cubicBezTo>
                    <a:pt x="141074" y="58580"/>
                    <a:pt x="128713" y="74165"/>
                    <a:pt x="111516" y="81689"/>
                  </a:cubicBezTo>
                  <a:lnTo>
                    <a:pt x="112053" y="816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" name="Forme libre : forme 214">
              <a:extLst>
                <a:ext uri="{FF2B5EF4-FFF2-40B4-BE49-F238E27FC236}">
                  <a16:creationId xmlns:a16="http://schemas.microsoft.com/office/drawing/2014/main" id="{30980170-BFE4-4DA8-B94E-3A74F835E666}"/>
                </a:ext>
              </a:extLst>
            </p:cNvPr>
            <p:cNvSpPr/>
            <p:nvPr/>
          </p:nvSpPr>
          <p:spPr>
            <a:xfrm rot="8716295">
              <a:off x="1076398" y="254697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" name="Forme libre : forme 215">
              <a:extLst>
                <a:ext uri="{FF2B5EF4-FFF2-40B4-BE49-F238E27FC236}">
                  <a16:creationId xmlns:a16="http://schemas.microsoft.com/office/drawing/2014/main" id="{EF36344D-9704-4C2C-BC8B-34C87B25880E}"/>
                </a:ext>
              </a:extLst>
            </p:cNvPr>
            <p:cNvSpPr/>
            <p:nvPr/>
          </p:nvSpPr>
          <p:spPr>
            <a:xfrm rot="8716295">
              <a:off x="1165790" y="257621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" name="Forme libre : forme 216">
              <a:extLst>
                <a:ext uri="{FF2B5EF4-FFF2-40B4-BE49-F238E27FC236}">
                  <a16:creationId xmlns:a16="http://schemas.microsoft.com/office/drawing/2014/main" id="{58A38589-98F6-451E-A434-58B30914CF96}"/>
                </a:ext>
              </a:extLst>
            </p:cNvPr>
            <p:cNvSpPr/>
            <p:nvPr/>
          </p:nvSpPr>
          <p:spPr>
            <a:xfrm rot="8716295">
              <a:off x="1120940" y="248993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" name="Forme libre : forme 217">
              <a:extLst>
                <a:ext uri="{FF2B5EF4-FFF2-40B4-BE49-F238E27FC236}">
                  <a16:creationId xmlns:a16="http://schemas.microsoft.com/office/drawing/2014/main" id="{1BBAB649-0D47-451B-AEA7-D99D438CCB67}"/>
                </a:ext>
              </a:extLst>
            </p:cNvPr>
            <p:cNvSpPr/>
            <p:nvPr/>
          </p:nvSpPr>
          <p:spPr>
            <a:xfrm rot="8716295">
              <a:off x="964164" y="263551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" name="Forme libre : forme 218">
              <a:extLst>
                <a:ext uri="{FF2B5EF4-FFF2-40B4-BE49-F238E27FC236}">
                  <a16:creationId xmlns:a16="http://schemas.microsoft.com/office/drawing/2014/main" id="{9ABD39F9-0013-4B66-B07C-F120985F94DF}"/>
                </a:ext>
              </a:extLst>
            </p:cNvPr>
            <p:cNvSpPr/>
            <p:nvPr/>
          </p:nvSpPr>
          <p:spPr>
            <a:xfrm rot="8716295">
              <a:off x="839261" y="242684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" name="Forme libre : forme 219">
              <a:extLst>
                <a:ext uri="{FF2B5EF4-FFF2-40B4-BE49-F238E27FC236}">
                  <a16:creationId xmlns:a16="http://schemas.microsoft.com/office/drawing/2014/main" id="{4B771D9C-DFA4-430F-84AF-9AE075F83BC7}"/>
                </a:ext>
              </a:extLst>
            </p:cNvPr>
            <p:cNvSpPr/>
            <p:nvPr/>
          </p:nvSpPr>
          <p:spPr>
            <a:xfrm rot="8716295">
              <a:off x="827209" y="228806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" name="Forme libre : forme 220">
              <a:extLst>
                <a:ext uri="{FF2B5EF4-FFF2-40B4-BE49-F238E27FC236}">
                  <a16:creationId xmlns:a16="http://schemas.microsoft.com/office/drawing/2014/main" id="{7FEF96BC-C543-4B58-AE20-95C6DC72AE3F}"/>
                </a:ext>
              </a:extLst>
            </p:cNvPr>
            <p:cNvSpPr/>
            <p:nvPr/>
          </p:nvSpPr>
          <p:spPr>
            <a:xfrm rot="8716295">
              <a:off x="1054342" y="267647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" name="Forme libre : forme 221">
              <a:extLst>
                <a:ext uri="{FF2B5EF4-FFF2-40B4-BE49-F238E27FC236}">
                  <a16:creationId xmlns:a16="http://schemas.microsoft.com/office/drawing/2014/main" id="{68891634-5A93-4AAD-9989-2DE5CE062379}"/>
                </a:ext>
              </a:extLst>
            </p:cNvPr>
            <p:cNvSpPr/>
            <p:nvPr/>
          </p:nvSpPr>
          <p:spPr>
            <a:xfrm rot="8716295">
              <a:off x="1365497" y="229682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" name="Forme libre : forme 222">
              <a:extLst>
                <a:ext uri="{FF2B5EF4-FFF2-40B4-BE49-F238E27FC236}">
                  <a16:creationId xmlns:a16="http://schemas.microsoft.com/office/drawing/2014/main" id="{39D665A4-4F4E-441C-B55C-726916A4039E}"/>
                </a:ext>
              </a:extLst>
            </p:cNvPr>
            <p:cNvSpPr/>
            <p:nvPr/>
          </p:nvSpPr>
          <p:spPr>
            <a:xfrm rot="8716295">
              <a:off x="1454889" y="232606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" name="Forme libre : forme 223">
              <a:extLst>
                <a:ext uri="{FF2B5EF4-FFF2-40B4-BE49-F238E27FC236}">
                  <a16:creationId xmlns:a16="http://schemas.microsoft.com/office/drawing/2014/main" id="{8AF4C94D-DC68-46A4-BF2C-889E3D6B62EC}"/>
                </a:ext>
              </a:extLst>
            </p:cNvPr>
            <p:cNvSpPr/>
            <p:nvPr/>
          </p:nvSpPr>
          <p:spPr>
            <a:xfrm rot="8716295">
              <a:off x="1253263" y="238536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" name="Forme libre : forme 224">
              <a:extLst>
                <a:ext uri="{FF2B5EF4-FFF2-40B4-BE49-F238E27FC236}">
                  <a16:creationId xmlns:a16="http://schemas.microsoft.com/office/drawing/2014/main" id="{C1408C1D-6D03-4994-BD3B-49E299BEE8DA}"/>
                </a:ext>
              </a:extLst>
            </p:cNvPr>
            <p:cNvSpPr/>
            <p:nvPr/>
          </p:nvSpPr>
          <p:spPr>
            <a:xfrm rot="8716295">
              <a:off x="1128361" y="217669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" name="Forme libre : forme 225">
              <a:extLst>
                <a:ext uri="{FF2B5EF4-FFF2-40B4-BE49-F238E27FC236}">
                  <a16:creationId xmlns:a16="http://schemas.microsoft.com/office/drawing/2014/main" id="{EB108B47-7607-4350-BAC7-848269D45EA1}"/>
                </a:ext>
              </a:extLst>
            </p:cNvPr>
            <p:cNvSpPr/>
            <p:nvPr/>
          </p:nvSpPr>
          <p:spPr>
            <a:xfrm rot="8716295">
              <a:off x="1343441" y="242631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" name="Forme libre : forme 226">
              <a:extLst>
                <a:ext uri="{FF2B5EF4-FFF2-40B4-BE49-F238E27FC236}">
                  <a16:creationId xmlns:a16="http://schemas.microsoft.com/office/drawing/2014/main" id="{016BF330-2E65-471B-BA9A-203A297FAFCE}"/>
                </a:ext>
              </a:extLst>
            </p:cNvPr>
            <p:cNvSpPr/>
            <p:nvPr/>
          </p:nvSpPr>
          <p:spPr>
            <a:xfrm rot="8716295">
              <a:off x="1101990" y="227671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" name="Forme libre : forme 227">
              <a:extLst>
                <a:ext uri="{FF2B5EF4-FFF2-40B4-BE49-F238E27FC236}">
                  <a16:creationId xmlns:a16="http://schemas.microsoft.com/office/drawing/2014/main" id="{20DF741A-5A82-48D0-A9BB-E29A7DA079B2}"/>
                </a:ext>
              </a:extLst>
            </p:cNvPr>
            <p:cNvSpPr/>
            <p:nvPr/>
          </p:nvSpPr>
          <p:spPr>
            <a:xfrm rot="7484129">
              <a:off x="1448372" y="261767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" name="Forme libre : forme 228">
              <a:extLst>
                <a:ext uri="{FF2B5EF4-FFF2-40B4-BE49-F238E27FC236}">
                  <a16:creationId xmlns:a16="http://schemas.microsoft.com/office/drawing/2014/main" id="{FBBC9382-FE3D-4581-90F5-934825D4E890}"/>
                </a:ext>
              </a:extLst>
            </p:cNvPr>
            <p:cNvSpPr/>
            <p:nvPr/>
          </p:nvSpPr>
          <p:spPr>
            <a:xfrm rot="13089394">
              <a:off x="1553192" y="258420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" name="Forme libre : forme 229">
              <a:extLst>
                <a:ext uri="{FF2B5EF4-FFF2-40B4-BE49-F238E27FC236}">
                  <a16:creationId xmlns:a16="http://schemas.microsoft.com/office/drawing/2014/main" id="{1722850A-0379-4FB9-9C9B-E45F998A47BD}"/>
                </a:ext>
              </a:extLst>
            </p:cNvPr>
            <p:cNvSpPr/>
            <p:nvPr/>
          </p:nvSpPr>
          <p:spPr>
            <a:xfrm rot="8716295">
              <a:off x="1738777" y="23925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" name="Forme libre : forme 230">
              <a:extLst>
                <a:ext uri="{FF2B5EF4-FFF2-40B4-BE49-F238E27FC236}">
                  <a16:creationId xmlns:a16="http://schemas.microsoft.com/office/drawing/2014/main" id="{BF511EF9-A49C-4AE3-8280-5A5B1337EE62}"/>
                </a:ext>
              </a:extLst>
            </p:cNvPr>
            <p:cNvSpPr/>
            <p:nvPr/>
          </p:nvSpPr>
          <p:spPr>
            <a:xfrm rot="8716295">
              <a:off x="1686972" y="228893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" name="Forme libre : forme 231">
              <a:extLst>
                <a:ext uri="{FF2B5EF4-FFF2-40B4-BE49-F238E27FC236}">
                  <a16:creationId xmlns:a16="http://schemas.microsoft.com/office/drawing/2014/main" id="{D138BF00-ED92-4133-ADF5-E9C66056A424}"/>
                </a:ext>
              </a:extLst>
            </p:cNvPr>
            <p:cNvSpPr/>
            <p:nvPr/>
          </p:nvSpPr>
          <p:spPr>
            <a:xfrm rot="8716295">
              <a:off x="1443726" y="231915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" name="Forme libre : forme 232">
              <a:extLst>
                <a:ext uri="{FF2B5EF4-FFF2-40B4-BE49-F238E27FC236}">
                  <a16:creationId xmlns:a16="http://schemas.microsoft.com/office/drawing/2014/main" id="{8E358CEB-AF06-484E-8852-BAE0311E02CC}"/>
                </a:ext>
              </a:extLst>
            </p:cNvPr>
            <p:cNvSpPr/>
            <p:nvPr/>
          </p:nvSpPr>
          <p:spPr>
            <a:xfrm rot="8716295">
              <a:off x="1621178" y="21599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" name="Forme libre : forme 233">
              <a:extLst>
                <a:ext uri="{FF2B5EF4-FFF2-40B4-BE49-F238E27FC236}">
                  <a16:creationId xmlns:a16="http://schemas.microsoft.com/office/drawing/2014/main" id="{9EBAEBBD-0226-432C-8DB2-1DA1060129B8}"/>
                </a:ext>
              </a:extLst>
            </p:cNvPr>
            <p:cNvSpPr/>
            <p:nvPr/>
          </p:nvSpPr>
          <p:spPr>
            <a:xfrm rot="8716295">
              <a:off x="1299565" y="320667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" name="Forme libre : forme 234">
              <a:extLst>
                <a:ext uri="{FF2B5EF4-FFF2-40B4-BE49-F238E27FC236}">
                  <a16:creationId xmlns:a16="http://schemas.microsoft.com/office/drawing/2014/main" id="{B666620F-F3D0-4B5D-9685-3CAB27EBF061}"/>
                </a:ext>
              </a:extLst>
            </p:cNvPr>
            <p:cNvSpPr/>
            <p:nvPr/>
          </p:nvSpPr>
          <p:spPr>
            <a:xfrm rot="8716295">
              <a:off x="1388957" y="323591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" name="Forme libre : forme 235">
              <a:extLst>
                <a:ext uri="{FF2B5EF4-FFF2-40B4-BE49-F238E27FC236}">
                  <a16:creationId xmlns:a16="http://schemas.microsoft.com/office/drawing/2014/main" id="{88947540-8C6A-4BF5-BB71-6D60ADEAEBA1}"/>
                </a:ext>
              </a:extLst>
            </p:cNvPr>
            <p:cNvSpPr/>
            <p:nvPr/>
          </p:nvSpPr>
          <p:spPr>
            <a:xfrm rot="8716295">
              <a:off x="1344107" y="314963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" name="Forme libre : forme 236">
              <a:extLst>
                <a:ext uri="{FF2B5EF4-FFF2-40B4-BE49-F238E27FC236}">
                  <a16:creationId xmlns:a16="http://schemas.microsoft.com/office/drawing/2014/main" id="{55A70DC6-65F6-4764-AD9C-C9CC5AC38D47}"/>
                </a:ext>
              </a:extLst>
            </p:cNvPr>
            <p:cNvSpPr/>
            <p:nvPr/>
          </p:nvSpPr>
          <p:spPr>
            <a:xfrm rot="8716295">
              <a:off x="1187331" y="329521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" name="Forme libre : forme 237">
              <a:extLst>
                <a:ext uri="{FF2B5EF4-FFF2-40B4-BE49-F238E27FC236}">
                  <a16:creationId xmlns:a16="http://schemas.microsoft.com/office/drawing/2014/main" id="{BB754C94-5023-48F1-A098-74F43CE79231}"/>
                </a:ext>
              </a:extLst>
            </p:cNvPr>
            <p:cNvSpPr/>
            <p:nvPr/>
          </p:nvSpPr>
          <p:spPr>
            <a:xfrm rot="8716295">
              <a:off x="1062428" y="308654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" name="Forme libre : forme 238">
              <a:extLst>
                <a:ext uri="{FF2B5EF4-FFF2-40B4-BE49-F238E27FC236}">
                  <a16:creationId xmlns:a16="http://schemas.microsoft.com/office/drawing/2014/main" id="{76EDC7DE-4ED0-41EE-BBDC-2D4CD0BE6E51}"/>
                </a:ext>
              </a:extLst>
            </p:cNvPr>
            <p:cNvSpPr/>
            <p:nvPr/>
          </p:nvSpPr>
          <p:spPr>
            <a:xfrm rot="8716295">
              <a:off x="1050376" y="294776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" name="Forme libre : forme 239">
              <a:extLst>
                <a:ext uri="{FF2B5EF4-FFF2-40B4-BE49-F238E27FC236}">
                  <a16:creationId xmlns:a16="http://schemas.microsoft.com/office/drawing/2014/main" id="{ABABCCB1-DB29-40D3-B384-2DA707723441}"/>
                </a:ext>
              </a:extLst>
            </p:cNvPr>
            <p:cNvSpPr/>
            <p:nvPr/>
          </p:nvSpPr>
          <p:spPr>
            <a:xfrm rot="8716295">
              <a:off x="1277509" y="333617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" name="Forme libre : forme 240">
              <a:extLst>
                <a:ext uri="{FF2B5EF4-FFF2-40B4-BE49-F238E27FC236}">
                  <a16:creationId xmlns:a16="http://schemas.microsoft.com/office/drawing/2014/main" id="{D86BE233-1E89-4884-9471-90ABF15AC049}"/>
                </a:ext>
              </a:extLst>
            </p:cNvPr>
            <p:cNvSpPr/>
            <p:nvPr/>
          </p:nvSpPr>
          <p:spPr>
            <a:xfrm rot="8716295">
              <a:off x="1588664" y="295652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" name="Forme libre : forme 241">
              <a:extLst>
                <a:ext uri="{FF2B5EF4-FFF2-40B4-BE49-F238E27FC236}">
                  <a16:creationId xmlns:a16="http://schemas.microsoft.com/office/drawing/2014/main" id="{1E4464D3-58E9-4A03-BB6A-8B83E3881142}"/>
                </a:ext>
              </a:extLst>
            </p:cNvPr>
            <p:cNvSpPr/>
            <p:nvPr/>
          </p:nvSpPr>
          <p:spPr>
            <a:xfrm rot="8716295">
              <a:off x="1678056" y="298576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" name="Forme libre : forme 242">
              <a:extLst>
                <a:ext uri="{FF2B5EF4-FFF2-40B4-BE49-F238E27FC236}">
                  <a16:creationId xmlns:a16="http://schemas.microsoft.com/office/drawing/2014/main" id="{17781F1F-DB19-4442-B92A-C7711450A6C2}"/>
                </a:ext>
              </a:extLst>
            </p:cNvPr>
            <p:cNvSpPr/>
            <p:nvPr/>
          </p:nvSpPr>
          <p:spPr>
            <a:xfrm rot="8716295">
              <a:off x="1476430" y="304506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" name="Forme libre : forme 243">
              <a:extLst>
                <a:ext uri="{FF2B5EF4-FFF2-40B4-BE49-F238E27FC236}">
                  <a16:creationId xmlns:a16="http://schemas.microsoft.com/office/drawing/2014/main" id="{DBD406CA-7502-44B6-87AF-2C3CFA35CDED}"/>
                </a:ext>
              </a:extLst>
            </p:cNvPr>
            <p:cNvSpPr/>
            <p:nvPr/>
          </p:nvSpPr>
          <p:spPr>
            <a:xfrm rot="8716295">
              <a:off x="1351528" y="283639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" name="Forme libre : forme 244">
              <a:extLst>
                <a:ext uri="{FF2B5EF4-FFF2-40B4-BE49-F238E27FC236}">
                  <a16:creationId xmlns:a16="http://schemas.microsoft.com/office/drawing/2014/main" id="{1D9F6882-BBB8-4C9A-BDD7-FAB6F4D5F59D}"/>
                </a:ext>
              </a:extLst>
            </p:cNvPr>
            <p:cNvSpPr/>
            <p:nvPr/>
          </p:nvSpPr>
          <p:spPr>
            <a:xfrm rot="8716295">
              <a:off x="1566608" y="308601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" name="Forme libre : forme 245">
              <a:extLst>
                <a:ext uri="{FF2B5EF4-FFF2-40B4-BE49-F238E27FC236}">
                  <a16:creationId xmlns:a16="http://schemas.microsoft.com/office/drawing/2014/main" id="{D03B605A-3C15-4096-9741-AEE20EFC39A1}"/>
                </a:ext>
              </a:extLst>
            </p:cNvPr>
            <p:cNvSpPr/>
            <p:nvPr/>
          </p:nvSpPr>
          <p:spPr>
            <a:xfrm rot="8716295">
              <a:off x="1325157" y="293641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" name="Forme libre : forme 246">
              <a:extLst>
                <a:ext uri="{FF2B5EF4-FFF2-40B4-BE49-F238E27FC236}">
                  <a16:creationId xmlns:a16="http://schemas.microsoft.com/office/drawing/2014/main" id="{38898AE8-B829-47A3-880A-38C78C89B9DE}"/>
                </a:ext>
              </a:extLst>
            </p:cNvPr>
            <p:cNvSpPr/>
            <p:nvPr/>
          </p:nvSpPr>
          <p:spPr>
            <a:xfrm rot="7484129">
              <a:off x="1671539" y="327736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" name="Forme libre : forme 247">
              <a:extLst>
                <a:ext uri="{FF2B5EF4-FFF2-40B4-BE49-F238E27FC236}">
                  <a16:creationId xmlns:a16="http://schemas.microsoft.com/office/drawing/2014/main" id="{6C94EF82-BA2B-46A8-965C-6EF68064713F}"/>
                </a:ext>
              </a:extLst>
            </p:cNvPr>
            <p:cNvSpPr/>
            <p:nvPr/>
          </p:nvSpPr>
          <p:spPr>
            <a:xfrm rot="13089394">
              <a:off x="1776359" y="324390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" name="Forme libre : forme 248">
              <a:extLst>
                <a:ext uri="{FF2B5EF4-FFF2-40B4-BE49-F238E27FC236}">
                  <a16:creationId xmlns:a16="http://schemas.microsoft.com/office/drawing/2014/main" id="{551D5950-1E6B-4DD0-AB72-CBFF9866A44D}"/>
                </a:ext>
              </a:extLst>
            </p:cNvPr>
            <p:cNvSpPr/>
            <p:nvPr/>
          </p:nvSpPr>
          <p:spPr>
            <a:xfrm rot="8716295">
              <a:off x="1961944" y="305222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" name="Forme libre : forme 249">
              <a:extLst>
                <a:ext uri="{FF2B5EF4-FFF2-40B4-BE49-F238E27FC236}">
                  <a16:creationId xmlns:a16="http://schemas.microsoft.com/office/drawing/2014/main" id="{B6B88D31-2E44-4166-86AB-E9E6ECCAF3B0}"/>
                </a:ext>
              </a:extLst>
            </p:cNvPr>
            <p:cNvSpPr/>
            <p:nvPr/>
          </p:nvSpPr>
          <p:spPr>
            <a:xfrm rot="8716295">
              <a:off x="1910139" y="294862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" name="Forme libre : forme 250">
              <a:extLst>
                <a:ext uri="{FF2B5EF4-FFF2-40B4-BE49-F238E27FC236}">
                  <a16:creationId xmlns:a16="http://schemas.microsoft.com/office/drawing/2014/main" id="{811032A2-B40D-4E18-A5FE-1E40E940D0A3}"/>
                </a:ext>
              </a:extLst>
            </p:cNvPr>
            <p:cNvSpPr/>
            <p:nvPr/>
          </p:nvSpPr>
          <p:spPr>
            <a:xfrm rot="8716295">
              <a:off x="1666893" y="297885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" name="Forme libre : forme 251">
              <a:extLst>
                <a:ext uri="{FF2B5EF4-FFF2-40B4-BE49-F238E27FC236}">
                  <a16:creationId xmlns:a16="http://schemas.microsoft.com/office/drawing/2014/main" id="{10E9AA39-FF6D-4519-822E-A935B8BFBA5C}"/>
                </a:ext>
              </a:extLst>
            </p:cNvPr>
            <p:cNvSpPr/>
            <p:nvPr/>
          </p:nvSpPr>
          <p:spPr>
            <a:xfrm rot="8716295">
              <a:off x="1844345" y="281960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" name="Forme libre : forme 252">
              <a:extLst>
                <a:ext uri="{FF2B5EF4-FFF2-40B4-BE49-F238E27FC236}">
                  <a16:creationId xmlns:a16="http://schemas.microsoft.com/office/drawing/2014/main" id="{6C0C2891-B5CF-43D2-8AFF-62DA18792308}"/>
                </a:ext>
              </a:extLst>
            </p:cNvPr>
            <p:cNvSpPr/>
            <p:nvPr/>
          </p:nvSpPr>
          <p:spPr>
            <a:xfrm rot="8716295">
              <a:off x="2092137" y="5100860"/>
              <a:ext cx="63833" cy="43384"/>
            </a:xfrm>
            <a:custGeom>
              <a:avLst/>
              <a:gdLst>
                <a:gd name="connsiteX0" fmla="*/ 5923 w 63833"/>
                <a:gd name="connsiteY0" fmla="*/ 43384 h 43384"/>
                <a:gd name="connsiteX1" fmla="*/ 0 w 63833"/>
                <a:gd name="connsiteY1" fmla="*/ 35182 h 43384"/>
                <a:gd name="connsiteX2" fmla="*/ 37391 w 63833"/>
                <a:gd name="connsiteY2" fmla="*/ 0 h 43384"/>
                <a:gd name="connsiteX3" fmla="*/ 63833 w 63833"/>
                <a:gd name="connsiteY3" fmla="*/ 18329 h 4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833" h="43384">
                  <a:moveTo>
                    <a:pt x="5923" y="43384"/>
                  </a:moveTo>
                  <a:lnTo>
                    <a:pt x="0" y="35182"/>
                  </a:lnTo>
                  <a:lnTo>
                    <a:pt x="37391" y="0"/>
                  </a:lnTo>
                  <a:lnTo>
                    <a:pt x="63833" y="1832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" name="Forme libre : forme 253">
              <a:extLst>
                <a:ext uri="{FF2B5EF4-FFF2-40B4-BE49-F238E27FC236}">
                  <a16:creationId xmlns:a16="http://schemas.microsoft.com/office/drawing/2014/main" id="{D0590309-C5C9-415B-B4DB-187E6398C8E2}"/>
                </a:ext>
              </a:extLst>
            </p:cNvPr>
            <p:cNvSpPr/>
            <p:nvPr/>
          </p:nvSpPr>
          <p:spPr>
            <a:xfrm rot="8716295">
              <a:off x="1789040" y="5044339"/>
              <a:ext cx="113322" cy="144291"/>
            </a:xfrm>
            <a:custGeom>
              <a:avLst/>
              <a:gdLst>
                <a:gd name="connsiteX0" fmla="*/ 0 w 113322"/>
                <a:gd name="connsiteY0" fmla="*/ 3741 h 144291"/>
                <a:gd name="connsiteX1" fmla="*/ 0 w 113322"/>
                <a:gd name="connsiteY1" fmla="*/ 0 h 144291"/>
                <a:gd name="connsiteX2" fmla="*/ 5398 w 113322"/>
                <a:gd name="connsiteY2" fmla="*/ 3741 h 144291"/>
                <a:gd name="connsiteX3" fmla="*/ 90709 w 113322"/>
                <a:gd name="connsiteY3" fmla="*/ 144291 h 144291"/>
                <a:gd name="connsiteX4" fmla="*/ 47847 w 113322"/>
                <a:gd name="connsiteY4" fmla="*/ 64547 h 144291"/>
                <a:gd name="connsiteX5" fmla="*/ 56901 w 113322"/>
                <a:gd name="connsiteY5" fmla="*/ 39441 h 144291"/>
                <a:gd name="connsiteX6" fmla="*/ 113322 w 113322"/>
                <a:gd name="connsiteY6" fmla="*/ 78551 h 144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322" h="144291">
                  <a:moveTo>
                    <a:pt x="0" y="3741"/>
                  </a:moveTo>
                  <a:lnTo>
                    <a:pt x="0" y="0"/>
                  </a:lnTo>
                  <a:lnTo>
                    <a:pt x="5398" y="3741"/>
                  </a:lnTo>
                  <a:close/>
                  <a:moveTo>
                    <a:pt x="90709" y="144291"/>
                  </a:moveTo>
                  <a:lnTo>
                    <a:pt x="47847" y="64547"/>
                  </a:lnTo>
                  <a:lnTo>
                    <a:pt x="56901" y="39441"/>
                  </a:lnTo>
                  <a:lnTo>
                    <a:pt x="113322" y="7855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" name="Forme libre : forme 254">
              <a:extLst>
                <a:ext uri="{FF2B5EF4-FFF2-40B4-BE49-F238E27FC236}">
                  <a16:creationId xmlns:a16="http://schemas.microsoft.com/office/drawing/2014/main" id="{5BD5D859-B6BE-4272-BEBA-C49F2EB86FA8}"/>
                </a:ext>
              </a:extLst>
            </p:cNvPr>
            <p:cNvSpPr/>
            <p:nvPr/>
          </p:nvSpPr>
          <p:spPr>
            <a:xfrm rot="8716295">
              <a:off x="1701335" y="4927006"/>
              <a:ext cx="290643" cy="318535"/>
            </a:xfrm>
            <a:custGeom>
              <a:avLst/>
              <a:gdLst>
                <a:gd name="connsiteX0" fmla="*/ 25298 w 290643"/>
                <a:gd name="connsiteY0" fmla="*/ 288944 h 318535"/>
                <a:gd name="connsiteX1" fmla="*/ 0 w 290643"/>
                <a:gd name="connsiteY1" fmla="*/ 187748 h 318535"/>
                <a:gd name="connsiteX2" fmla="*/ 0 w 290643"/>
                <a:gd name="connsiteY2" fmla="*/ 8302 h 318535"/>
                <a:gd name="connsiteX3" fmla="*/ 16003 w 290643"/>
                <a:gd name="connsiteY3" fmla="*/ 0 h 318535"/>
                <a:gd name="connsiteX4" fmla="*/ 78793 w 290643"/>
                <a:gd name="connsiteY4" fmla="*/ 43524 h 318535"/>
                <a:gd name="connsiteX5" fmla="*/ 79427 w 290643"/>
                <a:gd name="connsiteY5" fmla="*/ 131855 h 318535"/>
                <a:gd name="connsiteX6" fmla="*/ 93547 w 290643"/>
                <a:gd name="connsiteY6" fmla="*/ 229521 h 318535"/>
                <a:gd name="connsiteX7" fmla="*/ 164149 w 290643"/>
                <a:gd name="connsiteY7" fmla="*/ 268352 h 318535"/>
                <a:gd name="connsiteX8" fmla="*/ 217100 w 290643"/>
                <a:gd name="connsiteY8" fmla="*/ 258938 h 318535"/>
                <a:gd name="connsiteX9" fmla="*/ 289467 w 290643"/>
                <a:gd name="connsiteY9" fmla="*/ 229521 h 318535"/>
                <a:gd name="connsiteX10" fmla="*/ 290643 w 290643"/>
                <a:gd name="connsiteY10" fmla="*/ 237169 h 318535"/>
                <a:gd name="connsiteX11" fmla="*/ 290643 w 290643"/>
                <a:gd name="connsiteY11" fmla="*/ 243052 h 318535"/>
                <a:gd name="connsiteX12" fmla="*/ 97665 w 290643"/>
                <a:gd name="connsiteY12" fmla="*/ 318361 h 318535"/>
                <a:gd name="connsiteX13" fmla="*/ 25298 w 290643"/>
                <a:gd name="connsiteY13" fmla="*/ 288944 h 318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90643" h="318535">
                  <a:moveTo>
                    <a:pt x="25298" y="288944"/>
                  </a:moveTo>
                  <a:cubicBezTo>
                    <a:pt x="5295" y="269528"/>
                    <a:pt x="0" y="235992"/>
                    <a:pt x="0" y="187748"/>
                  </a:cubicBezTo>
                  <a:lnTo>
                    <a:pt x="0" y="8302"/>
                  </a:lnTo>
                  <a:lnTo>
                    <a:pt x="16003" y="0"/>
                  </a:lnTo>
                  <a:lnTo>
                    <a:pt x="78793" y="43524"/>
                  </a:lnTo>
                  <a:lnTo>
                    <a:pt x="79427" y="131855"/>
                  </a:lnTo>
                  <a:cubicBezTo>
                    <a:pt x="77662" y="164803"/>
                    <a:pt x="82957" y="198338"/>
                    <a:pt x="93547" y="229521"/>
                  </a:cubicBezTo>
                  <a:cubicBezTo>
                    <a:pt x="102961" y="255408"/>
                    <a:pt x="127083" y="268352"/>
                    <a:pt x="164149" y="268352"/>
                  </a:cubicBezTo>
                  <a:cubicBezTo>
                    <a:pt x="182387" y="267763"/>
                    <a:pt x="200038" y="264233"/>
                    <a:pt x="217100" y="258938"/>
                  </a:cubicBezTo>
                  <a:cubicBezTo>
                    <a:pt x="241810" y="251290"/>
                    <a:pt x="265933" y="241288"/>
                    <a:pt x="289467" y="229521"/>
                  </a:cubicBezTo>
                  <a:cubicBezTo>
                    <a:pt x="290055" y="231874"/>
                    <a:pt x="290643" y="234816"/>
                    <a:pt x="290643" y="237169"/>
                  </a:cubicBezTo>
                  <a:lnTo>
                    <a:pt x="290643" y="243052"/>
                  </a:lnTo>
                  <a:cubicBezTo>
                    <a:pt x="228278" y="296592"/>
                    <a:pt x="146498" y="315419"/>
                    <a:pt x="97665" y="318361"/>
                  </a:cubicBezTo>
                  <a:cubicBezTo>
                    <a:pt x="70602" y="320126"/>
                    <a:pt x="44126" y="308359"/>
                    <a:pt x="25298" y="28894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" name="Forme libre : forme 255">
              <a:extLst>
                <a:ext uri="{FF2B5EF4-FFF2-40B4-BE49-F238E27FC236}">
                  <a16:creationId xmlns:a16="http://schemas.microsoft.com/office/drawing/2014/main" id="{DF6324B6-1146-4A58-A87B-58A99832DFC5}"/>
                </a:ext>
              </a:extLst>
            </p:cNvPr>
            <p:cNvSpPr/>
            <p:nvPr/>
          </p:nvSpPr>
          <p:spPr>
            <a:xfrm rot="8716295">
              <a:off x="2251190" y="4935850"/>
              <a:ext cx="142167" cy="232388"/>
            </a:xfrm>
            <a:custGeom>
              <a:avLst/>
              <a:gdLst>
                <a:gd name="connsiteX0" fmla="*/ 81108 w 142167"/>
                <a:gd name="connsiteY0" fmla="*/ 232388 h 232388"/>
                <a:gd name="connsiteX1" fmla="*/ 81108 w 142167"/>
                <a:gd name="connsiteY1" fmla="*/ 69716 h 232388"/>
                <a:gd name="connsiteX2" fmla="*/ 81108 w 142167"/>
                <a:gd name="connsiteY2" fmla="*/ 65616 h 232388"/>
                <a:gd name="connsiteX3" fmla="*/ 60604 w 142167"/>
                <a:gd name="connsiteY3" fmla="*/ 50123 h 232388"/>
                <a:gd name="connsiteX4" fmla="*/ 0 w 142167"/>
                <a:gd name="connsiteY4" fmla="*/ 50123 h 232388"/>
                <a:gd name="connsiteX5" fmla="*/ 0 w 142167"/>
                <a:gd name="connsiteY5" fmla="*/ 0 h 232388"/>
                <a:gd name="connsiteX6" fmla="*/ 63990 w 142167"/>
                <a:gd name="connsiteY6" fmla="*/ 0 h 232388"/>
                <a:gd name="connsiteX7" fmla="*/ 142167 w 142167"/>
                <a:gd name="connsiteY7" fmla="*/ 54190 h 232388"/>
                <a:gd name="connsiteX8" fmla="*/ 142167 w 142167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32388">
                  <a:moveTo>
                    <a:pt x="81108" y="232388"/>
                  </a:moveTo>
                  <a:lnTo>
                    <a:pt x="81108" y="69716"/>
                  </a:lnTo>
                  <a:cubicBezTo>
                    <a:pt x="81108" y="68350"/>
                    <a:pt x="81108" y="66983"/>
                    <a:pt x="81108" y="65616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63990" y="0"/>
                  </a:lnTo>
                  <a:lnTo>
                    <a:pt x="142167" y="54190"/>
                  </a:lnTo>
                  <a:lnTo>
                    <a:pt x="142167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" name="Forme libre : forme 256">
              <a:extLst>
                <a:ext uri="{FF2B5EF4-FFF2-40B4-BE49-F238E27FC236}">
                  <a16:creationId xmlns:a16="http://schemas.microsoft.com/office/drawing/2014/main" id="{646EF66B-E595-4EAF-98DD-AFED25A9F1D2}"/>
                </a:ext>
              </a:extLst>
            </p:cNvPr>
            <p:cNvSpPr/>
            <p:nvPr/>
          </p:nvSpPr>
          <p:spPr>
            <a:xfrm rot="8716295">
              <a:off x="2456859" y="4924575"/>
              <a:ext cx="131246" cy="253348"/>
            </a:xfrm>
            <a:custGeom>
              <a:avLst/>
              <a:gdLst>
                <a:gd name="connsiteX0" fmla="*/ 51490 w 131246"/>
                <a:gd name="connsiteY0" fmla="*/ 253348 h 253348"/>
                <a:gd name="connsiteX1" fmla="*/ 51489 w 131246"/>
                <a:gd name="connsiteY1" fmla="*/ 44199 h 253348"/>
                <a:gd name="connsiteX2" fmla="*/ 0 w 131246"/>
                <a:gd name="connsiteY2" fmla="*/ 44199 h 253348"/>
                <a:gd name="connsiteX3" fmla="*/ 0 w 131246"/>
                <a:gd name="connsiteY3" fmla="*/ 0 h 253348"/>
                <a:gd name="connsiteX4" fmla="*/ 44807 w 131246"/>
                <a:gd name="connsiteY4" fmla="*/ 0 h 253348"/>
                <a:gd name="connsiteX5" fmla="*/ 104802 w 131246"/>
                <a:gd name="connsiteY5" fmla="*/ 41587 h 253348"/>
                <a:gd name="connsiteX6" fmla="*/ 104802 w 131246"/>
                <a:gd name="connsiteY6" fmla="*/ 73817 h 253348"/>
                <a:gd name="connsiteX7" fmla="*/ 106169 w 131246"/>
                <a:gd name="connsiteY7" fmla="*/ 73817 h 253348"/>
                <a:gd name="connsiteX8" fmla="*/ 115569 w 131246"/>
                <a:gd name="connsiteY8" fmla="*/ 49050 h 253348"/>
                <a:gd name="connsiteX9" fmla="*/ 131246 w 131246"/>
                <a:gd name="connsiteY9" fmla="*/ 59916 h 253348"/>
                <a:gd name="connsiteX10" fmla="*/ 127358 w 131246"/>
                <a:gd name="connsiteY10" fmla="*/ 64191 h 253348"/>
                <a:gd name="connsiteX11" fmla="*/ 111638 w 131246"/>
                <a:gd name="connsiteY11" fmla="*/ 126218 h 253348"/>
                <a:gd name="connsiteX12" fmla="*/ 111638 w 131246"/>
                <a:gd name="connsiteY12" fmla="*/ 212339 h 253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1246" h="253348">
                  <a:moveTo>
                    <a:pt x="51490" y="253348"/>
                  </a:moveTo>
                  <a:lnTo>
                    <a:pt x="51489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44807" y="0"/>
                  </a:lnTo>
                  <a:lnTo>
                    <a:pt x="104802" y="41587"/>
                  </a:lnTo>
                  <a:lnTo>
                    <a:pt x="104802" y="73817"/>
                  </a:lnTo>
                  <a:lnTo>
                    <a:pt x="106169" y="73817"/>
                  </a:lnTo>
                  <a:lnTo>
                    <a:pt x="115569" y="49050"/>
                  </a:lnTo>
                  <a:lnTo>
                    <a:pt x="131246" y="59916"/>
                  </a:lnTo>
                  <a:lnTo>
                    <a:pt x="127358" y="64191"/>
                  </a:lnTo>
                  <a:cubicBezTo>
                    <a:pt x="117675" y="79968"/>
                    <a:pt x="111638" y="101840"/>
                    <a:pt x="111638" y="126218"/>
                  </a:cubicBezTo>
                  <a:lnTo>
                    <a:pt x="111638" y="2123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" name="Forme libre : forme 257">
              <a:extLst>
                <a:ext uri="{FF2B5EF4-FFF2-40B4-BE49-F238E27FC236}">
                  <a16:creationId xmlns:a16="http://schemas.microsoft.com/office/drawing/2014/main" id="{BBB2A0DE-B613-4103-A446-00FD5673FDA7}"/>
                </a:ext>
              </a:extLst>
            </p:cNvPr>
            <p:cNvSpPr/>
            <p:nvPr/>
          </p:nvSpPr>
          <p:spPr>
            <a:xfrm rot="8716295">
              <a:off x="2139785" y="502413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" name="Forme libre : forme 258">
              <a:extLst>
                <a:ext uri="{FF2B5EF4-FFF2-40B4-BE49-F238E27FC236}">
                  <a16:creationId xmlns:a16="http://schemas.microsoft.com/office/drawing/2014/main" id="{CE0B209D-C132-46B3-A7D3-E99A86963D83}"/>
                </a:ext>
              </a:extLst>
            </p:cNvPr>
            <p:cNvSpPr/>
            <p:nvPr/>
          </p:nvSpPr>
          <p:spPr>
            <a:xfrm rot="8716295">
              <a:off x="2014883" y="481546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" name="Forme libre : forme 259">
              <a:extLst>
                <a:ext uri="{FF2B5EF4-FFF2-40B4-BE49-F238E27FC236}">
                  <a16:creationId xmlns:a16="http://schemas.microsoft.com/office/drawing/2014/main" id="{46BBD1CB-80EF-4DD7-9CA4-1F270A6D433D}"/>
                </a:ext>
              </a:extLst>
            </p:cNvPr>
            <p:cNvSpPr/>
            <p:nvPr/>
          </p:nvSpPr>
          <p:spPr>
            <a:xfrm rot="8716295">
              <a:off x="2190257" y="5090583"/>
              <a:ext cx="60147" cy="76898"/>
            </a:xfrm>
            <a:custGeom>
              <a:avLst/>
              <a:gdLst>
                <a:gd name="connsiteX0" fmla="*/ 60147 w 60147"/>
                <a:gd name="connsiteY0" fmla="*/ 76898 h 76898"/>
                <a:gd name="connsiteX1" fmla="*/ 0 w 60147"/>
                <a:gd name="connsiteY1" fmla="*/ 19028 h 76898"/>
                <a:gd name="connsiteX2" fmla="*/ 0 w 60147"/>
                <a:gd name="connsiteY2" fmla="*/ 0 h 76898"/>
                <a:gd name="connsiteX3" fmla="*/ 60147 w 60147"/>
                <a:gd name="connsiteY3" fmla="*/ 41692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7" h="76898">
                  <a:moveTo>
                    <a:pt x="60147" y="76898"/>
                  </a:moveTo>
                  <a:lnTo>
                    <a:pt x="0" y="19028"/>
                  </a:lnTo>
                  <a:lnTo>
                    <a:pt x="0" y="0"/>
                  </a:lnTo>
                  <a:lnTo>
                    <a:pt x="60147" y="416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" name="Forme libre : forme 260">
              <a:extLst>
                <a:ext uri="{FF2B5EF4-FFF2-40B4-BE49-F238E27FC236}">
                  <a16:creationId xmlns:a16="http://schemas.microsoft.com/office/drawing/2014/main" id="{A32DFF69-92E6-43D9-A847-4B37531C0FC1}"/>
                </a:ext>
              </a:extLst>
            </p:cNvPr>
            <p:cNvSpPr/>
            <p:nvPr/>
          </p:nvSpPr>
          <p:spPr>
            <a:xfrm rot="8716295">
              <a:off x="1988512" y="491548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" name="Forme libre : forme 261">
              <a:extLst>
                <a:ext uri="{FF2B5EF4-FFF2-40B4-BE49-F238E27FC236}">
                  <a16:creationId xmlns:a16="http://schemas.microsoft.com/office/drawing/2014/main" id="{8232E004-724D-4398-A64A-AF1F94C033B6}"/>
                </a:ext>
              </a:extLst>
            </p:cNvPr>
            <p:cNvSpPr/>
            <p:nvPr/>
          </p:nvSpPr>
          <p:spPr>
            <a:xfrm rot="8716295">
              <a:off x="2650789" y="5021708"/>
              <a:ext cx="177699" cy="117559"/>
            </a:xfrm>
            <a:custGeom>
              <a:avLst/>
              <a:gdLst>
                <a:gd name="connsiteX0" fmla="*/ 6986 w 177699"/>
                <a:gd name="connsiteY0" fmla="*/ 117559 h 117559"/>
                <a:gd name="connsiteX1" fmla="*/ 0 w 177699"/>
                <a:gd name="connsiteY1" fmla="*/ 107886 h 117559"/>
                <a:gd name="connsiteX2" fmla="*/ 114658 w 177699"/>
                <a:gd name="connsiteY2" fmla="*/ 0 h 117559"/>
                <a:gd name="connsiteX3" fmla="*/ 177699 w 177699"/>
                <a:gd name="connsiteY3" fmla="*/ 43698 h 117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7699" h="117559">
                  <a:moveTo>
                    <a:pt x="6986" y="117559"/>
                  </a:moveTo>
                  <a:lnTo>
                    <a:pt x="0" y="107886"/>
                  </a:lnTo>
                  <a:lnTo>
                    <a:pt x="114658" y="0"/>
                  </a:lnTo>
                  <a:lnTo>
                    <a:pt x="177699" y="436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" name="Forme libre : forme 262">
              <a:extLst>
                <a:ext uri="{FF2B5EF4-FFF2-40B4-BE49-F238E27FC236}">
                  <a16:creationId xmlns:a16="http://schemas.microsoft.com/office/drawing/2014/main" id="{FBFBE439-377B-4FDF-9911-15B61D5AC250}"/>
                </a:ext>
              </a:extLst>
            </p:cNvPr>
            <p:cNvSpPr/>
            <p:nvPr/>
          </p:nvSpPr>
          <p:spPr>
            <a:xfrm rot="8716295">
              <a:off x="2573494" y="492769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" name="Forme libre : forme 263">
              <a:extLst>
                <a:ext uri="{FF2B5EF4-FFF2-40B4-BE49-F238E27FC236}">
                  <a16:creationId xmlns:a16="http://schemas.microsoft.com/office/drawing/2014/main" id="{8F5A7FC6-58AF-4BF6-9769-158D9D43A4A8}"/>
                </a:ext>
              </a:extLst>
            </p:cNvPr>
            <p:cNvSpPr/>
            <p:nvPr/>
          </p:nvSpPr>
          <p:spPr>
            <a:xfrm rot="8716295">
              <a:off x="2330248" y="495791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" name="Forme libre : forme 264">
              <a:extLst>
                <a:ext uri="{FF2B5EF4-FFF2-40B4-BE49-F238E27FC236}">
                  <a16:creationId xmlns:a16="http://schemas.microsoft.com/office/drawing/2014/main" id="{0B99B4B3-E447-449D-B6F2-40AFC1232903}"/>
                </a:ext>
              </a:extLst>
            </p:cNvPr>
            <p:cNvSpPr/>
            <p:nvPr/>
          </p:nvSpPr>
          <p:spPr>
            <a:xfrm rot="8716295">
              <a:off x="2507700" y="479867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" name="Forme libre : forme 265">
              <a:extLst>
                <a:ext uri="{FF2B5EF4-FFF2-40B4-BE49-F238E27FC236}">
                  <a16:creationId xmlns:a16="http://schemas.microsoft.com/office/drawing/2014/main" id="{9FDE555B-22C7-4972-A03C-9A881E9F494C}"/>
                </a:ext>
              </a:extLst>
            </p:cNvPr>
            <p:cNvSpPr/>
            <p:nvPr/>
          </p:nvSpPr>
          <p:spPr>
            <a:xfrm rot="8716295">
              <a:off x="1518235" y="386507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" name="Forme libre : forme 266">
              <a:extLst>
                <a:ext uri="{FF2B5EF4-FFF2-40B4-BE49-F238E27FC236}">
                  <a16:creationId xmlns:a16="http://schemas.microsoft.com/office/drawing/2014/main" id="{47023A4A-E9A4-4E7C-9A1F-7F050E215658}"/>
                </a:ext>
              </a:extLst>
            </p:cNvPr>
            <p:cNvSpPr/>
            <p:nvPr/>
          </p:nvSpPr>
          <p:spPr>
            <a:xfrm rot="8716295">
              <a:off x="1607627" y="389431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" name="Forme libre : forme 267">
              <a:extLst>
                <a:ext uri="{FF2B5EF4-FFF2-40B4-BE49-F238E27FC236}">
                  <a16:creationId xmlns:a16="http://schemas.microsoft.com/office/drawing/2014/main" id="{721AE192-0DE9-44CE-AFE7-60EAD2184BA9}"/>
                </a:ext>
              </a:extLst>
            </p:cNvPr>
            <p:cNvSpPr/>
            <p:nvPr/>
          </p:nvSpPr>
          <p:spPr>
            <a:xfrm rot="8716295">
              <a:off x="1562777" y="380803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" name="Forme libre : forme 268">
              <a:extLst>
                <a:ext uri="{FF2B5EF4-FFF2-40B4-BE49-F238E27FC236}">
                  <a16:creationId xmlns:a16="http://schemas.microsoft.com/office/drawing/2014/main" id="{C1003FCB-894D-4CB7-9C82-85789FE9B276}"/>
                </a:ext>
              </a:extLst>
            </p:cNvPr>
            <p:cNvSpPr/>
            <p:nvPr/>
          </p:nvSpPr>
          <p:spPr>
            <a:xfrm rot="8716295">
              <a:off x="1406001" y="395361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0" name="Forme libre : forme 269">
              <a:extLst>
                <a:ext uri="{FF2B5EF4-FFF2-40B4-BE49-F238E27FC236}">
                  <a16:creationId xmlns:a16="http://schemas.microsoft.com/office/drawing/2014/main" id="{7F48A554-D952-4BC7-8F60-7FBDCE05FE70}"/>
                </a:ext>
              </a:extLst>
            </p:cNvPr>
            <p:cNvSpPr/>
            <p:nvPr/>
          </p:nvSpPr>
          <p:spPr>
            <a:xfrm rot="8716295">
              <a:off x="1281098" y="374494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1" name="Forme libre : forme 270">
              <a:extLst>
                <a:ext uri="{FF2B5EF4-FFF2-40B4-BE49-F238E27FC236}">
                  <a16:creationId xmlns:a16="http://schemas.microsoft.com/office/drawing/2014/main" id="{B64659B2-F8CD-4B3D-8353-ED1AAF15923F}"/>
                </a:ext>
              </a:extLst>
            </p:cNvPr>
            <p:cNvSpPr/>
            <p:nvPr/>
          </p:nvSpPr>
          <p:spPr>
            <a:xfrm rot="8716295">
              <a:off x="1269046" y="3606161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2" name="Forme libre : forme 271">
              <a:extLst>
                <a:ext uri="{FF2B5EF4-FFF2-40B4-BE49-F238E27FC236}">
                  <a16:creationId xmlns:a16="http://schemas.microsoft.com/office/drawing/2014/main" id="{C1336409-0E83-4F9F-AE44-B0095CEBE127}"/>
                </a:ext>
              </a:extLst>
            </p:cNvPr>
            <p:cNvSpPr/>
            <p:nvPr/>
          </p:nvSpPr>
          <p:spPr>
            <a:xfrm rot="8716295">
              <a:off x="1496179" y="399456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3" name="Forme libre : forme 272">
              <a:extLst>
                <a:ext uri="{FF2B5EF4-FFF2-40B4-BE49-F238E27FC236}">
                  <a16:creationId xmlns:a16="http://schemas.microsoft.com/office/drawing/2014/main" id="{11163225-7511-4602-A804-B9D156B88F47}"/>
                </a:ext>
              </a:extLst>
            </p:cNvPr>
            <p:cNvSpPr/>
            <p:nvPr/>
          </p:nvSpPr>
          <p:spPr>
            <a:xfrm rot="8716295">
              <a:off x="1807334" y="36149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4" name="Forme libre : forme 273">
              <a:extLst>
                <a:ext uri="{FF2B5EF4-FFF2-40B4-BE49-F238E27FC236}">
                  <a16:creationId xmlns:a16="http://schemas.microsoft.com/office/drawing/2014/main" id="{81961769-D6FF-4365-87D3-0FF20F673A4A}"/>
                </a:ext>
              </a:extLst>
            </p:cNvPr>
            <p:cNvSpPr/>
            <p:nvPr/>
          </p:nvSpPr>
          <p:spPr>
            <a:xfrm rot="8716295">
              <a:off x="1896726" y="36441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5" name="Forme libre : forme 274">
              <a:extLst>
                <a:ext uri="{FF2B5EF4-FFF2-40B4-BE49-F238E27FC236}">
                  <a16:creationId xmlns:a16="http://schemas.microsoft.com/office/drawing/2014/main" id="{D838E7DA-A3D8-4733-90D9-56C4006640C1}"/>
                </a:ext>
              </a:extLst>
            </p:cNvPr>
            <p:cNvSpPr/>
            <p:nvPr/>
          </p:nvSpPr>
          <p:spPr>
            <a:xfrm rot="8716295">
              <a:off x="1695100" y="370346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6" name="Forme libre : forme 275">
              <a:extLst>
                <a:ext uri="{FF2B5EF4-FFF2-40B4-BE49-F238E27FC236}">
                  <a16:creationId xmlns:a16="http://schemas.microsoft.com/office/drawing/2014/main" id="{BE48505C-4A3C-41E8-805D-3F3964663DC3}"/>
                </a:ext>
              </a:extLst>
            </p:cNvPr>
            <p:cNvSpPr/>
            <p:nvPr/>
          </p:nvSpPr>
          <p:spPr>
            <a:xfrm rot="8716295">
              <a:off x="1570198" y="349478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7" name="Forme libre : forme 276">
              <a:extLst>
                <a:ext uri="{FF2B5EF4-FFF2-40B4-BE49-F238E27FC236}">
                  <a16:creationId xmlns:a16="http://schemas.microsoft.com/office/drawing/2014/main" id="{74C1AFD3-7B5D-49B6-B346-37FFDE5D01C0}"/>
                </a:ext>
              </a:extLst>
            </p:cNvPr>
            <p:cNvSpPr/>
            <p:nvPr/>
          </p:nvSpPr>
          <p:spPr>
            <a:xfrm rot="8716295">
              <a:off x="1785278" y="37444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8" name="Forme libre : forme 277">
              <a:extLst>
                <a:ext uri="{FF2B5EF4-FFF2-40B4-BE49-F238E27FC236}">
                  <a16:creationId xmlns:a16="http://schemas.microsoft.com/office/drawing/2014/main" id="{B918BF38-28D0-4E79-852B-01ED43D79B29}"/>
                </a:ext>
              </a:extLst>
            </p:cNvPr>
            <p:cNvSpPr/>
            <p:nvPr/>
          </p:nvSpPr>
          <p:spPr>
            <a:xfrm rot="8716295">
              <a:off x="1543827" y="359481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9" name="Forme libre : forme 278">
              <a:extLst>
                <a:ext uri="{FF2B5EF4-FFF2-40B4-BE49-F238E27FC236}">
                  <a16:creationId xmlns:a16="http://schemas.microsoft.com/office/drawing/2014/main" id="{9821C7DC-A0EE-43BB-82AD-2D73FD4DEC58}"/>
                </a:ext>
              </a:extLst>
            </p:cNvPr>
            <p:cNvSpPr/>
            <p:nvPr/>
          </p:nvSpPr>
          <p:spPr>
            <a:xfrm rot="7484129">
              <a:off x="1890209" y="393576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0" name="Forme libre : forme 279">
              <a:extLst>
                <a:ext uri="{FF2B5EF4-FFF2-40B4-BE49-F238E27FC236}">
                  <a16:creationId xmlns:a16="http://schemas.microsoft.com/office/drawing/2014/main" id="{CE9B832D-CDB0-4485-83A6-7D7ED44A3320}"/>
                </a:ext>
              </a:extLst>
            </p:cNvPr>
            <p:cNvSpPr/>
            <p:nvPr/>
          </p:nvSpPr>
          <p:spPr>
            <a:xfrm rot="13089394">
              <a:off x="1995029" y="3902299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1" name="Forme libre : forme 280">
              <a:extLst>
                <a:ext uri="{FF2B5EF4-FFF2-40B4-BE49-F238E27FC236}">
                  <a16:creationId xmlns:a16="http://schemas.microsoft.com/office/drawing/2014/main" id="{B39230A2-1C21-4062-B5E2-4E3B7D0C88CD}"/>
                </a:ext>
              </a:extLst>
            </p:cNvPr>
            <p:cNvSpPr/>
            <p:nvPr/>
          </p:nvSpPr>
          <p:spPr>
            <a:xfrm rot="8716295">
              <a:off x="2180614" y="371061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2" name="Forme libre : forme 281">
              <a:extLst>
                <a:ext uri="{FF2B5EF4-FFF2-40B4-BE49-F238E27FC236}">
                  <a16:creationId xmlns:a16="http://schemas.microsoft.com/office/drawing/2014/main" id="{81DCB6A5-C857-4E79-932B-EE7CD6E9E80D}"/>
                </a:ext>
              </a:extLst>
            </p:cNvPr>
            <p:cNvSpPr/>
            <p:nvPr/>
          </p:nvSpPr>
          <p:spPr>
            <a:xfrm rot="8716295">
              <a:off x="2128809" y="360702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3" name="Forme libre : forme 282">
              <a:extLst>
                <a:ext uri="{FF2B5EF4-FFF2-40B4-BE49-F238E27FC236}">
                  <a16:creationId xmlns:a16="http://schemas.microsoft.com/office/drawing/2014/main" id="{DE2E55F0-E1D2-42EF-81BE-5B9CF56A8B16}"/>
                </a:ext>
              </a:extLst>
            </p:cNvPr>
            <p:cNvSpPr/>
            <p:nvPr/>
          </p:nvSpPr>
          <p:spPr>
            <a:xfrm rot="8716295">
              <a:off x="1885563" y="36372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4" name="Forme libre : forme 283">
              <a:extLst>
                <a:ext uri="{FF2B5EF4-FFF2-40B4-BE49-F238E27FC236}">
                  <a16:creationId xmlns:a16="http://schemas.microsoft.com/office/drawing/2014/main" id="{14AD1449-9E25-4F42-B0CB-B7AB7DA137A1}"/>
                </a:ext>
              </a:extLst>
            </p:cNvPr>
            <p:cNvSpPr/>
            <p:nvPr/>
          </p:nvSpPr>
          <p:spPr>
            <a:xfrm rot="8716295">
              <a:off x="2063015" y="34780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5" name="Forme libre : forme 284">
              <a:extLst>
                <a:ext uri="{FF2B5EF4-FFF2-40B4-BE49-F238E27FC236}">
                  <a16:creationId xmlns:a16="http://schemas.microsoft.com/office/drawing/2014/main" id="{9459C257-BD83-4EA3-A67A-64F2E29D2444}"/>
                </a:ext>
              </a:extLst>
            </p:cNvPr>
            <p:cNvSpPr/>
            <p:nvPr/>
          </p:nvSpPr>
          <p:spPr>
            <a:xfrm rot="8716295">
              <a:off x="1741402" y="452476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6" name="Forme libre : forme 285">
              <a:extLst>
                <a:ext uri="{FF2B5EF4-FFF2-40B4-BE49-F238E27FC236}">
                  <a16:creationId xmlns:a16="http://schemas.microsoft.com/office/drawing/2014/main" id="{776DF04A-9E10-40B0-8F87-C3176DFB0655}"/>
                </a:ext>
              </a:extLst>
            </p:cNvPr>
            <p:cNvSpPr/>
            <p:nvPr/>
          </p:nvSpPr>
          <p:spPr>
            <a:xfrm rot="8716295">
              <a:off x="1830794" y="455401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7" name="Forme libre : forme 286">
              <a:extLst>
                <a:ext uri="{FF2B5EF4-FFF2-40B4-BE49-F238E27FC236}">
                  <a16:creationId xmlns:a16="http://schemas.microsoft.com/office/drawing/2014/main" id="{1BCF78D3-72E0-4C34-AE46-85492A03A633}"/>
                </a:ext>
              </a:extLst>
            </p:cNvPr>
            <p:cNvSpPr/>
            <p:nvPr/>
          </p:nvSpPr>
          <p:spPr>
            <a:xfrm rot="8716295">
              <a:off x="1785944" y="4467731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8" name="Forme libre : forme 287">
              <a:extLst>
                <a:ext uri="{FF2B5EF4-FFF2-40B4-BE49-F238E27FC236}">
                  <a16:creationId xmlns:a16="http://schemas.microsoft.com/office/drawing/2014/main" id="{40DD2911-8E83-41A0-92FE-163A6FA95009}"/>
                </a:ext>
              </a:extLst>
            </p:cNvPr>
            <p:cNvSpPr/>
            <p:nvPr/>
          </p:nvSpPr>
          <p:spPr>
            <a:xfrm rot="8716295">
              <a:off x="1629168" y="461331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9" name="Forme libre : forme 288">
              <a:extLst>
                <a:ext uri="{FF2B5EF4-FFF2-40B4-BE49-F238E27FC236}">
                  <a16:creationId xmlns:a16="http://schemas.microsoft.com/office/drawing/2014/main" id="{E686274E-624B-4FD1-9536-D2B4D790F806}"/>
                </a:ext>
              </a:extLst>
            </p:cNvPr>
            <p:cNvSpPr/>
            <p:nvPr/>
          </p:nvSpPr>
          <p:spPr>
            <a:xfrm rot="8716295">
              <a:off x="1504265" y="440464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0" name="Forme libre : forme 289">
              <a:extLst>
                <a:ext uri="{FF2B5EF4-FFF2-40B4-BE49-F238E27FC236}">
                  <a16:creationId xmlns:a16="http://schemas.microsoft.com/office/drawing/2014/main" id="{DA92638D-CC75-4944-B78B-61E3B22A12E3}"/>
                </a:ext>
              </a:extLst>
            </p:cNvPr>
            <p:cNvSpPr/>
            <p:nvPr/>
          </p:nvSpPr>
          <p:spPr>
            <a:xfrm rot="8716295">
              <a:off x="1492213" y="4265860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1" name="Forme libre : forme 290">
              <a:extLst>
                <a:ext uri="{FF2B5EF4-FFF2-40B4-BE49-F238E27FC236}">
                  <a16:creationId xmlns:a16="http://schemas.microsoft.com/office/drawing/2014/main" id="{17950727-3BF3-4A34-9F11-5322F5CFB8F3}"/>
                </a:ext>
              </a:extLst>
            </p:cNvPr>
            <p:cNvSpPr/>
            <p:nvPr/>
          </p:nvSpPr>
          <p:spPr>
            <a:xfrm rot="8716295">
              <a:off x="1719346" y="465426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2" name="Forme libre : forme 291">
              <a:extLst>
                <a:ext uri="{FF2B5EF4-FFF2-40B4-BE49-F238E27FC236}">
                  <a16:creationId xmlns:a16="http://schemas.microsoft.com/office/drawing/2014/main" id="{9010FFF3-701E-491D-97A1-527670851B3C}"/>
                </a:ext>
              </a:extLst>
            </p:cNvPr>
            <p:cNvSpPr/>
            <p:nvPr/>
          </p:nvSpPr>
          <p:spPr>
            <a:xfrm rot="8716295">
              <a:off x="2030501" y="427461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3" name="Forme libre : forme 292">
              <a:extLst>
                <a:ext uri="{FF2B5EF4-FFF2-40B4-BE49-F238E27FC236}">
                  <a16:creationId xmlns:a16="http://schemas.microsoft.com/office/drawing/2014/main" id="{8E50FB82-1555-41A1-B55B-D3699A1B10A3}"/>
                </a:ext>
              </a:extLst>
            </p:cNvPr>
            <p:cNvSpPr/>
            <p:nvPr/>
          </p:nvSpPr>
          <p:spPr>
            <a:xfrm rot="8716295">
              <a:off x="2119893" y="430385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4" name="Forme libre : forme 293">
              <a:extLst>
                <a:ext uri="{FF2B5EF4-FFF2-40B4-BE49-F238E27FC236}">
                  <a16:creationId xmlns:a16="http://schemas.microsoft.com/office/drawing/2014/main" id="{ECB71CB3-C9D6-4612-8036-4BC5560F17FE}"/>
                </a:ext>
              </a:extLst>
            </p:cNvPr>
            <p:cNvSpPr/>
            <p:nvPr/>
          </p:nvSpPr>
          <p:spPr>
            <a:xfrm rot="8716295">
              <a:off x="1918267" y="436316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5" name="Forme libre : forme 294">
              <a:extLst>
                <a:ext uri="{FF2B5EF4-FFF2-40B4-BE49-F238E27FC236}">
                  <a16:creationId xmlns:a16="http://schemas.microsoft.com/office/drawing/2014/main" id="{23C3947C-E5CD-4C04-A462-D000016701AE}"/>
                </a:ext>
              </a:extLst>
            </p:cNvPr>
            <p:cNvSpPr/>
            <p:nvPr/>
          </p:nvSpPr>
          <p:spPr>
            <a:xfrm rot="8716295">
              <a:off x="1793365" y="415448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6" name="Forme libre : forme 295">
              <a:extLst>
                <a:ext uri="{FF2B5EF4-FFF2-40B4-BE49-F238E27FC236}">
                  <a16:creationId xmlns:a16="http://schemas.microsoft.com/office/drawing/2014/main" id="{36960960-0C32-4C59-8462-A2186C943B16}"/>
                </a:ext>
              </a:extLst>
            </p:cNvPr>
            <p:cNvSpPr/>
            <p:nvPr/>
          </p:nvSpPr>
          <p:spPr>
            <a:xfrm rot="8716295">
              <a:off x="2008445" y="4404113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7" name="Forme libre : forme 296">
              <a:extLst>
                <a:ext uri="{FF2B5EF4-FFF2-40B4-BE49-F238E27FC236}">
                  <a16:creationId xmlns:a16="http://schemas.microsoft.com/office/drawing/2014/main" id="{A017DED6-0DF0-4954-AA17-FAF145052546}"/>
                </a:ext>
              </a:extLst>
            </p:cNvPr>
            <p:cNvSpPr/>
            <p:nvPr/>
          </p:nvSpPr>
          <p:spPr>
            <a:xfrm rot="8716295">
              <a:off x="1766994" y="4254513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8" name="Forme libre : forme 297">
              <a:extLst>
                <a:ext uri="{FF2B5EF4-FFF2-40B4-BE49-F238E27FC236}">
                  <a16:creationId xmlns:a16="http://schemas.microsoft.com/office/drawing/2014/main" id="{5CC2F812-5E9A-4217-955F-4164466B5C25}"/>
                </a:ext>
              </a:extLst>
            </p:cNvPr>
            <p:cNvSpPr/>
            <p:nvPr/>
          </p:nvSpPr>
          <p:spPr>
            <a:xfrm rot="7484129">
              <a:off x="2113376" y="459546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9" name="Forme libre : forme 298">
              <a:extLst>
                <a:ext uri="{FF2B5EF4-FFF2-40B4-BE49-F238E27FC236}">
                  <a16:creationId xmlns:a16="http://schemas.microsoft.com/office/drawing/2014/main" id="{C4DB3C3C-7923-468B-A1D6-C35736B5F055}"/>
                </a:ext>
              </a:extLst>
            </p:cNvPr>
            <p:cNvSpPr/>
            <p:nvPr/>
          </p:nvSpPr>
          <p:spPr>
            <a:xfrm rot="13089394">
              <a:off x="2218196" y="4561998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0" name="Forme libre : forme 299">
              <a:extLst>
                <a:ext uri="{FF2B5EF4-FFF2-40B4-BE49-F238E27FC236}">
                  <a16:creationId xmlns:a16="http://schemas.microsoft.com/office/drawing/2014/main" id="{4DB3A68B-6594-48A3-9ED1-B19E13D1C859}"/>
                </a:ext>
              </a:extLst>
            </p:cNvPr>
            <p:cNvSpPr/>
            <p:nvPr/>
          </p:nvSpPr>
          <p:spPr>
            <a:xfrm rot="8716295">
              <a:off x="2403781" y="4370317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1" name="Forme libre : forme 300">
              <a:extLst>
                <a:ext uri="{FF2B5EF4-FFF2-40B4-BE49-F238E27FC236}">
                  <a16:creationId xmlns:a16="http://schemas.microsoft.com/office/drawing/2014/main" id="{257847A5-8115-45F6-B365-C04D26B7A465}"/>
                </a:ext>
              </a:extLst>
            </p:cNvPr>
            <p:cNvSpPr/>
            <p:nvPr/>
          </p:nvSpPr>
          <p:spPr>
            <a:xfrm rot="8716295">
              <a:off x="2351976" y="426672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2" name="Forme libre : forme 301">
              <a:extLst>
                <a:ext uri="{FF2B5EF4-FFF2-40B4-BE49-F238E27FC236}">
                  <a16:creationId xmlns:a16="http://schemas.microsoft.com/office/drawing/2014/main" id="{8F6B8004-8361-41BA-B532-27BD701A55E8}"/>
                </a:ext>
              </a:extLst>
            </p:cNvPr>
            <p:cNvSpPr/>
            <p:nvPr/>
          </p:nvSpPr>
          <p:spPr>
            <a:xfrm rot="8716295">
              <a:off x="2108730" y="429694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3" name="Forme libre : forme 302">
              <a:extLst>
                <a:ext uri="{FF2B5EF4-FFF2-40B4-BE49-F238E27FC236}">
                  <a16:creationId xmlns:a16="http://schemas.microsoft.com/office/drawing/2014/main" id="{A2707731-9E6E-4897-BF1C-AD23EDDF33B9}"/>
                </a:ext>
              </a:extLst>
            </p:cNvPr>
            <p:cNvSpPr/>
            <p:nvPr/>
          </p:nvSpPr>
          <p:spPr>
            <a:xfrm rot="8716295">
              <a:off x="2286182" y="413770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4" name="Forme libre : forme 303">
              <a:extLst>
                <a:ext uri="{FF2B5EF4-FFF2-40B4-BE49-F238E27FC236}">
                  <a16:creationId xmlns:a16="http://schemas.microsoft.com/office/drawing/2014/main" id="{71585C5B-7ACF-4291-A3CC-77CF6C2FAF80}"/>
                </a:ext>
              </a:extLst>
            </p:cNvPr>
            <p:cNvSpPr/>
            <p:nvPr/>
          </p:nvSpPr>
          <p:spPr>
            <a:xfrm rot="8716295">
              <a:off x="854880" y="188600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5" name="Forme libre : forme 304">
              <a:extLst>
                <a:ext uri="{FF2B5EF4-FFF2-40B4-BE49-F238E27FC236}">
                  <a16:creationId xmlns:a16="http://schemas.microsoft.com/office/drawing/2014/main" id="{825A50BE-E198-461A-AE4C-E99B0DB548B8}"/>
                </a:ext>
              </a:extLst>
            </p:cNvPr>
            <p:cNvSpPr/>
            <p:nvPr/>
          </p:nvSpPr>
          <p:spPr>
            <a:xfrm rot="8716295">
              <a:off x="944272" y="191524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6" name="Forme libre : forme 305">
              <a:extLst>
                <a:ext uri="{FF2B5EF4-FFF2-40B4-BE49-F238E27FC236}">
                  <a16:creationId xmlns:a16="http://schemas.microsoft.com/office/drawing/2014/main" id="{A7FBDA8A-DF94-413D-B047-17E3CE1805C0}"/>
                </a:ext>
              </a:extLst>
            </p:cNvPr>
            <p:cNvSpPr/>
            <p:nvPr/>
          </p:nvSpPr>
          <p:spPr>
            <a:xfrm rot="8716295">
              <a:off x="899422" y="182896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7" name="Forme libre : forme 306">
              <a:extLst>
                <a:ext uri="{FF2B5EF4-FFF2-40B4-BE49-F238E27FC236}">
                  <a16:creationId xmlns:a16="http://schemas.microsoft.com/office/drawing/2014/main" id="{8DB66338-D210-4BFA-9092-FF348569CC52}"/>
                </a:ext>
              </a:extLst>
            </p:cNvPr>
            <p:cNvSpPr/>
            <p:nvPr/>
          </p:nvSpPr>
          <p:spPr>
            <a:xfrm rot="8716295">
              <a:off x="742646" y="197454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8" name="Forme libre : forme 307">
              <a:extLst>
                <a:ext uri="{FF2B5EF4-FFF2-40B4-BE49-F238E27FC236}">
                  <a16:creationId xmlns:a16="http://schemas.microsoft.com/office/drawing/2014/main" id="{74B60F54-C3F2-4334-BC7E-D49FA3ACE1ED}"/>
                </a:ext>
              </a:extLst>
            </p:cNvPr>
            <p:cNvSpPr/>
            <p:nvPr/>
          </p:nvSpPr>
          <p:spPr>
            <a:xfrm rot="8716295">
              <a:off x="617743" y="176587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9" name="Forme libre : forme 308">
              <a:extLst>
                <a:ext uri="{FF2B5EF4-FFF2-40B4-BE49-F238E27FC236}">
                  <a16:creationId xmlns:a16="http://schemas.microsoft.com/office/drawing/2014/main" id="{CA3E19C2-F96C-48A0-9D2C-698B32CA8895}"/>
                </a:ext>
              </a:extLst>
            </p:cNvPr>
            <p:cNvSpPr/>
            <p:nvPr/>
          </p:nvSpPr>
          <p:spPr>
            <a:xfrm rot="8716295">
              <a:off x="605691" y="162709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0" name="Forme libre : forme 309">
              <a:extLst>
                <a:ext uri="{FF2B5EF4-FFF2-40B4-BE49-F238E27FC236}">
                  <a16:creationId xmlns:a16="http://schemas.microsoft.com/office/drawing/2014/main" id="{9A0D5CB1-8D83-4AFE-B1BE-9F0F522C0D2B}"/>
                </a:ext>
              </a:extLst>
            </p:cNvPr>
            <p:cNvSpPr/>
            <p:nvPr/>
          </p:nvSpPr>
          <p:spPr>
            <a:xfrm rot="8716295">
              <a:off x="832824" y="201549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1" name="Forme libre : forme 310">
              <a:extLst>
                <a:ext uri="{FF2B5EF4-FFF2-40B4-BE49-F238E27FC236}">
                  <a16:creationId xmlns:a16="http://schemas.microsoft.com/office/drawing/2014/main" id="{7A50FCE7-03C8-4853-B73F-CE26795DB2CC}"/>
                </a:ext>
              </a:extLst>
            </p:cNvPr>
            <p:cNvSpPr/>
            <p:nvPr/>
          </p:nvSpPr>
          <p:spPr>
            <a:xfrm rot="8716295">
              <a:off x="1143979" y="163584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2" name="Forme libre : forme 311">
              <a:extLst>
                <a:ext uri="{FF2B5EF4-FFF2-40B4-BE49-F238E27FC236}">
                  <a16:creationId xmlns:a16="http://schemas.microsoft.com/office/drawing/2014/main" id="{457A7093-695D-4C41-85A0-782C2CD8BC44}"/>
                </a:ext>
              </a:extLst>
            </p:cNvPr>
            <p:cNvSpPr/>
            <p:nvPr/>
          </p:nvSpPr>
          <p:spPr>
            <a:xfrm rot="8716295">
              <a:off x="1233371" y="166509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3" name="Forme libre : forme 312">
              <a:extLst>
                <a:ext uri="{FF2B5EF4-FFF2-40B4-BE49-F238E27FC236}">
                  <a16:creationId xmlns:a16="http://schemas.microsoft.com/office/drawing/2014/main" id="{704E3047-55DF-4CDA-9182-C95BBA17BD9B}"/>
                </a:ext>
              </a:extLst>
            </p:cNvPr>
            <p:cNvSpPr/>
            <p:nvPr/>
          </p:nvSpPr>
          <p:spPr>
            <a:xfrm rot="8716295">
              <a:off x="1031745" y="172439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4" name="Forme libre : forme 313">
              <a:extLst>
                <a:ext uri="{FF2B5EF4-FFF2-40B4-BE49-F238E27FC236}">
                  <a16:creationId xmlns:a16="http://schemas.microsoft.com/office/drawing/2014/main" id="{75BDC6A2-BB14-4847-BB83-0C2ABA630806}"/>
                </a:ext>
              </a:extLst>
            </p:cNvPr>
            <p:cNvSpPr/>
            <p:nvPr/>
          </p:nvSpPr>
          <p:spPr>
            <a:xfrm rot="8716295">
              <a:off x="906843" y="151572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5" name="Forme libre : forme 314">
              <a:extLst>
                <a:ext uri="{FF2B5EF4-FFF2-40B4-BE49-F238E27FC236}">
                  <a16:creationId xmlns:a16="http://schemas.microsoft.com/office/drawing/2014/main" id="{7B4C3322-60E4-483D-8950-104BAFBDD71B}"/>
                </a:ext>
              </a:extLst>
            </p:cNvPr>
            <p:cNvSpPr/>
            <p:nvPr/>
          </p:nvSpPr>
          <p:spPr>
            <a:xfrm rot="8716295">
              <a:off x="1121923" y="176534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6" name="Forme libre : forme 315">
              <a:extLst>
                <a:ext uri="{FF2B5EF4-FFF2-40B4-BE49-F238E27FC236}">
                  <a16:creationId xmlns:a16="http://schemas.microsoft.com/office/drawing/2014/main" id="{2CCC10C4-A47F-46B3-9A5E-2B69B8F95724}"/>
                </a:ext>
              </a:extLst>
            </p:cNvPr>
            <p:cNvSpPr/>
            <p:nvPr/>
          </p:nvSpPr>
          <p:spPr>
            <a:xfrm rot="8716295">
              <a:off x="880472" y="161574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7" name="Forme libre : forme 316">
              <a:extLst>
                <a:ext uri="{FF2B5EF4-FFF2-40B4-BE49-F238E27FC236}">
                  <a16:creationId xmlns:a16="http://schemas.microsoft.com/office/drawing/2014/main" id="{C3F47D9C-5F75-4589-82C5-2EB76DD8C333}"/>
                </a:ext>
              </a:extLst>
            </p:cNvPr>
            <p:cNvSpPr/>
            <p:nvPr/>
          </p:nvSpPr>
          <p:spPr>
            <a:xfrm rot="7484129">
              <a:off x="1226854" y="195669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8" name="Forme libre : forme 317">
              <a:extLst>
                <a:ext uri="{FF2B5EF4-FFF2-40B4-BE49-F238E27FC236}">
                  <a16:creationId xmlns:a16="http://schemas.microsoft.com/office/drawing/2014/main" id="{06EDA617-7C34-4BCB-8273-6505201538B5}"/>
                </a:ext>
              </a:extLst>
            </p:cNvPr>
            <p:cNvSpPr/>
            <p:nvPr/>
          </p:nvSpPr>
          <p:spPr>
            <a:xfrm rot="13089394">
              <a:off x="1331674" y="192323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9" name="Forme libre : forme 318">
              <a:extLst>
                <a:ext uri="{FF2B5EF4-FFF2-40B4-BE49-F238E27FC236}">
                  <a16:creationId xmlns:a16="http://schemas.microsoft.com/office/drawing/2014/main" id="{8C00C036-C8B0-4F77-B0BC-B732FD327F08}"/>
                </a:ext>
              </a:extLst>
            </p:cNvPr>
            <p:cNvSpPr/>
            <p:nvPr/>
          </p:nvSpPr>
          <p:spPr>
            <a:xfrm rot="8716295">
              <a:off x="1517259" y="173154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0" name="Forme libre : forme 319">
              <a:extLst>
                <a:ext uri="{FF2B5EF4-FFF2-40B4-BE49-F238E27FC236}">
                  <a16:creationId xmlns:a16="http://schemas.microsoft.com/office/drawing/2014/main" id="{079E7D4D-7CBC-4E80-9ADD-66D10F53D00A}"/>
                </a:ext>
              </a:extLst>
            </p:cNvPr>
            <p:cNvSpPr/>
            <p:nvPr/>
          </p:nvSpPr>
          <p:spPr>
            <a:xfrm rot="8716295">
              <a:off x="1465454" y="162795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1" name="Forme libre : forme 320">
              <a:extLst>
                <a:ext uri="{FF2B5EF4-FFF2-40B4-BE49-F238E27FC236}">
                  <a16:creationId xmlns:a16="http://schemas.microsoft.com/office/drawing/2014/main" id="{F6CBC04A-ACBC-43B1-86C9-792F0278AE9C}"/>
                </a:ext>
              </a:extLst>
            </p:cNvPr>
            <p:cNvSpPr/>
            <p:nvPr/>
          </p:nvSpPr>
          <p:spPr>
            <a:xfrm rot="8716295">
              <a:off x="1222208" y="165817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2" name="Forme libre : forme 321">
              <a:extLst>
                <a:ext uri="{FF2B5EF4-FFF2-40B4-BE49-F238E27FC236}">
                  <a16:creationId xmlns:a16="http://schemas.microsoft.com/office/drawing/2014/main" id="{877F1B10-A111-4EDF-9C97-C64DD5E5FC2D}"/>
                </a:ext>
              </a:extLst>
            </p:cNvPr>
            <p:cNvSpPr/>
            <p:nvPr/>
          </p:nvSpPr>
          <p:spPr>
            <a:xfrm rot="8716295">
              <a:off x="1399660" y="149893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3" name="Forme libre : forme 322">
              <a:extLst>
                <a:ext uri="{FF2B5EF4-FFF2-40B4-BE49-F238E27FC236}">
                  <a16:creationId xmlns:a16="http://schemas.microsoft.com/office/drawing/2014/main" id="{247A35DD-1AE0-4F8F-91F1-39A539F5145A}"/>
                </a:ext>
              </a:extLst>
            </p:cNvPr>
            <p:cNvSpPr/>
            <p:nvPr/>
          </p:nvSpPr>
          <p:spPr>
            <a:xfrm rot="8716295">
              <a:off x="631713" y="12263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4" name="Forme libre : forme 323">
              <a:extLst>
                <a:ext uri="{FF2B5EF4-FFF2-40B4-BE49-F238E27FC236}">
                  <a16:creationId xmlns:a16="http://schemas.microsoft.com/office/drawing/2014/main" id="{B2057DA7-CDDF-43BB-8EAC-22466BE1F259}"/>
                </a:ext>
              </a:extLst>
            </p:cNvPr>
            <p:cNvSpPr/>
            <p:nvPr/>
          </p:nvSpPr>
          <p:spPr>
            <a:xfrm rot="8716295">
              <a:off x="721105" y="12555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5" name="Forme libre : forme 324">
              <a:extLst>
                <a:ext uri="{FF2B5EF4-FFF2-40B4-BE49-F238E27FC236}">
                  <a16:creationId xmlns:a16="http://schemas.microsoft.com/office/drawing/2014/main" id="{E77CA785-1459-4C27-B776-D857A8D4B013}"/>
                </a:ext>
              </a:extLst>
            </p:cNvPr>
            <p:cNvSpPr/>
            <p:nvPr/>
          </p:nvSpPr>
          <p:spPr>
            <a:xfrm rot="8716295">
              <a:off x="676255" y="116926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6" name="Forme libre : forme 325">
              <a:extLst>
                <a:ext uri="{FF2B5EF4-FFF2-40B4-BE49-F238E27FC236}">
                  <a16:creationId xmlns:a16="http://schemas.microsoft.com/office/drawing/2014/main" id="{D9BFC3E7-D875-4777-80CD-7BECEB16ED0F}"/>
                </a:ext>
              </a:extLst>
            </p:cNvPr>
            <p:cNvSpPr/>
            <p:nvPr/>
          </p:nvSpPr>
          <p:spPr>
            <a:xfrm rot="8716295">
              <a:off x="519479" y="13148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7" name="Forme libre : forme 326">
              <a:extLst>
                <a:ext uri="{FF2B5EF4-FFF2-40B4-BE49-F238E27FC236}">
                  <a16:creationId xmlns:a16="http://schemas.microsoft.com/office/drawing/2014/main" id="{E87C9BB6-CA72-4C32-8CA3-A029EC77D88B}"/>
                </a:ext>
              </a:extLst>
            </p:cNvPr>
            <p:cNvSpPr/>
            <p:nvPr/>
          </p:nvSpPr>
          <p:spPr>
            <a:xfrm rot="8716295">
              <a:off x="394576" y="11061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8" name="Forme libre : forme 327">
              <a:extLst>
                <a:ext uri="{FF2B5EF4-FFF2-40B4-BE49-F238E27FC236}">
                  <a16:creationId xmlns:a16="http://schemas.microsoft.com/office/drawing/2014/main" id="{40F6441D-9B69-4079-B1A2-720CB6BA2101}"/>
                </a:ext>
              </a:extLst>
            </p:cNvPr>
            <p:cNvSpPr/>
            <p:nvPr/>
          </p:nvSpPr>
          <p:spPr>
            <a:xfrm rot="8716295">
              <a:off x="382524" y="96739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9" name="Forme libre : forme 328">
              <a:extLst>
                <a:ext uri="{FF2B5EF4-FFF2-40B4-BE49-F238E27FC236}">
                  <a16:creationId xmlns:a16="http://schemas.microsoft.com/office/drawing/2014/main" id="{B832EB8F-3703-48E0-A315-AEFC6F1CBB35}"/>
                </a:ext>
              </a:extLst>
            </p:cNvPr>
            <p:cNvSpPr/>
            <p:nvPr/>
          </p:nvSpPr>
          <p:spPr>
            <a:xfrm rot="8716295">
              <a:off x="609657" y="135579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0" name="Forme libre : forme 329">
              <a:extLst>
                <a:ext uri="{FF2B5EF4-FFF2-40B4-BE49-F238E27FC236}">
                  <a16:creationId xmlns:a16="http://schemas.microsoft.com/office/drawing/2014/main" id="{763E69C5-E960-4417-A0EA-1ECCFB8C6C35}"/>
                </a:ext>
              </a:extLst>
            </p:cNvPr>
            <p:cNvSpPr/>
            <p:nvPr/>
          </p:nvSpPr>
          <p:spPr>
            <a:xfrm rot="8716295">
              <a:off x="920812" y="97615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1" name="Forme libre : forme 330">
              <a:extLst>
                <a:ext uri="{FF2B5EF4-FFF2-40B4-BE49-F238E27FC236}">
                  <a16:creationId xmlns:a16="http://schemas.microsoft.com/office/drawing/2014/main" id="{651DF2CF-FEA7-4A17-8C45-74CA1E1691C9}"/>
                </a:ext>
              </a:extLst>
            </p:cNvPr>
            <p:cNvSpPr/>
            <p:nvPr/>
          </p:nvSpPr>
          <p:spPr>
            <a:xfrm rot="8716295">
              <a:off x="1010204" y="100539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2" name="Forme libre : forme 331">
              <a:extLst>
                <a:ext uri="{FF2B5EF4-FFF2-40B4-BE49-F238E27FC236}">
                  <a16:creationId xmlns:a16="http://schemas.microsoft.com/office/drawing/2014/main" id="{F4BE6752-2F2B-4713-BCC2-F5A751451D2F}"/>
                </a:ext>
              </a:extLst>
            </p:cNvPr>
            <p:cNvSpPr/>
            <p:nvPr/>
          </p:nvSpPr>
          <p:spPr>
            <a:xfrm rot="8716295">
              <a:off x="808578" y="106469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3" name="Forme libre : forme 332">
              <a:extLst>
                <a:ext uri="{FF2B5EF4-FFF2-40B4-BE49-F238E27FC236}">
                  <a16:creationId xmlns:a16="http://schemas.microsoft.com/office/drawing/2014/main" id="{F0181337-48BC-4C6E-BF6A-EF75BA2ADF65}"/>
                </a:ext>
              </a:extLst>
            </p:cNvPr>
            <p:cNvSpPr/>
            <p:nvPr/>
          </p:nvSpPr>
          <p:spPr>
            <a:xfrm rot="8716295">
              <a:off x="683676" y="85602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4" name="Forme libre : forme 333">
              <a:extLst>
                <a:ext uri="{FF2B5EF4-FFF2-40B4-BE49-F238E27FC236}">
                  <a16:creationId xmlns:a16="http://schemas.microsoft.com/office/drawing/2014/main" id="{51A8FF0F-FF59-4E76-A691-2074D9AE597E}"/>
                </a:ext>
              </a:extLst>
            </p:cNvPr>
            <p:cNvSpPr/>
            <p:nvPr/>
          </p:nvSpPr>
          <p:spPr>
            <a:xfrm rot="8716295">
              <a:off x="898756" y="110564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5" name="Forme libre : forme 334">
              <a:extLst>
                <a:ext uri="{FF2B5EF4-FFF2-40B4-BE49-F238E27FC236}">
                  <a16:creationId xmlns:a16="http://schemas.microsoft.com/office/drawing/2014/main" id="{D5F2DBF7-EA5E-412E-BE60-C63CE87201BD}"/>
                </a:ext>
              </a:extLst>
            </p:cNvPr>
            <p:cNvSpPr/>
            <p:nvPr/>
          </p:nvSpPr>
          <p:spPr>
            <a:xfrm rot="8716295">
              <a:off x="657305" y="95604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6" name="Forme libre : forme 335">
              <a:extLst>
                <a:ext uri="{FF2B5EF4-FFF2-40B4-BE49-F238E27FC236}">
                  <a16:creationId xmlns:a16="http://schemas.microsoft.com/office/drawing/2014/main" id="{2B86FAAC-284E-4293-B3BE-662E153BEFE7}"/>
                </a:ext>
              </a:extLst>
            </p:cNvPr>
            <p:cNvSpPr/>
            <p:nvPr/>
          </p:nvSpPr>
          <p:spPr>
            <a:xfrm rot="7484129">
              <a:off x="1003687" y="129699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7" name="Forme libre : forme 336">
              <a:extLst>
                <a:ext uri="{FF2B5EF4-FFF2-40B4-BE49-F238E27FC236}">
                  <a16:creationId xmlns:a16="http://schemas.microsoft.com/office/drawing/2014/main" id="{F8C25AEA-BEFD-464B-AC86-4743BA580AF0}"/>
                </a:ext>
              </a:extLst>
            </p:cNvPr>
            <p:cNvSpPr/>
            <p:nvPr/>
          </p:nvSpPr>
          <p:spPr>
            <a:xfrm rot="13089394">
              <a:off x="1108507" y="1263531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8" name="Forme libre : forme 337">
              <a:extLst>
                <a:ext uri="{FF2B5EF4-FFF2-40B4-BE49-F238E27FC236}">
                  <a16:creationId xmlns:a16="http://schemas.microsoft.com/office/drawing/2014/main" id="{C5FC227C-CE0A-4B9A-BEB5-86A5822E13D2}"/>
                </a:ext>
              </a:extLst>
            </p:cNvPr>
            <p:cNvSpPr/>
            <p:nvPr/>
          </p:nvSpPr>
          <p:spPr>
            <a:xfrm rot="8716295">
              <a:off x="1294092" y="107185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9" name="Forme libre : forme 338">
              <a:extLst>
                <a:ext uri="{FF2B5EF4-FFF2-40B4-BE49-F238E27FC236}">
                  <a16:creationId xmlns:a16="http://schemas.microsoft.com/office/drawing/2014/main" id="{2AD54659-FB71-46D1-A755-0BCF081E050A}"/>
                </a:ext>
              </a:extLst>
            </p:cNvPr>
            <p:cNvSpPr/>
            <p:nvPr/>
          </p:nvSpPr>
          <p:spPr>
            <a:xfrm rot="8716295">
              <a:off x="1242287" y="96825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0" name="Forme libre : forme 339">
              <a:extLst>
                <a:ext uri="{FF2B5EF4-FFF2-40B4-BE49-F238E27FC236}">
                  <a16:creationId xmlns:a16="http://schemas.microsoft.com/office/drawing/2014/main" id="{EA0D1B29-AE82-4655-80DE-F5EADED15310}"/>
                </a:ext>
              </a:extLst>
            </p:cNvPr>
            <p:cNvSpPr/>
            <p:nvPr/>
          </p:nvSpPr>
          <p:spPr>
            <a:xfrm rot="8716295">
              <a:off x="999041" y="99847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1" name="Forme libre : forme 340">
              <a:extLst>
                <a:ext uri="{FF2B5EF4-FFF2-40B4-BE49-F238E27FC236}">
                  <a16:creationId xmlns:a16="http://schemas.microsoft.com/office/drawing/2014/main" id="{FE59AAF9-5326-4148-B75B-C59DBA653A58}"/>
                </a:ext>
              </a:extLst>
            </p:cNvPr>
            <p:cNvSpPr/>
            <p:nvPr/>
          </p:nvSpPr>
          <p:spPr>
            <a:xfrm rot="8716295">
              <a:off x="1176493" y="83923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2" name="Forme libre : forme 341">
              <a:extLst>
                <a:ext uri="{FF2B5EF4-FFF2-40B4-BE49-F238E27FC236}">
                  <a16:creationId xmlns:a16="http://schemas.microsoft.com/office/drawing/2014/main" id="{2B5ED39A-BA82-4FB9-B8D1-BFCBF5FCF8AB}"/>
                </a:ext>
              </a:extLst>
            </p:cNvPr>
            <p:cNvSpPr/>
            <p:nvPr/>
          </p:nvSpPr>
          <p:spPr>
            <a:xfrm rot="8716295">
              <a:off x="412774" y="56424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3" name="Forme libre : forme 342">
              <a:extLst>
                <a:ext uri="{FF2B5EF4-FFF2-40B4-BE49-F238E27FC236}">
                  <a16:creationId xmlns:a16="http://schemas.microsoft.com/office/drawing/2014/main" id="{EF04C128-AC77-4E99-970E-568F219D8A8C}"/>
                </a:ext>
              </a:extLst>
            </p:cNvPr>
            <p:cNvSpPr/>
            <p:nvPr/>
          </p:nvSpPr>
          <p:spPr>
            <a:xfrm rot="8716295">
              <a:off x="502166" y="59348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4" name="Forme libre : forme 343">
              <a:extLst>
                <a:ext uri="{FF2B5EF4-FFF2-40B4-BE49-F238E27FC236}">
                  <a16:creationId xmlns:a16="http://schemas.microsoft.com/office/drawing/2014/main" id="{35DEA77E-6D52-40CB-86CA-54607FDC07E9}"/>
                </a:ext>
              </a:extLst>
            </p:cNvPr>
            <p:cNvSpPr/>
            <p:nvPr/>
          </p:nvSpPr>
          <p:spPr>
            <a:xfrm rot="8716295">
              <a:off x="457316" y="50720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5" name="Forme libre : forme 344">
              <a:extLst>
                <a:ext uri="{FF2B5EF4-FFF2-40B4-BE49-F238E27FC236}">
                  <a16:creationId xmlns:a16="http://schemas.microsoft.com/office/drawing/2014/main" id="{7F83C78F-975E-4433-96C7-AC45753DC5C9}"/>
                </a:ext>
              </a:extLst>
            </p:cNvPr>
            <p:cNvSpPr/>
            <p:nvPr/>
          </p:nvSpPr>
          <p:spPr>
            <a:xfrm rot="8716295">
              <a:off x="300540" y="65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6" name="Forme libre : forme 345">
              <a:extLst>
                <a:ext uri="{FF2B5EF4-FFF2-40B4-BE49-F238E27FC236}">
                  <a16:creationId xmlns:a16="http://schemas.microsoft.com/office/drawing/2014/main" id="{FD3979A2-0F0A-4D64-B2D1-D790A7310394}"/>
                </a:ext>
              </a:extLst>
            </p:cNvPr>
            <p:cNvSpPr/>
            <p:nvPr/>
          </p:nvSpPr>
          <p:spPr>
            <a:xfrm rot="8716295">
              <a:off x="175637" y="44411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7" name="Forme libre : forme 346">
              <a:extLst>
                <a:ext uri="{FF2B5EF4-FFF2-40B4-BE49-F238E27FC236}">
                  <a16:creationId xmlns:a16="http://schemas.microsoft.com/office/drawing/2014/main" id="{AA76E107-EED2-43EE-909B-E95F465CE73B}"/>
                </a:ext>
              </a:extLst>
            </p:cNvPr>
            <p:cNvSpPr/>
            <p:nvPr/>
          </p:nvSpPr>
          <p:spPr>
            <a:xfrm rot="8716295">
              <a:off x="163585" y="30533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8" name="Forme libre : forme 347">
              <a:extLst>
                <a:ext uri="{FF2B5EF4-FFF2-40B4-BE49-F238E27FC236}">
                  <a16:creationId xmlns:a16="http://schemas.microsoft.com/office/drawing/2014/main" id="{B9BBA0BC-EEAF-493E-A940-F09587491C29}"/>
                </a:ext>
              </a:extLst>
            </p:cNvPr>
            <p:cNvSpPr/>
            <p:nvPr/>
          </p:nvSpPr>
          <p:spPr>
            <a:xfrm rot="8716295">
              <a:off x="390718" y="69374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9" name="Forme libre : forme 348">
              <a:extLst>
                <a:ext uri="{FF2B5EF4-FFF2-40B4-BE49-F238E27FC236}">
                  <a16:creationId xmlns:a16="http://schemas.microsoft.com/office/drawing/2014/main" id="{C8D30F56-4A06-4C10-B3F2-60FAA4FF4FB6}"/>
                </a:ext>
              </a:extLst>
            </p:cNvPr>
            <p:cNvSpPr/>
            <p:nvPr/>
          </p:nvSpPr>
          <p:spPr>
            <a:xfrm rot="8716295">
              <a:off x="701873" y="31409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0" name="Forme libre : forme 349">
              <a:extLst>
                <a:ext uri="{FF2B5EF4-FFF2-40B4-BE49-F238E27FC236}">
                  <a16:creationId xmlns:a16="http://schemas.microsoft.com/office/drawing/2014/main" id="{5C6936A8-9A95-4204-9D28-D9B75C140322}"/>
                </a:ext>
              </a:extLst>
            </p:cNvPr>
            <p:cNvSpPr/>
            <p:nvPr/>
          </p:nvSpPr>
          <p:spPr>
            <a:xfrm rot="8716295">
              <a:off x="791265" y="34333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1" name="Forme libre : forme 350">
              <a:extLst>
                <a:ext uri="{FF2B5EF4-FFF2-40B4-BE49-F238E27FC236}">
                  <a16:creationId xmlns:a16="http://schemas.microsoft.com/office/drawing/2014/main" id="{FFF2D367-BA47-4EF1-A7BB-098E80C21CBE}"/>
                </a:ext>
              </a:extLst>
            </p:cNvPr>
            <p:cNvSpPr/>
            <p:nvPr/>
          </p:nvSpPr>
          <p:spPr>
            <a:xfrm rot="8716295">
              <a:off x="589639" y="40263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2" name="Forme libre : forme 351">
              <a:extLst>
                <a:ext uri="{FF2B5EF4-FFF2-40B4-BE49-F238E27FC236}">
                  <a16:creationId xmlns:a16="http://schemas.microsoft.com/office/drawing/2014/main" id="{449281FC-8C05-45F5-BEE0-D74C1D2991A0}"/>
                </a:ext>
              </a:extLst>
            </p:cNvPr>
            <p:cNvSpPr/>
            <p:nvPr/>
          </p:nvSpPr>
          <p:spPr>
            <a:xfrm rot="8716295">
              <a:off x="464737" y="19396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3" name="Forme libre : forme 352">
              <a:extLst>
                <a:ext uri="{FF2B5EF4-FFF2-40B4-BE49-F238E27FC236}">
                  <a16:creationId xmlns:a16="http://schemas.microsoft.com/office/drawing/2014/main" id="{AC76B493-44A9-4110-A979-E79DA2DAD0EF}"/>
                </a:ext>
              </a:extLst>
            </p:cNvPr>
            <p:cNvSpPr/>
            <p:nvPr/>
          </p:nvSpPr>
          <p:spPr>
            <a:xfrm rot="8716295">
              <a:off x="679817" y="44358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4" name="Forme libre : forme 353">
              <a:extLst>
                <a:ext uri="{FF2B5EF4-FFF2-40B4-BE49-F238E27FC236}">
                  <a16:creationId xmlns:a16="http://schemas.microsoft.com/office/drawing/2014/main" id="{A1E49731-9881-455E-A515-C358862DEBAE}"/>
                </a:ext>
              </a:extLst>
            </p:cNvPr>
            <p:cNvSpPr/>
            <p:nvPr/>
          </p:nvSpPr>
          <p:spPr>
            <a:xfrm rot="8716295">
              <a:off x="438366" y="29398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5" name="Forme libre : forme 354">
              <a:extLst>
                <a:ext uri="{FF2B5EF4-FFF2-40B4-BE49-F238E27FC236}">
                  <a16:creationId xmlns:a16="http://schemas.microsoft.com/office/drawing/2014/main" id="{8204F475-BA32-42D6-B48D-2BEE0C6DF622}"/>
                </a:ext>
              </a:extLst>
            </p:cNvPr>
            <p:cNvSpPr/>
            <p:nvPr/>
          </p:nvSpPr>
          <p:spPr>
            <a:xfrm rot="7484129">
              <a:off x="784748" y="63493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6" name="Forme libre : forme 355">
              <a:extLst>
                <a:ext uri="{FF2B5EF4-FFF2-40B4-BE49-F238E27FC236}">
                  <a16:creationId xmlns:a16="http://schemas.microsoft.com/office/drawing/2014/main" id="{3407396E-8B17-4E89-82BB-C091E11448DB}"/>
                </a:ext>
              </a:extLst>
            </p:cNvPr>
            <p:cNvSpPr/>
            <p:nvPr/>
          </p:nvSpPr>
          <p:spPr>
            <a:xfrm rot="13089394">
              <a:off x="889568" y="60147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7" name="Forme libre : forme 356">
              <a:extLst>
                <a:ext uri="{FF2B5EF4-FFF2-40B4-BE49-F238E27FC236}">
                  <a16:creationId xmlns:a16="http://schemas.microsoft.com/office/drawing/2014/main" id="{27719725-2BB1-4B94-8AC6-F116861C62F1}"/>
                </a:ext>
              </a:extLst>
            </p:cNvPr>
            <p:cNvSpPr/>
            <p:nvPr/>
          </p:nvSpPr>
          <p:spPr>
            <a:xfrm rot="8716295">
              <a:off x="1075153" y="40979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8" name="Forme libre : forme 357">
              <a:extLst>
                <a:ext uri="{FF2B5EF4-FFF2-40B4-BE49-F238E27FC236}">
                  <a16:creationId xmlns:a16="http://schemas.microsoft.com/office/drawing/2014/main" id="{43C5E8C2-1177-4638-AAC9-C608290C6D73}"/>
                </a:ext>
              </a:extLst>
            </p:cNvPr>
            <p:cNvSpPr/>
            <p:nvPr/>
          </p:nvSpPr>
          <p:spPr>
            <a:xfrm rot="8716295">
              <a:off x="1023348" y="30619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9" name="Forme libre : forme 358">
              <a:extLst>
                <a:ext uri="{FF2B5EF4-FFF2-40B4-BE49-F238E27FC236}">
                  <a16:creationId xmlns:a16="http://schemas.microsoft.com/office/drawing/2014/main" id="{66F400C8-484F-4AA9-9E69-F9DA598D65AC}"/>
                </a:ext>
              </a:extLst>
            </p:cNvPr>
            <p:cNvSpPr/>
            <p:nvPr/>
          </p:nvSpPr>
          <p:spPr>
            <a:xfrm rot="8716295">
              <a:off x="780102" y="336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0" name="Forme libre : forme 359">
              <a:extLst>
                <a:ext uri="{FF2B5EF4-FFF2-40B4-BE49-F238E27FC236}">
                  <a16:creationId xmlns:a16="http://schemas.microsoft.com/office/drawing/2014/main" id="{FD3344B4-1783-4AD8-8B1E-198B5BC45770}"/>
                </a:ext>
              </a:extLst>
            </p:cNvPr>
            <p:cNvSpPr/>
            <p:nvPr/>
          </p:nvSpPr>
          <p:spPr>
            <a:xfrm rot="8716295">
              <a:off x="957554" y="17717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1" name="Forme libre : forme 360">
              <a:extLst>
                <a:ext uri="{FF2B5EF4-FFF2-40B4-BE49-F238E27FC236}">
                  <a16:creationId xmlns:a16="http://schemas.microsoft.com/office/drawing/2014/main" id="{B1F20E97-7F16-49D8-A491-FB12C97898BA}"/>
                </a:ext>
              </a:extLst>
            </p:cNvPr>
            <p:cNvSpPr/>
            <p:nvPr/>
          </p:nvSpPr>
          <p:spPr>
            <a:xfrm rot="8716295">
              <a:off x="202348" y="-57106"/>
              <a:ext cx="142167" cy="186494"/>
            </a:xfrm>
            <a:custGeom>
              <a:avLst/>
              <a:gdLst>
                <a:gd name="connsiteX0" fmla="*/ 142167 w 142167"/>
                <a:gd name="connsiteY0" fmla="*/ 186494 h 186494"/>
                <a:gd name="connsiteX1" fmla="*/ 81108 w 142167"/>
                <a:gd name="connsiteY1" fmla="*/ 144170 h 186494"/>
                <a:gd name="connsiteX2" fmla="*/ 81108 w 142167"/>
                <a:gd name="connsiteY2" fmla="*/ 69717 h 186494"/>
                <a:gd name="connsiteX3" fmla="*/ 81108 w 142167"/>
                <a:gd name="connsiteY3" fmla="*/ 65615 h 186494"/>
                <a:gd name="connsiteX4" fmla="*/ 60603 w 142167"/>
                <a:gd name="connsiteY4" fmla="*/ 50123 h 186494"/>
                <a:gd name="connsiteX5" fmla="*/ 0 w 142167"/>
                <a:gd name="connsiteY5" fmla="*/ 50123 h 186494"/>
                <a:gd name="connsiteX6" fmla="*/ 0 w 142167"/>
                <a:gd name="connsiteY6" fmla="*/ 0 h 186494"/>
                <a:gd name="connsiteX7" fmla="*/ 85209 w 142167"/>
                <a:gd name="connsiteY7" fmla="*/ 0 h 186494"/>
                <a:gd name="connsiteX8" fmla="*/ 142167 w 142167"/>
                <a:gd name="connsiteY8" fmla="*/ 50123 h 186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86494">
                  <a:moveTo>
                    <a:pt x="142167" y="186494"/>
                  </a:moveTo>
                  <a:lnTo>
                    <a:pt x="81108" y="144170"/>
                  </a:lnTo>
                  <a:lnTo>
                    <a:pt x="81108" y="69717"/>
                  </a:lnTo>
                  <a:cubicBezTo>
                    <a:pt x="81108" y="68349"/>
                    <a:pt x="81108" y="66983"/>
                    <a:pt x="81108" y="65615"/>
                  </a:cubicBezTo>
                  <a:cubicBezTo>
                    <a:pt x="79741" y="55591"/>
                    <a:pt x="70628" y="48756"/>
                    <a:pt x="60603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2" name="Forme libre : forme 361">
              <a:extLst>
                <a:ext uri="{FF2B5EF4-FFF2-40B4-BE49-F238E27FC236}">
                  <a16:creationId xmlns:a16="http://schemas.microsoft.com/office/drawing/2014/main" id="{627DF55A-0BF9-412B-B088-58C19C1BDCF8}"/>
                </a:ext>
              </a:extLst>
            </p:cNvPr>
            <p:cNvSpPr/>
            <p:nvPr/>
          </p:nvSpPr>
          <p:spPr>
            <a:xfrm rot="8716295">
              <a:off x="298766" y="-5395"/>
              <a:ext cx="260639" cy="180054"/>
            </a:xfrm>
            <a:custGeom>
              <a:avLst/>
              <a:gdLst>
                <a:gd name="connsiteX0" fmla="*/ 111638 w 260639"/>
                <a:gd name="connsiteY0" fmla="*/ 180054 h 180054"/>
                <a:gd name="connsiteX1" fmla="*/ 51490 w 260639"/>
                <a:gd name="connsiteY1" fmla="*/ 138362 h 180054"/>
                <a:gd name="connsiteX2" fmla="*/ 51490 w 260639"/>
                <a:gd name="connsiteY2" fmla="*/ 45624 h 180054"/>
                <a:gd name="connsiteX3" fmla="*/ 0 w 260639"/>
                <a:gd name="connsiteY3" fmla="*/ 45624 h 180054"/>
                <a:gd name="connsiteX4" fmla="*/ 0 w 260639"/>
                <a:gd name="connsiteY4" fmla="*/ 1425 h 180054"/>
                <a:gd name="connsiteX5" fmla="*/ 104802 w 260639"/>
                <a:gd name="connsiteY5" fmla="*/ 1425 h 180054"/>
                <a:gd name="connsiteX6" fmla="*/ 104802 w 260639"/>
                <a:gd name="connsiteY6" fmla="*/ 75242 h 180054"/>
                <a:gd name="connsiteX7" fmla="*/ 106169 w 260639"/>
                <a:gd name="connsiteY7" fmla="*/ 75242 h 180054"/>
                <a:gd name="connsiteX8" fmla="*/ 154014 w 260639"/>
                <a:gd name="connsiteY8" fmla="*/ 5981 h 180054"/>
                <a:gd name="connsiteX9" fmla="*/ 185455 w 260639"/>
                <a:gd name="connsiteY9" fmla="*/ 57 h 180054"/>
                <a:gd name="connsiteX10" fmla="*/ 260639 w 260639"/>
                <a:gd name="connsiteY10" fmla="*/ 88456 h 180054"/>
                <a:gd name="connsiteX11" fmla="*/ 260639 w 260639"/>
                <a:gd name="connsiteY11" fmla="*/ 94380 h 180054"/>
                <a:gd name="connsiteX12" fmla="*/ 198669 w 260639"/>
                <a:gd name="connsiteY12" fmla="*/ 98025 h 180054"/>
                <a:gd name="connsiteX13" fmla="*/ 198669 w 260639"/>
                <a:gd name="connsiteY13" fmla="*/ 81621 h 180054"/>
                <a:gd name="connsiteX14" fmla="*/ 164950 w 260639"/>
                <a:gd name="connsiteY14" fmla="*/ 40156 h 180054"/>
                <a:gd name="connsiteX15" fmla="*/ 111638 w 260639"/>
                <a:gd name="connsiteY15" fmla="*/ 127643 h 180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0639" h="180054">
                  <a:moveTo>
                    <a:pt x="111638" y="180054"/>
                  </a:moveTo>
                  <a:lnTo>
                    <a:pt x="51490" y="138362"/>
                  </a:ln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3" name="Forme libre : forme 362">
              <a:extLst>
                <a:ext uri="{FF2B5EF4-FFF2-40B4-BE49-F238E27FC236}">
                  <a16:creationId xmlns:a16="http://schemas.microsoft.com/office/drawing/2014/main" id="{B1CC1170-12B9-42E7-B048-36951089B415}"/>
                </a:ext>
              </a:extLst>
            </p:cNvPr>
            <p:cNvSpPr/>
            <p:nvPr/>
          </p:nvSpPr>
          <p:spPr>
            <a:xfrm rot="8716295">
              <a:off x="276903" y="-12823"/>
              <a:ext cx="36272" cy="27982"/>
            </a:xfrm>
            <a:custGeom>
              <a:avLst/>
              <a:gdLst>
                <a:gd name="connsiteX0" fmla="*/ 36272 w 36272"/>
                <a:gd name="connsiteY0" fmla="*/ 27982 h 27982"/>
                <a:gd name="connsiteX1" fmla="*/ 0 w 36272"/>
                <a:gd name="connsiteY1" fmla="*/ 2840 h 27982"/>
                <a:gd name="connsiteX2" fmla="*/ 9543 w 36272"/>
                <a:gd name="connsiteY2" fmla="*/ 0 h 27982"/>
                <a:gd name="connsiteX3" fmla="*/ 31871 w 36272"/>
                <a:gd name="connsiteY3" fmla="*/ 11392 h 27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272" h="27982">
                  <a:moveTo>
                    <a:pt x="36272" y="27982"/>
                  </a:moveTo>
                  <a:lnTo>
                    <a:pt x="0" y="2840"/>
                  </a:lnTo>
                  <a:lnTo>
                    <a:pt x="9543" y="0"/>
                  </a:lnTo>
                  <a:cubicBezTo>
                    <a:pt x="20479" y="0"/>
                    <a:pt x="27542" y="4784"/>
                    <a:pt x="31871" y="113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4" name="Forme libre : forme 363">
              <a:extLst>
                <a:ext uri="{FF2B5EF4-FFF2-40B4-BE49-F238E27FC236}">
                  <a16:creationId xmlns:a16="http://schemas.microsoft.com/office/drawing/2014/main" id="{E033BF19-7D8B-489E-8421-40953085A3CD}"/>
                </a:ext>
              </a:extLst>
            </p:cNvPr>
            <p:cNvSpPr/>
            <p:nvPr/>
          </p:nvSpPr>
          <p:spPr>
            <a:xfrm rot="8716295">
              <a:off x="74640" y="-9665"/>
              <a:ext cx="58068" cy="54772"/>
            </a:xfrm>
            <a:custGeom>
              <a:avLst/>
              <a:gdLst>
                <a:gd name="connsiteX0" fmla="*/ 37436 w 58068"/>
                <a:gd name="connsiteY0" fmla="*/ 54772 h 54772"/>
                <a:gd name="connsiteX1" fmla="*/ 0 w 58068"/>
                <a:gd name="connsiteY1" fmla="*/ 28823 h 54772"/>
                <a:gd name="connsiteX2" fmla="*/ 8515 w 58068"/>
                <a:gd name="connsiteY2" fmla="*/ 8658 h 54772"/>
                <a:gd name="connsiteX3" fmla="*/ 29020 w 58068"/>
                <a:gd name="connsiteY3" fmla="*/ 0 h 54772"/>
                <a:gd name="connsiteX4" fmla="*/ 49525 w 58068"/>
                <a:gd name="connsiteY4" fmla="*/ 8658 h 54772"/>
                <a:gd name="connsiteX5" fmla="*/ 49525 w 58068"/>
                <a:gd name="connsiteY5" fmla="*/ 49668 h 5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068" h="54772">
                  <a:moveTo>
                    <a:pt x="37436" y="54772"/>
                  </a:moveTo>
                  <a:lnTo>
                    <a:pt x="0" y="28823"/>
                  </a:lnTo>
                  <a:lnTo>
                    <a:pt x="8515" y="8658"/>
                  </a:lnTo>
                  <a:cubicBezTo>
                    <a:pt x="13983" y="3190"/>
                    <a:pt x="21273" y="0"/>
                    <a:pt x="29020" y="0"/>
                  </a:cubicBezTo>
                  <a:cubicBezTo>
                    <a:pt x="36766" y="0"/>
                    <a:pt x="44057" y="3190"/>
                    <a:pt x="49525" y="8658"/>
                  </a:cubicBezTo>
                  <a:cubicBezTo>
                    <a:pt x="60916" y="19594"/>
                    <a:pt x="60916" y="38276"/>
                    <a:pt x="49525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5" name="Forme libre : forme 364">
              <a:extLst>
                <a:ext uri="{FF2B5EF4-FFF2-40B4-BE49-F238E27FC236}">
                  <a16:creationId xmlns:a16="http://schemas.microsoft.com/office/drawing/2014/main" id="{CB7A744C-FCCB-4B93-9898-2A2B2B95BBB6}"/>
                </a:ext>
              </a:extLst>
            </p:cNvPr>
            <p:cNvSpPr/>
            <p:nvPr/>
          </p:nvSpPr>
          <p:spPr>
            <a:xfrm rot="8716295">
              <a:off x="13802" y="-10406"/>
              <a:ext cx="30027" cy="20814"/>
            </a:xfrm>
            <a:custGeom>
              <a:avLst/>
              <a:gdLst>
                <a:gd name="connsiteX0" fmla="*/ 30027 w 30027"/>
                <a:gd name="connsiteY0" fmla="*/ 20814 h 20814"/>
                <a:gd name="connsiteX1" fmla="*/ 0 w 30027"/>
                <a:gd name="connsiteY1" fmla="*/ 0 h 20814"/>
                <a:gd name="connsiteX2" fmla="*/ 30027 w 30027"/>
                <a:gd name="connsiteY2" fmla="*/ 0 h 20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027" h="20814">
                  <a:moveTo>
                    <a:pt x="30027" y="20814"/>
                  </a:moveTo>
                  <a:lnTo>
                    <a:pt x="0" y="0"/>
                  </a:lnTo>
                  <a:lnTo>
                    <a:pt x="3002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6" name="Forme libre : forme 365">
              <a:extLst>
                <a:ext uri="{FF2B5EF4-FFF2-40B4-BE49-F238E27FC236}">
                  <a16:creationId xmlns:a16="http://schemas.microsoft.com/office/drawing/2014/main" id="{A7508798-38A9-48C7-9AA8-5A92078CC84B}"/>
                </a:ext>
              </a:extLst>
            </p:cNvPr>
            <p:cNvSpPr/>
            <p:nvPr/>
          </p:nvSpPr>
          <p:spPr>
            <a:xfrm rot="8716295">
              <a:off x="168048" y="3032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7" name="Forme libre : forme 366">
              <a:extLst>
                <a:ext uri="{FF2B5EF4-FFF2-40B4-BE49-F238E27FC236}">
                  <a16:creationId xmlns:a16="http://schemas.microsoft.com/office/drawing/2014/main" id="{0E351C93-E018-436B-9326-CEDEA386B63D}"/>
                </a:ext>
              </a:extLst>
            </p:cNvPr>
            <p:cNvSpPr/>
            <p:nvPr/>
          </p:nvSpPr>
          <p:spPr>
            <a:xfrm rot="7484129">
              <a:off x="562078" y="-284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8" name="Forme libre : forme 367">
              <a:extLst>
                <a:ext uri="{FF2B5EF4-FFF2-40B4-BE49-F238E27FC236}">
                  <a16:creationId xmlns:a16="http://schemas.microsoft.com/office/drawing/2014/main" id="{BDEF799B-C934-4303-874D-CB44161BDCB0}"/>
                </a:ext>
              </a:extLst>
            </p:cNvPr>
            <p:cNvSpPr/>
            <p:nvPr/>
          </p:nvSpPr>
          <p:spPr>
            <a:xfrm rot="13089394">
              <a:off x="775514" y="-27038"/>
              <a:ext cx="149688" cy="328219"/>
            </a:xfrm>
            <a:custGeom>
              <a:avLst/>
              <a:gdLst>
                <a:gd name="connsiteX0" fmla="*/ 149688 w 149688"/>
                <a:gd name="connsiteY0" fmla="*/ 279622 h 328219"/>
                <a:gd name="connsiteX1" fmla="*/ 87835 w 149688"/>
                <a:gd name="connsiteY1" fmla="*/ 328219 h 328219"/>
                <a:gd name="connsiteX2" fmla="*/ 54765 w 149688"/>
                <a:gd name="connsiteY2" fmla="*/ 322521 h 328219"/>
                <a:gd name="connsiteX3" fmla="*/ 23727 w 149688"/>
                <a:gd name="connsiteY3" fmla="*/ 301277 h 328219"/>
                <a:gd name="connsiteX4" fmla="*/ 0 w 149688"/>
                <a:gd name="connsiteY4" fmla="*/ 206369 h 328219"/>
                <a:gd name="connsiteX5" fmla="*/ 0 w 149688"/>
                <a:gd name="connsiteY5" fmla="*/ 38074 h 328219"/>
                <a:gd name="connsiteX6" fmla="*/ 73388 w 149688"/>
                <a:gd name="connsiteY6" fmla="*/ 0 h 328219"/>
                <a:gd name="connsiteX7" fmla="*/ 74492 w 149688"/>
                <a:gd name="connsiteY7" fmla="*/ 153950 h 328219"/>
                <a:gd name="connsiteX8" fmla="*/ 87734 w 149688"/>
                <a:gd name="connsiteY8" fmla="*/ 245547 h 328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9688" h="328219">
                  <a:moveTo>
                    <a:pt x="149688" y="279622"/>
                  </a:moveTo>
                  <a:lnTo>
                    <a:pt x="87835" y="328219"/>
                  </a:lnTo>
                  <a:lnTo>
                    <a:pt x="54765" y="322521"/>
                  </a:lnTo>
                  <a:cubicBezTo>
                    <a:pt x="43178" y="317693"/>
                    <a:pt x="32555" y="310382"/>
                    <a:pt x="23727" y="301277"/>
                  </a:cubicBezTo>
                  <a:cubicBezTo>
                    <a:pt x="4966" y="283069"/>
                    <a:pt x="0" y="251616"/>
                    <a:pt x="0" y="206369"/>
                  </a:cubicBez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2836" y="184850"/>
                    <a:pt x="77802" y="216302"/>
                    <a:pt x="87734" y="2455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9" name="Forme libre : forme 368">
              <a:extLst>
                <a:ext uri="{FF2B5EF4-FFF2-40B4-BE49-F238E27FC236}">
                  <a16:creationId xmlns:a16="http://schemas.microsoft.com/office/drawing/2014/main" id="{85452057-F6AF-4671-A171-74C9DE20E061}"/>
                </a:ext>
              </a:extLst>
            </p:cNvPr>
            <p:cNvSpPr/>
            <p:nvPr/>
          </p:nvSpPr>
          <p:spPr>
            <a:xfrm rot="8716295">
              <a:off x="3366575" y="56973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0" name="Forme libre : forme 369">
              <a:extLst>
                <a:ext uri="{FF2B5EF4-FFF2-40B4-BE49-F238E27FC236}">
                  <a16:creationId xmlns:a16="http://schemas.microsoft.com/office/drawing/2014/main" id="{0B76C80E-592A-400D-A327-9F0390D4B3C2}"/>
                </a:ext>
              </a:extLst>
            </p:cNvPr>
            <p:cNvSpPr/>
            <p:nvPr/>
          </p:nvSpPr>
          <p:spPr>
            <a:xfrm rot="8716295">
              <a:off x="3237162" y="360980"/>
              <a:ext cx="203847" cy="195873"/>
            </a:xfrm>
            <a:custGeom>
              <a:avLst/>
              <a:gdLst>
                <a:gd name="connsiteX0" fmla="*/ 90710 w 203847"/>
                <a:gd name="connsiteY0" fmla="*/ 195873 h 195873"/>
                <a:gd name="connsiteX1" fmla="*/ 47847 w 203847"/>
                <a:gd name="connsiteY1" fmla="*/ 116129 h 195873"/>
                <a:gd name="connsiteX2" fmla="*/ 69777 w 203847"/>
                <a:gd name="connsiteY2" fmla="*/ 55323 h 195873"/>
                <a:gd name="connsiteX3" fmla="*/ 0 w 203847"/>
                <a:gd name="connsiteY3" fmla="*/ 55323 h 195873"/>
                <a:gd name="connsiteX4" fmla="*/ 0 w 203847"/>
                <a:gd name="connsiteY4" fmla="*/ 52719 h 195873"/>
                <a:gd name="connsiteX5" fmla="*/ 43605 w 203847"/>
                <a:gd name="connsiteY5" fmla="*/ 0 h 195873"/>
                <a:gd name="connsiteX6" fmla="*/ 203847 w 203847"/>
                <a:gd name="connsiteY6" fmla="*/ 0 h 195873"/>
                <a:gd name="connsiteX7" fmla="*/ 203847 w 203847"/>
                <a:gd name="connsiteY7" fmla="*/ 55323 h 195873"/>
                <a:gd name="connsiteX8" fmla="*/ 139055 w 203847"/>
                <a:gd name="connsiteY8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3">
                  <a:moveTo>
                    <a:pt x="90710" y="195873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52719"/>
                  </a:lnTo>
                  <a:lnTo>
                    <a:pt x="43605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1" name="Forme libre : forme 370">
              <a:extLst>
                <a:ext uri="{FF2B5EF4-FFF2-40B4-BE49-F238E27FC236}">
                  <a16:creationId xmlns:a16="http://schemas.microsoft.com/office/drawing/2014/main" id="{5150644E-4F20-423C-8383-236544837AE7}"/>
                </a:ext>
              </a:extLst>
            </p:cNvPr>
            <p:cNvSpPr/>
            <p:nvPr/>
          </p:nvSpPr>
          <p:spPr>
            <a:xfrm rot="8716295">
              <a:off x="3189574" y="231224"/>
              <a:ext cx="290249" cy="221342"/>
            </a:xfrm>
            <a:custGeom>
              <a:avLst/>
              <a:gdLst>
                <a:gd name="connsiteX0" fmla="*/ 24905 w 290249"/>
                <a:gd name="connsiteY0" fmla="*/ 191751 h 221342"/>
                <a:gd name="connsiteX1" fmla="*/ 4754 w 290249"/>
                <a:gd name="connsiteY1" fmla="*/ 151964 h 221342"/>
                <a:gd name="connsiteX2" fmla="*/ 0 w 290249"/>
                <a:gd name="connsiteY2" fmla="*/ 95252 h 221342"/>
                <a:gd name="connsiteX3" fmla="*/ 78785 w 290249"/>
                <a:gd name="connsiteY3" fmla="*/ 0 h 221342"/>
                <a:gd name="connsiteX4" fmla="*/ 79033 w 290249"/>
                <a:gd name="connsiteY4" fmla="*/ 34662 h 221342"/>
                <a:gd name="connsiteX5" fmla="*/ 93153 w 290249"/>
                <a:gd name="connsiteY5" fmla="*/ 132328 h 221342"/>
                <a:gd name="connsiteX6" fmla="*/ 163754 w 290249"/>
                <a:gd name="connsiteY6" fmla="*/ 171159 h 221342"/>
                <a:gd name="connsiteX7" fmla="*/ 216706 w 290249"/>
                <a:gd name="connsiteY7" fmla="*/ 161745 h 221342"/>
                <a:gd name="connsiteX8" fmla="*/ 289073 w 290249"/>
                <a:gd name="connsiteY8" fmla="*/ 132328 h 221342"/>
                <a:gd name="connsiteX9" fmla="*/ 290249 w 290249"/>
                <a:gd name="connsiteY9" fmla="*/ 139976 h 221342"/>
                <a:gd name="connsiteX10" fmla="*/ 290249 w 290249"/>
                <a:gd name="connsiteY10" fmla="*/ 145860 h 221342"/>
                <a:gd name="connsiteX11" fmla="*/ 97272 w 290249"/>
                <a:gd name="connsiteY11" fmla="*/ 221168 h 221342"/>
                <a:gd name="connsiteX12" fmla="*/ 24905 w 290249"/>
                <a:gd name="connsiteY12" fmla="*/ 191751 h 221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0249" h="221342">
                  <a:moveTo>
                    <a:pt x="24905" y="191751"/>
                  </a:moveTo>
                  <a:cubicBezTo>
                    <a:pt x="14903" y="182043"/>
                    <a:pt x="8578" y="168805"/>
                    <a:pt x="4754" y="151964"/>
                  </a:cubicBezTo>
                  <a:lnTo>
                    <a:pt x="0" y="95252"/>
                  </a:lnTo>
                  <a:lnTo>
                    <a:pt x="78785" y="0"/>
                  </a:lnTo>
                  <a:lnTo>
                    <a:pt x="79033" y="34662"/>
                  </a:lnTo>
                  <a:cubicBezTo>
                    <a:pt x="77268" y="67610"/>
                    <a:pt x="82563" y="101145"/>
                    <a:pt x="93153" y="132328"/>
                  </a:cubicBezTo>
                  <a:cubicBezTo>
                    <a:pt x="102567" y="158215"/>
                    <a:pt x="126689" y="171159"/>
                    <a:pt x="163754" y="171159"/>
                  </a:cubicBezTo>
                  <a:cubicBezTo>
                    <a:pt x="181994" y="170570"/>
                    <a:pt x="199644" y="167040"/>
                    <a:pt x="216706" y="161745"/>
                  </a:cubicBezTo>
                  <a:cubicBezTo>
                    <a:pt x="241416" y="154096"/>
                    <a:pt x="265539" y="144095"/>
                    <a:pt x="289073" y="132328"/>
                  </a:cubicBezTo>
                  <a:cubicBezTo>
                    <a:pt x="289661" y="134681"/>
                    <a:pt x="290249" y="137623"/>
                    <a:pt x="290249" y="139976"/>
                  </a:cubicBezTo>
                  <a:lnTo>
                    <a:pt x="290249" y="145860"/>
                  </a:lnTo>
                  <a:cubicBezTo>
                    <a:pt x="227885" y="199399"/>
                    <a:pt x="146104" y="218227"/>
                    <a:pt x="97272" y="221168"/>
                  </a:cubicBezTo>
                  <a:cubicBezTo>
                    <a:pt x="70208" y="222933"/>
                    <a:pt x="43732" y="211166"/>
                    <a:pt x="24905" y="19175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2" name="Forme libre : forme 371">
              <a:extLst>
                <a:ext uri="{FF2B5EF4-FFF2-40B4-BE49-F238E27FC236}">
                  <a16:creationId xmlns:a16="http://schemas.microsoft.com/office/drawing/2014/main" id="{9266C455-B545-49CA-BF30-2607C744AB8E}"/>
                </a:ext>
              </a:extLst>
            </p:cNvPr>
            <p:cNvSpPr/>
            <p:nvPr/>
          </p:nvSpPr>
          <p:spPr>
            <a:xfrm rot="8716295">
              <a:off x="3411629" y="650113"/>
              <a:ext cx="21023" cy="45645"/>
            </a:xfrm>
            <a:custGeom>
              <a:avLst/>
              <a:gdLst>
                <a:gd name="connsiteX0" fmla="*/ 21023 w 21023"/>
                <a:gd name="connsiteY0" fmla="*/ 45645 h 45645"/>
                <a:gd name="connsiteX1" fmla="*/ 0 w 21023"/>
                <a:gd name="connsiteY1" fmla="*/ 25418 h 45645"/>
                <a:gd name="connsiteX2" fmla="*/ 21023 w 21023"/>
                <a:gd name="connsiteY2" fmla="*/ 0 h 4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023" h="45645">
                  <a:moveTo>
                    <a:pt x="21023" y="45645"/>
                  </a:moveTo>
                  <a:lnTo>
                    <a:pt x="0" y="25418"/>
                  </a:lnTo>
                  <a:lnTo>
                    <a:pt x="2102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3" name="Forme libre : forme 372">
              <a:extLst>
                <a:ext uri="{FF2B5EF4-FFF2-40B4-BE49-F238E27FC236}">
                  <a16:creationId xmlns:a16="http://schemas.microsoft.com/office/drawing/2014/main" id="{8A8C4152-A6DA-4079-AA7F-C7451551470E}"/>
                </a:ext>
              </a:extLst>
            </p:cNvPr>
            <p:cNvSpPr/>
            <p:nvPr/>
          </p:nvSpPr>
          <p:spPr>
            <a:xfrm rot="8716295">
              <a:off x="3298850" y="-42720"/>
              <a:ext cx="123263" cy="85442"/>
            </a:xfrm>
            <a:custGeom>
              <a:avLst/>
              <a:gdLst>
                <a:gd name="connsiteX0" fmla="*/ 123263 w 123263"/>
                <a:gd name="connsiteY0" fmla="*/ 85442 h 85442"/>
                <a:gd name="connsiteX1" fmla="*/ 0 w 123263"/>
                <a:gd name="connsiteY1" fmla="*/ 0 h 85442"/>
                <a:gd name="connsiteX2" fmla="*/ 66305 w 123263"/>
                <a:gd name="connsiteY2" fmla="*/ 0 h 85442"/>
                <a:gd name="connsiteX3" fmla="*/ 123263 w 123263"/>
                <a:gd name="connsiteY3" fmla="*/ 50123 h 85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63" h="85442">
                  <a:moveTo>
                    <a:pt x="123263" y="85442"/>
                  </a:moveTo>
                  <a:lnTo>
                    <a:pt x="0" y="0"/>
                  </a:lnTo>
                  <a:lnTo>
                    <a:pt x="66305" y="0"/>
                  </a:lnTo>
                  <a:cubicBezTo>
                    <a:pt x="103214" y="0"/>
                    <a:pt x="123263" y="15948"/>
                    <a:pt x="123263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4" name="Forme libre : forme 373">
              <a:extLst>
                <a:ext uri="{FF2B5EF4-FFF2-40B4-BE49-F238E27FC236}">
                  <a16:creationId xmlns:a16="http://schemas.microsoft.com/office/drawing/2014/main" id="{A339289A-5EC3-49A9-9A48-D86927329ED5}"/>
                </a:ext>
              </a:extLst>
            </p:cNvPr>
            <p:cNvSpPr/>
            <p:nvPr/>
          </p:nvSpPr>
          <p:spPr>
            <a:xfrm rot="8716295">
              <a:off x="3402681" y="37518"/>
              <a:ext cx="82257" cy="93201"/>
            </a:xfrm>
            <a:custGeom>
              <a:avLst/>
              <a:gdLst>
                <a:gd name="connsiteX0" fmla="*/ 20287 w 82257"/>
                <a:gd name="connsiteY0" fmla="*/ 93201 h 93201"/>
                <a:gd name="connsiteX1" fmla="*/ 20287 w 82257"/>
                <a:gd name="connsiteY1" fmla="*/ 76797 h 93201"/>
                <a:gd name="connsiteX2" fmla="*/ 10775 w 82257"/>
                <a:gd name="connsiteY2" fmla="*/ 46837 h 93201"/>
                <a:gd name="connsiteX3" fmla="*/ 0 w 82257"/>
                <a:gd name="connsiteY3" fmla="*/ 41716 h 93201"/>
                <a:gd name="connsiteX4" fmla="*/ 34504 w 82257"/>
                <a:gd name="connsiteY4" fmla="*/ 0 h 93201"/>
                <a:gd name="connsiteX5" fmla="*/ 38620 w 82257"/>
                <a:gd name="connsiteY5" fmla="*/ 715 h 93201"/>
                <a:gd name="connsiteX6" fmla="*/ 82257 w 82257"/>
                <a:gd name="connsiteY6" fmla="*/ 83632 h 93201"/>
                <a:gd name="connsiteX7" fmla="*/ 82257 w 82257"/>
                <a:gd name="connsiteY7" fmla="*/ 89556 h 93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2257" h="93201">
                  <a:moveTo>
                    <a:pt x="20287" y="93201"/>
                  </a:moveTo>
                  <a:lnTo>
                    <a:pt x="20287" y="76797"/>
                  </a:lnTo>
                  <a:cubicBezTo>
                    <a:pt x="20287" y="64494"/>
                    <a:pt x="16756" y="54128"/>
                    <a:pt x="10775" y="46837"/>
                  </a:cubicBezTo>
                  <a:lnTo>
                    <a:pt x="0" y="41716"/>
                  </a:lnTo>
                  <a:lnTo>
                    <a:pt x="34504" y="0"/>
                  </a:lnTo>
                  <a:lnTo>
                    <a:pt x="38620" y="715"/>
                  </a:lnTo>
                  <a:cubicBezTo>
                    <a:pt x="66366" y="12207"/>
                    <a:pt x="82257" y="41255"/>
                    <a:pt x="82257" y="83632"/>
                  </a:cubicBezTo>
                  <a:lnTo>
                    <a:pt x="82257" y="8955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5" name="Forme libre : forme 374">
              <a:extLst>
                <a:ext uri="{FF2B5EF4-FFF2-40B4-BE49-F238E27FC236}">
                  <a16:creationId xmlns:a16="http://schemas.microsoft.com/office/drawing/2014/main" id="{FE84117C-0D75-44E5-BDA4-CA1CB1F335CF}"/>
                </a:ext>
              </a:extLst>
            </p:cNvPr>
            <p:cNvSpPr/>
            <p:nvPr/>
          </p:nvSpPr>
          <p:spPr>
            <a:xfrm rot="8716295">
              <a:off x="3234083" y="-5272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6" name="Forme libre : forme 375">
              <a:extLst>
                <a:ext uri="{FF2B5EF4-FFF2-40B4-BE49-F238E27FC236}">
                  <a16:creationId xmlns:a16="http://schemas.microsoft.com/office/drawing/2014/main" id="{12EEAD1F-5DD6-435B-8A93-C66CE1909363}"/>
                </a:ext>
              </a:extLst>
            </p:cNvPr>
            <p:cNvSpPr/>
            <p:nvPr/>
          </p:nvSpPr>
          <p:spPr>
            <a:xfrm rot="8716295">
              <a:off x="212141" y="304502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7" name="Forme libre : forme 376">
              <a:extLst>
                <a:ext uri="{FF2B5EF4-FFF2-40B4-BE49-F238E27FC236}">
                  <a16:creationId xmlns:a16="http://schemas.microsoft.com/office/drawing/2014/main" id="{E2B3F83B-E193-4145-A936-C1756D937D20}"/>
                </a:ext>
              </a:extLst>
            </p:cNvPr>
            <p:cNvSpPr/>
            <p:nvPr/>
          </p:nvSpPr>
          <p:spPr>
            <a:xfrm rot="8716295">
              <a:off x="301533" y="307427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8" name="Forme libre : forme 377">
              <a:extLst>
                <a:ext uri="{FF2B5EF4-FFF2-40B4-BE49-F238E27FC236}">
                  <a16:creationId xmlns:a16="http://schemas.microsoft.com/office/drawing/2014/main" id="{0EBCDD2D-96D0-40D5-832B-9D432203380A}"/>
                </a:ext>
              </a:extLst>
            </p:cNvPr>
            <p:cNvSpPr/>
            <p:nvPr/>
          </p:nvSpPr>
          <p:spPr>
            <a:xfrm rot="8716295">
              <a:off x="256683" y="298799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9" name="Forme libre : forme 378">
              <a:extLst>
                <a:ext uri="{FF2B5EF4-FFF2-40B4-BE49-F238E27FC236}">
                  <a16:creationId xmlns:a16="http://schemas.microsoft.com/office/drawing/2014/main" id="{D7B14EA1-A5A0-49C4-996C-1F9E3834E06F}"/>
                </a:ext>
              </a:extLst>
            </p:cNvPr>
            <p:cNvSpPr/>
            <p:nvPr/>
          </p:nvSpPr>
          <p:spPr>
            <a:xfrm rot="8716295">
              <a:off x="99907" y="31335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0" name="Forme libre : forme 379">
              <a:extLst>
                <a:ext uri="{FF2B5EF4-FFF2-40B4-BE49-F238E27FC236}">
                  <a16:creationId xmlns:a16="http://schemas.microsoft.com/office/drawing/2014/main" id="{736F0423-C826-490E-96A4-CDB0EDE4D27E}"/>
                </a:ext>
              </a:extLst>
            </p:cNvPr>
            <p:cNvSpPr/>
            <p:nvPr/>
          </p:nvSpPr>
          <p:spPr>
            <a:xfrm rot="8716295">
              <a:off x="-24996" y="29248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1" name="Forme libre : forme 380">
              <a:extLst>
                <a:ext uri="{FF2B5EF4-FFF2-40B4-BE49-F238E27FC236}">
                  <a16:creationId xmlns:a16="http://schemas.microsoft.com/office/drawing/2014/main" id="{75D8D9C1-45FD-4A7E-AA8D-777A228E8F1D}"/>
                </a:ext>
              </a:extLst>
            </p:cNvPr>
            <p:cNvSpPr/>
            <p:nvPr/>
          </p:nvSpPr>
          <p:spPr>
            <a:xfrm rot="8716295">
              <a:off x="51899" y="2754602"/>
              <a:ext cx="189488" cy="350829"/>
            </a:xfrm>
            <a:custGeom>
              <a:avLst/>
              <a:gdLst>
                <a:gd name="connsiteX0" fmla="*/ 25299 w 189488"/>
                <a:gd name="connsiteY0" fmla="*/ 321238 h 350829"/>
                <a:gd name="connsiteX1" fmla="*/ 0 w 189488"/>
                <a:gd name="connsiteY1" fmla="*/ 220042 h 350829"/>
                <a:gd name="connsiteX2" fmla="*/ 0 w 189488"/>
                <a:gd name="connsiteY2" fmla="*/ 40596 h 350829"/>
                <a:gd name="connsiteX3" fmla="*/ 78250 w 189488"/>
                <a:gd name="connsiteY3" fmla="*/ 0 h 350829"/>
                <a:gd name="connsiteX4" fmla="*/ 79427 w 189488"/>
                <a:gd name="connsiteY4" fmla="*/ 164149 h 350829"/>
                <a:gd name="connsiteX5" fmla="*/ 93547 w 189488"/>
                <a:gd name="connsiteY5" fmla="*/ 261815 h 350829"/>
                <a:gd name="connsiteX6" fmla="*/ 164148 w 189488"/>
                <a:gd name="connsiteY6" fmla="*/ 300646 h 350829"/>
                <a:gd name="connsiteX7" fmla="*/ 189488 w 189488"/>
                <a:gd name="connsiteY7" fmla="*/ 296141 h 350829"/>
                <a:gd name="connsiteX8" fmla="*/ 160617 w 189488"/>
                <a:gd name="connsiteY8" fmla="*/ 337791 h 350829"/>
                <a:gd name="connsiteX9" fmla="*/ 97666 w 189488"/>
                <a:gd name="connsiteY9" fmla="*/ 350655 h 350829"/>
                <a:gd name="connsiteX10" fmla="*/ 25299 w 189488"/>
                <a:gd name="connsiteY10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9488" h="350829">
                  <a:moveTo>
                    <a:pt x="25299" y="321238"/>
                  </a:moveTo>
                  <a:cubicBezTo>
                    <a:pt x="5295" y="301823"/>
                    <a:pt x="0" y="268286"/>
                    <a:pt x="0" y="220042"/>
                  </a:cubicBez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8" y="300646"/>
                  </a:cubicBezTo>
                  <a:lnTo>
                    <a:pt x="189488" y="296141"/>
                  </a:lnTo>
                  <a:lnTo>
                    <a:pt x="160617" y="337791"/>
                  </a:lnTo>
                  <a:lnTo>
                    <a:pt x="97666" y="350655"/>
                  </a:ln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2" name="Forme libre : forme 381">
              <a:extLst>
                <a:ext uri="{FF2B5EF4-FFF2-40B4-BE49-F238E27FC236}">
                  <a16:creationId xmlns:a16="http://schemas.microsoft.com/office/drawing/2014/main" id="{B4FEB9FE-AF54-49A2-BE6D-72BA7BE2EB18}"/>
                </a:ext>
              </a:extLst>
            </p:cNvPr>
            <p:cNvSpPr/>
            <p:nvPr/>
          </p:nvSpPr>
          <p:spPr>
            <a:xfrm rot="8716295">
              <a:off x="190085" y="317452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3" name="Forme libre : forme 382">
              <a:extLst>
                <a:ext uri="{FF2B5EF4-FFF2-40B4-BE49-F238E27FC236}">
                  <a16:creationId xmlns:a16="http://schemas.microsoft.com/office/drawing/2014/main" id="{8DA05A66-E883-464C-B559-6FC6B28A3E8D}"/>
                </a:ext>
              </a:extLst>
            </p:cNvPr>
            <p:cNvSpPr/>
            <p:nvPr/>
          </p:nvSpPr>
          <p:spPr>
            <a:xfrm rot="8716295">
              <a:off x="501240" y="279487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4" name="Forme libre : forme 383">
              <a:extLst>
                <a:ext uri="{FF2B5EF4-FFF2-40B4-BE49-F238E27FC236}">
                  <a16:creationId xmlns:a16="http://schemas.microsoft.com/office/drawing/2014/main" id="{70D6E3B7-3736-43CC-9D76-86B0F97A5780}"/>
                </a:ext>
              </a:extLst>
            </p:cNvPr>
            <p:cNvSpPr/>
            <p:nvPr/>
          </p:nvSpPr>
          <p:spPr>
            <a:xfrm rot="8716295">
              <a:off x="590632" y="282411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5" name="Forme libre : forme 384">
              <a:extLst>
                <a:ext uri="{FF2B5EF4-FFF2-40B4-BE49-F238E27FC236}">
                  <a16:creationId xmlns:a16="http://schemas.microsoft.com/office/drawing/2014/main" id="{FC4D3741-889D-4E54-B83F-D0BA201DC6A2}"/>
                </a:ext>
              </a:extLst>
            </p:cNvPr>
            <p:cNvSpPr/>
            <p:nvPr/>
          </p:nvSpPr>
          <p:spPr>
            <a:xfrm rot="8716295">
              <a:off x="389006" y="2883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6" name="Forme libre : forme 385">
              <a:extLst>
                <a:ext uri="{FF2B5EF4-FFF2-40B4-BE49-F238E27FC236}">
                  <a16:creationId xmlns:a16="http://schemas.microsoft.com/office/drawing/2014/main" id="{C9BA88DB-9441-45DF-A22F-E12869EF8794}"/>
                </a:ext>
              </a:extLst>
            </p:cNvPr>
            <p:cNvSpPr/>
            <p:nvPr/>
          </p:nvSpPr>
          <p:spPr>
            <a:xfrm rot="8716295">
              <a:off x="264104" y="267474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7" name="Forme libre : forme 386">
              <a:extLst>
                <a:ext uri="{FF2B5EF4-FFF2-40B4-BE49-F238E27FC236}">
                  <a16:creationId xmlns:a16="http://schemas.microsoft.com/office/drawing/2014/main" id="{BBD785FB-255F-47D4-869B-DA2427044735}"/>
                </a:ext>
              </a:extLst>
            </p:cNvPr>
            <p:cNvSpPr/>
            <p:nvPr/>
          </p:nvSpPr>
          <p:spPr>
            <a:xfrm rot="8716295">
              <a:off x="479184" y="292437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8" name="Forme libre : forme 387">
              <a:extLst>
                <a:ext uri="{FF2B5EF4-FFF2-40B4-BE49-F238E27FC236}">
                  <a16:creationId xmlns:a16="http://schemas.microsoft.com/office/drawing/2014/main" id="{04B3E6F0-D035-4122-A08C-156643A27C96}"/>
                </a:ext>
              </a:extLst>
            </p:cNvPr>
            <p:cNvSpPr/>
            <p:nvPr/>
          </p:nvSpPr>
          <p:spPr>
            <a:xfrm rot="8716295">
              <a:off x="237733" y="277477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9" name="Forme libre : forme 388">
              <a:extLst>
                <a:ext uri="{FF2B5EF4-FFF2-40B4-BE49-F238E27FC236}">
                  <a16:creationId xmlns:a16="http://schemas.microsoft.com/office/drawing/2014/main" id="{09952F73-FF5F-406A-8919-7345F484086E}"/>
                </a:ext>
              </a:extLst>
            </p:cNvPr>
            <p:cNvSpPr/>
            <p:nvPr/>
          </p:nvSpPr>
          <p:spPr>
            <a:xfrm rot="7484129">
              <a:off x="584115" y="311572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0" name="Forme libre : forme 389">
              <a:extLst>
                <a:ext uri="{FF2B5EF4-FFF2-40B4-BE49-F238E27FC236}">
                  <a16:creationId xmlns:a16="http://schemas.microsoft.com/office/drawing/2014/main" id="{09ED8664-259A-4F65-B984-54EB26583D37}"/>
                </a:ext>
              </a:extLst>
            </p:cNvPr>
            <p:cNvSpPr/>
            <p:nvPr/>
          </p:nvSpPr>
          <p:spPr>
            <a:xfrm rot="13089394">
              <a:off x="688935" y="3082257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1" name="Forme libre : forme 390">
              <a:extLst>
                <a:ext uri="{FF2B5EF4-FFF2-40B4-BE49-F238E27FC236}">
                  <a16:creationId xmlns:a16="http://schemas.microsoft.com/office/drawing/2014/main" id="{5005AA8C-EF3F-42BB-886F-BDC096F9E2C6}"/>
                </a:ext>
              </a:extLst>
            </p:cNvPr>
            <p:cNvSpPr/>
            <p:nvPr/>
          </p:nvSpPr>
          <p:spPr>
            <a:xfrm rot="8716295">
              <a:off x="874520" y="2890576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2" name="Forme libre : forme 391">
              <a:extLst>
                <a:ext uri="{FF2B5EF4-FFF2-40B4-BE49-F238E27FC236}">
                  <a16:creationId xmlns:a16="http://schemas.microsoft.com/office/drawing/2014/main" id="{F901BAD2-7BC9-4B9B-9AEE-194DC6FC05A0}"/>
                </a:ext>
              </a:extLst>
            </p:cNvPr>
            <p:cNvSpPr/>
            <p:nvPr/>
          </p:nvSpPr>
          <p:spPr>
            <a:xfrm rot="8716295">
              <a:off x="822715" y="278698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3" name="Forme libre : forme 392">
              <a:extLst>
                <a:ext uri="{FF2B5EF4-FFF2-40B4-BE49-F238E27FC236}">
                  <a16:creationId xmlns:a16="http://schemas.microsoft.com/office/drawing/2014/main" id="{9E3F70D1-21EF-4CD2-8FEB-B48B0201A2F5}"/>
                </a:ext>
              </a:extLst>
            </p:cNvPr>
            <p:cNvSpPr/>
            <p:nvPr/>
          </p:nvSpPr>
          <p:spPr>
            <a:xfrm rot="8716295">
              <a:off x="579469" y="28172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4" name="Forme libre : forme 393">
              <a:extLst>
                <a:ext uri="{FF2B5EF4-FFF2-40B4-BE49-F238E27FC236}">
                  <a16:creationId xmlns:a16="http://schemas.microsoft.com/office/drawing/2014/main" id="{EE0D830B-AE35-40E9-8728-E21F6C35586C}"/>
                </a:ext>
              </a:extLst>
            </p:cNvPr>
            <p:cNvSpPr/>
            <p:nvPr/>
          </p:nvSpPr>
          <p:spPr>
            <a:xfrm rot="8716295">
              <a:off x="756921" y="265796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5" name="Forme libre : forme 394">
              <a:extLst>
                <a:ext uri="{FF2B5EF4-FFF2-40B4-BE49-F238E27FC236}">
                  <a16:creationId xmlns:a16="http://schemas.microsoft.com/office/drawing/2014/main" id="{8FFBDF4B-90C1-4FB0-93F5-3CF9CE875883}"/>
                </a:ext>
              </a:extLst>
            </p:cNvPr>
            <p:cNvSpPr/>
            <p:nvPr/>
          </p:nvSpPr>
          <p:spPr>
            <a:xfrm rot="8716295">
              <a:off x="435308" y="370472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6" name="Forme libre : forme 395">
              <a:extLst>
                <a:ext uri="{FF2B5EF4-FFF2-40B4-BE49-F238E27FC236}">
                  <a16:creationId xmlns:a16="http://schemas.microsoft.com/office/drawing/2014/main" id="{4DB3DB14-6327-4A57-8367-203E6F4E011B}"/>
                </a:ext>
              </a:extLst>
            </p:cNvPr>
            <p:cNvSpPr/>
            <p:nvPr/>
          </p:nvSpPr>
          <p:spPr>
            <a:xfrm rot="8716295">
              <a:off x="524700" y="373396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7" name="Forme libre : forme 396">
              <a:extLst>
                <a:ext uri="{FF2B5EF4-FFF2-40B4-BE49-F238E27FC236}">
                  <a16:creationId xmlns:a16="http://schemas.microsoft.com/office/drawing/2014/main" id="{4355D30E-1756-4406-84C9-F6A8049756B3}"/>
                </a:ext>
              </a:extLst>
            </p:cNvPr>
            <p:cNvSpPr/>
            <p:nvPr/>
          </p:nvSpPr>
          <p:spPr>
            <a:xfrm rot="8716295">
              <a:off x="479850" y="3647689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8" name="Forme libre : forme 397">
              <a:extLst>
                <a:ext uri="{FF2B5EF4-FFF2-40B4-BE49-F238E27FC236}">
                  <a16:creationId xmlns:a16="http://schemas.microsoft.com/office/drawing/2014/main" id="{BA4A47C8-0B69-4C29-80A3-E8882E41243E}"/>
                </a:ext>
              </a:extLst>
            </p:cNvPr>
            <p:cNvSpPr/>
            <p:nvPr/>
          </p:nvSpPr>
          <p:spPr>
            <a:xfrm rot="8716295">
              <a:off x="323074" y="379327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9" name="Forme libre : forme 398">
              <a:extLst>
                <a:ext uri="{FF2B5EF4-FFF2-40B4-BE49-F238E27FC236}">
                  <a16:creationId xmlns:a16="http://schemas.microsoft.com/office/drawing/2014/main" id="{C7193D43-8FAD-40C8-B968-D6B7B8EE8D8F}"/>
                </a:ext>
              </a:extLst>
            </p:cNvPr>
            <p:cNvSpPr/>
            <p:nvPr/>
          </p:nvSpPr>
          <p:spPr>
            <a:xfrm rot="8716295">
              <a:off x="198171" y="358459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0" name="Forme libre : forme 399">
              <a:extLst>
                <a:ext uri="{FF2B5EF4-FFF2-40B4-BE49-F238E27FC236}">
                  <a16:creationId xmlns:a16="http://schemas.microsoft.com/office/drawing/2014/main" id="{F68A3447-0210-45C1-9F87-4B1D4BFE9738}"/>
                </a:ext>
              </a:extLst>
            </p:cNvPr>
            <p:cNvSpPr/>
            <p:nvPr/>
          </p:nvSpPr>
          <p:spPr>
            <a:xfrm rot="8716295">
              <a:off x="186119" y="344581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1" name="Forme libre : forme 400">
              <a:extLst>
                <a:ext uri="{FF2B5EF4-FFF2-40B4-BE49-F238E27FC236}">
                  <a16:creationId xmlns:a16="http://schemas.microsoft.com/office/drawing/2014/main" id="{7AF4A353-4506-4959-86A0-C8690BF59E95}"/>
                </a:ext>
              </a:extLst>
            </p:cNvPr>
            <p:cNvSpPr/>
            <p:nvPr/>
          </p:nvSpPr>
          <p:spPr>
            <a:xfrm rot="8716295">
              <a:off x="413252" y="3834223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2" name="Forme libre : forme 401">
              <a:extLst>
                <a:ext uri="{FF2B5EF4-FFF2-40B4-BE49-F238E27FC236}">
                  <a16:creationId xmlns:a16="http://schemas.microsoft.com/office/drawing/2014/main" id="{598CEB9B-8E04-469F-A771-F927470C3F4E}"/>
                </a:ext>
              </a:extLst>
            </p:cNvPr>
            <p:cNvSpPr/>
            <p:nvPr/>
          </p:nvSpPr>
          <p:spPr>
            <a:xfrm rot="8716295">
              <a:off x="724407" y="345457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3" name="Forme libre : forme 402">
              <a:extLst>
                <a:ext uri="{FF2B5EF4-FFF2-40B4-BE49-F238E27FC236}">
                  <a16:creationId xmlns:a16="http://schemas.microsoft.com/office/drawing/2014/main" id="{AB980D08-B340-4454-A274-3AD08D2A9A3A}"/>
                </a:ext>
              </a:extLst>
            </p:cNvPr>
            <p:cNvSpPr/>
            <p:nvPr/>
          </p:nvSpPr>
          <p:spPr>
            <a:xfrm rot="8716295">
              <a:off x="813799" y="348381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4" name="Forme libre : forme 403">
              <a:extLst>
                <a:ext uri="{FF2B5EF4-FFF2-40B4-BE49-F238E27FC236}">
                  <a16:creationId xmlns:a16="http://schemas.microsoft.com/office/drawing/2014/main" id="{2652DA6E-5978-4E5D-A96D-58C298CBA732}"/>
                </a:ext>
              </a:extLst>
            </p:cNvPr>
            <p:cNvSpPr/>
            <p:nvPr/>
          </p:nvSpPr>
          <p:spPr>
            <a:xfrm rot="8716295">
              <a:off x="612173" y="354311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5" name="Forme libre : forme 404">
              <a:extLst>
                <a:ext uri="{FF2B5EF4-FFF2-40B4-BE49-F238E27FC236}">
                  <a16:creationId xmlns:a16="http://schemas.microsoft.com/office/drawing/2014/main" id="{BCA796D3-CCB0-45BE-BB99-D45334DE88BA}"/>
                </a:ext>
              </a:extLst>
            </p:cNvPr>
            <p:cNvSpPr/>
            <p:nvPr/>
          </p:nvSpPr>
          <p:spPr>
            <a:xfrm rot="8716295">
              <a:off x="487271" y="333444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6" name="Forme libre : forme 405">
              <a:extLst>
                <a:ext uri="{FF2B5EF4-FFF2-40B4-BE49-F238E27FC236}">
                  <a16:creationId xmlns:a16="http://schemas.microsoft.com/office/drawing/2014/main" id="{933101B8-7867-420E-81EE-0503A80C6D03}"/>
                </a:ext>
              </a:extLst>
            </p:cNvPr>
            <p:cNvSpPr/>
            <p:nvPr/>
          </p:nvSpPr>
          <p:spPr>
            <a:xfrm rot="8716295">
              <a:off x="702351" y="3584071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7" name="Forme libre : forme 406">
              <a:extLst>
                <a:ext uri="{FF2B5EF4-FFF2-40B4-BE49-F238E27FC236}">
                  <a16:creationId xmlns:a16="http://schemas.microsoft.com/office/drawing/2014/main" id="{5B641A15-3B25-4DD3-9A6C-0FFDEC9A133C}"/>
                </a:ext>
              </a:extLst>
            </p:cNvPr>
            <p:cNvSpPr/>
            <p:nvPr/>
          </p:nvSpPr>
          <p:spPr>
            <a:xfrm rot="8716295">
              <a:off x="460900" y="343447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8" name="Forme libre : forme 407">
              <a:extLst>
                <a:ext uri="{FF2B5EF4-FFF2-40B4-BE49-F238E27FC236}">
                  <a16:creationId xmlns:a16="http://schemas.microsoft.com/office/drawing/2014/main" id="{E763D240-1B00-445A-81E2-30AFA6DA38B9}"/>
                </a:ext>
              </a:extLst>
            </p:cNvPr>
            <p:cNvSpPr/>
            <p:nvPr/>
          </p:nvSpPr>
          <p:spPr>
            <a:xfrm rot="7484129">
              <a:off x="807282" y="377542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9" name="Forme libre : forme 408">
              <a:extLst>
                <a:ext uri="{FF2B5EF4-FFF2-40B4-BE49-F238E27FC236}">
                  <a16:creationId xmlns:a16="http://schemas.microsoft.com/office/drawing/2014/main" id="{73387E34-81D2-4A73-B141-75343A132394}"/>
                </a:ext>
              </a:extLst>
            </p:cNvPr>
            <p:cNvSpPr/>
            <p:nvPr/>
          </p:nvSpPr>
          <p:spPr>
            <a:xfrm rot="13089394">
              <a:off x="912102" y="374195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0" name="Forme libre : forme 409">
              <a:extLst>
                <a:ext uri="{FF2B5EF4-FFF2-40B4-BE49-F238E27FC236}">
                  <a16:creationId xmlns:a16="http://schemas.microsoft.com/office/drawing/2014/main" id="{CCA2FEEB-CE96-44BC-8FB9-EA169A41218A}"/>
                </a:ext>
              </a:extLst>
            </p:cNvPr>
            <p:cNvSpPr/>
            <p:nvPr/>
          </p:nvSpPr>
          <p:spPr>
            <a:xfrm rot="8716295">
              <a:off x="1097687" y="355027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1" name="Forme libre : forme 410">
              <a:extLst>
                <a:ext uri="{FF2B5EF4-FFF2-40B4-BE49-F238E27FC236}">
                  <a16:creationId xmlns:a16="http://schemas.microsoft.com/office/drawing/2014/main" id="{E1A40A9E-A324-487B-A5D9-A64B315CC0DB}"/>
                </a:ext>
              </a:extLst>
            </p:cNvPr>
            <p:cNvSpPr/>
            <p:nvPr/>
          </p:nvSpPr>
          <p:spPr>
            <a:xfrm rot="8716295">
              <a:off x="1045882" y="344668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2" name="Forme libre : forme 411">
              <a:extLst>
                <a:ext uri="{FF2B5EF4-FFF2-40B4-BE49-F238E27FC236}">
                  <a16:creationId xmlns:a16="http://schemas.microsoft.com/office/drawing/2014/main" id="{A6958C47-9B80-4B26-AABB-8FF29B27BC9F}"/>
                </a:ext>
              </a:extLst>
            </p:cNvPr>
            <p:cNvSpPr/>
            <p:nvPr/>
          </p:nvSpPr>
          <p:spPr>
            <a:xfrm rot="8716295">
              <a:off x="802636" y="347690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3" name="Forme libre : forme 412">
              <a:extLst>
                <a:ext uri="{FF2B5EF4-FFF2-40B4-BE49-F238E27FC236}">
                  <a16:creationId xmlns:a16="http://schemas.microsoft.com/office/drawing/2014/main" id="{8E6D0100-AF69-44B2-A5CF-E8C0130AB7E9}"/>
                </a:ext>
              </a:extLst>
            </p:cNvPr>
            <p:cNvSpPr/>
            <p:nvPr/>
          </p:nvSpPr>
          <p:spPr>
            <a:xfrm rot="8716295">
              <a:off x="980088" y="331766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4" name="Forme libre : forme 413">
              <a:extLst>
                <a:ext uri="{FF2B5EF4-FFF2-40B4-BE49-F238E27FC236}">
                  <a16:creationId xmlns:a16="http://schemas.microsoft.com/office/drawing/2014/main" id="{DDF69E8D-616E-4B06-B6E7-5816DA160ADA}"/>
                </a:ext>
              </a:extLst>
            </p:cNvPr>
            <p:cNvSpPr/>
            <p:nvPr/>
          </p:nvSpPr>
          <p:spPr>
            <a:xfrm rot="8716295">
              <a:off x="653978" y="436312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5" name="Forme libre : forme 414">
              <a:extLst>
                <a:ext uri="{FF2B5EF4-FFF2-40B4-BE49-F238E27FC236}">
                  <a16:creationId xmlns:a16="http://schemas.microsoft.com/office/drawing/2014/main" id="{28F41443-BBE2-4975-B85B-8718620F25A2}"/>
                </a:ext>
              </a:extLst>
            </p:cNvPr>
            <p:cNvSpPr/>
            <p:nvPr/>
          </p:nvSpPr>
          <p:spPr>
            <a:xfrm rot="8716295">
              <a:off x="743370" y="439236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6" name="Forme libre : forme 415">
              <a:extLst>
                <a:ext uri="{FF2B5EF4-FFF2-40B4-BE49-F238E27FC236}">
                  <a16:creationId xmlns:a16="http://schemas.microsoft.com/office/drawing/2014/main" id="{66BEE935-162B-468C-A488-08BB53F0E96A}"/>
                </a:ext>
              </a:extLst>
            </p:cNvPr>
            <p:cNvSpPr/>
            <p:nvPr/>
          </p:nvSpPr>
          <p:spPr>
            <a:xfrm rot="8716295">
              <a:off x="698520" y="430608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7" name="Forme libre : forme 416">
              <a:extLst>
                <a:ext uri="{FF2B5EF4-FFF2-40B4-BE49-F238E27FC236}">
                  <a16:creationId xmlns:a16="http://schemas.microsoft.com/office/drawing/2014/main" id="{C6A86155-7B92-42A4-B02E-66184BF812F2}"/>
                </a:ext>
              </a:extLst>
            </p:cNvPr>
            <p:cNvSpPr/>
            <p:nvPr/>
          </p:nvSpPr>
          <p:spPr>
            <a:xfrm rot="8716295">
              <a:off x="541744" y="445166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8" name="Forme libre : forme 417">
              <a:extLst>
                <a:ext uri="{FF2B5EF4-FFF2-40B4-BE49-F238E27FC236}">
                  <a16:creationId xmlns:a16="http://schemas.microsoft.com/office/drawing/2014/main" id="{46BFD870-BFFF-4A29-A35F-C7406F7430F7}"/>
                </a:ext>
              </a:extLst>
            </p:cNvPr>
            <p:cNvSpPr/>
            <p:nvPr/>
          </p:nvSpPr>
          <p:spPr>
            <a:xfrm rot="8716295">
              <a:off x="416841" y="424299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9" name="Forme libre : forme 418">
              <a:extLst>
                <a:ext uri="{FF2B5EF4-FFF2-40B4-BE49-F238E27FC236}">
                  <a16:creationId xmlns:a16="http://schemas.microsoft.com/office/drawing/2014/main" id="{A679BEA0-D0C5-41E0-ADCB-C970608B53F5}"/>
                </a:ext>
              </a:extLst>
            </p:cNvPr>
            <p:cNvSpPr/>
            <p:nvPr/>
          </p:nvSpPr>
          <p:spPr>
            <a:xfrm rot="8716295">
              <a:off x="404789" y="410421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0" name="Forme libre : forme 419">
              <a:extLst>
                <a:ext uri="{FF2B5EF4-FFF2-40B4-BE49-F238E27FC236}">
                  <a16:creationId xmlns:a16="http://schemas.microsoft.com/office/drawing/2014/main" id="{12FE079E-BD6C-4326-BBC6-E7FED6AEB0DE}"/>
                </a:ext>
              </a:extLst>
            </p:cNvPr>
            <p:cNvSpPr/>
            <p:nvPr/>
          </p:nvSpPr>
          <p:spPr>
            <a:xfrm rot="8716295">
              <a:off x="631922" y="449261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1" name="Forme libre : forme 420">
              <a:extLst>
                <a:ext uri="{FF2B5EF4-FFF2-40B4-BE49-F238E27FC236}">
                  <a16:creationId xmlns:a16="http://schemas.microsoft.com/office/drawing/2014/main" id="{ADCC2EDC-1B28-4142-9C4B-B780064981F4}"/>
                </a:ext>
              </a:extLst>
            </p:cNvPr>
            <p:cNvSpPr/>
            <p:nvPr/>
          </p:nvSpPr>
          <p:spPr>
            <a:xfrm rot="8716295">
              <a:off x="943077" y="411297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2" name="Forme libre : forme 421">
              <a:extLst>
                <a:ext uri="{FF2B5EF4-FFF2-40B4-BE49-F238E27FC236}">
                  <a16:creationId xmlns:a16="http://schemas.microsoft.com/office/drawing/2014/main" id="{85A46BE2-B28A-4B10-A98B-E1A4C9718784}"/>
                </a:ext>
              </a:extLst>
            </p:cNvPr>
            <p:cNvSpPr/>
            <p:nvPr/>
          </p:nvSpPr>
          <p:spPr>
            <a:xfrm rot="8716295">
              <a:off x="1032469" y="414221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3" name="Forme libre : forme 422">
              <a:extLst>
                <a:ext uri="{FF2B5EF4-FFF2-40B4-BE49-F238E27FC236}">
                  <a16:creationId xmlns:a16="http://schemas.microsoft.com/office/drawing/2014/main" id="{B997AC73-4A2E-4369-A0A3-B98AEFAEB0D2}"/>
                </a:ext>
              </a:extLst>
            </p:cNvPr>
            <p:cNvSpPr/>
            <p:nvPr/>
          </p:nvSpPr>
          <p:spPr>
            <a:xfrm rot="8716295">
              <a:off x="830843" y="420151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4" name="Forme libre : forme 423">
              <a:extLst>
                <a:ext uri="{FF2B5EF4-FFF2-40B4-BE49-F238E27FC236}">
                  <a16:creationId xmlns:a16="http://schemas.microsoft.com/office/drawing/2014/main" id="{B0F441EE-58D5-406D-84C8-BF6FB45F3E10}"/>
                </a:ext>
              </a:extLst>
            </p:cNvPr>
            <p:cNvSpPr/>
            <p:nvPr/>
          </p:nvSpPr>
          <p:spPr>
            <a:xfrm rot="8716295">
              <a:off x="705941" y="399284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5" name="Forme libre : forme 424">
              <a:extLst>
                <a:ext uri="{FF2B5EF4-FFF2-40B4-BE49-F238E27FC236}">
                  <a16:creationId xmlns:a16="http://schemas.microsoft.com/office/drawing/2014/main" id="{C2116289-0ECD-487D-B988-2550AD513EBC}"/>
                </a:ext>
              </a:extLst>
            </p:cNvPr>
            <p:cNvSpPr/>
            <p:nvPr/>
          </p:nvSpPr>
          <p:spPr>
            <a:xfrm rot="8716295">
              <a:off x="921021" y="424246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6" name="Forme libre : forme 425">
              <a:extLst>
                <a:ext uri="{FF2B5EF4-FFF2-40B4-BE49-F238E27FC236}">
                  <a16:creationId xmlns:a16="http://schemas.microsoft.com/office/drawing/2014/main" id="{BB2DB617-3C2B-44C3-B229-D2E3AF1F6397}"/>
                </a:ext>
              </a:extLst>
            </p:cNvPr>
            <p:cNvSpPr/>
            <p:nvPr/>
          </p:nvSpPr>
          <p:spPr>
            <a:xfrm rot="8716295">
              <a:off x="679570" y="409286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7" name="Forme libre : forme 426">
              <a:extLst>
                <a:ext uri="{FF2B5EF4-FFF2-40B4-BE49-F238E27FC236}">
                  <a16:creationId xmlns:a16="http://schemas.microsoft.com/office/drawing/2014/main" id="{AB1A41E1-EFF1-4B46-86EA-03A5D3137ECE}"/>
                </a:ext>
              </a:extLst>
            </p:cNvPr>
            <p:cNvSpPr/>
            <p:nvPr/>
          </p:nvSpPr>
          <p:spPr>
            <a:xfrm rot="7484129">
              <a:off x="1025952" y="443381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8" name="Forme libre : forme 427">
              <a:extLst>
                <a:ext uri="{FF2B5EF4-FFF2-40B4-BE49-F238E27FC236}">
                  <a16:creationId xmlns:a16="http://schemas.microsoft.com/office/drawing/2014/main" id="{FC716ACC-6F89-47F8-ABE1-58EDBEC4B6CB}"/>
                </a:ext>
              </a:extLst>
            </p:cNvPr>
            <p:cNvSpPr/>
            <p:nvPr/>
          </p:nvSpPr>
          <p:spPr>
            <a:xfrm rot="13089394">
              <a:off x="1130772" y="440035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9" name="Forme libre : forme 428">
              <a:extLst>
                <a:ext uri="{FF2B5EF4-FFF2-40B4-BE49-F238E27FC236}">
                  <a16:creationId xmlns:a16="http://schemas.microsoft.com/office/drawing/2014/main" id="{FBEB36D4-4104-4CEA-A5D9-270F8D790AEC}"/>
                </a:ext>
              </a:extLst>
            </p:cNvPr>
            <p:cNvSpPr/>
            <p:nvPr/>
          </p:nvSpPr>
          <p:spPr>
            <a:xfrm rot="8716295">
              <a:off x="1316357" y="420867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0" name="Forme libre : forme 429">
              <a:extLst>
                <a:ext uri="{FF2B5EF4-FFF2-40B4-BE49-F238E27FC236}">
                  <a16:creationId xmlns:a16="http://schemas.microsoft.com/office/drawing/2014/main" id="{F7950902-6556-4E4C-B905-0DD59A5961CC}"/>
                </a:ext>
              </a:extLst>
            </p:cNvPr>
            <p:cNvSpPr/>
            <p:nvPr/>
          </p:nvSpPr>
          <p:spPr>
            <a:xfrm rot="8716295">
              <a:off x="1264552" y="410507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1" name="Forme libre : forme 430">
              <a:extLst>
                <a:ext uri="{FF2B5EF4-FFF2-40B4-BE49-F238E27FC236}">
                  <a16:creationId xmlns:a16="http://schemas.microsoft.com/office/drawing/2014/main" id="{4F003DDA-355E-4DAE-A8BB-3FB35F5F4EAE}"/>
                </a:ext>
              </a:extLst>
            </p:cNvPr>
            <p:cNvSpPr/>
            <p:nvPr/>
          </p:nvSpPr>
          <p:spPr>
            <a:xfrm rot="8716295">
              <a:off x="1021306" y="413529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2" name="Forme libre : forme 431">
              <a:extLst>
                <a:ext uri="{FF2B5EF4-FFF2-40B4-BE49-F238E27FC236}">
                  <a16:creationId xmlns:a16="http://schemas.microsoft.com/office/drawing/2014/main" id="{3F6E657C-3858-4D98-91AA-063146CE262A}"/>
                </a:ext>
              </a:extLst>
            </p:cNvPr>
            <p:cNvSpPr/>
            <p:nvPr/>
          </p:nvSpPr>
          <p:spPr>
            <a:xfrm rot="8716295">
              <a:off x="1198758" y="397605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3" name="Forme libre : forme 432">
              <a:extLst>
                <a:ext uri="{FF2B5EF4-FFF2-40B4-BE49-F238E27FC236}">
                  <a16:creationId xmlns:a16="http://schemas.microsoft.com/office/drawing/2014/main" id="{6881A455-FC30-4886-9181-EEE1433B5DFF}"/>
                </a:ext>
              </a:extLst>
            </p:cNvPr>
            <p:cNvSpPr/>
            <p:nvPr/>
          </p:nvSpPr>
          <p:spPr>
            <a:xfrm rot="8716295">
              <a:off x="849927" y="5056695"/>
              <a:ext cx="61059" cy="114384"/>
            </a:xfrm>
            <a:custGeom>
              <a:avLst/>
              <a:gdLst>
                <a:gd name="connsiteX0" fmla="*/ 0 w 61059"/>
                <a:gd name="connsiteY0" fmla="*/ 114384 h 114384"/>
                <a:gd name="connsiteX1" fmla="*/ 0 w 61059"/>
                <a:gd name="connsiteY1" fmla="*/ 0 h 114384"/>
                <a:gd name="connsiteX2" fmla="*/ 61059 w 61059"/>
                <a:gd name="connsiteY2" fmla="*/ 42324 h 114384"/>
                <a:gd name="connsiteX3" fmla="*/ 61059 w 61059"/>
                <a:gd name="connsiteY3" fmla="*/ 90234 h 114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059" h="114384">
                  <a:moveTo>
                    <a:pt x="0" y="114384"/>
                  </a:moveTo>
                  <a:lnTo>
                    <a:pt x="0" y="0"/>
                  </a:lnTo>
                  <a:lnTo>
                    <a:pt x="61059" y="42324"/>
                  </a:lnTo>
                  <a:lnTo>
                    <a:pt x="61059" y="902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4" name="Forme libre : forme 433">
              <a:extLst>
                <a:ext uri="{FF2B5EF4-FFF2-40B4-BE49-F238E27FC236}">
                  <a16:creationId xmlns:a16="http://schemas.microsoft.com/office/drawing/2014/main" id="{CE4C8C85-2581-4CDF-9EB4-9C8C2E2C159C}"/>
                </a:ext>
              </a:extLst>
            </p:cNvPr>
            <p:cNvSpPr/>
            <p:nvPr/>
          </p:nvSpPr>
          <p:spPr>
            <a:xfrm rot="8716295">
              <a:off x="1072880" y="5030752"/>
              <a:ext cx="60148" cy="142578"/>
            </a:xfrm>
            <a:custGeom>
              <a:avLst/>
              <a:gdLst>
                <a:gd name="connsiteX0" fmla="*/ 0 w 60148"/>
                <a:gd name="connsiteY0" fmla="*/ 142578 h 142578"/>
                <a:gd name="connsiteX1" fmla="*/ 0 w 60148"/>
                <a:gd name="connsiteY1" fmla="*/ 0 h 142578"/>
                <a:gd name="connsiteX2" fmla="*/ 60148 w 60148"/>
                <a:gd name="connsiteY2" fmla="*/ 41693 h 142578"/>
                <a:gd name="connsiteX3" fmla="*/ 60148 w 60148"/>
                <a:gd name="connsiteY3" fmla="*/ 101569 h 142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8" h="142578">
                  <a:moveTo>
                    <a:pt x="0" y="142578"/>
                  </a:moveTo>
                  <a:lnTo>
                    <a:pt x="0" y="0"/>
                  </a:lnTo>
                  <a:lnTo>
                    <a:pt x="60148" y="41693"/>
                  </a:lnTo>
                  <a:lnTo>
                    <a:pt x="60148" y="1015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5" name="Forme libre : forme 434">
              <a:extLst>
                <a:ext uri="{FF2B5EF4-FFF2-40B4-BE49-F238E27FC236}">
                  <a16:creationId xmlns:a16="http://schemas.microsoft.com/office/drawing/2014/main" id="{683CB711-80B1-4038-ABB6-5DBDA3CAB0C0}"/>
                </a:ext>
              </a:extLst>
            </p:cNvPr>
            <p:cNvSpPr/>
            <p:nvPr/>
          </p:nvSpPr>
          <p:spPr>
            <a:xfrm rot="8716295">
              <a:off x="921687" y="496578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6" name="Forme libre : forme 435">
              <a:extLst>
                <a:ext uri="{FF2B5EF4-FFF2-40B4-BE49-F238E27FC236}">
                  <a16:creationId xmlns:a16="http://schemas.microsoft.com/office/drawing/2014/main" id="{8B993DFE-EE3E-4E92-8884-9A227F7DEAD1}"/>
                </a:ext>
              </a:extLst>
            </p:cNvPr>
            <p:cNvSpPr/>
            <p:nvPr/>
          </p:nvSpPr>
          <p:spPr>
            <a:xfrm rot="8716295">
              <a:off x="762271" y="5108547"/>
              <a:ext cx="53742" cy="49705"/>
            </a:xfrm>
            <a:custGeom>
              <a:avLst/>
              <a:gdLst>
                <a:gd name="connsiteX0" fmla="*/ 8658 w 53742"/>
                <a:gd name="connsiteY0" fmla="*/ 41503 h 49705"/>
                <a:gd name="connsiteX1" fmla="*/ 0 w 53742"/>
                <a:gd name="connsiteY1" fmla="*/ 20999 h 49705"/>
                <a:gd name="connsiteX2" fmla="*/ 0 w 53742"/>
                <a:gd name="connsiteY2" fmla="*/ 20542 h 49705"/>
                <a:gd name="connsiteX3" fmla="*/ 8658 w 53742"/>
                <a:gd name="connsiteY3" fmla="*/ 38 h 49705"/>
                <a:gd name="connsiteX4" fmla="*/ 8747 w 53742"/>
                <a:gd name="connsiteY4" fmla="*/ 0 h 49705"/>
                <a:gd name="connsiteX5" fmla="*/ 53742 w 53742"/>
                <a:gd name="connsiteY5" fmla="*/ 31189 h 49705"/>
                <a:gd name="connsiteX6" fmla="*/ 49668 w 53742"/>
                <a:gd name="connsiteY6" fmla="*/ 41048 h 49705"/>
                <a:gd name="connsiteX7" fmla="*/ 29162 w 53742"/>
                <a:gd name="connsiteY7" fmla="*/ 49705 h 49705"/>
                <a:gd name="connsiteX8" fmla="*/ 8658 w 53742"/>
                <a:gd name="connsiteY8" fmla="*/ 41503 h 49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2" h="49705">
                  <a:moveTo>
                    <a:pt x="8658" y="41503"/>
                  </a:moveTo>
                  <a:cubicBezTo>
                    <a:pt x="3190" y="36035"/>
                    <a:pt x="0" y="28744"/>
                    <a:pt x="0" y="20999"/>
                  </a:cubicBezTo>
                  <a:lnTo>
                    <a:pt x="0" y="20542"/>
                  </a:lnTo>
                  <a:cubicBezTo>
                    <a:pt x="0" y="12796"/>
                    <a:pt x="3190" y="5506"/>
                    <a:pt x="8658" y="38"/>
                  </a:cubicBezTo>
                  <a:lnTo>
                    <a:pt x="8747" y="0"/>
                  </a:lnTo>
                  <a:lnTo>
                    <a:pt x="53742" y="31189"/>
                  </a:lnTo>
                  <a:lnTo>
                    <a:pt x="49668" y="41048"/>
                  </a:lnTo>
                  <a:cubicBezTo>
                    <a:pt x="44200" y="46516"/>
                    <a:pt x="36909" y="49705"/>
                    <a:pt x="29162" y="49705"/>
                  </a:cubicBezTo>
                  <a:cubicBezTo>
                    <a:pt x="21416" y="49705"/>
                    <a:pt x="14126" y="46971"/>
                    <a:pt x="8658" y="415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7" name="Forme libre : forme 436">
              <a:extLst>
                <a:ext uri="{FF2B5EF4-FFF2-40B4-BE49-F238E27FC236}">
                  <a16:creationId xmlns:a16="http://schemas.microsoft.com/office/drawing/2014/main" id="{8DF09363-6B2B-44FC-9677-ED983FC9E371}"/>
                </a:ext>
              </a:extLst>
            </p:cNvPr>
            <p:cNvSpPr/>
            <p:nvPr/>
          </p:nvSpPr>
          <p:spPr>
            <a:xfrm rot="8716295">
              <a:off x="635497" y="4902607"/>
              <a:ext cx="203847" cy="195874"/>
            </a:xfrm>
            <a:custGeom>
              <a:avLst/>
              <a:gdLst>
                <a:gd name="connsiteX0" fmla="*/ 90709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203847 w 203847"/>
                <a:gd name="connsiteY5" fmla="*/ 0 h 195874"/>
                <a:gd name="connsiteX6" fmla="*/ 203847 w 203847"/>
                <a:gd name="connsiteY6" fmla="*/ 55323 h 195874"/>
                <a:gd name="connsiteX7" fmla="*/ 139055 w 203847"/>
                <a:gd name="connsiteY7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95874">
                  <a:moveTo>
                    <a:pt x="90709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8" name="Forme libre : forme 437">
              <a:extLst>
                <a:ext uri="{FF2B5EF4-FFF2-40B4-BE49-F238E27FC236}">
                  <a16:creationId xmlns:a16="http://schemas.microsoft.com/office/drawing/2014/main" id="{532437B6-4FB3-4387-A6A2-9CA74243FC9D}"/>
                </a:ext>
              </a:extLst>
            </p:cNvPr>
            <p:cNvSpPr/>
            <p:nvPr/>
          </p:nvSpPr>
          <p:spPr>
            <a:xfrm rot="8716295">
              <a:off x="627956" y="476391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9" name="Forme libre : forme 438">
              <a:extLst>
                <a:ext uri="{FF2B5EF4-FFF2-40B4-BE49-F238E27FC236}">
                  <a16:creationId xmlns:a16="http://schemas.microsoft.com/office/drawing/2014/main" id="{DC114E70-E891-401E-9C24-8619044C69DA}"/>
                </a:ext>
              </a:extLst>
            </p:cNvPr>
            <p:cNvSpPr/>
            <p:nvPr/>
          </p:nvSpPr>
          <p:spPr>
            <a:xfrm rot="8716295">
              <a:off x="1166244" y="477267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0" name="Forme libre : forme 439">
              <a:extLst>
                <a:ext uri="{FF2B5EF4-FFF2-40B4-BE49-F238E27FC236}">
                  <a16:creationId xmlns:a16="http://schemas.microsoft.com/office/drawing/2014/main" id="{1B83E310-81D3-4935-AA0D-87EA212E2F8C}"/>
                </a:ext>
              </a:extLst>
            </p:cNvPr>
            <p:cNvSpPr/>
            <p:nvPr/>
          </p:nvSpPr>
          <p:spPr>
            <a:xfrm rot="8716295">
              <a:off x="1255636" y="480191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1" name="Forme libre : forme 440">
              <a:extLst>
                <a:ext uri="{FF2B5EF4-FFF2-40B4-BE49-F238E27FC236}">
                  <a16:creationId xmlns:a16="http://schemas.microsoft.com/office/drawing/2014/main" id="{8A0A400D-6D17-4603-B756-25D5B32DB841}"/>
                </a:ext>
              </a:extLst>
            </p:cNvPr>
            <p:cNvSpPr/>
            <p:nvPr/>
          </p:nvSpPr>
          <p:spPr>
            <a:xfrm rot="8716295">
              <a:off x="1054010" y="486121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2" name="Forme libre : forme 441">
              <a:extLst>
                <a:ext uri="{FF2B5EF4-FFF2-40B4-BE49-F238E27FC236}">
                  <a16:creationId xmlns:a16="http://schemas.microsoft.com/office/drawing/2014/main" id="{A46C9B70-DE37-4964-9FA4-17387E1BA45F}"/>
                </a:ext>
              </a:extLst>
            </p:cNvPr>
            <p:cNvSpPr/>
            <p:nvPr/>
          </p:nvSpPr>
          <p:spPr>
            <a:xfrm rot="8716295">
              <a:off x="929108" y="465254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3" name="Forme libre : forme 442">
              <a:extLst>
                <a:ext uri="{FF2B5EF4-FFF2-40B4-BE49-F238E27FC236}">
                  <a16:creationId xmlns:a16="http://schemas.microsoft.com/office/drawing/2014/main" id="{B9F4170A-6E5B-49E4-8193-4286DEBE2EC9}"/>
                </a:ext>
              </a:extLst>
            </p:cNvPr>
            <p:cNvSpPr/>
            <p:nvPr/>
          </p:nvSpPr>
          <p:spPr>
            <a:xfrm rot="8716295">
              <a:off x="1144188" y="490216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4" name="Forme libre : forme 443">
              <a:extLst>
                <a:ext uri="{FF2B5EF4-FFF2-40B4-BE49-F238E27FC236}">
                  <a16:creationId xmlns:a16="http://schemas.microsoft.com/office/drawing/2014/main" id="{9F81EDCD-5E16-426F-9754-D2A37212C8FE}"/>
                </a:ext>
              </a:extLst>
            </p:cNvPr>
            <p:cNvSpPr/>
            <p:nvPr/>
          </p:nvSpPr>
          <p:spPr>
            <a:xfrm rot="8716295">
              <a:off x="902737" y="475256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5" name="Forme libre : forme 444">
              <a:extLst>
                <a:ext uri="{FF2B5EF4-FFF2-40B4-BE49-F238E27FC236}">
                  <a16:creationId xmlns:a16="http://schemas.microsoft.com/office/drawing/2014/main" id="{179F229D-2224-4467-8649-9DF965D65362}"/>
                </a:ext>
              </a:extLst>
            </p:cNvPr>
            <p:cNvSpPr/>
            <p:nvPr/>
          </p:nvSpPr>
          <p:spPr>
            <a:xfrm rot="7484129">
              <a:off x="1313689" y="5058219"/>
              <a:ext cx="97325" cy="159603"/>
            </a:xfrm>
            <a:custGeom>
              <a:avLst/>
              <a:gdLst>
                <a:gd name="connsiteX0" fmla="*/ 0 w 97325"/>
                <a:gd name="connsiteY0" fmla="*/ 19052 h 159603"/>
                <a:gd name="connsiteX1" fmla="*/ 0 w 97325"/>
                <a:gd name="connsiteY1" fmla="*/ 0 h 159603"/>
                <a:gd name="connsiteX2" fmla="*/ 13209 w 97325"/>
                <a:gd name="connsiteY2" fmla="*/ 19052 h 159603"/>
                <a:gd name="connsiteX3" fmla="*/ 90710 w 97325"/>
                <a:gd name="connsiteY3" fmla="*/ 159603 h 159603"/>
                <a:gd name="connsiteX4" fmla="*/ 47847 w 97325"/>
                <a:gd name="connsiteY4" fmla="*/ 79858 h 159603"/>
                <a:gd name="connsiteX5" fmla="*/ 50421 w 97325"/>
                <a:gd name="connsiteY5" fmla="*/ 72721 h 159603"/>
                <a:gd name="connsiteX6" fmla="*/ 97325 w 97325"/>
                <a:gd name="connsiteY6" fmla="*/ 140370 h 159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7325" h="159603">
                  <a:moveTo>
                    <a:pt x="0" y="19052"/>
                  </a:moveTo>
                  <a:lnTo>
                    <a:pt x="0" y="0"/>
                  </a:lnTo>
                  <a:lnTo>
                    <a:pt x="13209" y="19052"/>
                  </a:lnTo>
                  <a:close/>
                  <a:moveTo>
                    <a:pt x="90710" y="159603"/>
                  </a:moveTo>
                  <a:lnTo>
                    <a:pt x="47847" y="79858"/>
                  </a:lnTo>
                  <a:lnTo>
                    <a:pt x="50421" y="72721"/>
                  </a:lnTo>
                  <a:lnTo>
                    <a:pt x="97325" y="14037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6" name="Forme libre : forme 445">
              <a:extLst>
                <a:ext uri="{FF2B5EF4-FFF2-40B4-BE49-F238E27FC236}">
                  <a16:creationId xmlns:a16="http://schemas.microsoft.com/office/drawing/2014/main" id="{0DC6D2C5-5676-4685-B6C7-B0D9124302BA}"/>
                </a:ext>
              </a:extLst>
            </p:cNvPr>
            <p:cNvSpPr/>
            <p:nvPr/>
          </p:nvSpPr>
          <p:spPr>
            <a:xfrm rot="13089394">
              <a:off x="1435176" y="5064332"/>
              <a:ext cx="213297" cy="83320"/>
            </a:xfrm>
            <a:custGeom>
              <a:avLst/>
              <a:gdLst>
                <a:gd name="connsiteX0" fmla="*/ 213297 w 213297"/>
                <a:gd name="connsiteY0" fmla="*/ 12691 h 83320"/>
                <a:gd name="connsiteX1" fmla="*/ 32310 w 213297"/>
                <a:gd name="connsiteY1" fmla="*/ 83320 h 83320"/>
                <a:gd name="connsiteX2" fmla="*/ 0 w 213297"/>
                <a:gd name="connsiteY2" fmla="*/ 77753 h 83320"/>
                <a:gd name="connsiteX3" fmla="*/ 69926 w 213297"/>
                <a:gd name="connsiteY3" fmla="*/ 22813 h 83320"/>
                <a:gd name="connsiteX4" fmla="*/ 94662 w 213297"/>
                <a:gd name="connsiteY4" fmla="*/ 36418 h 83320"/>
                <a:gd name="connsiteX5" fmla="*/ 144323 w 213297"/>
                <a:gd name="connsiteY5" fmla="*/ 27589 h 83320"/>
                <a:gd name="connsiteX6" fmla="*/ 212193 w 213297"/>
                <a:gd name="connsiteY6" fmla="*/ 0 h 83320"/>
                <a:gd name="connsiteX7" fmla="*/ 213297 w 213297"/>
                <a:gd name="connsiteY7" fmla="*/ 7173 h 83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3297" h="83320">
                  <a:moveTo>
                    <a:pt x="213297" y="12691"/>
                  </a:moveTo>
                  <a:cubicBezTo>
                    <a:pt x="154807" y="62904"/>
                    <a:pt x="78108" y="80561"/>
                    <a:pt x="32310" y="83320"/>
                  </a:cubicBezTo>
                  <a:lnTo>
                    <a:pt x="0" y="77753"/>
                  </a:lnTo>
                  <a:lnTo>
                    <a:pt x="69926" y="22813"/>
                  </a:lnTo>
                  <a:lnTo>
                    <a:pt x="94662" y="36418"/>
                  </a:lnTo>
                  <a:cubicBezTo>
                    <a:pt x="111768" y="35866"/>
                    <a:pt x="128321" y="32555"/>
                    <a:pt x="144323" y="27589"/>
                  </a:cubicBezTo>
                  <a:cubicBezTo>
                    <a:pt x="167498" y="20416"/>
                    <a:pt x="190122" y="11036"/>
                    <a:pt x="212193" y="0"/>
                  </a:cubicBezTo>
                  <a:cubicBezTo>
                    <a:pt x="212745" y="2207"/>
                    <a:pt x="213297" y="4966"/>
                    <a:pt x="213297" y="71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7" name="Forme libre : forme 446">
              <a:extLst>
                <a:ext uri="{FF2B5EF4-FFF2-40B4-BE49-F238E27FC236}">
                  <a16:creationId xmlns:a16="http://schemas.microsoft.com/office/drawing/2014/main" id="{933D0F57-4827-4379-ADFC-4E442A7AA9F5}"/>
                </a:ext>
              </a:extLst>
            </p:cNvPr>
            <p:cNvSpPr/>
            <p:nvPr/>
          </p:nvSpPr>
          <p:spPr>
            <a:xfrm rot="8716295">
              <a:off x="1539524" y="486837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8" name="Forme libre : forme 447">
              <a:extLst>
                <a:ext uri="{FF2B5EF4-FFF2-40B4-BE49-F238E27FC236}">
                  <a16:creationId xmlns:a16="http://schemas.microsoft.com/office/drawing/2014/main" id="{F2B3C0A6-3119-4AF6-9904-83AA6D24B4D4}"/>
                </a:ext>
              </a:extLst>
            </p:cNvPr>
            <p:cNvSpPr/>
            <p:nvPr/>
          </p:nvSpPr>
          <p:spPr>
            <a:xfrm rot="8716295">
              <a:off x="1487719" y="476477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9" name="Forme libre : forme 448">
              <a:extLst>
                <a:ext uri="{FF2B5EF4-FFF2-40B4-BE49-F238E27FC236}">
                  <a16:creationId xmlns:a16="http://schemas.microsoft.com/office/drawing/2014/main" id="{A101E396-638E-4D53-9DD4-DFCEEB801BC5}"/>
                </a:ext>
              </a:extLst>
            </p:cNvPr>
            <p:cNvSpPr/>
            <p:nvPr/>
          </p:nvSpPr>
          <p:spPr>
            <a:xfrm rot="8716295">
              <a:off x="1244473" y="479499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0" name="Forme libre : forme 449">
              <a:extLst>
                <a:ext uri="{FF2B5EF4-FFF2-40B4-BE49-F238E27FC236}">
                  <a16:creationId xmlns:a16="http://schemas.microsoft.com/office/drawing/2014/main" id="{67402E49-E65F-45DA-8073-25DB882ECA1B}"/>
                </a:ext>
              </a:extLst>
            </p:cNvPr>
            <p:cNvSpPr/>
            <p:nvPr/>
          </p:nvSpPr>
          <p:spPr>
            <a:xfrm rot="8716295">
              <a:off x="1421925" y="463575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1" name="Forme libre : forme 450">
              <a:extLst>
                <a:ext uri="{FF2B5EF4-FFF2-40B4-BE49-F238E27FC236}">
                  <a16:creationId xmlns:a16="http://schemas.microsoft.com/office/drawing/2014/main" id="{4AD140D5-5D83-48BA-8FB5-0AE18019D236}"/>
                </a:ext>
              </a:extLst>
            </p:cNvPr>
            <p:cNvSpPr/>
            <p:nvPr/>
          </p:nvSpPr>
          <p:spPr>
            <a:xfrm rot="8716295">
              <a:off x="-3428" y="2405990"/>
              <a:ext cx="142167" cy="208592"/>
            </a:xfrm>
            <a:custGeom>
              <a:avLst/>
              <a:gdLst>
                <a:gd name="connsiteX0" fmla="*/ 81108 w 142167"/>
                <a:gd name="connsiteY0" fmla="*/ 208592 h 208592"/>
                <a:gd name="connsiteX1" fmla="*/ 81108 w 142167"/>
                <a:gd name="connsiteY1" fmla="*/ 69717 h 208592"/>
                <a:gd name="connsiteX2" fmla="*/ 81108 w 142167"/>
                <a:gd name="connsiteY2" fmla="*/ 65615 h 208592"/>
                <a:gd name="connsiteX3" fmla="*/ 60604 w 142167"/>
                <a:gd name="connsiteY3" fmla="*/ 50123 h 208592"/>
                <a:gd name="connsiteX4" fmla="*/ 0 w 142167"/>
                <a:gd name="connsiteY4" fmla="*/ 50123 h 208592"/>
                <a:gd name="connsiteX5" fmla="*/ 0 w 142167"/>
                <a:gd name="connsiteY5" fmla="*/ 0 h 208592"/>
                <a:gd name="connsiteX6" fmla="*/ 85210 w 142167"/>
                <a:gd name="connsiteY6" fmla="*/ 0 h 208592"/>
                <a:gd name="connsiteX7" fmla="*/ 142167 w 142167"/>
                <a:gd name="connsiteY7" fmla="*/ 50123 h 208592"/>
                <a:gd name="connsiteX8" fmla="*/ 142167 w 142167"/>
                <a:gd name="connsiteY8" fmla="*/ 120504 h 20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08592">
                  <a:moveTo>
                    <a:pt x="81108" y="208592"/>
                  </a:moveTo>
                  <a:lnTo>
                    <a:pt x="81108" y="69717"/>
                  </a:lnTo>
                  <a:cubicBezTo>
                    <a:pt x="81108" y="68350"/>
                    <a:pt x="81108" y="66983"/>
                    <a:pt x="81108" y="65615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10" y="0"/>
                  </a:lnTo>
                  <a:cubicBezTo>
                    <a:pt x="122118" y="0"/>
                    <a:pt x="142167" y="15948"/>
                    <a:pt x="142167" y="50123"/>
                  </a:cubicBezTo>
                  <a:lnTo>
                    <a:pt x="142167" y="1205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2" name="Forme libre : forme 451">
              <a:extLst>
                <a:ext uri="{FF2B5EF4-FFF2-40B4-BE49-F238E27FC236}">
                  <a16:creationId xmlns:a16="http://schemas.microsoft.com/office/drawing/2014/main" id="{2BA0993E-9FAB-4AEE-B83B-4CF3D7902044}"/>
                </a:ext>
              </a:extLst>
            </p:cNvPr>
            <p:cNvSpPr/>
            <p:nvPr/>
          </p:nvSpPr>
          <p:spPr>
            <a:xfrm rot="8716295">
              <a:off x="80015" y="241329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3" name="Forme libre : forme 452">
              <a:extLst>
                <a:ext uri="{FF2B5EF4-FFF2-40B4-BE49-F238E27FC236}">
                  <a16:creationId xmlns:a16="http://schemas.microsoft.com/office/drawing/2014/main" id="{CCF3EEA8-B3F9-461B-98BC-F35553672A96}"/>
                </a:ext>
              </a:extLst>
            </p:cNvPr>
            <p:cNvSpPr/>
            <p:nvPr/>
          </p:nvSpPr>
          <p:spPr>
            <a:xfrm rot="8716295">
              <a:off x="35165" y="232701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4" name="Forme libre : forme 453">
              <a:extLst>
                <a:ext uri="{FF2B5EF4-FFF2-40B4-BE49-F238E27FC236}">
                  <a16:creationId xmlns:a16="http://schemas.microsoft.com/office/drawing/2014/main" id="{7409E8F1-7A32-4862-9918-61EE35F1B801}"/>
                </a:ext>
              </a:extLst>
            </p:cNvPr>
            <p:cNvSpPr/>
            <p:nvPr/>
          </p:nvSpPr>
          <p:spPr>
            <a:xfrm rot="8716295">
              <a:off x="-20257" y="2217087"/>
              <a:ext cx="78731" cy="180665"/>
            </a:xfrm>
            <a:custGeom>
              <a:avLst/>
              <a:gdLst>
                <a:gd name="connsiteX0" fmla="*/ 0 w 78731"/>
                <a:gd name="connsiteY0" fmla="*/ 180665 h 180665"/>
                <a:gd name="connsiteX1" fmla="*/ 0 w 78731"/>
                <a:gd name="connsiteY1" fmla="*/ 40596 h 180665"/>
                <a:gd name="connsiteX2" fmla="*/ 78250 w 78731"/>
                <a:gd name="connsiteY2" fmla="*/ 0 h 180665"/>
                <a:gd name="connsiteX3" fmla="*/ 78731 w 78731"/>
                <a:gd name="connsiteY3" fmla="*/ 67083 h 180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731" h="180665">
                  <a:moveTo>
                    <a:pt x="0" y="180665"/>
                  </a:moveTo>
                  <a:lnTo>
                    <a:pt x="0" y="40596"/>
                  </a:lnTo>
                  <a:lnTo>
                    <a:pt x="78250" y="0"/>
                  </a:lnTo>
                  <a:lnTo>
                    <a:pt x="78731" y="670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5" name="Forme libre : forme 454">
              <a:extLst>
                <a:ext uri="{FF2B5EF4-FFF2-40B4-BE49-F238E27FC236}">
                  <a16:creationId xmlns:a16="http://schemas.microsoft.com/office/drawing/2014/main" id="{D1FF2FF9-6448-4826-95B6-0FAE856B0348}"/>
                </a:ext>
              </a:extLst>
            </p:cNvPr>
            <p:cNvSpPr/>
            <p:nvPr/>
          </p:nvSpPr>
          <p:spPr>
            <a:xfrm rot="8716295">
              <a:off x="-15341" y="2575209"/>
              <a:ext cx="103435" cy="152027"/>
            </a:xfrm>
            <a:custGeom>
              <a:avLst/>
              <a:gdLst>
                <a:gd name="connsiteX0" fmla="*/ 43288 w 103435"/>
                <a:gd name="connsiteY0" fmla="*/ 152027 h 152027"/>
                <a:gd name="connsiteX1" fmla="*/ 43288 w 103435"/>
                <a:gd name="connsiteY1" fmla="*/ 16404 h 152027"/>
                <a:gd name="connsiteX2" fmla="*/ 0 w 103435"/>
                <a:gd name="connsiteY2" fmla="*/ 16404 h 152027"/>
                <a:gd name="connsiteX3" fmla="*/ 0 w 103435"/>
                <a:gd name="connsiteY3" fmla="*/ 2278 h 152027"/>
                <a:gd name="connsiteX4" fmla="*/ 103435 w 103435"/>
                <a:gd name="connsiteY4" fmla="*/ 0 h 152027"/>
                <a:gd name="connsiteX5" fmla="*/ 103435 w 103435"/>
                <a:gd name="connsiteY5" fmla="*/ 65255 h 152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152027">
                  <a:moveTo>
                    <a:pt x="43288" y="152027"/>
                  </a:move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652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6" name="Forme libre : forme 455">
              <a:extLst>
                <a:ext uri="{FF2B5EF4-FFF2-40B4-BE49-F238E27FC236}">
                  <a16:creationId xmlns:a16="http://schemas.microsoft.com/office/drawing/2014/main" id="{D4422BA3-5FC8-407B-A01D-69AD0749DDD6}"/>
                </a:ext>
              </a:extLst>
            </p:cNvPr>
            <p:cNvSpPr/>
            <p:nvPr/>
          </p:nvSpPr>
          <p:spPr>
            <a:xfrm rot="8716295">
              <a:off x="279722" y="21339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7" name="Forme libre : forme 456">
              <a:extLst>
                <a:ext uri="{FF2B5EF4-FFF2-40B4-BE49-F238E27FC236}">
                  <a16:creationId xmlns:a16="http://schemas.microsoft.com/office/drawing/2014/main" id="{D39FDC20-561D-4627-BA38-506D7FCF7089}"/>
                </a:ext>
              </a:extLst>
            </p:cNvPr>
            <p:cNvSpPr/>
            <p:nvPr/>
          </p:nvSpPr>
          <p:spPr>
            <a:xfrm rot="8716295">
              <a:off x="369114" y="21631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8" name="Forme libre : forme 457">
              <a:extLst>
                <a:ext uri="{FF2B5EF4-FFF2-40B4-BE49-F238E27FC236}">
                  <a16:creationId xmlns:a16="http://schemas.microsoft.com/office/drawing/2014/main" id="{D14C1499-CA5F-496B-8BEC-69E04E19EA0D}"/>
                </a:ext>
              </a:extLst>
            </p:cNvPr>
            <p:cNvSpPr/>
            <p:nvPr/>
          </p:nvSpPr>
          <p:spPr>
            <a:xfrm rot="8716295">
              <a:off x="167488" y="22224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9" name="Forme libre : forme 458">
              <a:extLst>
                <a:ext uri="{FF2B5EF4-FFF2-40B4-BE49-F238E27FC236}">
                  <a16:creationId xmlns:a16="http://schemas.microsoft.com/office/drawing/2014/main" id="{193174EE-CFBC-438F-B1BB-D3ADA063388E}"/>
                </a:ext>
              </a:extLst>
            </p:cNvPr>
            <p:cNvSpPr/>
            <p:nvPr/>
          </p:nvSpPr>
          <p:spPr>
            <a:xfrm rot="8716295">
              <a:off x="42586" y="20137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0" name="Forme libre : forme 459">
              <a:extLst>
                <a:ext uri="{FF2B5EF4-FFF2-40B4-BE49-F238E27FC236}">
                  <a16:creationId xmlns:a16="http://schemas.microsoft.com/office/drawing/2014/main" id="{7E2244BC-364D-47B4-8B77-1ABDEF1DBB36}"/>
                </a:ext>
              </a:extLst>
            </p:cNvPr>
            <p:cNvSpPr/>
            <p:nvPr/>
          </p:nvSpPr>
          <p:spPr>
            <a:xfrm rot="8716295">
              <a:off x="257666" y="226339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1" name="Forme libre : forme 460">
              <a:extLst>
                <a:ext uri="{FF2B5EF4-FFF2-40B4-BE49-F238E27FC236}">
                  <a16:creationId xmlns:a16="http://schemas.microsoft.com/office/drawing/2014/main" id="{88E8FCAA-5A69-41AD-9BBF-E06402368569}"/>
                </a:ext>
              </a:extLst>
            </p:cNvPr>
            <p:cNvSpPr/>
            <p:nvPr/>
          </p:nvSpPr>
          <p:spPr>
            <a:xfrm rot="8716295">
              <a:off x="16215" y="211379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2" name="Forme libre : forme 461">
              <a:extLst>
                <a:ext uri="{FF2B5EF4-FFF2-40B4-BE49-F238E27FC236}">
                  <a16:creationId xmlns:a16="http://schemas.microsoft.com/office/drawing/2014/main" id="{2C0CE443-0100-47A6-BB72-6A7BBA3B084B}"/>
                </a:ext>
              </a:extLst>
            </p:cNvPr>
            <p:cNvSpPr/>
            <p:nvPr/>
          </p:nvSpPr>
          <p:spPr>
            <a:xfrm rot="7484129">
              <a:off x="362597" y="245474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3" name="Forme libre : forme 462">
              <a:extLst>
                <a:ext uri="{FF2B5EF4-FFF2-40B4-BE49-F238E27FC236}">
                  <a16:creationId xmlns:a16="http://schemas.microsoft.com/office/drawing/2014/main" id="{AE6C94D5-06F7-4134-9BDD-8703B8C3642E}"/>
                </a:ext>
              </a:extLst>
            </p:cNvPr>
            <p:cNvSpPr/>
            <p:nvPr/>
          </p:nvSpPr>
          <p:spPr>
            <a:xfrm rot="13089394">
              <a:off x="467417" y="242128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4" name="Forme libre : forme 463">
              <a:extLst>
                <a:ext uri="{FF2B5EF4-FFF2-40B4-BE49-F238E27FC236}">
                  <a16:creationId xmlns:a16="http://schemas.microsoft.com/office/drawing/2014/main" id="{90543D7D-143B-4ADD-B896-F2C09B360BC1}"/>
                </a:ext>
              </a:extLst>
            </p:cNvPr>
            <p:cNvSpPr/>
            <p:nvPr/>
          </p:nvSpPr>
          <p:spPr>
            <a:xfrm rot="8716295">
              <a:off x="653002" y="222960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5" name="Forme libre : forme 464">
              <a:extLst>
                <a:ext uri="{FF2B5EF4-FFF2-40B4-BE49-F238E27FC236}">
                  <a16:creationId xmlns:a16="http://schemas.microsoft.com/office/drawing/2014/main" id="{0A3F3F5B-79C0-41C7-8F17-B5752CC6E817}"/>
                </a:ext>
              </a:extLst>
            </p:cNvPr>
            <p:cNvSpPr/>
            <p:nvPr/>
          </p:nvSpPr>
          <p:spPr>
            <a:xfrm rot="8716295">
              <a:off x="601197" y="21260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6" name="Forme libre : forme 465">
              <a:extLst>
                <a:ext uri="{FF2B5EF4-FFF2-40B4-BE49-F238E27FC236}">
                  <a16:creationId xmlns:a16="http://schemas.microsoft.com/office/drawing/2014/main" id="{69D0AA2C-A5BB-4B7B-BB03-432400F6F2C5}"/>
                </a:ext>
              </a:extLst>
            </p:cNvPr>
            <p:cNvSpPr/>
            <p:nvPr/>
          </p:nvSpPr>
          <p:spPr>
            <a:xfrm rot="8716295">
              <a:off x="357951" y="21562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7" name="Forme libre : forme 466">
              <a:extLst>
                <a:ext uri="{FF2B5EF4-FFF2-40B4-BE49-F238E27FC236}">
                  <a16:creationId xmlns:a16="http://schemas.microsoft.com/office/drawing/2014/main" id="{82D68D60-D905-4F9D-9F1E-9018FDA856E2}"/>
                </a:ext>
              </a:extLst>
            </p:cNvPr>
            <p:cNvSpPr/>
            <p:nvPr/>
          </p:nvSpPr>
          <p:spPr>
            <a:xfrm rot="8716295">
              <a:off x="535403" y="199698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8" name="Forme libre : forme 467">
              <a:extLst>
                <a:ext uri="{FF2B5EF4-FFF2-40B4-BE49-F238E27FC236}">
                  <a16:creationId xmlns:a16="http://schemas.microsoft.com/office/drawing/2014/main" id="{E3253363-EB34-44DB-883A-13B6DE6143A2}"/>
                </a:ext>
              </a:extLst>
            </p:cNvPr>
            <p:cNvSpPr/>
            <p:nvPr/>
          </p:nvSpPr>
          <p:spPr>
            <a:xfrm rot="8716295">
              <a:off x="-76043" y="1768178"/>
              <a:ext cx="197178" cy="215049"/>
            </a:xfrm>
            <a:custGeom>
              <a:avLst/>
              <a:gdLst>
                <a:gd name="connsiteX0" fmla="*/ 51490 w 197178"/>
                <a:gd name="connsiteY0" fmla="*/ 215049 h 215049"/>
                <a:gd name="connsiteX1" fmla="*/ 51490 w 197178"/>
                <a:gd name="connsiteY1" fmla="*/ 45624 h 215049"/>
                <a:gd name="connsiteX2" fmla="*/ 0 w 197178"/>
                <a:gd name="connsiteY2" fmla="*/ 45624 h 215049"/>
                <a:gd name="connsiteX3" fmla="*/ 0 w 197178"/>
                <a:gd name="connsiteY3" fmla="*/ 1424 h 215049"/>
                <a:gd name="connsiteX4" fmla="*/ 104803 w 197178"/>
                <a:gd name="connsiteY4" fmla="*/ 1425 h 215049"/>
                <a:gd name="connsiteX5" fmla="*/ 104803 w 197178"/>
                <a:gd name="connsiteY5" fmla="*/ 75242 h 215049"/>
                <a:gd name="connsiteX6" fmla="*/ 106169 w 197178"/>
                <a:gd name="connsiteY6" fmla="*/ 75242 h 215049"/>
                <a:gd name="connsiteX7" fmla="*/ 154014 w 197178"/>
                <a:gd name="connsiteY7" fmla="*/ 5981 h 215049"/>
                <a:gd name="connsiteX8" fmla="*/ 185455 w 197178"/>
                <a:gd name="connsiteY8" fmla="*/ 57 h 215049"/>
                <a:gd name="connsiteX9" fmla="*/ 197178 w 197178"/>
                <a:gd name="connsiteY9" fmla="*/ 4872 h 215049"/>
                <a:gd name="connsiteX10" fmla="*/ 170795 w 197178"/>
                <a:gd name="connsiteY10" fmla="*/ 42934 h 215049"/>
                <a:gd name="connsiteX11" fmla="*/ 164950 w 197178"/>
                <a:gd name="connsiteY11" fmla="*/ 40156 h 215049"/>
                <a:gd name="connsiteX12" fmla="*/ 111638 w 197178"/>
                <a:gd name="connsiteY12" fmla="*/ 127643 h 215049"/>
                <a:gd name="connsiteX13" fmla="*/ 111638 w 197178"/>
                <a:gd name="connsiteY13" fmla="*/ 128277 h 21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178" h="215049">
                  <a:moveTo>
                    <a:pt x="51490" y="215049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4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lnTo>
                    <a:pt x="197178" y="4872"/>
                  </a:lnTo>
                  <a:lnTo>
                    <a:pt x="170795" y="42934"/>
                  </a:lnTo>
                  <a:lnTo>
                    <a:pt x="164950" y="40156"/>
                  </a:ln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1282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9" name="Forme libre : forme 468">
              <a:extLst>
                <a:ext uri="{FF2B5EF4-FFF2-40B4-BE49-F238E27FC236}">
                  <a16:creationId xmlns:a16="http://schemas.microsoft.com/office/drawing/2014/main" id="{13CAFE6B-0A3E-486D-8691-4D8C7920E841}"/>
                </a:ext>
              </a:extLst>
            </p:cNvPr>
            <p:cNvSpPr/>
            <p:nvPr/>
          </p:nvSpPr>
          <p:spPr>
            <a:xfrm rot="8716295">
              <a:off x="56555" y="14742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0" name="Forme libre : forme 469">
              <a:extLst>
                <a:ext uri="{FF2B5EF4-FFF2-40B4-BE49-F238E27FC236}">
                  <a16:creationId xmlns:a16="http://schemas.microsoft.com/office/drawing/2014/main" id="{AAF44C60-8776-4956-B0ED-2BB1FFCE9812}"/>
                </a:ext>
              </a:extLst>
            </p:cNvPr>
            <p:cNvSpPr/>
            <p:nvPr/>
          </p:nvSpPr>
          <p:spPr>
            <a:xfrm rot="8716295">
              <a:off x="145947" y="15034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1" name="Forme libre : forme 470">
              <a:extLst>
                <a:ext uri="{FF2B5EF4-FFF2-40B4-BE49-F238E27FC236}">
                  <a16:creationId xmlns:a16="http://schemas.microsoft.com/office/drawing/2014/main" id="{5A27D428-CE77-42C1-B8CA-3A227D5DF411}"/>
                </a:ext>
              </a:extLst>
            </p:cNvPr>
            <p:cNvSpPr/>
            <p:nvPr/>
          </p:nvSpPr>
          <p:spPr>
            <a:xfrm rot="8716295">
              <a:off x="-21870" y="1443501"/>
              <a:ext cx="68614" cy="55323"/>
            </a:xfrm>
            <a:custGeom>
              <a:avLst/>
              <a:gdLst>
                <a:gd name="connsiteX0" fmla="*/ 0 w 68614"/>
                <a:gd name="connsiteY0" fmla="*/ 55323 h 55323"/>
                <a:gd name="connsiteX1" fmla="*/ 0 w 68614"/>
                <a:gd name="connsiteY1" fmla="*/ 0 h 55323"/>
                <a:gd name="connsiteX2" fmla="*/ 68614 w 68614"/>
                <a:gd name="connsiteY2" fmla="*/ 0 h 55323"/>
                <a:gd name="connsiteX3" fmla="*/ 30266 w 68614"/>
                <a:gd name="connsiteY3" fmla="*/ 55323 h 55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614" h="55323">
                  <a:moveTo>
                    <a:pt x="0" y="55323"/>
                  </a:moveTo>
                  <a:lnTo>
                    <a:pt x="0" y="0"/>
                  </a:lnTo>
                  <a:lnTo>
                    <a:pt x="68614" y="0"/>
                  </a:lnTo>
                  <a:lnTo>
                    <a:pt x="30266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2" name="Forme libre : forme 471">
              <a:extLst>
                <a:ext uri="{FF2B5EF4-FFF2-40B4-BE49-F238E27FC236}">
                  <a16:creationId xmlns:a16="http://schemas.microsoft.com/office/drawing/2014/main" id="{DF9A3F72-B629-4ECA-8440-27AD7A8DC93E}"/>
                </a:ext>
              </a:extLst>
            </p:cNvPr>
            <p:cNvSpPr/>
            <p:nvPr/>
          </p:nvSpPr>
          <p:spPr>
            <a:xfrm rot="8716295">
              <a:off x="35817" y="1618109"/>
              <a:ext cx="103435" cy="203897"/>
            </a:xfrm>
            <a:custGeom>
              <a:avLst/>
              <a:gdLst>
                <a:gd name="connsiteX0" fmla="*/ 87556 w 103435"/>
                <a:gd name="connsiteY0" fmla="*/ 203897 h 203897"/>
                <a:gd name="connsiteX1" fmla="*/ 43288 w 103435"/>
                <a:gd name="connsiteY1" fmla="*/ 161305 h 203897"/>
                <a:gd name="connsiteX2" fmla="*/ 43288 w 103435"/>
                <a:gd name="connsiteY2" fmla="*/ 16404 h 203897"/>
                <a:gd name="connsiteX3" fmla="*/ 0 w 103435"/>
                <a:gd name="connsiteY3" fmla="*/ 16404 h 203897"/>
                <a:gd name="connsiteX4" fmla="*/ 0 w 103435"/>
                <a:gd name="connsiteY4" fmla="*/ 2278 h 203897"/>
                <a:gd name="connsiteX5" fmla="*/ 103435 w 103435"/>
                <a:gd name="connsiteY5" fmla="*/ 0 h 203897"/>
                <a:gd name="connsiteX6" fmla="*/ 103435 w 103435"/>
                <a:gd name="connsiteY6" fmla="*/ 180989 h 203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03897">
                  <a:moveTo>
                    <a:pt x="87556" y="203897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1809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3" name="Forme libre : forme 472">
              <a:extLst>
                <a:ext uri="{FF2B5EF4-FFF2-40B4-BE49-F238E27FC236}">
                  <a16:creationId xmlns:a16="http://schemas.microsoft.com/office/drawing/2014/main" id="{8E07B202-4136-4FA5-B44B-66518FBBBBA3}"/>
                </a:ext>
              </a:extLst>
            </p:cNvPr>
            <p:cNvSpPr/>
            <p:nvPr/>
          </p:nvSpPr>
          <p:spPr>
            <a:xfrm rot="7484129">
              <a:off x="139430" y="17950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4" name="Forme libre : forme 473">
              <a:extLst>
                <a:ext uri="{FF2B5EF4-FFF2-40B4-BE49-F238E27FC236}">
                  <a16:creationId xmlns:a16="http://schemas.microsoft.com/office/drawing/2014/main" id="{34554139-A9A2-4D5D-81E5-F4C0EE65204A}"/>
                </a:ext>
              </a:extLst>
            </p:cNvPr>
            <p:cNvSpPr/>
            <p:nvPr/>
          </p:nvSpPr>
          <p:spPr>
            <a:xfrm rot="13089394">
              <a:off x="244250" y="17615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5" name="Forme libre : forme 474">
              <a:extLst>
                <a:ext uri="{FF2B5EF4-FFF2-40B4-BE49-F238E27FC236}">
                  <a16:creationId xmlns:a16="http://schemas.microsoft.com/office/drawing/2014/main" id="{AB2F70AF-AA56-4CAD-ADF4-0833FC541883}"/>
                </a:ext>
              </a:extLst>
            </p:cNvPr>
            <p:cNvSpPr/>
            <p:nvPr/>
          </p:nvSpPr>
          <p:spPr>
            <a:xfrm rot="8716295">
              <a:off x="429835" y="15699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6" name="Forme libre : forme 475">
              <a:extLst>
                <a:ext uri="{FF2B5EF4-FFF2-40B4-BE49-F238E27FC236}">
                  <a16:creationId xmlns:a16="http://schemas.microsoft.com/office/drawing/2014/main" id="{75BBDF35-8448-40A6-BE33-7EEF756160B0}"/>
                </a:ext>
              </a:extLst>
            </p:cNvPr>
            <p:cNvSpPr/>
            <p:nvPr/>
          </p:nvSpPr>
          <p:spPr>
            <a:xfrm rot="8716295">
              <a:off x="378030" y="14663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7" name="Forme libre : forme 476">
              <a:extLst>
                <a:ext uri="{FF2B5EF4-FFF2-40B4-BE49-F238E27FC236}">
                  <a16:creationId xmlns:a16="http://schemas.microsoft.com/office/drawing/2014/main" id="{423A5D9B-DC1A-419A-9AFB-176F76ADBA77}"/>
                </a:ext>
              </a:extLst>
            </p:cNvPr>
            <p:cNvSpPr/>
            <p:nvPr/>
          </p:nvSpPr>
          <p:spPr>
            <a:xfrm rot="8716295">
              <a:off x="134784" y="14965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8" name="Forme libre : forme 477">
              <a:extLst>
                <a:ext uri="{FF2B5EF4-FFF2-40B4-BE49-F238E27FC236}">
                  <a16:creationId xmlns:a16="http://schemas.microsoft.com/office/drawing/2014/main" id="{09A04993-945B-4073-A4A3-49D8F429837D}"/>
                </a:ext>
              </a:extLst>
            </p:cNvPr>
            <p:cNvSpPr/>
            <p:nvPr/>
          </p:nvSpPr>
          <p:spPr>
            <a:xfrm rot="8716295">
              <a:off x="312236" y="13372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9" name="Forme libre : forme 478">
              <a:extLst>
                <a:ext uri="{FF2B5EF4-FFF2-40B4-BE49-F238E27FC236}">
                  <a16:creationId xmlns:a16="http://schemas.microsoft.com/office/drawing/2014/main" id="{F26589E4-0AEF-428F-8239-E3EDEF00E7E4}"/>
                </a:ext>
              </a:extLst>
            </p:cNvPr>
            <p:cNvSpPr/>
            <p:nvPr/>
          </p:nvSpPr>
          <p:spPr>
            <a:xfrm rot="8716295">
              <a:off x="-17798" y="949199"/>
              <a:ext cx="39526" cy="50123"/>
            </a:xfrm>
            <a:custGeom>
              <a:avLst/>
              <a:gdLst>
                <a:gd name="connsiteX0" fmla="*/ 0 w 39526"/>
                <a:gd name="connsiteY0" fmla="*/ 50123 h 50123"/>
                <a:gd name="connsiteX1" fmla="*/ 0 w 39526"/>
                <a:gd name="connsiteY1" fmla="*/ 0 h 50123"/>
                <a:gd name="connsiteX2" fmla="*/ 39526 w 39526"/>
                <a:gd name="connsiteY2" fmla="*/ 0 h 50123"/>
                <a:gd name="connsiteX3" fmla="*/ 4782 w 39526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26" h="50123">
                  <a:moveTo>
                    <a:pt x="0" y="50123"/>
                  </a:moveTo>
                  <a:lnTo>
                    <a:pt x="0" y="0"/>
                  </a:lnTo>
                  <a:lnTo>
                    <a:pt x="39526" y="0"/>
                  </a:lnTo>
                  <a:lnTo>
                    <a:pt x="4782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0" name="Forme libre : forme 479">
              <a:extLst>
                <a:ext uri="{FF2B5EF4-FFF2-40B4-BE49-F238E27FC236}">
                  <a16:creationId xmlns:a16="http://schemas.microsoft.com/office/drawing/2014/main" id="{4C4296DE-55F9-4C4A-97B0-A63397A7DF77}"/>
                </a:ext>
              </a:extLst>
            </p:cNvPr>
            <p:cNvSpPr/>
            <p:nvPr/>
          </p:nvSpPr>
          <p:spPr>
            <a:xfrm rot="8716295">
              <a:off x="-64996" y="834728"/>
              <a:ext cx="249650" cy="254774"/>
            </a:xfrm>
            <a:custGeom>
              <a:avLst/>
              <a:gdLst>
                <a:gd name="connsiteX0" fmla="*/ 51490 w 249650"/>
                <a:gd name="connsiteY0" fmla="*/ 254774 h 254774"/>
                <a:gd name="connsiteX1" fmla="*/ 51490 w 249650"/>
                <a:gd name="connsiteY1" fmla="*/ 45624 h 254774"/>
                <a:gd name="connsiteX2" fmla="*/ 0 w 249650"/>
                <a:gd name="connsiteY2" fmla="*/ 45624 h 254774"/>
                <a:gd name="connsiteX3" fmla="*/ 0 w 249650"/>
                <a:gd name="connsiteY3" fmla="*/ 1425 h 254774"/>
                <a:gd name="connsiteX4" fmla="*/ 104803 w 249650"/>
                <a:gd name="connsiteY4" fmla="*/ 1425 h 254774"/>
                <a:gd name="connsiteX5" fmla="*/ 104803 w 249650"/>
                <a:gd name="connsiteY5" fmla="*/ 75242 h 254774"/>
                <a:gd name="connsiteX6" fmla="*/ 106169 w 249650"/>
                <a:gd name="connsiteY6" fmla="*/ 75242 h 254774"/>
                <a:gd name="connsiteX7" fmla="*/ 154014 w 249650"/>
                <a:gd name="connsiteY7" fmla="*/ 5981 h 254774"/>
                <a:gd name="connsiteX8" fmla="*/ 185455 w 249650"/>
                <a:gd name="connsiteY8" fmla="*/ 57 h 254774"/>
                <a:gd name="connsiteX9" fmla="*/ 240647 w 249650"/>
                <a:gd name="connsiteY9" fmla="*/ 22727 h 254774"/>
                <a:gd name="connsiteX10" fmla="*/ 249650 w 249650"/>
                <a:gd name="connsiteY10" fmla="*/ 52327 h 254774"/>
                <a:gd name="connsiteX11" fmla="*/ 218795 w 249650"/>
                <a:gd name="connsiteY11" fmla="*/ 96841 h 254774"/>
                <a:gd name="connsiteX12" fmla="*/ 198669 w 249650"/>
                <a:gd name="connsiteY12" fmla="*/ 98025 h 254774"/>
                <a:gd name="connsiteX13" fmla="*/ 198669 w 249650"/>
                <a:gd name="connsiteY13" fmla="*/ 81621 h 254774"/>
                <a:gd name="connsiteX14" fmla="*/ 164950 w 249650"/>
                <a:gd name="connsiteY14" fmla="*/ 40156 h 254774"/>
                <a:gd name="connsiteX15" fmla="*/ 111638 w 249650"/>
                <a:gd name="connsiteY15" fmla="*/ 127643 h 254774"/>
                <a:gd name="connsiteX16" fmla="*/ 111638 w 249650"/>
                <a:gd name="connsiteY16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9650" h="254774">
                  <a:moveTo>
                    <a:pt x="51490" y="254774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08922" y="-398"/>
                    <a:pt x="227718" y="7576"/>
                    <a:pt x="240647" y="22727"/>
                  </a:cubicBezTo>
                  <a:lnTo>
                    <a:pt x="249650" y="52327"/>
                  </a:lnTo>
                  <a:lnTo>
                    <a:pt x="218795" y="96841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1" name="Forme libre : forme 480">
              <a:extLst>
                <a:ext uri="{FF2B5EF4-FFF2-40B4-BE49-F238E27FC236}">
                  <a16:creationId xmlns:a16="http://schemas.microsoft.com/office/drawing/2014/main" id="{5A2819AD-E741-4041-ACED-C828CEF01D2A}"/>
                </a:ext>
              </a:extLst>
            </p:cNvPr>
            <p:cNvSpPr/>
            <p:nvPr/>
          </p:nvSpPr>
          <p:spPr>
            <a:xfrm rot="7484129">
              <a:off x="-63314" y="1172497"/>
              <a:ext cx="203848" cy="146395"/>
            </a:xfrm>
            <a:custGeom>
              <a:avLst/>
              <a:gdLst>
                <a:gd name="connsiteX0" fmla="*/ 0 w 203848"/>
                <a:gd name="connsiteY0" fmla="*/ 55323 h 146395"/>
                <a:gd name="connsiteX1" fmla="*/ 0 w 203848"/>
                <a:gd name="connsiteY1" fmla="*/ 0 h 146395"/>
                <a:gd name="connsiteX2" fmla="*/ 203848 w 203848"/>
                <a:gd name="connsiteY2" fmla="*/ 0 h 146395"/>
                <a:gd name="connsiteX3" fmla="*/ 203847 w 203848"/>
                <a:gd name="connsiteY3" fmla="*/ 49512 h 146395"/>
                <a:gd name="connsiteX4" fmla="*/ 195466 w 203848"/>
                <a:gd name="connsiteY4" fmla="*/ 55323 h 146395"/>
                <a:gd name="connsiteX5" fmla="*/ 139055 w 203848"/>
                <a:gd name="connsiteY5" fmla="*/ 55323 h 146395"/>
                <a:gd name="connsiteX6" fmla="*/ 121388 w 203848"/>
                <a:gd name="connsiteY6" fmla="*/ 106685 h 146395"/>
                <a:gd name="connsiteX7" fmla="*/ 64115 w 203848"/>
                <a:gd name="connsiteY7" fmla="*/ 146395 h 146395"/>
                <a:gd name="connsiteX8" fmla="*/ 47847 w 203848"/>
                <a:gd name="connsiteY8" fmla="*/ 116129 h 146395"/>
                <a:gd name="connsiteX9" fmla="*/ 69777 w 203848"/>
                <a:gd name="connsiteY9" fmla="*/ 55323 h 146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848" h="146395">
                  <a:moveTo>
                    <a:pt x="0" y="55323"/>
                  </a:moveTo>
                  <a:lnTo>
                    <a:pt x="0" y="0"/>
                  </a:lnTo>
                  <a:lnTo>
                    <a:pt x="203848" y="0"/>
                  </a:lnTo>
                  <a:lnTo>
                    <a:pt x="203847" y="49512"/>
                  </a:lnTo>
                  <a:lnTo>
                    <a:pt x="195466" y="55323"/>
                  </a:lnTo>
                  <a:lnTo>
                    <a:pt x="139055" y="55323"/>
                  </a:lnTo>
                  <a:lnTo>
                    <a:pt x="121388" y="106685"/>
                  </a:lnTo>
                  <a:lnTo>
                    <a:pt x="64115" y="146395"/>
                  </a:lnTo>
                  <a:lnTo>
                    <a:pt x="47847" y="116129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2" name="Forme libre : forme 481">
              <a:extLst>
                <a:ext uri="{FF2B5EF4-FFF2-40B4-BE49-F238E27FC236}">
                  <a16:creationId xmlns:a16="http://schemas.microsoft.com/office/drawing/2014/main" id="{BF19A776-F6DB-4B5F-AAC3-71AD58912554}"/>
                </a:ext>
              </a:extLst>
            </p:cNvPr>
            <p:cNvSpPr/>
            <p:nvPr/>
          </p:nvSpPr>
          <p:spPr>
            <a:xfrm rot="13089394">
              <a:off x="25311" y="109952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3" name="Forme libre : forme 482">
              <a:extLst>
                <a:ext uri="{FF2B5EF4-FFF2-40B4-BE49-F238E27FC236}">
                  <a16:creationId xmlns:a16="http://schemas.microsoft.com/office/drawing/2014/main" id="{1F910699-3B12-45BE-B517-E2166075FFC7}"/>
                </a:ext>
              </a:extLst>
            </p:cNvPr>
            <p:cNvSpPr/>
            <p:nvPr/>
          </p:nvSpPr>
          <p:spPr>
            <a:xfrm rot="8716295">
              <a:off x="210896" y="90784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4" name="Forme libre : forme 483">
              <a:extLst>
                <a:ext uri="{FF2B5EF4-FFF2-40B4-BE49-F238E27FC236}">
                  <a16:creationId xmlns:a16="http://schemas.microsoft.com/office/drawing/2014/main" id="{A819C2A4-F35F-43E8-9AB1-07103AECD990}"/>
                </a:ext>
              </a:extLst>
            </p:cNvPr>
            <p:cNvSpPr/>
            <p:nvPr/>
          </p:nvSpPr>
          <p:spPr>
            <a:xfrm rot="8716295">
              <a:off x="159091" y="80425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5" name="Forme libre : forme 484">
              <a:extLst>
                <a:ext uri="{FF2B5EF4-FFF2-40B4-BE49-F238E27FC236}">
                  <a16:creationId xmlns:a16="http://schemas.microsoft.com/office/drawing/2014/main" id="{F748C402-EDBB-4B63-B49E-2F4080A37ADD}"/>
                </a:ext>
              </a:extLst>
            </p:cNvPr>
            <p:cNvSpPr/>
            <p:nvPr/>
          </p:nvSpPr>
          <p:spPr>
            <a:xfrm rot="8716295">
              <a:off x="93297" y="67523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6" name="Forme libre : forme 485">
              <a:extLst>
                <a:ext uri="{FF2B5EF4-FFF2-40B4-BE49-F238E27FC236}">
                  <a16:creationId xmlns:a16="http://schemas.microsoft.com/office/drawing/2014/main" id="{73609A63-0E69-42A0-8437-604DF28699ED}"/>
                </a:ext>
              </a:extLst>
            </p:cNvPr>
            <p:cNvSpPr/>
            <p:nvPr/>
          </p:nvSpPr>
          <p:spPr>
            <a:xfrm rot="8716295">
              <a:off x="-7001" y="316701"/>
              <a:ext cx="14001" cy="20198"/>
            </a:xfrm>
            <a:custGeom>
              <a:avLst/>
              <a:gdLst>
                <a:gd name="connsiteX0" fmla="*/ 0 w 14001"/>
                <a:gd name="connsiteY0" fmla="*/ 20198 h 20198"/>
                <a:gd name="connsiteX1" fmla="*/ 0 w 14001"/>
                <a:gd name="connsiteY1" fmla="*/ 0 h 20198"/>
                <a:gd name="connsiteX2" fmla="*/ 14001 w 14001"/>
                <a:gd name="connsiteY2" fmla="*/ 0 h 2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01" h="20198">
                  <a:moveTo>
                    <a:pt x="0" y="20198"/>
                  </a:moveTo>
                  <a:lnTo>
                    <a:pt x="0" y="0"/>
                  </a:lnTo>
                  <a:lnTo>
                    <a:pt x="1400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7" name="Forme libre : forme 486">
              <a:extLst>
                <a:ext uri="{FF2B5EF4-FFF2-40B4-BE49-F238E27FC236}">
                  <a16:creationId xmlns:a16="http://schemas.microsoft.com/office/drawing/2014/main" id="{577CC5F5-15C9-4008-90A0-668217098FFB}"/>
                </a:ext>
              </a:extLst>
            </p:cNvPr>
            <p:cNvSpPr/>
            <p:nvPr/>
          </p:nvSpPr>
          <p:spPr>
            <a:xfrm rot="13089394">
              <a:off x="-81658" y="472652"/>
              <a:ext cx="173631" cy="237684"/>
            </a:xfrm>
            <a:custGeom>
              <a:avLst/>
              <a:gdLst>
                <a:gd name="connsiteX0" fmla="*/ 173631 w 173631"/>
                <a:gd name="connsiteY0" fmla="*/ 220990 h 237684"/>
                <a:gd name="connsiteX1" fmla="*/ 130972 w 173631"/>
                <a:gd name="connsiteY1" fmla="*/ 232382 h 237684"/>
                <a:gd name="connsiteX2" fmla="*/ 91597 w 173631"/>
                <a:gd name="connsiteY2" fmla="*/ 237521 h 237684"/>
                <a:gd name="connsiteX3" fmla="*/ 23727 w 173631"/>
                <a:gd name="connsiteY3" fmla="*/ 209931 h 237684"/>
                <a:gd name="connsiteX4" fmla="*/ 0 w 173631"/>
                <a:gd name="connsiteY4" fmla="*/ 115023 h 237684"/>
                <a:gd name="connsiteX5" fmla="*/ 0 w 173631"/>
                <a:gd name="connsiteY5" fmla="*/ 0 h 237684"/>
                <a:gd name="connsiteX6" fmla="*/ 76176 w 173631"/>
                <a:gd name="connsiteY6" fmla="*/ 96953 h 237684"/>
                <a:gd name="connsiteX7" fmla="*/ 76768 w 173631"/>
                <a:gd name="connsiteY7" fmla="*/ 109023 h 237684"/>
                <a:gd name="connsiteX8" fmla="*/ 87734 w 173631"/>
                <a:gd name="connsiteY8" fmla="*/ 154201 h 237684"/>
                <a:gd name="connsiteX9" fmla="*/ 111117 w 173631"/>
                <a:gd name="connsiteY9" fmla="*/ 181514 h 237684"/>
                <a:gd name="connsiteX10" fmla="*/ 148930 w 173631"/>
                <a:gd name="connsiteY10" fmla="*/ 189552 h 237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3631" h="237684">
                  <a:moveTo>
                    <a:pt x="173631" y="220990"/>
                  </a:moveTo>
                  <a:lnTo>
                    <a:pt x="130972" y="232382"/>
                  </a:lnTo>
                  <a:cubicBezTo>
                    <a:pt x="116428" y="235210"/>
                    <a:pt x="103047" y="236831"/>
                    <a:pt x="91597" y="237521"/>
                  </a:cubicBezTo>
                  <a:cubicBezTo>
                    <a:pt x="66215" y="239176"/>
                    <a:pt x="41384" y="228141"/>
                    <a:pt x="23727" y="209931"/>
                  </a:cubicBezTo>
                  <a:cubicBezTo>
                    <a:pt x="4966" y="191722"/>
                    <a:pt x="0" y="160270"/>
                    <a:pt x="0" y="115023"/>
                  </a:cubicBezTo>
                  <a:lnTo>
                    <a:pt x="0" y="0"/>
                  </a:lnTo>
                  <a:lnTo>
                    <a:pt x="76176" y="96953"/>
                  </a:lnTo>
                  <a:lnTo>
                    <a:pt x="76768" y="109023"/>
                  </a:lnTo>
                  <a:cubicBezTo>
                    <a:pt x="79044" y="124404"/>
                    <a:pt x="82768" y="139578"/>
                    <a:pt x="87734" y="154201"/>
                  </a:cubicBezTo>
                  <a:cubicBezTo>
                    <a:pt x="92149" y="166340"/>
                    <a:pt x="100012" y="175445"/>
                    <a:pt x="111117" y="181514"/>
                  </a:cubicBezTo>
                  <a:lnTo>
                    <a:pt x="148930" y="1895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8" name="Forme libre : forme 487">
              <a:extLst>
                <a:ext uri="{FF2B5EF4-FFF2-40B4-BE49-F238E27FC236}">
                  <a16:creationId xmlns:a16="http://schemas.microsoft.com/office/drawing/2014/main" id="{E64C5A14-C3CC-4B02-838F-FD1CD7D882CB}"/>
                </a:ext>
              </a:extLst>
            </p:cNvPr>
            <p:cNvSpPr/>
            <p:nvPr/>
          </p:nvSpPr>
          <p:spPr>
            <a:xfrm rot="8716295">
              <a:off x="-11774" y="24443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9" name="Forme libre : forme 488">
              <a:extLst>
                <a:ext uri="{FF2B5EF4-FFF2-40B4-BE49-F238E27FC236}">
                  <a16:creationId xmlns:a16="http://schemas.microsoft.com/office/drawing/2014/main" id="{26383EB6-3CD6-4688-B5B2-AB6D6EF7025D}"/>
                </a:ext>
              </a:extLst>
            </p:cNvPr>
            <p:cNvSpPr/>
            <p:nvPr/>
          </p:nvSpPr>
          <p:spPr>
            <a:xfrm rot="8716295">
              <a:off x="-30092" y="143486"/>
              <a:ext cx="77721" cy="97260"/>
            </a:xfrm>
            <a:custGeom>
              <a:avLst/>
              <a:gdLst>
                <a:gd name="connsiteX0" fmla="*/ 15821 w 77721"/>
                <a:gd name="connsiteY0" fmla="*/ 97260 h 97260"/>
                <a:gd name="connsiteX1" fmla="*/ 0 w 77721"/>
                <a:gd name="connsiteY1" fmla="*/ 59790 h 97260"/>
                <a:gd name="connsiteX2" fmla="*/ 0 w 77721"/>
                <a:gd name="connsiteY2" fmla="*/ 58869 h 97260"/>
                <a:gd name="connsiteX3" fmla="*/ 17477 w 77721"/>
                <a:gd name="connsiteY3" fmla="*/ 17477 h 97260"/>
                <a:gd name="connsiteX4" fmla="*/ 58869 w 77721"/>
                <a:gd name="connsiteY4" fmla="*/ 0 h 97260"/>
                <a:gd name="connsiteX5" fmla="*/ 77721 w 77721"/>
                <a:gd name="connsiteY5" fmla="*/ 7960 h 97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721" h="97260">
                  <a:moveTo>
                    <a:pt x="15821" y="97260"/>
                  </a:moveTo>
                  <a:lnTo>
                    <a:pt x="0" y="59790"/>
                  </a:ln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lnTo>
                    <a:pt x="77721" y="79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0" name="Forme libre : forme 489">
              <a:extLst>
                <a:ext uri="{FF2B5EF4-FFF2-40B4-BE49-F238E27FC236}">
                  <a16:creationId xmlns:a16="http://schemas.microsoft.com/office/drawing/2014/main" id="{6537CDA1-2216-4877-A848-A93D1F552A9D}"/>
                </a:ext>
              </a:extLst>
            </p:cNvPr>
            <p:cNvSpPr/>
            <p:nvPr/>
          </p:nvSpPr>
          <p:spPr>
            <a:xfrm rot="8716295">
              <a:off x="-17797" y="3452694"/>
              <a:ext cx="58455" cy="44199"/>
            </a:xfrm>
            <a:custGeom>
              <a:avLst/>
              <a:gdLst>
                <a:gd name="connsiteX0" fmla="*/ 0 w 58455"/>
                <a:gd name="connsiteY0" fmla="*/ 44199 h 44199"/>
                <a:gd name="connsiteX1" fmla="*/ 0 w 58455"/>
                <a:gd name="connsiteY1" fmla="*/ 0 h 44199"/>
                <a:gd name="connsiteX2" fmla="*/ 58455 w 58455"/>
                <a:gd name="connsiteY2" fmla="*/ 0 h 44199"/>
                <a:gd name="connsiteX3" fmla="*/ 27817 w 58455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55" h="44199">
                  <a:moveTo>
                    <a:pt x="0" y="44199"/>
                  </a:moveTo>
                  <a:lnTo>
                    <a:pt x="0" y="0"/>
                  </a:lnTo>
                  <a:lnTo>
                    <a:pt x="58455" y="0"/>
                  </a:lnTo>
                  <a:lnTo>
                    <a:pt x="27817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1" name="Forme libre : forme 490">
              <a:extLst>
                <a:ext uri="{FF2B5EF4-FFF2-40B4-BE49-F238E27FC236}">
                  <a16:creationId xmlns:a16="http://schemas.microsoft.com/office/drawing/2014/main" id="{215CC3B1-8089-4D43-97B0-1819B833BE19}"/>
                </a:ext>
              </a:extLst>
            </p:cNvPr>
            <p:cNvSpPr/>
            <p:nvPr/>
          </p:nvSpPr>
          <p:spPr>
            <a:xfrm rot="13089394">
              <a:off x="-91485" y="3601812"/>
              <a:ext cx="206527" cy="292654"/>
            </a:xfrm>
            <a:custGeom>
              <a:avLst/>
              <a:gdLst>
                <a:gd name="connsiteX0" fmla="*/ 206527 w 206527"/>
                <a:gd name="connsiteY0" fmla="*/ 258693 h 292654"/>
                <a:gd name="connsiteX1" fmla="*/ 177331 w 206527"/>
                <a:gd name="connsiteY1" fmla="*/ 274971 h 292654"/>
                <a:gd name="connsiteX2" fmla="*/ 91597 w 206527"/>
                <a:gd name="connsiteY2" fmla="*/ 292491 h 292654"/>
                <a:gd name="connsiteX3" fmla="*/ 23727 w 206527"/>
                <a:gd name="connsiteY3" fmla="*/ 264901 h 292654"/>
                <a:gd name="connsiteX4" fmla="*/ 0 w 206527"/>
                <a:gd name="connsiteY4" fmla="*/ 169993 h 292654"/>
                <a:gd name="connsiteX5" fmla="*/ 0 w 206527"/>
                <a:gd name="connsiteY5" fmla="*/ 1698 h 292654"/>
                <a:gd name="connsiteX6" fmla="*/ 3273 w 206527"/>
                <a:gd name="connsiteY6" fmla="*/ 0 h 292654"/>
                <a:gd name="connsiteX7" fmla="*/ 74297 w 206527"/>
                <a:gd name="connsiteY7" fmla="*/ 90396 h 292654"/>
                <a:gd name="connsiteX8" fmla="*/ 74492 w 206527"/>
                <a:gd name="connsiteY8" fmla="*/ 117574 h 292654"/>
                <a:gd name="connsiteX9" fmla="*/ 87734 w 206527"/>
                <a:gd name="connsiteY9" fmla="*/ 209171 h 292654"/>
                <a:gd name="connsiteX10" fmla="*/ 153949 w 206527"/>
                <a:gd name="connsiteY10" fmla="*/ 245589 h 292654"/>
                <a:gd name="connsiteX11" fmla="*/ 191049 w 206527"/>
                <a:gd name="connsiteY11" fmla="*/ 238993 h 292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527" h="292654">
                  <a:moveTo>
                    <a:pt x="206527" y="258693"/>
                  </a:moveTo>
                  <a:lnTo>
                    <a:pt x="177331" y="274971"/>
                  </a:lnTo>
                  <a:cubicBezTo>
                    <a:pt x="145121" y="286007"/>
                    <a:pt x="114496" y="291111"/>
                    <a:pt x="91597" y="292491"/>
                  </a:cubicBezTo>
                  <a:cubicBezTo>
                    <a:pt x="66215" y="294146"/>
                    <a:pt x="41385" y="283111"/>
                    <a:pt x="23727" y="264901"/>
                  </a:cubicBezTo>
                  <a:cubicBezTo>
                    <a:pt x="4966" y="246692"/>
                    <a:pt x="0" y="215240"/>
                    <a:pt x="0" y="169993"/>
                  </a:cubicBezTo>
                  <a:lnTo>
                    <a:pt x="0" y="1698"/>
                  </a:lnTo>
                  <a:lnTo>
                    <a:pt x="3273" y="0"/>
                  </a:lnTo>
                  <a:lnTo>
                    <a:pt x="74297" y="90396"/>
                  </a:lnTo>
                  <a:lnTo>
                    <a:pt x="74492" y="117574"/>
                  </a:lnTo>
                  <a:cubicBezTo>
                    <a:pt x="72836" y="148474"/>
                    <a:pt x="77802" y="179926"/>
                    <a:pt x="87734" y="209171"/>
                  </a:cubicBezTo>
                  <a:cubicBezTo>
                    <a:pt x="96564" y="233450"/>
                    <a:pt x="119187" y="245589"/>
                    <a:pt x="153949" y="245589"/>
                  </a:cubicBezTo>
                  <a:lnTo>
                    <a:pt x="191049" y="2389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2" name="Forme libre : forme 491">
              <a:extLst>
                <a:ext uri="{FF2B5EF4-FFF2-40B4-BE49-F238E27FC236}">
                  <a16:creationId xmlns:a16="http://schemas.microsoft.com/office/drawing/2014/main" id="{234A14C5-DCBF-4B3D-8912-C2966FB8FAA0}"/>
                </a:ext>
              </a:extLst>
            </p:cNvPr>
            <p:cNvSpPr/>
            <p:nvPr/>
          </p:nvSpPr>
          <p:spPr>
            <a:xfrm rot="8716295">
              <a:off x="24761" y="33896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3" name="Forme libre : forme 492">
              <a:extLst>
                <a:ext uri="{FF2B5EF4-FFF2-40B4-BE49-F238E27FC236}">
                  <a16:creationId xmlns:a16="http://schemas.microsoft.com/office/drawing/2014/main" id="{A8F20E36-ED7E-4DCB-8818-49A4A7E98BE7}"/>
                </a:ext>
              </a:extLst>
            </p:cNvPr>
            <p:cNvSpPr/>
            <p:nvPr/>
          </p:nvSpPr>
          <p:spPr>
            <a:xfrm rot="8716295">
              <a:off x="-24047" y="3281741"/>
              <a:ext cx="106042" cy="113733"/>
            </a:xfrm>
            <a:custGeom>
              <a:avLst/>
              <a:gdLst>
                <a:gd name="connsiteX0" fmla="*/ 17477 w 106042"/>
                <a:gd name="connsiteY0" fmla="*/ 101182 h 113733"/>
                <a:gd name="connsiteX1" fmla="*/ 0 w 106042"/>
                <a:gd name="connsiteY1" fmla="*/ 59790 h 113733"/>
                <a:gd name="connsiteX2" fmla="*/ 0 w 106042"/>
                <a:gd name="connsiteY2" fmla="*/ 58869 h 113733"/>
                <a:gd name="connsiteX3" fmla="*/ 17477 w 106042"/>
                <a:gd name="connsiteY3" fmla="*/ 17477 h 113733"/>
                <a:gd name="connsiteX4" fmla="*/ 58869 w 106042"/>
                <a:gd name="connsiteY4" fmla="*/ 0 h 113733"/>
                <a:gd name="connsiteX5" fmla="*/ 100262 w 106042"/>
                <a:gd name="connsiteY5" fmla="*/ 17477 h 113733"/>
                <a:gd name="connsiteX6" fmla="*/ 106042 w 106042"/>
                <a:gd name="connsiteY6" fmla="*/ 31234 h 113733"/>
                <a:gd name="connsiteX7" fmla="*/ 48856 w 106042"/>
                <a:gd name="connsiteY7" fmla="*/ 113733 h 11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042" h="113733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cubicBezTo>
                    <a:pt x="74507" y="0"/>
                    <a:pt x="89224" y="6439"/>
                    <a:pt x="100262" y="17477"/>
                  </a:cubicBezTo>
                  <a:lnTo>
                    <a:pt x="106042" y="31234"/>
                  </a:lnTo>
                  <a:lnTo>
                    <a:pt x="48856" y="1137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4" name="Forme libre : forme 493">
              <a:extLst>
                <a:ext uri="{FF2B5EF4-FFF2-40B4-BE49-F238E27FC236}">
                  <a16:creationId xmlns:a16="http://schemas.microsoft.com/office/drawing/2014/main" id="{521798C9-8778-477C-89ED-433CF02349E9}"/>
                </a:ext>
              </a:extLst>
            </p:cNvPr>
            <p:cNvSpPr/>
            <p:nvPr/>
          </p:nvSpPr>
          <p:spPr>
            <a:xfrm rot="8716295">
              <a:off x="-21924" y="3179872"/>
              <a:ext cx="45776" cy="62656"/>
            </a:xfrm>
            <a:custGeom>
              <a:avLst/>
              <a:gdLst>
                <a:gd name="connsiteX0" fmla="*/ 2345 w 45776"/>
                <a:gd name="connsiteY0" fmla="*/ 62656 h 62656"/>
                <a:gd name="connsiteX1" fmla="*/ 0 w 45776"/>
                <a:gd name="connsiteY1" fmla="*/ 57104 h 62656"/>
                <a:gd name="connsiteX2" fmla="*/ 0 w 45776"/>
                <a:gd name="connsiteY2" fmla="*/ 56183 h 62656"/>
                <a:gd name="connsiteX3" fmla="*/ 17477 w 45776"/>
                <a:gd name="connsiteY3" fmla="*/ 14791 h 62656"/>
                <a:gd name="connsiteX4" fmla="*/ 36449 w 45776"/>
                <a:gd name="connsiteY4" fmla="*/ 1913 h 62656"/>
                <a:gd name="connsiteX5" fmla="*/ 45776 w 45776"/>
                <a:gd name="connsiteY5" fmla="*/ 0 h 62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776" h="62656">
                  <a:moveTo>
                    <a:pt x="2345" y="62656"/>
                  </a:moveTo>
                  <a:lnTo>
                    <a:pt x="0" y="57104"/>
                  </a:lnTo>
                  <a:lnTo>
                    <a:pt x="0" y="56183"/>
                  </a:lnTo>
                  <a:cubicBezTo>
                    <a:pt x="0" y="40547"/>
                    <a:pt x="6439" y="25829"/>
                    <a:pt x="17477" y="14791"/>
                  </a:cubicBezTo>
                  <a:cubicBezTo>
                    <a:pt x="22996" y="9272"/>
                    <a:pt x="29435" y="4903"/>
                    <a:pt x="36449" y="1913"/>
                  </a:cubicBezTo>
                  <a:lnTo>
                    <a:pt x="4577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5" name="Forme libre : forme 494">
              <a:extLst>
                <a:ext uri="{FF2B5EF4-FFF2-40B4-BE49-F238E27FC236}">
                  <a16:creationId xmlns:a16="http://schemas.microsoft.com/office/drawing/2014/main" id="{BB8A2107-7C61-4B85-8EFA-ABA59720E5DB}"/>
                </a:ext>
              </a:extLst>
            </p:cNvPr>
            <p:cNvSpPr/>
            <p:nvPr/>
          </p:nvSpPr>
          <p:spPr>
            <a:xfrm rot="8716295">
              <a:off x="592036" y="5123131"/>
              <a:ext cx="56900" cy="40151"/>
            </a:xfrm>
            <a:custGeom>
              <a:avLst/>
              <a:gdLst>
                <a:gd name="connsiteX0" fmla="*/ 13826 w 56900"/>
                <a:gd name="connsiteY0" fmla="*/ 23593 h 40151"/>
                <a:gd name="connsiteX1" fmla="*/ 948 w 56900"/>
                <a:gd name="connsiteY1" fmla="*/ 4622 h 40151"/>
                <a:gd name="connsiteX2" fmla="*/ 0 w 56900"/>
                <a:gd name="connsiteY2" fmla="*/ 0 h 40151"/>
                <a:gd name="connsiteX3" fmla="*/ 56900 w 56900"/>
                <a:gd name="connsiteY3" fmla="*/ 39441 h 40151"/>
                <a:gd name="connsiteX4" fmla="*/ 55218 w 56900"/>
                <a:gd name="connsiteY4" fmla="*/ 40151 h 40151"/>
                <a:gd name="connsiteX5" fmla="*/ 13826 w 56900"/>
                <a:gd name="connsiteY5" fmla="*/ 23593 h 40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900" h="40151">
                  <a:moveTo>
                    <a:pt x="13826" y="23593"/>
                  </a:moveTo>
                  <a:cubicBezTo>
                    <a:pt x="8307" y="18074"/>
                    <a:pt x="3938" y="11636"/>
                    <a:pt x="948" y="4622"/>
                  </a:cubicBezTo>
                  <a:lnTo>
                    <a:pt x="0" y="0"/>
                  </a:lnTo>
                  <a:lnTo>
                    <a:pt x="56900" y="39441"/>
                  </a:lnTo>
                  <a:lnTo>
                    <a:pt x="55218" y="40151"/>
                  </a:lnTo>
                  <a:cubicBezTo>
                    <a:pt x="39581" y="40151"/>
                    <a:pt x="24864" y="34631"/>
                    <a:pt x="13826" y="2359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6" name="Forme libre : forme 495">
              <a:extLst>
                <a:ext uri="{FF2B5EF4-FFF2-40B4-BE49-F238E27FC236}">
                  <a16:creationId xmlns:a16="http://schemas.microsoft.com/office/drawing/2014/main" id="{7E303E9D-76C1-4789-8C9D-5012551E179C}"/>
                </a:ext>
              </a:extLst>
            </p:cNvPr>
            <p:cNvSpPr/>
            <p:nvPr/>
          </p:nvSpPr>
          <p:spPr>
            <a:xfrm rot="8716295">
              <a:off x="-21324" y="4100649"/>
              <a:ext cx="79113" cy="50123"/>
            </a:xfrm>
            <a:custGeom>
              <a:avLst/>
              <a:gdLst>
                <a:gd name="connsiteX0" fmla="*/ 0 w 79113"/>
                <a:gd name="connsiteY0" fmla="*/ 50123 h 50123"/>
                <a:gd name="connsiteX1" fmla="*/ 0 w 79113"/>
                <a:gd name="connsiteY1" fmla="*/ 0 h 50123"/>
                <a:gd name="connsiteX2" fmla="*/ 79113 w 79113"/>
                <a:gd name="connsiteY2" fmla="*/ 0 h 50123"/>
                <a:gd name="connsiteX3" fmla="*/ 44369 w 79113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113" h="50123">
                  <a:moveTo>
                    <a:pt x="0" y="50123"/>
                  </a:moveTo>
                  <a:lnTo>
                    <a:pt x="0" y="0"/>
                  </a:lnTo>
                  <a:lnTo>
                    <a:pt x="79113" y="0"/>
                  </a:lnTo>
                  <a:lnTo>
                    <a:pt x="44369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7" name="Forme libre : forme 496">
              <a:extLst>
                <a:ext uri="{FF2B5EF4-FFF2-40B4-BE49-F238E27FC236}">
                  <a16:creationId xmlns:a16="http://schemas.microsoft.com/office/drawing/2014/main" id="{02FDD4B8-F673-41A9-915D-2FF1DD6CBE6F}"/>
                </a:ext>
              </a:extLst>
            </p:cNvPr>
            <p:cNvSpPr/>
            <p:nvPr/>
          </p:nvSpPr>
          <p:spPr>
            <a:xfrm rot="8716295">
              <a:off x="-40457" y="398156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8" name="Forme libre : forme 497">
              <a:extLst>
                <a:ext uri="{FF2B5EF4-FFF2-40B4-BE49-F238E27FC236}">
                  <a16:creationId xmlns:a16="http://schemas.microsoft.com/office/drawing/2014/main" id="{DBB3B685-0513-450E-A467-E28F77542517}"/>
                </a:ext>
              </a:extLst>
            </p:cNvPr>
            <p:cNvSpPr/>
            <p:nvPr/>
          </p:nvSpPr>
          <p:spPr>
            <a:xfrm rot="7484129">
              <a:off x="-46974" y="427316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9" name="Forme libre : forme 498">
              <a:extLst>
                <a:ext uri="{FF2B5EF4-FFF2-40B4-BE49-F238E27FC236}">
                  <a16:creationId xmlns:a16="http://schemas.microsoft.com/office/drawing/2014/main" id="{C5419776-A8A1-4E3C-9093-D945DA9FAC68}"/>
                </a:ext>
              </a:extLst>
            </p:cNvPr>
            <p:cNvSpPr/>
            <p:nvPr/>
          </p:nvSpPr>
          <p:spPr>
            <a:xfrm rot="13089394">
              <a:off x="57846" y="423970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0" name="Forme libre : forme 499">
              <a:extLst>
                <a:ext uri="{FF2B5EF4-FFF2-40B4-BE49-F238E27FC236}">
                  <a16:creationId xmlns:a16="http://schemas.microsoft.com/office/drawing/2014/main" id="{F97D67FD-E4E6-48C4-AEFE-555D34A356DE}"/>
                </a:ext>
              </a:extLst>
            </p:cNvPr>
            <p:cNvSpPr/>
            <p:nvPr/>
          </p:nvSpPr>
          <p:spPr>
            <a:xfrm rot="8716295">
              <a:off x="243431" y="404801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1" name="Forme libre : forme 500">
              <a:extLst>
                <a:ext uri="{FF2B5EF4-FFF2-40B4-BE49-F238E27FC236}">
                  <a16:creationId xmlns:a16="http://schemas.microsoft.com/office/drawing/2014/main" id="{BCE94871-8BA1-45A9-8930-C2F42EF9B5F3}"/>
                </a:ext>
              </a:extLst>
            </p:cNvPr>
            <p:cNvSpPr/>
            <p:nvPr/>
          </p:nvSpPr>
          <p:spPr>
            <a:xfrm rot="8716295">
              <a:off x="191626" y="39444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2" name="Forme libre : forme 501">
              <a:extLst>
                <a:ext uri="{FF2B5EF4-FFF2-40B4-BE49-F238E27FC236}">
                  <a16:creationId xmlns:a16="http://schemas.microsoft.com/office/drawing/2014/main" id="{04CBAE1D-449E-47DE-9709-A831A36DA439}"/>
                </a:ext>
              </a:extLst>
            </p:cNvPr>
            <p:cNvSpPr/>
            <p:nvPr/>
          </p:nvSpPr>
          <p:spPr>
            <a:xfrm rot="8716295">
              <a:off x="125832" y="381540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3" name="Forme libre : forme 502">
              <a:extLst>
                <a:ext uri="{FF2B5EF4-FFF2-40B4-BE49-F238E27FC236}">
                  <a16:creationId xmlns:a16="http://schemas.microsoft.com/office/drawing/2014/main" id="{2F83938F-B075-4593-8D11-BBF0A979A7C6}"/>
                </a:ext>
              </a:extLst>
            </p:cNvPr>
            <p:cNvSpPr/>
            <p:nvPr/>
          </p:nvSpPr>
          <p:spPr>
            <a:xfrm rot="8716295">
              <a:off x="-73048" y="4876828"/>
              <a:ext cx="221382" cy="253349"/>
            </a:xfrm>
            <a:custGeom>
              <a:avLst/>
              <a:gdLst>
                <a:gd name="connsiteX0" fmla="*/ 51490 w 221382"/>
                <a:gd name="connsiteY0" fmla="*/ 253349 h 253349"/>
                <a:gd name="connsiteX1" fmla="*/ 51490 w 221382"/>
                <a:gd name="connsiteY1" fmla="*/ 44199 h 253349"/>
                <a:gd name="connsiteX2" fmla="*/ 0 w 221382"/>
                <a:gd name="connsiteY2" fmla="*/ 44199 h 253349"/>
                <a:gd name="connsiteX3" fmla="*/ 0 w 221382"/>
                <a:gd name="connsiteY3" fmla="*/ 0 h 253349"/>
                <a:gd name="connsiteX4" fmla="*/ 104803 w 221382"/>
                <a:gd name="connsiteY4" fmla="*/ 0 h 253349"/>
                <a:gd name="connsiteX5" fmla="*/ 104802 w 221382"/>
                <a:gd name="connsiteY5" fmla="*/ 73817 h 253349"/>
                <a:gd name="connsiteX6" fmla="*/ 106169 w 221382"/>
                <a:gd name="connsiteY6" fmla="*/ 73817 h 253349"/>
                <a:gd name="connsiteX7" fmla="*/ 154014 w 221382"/>
                <a:gd name="connsiteY7" fmla="*/ 4556 h 253349"/>
                <a:gd name="connsiteX8" fmla="*/ 174650 w 221382"/>
                <a:gd name="connsiteY8" fmla="*/ 668 h 253349"/>
                <a:gd name="connsiteX9" fmla="*/ 214075 w 221382"/>
                <a:gd name="connsiteY9" fmla="*/ 27996 h 253349"/>
                <a:gd name="connsiteX10" fmla="*/ 221382 w 221382"/>
                <a:gd name="connsiteY10" fmla="*/ 33060 h 253349"/>
                <a:gd name="connsiteX11" fmla="*/ 195540 w 221382"/>
                <a:gd name="connsiteY11" fmla="*/ 70341 h 253349"/>
                <a:gd name="connsiteX12" fmla="*/ 189157 w 221382"/>
                <a:gd name="connsiteY12" fmla="*/ 50236 h 253349"/>
                <a:gd name="connsiteX13" fmla="*/ 164950 w 221382"/>
                <a:gd name="connsiteY13" fmla="*/ 38731 h 253349"/>
                <a:gd name="connsiteX14" fmla="*/ 111638 w 221382"/>
                <a:gd name="connsiteY14" fmla="*/ 126218 h 253349"/>
                <a:gd name="connsiteX15" fmla="*/ 111638 w 221382"/>
                <a:gd name="connsiteY15" fmla="*/ 191383 h 253349"/>
                <a:gd name="connsiteX16" fmla="*/ 84096 w 221382"/>
                <a:gd name="connsiteY16" fmla="*/ 231117 h 253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1382" h="253349">
                  <a:moveTo>
                    <a:pt x="51490" y="253349"/>
                  </a:moveTo>
                  <a:lnTo>
                    <a:pt x="51490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104803" y="0"/>
                  </a:lnTo>
                  <a:lnTo>
                    <a:pt x="104802" y="73817"/>
                  </a:lnTo>
                  <a:lnTo>
                    <a:pt x="106169" y="73817"/>
                  </a:lnTo>
                  <a:cubicBezTo>
                    <a:pt x="120751" y="30529"/>
                    <a:pt x="132142" y="13670"/>
                    <a:pt x="154014" y="4556"/>
                  </a:cubicBezTo>
                  <a:lnTo>
                    <a:pt x="174650" y="668"/>
                  </a:lnTo>
                  <a:lnTo>
                    <a:pt x="214075" y="27996"/>
                  </a:lnTo>
                  <a:lnTo>
                    <a:pt x="221382" y="33060"/>
                  </a:lnTo>
                  <a:lnTo>
                    <a:pt x="195540" y="70341"/>
                  </a:lnTo>
                  <a:lnTo>
                    <a:pt x="189157" y="50236"/>
                  </a:lnTo>
                  <a:cubicBezTo>
                    <a:pt x="183177" y="42946"/>
                    <a:pt x="174747" y="38731"/>
                    <a:pt x="164950" y="38731"/>
                  </a:cubicBezTo>
                  <a:cubicBezTo>
                    <a:pt x="135788" y="38731"/>
                    <a:pt x="111638" y="77463"/>
                    <a:pt x="111638" y="126218"/>
                  </a:cubicBezTo>
                  <a:lnTo>
                    <a:pt x="111638" y="191383"/>
                  </a:lnTo>
                  <a:lnTo>
                    <a:pt x="84096" y="2311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4" name="Forme libre : forme 503">
              <a:extLst>
                <a:ext uri="{FF2B5EF4-FFF2-40B4-BE49-F238E27FC236}">
                  <a16:creationId xmlns:a16="http://schemas.microsoft.com/office/drawing/2014/main" id="{BCB8F26A-8D9E-4DAA-BBEC-C72C4F89205F}"/>
                </a:ext>
              </a:extLst>
            </p:cNvPr>
            <p:cNvSpPr/>
            <p:nvPr/>
          </p:nvSpPr>
          <p:spPr>
            <a:xfrm rot="8716295">
              <a:off x="93318" y="46120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5" name="Forme libre : forme 504">
              <a:extLst>
                <a:ext uri="{FF2B5EF4-FFF2-40B4-BE49-F238E27FC236}">
                  <a16:creationId xmlns:a16="http://schemas.microsoft.com/office/drawing/2014/main" id="{81732388-5ACB-454A-B491-3EF6429CC57C}"/>
                </a:ext>
              </a:extLst>
            </p:cNvPr>
            <p:cNvSpPr/>
            <p:nvPr/>
          </p:nvSpPr>
          <p:spPr>
            <a:xfrm rot="8716295">
              <a:off x="182710" y="46412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6" name="Forme libre : forme 505">
              <a:extLst>
                <a:ext uri="{FF2B5EF4-FFF2-40B4-BE49-F238E27FC236}">
                  <a16:creationId xmlns:a16="http://schemas.microsoft.com/office/drawing/2014/main" id="{7C87F3BF-43A4-45FA-839A-23BBD5B5D4BE}"/>
                </a:ext>
              </a:extLst>
            </p:cNvPr>
            <p:cNvSpPr/>
            <p:nvPr/>
          </p:nvSpPr>
          <p:spPr>
            <a:xfrm rot="8716295">
              <a:off x="-14524" y="4699631"/>
              <a:ext cx="49997" cy="54238"/>
            </a:xfrm>
            <a:custGeom>
              <a:avLst/>
              <a:gdLst>
                <a:gd name="connsiteX0" fmla="*/ 8658 w 49997"/>
                <a:gd name="connsiteY0" fmla="*/ 50123 h 54238"/>
                <a:gd name="connsiteX1" fmla="*/ 0 w 49997"/>
                <a:gd name="connsiteY1" fmla="*/ 29619 h 54238"/>
                <a:gd name="connsiteX2" fmla="*/ 0 w 49997"/>
                <a:gd name="connsiteY2" fmla="*/ 29162 h 54238"/>
                <a:gd name="connsiteX3" fmla="*/ 8658 w 49997"/>
                <a:gd name="connsiteY3" fmla="*/ 8658 h 54238"/>
                <a:gd name="connsiteX4" fmla="*/ 29163 w 49997"/>
                <a:gd name="connsiteY4" fmla="*/ 0 h 54238"/>
                <a:gd name="connsiteX5" fmla="*/ 49668 w 49997"/>
                <a:gd name="connsiteY5" fmla="*/ 8658 h 54238"/>
                <a:gd name="connsiteX6" fmla="*/ 49997 w 49997"/>
                <a:gd name="connsiteY6" fmla="*/ 9441 h 54238"/>
                <a:gd name="connsiteX7" fmla="*/ 18945 w 49997"/>
                <a:gd name="connsiteY7" fmla="*/ 54238 h 54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997" h="54238">
                  <a:moveTo>
                    <a:pt x="8658" y="50123"/>
                  </a:moveTo>
                  <a:cubicBezTo>
                    <a:pt x="3190" y="44655"/>
                    <a:pt x="0" y="37365"/>
                    <a:pt x="0" y="29619"/>
                  </a:cubicBezTo>
                  <a:lnTo>
                    <a:pt x="0" y="29162"/>
                  </a:lnTo>
                  <a:cubicBezTo>
                    <a:pt x="0" y="21417"/>
                    <a:pt x="3190" y="14126"/>
                    <a:pt x="8658" y="8658"/>
                  </a:cubicBezTo>
                  <a:cubicBezTo>
                    <a:pt x="14126" y="3190"/>
                    <a:pt x="21416" y="0"/>
                    <a:pt x="29163" y="0"/>
                  </a:cubicBezTo>
                  <a:cubicBezTo>
                    <a:pt x="36909" y="0"/>
                    <a:pt x="44200" y="3190"/>
                    <a:pt x="49668" y="8658"/>
                  </a:cubicBezTo>
                  <a:lnTo>
                    <a:pt x="49997" y="9441"/>
                  </a:lnTo>
                  <a:lnTo>
                    <a:pt x="18945" y="54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7" name="Forme libre : forme 506">
              <a:extLst>
                <a:ext uri="{FF2B5EF4-FFF2-40B4-BE49-F238E27FC236}">
                  <a16:creationId xmlns:a16="http://schemas.microsoft.com/office/drawing/2014/main" id="{462FB9FF-D95F-4684-BB21-FBBABD5DD31F}"/>
                </a:ext>
              </a:extLst>
            </p:cNvPr>
            <p:cNvSpPr/>
            <p:nvPr/>
          </p:nvSpPr>
          <p:spPr>
            <a:xfrm rot="8716295">
              <a:off x="-30327" y="4579755"/>
              <a:ext cx="113346" cy="71024"/>
            </a:xfrm>
            <a:custGeom>
              <a:avLst/>
              <a:gdLst>
                <a:gd name="connsiteX0" fmla="*/ 0 w 113346"/>
                <a:gd name="connsiteY0" fmla="*/ 55323 h 71024"/>
                <a:gd name="connsiteX1" fmla="*/ 0 w 113346"/>
                <a:gd name="connsiteY1" fmla="*/ 0 h 71024"/>
                <a:gd name="connsiteX2" fmla="*/ 113346 w 113346"/>
                <a:gd name="connsiteY2" fmla="*/ 0 h 71024"/>
                <a:gd name="connsiteX3" fmla="*/ 64114 w 113346"/>
                <a:gd name="connsiteY3" fmla="*/ 71024 h 71024"/>
                <a:gd name="connsiteX4" fmla="*/ 69777 w 113346"/>
                <a:gd name="connsiteY4" fmla="*/ 55323 h 7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346" h="71024">
                  <a:moveTo>
                    <a:pt x="0" y="55323"/>
                  </a:moveTo>
                  <a:lnTo>
                    <a:pt x="0" y="0"/>
                  </a:lnTo>
                  <a:lnTo>
                    <a:pt x="113346" y="0"/>
                  </a:lnTo>
                  <a:lnTo>
                    <a:pt x="64114" y="71024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8" name="Forme libre : forme 507">
              <a:extLst>
                <a:ext uri="{FF2B5EF4-FFF2-40B4-BE49-F238E27FC236}">
                  <a16:creationId xmlns:a16="http://schemas.microsoft.com/office/drawing/2014/main" id="{67567764-034B-4A90-A05F-295129068706}"/>
                </a:ext>
              </a:extLst>
            </p:cNvPr>
            <p:cNvSpPr/>
            <p:nvPr/>
          </p:nvSpPr>
          <p:spPr>
            <a:xfrm rot="8716295">
              <a:off x="71262" y="47415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9" name="Forme libre : forme 508">
              <a:extLst>
                <a:ext uri="{FF2B5EF4-FFF2-40B4-BE49-F238E27FC236}">
                  <a16:creationId xmlns:a16="http://schemas.microsoft.com/office/drawing/2014/main" id="{0224BB71-E49A-401D-8E10-A43693404F59}"/>
                </a:ext>
              </a:extLst>
            </p:cNvPr>
            <p:cNvSpPr/>
            <p:nvPr/>
          </p:nvSpPr>
          <p:spPr>
            <a:xfrm rot="7484129">
              <a:off x="172059" y="493353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170341 w 203847"/>
                <a:gd name="connsiteY5" fmla="*/ 0 h 195874"/>
                <a:gd name="connsiteX6" fmla="*/ 203847 w 203847"/>
                <a:gd name="connsiteY6" fmla="*/ 48325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170341" y="0"/>
                  </a:lnTo>
                  <a:lnTo>
                    <a:pt x="203847" y="48325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0" name="Forme libre : forme 509">
              <a:extLst>
                <a:ext uri="{FF2B5EF4-FFF2-40B4-BE49-F238E27FC236}">
                  <a16:creationId xmlns:a16="http://schemas.microsoft.com/office/drawing/2014/main" id="{02C7DC92-22CE-4278-8FF3-A3AB1608AA63}"/>
                </a:ext>
              </a:extLst>
            </p:cNvPr>
            <p:cNvSpPr/>
            <p:nvPr/>
          </p:nvSpPr>
          <p:spPr>
            <a:xfrm rot="13089394">
              <a:off x="313263" y="4907079"/>
              <a:ext cx="272584" cy="221720"/>
            </a:xfrm>
            <a:custGeom>
              <a:avLst/>
              <a:gdLst>
                <a:gd name="connsiteX0" fmla="*/ 272584 w 272584"/>
                <a:gd name="connsiteY0" fmla="*/ 150928 h 221720"/>
                <a:gd name="connsiteX1" fmla="*/ 91597 w 272584"/>
                <a:gd name="connsiteY1" fmla="*/ 221557 h 221720"/>
                <a:gd name="connsiteX2" fmla="*/ 23727 w 272584"/>
                <a:gd name="connsiteY2" fmla="*/ 193967 h 221720"/>
                <a:gd name="connsiteX3" fmla="*/ 0 w 272584"/>
                <a:gd name="connsiteY3" fmla="*/ 99060 h 221720"/>
                <a:gd name="connsiteX4" fmla="*/ 0 w 272584"/>
                <a:gd name="connsiteY4" fmla="*/ 58265 h 221720"/>
                <a:gd name="connsiteX5" fmla="*/ 74157 w 272584"/>
                <a:gd name="connsiteY5" fmla="*/ 0 h 221720"/>
                <a:gd name="connsiteX6" fmla="*/ 74492 w 272584"/>
                <a:gd name="connsiteY6" fmla="*/ 46640 h 221720"/>
                <a:gd name="connsiteX7" fmla="*/ 87734 w 272584"/>
                <a:gd name="connsiteY7" fmla="*/ 138237 h 221720"/>
                <a:gd name="connsiteX8" fmla="*/ 153949 w 272584"/>
                <a:gd name="connsiteY8" fmla="*/ 174655 h 221720"/>
                <a:gd name="connsiteX9" fmla="*/ 203610 w 272584"/>
                <a:gd name="connsiteY9" fmla="*/ 165826 h 221720"/>
                <a:gd name="connsiteX10" fmla="*/ 271480 w 272584"/>
                <a:gd name="connsiteY10" fmla="*/ 138237 h 221720"/>
                <a:gd name="connsiteX11" fmla="*/ 272584 w 272584"/>
                <a:gd name="connsiteY11" fmla="*/ 145410 h 22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2584" h="221720">
                  <a:moveTo>
                    <a:pt x="272584" y="150928"/>
                  </a:moveTo>
                  <a:cubicBezTo>
                    <a:pt x="214094" y="201141"/>
                    <a:pt x="137395" y="218798"/>
                    <a:pt x="91597" y="221557"/>
                  </a:cubicBezTo>
                  <a:cubicBezTo>
                    <a:pt x="66215" y="223213"/>
                    <a:pt x="41384" y="212177"/>
                    <a:pt x="23727" y="193967"/>
                  </a:cubicBezTo>
                  <a:cubicBezTo>
                    <a:pt x="4966" y="175759"/>
                    <a:pt x="0" y="144306"/>
                    <a:pt x="0" y="99060"/>
                  </a:cubicBezTo>
                  <a:lnTo>
                    <a:pt x="0" y="58265"/>
                  </a:lnTo>
                  <a:lnTo>
                    <a:pt x="74157" y="0"/>
                  </a:lnTo>
                  <a:lnTo>
                    <a:pt x="74492" y="46640"/>
                  </a:lnTo>
                  <a:cubicBezTo>
                    <a:pt x="72836" y="77540"/>
                    <a:pt x="77802" y="108992"/>
                    <a:pt x="87734" y="138237"/>
                  </a:cubicBezTo>
                  <a:cubicBezTo>
                    <a:pt x="96563" y="162515"/>
                    <a:pt x="119186" y="174655"/>
                    <a:pt x="153949" y="174655"/>
                  </a:cubicBezTo>
                  <a:cubicBezTo>
                    <a:pt x="171055" y="174103"/>
                    <a:pt x="187608" y="170792"/>
                    <a:pt x="203610" y="165826"/>
                  </a:cubicBezTo>
                  <a:cubicBezTo>
                    <a:pt x="226785" y="158653"/>
                    <a:pt x="249409" y="149273"/>
                    <a:pt x="271480" y="138237"/>
                  </a:cubicBezTo>
                  <a:cubicBezTo>
                    <a:pt x="272032" y="140444"/>
                    <a:pt x="272584" y="143203"/>
                    <a:pt x="272584" y="1454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1" name="Forme libre : forme 510">
              <a:extLst>
                <a:ext uri="{FF2B5EF4-FFF2-40B4-BE49-F238E27FC236}">
                  <a16:creationId xmlns:a16="http://schemas.microsoft.com/office/drawing/2014/main" id="{2684AFDD-CDE2-41B8-A59C-E03D9F5FB899}"/>
                </a:ext>
              </a:extLst>
            </p:cNvPr>
            <p:cNvSpPr/>
            <p:nvPr/>
          </p:nvSpPr>
          <p:spPr>
            <a:xfrm rot="8716295">
              <a:off x="466598" y="470771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2" name="Forme libre : forme 511">
              <a:extLst>
                <a:ext uri="{FF2B5EF4-FFF2-40B4-BE49-F238E27FC236}">
                  <a16:creationId xmlns:a16="http://schemas.microsoft.com/office/drawing/2014/main" id="{874191D1-5A8A-4106-89BC-E4DE3F05FDFC}"/>
                </a:ext>
              </a:extLst>
            </p:cNvPr>
            <p:cNvSpPr/>
            <p:nvPr/>
          </p:nvSpPr>
          <p:spPr>
            <a:xfrm rot="8716295">
              <a:off x="414793" y="460412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3" name="Forme libre : forme 512">
              <a:extLst>
                <a:ext uri="{FF2B5EF4-FFF2-40B4-BE49-F238E27FC236}">
                  <a16:creationId xmlns:a16="http://schemas.microsoft.com/office/drawing/2014/main" id="{8D49479A-E710-4758-BEAF-44161F8FF530}"/>
                </a:ext>
              </a:extLst>
            </p:cNvPr>
            <p:cNvSpPr/>
            <p:nvPr/>
          </p:nvSpPr>
          <p:spPr>
            <a:xfrm rot="8716295">
              <a:off x="171547" y="46343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4" name="Forme libre : forme 513">
              <a:extLst>
                <a:ext uri="{FF2B5EF4-FFF2-40B4-BE49-F238E27FC236}">
                  <a16:creationId xmlns:a16="http://schemas.microsoft.com/office/drawing/2014/main" id="{0D3E5977-ABDE-469A-8B37-82662D2EE7DA}"/>
                </a:ext>
              </a:extLst>
            </p:cNvPr>
            <p:cNvSpPr/>
            <p:nvPr/>
          </p:nvSpPr>
          <p:spPr>
            <a:xfrm rot="8716295">
              <a:off x="348999" y="44751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528" name="Espace réservé du texte 527">
            <a:extLst>
              <a:ext uri="{FF2B5EF4-FFF2-40B4-BE49-F238E27FC236}">
                <a16:creationId xmlns:a16="http://schemas.microsoft.com/office/drawing/2014/main" id="{6A8E0876-8CB4-4156-A0C1-0BC7361D1C40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429470" y="3802408"/>
            <a:ext cx="108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29" name="Espace réservé du texte 528">
            <a:extLst>
              <a:ext uri="{FF2B5EF4-FFF2-40B4-BE49-F238E27FC236}">
                <a16:creationId xmlns:a16="http://schemas.microsoft.com/office/drawing/2014/main" id="{20C5F896-3CE3-44F8-B5B2-F667F9101641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1512561" y="3802408"/>
            <a:ext cx="108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rgbClr val="3A1B0B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31" name="Espace réservé du texte 530">
            <a:extLst>
              <a:ext uri="{FF2B5EF4-FFF2-40B4-BE49-F238E27FC236}">
                <a16:creationId xmlns:a16="http://schemas.microsoft.com/office/drawing/2014/main" id="{70ADA97F-36B2-42A5-9506-18C5EA9C6E0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3993" y="482179"/>
            <a:ext cx="2495932" cy="302805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24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3pPr>
            <a:lvl4pPr marL="0" indent="0">
              <a:buNone/>
              <a:defRPr sz="1000">
                <a:solidFill>
                  <a:schemeClr val="bg1"/>
                </a:solidFill>
              </a:defRPr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Niveau 2</a:t>
            </a:r>
          </a:p>
          <a:p>
            <a:pPr lvl="2"/>
            <a:r>
              <a:rPr lang="fr-FR" dirty="0"/>
              <a:t>Niveau 3</a:t>
            </a:r>
          </a:p>
          <a:p>
            <a:pPr lvl="3"/>
            <a:r>
              <a:rPr lang="fr-FR" dirty="0"/>
              <a:t>Niveau 4</a:t>
            </a:r>
          </a:p>
        </p:txBody>
      </p:sp>
      <p:sp>
        <p:nvSpPr>
          <p:cNvPr id="534" name="Espace réservé du texte 533">
            <a:extLst>
              <a:ext uri="{FF2B5EF4-FFF2-40B4-BE49-F238E27FC236}">
                <a16:creationId xmlns:a16="http://schemas.microsoft.com/office/drawing/2014/main" id="{6A4C2977-D550-4471-9F3E-815F6F49158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11668" y="507082"/>
            <a:ext cx="5068800" cy="4129200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300"/>
              </a:spcBef>
              <a:spcAft>
                <a:spcPts val="1000"/>
              </a:spcAft>
              <a:buNone/>
              <a:defRPr sz="1400">
                <a:solidFill>
                  <a:schemeClr val="tx1"/>
                </a:solidFill>
              </a:defRPr>
            </a:lvl2pPr>
            <a:lvl3pPr marL="270000" indent="-270000" algn="l" defTabSz="457200" rtl="0" eaLnBrk="1" latinLnBrk="0" hangingPunct="1">
              <a:spcBef>
                <a:spcPts val="400"/>
              </a:spcBef>
              <a:spcAft>
                <a:spcPts val="1000"/>
              </a:spcAft>
              <a:buSzPct val="100000"/>
              <a:buFontTx/>
              <a:buBlip>
                <a:blip r:embed="rId2"/>
              </a:buBlip>
              <a:defRPr lang="fr-FR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0000" indent="-269875">
              <a:spcBef>
                <a:spcPts val="400"/>
              </a:spcBef>
              <a:spcAft>
                <a:spcPts val="1000"/>
              </a:spcAft>
              <a:buFontTx/>
              <a:buBlip>
                <a:blip r:embed="rId3"/>
              </a:buBlip>
              <a:defRPr sz="1400" b="1">
                <a:solidFill>
                  <a:schemeClr val="tx1"/>
                </a:solidFill>
              </a:defRPr>
            </a:lvl4pPr>
            <a:lvl5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4"/>
              </a:buBlip>
              <a:defRPr sz="1400" b="1">
                <a:solidFill>
                  <a:schemeClr val="tx1"/>
                </a:solidFill>
              </a:defRPr>
            </a:lvl5pPr>
            <a:lvl6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5"/>
              </a:buBlip>
              <a:defRPr sz="1400" b="1">
                <a:solidFill>
                  <a:schemeClr val="tx1"/>
                </a:solidFill>
              </a:defRPr>
            </a:lvl6pPr>
            <a:lvl7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6"/>
              </a:buBlip>
              <a:defRPr sz="1400" b="1">
                <a:solidFill>
                  <a:schemeClr val="tx1"/>
                </a:solidFill>
              </a:defRPr>
            </a:lvl7pPr>
            <a:lvl8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7"/>
              </a:buBlip>
              <a:defRPr sz="1400" b="1">
                <a:solidFill>
                  <a:schemeClr val="tx1"/>
                </a:solidFill>
              </a:defRPr>
            </a:lvl8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Puce bleu</a:t>
            </a:r>
          </a:p>
          <a:p>
            <a:pPr lvl="3"/>
            <a:r>
              <a:rPr lang="fr-FR" dirty="0"/>
              <a:t>Puce orange</a:t>
            </a:r>
          </a:p>
          <a:p>
            <a:pPr lvl="4"/>
            <a:r>
              <a:rPr lang="fr-FR" dirty="0"/>
              <a:t>Puce rouge</a:t>
            </a:r>
          </a:p>
          <a:p>
            <a:pPr lvl="5"/>
            <a:r>
              <a:rPr lang="fr-FR" dirty="0"/>
              <a:t>Puce vert d’eau</a:t>
            </a:r>
          </a:p>
          <a:p>
            <a:pPr lvl="6"/>
            <a:r>
              <a:rPr lang="fr-FR" dirty="0"/>
              <a:t>Puce verte</a:t>
            </a:r>
          </a:p>
          <a:p>
            <a:pPr lvl="7"/>
            <a:r>
              <a:rPr lang="fr-FR" dirty="0"/>
              <a:t>Puce violette</a:t>
            </a:r>
          </a:p>
        </p:txBody>
      </p:sp>
    </p:spTree>
    <p:extLst>
      <p:ext uri="{BB962C8B-B14F-4D97-AF65-F5344CB8AC3E}">
        <p14:creationId xmlns:p14="http://schemas.microsoft.com/office/powerpoint/2010/main" val="128133107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ayures / Texte + Conten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8" name="Graphique 517">
            <a:extLst>
              <a:ext uri="{FF2B5EF4-FFF2-40B4-BE49-F238E27FC236}">
                <a16:creationId xmlns:a16="http://schemas.microsoft.com/office/drawing/2014/main" id="{9DDE0F79-02B4-4C9D-B3C3-ADF18F103B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3416312" cy="5143500"/>
          </a:xfrm>
          <a:prstGeom prst="rect">
            <a:avLst/>
          </a:prstGeom>
        </p:spPr>
      </p:pic>
      <p:sp>
        <p:nvSpPr>
          <p:cNvPr id="523" name="Forme libre : forme 522">
            <a:extLst>
              <a:ext uri="{FF2B5EF4-FFF2-40B4-BE49-F238E27FC236}">
                <a16:creationId xmlns:a16="http://schemas.microsoft.com/office/drawing/2014/main" id="{C7F1D93A-4718-405C-AAEF-810045870EFB}"/>
              </a:ext>
            </a:extLst>
          </p:cNvPr>
          <p:cNvSpPr/>
          <p:nvPr userDrawn="1"/>
        </p:nvSpPr>
        <p:spPr>
          <a:xfrm>
            <a:off x="0" y="-1"/>
            <a:ext cx="9144000" cy="5143501"/>
          </a:xfrm>
          <a:custGeom>
            <a:avLst/>
            <a:gdLst>
              <a:gd name="connsiteX0" fmla="*/ 0 w 9144000"/>
              <a:gd name="connsiteY0" fmla="*/ 0 h 5143501"/>
              <a:gd name="connsiteX1" fmla="*/ 9144000 w 9144000"/>
              <a:gd name="connsiteY1" fmla="*/ 0 h 5143501"/>
              <a:gd name="connsiteX2" fmla="*/ 9144000 w 9144000"/>
              <a:gd name="connsiteY2" fmla="*/ 5143501 h 5143501"/>
              <a:gd name="connsiteX3" fmla="*/ 3567702 w 9144000"/>
              <a:gd name="connsiteY3" fmla="*/ 5143501 h 5143501"/>
              <a:gd name="connsiteX4" fmla="*/ 3246551 w 9144000"/>
              <a:gd name="connsiteY4" fmla="*/ 2811363 h 5143501"/>
              <a:gd name="connsiteX5" fmla="*/ 3485902 w 9144000"/>
              <a:gd name="connsiteY5" fmla="*/ 1 h 5143501"/>
              <a:gd name="connsiteX6" fmla="*/ 3048000 w 9144000"/>
              <a:gd name="connsiteY6" fmla="*/ 1 h 5143501"/>
              <a:gd name="connsiteX7" fmla="*/ 2859408 w 9144000"/>
              <a:gd name="connsiteY7" fmla="*/ 1 h 5143501"/>
              <a:gd name="connsiteX8" fmla="*/ 0 w 9144000"/>
              <a:gd name="connsiteY8" fmla="*/ 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4000" h="5143501">
                <a:moveTo>
                  <a:pt x="0" y="0"/>
                </a:moveTo>
                <a:lnTo>
                  <a:pt x="9144000" y="0"/>
                </a:lnTo>
                <a:lnTo>
                  <a:pt x="9144000" y="5143501"/>
                </a:lnTo>
                <a:lnTo>
                  <a:pt x="3567702" y="5143501"/>
                </a:lnTo>
                <a:lnTo>
                  <a:pt x="3246551" y="2811363"/>
                </a:lnTo>
                <a:lnTo>
                  <a:pt x="3485902" y="1"/>
                </a:lnTo>
                <a:lnTo>
                  <a:pt x="3048000" y="1"/>
                </a:lnTo>
                <a:lnTo>
                  <a:pt x="2859408" y="1"/>
                </a:lnTo>
                <a:lnTo>
                  <a:pt x="0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528" name="Espace réservé du texte 527">
            <a:extLst>
              <a:ext uri="{FF2B5EF4-FFF2-40B4-BE49-F238E27FC236}">
                <a16:creationId xmlns:a16="http://schemas.microsoft.com/office/drawing/2014/main" id="{6A8E0876-8CB4-4156-A0C1-0BC7361D1C40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429470" y="3802408"/>
            <a:ext cx="108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29" name="Espace réservé du texte 528">
            <a:extLst>
              <a:ext uri="{FF2B5EF4-FFF2-40B4-BE49-F238E27FC236}">
                <a16:creationId xmlns:a16="http://schemas.microsoft.com/office/drawing/2014/main" id="{20C5F896-3CE3-44F8-B5B2-F667F9101641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1512561" y="3802408"/>
            <a:ext cx="108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rgbClr val="3A1B0B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31" name="Espace réservé du texte 530">
            <a:extLst>
              <a:ext uri="{FF2B5EF4-FFF2-40B4-BE49-F238E27FC236}">
                <a16:creationId xmlns:a16="http://schemas.microsoft.com/office/drawing/2014/main" id="{70ADA97F-36B2-42A5-9506-18C5EA9C6E0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3993" y="482179"/>
            <a:ext cx="2495932" cy="302805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24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3pPr>
            <a:lvl4pPr marL="0" indent="0">
              <a:buNone/>
              <a:defRPr sz="1000">
                <a:solidFill>
                  <a:schemeClr val="bg1"/>
                </a:solidFill>
              </a:defRPr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Niveau 2</a:t>
            </a:r>
          </a:p>
          <a:p>
            <a:pPr lvl="2"/>
            <a:r>
              <a:rPr lang="fr-FR" dirty="0"/>
              <a:t>Niveau 3</a:t>
            </a:r>
          </a:p>
          <a:p>
            <a:pPr lvl="3"/>
            <a:r>
              <a:rPr lang="fr-FR" dirty="0"/>
              <a:t>Niveau 4</a:t>
            </a:r>
          </a:p>
        </p:txBody>
      </p:sp>
      <p:sp>
        <p:nvSpPr>
          <p:cNvPr id="534" name="Espace réservé du texte 533">
            <a:extLst>
              <a:ext uri="{FF2B5EF4-FFF2-40B4-BE49-F238E27FC236}">
                <a16:creationId xmlns:a16="http://schemas.microsoft.com/office/drawing/2014/main" id="{6A4C2977-D550-4471-9F3E-815F6F49158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11668" y="507082"/>
            <a:ext cx="5068800" cy="4129200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300"/>
              </a:spcBef>
              <a:spcAft>
                <a:spcPts val="1000"/>
              </a:spcAft>
              <a:buNone/>
              <a:defRPr sz="1400">
                <a:solidFill>
                  <a:schemeClr val="tx1"/>
                </a:solidFill>
              </a:defRPr>
            </a:lvl2pPr>
            <a:lvl3pPr marL="270000" indent="-270000" algn="l" defTabSz="457200" rtl="0" eaLnBrk="1" latinLnBrk="0" hangingPunct="1">
              <a:spcBef>
                <a:spcPts val="400"/>
              </a:spcBef>
              <a:spcAft>
                <a:spcPts val="1000"/>
              </a:spcAft>
              <a:buSzPct val="100000"/>
              <a:buFontTx/>
              <a:buBlip>
                <a:blip r:embed="rId4"/>
              </a:buBlip>
              <a:defRPr lang="fr-FR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0000" indent="-269875">
              <a:spcBef>
                <a:spcPts val="400"/>
              </a:spcBef>
              <a:spcAft>
                <a:spcPts val="1000"/>
              </a:spcAft>
              <a:buFontTx/>
              <a:buBlip>
                <a:blip r:embed="rId5"/>
              </a:buBlip>
              <a:defRPr sz="1400" b="1">
                <a:solidFill>
                  <a:schemeClr val="tx1"/>
                </a:solidFill>
              </a:defRPr>
            </a:lvl4pPr>
            <a:lvl5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6"/>
              </a:buBlip>
              <a:defRPr sz="1400" b="1">
                <a:solidFill>
                  <a:schemeClr val="tx1"/>
                </a:solidFill>
              </a:defRPr>
            </a:lvl5pPr>
            <a:lvl6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7"/>
              </a:buBlip>
              <a:defRPr sz="1400" b="1">
                <a:solidFill>
                  <a:schemeClr val="tx1"/>
                </a:solidFill>
              </a:defRPr>
            </a:lvl6pPr>
            <a:lvl7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8"/>
              </a:buBlip>
              <a:defRPr sz="1400" b="1">
                <a:solidFill>
                  <a:schemeClr val="tx1"/>
                </a:solidFill>
              </a:defRPr>
            </a:lvl7pPr>
            <a:lvl8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9"/>
              </a:buBlip>
              <a:defRPr sz="1400" b="1">
                <a:solidFill>
                  <a:schemeClr val="tx1"/>
                </a:solidFill>
              </a:defRPr>
            </a:lvl8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Puce bleu</a:t>
            </a:r>
          </a:p>
          <a:p>
            <a:pPr lvl="3"/>
            <a:r>
              <a:rPr lang="fr-FR" dirty="0"/>
              <a:t>Puce orange</a:t>
            </a:r>
          </a:p>
          <a:p>
            <a:pPr lvl="4"/>
            <a:r>
              <a:rPr lang="fr-FR" dirty="0"/>
              <a:t>Puce rouge</a:t>
            </a:r>
          </a:p>
          <a:p>
            <a:pPr lvl="5"/>
            <a:r>
              <a:rPr lang="fr-FR" dirty="0"/>
              <a:t>Puce vert d’eau</a:t>
            </a:r>
          </a:p>
          <a:p>
            <a:pPr lvl="6"/>
            <a:r>
              <a:rPr lang="fr-FR" dirty="0"/>
              <a:t>Puce verte</a:t>
            </a:r>
          </a:p>
          <a:p>
            <a:pPr lvl="7"/>
            <a:r>
              <a:rPr lang="fr-FR" dirty="0"/>
              <a:t>Puce violette</a:t>
            </a:r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14363415-6A88-4870-B059-FE46177801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48000" y="2811362"/>
            <a:ext cx="519702" cy="2332138"/>
          </a:xfrm>
          <a:custGeom>
            <a:avLst/>
            <a:gdLst>
              <a:gd name="connsiteX0" fmla="*/ 198551 w 519702"/>
              <a:gd name="connsiteY0" fmla="*/ 0 h 2332138"/>
              <a:gd name="connsiteX1" fmla="*/ 519702 w 519702"/>
              <a:gd name="connsiteY1" fmla="*/ 2332138 h 2332138"/>
              <a:gd name="connsiteX2" fmla="*/ 0 w 519702"/>
              <a:gd name="connsiteY2" fmla="*/ 2332138 h 2332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19702" h="2332138">
                <a:moveTo>
                  <a:pt x="198551" y="0"/>
                </a:moveTo>
                <a:lnTo>
                  <a:pt x="519702" y="2332138"/>
                </a:lnTo>
                <a:lnTo>
                  <a:pt x="0" y="233213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180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369371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filtre bleu + Titre + Contenu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5" name="Espace réservé pour une image  524">
            <a:extLst>
              <a:ext uri="{FF2B5EF4-FFF2-40B4-BE49-F238E27FC236}">
                <a16:creationId xmlns:a16="http://schemas.microsoft.com/office/drawing/2014/main" id="{98410260-974C-4913-B9B1-FBF4231643C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2"/>
            <a:ext cx="3567702" cy="5143499"/>
          </a:xfrm>
          <a:custGeom>
            <a:avLst/>
            <a:gdLst>
              <a:gd name="connsiteX0" fmla="*/ 0 w 3567702"/>
              <a:gd name="connsiteY0" fmla="*/ 0 h 5143499"/>
              <a:gd name="connsiteX1" fmla="*/ 2859408 w 3567702"/>
              <a:gd name="connsiteY1" fmla="*/ 0 h 5143499"/>
              <a:gd name="connsiteX2" fmla="*/ 3048000 w 3567702"/>
              <a:gd name="connsiteY2" fmla="*/ 0 h 5143499"/>
              <a:gd name="connsiteX3" fmla="*/ 3485902 w 3567702"/>
              <a:gd name="connsiteY3" fmla="*/ 0 h 5143499"/>
              <a:gd name="connsiteX4" fmla="*/ 3246551 w 3567702"/>
              <a:gd name="connsiteY4" fmla="*/ 2811361 h 5143499"/>
              <a:gd name="connsiteX5" fmla="*/ 3246551 w 3567702"/>
              <a:gd name="connsiteY5" fmla="*/ 2811360 h 5143499"/>
              <a:gd name="connsiteX6" fmla="*/ 3048000 w 3567702"/>
              <a:gd name="connsiteY6" fmla="*/ 5143498 h 5143499"/>
              <a:gd name="connsiteX7" fmla="*/ 3567702 w 3567702"/>
              <a:gd name="connsiteY7" fmla="*/ 5143498 h 5143499"/>
              <a:gd name="connsiteX8" fmla="*/ 3567702 w 3567702"/>
              <a:gd name="connsiteY8" fmla="*/ 5143499 h 5143499"/>
              <a:gd name="connsiteX9" fmla="*/ 0 w 3567702"/>
              <a:gd name="connsiteY9" fmla="*/ 5143499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67702" h="5143499">
                <a:moveTo>
                  <a:pt x="0" y="0"/>
                </a:moveTo>
                <a:lnTo>
                  <a:pt x="2859408" y="0"/>
                </a:lnTo>
                <a:lnTo>
                  <a:pt x="3048000" y="0"/>
                </a:lnTo>
                <a:lnTo>
                  <a:pt x="3485902" y="0"/>
                </a:lnTo>
                <a:lnTo>
                  <a:pt x="3246551" y="2811361"/>
                </a:lnTo>
                <a:lnTo>
                  <a:pt x="3246551" y="2811360"/>
                </a:lnTo>
                <a:lnTo>
                  <a:pt x="3048000" y="5143498"/>
                </a:lnTo>
                <a:lnTo>
                  <a:pt x="3567702" y="5143498"/>
                </a:lnTo>
                <a:lnTo>
                  <a:pt x="3567702" y="5143499"/>
                </a:lnTo>
                <a:lnTo>
                  <a:pt x="0" y="5143499"/>
                </a:ln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fr-FR" dirty="0"/>
              <a:t>Cliquez sur l’icône</a:t>
            </a:r>
            <a:br>
              <a:rPr lang="fr-FR" dirty="0"/>
            </a:br>
            <a:r>
              <a:rPr lang="fr-FR" dirty="0"/>
              <a:t>pour ajouter une image</a:t>
            </a:r>
          </a:p>
        </p:txBody>
      </p:sp>
      <p:sp>
        <p:nvSpPr>
          <p:cNvPr id="523" name="Forme libre : forme 522">
            <a:extLst>
              <a:ext uri="{FF2B5EF4-FFF2-40B4-BE49-F238E27FC236}">
                <a16:creationId xmlns:a16="http://schemas.microsoft.com/office/drawing/2014/main" id="{C7F1D93A-4718-405C-AAEF-810045870EFB}"/>
              </a:ext>
            </a:extLst>
          </p:cNvPr>
          <p:cNvSpPr/>
          <p:nvPr userDrawn="1"/>
        </p:nvSpPr>
        <p:spPr>
          <a:xfrm>
            <a:off x="3246551" y="-1"/>
            <a:ext cx="5897449" cy="5143501"/>
          </a:xfrm>
          <a:custGeom>
            <a:avLst/>
            <a:gdLst>
              <a:gd name="connsiteX0" fmla="*/ 0 w 9144000"/>
              <a:gd name="connsiteY0" fmla="*/ 0 h 5143501"/>
              <a:gd name="connsiteX1" fmla="*/ 9144000 w 9144000"/>
              <a:gd name="connsiteY1" fmla="*/ 0 h 5143501"/>
              <a:gd name="connsiteX2" fmla="*/ 9144000 w 9144000"/>
              <a:gd name="connsiteY2" fmla="*/ 5143501 h 5143501"/>
              <a:gd name="connsiteX3" fmla="*/ 3567702 w 9144000"/>
              <a:gd name="connsiteY3" fmla="*/ 5143501 h 5143501"/>
              <a:gd name="connsiteX4" fmla="*/ 3246551 w 9144000"/>
              <a:gd name="connsiteY4" fmla="*/ 2811363 h 5143501"/>
              <a:gd name="connsiteX5" fmla="*/ 3485902 w 9144000"/>
              <a:gd name="connsiteY5" fmla="*/ 1 h 5143501"/>
              <a:gd name="connsiteX6" fmla="*/ 3048000 w 9144000"/>
              <a:gd name="connsiteY6" fmla="*/ 1 h 5143501"/>
              <a:gd name="connsiteX7" fmla="*/ 2859408 w 9144000"/>
              <a:gd name="connsiteY7" fmla="*/ 1 h 5143501"/>
              <a:gd name="connsiteX8" fmla="*/ 0 w 9144000"/>
              <a:gd name="connsiteY8" fmla="*/ 1 h 5143501"/>
              <a:gd name="connsiteX0" fmla="*/ 0 w 9144000"/>
              <a:gd name="connsiteY0" fmla="*/ 1 h 5143501"/>
              <a:gd name="connsiteX1" fmla="*/ 9144000 w 9144000"/>
              <a:gd name="connsiteY1" fmla="*/ 0 h 5143501"/>
              <a:gd name="connsiteX2" fmla="*/ 9144000 w 9144000"/>
              <a:gd name="connsiteY2" fmla="*/ 5143501 h 5143501"/>
              <a:gd name="connsiteX3" fmla="*/ 3567702 w 9144000"/>
              <a:gd name="connsiteY3" fmla="*/ 5143501 h 5143501"/>
              <a:gd name="connsiteX4" fmla="*/ 3246551 w 9144000"/>
              <a:gd name="connsiteY4" fmla="*/ 2811363 h 5143501"/>
              <a:gd name="connsiteX5" fmla="*/ 3485902 w 9144000"/>
              <a:gd name="connsiteY5" fmla="*/ 1 h 5143501"/>
              <a:gd name="connsiteX6" fmla="*/ 3048000 w 9144000"/>
              <a:gd name="connsiteY6" fmla="*/ 1 h 5143501"/>
              <a:gd name="connsiteX7" fmla="*/ 2859408 w 9144000"/>
              <a:gd name="connsiteY7" fmla="*/ 1 h 5143501"/>
              <a:gd name="connsiteX8" fmla="*/ 0 w 9144000"/>
              <a:gd name="connsiteY8" fmla="*/ 1 h 5143501"/>
              <a:gd name="connsiteX0" fmla="*/ 0 w 6284592"/>
              <a:gd name="connsiteY0" fmla="*/ 1 h 5143501"/>
              <a:gd name="connsiteX1" fmla="*/ 6284592 w 6284592"/>
              <a:gd name="connsiteY1" fmla="*/ 0 h 5143501"/>
              <a:gd name="connsiteX2" fmla="*/ 6284592 w 6284592"/>
              <a:gd name="connsiteY2" fmla="*/ 5143501 h 5143501"/>
              <a:gd name="connsiteX3" fmla="*/ 708294 w 6284592"/>
              <a:gd name="connsiteY3" fmla="*/ 5143501 h 5143501"/>
              <a:gd name="connsiteX4" fmla="*/ 387143 w 6284592"/>
              <a:gd name="connsiteY4" fmla="*/ 2811363 h 5143501"/>
              <a:gd name="connsiteX5" fmla="*/ 626494 w 6284592"/>
              <a:gd name="connsiteY5" fmla="*/ 1 h 5143501"/>
              <a:gd name="connsiteX6" fmla="*/ 188592 w 6284592"/>
              <a:gd name="connsiteY6" fmla="*/ 1 h 5143501"/>
              <a:gd name="connsiteX7" fmla="*/ 0 w 6284592"/>
              <a:gd name="connsiteY7" fmla="*/ 1 h 5143501"/>
              <a:gd name="connsiteX0" fmla="*/ 0 w 6096000"/>
              <a:gd name="connsiteY0" fmla="*/ 1 h 5143501"/>
              <a:gd name="connsiteX1" fmla="*/ 6096000 w 6096000"/>
              <a:gd name="connsiteY1" fmla="*/ 0 h 5143501"/>
              <a:gd name="connsiteX2" fmla="*/ 6096000 w 6096000"/>
              <a:gd name="connsiteY2" fmla="*/ 5143501 h 5143501"/>
              <a:gd name="connsiteX3" fmla="*/ 519702 w 6096000"/>
              <a:gd name="connsiteY3" fmla="*/ 5143501 h 5143501"/>
              <a:gd name="connsiteX4" fmla="*/ 198551 w 6096000"/>
              <a:gd name="connsiteY4" fmla="*/ 2811363 h 5143501"/>
              <a:gd name="connsiteX5" fmla="*/ 437902 w 6096000"/>
              <a:gd name="connsiteY5" fmla="*/ 1 h 5143501"/>
              <a:gd name="connsiteX6" fmla="*/ 0 w 6096000"/>
              <a:gd name="connsiteY6" fmla="*/ 1 h 5143501"/>
              <a:gd name="connsiteX0" fmla="*/ 239351 w 5897449"/>
              <a:gd name="connsiteY0" fmla="*/ 1 h 5143501"/>
              <a:gd name="connsiteX1" fmla="*/ 5897449 w 5897449"/>
              <a:gd name="connsiteY1" fmla="*/ 0 h 5143501"/>
              <a:gd name="connsiteX2" fmla="*/ 5897449 w 5897449"/>
              <a:gd name="connsiteY2" fmla="*/ 5143501 h 5143501"/>
              <a:gd name="connsiteX3" fmla="*/ 321151 w 5897449"/>
              <a:gd name="connsiteY3" fmla="*/ 5143501 h 5143501"/>
              <a:gd name="connsiteX4" fmla="*/ 0 w 5897449"/>
              <a:gd name="connsiteY4" fmla="*/ 2811363 h 5143501"/>
              <a:gd name="connsiteX5" fmla="*/ 239351 w 5897449"/>
              <a:gd name="connsiteY5" fmla="*/ 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97449" h="5143501">
                <a:moveTo>
                  <a:pt x="239351" y="1"/>
                </a:moveTo>
                <a:lnTo>
                  <a:pt x="5897449" y="0"/>
                </a:lnTo>
                <a:lnTo>
                  <a:pt x="5897449" y="5143501"/>
                </a:lnTo>
                <a:lnTo>
                  <a:pt x="321151" y="5143501"/>
                </a:lnTo>
                <a:lnTo>
                  <a:pt x="0" y="2811363"/>
                </a:lnTo>
                <a:lnTo>
                  <a:pt x="239351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534" name="Espace réservé du texte 533">
            <a:extLst>
              <a:ext uri="{FF2B5EF4-FFF2-40B4-BE49-F238E27FC236}">
                <a16:creationId xmlns:a16="http://schemas.microsoft.com/office/drawing/2014/main" id="{6A4C2977-D550-4471-9F3E-815F6F49158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11668" y="507082"/>
            <a:ext cx="5068800" cy="4129200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300"/>
              </a:spcBef>
              <a:spcAft>
                <a:spcPts val="1000"/>
              </a:spcAft>
              <a:buNone/>
              <a:defRPr sz="1400">
                <a:solidFill>
                  <a:schemeClr val="tx1"/>
                </a:solidFill>
              </a:defRPr>
            </a:lvl2pPr>
            <a:lvl3pPr marL="270000" indent="-270000" algn="l" defTabSz="457200" rtl="0" eaLnBrk="1" latinLnBrk="0" hangingPunct="1">
              <a:spcBef>
                <a:spcPts val="400"/>
              </a:spcBef>
              <a:spcAft>
                <a:spcPts val="1000"/>
              </a:spcAft>
              <a:buSzPct val="100000"/>
              <a:buFontTx/>
              <a:buBlip>
                <a:blip r:embed="rId2"/>
              </a:buBlip>
              <a:defRPr lang="fr-FR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0000" indent="-269875">
              <a:spcBef>
                <a:spcPts val="400"/>
              </a:spcBef>
              <a:spcAft>
                <a:spcPts val="1000"/>
              </a:spcAft>
              <a:buFontTx/>
              <a:buBlip>
                <a:blip r:embed="rId3"/>
              </a:buBlip>
              <a:defRPr sz="1400" b="1">
                <a:solidFill>
                  <a:schemeClr val="tx1"/>
                </a:solidFill>
              </a:defRPr>
            </a:lvl4pPr>
            <a:lvl5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4"/>
              </a:buBlip>
              <a:defRPr sz="1400" b="1">
                <a:solidFill>
                  <a:schemeClr val="tx1"/>
                </a:solidFill>
              </a:defRPr>
            </a:lvl5pPr>
            <a:lvl6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5"/>
              </a:buBlip>
              <a:defRPr sz="1400" b="1">
                <a:solidFill>
                  <a:schemeClr val="tx1"/>
                </a:solidFill>
              </a:defRPr>
            </a:lvl6pPr>
            <a:lvl7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6"/>
              </a:buBlip>
              <a:defRPr sz="1400" b="1">
                <a:solidFill>
                  <a:schemeClr val="tx1"/>
                </a:solidFill>
              </a:defRPr>
            </a:lvl7pPr>
            <a:lvl8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7"/>
              </a:buBlip>
              <a:defRPr sz="1400" b="1">
                <a:solidFill>
                  <a:schemeClr val="tx1"/>
                </a:solidFill>
              </a:defRPr>
            </a:lvl8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Puce bleu</a:t>
            </a:r>
          </a:p>
          <a:p>
            <a:pPr lvl="3"/>
            <a:r>
              <a:rPr lang="fr-FR" dirty="0"/>
              <a:t>Puce orange</a:t>
            </a:r>
          </a:p>
          <a:p>
            <a:pPr lvl="4"/>
            <a:r>
              <a:rPr lang="fr-FR" dirty="0"/>
              <a:t>Puce rouge</a:t>
            </a:r>
          </a:p>
          <a:p>
            <a:pPr lvl="5"/>
            <a:r>
              <a:rPr lang="fr-FR" dirty="0"/>
              <a:t>Puce vert d’eau</a:t>
            </a:r>
          </a:p>
          <a:p>
            <a:pPr lvl="6"/>
            <a:r>
              <a:rPr lang="fr-FR" dirty="0"/>
              <a:t>Puce verte</a:t>
            </a:r>
          </a:p>
          <a:p>
            <a:pPr lvl="7"/>
            <a:r>
              <a:rPr lang="fr-FR" dirty="0"/>
              <a:t>Puce violette</a:t>
            </a:r>
          </a:p>
        </p:txBody>
      </p:sp>
      <p:sp>
        <p:nvSpPr>
          <p:cNvPr id="536" name="Espace réservé du texte 535">
            <a:extLst>
              <a:ext uri="{FF2B5EF4-FFF2-40B4-BE49-F238E27FC236}">
                <a16:creationId xmlns:a16="http://schemas.microsoft.com/office/drawing/2014/main" id="{FDBBC0BA-813C-472C-8014-D20CA63A20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-6824" y="0"/>
            <a:ext cx="3492727" cy="2565779"/>
          </a:xfrm>
          <a:custGeom>
            <a:avLst/>
            <a:gdLst>
              <a:gd name="connsiteX0" fmla="*/ 3353602 w 4086971"/>
              <a:gd name="connsiteY0" fmla="*/ 3588742 h 5143499"/>
              <a:gd name="connsiteX1" fmla="*/ 3567703 w 4086971"/>
              <a:gd name="connsiteY1" fmla="*/ 5143499 h 5143499"/>
              <a:gd name="connsiteX2" fmla="*/ 3567703 w 4086971"/>
              <a:gd name="connsiteY2" fmla="*/ 5143499 h 5143499"/>
              <a:gd name="connsiteX3" fmla="*/ 0 w 4086971"/>
              <a:gd name="connsiteY3" fmla="*/ 0 h 5143499"/>
              <a:gd name="connsiteX4" fmla="*/ 4086971 w 4086971"/>
              <a:gd name="connsiteY4" fmla="*/ 0 h 5143499"/>
              <a:gd name="connsiteX5" fmla="*/ 4086971 w 4086971"/>
              <a:gd name="connsiteY5" fmla="*/ 1 h 5143499"/>
              <a:gd name="connsiteX6" fmla="*/ 1 w 4086971"/>
              <a:gd name="connsiteY6" fmla="*/ 1 h 5143499"/>
              <a:gd name="connsiteX7" fmla="*/ 1 w 4086971"/>
              <a:gd name="connsiteY7" fmla="*/ 2 h 5143499"/>
              <a:gd name="connsiteX8" fmla="*/ 2859409 w 4086971"/>
              <a:gd name="connsiteY8" fmla="*/ 2 h 5143499"/>
              <a:gd name="connsiteX9" fmla="*/ 3048001 w 4086971"/>
              <a:gd name="connsiteY9" fmla="*/ 2 h 5143499"/>
              <a:gd name="connsiteX10" fmla="*/ 3485903 w 4086971"/>
              <a:gd name="connsiteY10" fmla="*/ 2 h 5143499"/>
              <a:gd name="connsiteX11" fmla="*/ 3246552 w 4086971"/>
              <a:gd name="connsiteY11" fmla="*/ 2811363 h 5143499"/>
              <a:gd name="connsiteX12" fmla="*/ 3246552 w 4086971"/>
              <a:gd name="connsiteY12" fmla="*/ 2811363 h 5143499"/>
              <a:gd name="connsiteX13" fmla="*/ 3048001 w 4086971"/>
              <a:gd name="connsiteY13" fmla="*/ 5143499 h 5143499"/>
              <a:gd name="connsiteX14" fmla="*/ 0 w 4086971"/>
              <a:gd name="connsiteY14" fmla="*/ 5143499 h 5143499"/>
              <a:gd name="connsiteX0" fmla="*/ 3353602 w 4086971"/>
              <a:gd name="connsiteY0" fmla="*/ 3588742 h 5143499"/>
              <a:gd name="connsiteX1" fmla="*/ 3567703 w 4086971"/>
              <a:gd name="connsiteY1" fmla="*/ 5143499 h 5143499"/>
              <a:gd name="connsiteX2" fmla="*/ 3567703 w 4086971"/>
              <a:gd name="connsiteY2" fmla="*/ 5143499 h 5143499"/>
              <a:gd name="connsiteX3" fmla="*/ 3353602 w 4086971"/>
              <a:gd name="connsiteY3" fmla="*/ 3588742 h 5143499"/>
              <a:gd name="connsiteX4" fmla="*/ 0 w 4086971"/>
              <a:gd name="connsiteY4" fmla="*/ 0 h 5143499"/>
              <a:gd name="connsiteX5" fmla="*/ 4086971 w 4086971"/>
              <a:gd name="connsiteY5" fmla="*/ 0 h 5143499"/>
              <a:gd name="connsiteX6" fmla="*/ 1 w 4086971"/>
              <a:gd name="connsiteY6" fmla="*/ 1 h 5143499"/>
              <a:gd name="connsiteX7" fmla="*/ 1 w 4086971"/>
              <a:gd name="connsiteY7" fmla="*/ 2 h 5143499"/>
              <a:gd name="connsiteX8" fmla="*/ 2859409 w 4086971"/>
              <a:gd name="connsiteY8" fmla="*/ 2 h 5143499"/>
              <a:gd name="connsiteX9" fmla="*/ 3048001 w 4086971"/>
              <a:gd name="connsiteY9" fmla="*/ 2 h 5143499"/>
              <a:gd name="connsiteX10" fmla="*/ 3485903 w 4086971"/>
              <a:gd name="connsiteY10" fmla="*/ 2 h 5143499"/>
              <a:gd name="connsiteX11" fmla="*/ 3246552 w 4086971"/>
              <a:gd name="connsiteY11" fmla="*/ 2811363 h 5143499"/>
              <a:gd name="connsiteX12" fmla="*/ 3246552 w 4086971"/>
              <a:gd name="connsiteY12" fmla="*/ 2811363 h 5143499"/>
              <a:gd name="connsiteX13" fmla="*/ 3048001 w 4086971"/>
              <a:gd name="connsiteY13" fmla="*/ 5143499 h 5143499"/>
              <a:gd name="connsiteX14" fmla="*/ 0 w 4086971"/>
              <a:gd name="connsiteY14" fmla="*/ 5143499 h 5143499"/>
              <a:gd name="connsiteX15" fmla="*/ 0 w 4086971"/>
              <a:gd name="connsiteY15" fmla="*/ 0 h 5143499"/>
              <a:gd name="connsiteX0" fmla="*/ 3353602 w 3567703"/>
              <a:gd name="connsiteY0" fmla="*/ 3588742 h 5143499"/>
              <a:gd name="connsiteX1" fmla="*/ 3567703 w 3567703"/>
              <a:gd name="connsiteY1" fmla="*/ 5143499 h 5143499"/>
              <a:gd name="connsiteX2" fmla="*/ 3567703 w 3567703"/>
              <a:gd name="connsiteY2" fmla="*/ 5143499 h 5143499"/>
              <a:gd name="connsiteX3" fmla="*/ 3353602 w 3567703"/>
              <a:gd name="connsiteY3" fmla="*/ 3588742 h 5143499"/>
              <a:gd name="connsiteX4" fmla="*/ 0 w 3567703"/>
              <a:gd name="connsiteY4" fmla="*/ 0 h 5143499"/>
              <a:gd name="connsiteX5" fmla="*/ 1 w 3567703"/>
              <a:gd name="connsiteY5" fmla="*/ 1 h 5143499"/>
              <a:gd name="connsiteX6" fmla="*/ 1 w 3567703"/>
              <a:gd name="connsiteY6" fmla="*/ 2 h 5143499"/>
              <a:gd name="connsiteX7" fmla="*/ 2859409 w 3567703"/>
              <a:gd name="connsiteY7" fmla="*/ 2 h 5143499"/>
              <a:gd name="connsiteX8" fmla="*/ 3048001 w 3567703"/>
              <a:gd name="connsiteY8" fmla="*/ 2 h 5143499"/>
              <a:gd name="connsiteX9" fmla="*/ 3485903 w 3567703"/>
              <a:gd name="connsiteY9" fmla="*/ 2 h 5143499"/>
              <a:gd name="connsiteX10" fmla="*/ 3246552 w 3567703"/>
              <a:gd name="connsiteY10" fmla="*/ 2811363 h 5143499"/>
              <a:gd name="connsiteX11" fmla="*/ 3246552 w 3567703"/>
              <a:gd name="connsiteY11" fmla="*/ 2811363 h 5143499"/>
              <a:gd name="connsiteX12" fmla="*/ 3048001 w 3567703"/>
              <a:gd name="connsiteY12" fmla="*/ 5143499 h 5143499"/>
              <a:gd name="connsiteX13" fmla="*/ 0 w 3567703"/>
              <a:gd name="connsiteY13" fmla="*/ 5143499 h 5143499"/>
              <a:gd name="connsiteX14" fmla="*/ 0 w 3567703"/>
              <a:gd name="connsiteY14" fmla="*/ 0 h 5143499"/>
              <a:gd name="connsiteX0" fmla="*/ 3353602 w 3567703"/>
              <a:gd name="connsiteY0" fmla="*/ 3588742 h 5143499"/>
              <a:gd name="connsiteX1" fmla="*/ 3567703 w 3567703"/>
              <a:gd name="connsiteY1" fmla="*/ 5143499 h 5143499"/>
              <a:gd name="connsiteX2" fmla="*/ 3353602 w 3567703"/>
              <a:gd name="connsiteY2" fmla="*/ 3588742 h 5143499"/>
              <a:gd name="connsiteX3" fmla="*/ 0 w 3567703"/>
              <a:gd name="connsiteY3" fmla="*/ 0 h 5143499"/>
              <a:gd name="connsiteX4" fmla="*/ 1 w 3567703"/>
              <a:gd name="connsiteY4" fmla="*/ 1 h 5143499"/>
              <a:gd name="connsiteX5" fmla="*/ 1 w 3567703"/>
              <a:gd name="connsiteY5" fmla="*/ 2 h 5143499"/>
              <a:gd name="connsiteX6" fmla="*/ 2859409 w 3567703"/>
              <a:gd name="connsiteY6" fmla="*/ 2 h 5143499"/>
              <a:gd name="connsiteX7" fmla="*/ 3048001 w 3567703"/>
              <a:gd name="connsiteY7" fmla="*/ 2 h 5143499"/>
              <a:gd name="connsiteX8" fmla="*/ 3485903 w 3567703"/>
              <a:gd name="connsiteY8" fmla="*/ 2 h 5143499"/>
              <a:gd name="connsiteX9" fmla="*/ 3246552 w 3567703"/>
              <a:gd name="connsiteY9" fmla="*/ 2811363 h 5143499"/>
              <a:gd name="connsiteX10" fmla="*/ 3246552 w 3567703"/>
              <a:gd name="connsiteY10" fmla="*/ 2811363 h 5143499"/>
              <a:gd name="connsiteX11" fmla="*/ 3048001 w 3567703"/>
              <a:gd name="connsiteY11" fmla="*/ 5143499 h 5143499"/>
              <a:gd name="connsiteX12" fmla="*/ 0 w 3567703"/>
              <a:gd name="connsiteY12" fmla="*/ 5143499 h 5143499"/>
              <a:gd name="connsiteX13" fmla="*/ 0 w 3567703"/>
              <a:gd name="connsiteY13" fmla="*/ 0 h 5143499"/>
              <a:gd name="connsiteX0" fmla="*/ 0 w 3485903"/>
              <a:gd name="connsiteY0" fmla="*/ 0 h 5143499"/>
              <a:gd name="connsiteX1" fmla="*/ 1 w 3485903"/>
              <a:gd name="connsiteY1" fmla="*/ 1 h 5143499"/>
              <a:gd name="connsiteX2" fmla="*/ 1 w 3485903"/>
              <a:gd name="connsiteY2" fmla="*/ 2 h 5143499"/>
              <a:gd name="connsiteX3" fmla="*/ 2859409 w 3485903"/>
              <a:gd name="connsiteY3" fmla="*/ 2 h 5143499"/>
              <a:gd name="connsiteX4" fmla="*/ 3048001 w 3485903"/>
              <a:gd name="connsiteY4" fmla="*/ 2 h 5143499"/>
              <a:gd name="connsiteX5" fmla="*/ 3485903 w 3485903"/>
              <a:gd name="connsiteY5" fmla="*/ 2 h 5143499"/>
              <a:gd name="connsiteX6" fmla="*/ 3246552 w 3485903"/>
              <a:gd name="connsiteY6" fmla="*/ 2811363 h 5143499"/>
              <a:gd name="connsiteX7" fmla="*/ 3246552 w 3485903"/>
              <a:gd name="connsiteY7" fmla="*/ 2811363 h 5143499"/>
              <a:gd name="connsiteX8" fmla="*/ 3048001 w 3485903"/>
              <a:gd name="connsiteY8" fmla="*/ 5143499 h 5143499"/>
              <a:gd name="connsiteX9" fmla="*/ 0 w 3485903"/>
              <a:gd name="connsiteY9" fmla="*/ 5143499 h 5143499"/>
              <a:gd name="connsiteX10" fmla="*/ 0 w 3485903"/>
              <a:gd name="connsiteY10" fmla="*/ 0 h 5143499"/>
              <a:gd name="connsiteX0" fmla="*/ 0 w 3485903"/>
              <a:gd name="connsiteY0" fmla="*/ 0 h 5143499"/>
              <a:gd name="connsiteX1" fmla="*/ 1 w 3485903"/>
              <a:gd name="connsiteY1" fmla="*/ 1 h 5143499"/>
              <a:gd name="connsiteX2" fmla="*/ 1 w 3485903"/>
              <a:gd name="connsiteY2" fmla="*/ 2 h 5143499"/>
              <a:gd name="connsiteX3" fmla="*/ 2859409 w 3485903"/>
              <a:gd name="connsiteY3" fmla="*/ 2 h 5143499"/>
              <a:gd name="connsiteX4" fmla="*/ 3048001 w 3485903"/>
              <a:gd name="connsiteY4" fmla="*/ 2 h 5143499"/>
              <a:gd name="connsiteX5" fmla="*/ 3485903 w 3485903"/>
              <a:gd name="connsiteY5" fmla="*/ 2 h 5143499"/>
              <a:gd name="connsiteX6" fmla="*/ 3370997 w 3485903"/>
              <a:gd name="connsiteY6" fmla="*/ 1337481 h 5143499"/>
              <a:gd name="connsiteX7" fmla="*/ 3246552 w 3485903"/>
              <a:gd name="connsiteY7" fmla="*/ 2811363 h 5143499"/>
              <a:gd name="connsiteX8" fmla="*/ 3246552 w 3485903"/>
              <a:gd name="connsiteY8" fmla="*/ 2811363 h 5143499"/>
              <a:gd name="connsiteX9" fmla="*/ 3048001 w 3485903"/>
              <a:gd name="connsiteY9" fmla="*/ 5143499 h 5143499"/>
              <a:gd name="connsiteX10" fmla="*/ 0 w 3485903"/>
              <a:gd name="connsiteY10" fmla="*/ 5143499 h 5143499"/>
              <a:gd name="connsiteX11" fmla="*/ 0 w 3485903"/>
              <a:gd name="connsiteY11" fmla="*/ 0 h 5143499"/>
              <a:gd name="connsiteX0" fmla="*/ 6824 w 3492727"/>
              <a:gd name="connsiteY0" fmla="*/ 0 h 5143499"/>
              <a:gd name="connsiteX1" fmla="*/ 6825 w 3492727"/>
              <a:gd name="connsiteY1" fmla="*/ 1 h 5143499"/>
              <a:gd name="connsiteX2" fmla="*/ 6825 w 3492727"/>
              <a:gd name="connsiteY2" fmla="*/ 2 h 5143499"/>
              <a:gd name="connsiteX3" fmla="*/ 2866233 w 3492727"/>
              <a:gd name="connsiteY3" fmla="*/ 2 h 5143499"/>
              <a:gd name="connsiteX4" fmla="*/ 3054825 w 3492727"/>
              <a:gd name="connsiteY4" fmla="*/ 2 h 5143499"/>
              <a:gd name="connsiteX5" fmla="*/ 3492727 w 3492727"/>
              <a:gd name="connsiteY5" fmla="*/ 2 h 5143499"/>
              <a:gd name="connsiteX6" fmla="*/ 3377821 w 3492727"/>
              <a:gd name="connsiteY6" fmla="*/ 1337481 h 5143499"/>
              <a:gd name="connsiteX7" fmla="*/ 3253376 w 3492727"/>
              <a:gd name="connsiteY7" fmla="*/ 2811363 h 5143499"/>
              <a:gd name="connsiteX8" fmla="*/ 3253376 w 3492727"/>
              <a:gd name="connsiteY8" fmla="*/ 2811363 h 5143499"/>
              <a:gd name="connsiteX9" fmla="*/ 3054825 w 3492727"/>
              <a:gd name="connsiteY9" fmla="*/ 5143499 h 5143499"/>
              <a:gd name="connsiteX10" fmla="*/ 6824 w 3492727"/>
              <a:gd name="connsiteY10" fmla="*/ 5143499 h 5143499"/>
              <a:gd name="connsiteX11" fmla="*/ 0 w 3492727"/>
              <a:gd name="connsiteY11" fmla="*/ 2565779 h 5143499"/>
              <a:gd name="connsiteX12" fmla="*/ 6824 w 3492727"/>
              <a:gd name="connsiteY12" fmla="*/ 0 h 5143499"/>
              <a:gd name="connsiteX0" fmla="*/ 6824 w 3492727"/>
              <a:gd name="connsiteY0" fmla="*/ 0 h 5143499"/>
              <a:gd name="connsiteX1" fmla="*/ 6825 w 3492727"/>
              <a:gd name="connsiteY1" fmla="*/ 1 h 5143499"/>
              <a:gd name="connsiteX2" fmla="*/ 6825 w 3492727"/>
              <a:gd name="connsiteY2" fmla="*/ 2 h 5143499"/>
              <a:gd name="connsiteX3" fmla="*/ 2866233 w 3492727"/>
              <a:gd name="connsiteY3" fmla="*/ 2 h 5143499"/>
              <a:gd name="connsiteX4" fmla="*/ 3054825 w 3492727"/>
              <a:gd name="connsiteY4" fmla="*/ 2 h 5143499"/>
              <a:gd name="connsiteX5" fmla="*/ 3492727 w 3492727"/>
              <a:gd name="connsiteY5" fmla="*/ 2 h 5143499"/>
              <a:gd name="connsiteX6" fmla="*/ 3377821 w 3492727"/>
              <a:gd name="connsiteY6" fmla="*/ 1337481 h 5143499"/>
              <a:gd name="connsiteX7" fmla="*/ 3253376 w 3492727"/>
              <a:gd name="connsiteY7" fmla="*/ 2811363 h 5143499"/>
              <a:gd name="connsiteX8" fmla="*/ 3253376 w 3492727"/>
              <a:gd name="connsiteY8" fmla="*/ 2811363 h 5143499"/>
              <a:gd name="connsiteX9" fmla="*/ 3054825 w 3492727"/>
              <a:gd name="connsiteY9" fmla="*/ 5143499 h 5143499"/>
              <a:gd name="connsiteX10" fmla="*/ 0 w 3492727"/>
              <a:gd name="connsiteY10" fmla="*/ 2565779 h 5143499"/>
              <a:gd name="connsiteX11" fmla="*/ 6824 w 3492727"/>
              <a:gd name="connsiteY11" fmla="*/ 0 h 5143499"/>
              <a:gd name="connsiteX0" fmla="*/ 6824 w 3492727"/>
              <a:gd name="connsiteY0" fmla="*/ 0 h 2811363"/>
              <a:gd name="connsiteX1" fmla="*/ 6825 w 3492727"/>
              <a:gd name="connsiteY1" fmla="*/ 1 h 2811363"/>
              <a:gd name="connsiteX2" fmla="*/ 6825 w 3492727"/>
              <a:gd name="connsiteY2" fmla="*/ 2 h 2811363"/>
              <a:gd name="connsiteX3" fmla="*/ 2866233 w 3492727"/>
              <a:gd name="connsiteY3" fmla="*/ 2 h 2811363"/>
              <a:gd name="connsiteX4" fmla="*/ 3054825 w 3492727"/>
              <a:gd name="connsiteY4" fmla="*/ 2 h 2811363"/>
              <a:gd name="connsiteX5" fmla="*/ 3492727 w 3492727"/>
              <a:gd name="connsiteY5" fmla="*/ 2 h 2811363"/>
              <a:gd name="connsiteX6" fmla="*/ 3377821 w 3492727"/>
              <a:gd name="connsiteY6" fmla="*/ 1337481 h 2811363"/>
              <a:gd name="connsiteX7" fmla="*/ 3253376 w 3492727"/>
              <a:gd name="connsiteY7" fmla="*/ 2811363 h 2811363"/>
              <a:gd name="connsiteX8" fmla="*/ 3253376 w 3492727"/>
              <a:gd name="connsiteY8" fmla="*/ 2811363 h 2811363"/>
              <a:gd name="connsiteX9" fmla="*/ 0 w 3492727"/>
              <a:gd name="connsiteY9" fmla="*/ 2565779 h 2811363"/>
              <a:gd name="connsiteX10" fmla="*/ 6824 w 3492727"/>
              <a:gd name="connsiteY10" fmla="*/ 0 h 2811363"/>
              <a:gd name="connsiteX0" fmla="*/ 6824 w 3492727"/>
              <a:gd name="connsiteY0" fmla="*/ 0 h 2811363"/>
              <a:gd name="connsiteX1" fmla="*/ 6825 w 3492727"/>
              <a:gd name="connsiteY1" fmla="*/ 1 h 2811363"/>
              <a:gd name="connsiteX2" fmla="*/ 6825 w 3492727"/>
              <a:gd name="connsiteY2" fmla="*/ 2 h 2811363"/>
              <a:gd name="connsiteX3" fmla="*/ 2866233 w 3492727"/>
              <a:gd name="connsiteY3" fmla="*/ 2 h 2811363"/>
              <a:gd name="connsiteX4" fmla="*/ 3054825 w 3492727"/>
              <a:gd name="connsiteY4" fmla="*/ 2 h 2811363"/>
              <a:gd name="connsiteX5" fmla="*/ 3492727 w 3492727"/>
              <a:gd name="connsiteY5" fmla="*/ 2 h 2811363"/>
              <a:gd name="connsiteX6" fmla="*/ 3377821 w 3492727"/>
              <a:gd name="connsiteY6" fmla="*/ 1337481 h 2811363"/>
              <a:gd name="connsiteX7" fmla="*/ 3253376 w 3492727"/>
              <a:gd name="connsiteY7" fmla="*/ 2811363 h 2811363"/>
              <a:gd name="connsiteX8" fmla="*/ 0 w 3492727"/>
              <a:gd name="connsiteY8" fmla="*/ 2565779 h 2811363"/>
              <a:gd name="connsiteX9" fmla="*/ 6824 w 3492727"/>
              <a:gd name="connsiteY9" fmla="*/ 0 h 2811363"/>
              <a:gd name="connsiteX0" fmla="*/ 6824 w 3492727"/>
              <a:gd name="connsiteY0" fmla="*/ 0 h 2565779"/>
              <a:gd name="connsiteX1" fmla="*/ 6825 w 3492727"/>
              <a:gd name="connsiteY1" fmla="*/ 1 h 2565779"/>
              <a:gd name="connsiteX2" fmla="*/ 6825 w 3492727"/>
              <a:gd name="connsiteY2" fmla="*/ 2 h 2565779"/>
              <a:gd name="connsiteX3" fmla="*/ 2866233 w 3492727"/>
              <a:gd name="connsiteY3" fmla="*/ 2 h 2565779"/>
              <a:gd name="connsiteX4" fmla="*/ 3054825 w 3492727"/>
              <a:gd name="connsiteY4" fmla="*/ 2 h 2565779"/>
              <a:gd name="connsiteX5" fmla="*/ 3492727 w 3492727"/>
              <a:gd name="connsiteY5" fmla="*/ 2 h 2565779"/>
              <a:gd name="connsiteX6" fmla="*/ 3377821 w 3492727"/>
              <a:gd name="connsiteY6" fmla="*/ 1337481 h 2565779"/>
              <a:gd name="connsiteX7" fmla="*/ 0 w 3492727"/>
              <a:gd name="connsiteY7" fmla="*/ 2565779 h 2565779"/>
              <a:gd name="connsiteX8" fmla="*/ 6824 w 3492727"/>
              <a:gd name="connsiteY8" fmla="*/ 0 h 2565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92727" h="2565779">
                <a:moveTo>
                  <a:pt x="6824" y="0"/>
                </a:moveTo>
                <a:lnTo>
                  <a:pt x="6825" y="1"/>
                </a:lnTo>
                <a:lnTo>
                  <a:pt x="6825" y="2"/>
                </a:lnTo>
                <a:lnTo>
                  <a:pt x="2866233" y="2"/>
                </a:lnTo>
                <a:lnTo>
                  <a:pt x="3054825" y="2"/>
                </a:lnTo>
                <a:lnTo>
                  <a:pt x="3492727" y="2"/>
                </a:lnTo>
                <a:lnTo>
                  <a:pt x="3377821" y="1337481"/>
                </a:lnTo>
                <a:lnTo>
                  <a:pt x="0" y="2565779"/>
                </a:lnTo>
                <a:cubicBezTo>
                  <a:pt x="2275" y="1710519"/>
                  <a:pt x="4549" y="855260"/>
                  <a:pt x="6824" y="0"/>
                </a:cubicBezTo>
                <a:close/>
              </a:path>
            </a:pathLst>
          </a:custGeom>
          <a:solidFill>
            <a:schemeClr val="tx2">
              <a:alpha val="80000"/>
            </a:schemeClr>
          </a:solidFill>
        </p:spPr>
        <p:txBody>
          <a:bodyPr vert="horz" wrap="square" lIns="91440" tIns="45720" rIns="91440" bIns="45720" rtlCol="0">
            <a:noAutofit/>
          </a:bodyPr>
          <a:lstStyle>
            <a:lvl1pPr>
              <a:defRPr lang="fr-FR" sz="100" dirty="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28" name="Espace réservé du texte 527">
            <a:extLst>
              <a:ext uri="{FF2B5EF4-FFF2-40B4-BE49-F238E27FC236}">
                <a16:creationId xmlns:a16="http://schemas.microsoft.com/office/drawing/2014/main" id="{6A8E0876-8CB4-4156-A0C1-0BC7361D1C40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429470" y="1194381"/>
            <a:ext cx="108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29" name="Espace réservé du texte 528">
            <a:extLst>
              <a:ext uri="{FF2B5EF4-FFF2-40B4-BE49-F238E27FC236}">
                <a16:creationId xmlns:a16="http://schemas.microsoft.com/office/drawing/2014/main" id="{20C5F896-3CE3-44F8-B5B2-F667F9101641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1512561" y="1194381"/>
            <a:ext cx="108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rgbClr val="3A1B0B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31" name="Espace réservé du texte 530">
            <a:extLst>
              <a:ext uri="{FF2B5EF4-FFF2-40B4-BE49-F238E27FC236}">
                <a16:creationId xmlns:a16="http://schemas.microsoft.com/office/drawing/2014/main" id="{70ADA97F-36B2-42A5-9506-18C5EA9C6E0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3993" y="190831"/>
            <a:ext cx="2495932" cy="92235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3pPr>
            <a:lvl4pPr marL="0" indent="0">
              <a:buNone/>
              <a:defRPr sz="1000">
                <a:solidFill>
                  <a:schemeClr val="bg1"/>
                </a:solidFill>
              </a:defRPr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F07F141A-1265-42D2-9F40-A84C5A069F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48000" y="2811362"/>
            <a:ext cx="519702" cy="2332138"/>
          </a:xfrm>
          <a:custGeom>
            <a:avLst/>
            <a:gdLst>
              <a:gd name="connsiteX0" fmla="*/ 198551 w 519702"/>
              <a:gd name="connsiteY0" fmla="*/ 0 h 2332138"/>
              <a:gd name="connsiteX1" fmla="*/ 519702 w 519702"/>
              <a:gd name="connsiteY1" fmla="*/ 2332138 h 2332138"/>
              <a:gd name="connsiteX2" fmla="*/ 0 w 519702"/>
              <a:gd name="connsiteY2" fmla="*/ 2332138 h 2332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19702" h="2332138">
                <a:moveTo>
                  <a:pt x="198551" y="0"/>
                </a:moveTo>
                <a:lnTo>
                  <a:pt x="519702" y="2332138"/>
                </a:lnTo>
                <a:lnTo>
                  <a:pt x="0" y="233213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180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12164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 2 avec image - Foncé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Forme libre : forme 69">
            <a:extLst>
              <a:ext uri="{FF2B5EF4-FFF2-40B4-BE49-F238E27FC236}">
                <a16:creationId xmlns:a16="http://schemas.microsoft.com/office/drawing/2014/main" id="{7A9D45F7-F6EE-4110-A350-96F73BCE90D1}"/>
              </a:ext>
            </a:extLst>
          </p:cNvPr>
          <p:cNvSpPr/>
          <p:nvPr userDrawn="1"/>
        </p:nvSpPr>
        <p:spPr>
          <a:xfrm>
            <a:off x="0" y="3708637"/>
            <a:ext cx="9153528" cy="1434863"/>
          </a:xfrm>
          <a:custGeom>
            <a:avLst/>
            <a:gdLst>
              <a:gd name="connsiteX0" fmla="*/ 0 w 9153528"/>
              <a:gd name="connsiteY0" fmla="*/ 0 h 1434863"/>
              <a:gd name="connsiteX1" fmla="*/ 9097717 w 9153528"/>
              <a:gd name="connsiteY1" fmla="*/ 747887 h 1434863"/>
              <a:gd name="connsiteX2" fmla="*/ 9153528 w 9153528"/>
              <a:gd name="connsiteY2" fmla="*/ 747887 h 1434863"/>
              <a:gd name="connsiteX3" fmla="*/ 9153528 w 9153528"/>
              <a:gd name="connsiteY3" fmla="*/ 752475 h 1434863"/>
              <a:gd name="connsiteX4" fmla="*/ 9153528 w 9153528"/>
              <a:gd name="connsiteY4" fmla="*/ 1434863 h 1434863"/>
              <a:gd name="connsiteX5" fmla="*/ 0 w 9153528"/>
              <a:gd name="connsiteY5" fmla="*/ 1434863 h 1434863"/>
              <a:gd name="connsiteX6" fmla="*/ 0 w 9153528"/>
              <a:gd name="connsiteY6" fmla="*/ 752475 h 1434863"/>
              <a:gd name="connsiteX7" fmla="*/ 0 w 9153528"/>
              <a:gd name="connsiteY7" fmla="*/ 747887 h 1434863"/>
              <a:gd name="connsiteX0" fmla="*/ 0 w 9153528"/>
              <a:gd name="connsiteY0" fmla="*/ 0 h 1434863"/>
              <a:gd name="connsiteX1" fmla="*/ 9097717 w 9153528"/>
              <a:gd name="connsiteY1" fmla="*/ 747887 h 1434863"/>
              <a:gd name="connsiteX2" fmla="*/ 9153528 w 9153528"/>
              <a:gd name="connsiteY2" fmla="*/ 752475 h 1434863"/>
              <a:gd name="connsiteX3" fmla="*/ 9153528 w 9153528"/>
              <a:gd name="connsiteY3" fmla="*/ 1434863 h 1434863"/>
              <a:gd name="connsiteX4" fmla="*/ 0 w 9153528"/>
              <a:gd name="connsiteY4" fmla="*/ 1434863 h 1434863"/>
              <a:gd name="connsiteX5" fmla="*/ 0 w 9153528"/>
              <a:gd name="connsiteY5" fmla="*/ 752475 h 1434863"/>
              <a:gd name="connsiteX6" fmla="*/ 0 w 9153528"/>
              <a:gd name="connsiteY6" fmla="*/ 747887 h 1434863"/>
              <a:gd name="connsiteX7" fmla="*/ 0 w 9153528"/>
              <a:gd name="connsiteY7" fmla="*/ 0 h 1434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53528" h="1434863">
                <a:moveTo>
                  <a:pt x="0" y="0"/>
                </a:moveTo>
                <a:lnTo>
                  <a:pt x="9097717" y="747887"/>
                </a:lnTo>
                <a:lnTo>
                  <a:pt x="9153528" y="752475"/>
                </a:lnTo>
                <a:lnTo>
                  <a:pt x="9153528" y="1434863"/>
                </a:lnTo>
                <a:lnTo>
                  <a:pt x="0" y="1434863"/>
                </a:lnTo>
                <a:lnTo>
                  <a:pt x="0" y="752475"/>
                </a:lnTo>
                <a:lnTo>
                  <a:pt x="0" y="747887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48FA6A4C-949D-4D78-851A-5D85C0ACA219}"/>
              </a:ext>
            </a:extLst>
          </p:cNvPr>
          <p:cNvGrpSpPr/>
          <p:nvPr userDrawn="1"/>
        </p:nvGrpSpPr>
        <p:grpSpPr>
          <a:xfrm>
            <a:off x="4782105" y="3396053"/>
            <a:ext cx="4416497" cy="1125022"/>
            <a:chOff x="4782105" y="4078441"/>
            <a:chExt cx="4416497" cy="1125022"/>
          </a:xfrm>
          <a:solidFill>
            <a:schemeClr val="bg2">
              <a:alpha val="10000"/>
            </a:schemeClr>
          </a:solidFill>
        </p:grpSpPr>
        <p:sp>
          <p:nvSpPr>
            <p:cNvPr id="7" name="Forme libre : forme 6">
              <a:extLst>
                <a:ext uri="{FF2B5EF4-FFF2-40B4-BE49-F238E27FC236}">
                  <a16:creationId xmlns:a16="http://schemas.microsoft.com/office/drawing/2014/main" id="{791FB8C9-9221-4E4C-A4AC-2AAD9F08AE59}"/>
                </a:ext>
              </a:extLst>
            </p:cNvPr>
            <p:cNvSpPr/>
            <p:nvPr/>
          </p:nvSpPr>
          <p:spPr>
            <a:xfrm rot="8716295">
              <a:off x="8490768" y="467807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CAEA067D-BF83-4ED3-87B4-BB06FFFF2B66}"/>
                </a:ext>
              </a:extLst>
            </p:cNvPr>
            <p:cNvSpPr/>
            <p:nvPr/>
          </p:nvSpPr>
          <p:spPr>
            <a:xfrm rot="8716295">
              <a:off x="5559260" y="4523190"/>
              <a:ext cx="215177" cy="303156"/>
            </a:xfrm>
            <a:custGeom>
              <a:avLst/>
              <a:gdLst>
                <a:gd name="connsiteX0" fmla="*/ 122761 w 215177"/>
                <a:gd name="connsiteY0" fmla="*/ 256399 h 303156"/>
                <a:gd name="connsiteX1" fmla="*/ 122761 w 215177"/>
                <a:gd name="connsiteY1" fmla="*/ 105519 h 303156"/>
                <a:gd name="connsiteX2" fmla="*/ 122761 w 215177"/>
                <a:gd name="connsiteY2" fmla="*/ 99312 h 303156"/>
                <a:gd name="connsiteX3" fmla="*/ 91726 w 215177"/>
                <a:gd name="connsiteY3" fmla="*/ 75863 h 303156"/>
                <a:gd name="connsiteX4" fmla="*/ 0 w 215177"/>
                <a:gd name="connsiteY4" fmla="*/ 75863 h 303156"/>
                <a:gd name="connsiteX5" fmla="*/ 0 w 215177"/>
                <a:gd name="connsiteY5" fmla="*/ 0 h 303156"/>
                <a:gd name="connsiteX6" fmla="*/ 128968 w 215177"/>
                <a:gd name="connsiteY6" fmla="*/ 0 h 303156"/>
                <a:gd name="connsiteX7" fmla="*/ 215177 w 215177"/>
                <a:gd name="connsiteY7" fmla="*/ 75863 h 303156"/>
                <a:gd name="connsiteX8" fmla="*/ 215176 w 215177"/>
                <a:gd name="connsiteY8" fmla="*/ 303156 h 303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5177" h="303156">
                  <a:moveTo>
                    <a:pt x="122761" y="25639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0"/>
                  </a:lnTo>
                  <a:lnTo>
                    <a:pt x="128968" y="0"/>
                  </a:lnTo>
                  <a:cubicBezTo>
                    <a:pt x="184831" y="0"/>
                    <a:pt x="215176" y="24139"/>
                    <a:pt x="215177" y="75863"/>
                  </a:cubicBezTo>
                  <a:lnTo>
                    <a:pt x="215176" y="30315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ADF38186-185D-41F8-A6B1-FB10366A4CEE}"/>
                </a:ext>
              </a:extLst>
            </p:cNvPr>
            <p:cNvSpPr/>
            <p:nvPr/>
          </p:nvSpPr>
          <p:spPr>
            <a:xfrm rot="8716295">
              <a:off x="5692925" y="4561542"/>
              <a:ext cx="393603" cy="335006"/>
            </a:xfrm>
            <a:custGeom>
              <a:avLst/>
              <a:gdLst>
                <a:gd name="connsiteX0" fmla="*/ 77932 w 393603"/>
                <a:gd name="connsiteY0" fmla="*/ 299055 h 335006"/>
                <a:gd name="connsiteX1" fmla="*/ 77932 w 393603"/>
                <a:gd name="connsiteY1" fmla="*/ 66897 h 335006"/>
                <a:gd name="connsiteX2" fmla="*/ 0 w 393603"/>
                <a:gd name="connsiteY2" fmla="*/ 66898 h 335006"/>
                <a:gd name="connsiteX3" fmla="*/ 0 w 393603"/>
                <a:gd name="connsiteY3" fmla="*/ 0 h 335006"/>
                <a:gd name="connsiteX4" fmla="*/ 158623 w 393603"/>
                <a:gd name="connsiteY4" fmla="*/ 1 h 335006"/>
                <a:gd name="connsiteX5" fmla="*/ 158623 w 393603"/>
                <a:gd name="connsiteY5" fmla="*/ 111726 h 335006"/>
                <a:gd name="connsiteX6" fmla="*/ 160692 w 393603"/>
                <a:gd name="connsiteY6" fmla="*/ 111726 h 335006"/>
                <a:gd name="connsiteX7" fmla="*/ 192762 w 393603"/>
                <a:gd name="connsiteY7" fmla="*/ 39915 h 335006"/>
                <a:gd name="connsiteX8" fmla="*/ 231959 w 393603"/>
                <a:gd name="connsiteY8" fmla="*/ 7837 h 335006"/>
                <a:gd name="connsiteX9" fmla="*/ 393603 w 393603"/>
                <a:gd name="connsiteY9" fmla="*/ 140745 h 335006"/>
                <a:gd name="connsiteX10" fmla="*/ 300695 w 393603"/>
                <a:gd name="connsiteY10" fmla="*/ 146210 h 335006"/>
                <a:gd name="connsiteX11" fmla="*/ 300694 w 393603"/>
                <a:gd name="connsiteY11" fmla="*/ 121382 h 335006"/>
                <a:gd name="connsiteX12" fmla="*/ 249659 w 393603"/>
                <a:gd name="connsiteY12" fmla="*/ 58622 h 335006"/>
                <a:gd name="connsiteX13" fmla="*/ 168969 w 393603"/>
                <a:gd name="connsiteY13" fmla="*/ 191038 h 335006"/>
                <a:gd name="connsiteX14" fmla="*/ 168969 w 393603"/>
                <a:gd name="connsiteY14" fmla="*/ 321385 h 335006"/>
                <a:gd name="connsiteX15" fmla="*/ 148991 w 393603"/>
                <a:gd name="connsiteY15" fmla="*/ 335006 h 335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93603" h="335006">
                  <a:moveTo>
                    <a:pt x="77932" y="299055"/>
                  </a:moveTo>
                  <a:lnTo>
                    <a:pt x="77932" y="66897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1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71727" y="78967"/>
                    <a:pt x="181555" y="56208"/>
                    <a:pt x="192762" y="39915"/>
                  </a:cubicBezTo>
                  <a:lnTo>
                    <a:pt x="231959" y="7837"/>
                  </a:lnTo>
                  <a:lnTo>
                    <a:pt x="393603" y="140745"/>
                  </a:lnTo>
                  <a:lnTo>
                    <a:pt x="300695" y="146210"/>
                  </a:lnTo>
                  <a:lnTo>
                    <a:pt x="300694" y="121382"/>
                  </a:lnTo>
                  <a:cubicBezTo>
                    <a:pt x="300695" y="84140"/>
                    <a:pt x="279316" y="58622"/>
                    <a:pt x="249659" y="58622"/>
                  </a:cubicBezTo>
                  <a:cubicBezTo>
                    <a:pt x="205521" y="58621"/>
                    <a:pt x="168969" y="117244"/>
                    <a:pt x="168969" y="191038"/>
                  </a:cubicBezTo>
                  <a:lnTo>
                    <a:pt x="168969" y="321385"/>
                  </a:lnTo>
                  <a:lnTo>
                    <a:pt x="148991" y="33500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4B724F9D-95FF-4F02-B59A-7E5AC8B98AC8}"/>
                </a:ext>
              </a:extLst>
            </p:cNvPr>
            <p:cNvSpPr/>
            <p:nvPr/>
          </p:nvSpPr>
          <p:spPr>
            <a:xfrm rot="8716295">
              <a:off x="5659234" y="4556420"/>
              <a:ext cx="113018" cy="83608"/>
            </a:xfrm>
            <a:custGeom>
              <a:avLst/>
              <a:gdLst>
                <a:gd name="connsiteX0" fmla="*/ 0 w 113018"/>
                <a:gd name="connsiteY0" fmla="*/ 32910 h 83608"/>
                <a:gd name="connsiteX1" fmla="*/ 24482 w 113018"/>
                <a:gd name="connsiteY1" fmla="*/ 13621 h 83608"/>
                <a:gd name="connsiteX2" fmla="*/ 70259 w 113018"/>
                <a:gd name="connsiteY2" fmla="*/ 0 h 83608"/>
                <a:gd name="connsiteX3" fmla="*/ 113018 w 113018"/>
                <a:gd name="connsiteY3" fmla="*/ 51035 h 83608"/>
                <a:gd name="connsiteX4" fmla="*/ 100518 w 113018"/>
                <a:gd name="connsiteY4" fmla="*/ 83363 h 83608"/>
                <a:gd name="connsiteX5" fmla="*/ 100204 w 113018"/>
                <a:gd name="connsiteY5" fmla="*/ 83608 h 83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018" h="83608">
                  <a:moveTo>
                    <a:pt x="0" y="32910"/>
                  </a:moveTo>
                  <a:lnTo>
                    <a:pt x="24482" y="13621"/>
                  </a:lnTo>
                  <a:cubicBezTo>
                    <a:pt x="38534" y="6380"/>
                    <a:pt x="54052" y="1725"/>
                    <a:pt x="70259" y="0"/>
                  </a:cubicBezTo>
                  <a:cubicBezTo>
                    <a:pt x="103363" y="0"/>
                    <a:pt x="113018" y="28966"/>
                    <a:pt x="113018" y="51035"/>
                  </a:cubicBezTo>
                  <a:cubicBezTo>
                    <a:pt x="111984" y="63105"/>
                    <a:pt x="107501" y="74139"/>
                    <a:pt x="100518" y="83363"/>
                  </a:cubicBezTo>
                  <a:lnTo>
                    <a:pt x="100204" y="8360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D01436B5-D8EB-44DF-8B51-633BF4E9FB42}"/>
                </a:ext>
              </a:extLst>
            </p:cNvPr>
            <p:cNvSpPr/>
            <p:nvPr/>
          </p:nvSpPr>
          <p:spPr>
            <a:xfrm rot="8716295">
              <a:off x="5371633" y="4613095"/>
              <a:ext cx="88105" cy="83851"/>
            </a:xfrm>
            <a:custGeom>
              <a:avLst/>
              <a:gdLst>
                <a:gd name="connsiteX0" fmla="*/ 6112 w 88105"/>
                <a:gd name="connsiteY0" fmla="*/ 59305 h 83851"/>
                <a:gd name="connsiteX1" fmla="*/ 0 w 88105"/>
                <a:gd name="connsiteY1" fmla="*/ 44829 h 83851"/>
                <a:gd name="connsiteX2" fmla="*/ 0 w 88105"/>
                <a:gd name="connsiteY2" fmla="*/ 44139 h 83851"/>
                <a:gd name="connsiteX3" fmla="*/ 13104 w 88105"/>
                <a:gd name="connsiteY3" fmla="*/ 13104 h 83851"/>
                <a:gd name="connsiteX4" fmla="*/ 44139 w 88105"/>
                <a:gd name="connsiteY4" fmla="*/ 0 h 83851"/>
                <a:gd name="connsiteX5" fmla="*/ 75175 w 88105"/>
                <a:gd name="connsiteY5" fmla="*/ 13104 h 83851"/>
                <a:gd name="connsiteX6" fmla="*/ 75175 w 88105"/>
                <a:gd name="connsiteY6" fmla="*/ 75175 h 83851"/>
                <a:gd name="connsiteX7" fmla="*/ 54626 w 88105"/>
                <a:gd name="connsiteY7" fmla="*/ 83851 h 83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105" h="83851">
                  <a:moveTo>
                    <a:pt x="6112" y="59305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cubicBezTo>
                    <a:pt x="55864" y="0"/>
                    <a:pt x="66899" y="4828"/>
                    <a:pt x="75175" y="13104"/>
                  </a:cubicBezTo>
                  <a:cubicBezTo>
                    <a:pt x="92416" y="29657"/>
                    <a:pt x="92416" y="57933"/>
                    <a:pt x="75175" y="75175"/>
                  </a:cubicBezTo>
                  <a:lnTo>
                    <a:pt x="54626" y="8385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6F3BF20E-F037-4374-BB41-095B54D26F08}"/>
                </a:ext>
              </a:extLst>
            </p:cNvPr>
            <p:cNvSpPr/>
            <p:nvPr/>
          </p:nvSpPr>
          <p:spPr>
            <a:xfrm rot="8716295">
              <a:off x="5473646" y="4706746"/>
              <a:ext cx="91035" cy="188159"/>
            </a:xfrm>
            <a:custGeom>
              <a:avLst/>
              <a:gdLst>
                <a:gd name="connsiteX0" fmla="*/ 91035 w 91035"/>
                <a:gd name="connsiteY0" fmla="*/ 188159 h 188159"/>
                <a:gd name="connsiteX1" fmla="*/ 0 w 91035"/>
                <a:gd name="connsiteY1" fmla="*/ 100571 h 188159"/>
                <a:gd name="connsiteX2" fmla="*/ 0 w 91035"/>
                <a:gd name="connsiteY2" fmla="*/ 0 h 188159"/>
                <a:gd name="connsiteX3" fmla="*/ 91035 w 91035"/>
                <a:gd name="connsiteY3" fmla="*/ 74852 h 188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188159">
                  <a:moveTo>
                    <a:pt x="91035" y="188159"/>
                  </a:moveTo>
                  <a:lnTo>
                    <a:pt x="0" y="100571"/>
                  </a:lnTo>
                  <a:lnTo>
                    <a:pt x="0" y="0"/>
                  </a:lnTo>
                  <a:lnTo>
                    <a:pt x="91035" y="748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BBB1D061-FD31-402D-BCCB-6813149262F1}"/>
                </a:ext>
              </a:extLst>
            </p:cNvPr>
            <p:cNvSpPr/>
            <p:nvPr/>
          </p:nvSpPr>
          <p:spPr>
            <a:xfrm rot="8716295">
              <a:off x="6218962" y="4454620"/>
              <a:ext cx="171018" cy="106515"/>
            </a:xfrm>
            <a:custGeom>
              <a:avLst/>
              <a:gdLst>
                <a:gd name="connsiteX0" fmla="*/ 0 w 171018"/>
                <a:gd name="connsiteY0" fmla="*/ 19991 h 106515"/>
                <a:gd name="connsiteX1" fmla="*/ 13365 w 171018"/>
                <a:gd name="connsiteY1" fmla="*/ 9053 h 106515"/>
                <a:gd name="connsiteX2" fmla="*/ 60952 w 171018"/>
                <a:gd name="connsiteY2" fmla="*/ 87 h 106515"/>
                <a:gd name="connsiteX3" fmla="*/ 166956 w 171018"/>
                <a:gd name="connsiteY3" fmla="*/ 76705 h 106515"/>
                <a:gd name="connsiteX4" fmla="*/ 171018 w 171018"/>
                <a:gd name="connsiteY4" fmla="*/ 106515 h 106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018" h="106515">
                  <a:moveTo>
                    <a:pt x="0" y="19991"/>
                  </a:moveTo>
                  <a:lnTo>
                    <a:pt x="13365" y="9053"/>
                  </a:lnTo>
                  <a:cubicBezTo>
                    <a:pt x="28538" y="2846"/>
                    <a:pt x="44400" y="-602"/>
                    <a:pt x="60952" y="87"/>
                  </a:cubicBezTo>
                  <a:cubicBezTo>
                    <a:pt x="114229" y="-948"/>
                    <a:pt x="151600" y="26725"/>
                    <a:pt x="166956" y="76705"/>
                  </a:cubicBezTo>
                  <a:lnTo>
                    <a:pt x="171018" y="10651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B49834EB-4686-4A9A-AFBE-353B0A4BB9CC}"/>
                </a:ext>
              </a:extLst>
            </p:cNvPr>
            <p:cNvSpPr/>
            <p:nvPr/>
          </p:nvSpPr>
          <p:spPr>
            <a:xfrm rot="8716295">
              <a:off x="6005990" y="4487669"/>
              <a:ext cx="156555" cy="122067"/>
            </a:xfrm>
            <a:custGeom>
              <a:avLst/>
              <a:gdLst>
                <a:gd name="connsiteX0" fmla="*/ 65519 w 156555"/>
                <a:gd name="connsiteY0" fmla="*/ 76009 h 122067"/>
                <a:gd name="connsiteX1" fmla="*/ 65519 w 156555"/>
                <a:gd name="connsiteY1" fmla="*/ 24828 h 122067"/>
                <a:gd name="connsiteX2" fmla="*/ 0 w 156555"/>
                <a:gd name="connsiteY2" fmla="*/ 24828 h 122067"/>
                <a:gd name="connsiteX3" fmla="*/ 0 w 156555"/>
                <a:gd name="connsiteY3" fmla="*/ 3449 h 122067"/>
                <a:gd name="connsiteX4" fmla="*/ 156555 w 156555"/>
                <a:gd name="connsiteY4" fmla="*/ 0 h 122067"/>
                <a:gd name="connsiteX5" fmla="*/ 156554 w 156555"/>
                <a:gd name="connsiteY5" fmla="*/ 122067 h 122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6555" h="122067">
                  <a:moveTo>
                    <a:pt x="65519" y="76009"/>
                  </a:moveTo>
                  <a:lnTo>
                    <a:pt x="65519" y="24828"/>
                  </a:lnTo>
                  <a:lnTo>
                    <a:pt x="0" y="24828"/>
                  </a:lnTo>
                  <a:lnTo>
                    <a:pt x="0" y="3449"/>
                  </a:lnTo>
                  <a:cubicBezTo>
                    <a:pt x="49656" y="5517"/>
                    <a:pt x="101381" y="1379"/>
                    <a:pt x="156555" y="0"/>
                  </a:cubicBezTo>
                  <a:lnTo>
                    <a:pt x="156554" y="1220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676F5558-2730-4CE0-B993-EAC478371730}"/>
                </a:ext>
              </a:extLst>
            </p:cNvPr>
            <p:cNvSpPr/>
            <p:nvPr/>
          </p:nvSpPr>
          <p:spPr>
            <a:xfrm rot="7484129">
              <a:off x="6103422" y="4586563"/>
              <a:ext cx="308532" cy="296464"/>
            </a:xfrm>
            <a:custGeom>
              <a:avLst/>
              <a:gdLst>
                <a:gd name="connsiteX0" fmla="*/ 137293 w 308532"/>
                <a:gd name="connsiteY0" fmla="*/ 296464 h 296464"/>
                <a:gd name="connsiteX1" fmla="*/ 72419 w 308532"/>
                <a:gd name="connsiteY1" fmla="*/ 175766 h 296464"/>
                <a:gd name="connsiteX2" fmla="*/ 105610 w 308532"/>
                <a:gd name="connsiteY2" fmla="*/ 83734 h 296464"/>
                <a:gd name="connsiteX3" fmla="*/ 0 w 308532"/>
                <a:gd name="connsiteY3" fmla="*/ 83734 h 296464"/>
                <a:gd name="connsiteX4" fmla="*/ 0 w 308532"/>
                <a:gd name="connsiteY4" fmla="*/ 0 h 296464"/>
                <a:gd name="connsiteX5" fmla="*/ 265017 w 308532"/>
                <a:gd name="connsiteY5" fmla="*/ 0 h 296464"/>
                <a:gd name="connsiteX6" fmla="*/ 308532 w 308532"/>
                <a:gd name="connsiteY6" fmla="*/ 75260 h 296464"/>
                <a:gd name="connsiteX7" fmla="*/ 308532 w 308532"/>
                <a:gd name="connsiteY7" fmla="*/ 83734 h 296464"/>
                <a:gd name="connsiteX8" fmla="*/ 210466 w 308532"/>
                <a:gd name="connsiteY8" fmla="*/ 83734 h 296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532" h="296464">
                  <a:moveTo>
                    <a:pt x="137293" y="296464"/>
                  </a:moveTo>
                  <a:lnTo>
                    <a:pt x="72419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65017" y="0"/>
                  </a:lnTo>
                  <a:lnTo>
                    <a:pt x="308532" y="75260"/>
                  </a:lnTo>
                  <a:lnTo>
                    <a:pt x="308532" y="83734"/>
                  </a:lnTo>
                  <a:lnTo>
                    <a:pt x="210466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6446F284-DF3B-4BD3-84E9-63513197872A}"/>
                </a:ext>
              </a:extLst>
            </p:cNvPr>
            <p:cNvSpPr/>
            <p:nvPr/>
          </p:nvSpPr>
          <p:spPr>
            <a:xfrm rot="13089394">
              <a:off x="6309616" y="4543919"/>
              <a:ext cx="412568" cy="359948"/>
            </a:xfrm>
            <a:custGeom>
              <a:avLst/>
              <a:gdLst>
                <a:gd name="connsiteX0" fmla="*/ 412568 w 412568"/>
                <a:gd name="connsiteY0" fmla="*/ 252801 h 359948"/>
                <a:gd name="connsiteX1" fmla="*/ 138636 w 412568"/>
                <a:gd name="connsiteY1" fmla="*/ 359701 h 359948"/>
                <a:gd name="connsiteX2" fmla="*/ 35911 w 412568"/>
                <a:gd name="connsiteY2" fmla="*/ 317943 h 359948"/>
                <a:gd name="connsiteX3" fmla="*/ 0 w 412568"/>
                <a:gd name="connsiteY3" fmla="*/ 174296 h 359948"/>
                <a:gd name="connsiteX4" fmla="*/ 0 w 412568"/>
                <a:gd name="connsiteY4" fmla="*/ 74054 h 359948"/>
                <a:gd name="connsiteX5" fmla="*/ 112066 w 412568"/>
                <a:gd name="connsiteY5" fmla="*/ 0 h 359948"/>
                <a:gd name="connsiteX6" fmla="*/ 112747 w 412568"/>
                <a:gd name="connsiteY6" fmla="*/ 94956 h 359948"/>
                <a:gd name="connsiteX7" fmla="*/ 132789 w 412568"/>
                <a:gd name="connsiteY7" fmla="*/ 233593 h 359948"/>
                <a:gd name="connsiteX8" fmla="*/ 233008 w 412568"/>
                <a:gd name="connsiteY8" fmla="*/ 288713 h 359948"/>
                <a:gd name="connsiteX9" fmla="*/ 308172 w 412568"/>
                <a:gd name="connsiteY9" fmla="*/ 275351 h 359948"/>
                <a:gd name="connsiteX10" fmla="*/ 410898 w 412568"/>
                <a:gd name="connsiteY10" fmla="*/ 233593 h 359948"/>
                <a:gd name="connsiteX11" fmla="*/ 412568 w 412568"/>
                <a:gd name="connsiteY11" fmla="*/ 244449 h 359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2568" h="359948">
                  <a:moveTo>
                    <a:pt x="412568" y="252801"/>
                  </a:moveTo>
                  <a:cubicBezTo>
                    <a:pt x="324041" y="328800"/>
                    <a:pt x="207954" y="355526"/>
                    <a:pt x="138636" y="359701"/>
                  </a:cubicBezTo>
                  <a:cubicBezTo>
                    <a:pt x="100219" y="362207"/>
                    <a:pt x="62637" y="345504"/>
                    <a:pt x="35911" y="317943"/>
                  </a:cubicBezTo>
                  <a:cubicBezTo>
                    <a:pt x="7516" y="290383"/>
                    <a:pt x="0" y="242779"/>
                    <a:pt x="0" y="174296"/>
                  </a:cubicBezTo>
                  <a:lnTo>
                    <a:pt x="0" y="74054"/>
                  </a:lnTo>
                  <a:lnTo>
                    <a:pt x="112066" y="0"/>
                  </a:lnTo>
                  <a:lnTo>
                    <a:pt x="112747" y="94956"/>
                  </a:lnTo>
                  <a:cubicBezTo>
                    <a:pt x="110241" y="141725"/>
                    <a:pt x="117756" y="189329"/>
                    <a:pt x="132789" y="233593"/>
                  </a:cubicBezTo>
                  <a:cubicBezTo>
                    <a:pt x="146153" y="270339"/>
                    <a:pt x="180394" y="288713"/>
                    <a:pt x="233008" y="288713"/>
                  </a:cubicBezTo>
                  <a:cubicBezTo>
                    <a:pt x="258899" y="287878"/>
                    <a:pt x="283953" y="282866"/>
                    <a:pt x="308172" y="275351"/>
                  </a:cubicBezTo>
                  <a:cubicBezTo>
                    <a:pt x="343249" y="264493"/>
                    <a:pt x="377491" y="250296"/>
                    <a:pt x="410898" y="233593"/>
                  </a:cubicBezTo>
                  <a:cubicBezTo>
                    <a:pt x="411732" y="236933"/>
                    <a:pt x="412568" y="241109"/>
                    <a:pt x="412568" y="24444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88875692-D947-4058-8206-44233A06BFD3}"/>
                </a:ext>
              </a:extLst>
            </p:cNvPr>
            <p:cNvSpPr/>
            <p:nvPr/>
          </p:nvSpPr>
          <p:spPr>
            <a:xfrm rot="8716295">
              <a:off x="6597507" y="4422612"/>
              <a:ext cx="149044" cy="111064"/>
            </a:xfrm>
            <a:custGeom>
              <a:avLst/>
              <a:gdLst>
                <a:gd name="connsiteX0" fmla="*/ 0 w 149044"/>
                <a:gd name="connsiteY0" fmla="*/ 51375 h 111064"/>
                <a:gd name="connsiteX1" fmla="*/ 1002 w 149044"/>
                <a:gd name="connsiteY1" fmla="*/ 50432 h 111064"/>
                <a:gd name="connsiteX2" fmla="*/ 98612 w 149044"/>
                <a:gd name="connsiteY2" fmla="*/ 0 h 111064"/>
                <a:gd name="connsiteX3" fmla="*/ 149044 w 149044"/>
                <a:gd name="connsiteY3" fmla="*/ 60193 h 111064"/>
                <a:gd name="connsiteX4" fmla="*/ 134300 w 149044"/>
                <a:gd name="connsiteY4" fmla="*/ 98322 h 111064"/>
                <a:gd name="connsiteX5" fmla="*/ 117977 w 149044"/>
                <a:gd name="connsiteY5" fmla="*/ 111064 h 111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044" h="111064">
                  <a:moveTo>
                    <a:pt x="0" y="51375"/>
                  </a:moveTo>
                  <a:lnTo>
                    <a:pt x="1002" y="50432"/>
                  </a:lnTo>
                  <a:cubicBezTo>
                    <a:pt x="25404" y="21963"/>
                    <a:pt x="60381" y="4067"/>
                    <a:pt x="98612" y="0"/>
                  </a:cubicBezTo>
                  <a:cubicBezTo>
                    <a:pt x="137657" y="0"/>
                    <a:pt x="149044" y="34164"/>
                    <a:pt x="149044" y="60193"/>
                  </a:cubicBezTo>
                  <a:cubicBezTo>
                    <a:pt x="147824" y="74428"/>
                    <a:pt x="142536" y="87443"/>
                    <a:pt x="134300" y="98322"/>
                  </a:cubicBezTo>
                  <a:lnTo>
                    <a:pt x="117977" y="1110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371804DA-D0A5-4840-894B-07AAE1064663}"/>
                </a:ext>
              </a:extLst>
            </p:cNvPr>
            <p:cNvSpPr/>
            <p:nvPr/>
          </p:nvSpPr>
          <p:spPr>
            <a:xfrm rot="8716295">
              <a:off x="6708126" y="4876229"/>
              <a:ext cx="139286" cy="121327"/>
            </a:xfrm>
            <a:custGeom>
              <a:avLst/>
              <a:gdLst>
                <a:gd name="connsiteX0" fmla="*/ 26453 w 139286"/>
                <a:gd name="connsiteY0" fmla="*/ 96267 h 121327"/>
                <a:gd name="connsiteX1" fmla="*/ 0 w 139286"/>
                <a:gd name="connsiteY1" fmla="*/ 33618 h 121327"/>
                <a:gd name="connsiteX2" fmla="*/ 0 w 139286"/>
                <a:gd name="connsiteY2" fmla="*/ 32225 h 121327"/>
                <a:gd name="connsiteX3" fmla="*/ 13607 w 139286"/>
                <a:gd name="connsiteY3" fmla="*/ 0 h 121327"/>
                <a:gd name="connsiteX4" fmla="*/ 139286 w 139286"/>
                <a:gd name="connsiteY4" fmla="*/ 103337 h 121327"/>
                <a:gd name="connsiteX5" fmla="*/ 123037 w 139286"/>
                <a:gd name="connsiteY5" fmla="*/ 114366 h 121327"/>
                <a:gd name="connsiteX6" fmla="*/ 89101 w 139286"/>
                <a:gd name="connsiteY6" fmla="*/ 121327 h 121327"/>
                <a:gd name="connsiteX7" fmla="*/ 26453 w 139286"/>
                <a:gd name="connsiteY7" fmla="*/ 96267 h 121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9286" h="121327">
                  <a:moveTo>
                    <a:pt x="26453" y="96267"/>
                  </a:moveTo>
                  <a:cubicBezTo>
                    <a:pt x="9746" y="79561"/>
                    <a:pt x="0" y="57285"/>
                    <a:pt x="0" y="33618"/>
                  </a:cubicBezTo>
                  <a:lnTo>
                    <a:pt x="0" y="32225"/>
                  </a:lnTo>
                  <a:lnTo>
                    <a:pt x="13607" y="0"/>
                  </a:lnTo>
                  <a:lnTo>
                    <a:pt x="139286" y="103337"/>
                  </a:lnTo>
                  <a:lnTo>
                    <a:pt x="123037" y="114366"/>
                  </a:lnTo>
                  <a:cubicBezTo>
                    <a:pt x="112421" y="118890"/>
                    <a:pt x="100935" y="121327"/>
                    <a:pt x="89101" y="121327"/>
                  </a:cubicBezTo>
                  <a:cubicBezTo>
                    <a:pt x="65435" y="121327"/>
                    <a:pt x="43159" y="112973"/>
                    <a:pt x="26453" y="9626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6EEBC52A-3D14-419B-8366-97197098C604}"/>
                </a:ext>
              </a:extLst>
            </p:cNvPr>
            <p:cNvSpPr/>
            <p:nvPr/>
          </p:nvSpPr>
          <p:spPr>
            <a:xfrm rot="8716295">
              <a:off x="4782105" y="4823045"/>
              <a:ext cx="311921" cy="362797"/>
            </a:xfrm>
            <a:custGeom>
              <a:avLst/>
              <a:gdLst>
                <a:gd name="connsiteX0" fmla="*/ 311920 w 311921"/>
                <a:gd name="connsiteY0" fmla="*/ 120307 h 362797"/>
                <a:gd name="connsiteX1" fmla="*/ 138360 w 311921"/>
                <a:gd name="connsiteY1" fmla="*/ 1 h 362797"/>
                <a:gd name="connsiteX2" fmla="*/ 138360 w 311921"/>
                <a:gd name="connsiteY2" fmla="*/ 0 h 362797"/>
                <a:gd name="connsiteX3" fmla="*/ 311921 w 311921"/>
                <a:gd name="connsiteY3" fmla="*/ 120307 h 362797"/>
                <a:gd name="connsiteX4" fmla="*/ 0 w 311921"/>
                <a:gd name="connsiteY4" fmla="*/ 362797 h 362797"/>
                <a:gd name="connsiteX5" fmla="*/ 0 w 311921"/>
                <a:gd name="connsiteY5" fmla="*/ 320869 h 362797"/>
                <a:gd name="connsiteX6" fmla="*/ 27877 w 311921"/>
                <a:gd name="connsiteY6" fmla="*/ 343790 h 362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1921" h="362797">
                  <a:moveTo>
                    <a:pt x="311920" y="120307"/>
                  </a:moveTo>
                  <a:lnTo>
                    <a:pt x="138360" y="1"/>
                  </a:lnTo>
                  <a:lnTo>
                    <a:pt x="138360" y="0"/>
                  </a:lnTo>
                  <a:lnTo>
                    <a:pt x="311921" y="120307"/>
                  </a:lnTo>
                  <a:close/>
                  <a:moveTo>
                    <a:pt x="0" y="362797"/>
                  </a:moveTo>
                  <a:lnTo>
                    <a:pt x="0" y="320869"/>
                  </a:lnTo>
                  <a:lnTo>
                    <a:pt x="27877" y="34379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53F2D732-A25A-4CEE-B98E-E5DC8CC54158}"/>
                </a:ext>
              </a:extLst>
            </p:cNvPr>
            <p:cNvSpPr/>
            <p:nvPr/>
          </p:nvSpPr>
          <p:spPr>
            <a:xfrm rot="8716295">
              <a:off x="5132149" y="4738008"/>
              <a:ext cx="148614" cy="131720"/>
            </a:xfrm>
            <a:custGeom>
              <a:avLst/>
              <a:gdLst>
                <a:gd name="connsiteX0" fmla="*/ 26453 w 148614"/>
                <a:gd name="connsiteY0" fmla="*/ 106660 h 131720"/>
                <a:gd name="connsiteX1" fmla="*/ 0 w 148614"/>
                <a:gd name="connsiteY1" fmla="*/ 44011 h 131720"/>
                <a:gd name="connsiteX2" fmla="*/ 0 w 148614"/>
                <a:gd name="connsiteY2" fmla="*/ 42618 h 131720"/>
                <a:gd name="connsiteX3" fmla="*/ 17995 w 148614"/>
                <a:gd name="connsiteY3" fmla="*/ 0 h 131720"/>
                <a:gd name="connsiteX4" fmla="*/ 148614 w 148614"/>
                <a:gd name="connsiteY4" fmla="*/ 107398 h 131720"/>
                <a:gd name="connsiteX5" fmla="*/ 123037 w 148614"/>
                <a:gd name="connsiteY5" fmla="*/ 124759 h 131720"/>
                <a:gd name="connsiteX6" fmla="*/ 89101 w 148614"/>
                <a:gd name="connsiteY6" fmla="*/ 131720 h 131720"/>
                <a:gd name="connsiteX7" fmla="*/ 26453 w 148614"/>
                <a:gd name="connsiteY7" fmla="*/ 106660 h 13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8614" h="131720">
                  <a:moveTo>
                    <a:pt x="26453" y="106660"/>
                  </a:moveTo>
                  <a:cubicBezTo>
                    <a:pt x="9746" y="89954"/>
                    <a:pt x="0" y="67678"/>
                    <a:pt x="0" y="44011"/>
                  </a:cubicBezTo>
                  <a:lnTo>
                    <a:pt x="0" y="42618"/>
                  </a:lnTo>
                  <a:lnTo>
                    <a:pt x="17995" y="0"/>
                  </a:lnTo>
                  <a:lnTo>
                    <a:pt x="148614" y="107398"/>
                  </a:lnTo>
                  <a:lnTo>
                    <a:pt x="123037" y="124759"/>
                  </a:lnTo>
                  <a:cubicBezTo>
                    <a:pt x="112421" y="129283"/>
                    <a:pt x="100935" y="131720"/>
                    <a:pt x="89101" y="131720"/>
                  </a:cubicBezTo>
                  <a:cubicBezTo>
                    <a:pt x="65435" y="131720"/>
                    <a:pt x="43159" y="123366"/>
                    <a:pt x="26453" y="10666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937A52BD-510B-4C03-9C16-CD9D234ABB7D}"/>
                </a:ext>
              </a:extLst>
            </p:cNvPr>
            <p:cNvSpPr/>
            <p:nvPr/>
          </p:nvSpPr>
          <p:spPr>
            <a:xfrm rot="8716295">
              <a:off x="5043572" y="4624951"/>
              <a:ext cx="150722" cy="101024"/>
            </a:xfrm>
            <a:custGeom>
              <a:avLst/>
              <a:gdLst>
                <a:gd name="connsiteX0" fmla="*/ 0 w 150722"/>
                <a:gd name="connsiteY0" fmla="*/ 25991 h 101024"/>
                <a:gd name="connsiteX1" fmla="*/ 28034 w 150722"/>
                <a:gd name="connsiteY1" fmla="*/ 6961 h 101024"/>
                <a:gd name="connsiteX2" fmla="*/ 61968 w 150722"/>
                <a:gd name="connsiteY2" fmla="*/ 0 h 101024"/>
                <a:gd name="connsiteX3" fmla="*/ 124618 w 150722"/>
                <a:gd name="connsiteY3" fmla="*/ 26453 h 101024"/>
                <a:gd name="connsiteX4" fmla="*/ 150722 w 150722"/>
                <a:gd name="connsiteY4" fmla="*/ 88580 h 101024"/>
                <a:gd name="connsiteX5" fmla="*/ 148306 w 150722"/>
                <a:gd name="connsiteY5" fmla="*/ 101024 h 10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0722" h="101024">
                  <a:moveTo>
                    <a:pt x="0" y="25991"/>
                  </a:moveTo>
                  <a:lnTo>
                    <a:pt x="28034" y="6961"/>
                  </a:lnTo>
                  <a:cubicBezTo>
                    <a:pt x="38649" y="2437"/>
                    <a:pt x="50135" y="0"/>
                    <a:pt x="61968" y="0"/>
                  </a:cubicBezTo>
                  <a:cubicBezTo>
                    <a:pt x="85637" y="0"/>
                    <a:pt x="107912" y="9746"/>
                    <a:pt x="124618" y="26453"/>
                  </a:cubicBezTo>
                  <a:cubicBezTo>
                    <a:pt x="142021" y="43159"/>
                    <a:pt x="150722" y="65782"/>
                    <a:pt x="150722" y="88580"/>
                  </a:cubicBezTo>
                  <a:lnTo>
                    <a:pt x="148306" y="1010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C719F00E-5A8E-45CC-8F56-B823EE2F6BB7}"/>
                </a:ext>
              </a:extLst>
            </p:cNvPr>
            <p:cNvSpPr/>
            <p:nvPr/>
          </p:nvSpPr>
          <p:spPr>
            <a:xfrm rot="8716295">
              <a:off x="8546573" y="4108588"/>
              <a:ext cx="215176" cy="313567"/>
            </a:xfrm>
            <a:custGeom>
              <a:avLst/>
              <a:gdLst>
                <a:gd name="connsiteX0" fmla="*/ 122760 w 215176"/>
                <a:gd name="connsiteY0" fmla="*/ 266809 h 313567"/>
                <a:gd name="connsiteX1" fmla="*/ 122761 w 215176"/>
                <a:gd name="connsiteY1" fmla="*/ 105519 h 313567"/>
                <a:gd name="connsiteX2" fmla="*/ 122761 w 215176"/>
                <a:gd name="connsiteY2" fmla="*/ 99312 h 313567"/>
                <a:gd name="connsiteX3" fmla="*/ 91726 w 215176"/>
                <a:gd name="connsiteY3" fmla="*/ 75863 h 313567"/>
                <a:gd name="connsiteX4" fmla="*/ 0 w 215176"/>
                <a:gd name="connsiteY4" fmla="*/ 75863 h 313567"/>
                <a:gd name="connsiteX5" fmla="*/ 0 w 215176"/>
                <a:gd name="connsiteY5" fmla="*/ 0 h 313567"/>
                <a:gd name="connsiteX6" fmla="*/ 128968 w 215176"/>
                <a:gd name="connsiteY6" fmla="*/ 0 h 313567"/>
                <a:gd name="connsiteX7" fmla="*/ 215176 w 215176"/>
                <a:gd name="connsiteY7" fmla="*/ 75863 h 313567"/>
                <a:gd name="connsiteX8" fmla="*/ 215176 w 215176"/>
                <a:gd name="connsiteY8" fmla="*/ 313567 h 31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5176" h="313567">
                  <a:moveTo>
                    <a:pt x="122760" y="26680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0"/>
                  </a:lnTo>
                  <a:lnTo>
                    <a:pt x="128968" y="0"/>
                  </a:lnTo>
                  <a:cubicBezTo>
                    <a:pt x="184831" y="0"/>
                    <a:pt x="215177" y="24139"/>
                    <a:pt x="215176" y="75863"/>
                  </a:cubicBezTo>
                  <a:lnTo>
                    <a:pt x="215176" y="3135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25DD9CA0-AFE3-4B5F-B15D-E7FBAF734592}"/>
                </a:ext>
              </a:extLst>
            </p:cNvPr>
            <p:cNvSpPr/>
            <p:nvPr/>
          </p:nvSpPr>
          <p:spPr>
            <a:xfrm rot="8716295">
              <a:off x="8681306" y="4151041"/>
              <a:ext cx="394490" cy="343138"/>
            </a:xfrm>
            <a:custGeom>
              <a:avLst/>
              <a:gdLst>
                <a:gd name="connsiteX0" fmla="*/ 77932 w 394490"/>
                <a:gd name="connsiteY0" fmla="*/ 311621 h 343138"/>
                <a:gd name="connsiteX1" fmla="*/ 77932 w 394490"/>
                <a:gd name="connsiteY1" fmla="*/ 69053 h 343138"/>
                <a:gd name="connsiteX2" fmla="*/ 0 w 394490"/>
                <a:gd name="connsiteY2" fmla="*/ 69054 h 343138"/>
                <a:gd name="connsiteX3" fmla="*/ 0 w 394490"/>
                <a:gd name="connsiteY3" fmla="*/ 2156 h 343138"/>
                <a:gd name="connsiteX4" fmla="*/ 158623 w 394490"/>
                <a:gd name="connsiteY4" fmla="*/ 2157 h 343138"/>
                <a:gd name="connsiteX5" fmla="*/ 158624 w 394490"/>
                <a:gd name="connsiteY5" fmla="*/ 113882 h 343138"/>
                <a:gd name="connsiteX6" fmla="*/ 160692 w 394490"/>
                <a:gd name="connsiteY6" fmla="*/ 113882 h 343138"/>
                <a:gd name="connsiteX7" fmla="*/ 233107 w 394490"/>
                <a:gd name="connsiteY7" fmla="*/ 9053 h 343138"/>
                <a:gd name="connsiteX8" fmla="*/ 280694 w 394490"/>
                <a:gd name="connsiteY8" fmla="*/ 87 h 343138"/>
                <a:gd name="connsiteX9" fmla="*/ 394490 w 394490"/>
                <a:gd name="connsiteY9" fmla="*/ 133882 h 343138"/>
                <a:gd name="connsiteX10" fmla="*/ 394490 w 394490"/>
                <a:gd name="connsiteY10" fmla="*/ 142849 h 343138"/>
                <a:gd name="connsiteX11" fmla="*/ 300694 w 394490"/>
                <a:gd name="connsiteY11" fmla="*/ 148365 h 343138"/>
                <a:gd name="connsiteX12" fmla="*/ 300694 w 394490"/>
                <a:gd name="connsiteY12" fmla="*/ 123538 h 343138"/>
                <a:gd name="connsiteX13" fmla="*/ 249660 w 394490"/>
                <a:gd name="connsiteY13" fmla="*/ 60778 h 343138"/>
                <a:gd name="connsiteX14" fmla="*/ 168969 w 394490"/>
                <a:gd name="connsiteY14" fmla="*/ 193194 h 343138"/>
                <a:gd name="connsiteX15" fmla="*/ 168969 w 394490"/>
                <a:gd name="connsiteY15" fmla="*/ 323541 h 343138"/>
                <a:gd name="connsiteX16" fmla="*/ 140226 w 394490"/>
                <a:gd name="connsiteY16" fmla="*/ 343138 h 343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4490" h="343138">
                  <a:moveTo>
                    <a:pt x="77932" y="311621"/>
                  </a:moveTo>
                  <a:lnTo>
                    <a:pt x="77932" y="69053"/>
                  </a:lnTo>
                  <a:lnTo>
                    <a:pt x="0" y="69054"/>
                  </a:lnTo>
                  <a:lnTo>
                    <a:pt x="0" y="2156"/>
                  </a:lnTo>
                  <a:lnTo>
                    <a:pt x="158623" y="2157"/>
                  </a:lnTo>
                  <a:lnTo>
                    <a:pt x="158624" y="113882"/>
                  </a:lnTo>
                  <a:lnTo>
                    <a:pt x="160692" y="113882"/>
                  </a:lnTo>
                  <a:cubicBezTo>
                    <a:pt x="182762" y="48364"/>
                    <a:pt x="200003" y="22846"/>
                    <a:pt x="233107" y="9053"/>
                  </a:cubicBezTo>
                  <a:cubicBezTo>
                    <a:pt x="248280" y="2846"/>
                    <a:pt x="264142" y="-602"/>
                    <a:pt x="280694" y="87"/>
                  </a:cubicBezTo>
                  <a:cubicBezTo>
                    <a:pt x="351730" y="-1293"/>
                    <a:pt x="394490" y="48364"/>
                    <a:pt x="394490" y="133882"/>
                  </a:cubicBezTo>
                  <a:lnTo>
                    <a:pt x="394490" y="142849"/>
                  </a:lnTo>
                  <a:lnTo>
                    <a:pt x="300694" y="148365"/>
                  </a:lnTo>
                  <a:lnTo>
                    <a:pt x="300694" y="123538"/>
                  </a:lnTo>
                  <a:cubicBezTo>
                    <a:pt x="300695" y="86296"/>
                    <a:pt x="279316" y="60778"/>
                    <a:pt x="249660" y="60778"/>
                  </a:cubicBezTo>
                  <a:cubicBezTo>
                    <a:pt x="205521" y="60778"/>
                    <a:pt x="168968" y="119399"/>
                    <a:pt x="168969" y="193194"/>
                  </a:cubicBezTo>
                  <a:lnTo>
                    <a:pt x="168969" y="323541"/>
                  </a:lnTo>
                  <a:lnTo>
                    <a:pt x="140226" y="3431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24323A32-7D51-45A5-8D91-2223C2D14BC5}"/>
                </a:ext>
              </a:extLst>
            </p:cNvPr>
            <p:cNvSpPr/>
            <p:nvPr/>
          </p:nvSpPr>
          <p:spPr>
            <a:xfrm rot="8716295">
              <a:off x="8646997" y="4143256"/>
              <a:ext cx="121064" cy="89924"/>
            </a:xfrm>
            <a:custGeom>
              <a:avLst/>
              <a:gdLst>
                <a:gd name="connsiteX0" fmla="*/ 0 w 121064"/>
                <a:gd name="connsiteY0" fmla="*/ 39250 h 89924"/>
                <a:gd name="connsiteX1" fmla="*/ 32528 w 121064"/>
                <a:gd name="connsiteY1" fmla="*/ 13621 h 89924"/>
                <a:gd name="connsiteX2" fmla="*/ 78305 w 121064"/>
                <a:gd name="connsiteY2" fmla="*/ 0 h 89924"/>
                <a:gd name="connsiteX3" fmla="*/ 121064 w 121064"/>
                <a:gd name="connsiteY3" fmla="*/ 51035 h 89924"/>
                <a:gd name="connsiteX4" fmla="*/ 108563 w 121064"/>
                <a:gd name="connsiteY4" fmla="*/ 83363 h 89924"/>
                <a:gd name="connsiteX5" fmla="*/ 100159 w 121064"/>
                <a:gd name="connsiteY5" fmla="*/ 89924 h 89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1064" h="89924">
                  <a:moveTo>
                    <a:pt x="0" y="39250"/>
                  </a:moveTo>
                  <a:lnTo>
                    <a:pt x="32528" y="13621"/>
                  </a:lnTo>
                  <a:cubicBezTo>
                    <a:pt x="46580" y="6380"/>
                    <a:pt x="62098" y="1724"/>
                    <a:pt x="78305" y="0"/>
                  </a:cubicBezTo>
                  <a:cubicBezTo>
                    <a:pt x="111409" y="0"/>
                    <a:pt x="121065" y="28966"/>
                    <a:pt x="121064" y="51035"/>
                  </a:cubicBezTo>
                  <a:cubicBezTo>
                    <a:pt x="120030" y="63105"/>
                    <a:pt x="115546" y="74139"/>
                    <a:pt x="108563" y="83363"/>
                  </a:cubicBezTo>
                  <a:lnTo>
                    <a:pt x="100159" y="899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CF24F6A6-E56B-4B69-A6B4-F595B4AECDB5}"/>
                </a:ext>
              </a:extLst>
            </p:cNvPr>
            <p:cNvSpPr/>
            <p:nvPr/>
          </p:nvSpPr>
          <p:spPr>
            <a:xfrm rot="8716295">
              <a:off x="8360649" y="4203945"/>
              <a:ext cx="88105" cy="88278"/>
            </a:xfrm>
            <a:custGeom>
              <a:avLst/>
              <a:gdLst>
                <a:gd name="connsiteX0" fmla="*/ 11702 w 88105"/>
                <a:gd name="connsiteY0" fmla="*/ 72544 h 88278"/>
                <a:gd name="connsiteX1" fmla="*/ 0 w 88105"/>
                <a:gd name="connsiteY1" fmla="*/ 44829 h 88278"/>
                <a:gd name="connsiteX2" fmla="*/ 0 w 88105"/>
                <a:gd name="connsiteY2" fmla="*/ 44139 h 88278"/>
                <a:gd name="connsiteX3" fmla="*/ 13104 w 88105"/>
                <a:gd name="connsiteY3" fmla="*/ 13104 h 88278"/>
                <a:gd name="connsiteX4" fmla="*/ 44139 w 88105"/>
                <a:gd name="connsiteY4" fmla="*/ 0 h 88278"/>
                <a:gd name="connsiteX5" fmla="*/ 75175 w 88105"/>
                <a:gd name="connsiteY5" fmla="*/ 13104 h 88278"/>
                <a:gd name="connsiteX6" fmla="*/ 75175 w 88105"/>
                <a:gd name="connsiteY6" fmla="*/ 75175 h 88278"/>
                <a:gd name="connsiteX7" fmla="*/ 44139 w 88105"/>
                <a:gd name="connsiteY7" fmla="*/ 88278 h 88278"/>
                <a:gd name="connsiteX8" fmla="*/ 37752 w 88105"/>
                <a:gd name="connsiteY8" fmla="*/ 85724 h 88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8105" h="88278">
                  <a:moveTo>
                    <a:pt x="11702" y="72544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cubicBezTo>
                    <a:pt x="55864" y="0"/>
                    <a:pt x="66899" y="4828"/>
                    <a:pt x="75175" y="13104"/>
                  </a:cubicBezTo>
                  <a:cubicBezTo>
                    <a:pt x="92416" y="29657"/>
                    <a:pt x="92416" y="57933"/>
                    <a:pt x="75175" y="75175"/>
                  </a:cubicBezTo>
                  <a:cubicBezTo>
                    <a:pt x="66899" y="83451"/>
                    <a:pt x="55864" y="88278"/>
                    <a:pt x="44139" y="88278"/>
                  </a:cubicBezTo>
                  <a:lnTo>
                    <a:pt x="37752" y="857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823BDB41-A1E6-41AA-847A-64C2D14D0B20}"/>
                </a:ext>
              </a:extLst>
            </p:cNvPr>
            <p:cNvSpPr/>
            <p:nvPr/>
          </p:nvSpPr>
          <p:spPr>
            <a:xfrm rot="8716295">
              <a:off x="8270439" y="4208809"/>
              <a:ext cx="54467" cy="27557"/>
            </a:xfrm>
            <a:custGeom>
              <a:avLst/>
              <a:gdLst>
                <a:gd name="connsiteX0" fmla="*/ 0 w 54467"/>
                <a:gd name="connsiteY0" fmla="*/ 0 h 27557"/>
                <a:gd name="connsiteX1" fmla="*/ 54467 w 54467"/>
                <a:gd name="connsiteY1" fmla="*/ 0 h 27557"/>
                <a:gd name="connsiteX2" fmla="*/ 54467 w 54467"/>
                <a:gd name="connsiteY2" fmla="*/ 27557 h 27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467" h="27557">
                  <a:moveTo>
                    <a:pt x="0" y="0"/>
                  </a:moveTo>
                  <a:lnTo>
                    <a:pt x="54467" y="0"/>
                  </a:lnTo>
                  <a:lnTo>
                    <a:pt x="54467" y="2755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C4D7300C-5B1D-4389-9C36-32D5B08AA75A}"/>
                </a:ext>
              </a:extLst>
            </p:cNvPr>
            <p:cNvSpPr/>
            <p:nvPr/>
          </p:nvSpPr>
          <p:spPr>
            <a:xfrm rot="8716295">
              <a:off x="8503577" y="4269431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A57703A1-63B4-443D-A8D6-A43C23AB9B28}"/>
                </a:ext>
              </a:extLst>
            </p:cNvPr>
            <p:cNvSpPr/>
            <p:nvPr/>
          </p:nvSpPr>
          <p:spPr>
            <a:xfrm rot="8716295">
              <a:off x="8994983" y="4078441"/>
              <a:ext cx="137688" cy="132478"/>
            </a:xfrm>
            <a:custGeom>
              <a:avLst/>
              <a:gdLst>
                <a:gd name="connsiteX0" fmla="*/ 46653 w 137688"/>
                <a:gd name="connsiteY0" fmla="*/ 86420 h 132478"/>
                <a:gd name="connsiteX1" fmla="*/ 46653 w 137688"/>
                <a:gd name="connsiteY1" fmla="*/ 24828 h 132478"/>
                <a:gd name="connsiteX2" fmla="*/ 0 w 137688"/>
                <a:gd name="connsiteY2" fmla="*/ 24828 h 132478"/>
                <a:gd name="connsiteX3" fmla="*/ 15342 w 137688"/>
                <a:gd name="connsiteY3" fmla="*/ 2695 h 132478"/>
                <a:gd name="connsiteX4" fmla="*/ 137688 w 137688"/>
                <a:gd name="connsiteY4" fmla="*/ 0 h 132478"/>
                <a:gd name="connsiteX5" fmla="*/ 137688 w 137688"/>
                <a:gd name="connsiteY5" fmla="*/ 132478 h 132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7688" h="132478">
                  <a:moveTo>
                    <a:pt x="46653" y="86420"/>
                  </a:moveTo>
                  <a:lnTo>
                    <a:pt x="46653" y="24828"/>
                  </a:lnTo>
                  <a:lnTo>
                    <a:pt x="0" y="24828"/>
                  </a:lnTo>
                  <a:lnTo>
                    <a:pt x="15342" y="2695"/>
                  </a:lnTo>
                  <a:lnTo>
                    <a:pt x="137688" y="0"/>
                  </a:lnTo>
                  <a:lnTo>
                    <a:pt x="137688" y="13247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46727CBF-18BC-4939-8F2B-40813E13A972}"/>
                </a:ext>
              </a:extLst>
            </p:cNvPr>
            <p:cNvSpPr/>
            <p:nvPr/>
          </p:nvSpPr>
          <p:spPr>
            <a:xfrm rot="7484129">
              <a:off x="9136824" y="4228704"/>
              <a:ext cx="8392" cy="13068"/>
            </a:xfrm>
            <a:custGeom>
              <a:avLst/>
              <a:gdLst>
                <a:gd name="connsiteX0" fmla="*/ 3897 w 8392"/>
                <a:gd name="connsiteY0" fmla="*/ 13068 h 13068"/>
                <a:gd name="connsiteX1" fmla="*/ 0 w 8392"/>
                <a:gd name="connsiteY1" fmla="*/ 5818 h 13068"/>
                <a:gd name="connsiteX2" fmla="*/ 8392 w 8392"/>
                <a:gd name="connsiteY2" fmla="*/ 0 h 13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2" h="13068">
                  <a:moveTo>
                    <a:pt x="3897" y="13068"/>
                  </a:moveTo>
                  <a:lnTo>
                    <a:pt x="0" y="5818"/>
                  </a:lnTo>
                  <a:lnTo>
                    <a:pt x="839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D9037FA7-ED1D-4D57-8F2C-1298751D415A}"/>
                </a:ext>
              </a:extLst>
            </p:cNvPr>
            <p:cNvSpPr/>
            <p:nvPr/>
          </p:nvSpPr>
          <p:spPr>
            <a:xfrm rot="8716295">
              <a:off x="8839311" y="5117279"/>
              <a:ext cx="37096" cy="40385"/>
            </a:xfrm>
            <a:custGeom>
              <a:avLst/>
              <a:gdLst>
                <a:gd name="connsiteX0" fmla="*/ 37095 w 37096"/>
                <a:gd name="connsiteY0" fmla="*/ 25713 h 40385"/>
                <a:gd name="connsiteX1" fmla="*/ 0 w 37096"/>
                <a:gd name="connsiteY1" fmla="*/ 0 h 40385"/>
                <a:gd name="connsiteX2" fmla="*/ 0 w 37096"/>
                <a:gd name="connsiteY2" fmla="*/ 0 h 40385"/>
                <a:gd name="connsiteX3" fmla="*/ 37096 w 37096"/>
                <a:gd name="connsiteY3" fmla="*/ 25713 h 40385"/>
                <a:gd name="connsiteX4" fmla="*/ 0 w 37096"/>
                <a:gd name="connsiteY4" fmla="*/ 40385 h 40385"/>
                <a:gd name="connsiteX5" fmla="*/ 0 w 37096"/>
                <a:gd name="connsiteY5" fmla="*/ 28525 h 40385"/>
                <a:gd name="connsiteX6" fmla="*/ 9740 w 37096"/>
                <a:gd name="connsiteY6" fmla="*/ 36533 h 40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096" h="40385">
                  <a:moveTo>
                    <a:pt x="37095" y="25713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37096" y="25713"/>
                  </a:lnTo>
                  <a:close/>
                  <a:moveTo>
                    <a:pt x="0" y="40385"/>
                  </a:moveTo>
                  <a:lnTo>
                    <a:pt x="0" y="28525"/>
                  </a:lnTo>
                  <a:lnTo>
                    <a:pt x="9740" y="365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7762AEC2-4809-4723-B4B8-AD709205FF29}"/>
                </a:ext>
              </a:extLst>
            </p:cNvPr>
            <p:cNvSpPr/>
            <p:nvPr/>
          </p:nvSpPr>
          <p:spPr>
            <a:xfrm rot="8716295">
              <a:off x="8967255" y="4971567"/>
              <a:ext cx="231347" cy="158649"/>
            </a:xfrm>
            <a:custGeom>
              <a:avLst/>
              <a:gdLst>
                <a:gd name="connsiteX0" fmla="*/ 8965 w 231347"/>
                <a:gd name="connsiteY0" fmla="*/ 158649 h 158649"/>
                <a:gd name="connsiteX1" fmla="*/ 0 w 231347"/>
                <a:gd name="connsiteY1" fmla="*/ 146235 h 158649"/>
                <a:gd name="connsiteX2" fmla="*/ 155416 w 231347"/>
                <a:gd name="connsiteY2" fmla="*/ 0 h 158649"/>
                <a:gd name="connsiteX3" fmla="*/ 231347 w 231347"/>
                <a:gd name="connsiteY3" fmla="*/ 62433 h 158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347" h="158649">
                  <a:moveTo>
                    <a:pt x="8965" y="158649"/>
                  </a:moveTo>
                  <a:lnTo>
                    <a:pt x="0" y="146235"/>
                  </a:lnTo>
                  <a:lnTo>
                    <a:pt x="155416" y="0"/>
                  </a:lnTo>
                  <a:lnTo>
                    <a:pt x="231347" y="624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45E00815-1C71-4483-8D7E-4D817A5C21EF}"/>
                </a:ext>
              </a:extLst>
            </p:cNvPr>
            <p:cNvSpPr/>
            <p:nvPr/>
          </p:nvSpPr>
          <p:spPr>
            <a:xfrm rot="8716295">
              <a:off x="8555937" y="4871188"/>
              <a:ext cx="249519" cy="296463"/>
            </a:xfrm>
            <a:custGeom>
              <a:avLst/>
              <a:gdLst>
                <a:gd name="connsiteX0" fmla="*/ 249516 w 249519"/>
                <a:gd name="connsiteY0" fmla="*/ 83734 h 296463"/>
                <a:gd name="connsiteX1" fmla="*/ 128718 w 249519"/>
                <a:gd name="connsiteY1" fmla="*/ 0 h 296463"/>
                <a:gd name="connsiteX2" fmla="*/ 128719 w 249519"/>
                <a:gd name="connsiteY2" fmla="*/ 0 h 296463"/>
                <a:gd name="connsiteX3" fmla="*/ 249519 w 249519"/>
                <a:gd name="connsiteY3" fmla="*/ 83734 h 296463"/>
                <a:gd name="connsiteX4" fmla="*/ 137293 w 249519"/>
                <a:gd name="connsiteY4" fmla="*/ 296463 h 296463"/>
                <a:gd name="connsiteX5" fmla="*/ 72418 w 249519"/>
                <a:gd name="connsiteY5" fmla="*/ 175766 h 296463"/>
                <a:gd name="connsiteX6" fmla="*/ 105610 w 249519"/>
                <a:gd name="connsiteY6" fmla="*/ 83734 h 296463"/>
                <a:gd name="connsiteX7" fmla="*/ 0 w 249519"/>
                <a:gd name="connsiteY7" fmla="*/ 83734 h 296463"/>
                <a:gd name="connsiteX8" fmla="*/ 0 w 249519"/>
                <a:gd name="connsiteY8" fmla="*/ 0 h 296463"/>
                <a:gd name="connsiteX9" fmla="*/ 78196 w 249519"/>
                <a:gd name="connsiteY9" fmla="*/ 0 h 296463"/>
                <a:gd name="connsiteX10" fmla="*/ 203756 w 249519"/>
                <a:gd name="connsiteY10" fmla="*/ 103239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519" h="296463">
                  <a:moveTo>
                    <a:pt x="249516" y="83734"/>
                  </a:moveTo>
                  <a:lnTo>
                    <a:pt x="128718" y="0"/>
                  </a:lnTo>
                  <a:lnTo>
                    <a:pt x="128719" y="0"/>
                  </a:lnTo>
                  <a:lnTo>
                    <a:pt x="249519" y="83734"/>
                  </a:lnTo>
                  <a:close/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78196" y="0"/>
                  </a:lnTo>
                  <a:lnTo>
                    <a:pt x="203756" y="1032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58E38A6F-A61D-44CF-B900-AC3229C6053D}"/>
                </a:ext>
              </a:extLst>
            </p:cNvPr>
            <p:cNvSpPr/>
            <p:nvPr/>
          </p:nvSpPr>
          <p:spPr>
            <a:xfrm rot="8716295">
              <a:off x="9124182" y="4842281"/>
              <a:ext cx="37059" cy="48941"/>
            </a:xfrm>
            <a:custGeom>
              <a:avLst/>
              <a:gdLst>
                <a:gd name="connsiteX0" fmla="*/ 0 w 37059"/>
                <a:gd name="connsiteY0" fmla="*/ 48941 h 48941"/>
                <a:gd name="connsiteX1" fmla="*/ 33925 w 37059"/>
                <a:gd name="connsiteY1" fmla="*/ 0 h 48941"/>
                <a:gd name="connsiteX2" fmla="*/ 37059 w 37059"/>
                <a:gd name="connsiteY2" fmla="*/ 7460 h 48941"/>
                <a:gd name="connsiteX3" fmla="*/ 24128 w 37059"/>
                <a:gd name="connsiteY3" fmla="*/ 38754 h 48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059" h="48941">
                  <a:moveTo>
                    <a:pt x="0" y="48941"/>
                  </a:moveTo>
                  <a:lnTo>
                    <a:pt x="33925" y="0"/>
                  </a:lnTo>
                  <a:lnTo>
                    <a:pt x="37059" y="7460"/>
                  </a:lnTo>
                  <a:cubicBezTo>
                    <a:pt x="37059" y="18753"/>
                    <a:pt x="32749" y="30133"/>
                    <a:pt x="24128" y="3875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0438BEFE-52E9-475C-AF5B-D887CDB606B3}"/>
                </a:ext>
              </a:extLst>
            </p:cNvPr>
            <p:cNvSpPr/>
            <p:nvPr/>
          </p:nvSpPr>
          <p:spPr>
            <a:xfrm rot="8716295">
              <a:off x="8946271" y="4530250"/>
              <a:ext cx="235267" cy="296463"/>
            </a:xfrm>
            <a:custGeom>
              <a:avLst/>
              <a:gdLst>
                <a:gd name="connsiteX0" fmla="*/ 64028 w 235267"/>
                <a:gd name="connsiteY0" fmla="*/ 296463 h 296463"/>
                <a:gd name="connsiteX1" fmla="*/ 0 w 235267"/>
                <a:gd name="connsiteY1" fmla="*/ 177341 h 296463"/>
                <a:gd name="connsiteX2" fmla="*/ 122928 w 235267"/>
                <a:gd name="connsiteY2" fmla="*/ 0 h 296463"/>
                <a:gd name="connsiteX3" fmla="*/ 235266 w 235267"/>
                <a:gd name="connsiteY3" fmla="*/ 0 h 296463"/>
                <a:gd name="connsiteX4" fmla="*/ 235267 w 235267"/>
                <a:gd name="connsiteY4" fmla="*/ 83734 h 296463"/>
                <a:gd name="connsiteX5" fmla="*/ 137200 w 235267"/>
                <a:gd name="connsiteY5" fmla="*/ 83735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5267" h="296463">
                  <a:moveTo>
                    <a:pt x="64028" y="296463"/>
                  </a:moveTo>
                  <a:lnTo>
                    <a:pt x="0" y="177341"/>
                  </a:lnTo>
                  <a:lnTo>
                    <a:pt x="122928" y="0"/>
                  </a:lnTo>
                  <a:lnTo>
                    <a:pt x="235266" y="0"/>
                  </a:lnTo>
                  <a:lnTo>
                    <a:pt x="235267" y="83734"/>
                  </a:lnTo>
                  <a:lnTo>
                    <a:pt x="137200" y="837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D3F9B5D8-06D4-4B43-BC6C-7C19EABDD1C4}"/>
                </a:ext>
              </a:extLst>
            </p:cNvPr>
            <p:cNvSpPr/>
            <p:nvPr/>
          </p:nvSpPr>
          <p:spPr>
            <a:xfrm rot="8716295">
              <a:off x="8906661" y="466090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71905357-F1DF-411B-B59B-0F032583384E}"/>
                </a:ext>
              </a:extLst>
            </p:cNvPr>
            <p:cNvSpPr/>
            <p:nvPr/>
          </p:nvSpPr>
          <p:spPr>
            <a:xfrm rot="13089394">
              <a:off x="7765620" y="4253518"/>
              <a:ext cx="72828" cy="75543"/>
            </a:xfrm>
            <a:custGeom>
              <a:avLst/>
              <a:gdLst>
                <a:gd name="connsiteX0" fmla="*/ 0 w 72828"/>
                <a:gd name="connsiteY0" fmla="*/ 75543 h 75543"/>
                <a:gd name="connsiteX1" fmla="*/ 0 w 72828"/>
                <a:gd name="connsiteY1" fmla="*/ 37783 h 75543"/>
                <a:gd name="connsiteX2" fmla="*/ 72828 w 72828"/>
                <a:gd name="connsiteY2" fmla="*/ 0 h 7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828" h="75543">
                  <a:moveTo>
                    <a:pt x="0" y="75543"/>
                  </a:moveTo>
                  <a:lnTo>
                    <a:pt x="0" y="37783"/>
                  </a:lnTo>
                  <a:lnTo>
                    <a:pt x="7282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9CC70003-388A-4ED2-9C78-B5584C3B43A2}"/>
                </a:ext>
              </a:extLst>
            </p:cNvPr>
            <p:cNvSpPr/>
            <p:nvPr/>
          </p:nvSpPr>
          <p:spPr>
            <a:xfrm rot="8716295">
              <a:off x="7196646" y="4735107"/>
              <a:ext cx="215177" cy="351729"/>
            </a:xfrm>
            <a:custGeom>
              <a:avLst/>
              <a:gdLst>
                <a:gd name="connsiteX0" fmla="*/ 122761 w 215177"/>
                <a:gd name="connsiteY0" fmla="*/ 351729 h 351729"/>
                <a:gd name="connsiteX1" fmla="*/ 122761 w 215177"/>
                <a:gd name="connsiteY1" fmla="*/ 105519 h 351729"/>
                <a:gd name="connsiteX2" fmla="*/ 122761 w 215177"/>
                <a:gd name="connsiteY2" fmla="*/ 99312 h 351729"/>
                <a:gd name="connsiteX3" fmla="*/ 91726 w 215177"/>
                <a:gd name="connsiteY3" fmla="*/ 75863 h 351729"/>
                <a:gd name="connsiteX4" fmla="*/ 0 w 215177"/>
                <a:gd name="connsiteY4" fmla="*/ 75863 h 351729"/>
                <a:gd name="connsiteX5" fmla="*/ 0 w 215177"/>
                <a:gd name="connsiteY5" fmla="*/ 0 h 351729"/>
                <a:gd name="connsiteX6" fmla="*/ 20033 w 215177"/>
                <a:gd name="connsiteY6" fmla="*/ 0 h 351729"/>
                <a:gd name="connsiteX7" fmla="*/ 215177 w 215177"/>
                <a:gd name="connsiteY7" fmla="*/ 160452 h 351729"/>
                <a:gd name="connsiteX8" fmla="*/ 215176 w 215177"/>
                <a:gd name="connsiteY8" fmla="*/ 315177 h 351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5177" h="351729">
                  <a:moveTo>
                    <a:pt x="122761" y="35172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0"/>
                  </a:lnTo>
                  <a:lnTo>
                    <a:pt x="20033" y="0"/>
                  </a:lnTo>
                  <a:lnTo>
                    <a:pt x="215177" y="160452"/>
                  </a:lnTo>
                  <a:lnTo>
                    <a:pt x="215176" y="3151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E46A29A2-07B5-4D69-A57A-B7E84F78585B}"/>
                </a:ext>
              </a:extLst>
            </p:cNvPr>
            <p:cNvSpPr/>
            <p:nvPr/>
          </p:nvSpPr>
          <p:spPr>
            <a:xfrm rot="8716295">
              <a:off x="7519762" y="4714342"/>
              <a:ext cx="185667" cy="383455"/>
            </a:xfrm>
            <a:custGeom>
              <a:avLst/>
              <a:gdLst>
                <a:gd name="connsiteX0" fmla="*/ 77932 w 185667"/>
                <a:gd name="connsiteY0" fmla="*/ 383455 h 383455"/>
                <a:gd name="connsiteX1" fmla="*/ 77932 w 185667"/>
                <a:gd name="connsiteY1" fmla="*/ 66898 h 383455"/>
                <a:gd name="connsiteX2" fmla="*/ 0 w 185667"/>
                <a:gd name="connsiteY2" fmla="*/ 66898 h 383455"/>
                <a:gd name="connsiteX3" fmla="*/ 0 w 185667"/>
                <a:gd name="connsiteY3" fmla="*/ 0 h 383455"/>
                <a:gd name="connsiteX4" fmla="*/ 33456 w 185667"/>
                <a:gd name="connsiteY4" fmla="*/ 0 h 383455"/>
                <a:gd name="connsiteX5" fmla="*/ 158623 w 185667"/>
                <a:gd name="connsiteY5" fmla="*/ 102916 h 383455"/>
                <a:gd name="connsiteX6" fmla="*/ 158623 w 185667"/>
                <a:gd name="connsiteY6" fmla="*/ 111726 h 383455"/>
                <a:gd name="connsiteX7" fmla="*/ 160692 w 185667"/>
                <a:gd name="connsiteY7" fmla="*/ 111726 h 383455"/>
                <a:gd name="connsiteX8" fmla="*/ 162749 w 185667"/>
                <a:gd name="connsiteY8" fmla="*/ 106308 h 383455"/>
                <a:gd name="connsiteX9" fmla="*/ 185667 w 185667"/>
                <a:gd name="connsiteY9" fmla="*/ 125152 h 383455"/>
                <a:gd name="connsiteX10" fmla="*/ 168969 w 185667"/>
                <a:gd name="connsiteY10" fmla="*/ 191038 h 383455"/>
                <a:gd name="connsiteX11" fmla="*/ 168969 w 185667"/>
                <a:gd name="connsiteY11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5667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33456" y="0"/>
                  </a:lnTo>
                  <a:lnTo>
                    <a:pt x="158623" y="102916"/>
                  </a:lnTo>
                  <a:lnTo>
                    <a:pt x="158623" y="111726"/>
                  </a:lnTo>
                  <a:lnTo>
                    <a:pt x="160692" y="111726"/>
                  </a:lnTo>
                  <a:lnTo>
                    <a:pt x="162749" y="106308"/>
                  </a:lnTo>
                  <a:lnTo>
                    <a:pt x="185667" y="125152"/>
                  </a:lnTo>
                  <a:lnTo>
                    <a:pt x="168969" y="191038"/>
                  </a:ln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BB2B590A-BBED-49DF-BE0A-D7CDB8C7EA53}"/>
                </a:ext>
              </a:extLst>
            </p:cNvPr>
            <p:cNvSpPr/>
            <p:nvPr/>
          </p:nvSpPr>
          <p:spPr>
            <a:xfrm rot="8716295">
              <a:off x="7265319" y="4648384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7838B053-EE23-465E-B80C-0FDB953D8E9F}"/>
                </a:ext>
              </a:extLst>
            </p:cNvPr>
            <p:cNvSpPr/>
            <p:nvPr/>
          </p:nvSpPr>
          <p:spPr>
            <a:xfrm rot="8716295">
              <a:off x="7028032" y="486872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46F2EA92-FAA0-4CBD-8D20-0B7AF9B36906}"/>
                </a:ext>
              </a:extLst>
            </p:cNvPr>
            <p:cNvSpPr/>
            <p:nvPr/>
          </p:nvSpPr>
          <p:spPr>
            <a:xfrm rot="8716295">
              <a:off x="6838986" y="455289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C33E7506-2F8D-4DC7-82BD-DA6D9CD10C11}"/>
                </a:ext>
              </a:extLst>
            </p:cNvPr>
            <p:cNvSpPr/>
            <p:nvPr/>
          </p:nvSpPr>
          <p:spPr>
            <a:xfrm rot="8716295">
              <a:off x="6821466" y="4356542"/>
              <a:ext cx="439901" cy="511464"/>
            </a:xfrm>
            <a:custGeom>
              <a:avLst/>
              <a:gdLst>
                <a:gd name="connsiteX0" fmla="*/ 1873 w 439901"/>
                <a:gd name="connsiteY0" fmla="*/ 384681 h 511464"/>
                <a:gd name="connsiteX1" fmla="*/ 1725 w 439901"/>
                <a:gd name="connsiteY1" fmla="*/ 383648 h 511464"/>
                <a:gd name="connsiteX2" fmla="*/ 0 w 439901"/>
                <a:gd name="connsiteY2" fmla="*/ 333043 h 511464"/>
                <a:gd name="connsiteX3" fmla="*/ 0 w 439901"/>
                <a:gd name="connsiteY3" fmla="*/ 61444 h 511464"/>
                <a:gd name="connsiteX4" fmla="*/ 118434 w 439901"/>
                <a:gd name="connsiteY4" fmla="*/ 0 h 511464"/>
                <a:gd name="connsiteX5" fmla="*/ 120216 w 439901"/>
                <a:gd name="connsiteY5" fmla="*/ 248447 h 511464"/>
                <a:gd name="connsiteX6" fmla="*/ 141587 w 439901"/>
                <a:gd name="connsiteY6" fmla="*/ 396268 h 511464"/>
                <a:gd name="connsiteX7" fmla="*/ 248446 w 439901"/>
                <a:gd name="connsiteY7" fmla="*/ 455041 h 511464"/>
                <a:gd name="connsiteX8" fmla="*/ 328590 w 439901"/>
                <a:gd name="connsiteY8" fmla="*/ 440793 h 511464"/>
                <a:gd name="connsiteX9" fmla="*/ 438120 w 439901"/>
                <a:gd name="connsiteY9" fmla="*/ 396268 h 511464"/>
                <a:gd name="connsiteX10" fmla="*/ 439901 w 439901"/>
                <a:gd name="connsiteY10" fmla="*/ 407844 h 511464"/>
                <a:gd name="connsiteX11" fmla="*/ 439901 w 439901"/>
                <a:gd name="connsiteY11" fmla="*/ 416749 h 511464"/>
                <a:gd name="connsiteX12" fmla="*/ 286180 w 439901"/>
                <a:gd name="connsiteY12" fmla="*/ 502459 h 511464"/>
                <a:gd name="connsiteX13" fmla="*/ 252462 w 439901"/>
                <a:gd name="connsiteY13" fmla="*/ 511464 h 511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9901" h="511464">
                  <a:moveTo>
                    <a:pt x="1873" y="384681"/>
                  </a:moveTo>
                  <a:lnTo>
                    <a:pt x="1725" y="383648"/>
                  </a:lnTo>
                  <a:cubicBezTo>
                    <a:pt x="501" y="368162"/>
                    <a:pt x="0" y="351298"/>
                    <a:pt x="0" y="333043"/>
                  </a:cubicBezTo>
                  <a:lnTo>
                    <a:pt x="0" y="61444"/>
                  </a:lnTo>
                  <a:lnTo>
                    <a:pt x="118434" y="0"/>
                  </a:lnTo>
                  <a:lnTo>
                    <a:pt x="120216" y="248447"/>
                  </a:lnTo>
                  <a:cubicBezTo>
                    <a:pt x="117545" y="298315"/>
                    <a:pt x="125558" y="349072"/>
                    <a:pt x="141587" y="396268"/>
                  </a:cubicBezTo>
                  <a:cubicBezTo>
                    <a:pt x="155836" y="435450"/>
                    <a:pt x="192346" y="455041"/>
                    <a:pt x="248446" y="455041"/>
                  </a:cubicBezTo>
                  <a:cubicBezTo>
                    <a:pt x="276051" y="454150"/>
                    <a:pt x="302766" y="448807"/>
                    <a:pt x="328590" y="440793"/>
                  </a:cubicBezTo>
                  <a:cubicBezTo>
                    <a:pt x="365990" y="429216"/>
                    <a:pt x="402501" y="414078"/>
                    <a:pt x="438120" y="396268"/>
                  </a:cubicBezTo>
                  <a:cubicBezTo>
                    <a:pt x="439010" y="399830"/>
                    <a:pt x="439901" y="404282"/>
                    <a:pt x="439901" y="407844"/>
                  </a:cubicBezTo>
                  <a:lnTo>
                    <a:pt x="439901" y="416749"/>
                  </a:lnTo>
                  <a:cubicBezTo>
                    <a:pt x="392705" y="457267"/>
                    <a:pt x="338163" y="484649"/>
                    <a:pt x="286180" y="502459"/>
                  </a:cubicBezTo>
                  <a:lnTo>
                    <a:pt x="252462" y="5114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F0039EE6-19E5-4457-84A9-3D50560FF71B}"/>
                </a:ext>
              </a:extLst>
            </p:cNvPr>
            <p:cNvSpPr/>
            <p:nvPr/>
          </p:nvSpPr>
          <p:spPr>
            <a:xfrm rot="8716295">
              <a:off x="7635467" y="435609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62946C15-BE3C-45DF-BB3D-128249E4D1A5}"/>
                </a:ext>
              </a:extLst>
            </p:cNvPr>
            <p:cNvSpPr/>
            <p:nvPr/>
          </p:nvSpPr>
          <p:spPr>
            <a:xfrm rot="8716295">
              <a:off x="7770766" y="440035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3C27B629-4EE2-46C6-9535-F5382300825F}"/>
                </a:ext>
              </a:extLst>
            </p:cNvPr>
            <p:cNvSpPr/>
            <p:nvPr/>
          </p:nvSpPr>
          <p:spPr>
            <a:xfrm rot="8716295">
              <a:off x="7465596" y="44901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6592736C-E2B7-4AAA-9132-CE6867AFB7E6}"/>
                </a:ext>
              </a:extLst>
            </p:cNvPr>
            <p:cNvSpPr/>
            <p:nvPr/>
          </p:nvSpPr>
          <p:spPr>
            <a:xfrm rot="8716295">
              <a:off x="7313509" y="4314181"/>
              <a:ext cx="308532" cy="142740"/>
            </a:xfrm>
            <a:custGeom>
              <a:avLst/>
              <a:gdLst>
                <a:gd name="connsiteX0" fmla="*/ 0 w 308532"/>
                <a:gd name="connsiteY0" fmla="*/ 46525 h 142740"/>
                <a:gd name="connsiteX1" fmla="*/ 0 w 308532"/>
                <a:gd name="connsiteY1" fmla="*/ 0 h 142740"/>
                <a:gd name="connsiteX2" fmla="*/ 308532 w 308532"/>
                <a:gd name="connsiteY2" fmla="*/ 0 h 142740"/>
                <a:gd name="connsiteX3" fmla="*/ 308532 w 308532"/>
                <a:gd name="connsiteY3" fmla="*/ 83734 h 142740"/>
                <a:gd name="connsiteX4" fmla="*/ 210465 w 308532"/>
                <a:gd name="connsiteY4" fmla="*/ 83734 h 142740"/>
                <a:gd name="connsiteX5" fmla="*/ 190169 w 308532"/>
                <a:gd name="connsiteY5" fmla="*/ 142740 h 142740"/>
                <a:gd name="connsiteX6" fmla="*/ 100662 w 308532"/>
                <a:gd name="connsiteY6" fmla="*/ 97454 h 142740"/>
                <a:gd name="connsiteX7" fmla="*/ 105610 w 308532"/>
                <a:gd name="connsiteY7" fmla="*/ 83734 h 142740"/>
                <a:gd name="connsiteX8" fmla="*/ 73544 w 308532"/>
                <a:gd name="connsiteY8" fmla="*/ 83734 h 142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532" h="142740">
                  <a:moveTo>
                    <a:pt x="0" y="46525"/>
                  </a:moveTo>
                  <a:lnTo>
                    <a:pt x="0" y="0"/>
                  </a:lnTo>
                  <a:lnTo>
                    <a:pt x="308532" y="0"/>
                  </a:lnTo>
                  <a:lnTo>
                    <a:pt x="308532" y="83734"/>
                  </a:lnTo>
                  <a:lnTo>
                    <a:pt x="210465" y="83734"/>
                  </a:lnTo>
                  <a:lnTo>
                    <a:pt x="190169" y="142740"/>
                  </a:lnTo>
                  <a:lnTo>
                    <a:pt x="100662" y="97454"/>
                  </a:lnTo>
                  <a:lnTo>
                    <a:pt x="105610" y="83734"/>
                  </a:lnTo>
                  <a:lnTo>
                    <a:pt x="73544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39B2926A-51C6-4DDF-86D8-072C96B838B0}"/>
                </a:ext>
              </a:extLst>
            </p:cNvPr>
            <p:cNvSpPr/>
            <p:nvPr/>
          </p:nvSpPr>
          <p:spPr>
            <a:xfrm rot="8716295">
              <a:off x="7602084" y="4552096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A5226D1B-39C8-4DB7-A39D-DE8AE96085BA}"/>
                </a:ext>
              </a:extLst>
            </p:cNvPr>
            <p:cNvSpPr/>
            <p:nvPr/>
          </p:nvSpPr>
          <p:spPr>
            <a:xfrm rot="8716295">
              <a:off x="7233779" y="4339176"/>
              <a:ext cx="112931" cy="98229"/>
            </a:xfrm>
            <a:custGeom>
              <a:avLst/>
              <a:gdLst>
                <a:gd name="connsiteX0" fmla="*/ 0 w 112931"/>
                <a:gd name="connsiteY0" fmla="*/ 49475 h 98229"/>
                <a:gd name="connsiteX1" fmla="*/ 13559 w 112931"/>
                <a:gd name="connsiteY1" fmla="*/ 17362 h 98229"/>
                <a:gd name="connsiteX2" fmla="*/ 54678 w 112931"/>
                <a:gd name="connsiteY2" fmla="*/ 0 h 98229"/>
                <a:gd name="connsiteX3" fmla="*/ 95798 w 112931"/>
                <a:gd name="connsiteY3" fmla="*/ 17362 h 98229"/>
                <a:gd name="connsiteX4" fmla="*/ 112931 w 112931"/>
                <a:gd name="connsiteY4" fmla="*/ 58139 h 98229"/>
                <a:gd name="connsiteX5" fmla="*/ 96365 w 112931"/>
                <a:gd name="connsiteY5" fmla="*/ 98229 h 98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931" h="98229">
                  <a:moveTo>
                    <a:pt x="0" y="49475"/>
                  </a:moveTo>
                  <a:lnTo>
                    <a:pt x="13559" y="17362"/>
                  </a:lnTo>
                  <a:cubicBezTo>
                    <a:pt x="24524" y="6397"/>
                    <a:pt x="39145" y="0"/>
                    <a:pt x="54678" y="0"/>
                  </a:cubicBezTo>
                  <a:cubicBezTo>
                    <a:pt x="70213" y="0"/>
                    <a:pt x="84833" y="6397"/>
                    <a:pt x="95798" y="17362"/>
                  </a:cubicBezTo>
                  <a:cubicBezTo>
                    <a:pt x="107220" y="28327"/>
                    <a:pt x="112931" y="43176"/>
                    <a:pt x="112931" y="58139"/>
                  </a:cubicBezTo>
                  <a:lnTo>
                    <a:pt x="96365" y="9822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B8D891A1-7C58-4828-B849-358D4D72EA90}"/>
                </a:ext>
              </a:extLst>
            </p:cNvPr>
            <p:cNvSpPr/>
            <p:nvPr/>
          </p:nvSpPr>
          <p:spPr>
            <a:xfrm rot="7484129">
              <a:off x="7765134" y="4837237"/>
              <a:ext cx="295167" cy="296463"/>
            </a:xfrm>
            <a:custGeom>
              <a:avLst/>
              <a:gdLst>
                <a:gd name="connsiteX0" fmla="*/ 295165 w 295167"/>
                <a:gd name="connsiteY0" fmla="*/ 83734 h 296463"/>
                <a:gd name="connsiteX1" fmla="*/ 237109 w 295167"/>
                <a:gd name="connsiteY1" fmla="*/ 0 h 296463"/>
                <a:gd name="connsiteX2" fmla="*/ 237110 w 295167"/>
                <a:gd name="connsiteY2" fmla="*/ 0 h 296463"/>
                <a:gd name="connsiteX3" fmla="*/ 295167 w 295167"/>
                <a:gd name="connsiteY3" fmla="*/ 83734 h 296463"/>
                <a:gd name="connsiteX4" fmla="*/ 137293 w 295167"/>
                <a:gd name="connsiteY4" fmla="*/ 296463 h 296463"/>
                <a:gd name="connsiteX5" fmla="*/ 72418 w 295167"/>
                <a:gd name="connsiteY5" fmla="*/ 175766 h 296463"/>
                <a:gd name="connsiteX6" fmla="*/ 105610 w 295167"/>
                <a:gd name="connsiteY6" fmla="*/ 83734 h 296463"/>
                <a:gd name="connsiteX7" fmla="*/ 0 w 295167"/>
                <a:gd name="connsiteY7" fmla="*/ 83734 h 296463"/>
                <a:gd name="connsiteX8" fmla="*/ 0 w 295167"/>
                <a:gd name="connsiteY8" fmla="*/ 0 h 296463"/>
                <a:gd name="connsiteX9" fmla="*/ 126381 w 295167"/>
                <a:gd name="connsiteY9" fmla="*/ 0 h 296463"/>
                <a:gd name="connsiteX10" fmla="*/ 197160 w 295167"/>
                <a:gd name="connsiteY10" fmla="*/ 122416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5167" h="296463">
                  <a:moveTo>
                    <a:pt x="295165" y="83734"/>
                  </a:moveTo>
                  <a:lnTo>
                    <a:pt x="237109" y="0"/>
                  </a:lnTo>
                  <a:lnTo>
                    <a:pt x="237110" y="0"/>
                  </a:lnTo>
                  <a:lnTo>
                    <a:pt x="295167" y="83734"/>
                  </a:lnTo>
                  <a:close/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126381" y="0"/>
                  </a:lnTo>
                  <a:lnTo>
                    <a:pt x="197160" y="1224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527B4309-024C-4B07-A449-12F7536748C5}"/>
                </a:ext>
              </a:extLst>
            </p:cNvPr>
            <p:cNvSpPr/>
            <p:nvPr/>
          </p:nvSpPr>
          <p:spPr>
            <a:xfrm rot="13089394">
              <a:off x="8005038" y="4814171"/>
              <a:ext cx="409104" cy="218063"/>
            </a:xfrm>
            <a:custGeom>
              <a:avLst/>
              <a:gdLst>
                <a:gd name="connsiteX0" fmla="*/ 409104 w 409104"/>
                <a:gd name="connsiteY0" fmla="*/ 110916 h 218063"/>
                <a:gd name="connsiteX1" fmla="*/ 135172 w 409104"/>
                <a:gd name="connsiteY1" fmla="*/ 217816 h 218063"/>
                <a:gd name="connsiteX2" fmla="*/ 32447 w 409104"/>
                <a:gd name="connsiteY2" fmla="*/ 176058 h 218063"/>
                <a:gd name="connsiteX3" fmla="*/ 3843 w 409104"/>
                <a:gd name="connsiteY3" fmla="*/ 119581 h 218063"/>
                <a:gd name="connsiteX4" fmla="*/ 0 w 409104"/>
                <a:gd name="connsiteY4" fmla="*/ 73735 h 218063"/>
                <a:gd name="connsiteX5" fmla="*/ 111583 w 409104"/>
                <a:gd name="connsiteY5" fmla="*/ 0 h 218063"/>
                <a:gd name="connsiteX6" fmla="*/ 112727 w 409104"/>
                <a:gd name="connsiteY6" fmla="*/ 23329 h 218063"/>
                <a:gd name="connsiteX7" fmla="*/ 129325 w 409104"/>
                <a:gd name="connsiteY7" fmla="*/ 91708 h 218063"/>
                <a:gd name="connsiteX8" fmla="*/ 229544 w 409104"/>
                <a:gd name="connsiteY8" fmla="*/ 146828 h 218063"/>
                <a:gd name="connsiteX9" fmla="*/ 304708 w 409104"/>
                <a:gd name="connsiteY9" fmla="*/ 133466 h 218063"/>
                <a:gd name="connsiteX10" fmla="*/ 407434 w 409104"/>
                <a:gd name="connsiteY10" fmla="*/ 91708 h 218063"/>
                <a:gd name="connsiteX11" fmla="*/ 409104 w 409104"/>
                <a:gd name="connsiteY11" fmla="*/ 102564 h 218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9104" h="218063">
                  <a:moveTo>
                    <a:pt x="409104" y="110916"/>
                  </a:moveTo>
                  <a:cubicBezTo>
                    <a:pt x="320577" y="186915"/>
                    <a:pt x="204490" y="213641"/>
                    <a:pt x="135172" y="217816"/>
                  </a:cubicBezTo>
                  <a:cubicBezTo>
                    <a:pt x="96755" y="220322"/>
                    <a:pt x="59173" y="203619"/>
                    <a:pt x="32447" y="176058"/>
                  </a:cubicBezTo>
                  <a:cubicBezTo>
                    <a:pt x="18249" y="162278"/>
                    <a:pt x="9272" y="143487"/>
                    <a:pt x="3843" y="119581"/>
                  </a:cubicBezTo>
                  <a:lnTo>
                    <a:pt x="0" y="73735"/>
                  </a:lnTo>
                  <a:lnTo>
                    <a:pt x="111583" y="0"/>
                  </a:lnTo>
                  <a:lnTo>
                    <a:pt x="112727" y="23329"/>
                  </a:lnTo>
                  <a:cubicBezTo>
                    <a:pt x="116171" y="46609"/>
                    <a:pt x="121808" y="69576"/>
                    <a:pt x="129325" y="91708"/>
                  </a:cubicBezTo>
                  <a:cubicBezTo>
                    <a:pt x="142689" y="128454"/>
                    <a:pt x="176930" y="146828"/>
                    <a:pt x="229544" y="146828"/>
                  </a:cubicBezTo>
                  <a:cubicBezTo>
                    <a:pt x="255435" y="145993"/>
                    <a:pt x="280489" y="140981"/>
                    <a:pt x="304708" y="133466"/>
                  </a:cubicBezTo>
                  <a:cubicBezTo>
                    <a:pt x="339785" y="122608"/>
                    <a:pt x="374027" y="108411"/>
                    <a:pt x="407434" y="91708"/>
                  </a:cubicBezTo>
                  <a:cubicBezTo>
                    <a:pt x="408268" y="95048"/>
                    <a:pt x="409104" y="99224"/>
                    <a:pt x="409104" y="10256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A6665952-BEBA-4083-8857-192589F92F66}"/>
                </a:ext>
              </a:extLst>
            </p:cNvPr>
            <p:cNvSpPr/>
            <p:nvPr/>
          </p:nvSpPr>
          <p:spPr>
            <a:xfrm rot="8716295">
              <a:off x="8200443" y="4500944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48E8912F-96AC-4641-B68F-1FAC8423EE44}"/>
                </a:ext>
              </a:extLst>
            </p:cNvPr>
            <p:cNvSpPr/>
            <p:nvPr/>
          </p:nvSpPr>
          <p:spPr>
            <a:xfrm rot="8716295">
              <a:off x="8122034" y="434415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53758D6F-45BC-4683-9BA4-5F935E950CCD}"/>
                </a:ext>
              </a:extLst>
            </p:cNvPr>
            <p:cNvSpPr/>
            <p:nvPr/>
          </p:nvSpPr>
          <p:spPr>
            <a:xfrm rot="8716295">
              <a:off x="7753870" y="438989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3D33FD22-12AD-4D1A-88D7-5F0D534CAA44}"/>
                </a:ext>
              </a:extLst>
            </p:cNvPr>
            <p:cNvSpPr/>
            <p:nvPr/>
          </p:nvSpPr>
          <p:spPr>
            <a:xfrm rot="8716295">
              <a:off x="8030791" y="4210054"/>
              <a:ext cx="154744" cy="110503"/>
            </a:xfrm>
            <a:custGeom>
              <a:avLst/>
              <a:gdLst>
                <a:gd name="connsiteX0" fmla="*/ 0 w 154744"/>
                <a:gd name="connsiteY0" fmla="*/ 34366 h 110503"/>
                <a:gd name="connsiteX1" fmla="*/ 3342 w 154744"/>
                <a:gd name="connsiteY1" fmla="*/ 26453 h 110503"/>
                <a:gd name="connsiteX2" fmla="*/ 65990 w 154744"/>
                <a:gd name="connsiteY2" fmla="*/ 0 h 110503"/>
                <a:gd name="connsiteX3" fmla="*/ 128640 w 154744"/>
                <a:gd name="connsiteY3" fmla="*/ 26453 h 110503"/>
                <a:gd name="connsiteX4" fmla="*/ 154744 w 154744"/>
                <a:gd name="connsiteY4" fmla="*/ 88580 h 110503"/>
                <a:gd name="connsiteX5" fmla="*/ 150487 w 154744"/>
                <a:gd name="connsiteY5" fmla="*/ 110503 h 110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4744" h="110503">
                  <a:moveTo>
                    <a:pt x="0" y="34366"/>
                  </a:moveTo>
                  <a:lnTo>
                    <a:pt x="3342" y="26453"/>
                  </a:lnTo>
                  <a:cubicBezTo>
                    <a:pt x="20048" y="9746"/>
                    <a:pt x="42323" y="0"/>
                    <a:pt x="65990" y="0"/>
                  </a:cubicBezTo>
                  <a:cubicBezTo>
                    <a:pt x="89659" y="0"/>
                    <a:pt x="111934" y="9746"/>
                    <a:pt x="128640" y="26453"/>
                  </a:cubicBezTo>
                  <a:cubicBezTo>
                    <a:pt x="146043" y="43159"/>
                    <a:pt x="154744" y="65782"/>
                    <a:pt x="154744" y="88580"/>
                  </a:cubicBezTo>
                  <a:lnTo>
                    <a:pt x="150487" y="1105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69" name="Espace réservé pour une image  68">
            <a:extLst>
              <a:ext uri="{FF2B5EF4-FFF2-40B4-BE49-F238E27FC236}">
                <a16:creationId xmlns:a16="http://schemas.microsoft.com/office/drawing/2014/main" id="{407212D0-4ACD-410B-8E9A-EE07511F0C4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9153528" cy="4075643"/>
          </a:xfrm>
          <a:custGeom>
            <a:avLst/>
            <a:gdLst>
              <a:gd name="connsiteX0" fmla="*/ 0 w 9153528"/>
              <a:gd name="connsiteY0" fmla="*/ 5143499 h 5143500"/>
              <a:gd name="connsiteX1" fmla="*/ 9153528 w 9153528"/>
              <a:gd name="connsiteY1" fmla="*/ 5143499 h 5143500"/>
              <a:gd name="connsiteX2" fmla="*/ 9153528 w 9153528"/>
              <a:gd name="connsiteY2" fmla="*/ 5143500 h 5143500"/>
              <a:gd name="connsiteX3" fmla="*/ 0 w 9153528"/>
              <a:gd name="connsiteY3" fmla="*/ 5143500 h 5143500"/>
              <a:gd name="connsiteX4" fmla="*/ 0 w 9153528"/>
              <a:gd name="connsiteY4" fmla="*/ 0 h 5143500"/>
              <a:gd name="connsiteX5" fmla="*/ 9153528 w 9153528"/>
              <a:gd name="connsiteY5" fmla="*/ 0 h 5143500"/>
              <a:gd name="connsiteX6" fmla="*/ 9153528 w 9153528"/>
              <a:gd name="connsiteY6" fmla="*/ 4204192 h 5143500"/>
              <a:gd name="connsiteX7" fmla="*/ 9145341 w 9153528"/>
              <a:gd name="connsiteY7" fmla="*/ 4199282 h 5143500"/>
              <a:gd name="connsiteX8" fmla="*/ 9144001 w 9153528"/>
              <a:gd name="connsiteY8" fmla="*/ 4198735 h 5143500"/>
              <a:gd name="connsiteX9" fmla="*/ 9144001 w 9153528"/>
              <a:gd name="connsiteY9" fmla="*/ 3426281 h 5143500"/>
              <a:gd name="connsiteX10" fmla="*/ 4464473 w 9153528"/>
              <a:gd name="connsiteY10" fmla="*/ 4075643 h 5143500"/>
              <a:gd name="connsiteX11" fmla="*/ 0 w 9153528"/>
              <a:gd name="connsiteY11" fmla="*/ 3708636 h 5143500"/>
              <a:gd name="connsiteX0" fmla="*/ 0 w 9153528"/>
              <a:gd name="connsiteY0" fmla="*/ 5143499 h 5143500"/>
              <a:gd name="connsiteX1" fmla="*/ 9153528 w 9153528"/>
              <a:gd name="connsiteY1" fmla="*/ 5143499 h 5143500"/>
              <a:gd name="connsiteX2" fmla="*/ 9153528 w 9153528"/>
              <a:gd name="connsiteY2" fmla="*/ 5143500 h 5143500"/>
              <a:gd name="connsiteX3" fmla="*/ 0 w 9153528"/>
              <a:gd name="connsiteY3" fmla="*/ 5143500 h 5143500"/>
              <a:gd name="connsiteX4" fmla="*/ 0 w 9153528"/>
              <a:gd name="connsiteY4" fmla="*/ 5143499 h 5143500"/>
              <a:gd name="connsiteX5" fmla="*/ 0 w 9153528"/>
              <a:gd name="connsiteY5" fmla="*/ 0 h 5143500"/>
              <a:gd name="connsiteX6" fmla="*/ 9153528 w 9153528"/>
              <a:gd name="connsiteY6" fmla="*/ 0 h 5143500"/>
              <a:gd name="connsiteX7" fmla="*/ 9153528 w 9153528"/>
              <a:gd name="connsiteY7" fmla="*/ 4204192 h 5143500"/>
              <a:gd name="connsiteX8" fmla="*/ 9145341 w 9153528"/>
              <a:gd name="connsiteY8" fmla="*/ 4199282 h 5143500"/>
              <a:gd name="connsiteX9" fmla="*/ 9144001 w 9153528"/>
              <a:gd name="connsiteY9" fmla="*/ 3426281 h 5143500"/>
              <a:gd name="connsiteX10" fmla="*/ 4464473 w 9153528"/>
              <a:gd name="connsiteY10" fmla="*/ 4075643 h 5143500"/>
              <a:gd name="connsiteX11" fmla="*/ 0 w 9153528"/>
              <a:gd name="connsiteY11" fmla="*/ 3708636 h 5143500"/>
              <a:gd name="connsiteX12" fmla="*/ 0 w 9153528"/>
              <a:gd name="connsiteY12" fmla="*/ 0 h 5143500"/>
              <a:gd name="connsiteX0" fmla="*/ 0 w 9153528"/>
              <a:gd name="connsiteY0" fmla="*/ 5143499 h 5143500"/>
              <a:gd name="connsiteX1" fmla="*/ 9153528 w 9153528"/>
              <a:gd name="connsiteY1" fmla="*/ 5143499 h 5143500"/>
              <a:gd name="connsiteX2" fmla="*/ 9153528 w 9153528"/>
              <a:gd name="connsiteY2" fmla="*/ 5143500 h 5143500"/>
              <a:gd name="connsiteX3" fmla="*/ 0 w 9153528"/>
              <a:gd name="connsiteY3" fmla="*/ 5143500 h 5143500"/>
              <a:gd name="connsiteX4" fmla="*/ 0 w 9153528"/>
              <a:gd name="connsiteY4" fmla="*/ 5143499 h 5143500"/>
              <a:gd name="connsiteX5" fmla="*/ 0 w 9153528"/>
              <a:gd name="connsiteY5" fmla="*/ 0 h 5143500"/>
              <a:gd name="connsiteX6" fmla="*/ 9153528 w 9153528"/>
              <a:gd name="connsiteY6" fmla="*/ 0 h 5143500"/>
              <a:gd name="connsiteX7" fmla="*/ 9153528 w 9153528"/>
              <a:gd name="connsiteY7" fmla="*/ 4204192 h 5143500"/>
              <a:gd name="connsiteX8" fmla="*/ 9144001 w 9153528"/>
              <a:gd name="connsiteY8" fmla="*/ 3426281 h 5143500"/>
              <a:gd name="connsiteX9" fmla="*/ 4464473 w 9153528"/>
              <a:gd name="connsiteY9" fmla="*/ 4075643 h 5143500"/>
              <a:gd name="connsiteX10" fmla="*/ 0 w 9153528"/>
              <a:gd name="connsiteY10" fmla="*/ 3708636 h 5143500"/>
              <a:gd name="connsiteX11" fmla="*/ 0 w 9153528"/>
              <a:gd name="connsiteY11" fmla="*/ 0 h 5143500"/>
              <a:gd name="connsiteX0" fmla="*/ 0 w 9153528"/>
              <a:gd name="connsiteY0" fmla="*/ 5143499 h 5143500"/>
              <a:gd name="connsiteX1" fmla="*/ 9153528 w 9153528"/>
              <a:gd name="connsiteY1" fmla="*/ 5143499 h 5143500"/>
              <a:gd name="connsiteX2" fmla="*/ 9153528 w 9153528"/>
              <a:gd name="connsiteY2" fmla="*/ 5143500 h 5143500"/>
              <a:gd name="connsiteX3" fmla="*/ 0 w 9153528"/>
              <a:gd name="connsiteY3" fmla="*/ 5143500 h 5143500"/>
              <a:gd name="connsiteX4" fmla="*/ 0 w 9153528"/>
              <a:gd name="connsiteY4" fmla="*/ 5143499 h 5143500"/>
              <a:gd name="connsiteX5" fmla="*/ 0 w 9153528"/>
              <a:gd name="connsiteY5" fmla="*/ 0 h 5143500"/>
              <a:gd name="connsiteX6" fmla="*/ 9153528 w 9153528"/>
              <a:gd name="connsiteY6" fmla="*/ 0 h 5143500"/>
              <a:gd name="connsiteX7" fmla="*/ 9144001 w 9153528"/>
              <a:gd name="connsiteY7" fmla="*/ 3426281 h 5143500"/>
              <a:gd name="connsiteX8" fmla="*/ 4464473 w 9153528"/>
              <a:gd name="connsiteY8" fmla="*/ 4075643 h 5143500"/>
              <a:gd name="connsiteX9" fmla="*/ 0 w 9153528"/>
              <a:gd name="connsiteY9" fmla="*/ 3708636 h 5143500"/>
              <a:gd name="connsiteX10" fmla="*/ 0 w 9153528"/>
              <a:gd name="connsiteY10" fmla="*/ 0 h 5143500"/>
              <a:gd name="connsiteX0" fmla="*/ 0 w 9153528"/>
              <a:gd name="connsiteY0" fmla="*/ 5143499 h 5143500"/>
              <a:gd name="connsiteX1" fmla="*/ 9153528 w 9153528"/>
              <a:gd name="connsiteY1" fmla="*/ 5143499 h 5143500"/>
              <a:gd name="connsiteX2" fmla="*/ 0 w 9153528"/>
              <a:gd name="connsiteY2" fmla="*/ 5143500 h 5143500"/>
              <a:gd name="connsiteX3" fmla="*/ 0 w 9153528"/>
              <a:gd name="connsiteY3" fmla="*/ 5143499 h 5143500"/>
              <a:gd name="connsiteX4" fmla="*/ 0 w 9153528"/>
              <a:gd name="connsiteY4" fmla="*/ 0 h 5143500"/>
              <a:gd name="connsiteX5" fmla="*/ 9153528 w 9153528"/>
              <a:gd name="connsiteY5" fmla="*/ 0 h 5143500"/>
              <a:gd name="connsiteX6" fmla="*/ 9144001 w 9153528"/>
              <a:gd name="connsiteY6" fmla="*/ 3426281 h 5143500"/>
              <a:gd name="connsiteX7" fmla="*/ 4464473 w 9153528"/>
              <a:gd name="connsiteY7" fmla="*/ 4075643 h 5143500"/>
              <a:gd name="connsiteX8" fmla="*/ 0 w 9153528"/>
              <a:gd name="connsiteY8" fmla="*/ 3708636 h 5143500"/>
              <a:gd name="connsiteX9" fmla="*/ 0 w 9153528"/>
              <a:gd name="connsiteY9" fmla="*/ 0 h 5143500"/>
              <a:gd name="connsiteX0" fmla="*/ 0 w 9153528"/>
              <a:gd name="connsiteY0" fmla="*/ 5143499 h 5143500"/>
              <a:gd name="connsiteX1" fmla="*/ 0 w 9153528"/>
              <a:gd name="connsiteY1" fmla="*/ 5143500 h 5143500"/>
              <a:gd name="connsiteX2" fmla="*/ 0 w 9153528"/>
              <a:gd name="connsiteY2" fmla="*/ 5143499 h 5143500"/>
              <a:gd name="connsiteX3" fmla="*/ 0 w 9153528"/>
              <a:gd name="connsiteY3" fmla="*/ 0 h 5143500"/>
              <a:gd name="connsiteX4" fmla="*/ 9153528 w 9153528"/>
              <a:gd name="connsiteY4" fmla="*/ 0 h 5143500"/>
              <a:gd name="connsiteX5" fmla="*/ 9144001 w 9153528"/>
              <a:gd name="connsiteY5" fmla="*/ 3426281 h 5143500"/>
              <a:gd name="connsiteX6" fmla="*/ 4464473 w 9153528"/>
              <a:gd name="connsiteY6" fmla="*/ 4075643 h 5143500"/>
              <a:gd name="connsiteX7" fmla="*/ 0 w 9153528"/>
              <a:gd name="connsiteY7" fmla="*/ 3708636 h 5143500"/>
              <a:gd name="connsiteX8" fmla="*/ 0 w 9153528"/>
              <a:gd name="connsiteY8" fmla="*/ 0 h 5143500"/>
              <a:gd name="connsiteX0" fmla="*/ 0 w 9153528"/>
              <a:gd name="connsiteY0" fmla="*/ 0 h 4075643"/>
              <a:gd name="connsiteX1" fmla="*/ 9153528 w 9153528"/>
              <a:gd name="connsiteY1" fmla="*/ 0 h 4075643"/>
              <a:gd name="connsiteX2" fmla="*/ 9144001 w 9153528"/>
              <a:gd name="connsiteY2" fmla="*/ 3426281 h 4075643"/>
              <a:gd name="connsiteX3" fmla="*/ 4464473 w 9153528"/>
              <a:gd name="connsiteY3" fmla="*/ 4075643 h 4075643"/>
              <a:gd name="connsiteX4" fmla="*/ 0 w 9153528"/>
              <a:gd name="connsiteY4" fmla="*/ 3708636 h 4075643"/>
              <a:gd name="connsiteX5" fmla="*/ 0 w 9153528"/>
              <a:gd name="connsiteY5" fmla="*/ 0 h 4075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53528" h="4075643">
                <a:moveTo>
                  <a:pt x="0" y="0"/>
                </a:moveTo>
                <a:lnTo>
                  <a:pt x="9153528" y="0"/>
                </a:lnTo>
                <a:cubicBezTo>
                  <a:pt x="9150352" y="1142094"/>
                  <a:pt x="9147177" y="2284187"/>
                  <a:pt x="9144001" y="3426281"/>
                </a:cubicBezTo>
                <a:lnTo>
                  <a:pt x="4464473" y="4075643"/>
                </a:lnTo>
                <a:lnTo>
                  <a:pt x="0" y="3708636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  <p:pic>
        <p:nvPicPr>
          <p:cNvPr id="3" name="Graphique 2">
            <a:extLst>
              <a:ext uri="{FF2B5EF4-FFF2-40B4-BE49-F238E27FC236}">
                <a16:creationId xmlns:a16="http://schemas.microsoft.com/office/drawing/2014/main" id="{E7008A4A-56ED-4B79-8C76-07B31083E9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6275" y="4150109"/>
            <a:ext cx="2174263" cy="648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381616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filtre bleu + Conten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5" name="Espace réservé pour une image  524">
            <a:extLst>
              <a:ext uri="{FF2B5EF4-FFF2-40B4-BE49-F238E27FC236}">
                <a16:creationId xmlns:a16="http://schemas.microsoft.com/office/drawing/2014/main" id="{98410260-974C-4913-B9B1-FBF4231643C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2"/>
            <a:ext cx="3567702" cy="5143499"/>
          </a:xfrm>
          <a:custGeom>
            <a:avLst/>
            <a:gdLst>
              <a:gd name="connsiteX0" fmla="*/ 0 w 3567702"/>
              <a:gd name="connsiteY0" fmla="*/ 0 h 5143499"/>
              <a:gd name="connsiteX1" fmla="*/ 2859408 w 3567702"/>
              <a:gd name="connsiteY1" fmla="*/ 0 h 5143499"/>
              <a:gd name="connsiteX2" fmla="*/ 3048000 w 3567702"/>
              <a:gd name="connsiteY2" fmla="*/ 0 h 5143499"/>
              <a:gd name="connsiteX3" fmla="*/ 3485902 w 3567702"/>
              <a:gd name="connsiteY3" fmla="*/ 0 h 5143499"/>
              <a:gd name="connsiteX4" fmla="*/ 3246551 w 3567702"/>
              <a:gd name="connsiteY4" fmla="*/ 2811361 h 5143499"/>
              <a:gd name="connsiteX5" fmla="*/ 3246551 w 3567702"/>
              <a:gd name="connsiteY5" fmla="*/ 2811360 h 5143499"/>
              <a:gd name="connsiteX6" fmla="*/ 3048000 w 3567702"/>
              <a:gd name="connsiteY6" fmla="*/ 5143498 h 5143499"/>
              <a:gd name="connsiteX7" fmla="*/ 3567702 w 3567702"/>
              <a:gd name="connsiteY7" fmla="*/ 5143498 h 5143499"/>
              <a:gd name="connsiteX8" fmla="*/ 3567702 w 3567702"/>
              <a:gd name="connsiteY8" fmla="*/ 5143499 h 5143499"/>
              <a:gd name="connsiteX9" fmla="*/ 0 w 3567702"/>
              <a:gd name="connsiteY9" fmla="*/ 5143499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67702" h="5143499">
                <a:moveTo>
                  <a:pt x="0" y="0"/>
                </a:moveTo>
                <a:lnTo>
                  <a:pt x="2859408" y="0"/>
                </a:lnTo>
                <a:lnTo>
                  <a:pt x="3048000" y="0"/>
                </a:lnTo>
                <a:lnTo>
                  <a:pt x="3485902" y="0"/>
                </a:lnTo>
                <a:lnTo>
                  <a:pt x="3246551" y="2811361"/>
                </a:lnTo>
                <a:lnTo>
                  <a:pt x="3246551" y="2811360"/>
                </a:lnTo>
                <a:lnTo>
                  <a:pt x="3048000" y="5143498"/>
                </a:lnTo>
                <a:lnTo>
                  <a:pt x="3567702" y="5143498"/>
                </a:lnTo>
                <a:lnTo>
                  <a:pt x="3567702" y="5143499"/>
                </a:lnTo>
                <a:lnTo>
                  <a:pt x="0" y="5143499"/>
                </a:ln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Cliquez sur l’icône</a:t>
            </a:r>
            <a:br>
              <a:rPr lang="fr-FR" dirty="0"/>
            </a:br>
            <a:r>
              <a:rPr lang="fr-FR" dirty="0"/>
              <a:t>pour ajouter une image</a:t>
            </a:r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5CE4A1F0-610C-4E30-853B-8F3E7CCABABE}"/>
              </a:ext>
            </a:extLst>
          </p:cNvPr>
          <p:cNvSpPr/>
          <p:nvPr userDrawn="1"/>
        </p:nvSpPr>
        <p:spPr>
          <a:xfrm>
            <a:off x="3246551" y="-3"/>
            <a:ext cx="5897449" cy="5143501"/>
          </a:xfrm>
          <a:custGeom>
            <a:avLst/>
            <a:gdLst>
              <a:gd name="connsiteX0" fmla="*/ 675524 w 5897449"/>
              <a:gd name="connsiteY0" fmla="*/ 1246049 h 5143501"/>
              <a:gd name="connsiteX1" fmla="*/ 675524 w 5897449"/>
              <a:gd name="connsiteY1" fmla="*/ 1291768 h 5143501"/>
              <a:gd name="connsiteX2" fmla="*/ 1035524 w 5897449"/>
              <a:gd name="connsiteY2" fmla="*/ 1291768 h 5143501"/>
              <a:gd name="connsiteX3" fmla="*/ 1035524 w 5897449"/>
              <a:gd name="connsiteY3" fmla="*/ 1246049 h 5143501"/>
              <a:gd name="connsiteX4" fmla="*/ 5897449 w 5897449"/>
              <a:gd name="connsiteY4" fmla="*/ 0 h 5143501"/>
              <a:gd name="connsiteX5" fmla="*/ 5897449 w 5897449"/>
              <a:gd name="connsiteY5" fmla="*/ 5143501 h 5143501"/>
              <a:gd name="connsiteX6" fmla="*/ 321151 w 5897449"/>
              <a:gd name="connsiteY6" fmla="*/ 5143501 h 5143501"/>
              <a:gd name="connsiteX7" fmla="*/ 0 w 5897449"/>
              <a:gd name="connsiteY7" fmla="*/ 2811363 h 5143501"/>
              <a:gd name="connsiteX8" fmla="*/ 239351 w 5897449"/>
              <a:gd name="connsiteY8" fmla="*/ 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97449" h="5143501">
                <a:moveTo>
                  <a:pt x="675524" y="1246049"/>
                </a:moveTo>
                <a:lnTo>
                  <a:pt x="675524" y="1291768"/>
                </a:lnTo>
                <a:lnTo>
                  <a:pt x="1035524" y="1291768"/>
                </a:lnTo>
                <a:lnTo>
                  <a:pt x="1035524" y="1246049"/>
                </a:lnTo>
                <a:close/>
                <a:moveTo>
                  <a:pt x="5897449" y="0"/>
                </a:moveTo>
                <a:lnTo>
                  <a:pt x="5897449" y="5143501"/>
                </a:lnTo>
                <a:lnTo>
                  <a:pt x="321151" y="5143501"/>
                </a:lnTo>
                <a:lnTo>
                  <a:pt x="0" y="2811363"/>
                </a:lnTo>
                <a:lnTo>
                  <a:pt x="239351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534" name="Espace réservé du texte 533">
            <a:extLst>
              <a:ext uri="{FF2B5EF4-FFF2-40B4-BE49-F238E27FC236}">
                <a16:creationId xmlns:a16="http://schemas.microsoft.com/office/drawing/2014/main" id="{6A4C2977-D550-4471-9F3E-815F6F49158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11668" y="1733384"/>
            <a:ext cx="5068800" cy="2902897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300"/>
              </a:spcBef>
              <a:spcAft>
                <a:spcPts val="1000"/>
              </a:spcAft>
              <a:buNone/>
              <a:defRPr sz="1400">
                <a:solidFill>
                  <a:schemeClr val="tx1"/>
                </a:solidFill>
              </a:defRPr>
            </a:lvl2pPr>
            <a:lvl3pPr marL="270000" indent="-270000" algn="l" defTabSz="457200" rtl="0" eaLnBrk="1" latinLnBrk="0" hangingPunct="1">
              <a:spcBef>
                <a:spcPts val="400"/>
              </a:spcBef>
              <a:spcAft>
                <a:spcPts val="1000"/>
              </a:spcAft>
              <a:buSzPct val="100000"/>
              <a:buFontTx/>
              <a:buBlip>
                <a:blip r:embed="rId2"/>
              </a:buBlip>
              <a:defRPr lang="fr-FR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0000" indent="-269875">
              <a:spcBef>
                <a:spcPts val="400"/>
              </a:spcBef>
              <a:spcAft>
                <a:spcPts val="1000"/>
              </a:spcAft>
              <a:buFontTx/>
              <a:buBlip>
                <a:blip r:embed="rId3"/>
              </a:buBlip>
              <a:defRPr sz="1400" b="1">
                <a:solidFill>
                  <a:schemeClr val="tx1"/>
                </a:solidFill>
              </a:defRPr>
            </a:lvl4pPr>
            <a:lvl5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4"/>
              </a:buBlip>
              <a:defRPr sz="1400" b="1">
                <a:solidFill>
                  <a:schemeClr val="tx1"/>
                </a:solidFill>
              </a:defRPr>
            </a:lvl5pPr>
            <a:lvl6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5"/>
              </a:buBlip>
              <a:defRPr sz="1400" b="1">
                <a:solidFill>
                  <a:schemeClr val="tx1"/>
                </a:solidFill>
              </a:defRPr>
            </a:lvl6pPr>
            <a:lvl7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6"/>
              </a:buBlip>
              <a:defRPr sz="1400" b="1">
                <a:solidFill>
                  <a:schemeClr val="tx1"/>
                </a:solidFill>
              </a:defRPr>
            </a:lvl7pPr>
            <a:lvl8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7"/>
              </a:buBlip>
              <a:defRPr sz="1400" b="1">
                <a:solidFill>
                  <a:schemeClr val="tx1"/>
                </a:solidFill>
              </a:defRPr>
            </a:lvl8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Puce bleu</a:t>
            </a:r>
          </a:p>
          <a:p>
            <a:pPr lvl="3"/>
            <a:r>
              <a:rPr lang="fr-FR" dirty="0"/>
              <a:t>Puce orange</a:t>
            </a:r>
          </a:p>
          <a:p>
            <a:pPr lvl="4"/>
            <a:r>
              <a:rPr lang="fr-FR" dirty="0"/>
              <a:t>Puce rouge</a:t>
            </a:r>
          </a:p>
          <a:p>
            <a:pPr lvl="5"/>
            <a:r>
              <a:rPr lang="fr-FR" dirty="0"/>
              <a:t>Puce vert d’eau</a:t>
            </a:r>
          </a:p>
          <a:p>
            <a:pPr lvl="6"/>
            <a:r>
              <a:rPr lang="fr-FR" dirty="0"/>
              <a:t>Puce verte</a:t>
            </a:r>
          </a:p>
          <a:p>
            <a:pPr lvl="7"/>
            <a:r>
              <a:rPr lang="fr-FR" dirty="0"/>
              <a:t>Puce violette</a:t>
            </a:r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B2156BC2-FC71-4D1F-B37F-36F71AB7D57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129050" y="0"/>
            <a:ext cx="1356852" cy="5143500"/>
          </a:xfrm>
          <a:custGeom>
            <a:avLst/>
            <a:gdLst>
              <a:gd name="connsiteX0" fmla="*/ 0 w 1508264"/>
              <a:gd name="connsiteY0" fmla="*/ 0 h 5125258"/>
              <a:gd name="connsiteX1" fmla="*/ 1508264 w 1508264"/>
              <a:gd name="connsiteY1" fmla="*/ 5160 h 5125258"/>
              <a:gd name="connsiteX2" fmla="*/ 1268913 w 1508264"/>
              <a:gd name="connsiteY2" fmla="*/ 2816519 h 5125258"/>
              <a:gd name="connsiteX3" fmla="*/ 1072354 w 1508264"/>
              <a:gd name="connsiteY3" fmla="*/ 5125258 h 5125258"/>
              <a:gd name="connsiteX4" fmla="*/ 151412 w 1508264"/>
              <a:gd name="connsiteY4" fmla="*/ 5157 h 5125258"/>
              <a:gd name="connsiteX0" fmla="*/ 0 w 1356852"/>
              <a:gd name="connsiteY0" fmla="*/ 0 h 5120101"/>
              <a:gd name="connsiteX1" fmla="*/ 1356852 w 1356852"/>
              <a:gd name="connsiteY1" fmla="*/ 3 h 5120101"/>
              <a:gd name="connsiteX2" fmla="*/ 1117501 w 1356852"/>
              <a:gd name="connsiteY2" fmla="*/ 2811362 h 5120101"/>
              <a:gd name="connsiteX3" fmla="*/ 920942 w 1356852"/>
              <a:gd name="connsiteY3" fmla="*/ 5120101 h 5120101"/>
              <a:gd name="connsiteX4" fmla="*/ 0 w 1356852"/>
              <a:gd name="connsiteY4" fmla="*/ 0 h 5120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56852" h="5120101">
                <a:moveTo>
                  <a:pt x="0" y="0"/>
                </a:moveTo>
                <a:lnTo>
                  <a:pt x="1356852" y="3"/>
                </a:lnTo>
                <a:lnTo>
                  <a:pt x="1117501" y="2811362"/>
                </a:lnTo>
                <a:lnTo>
                  <a:pt x="920942" y="5120101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alpha val="8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11" name="Titre 1">
            <a:extLst>
              <a:ext uri="{FF2B5EF4-FFF2-40B4-BE49-F238E27FC236}">
                <a16:creationId xmlns:a16="http://schemas.microsoft.com/office/drawing/2014/main" id="{77D3BAD7-91CA-45C1-8644-7B0FCB1D2E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1669" y="349390"/>
            <a:ext cx="5068800" cy="757130"/>
          </a:xfrm>
        </p:spPr>
        <p:txBody>
          <a:bodyPr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Titre de la slide</a:t>
            </a:r>
            <a:br>
              <a:rPr lang="fr-FR" dirty="0"/>
            </a:br>
            <a:r>
              <a:rPr lang="fr-FR" dirty="0"/>
              <a:t>sur deux lign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0E9C47C-828D-42F4-8D18-0AAD2F9715E8}"/>
              </a:ext>
            </a:extLst>
          </p:cNvPr>
          <p:cNvSpPr/>
          <p:nvPr userDrawn="1"/>
        </p:nvSpPr>
        <p:spPr>
          <a:xfrm>
            <a:off x="4281011" y="1246048"/>
            <a:ext cx="360000" cy="45719"/>
          </a:xfrm>
          <a:prstGeom prst="rect">
            <a:avLst/>
          </a:prstGeom>
          <a:solidFill>
            <a:srgbClr val="3A1B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71FB6C94-4C94-44CD-8E09-7270E29D7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48000" y="2811362"/>
            <a:ext cx="519702" cy="2332138"/>
          </a:xfrm>
          <a:custGeom>
            <a:avLst/>
            <a:gdLst>
              <a:gd name="connsiteX0" fmla="*/ 198551 w 519702"/>
              <a:gd name="connsiteY0" fmla="*/ 0 h 2332138"/>
              <a:gd name="connsiteX1" fmla="*/ 519702 w 519702"/>
              <a:gd name="connsiteY1" fmla="*/ 2332138 h 2332138"/>
              <a:gd name="connsiteX2" fmla="*/ 0 w 519702"/>
              <a:gd name="connsiteY2" fmla="*/ 2332138 h 2332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19702" h="2332138">
                <a:moveTo>
                  <a:pt x="198551" y="0"/>
                </a:moveTo>
                <a:lnTo>
                  <a:pt x="519702" y="2332138"/>
                </a:lnTo>
                <a:lnTo>
                  <a:pt x="0" y="233213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180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73457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1" name="Espace réservé pour une image  520">
            <a:extLst>
              <a:ext uri="{FF2B5EF4-FFF2-40B4-BE49-F238E27FC236}">
                <a16:creationId xmlns:a16="http://schemas.microsoft.com/office/drawing/2014/main" id="{B8DAB854-64EB-4DD7-A364-5485ED453A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246551" y="-1"/>
            <a:ext cx="5897449" cy="5143501"/>
          </a:xfrm>
          <a:custGeom>
            <a:avLst/>
            <a:gdLst>
              <a:gd name="connsiteX0" fmla="*/ 0 w 6088062"/>
              <a:gd name="connsiteY0" fmla="*/ 0 h 5143501"/>
              <a:gd name="connsiteX1" fmla="*/ 6088062 w 6088062"/>
              <a:gd name="connsiteY1" fmla="*/ 0 h 5143501"/>
              <a:gd name="connsiteX2" fmla="*/ 6088062 w 6088062"/>
              <a:gd name="connsiteY2" fmla="*/ 5143501 h 5143501"/>
              <a:gd name="connsiteX3" fmla="*/ 511764 w 6088062"/>
              <a:gd name="connsiteY3" fmla="*/ 5143501 h 5143501"/>
              <a:gd name="connsiteX4" fmla="*/ 190613 w 6088062"/>
              <a:gd name="connsiteY4" fmla="*/ 2811363 h 5143501"/>
              <a:gd name="connsiteX5" fmla="*/ 429964 w 6088062"/>
              <a:gd name="connsiteY5" fmla="*/ 1 h 5143501"/>
              <a:gd name="connsiteX6" fmla="*/ 0 w 6088062"/>
              <a:gd name="connsiteY6" fmla="*/ 1 h 5143501"/>
              <a:gd name="connsiteX0" fmla="*/ 0 w 6088062"/>
              <a:gd name="connsiteY0" fmla="*/ 1 h 5143501"/>
              <a:gd name="connsiteX1" fmla="*/ 6088062 w 6088062"/>
              <a:gd name="connsiteY1" fmla="*/ 0 h 5143501"/>
              <a:gd name="connsiteX2" fmla="*/ 6088062 w 6088062"/>
              <a:gd name="connsiteY2" fmla="*/ 5143501 h 5143501"/>
              <a:gd name="connsiteX3" fmla="*/ 511764 w 6088062"/>
              <a:gd name="connsiteY3" fmla="*/ 5143501 h 5143501"/>
              <a:gd name="connsiteX4" fmla="*/ 190613 w 6088062"/>
              <a:gd name="connsiteY4" fmla="*/ 2811363 h 5143501"/>
              <a:gd name="connsiteX5" fmla="*/ 429964 w 6088062"/>
              <a:gd name="connsiteY5" fmla="*/ 1 h 5143501"/>
              <a:gd name="connsiteX6" fmla="*/ 0 w 6088062"/>
              <a:gd name="connsiteY6" fmla="*/ 1 h 5143501"/>
              <a:gd name="connsiteX0" fmla="*/ 239351 w 5897449"/>
              <a:gd name="connsiteY0" fmla="*/ 1 h 5143501"/>
              <a:gd name="connsiteX1" fmla="*/ 5897449 w 5897449"/>
              <a:gd name="connsiteY1" fmla="*/ 0 h 5143501"/>
              <a:gd name="connsiteX2" fmla="*/ 5897449 w 5897449"/>
              <a:gd name="connsiteY2" fmla="*/ 5143501 h 5143501"/>
              <a:gd name="connsiteX3" fmla="*/ 321151 w 5897449"/>
              <a:gd name="connsiteY3" fmla="*/ 5143501 h 5143501"/>
              <a:gd name="connsiteX4" fmla="*/ 0 w 5897449"/>
              <a:gd name="connsiteY4" fmla="*/ 2811363 h 5143501"/>
              <a:gd name="connsiteX5" fmla="*/ 239351 w 5897449"/>
              <a:gd name="connsiteY5" fmla="*/ 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97449" h="5143501">
                <a:moveTo>
                  <a:pt x="239351" y="1"/>
                </a:moveTo>
                <a:lnTo>
                  <a:pt x="5897449" y="0"/>
                </a:lnTo>
                <a:lnTo>
                  <a:pt x="5897449" y="5143501"/>
                </a:lnTo>
                <a:lnTo>
                  <a:pt x="321151" y="5143501"/>
                </a:lnTo>
                <a:lnTo>
                  <a:pt x="0" y="2811363"/>
                </a:lnTo>
                <a:lnTo>
                  <a:pt x="239351" y="1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6CB10B59-8983-482C-BCD8-596396CF9E36}"/>
              </a:ext>
            </a:extLst>
          </p:cNvPr>
          <p:cNvGrpSpPr/>
          <p:nvPr userDrawn="1"/>
        </p:nvGrpSpPr>
        <p:grpSpPr>
          <a:xfrm>
            <a:off x="-91485" y="-107301"/>
            <a:ext cx="3580993" cy="5352842"/>
            <a:chOff x="-91485" y="-107301"/>
            <a:chExt cx="3580993" cy="5352842"/>
          </a:xfrm>
          <a:solidFill>
            <a:schemeClr val="bg2">
              <a:alpha val="5000"/>
            </a:schemeClr>
          </a:solidFill>
        </p:grpSpPr>
        <p:sp>
          <p:nvSpPr>
            <p:cNvPr id="7" name="Forme libre : forme 6">
              <a:extLst>
                <a:ext uri="{FF2B5EF4-FFF2-40B4-BE49-F238E27FC236}">
                  <a16:creationId xmlns:a16="http://schemas.microsoft.com/office/drawing/2014/main" id="{FB10E9E7-487F-4046-97FA-383A90CB2678}"/>
                </a:ext>
              </a:extLst>
            </p:cNvPr>
            <p:cNvSpPr/>
            <p:nvPr/>
          </p:nvSpPr>
          <p:spPr>
            <a:xfrm rot="8716295">
              <a:off x="3051469" y="229467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857E0B3E-CF84-4275-8769-4FA84ACE4C3B}"/>
                </a:ext>
              </a:extLst>
            </p:cNvPr>
            <p:cNvSpPr/>
            <p:nvPr/>
          </p:nvSpPr>
          <p:spPr>
            <a:xfrm rot="8716295">
              <a:off x="3141426" y="2335684"/>
              <a:ext cx="209149" cy="247728"/>
            </a:xfrm>
            <a:custGeom>
              <a:avLst/>
              <a:gdLst>
                <a:gd name="connsiteX0" fmla="*/ 147179 w 209149"/>
                <a:gd name="connsiteY0" fmla="*/ 90980 h 247728"/>
                <a:gd name="connsiteX1" fmla="*/ 147179 w 209149"/>
                <a:gd name="connsiteY1" fmla="*/ 74577 h 247728"/>
                <a:gd name="connsiteX2" fmla="*/ 137667 w 209149"/>
                <a:gd name="connsiteY2" fmla="*/ 44616 h 247728"/>
                <a:gd name="connsiteX3" fmla="*/ 132652 w 209149"/>
                <a:gd name="connsiteY3" fmla="*/ 42232 h 247728"/>
                <a:gd name="connsiteX4" fmla="*/ 167583 w 209149"/>
                <a:gd name="connsiteY4" fmla="*/ 0 h 247728"/>
                <a:gd name="connsiteX5" fmla="*/ 189157 w 209149"/>
                <a:gd name="connsiteY5" fmla="*/ 15682 h 247728"/>
                <a:gd name="connsiteX6" fmla="*/ 209149 w 209149"/>
                <a:gd name="connsiteY6" fmla="*/ 81411 h 247728"/>
                <a:gd name="connsiteX7" fmla="*/ 209149 w 209149"/>
                <a:gd name="connsiteY7" fmla="*/ 87335 h 247728"/>
                <a:gd name="connsiteX8" fmla="*/ 0 w 209149"/>
                <a:gd name="connsiteY8" fmla="*/ 247728 h 247728"/>
                <a:gd name="connsiteX9" fmla="*/ 0 w 209149"/>
                <a:gd name="connsiteY9" fmla="*/ 202611 h 247728"/>
                <a:gd name="connsiteX10" fmla="*/ 60148 w 209149"/>
                <a:gd name="connsiteY10" fmla="*/ 129891 h 247728"/>
                <a:gd name="connsiteX11" fmla="*/ 60148 w 209149"/>
                <a:gd name="connsiteY11" fmla="*/ 206719 h 24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9149" h="247728">
                  <a:moveTo>
                    <a:pt x="147179" y="90980"/>
                  </a:moveTo>
                  <a:lnTo>
                    <a:pt x="147179" y="74577"/>
                  </a:lnTo>
                  <a:cubicBezTo>
                    <a:pt x="147179" y="62273"/>
                    <a:pt x="143648" y="51907"/>
                    <a:pt x="137667" y="44616"/>
                  </a:cubicBezTo>
                  <a:lnTo>
                    <a:pt x="132652" y="42232"/>
                  </a:lnTo>
                  <a:lnTo>
                    <a:pt x="167583" y="0"/>
                  </a:lnTo>
                  <a:lnTo>
                    <a:pt x="189157" y="15682"/>
                  </a:lnTo>
                  <a:cubicBezTo>
                    <a:pt x="202086" y="30833"/>
                    <a:pt x="209149" y="53160"/>
                    <a:pt x="209149" y="81411"/>
                  </a:cubicBezTo>
                  <a:lnTo>
                    <a:pt x="209149" y="87335"/>
                  </a:lnTo>
                  <a:close/>
                  <a:moveTo>
                    <a:pt x="0" y="247728"/>
                  </a:moveTo>
                  <a:lnTo>
                    <a:pt x="0" y="202611"/>
                  </a:lnTo>
                  <a:lnTo>
                    <a:pt x="60148" y="129891"/>
                  </a:lnTo>
                  <a:lnTo>
                    <a:pt x="60148" y="20671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CA2EC427-A3CB-46EB-8802-9FA3F8105B5A}"/>
                </a:ext>
              </a:extLst>
            </p:cNvPr>
            <p:cNvSpPr/>
            <p:nvPr/>
          </p:nvSpPr>
          <p:spPr>
            <a:xfrm rot="8716295">
              <a:off x="3096011" y="2237639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474F4DDA-4FC2-4669-AB5F-02BB5506B529}"/>
                </a:ext>
              </a:extLst>
            </p:cNvPr>
            <p:cNvSpPr/>
            <p:nvPr/>
          </p:nvSpPr>
          <p:spPr>
            <a:xfrm rot="8716295">
              <a:off x="2939235" y="238322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D8FF9A2A-12F4-4D4A-838C-2EA6068FA2AB}"/>
                </a:ext>
              </a:extLst>
            </p:cNvPr>
            <p:cNvSpPr/>
            <p:nvPr/>
          </p:nvSpPr>
          <p:spPr>
            <a:xfrm rot="8716295">
              <a:off x="2814332" y="217454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56247F38-2BB4-4C4A-A842-2BBC34C00B4B}"/>
                </a:ext>
              </a:extLst>
            </p:cNvPr>
            <p:cNvSpPr/>
            <p:nvPr/>
          </p:nvSpPr>
          <p:spPr>
            <a:xfrm rot="8716295">
              <a:off x="2802280" y="203576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6B40DCDD-1ED3-48EB-9DB0-DEE21DA8FE29}"/>
                </a:ext>
              </a:extLst>
            </p:cNvPr>
            <p:cNvSpPr/>
            <p:nvPr/>
          </p:nvSpPr>
          <p:spPr>
            <a:xfrm rot="8716295">
              <a:off x="3029413" y="2424173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EEC2D8FD-062C-4F42-B8C0-F129DEB5F20C}"/>
                </a:ext>
              </a:extLst>
            </p:cNvPr>
            <p:cNvSpPr/>
            <p:nvPr/>
          </p:nvSpPr>
          <p:spPr>
            <a:xfrm rot="8716295">
              <a:off x="3300250" y="2118999"/>
              <a:ext cx="9515" cy="11504"/>
            </a:xfrm>
            <a:custGeom>
              <a:avLst/>
              <a:gdLst>
                <a:gd name="connsiteX0" fmla="*/ 0 w 9515"/>
                <a:gd name="connsiteY0" fmla="*/ 11504 h 11504"/>
                <a:gd name="connsiteX1" fmla="*/ 9515 w 9515"/>
                <a:gd name="connsiteY1" fmla="*/ 0 h 11504"/>
                <a:gd name="connsiteX2" fmla="*/ 9515 w 9515"/>
                <a:gd name="connsiteY2" fmla="*/ 7741 h 11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15" h="11504">
                  <a:moveTo>
                    <a:pt x="0" y="11504"/>
                  </a:moveTo>
                  <a:lnTo>
                    <a:pt x="9515" y="0"/>
                  </a:lnTo>
                  <a:lnTo>
                    <a:pt x="9515" y="77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15A33F8C-9B7A-4D6A-854E-3D326335591D}"/>
                </a:ext>
              </a:extLst>
            </p:cNvPr>
            <p:cNvSpPr/>
            <p:nvPr/>
          </p:nvSpPr>
          <p:spPr>
            <a:xfrm rot="8716295">
              <a:off x="3228334" y="213306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949EEDA1-3E93-4DFB-8B0F-8D57B83C540E}"/>
                </a:ext>
              </a:extLst>
            </p:cNvPr>
            <p:cNvSpPr/>
            <p:nvPr/>
          </p:nvSpPr>
          <p:spPr>
            <a:xfrm rot="8716295">
              <a:off x="3098921" y="1924310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44680 h 195874"/>
                <a:gd name="connsiteX5" fmla="*/ 36955 w 203847"/>
                <a:gd name="connsiteY5" fmla="*/ 0 h 195874"/>
                <a:gd name="connsiteX6" fmla="*/ 203847 w 203847"/>
                <a:gd name="connsiteY6" fmla="*/ 0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44680"/>
                  </a:lnTo>
                  <a:lnTo>
                    <a:pt x="36955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513E3AB2-D8F3-4D40-BC3C-53ABB60A2331}"/>
                </a:ext>
              </a:extLst>
            </p:cNvPr>
            <p:cNvSpPr/>
            <p:nvPr/>
          </p:nvSpPr>
          <p:spPr>
            <a:xfrm rot="8716295">
              <a:off x="3275349" y="2211673"/>
              <a:ext cx="24727" cy="53686"/>
            </a:xfrm>
            <a:custGeom>
              <a:avLst/>
              <a:gdLst>
                <a:gd name="connsiteX0" fmla="*/ 24727 w 24727"/>
                <a:gd name="connsiteY0" fmla="*/ 53686 h 53686"/>
                <a:gd name="connsiteX1" fmla="*/ 0 w 24727"/>
                <a:gd name="connsiteY1" fmla="*/ 29895 h 53686"/>
                <a:gd name="connsiteX2" fmla="*/ 24727 w 24727"/>
                <a:gd name="connsiteY2" fmla="*/ 0 h 53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27" h="53686">
                  <a:moveTo>
                    <a:pt x="24727" y="53686"/>
                  </a:moveTo>
                  <a:lnTo>
                    <a:pt x="0" y="29895"/>
                  </a:lnTo>
                  <a:lnTo>
                    <a:pt x="2472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69A3C0F4-2579-479E-90C6-255E973C947C}"/>
                </a:ext>
              </a:extLst>
            </p:cNvPr>
            <p:cNvSpPr/>
            <p:nvPr/>
          </p:nvSpPr>
          <p:spPr>
            <a:xfrm rot="8716295">
              <a:off x="3077061" y="202442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9022B708-F9CE-40AF-852D-9A004CAB7675}"/>
                </a:ext>
              </a:extLst>
            </p:cNvPr>
            <p:cNvSpPr/>
            <p:nvPr/>
          </p:nvSpPr>
          <p:spPr>
            <a:xfrm rot="8716295">
              <a:off x="3162402" y="30429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19F4F78B-5673-4710-BAF3-3B1975D1B861}"/>
                </a:ext>
              </a:extLst>
            </p:cNvPr>
            <p:cNvSpPr/>
            <p:nvPr/>
          </p:nvSpPr>
          <p:spPr>
            <a:xfrm rot="8716295">
              <a:off x="3033531" y="2835902"/>
              <a:ext cx="197743" cy="195873"/>
            </a:xfrm>
            <a:custGeom>
              <a:avLst/>
              <a:gdLst>
                <a:gd name="connsiteX0" fmla="*/ 84606 w 197743"/>
                <a:gd name="connsiteY0" fmla="*/ 195873 h 195873"/>
                <a:gd name="connsiteX1" fmla="*/ 41743 w 197743"/>
                <a:gd name="connsiteY1" fmla="*/ 116129 h 195873"/>
                <a:gd name="connsiteX2" fmla="*/ 63673 w 197743"/>
                <a:gd name="connsiteY2" fmla="*/ 55323 h 195873"/>
                <a:gd name="connsiteX3" fmla="*/ 0 w 197743"/>
                <a:gd name="connsiteY3" fmla="*/ 55323 h 195873"/>
                <a:gd name="connsiteX4" fmla="*/ 45759 w 197743"/>
                <a:gd name="connsiteY4" fmla="*/ 0 h 195873"/>
                <a:gd name="connsiteX5" fmla="*/ 197743 w 197743"/>
                <a:gd name="connsiteY5" fmla="*/ 0 h 195873"/>
                <a:gd name="connsiteX6" fmla="*/ 197743 w 197743"/>
                <a:gd name="connsiteY6" fmla="*/ 55323 h 195873"/>
                <a:gd name="connsiteX7" fmla="*/ 132951 w 197743"/>
                <a:gd name="connsiteY7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7743" h="195873">
                  <a:moveTo>
                    <a:pt x="84606" y="195873"/>
                  </a:moveTo>
                  <a:lnTo>
                    <a:pt x="41743" y="116129"/>
                  </a:lnTo>
                  <a:lnTo>
                    <a:pt x="63673" y="55323"/>
                  </a:lnTo>
                  <a:lnTo>
                    <a:pt x="0" y="55323"/>
                  </a:lnTo>
                  <a:lnTo>
                    <a:pt x="45759" y="0"/>
                  </a:lnTo>
                  <a:lnTo>
                    <a:pt x="197743" y="0"/>
                  </a:lnTo>
                  <a:lnTo>
                    <a:pt x="197743" y="55323"/>
                  </a:lnTo>
                  <a:lnTo>
                    <a:pt x="132951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0BB66207-2F6B-4469-9703-071564C7D57B}"/>
                </a:ext>
              </a:extLst>
            </p:cNvPr>
            <p:cNvSpPr/>
            <p:nvPr/>
          </p:nvSpPr>
          <p:spPr>
            <a:xfrm rot="8716295">
              <a:off x="2982649" y="2705505"/>
              <a:ext cx="289489" cy="211444"/>
            </a:xfrm>
            <a:custGeom>
              <a:avLst/>
              <a:gdLst>
                <a:gd name="connsiteX0" fmla="*/ 24145 w 289489"/>
                <a:gd name="connsiteY0" fmla="*/ 181853 h 211444"/>
                <a:gd name="connsiteX1" fmla="*/ 3994 w 289489"/>
                <a:gd name="connsiteY1" fmla="*/ 142066 h 211444"/>
                <a:gd name="connsiteX2" fmla="*/ 0 w 289489"/>
                <a:gd name="connsiteY2" fmla="*/ 94419 h 211444"/>
                <a:gd name="connsiteX3" fmla="*/ 78096 w 289489"/>
                <a:gd name="connsiteY3" fmla="*/ 0 h 211444"/>
                <a:gd name="connsiteX4" fmla="*/ 78273 w 289489"/>
                <a:gd name="connsiteY4" fmla="*/ 24764 h 211444"/>
                <a:gd name="connsiteX5" fmla="*/ 92393 w 289489"/>
                <a:gd name="connsiteY5" fmla="*/ 122430 h 211444"/>
                <a:gd name="connsiteX6" fmla="*/ 162994 w 289489"/>
                <a:gd name="connsiteY6" fmla="*/ 161261 h 211444"/>
                <a:gd name="connsiteX7" fmla="*/ 215946 w 289489"/>
                <a:gd name="connsiteY7" fmla="*/ 151847 h 211444"/>
                <a:gd name="connsiteX8" fmla="*/ 288313 w 289489"/>
                <a:gd name="connsiteY8" fmla="*/ 122430 h 211444"/>
                <a:gd name="connsiteX9" fmla="*/ 289489 w 289489"/>
                <a:gd name="connsiteY9" fmla="*/ 130078 h 211444"/>
                <a:gd name="connsiteX10" fmla="*/ 289489 w 289489"/>
                <a:gd name="connsiteY10" fmla="*/ 135962 h 211444"/>
                <a:gd name="connsiteX11" fmla="*/ 96512 w 289489"/>
                <a:gd name="connsiteY11" fmla="*/ 211270 h 211444"/>
                <a:gd name="connsiteX12" fmla="*/ 24145 w 289489"/>
                <a:gd name="connsiteY12" fmla="*/ 181853 h 211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9489" h="211444">
                  <a:moveTo>
                    <a:pt x="24145" y="181853"/>
                  </a:moveTo>
                  <a:cubicBezTo>
                    <a:pt x="14143" y="172145"/>
                    <a:pt x="7818" y="158907"/>
                    <a:pt x="3994" y="142066"/>
                  </a:cubicBezTo>
                  <a:lnTo>
                    <a:pt x="0" y="94419"/>
                  </a:lnTo>
                  <a:lnTo>
                    <a:pt x="78096" y="0"/>
                  </a:lnTo>
                  <a:lnTo>
                    <a:pt x="78273" y="24764"/>
                  </a:lnTo>
                  <a:cubicBezTo>
                    <a:pt x="76508" y="57712"/>
                    <a:pt x="81803" y="91247"/>
                    <a:pt x="92393" y="122430"/>
                  </a:cubicBezTo>
                  <a:cubicBezTo>
                    <a:pt x="101807" y="148317"/>
                    <a:pt x="125929" y="161261"/>
                    <a:pt x="162994" y="161261"/>
                  </a:cubicBezTo>
                  <a:cubicBezTo>
                    <a:pt x="181234" y="160672"/>
                    <a:pt x="198884" y="157142"/>
                    <a:pt x="215946" y="151847"/>
                  </a:cubicBezTo>
                  <a:cubicBezTo>
                    <a:pt x="240656" y="144198"/>
                    <a:pt x="264779" y="134197"/>
                    <a:pt x="288313" y="122430"/>
                  </a:cubicBezTo>
                  <a:cubicBezTo>
                    <a:pt x="288901" y="124783"/>
                    <a:pt x="289489" y="127725"/>
                    <a:pt x="289489" y="130078"/>
                  </a:cubicBezTo>
                  <a:lnTo>
                    <a:pt x="289489" y="135962"/>
                  </a:lnTo>
                  <a:cubicBezTo>
                    <a:pt x="227125" y="189501"/>
                    <a:pt x="145344" y="208329"/>
                    <a:pt x="96512" y="211270"/>
                  </a:cubicBezTo>
                  <a:cubicBezTo>
                    <a:pt x="69448" y="213035"/>
                    <a:pt x="42972" y="201268"/>
                    <a:pt x="24145" y="18185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4BE2CE41-0D24-49C7-BC05-1CA24F174056}"/>
                </a:ext>
              </a:extLst>
            </p:cNvPr>
            <p:cNvSpPr/>
            <p:nvPr/>
          </p:nvSpPr>
          <p:spPr>
            <a:xfrm rot="8716295">
              <a:off x="3205022" y="3125495"/>
              <a:ext cx="16424" cy="35661"/>
            </a:xfrm>
            <a:custGeom>
              <a:avLst/>
              <a:gdLst>
                <a:gd name="connsiteX0" fmla="*/ 16424 w 16424"/>
                <a:gd name="connsiteY0" fmla="*/ 35661 h 35661"/>
                <a:gd name="connsiteX1" fmla="*/ 0 w 16424"/>
                <a:gd name="connsiteY1" fmla="*/ 19858 h 35661"/>
                <a:gd name="connsiteX2" fmla="*/ 16424 w 16424"/>
                <a:gd name="connsiteY2" fmla="*/ 0 h 35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24" h="35661">
                  <a:moveTo>
                    <a:pt x="16424" y="35661"/>
                  </a:moveTo>
                  <a:lnTo>
                    <a:pt x="0" y="19858"/>
                  </a:lnTo>
                  <a:lnTo>
                    <a:pt x="16424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3C113F76-2275-4CD3-8629-730BFE6915AD}"/>
                </a:ext>
              </a:extLst>
            </p:cNvPr>
            <p:cNvSpPr/>
            <p:nvPr/>
          </p:nvSpPr>
          <p:spPr>
            <a:xfrm rot="8716295">
              <a:off x="2829951" y="16337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7B2BDFC9-A5B6-45EA-A262-AC19DCF358A2}"/>
                </a:ext>
              </a:extLst>
            </p:cNvPr>
            <p:cNvSpPr/>
            <p:nvPr/>
          </p:nvSpPr>
          <p:spPr>
            <a:xfrm rot="8716295">
              <a:off x="2919343" y="16629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2A249ED1-9FC2-465F-B1C2-CE832E06DAAB}"/>
                </a:ext>
              </a:extLst>
            </p:cNvPr>
            <p:cNvSpPr/>
            <p:nvPr/>
          </p:nvSpPr>
          <p:spPr>
            <a:xfrm rot="8716295">
              <a:off x="2874493" y="157666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D737513C-09E2-4A85-9268-7028FEA47AEC}"/>
                </a:ext>
              </a:extLst>
            </p:cNvPr>
            <p:cNvSpPr/>
            <p:nvPr/>
          </p:nvSpPr>
          <p:spPr>
            <a:xfrm rot="8716295">
              <a:off x="2717717" y="172224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B6E113ED-200A-42D1-8A9B-64F2EA6FEC37}"/>
                </a:ext>
              </a:extLst>
            </p:cNvPr>
            <p:cNvSpPr/>
            <p:nvPr/>
          </p:nvSpPr>
          <p:spPr>
            <a:xfrm rot="8716295">
              <a:off x="2592814" y="151357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C7386AEF-343D-4F67-937B-2D8AE784432C}"/>
                </a:ext>
              </a:extLst>
            </p:cNvPr>
            <p:cNvSpPr/>
            <p:nvPr/>
          </p:nvSpPr>
          <p:spPr>
            <a:xfrm rot="8716295">
              <a:off x="2580762" y="137479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D18230E6-6046-4801-9551-295B7C3DC9AE}"/>
                </a:ext>
              </a:extLst>
            </p:cNvPr>
            <p:cNvSpPr/>
            <p:nvPr/>
          </p:nvSpPr>
          <p:spPr>
            <a:xfrm rot="8716295">
              <a:off x="2807895" y="176319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AA767CF2-B25B-4F2C-8315-830DDA4419B8}"/>
                </a:ext>
              </a:extLst>
            </p:cNvPr>
            <p:cNvSpPr/>
            <p:nvPr/>
          </p:nvSpPr>
          <p:spPr>
            <a:xfrm rot="8716295">
              <a:off x="3119050" y="138355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AAABA641-3338-40FA-9C39-41C30A22033E}"/>
                </a:ext>
              </a:extLst>
            </p:cNvPr>
            <p:cNvSpPr/>
            <p:nvPr/>
          </p:nvSpPr>
          <p:spPr>
            <a:xfrm rot="8716295">
              <a:off x="3209851" y="1424295"/>
              <a:ext cx="209149" cy="250692"/>
            </a:xfrm>
            <a:custGeom>
              <a:avLst/>
              <a:gdLst>
                <a:gd name="connsiteX0" fmla="*/ 147179 w 209149"/>
                <a:gd name="connsiteY0" fmla="*/ 93944 h 250692"/>
                <a:gd name="connsiteX1" fmla="*/ 147179 w 209149"/>
                <a:gd name="connsiteY1" fmla="*/ 77540 h 250692"/>
                <a:gd name="connsiteX2" fmla="*/ 137667 w 209149"/>
                <a:gd name="connsiteY2" fmla="*/ 47580 h 250692"/>
                <a:gd name="connsiteX3" fmla="*/ 123379 w 209149"/>
                <a:gd name="connsiteY3" fmla="*/ 40789 h 250692"/>
                <a:gd name="connsiteX4" fmla="*/ 157117 w 209149"/>
                <a:gd name="connsiteY4" fmla="*/ 0 h 250692"/>
                <a:gd name="connsiteX5" fmla="*/ 165512 w 209149"/>
                <a:gd name="connsiteY5" fmla="*/ 1459 h 250692"/>
                <a:gd name="connsiteX6" fmla="*/ 209149 w 209149"/>
                <a:gd name="connsiteY6" fmla="*/ 84375 h 250692"/>
                <a:gd name="connsiteX7" fmla="*/ 209149 w 209149"/>
                <a:gd name="connsiteY7" fmla="*/ 90299 h 250692"/>
                <a:gd name="connsiteX8" fmla="*/ 0 w 209149"/>
                <a:gd name="connsiteY8" fmla="*/ 250692 h 250692"/>
                <a:gd name="connsiteX9" fmla="*/ 0 w 209149"/>
                <a:gd name="connsiteY9" fmla="*/ 189958 h 250692"/>
                <a:gd name="connsiteX10" fmla="*/ 61066 w 209149"/>
                <a:gd name="connsiteY10" fmla="*/ 116127 h 250692"/>
                <a:gd name="connsiteX11" fmla="*/ 60148 w 209149"/>
                <a:gd name="connsiteY11" fmla="*/ 123562 h 250692"/>
                <a:gd name="connsiteX12" fmla="*/ 60148 w 209149"/>
                <a:gd name="connsiteY12" fmla="*/ 209683 h 250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9149" h="250692">
                  <a:moveTo>
                    <a:pt x="147179" y="93944"/>
                  </a:moveTo>
                  <a:lnTo>
                    <a:pt x="147179" y="77540"/>
                  </a:lnTo>
                  <a:cubicBezTo>
                    <a:pt x="147179" y="65237"/>
                    <a:pt x="143648" y="54871"/>
                    <a:pt x="137667" y="47580"/>
                  </a:cubicBezTo>
                  <a:lnTo>
                    <a:pt x="123379" y="40789"/>
                  </a:lnTo>
                  <a:lnTo>
                    <a:pt x="157117" y="0"/>
                  </a:lnTo>
                  <a:lnTo>
                    <a:pt x="165512" y="1459"/>
                  </a:lnTo>
                  <a:cubicBezTo>
                    <a:pt x="193258" y="12950"/>
                    <a:pt x="209149" y="41998"/>
                    <a:pt x="209149" y="84375"/>
                  </a:cubicBezTo>
                  <a:lnTo>
                    <a:pt x="209149" y="90299"/>
                  </a:lnTo>
                  <a:close/>
                  <a:moveTo>
                    <a:pt x="0" y="250692"/>
                  </a:moveTo>
                  <a:lnTo>
                    <a:pt x="0" y="189958"/>
                  </a:lnTo>
                  <a:lnTo>
                    <a:pt x="61066" y="116127"/>
                  </a:lnTo>
                  <a:lnTo>
                    <a:pt x="60148" y="123562"/>
                  </a:lnTo>
                  <a:lnTo>
                    <a:pt x="60148" y="2096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B2896D46-0FA6-4563-B073-9C0C36686641}"/>
                </a:ext>
              </a:extLst>
            </p:cNvPr>
            <p:cNvSpPr/>
            <p:nvPr/>
          </p:nvSpPr>
          <p:spPr>
            <a:xfrm rot="8716295">
              <a:off x="3006816" y="147209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6EEB717B-FEDB-4989-BE8E-3CB6F80A9A3D}"/>
                </a:ext>
              </a:extLst>
            </p:cNvPr>
            <p:cNvSpPr/>
            <p:nvPr/>
          </p:nvSpPr>
          <p:spPr>
            <a:xfrm rot="8716295">
              <a:off x="2881914" y="126342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F9A3D111-F2E6-4EEC-BA5F-E3F48E1BC144}"/>
                </a:ext>
              </a:extLst>
            </p:cNvPr>
            <p:cNvSpPr/>
            <p:nvPr/>
          </p:nvSpPr>
          <p:spPr>
            <a:xfrm rot="8716295">
              <a:off x="3096994" y="151304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F60E79F3-84EF-445B-800D-9716EB35B924}"/>
                </a:ext>
              </a:extLst>
            </p:cNvPr>
            <p:cNvSpPr/>
            <p:nvPr/>
          </p:nvSpPr>
          <p:spPr>
            <a:xfrm rot="8716295">
              <a:off x="2855543" y="136344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FDB4A4C0-E883-499D-A6D3-A301318DCD73}"/>
                </a:ext>
              </a:extLst>
            </p:cNvPr>
            <p:cNvSpPr/>
            <p:nvPr/>
          </p:nvSpPr>
          <p:spPr>
            <a:xfrm rot="7484129">
              <a:off x="3207325" y="1725125"/>
              <a:ext cx="156001" cy="194030"/>
            </a:xfrm>
            <a:custGeom>
              <a:avLst/>
              <a:gdLst>
                <a:gd name="connsiteX0" fmla="*/ 42863 w 156001"/>
                <a:gd name="connsiteY0" fmla="*/ 194030 h 194030"/>
                <a:gd name="connsiteX1" fmla="*/ 0 w 156001"/>
                <a:gd name="connsiteY1" fmla="*/ 114286 h 194030"/>
                <a:gd name="connsiteX2" fmla="*/ 11232 w 156001"/>
                <a:gd name="connsiteY2" fmla="*/ 83143 h 194030"/>
                <a:gd name="connsiteX3" fmla="*/ 156000 w 156001"/>
                <a:gd name="connsiteY3" fmla="*/ 0 h 194030"/>
                <a:gd name="connsiteX4" fmla="*/ 156001 w 156001"/>
                <a:gd name="connsiteY4" fmla="*/ 53480 h 194030"/>
                <a:gd name="connsiteX5" fmla="*/ 91208 w 156001"/>
                <a:gd name="connsiteY5" fmla="*/ 53480 h 194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6001" h="194030">
                  <a:moveTo>
                    <a:pt x="42863" y="194030"/>
                  </a:moveTo>
                  <a:lnTo>
                    <a:pt x="0" y="114286"/>
                  </a:lnTo>
                  <a:lnTo>
                    <a:pt x="11232" y="83143"/>
                  </a:lnTo>
                  <a:lnTo>
                    <a:pt x="156000" y="0"/>
                  </a:lnTo>
                  <a:lnTo>
                    <a:pt x="156001" y="53480"/>
                  </a:lnTo>
                  <a:lnTo>
                    <a:pt x="91208" y="5348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0B787B40-9B3B-4DF6-B826-D34E59D7A748}"/>
                </a:ext>
              </a:extLst>
            </p:cNvPr>
            <p:cNvSpPr/>
            <p:nvPr/>
          </p:nvSpPr>
          <p:spPr>
            <a:xfrm rot="8716295">
              <a:off x="3197279" y="140587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0A8098AC-35DA-4C71-BDFA-C584261AED79}"/>
                </a:ext>
              </a:extLst>
            </p:cNvPr>
            <p:cNvSpPr/>
            <p:nvPr/>
          </p:nvSpPr>
          <p:spPr>
            <a:xfrm rot="8716295">
              <a:off x="3356472" y="1273070"/>
              <a:ext cx="38162" cy="46138"/>
            </a:xfrm>
            <a:custGeom>
              <a:avLst/>
              <a:gdLst>
                <a:gd name="connsiteX0" fmla="*/ 0 w 38162"/>
                <a:gd name="connsiteY0" fmla="*/ 46138 h 46138"/>
                <a:gd name="connsiteX1" fmla="*/ 38162 w 38162"/>
                <a:gd name="connsiteY1" fmla="*/ 0 h 46138"/>
                <a:gd name="connsiteX2" fmla="*/ 35645 w 38162"/>
                <a:gd name="connsiteY2" fmla="*/ 12962 h 46138"/>
                <a:gd name="connsiteX3" fmla="*/ 22710 w 38162"/>
                <a:gd name="connsiteY3" fmla="*/ 32494 h 46138"/>
                <a:gd name="connsiteX4" fmla="*/ 3739 w 38162"/>
                <a:gd name="connsiteY4" fmla="*/ 45372 h 46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62" h="46138">
                  <a:moveTo>
                    <a:pt x="0" y="46138"/>
                  </a:moveTo>
                  <a:lnTo>
                    <a:pt x="38162" y="0"/>
                  </a:lnTo>
                  <a:lnTo>
                    <a:pt x="35645" y="12962"/>
                  </a:lnTo>
                  <a:cubicBezTo>
                    <a:pt x="32771" y="20076"/>
                    <a:pt x="28459" y="26745"/>
                    <a:pt x="22710" y="32494"/>
                  </a:cubicBezTo>
                  <a:cubicBezTo>
                    <a:pt x="17191" y="38013"/>
                    <a:pt x="10753" y="42382"/>
                    <a:pt x="3739" y="4537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C5475FFB-2FE6-47F1-ADB1-3564B7362FBC}"/>
                </a:ext>
              </a:extLst>
            </p:cNvPr>
            <p:cNvSpPr/>
            <p:nvPr/>
          </p:nvSpPr>
          <p:spPr>
            <a:xfrm rot="8716295">
              <a:off x="2606784" y="97400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9DEC1430-749E-4073-9884-D3917B891663}"/>
                </a:ext>
              </a:extLst>
            </p:cNvPr>
            <p:cNvSpPr/>
            <p:nvPr/>
          </p:nvSpPr>
          <p:spPr>
            <a:xfrm rot="8716295">
              <a:off x="2696176" y="100324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626F965F-1168-4906-A312-B88FB685E6C8}"/>
                </a:ext>
              </a:extLst>
            </p:cNvPr>
            <p:cNvSpPr/>
            <p:nvPr/>
          </p:nvSpPr>
          <p:spPr>
            <a:xfrm rot="8716295">
              <a:off x="2651326" y="91696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63FEE4FF-1D87-4CAE-9FA8-9CF6A9D96EFB}"/>
                </a:ext>
              </a:extLst>
            </p:cNvPr>
            <p:cNvSpPr/>
            <p:nvPr/>
          </p:nvSpPr>
          <p:spPr>
            <a:xfrm rot="8716295">
              <a:off x="2494550" y="106254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BC11557D-3B0F-4F99-BB1C-10D4CD358771}"/>
                </a:ext>
              </a:extLst>
            </p:cNvPr>
            <p:cNvSpPr/>
            <p:nvPr/>
          </p:nvSpPr>
          <p:spPr>
            <a:xfrm rot="8716295">
              <a:off x="2369647" y="85387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1BF9B5DD-16B3-4C9A-A0CB-19167186C695}"/>
                </a:ext>
              </a:extLst>
            </p:cNvPr>
            <p:cNvSpPr/>
            <p:nvPr/>
          </p:nvSpPr>
          <p:spPr>
            <a:xfrm rot="8716295">
              <a:off x="2357595" y="71509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4BDAD41E-2E62-46D5-8972-DD9B42CE139E}"/>
                </a:ext>
              </a:extLst>
            </p:cNvPr>
            <p:cNvSpPr/>
            <p:nvPr/>
          </p:nvSpPr>
          <p:spPr>
            <a:xfrm rot="8716295">
              <a:off x="2584728" y="110350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49E7137B-1AE9-4612-BDE2-1AD75C253D82}"/>
                </a:ext>
              </a:extLst>
            </p:cNvPr>
            <p:cNvSpPr/>
            <p:nvPr/>
          </p:nvSpPr>
          <p:spPr>
            <a:xfrm rot="8716295">
              <a:off x="2895883" y="72385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FB51623D-A683-4809-B6F7-B7284C8425E7}"/>
                </a:ext>
              </a:extLst>
            </p:cNvPr>
            <p:cNvSpPr/>
            <p:nvPr/>
          </p:nvSpPr>
          <p:spPr>
            <a:xfrm rot="8716295">
              <a:off x="2985275" y="75309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281173AB-108D-4FE0-B6D3-50708833EE4A}"/>
                </a:ext>
              </a:extLst>
            </p:cNvPr>
            <p:cNvSpPr/>
            <p:nvPr/>
          </p:nvSpPr>
          <p:spPr>
            <a:xfrm rot="8716295">
              <a:off x="2783649" y="81239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BF07C4A0-5324-4C7F-B4EC-CC1184768828}"/>
                </a:ext>
              </a:extLst>
            </p:cNvPr>
            <p:cNvSpPr/>
            <p:nvPr/>
          </p:nvSpPr>
          <p:spPr>
            <a:xfrm rot="8716295">
              <a:off x="2658747" y="60372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6C1ACB1E-5691-49AE-AB29-06C5DC240D79}"/>
                </a:ext>
              </a:extLst>
            </p:cNvPr>
            <p:cNvSpPr/>
            <p:nvPr/>
          </p:nvSpPr>
          <p:spPr>
            <a:xfrm rot="8716295">
              <a:off x="2873827" y="85334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BBA32666-AB2E-4FC3-AC66-C412DC6DB6FE}"/>
                </a:ext>
              </a:extLst>
            </p:cNvPr>
            <p:cNvSpPr/>
            <p:nvPr/>
          </p:nvSpPr>
          <p:spPr>
            <a:xfrm rot="8716295">
              <a:off x="2632376" y="70374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446CB3B3-0538-4236-9A2B-B81F3C70F649}"/>
                </a:ext>
              </a:extLst>
            </p:cNvPr>
            <p:cNvSpPr/>
            <p:nvPr/>
          </p:nvSpPr>
          <p:spPr>
            <a:xfrm rot="7484129">
              <a:off x="2978758" y="10446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6FEF6605-DD46-4B6F-9434-E75F685EB3F1}"/>
                </a:ext>
              </a:extLst>
            </p:cNvPr>
            <p:cNvSpPr/>
            <p:nvPr/>
          </p:nvSpPr>
          <p:spPr>
            <a:xfrm rot="13089394">
              <a:off x="3083578" y="101123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5FAEA535-E5DC-4ECD-AC87-B4CF523A4E30}"/>
                </a:ext>
              </a:extLst>
            </p:cNvPr>
            <p:cNvSpPr/>
            <p:nvPr/>
          </p:nvSpPr>
          <p:spPr>
            <a:xfrm rot="8716295">
              <a:off x="3269163" y="81955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C4FD16EB-0DAD-4759-8354-258732BCDC6A}"/>
                </a:ext>
              </a:extLst>
            </p:cNvPr>
            <p:cNvSpPr/>
            <p:nvPr/>
          </p:nvSpPr>
          <p:spPr>
            <a:xfrm rot="8716295">
              <a:off x="3217358" y="71595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C79D5733-4C6C-4FFD-A38D-A89F64FE54C8}"/>
                </a:ext>
              </a:extLst>
            </p:cNvPr>
            <p:cNvSpPr/>
            <p:nvPr/>
          </p:nvSpPr>
          <p:spPr>
            <a:xfrm rot="8716295">
              <a:off x="2974112" y="74618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133AF81E-5F8E-4D81-87C0-011CC96E3CC9}"/>
                </a:ext>
              </a:extLst>
            </p:cNvPr>
            <p:cNvSpPr/>
            <p:nvPr/>
          </p:nvSpPr>
          <p:spPr>
            <a:xfrm rot="8716295">
              <a:off x="3151564" y="58693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F5BAA1B0-C7A6-44B2-8867-FEAE18AC26E8}"/>
                </a:ext>
              </a:extLst>
            </p:cNvPr>
            <p:cNvSpPr/>
            <p:nvPr/>
          </p:nvSpPr>
          <p:spPr>
            <a:xfrm rot="8716295">
              <a:off x="2387845" y="31194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orme libre : forme 58">
              <a:extLst>
                <a:ext uri="{FF2B5EF4-FFF2-40B4-BE49-F238E27FC236}">
                  <a16:creationId xmlns:a16="http://schemas.microsoft.com/office/drawing/2014/main" id="{B51F8FF7-DB45-4A7D-B87B-E8E0B15A9D38}"/>
                </a:ext>
              </a:extLst>
            </p:cNvPr>
            <p:cNvSpPr/>
            <p:nvPr/>
          </p:nvSpPr>
          <p:spPr>
            <a:xfrm rot="8716295">
              <a:off x="2477237" y="34118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orme libre : forme 59">
              <a:extLst>
                <a:ext uri="{FF2B5EF4-FFF2-40B4-BE49-F238E27FC236}">
                  <a16:creationId xmlns:a16="http://schemas.microsoft.com/office/drawing/2014/main" id="{1950BE25-03A0-4561-B14B-331445B0D0C3}"/>
                </a:ext>
              </a:extLst>
            </p:cNvPr>
            <p:cNvSpPr/>
            <p:nvPr/>
          </p:nvSpPr>
          <p:spPr>
            <a:xfrm rot="8716295">
              <a:off x="2432387" y="254908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orme libre : forme 60">
              <a:extLst>
                <a:ext uri="{FF2B5EF4-FFF2-40B4-BE49-F238E27FC236}">
                  <a16:creationId xmlns:a16="http://schemas.microsoft.com/office/drawing/2014/main" id="{1E041962-91AE-4D89-B179-1A31E1910CF1}"/>
                </a:ext>
              </a:extLst>
            </p:cNvPr>
            <p:cNvSpPr/>
            <p:nvPr/>
          </p:nvSpPr>
          <p:spPr>
            <a:xfrm rot="8716295">
              <a:off x="2275611" y="40049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orme libre : forme 61">
              <a:extLst>
                <a:ext uri="{FF2B5EF4-FFF2-40B4-BE49-F238E27FC236}">
                  <a16:creationId xmlns:a16="http://schemas.microsoft.com/office/drawing/2014/main" id="{376CFCCF-38DC-4A35-AA3F-E03998AD805A}"/>
                </a:ext>
              </a:extLst>
            </p:cNvPr>
            <p:cNvSpPr/>
            <p:nvPr/>
          </p:nvSpPr>
          <p:spPr>
            <a:xfrm rot="8716295">
              <a:off x="2150708" y="19181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orme libre : forme 62">
              <a:extLst>
                <a:ext uri="{FF2B5EF4-FFF2-40B4-BE49-F238E27FC236}">
                  <a16:creationId xmlns:a16="http://schemas.microsoft.com/office/drawing/2014/main" id="{68D158FE-3FEF-4222-A8A6-28BC2EB41760}"/>
                </a:ext>
              </a:extLst>
            </p:cNvPr>
            <p:cNvSpPr/>
            <p:nvPr/>
          </p:nvSpPr>
          <p:spPr>
            <a:xfrm rot="8716295">
              <a:off x="2138656" y="53037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orme libre : forme 63">
              <a:extLst>
                <a:ext uri="{FF2B5EF4-FFF2-40B4-BE49-F238E27FC236}">
                  <a16:creationId xmlns:a16="http://schemas.microsoft.com/office/drawing/2014/main" id="{DC9E9862-78FC-4213-B2E2-61DF3173636D}"/>
                </a:ext>
              </a:extLst>
            </p:cNvPr>
            <p:cNvSpPr/>
            <p:nvPr/>
          </p:nvSpPr>
          <p:spPr>
            <a:xfrm rot="8716295">
              <a:off x="2365789" y="441442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orme libre : forme 64">
              <a:extLst>
                <a:ext uri="{FF2B5EF4-FFF2-40B4-BE49-F238E27FC236}">
                  <a16:creationId xmlns:a16="http://schemas.microsoft.com/office/drawing/2014/main" id="{8722DBD7-5E81-4E3D-870A-6CD5E129D96B}"/>
                </a:ext>
              </a:extLst>
            </p:cNvPr>
            <p:cNvSpPr/>
            <p:nvPr/>
          </p:nvSpPr>
          <p:spPr>
            <a:xfrm rot="8716295">
              <a:off x="2676944" y="6179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orme libre : forme 65">
              <a:extLst>
                <a:ext uri="{FF2B5EF4-FFF2-40B4-BE49-F238E27FC236}">
                  <a16:creationId xmlns:a16="http://schemas.microsoft.com/office/drawing/2014/main" id="{43ED8C5C-290C-4E36-A603-A668764D918E}"/>
                </a:ext>
              </a:extLst>
            </p:cNvPr>
            <p:cNvSpPr/>
            <p:nvPr/>
          </p:nvSpPr>
          <p:spPr>
            <a:xfrm rot="8716295">
              <a:off x="2766336" y="9103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orme libre : forme 66">
              <a:extLst>
                <a:ext uri="{FF2B5EF4-FFF2-40B4-BE49-F238E27FC236}">
                  <a16:creationId xmlns:a16="http://schemas.microsoft.com/office/drawing/2014/main" id="{143AD9CC-AEFC-4AE6-ADAB-C03B27727981}"/>
                </a:ext>
              </a:extLst>
            </p:cNvPr>
            <p:cNvSpPr/>
            <p:nvPr/>
          </p:nvSpPr>
          <p:spPr>
            <a:xfrm rot="8716295">
              <a:off x="2564710" y="15033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03CE5A8E-699E-421E-ABA5-42929237719B}"/>
                </a:ext>
              </a:extLst>
            </p:cNvPr>
            <p:cNvSpPr/>
            <p:nvPr/>
          </p:nvSpPr>
          <p:spPr>
            <a:xfrm rot="8716295">
              <a:off x="2448552" y="-16031"/>
              <a:ext cx="203847" cy="149340"/>
            </a:xfrm>
            <a:custGeom>
              <a:avLst/>
              <a:gdLst>
                <a:gd name="connsiteX0" fmla="*/ 106716 w 203847"/>
                <a:gd name="connsiteY0" fmla="*/ 149340 h 149340"/>
                <a:gd name="connsiteX1" fmla="*/ 50038 w 203847"/>
                <a:gd name="connsiteY1" fmla="*/ 110053 h 149340"/>
                <a:gd name="connsiteX2" fmla="*/ 69777 w 203847"/>
                <a:gd name="connsiteY2" fmla="*/ 55323 h 149340"/>
                <a:gd name="connsiteX3" fmla="*/ 0 w 203847"/>
                <a:gd name="connsiteY3" fmla="*/ 55323 h 149340"/>
                <a:gd name="connsiteX4" fmla="*/ 0 w 203847"/>
                <a:gd name="connsiteY4" fmla="*/ 0 h 149340"/>
                <a:gd name="connsiteX5" fmla="*/ 203847 w 203847"/>
                <a:gd name="connsiteY5" fmla="*/ 0 h 149340"/>
                <a:gd name="connsiteX6" fmla="*/ 203847 w 203847"/>
                <a:gd name="connsiteY6" fmla="*/ 55323 h 149340"/>
                <a:gd name="connsiteX7" fmla="*/ 139055 w 203847"/>
                <a:gd name="connsiteY7" fmla="*/ 55323 h 14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49340">
                  <a:moveTo>
                    <a:pt x="106716" y="149340"/>
                  </a:moveTo>
                  <a:lnTo>
                    <a:pt x="50038" y="110053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orme libre : forme 68">
              <a:extLst>
                <a:ext uri="{FF2B5EF4-FFF2-40B4-BE49-F238E27FC236}">
                  <a16:creationId xmlns:a16="http://schemas.microsoft.com/office/drawing/2014/main" id="{4F51AFD5-9DB6-4DCA-8489-09E9C4297801}"/>
                </a:ext>
              </a:extLst>
            </p:cNvPr>
            <p:cNvSpPr/>
            <p:nvPr/>
          </p:nvSpPr>
          <p:spPr>
            <a:xfrm rot="8716295">
              <a:off x="2654888" y="191290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orme libre : forme 69">
              <a:extLst>
                <a:ext uri="{FF2B5EF4-FFF2-40B4-BE49-F238E27FC236}">
                  <a16:creationId xmlns:a16="http://schemas.microsoft.com/office/drawing/2014/main" id="{A2ECF224-799C-4DC5-AB51-FEB15AA2B828}"/>
                </a:ext>
              </a:extLst>
            </p:cNvPr>
            <p:cNvSpPr/>
            <p:nvPr/>
          </p:nvSpPr>
          <p:spPr>
            <a:xfrm rot="8716295">
              <a:off x="2413437" y="41690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orme libre : forme 70">
              <a:extLst>
                <a:ext uri="{FF2B5EF4-FFF2-40B4-BE49-F238E27FC236}">
                  <a16:creationId xmlns:a16="http://schemas.microsoft.com/office/drawing/2014/main" id="{1302BF26-B64E-4C90-894D-A7C67007EE36}"/>
                </a:ext>
              </a:extLst>
            </p:cNvPr>
            <p:cNvSpPr/>
            <p:nvPr/>
          </p:nvSpPr>
          <p:spPr>
            <a:xfrm rot="7484129">
              <a:off x="2759819" y="38264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orme libre : forme 71">
              <a:extLst>
                <a:ext uri="{FF2B5EF4-FFF2-40B4-BE49-F238E27FC236}">
                  <a16:creationId xmlns:a16="http://schemas.microsoft.com/office/drawing/2014/main" id="{170CE256-57E7-488F-BBB2-5B7F98B8FB76}"/>
                </a:ext>
              </a:extLst>
            </p:cNvPr>
            <p:cNvSpPr/>
            <p:nvPr/>
          </p:nvSpPr>
          <p:spPr>
            <a:xfrm rot="13089394">
              <a:off x="2864639" y="349175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orme libre : forme 72">
              <a:extLst>
                <a:ext uri="{FF2B5EF4-FFF2-40B4-BE49-F238E27FC236}">
                  <a16:creationId xmlns:a16="http://schemas.microsoft.com/office/drawing/2014/main" id="{5E848AEE-AD50-4EC7-B6E2-006804A78B57}"/>
                </a:ext>
              </a:extLst>
            </p:cNvPr>
            <p:cNvSpPr/>
            <p:nvPr/>
          </p:nvSpPr>
          <p:spPr>
            <a:xfrm rot="8716295">
              <a:off x="3050224" y="157494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" name="Forme libre : forme 73">
              <a:extLst>
                <a:ext uri="{FF2B5EF4-FFF2-40B4-BE49-F238E27FC236}">
                  <a16:creationId xmlns:a16="http://schemas.microsoft.com/office/drawing/2014/main" id="{BEE1CAE8-6503-4A10-B1BA-C6183C9E0E74}"/>
                </a:ext>
              </a:extLst>
            </p:cNvPr>
            <p:cNvSpPr/>
            <p:nvPr/>
          </p:nvSpPr>
          <p:spPr>
            <a:xfrm rot="8716295">
              <a:off x="2998419" y="5390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" name="Forme libre : forme 74">
              <a:extLst>
                <a:ext uri="{FF2B5EF4-FFF2-40B4-BE49-F238E27FC236}">
                  <a16:creationId xmlns:a16="http://schemas.microsoft.com/office/drawing/2014/main" id="{34A8E996-3975-4581-B536-E2CE9D88EBFE}"/>
                </a:ext>
              </a:extLst>
            </p:cNvPr>
            <p:cNvSpPr/>
            <p:nvPr/>
          </p:nvSpPr>
          <p:spPr>
            <a:xfrm rot="8716295">
              <a:off x="2755173" y="8412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" name="Forme libre : forme 75">
              <a:extLst>
                <a:ext uri="{FF2B5EF4-FFF2-40B4-BE49-F238E27FC236}">
                  <a16:creationId xmlns:a16="http://schemas.microsoft.com/office/drawing/2014/main" id="{3BE41751-0FE9-4A5C-97A5-9AF2319641D6}"/>
                </a:ext>
              </a:extLst>
            </p:cNvPr>
            <p:cNvSpPr/>
            <p:nvPr/>
          </p:nvSpPr>
          <p:spPr>
            <a:xfrm rot="8716295">
              <a:off x="2940014" y="-28690"/>
              <a:ext cx="88664" cy="70660"/>
            </a:xfrm>
            <a:custGeom>
              <a:avLst/>
              <a:gdLst>
                <a:gd name="connsiteX0" fmla="*/ 83649 w 88664"/>
                <a:gd name="connsiteY0" fmla="*/ 70660 h 70660"/>
                <a:gd name="connsiteX1" fmla="*/ 0 w 88664"/>
                <a:gd name="connsiteY1" fmla="*/ 12677 h 70660"/>
                <a:gd name="connsiteX2" fmla="*/ 30024 w 88664"/>
                <a:gd name="connsiteY2" fmla="*/ 0 h 70660"/>
                <a:gd name="connsiteX3" fmla="*/ 71417 w 88664"/>
                <a:gd name="connsiteY3" fmla="*/ 17477 h 70660"/>
                <a:gd name="connsiteX4" fmla="*/ 88664 w 88664"/>
                <a:gd name="connsiteY4" fmla="*/ 58525 h 70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664" h="70660">
                  <a:moveTo>
                    <a:pt x="83649" y="70660"/>
                  </a:moveTo>
                  <a:lnTo>
                    <a:pt x="0" y="12677"/>
                  </a:lnTo>
                  <a:lnTo>
                    <a:pt x="30024" y="0"/>
                  </a:lnTo>
                  <a:cubicBezTo>
                    <a:pt x="45662" y="0"/>
                    <a:pt x="60379" y="6439"/>
                    <a:pt x="71417" y="17477"/>
                  </a:cubicBezTo>
                  <a:cubicBezTo>
                    <a:pt x="82915" y="28515"/>
                    <a:pt x="88664" y="43462"/>
                    <a:pt x="88664" y="58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" name="Forme libre : forme 76">
              <a:extLst>
                <a:ext uri="{FF2B5EF4-FFF2-40B4-BE49-F238E27FC236}">
                  <a16:creationId xmlns:a16="http://schemas.microsoft.com/office/drawing/2014/main" id="{7C593DEA-1D52-4373-8D6B-6BD1BBF8835C}"/>
                </a:ext>
              </a:extLst>
            </p:cNvPr>
            <p:cNvSpPr/>
            <p:nvPr/>
          </p:nvSpPr>
          <p:spPr>
            <a:xfrm rot="13089394">
              <a:off x="2740820" y="-30870"/>
              <a:ext cx="73521" cy="76374"/>
            </a:xfrm>
            <a:custGeom>
              <a:avLst/>
              <a:gdLst>
                <a:gd name="connsiteX0" fmla="*/ 73521 w 73521"/>
                <a:gd name="connsiteY0" fmla="*/ 18609 h 76374"/>
                <a:gd name="connsiteX1" fmla="*/ 0 w 73521"/>
                <a:gd name="connsiteY1" fmla="*/ 76374 h 76374"/>
                <a:gd name="connsiteX2" fmla="*/ 0 w 73521"/>
                <a:gd name="connsiteY2" fmla="*/ 38074 h 76374"/>
                <a:gd name="connsiteX3" fmla="*/ 73388 w 73521"/>
                <a:gd name="connsiteY3" fmla="*/ 0 h 7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521" h="76374">
                  <a:moveTo>
                    <a:pt x="73521" y="18609"/>
                  </a:moveTo>
                  <a:lnTo>
                    <a:pt x="0" y="76374"/>
                  </a:lnTo>
                  <a:lnTo>
                    <a:pt x="0" y="38074"/>
                  </a:lnTo>
                  <a:lnTo>
                    <a:pt x="7338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" name="Forme libre : forme 77">
              <a:extLst>
                <a:ext uri="{FF2B5EF4-FFF2-40B4-BE49-F238E27FC236}">
                  <a16:creationId xmlns:a16="http://schemas.microsoft.com/office/drawing/2014/main" id="{31F42A73-BF6E-4A9E-A2F6-7111DF0FD878}"/>
                </a:ext>
              </a:extLst>
            </p:cNvPr>
            <p:cNvSpPr/>
            <p:nvPr/>
          </p:nvSpPr>
          <p:spPr>
            <a:xfrm rot="8716295">
              <a:off x="2166753" y="273158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orme libre : forme 78">
              <a:extLst>
                <a:ext uri="{FF2B5EF4-FFF2-40B4-BE49-F238E27FC236}">
                  <a16:creationId xmlns:a16="http://schemas.microsoft.com/office/drawing/2014/main" id="{863BEFD8-472A-4A82-B952-ACFEE2251E69}"/>
                </a:ext>
              </a:extLst>
            </p:cNvPr>
            <p:cNvSpPr/>
            <p:nvPr/>
          </p:nvSpPr>
          <p:spPr>
            <a:xfrm rot="8716295">
              <a:off x="2256145" y="276082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Forme libre : forme 79">
              <a:extLst>
                <a:ext uri="{FF2B5EF4-FFF2-40B4-BE49-F238E27FC236}">
                  <a16:creationId xmlns:a16="http://schemas.microsoft.com/office/drawing/2014/main" id="{9D41F395-157D-4566-AD0B-619CCA4FE6BE}"/>
                </a:ext>
              </a:extLst>
            </p:cNvPr>
            <p:cNvSpPr/>
            <p:nvPr/>
          </p:nvSpPr>
          <p:spPr>
            <a:xfrm rot="8716295">
              <a:off x="2211295" y="2674548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" name="Forme libre : forme 80">
              <a:extLst>
                <a:ext uri="{FF2B5EF4-FFF2-40B4-BE49-F238E27FC236}">
                  <a16:creationId xmlns:a16="http://schemas.microsoft.com/office/drawing/2014/main" id="{BF76F399-DC6B-4DE2-9E3A-1FFB94BB6465}"/>
                </a:ext>
              </a:extLst>
            </p:cNvPr>
            <p:cNvSpPr/>
            <p:nvPr/>
          </p:nvSpPr>
          <p:spPr>
            <a:xfrm rot="8716295">
              <a:off x="2054519" y="28201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orme libre : forme 81">
              <a:extLst>
                <a:ext uri="{FF2B5EF4-FFF2-40B4-BE49-F238E27FC236}">
                  <a16:creationId xmlns:a16="http://schemas.microsoft.com/office/drawing/2014/main" id="{3065D63F-B336-46ED-922F-641AF1B7B83C}"/>
                </a:ext>
              </a:extLst>
            </p:cNvPr>
            <p:cNvSpPr/>
            <p:nvPr/>
          </p:nvSpPr>
          <p:spPr>
            <a:xfrm rot="8716295">
              <a:off x="1929616" y="261145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Forme libre : forme 82">
              <a:extLst>
                <a:ext uri="{FF2B5EF4-FFF2-40B4-BE49-F238E27FC236}">
                  <a16:creationId xmlns:a16="http://schemas.microsoft.com/office/drawing/2014/main" id="{68BC6F5F-0186-40DD-8404-566D70BB9E99}"/>
                </a:ext>
              </a:extLst>
            </p:cNvPr>
            <p:cNvSpPr/>
            <p:nvPr/>
          </p:nvSpPr>
          <p:spPr>
            <a:xfrm rot="8716295">
              <a:off x="1917564" y="2472677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4" name="Forme libre : forme 83">
              <a:extLst>
                <a:ext uri="{FF2B5EF4-FFF2-40B4-BE49-F238E27FC236}">
                  <a16:creationId xmlns:a16="http://schemas.microsoft.com/office/drawing/2014/main" id="{E12469CC-5FF5-4C57-A661-5C5E14481CD9}"/>
                </a:ext>
              </a:extLst>
            </p:cNvPr>
            <p:cNvSpPr/>
            <p:nvPr/>
          </p:nvSpPr>
          <p:spPr>
            <a:xfrm rot="8716295">
              <a:off x="2144697" y="2861082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5" name="Forme libre : forme 84">
              <a:extLst>
                <a:ext uri="{FF2B5EF4-FFF2-40B4-BE49-F238E27FC236}">
                  <a16:creationId xmlns:a16="http://schemas.microsoft.com/office/drawing/2014/main" id="{30210F38-CF8D-4D63-B79E-43CAC77B4950}"/>
                </a:ext>
              </a:extLst>
            </p:cNvPr>
            <p:cNvSpPr/>
            <p:nvPr/>
          </p:nvSpPr>
          <p:spPr>
            <a:xfrm rot="8716295">
              <a:off x="2455852" y="248143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6" name="Forme libre : forme 85">
              <a:extLst>
                <a:ext uri="{FF2B5EF4-FFF2-40B4-BE49-F238E27FC236}">
                  <a16:creationId xmlns:a16="http://schemas.microsoft.com/office/drawing/2014/main" id="{695A233A-6503-484C-8F4F-186E71E5B99E}"/>
                </a:ext>
              </a:extLst>
            </p:cNvPr>
            <p:cNvSpPr/>
            <p:nvPr/>
          </p:nvSpPr>
          <p:spPr>
            <a:xfrm rot="8716295">
              <a:off x="2545244" y="251067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7" name="Forme libre : forme 86">
              <a:extLst>
                <a:ext uri="{FF2B5EF4-FFF2-40B4-BE49-F238E27FC236}">
                  <a16:creationId xmlns:a16="http://schemas.microsoft.com/office/drawing/2014/main" id="{C4016FC8-3862-4EDD-AD90-D27F3C486D6C}"/>
                </a:ext>
              </a:extLst>
            </p:cNvPr>
            <p:cNvSpPr/>
            <p:nvPr/>
          </p:nvSpPr>
          <p:spPr>
            <a:xfrm rot="8716295">
              <a:off x="2343618" y="256997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8" name="Forme libre : forme 87">
              <a:extLst>
                <a:ext uri="{FF2B5EF4-FFF2-40B4-BE49-F238E27FC236}">
                  <a16:creationId xmlns:a16="http://schemas.microsoft.com/office/drawing/2014/main" id="{841AD7D6-9A1D-47F3-B8D0-0F3912F8A2E1}"/>
                </a:ext>
              </a:extLst>
            </p:cNvPr>
            <p:cNvSpPr/>
            <p:nvPr/>
          </p:nvSpPr>
          <p:spPr>
            <a:xfrm rot="8716295">
              <a:off x="2218716" y="236130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9" name="Forme libre : forme 88">
              <a:extLst>
                <a:ext uri="{FF2B5EF4-FFF2-40B4-BE49-F238E27FC236}">
                  <a16:creationId xmlns:a16="http://schemas.microsoft.com/office/drawing/2014/main" id="{70BCC5A3-9952-4F01-975F-6F986E6B55DD}"/>
                </a:ext>
              </a:extLst>
            </p:cNvPr>
            <p:cNvSpPr/>
            <p:nvPr/>
          </p:nvSpPr>
          <p:spPr>
            <a:xfrm rot="8716295">
              <a:off x="2433796" y="2610930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" name="Forme libre : forme 89">
              <a:extLst>
                <a:ext uri="{FF2B5EF4-FFF2-40B4-BE49-F238E27FC236}">
                  <a16:creationId xmlns:a16="http://schemas.microsoft.com/office/drawing/2014/main" id="{48292A7A-33E9-4FF2-9525-C481018D3541}"/>
                </a:ext>
              </a:extLst>
            </p:cNvPr>
            <p:cNvSpPr/>
            <p:nvPr/>
          </p:nvSpPr>
          <p:spPr>
            <a:xfrm rot="8716295">
              <a:off x="2192345" y="2461330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" name="Forme libre : forme 90">
              <a:extLst>
                <a:ext uri="{FF2B5EF4-FFF2-40B4-BE49-F238E27FC236}">
                  <a16:creationId xmlns:a16="http://schemas.microsoft.com/office/drawing/2014/main" id="{3C5BF462-E2E4-4E2E-A187-F82081942730}"/>
                </a:ext>
              </a:extLst>
            </p:cNvPr>
            <p:cNvSpPr/>
            <p:nvPr/>
          </p:nvSpPr>
          <p:spPr>
            <a:xfrm rot="7484129">
              <a:off x="2538727" y="280228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" name="Forme libre : forme 91">
              <a:extLst>
                <a:ext uri="{FF2B5EF4-FFF2-40B4-BE49-F238E27FC236}">
                  <a16:creationId xmlns:a16="http://schemas.microsoft.com/office/drawing/2014/main" id="{53F93EE7-2FCB-4993-A211-9ABCA8AB16A1}"/>
                </a:ext>
              </a:extLst>
            </p:cNvPr>
            <p:cNvSpPr/>
            <p:nvPr/>
          </p:nvSpPr>
          <p:spPr>
            <a:xfrm rot="13089394">
              <a:off x="2643547" y="2768815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" name="Forme libre : forme 92">
              <a:extLst>
                <a:ext uri="{FF2B5EF4-FFF2-40B4-BE49-F238E27FC236}">
                  <a16:creationId xmlns:a16="http://schemas.microsoft.com/office/drawing/2014/main" id="{ACCCC6BB-9AC5-40F1-8FDF-2D7AAA4F97CC}"/>
                </a:ext>
              </a:extLst>
            </p:cNvPr>
            <p:cNvSpPr/>
            <p:nvPr/>
          </p:nvSpPr>
          <p:spPr>
            <a:xfrm rot="8716295">
              <a:off x="2829132" y="2577134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" name="Forme libre : forme 93">
              <a:extLst>
                <a:ext uri="{FF2B5EF4-FFF2-40B4-BE49-F238E27FC236}">
                  <a16:creationId xmlns:a16="http://schemas.microsoft.com/office/drawing/2014/main" id="{C83E96A9-D46F-4FBD-BA31-A3DDCAF05013}"/>
                </a:ext>
              </a:extLst>
            </p:cNvPr>
            <p:cNvSpPr/>
            <p:nvPr/>
          </p:nvSpPr>
          <p:spPr>
            <a:xfrm rot="8716295">
              <a:off x="2777327" y="247354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orme libre : forme 94">
              <a:extLst>
                <a:ext uri="{FF2B5EF4-FFF2-40B4-BE49-F238E27FC236}">
                  <a16:creationId xmlns:a16="http://schemas.microsoft.com/office/drawing/2014/main" id="{819524D5-42FD-49C2-A52C-138204093572}"/>
                </a:ext>
              </a:extLst>
            </p:cNvPr>
            <p:cNvSpPr/>
            <p:nvPr/>
          </p:nvSpPr>
          <p:spPr>
            <a:xfrm rot="8716295">
              <a:off x="2534081" y="250376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Forme libre : forme 95">
              <a:extLst>
                <a:ext uri="{FF2B5EF4-FFF2-40B4-BE49-F238E27FC236}">
                  <a16:creationId xmlns:a16="http://schemas.microsoft.com/office/drawing/2014/main" id="{D4292037-242B-4F99-8EE6-4056BF8CE17A}"/>
                </a:ext>
              </a:extLst>
            </p:cNvPr>
            <p:cNvSpPr/>
            <p:nvPr/>
          </p:nvSpPr>
          <p:spPr>
            <a:xfrm rot="8716295">
              <a:off x="2711533" y="234452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" name="Forme libre : forme 96">
              <a:extLst>
                <a:ext uri="{FF2B5EF4-FFF2-40B4-BE49-F238E27FC236}">
                  <a16:creationId xmlns:a16="http://schemas.microsoft.com/office/drawing/2014/main" id="{B300D5E8-99AD-4100-BBB0-F9335C60ABF1}"/>
                </a:ext>
              </a:extLst>
            </p:cNvPr>
            <p:cNvSpPr/>
            <p:nvPr/>
          </p:nvSpPr>
          <p:spPr>
            <a:xfrm rot="8716295">
              <a:off x="2389920" y="339128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" name="Forme libre : forme 97">
              <a:extLst>
                <a:ext uri="{FF2B5EF4-FFF2-40B4-BE49-F238E27FC236}">
                  <a16:creationId xmlns:a16="http://schemas.microsoft.com/office/drawing/2014/main" id="{050E0B4C-4868-4ECB-B52A-F4534FB3428C}"/>
                </a:ext>
              </a:extLst>
            </p:cNvPr>
            <p:cNvSpPr/>
            <p:nvPr/>
          </p:nvSpPr>
          <p:spPr>
            <a:xfrm rot="8716295">
              <a:off x="2479312" y="342052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" name="Forme libre : forme 98">
              <a:extLst>
                <a:ext uri="{FF2B5EF4-FFF2-40B4-BE49-F238E27FC236}">
                  <a16:creationId xmlns:a16="http://schemas.microsoft.com/office/drawing/2014/main" id="{2B753CAD-2E05-40BF-8117-865D3F8A49DD}"/>
                </a:ext>
              </a:extLst>
            </p:cNvPr>
            <p:cNvSpPr/>
            <p:nvPr/>
          </p:nvSpPr>
          <p:spPr>
            <a:xfrm rot="8716295">
              <a:off x="2434462" y="333424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orme libre : forme 99">
              <a:extLst>
                <a:ext uri="{FF2B5EF4-FFF2-40B4-BE49-F238E27FC236}">
                  <a16:creationId xmlns:a16="http://schemas.microsoft.com/office/drawing/2014/main" id="{5C8FF835-B7A5-4E03-BDCA-7B70EA22A6CB}"/>
                </a:ext>
              </a:extLst>
            </p:cNvPr>
            <p:cNvSpPr/>
            <p:nvPr/>
          </p:nvSpPr>
          <p:spPr>
            <a:xfrm rot="8716295">
              <a:off x="2277686" y="347982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Forme libre : forme 100">
              <a:extLst>
                <a:ext uri="{FF2B5EF4-FFF2-40B4-BE49-F238E27FC236}">
                  <a16:creationId xmlns:a16="http://schemas.microsoft.com/office/drawing/2014/main" id="{E640627F-DD46-4D4D-BFB7-C32CE4CD2C6E}"/>
                </a:ext>
              </a:extLst>
            </p:cNvPr>
            <p:cNvSpPr/>
            <p:nvPr/>
          </p:nvSpPr>
          <p:spPr>
            <a:xfrm rot="8716295">
              <a:off x="2152783" y="327115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" name="Forme libre : forme 101">
              <a:extLst>
                <a:ext uri="{FF2B5EF4-FFF2-40B4-BE49-F238E27FC236}">
                  <a16:creationId xmlns:a16="http://schemas.microsoft.com/office/drawing/2014/main" id="{D6CFC66E-117A-4E7B-A1B3-B61883DBC87C}"/>
                </a:ext>
              </a:extLst>
            </p:cNvPr>
            <p:cNvSpPr/>
            <p:nvPr/>
          </p:nvSpPr>
          <p:spPr>
            <a:xfrm rot="8716295">
              <a:off x="2140731" y="313237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" name="Forme libre : forme 102">
              <a:extLst>
                <a:ext uri="{FF2B5EF4-FFF2-40B4-BE49-F238E27FC236}">
                  <a16:creationId xmlns:a16="http://schemas.microsoft.com/office/drawing/2014/main" id="{44370D0A-70C8-47DE-B919-BD8689E5F0BD}"/>
                </a:ext>
              </a:extLst>
            </p:cNvPr>
            <p:cNvSpPr/>
            <p:nvPr/>
          </p:nvSpPr>
          <p:spPr>
            <a:xfrm rot="8716295">
              <a:off x="2367864" y="352078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" name="Forme libre : forme 103">
              <a:extLst>
                <a:ext uri="{FF2B5EF4-FFF2-40B4-BE49-F238E27FC236}">
                  <a16:creationId xmlns:a16="http://schemas.microsoft.com/office/drawing/2014/main" id="{6021BDC8-861D-486E-B439-FE7F06960030}"/>
                </a:ext>
              </a:extLst>
            </p:cNvPr>
            <p:cNvSpPr/>
            <p:nvPr/>
          </p:nvSpPr>
          <p:spPr>
            <a:xfrm rot="8716295">
              <a:off x="2679019" y="314113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" name="Forme libre : forme 104">
              <a:extLst>
                <a:ext uri="{FF2B5EF4-FFF2-40B4-BE49-F238E27FC236}">
                  <a16:creationId xmlns:a16="http://schemas.microsoft.com/office/drawing/2014/main" id="{0F608F19-E3BE-4D17-880D-C88146244ED4}"/>
                </a:ext>
              </a:extLst>
            </p:cNvPr>
            <p:cNvSpPr/>
            <p:nvPr/>
          </p:nvSpPr>
          <p:spPr>
            <a:xfrm rot="8716295">
              <a:off x="2768411" y="317037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" name="Forme libre : forme 105">
              <a:extLst>
                <a:ext uri="{FF2B5EF4-FFF2-40B4-BE49-F238E27FC236}">
                  <a16:creationId xmlns:a16="http://schemas.microsoft.com/office/drawing/2014/main" id="{64944F3B-C664-4365-A1CE-C418E167A34E}"/>
                </a:ext>
              </a:extLst>
            </p:cNvPr>
            <p:cNvSpPr/>
            <p:nvPr/>
          </p:nvSpPr>
          <p:spPr>
            <a:xfrm rot="8716295">
              <a:off x="2566785" y="322967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" name="Forme libre : forme 106">
              <a:extLst>
                <a:ext uri="{FF2B5EF4-FFF2-40B4-BE49-F238E27FC236}">
                  <a16:creationId xmlns:a16="http://schemas.microsoft.com/office/drawing/2014/main" id="{58328446-A7EA-46E8-B0B2-5078B627604C}"/>
                </a:ext>
              </a:extLst>
            </p:cNvPr>
            <p:cNvSpPr/>
            <p:nvPr/>
          </p:nvSpPr>
          <p:spPr>
            <a:xfrm rot="8716295">
              <a:off x="2441883" y="302100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" name="Forme libre : forme 107">
              <a:extLst>
                <a:ext uri="{FF2B5EF4-FFF2-40B4-BE49-F238E27FC236}">
                  <a16:creationId xmlns:a16="http://schemas.microsoft.com/office/drawing/2014/main" id="{358F3EE5-D858-432A-A907-9710D31351C8}"/>
                </a:ext>
              </a:extLst>
            </p:cNvPr>
            <p:cNvSpPr/>
            <p:nvPr/>
          </p:nvSpPr>
          <p:spPr>
            <a:xfrm rot="8716295">
              <a:off x="2656963" y="327062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" name="Forme libre : forme 108">
              <a:extLst>
                <a:ext uri="{FF2B5EF4-FFF2-40B4-BE49-F238E27FC236}">
                  <a16:creationId xmlns:a16="http://schemas.microsoft.com/office/drawing/2014/main" id="{B0966A7E-6D89-444C-8034-A9352897C897}"/>
                </a:ext>
              </a:extLst>
            </p:cNvPr>
            <p:cNvSpPr/>
            <p:nvPr/>
          </p:nvSpPr>
          <p:spPr>
            <a:xfrm rot="8716295">
              <a:off x="2415512" y="312102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" name="Forme libre : forme 109">
              <a:extLst>
                <a:ext uri="{FF2B5EF4-FFF2-40B4-BE49-F238E27FC236}">
                  <a16:creationId xmlns:a16="http://schemas.microsoft.com/office/drawing/2014/main" id="{37222F27-8DF7-4207-88C1-2429DD93BED2}"/>
                </a:ext>
              </a:extLst>
            </p:cNvPr>
            <p:cNvSpPr/>
            <p:nvPr/>
          </p:nvSpPr>
          <p:spPr>
            <a:xfrm rot="7484129">
              <a:off x="2761894" y="346198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" name="Forme libre : forme 110">
              <a:extLst>
                <a:ext uri="{FF2B5EF4-FFF2-40B4-BE49-F238E27FC236}">
                  <a16:creationId xmlns:a16="http://schemas.microsoft.com/office/drawing/2014/main" id="{993939CC-3AE4-419F-A9EE-0969EF61AE9B}"/>
                </a:ext>
              </a:extLst>
            </p:cNvPr>
            <p:cNvSpPr/>
            <p:nvPr/>
          </p:nvSpPr>
          <p:spPr>
            <a:xfrm rot="13089394">
              <a:off x="2866714" y="342851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" name="Forme libre : forme 111">
              <a:extLst>
                <a:ext uri="{FF2B5EF4-FFF2-40B4-BE49-F238E27FC236}">
                  <a16:creationId xmlns:a16="http://schemas.microsoft.com/office/drawing/2014/main" id="{A6A63E2F-4261-4DBF-8276-418D86D19210}"/>
                </a:ext>
              </a:extLst>
            </p:cNvPr>
            <p:cNvSpPr/>
            <p:nvPr/>
          </p:nvSpPr>
          <p:spPr>
            <a:xfrm rot="8716295">
              <a:off x="3052299" y="323683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" name="Forme libre : forme 112">
              <a:extLst>
                <a:ext uri="{FF2B5EF4-FFF2-40B4-BE49-F238E27FC236}">
                  <a16:creationId xmlns:a16="http://schemas.microsoft.com/office/drawing/2014/main" id="{1F2896C9-A0C7-4B2C-B1EE-DCCCD9009233}"/>
                </a:ext>
              </a:extLst>
            </p:cNvPr>
            <p:cNvSpPr/>
            <p:nvPr/>
          </p:nvSpPr>
          <p:spPr>
            <a:xfrm rot="8716295">
              <a:off x="3000494" y="313324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" name="Forme libre : forme 113">
              <a:extLst>
                <a:ext uri="{FF2B5EF4-FFF2-40B4-BE49-F238E27FC236}">
                  <a16:creationId xmlns:a16="http://schemas.microsoft.com/office/drawing/2014/main" id="{BFC2A5AA-74CC-447F-BCB7-82C53A9C1EBE}"/>
                </a:ext>
              </a:extLst>
            </p:cNvPr>
            <p:cNvSpPr/>
            <p:nvPr/>
          </p:nvSpPr>
          <p:spPr>
            <a:xfrm rot="8716295">
              <a:off x="2757248" y="316346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" name="Forme libre : forme 114">
              <a:extLst>
                <a:ext uri="{FF2B5EF4-FFF2-40B4-BE49-F238E27FC236}">
                  <a16:creationId xmlns:a16="http://schemas.microsoft.com/office/drawing/2014/main" id="{7736B671-8666-4922-9305-32A24DFDD7BC}"/>
                </a:ext>
              </a:extLst>
            </p:cNvPr>
            <p:cNvSpPr/>
            <p:nvPr/>
          </p:nvSpPr>
          <p:spPr>
            <a:xfrm rot="8716295">
              <a:off x="2934700" y="300421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" name="Forme libre : forme 115">
              <a:extLst>
                <a:ext uri="{FF2B5EF4-FFF2-40B4-BE49-F238E27FC236}">
                  <a16:creationId xmlns:a16="http://schemas.microsoft.com/office/drawing/2014/main" id="{4CF00AFF-9FDA-4C59-A1DE-7CCCB194DEA5}"/>
                </a:ext>
              </a:extLst>
            </p:cNvPr>
            <p:cNvSpPr/>
            <p:nvPr/>
          </p:nvSpPr>
          <p:spPr>
            <a:xfrm rot="8716295">
              <a:off x="2865744" y="5089178"/>
              <a:ext cx="140009" cy="103412"/>
            </a:xfrm>
            <a:custGeom>
              <a:avLst/>
              <a:gdLst>
                <a:gd name="connsiteX0" fmla="*/ 23004 w 140009"/>
                <a:gd name="connsiteY0" fmla="*/ 73821 h 103412"/>
                <a:gd name="connsiteX1" fmla="*/ 2853 w 140009"/>
                <a:gd name="connsiteY1" fmla="*/ 34034 h 103412"/>
                <a:gd name="connsiteX2" fmla="*/ 0 w 140009"/>
                <a:gd name="connsiteY2" fmla="*/ 0 h 103412"/>
                <a:gd name="connsiteX3" fmla="*/ 140009 w 140009"/>
                <a:gd name="connsiteY3" fmla="*/ 97050 h 103412"/>
                <a:gd name="connsiteX4" fmla="*/ 137354 w 140009"/>
                <a:gd name="connsiteY4" fmla="*/ 97759 h 103412"/>
                <a:gd name="connsiteX5" fmla="*/ 95370 w 140009"/>
                <a:gd name="connsiteY5" fmla="*/ 103238 h 103412"/>
                <a:gd name="connsiteX6" fmla="*/ 23004 w 140009"/>
                <a:gd name="connsiteY6" fmla="*/ 73821 h 103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0009" h="103412">
                  <a:moveTo>
                    <a:pt x="23004" y="73821"/>
                  </a:moveTo>
                  <a:cubicBezTo>
                    <a:pt x="13002" y="64113"/>
                    <a:pt x="6677" y="50875"/>
                    <a:pt x="2853" y="34034"/>
                  </a:cubicBezTo>
                  <a:lnTo>
                    <a:pt x="0" y="0"/>
                  </a:lnTo>
                  <a:lnTo>
                    <a:pt x="140009" y="97050"/>
                  </a:lnTo>
                  <a:lnTo>
                    <a:pt x="137354" y="97759"/>
                  </a:lnTo>
                  <a:cubicBezTo>
                    <a:pt x="121846" y="100775"/>
                    <a:pt x="107579" y="102502"/>
                    <a:pt x="95370" y="103238"/>
                  </a:cubicBezTo>
                  <a:cubicBezTo>
                    <a:pt x="68307" y="105003"/>
                    <a:pt x="41831" y="93236"/>
                    <a:pt x="23004" y="7382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" name="Forme libre : forme 116">
              <a:extLst>
                <a:ext uri="{FF2B5EF4-FFF2-40B4-BE49-F238E27FC236}">
                  <a16:creationId xmlns:a16="http://schemas.microsoft.com/office/drawing/2014/main" id="{7486FE8B-6DC8-400F-8B49-3D0FF59EDA59}"/>
                </a:ext>
              </a:extLst>
            </p:cNvPr>
            <p:cNvSpPr/>
            <p:nvPr/>
          </p:nvSpPr>
          <p:spPr>
            <a:xfrm rot="8716295">
              <a:off x="2608590" y="404968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" name="Forme libre : forme 117">
              <a:extLst>
                <a:ext uri="{FF2B5EF4-FFF2-40B4-BE49-F238E27FC236}">
                  <a16:creationId xmlns:a16="http://schemas.microsoft.com/office/drawing/2014/main" id="{409E4F60-3261-496F-85E7-0CED778B23AA}"/>
                </a:ext>
              </a:extLst>
            </p:cNvPr>
            <p:cNvSpPr/>
            <p:nvPr/>
          </p:nvSpPr>
          <p:spPr>
            <a:xfrm rot="8716295">
              <a:off x="2697982" y="407892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" name="Forme libre : forme 118">
              <a:extLst>
                <a:ext uri="{FF2B5EF4-FFF2-40B4-BE49-F238E27FC236}">
                  <a16:creationId xmlns:a16="http://schemas.microsoft.com/office/drawing/2014/main" id="{B4A7442C-1C02-4AB6-8CC3-22865B34D758}"/>
                </a:ext>
              </a:extLst>
            </p:cNvPr>
            <p:cNvSpPr/>
            <p:nvPr/>
          </p:nvSpPr>
          <p:spPr>
            <a:xfrm rot="8716295">
              <a:off x="2653132" y="399264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" name="Forme libre : forme 119">
              <a:extLst>
                <a:ext uri="{FF2B5EF4-FFF2-40B4-BE49-F238E27FC236}">
                  <a16:creationId xmlns:a16="http://schemas.microsoft.com/office/drawing/2014/main" id="{84547BFC-5C73-4C79-BC1E-65D2DA2F8F0F}"/>
                </a:ext>
              </a:extLst>
            </p:cNvPr>
            <p:cNvSpPr/>
            <p:nvPr/>
          </p:nvSpPr>
          <p:spPr>
            <a:xfrm rot="8716295">
              <a:off x="2496356" y="413822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" name="Forme libre : forme 120">
              <a:extLst>
                <a:ext uri="{FF2B5EF4-FFF2-40B4-BE49-F238E27FC236}">
                  <a16:creationId xmlns:a16="http://schemas.microsoft.com/office/drawing/2014/main" id="{1433A272-01C5-407E-A681-F11EFA1E77DE}"/>
                </a:ext>
              </a:extLst>
            </p:cNvPr>
            <p:cNvSpPr/>
            <p:nvPr/>
          </p:nvSpPr>
          <p:spPr>
            <a:xfrm rot="8716295">
              <a:off x="2371453" y="392955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" name="Forme libre : forme 121">
              <a:extLst>
                <a:ext uri="{FF2B5EF4-FFF2-40B4-BE49-F238E27FC236}">
                  <a16:creationId xmlns:a16="http://schemas.microsoft.com/office/drawing/2014/main" id="{B66B2FCE-B89D-4CFE-947C-F30A5386F13E}"/>
                </a:ext>
              </a:extLst>
            </p:cNvPr>
            <p:cNvSpPr/>
            <p:nvPr/>
          </p:nvSpPr>
          <p:spPr>
            <a:xfrm rot="8716295">
              <a:off x="2359401" y="379077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" name="Forme libre : forme 122">
              <a:extLst>
                <a:ext uri="{FF2B5EF4-FFF2-40B4-BE49-F238E27FC236}">
                  <a16:creationId xmlns:a16="http://schemas.microsoft.com/office/drawing/2014/main" id="{CB1F906C-3F04-489D-B712-86F36DCF301D}"/>
                </a:ext>
              </a:extLst>
            </p:cNvPr>
            <p:cNvSpPr/>
            <p:nvPr/>
          </p:nvSpPr>
          <p:spPr>
            <a:xfrm rot="8716295">
              <a:off x="2586534" y="417917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" name="Forme libre : forme 123">
              <a:extLst>
                <a:ext uri="{FF2B5EF4-FFF2-40B4-BE49-F238E27FC236}">
                  <a16:creationId xmlns:a16="http://schemas.microsoft.com/office/drawing/2014/main" id="{BA0DE2D1-2098-4B24-BF1D-8B4133E050A7}"/>
                </a:ext>
              </a:extLst>
            </p:cNvPr>
            <p:cNvSpPr/>
            <p:nvPr/>
          </p:nvSpPr>
          <p:spPr>
            <a:xfrm rot="8716295">
              <a:off x="2897689" y="379952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" name="Forme libre : forme 124">
              <a:extLst>
                <a:ext uri="{FF2B5EF4-FFF2-40B4-BE49-F238E27FC236}">
                  <a16:creationId xmlns:a16="http://schemas.microsoft.com/office/drawing/2014/main" id="{280C5645-8889-4114-AA92-3C2F280AAAB1}"/>
                </a:ext>
              </a:extLst>
            </p:cNvPr>
            <p:cNvSpPr/>
            <p:nvPr/>
          </p:nvSpPr>
          <p:spPr>
            <a:xfrm rot="8716295">
              <a:off x="2989368" y="3839999"/>
              <a:ext cx="209149" cy="253771"/>
            </a:xfrm>
            <a:custGeom>
              <a:avLst/>
              <a:gdLst>
                <a:gd name="connsiteX0" fmla="*/ 147179 w 209149"/>
                <a:gd name="connsiteY0" fmla="*/ 97023 h 253771"/>
                <a:gd name="connsiteX1" fmla="*/ 147179 w 209149"/>
                <a:gd name="connsiteY1" fmla="*/ 80620 h 253771"/>
                <a:gd name="connsiteX2" fmla="*/ 113460 w 209149"/>
                <a:gd name="connsiteY2" fmla="*/ 39154 h 253771"/>
                <a:gd name="connsiteX3" fmla="*/ 104592 w 209149"/>
                <a:gd name="connsiteY3" fmla="*/ 42082 h 253771"/>
                <a:gd name="connsiteX4" fmla="*/ 139399 w 209149"/>
                <a:gd name="connsiteY4" fmla="*/ 0 h 253771"/>
                <a:gd name="connsiteX5" fmla="*/ 165512 w 209149"/>
                <a:gd name="connsiteY5" fmla="*/ 4538 h 253771"/>
                <a:gd name="connsiteX6" fmla="*/ 209149 w 209149"/>
                <a:gd name="connsiteY6" fmla="*/ 87454 h 253771"/>
                <a:gd name="connsiteX7" fmla="*/ 209149 w 209149"/>
                <a:gd name="connsiteY7" fmla="*/ 93378 h 253771"/>
                <a:gd name="connsiteX8" fmla="*/ 0 w 209149"/>
                <a:gd name="connsiteY8" fmla="*/ 253771 h 253771"/>
                <a:gd name="connsiteX9" fmla="*/ 0 w 209149"/>
                <a:gd name="connsiteY9" fmla="*/ 168537 h 253771"/>
                <a:gd name="connsiteX10" fmla="*/ 65782 w 209149"/>
                <a:gd name="connsiteY10" fmla="*/ 89005 h 253771"/>
                <a:gd name="connsiteX11" fmla="*/ 64377 w 209149"/>
                <a:gd name="connsiteY11" fmla="*/ 92403 h 253771"/>
                <a:gd name="connsiteX12" fmla="*/ 60148 w 209149"/>
                <a:gd name="connsiteY12" fmla="*/ 126641 h 253771"/>
                <a:gd name="connsiteX13" fmla="*/ 60148 w 209149"/>
                <a:gd name="connsiteY13" fmla="*/ 212762 h 253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9149" h="253771">
                  <a:moveTo>
                    <a:pt x="147179" y="97023"/>
                  </a:moveTo>
                  <a:lnTo>
                    <a:pt x="147179" y="80620"/>
                  </a:lnTo>
                  <a:cubicBezTo>
                    <a:pt x="147179" y="56013"/>
                    <a:pt x="133054" y="39154"/>
                    <a:pt x="113460" y="39154"/>
                  </a:cubicBezTo>
                  <a:lnTo>
                    <a:pt x="104592" y="42082"/>
                  </a:lnTo>
                  <a:lnTo>
                    <a:pt x="139399" y="0"/>
                  </a:lnTo>
                  <a:lnTo>
                    <a:pt x="165512" y="4538"/>
                  </a:lnTo>
                  <a:cubicBezTo>
                    <a:pt x="193258" y="16029"/>
                    <a:pt x="209149" y="45077"/>
                    <a:pt x="209149" y="87454"/>
                  </a:cubicBezTo>
                  <a:lnTo>
                    <a:pt x="209149" y="93378"/>
                  </a:lnTo>
                  <a:close/>
                  <a:moveTo>
                    <a:pt x="0" y="253771"/>
                  </a:moveTo>
                  <a:lnTo>
                    <a:pt x="0" y="168537"/>
                  </a:lnTo>
                  <a:lnTo>
                    <a:pt x="65782" y="89005"/>
                  </a:lnTo>
                  <a:lnTo>
                    <a:pt x="64377" y="92403"/>
                  </a:lnTo>
                  <a:cubicBezTo>
                    <a:pt x="61657" y="102890"/>
                    <a:pt x="60148" y="114452"/>
                    <a:pt x="60148" y="126641"/>
                  </a:cubicBezTo>
                  <a:lnTo>
                    <a:pt x="60148" y="2127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" name="Forme libre : forme 125">
              <a:extLst>
                <a:ext uri="{FF2B5EF4-FFF2-40B4-BE49-F238E27FC236}">
                  <a16:creationId xmlns:a16="http://schemas.microsoft.com/office/drawing/2014/main" id="{12C74CA9-7295-4DD3-B257-BC02E33DC169}"/>
                </a:ext>
              </a:extLst>
            </p:cNvPr>
            <p:cNvSpPr/>
            <p:nvPr/>
          </p:nvSpPr>
          <p:spPr>
            <a:xfrm rot="8716295">
              <a:off x="2785455" y="388807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" name="Forme libre : forme 126">
              <a:extLst>
                <a:ext uri="{FF2B5EF4-FFF2-40B4-BE49-F238E27FC236}">
                  <a16:creationId xmlns:a16="http://schemas.microsoft.com/office/drawing/2014/main" id="{5EABE596-751A-434B-B681-D5C7A4015BC8}"/>
                </a:ext>
              </a:extLst>
            </p:cNvPr>
            <p:cNvSpPr/>
            <p:nvPr/>
          </p:nvSpPr>
          <p:spPr>
            <a:xfrm rot="8716295">
              <a:off x="2660553" y="367940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" name="Forme libre : forme 127">
              <a:extLst>
                <a:ext uri="{FF2B5EF4-FFF2-40B4-BE49-F238E27FC236}">
                  <a16:creationId xmlns:a16="http://schemas.microsoft.com/office/drawing/2014/main" id="{34A25BB8-E5A6-43A3-A6BE-6CBEBC3F2CD9}"/>
                </a:ext>
              </a:extLst>
            </p:cNvPr>
            <p:cNvSpPr/>
            <p:nvPr/>
          </p:nvSpPr>
          <p:spPr>
            <a:xfrm rot="8716295">
              <a:off x="2875633" y="392902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" name="Forme libre : forme 128">
              <a:extLst>
                <a:ext uri="{FF2B5EF4-FFF2-40B4-BE49-F238E27FC236}">
                  <a16:creationId xmlns:a16="http://schemas.microsoft.com/office/drawing/2014/main" id="{BC27C288-1E66-4F8B-924C-4EDB2BC25294}"/>
                </a:ext>
              </a:extLst>
            </p:cNvPr>
            <p:cNvSpPr/>
            <p:nvPr/>
          </p:nvSpPr>
          <p:spPr>
            <a:xfrm rot="8716295">
              <a:off x="2634182" y="377942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" name="Forme libre : forme 129">
              <a:extLst>
                <a:ext uri="{FF2B5EF4-FFF2-40B4-BE49-F238E27FC236}">
                  <a16:creationId xmlns:a16="http://schemas.microsoft.com/office/drawing/2014/main" id="{C22A0888-0C9E-4945-82D7-7EE608C46CC7}"/>
                </a:ext>
              </a:extLst>
            </p:cNvPr>
            <p:cNvSpPr/>
            <p:nvPr/>
          </p:nvSpPr>
          <p:spPr>
            <a:xfrm rot="7484129">
              <a:off x="2986722" y="4140706"/>
              <a:ext cx="156000" cy="195873"/>
            </a:xfrm>
            <a:custGeom>
              <a:avLst/>
              <a:gdLst>
                <a:gd name="connsiteX0" fmla="*/ 42863 w 156000"/>
                <a:gd name="connsiteY0" fmla="*/ 195873 h 195873"/>
                <a:gd name="connsiteX1" fmla="*/ 0 w 156000"/>
                <a:gd name="connsiteY1" fmla="*/ 116129 h 195873"/>
                <a:gd name="connsiteX2" fmla="*/ 19423 w 156000"/>
                <a:gd name="connsiteY2" fmla="*/ 62274 h 195873"/>
                <a:gd name="connsiteX3" fmla="*/ 127856 w 156000"/>
                <a:gd name="connsiteY3" fmla="*/ 0 h 195873"/>
                <a:gd name="connsiteX4" fmla="*/ 156000 w 156000"/>
                <a:gd name="connsiteY4" fmla="*/ 0 h 195873"/>
                <a:gd name="connsiteX5" fmla="*/ 156000 w 156000"/>
                <a:gd name="connsiteY5" fmla="*/ 55323 h 195873"/>
                <a:gd name="connsiteX6" fmla="*/ 91208 w 156000"/>
                <a:gd name="connsiteY6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000" h="195873">
                  <a:moveTo>
                    <a:pt x="42863" y="195873"/>
                  </a:moveTo>
                  <a:lnTo>
                    <a:pt x="0" y="116129"/>
                  </a:lnTo>
                  <a:lnTo>
                    <a:pt x="19423" y="62274"/>
                  </a:lnTo>
                  <a:lnTo>
                    <a:pt x="127856" y="0"/>
                  </a:lnTo>
                  <a:lnTo>
                    <a:pt x="156000" y="0"/>
                  </a:lnTo>
                  <a:lnTo>
                    <a:pt x="156000" y="55323"/>
                  </a:lnTo>
                  <a:lnTo>
                    <a:pt x="91208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" name="Forme libre : forme 130">
              <a:extLst>
                <a:ext uri="{FF2B5EF4-FFF2-40B4-BE49-F238E27FC236}">
                  <a16:creationId xmlns:a16="http://schemas.microsoft.com/office/drawing/2014/main" id="{B1E3FE16-8016-4EF3-8614-3D1D60105986}"/>
                </a:ext>
              </a:extLst>
            </p:cNvPr>
            <p:cNvSpPr/>
            <p:nvPr/>
          </p:nvSpPr>
          <p:spPr>
            <a:xfrm rot="8716295">
              <a:off x="2975918" y="382185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" name="Forme libre : forme 131">
              <a:extLst>
                <a:ext uri="{FF2B5EF4-FFF2-40B4-BE49-F238E27FC236}">
                  <a16:creationId xmlns:a16="http://schemas.microsoft.com/office/drawing/2014/main" id="{E69AE829-0E6B-4637-B9A4-FB76BF7CE509}"/>
                </a:ext>
              </a:extLst>
            </p:cNvPr>
            <p:cNvSpPr/>
            <p:nvPr/>
          </p:nvSpPr>
          <p:spPr>
            <a:xfrm rot="8716295">
              <a:off x="3136327" y="3677877"/>
              <a:ext cx="62210" cy="70771"/>
            </a:xfrm>
            <a:custGeom>
              <a:avLst/>
              <a:gdLst>
                <a:gd name="connsiteX0" fmla="*/ 0 w 62210"/>
                <a:gd name="connsiteY0" fmla="*/ 69343 h 70771"/>
                <a:gd name="connsiteX1" fmla="*/ 57354 w 62210"/>
                <a:gd name="connsiteY1" fmla="*/ 0 h 70771"/>
                <a:gd name="connsiteX2" fmla="*/ 62210 w 62210"/>
                <a:gd name="connsiteY2" fmla="*/ 11557 h 70771"/>
                <a:gd name="connsiteX3" fmla="*/ 44963 w 62210"/>
                <a:gd name="connsiteY3" fmla="*/ 53294 h 70771"/>
                <a:gd name="connsiteX4" fmla="*/ 3570 w 62210"/>
                <a:gd name="connsiteY4" fmla="*/ 70771 h 70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210" h="70771">
                  <a:moveTo>
                    <a:pt x="0" y="69343"/>
                  </a:moveTo>
                  <a:lnTo>
                    <a:pt x="57354" y="0"/>
                  </a:lnTo>
                  <a:lnTo>
                    <a:pt x="62210" y="11557"/>
                  </a:lnTo>
                  <a:cubicBezTo>
                    <a:pt x="62210" y="26619"/>
                    <a:pt x="56461" y="41796"/>
                    <a:pt x="44963" y="53294"/>
                  </a:cubicBezTo>
                  <a:cubicBezTo>
                    <a:pt x="33925" y="64332"/>
                    <a:pt x="19208" y="70771"/>
                    <a:pt x="3570" y="7077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" name="Forme libre : forme 132">
              <a:extLst>
                <a:ext uri="{FF2B5EF4-FFF2-40B4-BE49-F238E27FC236}">
                  <a16:creationId xmlns:a16="http://schemas.microsoft.com/office/drawing/2014/main" id="{D37688C2-C0A6-4E05-B609-4CB494CE709C}"/>
                </a:ext>
              </a:extLst>
            </p:cNvPr>
            <p:cNvSpPr/>
            <p:nvPr/>
          </p:nvSpPr>
          <p:spPr>
            <a:xfrm rot="8716295">
              <a:off x="2831757" y="470938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" name="Forme libre : forme 133">
              <a:extLst>
                <a:ext uri="{FF2B5EF4-FFF2-40B4-BE49-F238E27FC236}">
                  <a16:creationId xmlns:a16="http://schemas.microsoft.com/office/drawing/2014/main" id="{A3A6BF4C-1E72-4FF3-8FB3-699E9245E152}"/>
                </a:ext>
              </a:extLst>
            </p:cNvPr>
            <p:cNvSpPr/>
            <p:nvPr/>
          </p:nvSpPr>
          <p:spPr>
            <a:xfrm rot="8716295">
              <a:off x="2922791" y="4750051"/>
              <a:ext cx="209149" cy="251506"/>
            </a:xfrm>
            <a:custGeom>
              <a:avLst/>
              <a:gdLst>
                <a:gd name="connsiteX0" fmla="*/ 147179 w 209149"/>
                <a:gd name="connsiteY0" fmla="*/ 94758 h 251506"/>
                <a:gd name="connsiteX1" fmla="*/ 147179 w 209149"/>
                <a:gd name="connsiteY1" fmla="*/ 78354 h 251506"/>
                <a:gd name="connsiteX2" fmla="*/ 137667 w 209149"/>
                <a:gd name="connsiteY2" fmla="*/ 48394 h 251506"/>
                <a:gd name="connsiteX3" fmla="*/ 119535 w 209149"/>
                <a:gd name="connsiteY3" fmla="*/ 39776 h 251506"/>
                <a:gd name="connsiteX4" fmla="*/ 152434 w 209149"/>
                <a:gd name="connsiteY4" fmla="*/ 0 h 251506"/>
                <a:gd name="connsiteX5" fmla="*/ 165512 w 209149"/>
                <a:gd name="connsiteY5" fmla="*/ 2273 h 251506"/>
                <a:gd name="connsiteX6" fmla="*/ 209149 w 209149"/>
                <a:gd name="connsiteY6" fmla="*/ 85189 h 251506"/>
                <a:gd name="connsiteX7" fmla="*/ 209149 w 209149"/>
                <a:gd name="connsiteY7" fmla="*/ 91113 h 251506"/>
                <a:gd name="connsiteX8" fmla="*/ 0 w 209149"/>
                <a:gd name="connsiteY8" fmla="*/ 251506 h 251506"/>
                <a:gd name="connsiteX9" fmla="*/ 0 w 209149"/>
                <a:gd name="connsiteY9" fmla="*/ 184297 h 251506"/>
                <a:gd name="connsiteX10" fmla="*/ 62006 w 209149"/>
                <a:gd name="connsiteY10" fmla="*/ 109330 h 251506"/>
                <a:gd name="connsiteX11" fmla="*/ 60148 w 209149"/>
                <a:gd name="connsiteY11" fmla="*/ 124376 h 251506"/>
                <a:gd name="connsiteX12" fmla="*/ 60148 w 209149"/>
                <a:gd name="connsiteY12" fmla="*/ 210497 h 251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9149" h="251506">
                  <a:moveTo>
                    <a:pt x="147179" y="94758"/>
                  </a:moveTo>
                  <a:lnTo>
                    <a:pt x="147179" y="78354"/>
                  </a:lnTo>
                  <a:cubicBezTo>
                    <a:pt x="147179" y="66051"/>
                    <a:pt x="143648" y="55685"/>
                    <a:pt x="137667" y="48394"/>
                  </a:cubicBezTo>
                  <a:lnTo>
                    <a:pt x="119535" y="39776"/>
                  </a:lnTo>
                  <a:lnTo>
                    <a:pt x="152434" y="0"/>
                  </a:lnTo>
                  <a:lnTo>
                    <a:pt x="165512" y="2273"/>
                  </a:lnTo>
                  <a:cubicBezTo>
                    <a:pt x="193258" y="13764"/>
                    <a:pt x="209149" y="42812"/>
                    <a:pt x="209149" y="85189"/>
                  </a:cubicBezTo>
                  <a:lnTo>
                    <a:pt x="209149" y="91113"/>
                  </a:lnTo>
                  <a:close/>
                  <a:moveTo>
                    <a:pt x="0" y="251506"/>
                  </a:moveTo>
                  <a:lnTo>
                    <a:pt x="0" y="184297"/>
                  </a:lnTo>
                  <a:lnTo>
                    <a:pt x="62006" y="109330"/>
                  </a:lnTo>
                  <a:lnTo>
                    <a:pt x="60148" y="124376"/>
                  </a:lnTo>
                  <a:lnTo>
                    <a:pt x="60148" y="21049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" name="Forme libre : forme 134">
              <a:extLst>
                <a:ext uri="{FF2B5EF4-FFF2-40B4-BE49-F238E27FC236}">
                  <a16:creationId xmlns:a16="http://schemas.microsoft.com/office/drawing/2014/main" id="{5140B893-7827-4D80-AD77-FD3E70DDBAED}"/>
                </a:ext>
              </a:extLst>
            </p:cNvPr>
            <p:cNvSpPr/>
            <p:nvPr/>
          </p:nvSpPr>
          <p:spPr>
            <a:xfrm rot="8716295">
              <a:off x="2876299" y="465234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" name="Forme libre : forme 135">
              <a:extLst>
                <a:ext uri="{FF2B5EF4-FFF2-40B4-BE49-F238E27FC236}">
                  <a16:creationId xmlns:a16="http://schemas.microsoft.com/office/drawing/2014/main" id="{CEF19F0C-E18C-48D8-9AB5-6885668C7FC0}"/>
                </a:ext>
              </a:extLst>
            </p:cNvPr>
            <p:cNvSpPr/>
            <p:nvPr/>
          </p:nvSpPr>
          <p:spPr>
            <a:xfrm rot="8716295">
              <a:off x="2719523" y="479792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" name="Forme libre : forme 136">
              <a:extLst>
                <a:ext uri="{FF2B5EF4-FFF2-40B4-BE49-F238E27FC236}">
                  <a16:creationId xmlns:a16="http://schemas.microsoft.com/office/drawing/2014/main" id="{0BB22A70-3803-482F-84FC-984B6EC6C374}"/>
                </a:ext>
              </a:extLst>
            </p:cNvPr>
            <p:cNvSpPr/>
            <p:nvPr/>
          </p:nvSpPr>
          <p:spPr>
            <a:xfrm rot="8716295">
              <a:off x="2594620" y="458925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" name="Forme libre : forme 137">
              <a:extLst>
                <a:ext uri="{FF2B5EF4-FFF2-40B4-BE49-F238E27FC236}">
                  <a16:creationId xmlns:a16="http://schemas.microsoft.com/office/drawing/2014/main" id="{BB66996B-CABF-4C18-97CF-8361430CCC5E}"/>
                </a:ext>
              </a:extLst>
            </p:cNvPr>
            <p:cNvSpPr/>
            <p:nvPr/>
          </p:nvSpPr>
          <p:spPr>
            <a:xfrm rot="8716295">
              <a:off x="2582568" y="4450471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" name="Forme libre : forme 138">
              <a:extLst>
                <a:ext uri="{FF2B5EF4-FFF2-40B4-BE49-F238E27FC236}">
                  <a16:creationId xmlns:a16="http://schemas.microsoft.com/office/drawing/2014/main" id="{EE47147C-71F2-4045-A9A2-5EC38820966E}"/>
                </a:ext>
              </a:extLst>
            </p:cNvPr>
            <p:cNvSpPr/>
            <p:nvPr/>
          </p:nvSpPr>
          <p:spPr>
            <a:xfrm rot="8716295">
              <a:off x="2809701" y="483887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" name="Forme libre : forme 139">
              <a:extLst>
                <a:ext uri="{FF2B5EF4-FFF2-40B4-BE49-F238E27FC236}">
                  <a16:creationId xmlns:a16="http://schemas.microsoft.com/office/drawing/2014/main" id="{89BAF661-43F0-4B4A-A23C-BA7CE46BDD71}"/>
                </a:ext>
              </a:extLst>
            </p:cNvPr>
            <p:cNvSpPr/>
            <p:nvPr/>
          </p:nvSpPr>
          <p:spPr>
            <a:xfrm rot="8716295">
              <a:off x="3081353" y="4514214"/>
              <a:ext cx="36672" cy="44337"/>
            </a:xfrm>
            <a:custGeom>
              <a:avLst/>
              <a:gdLst>
                <a:gd name="connsiteX0" fmla="*/ 0 w 36672"/>
                <a:gd name="connsiteY0" fmla="*/ 44337 h 44337"/>
                <a:gd name="connsiteX1" fmla="*/ 36672 w 36672"/>
                <a:gd name="connsiteY1" fmla="*/ 0 h 44337"/>
                <a:gd name="connsiteX2" fmla="*/ 36672 w 36672"/>
                <a:gd name="connsiteY2" fmla="*/ 29833 h 44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672" h="44337">
                  <a:moveTo>
                    <a:pt x="0" y="44337"/>
                  </a:moveTo>
                  <a:lnTo>
                    <a:pt x="36672" y="0"/>
                  </a:lnTo>
                  <a:lnTo>
                    <a:pt x="36672" y="298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" name="Forme libre : forme 140">
              <a:extLst>
                <a:ext uri="{FF2B5EF4-FFF2-40B4-BE49-F238E27FC236}">
                  <a16:creationId xmlns:a16="http://schemas.microsoft.com/office/drawing/2014/main" id="{63A651C5-5D05-4459-83FE-EB640DC8F382}"/>
                </a:ext>
              </a:extLst>
            </p:cNvPr>
            <p:cNvSpPr/>
            <p:nvPr/>
          </p:nvSpPr>
          <p:spPr>
            <a:xfrm rot="8716295">
              <a:off x="3008622" y="45477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" name="Forme libre : forme 141">
              <a:extLst>
                <a:ext uri="{FF2B5EF4-FFF2-40B4-BE49-F238E27FC236}">
                  <a16:creationId xmlns:a16="http://schemas.microsoft.com/office/drawing/2014/main" id="{092AE7DF-4653-4199-BFAC-73916EFC860A}"/>
                </a:ext>
              </a:extLst>
            </p:cNvPr>
            <p:cNvSpPr/>
            <p:nvPr/>
          </p:nvSpPr>
          <p:spPr>
            <a:xfrm rot="8716295">
              <a:off x="2879209" y="433901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22587 h 195874"/>
                <a:gd name="connsiteX5" fmla="*/ 18682 w 203847"/>
                <a:gd name="connsiteY5" fmla="*/ 0 h 195874"/>
                <a:gd name="connsiteX6" fmla="*/ 203847 w 203847"/>
                <a:gd name="connsiteY6" fmla="*/ 0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22587"/>
                  </a:lnTo>
                  <a:lnTo>
                    <a:pt x="18682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" name="Forme libre : forme 142">
              <a:extLst>
                <a:ext uri="{FF2B5EF4-FFF2-40B4-BE49-F238E27FC236}">
                  <a16:creationId xmlns:a16="http://schemas.microsoft.com/office/drawing/2014/main" id="{D41ED30F-3026-421E-ABA6-358575487EBA}"/>
                </a:ext>
              </a:extLst>
            </p:cNvPr>
            <p:cNvSpPr/>
            <p:nvPr/>
          </p:nvSpPr>
          <p:spPr>
            <a:xfrm rot="8716295">
              <a:off x="3061023" y="4621511"/>
              <a:ext cx="34902" cy="75779"/>
            </a:xfrm>
            <a:custGeom>
              <a:avLst/>
              <a:gdLst>
                <a:gd name="connsiteX0" fmla="*/ 34902 w 34902"/>
                <a:gd name="connsiteY0" fmla="*/ 75779 h 75779"/>
                <a:gd name="connsiteX1" fmla="*/ 0 w 34902"/>
                <a:gd name="connsiteY1" fmla="*/ 42198 h 75779"/>
                <a:gd name="connsiteX2" fmla="*/ 34902 w 34902"/>
                <a:gd name="connsiteY2" fmla="*/ 0 h 75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902" h="75779">
                  <a:moveTo>
                    <a:pt x="34902" y="75779"/>
                  </a:moveTo>
                  <a:lnTo>
                    <a:pt x="0" y="42198"/>
                  </a:lnTo>
                  <a:lnTo>
                    <a:pt x="3490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4" name="Forme libre : forme 143">
              <a:extLst>
                <a:ext uri="{FF2B5EF4-FFF2-40B4-BE49-F238E27FC236}">
                  <a16:creationId xmlns:a16="http://schemas.microsoft.com/office/drawing/2014/main" id="{3F91EA7A-2760-47AB-B973-A377384BFCEB}"/>
                </a:ext>
              </a:extLst>
            </p:cNvPr>
            <p:cNvSpPr/>
            <p:nvPr/>
          </p:nvSpPr>
          <p:spPr>
            <a:xfrm rot="8716295">
              <a:off x="2857349" y="443912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5" name="Forme libre : forme 144">
              <a:extLst>
                <a:ext uri="{FF2B5EF4-FFF2-40B4-BE49-F238E27FC236}">
                  <a16:creationId xmlns:a16="http://schemas.microsoft.com/office/drawing/2014/main" id="{41EE0DAC-E1CD-4DF6-B038-DF99C017AF47}"/>
                </a:ext>
              </a:extLst>
            </p:cNvPr>
            <p:cNvSpPr/>
            <p:nvPr/>
          </p:nvSpPr>
          <p:spPr>
            <a:xfrm rot="8716295">
              <a:off x="1945235" y="207061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6" name="Forme libre : forme 145">
              <a:extLst>
                <a:ext uri="{FF2B5EF4-FFF2-40B4-BE49-F238E27FC236}">
                  <a16:creationId xmlns:a16="http://schemas.microsoft.com/office/drawing/2014/main" id="{280B0FCB-6B6E-4C11-92C1-4D7A5EC1D4AD}"/>
                </a:ext>
              </a:extLst>
            </p:cNvPr>
            <p:cNvSpPr/>
            <p:nvPr/>
          </p:nvSpPr>
          <p:spPr>
            <a:xfrm rot="8716295">
              <a:off x="2034627" y="209985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7" name="Forme libre : forme 146">
              <a:extLst>
                <a:ext uri="{FF2B5EF4-FFF2-40B4-BE49-F238E27FC236}">
                  <a16:creationId xmlns:a16="http://schemas.microsoft.com/office/drawing/2014/main" id="{9891BA28-484A-4733-8CF3-53CE88879C65}"/>
                </a:ext>
              </a:extLst>
            </p:cNvPr>
            <p:cNvSpPr/>
            <p:nvPr/>
          </p:nvSpPr>
          <p:spPr>
            <a:xfrm rot="8716295">
              <a:off x="1989777" y="201357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8" name="Forme libre : forme 147">
              <a:extLst>
                <a:ext uri="{FF2B5EF4-FFF2-40B4-BE49-F238E27FC236}">
                  <a16:creationId xmlns:a16="http://schemas.microsoft.com/office/drawing/2014/main" id="{9E43636F-0BE6-4C9B-B96D-D3D316F85163}"/>
                </a:ext>
              </a:extLst>
            </p:cNvPr>
            <p:cNvSpPr/>
            <p:nvPr/>
          </p:nvSpPr>
          <p:spPr>
            <a:xfrm rot="8716295">
              <a:off x="1833001" y="215915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9" name="Forme libre : forme 148">
              <a:extLst>
                <a:ext uri="{FF2B5EF4-FFF2-40B4-BE49-F238E27FC236}">
                  <a16:creationId xmlns:a16="http://schemas.microsoft.com/office/drawing/2014/main" id="{E5C5D07F-1F3F-49A7-9D1F-45F1F92DDF33}"/>
                </a:ext>
              </a:extLst>
            </p:cNvPr>
            <p:cNvSpPr/>
            <p:nvPr/>
          </p:nvSpPr>
          <p:spPr>
            <a:xfrm rot="8716295">
              <a:off x="1708098" y="195048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0" name="Forme libre : forme 149">
              <a:extLst>
                <a:ext uri="{FF2B5EF4-FFF2-40B4-BE49-F238E27FC236}">
                  <a16:creationId xmlns:a16="http://schemas.microsoft.com/office/drawing/2014/main" id="{207E57C6-B2AE-4BC9-A0BC-164A405D607B}"/>
                </a:ext>
              </a:extLst>
            </p:cNvPr>
            <p:cNvSpPr/>
            <p:nvPr/>
          </p:nvSpPr>
          <p:spPr>
            <a:xfrm rot="8716295">
              <a:off x="1696046" y="181170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1" name="Forme libre : forme 150">
              <a:extLst>
                <a:ext uri="{FF2B5EF4-FFF2-40B4-BE49-F238E27FC236}">
                  <a16:creationId xmlns:a16="http://schemas.microsoft.com/office/drawing/2014/main" id="{FD7783C5-00B3-479F-9977-DAF07693A1CC}"/>
                </a:ext>
              </a:extLst>
            </p:cNvPr>
            <p:cNvSpPr/>
            <p:nvPr/>
          </p:nvSpPr>
          <p:spPr>
            <a:xfrm rot="8716295">
              <a:off x="1923179" y="220010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2" name="Forme libre : forme 151">
              <a:extLst>
                <a:ext uri="{FF2B5EF4-FFF2-40B4-BE49-F238E27FC236}">
                  <a16:creationId xmlns:a16="http://schemas.microsoft.com/office/drawing/2014/main" id="{DEFBD7BA-14F9-43E3-A392-63B2C3EB3D89}"/>
                </a:ext>
              </a:extLst>
            </p:cNvPr>
            <p:cNvSpPr/>
            <p:nvPr/>
          </p:nvSpPr>
          <p:spPr>
            <a:xfrm rot="8716295">
              <a:off x="2234334" y="182046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3" name="Forme libre : forme 152">
              <a:extLst>
                <a:ext uri="{FF2B5EF4-FFF2-40B4-BE49-F238E27FC236}">
                  <a16:creationId xmlns:a16="http://schemas.microsoft.com/office/drawing/2014/main" id="{FA5B5BF3-F8F8-4C26-90BE-9AB63A9858C0}"/>
                </a:ext>
              </a:extLst>
            </p:cNvPr>
            <p:cNvSpPr/>
            <p:nvPr/>
          </p:nvSpPr>
          <p:spPr>
            <a:xfrm rot="8716295">
              <a:off x="2323726" y="184970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4" name="Forme libre : forme 153">
              <a:extLst>
                <a:ext uri="{FF2B5EF4-FFF2-40B4-BE49-F238E27FC236}">
                  <a16:creationId xmlns:a16="http://schemas.microsoft.com/office/drawing/2014/main" id="{7D4A76DD-C0C6-4680-9B5E-C0F67CFE2306}"/>
                </a:ext>
              </a:extLst>
            </p:cNvPr>
            <p:cNvSpPr/>
            <p:nvPr/>
          </p:nvSpPr>
          <p:spPr>
            <a:xfrm rot="8716295">
              <a:off x="2122100" y="19090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5" name="Forme libre : forme 154">
              <a:extLst>
                <a:ext uri="{FF2B5EF4-FFF2-40B4-BE49-F238E27FC236}">
                  <a16:creationId xmlns:a16="http://schemas.microsoft.com/office/drawing/2014/main" id="{6F20D922-BA49-4338-8552-0E24349BE40F}"/>
                </a:ext>
              </a:extLst>
            </p:cNvPr>
            <p:cNvSpPr/>
            <p:nvPr/>
          </p:nvSpPr>
          <p:spPr>
            <a:xfrm rot="8716295">
              <a:off x="1997198" y="170033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6" name="Forme libre : forme 155">
              <a:extLst>
                <a:ext uri="{FF2B5EF4-FFF2-40B4-BE49-F238E27FC236}">
                  <a16:creationId xmlns:a16="http://schemas.microsoft.com/office/drawing/2014/main" id="{C49CE272-F4B5-48DE-8F4E-72BDDD64982A}"/>
                </a:ext>
              </a:extLst>
            </p:cNvPr>
            <p:cNvSpPr/>
            <p:nvPr/>
          </p:nvSpPr>
          <p:spPr>
            <a:xfrm rot="8716295">
              <a:off x="2212278" y="194995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7" name="Forme libre : forme 156">
              <a:extLst>
                <a:ext uri="{FF2B5EF4-FFF2-40B4-BE49-F238E27FC236}">
                  <a16:creationId xmlns:a16="http://schemas.microsoft.com/office/drawing/2014/main" id="{89A0B9F3-EFEE-493B-B0C9-5CE4EF3AC015}"/>
                </a:ext>
              </a:extLst>
            </p:cNvPr>
            <p:cNvSpPr/>
            <p:nvPr/>
          </p:nvSpPr>
          <p:spPr>
            <a:xfrm rot="8716295">
              <a:off x="1970827" y="180035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8" name="Forme libre : forme 157">
              <a:extLst>
                <a:ext uri="{FF2B5EF4-FFF2-40B4-BE49-F238E27FC236}">
                  <a16:creationId xmlns:a16="http://schemas.microsoft.com/office/drawing/2014/main" id="{381186EF-923B-4BA3-A64F-0BC643A96F05}"/>
                </a:ext>
              </a:extLst>
            </p:cNvPr>
            <p:cNvSpPr/>
            <p:nvPr/>
          </p:nvSpPr>
          <p:spPr>
            <a:xfrm rot="7484129">
              <a:off x="2317209" y="214130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9" name="Forme libre : forme 158">
              <a:extLst>
                <a:ext uri="{FF2B5EF4-FFF2-40B4-BE49-F238E27FC236}">
                  <a16:creationId xmlns:a16="http://schemas.microsoft.com/office/drawing/2014/main" id="{788393C8-C36C-4E12-8713-6D9894A034E5}"/>
                </a:ext>
              </a:extLst>
            </p:cNvPr>
            <p:cNvSpPr/>
            <p:nvPr/>
          </p:nvSpPr>
          <p:spPr>
            <a:xfrm rot="13089394">
              <a:off x="2422029" y="2107841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0" name="Forme libre : forme 159">
              <a:extLst>
                <a:ext uri="{FF2B5EF4-FFF2-40B4-BE49-F238E27FC236}">
                  <a16:creationId xmlns:a16="http://schemas.microsoft.com/office/drawing/2014/main" id="{C4FA5850-C1BD-4E2E-921F-011D1E41FA44}"/>
                </a:ext>
              </a:extLst>
            </p:cNvPr>
            <p:cNvSpPr/>
            <p:nvPr/>
          </p:nvSpPr>
          <p:spPr>
            <a:xfrm rot="8716295">
              <a:off x="2607614" y="191616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1" name="Forme libre : forme 160">
              <a:extLst>
                <a:ext uri="{FF2B5EF4-FFF2-40B4-BE49-F238E27FC236}">
                  <a16:creationId xmlns:a16="http://schemas.microsoft.com/office/drawing/2014/main" id="{D19371A5-FFF2-4505-BA78-FDBD81E756C8}"/>
                </a:ext>
              </a:extLst>
            </p:cNvPr>
            <p:cNvSpPr/>
            <p:nvPr/>
          </p:nvSpPr>
          <p:spPr>
            <a:xfrm rot="8716295">
              <a:off x="2555809" y="181256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2" name="Forme libre : forme 161">
              <a:extLst>
                <a:ext uri="{FF2B5EF4-FFF2-40B4-BE49-F238E27FC236}">
                  <a16:creationId xmlns:a16="http://schemas.microsoft.com/office/drawing/2014/main" id="{A15BB5DD-2D34-4EE6-A86F-363F8D953409}"/>
                </a:ext>
              </a:extLst>
            </p:cNvPr>
            <p:cNvSpPr/>
            <p:nvPr/>
          </p:nvSpPr>
          <p:spPr>
            <a:xfrm rot="8716295">
              <a:off x="2312563" y="184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3" name="Forme libre : forme 162">
              <a:extLst>
                <a:ext uri="{FF2B5EF4-FFF2-40B4-BE49-F238E27FC236}">
                  <a16:creationId xmlns:a16="http://schemas.microsoft.com/office/drawing/2014/main" id="{EA840678-0C4C-427E-B930-90E4B3D4F4F5}"/>
                </a:ext>
              </a:extLst>
            </p:cNvPr>
            <p:cNvSpPr/>
            <p:nvPr/>
          </p:nvSpPr>
          <p:spPr>
            <a:xfrm rot="8716295">
              <a:off x="2490015" y="168354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4" name="Forme libre : forme 163">
              <a:extLst>
                <a:ext uri="{FF2B5EF4-FFF2-40B4-BE49-F238E27FC236}">
                  <a16:creationId xmlns:a16="http://schemas.microsoft.com/office/drawing/2014/main" id="{D24A7F84-D7C5-48B5-A2D9-046539552BF1}"/>
                </a:ext>
              </a:extLst>
            </p:cNvPr>
            <p:cNvSpPr/>
            <p:nvPr/>
          </p:nvSpPr>
          <p:spPr>
            <a:xfrm rot="8716295">
              <a:off x="1722068" y="141091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5" name="Forme libre : forme 164">
              <a:extLst>
                <a:ext uri="{FF2B5EF4-FFF2-40B4-BE49-F238E27FC236}">
                  <a16:creationId xmlns:a16="http://schemas.microsoft.com/office/drawing/2014/main" id="{5057A8E5-18E1-48A6-876F-42538393E91C}"/>
                </a:ext>
              </a:extLst>
            </p:cNvPr>
            <p:cNvSpPr/>
            <p:nvPr/>
          </p:nvSpPr>
          <p:spPr>
            <a:xfrm rot="8716295">
              <a:off x="1811460" y="144015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6" name="Forme libre : forme 165">
              <a:extLst>
                <a:ext uri="{FF2B5EF4-FFF2-40B4-BE49-F238E27FC236}">
                  <a16:creationId xmlns:a16="http://schemas.microsoft.com/office/drawing/2014/main" id="{F17BAF41-442E-4918-95C6-E19EEA6D7525}"/>
                </a:ext>
              </a:extLst>
            </p:cNvPr>
            <p:cNvSpPr/>
            <p:nvPr/>
          </p:nvSpPr>
          <p:spPr>
            <a:xfrm rot="8716295">
              <a:off x="1766610" y="135387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7" name="Forme libre : forme 166">
              <a:extLst>
                <a:ext uri="{FF2B5EF4-FFF2-40B4-BE49-F238E27FC236}">
                  <a16:creationId xmlns:a16="http://schemas.microsoft.com/office/drawing/2014/main" id="{62988CCC-AFDA-4601-89EC-2DCFE47EF1C9}"/>
                </a:ext>
              </a:extLst>
            </p:cNvPr>
            <p:cNvSpPr/>
            <p:nvPr/>
          </p:nvSpPr>
          <p:spPr>
            <a:xfrm rot="8716295">
              <a:off x="1609834" y="149945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8" name="Forme libre : forme 167">
              <a:extLst>
                <a:ext uri="{FF2B5EF4-FFF2-40B4-BE49-F238E27FC236}">
                  <a16:creationId xmlns:a16="http://schemas.microsoft.com/office/drawing/2014/main" id="{5054FA74-E8B8-46F3-A02A-768107F93576}"/>
                </a:ext>
              </a:extLst>
            </p:cNvPr>
            <p:cNvSpPr/>
            <p:nvPr/>
          </p:nvSpPr>
          <p:spPr>
            <a:xfrm rot="8716295">
              <a:off x="1484931" y="129078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9" name="Forme libre : forme 168">
              <a:extLst>
                <a:ext uri="{FF2B5EF4-FFF2-40B4-BE49-F238E27FC236}">
                  <a16:creationId xmlns:a16="http://schemas.microsoft.com/office/drawing/2014/main" id="{A04E0DF6-BDC7-4FC4-B1B7-F62238D08C5B}"/>
                </a:ext>
              </a:extLst>
            </p:cNvPr>
            <p:cNvSpPr/>
            <p:nvPr/>
          </p:nvSpPr>
          <p:spPr>
            <a:xfrm rot="8716295">
              <a:off x="1472879" y="115200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0" name="Forme libre : forme 169">
              <a:extLst>
                <a:ext uri="{FF2B5EF4-FFF2-40B4-BE49-F238E27FC236}">
                  <a16:creationId xmlns:a16="http://schemas.microsoft.com/office/drawing/2014/main" id="{57389608-4676-4687-8ECB-4D71B8133D4F}"/>
                </a:ext>
              </a:extLst>
            </p:cNvPr>
            <p:cNvSpPr/>
            <p:nvPr/>
          </p:nvSpPr>
          <p:spPr>
            <a:xfrm rot="8716295">
              <a:off x="1700012" y="154040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1" name="Forme libre : forme 170">
              <a:extLst>
                <a:ext uri="{FF2B5EF4-FFF2-40B4-BE49-F238E27FC236}">
                  <a16:creationId xmlns:a16="http://schemas.microsoft.com/office/drawing/2014/main" id="{B4719429-3450-446C-9492-3B4DE807655B}"/>
                </a:ext>
              </a:extLst>
            </p:cNvPr>
            <p:cNvSpPr/>
            <p:nvPr/>
          </p:nvSpPr>
          <p:spPr>
            <a:xfrm rot="8716295">
              <a:off x="2011167" y="116076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2" name="Forme libre : forme 171">
              <a:extLst>
                <a:ext uri="{FF2B5EF4-FFF2-40B4-BE49-F238E27FC236}">
                  <a16:creationId xmlns:a16="http://schemas.microsoft.com/office/drawing/2014/main" id="{1BD21CA5-EDB3-4B1C-9DA6-85A17C61C7E0}"/>
                </a:ext>
              </a:extLst>
            </p:cNvPr>
            <p:cNvSpPr/>
            <p:nvPr/>
          </p:nvSpPr>
          <p:spPr>
            <a:xfrm rot="8716295">
              <a:off x="2100559" y="119000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3" name="Forme libre : forme 172">
              <a:extLst>
                <a:ext uri="{FF2B5EF4-FFF2-40B4-BE49-F238E27FC236}">
                  <a16:creationId xmlns:a16="http://schemas.microsoft.com/office/drawing/2014/main" id="{7CA91DF5-20FD-481D-801E-1A30383F35AF}"/>
                </a:ext>
              </a:extLst>
            </p:cNvPr>
            <p:cNvSpPr/>
            <p:nvPr/>
          </p:nvSpPr>
          <p:spPr>
            <a:xfrm rot="8716295">
              <a:off x="1898933" y="124930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4" name="Forme libre : forme 173">
              <a:extLst>
                <a:ext uri="{FF2B5EF4-FFF2-40B4-BE49-F238E27FC236}">
                  <a16:creationId xmlns:a16="http://schemas.microsoft.com/office/drawing/2014/main" id="{14C3D20C-5774-494C-8893-5288670D0889}"/>
                </a:ext>
              </a:extLst>
            </p:cNvPr>
            <p:cNvSpPr/>
            <p:nvPr/>
          </p:nvSpPr>
          <p:spPr>
            <a:xfrm rot="8716295">
              <a:off x="1774031" y="104063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5" name="Forme libre : forme 174">
              <a:extLst>
                <a:ext uri="{FF2B5EF4-FFF2-40B4-BE49-F238E27FC236}">
                  <a16:creationId xmlns:a16="http://schemas.microsoft.com/office/drawing/2014/main" id="{921096A6-36F4-49A7-A062-8CA8DFB2FA2B}"/>
                </a:ext>
              </a:extLst>
            </p:cNvPr>
            <p:cNvSpPr/>
            <p:nvPr/>
          </p:nvSpPr>
          <p:spPr>
            <a:xfrm rot="8716295">
              <a:off x="1989111" y="129025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6" name="Forme libre : forme 175">
              <a:extLst>
                <a:ext uri="{FF2B5EF4-FFF2-40B4-BE49-F238E27FC236}">
                  <a16:creationId xmlns:a16="http://schemas.microsoft.com/office/drawing/2014/main" id="{B0920127-DB05-4341-ACD2-55A82DB831D0}"/>
                </a:ext>
              </a:extLst>
            </p:cNvPr>
            <p:cNvSpPr/>
            <p:nvPr/>
          </p:nvSpPr>
          <p:spPr>
            <a:xfrm rot="8716295">
              <a:off x="1747660" y="114065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7" name="Forme libre : forme 176">
              <a:extLst>
                <a:ext uri="{FF2B5EF4-FFF2-40B4-BE49-F238E27FC236}">
                  <a16:creationId xmlns:a16="http://schemas.microsoft.com/office/drawing/2014/main" id="{247E137A-2962-45C6-854D-3C335B97D942}"/>
                </a:ext>
              </a:extLst>
            </p:cNvPr>
            <p:cNvSpPr/>
            <p:nvPr/>
          </p:nvSpPr>
          <p:spPr>
            <a:xfrm rot="7484129">
              <a:off x="2094042" y="148160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8" name="Forme libre : forme 177">
              <a:extLst>
                <a:ext uri="{FF2B5EF4-FFF2-40B4-BE49-F238E27FC236}">
                  <a16:creationId xmlns:a16="http://schemas.microsoft.com/office/drawing/2014/main" id="{AF26B0FA-FC69-4100-A938-0778F8E044BC}"/>
                </a:ext>
              </a:extLst>
            </p:cNvPr>
            <p:cNvSpPr/>
            <p:nvPr/>
          </p:nvSpPr>
          <p:spPr>
            <a:xfrm rot="13089394">
              <a:off x="2198862" y="144814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9" name="Forme libre : forme 178">
              <a:extLst>
                <a:ext uri="{FF2B5EF4-FFF2-40B4-BE49-F238E27FC236}">
                  <a16:creationId xmlns:a16="http://schemas.microsoft.com/office/drawing/2014/main" id="{39EC1976-14A4-4281-9016-8D042C84E539}"/>
                </a:ext>
              </a:extLst>
            </p:cNvPr>
            <p:cNvSpPr/>
            <p:nvPr/>
          </p:nvSpPr>
          <p:spPr>
            <a:xfrm rot="8716295">
              <a:off x="2384447" y="125646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0" name="Forme libre : forme 179">
              <a:extLst>
                <a:ext uri="{FF2B5EF4-FFF2-40B4-BE49-F238E27FC236}">
                  <a16:creationId xmlns:a16="http://schemas.microsoft.com/office/drawing/2014/main" id="{C3D1445E-47EC-4B9A-86DA-68830C5A9003}"/>
                </a:ext>
              </a:extLst>
            </p:cNvPr>
            <p:cNvSpPr/>
            <p:nvPr/>
          </p:nvSpPr>
          <p:spPr>
            <a:xfrm rot="8716295">
              <a:off x="2332642" y="115286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" name="Forme libre : forme 180">
              <a:extLst>
                <a:ext uri="{FF2B5EF4-FFF2-40B4-BE49-F238E27FC236}">
                  <a16:creationId xmlns:a16="http://schemas.microsoft.com/office/drawing/2014/main" id="{6D64B041-AA03-4C2C-B195-E69DDAF61BCF}"/>
                </a:ext>
              </a:extLst>
            </p:cNvPr>
            <p:cNvSpPr/>
            <p:nvPr/>
          </p:nvSpPr>
          <p:spPr>
            <a:xfrm rot="8716295">
              <a:off x="2089396" y="118308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" name="Forme libre : forme 181">
              <a:extLst>
                <a:ext uri="{FF2B5EF4-FFF2-40B4-BE49-F238E27FC236}">
                  <a16:creationId xmlns:a16="http://schemas.microsoft.com/office/drawing/2014/main" id="{6929DCAA-A61B-45A7-8707-91162650FFF3}"/>
                </a:ext>
              </a:extLst>
            </p:cNvPr>
            <p:cNvSpPr/>
            <p:nvPr/>
          </p:nvSpPr>
          <p:spPr>
            <a:xfrm rot="8716295">
              <a:off x="2266848" y="102384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" name="Forme libre : forme 182">
              <a:extLst>
                <a:ext uri="{FF2B5EF4-FFF2-40B4-BE49-F238E27FC236}">
                  <a16:creationId xmlns:a16="http://schemas.microsoft.com/office/drawing/2014/main" id="{606C2101-E652-4D30-867F-39388545E11E}"/>
                </a:ext>
              </a:extLst>
            </p:cNvPr>
            <p:cNvSpPr/>
            <p:nvPr/>
          </p:nvSpPr>
          <p:spPr>
            <a:xfrm rot="8716295">
              <a:off x="1503129" y="74885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" name="Forme libre : forme 183">
              <a:extLst>
                <a:ext uri="{FF2B5EF4-FFF2-40B4-BE49-F238E27FC236}">
                  <a16:creationId xmlns:a16="http://schemas.microsoft.com/office/drawing/2014/main" id="{BCCF4C0A-B226-447A-AED6-6E411077F313}"/>
                </a:ext>
              </a:extLst>
            </p:cNvPr>
            <p:cNvSpPr/>
            <p:nvPr/>
          </p:nvSpPr>
          <p:spPr>
            <a:xfrm rot="8716295">
              <a:off x="1592521" y="77809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" name="Forme libre : forme 184">
              <a:extLst>
                <a:ext uri="{FF2B5EF4-FFF2-40B4-BE49-F238E27FC236}">
                  <a16:creationId xmlns:a16="http://schemas.microsoft.com/office/drawing/2014/main" id="{1047FAEE-E0A8-4DC0-AF81-D0262E51D58E}"/>
                </a:ext>
              </a:extLst>
            </p:cNvPr>
            <p:cNvSpPr/>
            <p:nvPr/>
          </p:nvSpPr>
          <p:spPr>
            <a:xfrm rot="8716295">
              <a:off x="1547671" y="69181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" name="Forme libre : forme 185">
              <a:extLst>
                <a:ext uri="{FF2B5EF4-FFF2-40B4-BE49-F238E27FC236}">
                  <a16:creationId xmlns:a16="http://schemas.microsoft.com/office/drawing/2014/main" id="{30E94405-5131-4E4F-8725-C67590E30DB2}"/>
                </a:ext>
              </a:extLst>
            </p:cNvPr>
            <p:cNvSpPr/>
            <p:nvPr/>
          </p:nvSpPr>
          <p:spPr>
            <a:xfrm rot="8716295">
              <a:off x="1390895" y="83739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" name="Forme libre : forme 186">
              <a:extLst>
                <a:ext uri="{FF2B5EF4-FFF2-40B4-BE49-F238E27FC236}">
                  <a16:creationId xmlns:a16="http://schemas.microsoft.com/office/drawing/2014/main" id="{3592B2BF-462B-42D1-B159-935FE013A746}"/>
                </a:ext>
              </a:extLst>
            </p:cNvPr>
            <p:cNvSpPr/>
            <p:nvPr/>
          </p:nvSpPr>
          <p:spPr>
            <a:xfrm rot="8716295">
              <a:off x="1265992" y="62872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" name="Forme libre : forme 187">
              <a:extLst>
                <a:ext uri="{FF2B5EF4-FFF2-40B4-BE49-F238E27FC236}">
                  <a16:creationId xmlns:a16="http://schemas.microsoft.com/office/drawing/2014/main" id="{1E56EF9D-6FEF-4D8D-A155-3A26210B9301}"/>
                </a:ext>
              </a:extLst>
            </p:cNvPr>
            <p:cNvSpPr/>
            <p:nvPr/>
          </p:nvSpPr>
          <p:spPr>
            <a:xfrm rot="8716295">
              <a:off x="1253940" y="48994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" name="Forme libre : forme 188">
              <a:extLst>
                <a:ext uri="{FF2B5EF4-FFF2-40B4-BE49-F238E27FC236}">
                  <a16:creationId xmlns:a16="http://schemas.microsoft.com/office/drawing/2014/main" id="{ABF55A8B-11D0-49F1-BB9C-9578891D6FAC}"/>
                </a:ext>
              </a:extLst>
            </p:cNvPr>
            <p:cNvSpPr/>
            <p:nvPr/>
          </p:nvSpPr>
          <p:spPr>
            <a:xfrm rot="8716295">
              <a:off x="1481073" y="87835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" name="Forme libre : forme 189">
              <a:extLst>
                <a:ext uri="{FF2B5EF4-FFF2-40B4-BE49-F238E27FC236}">
                  <a16:creationId xmlns:a16="http://schemas.microsoft.com/office/drawing/2014/main" id="{946D037D-9BA1-48DA-87EF-5EF5B831A0E1}"/>
                </a:ext>
              </a:extLst>
            </p:cNvPr>
            <p:cNvSpPr/>
            <p:nvPr/>
          </p:nvSpPr>
          <p:spPr>
            <a:xfrm rot="8716295">
              <a:off x="1792228" y="4987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" name="Forme libre : forme 190">
              <a:extLst>
                <a:ext uri="{FF2B5EF4-FFF2-40B4-BE49-F238E27FC236}">
                  <a16:creationId xmlns:a16="http://schemas.microsoft.com/office/drawing/2014/main" id="{27B82C76-9BEA-43A1-96FA-84295CCF0AA5}"/>
                </a:ext>
              </a:extLst>
            </p:cNvPr>
            <p:cNvSpPr/>
            <p:nvPr/>
          </p:nvSpPr>
          <p:spPr>
            <a:xfrm rot="8716295">
              <a:off x="1881620" y="5279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" name="Forme libre : forme 191">
              <a:extLst>
                <a:ext uri="{FF2B5EF4-FFF2-40B4-BE49-F238E27FC236}">
                  <a16:creationId xmlns:a16="http://schemas.microsoft.com/office/drawing/2014/main" id="{C9AF6FC6-301E-4498-93BF-1A9EB1439FE6}"/>
                </a:ext>
              </a:extLst>
            </p:cNvPr>
            <p:cNvSpPr/>
            <p:nvPr/>
          </p:nvSpPr>
          <p:spPr>
            <a:xfrm rot="8716295">
              <a:off x="1679994" y="58724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" name="Forme libre : forme 192">
              <a:extLst>
                <a:ext uri="{FF2B5EF4-FFF2-40B4-BE49-F238E27FC236}">
                  <a16:creationId xmlns:a16="http://schemas.microsoft.com/office/drawing/2014/main" id="{988C10D0-6B50-41AB-B9B5-23D20681103E}"/>
                </a:ext>
              </a:extLst>
            </p:cNvPr>
            <p:cNvSpPr/>
            <p:nvPr/>
          </p:nvSpPr>
          <p:spPr>
            <a:xfrm rot="8716295">
              <a:off x="1555092" y="37857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" name="Forme libre : forme 193">
              <a:extLst>
                <a:ext uri="{FF2B5EF4-FFF2-40B4-BE49-F238E27FC236}">
                  <a16:creationId xmlns:a16="http://schemas.microsoft.com/office/drawing/2014/main" id="{BA88EE97-63F0-4D28-BDD9-E175569D56C8}"/>
                </a:ext>
              </a:extLst>
            </p:cNvPr>
            <p:cNvSpPr/>
            <p:nvPr/>
          </p:nvSpPr>
          <p:spPr>
            <a:xfrm rot="8716295">
              <a:off x="1770172" y="62819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" name="Forme libre : forme 194">
              <a:extLst>
                <a:ext uri="{FF2B5EF4-FFF2-40B4-BE49-F238E27FC236}">
                  <a16:creationId xmlns:a16="http://schemas.microsoft.com/office/drawing/2014/main" id="{7DB936D3-752D-4426-96C6-451097B40A6E}"/>
                </a:ext>
              </a:extLst>
            </p:cNvPr>
            <p:cNvSpPr/>
            <p:nvPr/>
          </p:nvSpPr>
          <p:spPr>
            <a:xfrm rot="8716295">
              <a:off x="1528721" y="47859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" name="Forme libre : forme 195">
              <a:extLst>
                <a:ext uri="{FF2B5EF4-FFF2-40B4-BE49-F238E27FC236}">
                  <a16:creationId xmlns:a16="http://schemas.microsoft.com/office/drawing/2014/main" id="{6E95CB13-89AC-4C2B-9D9A-140661272E61}"/>
                </a:ext>
              </a:extLst>
            </p:cNvPr>
            <p:cNvSpPr/>
            <p:nvPr/>
          </p:nvSpPr>
          <p:spPr>
            <a:xfrm rot="7484129">
              <a:off x="1875103" y="8195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" name="Forme libre : forme 196">
              <a:extLst>
                <a:ext uri="{FF2B5EF4-FFF2-40B4-BE49-F238E27FC236}">
                  <a16:creationId xmlns:a16="http://schemas.microsoft.com/office/drawing/2014/main" id="{E94CA442-8190-4409-8D0E-996A3C13C977}"/>
                </a:ext>
              </a:extLst>
            </p:cNvPr>
            <p:cNvSpPr/>
            <p:nvPr/>
          </p:nvSpPr>
          <p:spPr>
            <a:xfrm rot="13089394">
              <a:off x="1979923" y="7860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" name="Forme libre : forme 197">
              <a:extLst>
                <a:ext uri="{FF2B5EF4-FFF2-40B4-BE49-F238E27FC236}">
                  <a16:creationId xmlns:a16="http://schemas.microsoft.com/office/drawing/2014/main" id="{52184F7E-FD35-4373-B77A-668CA5FF6983}"/>
                </a:ext>
              </a:extLst>
            </p:cNvPr>
            <p:cNvSpPr/>
            <p:nvPr/>
          </p:nvSpPr>
          <p:spPr>
            <a:xfrm rot="8716295">
              <a:off x="2165508" y="5944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" name="Forme libre : forme 198">
              <a:extLst>
                <a:ext uri="{FF2B5EF4-FFF2-40B4-BE49-F238E27FC236}">
                  <a16:creationId xmlns:a16="http://schemas.microsoft.com/office/drawing/2014/main" id="{203E9F12-3C6B-465D-9FDE-0F57C68E6794}"/>
                </a:ext>
              </a:extLst>
            </p:cNvPr>
            <p:cNvSpPr/>
            <p:nvPr/>
          </p:nvSpPr>
          <p:spPr>
            <a:xfrm rot="8716295">
              <a:off x="2113703" y="4908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" name="Forme libre : forme 199">
              <a:extLst>
                <a:ext uri="{FF2B5EF4-FFF2-40B4-BE49-F238E27FC236}">
                  <a16:creationId xmlns:a16="http://schemas.microsoft.com/office/drawing/2014/main" id="{3A4792DF-206D-4745-96BF-57BE9528DC29}"/>
                </a:ext>
              </a:extLst>
            </p:cNvPr>
            <p:cNvSpPr/>
            <p:nvPr/>
          </p:nvSpPr>
          <p:spPr>
            <a:xfrm rot="8716295">
              <a:off x="1870457" y="5210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" name="Forme libre : forme 200">
              <a:extLst>
                <a:ext uri="{FF2B5EF4-FFF2-40B4-BE49-F238E27FC236}">
                  <a16:creationId xmlns:a16="http://schemas.microsoft.com/office/drawing/2014/main" id="{D95C5BFF-0992-4FE2-933F-F0F5A8B60014}"/>
                </a:ext>
              </a:extLst>
            </p:cNvPr>
            <p:cNvSpPr/>
            <p:nvPr/>
          </p:nvSpPr>
          <p:spPr>
            <a:xfrm rot="8716295">
              <a:off x="2047909" y="3617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" name="Forme libre : forme 201">
              <a:extLst>
                <a:ext uri="{FF2B5EF4-FFF2-40B4-BE49-F238E27FC236}">
                  <a16:creationId xmlns:a16="http://schemas.microsoft.com/office/drawing/2014/main" id="{20C3FF4D-8F7D-4FCE-A8F6-F7C60C54B616}"/>
                </a:ext>
              </a:extLst>
            </p:cNvPr>
            <p:cNvSpPr/>
            <p:nvPr/>
          </p:nvSpPr>
          <p:spPr>
            <a:xfrm rot="8716295">
              <a:off x="1280459" y="8544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" name="Forme libre : forme 202">
              <a:extLst>
                <a:ext uri="{FF2B5EF4-FFF2-40B4-BE49-F238E27FC236}">
                  <a16:creationId xmlns:a16="http://schemas.microsoft.com/office/drawing/2014/main" id="{4A2EE2E0-D7CF-43D6-ACB3-BE33DBCC49BB}"/>
                </a:ext>
              </a:extLst>
            </p:cNvPr>
            <p:cNvSpPr/>
            <p:nvPr/>
          </p:nvSpPr>
          <p:spPr>
            <a:xfrm rot="8716295">
              <a:off x="1369851" y="11468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" name="Forme libre : forme 203">
              <a:extLst>
                <a:ext uri="{FF2B5EF4-FFF2-40B4-BE49-F238E27FC236}">
                  <a16:creationId xmlns:a16="http://schemas.microsoft.com/office/drawing/2014/main" id="{ADCFE50E-B4B9-4301-A613-96CD6C8E76F5}"/>
                </a:ext>
              </a:extLst>
            </p:cNvPr>
            <p:cNvSpPr/>
            <p:nvPr/>
          </p:nvSpPr>
          <p:spPr>
            <a:xfrm rot="8716295">
              <a:off x="1325001" y="2840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" name="Forme libre : forme 204">
              <a:extLst>
                <a:ext uri="{FF2B5EF4-FFF2-40B4-BE49-F238E27FC236}">
                  <a16:creationId xmlns:a16="http://schemas.microsoft.com/office/drawing/2014/main" id="{1C78DD3D-BA43-491E-A425-4F726ABF99F2}"/>
                </a:ext>
              </a:extLst>
            </p:cNvPr>
            <p:cNvSpPr/>
            <p:nvPr/>
          </p:nvSpPr>
          <p:spPr>
            <a:xfrm rot="8716295">
              <a:off x="1168225" y="17398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" name="Forme libre : forme 205">
              <a:extLst>
                <a:ext uri="{FF2B5EF4-FFF2-40B4-BE49-F238E27FC236}">
                  <a16:creationId xmlns:a16="http://schemas.microsoft.com/office/drawing/2014/main" id="{58A93461-0B09-4176-BDF3-87683487BEBD}"/>
                </a:ext>
              </a:extLst>
            </p:cNvPr>
            <p:cNvSpPr/>
            <p:nvPr/>
          </p:nvSpPr>
          <p:spPr>
            <a:xfrm rot="8716295">
              <a:off x="1045449" y="-13548"/>
              <a:ext cx="203847" cy="172572"/>
            </a:xfrm>
            <a:custGeom>
              <a:avLst/>
              <a:gdLst>
                <a:gd name="connsiteX0" fmla="*/ 98725 w 203847"/>
                <a:gd name="connsiteY0" fmla="*/ 172572 h 172572"/>
                <a:gd name="connsiteX1" fmla="*/ 65988 w 203847"/>
                <a:gd name="connsiteY1" fmla="*/ 149880 h 172572"/>
                <a:gd name="connsiteX2" fmla="*/ 47847 w 203847"/>
                <a:gd name="connsiteY2" fmla="*/ 116129 h 172572"/>
                <a:gd name="connsiteX3" fmla="*/ 69777 w 203847"/>
                <a:gd name="connsiteY3" fmla="*/ 55323 h 172572"/>
                <a:gd name="connsiteX4" fmla="*/ 0 w 203847"/>
                <a:gd name="connsiteY4" fmla="*/ 55323 h 172572"/>
                <a:gd name="connsiteX5" fmla="*/ 0 w 203847"/>
                <a:gd name="connsiteY5" fmla="*/ 0 h 172572"/>
                <a:gd name="connsiteX6" fmla="*/ 203847 w 203847"/>
                <a:gd name="connsiteY6" fmla="*/ 0 h 172572"/>
                <a:gd name="connsiteX7" fmla="*/ 203847 w 203847"/>
                <a:gd name="connsiteY7" fmla="*/ 55323 h 172572"/>
                <a:gd name="connsiteX8" fmla="*/ 139055 w 203847"/>
                <a:gd name="connsiteY8" fmla="*/ 55323 h 172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72572">
                  <a:moveTo>
                    <a:pt x="98725" y="172572"/>
                  </a:moveTo>
                  <a:lnTo>
                    <a:pt x="65988" y="149880"/>
                  </a:ln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" name="Forme libre : forme 206">
              <a:extLst>
                <a:ext uri="{FF2B5EF4-FFF2-40B4-BE49-F238E27FC236}">
                  <a16:creationId xmlns:a16="http://schemas.microsoft.com/office/drawing/2014/main" id="{F6E141F6-F3D7-4382-A5A9-B9DC46311949}"/>
                </a:ext>
              </a:extLst>
            </p:cNvPr>
            <p:cNvSpPr/>
            <p:nvPr/>
          </p:nvSpPr>
          <p:spPr>
            <a:xfrm rot="8716295">
              <a:off x="1049608" y="-107301"/>
              <a:ext cx="290643" cy="275223"/>
            </a:xfrm>
            <a:custGeom>
              <a:avLst/>
              <a:gdLst>
                <a:gd name="connsiteX0" fmla="*/ 79172 w 290643"/>
                <a:gd name="connsiteY0" fmla="*/ 128638 h 275223"/>
                <a:gd name="connsiteX1" fmla="*/ 0 w 290643"/>
                <a:gd name="connsiteY1" fmla="*/ 73758 h 275223"/>
                <a:gd name="connsiteX2" fmla="*/ 0 w 290643"/>
                <a:gd name="connsiteY2" fmla="*/ 40596 h 275223"/>
                <a:gd name="connsiteX3" fmla="*/ 78250 w 290643"/>
                <a:gd name="connsiteY3" fmla="*/ 0 h 275223"/>
                <a:gd name="connsiteX4" fmla="*/ 290643 w 290643"/>
                <a:gd name="connsiteY4" fmla="*/ 275223 h 275223"/>
                <a:gd name="connsiteX5" fmla="*/ 278016 w 290643"/>
                <a:gd name="connsiteY5" fmla="*/ 266470 h 275223"/>
                <a:gd name="connsiteX6" fmla="*/ 289467 w 290643"/>
                <a:gd name="connsiteY6" fmla="*/ 261815 h 275223"/>
                <a:gd name="connsiteX7" fmla="*/ 290643 w 290643"/>
                <a:gd name="connsiteY7" fmla="*/ 269463 h 27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0643" h="275223">
                  <a:moveTo>
                    <a:pt x="79172" y="128638"/>
                  </a:moveTo>
                  <a:lnTo>
                    <a:pt x="0" y="73758"/>
                  </a:lnTo>
                  <a:lnTo>
                    <a:pt x="0" y="40596"/>
                  </a:lnTo>
                  <a:lnTo>
                    <a:pt x="78250" y="0"/>
                  </a:lnTo>
                  <a:close/>
                  <a:moveTo>
                    <a:pt x="290643" y="275223"/>
                  </a:moveTo>
                  <a:lnTo>
                    <a:pt x="278016" y="266470"/>
                  </a:lnTo>
                  <a:lnTo>
                    <a:pt x="289467" y="261815"/>
                  </a:lnTo>
                  <a:cubicBezTo>
                    <a:pt x="290055" y="264168"/>
                    <a:pt x="290643" y="267110"/>
                    <a:pt x="290643" y="2694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" name="Forme libre : forme 207">
              <a:extLst>
                <a:ext uri="{FF2B5EF4-FFF2-40B4-BE49-F238E27FC236}">
                  <a16:creationId xmlns:a16="http://schemas.microsoft.com/office/drawing/2014/main" id="{4C5F5C19-6F05-476E-8B4C-2E1271E3709B}"/>
                </a:ext>
              </a:extLst>
            </p:cNvPr>
            <p:cNvSpPr/>
            <p:nvPr/>
          </p:nvSpPr>
          <p:spPr>
            <a:xfrm rot="8716295">
              <a:off x="1258403" y="21493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" name="Forme libre : forme 208">
              <a:extLst>
                <a:ext uri="{FF2B5EF4-FFF2-40B4-BE49-F238E27FC236}">
                  <a16:creationId xmlns:a16="http://schemas.microsoft.com/office/drawing/2014/main" id="{99462675-4E20-4299-99A1-8C989AC1AC7A}"/>
                </a:ext>
              </a:extLst>
            </p:cNvPr>
            <p:cNvSpPr/>
            <p:nvPr/>
          </p:nvSpPr>
          <p:spPr>
            <a:xfrm rot="8716295">
              <a:off x="1604517" y="-50002"/>
              <a:ext cx="142167" cy="106747"/>
            </a:xfrm>
            <a:custGeom>
              <a:avLst/>
              <a:gdLst>
                <a:gd name="connsiteX0" fmla="*/ 142167 w 142167"/>
                <a:gd name="connsiteY0" fmla="*/ 106747 h 106747"/>
                <a:gd name="connsiteX1" fmla="*/ 79942 w 142167"/>
                <a:gd name="connsiteY1" fmla="*/ 63615 h 106747"/>
                <a:gd name="connsiteX2" fmla="*/ 74103 w 142167"/>
                <a:gd name="connsiteY2" fmla="*/ 53597 h 106747"/>
                <a:gd name="connsiteX3" fmla="*/ 60604 w 142167"/>
                <a:gd name="connsiteY3" fmla="*/ 50123 h 106747"/>
                <a:gd name="connsiteX4" fmla="*/ 60478 w 142167"/>
                <a:gd name="connsiteY4" fmla="*/ 50123 h 106747"/>
                <a:gd name="connsiteX5" fmla="*/ 0 w 142167"/>
                <a:gd name="connsiteY5" fmla="*/ 8201 h 106747"/>
                <a:gd name="connsiteX6" fmla="*/ 0 w 142167"/>
                <a:gd name="connsiteY6" fmla="*/ 0 h 106747"/>
                <a:gd name="connsiteX7" fmla="*/ 85209 w 142167"/>
                <a:gd name="connsiteY7" fmla="*/ 0 h 106747"/>
                <a:gd name="connsiteX8" fmla="*/ 142167 w 142167"/>
                <a:gd name="connsiteY8" fmla="*/ 50123 h 10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06747">
                  <a:moveTo>
                    <a:pt x="142167" y="106747"/>
                  </a:moveTo>
                  <a:lnTo>
                    <a:pt x="79942" y="63615"/>
                  </a:lnTo>
                  <a:lnTo>
                    <a:pt x="74103" y="53597"/>
                  </a:lnTo>
                  <a:cubicBezTo>
                    <a:pt x="70400" y="50806"/>
                    <a:pt x="65616" y="49439"/>
                    <a:pt x="60604" y="50123"/>
                  </a:cubicBezTo>
                  <a:lnTo>
                    <a:pt x="60478" y="50123"/>
                  </a:lnTo>
                  <a:lnTo>
                    <a:pt x="0" y="8201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" name="Forme libre : forme 209">
              <a:extLst>
                <a:ext uri="{FF2B5EF4-FFF2-40B4-BE49-F238E27FC236}">
                  <a16:creationId xmlns:a16="http://schemas.microsoft.com/office/drawing/2014/main" id="{F18E365A-DFDC-47DB-8B33-290827288FD8}"/>
                </a:ext>
              </a:extLst>
            </p:cNvPr>
            <p:cNvSpPr/>
            <p:nvPr/>
          </p:nvSpPr>
          <p:spPr>
            <a:xfrm rot="8716295">
              <a:off x="1699771" y="-2013"/>
              <a:ext cx="260639" cy="104392"/>
            </a:xfrm>
            <a:custGeom>
              <a:avLst/>
              <a:gdLst>
                <a:gd name="connsiteX0" fmla="*/ 117530 w 260639"/>
                <a:gd name="connsiteY0" fmla="*/ 104392 h 104392"/>
                <a:gd name="connsiteX1" fmla="*/ 51490 w 260639"/>
                <a:gd name="connsiteY1" fmla="*/ 58614 h 104392"/>
                <a:gd name="connsiteX2" fmla="*/ 51490 w 260639"/>
                <a:gd name="connsiteY2" fmla="*/ 45624 h 104392"/>
                <a:gd name="connsiteX3" fmla="*/ 32748 w 260639"/>
                <a:gd name="connsiteY3" fmla="*/ 45624 h 104392"/>
                <a:gd name="connsiteX4" fmla="*/ 0 w 260639"/>
                <a:gd name="connsiteY4" fmla="*/ 22924 h 104392"/>
                <a:gd name="connsiteX5" fmla="*/ 0 w 260639"/>
                <a:gd name="connsiteY5" fmla="*/ 1425 h 104392"/>
                <a:gd name="connsiteX6" fmla="*/ 104802 w 260639"/>
                <a:gd name="connsiteY6" fmla="*/ 1425 h 104392"/>
                <a:gd name="connsiteX7" fmla="*/ 104802 w 260639"/>
                <a:gd name="connsiteY7" fmla="*/ 75242 h 104392"/>
                <a:gd name="connsiteX8" fmla="*/ 106169 w 260639"/>
                <a:gd name="connsiteY8" fmla="*/ 75242 h 104392"/>
                <a:gd name="connsiteX9" fmla="*/ 154014 w 260639"/>
                <a:gd name="connsiteY9" fmla="*/ 5981 h 104392"/>
                <a:gd name="connsiteX10" fmla="*/ 185455 w 260639"/>
                <a:gd name="connsiteY10" fmla="*/ 57 h 104392"/>
                <a:gd name="connsiteX11" fmla="*/ 260639 w 260639"/>
                <a:gd name="connsiteY11" fmla="*/ 88456 h 104392"/>
                <a:gd name="connsiteX12" fmla="*/ 260639 w 260639"/>
                <a:gd name="connsiteY12" fmla="*/ 94380 h 104392"/>
                <a:gd name="connsiteX13" fmla="*/ 198669 w 260639"/>
                <a:gd name="connsiteY13" fmla="*/ 98025 h 104392"/>
                <a:gd name="connsiteX14" fmla="*/ 198669 w 260639"/>
                <a:gd name="connsiteY14" fmla="*/ 81621 h 104392"/>
                <a:gd name="connsiteX15" fmla="*/ 164950 w 260639"/>
                <a:gd name="connsiteY15" fmla="*/ 40156 h 104392"/>
                <a:gd name="connsiteX16" fmla="*/ 127358 w 260639"/>
                <a:gd name="connsiteY16" fmla="*/ 65616 h 104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60639" h="104392">
                  <a:moveTo>
                    <a:pt x="117530" y="104392"/>
                  </a:moveTo>
                  <a:lnTo>
                    <a:pt x="51490" y="58614"/>
                  </a:lnTo>
                  <a:lnTo>
                    <a:pt x="51490" y="45624"/>
                  </a:lnTo>
                  <a:lnTo>
                    <a:pt x="32748" y="45624"/>
                  </a:lnTo>
                  <a:lnTo>
                    <a:pt x="0" y="229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5"/>
                    <a:pt x="184544" y="40156"/>
                    <a:pt x="164950" y="40156"/>
                  </a:cubicBezTo>
                  <a:cubicBezTo>
                    <a:pt x="150369" y="40156"/>
                    <a:pt x="137041" y="49839"/>
                    <a:pt x="127358" y="656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" name="Forme libre : forme 210">
              <a:extLst>
                <a:ext uri="{FF2B5EF4-FFF2-40B4-BE49-F238E27FC236}">
                  <a16:creationId xmlns:a16="http://schemas.microsoft.com/office/drawing/2014/main" id="{BD9DBA5B-B938-49AE-B4FF-DC0E17DDD56F}"/>
                </a:ext>
              </a:extLst>
            </p:cNvPr>
            <p:cNvSpPr/>
            <p:nvPr/>
          </p:nvSpPr>
          <p:spPr>
            <a:xfrm rot="8716295">
              <a:off x="1547502" y="-3521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" name="Forme libre : forme 211">
              <a:extLst>
                <a:ext uri="{FF2B5EF4-FFF2-40B4-BE49-F238E27FC236}">
                  <a16:creationId xmlns:a16="http://schemas.microsoft.com/office/drawing/2014/main" id="{8C64BFA5-88D5-4B19-8DD4-8DB6B59A61D8}"/>
                </a:ext>
              </a:extLst>
            </p:cNvPr>
            <p:cNvSpPr/>
            <p:nvPr/>
          </p:nvSpPr>
          <p:spPr>
            <a:xfrm rot="7484129">
              <a:off x="1652433" y="15613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" name="Forme libre : forme 212">
              <a:extLst>
                <a:ext uri="{FF2B5EF4-FFF2-40B4-BE49-F238E27FC236}">
                  <a16:creationId xmlns:a16="http://schemas.microsoft.com/office/drawing/2014/main" id="{034CC524-D8AC-40AF-8EAB-AB1B464A30AF}"/>
                </a:ext>
              </a:extLst>
            </p:cNvPr>
            <p:cNvSpPr/>
            <p:nvPr/>
          </p:nvSpPr>
          <p:spPr>
            <a:xfrm rot="13089394">
              <a:off x="1757253" y="122669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" name="Forme libre : forme 213">
              <a:extLst>
                <a:ext uri="{FF2B5EF4-FFF2-40B4-BE49-F238E27FC236}">
                  <a16:creationId xmlns:a16="http://schemas.microsoft.com/office/drawing/2014/main" id="{D78ECCFB-E224-46B7-92F0-42F89F972C82}"/>
                </a:ext>
              </a:extLst>
            </p:cNvPr>
            <p:cNvSpPr/>
            <p:nvPr/>
          </p:nvSpPr>
          <p:spPr>
            <a:xfrm rot="8716295">
              <a:off x="1960606" y="3279"/>
              <a:ext cx="142687" cy="109177"/>
            </a:xfrm>
            <a:custGeom>
              <a:avLst/>
              <a:gdLst>
                <a:gd name="connsiteX0" fmla="*/ 48521 w 142687"/>
                <a:gd name="connsiteY0" fmla="*/ 109177 h 109177"/>
                <a:gd name="connsiteX1" fmla="*/ 0 w 142687"/>
                <a:gd name="connsiteY1" fmla="*/ 75545 h 109177"/>
                <a:gd name="connsiteX2" fmla="*/ 44875 w 142687"/>
                <a:gd name="connsiteY2" fmla="*/ 33320 h 109177"/>
                <a:gd name="connsiteX3" fmla="*/ 109367 w 142687"/>
                <a:gd name="connsiteY3" fmla="*/ 0 h 109177"/>
                <a:gd name="connsiteX4" fmla="*/ 142687 w 142687"/>
                <a:gd name="connsiteY4" fmla="*/ 39770 h 109177"/>
                <a:gd name="connsiteX5" fmla="*/ 111516 w 142687"/>
                <a:gd name="connsiteY5" fmla="*/ 81689 h 109177"/>
                <a:gd name="connsiteX6" fmla="*/ 112053 w 142687"/>
                <a:gd name="connsiteY6" fmla="*/ 81689 h 109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687" h="109177">
                  <a:moveTo>
                    <a:pt x="48521" y="109177"/>
                  </a:moveTo>
                  <a:lnTo>
                    <a:pt x="0" y="75545"/>
                  </a:lnTo>
                  <a:lnTo>
                    <a:pt x="44875" y="33320"/>
                  </a:lnTo>
                  <a:cubicBezTo>
                    <a:pt x="60998" y="14511"/>
                    <a:pt x="84107" y="2687"/>
                    <a:pt x="109367" y="0"/>
                  </a:cubicBezTo>
                  <a:cubicBezTo>
                    <a:pt x="135163" y="0"/>
                    <a:pt x="142687" y="22572"/>
                    <a:pt x="142687" y="39770"/>
                  </a:cubicBezTo>
                  <a:cubicBezTo>
                    <a:pt x="141074" y="58580"/>
                    <a:pt x="128713" y="74165"/>
                    <a:pt x="111516" y="81689"/>
                  </a:cubicBezTo>
                  <a:lnTo>
                    <a:pt x="112053" y="816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" name="Forme libre : forme 214">
              <a:extLst>
                <a:ext uri="{FF2B5EF4-FFF2-40B4-BE49-F238E27FC236}">
                  <a16:creationId xmlns:a16="http://schemas.microsoft.com/office/drawing/2014/main" id="{30980170-BFE4-4DA8-B94E-3A74F835E666}"/>
                </a:ext>
              </a:extLst>
            </p:cNvPr>
            <p:cNvSpPr/>
            <p:nvPr/>
          </p:nvSpPr>
          <p:spPr>
            <a:xfrm rot="8716295">
              <a:off x="1076398" y="254697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" name="Forme libre : forme 215">
              <a:extLst>
                <a:ext uri="{FF2B5EF4-FFF2-40B4-BE49-F238E27FC236}">
                  <a16:creationId xmlns:a16="http://schemas.microsoft.com/office/drawing/2014/main" id="{EF36344D-9704-4C2C-BC8B-34C87B25880E}"/>
                </a:ext>
              </a:extLst>
            </p:cNvPr>
            <p:cNvSpPr/>
            <p:nvPr/>
          </p:nvSpPr>
          <p:spPr>
            <a:xfrm rot="8716295">
              <a:off x="1165790" y="257621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" name="Forme libre : forme 216">
              <a:extLst>
                <a:ext uri="{FF2B5EF4-FFF2-40B4-BE49-F238E27FC236}">
                  <a16:creationId xmlns:a16="http://schemas.microsoft.com/office/drawing/2014/main" id="{58A38589-98F6-451E-A434-58B30914CF96}"/>
                </a:ext>
              </a:extLst>
            </p:cNvPr>
            <p:cNvSpPr/>
            <p:nvPr/>
          </p:nvSpPr>
          <p:spPr>
            <a:xfrm rot="8716295">
              <a:off x="1120940" y="248993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" name="Forme libre : forme 217">
              <a:extLst>
                <a:ext uri="{FF2B5EF4-FFF2-40B4-BE49-F238E27FC236}">
                  <a16:creationId xmlns:a16="http://schemas.microsoft.com/office/drawing/2014/main" id="{1BBAB649-0D47-451B-AEA7-D99D438CCB67}"/>
                </a:ext>
              </a:extLst>
            </p:cNvPr>
            <p:cNvSpPr/>
            <p:nvPr/>
          </p:nvSpPr>
          <p:spPr>
            <a:xfrm rot="8716295">
              <a:off x="964164" y="263551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" name="Forme libre : forme 218">
              <a:extLst>
                <a:ext uri="{FF2B5EF4-FFF2-40B4-BE49-F238E27FC236}">
                  <a16:creationId xmlns:a16="http://schemas.microsoft.com/office/drawing/2014/main" id="{9ABD39F9-0013-4B66-B07C-F120985F94DF}"/>
                </a:ext>
              </a:extLst>
            </p:cNvPr>
            <p:cNvSpPr/>
            <p:nvPr/>
          </p:nvSpPr>
          <p:spPr>
            <a:xfrm rot="8716295">
              <a:off x="839261" y="242684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" name="Forme libre : forme 219">
              <a:extLst>
                <a:ext uri="{FF2B5EF4-FFF2-40B4-BE49-F238E27FC236}">
                  <a16:creationId xmlns:a16="http://schemas.microsoft.com/office/drawing/2014/main" id="{4B771D9C-DFA4-430F-84AF-9AE075F83BC7}"/>
                </a:ext>
              </a:extLst>
            </p:cNvPr>
            <p:cNvSpPr/>
            <p:nvPr/>
          </p:nvSpPr>
          <p:spPr>
            <a:xfrm rot="8716295">
              <a:off x="827209" y="228806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" name="Forme libre : forme 220">
              <a:extLst>
                <a:ext uri="{FF2B5EF4-FFF2-40B4-BE49-F238E27FC236}">
                  <a16:creationId xmlns:a16="http://schemas.microsoft.com/office/drawing/2014/main" id="{7FEF96BC-C543-4B58-AE20-95C6DC72AE3F}"/>
                </a:ext>
              </a:extLst>
            </p:cNvPr>
            <p:cNvSpPr/>
            <p:nvPr/>
          </p:nvSpPr>
          <p:spPr>
            <a:xfrm rot="8716295">
              <a:off x="1054342" y="267647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" name="Forme libre : forme 221">
              <a:extLst>
                <a:ext uri="{FF2B5EF4-FFF2-40B4-BE49-F238E27FC236}">
                  <a16:creationId xmlns:a16="http://schemas.microsoft.com/office/drawing/2014/main" id="{68891634-5A93-4AAD-9989-2DE5CE062379}"/>
                </a:ext>
              </a:extLst>
            </p:cNvPr>
            <p:cNvSpPr/>
            <p:nvPr/>
          </p:nvSpPr>
          <p:spPr>
            <a:xfrm rot="8716295">
              <a:off x="1365497" y="229682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" name="Forme libre : forme 222">
              <a:extLst>
                <a:ext uri="{FF2B5EF4-FFF2-40B4-BE49-F238E27FC236}">
                  <a16:creationId xmlns:a16="http://schemas.microsoft.com/office/drawing/2014/main" id="{39D665A4-4F4E-441C-B55C-726916A4039E}"/>
                </a:ext>
              </a:extLst>
            </p:cNvPr>
            <p:cNvSpPr/>
            <p:nvPr/>
          </p:nvSpPr>
          <p:spPr>
            <a:xfrm rot="8716295">
              <a:off x="1454889" y="232606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" name="Forme libre : forme 223">
              <a:extLst>
                <a:ext uri="{FF2B5EF4-FFF2-40B4-BE49-F238E27FC236}">
                  <a16:creationId xmlns:a16="http://schemas.microsoft.com/office/drawing/2014/main" id="{8AF4C94D-DC68-46A4-BF2C-889E3D6B62EC}"/>
                </a:ext>
              </a:extLst>
            </p:cNvPr>
            <p:cNvSpPr/>
            <p:nvPr/>
          </p:nvSpPr>
          <p:spPr>
            <a:xfrm rot="8716295">
              <a:off x="1253263" y="238536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" name="Forme libre : forme 224">
              <a:extLst>
                <a:ext uri="{FF2B5EF4-FFF2-40B4-BE49-F238E27FC236}">
                  <a16:creationId xmlns:a16="http://schemas.microsoft.com/office/drawing/2014/main" id="{C1408C1D-6D03-4994-BD3B-49E299BEE8DA}"/>
                </a:ext>
              </a:extLst>
            </p:cNvPr>
            <p:cNvSpPr/>
            <p:nvPr/>
          </p:nvSpPr>
          <p:spPr>
            <a:xfrm rot="8716295">
              <a:off x="1128361" y="217669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" name="Forme libre : forme 225">
              <a:extLst>
                <a:ext uri="{FF2B5EF4-FFF2-40B4-BE49-F238E27FC236}">
                  <a16:creationId xmlns:a16="http://schemas.microsoft.com/office/drawing/2014/main" id="{EB108B47-7607-4350-BAC7-848269D45EA1}"/>
                </a:ext>
              </a:extLst>
            </p:cNvPr>
            <p:cNvSpPr/>
            <p:nvPr/>
          </p:nvSpPr>
          <p:spPr>
            <a:xfrm rot="8716295">
              <a:off x="1343441" y="242631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" name="Forme libre : forme 226">
              <a:extLst>
                <a:ext uri="{FF2B5EF4-FFF2-40B4-BE49-F238E27FC236}">
                  <a16:creationId xmlns:a16="http://schemas.microsoft.com/office/drawing/2014/main" id="{016BF330-2E65-471B-BA9A-203A297FAFCE}"/>
                </a:ext>
              </a:extLst>
            </p:cNvPr>
            <p:cNvSpPr/>
            <p:nvPr/>
          </p:nvSpPr>
          <p:spPr>
            <a:xfrm rot="8716295">
              <a:off x="1101990" y="227671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" name="Forme libre : forme 227">
              <a:extLst>
                <a:ext uri="{FF2B5EF4-FFF2-40B4-BE49-F238E27FC236}">
                  <a16:creationId xmlns:a16="http://schemas.microsoft.com/office/drawing/2014/main" id="{20DF741A-5A82-48D0-A9BB-E29A7DA079B2}"/>
                </a:ext>
              </a:extLst>
            </p:cNvPr>
            <p:cNvSpPr/>
            <p:nvPr/>
          </p:nvSpPr>
          <p:spPr>
            <a:xfrm rot="7484129">
              <a:off x="1448372" y="261767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" name="Forme libre : forme 228">
              <a:extLst>
                <a:ext uri="{FF2B5EF4-FFF2-40B4-BE49-F238E27FC236}">
                  <a16:creationId xmlns:a16="http://schemas.microsoft.com/office/drawing/2014/main" id="{FBBC9382-FE3D-4581-90F5-934825D4E890}"/>
                </a:ext>
              </a:extLst>
            </p:cNvPr>
            <p:cNvSpPr/>
            <p:nvPr/>
          </p:nvSpPr>
          <p:spPr>
            <a:xfrm rot="13089394">
              <a:off x="1553192" y="258420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" name="Forme libre : forme 229">
              <a:extLst>
                <a:ext uri="{FF2B5EF4-FFF2-40B4-BE49-F238E27FC236}">
                  <a16:creationId xmlns:a16="http://schemas.microsoft.com/office/drawing/2014/main" id="{1722850A-0379-4FB9-9C9B-E45F998A47BD}"/>
                </a:ext>
              </a:extLst>
            </p:cNvPr>
            <p:cNvSpPr/>
            <p:nvPr/>
          </p:nvSpPr>
          <p:spPr>
            <a:xfrm rot="8716295">
              <a:off x="1738777" y="23925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" name="Forme libre : forme 230">
              <a:extLst>
                <a:ext uri="{FF2B5EF4-FFF2-40B4-BE49-F238E27FC236}">
                  <a16:creationId xmlns:a16="http://schemas.microsoft.com/office/drawing/2014/main" id="{BF511EF9-A49C-4AE3-8280-5A5B1337EE62}"/>
                </a:ext>
              </a:extLst>
            </p:cNvPr>
            <p:cNvSpPr/>
            <p:nvPr/>
          </p:nvSpPr>
          <p:spPr>
            <a:xfrm rot="8716295">
              <a:off x="1686972" y="228893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" name="Forme libre : forme 231">
              <a:extLst>
                <a:ext uri="{FF2B5EF4-FFF2-40B4-BE49-F238E27FC236}">
                  <a16:creationId xmlns:a16="http://schemas.microsoft.com/office/drawing/2014/main" id="{D138BF00-ED92-4133-ADF5-E9C66056A424}"/>
                </a:ext>
              </a:extLst>
            </p:cNvPr>
            <p:cNvSpPr/>
            <p:nvPr/>
          </p:nvSpPr>
          <p:spPr>
            <a:xfrm rot="8716295">
              <a:off x="1443726" y="231915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" name="Forme libre : forme 232">
              <a:extLst>
                <a:ext uri="{FF2B5EF4-FFF2-40B4-BE49-F238E27FC236}">
                  <a16:creationId xmlns:a16="http://schemas.microsoft.com/office/drawing/2014/main" id="{8E358CEB-AF06-484E-8852-BAE0311E02CC}"/>
                </a:ext>
              </a:extLst>
            </p:cNvPr>
            <p:cNvSpPr/>
            <p:nvPr/>
          </p:nvSpPr>
          <p:spPr>
            <a:xfrm rot="8716295">
              <a:off x="1621178" y="21599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" name="Forme libre : forme 233">
              <a:extLst>
                <a:ext uri="{FF2B5EF4-FFF2-40B4-BE49-F238E27FC236}">
                  <a16:creationId xmlns:a16="http://schemas.microsoft.com/office/drawing/2014/main" id="{9EBAEBBD-0226-432C-8DB2-1DA1060129B8}"/>
                </a:ext>
              </a:extLst>
            </p:cNvPr>
            <p:cNvSpPr/>
            <p:nvPr/>
          </p:nvSpPr>
          <p:spPr>
            <a:xfrm rot="8716295">
              <a:off x="1299565" y="320667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" name="Forme libre : forme 234">
              <a:extLst>
                <a:ext uri="{FF2B5EF4-FFF2-40B4-BE49-F238E27FC236}">
                  <a16:creationId xmlns:a16="http://schemas.microsoft.com/office/drawing/2014/main" id="{B666620F-F3D0-4B5D-9685-3CAB27EBF061}"/>
                </a:ext>
              </a:extLst>
            </p:cNvPr>
            <p:cNvSpPr/>
            <p:nvPr/>
          </p:nvSpPr>
          <p:spPr>
            <a:xfrm rot="8716295">
              <a:off x="1388957" y="323591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" name="Forme libre : forme 235">
              <a:extLst>
                <a:ext uri="{FF2B5EF4-FFF2-40B4-BE49-F238E27FC236}">
                  <a16:creationId xmlns:a16="http://schemas.microsoft.com/office/drawing/2014/main" id="{88947540-8C6A-4BF5-BB71-6D60ADEAEBA1}"/>
                </a:ext>
              </a:extLst>
            </p:cNvPr>
            <p:cNvSpPr/>
            <p:nvPr/>
          </p:nvSpPr>
          <p:spPr>
            <a:xfrm rot="8716295">
              <a:off x="1344107" y="314963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" name="Forme libre : forme 236">
              <a:extLst>
                <a:ext uri="{FF2B5EF4-FFF2-40B4-BE49-F238E27FC236}">
                  <a16:creationId xmlns:a16="http://schemas.microsoft.com/office/drawing/2014/main" id="{55A70DC6-65F6-4764-AD9C-C9CC5AC38D47}"/>
                </a:ext>
              </a:extLst>
            </p:cNvPr>
            <p:cNvSpPr/>
            <p:nvPr/>
          </p:nvSpPr>
          <p:spPr>
            <a:xfrm rot="8716295">
              <a:off x="1187331" y="329521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" name="Forme libre : forme 237">
              <a:extLst>
                <a:ext uri="{FF2B5EF4-FFF2-40B4-BE49-F238E27FC236}">
                  <a16:creationId xmlns:a16="http://schemas.microsoft.com/office/drawing/2014/main" id="{BB754C94-5023-48F1-A098-74F43CE79231}"/>
                </a:ext>
              </a:extLst>
            </p:cNvPr>
            <p:cNvSpPr/>
            <p:nvPr/>
          </p:nvSpPr>
          <p:spPr>
            <a:xfrm rot="8716295">
              <a:off x="1062428" y="308654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" name="Forme libre : forme 238">
              <a:extLst>
                <a:ext uri="{FF2B5EF4-FFF2-40B4-BE49-F238E27FC236}">
                  <a16:creationId xmlns:a16="http://schemas.microsoft.com/office/drawing/2014/main" id="{76EDC7DE-4ED0-41EE-BBDC-2D4CD0BE6E51}"/>
                </a:ext>
              </a:extLst>
            </p:cNvPr>
            <p:cNvSpPr/>
            <p:nvPr/>
          </p:nvSpPr>
          <p:spPr>
            <a:xfrm rot="8716295">
              <a:off x="1050376" y="294776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" name="Forme libre : forme 239">
              <a:extLst>
                <a:ext uri="{FF2B5EF4-FFF2-40B4-BE49-F238E27FC236}">
                  <a16:creationId xmlns:a16="http://schemas.microsoft.com/office/drawing/2014/main" id="{ABABCCB1-DB29-40D3-B384-2DA707723441}"/>
                </a:ext>
              </a:extLst>
            </p:cNvPr>
            <p:cNvSpPr/>
            <p:nvPr/>
          </p:nvSpPr>
          <p:spPr>
            <a:xfrm rot="8716295">
              <a:off x="1277509" y="333617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" name="Forme libre : forme 240">
              <a:extLst>
                <a:ext uri="{FF2B5EF4-FFF2-40B4-BE49-F238E27FC236}">
                  <a16:creationId xmlns:a16="http://schemas.microsoft.com/office/drawing/2014/main" id="{D86BE233-1E89-4884-9471-90ABF15AC049}"/>
                </a:ext>
              </a:extLst>
            </p:cNvPr>
            <p:cNvSpPr/>
            <p:nvPr/>
          </p:nvSpPr>
          <p:spPr>
            <a:xfrm rot="8716295">
              <a:off x="1588664" y="295652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" name="Forme libre : forme 241">
              <a:extLst>
                <a:ext uri="{FF2B5EF4-FFF2-40B4-BE49-F238E27FC236}">
                  <a16:creationId xmlns:a16="http://schemas.microsoft.com/office/drawing/2014/main" id="{1E4464D3-58E9-4A03-BB6A-8B83E3881142}"/>
                </a:ext>
              </a:extLst>
            </p:cNvPr>
            <p:cNvSpPr/>
            <p:nvPr/>
          </p:nvSpPr>
          <p:spPr>
            <a:xfrm rot="8716295">
              <a:off x="1678056" y="298576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" name="Forme libre : forme 242">
              <a:extLst>
                <a:ext uri="{FF2B5EF4-FFF2-40B4-BE49-F238E27FC236}">
                  <a16:creationId xmlns:a16="http://schemas.microsoft.com/office/drawing/2014/main" id="{17781F1F-DB19-4442-B92A-C7711450A6C2}"/>
                </a:ext>
              </a:extLst>
            </p:cNvPr>
            <p:cNvSpPr/>
            <p:nvPr/>
          </p:nvSpPr>
          <p:spPr>
            <a:xfrm rot="8716295">
              <a:off x="1476430" y="304506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" name="Forme libre : forme 243">
              <a:extLst>
                <a:ext uri="{FF2B5EF4-FFF2-40B4-BE49-F238E27FC236}">
                  <a16:creationId xmlns:a16="http://schemas.microsoft.com/office/drawing/2014/main" id="{DBD406CA-7502-44B6-87AF-2C3CFA35CDED}"/>
                </a:ext>
              </a:extLst>
            </p:cNvPr>
            <p:cNvSpPr/>
            <p:nvPr/>
          </p:nvSpPr>
          <p:spPr>
            <a:xfrm rot="8716295">
              <a:off x="1351528" y="283639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" name="Forme libre : forme 244">
              <a:extLst>
                <a:ext uri="{FF2B5EF4-FFF2-40B4-BE49-F238E27FC236}">
                  <a16:creationId xmlns:a16="http://schemas.microsoft.com/office/drawing/2014/main" id="{1D9F6882-BBB8-4C9A-BDD7-FAB6F4D5F59D}"/>
                </a:ext>
              </a:extLst>
            </p:cNvPr>
            <p:cNvSpPr/>
            <p:nvPr/>
          </p:nvSpPr>
          <p:spPr>
            <a:xfrm rot="8716295">
              <a:off x="1566608" y="308601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" name="Forme libre : forme 245">
              <a:extLst>
                <a:ext uri="{FF2B5EF4-FFF2-40B4-BE49-F238E27FC236}">
                  <a16:creationId xmlns:a16="http://schemas.microsoft.com/office/drawing/2014/main" id="{D03B605A-3C15-4096-9741-AEE20EFC39A1}"/>
                </a:ext>
              </a:extLst>
            </p:cNvPr>
            <p:cNvSpPr/>
            <p:nvPr/>
          </p:nvSpPr>
          <p:spPr>
            <a:xfrm rot="8716295">
              <a:off x="1325157" y="293641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" name="Forme libre : forme 246">
              <a:extLst>
                <a:ext uri="{FF2B5EF4-FFF2-40B4-BE49-F238E27FC236}">
                  <a16:creationId xmlns:a16="http://schemas.microsoft.com/office/drawing/2014/main" id="{38898AE8-B829-47A3-880A-38C78C89B9DE}"/>
                </a:ext>
              </a:extLst>
            </p:cNvPr>
            <p:cNvSpPr/>
            <p:nvPr/>
          </p:nvSpPr>
          <p:spPr>
            <a:xfrm rot="7484129">
              <a:off x="1671539" y="327736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" name="Forme libre : forme 247">
              <a:extLst>
                <a:ext uri="{FF2B5EF4-FFF2-40B4-BE49-F238E27FC236}">
                  <a16:creationId xmlns:a16="http://schemas.microsoft.com/office/drawing/2014/main" id="{6C94EF82-BA2B-46A8-965C-6EF68064713F}"/>
                </a:ext>
              </a:extLst>
            </p:cNvPr>
            <p:cNvSpPr/>
            <p:nvPr/>
          </p:nvSpPr>
          <p:spPr>
            <a:xfrm rot="13089394">
              <a:off x="1776359" y="324390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" name="Forme libre : forme 248">
              <a:extLst>
                <a:ext uri="{FF2B5EF4-FFF2-40B4-BE49-F238E27FC236}">
                  <a16:creationId xmlns:a16="http://schemas.microsoft.com/office/drawing/2014/main" id="{551D5950-1E6B-4DD0-AB72-CBFF9866A44D}"/>
                </a:ext>
              </a:extLst>
            </p:cNvPr>
            <p:cNvSpPr/>
            <p:nvPr/>
          </p:nvSpPr>
          <p:spPr>
            <a:xfrm rot="8716295">
              <a:off x="1961944" y="305222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" name="Forme libre : forme 249">
              <a:extLst>
                <a:ext uri="{FF2B5EF4-FFF2-40B4-BE49-F238E27FC236}">
                  <a16:creationId xmlns:a16="http://schemas.microsoft.com/office/drawing/2014/main" id="{B6B88D31-2E44-4166-86AB-E9E6ECCAF3B0}"/>
                </a:ext>
              </a:extLst>
            </p:cNvPr>
            <p:cNvSpPr/>
            <p:nvPr/>
          </p:nvSpPr>
          <p:spPr>
            <a:xfrm rot="8716295">
              <a:off x="1910139" y="294862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" name="Forme libre : forme 250">
              <a:extLst>
                <a:ext uri="{FF2B5EF4-FFF2-40B4-BE49-F238E27FC236}">
                  <a16:creationId xmlns:a16="http://schemas.microsoft.com/office/drawing/2014/main" id="{811032A2-B40D-4E18-A5FE-1E40E940D0A3}"/>
                </a:ext>
              </a:extLst>
            </p:cNvPr>
            <p:cNvSpPr/>
            <p:nvPr/>
          </p:nvSpPr>
          <p:spPr>
            <a:xfrm rot="8716295">
              <a:off x="1666893" y="297885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" name="Forme libre : forme 251">
              <a:extLst>
                <a:ext uri="{FF2B5EF4-FFF2-40B4-BE49-F238E27FC236}">
                  <a16:creationId xmlns:a16="http://schemas.microsoft.com/office/drawing/2014/main" id="{10E9AA39-FF6D-4519-822E-A935B8BFBA5C}"/>
                </a:ext>
              </a:extLst>
            </p:cNvPr>
            <p:cNvSpPr/>
            <p:nvPr/>
          </p:nvSpPr>
          <p:spPr>
            <a:xfrm rot="8716295">
              <a:off x="1844345" y="281960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" name="Forme libre : forme 252">
              <a:extLst>
                <a:ext uri="{FF2B5EF4-FFF2-40B4-BE49-F238E27FC236}">
                  <a16:creationId xmlns:a16="http://schemas.microsoft.com/office/drawing/2014/main" id="{6C0C2891-B5CF-43D2-8AFF-62DA18792308}"/>
                </a:ext>
              </a:extLst>
            </p:cNvPr>
            <p:cNvSpPr/>
            <p:nvPr/>
          </p:nvSpPr>
          <p:spPr>
            <a:xfrm rot="8716295">
              <a:off x="2092137" y="5100860"/>
              <a:ext cx="63833" cy="43384"/>
            </a:xfrm>
            <a:custGeom>
              <a:avLst/>
              <a:gdLst>
                <a:gd name="connsiteX0" fmla="*/ 5923 w 63833"/>
                <a:gd name="connsiteY0" fmla="*/ 43384 h 43384"/>
                <a:gd name="connsiteX1" fmla="*/ 0 w 63833"/>
                <a:gd name="connsiteY1" fmla="*/ 35182 h 43384"/>
                <a:gd name="connsiteX2" fmla="*/ 37391 w 63833"/>
                <a:gd name="connsiteY2" fmla="*/ 0 h 43384"/>
                <a:gd name="connsiteX3" fmla="*/ 63833 w 63833"/>
                <a:gd name="connsiteY3" fmla="*/ 18329 h 4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833" h="43384">
                  <a:moveTo>
                    <a:pt x="5923" y="43384"/>
                  </a:moveTo>
                  <a:lnTo>
                    <a:pt x="0" y="35182"/>
                  </a:lnTo>
                  <a:lnTo>
                    <a:pt x="37391" y="0"/>
                  </a:lnTo>
                  <a:lnTo>
                    <a:pt x="63833" y="1832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" name="Forme libre : forme 253">
              <a:extLst>
                <a:ext uri="{FF2B5EF4-FFF2-40B4-BE49-F238E27FC236}">
                  <a16:creationId xmlns:a16="http://schemas.microsoft.com/office/drawing/2014/main" id="{D0590309-C5C9-415B-B4DB-187E6398C8E2}"/>
                </a:ext>
              </a:extLst>
            </p:cNvPr>
            <p:cNvSpPr/>
            <p:nvPr/>
          </p:nvSpPr>
          <p:spPr>
            <a:xfrm rot="8716295">
              <a:off x="1789040" y="5044339"/>
              <a:ext cx="113322" cy="144291"/>
            </a:xfrm>
            <a:custGeom>
              <a:avLst/>
              <a:gdLst>
                <a:gd name="connsiteX0" fmla="*/ 0 w 113322"/>
                <a:gd name="connsiteY0" fmla="*/ 3741 h 144291"/>
                <a:gd name="connsiteX1" fmla="*/ 0 w 113322"/>
                <a:gd name="connsiteY1" fmla="*/ 0 h 144291"/>
                <a:gd name="connsiteX2" fmla="*/ 5398 w 113322"/>
                <a:gd name="connsiteY2" fmla="*/ 3741 h 144291"/>
                <a:gd name="connsiteX3" fmla="*/ 90709 w 113322"/>
                <a:gd name="connsiteY3" fmla="*/ 144291 h 144291"/>
                <a:gd name="connsiteX4" fmla="*/ 47847 w 113322"/>
                <a:gd name="connsiteY4" fmla="*/ 64547 h 144291"/>
                <a:gd name="connsiteX5" fmla="*/ 56901 w 113322"/>
                <a:gd name="connsiteY5" fmla="*/ 39441 h 144291"/>
                <a:gd name="connsiteX6" fmla="*/ 113322 w 113322"/>
                <a:gd name="connsiteY6" fmla="*/ 78551 h 144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322" h="144291">
                  <a:moveTo>
                    <a:pt x="0" y="3741"/>
                  </a:moveTo>
                  <a:lnTo>
                    <a:pt x="0" y="0"/>
                  </a:lnTo>
                  <a:lnTo>
                    <a:pt x="5398" y="3741"/>
                  </a:lnTo>
                  <a:close/>
                  <a:moveTo>
                    <a:pt x="90709" y="144291"/>
                  </a:moveTo>
                  <a:lnTo>
                    <a:pt x="47847" y="64547"/>
                  </a:lnTo>
                  <a:lnTo>
                    <a:pt x="56901" y="39441"/>
                  </a:lnTo>
                  <a:lnTo>
                    <a:pt x="113322" y="7855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" name="Forme libre : forme 254">
              <a:extLst>
                <a:ext uri="{FF2B5EF4-FFF2-40B4-BE49-F238E27FC236}">
                  <a16:creationId xmlns:a16="http://schemas.microsoft.com/office/drawing/2014/main" id="{5BD5D859-B6BE-4272-BEBA-C49F2EB86FA8}"/>
                </a:ext>
              </a:extLst>
            </p:cNvPr>
            <p:cNvSpPr/>
            <p:nvPr/>
          </p:nvSpPr>
          <p:spPr>
            <a:xfrm rot="8716295">
              <a:off x="1701335" y="4927006"/>
              <a:ext cx="290643" cy="318535"/>
            </a:xfrm>
            <a:custGeom>
              <a:avLst/>
              <a:gdLst>
                <a:gd name="connsiteX0" fmla="*/ 25298 w 290643"/>
                <a:gd name="connsiteY0" fmla="*/ 288944 h 318535"/>
                <a:gd name="connsiteX1" fmla="*/ 0 w 290643"/>
                <a:gd name="connsiteY1" fmla="*/ 187748 h 318535"/>
                <a:gd name="connsiteX2" fmla="*/ 0 w 290643"/>
                <a:gd name="connsiteY2" fmla="*/ 8302 h 318535"/>
                <a:gd name="connsiteX3" fmla="*/ 16003 w 290643"/>
                <a:gd name="connsiteY3" fmla="*/ 0 h 318535"/>
                <a:gd name="connsiteX4" fmla="*/ 78793 w 290643"/>
                <a:gd name="connsiteY4" fmla="*/ 43524 h 318535"/>
                <a:gd name="connsiteX5" fmla="*/ 79427 w 290643"/>
                <a:gd name="connsiteY5" fmla="*/ 131855 h 318535"/>
                <a:gd name="connsiteX6" fmla="*/ 93547 w 290643"/>
                <a:gd name="connsiteY6" fmla="*/ 229521 h 318535"/>
                <a:gd name="connsiteX7" fmla="*/ 164149 w 290643"/>
                <a:gd name="connsiteY7" fmla="*/ 268352 h 318535"/>
                <a:gd name="connsiteX8" fmla="*/ 217100 w 290643"/>
                <a:gd name="connsiteY8" fmla="*/ 258938 h 318535"/>
                <a:gd name="connsiteX9" fmla="*/ 289467 w 290643"/>
                <a:gd name="connsiteY9" fmla="*/ 229521 h 318535"/>
                <a:gd name="connsiteX10" fmla="*/ 290643 w 290643"/>
                <a:gd name="connsiteY10" fmla="*/ 237169 h 318535"/>
                <a:gd name="connsiteX11" fmla="*/ 290643 w 290643"/>
                <a:gd name="connsiteY11" fmla="*/ 243052 h 318535"/>
                <a:gd name="connsiteX12" fmla="*/ 97665 w 290643"/>
                <a:gd name="connsiteY12" fmla="*/ 318361 h 318535"/>
                <a:gd name="connsiteX13" fmla="*/ 25298 w 290643"/>
                <a:gd name="connsiteY13" fmla="*/ 288944 h 318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90643" h="318535">
                  <a:moveTo>
                    <a:pt x="25298" y="288944"/>
                  </a:moveTo>
                  <a:cubicBezTo>
                    <a:pt x="5295" y="269528"/>
                    <a:pt x="0" y="235992"/>
                    <a:pt x="0" y="187748"/>
                  </a:cubicBezTo>
                  <a:lnTo>
                    <a:pt x="0" y="8302"/>
                  </a:lnTo>
                  <a:lnTo>
                    <a:pt x="16003" y="0"/>
                  </a:lnTo>
                  <a:lnTo>
                    <a:pt x="78793" y="43524"/>
                  </a:lnTo>
                  <a:lnTo>
                    <a:pt x="79427" y="131855"/>
                  </a:lnTo>
                  <a:cubicBezTo>
                    <a:pt x="77662" y="164803"/>
                    <a:pt x="82957" y="198338"/>
                    <a:pt x="93547" y="229521"/>
                  </a:cubicBezTo>
                  <a:cubicBezTo>
                    <a:pt x="102961" y="255408"/>
                    <a:pt x="127083" y="268352"/>
                    <a:pt x="164149" y="268352"/>
                  </a:cubicBezTo>
                  <a:cubicBezTo>
                    <a:pt x="182387" y="267763"/>
                    <a:pt x="200038" y="264233"/>
                    <a:pt x="217100" y="258938"/>
                  </a:cubicBezTo>
                  <a:cubicBezTo>
                    <a:pt x="241810" y="251290"/>
                    <a:pt x="265933" y="241288"/>
                    <a:pt x="289467" y="229521"/>
                  </a:cubicBezTo>
                  <a:cubicBezTo>
                    <a:pt x="290055" y="231874"/>
                    <a:pt x="290643" y="234816"/>
                    <a:pt x="290643" y="237169"/>
                  </a:cubicBezTo>
                  <a:lnTo>
                    <a:pt x="290643" y="243052"/>
                  </a:lnTo>
                  <a:cubicBezTo>
                    <a:pt x="228278" y="296592"/>
                    <a:pt x="146498" y="315419"/>
                    <a:pt x="97665" y="318361"/>
                  </a:cubicBezTo>
                  <a:cubicBezTo>
                    <a:pt x="70602" y="320126"/>
                    <a:pt x="44126" y="308359"/>
                    <a:pt x="25298" y="28894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" name="Forme libre : forme 255">
              <a:extLst>
                <a:ext uri="{FF2B5EF4-FFF2-40B4-BE49-F238E27FC236}">
                  <a16:creationId xmlns:a16="http://schemas.microsoft.com/office/drawing/2014/main" id="{DF6324B6-1146-4A58-A87B-58A99832DFC5}"/>
                </a:ext>
              </a:extLst>
            </p:cNvPr>
            <p:cNvSpPr/>
            <p:nvPr/>
          </p:nvSpPr>
          <p:spPr>
            <a:xfrm rot="8716295">
              <a:off x="2251190" y="4935850"/>
              <a:ext cx="142167" cy="232388"/>
            </a:xfrm>
            <a:custGeom>
              <a:avLst/>
              <a:gdLst>
                <a:gd name="connsiteX0" fmla="*/ 81108 w 142167"/>
                <a:gd name="connsiteY0" fmla="*/ 232388 h 232388"/>
                <a:gd name="connsiteX1" fmla="*/ 81108 w 142167"/>
                <a:gd name="connsiteY1" fmla="*/ 69716 h 232388"/>
                <a:gd name="connsiteX2" fmla="*/ 81108 w 142167"/>
                <a:gd name="connsiteY2" fmla="*/ 65616 h 232388"/>
                <a:gd name="connsiteX3" fmla="*/ 60604 w 142167"/>
                <a:gd name="connsiteY3" fmla="*/ 50123 h 232388"/>
                <a:gd name="connsiteX4" fmla="*/ 0 w 142167"/>
                <a:gd name="connsiteY4" fmla="*/ 50123 h 232388"/>
                <a:gd name="connsiteX5" fmla="*/ 0 w 142167"/>
                <a:gd name="connsiteY5" fmla="*/ 0 h 232388"/>
                <a:gd name="connsiteX6" fmla="*/ 63990 w 142167"/>
                <a:gd name="connsiteY6" fmla="*/ 0 h 232388"/>
                <a:gd name="connsiteX7" fmla="*/ 142167 w 142167"/>
                <a:gd name="connsiteY7" fmla="*/ 54190 h 232388"/>
                <a:gd name="connsiteX8" fmla="*/ 142167 w 142167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32388">
                  <a:moveTo>
                    <a:pt x="81108" y="232388"/>
                  </a:moveTo>
                  <a:lnTo>
                    <a:pt x="81108" y="69716"/>
                  </a:lnTo>
                  <a:cubicBezTo>
                    <a:pt x="81108" y="68350"/>
                    <a:pt x="81108" y="66983"/>
                    <a:pt x="81108" y="65616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63990" y="0"/>
                  </a:lnTo>
                  <a:lnTo>
                    <a:pt x="142167" y="54190"/>
                  </a:lnTo>
                  <a:lnTo>
                    <a:pt x="142167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" name="Forme libre : forme 256">
              <a:extLst>
                <a:ext uri="{FF2B5EF4-FFF2-40B4-BE49-F238E27FC236}">
                  <a16:creationId xmlns:a16="http://schemas.microsoft.com/office/drawing/2014/main" id="{646EF66B-E595-4EAF-98DD-AFED25A9F1D2}"/>
                </a:ext>
              </a:extLst>
            </p:cNvPr>
            <p:cNvSpPr/>
            <p:nvPr/>
          </p:nvSpPr>
          <p:spPr>
            <a:xfrm rot="8716295">
              <a:off x="2456859" y="4924575"/>
              <a:ext cx="131246" cy="253348"/>
            </a:xfrm>
            <a:custGeom>
              <a:avLst/>
              <a:gdLst>
                <a:gd name="connsiteX0" fmla="*/ 51490 w 131246"/>
                <a:gd name="connsiteY0" fmla="*/ 253348 h 253348"/>
                <a:gd name="connsiteX1" fmla="*/ 51489 w 131246"/>
                <a:gd name="connsiteY1" fmla="*/ 44199 h 253348"/>
                <a:gd name="connsiteX2" fmla="*/ 0 w 131246"/>
                <a:gd name="connsiteY2" fmla="*/ 44199 h 253348"/>
                <a:gd name="connsiteX3" fmla="*/ 0 w 131246"/>
                <a:gd name="connsiteY3" fmla="*/ 0 h 253348"/>
                <a:gd name="connsiteX4" fmla="*/ 44807 w 131246"/>
                <a:gd name="connsiteY4" fmla="*/ 0 h 253348"/>
                <a:gd name="connsiteX5" fmla="*/ 104802 w 131246"/>
                <a:gd name="connsiteY5" fmla="*/ 41587 h 253348"/>
                <a:gd name="connsiteX6" fmla="*/ 104802 w 131246"/>
                <a:gd name="connsiteY6" fmla="*/ 73817 h 253348"/>
                <a:gd name="connsiteX7" fmla="*/ 106169 w 131246"/>
                <a:gd name="connsiteY7" fmla="*/ 73817 h 253348"/>
                <a:gd name="connsiteX8" fmla="*/ 115569 w 131246"/>
                <a:gd name="connsiteY8" fmla="*/ 49050 h 253348"/>
                <a:gd name="connsiteX9" fmla="*/ 131246 w 131246"/>
                <a:gd name="connsiteY9" fmla="*/ 59916 h 253348"/>
                <a:gd name="connsiteX10" fmla="*/ 127358 w 131246"/>
                <a:gd name="connsiteY10" fmla="*/ 64191 h 253348"/>
                <a:gd name="connsiteX11" fmla="*/ 111638 w 131246"/>
                <a:gd name="connsiteY11" fmla="*/ 126218 h 253348"/>
                <a:gd name="connsiteX12" fmla="*/ 111638 w 131246"/>
                <a:gd name="connsiteY12" fmla="*/ 212339 h 253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1246" h="253348">
                  <a:moveTo>
                    <a:pt x="51490" y="253348"/>
                  </a:moveTo>
                  <a:lnTo>
                    <a:pt x="51489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44807" y="0"/>
                  </a:lnTo>
                  <a:lnTo>
                    <a:pt x="104802" y="41587"/>
                  </a:lnTo>
                  <a:lnTo>
                    <a:pt x="104802" y="73817"/>
                  </a:lnTo>
                  <a:lnTo>
                    <a:pt x="106169" y="73817"/>
                  </a:lnTo>
                  <a:lnTo>
                    <a:pt x="115569" y="49050"/>
                  </a:lnTo>
                  <a:lnTo>
                    <a:pt x="131246" y="59916"/>
                  </a:lnTo>
                  <a:lnTo>
                    <a:pt x="127358" y="64191"/>
                  </a:lnTo>
                  <a:cubicBezTo>
                    <a:pt x="117675" y="79968"/>
                    <a:pt x="111638" y="101840"/>
                    <a:pt x="111638" y="126218"/>
                  </a:cubicBezTo>
                  <a:lnTo>
                    <a:pt x="111638" y="2123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" name="Forme libre : forme 257">
              <a:extLst>
                <a:ext uri="{FF2B5EF4-FFF2-40B4-BE49-F238E27FC236}">
                  <a16:creationId xmlns:a16="http://schemas.microsoft.com/office/drawing/2014/main" id="{BBB2A0DE-B613-4103-A446-00FD5673FDA7}"/>
                </a:ext>
              </a:extLst>
            </p:cNvPr>
            <p:cNvSpPr/>
            <p:nvPr/>
          </p:nvSpPr>
          <p:spPr>
            <a:xfrm rot="8716295">
              <a:off x="2139785" y="502413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" name="Forme libre : forme 258">
              <a:extLst>
                <a:ext uri="{FF2B5EF4-FFF2-40B4-BE49-F238E27FC236}">
                  <a16:creationId xmlns:a16="http://schemas.microsoft.com/office/drawing/2014/main" id="{CE0B209D-C132-46B3-A7D3-E99A86963D83}"/>
                </a:ext>
              </a:extLst>
            </p:cNvPr>
            <p:cNvSpPr/>
            <p:nvPr/>
          </p:nvSpPr>
          <p:spPr>
            <a:xfrm rot="8716295">
              <a:off x="2014883" y="481546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" name="Forme libre : forme 259">
              <a:extLst>
                <a:ext uri="{FF2B5EF4-FFF2-40B4-BE49-F238E27FC236}">
                  <a16:creationId xmlns:a16="http://schemas.microsoft.com/office/drawing/2014/main" id="{46BBD1CB-80EF-4DD7-9CA4-1F270A6D433D}"/>
                </a:ext>
              </a:extLst>
            </p:cNvPr>
            <p:cNvSpPr/>
            <p:nvPr/>
          </p:nvSpPr>
          <p:spPr>
            <a:xfrm rot="8716295">
              <a:off x="2190257" y="5090583"/>
              <a:ext cx="60147" cy="76898"/>
            </a:xfrm>
            <a:custGeom>
              <a:avLst/>
              <a:gdLst>
                <a:gd name="connsiteX0" fmla="*/ 60147 w 60147"/>
                <a:gd name="connsiteY0" fmla="*/ 76898 h 76898"/>
                <a:gd name="connsiteX1" fmla="*/ 0 w 60147"/>
                <a:gd name="connsiteY1" fmla="*/ 19028 h 76898"/>
                <a:gd name="connsiteX2" fmla="*/ 0 w 60147"/>
                <a:gd name="connsiteY2" fmla="*/ 0 h 76898"/>
                <a:gd name="connsiteX3" fmla="*/ 60147 w 60147"/>
                <a:gd name="connsiteY3" fmla="*/ 41692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7" h="76898">
                  <a:moveTo>
                    <a:pt x="60147" y="76898"/>
                  </a:moveTo>
                  <a:lnTo>
                    <a:pt x="0" y="19028"/>
                  </a:lnTo>
                  <a:lnTo>
                    <a:pt x="0" y="0"/>
                  </a:lnTo>
                  <a:lnTo>
                    <a:pt x="60147" y="416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" name="Forme libre : forme 260">
              <a:extLst>
                <a:ext uri="{FF2B5EF4-FFF2-40B4-BE49-F238E27FC236}">
                  <a16:creationId xmlns:a16="http://schemas.microsoft.com/office/drawing/2014/main" id="{A32DFF69-92E6-43D9-A847-4B37531C0FC1}"/>
                </a:ext>
              </a:extLst>
            </p:cNvPr>
            <p:cNvSpPr/>
            <p:nvPr/>
          </p:nvSpPr>
          <p:spPr>
            <a:xfrm rot="8716295">
              <a:off x="1988512" y="491548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" name="Forme libre : forme 261">
              <a:extLst>
                <a:ext uri="{FF2B5EF4-FFF2-40B4-BE49-F238E27FC236}">
                  <a16:creationId xmlns:a16="http://schemas.microsoft.com/office/drawing/2014/main" id="{8232E004-724D-4398-A64A-AF1F94C033B6}"/>
                </a:ext>
              </a:extLst>
            </p:cNvPr>
            <p:cNvSpPr/>
            <p:nvPr/>
          </p:nvSpPr>
          <p:spPr>
            <a:xfrm rot="8716295">
              <a:off x="2650789" y="5021708"/>
              <a:ext cx="177699" cy="117559"/>
            </a:xfrm>
            <a:custGeom>
              <a:avLst/>
              <a:gdLst>
                <a:gd name="connsiteX0" fmla="*/ 6986 w 177699"/>
                <a:gd name="connsiteY0" fmla="*/ 117559 h 117559"/>
                <a:gd name="connsiteX1" fmla="*/ 0 w 177699"/>
                <a:gd name="connsiteY1" fmla="*/ 107886 h 117559"/>
                <a:gd name="connsiteX2" fmla="*/ 114658 w 177699"/>
                <a:gd name="connsiteY2" fmla="*/ 0 h 117559"/>
                <a:gd name="connsiteX3" fmla="*/ 177699 w 177699"/>
                <a:gd name="connsiteY3" fmla="*/ 43698 h 117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7699" h="117559">
                  <a:moveTo>
                    <a:pt x="6986" y="117559"/>
                  </a:moveTo>
                  <a:lnTo>
                    <a:pt x="0" y="107886"/>
                  </a:lnTo>
                  <a:lnTo>
                    <a:pt x="114658" y="0"/>
                  </a:lnTo>
                  <a:lnTo>
                    <a:pt x="177699" y="436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" name="Forme libre : forme 262">
              <a:extLst>
                <a:ext uri="{FF2B5EF4-FFF2-40B4-BE49-F238E27FC236}">
                  <a16:creationId xmlns:a16="http://schemas.microsoft.com/office/drawing/2014/main" id="{FBFBE439-377B-4FDF-9911-15B61D5AC250}"/>
                </a:ext>
              </a:extLst>
            </p:cNvPr>
            <p:cNvSpPr/>
            <p:nvPr/>
          </p:nvSpPr>
          <p:spPr>
            <a:xfrm rot="8716295">
              <a:off x="2573494" y="492769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" name="Forme libre : forme 263">
              <a:extLst>
                <a:ext uri="{FF2B5EF4-FFF2-40B4-BE49-F238E27FC236}">
                  <a16:creationId xmlns:a16="http://schemas.microsoft.com/office/drawing/2014/main" id="{8F5A7FC6-58AF-4BF6-9769-158D9D43A4A8}"/>
                </a:ext>
              </a:extLst>
            </p:cNvPr>
            <p:cNvSpPr/>
            <p:nvPr/>
          </p:nvSpPr>
          <p:spPr>
            <a:xfrm rot="8716295">
              <a:off x="2330248" y="495791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" name="Forme libre : forme 264">
              <a:extLst>
                <a:ext uri="{FF2B5EF4-FFF2-40B4-BE49-F238E27FC236}">
                  <a16:creationId xmlns:a16="http://schemas.microsoft.com/office/drawing/2014/main" id="{0B99B4B3-E447-449D-B6F2-40AFC1232903}"/>
                </a:ext>
              </a:extLst>
            </p:cNvPr>
            <p:cNvSpPr/>
            <p:nvPr/>
          </p:nvSpPr>
          <p:spPr>
            <a:xfrm rot="8716295">
              <a:off x="2507700" y="479867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" name="Forme libre : forme 265">
              <a:extLst>
                <a:ext uri="{FF2B5EF4-FFF2-40B4-BE49-F238E27FC236}">
                  <a16:creationId xmlns:a16="http://schemas.microsoft.com/office/drawing/2014/main" id="{9FDE555B-22C7-4972-A03C-9A881E9F494C}"/>
                </a:ext>
              </a:extLst>
            </p:cNvPr>
            <p:cNvSpPr/>
            <p:nvPr/>
          </p:nvSpPr>
          <p:spPr>
            <a:xfrm rot="8716295">
              <a:off x="1518235" y="386507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" name="Forme libre : forme 266">
              <a:extLst>
                <a:ext uri="{FF2B5EF4-FFF2-40B4-BE49-F238E27FC236}">
                  <a16:creationId xmlns:a16="http://schemas.microsoft.com/office/drawing/2014/main" id="{47023A4A-E9A4-4E7C-9A1F-7F050E215658}"/>
                </a:ext>
              </a:extLst>
            </p:cNvPr>
            <p:cNvSpPr/>
            <p:nvPr/>
          </p:nvSpPr>
          <p:spPr>
            <a:xfrm rot="8716295">
              <a:off x="1607627" y="389431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" name="Forme libre : forme 267">
              <a:extLst>
                <a:ext uri="{FF2B5EF4-FFF2-40B4-BE49-F238E27FC236}">
                  <a16:creationId xmlns:a16="http://schemas.microsoft.com/office/drawing/2014/main" id="{721AE192-0DE9-44CE-AFE7-60EAD2184BA9}"/>
                </a:ext>
              </a:extLst>
            </p:cNvPr>
            <p:cNvSpPr/>
            <p:nvPr/>
          </p:nvSpPr>
          <p:spPr>
            <a:xfrm rot="8716295">
              <a:off x="1562777" y="380803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" name="Forme libre : forme 268">
              <a:extLst>
                <a:ext uri="{FF2B5EF4-FFF2-40B4-BE49-F238E27FC236}">
                  <a16:creationId xmlns:a16="http://schemas.microsoft.com/office/drawing/2014/main" id="{C1003FCB-894D-4CB7-9C82-85789FE9B276}"/>
                </a:ext>
              </a:extLst>
            </p:cNvPr>
            <p:cNvSpPr/>
            <p:nvPr/>
          </p:nvSpPr>
          <p:spPr>
            <a:xfrm rot="8716295">
              <a:off x="1406001" y="395361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0" name="Forme libre : forme 269">
              <a:extLst>
                <a:ext uri="{FF2B5EF4-FFF2-40B4-BE49-F238E27FC236}">
                  <a16:creationId xmlns:a16="http://schemas.microsoft.com/office/drawing/2014/main" id="{7F48A554-D952-4BC7-8F60-7FBDCE05FE70}"/>
                </a:ext>
              </a:extLst>
            </p:cNvPr>
            <p:cNvSpPr/>
            <p:nvPr/>
          </p:nvSpPr>
          <p:spPr>
            <a:xfrm rot="8716295">
              <a:off x="1281098" y="374494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1" name="Forme libre : forme 270">
              <a:extLst>
                <a:ext uri="{FF2B5EF4-FFF2-40B4-BE49-F238E27FC236}">
                  <a16:creationId xmlns:a16="http://schemas.microsoft.com/office/drawing/2014/main" id="{B64659B2-F8CD-4B3D-8353-ED1AAF15923F}"/>
                </a:ext>
              </a:extLst>
            </p:cNvPr>
            <p:cNvSpPr/>
            <p:nvPr/>
          </p:nvSpPr>
          <p:spPr>
            <a:xfrm rot="8716295">
              <a:off x="1269046" y="3606161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2" name="Forme libre : forme 271">
              <a:extLst>
                <a:ext uri="{FF2B5EF4-FFF2-40B4-BE49-F238E27FC236}">
                  <a16:creationId xmlns:a16="http://schemas.microsoft.com/office/drawing/2014/main" id="{C1336409-0E83-4F9F-AE44-B0095CEBE127}"/>
                </a:ext>
              </a:extLst>
            </p:cNvPr>
            <p:cNvSpPr/>
            <p:nvPr/>
          </p:nvSpPr>
          <p:spPr>
            <a:xfrm rot="8716295">
              <a:off x="1496179" y="399456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3" name="Forme libre : forme 272">
              <a:extLst>
                <a:ext uri="{FF2B5EF4-FFF2-40B4-BE49-F238E27FC236}">
                  <a16:creationId xmlns:a16="http://schemas.microsoft.com/office/drawing/2014/main" id="{11163225-7511-4602-A804-B9D156B88F47}"/>
                </a:ext>
              </a:extLst>
            </p:cNvPr>
            <p:cNvSpPr/>
            <p:nvPr/>
          </p:nvSpPr>
          <p:spPr>
            <a:xfrm rot="8716295">
              <a:off x="1807334" y="36149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4" name="Forme libre : forme 273">
              <a:extLst>
                <a:ext uri="{FF2B5EF4-FFF2-40B4-BE49-F238E27FC236}">
                  <a16:creationId xmlns:a16="http://schemas.microsoft.com/office/drawing/2014/main" id="{81961769-D6FF-4365-87D3-0FF20F673A4A}"/>
                </a:ext>
              </a:extLst>
            </p:cNvPr>
            <p:cNvSpPr/>
            <p:nvPr/>
          </p:nvSpPr>
          <p:spPr>
            <a:xfrm rot="8716295">
              <a:off x="1896726" y="36441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5" name="Forme libre : forme 274">
              <a:extLst>
                <a:ext uri="{FF2B5EF4-FFF2-40B4-BE49-F238E27FC236}">
                  <a16:creationId xmlns:a16="http://schemas.microsoft.com/office/drawing/2014/main" id="{D838E7DA-A3D8-4733-90D9-56C4006640C1}"/>
                </a:ext>
              </a:extLst>
            </p:cNvPr>
            <p:cNvSpPr/>
            <p:nvPr/>
          </p:nvSpPr>
          <p:spPr>
            <a:xfrm rot="8716295">
              <a:off x="1695100" y="370346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6" name="Forme libre : forme 275">
              <a:extLst>
                <a:ext uri="{FF2B5EF4-FFF2-40B4-BE49-F238E27FC236}">
                  <a16:creationId xmlns:a16="http://schemas.microsoft.com/office/drawing/2014/main" id="{BE48505C-4A3C-41E8-805D-3F3964663DC3}"/>
                </a:ext>
              </a:extLst>
            </p:cNvPr>
            <p:cNvSpPr/>
            <p:nvPr/>
          </p:nvSpPr>
          <p:spPr>
            <a:xfrm rot="8716295">
              <a:off x="1570198" y="349478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7" name="Forme libre : forme 276">
              <a:extLst>
                <a:ext uri="{FF2B5EF4-FFF2-40B4-BE49-F238E27FC236}">
                  <a16:creationId xmlns:a16="http://schemas.microsoft.com/office/drawing/2014/main" id="{74C1AFD3-7B5D-49B6-B346-37FFDE5D01C0}"/>
                </a:ext>
              </a:extLst>
            </p:cNvPr>
            <p:cNvSpPr/>
            <p:nvPr/>
          </p:nvSpPr>
          <p:spPr>
            <a:xfrm rot="8716295">
              <a:off x="1785278" y="37444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8" name="Forme libre : forme 277">
              <a:extLst>
                <a:ext uri="{FF2B5EF4-FFF2-40B4-BE49-F238E27FC236}">
                  <a16:creationId xmlns:a16="http://schemas.microsoft.com/office/drawing/2014/main" id="{B918BF38-28D0-4E79-852B-01ED43D79B29}"/>
                </a:ext>
              </a:extLst>
            </p:cNvPr>
            <p:cNvSpPr/>
            <p:nvPr/>
          </p:nvSpPr>
          <p:spPr>
            <a:xfrm rot="8716295">
              <a:off x="1543827" y="359481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9" name="Forme libre : forme 278">
              <a:extLst>
                <a:ext uri="{FF2B5EF4-FFF2-40B4-BE49-F238E27FC236}">
                  <a16:creationId xmlns:a16="http://schemas.microsoft.com/office/drawing/2014/main" id="{9821C7DC-A0EE-43BB-82AD-2D73FD4DEC58}"/>
                </a:ext>
              </a:extLst>
            </p:cNvPr>
            <p:cNvSpPr/>
            <p:nvPr/>
          </p:nvSpPr>
          <p:spPr>
            <a:xfrm rot="7484129">
              <a:off x="1890209" y="393576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0" name="Forme libre : forme 279">
              <a:extLst>
                <a:ext uri="{FF2B5EF4-FFF2-40B4-BE49-F238E27FC236}">
                  <a16:creationId xmlns:a16="http://schemas.microsoft.com/office/drawing/2014/main" id="{CE9B832D-CDB0-4485-83A6-7D7ED44A3320}"/>
                </a:ext>
              </a:extLst>
            </p:cNvPr>
            <p:cNvSpPr/>
            <p:nvPr/>
          </p:nvSpPr>
          <p:spPr>
            <a:xfrm rot="13089394">
              <a:off x="1995029" y="3902299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1" name="Forme libre : forme 280">
              <a:extLst>
                <a:ext uri="{FF2B5EF4-FFF2-40B4-BE49-F238E27FC236}">
                  <a16:creationId xmlns:a16="http://schemas.microsoft.com/office/drawing/2014/main" id="{B39230A2-1C21-4062-B5E2-4E3B7D0C88CD}"/>
                </a:ext>
              </a:extLst>
            </p:cNvPr>
            <p:cNvSpPr/>
            <p:nvPr/>
          </p:nvSpPr>
          <p:spPr>
            <a:xfrm rot="8716295">
              <a:off x="2180614" y="371061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2" name="Forme libre : forme 281">
              <a:extLst>
                <a:ext uri="{FF2B5EF4-FFF2-40B4-BE49-F238E27FC236}">
                  <a16:creationId xmlns:a16="http://schemas.microsoft.com/office/drawing/2014/main" id="{81DCB6A5-C857-4E79-932B-EE7CD6E9E80D}"/>
                </a:ext>
              </a:extLst>
            </p:cNvPr>
            <p:cNvSpPr/>
            <p:nvPr/>
          </p:nvSpPr>
          <p:spPr>
            <a:xfrm rot="8716295">
              <a:off x="2128809" y="360702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3" name="Forme libre : forme 282">
              <a:extLst>
                <a:ext uri="{FF2B5EF4-FFF2-40B4-BE49-F238E27FC236}">
                  <a16:creationId xmlns:a16="http://schemas.microsoft.com/office/drawing/2014/main" id="{DE2E55F0-E1D2-42EF-81BE-5B9CF56A8B16}"/>
                </a:ext>
              </a:extLst>
            </p:cNvPr>
            <p:cNvSpPr/>
            <p:nvPr/>
          </p:nvSpPr>
          <p:spPr>
            <a:xfrm rot="8716295">
              <a:off x="1885563" y="36372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4" name="Forme libre : forme 283">
              <a:extLst>
                <a:ext uri="{FF2B5EF4-FFF2-40B4-BE49-F238E27FC236}">
                  <a16:creationId xmlns:a16="http://schemas.microsoft.com/office/drawing/2014/main" id="{14AD1449-9E25-4F42-B0CB-B7AB7DA137A1}"/>
                </a:ext>
              </a:extLst>
            </p:cNvPr>
            <p:cNvSpPr/>
            <p:nvPr/>
          </p:nvSpPr>
          <p:spPr>
            <a:xfrm rot="8716295">
              <a:off x="2063015" y="34780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5" name="Forme libre : forme 284">
              <a:extLst>
                <a:ext uri="{FF2B5EF4-FFF2-40B4-BE49-F238E27FC236}">
                  <a16:creationId xmlns:a16="http://schemas.microsoft.com/office/drawing/2014/main" id="{9459C257-BD83-4EA3-A67A-64F2E29D2444}"/>
                </a:ext>
              </a:extLst>
            </p:cNvPr>
            <p:cNvSpPr/>
            <p:nvPr/>
          </p:nvSpPr>
          <p:spPr>
            <a:xfrm rot="8716295">
              <a:off x="1741402" y="452476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6" name="Forme libre : forme 285">
              <a:extLst>
                <a:ext uri="{FF2B5EF4-FFF2-40B4-BE49-F238E27FC236}">
                  <a16:creationId xmlns:a16="http://schemas.microsoft.com/office/drawing/2014/main" id="{776DF04A-9E10-40B0-8F87-C3176DFB0655}"/>
                </a:ext>
              </a:extLst>
            </p:cNvPr>
            <p:cNvSpPr/>
            <p:nvPr/>
          </p:nvSpPr>
          <p:spPr>
            <a:xfrm rot="8716295">
              <a:off x="1830794" y="455401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7" name="Forme libre : forme 286">
              <a:extLst>
                <a:ext uri="{FF2B5EF4-FFF2-40B4-BE49-F238E27FC236}">
                  <a16:creationId xmlns:a16="http://schemas.microsoft.com/office/drawing/2014/main" id="{1BCF78D3-72E0-4C34-AE46-85492A03A633}"/>
                </a:ext>
              </a:extLst>
            </p:cNvPr>
            <p:cNvSpPr/>
            <p:nvPr/>
          </p:nvSpPr>
          <p:spPr>
            <a:xfrm rot="8716295">
              <a:off x="1785944" y="4467731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8" name="Forme libre : forme 287">
              <a:extLst>
                <a:ext uri="{FF2B5EF4-FFF2-40B4-BE49-F238E27FC236}">
                  <a16:creationId xmlns:a16="http://schemas.microsoft.com/office/drawing/2014/main" id="{40DD2911-8E83-41A0-92FE-163A6FA95009}"/>
                </a:ext>
              </a:extLst>
            </p:cNvPr>
            <p:cNvSpPr/>
            <p:nvPr/>
          </p:nvSpPr>
          <p:spPr>
            <a:xfrm rot="8716295">
              <a:off x="1629168" y="461331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9" name="Forme libre : forme 288">
              <a:extLst>
                <a:ext uri="{FF2B5EF4-FFF2-40B4-BE49-F238E27FC236}">
                  <a16:creationId xmlns:a16="http://schemas.microsoft.com/office/drawing/2014/main" id="{E686274E-624B-4FD1-9536-D2B4D790F806}"/>
                </a:ext>
              </a:extLst>
            </p:cNvPr>
            <p:cNvSpPr/>
            <p:nvPr/>
          </p:nvSpPr>
          <p:spPr>
            <a:xfrm rot="8716295">
              <a:off x="1504265" y="440464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0" name="Forme libre : forme 289">
              <a:extLst>
                <a:ext uri="{FF2B5EF4-FFF2-40B4-BE49-F238E27FC236}">
                  <a16:creationId xmlns:a16="http://schemas.microsoft.com/office/drawing/2014/main" id="{DA92638D-CC75-4944-B78B-61E3B22A12E3}"/>
                </a:ext>
              </a:extLst>
            </p:cNvPr>
            <p:cNvSpPr/>
            <p:nvPr/>
          </p:nvSpPr>
          <p:spPr>
            <a:xfrm rot="8716295">
              <a:off x="1492213" y="4265860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1" name="Forme libre : forme 290">
              <a:extLst>
                <a:ext uri="{FF2B5EF4-FFF2-40B4-BE49-F238E27FC236}">
                  <a16:creationId xmlns:a16="http://schemas.microsoft.com/office/drawing/2014/main" id="{17950727-3BF3-4A34-9F11-5322F5CFB8F3}"/>
                </a:ext>
              </a:extLst>
            </p:cNvPr>
            <p:cNvSpPr/>
            <p:nvPr/>
          </p:nvSpPr>
          <p:spPr>
            <a:xfrm rot="8716295">
              <a:off x="1719346" y="465426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2" name="Forme libre : forme 291">
              <a:extLst>
                <a:ext uri="{FF2B5EF4-FFF2-40B4-BE49-F238E27FC236}">
                  <a16:creationId xmlns:a16="http://schemas.microsoft.com/office/drawing/2014/main" id="{9010FFF3-701E-491D-97A1-527670851B3C}"/>
                </a:ext>
              </a:extLst>
            </p:cNvPr>
            <p:cNvSpPr/>
            <p:nvPr/>
          </p:nvSpPr>
          <p:spPr>
            <a:xfrm rot="8716295">
              <a:off x="2030501" y="427461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3" name="Forme libre : forme 292">
              <a:extLst>
                <a:ext uri="{FF2B5EF4-FFF2-40B4-BE49-F238E27FC236}">
                  <a16:creationId xmlns:a16="http://schemas.microsoft.com/office/drawing/2014/main" id="{8E50FB82-1555-41A1-B55B-D3699A1B10A3}"/>
                </a:ext>
              </a:extLst>
            </p:cNvPr>
            <p:cNvSpPr/>
            <p:nvPr/>
          </p:nvSpPr>
          <p:spPr>
            <a:xfrm rot="8716295">
              <a:off x="2119893" y="430385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4" name="Forme libre : forme 293">
              <a:extLst>
                <a:ext uri="{FF2B5EF4-FFF2-40B4-BE49-F238E27FC236}">
                  <a16:creationId xmlns:a16="http://schemas.microsoft.com/office/drawing/2014/main" id="{ECB71CB3-C9D6-4612-8036-4BC5560F17FE}"/>
                </a:ext>
              </a:extLst>
            </p:cNvPr>
            <p:cNvSpPr/>
            <p:nvPr/>
          </p:nvSpPr>
          <p:spPr>
            <a:xfrm rot="8716295">
              <a:off x="1918267" y="436316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5" name="Forme libre : forme 294">
              <a:extLst>
                <a:ext uri="{FF2B5EF4-FFF2-40B4-BE49-F238E27FC236}">
                  <a16:creationId xmlns:a16="http://schemas.microsoft.com/office/drawing/2014/main" id="{23C3947C-E5CD-4C04-A462-D000016701AE}"/>
                </a:ext>
              </a:extLst>
            </p:cNvPr>
            <p:cNvSpPr/>
            <p:nvPr/>
          </p:nvSpPr>
          <p:spPr>
            <a:xfrm rot="8716295">
              <a:off x="1793365" y="415448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6" name="Forme libre : forme 295">
              <a:extLst>
                <a:ext uri="{FF2B5EF4-FFF2-40B4-BE49-F238E27FC236}">
                  <a16:creationId xmlns:a16="http://schemas.microsoft.com/office/drawing/2014/main" id="{36960960-0C32-4C59-8462-A2186C943B16}"/>
                </a:ext>
              </a:extLst>
            </p:cNvPr>
            <p:cNvSpPr/>
            <p:nvPr/>
          </p:nvSpPr>
          <p:spPr>
            <a:xfrm rot="8716295">
              <a:off x="2008445" y="4404113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7" name="Forme libre : forme 296">
              <a:extLst>
                <a:ext uri="{FF2B5EF4-FFF2-40B4-BE49-F238E27FC236}">
                  <a16:creationId xmlns:a16="http://schemas.microsoft.com/office/drawing/2014/main" id="{A017DED6-0DF0-4954-AA17-FAF145052546}"/>
                </a:ext>
              </a:extLst>
            </p:cNvPr>
            <p:cNvSpPr/>
            <p:nvPr/>
          </p:nvSpPr>
          <p:spPr>
            <a:xfrm rot="8716295">
              <a:off x="1766994" y="4254513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8" name="Forme libre : forme 297">
              <a:extLst>
                <a:ext uri="{FF2B5EF4-FFF2-40B4-BE49-F238E27FC236}">
                  <a16:creationId xmlns:a16="http://schemas.microsoft.com/office/drawing/2014/main" id="{5CC2F812-5E9A-4217-955F-4164466B5C25}"/>
                </a:ext>
              </a:extLst>
            </p:cNvPr>
            <p:cNvSpPr/>
            <p:nvPr/>
          </p:nvSpPr>
          <p:spPr>
            <a:xfrm rot="7484129">
              <a:off x="2113376" y="459546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9" name="Forme libre : forme 298">
              <a:extLst>
                <a:ext uri="{FF2B5EF4-FFF2-40B4-BE49-F238E27FC236}">
                  <a16:creationId xmlns:a16="http://schemas.microsoft.com/office/drawing/2014/main" id="{C4DB3C3C-7923-468B-A1D6-C35736B5F055}"/>
                </a:ext>
              </a:extLst>
            </p:cNvPr>
            <p:cNvSpPr/>
            <p:nvPr/>
          </p:nvSpPr>
          <p:spPr>
            <a:xfrm rot="13089394">
              <a:off x="2218196" y="4561998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0" name="Forme libre : forme 299">
              <a:extLst>
                <a:ext uri="{FF2B5EF4-FFF2-40B4-BE49-F238E27FC236}">
                  <a16:creationId xmlns:a16="http://schemas.microsoft.com/office/drawing/2014/main" id="{4DB3A68B-6594-48A3-9ED1-B19E13D1C859}"/>
                </a:ext>
              </a:extLst>
            </p:cNvPr>
            <p:cNvSpPr/>
            <p:nvPr/>
          </p:nvSpPr>
          <p:spPr>
            <a:xfrm rot="8716295">
              <a:off x="2403781" y="4370317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1" name="Forme libre : forme 300">
              <a:extLst>
                <a:ext uri="{FF2B5EF4-FFF2-40B4-BE49-F238E27FC236}">
                  <a16:creationId xmlns:a16="http://schemas.microsoft.com/office/drawing/2014/main" id="{257847A5-8115-45F6-B365-C04D26B7A465}"/>
                </a:ext>
              </a:extLst>
            </p:cNvPr>
            <p:cNvSpPr/>
            <p:nvPr/>
          </p:nvSpPr>
          <p:spPr>
            <a:xfrm rot="8716295">
              <a:off x="2351976" y="426672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2" name="Forme libre : forme 301">
              <a:extLst>
                <a:ext uri="{FF2B5EF4-FFF2-40B4-BE49-F238E27FC236}">
                  <a16:creationId xmlns:a16="http://schemas.microsoft.com/office/drawing/2014/main" id="{8F6B8004-8361-41BA-B532-27BD701A55E8}"/>
                </a:ext>
              </a:extLst>
            </p:cNvPr>
            <p:cNvSpPr/>
            <p:nvPr/>
          </p:nvSpPr>
          <p:spPr>
            <a:xfrm rot="8716295">
              <a:off x="2108730" y="429694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3" name="Forme libre : forme 302">
              <a:extLst>
                <a:ext uri="{FF2B5EF4-FFF2-40B4-BE49-F238E27FC236}">
                  <a16:creationId xmlns:a16="http://schemas.microsoft.com/office/drawing/2014/main" id="{A2707731-9E6E-4897-BF1C-AD23EDDF33B9}"/>
                </a:ext>
              </a:extLst>
            </p:cNvPr>
            <p:cNvSpPr/>
            <p:nvPr/>
          </p:nvSpPr>
          <p:spPr>
            <a:xfrm rot="8716295">
              <a:off x="2286182" y="413770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4" name="Forme libre : forme 303">
              <a:extLst>
                <a:ext uri="{FF2B5EF4-FFF2-40B4-BE49-F238E27FC236}">
                  <a16:creationId xmlns:a16="http://schemas.microsoft.com/office/drawing/2014/main" id="{71585C5B-7ACF-4291-A3CC-77CF6C2FAF80}"/>
                </a:ext>
              </a:extLst>
            </p:cNvPr>
            <p:cNvSpPr/>
            <p:nvPr/>
          </p:nvSpPr>
          <p:spPr>
            <a:xfrm rot="8716295">
              <a:off x="854880" y="188600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5" name="Forme libre : forme 304">
              <a:extLst>
                <a:ext uri="{FF2B5EF4-FFF2-40B4-BE49-F238E27FC236}">
                  <a16:creationId xmlns:a16="http://schemas.microsoft.com/office/drawing/2014/main" id="{825A50BE-E198-461A-AE4C-E99B0DB548B8}"/>
                </a:ext>
              </a:extLst>
            </p:cNvPr>
            <p:cNvSpPr/>
            <p:nvPr/>
          </p:nvSpPr>
          <p:spPr>
            <a:xfrm rot="8716295">
              <a:off x="944272" y="191524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6" name="Forme libre : forme 305">
              <a:extLst>
                <a:ext uri="{FF2B5EF4-FFF2-40B4-BE49-F238E27FC236}">
                  <a16:creationId xmlns:a16="http://schemas.microsoft.com/office/drawing/2014/main" id="{A7FBDA8A-DF94-413D-B047-17E3CE1805C0}"/>
                </a:ext>
              </a:extLst>
            </p:cNvPr>
            <p:cNvSpPr/>
            <p:nvPr/>
          </p:nvSpPr>
          <p:spPr>
            <a:xfrm rot="8716295">
              <a:off x="899422" y="182896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7" name="Forme libre : forme 306">
              <a:extLst>
                <a:ext uri="{FF2B5EF4-FFF2-40B4-BE49-F238E27FC236}">
                  <a16:creationId xmlns:a16="http://schemas.microsoft.com/office/drawing/2014/main" id="{8DB66338-D210-4BFA-9092-FF348569CC52}"/>
                </a:ext>
              </a:extLst>
            </p:cNvPr>
            <p:cNvSpPr/>
            <p:nvPr/>
          </p:nvSpPr>
          <p:spPr>
            <a:xfrm rot="8716295">
              <a:off x="742646" y="197454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8" name="Forme libre : forme 307">
              <a:extLst>
                <a:ext uri="{FF2B5EF4-FFF2-40B4-BE49-F238E27FC236}">
                  <a16:creationId xmlns:a16="http://schemas.microsoft.com/office/drawing/2014/main" id="{74B60F54-C3F2-4334-BC7E-D49FA3ACE1ED}"/>
                </a:ext>
              </a:extLst>
            </p:cNvPr>
            <p:cNvSpPr/>
            <p:nvPr/>
          </p:nvSpPr>
          <p:spPr>
            <a:xfrm rot="8716295">
              <a:off x="617743" y="176587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9" name="Forme libre : forme 308">
              <a:extLst>
                <a:ext uri="{FF2B5EF4-FFF2-40B4-BE49-F238E27FC236}">
                  <a16:creationId xmlns:a16="http://schemas.microsoft.com/office/drawing/2014/main" id="{CA3E19C2-F96C-48A0-9D2C-698B32CA8895}"/>
                </a:ext>
              </a:extLst>
            </p:cNvPr>
            <p:cNvSpPr/>
            <p:nvPr/>
          </p:nvSpPr>
          <p:spPr>
            <a:xfrm rot="8716295">
              <a:off x="605691" y="162709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0" name="Forme libre : forme 309">
              <a:extLst>
                <a:ext uri="{FF2B5EF4-FFF2-40B4-BE49-F238E27FC236}">
                  <a16:creationId xmlns:a16="http://schemas.microsoft.com/office/drawing/2014/main" id="{9A0D5CB1-8D83-4AFE-B1BE-9F0F522C0D2B}"/>
                </a:ext>
              </a:extLst>
            </p:cNvPr>
            <p:cNvSpPr/>
            <p:nvPr/>
          </p:nvSpPr>
          <p:spPr>
            <a:xfrm rot="8716295">
              <a:off x="832824" y="201549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1" name="Forme libre : forme 310">
              <a:extLst>
                <a:ext uri="{FF2B5EF4-FFF2-40B4-BE49-F238E27FC236}">
                  <a16:creationId xmlns:a16="http://schemas.microsoft.com/office/drawing/2014/main" id="{7A50FCE7-03C8-4853-B73F-CE26795DB2CC}"/>
                </a:ext>
              </a:extLst>
            </p:cNvPr>
            <p:cNvSpPr/>
            <p:nvPr/>
          </p:nvSpPr>
          <p:spPr>
            <a:xfrm rot="8716295">
              <a:off x="1143979" y="163584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2" name="Forme libre : forme 311">
              <a:extLst>
                <a:ext uri="{FF2B5EF4-FFF2-40B4-BE49-F238E27FC236}">
                  <a16:creationId xmlns:a16="http://schemas.microsoft.com/office/drawing/2014/main" id="{457A7093-695D-4C41-85A0-782C2CD8BC44}"/>
                </a:ext>
              </a:extLst>
            </p:cNvPr>
            <p:cNvSpPr/>
            <p:nvPr/>
          </p:nvSpPr>
          <p:spPr>
            <a:xfrm rot="8716295">
              <a:off x="1233371" y="166509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3" name="Forme libre : forme 312">
              <a:extLst>
                <a:ext uri="{FF2B5EF4-FFF2-40B4-BE49-F238E27FC236}">
                  <a16:creationId xmlns:a16="http://schemas.microsoft.com/office/drawing/2014/main" id="{704E3047-55DF-4CDA-9182-C95BBA17BD9B}"/>
                </a:ext>
              </a:extLst>
            </p:cNvPr>
            <p:cNvSpPr/>
            <p:nvPr/>
          </p:nvSpPr>
          <p:spPr>
            <a:xfrm rot="8716295">
              <a:off x="1031745" y="172439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4" name="Forme libre : forme 313">
              <a:extLst>
                <a:ext uri="{FF2B5EF4-FFF2-40B4-BE49-F238E27FC236}">
                  <a16:creationId xmlns:a16="http://schemas.microsoft.com/office/drawing/2014/main" id="{75BDC6A2-BB14-4847-BB83-0C2ABA630806}"/>
                </a:ext>
              </a:extLst>
            </p:cNvPr>
            <p:cNvSpPr/>
            <p:nvPr/>
          </p:nvSpPr>
          <p:spPr>
            <a:xfrm rot="8716295">
              <a:off x="906843" y="151572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5" name="Forme libre : forme 314">
              <a:extLst>
                <a:ext uri="{FF2B5EF4-FFF2-40B4-BE49-F238E27FC236}">
                  <a16:creationId xmlns:a16="http://schemas.microsoft.com/office/drawing/2014/main" id="{7B4C3322-60E4-483D-8950-104BAFBDD71B}"/>
                </a:ext>
              </a:extLst>
            </p:cNvPr>
            <p:cNvSpPr/>
            <p:nvPr/>
          </p:nvSpPr>
          <p:spPr>
            <a:xfrm rot="8716295">
              <a:off x="1121923" y="176534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6" name="Forme libre : forme 315">
              <a:extLst>
                <a:ext uri="{FF2B5EF4-FFF2-40B4-BE49-F238E27FC236}">
                  <a16:creationId xmlns:a16="http://schemas.microsoft.com/office/drawing/2014/main" id="{2CCC10C4-A47F-46B3-9A5E-2B69B8F95724}"/>
                </a:ext>
              </a:extLst>
            </p:cNvPr>
            <p:cNvSpPr/>
            <p:nvPr/>
          </p:nvSpPr>
          <p:spPr>
            <a:xfrm rot="8716295">
              <a:off x="880472" y="161574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7" name="Forme libre : forme 316">
              <a:extLst>
                <a:ext uri="{FF2B5EF4-FFF2-40B4-BE49-F238E27FC236}">
                  <a16:creationId xmlns:a16="http://schemas.microsoft.com/office/drawing/2014/main" id="{C3F47D9C-5F75-4589-82C5-2EB76DD8C333}"/>
                </a:ext>
              </a:extLst>
            </p:cNvPr>
            <p:cNvSpPr/>
            <p:nvPr/>
          </p:nvSpPr>
          <p:spPr>
            <a:xfrm rot="7484129">
              <a:off x="1226854" y="195669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8" name="Forme libre : forme 317">
              <a:extLst>
                <a:ext uri="{FF2B5EF4-FFF2-40B4-BE49-F238E27FC236}">
                  <a16:creationId xmlns:a16="http://schemas.microsoft.com/office/drawing/2014/main" id="{06EDA617-7C34-4BCB-8273-6505201538B5}"/>
                </a:ext>
              </a:extLst>
            </p:cNvPr>
            <p:cNvSpPr/>
            <p:nvPr/>
          </p:nvSpPr>
          <p:spPr>
            <a:xfrm rot="13089394">
              <a:off x="1331674" y="192323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9" name="Forme libre : forme 318">
              <a:extLst>
                <a:ext uri="{FF2B5EF4-FFF2-40B4-BE49-F238E27FC236}">
                  <a16:creationId xmlns:a16="http://schemas.microsoft.com/office/drawing/2014/main" id="{8C00C036-C8B0-4F77-B0BC-B732FD327F08}"/>
                </a:ext>
              </a:extLst>
            </p:cNvPr>
            <p:cNvSpPr/>
            <p:nvPr/>
          </p:nvSpPr>
          <p:spPr>
            <a:xfrm rot="8716295">
              <a:off x="1517259" y="173154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0" name="Forme libre : forme 319">
              <a:extLst>
                <a:ext uri="{FF2B5EF4-FFF2-40B4-BE49-F238E27FC236}">
                  <a16:creationId xmlns:a16="http://schemas.microsoft.com/office/drawing/2014/main" id="{079E7D4D-7CBC-4E80-9ADD-66D10F53D00A}"/>
                </a:ext>
              </a:extLst>
            </p:cNvPr>
            <p:cNvSpPr/>
            <p:nvPr/>
          </p:nvSpPr>
          <p:spPr>
            <a:xfrm rot="8716295">
              <a:off x="1465454" y="162795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1" name="Forme libre : forme 320">
              <a:extLst>
                <a:ext uri="{FF2B5EF4-FFF2-40B4-BE49-F238E27FC236}">
                  <a16:creationId xmlns:a16="http://schemas.microsoft.com/office/drawing/2014/main" id="{F6CBC04A-ACBC-43B1-86C9-792F0278AE9C}"/>
                </a:ext>
              </a:extLst>
            </p:cNvPr>
            <p:cNvSpPr/>
            <p:nvPr/>
          </p:nvSpPr>
          <p:spPr>
            <a:xfrm rot="8716295">
              <a:off x="1222208" y="165817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2" name="Forme libre : forme 321">
              <a:extLst>
                <a:ext uri="{FF2B5EF4-FFF2-40B4-BE49-F238E27FC236}">
                  <a16:creationId xmlns:a16="http://schemas.microsoft.com/office/drawing/2014/main" id="{877F1B10-A111-4EDF-9C97-C64DD5E5FC2D}"/>
                </a:ext>
              </a:extLst>
            </p:cNvPr>
            <p:cNvSpPr/>
            <p:nvPr/>
          </p:nvSpPr>
          <p:spPr>
            <a:xfrm rot="8716295">
              <a:off x="1399660" y="149893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3" name="Forme libre : forme 322">
              <a:extLst>
                <a:ext uri="{FF2B5EF4-FFF2-40B4-BE49-F238E27FC236}">
                  <a16:creationId xmlns:a16="http://schemas.microsoft.com/office/drawing/2014/main" id="{247A35DD-1AE0-4F8F-91F1-39A539F5145A}"/>
                </a:ext>
              </a:extLst>
            </p:cNvPr>
            <p:cNvSpPr/>
            <p:nvPr/>
          </p:nvSpPr>
          <p:spPr>
            <a:xfrm rot="8716295">
              <a:off x="631713" y="12263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4" name="Forme libre : forme 323">
              <a:extLst>
                <a:ext uri="{FF2B5EF4-FFF2-40B4-BE49-F238E27FC236}">
                  <a16:creationId xmlns:a16="http://schemas.microsoft.com/office/drawing/2014/main" id="{B2057DA7-CDDF-43BB-8EAC-22466BE1F259}"/>
                </a:ext>
              </a:extLst>
            </p:cNvPr>
            <p:cNvSpPr/>
            <p:nvPr/>
          </p:nvSpPr>
          <p:spPr>
            <a:xfrm rot="8716295">
              <a:off x="721105" y="12555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5" name="Forme libre : forme 324">
              <a:extLst>
                <a:ext uri="{FF2B5EF4-FFF2-40B4-BE49-F238E27FC236}">
                  <a16:creationId xmlns:a16="http://schemas.microsoft.com/office/drawing/2014/main" id="{E77CA785-1459-4C27-B776-D857A8D4B013}"/>
                </a:ext>
              </a:extLst>
            </p:cNvPr>
            <p:cNvSpPr/>
            <p:nvPr/>
          </p:nvSpPr>
          <p:spPr>
            <a:xfrm rot="8716295">
              <a:off x="676255" y="116926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6" name="Forme libre : forme 325">
              <a:extLst>
                <a:ext uri="{FF2B5EF4-FFF2-40B4-BE49-F238E27FC236}">
                  <a16:creationId xmlns:a16="http://schemas.microsoft.com/office/drawing/2014/main" id="{D9BFC3E7-D875-4777-80CD-7BECEB16ED0F}"/>
                </a:ext>
              </a:extLst>
            </p:cNvPr>
            <p:cNvSpPr/>
            <p:nvPr/>
          </p:nvSpPr>
          <p:spPr>
            <a:xfrm rot="8716295">
              <a:off x="519479" y="13148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7" name="Forme libre : forme 326">
              <a:extLst>
                <a:ext uri="{FF2B5EF4-FFF2-40B4-BE49-F238E27FC236}">
                  <a16:creationId xmlns:a16="http://schemas.microsoft.com/office/drawing/2014/main" id="{E87C9BB6-CA72-4C32-8CA3-A029EC77D88B}"/>
                </a:ext>
              </a:extLst>
            </p:cNvPr>
            <p:cNvSpPr/>
            <p:nvPr/>
          </p:nvSpPr>
          <p:spPr>
            <a:xfrm rot="8716295">
              <a:off x="394576" y="11061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8" name="Forme libre : forme 327">
              <a:extLst>
                <a:ext uri="{FF2B5EF4-FFF2-40B4-BE49-F238E27FC236}">
                  <a16:creationId xmlns:a16="http://schemas.microsoft.com/office/drawing/2014/main" id="{40F6441D-9B69-4079-B1A2-720CB6BA2101}"/>
                </a:ext>
              </a:extLst>
            </p:cNvPr>
            <p:cNvSpPr/>
            <p:nvPr/>
          </p:nvSpPr>
          <p:spPr>
            <a:xfrm rot="8716295">
              <a:off x="382524" y="96739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9" name="Forme libre : forme 328">
              <a:extLst>
                <a:ext uri="{FF2B5EF4-FFF2-40B4-BE49-F238E27FC236}">
                  <a16:creationId xmlns:a16="http://schemas.microsoft.com/office/drawing/2014/main" id="{B832EB8F-3703-48E0-A315-AEFC6F1CBB35}"/>
                </a:ext>
              </a:extLst>
            </p:cNvPr>
            <p:cNvSpPr/>
            <p:nvPr/>
          </p:nvSpPr>
          <p:spPr>
            <a:xfrm rot="8716295">
              <a:off x="609657" y="135579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0" name="Forme libre : forme 329">
              <a:extLst>
                <a:ext uri="{FF2B5EF4-FFF2-40B4-BE49-F238E27FC236}">
                  <a16:creationId xmlns:a16="http://schemas.microsoft.com/office/drawing/2014/main" id="{763E69C5-E960-4417-A0EA-1ECCFB8C6C35}"/>
                </a:ext>
              </a:extLst>
            </p:cNvPr>
            <p:cNvSpPr/>
            <p:nvPr/>
          </p:nvSpPr>
          <p:spPr>
            <a:xfrm rot="8716295">
              <a:off x="920812" y="97615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1" name="Forme libre : forme 330">
              <a:extLst>
                <a:ext uri="{FF2B5EF4-FFF2-40B4-BE49-F238E27FC236}">
                  <a16:creationId xmlns:a16="http://schemas.microsoft.com/office/drawing/2014/main" id="{651DF2CF-FEA7-4A17-8C45-74CA1E1691C9}"/>
                </a:ext>
              </a:extLst>
            </p:cNvPr>
            <p:cNvSpPr/>
            <p:nvPr/>
          </p:nvSpPr>
          <p:spPr>
            <a:xfrm rot="8716295">
              <a:off x="1010204" y="100539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2" name="Forme libre : forme 331">
              <a:extLst>
                <a:ext uri="{FF2B5EF4-FFF2-40B4-BE49-F238E27FC236}">
                  <a16:creationId xmlns:a16="http://schemas.microsoft.com/office/drawing/2014/main" id="{F4BE6752-2F2B-4713-BCC2-F5A751451D2F}"/>
                </a:ext>
              </a:extLst>
            </p:cNvPr>
            <p:cNvSpPr/>
            <p:nvPr/>
          </p:nvSpPr>
          <p:spPr>
            <a:xfrm rot="8716295">
              <a:off x="808578" y="106469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3" name="Forme libre : forme 332">
              <a:extLst>
                <a:ext uri="{FF2B5EF4-FFF2-40B4-BE49-F238E27FC236}">
                  <a16:creationId xmlns:a16="http://schemas.microsoft.com/office/drawing/2014/main" id="{F0181337-48BC-4C6E-BF6A-EF75BA2ADF65}"/>
                </a:ext>
              </a:extLst>
            </p:cNvPr>
            <p:cNvSpPr/>
            <p:nvPr/>
          </p:nvSpPr>
          <p:spPr>
            <a:xfrm rot="8716295">
              <a:off x="683676" y="85602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4" name="Forme libre : forme 333">
              <a:extLst>
                <a:ext uri="{FF2B5EF4-FFF2-40B4-BE49-F238E27FC236}">
                  <a16:creationId xmlns:a16="http://schemas.microsoft.com/office/drawing/2014/main" id="{51A8FF0F-FF59-4E76-A691-2074D9AE597E}"/>
                </a:ext>
              </a:extLst>
            </p:cNvPr>
            <p:cNvSpPr/>
            <p:nvPr/>
          </p:nvSpPr>
          <p:spPr>
            <a:xfrm rot="8716295">
              <a:off x="898756" y="110564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5" name="Forme libre : forme 334">
              <a:extLst>
                <a:ext uri="{FF2B5EF4-FFF2-40B4-BE49-F238E27FC236}">
                  <a16:creationId xmlns:a16="http://schemas.microsoft.com/office/drawing/2014/main" id="{D5F2DBF7-EA5E-412E-BE60-C63CE87201BD}"/>
                </a:ext>
              </a:extLst>
            </p:cNvPr>
            <p:cNvSpPr/>
            <p:nvPr/>
          </p:nvSpPr>
          <p:spPr>
            <a:xfrm rot="8716295">
              <a:off x="657305" y="95604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6" name="Forme libre : forme 335">
              <a:extLst>
                <a:ext uri="{FF2B5EF4-FFF2-40B4-BE49-F238E27FC236}">
                  <a16:creationId xmlns:a16="http://schemas.microsoft.com/office/drawing/2014/main" id="{2B86FAAC-284E-4293-B3BE-662E153BEFE7}"/>
                </a:ext>
              </a:extLst>
            </p:cNvPr>
            <p:cNvSpPr/>
            <p:nvPr/>
          </p:nvSpPr>
          <p:spPr>
            <a:xfrm rot="7484129">
              <a:off x="1003687" y="129699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7" name="Forme libre : forme 336">
              <a:extLst>
                <a:ext uri="{FF2B5EF4-FFF2-40B4-BE49-F238E27FC236}">
                  <a16:creationId xmlns:a16="http://schemas.microsoft.com/office/drawing/2014/main" id="{F8C25AEA-BEFD-464B-AC86-4743BA580AF0}"/>
                </a:ext>
              </a:extLst>
            </p:cNvPr>
            <p:cNvSpPr/>
            <p:nvPr/>
          </p:nvSpPr>
          <p:spPr>
            <a:xfrm rot="13089394">
              <a:off x="1108507" y="1263531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8" name="Forme libre : forme 337">
              <a:extLst>
                <a:ext uri="{FF2B5EF4-FFF2-40B4-BE49-F238E27FC236}">
                  <a16:creationId xmlns:a16="http://schemas.microsoft.com/office/drawing/2014/main" id="{C5FC227C-CE0A-4B9A-BEB5-86A5822E13D2}"/>
                </a:ext>
              </a:extLst>
            </p:cNvPr>
            <p:cNvSpPr/>
            <p:nvPr/>
          </p:nvSpPr>
          <p:spPr>
            <a:xfrm rot="8716295">
              <a:off x="1294092" y="107185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9" name="Forme libre : forme 338">
              <a:extLst>
                <a:ext uri="{FF2B5EF4-FFF2-40B4-BE49-F238E27FC236}">
                  <a16:creationId xmlns:a16="http://schemas.microsoft.com/office/drawing/2014/main" id="{2AD54659-FB71-46D1-A755-0BCF081E050A}"/>
                </a:ext>
              </a:extLst>
            </p:cNvPr>
            <p:cNvSpPr/>
            <p:nvPr/>
          </p:nvSpPr>
          <p:spPr>
            <a:xfrm rot="8716295">
              <a:off x="1242287" y="96825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0" name="Forme libre : forme 339">
              <a:extLst>
                <a:ext uri="{FF2B5EF4-FFF2-40B4-BE49-F238E27FC236}">
                  <a16:creationId xmlns:a16="http://schemas.microsoft.com/office/drawing/2014/main" id="{EA0D1B29-AE82-4655-80DE-F5EADED15310}"/>
                </a:ext>
              </a:extLst>
            </p:cNvPr>
            <p:cNvSpPr/>
            <p:nvPr/>
          </p:nvSpPr>
          <p:spPr>
            <a:xfrm rot="8716295">
              <a:off x="999041" y="99847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1" name="Forme libre : forme 340">
              <a:extLst>
                <a:ext uri="{FF2B5EF4-FFF2-40B4-BE49-F238E27FC236}">
                  <a16:creationId xmlns:a16="http://schemas.microsoft.com/office/drawing/2014/main" id="{FE59AAF9-5326-4148-B75B-C59DBA653A58}"/>
                </a:ext>
              </a:extLst>
            </p:cNvPr>
            <p:cNvSpPr/>
            <p:nvPr/>
          </p:nvSpPr>
          <p:spPr>
            <a:xfrm rot="8716295">
              <a:off x="1176493" y="83923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2" name="Forme libre : forme 341">
              <a:extLst>
                <a:ext uri="{FF2B5EF4-FFF2-40B4-BE49-F238E27FC236}">
                  <a16:creationId xmlns:a16="http://schemas.microsoft.com/office/drawing/2014/main" id="{2B5ED39A-BA82-4FB9-B8D1-BFCBF5FCF8AB}"/>
                </a:ext>
              </a:extLst>
            </p:cNvPr>
            <p:cNvSpPr/>
            <p:nvPr/>
          </p:nvSpPr>
          <p:spPr>
            <a:xfrm rot="8716295">
              <a:off x="412774" y="56424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3" name="Forme libre : forme 342">
              <a:extLst>
                <a:ext uri="{FF2B5EF4-FFF2-40B4-BE49-F238E27FC236}">
                  <a16:creationId xmlns:a16="http://schemas.microsoft.com/office/drawing/2014/main" id="{EF04C128-AC77-4E99-970E-568F219D8A8C}"/>
                </a:ext>
              </a:extLst>
            </p:cNvPr>
            <p:cNvSpPr/>
            <p:nvPr/>
          </p:nvSpPr>
          <p:spPr>
            <a:xfrm rot="8716295">
              <a:off x="502166" y="59348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4" name="Forme libre : forme 343">
              <a:extLst>
                <a:ext uri="{FF2B5EF4-FFF2-40B4-BE49-F238E27FC236}">
                  <a16:creationId xmlns:a16="http://schemas.microsoft.com/office/drawing/2014/main" id="{35DEA77E-6D52-40CB-86CA-54607FDC07E9}"/>
                </a:ext>
              </a:extLst>
            </p:cNvPr>
            <p:cNvSpPr/>
            <p:nvPr/>
          </p:nvSpPr>
          <p:spPr>
            <a:xfrm rot="8716295">
              <a:off x="457316" y="50720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5" name="Forme libre : forme 344">
              <a:extLst>
                <a:ext uri="{FF2B5EF4-FFF2-40B4-BE49-F238E27FC236}">
                  <a16:creationId xmlns:a16="http://schemas.microsoft.com/office/drawing/2014/main" id="{7F83C78F-975E-4433-96C7-AC45753DC5C9}"/>
                </a:ext>
              </a:extLst>
            </p:cNvPr>
            <p:cNvSpPr/>
            <p:nvPr/>
          </p:nvSpPr>
          <p:spPr>
            <a:xfrm rot="8716295">
              <a:off x="300540" y="65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6" name="Forme libre : forme 345">
              <a:extLst>
                <a:ext uri="{FF2B5EF4-FFF2-40B4-BE49-F238E27FC236}">
                  <a16:creationId xmlns:a16="http://schemas.microsoft.com/office/drawing/2014/main" id="{FD3979A2-0F0A-4D64-B2D1-D790A7310394}"/>
                </a:ext>
              </a:extLst>
            </p:cNvPr>
            <p:cNvSpPr/>
            <p:nvPr/>
          </p:nvSpPr>
          <p:spPr>
            <a:xfrm rot="8716295">
              <a:off x="175637" y="44411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7" name="Forme libre : forme 346">
              <a:extLst>
                <a:ext uri="{FF2B5EF4-FFF2-40B4-BE49-F238E27FC236}">
                  <a16:creationId xmlns:a16="http://schemas.microsoft.com/office/drawing/2014/main" id="{AA76E107-EED2-43EE-909B-E95F465CE73B}"/>
                </a:ext>
              </a:extLst>
            </p:cNvPr>
            <p:cNvSpPr/>
            <p:nvPr/>
          </p:nvSpPr>
          <p:spPr>
            <a:xfrm rot="8716295">
              <a:off x="163585" y="30533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8" name="Forme libre : forme 347">
              <a:extLst>
                <a:ext uri="{FF2B5EF4-FFF2-40B4-BE49-F238E27FC236}">
                  <a16:creationId xmlns:a16="http://schemas.microsoft.com/office/drawing/2014/main" id="{B9BBA0BC-EEAF-493E-A940-F09587491C29}"/>
                </a:ext>
              </a:extLst>
            </p:cNvPr>
            <p:cNvSpPr/>
            <p:nvPr/>
          </p:nvSpPr>
          <p:spPr>
            <a:xfrm rot="8716295">
              <a:off x="390718" y="69374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9" name="Forme libre : forme 348">
              <a:extLst>
                <a:ext uri="{FF2B5EF4-FFF2-40B4-BE49-F238E27FC236}">
                  <a16:creationId xmlns:a16="http://schemas.microsoft.com/office/drawing/2014/main" id="{C8D30F56-4A06-4C10-B3F2-60FAA4FF4FB6}"/>
                </a:ext>
              </a:extLst>
            </p:cNvPr>
            <p:cNvSpPr/>
            <p:nvPr/>
          </p:nvSpPr>
          <p:spPr>
            <a:xfrm rot="8716295">
              <a:off x="701873" y="31409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0" name="Forme libre : forme 349">
              <a:extLst>
                <a:ext uri="{FF2B5EF4-FFF2-40B4-BE49-F238E27FC236}">
                  <a16:creationId xmlns:a16="http://schemas.microsoft.com/office/drawing/2014/main" id="{5C6936A8-9A95-4204-9D28-D9B75C140322}"/>
                </a:ext>
              </a:extLst>
            </p:cNvPr>
            <p:cNvSpPr/>
            <p:nvPr/>
          </p:nvSpPr>
          <p:spPr>
            <a:xfrm rot="8716295">
              <a:off x="791265" y="34333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1" name="Forme libre : forme 350">
              <a:extLst>
                <a:ext uri="{FF2B5EF4-FFF2-40B4-BE49-F238E27FC236}">
                  <a16:creationId xmlns:a16="http://schemas.microsoft.com/office/drawing/2014/main" id="{FFF2D367-BA47-4EF1-A7BB-098E80C21CBE}"/>
                </a:ext>
              </a:extLst>
            </p:cNvPr>
            <p:cNvSpPr/>
            <p:nvPr/>
          </p:nvSpPr>
          <p:spPr>
            <a:xfrm rot="8716295">
              <a:off x="589639" y="40263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2" name="Forme libre : forme 351">
              <a:extLst>
                <a:ext uri="{FF2B5EF4-FFF2-40B4-BE49-F238E27FC236}">
                  <a16:creationId xmlns:a16="http://schemas.microsoft.com/office/drawing/2014/main" id="{449281FC-8C05-45F5-BEE0-D74C1D2991A0}"/>
                </a:ext>
              </a:extLst>
            </p:cNvPr>
            <p:cNvSpPr/>
            <p:nvPr/>
          </p:nvSpPr>
          <p:spPr>
            <a:xfrm rot="8716295">
              <a:off x="464737" y="19396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3" name="Forme libre : forme 352">
              <a:extLst>
                <a:ext uri="{FF2B5EF4-FFF2-40B4-BE49-F238E27FC236}">
                  <a16:creationId xmlns:a16="http://schemas.microsoft.com/office/drawing/2014/main" id="{AC76B493-44A9-4110-A979-E79DA2DAD0EF}"/>
                </a:ext>
              </a:extLst>
            </p:cNvPr>
            <p:cNvSpPr/>
            <p:nvPr/>
          </p:nvSpPr>
          <p:spPr>
            <a:xfrm rot="8716295">
              <a:off x="679817" y="44358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4" name="Forme libre : forme 353">
              <a:extLst>
                <a:ext uri="{FF2B5EF4-FFF2-40B4-BE49-F238E27FC236}">
                  <a16:creationId xmlns:a16="http://schemas.microsoft.com/office/drawing/2014/main" id="{A1E49731-9881-455E-A515-C358862DEBAE}"/>
                </a:ext>
              </a:extLst>
            </p:cNvPr>
            <p:cNvSpPr/>
            <p:nvPr/>
          </p:nvSpPr>
          <p:spPr>
            <a:xfrm rot="8716295">
              <a:off x="438366" y="29398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5" name="Forme libre : forme 354">
              <a:extLst>
                <a:ext uri="{FF2B5EF4-FFF2-40B4-BE49-F238E27FC236}">
                  <a16:creationId xmlns:a16="http://schemas.microsoft.com/office/drawing/2014/main" id="{8204F475-BA32-42D6-B48D-2BEE0C6DF622}"/>
                </a:ext>
              </a:extLst>
            </p:cNvPr>
            <p:cNvSpPr/>
            <p:nvPr/>
          </p:nvSpPr>
          <p:spPr>
            <a:xfrm rot="7484129">
              <a:off x="784748" y="63493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6" name="Forme libre : forme 355">
              <a:extLst>
                <a:ext uri="{FF2B5EF4-FFF2-40B4-BE49-F238E27FC236}">
                  <a16:creationId xmlns:a16="http://schemas.microsoft.com/office/drawing/2014/main" id="{3407396E-8B17-4E89-82BB-C091E11448DB}"/>
                </a:ext>
              </a:extLst>
            </p:cNvPr>
            <p:cNvSpPr/>
            <p:nvPr/>
          </p:nvSpPr>
          <p:spPr>
            <a:xfrm rot="13089394">
              <a:off x="889568" y="60147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7" name="Forme libre : forme 356">
              <a:extLst>
                <a:ext uri="{FF2B5EF4-FFF2-40B4-BE49-F238E27FC236}">
                  <a16:creationId xmlns:a16="http://schemas.microsoft.com/office/drawing/2014/main" id="{27719725-2BB1-4B94-8AC6-F116861C62F1}"/>
                </a:ext>
              </a:extLst>
            </p:cNvPr>
            <p:cNvSpPr/>
            <p:nvPr/>
          </p:nvSpPr>
          <p:spPr>
            <a:xfrm rot="8716295">
              <a:off x="1075153" y="40979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8" name="Forme libre : forme 357">
              <a:extLst>
                <a:ext uri="{FF2B5EF4-FFF2-40B4-BE49-F238E27FC236}">
                  <a16:creationId xmlns:a16="http://schemas.microsoft.com/office/drawing/2014/main" id="{43C5E8C2-1177-4638-AAC9-C608290C6D73}"/>
                </a:ext>
              </a:extLst>
            </p:cNvPr>
            <p:cNvSpPr/>
            <p:nvPr/>
          </p:nvSpPr>
          <p:spPr>
            <a:xfrm rot="8716295">
              <a:off x="1023348" y="30619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9" name="Forme libre : forme 358">
              <a:extLst>
                <a:ext uri="{FF2B5EF4-FFF2-40B4-BE49-F238E27FC236}">
                  <a16:creationId xmlns:a16="http://schemas.microsoft.com/office/drawing/2014/main" id="{66F400C8-484F-4AA9-9E69-F9DA598D65AC}"/>
                </a:ext>
              </a:extLst>
            </p:cNvPr>
            <p:cNvSpPr/>
            <p:nvPr/>
          </p:nvSpPr>
          <p:spPr>
            <a:xfrm rot="8716295">
              <a:off x="780102" y="336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0" name="Forme libre : forme 359">
              <a:extLst>
                <a:ext uri="{FF2B5EF4-FFF2-40B4-BE49-F238E27FC236}">
                  <a16:creationId xmlns:a16="http://schemas.microsoft.com/office/drawing/2014/main" id="{FD3344B4-1783-4AD8-8B1E-198B5BC45770}"/>
                </a:ext>
              </a:extLst>
            </p:cNvPr>
            <p:cNvSpPr/>
            <p:nvPr/>
          </p:nvSpPr>
          <p:spPr>
            <a:xfrm rot="8716295">
              <a:off x="957554" y="17717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1" name="Forme libre : forme 360">
              <a:extLst>
                <a:ext uri="{FF2B5EF4-FFF2-40B4-BE49-F238E27FC236}">
                  <a16:creationId xmlns:a16="http://schemas.microsoft.com/office/drawing/2014/main" id="{B1F20E97-7F16-49D8-A491-FB12C97898BA}"/>
                </a:ext>
              </a:extLst>
            </p:cNvPr>
            <p:cNvSpPr/>
            <p:nvPr/>
          </p:nvSpPr>
          <p:spPr>
            <a:xfrm rot="8716295">
              <a:off x="202348" y="-57106"/>
              <a:ext cx="142167" cy="186494"/>
            </a:xfrm>
            <a:custGeom>
              <a:avLst/>
              <a:gdLst>
                <a:gd name="connsiteX0" fmla="*/ 142167 w 142167"/>
                <a:gd name="connsiteY0" fmla="*/ 186494 h 186494"/>
                <a:gd name="connsiteX1" fmla="*/ 81108 w 142167"/>
                <a:gd name="connsiteY1" fmla="*/ 144170 h 186494"/>
                <a:gd name="connsiteX2" fmla="*/ 81108 w 142167"/>
                <a:gd name="connsiteY2" fmla="*/ 69717 h 186494"/>
                <a:gd name="connsiteX3" fmla="*/ 81108 w 142167"/>
                <a:gd name="connsiteY3" fmla="*/ 65615 h 186494"/>
                <a:gd name="connsiteX4" fmla="*/ 60603 w 142167"/>
                <a:gd name="connsiteY4" fmla="*/ 50123 h 186494"/>
                <a:gd name="connsiteX5" fmla="*/ 0 w 142167"/>
                <a:gd name="connsiteY5" fmla="*/ 50123 h 186494"/>
                <a:gd name="connsiteX6" fmla="*/ 0 w 142167"/>
                <a:gd name="connsiteY6" fmla="*/ 0 h 186494"/>
                <a:gd name="connsiteX7" fmla="*/ 85209 w 142167"/>
                <a:gd name="connsiteY7" fmla="*/ 0 h 186494"/>
                <a:gd name="connsiteX8" fmla="*/ 142167 w 142167"/>
                <a:gd name="connsiteY8" fmla="*/ 50123 h 186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86494">
                  <a:moveTo>
                    <a:pt x="142167" y="186494"/>
                  </a:moveTo>
                  <a:lnTo>
                    <a:pt x="81108" y="144170"/>
                  </a:lnTo>
                  <a:lnTo>
                    <a:pt x="81108" y="69717"/>
                  </a:lnTo>
                  <a:cubicBezTo>
                    <a:pt x="81108" y="68349"/>
                    <a:pt x="81108" y="66983"/>
                    <a:pt x="81108" y="65615"/>
                  </a:cubicBezTo>
                  <a:cubicBezTo>
                    <a:pt x="79741" y="55591"/>
                    <a:pt x="70628" y="48756"/>
                    <a:pt x="60603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2" name="Forme libre : forme 361">
              <a:extLst>
                <a:ext uri="{FF2B5EF4-FFF2-40B4-BE49-F238E27FC236}">
                  <a16:creationId xmlns:a16="http://schemas.microsoft.com/office/drawing/2014/main" id="{627DF55A-0BF9-412B-B088-58C19C1BDCF8}"/>
                </a:ext>
              </a:extLst>
            </p:cNvPr>
            <p:cNvSpPr/>
            <p:nvPr/>
          </p:nvSpPr>
          <p:spPr>
            <a:xfrm rot="8716295">
              <a:off x="298766" y="-5395"/>
              <a:ext cx="260639" cy="180054"/>
            </a:xfrm>
            <a:custGeom>
              <a:avLst/>
              <a:gdLst>
                <a:gd name="connsiteX0" fmla="*/ 111638 w 260639"/>
                <a:gd name="connsiteY0" fmla="*/ 180054 h 180054"/>
                <a:gd name="connsiteX1" fmla="*/ 51490 w 260639"/>
                <a:gd name="connsiteY1" fmla="*/ 138362 h 180054"/>
                <a:gd name="connsiteX2" fmla="*/ 51490 w 260639"/>
                <a:gd name="connsiteY2" fmla="*/ 45624 h 180054"/>
                <a:gd name="connsiteX3" fmla="*/ 0 w 260639"/>
                <a:gd name="connsiteY3" fmla="*/ 45624 h 180054"/>
                <a:gd name="connsiteX4" fmla="*/ 0 w 260639"/>
                <a:gd name="connsiteY4" fmla="*/ 1425 h 180054"/>
                <a:gd name="connsiteX5" fmla="*/ 104802 w 260639"/>
                <a:gd name="connsiteY5" fmla="*/ 1425 h 180054"/>
                <a:gd name="connsiteX6" fmla="*/ 104802 w 260639"/>
                <a:gd name="connsiteY6" fmla="*/ 75242 h 180054"/>
                <a:gd name="connsiteX7" fmla="*/ 106169 w 260639"/>
                <a:gd name="connsiteY7" fmla="*/ 75242 h 180054"/>
                <a:gd name="connsiteX8" fmla="*/ 154014 w 260639"/>
                <a:gd name="connsiteY8" fmla="*/ 5981 h 180054"/>
                <a:gd name="connsiteX9" fmla="*/ 185455 w 260639"/>
                <a:gd name="connsiteY9" fmla="*/ 57 h 180054"/>
                <a:gd name="connsiteX10" fmla="*/ 260639 w 260639"/>
                <a:gd name="connsiteY10" fmla="*/ 88456 h 180054"/>
                <a:gd name="connsiteX11" fmla="*/ 260639 w 260639"/>
                <a:gd name="connsiteY11" fmla="*/ 94380 h 180054"/>
                <a:gd name="connsiteX12" fmla="*/ 198669 w 260639"/>
                <a:gd name="connsiteY12" fmla="*/ 98025 h 180054"/>
                <a:gd name="connsiteX13" fmla="*/ 198669 w 260639"/>
                <a:gd name="connsiteY13" fmla="*/ 81621 h 180054"/>
                <a:gd name="connsiteX14" fmla="*/ 164950 w 260639"/>
                <a:gd name="connsiteY14" fmla="*/ 40156 h 180054"/>
                <a:gd name="connsiteX15" fmla="*/ 111638 w 260639"/>
                <a:gd name="connsiteY15" fmla="*/ 127643 h 180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0639" h="180054">
                  <a:moveTo>
                    <a:pt x="111638" y="180054"/>
                  </a:moveTo>
                  <a:lnTo>
                    <a:pt x="51490" y="138362"/>
                  </a:ln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3" name="Forme libre : forme 362">
              <a:extLst>
                <a:ext uri="{FF2B5EF4-FFF2-40B4-BE49-F238E27FC236}">
                  <a16:creationId xmlns:a16="http://schemas.microsoft.com/office/drawing/2014/main" id="{B1CC1170-12B9-42E7-B048-36951089B415}"/>
                </a:ext>
              </a:extLst>
            </p:cNvPr>
            <p:cNvSpPr/>
            <p:nvPr/>
          </p:nvSpPr>
          <p:spPr>
            <a:xfrm rot="8716295">
              <a:off x="276903" y="-12823"/>
              <a:ext cx="36272" cy="27982"/>
            </a:xfrm>
            <a:custGeom>
              <a:avLst/>
              <a:gdLst>
                <a:gd name="connsiteX0" fmla="*/ 36272 w 36272"/>
                <a:gd name="connsiteY0" fmla="*/ 27982 h 27982"/>
                <a:gd name="connsiteX1" fmla="*/ 0 w 36272"/>
                <a:gd name="connsiteY1" fmla="*/ 2840 h 27982"/>
                <a:gd name="connsiteX2" fmla="*/ 9543 w 36272"/>
                <a:gd name="connsiteY2" fmla="*/ 0 h 27982"/>
                <a:gd name="connsiteX3" fmla="*/ 31871 w 36272"/>
                <a:gd name="connsiteY3" fmla="*/ 11392 h 27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272" h="27982">
                  <a:moveTo>
                    <a:pt x="36272" y="27982"/>
                  </a:moveTo>
                  <a:lnTo>
                    <a:pt x="0" y="2840"/>
                  </a:lnTo>
                  <a:lnTo>
                    <a:pt x="9543" y="0"/>
                  </a:lnTo>
                  <a:cubicBezTo>
                    <a:pt x="20479" y="0"/>
                    <a:pt x="27542" y="4784"/>
                    <a:pt x="31871" y="113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4" name="Forme libre : forme 363">
              <a:extLst>
                <a:ext uri="{FF2B5EF4-FFF2-40B4-BE49-F238E27FC236}">
                  <a16:creationId xmlns:a16="http://schemas.microsoft.com/office/drawing/2014/main" id="{E033BF19-7D8B-489E-8421-40953085A3CD}"/>
                </a:ext>
              </a:extLst>
            </p:cNvPr>
            <p:cNvSpPr/>
            <p:nvPr/>
          </p:nvSpPr>
          <p:spPr>
            <a:xfrm rot="8716295">
              <a:off x="74640" y="-9665"/>
              <a:ext cx="58068" cy="54772"/>
            </a:xfrm>
            <a:custGeom>
              <a:avLst/>
              <a:gdLst>
                <a:gd name="connsiteX0" fmla="*/ 37436 w 58068"/>
                <a:gd name="connsiteY0" fmla="*/ 54772 h 54772"/>
                <a:gd name="connsiteX1" fmla="*/ 0 w 58068"/>
                <a:gd name="connsiteY1" fmla="*/ 28823 h 54772"/>
                <a:gd name="connsiteX2" fmla="*/ 8515 w 58068"/>
                <a:gd name="connsiteY2" fmla="*/ 8658 h 54772"/>
                <a:gd name="connsiteX3" fmla="*/ 29020 w 58068"/>
                <a:gd name="connsiteY3" fmla="*/ 0 h 54772"/>
                <a:gd name="connsiteX4" fmla="*/ 49525 w 58068"/>
                <a:gd name="connsiteY4" fmla="*/ 8658 h 54772"/>
                <a:gd name="connsiteX5" fmla="*/ 49525 w 58068"/>
                <a:gd name="connsiteY5" fmla="*/ 49668 h 5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068" h="54772">
                  <a:moveTo>
                    <a:pt x="37436" y="54772"/>
                  </a:moveTo>
                  <a:lnTo>
                    <a:pt x="0" y="28823"/>
                  </a:lnTo>
                  <a:lnTo>
                    <a:pt x="8515" y="8658"/>
                  </a:lnTo>
                  <a:cubicBezTo>
                    <a:pt x="13983" y="3190"/>
                    <a:pt x="21273" y="0"/>
                    <a:pt x="29020" y="0"/>
                  </a:cubicBezTo>
                  <a:cubicBezTo>
                    <a:pt x="36766" y="0"/>
                    <a:pt x="44057" y="3190"/>
                    <a:pt x="49525" y="8658"/>
                  </a:cubicBezTo>
                  <a:cubicBezTo>
                    <a:pt x="60916" y="19594"/>
                    <a:pt x="60916" y="38276"/>
                    <a:pt x="49525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5" name="Forme libre : forme 364">
              <a:extLst>
                <a:ext uri="{FF2B5EF4-FFF2-40B4-BE49-F238E27FC236}">
                  <a16:creationId xmlns:a16="http://schemas.microsoft.com/office/drawing/2014/main" id="{CB7A744C-FCCB-4B93-9898-2A2B2B95BBB6}"/>
                </a:ext>
              </a:extLst>
            </p:cNvPr>
            <p:cNvSpPr/>
            <p:nvPr/>
          </p:nvSpPr>
          <p:spPr>
            <a:xfrm rot="8716295">
              <a:off x="13802" y="-10406"/>
              <a:ext cx="30027" cy="20814"/>
            </a:xfrm>
            <a:custGeom>
              <a:avLst/>
              <a:gdLst>
                <a:gd name="connsiteX0" fmla="*/ 30027 w 30027"/>
                <a:gd name="connsiteY0" fmla="*/ 20814 h 20814"/>
                <a:gd name="connsiteX1" fmla="*/ 0 w 30027"/>
                <a:gd name="connsiteY1" fmla="*/ 0 h 20814"/>
                <a:gd name="connsiteX2" fmla="*/ 30027 w 30027"/>
                <a:gd name="connsiteY2" fmla="*/ 0 h 20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027" h="20814">
                  <a:moveTo>
                    <a:pt x="30027" y="20814"/>
                  </a:moveTo>
                  <a:lnTo>
                    <a:pt x="0" y="0"/>
                  </a:lnTo>
                  <a:lnTo>
                    <a:pt x="3002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6" name="Forme libre : forme 365">
              <a:extLst>
                <a:ext uri="{FF2B5EF4-FFF2-40B4-BE49-F238E27FC236}">
                  <a16:creationId xmlns:a16="http://schemas.microsoft.com/office/drawing/2014/main" id="{A7508798-38A9-48C7-9AA8-5A92078CC84B}"/>
                </a:ext>
              </a:extLst>
            </p:cNvPr>
            <p:cNvSpPr/>
            <p:nvPr/>
          </p:nvSpPr>
          <p:spPr>
            <a:xfrm rot="8716295">
              <a:off x="168048" y="3032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7" name="Forme libre : forme 366">
              <a:extLst>
                <a:ext uri="{FF2B5EF4-FFF2-40B4-BE49-F238E27FC236}">
                  <a16:creationId xmlns:a16="http://schemas.microsoft.com/office/drawing/2014/main" id="{0E351C93-E018-436B-9326-CEDEA386B63D}"/>
                </a:ext>
              </a:extLst>
            </p:cNvPr>
            <p:cNvSpPr/>
            <p:nvPr/>
          </p:nvSpPr>
          <p:spPr>
            <a:xfrm rot="7484129">
              <a:off x="562078" y="-284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8" name="Forme libre : forme 367">
              <a:extLst>
                <a:ext uri="{FF2B5EF4-FFF2-40B4-BE49-F238E27FC236}">
                  <a16:creationId xmlns:a16="http://schemas.microsoft.com/office/drawing/2014/main" id="{BDEF799B-C934-4303-874D-CB44161BDCB0}"/>
                </a:ext>
              </a:extLst>
            </p:cNvPr>
            <p:cNvSpPr/>
            <p:nvPr/>
          </p:nvSpPr>
          <p:spPr>
            <a:xfrm rot="13089394">
              <a:off x="775514" y="-27038"/>
              <a:ext cx="149688" cy="328219"/>
            </a:xfrm>
            <a:custGeom>
              <a:avLst/>
              <a:gdLst>
                <a:gd name="connsiteX0" fmla="*/ 149688 w 149688"/>
                <a:gd name="connsiteY0" fmla="*/ 279622 h 328219"/>
                <a:gd name="connsiteX1" fmla="*/ 87835 w 149688"/>
                <a:gd name="connsiteY1" fmla="*/ 328219 h 328219"/>
                <a:gd name="connsiteX2" fmla="*/ 54765 w 149688"/>
                <a:gd name="connsiteY2" fmla="*/ 322521 h 328219"/>
                <a:gd name="connsiteX3" fmla="*/ 23727 w 149688"/>
                <a:gd name="connsiteY3" fmla="*/ 301277 h 328219"/>
                <a:gd name="connsiteX4" fmla="*/ 0 w 149688"/>
                <a:gd name="connsiteY4" fmla="*/ 206369 h 328219"/>
                <a:gd name="connsiteX5" fmla="*/ 0 w 149688"/>
                <a:gd name="connsiteY5" fmla="*/ 38074 h 328219"/>
                <a:gd name="connsiteX6" fmla="*/ 73388 w 149688"/>
                <a:gd name="connsiteY6" fmla="*/ 0 h 328219"/>
                <a:gd name="connsiteX7" fmla="*/ 74492 w 149688"/>
                <a:gd name="connsiteY7" fmla="*/ 153950 h 328219"/>
                <a:gd name="connsiteX8" fmla="*/ 87734 w 149688"/>
                <a:gd name="connsiteY8" fmla="*/ 245547 h 328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9688" h="328219">
                  <a:moveTo>
                    <a:pt x="149688" y="279622"/>
                  </a:moveTo>
                  <a:lnTo>
                    <a:pt x="87835" y="328219"/>
                  </a:lnTo>
                  <a:lnTo>
                    <a:pt x="54765" y="322521"/>
                  </a:lnTo>
                  <a:cubicBezTo>
                    <a:pt x="43178" y="317693"/>
                    <a:pt x="32555" y="310382"/>
                    <a:pt x="23727" y="301277"/>
                  </a:cubicBezTo>
                  <a:cubicBezTo>
                    <a:pt x="4966" y="283069"/>
                    <a:pt x="0" y="251616"/>
                    <a:pt x="0" y="206369"/>
                  </a:cubicBez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2836" y="184850"/>
                    <a:pt x="77802" y="216302"/>
                    <a:pt x="87734" y="2455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9" name="Forme libre : forme 368">
              <a:extLst>
                <a:ext uri="{FF2B5EF4-FFF2-40B4-BE49-F238E27FC236}">
                  <a16:creationId xmlns:a16="http://schemas.microsoft.com/office/drawing/2014/main" id="{85452057-F6AF-4671-A171-74C9DE20E061}"/>
                </a:ext>
              </a:extLst>
            </p:cNvPr>
            <p:cNvSpPr/>
            <p:nvPr/>
          </p:nvSpPr>
          <p:spPr>
            <a:xfrm rot="8716295">
              <a:off x="3366575" y="56973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0" name="Forme libre : forme 369">
              <a:extLst>
                <a:ext uri="{FF2B5EF4-FFF2-40B4-BE49-F238E27FC236}">
                  <a16:creationId xmlns:a16="http://schemas.microsoft.com/office/drawing/2014/main" id="{0B76C80E-592A-400D-A327-9F0390D4B3C2}"/>
                </a:ext>
              </a:extLst>
            </p:cNvPr>
            <p:cNvSpPr/>
            <p:nvPr/>
          </p:nvSpPr>
          <p:spPr>
            <a:xfrm rot="8716295">
              <a:off x="3237162" y="360980"/>
              <a:ext cx="203847" cy="195873"/>
            </a:xfrm>
            <a:custGeom>
              <a:avLst/>
              <a:gdLst>
                <a:gd name="connsiteX0" fmla="*/ 90710 w 203847"/>
                <a:gd name="connsiteY0" fmla="*/ 195873 h 195873"/>
                <a:gd name="connsiteX1" fmla="*/ 47847 w 203847"/>
                <a:gd name="connsiteY1" fmla="*/ 116129 h 195873"/>
                <a:gd name="connsiteX2" fmla="*/ 69777 w 203847"/>
                <a:gd name="connsiteY2" fmla="*/ 55323 h 195873"/>
                <a:gd name="connsiteX3" fmla="*/ 0 w 203847"/>
                <a:gd name="connsiteY3" fmla="*/ 55323 h 195873"/>
                <a:gd name="connsiteX4" fmla="*/ 0 w 203847"/>
                <a:gd name="connsiteY4" fmla="*/ 52719 h 195873"/>
                <a:gd name="connsiteX5" fmla="*/ 43605 w 203847"/>
                <a:gd name="connsiteY5" fmla="*/ 0 h 195873"/>
                <a:gd name="connsiteX6" fmla="*/ 203847 w 203847"/>
                <a:gd name="connsiteY6" fmla="*/ 0 h 195873"/>
                <a:gd name="connsiteX7" fmla="*/ 203847 w 203847"/>
                <a:gd name="connsiteY7" fmla="*/ 55323 h 195873"/>
                <a:gd name="connsiteX8" fmla="*/ 139055 w 203847"/>
                <a:gd name="connsiteY8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3">
                  <a:moveTo>
                    <a:pt x="90710" y="195873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52719"/>
                  </a:lnTo>
                  <a:lnTo>
                    <a:pt x="43605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1" name="Forme libre : forme 370">
              <a:extLst>
                <a:ext uri="{FF2B5EF4-FFF2-40B4-BE49-F238E27FC236}">
                  <a16:creationId xmlns:a16="http://schemas.microsoft.com/office/drawing/2014/main" id="{5150644E-4F20-423C-8383-236544837AE7}"/>
                </a:ext>
              </a:extLst>
            </p:cNvPr>
            <p:cNvSpPr/>
            <p:nvPr/>
          </p:nvSpPr>
          <p:spPr>
            <a:xfrm rot="8716295">
              <a:off x="3189574" y="231224"/>
              <a:ext cx="290249" cy="221342"/>
            </a:xfrm>
            <a:custGeom>
              <a:avLst/>
              <a:gdLst>
                <a:gd name="connsiteX0" fmla="*/ 24905 w 290249"/>
                <a:gd name="connsiteY0" fmla="*/ 191751 h 221342"/>
                <a:gd name="connsiteX1" fmla="*/ 4754 w 290249"/>
                <a:gd name="connsiteY1" fmla="*/ 151964 h 221342"/>
                <a:gd name="connsiteX2" fmla="*/ 0 w 290249"/>
                <a:gd name="connsiteY2" fmla="*/ 95252 h 221342"/>
                <a:gd name="connsiteX3" fmla="*/ 78785 w 290249"/>
                <a:gd name="connsiteY3" fmla="*/ 0 h 221342"/>
                <a:gd name="connsiteX4" fmla="*/ 79033 w 290249"/>
                <a:gd name="connsiteY4" fmla="*/ 34662 h 221342"/>
                <a:gd name="connsiteX5" fmla="*/ 93153 w 290249"/>
                <a:gd name="connsiteY5" fmla="*/ 132328 h 221342"/>
                <a:gd name="connsiteX6" fmla="*/ 163754 w 290249"/>
                <a:gd name="connsiteY6" fmla="*/ 171159 h 221342"/>
                <a:gd name="connsiteX7" fmla="*/ 216706 w 290249"/>
                <a:gd name="connsiteY7" fmla="*/ 161745 h 221342"/>
                <a:gd name="connsiteX8" fmla="*/ 289073 w 290249"/>
                <a:gd name="connsiteY8" fmla="*/ 132328 h 221342"/>
                <a:gd name="connsiteX9" fmla="*/ 290249 w 290249"/>
                <a:gd name="connsiteY9" fmla="*/ 139976 h 221342"/>
                <a:gd name="connsiteX10" fmla="*/ 290249 w 290249"/>
                <a:gd name="connsiteY10" fmla="*/ 145860 h 221342"/>
                <a:gd name="connsiteX11" fmla="*/ 97272 w 290249"/>
                <a:gd name="connsiteY11" fmla="*/ 221168 h 221342"/>
                <a:gd name="connsiteX12" fmla="*/ 24905 w 290249"/>
                <a:gd name="connsiteY12" fmla="*/ 191751 h 221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0249" h="221342">
                  <a:moveTo>
                    <a:pt x="24905" y="191751"/>
                  </a:moveTo>
                  <a:cubicBezTo>
                    <a:pt x="14903" y="182043"/>
                    <a:pt x="8578" y="168805"/>
                    <a:pt x="4754" y="151964"/>
                  </a:cubicBezTo>
                  <a:lnTo>
                    <a:pt x="0" y="95252"/>
                  </a:lnTo>
                  <a:lnTo>
                    <a:pt x="78785" y="0"/>
                  </a:lnTo>
                  <a:lnTo>
                    <a:pt x="79033" y="34662"/>
                  </a:lnTo>
                  <a:cubicBezTo>
                    <a:pt x="77268" y="67610"/>
                    <a:pt x="82563" y="101145"/>
                    <a:pt x="93153" y="132328"/>
                  </a:cubicBezTo>
                  <a:cubicBezTo>
                    <a:pt x="102567" y="158215"/>
                    <a:pt x="126689" y="171159"/>
                    <a:pt x="163754" y="171159"/>
                  </a:cubicBezTo>
                  <a:cubicBezTo>
                    <a:pt x="181994" y="170570"/>
                    <a:pt x="199644" y="167040"/>
                    <a:pt x="216706" y="161745"/>
                  </a:cubicBezTo>
                  <a:cubicBezTo>
                    <a:pt x="241416" y="154096"/>
                    <a:pt x="265539" y="144095"/>
                    <a:pt x="289073" y="132328"/>
                  </a:cubicBezTo>
                  <a:cubicBezTo>
                    <a:pt x="289661" y="134681"/>
                    <a:pt x="290249" y="137623"/>
                    <a:pt x="290249" y="139976"/>
                  </a:cubicBezTo>
                  <a:lnTo>
                    <a:pt x="290249" y="145860"/>
                  </a:lnTo>
                  <a:cubicBezTo>
                    <a:pt x="227885" y="199399"/>
                    <a:pt x="146104" y="218227"/>
                    <a:pt x="97272" y="221168"/>
                  </a:cubicBezTo>
                  <a:cubicBezTo>
                    <a:pt x="70208" y="222933"/>
                    <a:pt x="43732" y="211166"/>
                    <a:pt x="24905" y="19175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2" name="Forme libre : forme 371">
              <a:extLst>
                <a:ext uri="{FF2B5EF4-FFF2-40B4-BE49-F238E27FC236}">
                  <a16:creationId xmlns:a16="http://schemas.microsoft.com/office/drawing/2014/main" id="{9266C455-B545-49CA-BF30-2607C744AB8E}"/>
                </a:ext>
              </a:extLst>
            </p:cNvPr>
            <p:cNvSpPr/>
            <p:nvPr/>
          </p:nvSpPr>
          <p:spPr>
            <a:xfrm rot="8716295">
              <a:off x="3411629" y="650113"/>
              <a:ext cx="21023" cy="45645"/>
            </a:xfrm>
            <a:custGeom>
              <a:avLst/>
              <a:gdLst>
                <a:gd name="connsiteX0" fmla="*/ 21023 w 21023"/>
                <a:gd name="connsiteY0" fmla="*/ 45645 h 45645"/>
                <a:gd name="connsiteX1" fmla="*/ 0 w 21023"/>
                <a:gd name="connsiteY1" fmla="*/ 25418 h 45645"/>
                <a:gd name="connsiteX2" fmla="*/ 21023 w 21023"/>
                <a:gd name="connsiteY2" fmla="*/ 0 h 4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023" h="45645">
                  <a:moveTo>
                    <a:pt x="21023" y="45645"/>
                  </a:moveTo>
                  <a:lnTo>
                    <a:pt x="0" y="25418"/>
                  </a:lnTo>
                  <a:lnTo>
                    <a:pt x="2102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3" name="Forme libre : forme 372">
              <a:extLst>
                <a:ext uri="{FF2B5EF4-FFF2-40B4-BE49-F238E27FC236}">
                  <a16:creationId xmlns:a16="http://schemas.microsoft.com/office/drawing/2014/main" id="{8A8C4152-A6DA-4079-AA7F-C7451551470E}"/>
                </a:ext>
              </a:extLst>
            </p:cNvPr>
            <p:cNvSpPr/>
            <p:nvPr/>
          </p:nvSpPr>
          <p:spPr>
            <a:xfrm rot="8716295">
              <a:off x="3298850" y="-42720"/>
              <a:ext cx="123263" cy="85442"/>
            </a:xfrm>
            <a:custGeom>
              <a:avLst/>
              <a:gdLst>
                <a:gd name="connsiteX0" fmla="*/ 123263 w 123263"/>
                <a:gd name="connsiteY0" fmla="*/ 85442 h 85442"/>
                <a:gd name="connsiteX1" fmla="*/ 0 w 123263"/>
                <a:gd name="connsiteY1" fmla="*/ 0 h 85442"/>
                <a:gd name="connsiteX2" fmla="*/ 66305 w 123263"/>
                <a:gd name="connsiteY2" fmla="*/ 0 h 85442"/>
                <a:gd name="connsiteX3" fmla="*/ 123263 w 123263"/>
                <a:gd name="connsiteY3" fmla="*/ 50123 h 85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63" h="85442">
                  <a:moveTo>
                    <a:pt x="123263" y="85442"/>
                  </a:moveTo>
                  <a:lnTo>
                    <a:pt x="0" y="0"/>
                  </a:lnTo>
                  <a:lnTo>
                    <a:pt x="66305" y="0"/>
                  </a:lnTo>
                  <a:cubicBezTo>
                    <a:pt x="103214" y="0"/>
                    <a:pt x="123263" y="15948"/>
                    <a:pt x="123263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4" name="Forme libre : forme 373">
              <a:extLst>
                <a:ext uri="{FF2B5EF4-FFF2-40B4-BE49-F238E27FC236}">
                  <a16:creationId xmlns:a16="http://schemas.microsoft.com/office/drawing/2014/main" id="{A339289A-5EC3-49A9-9A48-D86927329ED5}"/>
                </a:ext>
              </a:extLst>
            </p:cNvPr>
            <p:cNvSpPr/>
            <p:nvPr/>
          </p:nvSpPr>
          <p:spPr>
            <a:xfrm rot="8716295">
              <a:off x="3402681" y="37518"/>
              <a:ext cx="82257" cy="93201"/>
            </a:xfrm>
            <a:custGeom>
              <a:avLst/>
              <a:gdLst>
                <a:gd name="connsiteX0" fmla="*/ 20287 w 82257"/>
                <a:gd name="connsiteY0" fmla="*/ 93201 h 93201"/>
                <a:gd name="connsiteX1" fmla="*/ 20287 w 82257"/>
                <a:gd name="connsiteY1" fmla="*/ 76797 h 93201"/>
                <a:gd name="connsiteX2" fmla="*/ 10775 w 82257"/>
                <a:gd name="connsiteY2" fmla="*/ 46837 h 93201"/>
                <a:gd name="connsiteX3" fmla="*/ 0 w 82257"/>
                <a:gd name="connsiteY3" fmla="*/ 41716 h 93201"/>
                <a:gd name="connsiteX4" fmla="*/ 34504 w 82257"/>
                <a:gd name="connsiteY4" fmla="*/ 0 h 93201"/>
                <a:gd name="connsiteX5" fmla="*/ 38620 w 82257"/>
                <a:gd name="connsiteY5" fmla="*/ 715 h 93201"/>
                <a:gd name="connsiteX6" fmla="*/ 82257 w 82257"/>
                <a:gd name="connsiteY6" fmla="*/ 83632 h 93201"/>
                <a:gd name="connsiteX7" fmla="*/ 82257 w 82257"/>
                <a:gd name="connsiteY7" fmla="*/ 89556 h 93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2257" h="93201">
                  <a:moveTo>
                    <a:pt x="20287" y="93201"/>
                  </a:moveTo>
                  <a:lnTo>
                    <a:pt x="20287" y="76797"/>
                  </a:lnTo>
                  <a:cubicBezTo>
                    <a:pt x="20287" y="64494"/>
                    <a:pt x="16756" y="54128"/>
                    <a:pt x="10775" y="46837"/>
                  </a:cubicBezTo>
                  <a:lnTo>
                    <a:pt x="0" y="41716"/>
                  </a:lnTo>
                  <a:lnTo>
                    <a:pt x="34504" y="0"/>
                  </a:lnTo>
                  <a:lnTo>
                    <a:pt x="38620" y="715"/>
                  </a:lnTo>
                  <a:cubicBezTo>
                    <a:pt x="66366" y="12207"/>
                    <a:pt x="82257" y="41255"/>
                    <a:pt x="82257" y="83632"/>
                  </a:cubicBezTo>
                  <a:lnTo>
                    <a:pt x="82257" y="8955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5" name="Forme libre : forme 374">
              <a:extLst>
                <a:ext uri="{FF2B5EF4-FFF2-40B4-BE49-F238E27FC236}">
                  <a16:creationId xmlns:a16="http://schemas.microsoft.com/office/drawing/2014/main" id="{FE84117C-0D75-44E5-BDA4-CA1CB1F335CF}"/>
                </a:ext>
              </a:extLst>
            </p:cNvPr>
            <p:cNvSpPr/>
            <p:nvPr/>
          </p:nvSpPr>
          <p:spPr>
            <a:xfrm rot="8716295">
              <a:off x="3234083" y="-5272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6" name="Forme libre : forme 375">
              <a:extLst>
                <a:ext uri="{FF2B5EF4-FFF2-40B4-BE49-F238E27FC236}">
                  <a16:creationId xmlns:a16="http://schemas.microsoft.com/office/drawing/2014/main" id="{12EEAD1F-5DD6-435B-8A93-C66CE1909363}"/>
                </a:ext>
              </a:extLst>
            </p:cNvPr>
            <p:cNvSpPr/>
            <p:nvPr/>
          </p:nvSpPr>
          <p:spPr>
            <a:xfrm rot="8716295">
              <a:off x="212141" y="304502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7" name="Forme libre : forme 376">
              <a:extLst>
                <a:ext uri="{FF2B5EF4-FFF2-40B4-BE49-F238E27FC236}">
                  <a16:creationId xmlns:a16="http://schemas.microsoft.com/office/drawing/2014/main" id="{E2B3F83B-E193-4145-A936-C1756D937D20}"/>
                </a:ext>
              </a:extLst>
            </p:cNvPr>
            <p:cNvSpPr/>
            <p:nvPr/>
          </p:nvSpPr>
          <p:spPr>
            <a:xfrm rot="8716295">
              <a:off x="301533" y="307427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8" name="Forme libre : forme 377">
              <a:extLst>
                <a:ext uri="{FF2B5EF4-FFF2-40B4-BE49-F238E27FC236}">
                  <a16:creationId xmlns:a16="http://schemas.microsoft.com/office/drawing/2014/main" id="{0EBCDD2D-96D0-40D5-832B-9D432203380A}"/>
                </a:ext>
              </a:extLst>
            </p:cNvPr>
            <p:cNvSpPr/>
            <p:nvPr/>
          </p:nvSpPr>
          <p:spPr>
            <a:xfrm rot="8716295">
              <a:off x="256683" y="298799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9" name="Forme libre : forme 378">
              <a:extLst>
                <a:ext uri="{FF2B5EF4-FFF2-40B4-BE49-F238E27FC236}">
                  <a16:creationId xmlns:a16="http://schemas.microsoft.com/office/drawing/2014/main" id="{D7B14EA1-A5A0-49C4-996C-1F9E3834E06F}"/>
                </a:ext>
              </a:extLst>
            </p:cNvPr>
            <p:cNvSpPr/>
            <p:nvPr/>
          </p:nvSpPr>
          <p:spPr>
            <a:xfrm rot="8716295">
              <a:off x="99907" y="31335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0" name="Forme libre : forme 379">
              <a:extLst>
                <a:ext uri="{FF2B5EF4-FFF2-40B4-BE49-F238E27FC236}">
                  <a16:creationId xmlns:a16="http://schemas.microsoft.com/office/drawing/2014/main" id="{736F0423-C826-490E-96A4-CDB0EDE4D27E}"/>
                </a:ext>
              </a:extLst>
            </p:cNvPr>
            <p:cNvSpPr/>
            <p:nvPr/>
          </p:nvSpPr>
          <p:spPr>
            <a:xfrm rot="8716295">
              <a:off x="-24996" y="29248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1" name="Forme libre : forme 380">
              <a:extLst>
                <a:ext uri="{FF2B5EF4-FFF2-40B4-BE49-F238E27FC236}">
                  <a16:creationId xmlns:a16="http://schemas.microsoft.com/office/drawing/2014/main" id="{75D8D9C1-45FD-4A7E-AA8D-777A228E8F1D}"/>
                </a:ext>
              </a:extLst>
            </p:cNvPr>
            <p:cNvSpPr/>
            <p:nvPr/>
          </p:nvSpPr>
          <p:spPr>
            <a:xfrm rot="8716295">
              <a:off x="51899" y="2754602"/>
              <a:ext cx="189488" cy="350829"/>
            </a:xfrm>
            <a:custGeom>
              <a:avLst/>
              <a:gdLst>
                <a:gd name="connsiteX0" fmla="*/ 25299 w 189488"/>
                <a:gd name="connsiteY0" fmla="*/ 321238 h 350829"/>
                <a:gd name="connsiteX1" fmla="*/ 0 w 189488"/>
                <a:gd name="connsiteY1" fmla="*/ 220042 h 350829"/>
                <a:gd name="connsiteX2" fmla="*/ 0 w 189488"/>
                <a:gd name="connsiteY2" fmla="*/ 40596 h 350829"/>
                <a:gd name="connsiteX3" fmla="*/ 78250 w 189488"/>
                <a:gd name="connsiteY3" fmla="*/ 0 h 350829"/>
                <a:gd name="connsiteX4" fmla="*/ 79427 w 189488"/>
                <a:gd name="connsiteY4" fmla="*/ 164149 h 350829"/>
                <a:gd name="connsiteX5" fmla="*/ 93547 w 189488"/>
                <a:gd name="connsiteY5" fmla="*/ 261815 h 350829"/>
                <a:gd name="connsiteX6" fmla="*/ 164148 w 189488"/>
                <a:gd name="connsiteY6" fmla="*/ 300646 h 350829"/>
                <a:gd name="connsiteX7" fmla="*/ 189488 w 189488"/>
                <a:gd name="connsiteY7" fmla="*/ 296141 h 350829"/>
                <a:gd name="connsiteX8" fmla="*/ 160617 w 189488"/>
                <a:gd name="connsiteY8" fmla="*/ 337791 h 350829"/>
                <a:gd name="connsiteX9" fmla="*/ 97666 w 189488"/>
                <a:gd name="connsiteY9" fmla="*/ 350655 h 350829"/>
                <a:gd name="connsiteX10" fmla="*/ 25299 w 189488"/>
                <a:gd name="connsiteY10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9488" h="350829">
                  <a:moveTo>
                    <a:pt x="25299" y="321238"/>
                  </a:moveTo>
                  <a:cubicBezTo>
                    <a:pt x="5295" y="301823"/>
                    <a:pt x="0" y="268286"/>
                    <a:pt x="0" y="220042"/>
                  </a:cubicBez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8" y="300646"/>
                  </a:cubicBezTo>
                  <a:lnTo>
                    <a:pt x="189488" y="296141"/>
                  </a:lnTo>
                  <a:lnTo>
                    <a:pt x="160617" y="337791"/>
                  </a:lnTo>
                  <a:lnTo>
                    <a:pt x="97666" y="350655"/>
                  </a:ln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2" name="Forme libre : forme 381">
              <a:extLst>
                <a:ext uri="{FF2B5EF4-FFF2-40B4-BE49-F238E27FC236}">
                  <a16:creationId xmlns:a16="http://schemas.microsoft.com/office/drawing/2014/main" id="{B4FEB9FE-AF54-49A2-BE6D-72BA7BE2EB18}"/>
                </a:ext>
              </a:extLst>
            </p:cNvPr>
            <p:cNvSpPr/>
            <p:nvPr/>
          </p:nvSpPr>
          <p:spPr>
            <a:xfrm rot="8716295">
              <a:off x="190085" y="317452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3" name="Forme libre : forme 382">
              <a:extLst>
                <a:ext uri="{FF2B5EF4-FFF2-40B4-BE49-F238E27FC236}">
                  <a16:creationId xmlns:a16="http://schemas.microsoft.com/office/drawing/2014/main" id="{8DA05A66-E883-464C-B559-6FC6B28A3E8D}"/>
                </a:ext>
              </a:extLst>
            </p:cNvPr>
            <p:cNvSpPr/>
            <p:nvPr/>
          </p:nvSpPr>
          <p:spPr>
            <a:xfrm rot="8716295">
              <a:off x="501240" y="279487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4" name="Forme libre : forme 383">
              <a:extLst>
                <a:ext uri="{FF2B5EF4-FFF2-40B4-BE49-F238E27FC236}">
                  <a16:creationId xmlns:a16="http://schemas.microsoft.com/office/drawing/2014/main" id="{70D6E3B7-3736-43CC-9D76-86B0F97A5780}"/>
                </a:ext>
              </a:extLst>
            </p:cNvPr>
            <p:cNvSpPr/>
            <p:nvPr/>
          </p:nvSpPr>
          <p:spPr>
            <a:xfrm rot="8716295">
              <a:off x="590632" y="282411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5" name="Forme libre : forme 384">
              <a:extLst>
                <a:ext uri="{FF2B5EF4-FFF2-40B4-BE49-F238E27FC236}">
                  <a16:creationId xmlns:a16="http://schemas.microsoft.com/office/drawing/2014/main" id="{FC4D3741-889D-4E54-B83F-D0BA201DC6A2}"/>
                </a:ext>
              </a:extLst>
            </p:cNvPr>
            <p:cNvSpPr/>
            <p:nvPr/>
          </p:nvSpPr>
          <p:spPr>
            <a:xfrm rot="8716295">
              <a:off x="389006" y="2883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6" name="Forme libre : forme 385">
              <a:extLst>
                <a:ext uri="{FF2B5EF4-FFF2-40B4-BE49-F238E27FC236}">
                  <a16:creationId xmlns:a16="http://schemas.microsoft.com/office/drawing/2014/main" id="{C9BA88DB-9441-45DF-A22F-E12869EF8794}"/>
                </a:ext>
              </a:extLst>
            </p:cNvPr>
            <p:cNvSpPr/>
            <p:nvPr/>
          </p:nvSpPr>
          <p:spPr>
            <a:xfrm rot="8716295">
              <a:off x="264104" y="267474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7" name="Forme libre : forme 386">
              <a:extLst>
                <a:ext uri="{FF2B5EF4-FFF2-40B4-BE49-F238E27FC236}">
                  <a16:creationId xmlns:a16="http://schemas.microsoft.com/office/drawing/2014/main" id="{BBD785FB-255F-47D4-869B-DA2427044735}"/>
                </a:ext>
              </a:extLst>
            </p:cNvPr>
            <p:cNvSpPr/>
            <p:nvPr/>
          </p:nvSpPr>
          <p:spPr>
            <a:xfrm rot="8716295">
              <a:off x="479184" y="292437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8" name="Forme libre : forme 387">
              <a:extLst>
                <a:ext uri="{FF2B5EF4-FFF2-40B4-BE49-F238E27FC236}">
                  <a16:creationId xmlns:a16="http://schemas.microsoft.com/office/drawing/2014/main" id="{04B3E6F0-D035-4122-A08C-156643A27C96}"/>
                </a:ext>
              </a:extLst>
            </p:cNvPr>
            <p:cNvSpPr/>
            <p:nvPr/>
          </p:nvSpPr>
          <p:spPr>
            <a:xfrm rot="8716295">
              <a:off x="237733" y="277477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9" name="Forme libre : forme 388">
              <a:extLst>
                <a:ext uri="{FF2B5EF4-FFF2-40B4-BE49-F238E27FC236}">
                  <a16:creationId xmlns:a16="http://schemas.microsoft.com/office/drawing/2014/main" id="{09952F73-FF5F-406A-8919-7345F484086E}"/>
                </a:ext>
              </a:extLst>
            </p:cNvPr>
            <p:cNvSpPr/>
            <p:nvPr/>
          </p:nvSpPr>
          <p:spPr>
            <a:xfrm rot="7484129">
              <a:off x="584115" y="311572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0" name="Forme libre : forme 389">
              <a:extLst>
                <a:ext uri="{FF2B5EF4-FFF2-40B4-BE49-F238E27FC236}">
                  <a16:creationId xmlns:a16="http://schemas.microsoft.com/office/drawing/2014/main" id="{09ED8664-259A-4F65-B984-54EB26583D37}"/>
                </a:ext>
              </a:extLst>
            </p:cNvPr>
            <p:cNvSpPr/>
            <p:nvPr/>
          </p:nvSpPr>
          <p:spPr>
            <a:xfrm rot="13089394">
              <a:off x="688935" y="3082257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1" name="Forme libre : forme 390">
              <a:extLst>
                <a:ext uri="{FF2B5EF4-FFF2-40B4-BE49-F238E27FC236}">
                  <a16:creationId xmlns:a16="http://schemas.microsoft.com/office/drawing/2014/main" id="{5005AA8C-EF3F-42BB-886F-BDC096F9E2C6}"/>
                </a:ext>
              </a:extLst>
            </p:cNvPr>
            <p:cNvSpPr/>
            <p:nvPr/>
          </p:nvSpPr>
          <p:spPr>
            <a:xfrm rot="8716295">
              <a:off x="874520" y="2890576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2" name="Forme libre : forme 391">
              <a:extLst>
                <a:ext uri="{FF2B5EF4-FFF2-40B4-BE49-F238E27FC236}">
                  <a16:creationId xmlns:a16="http://schemas.microsoft.com/office/drawing/2014/main" id="{F901BAD2-7BC9-4B9B-9AEE-194DC6FC05A0}"/>
                </a:ext>
              </a:extLst>
            </p:cNvPr>
            <p:cNvSpPr/>
            <p:nvPr/>
          </p:nvSpPr>
          <p:spPr>
            <a:xfrm rot="8716295">
              <a:off x="822715" y="278698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3" name="Forme libre : forme 392">
              <a:extLst>
                <a:ext uri="{FF2B5EF4-FFF2-40B4-BE49-F238E27FC236}">
                  <a16:creationId xmlns:a16="http://schemas.microsoft.com/office/drawing/2014/main" id="{9E3F70D1-21EF-4CD2-8FEB-B48B0201A2F5}"/>
                </a:ext>
              </a:extLst>
            </p:cNvPr>
            <p:cNvSpPr/>
            <p:nvPr/>
          </p:nvSpPr>
          <p:spPr>
            <a:xfrm rot="8716295">
              <a:off x="579469" y="28172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4" name="Forme libre : forme 393">
              <a:extLst>
                <a:ext uri="{FF2B5EF4-FFF2-40B4-BE49-F238E27FC236}">
                  <a16:creationId xmlns:a16="http://schemas.microsoft.com/office/drawing/2014/main" id="{EE0D830B-AE35-40E9-8728-E21F6C35586C}"/>
                </a:ext>
              </a:extLst>
            </p:cNvPr>
            <p:cNvSpPr/>
            <p:nvPr/>
          </p:nvSpPr>
          <p:spPr>
            <a:xfrm rot="8716295">
              <a:off x="756921" y="265796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5" name="Forme libre : forme 394">
              <a:extLst>
                <a:ext uri="{FF2B5EF4-FFF2-40B4-BE49-F238E27FC236}">
                  <a16:creationId xmlns:a16="http://schemas.microsoft.com/office/drawing/2014/main" id="{8FFBDF4B-90C1-4FB0-93F5-3CF9CE875883}"/>
                </a:ext>
              </a:extLst>
            </p:cNvPr>
            <p:cNvSpPr/>
            <p:nvPr/>
          </p:nvSpPr>
          <p:spPr>
            <a:xfrm rot="8716295">
              <a:off x="435308" y="370472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6" name="Forme libre : forme 395">
              <a:extLst>
                <a:ext uri="{FF2B5EF4-FFF2-40B4-BE49-F238E27FC236}">
                  <a16:creationId xmlns:a16="http://schemas.microsoft.com/office/drawing/2014/main" id="{4DB3DB14-6327-4A57-8367-203E6F4E011B}"/>
                </a:ext>
              </a:extLst>
            </p:cNvPr>
            <p:cNvSpPr/>
            <p:nvPr/>
          </p:nvSpPr>
          <p:spPr>
            <a:xfrm rot="8716295">
              <a:off x="524700" y="373396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7" name="Forme libre : forme 396">
              <a:extLst>
                <a:ext uri="{FF2B5EF4-FFF2-40B4-BE49-F238E27FC236}">
                  <a16:creationId xmlns:a16="http://schemas.microsoft.com/office/drawing/2014/main" id="{4355D30E-1756-4406-84C9-F6A8049756B3}"/>
                </a:ext>
              </a:extLst>
            </p:cNvPr>
            <p:cNvSpPr/>
            <p:nvPr/>
          </p:nvSpPr>
          <p:spPr>
            <a:xfrm rot="8716295">
              <a:off x="479850" y="3647689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8" name="Forme libre : forme 397">
              <a:extLst>
                <a:ext uri="{FF2B5EF4-FFF2-40B4-BE49-F238E27FC236}">
                  <a16:creationId xmlns:a16="http://schemas.microsoft.com/office/drawing/2014/main" id="{BA4A47C8-0B69-4C29-80A3-E8882E41243E}"/>
                </a:ext>
              </a:extLst>
            </p:cNvPr>
            <p:cNvSpPr/>
            <p:nvPr/>
          </p:nvSpPr>
          <p:spPr>
            <a:xfrm rot="8716295">
              <a:off x="323074" y="379327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9" name="Forme libre : forme 398">
              <a:extLst>
                <a:ext uri="{FF2B5EF4-FFF2-40B4-BE49-F238E27FC236}">
                  <a16:creationId xmlns:a16="http://schemas.microsoft.com/office/drawing/2014/main" id="{C7193D43-8FAD-40C8-B968-D6B7B8EE8D8F}"/>
                </a:ext>
              </a:extLst>
            </p:cNvPr>
            <p:cNvSpPr/>
            <p:nvPr/>
          </p:nvSpPr>
          <p:spPr>
            <a:xfrm rot="8716295">
              <a:off x="198171" y="358459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0" name="Forme libre : forme 399">
              <a:extLst>
                <a:ext uri="{FF2B5EF4-FFF2-40B4-BE49-F238E27FC236}">
                  <a16:creationId xmlns:a16="http://schemas.microsoft.com/office/drawing/2014/main" id="{F68A3447-0210-45C1-9F87-4B1D4BFE9738}"/>
                </a:ext>
              </a:extLst>
            </p:cNvPr>
            <p:cNvSpPr/>
            <p:nvPr/>
          </p:nvSpPr>
          <p:spPr>
            <a:xfrm rot="8716295">
              <a:off x="186119" y="344581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1" name="Forme libre : forme 400">
              <a:extLst>
                <a:ext uri="{FF2B5EF4-FFF2-40B4-BE49-F238E27FC236}">
                  <a16:creationId xmlns:a16="http://schemas.microsoft.com/office/drawing/2014/main" id="{7AF4A353-4506-4959-86A0-C8690BF59E95}"/>
                </a:ext>
              </a:extLst>
            </p:cNvPr>
            <p:cNvSpPr/>
            <p:nvPr/>
          </p:nvSpPr>
          <p:spPr>
            <a:xfrm rot="8716295">
              <a:off x="413252" y="3834223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2" name="Forme libre : forme 401">
              <a:extLst>
                <a:ext uri="{FF2B5EF4-FFF2-40B4-BE49-F238E27FC236}">
                  <a16:creationId xmlns:a16="http://schemas.microsoft.com/office/drawing/2014/main" id="{598CEB9B-8E04-469F-A771-F927470C3F4E}"/>
                </a:ext>
              </a:extLst>
            </p:cNvPr>
            <p:cNvSpPr/>
            <p:nvPr/>
          </p:nvSpPr>
          <p:spPr>
            <a:xfrm rot="8716295">
              <a:off x="724407" y="345457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3" name="Forme libre : forme 402">
              <a:extLst>
                <a:ext uri="{FF2B5EF4-FFF2-40B4-BE49-F238E27FC236}">
                  <a16:creationId xmlns:a16="http://schemas.microsoft.com/office/drawing/2014/main" id="{AB980D08-B340-4454-A274-3AD08D2A9A3A}"/>
                </a:ext>
              </a:extLst>
            </p:cNvPr>
            <p:cNvSpPr/>
            <p:nvPr/>
          </p:nvSpPr>
          <p:spPr>
            <a:xfrm rot="8716295">
              <a:off x="813799" y="348381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4" name="Forme libre : forme 403">
              <a:extLst>
                <a:ext uri="{FF2B5EF4-FFF2-40B4-BE49-F238E27FC236}">
                  <a16:creationId xmlns:a16="http://schemas.microsoft.com/office/drawing/2014/main" id="{2652DA6E-5978-4E5D-A96D-58C298CBA732}"/>
                </a:ext>
              </a:extLst>
            </p:cNvPr>
            <p:cNvSpPr/>
            <p:nvPr/>
          </p:nvSpPr>
          <p:spPr>
            <a:xfrm rot="8716295">
              <a:off x="612173" y="354311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5" name="Forme libre : forme 404">
              <a:extLst>
                <a:ext uri="{FF2B5EF4-FFF2-40B4-BE49-F238E27FC236}">
                  <a16:creationId xmlns:a16="http://schemas.microsoft.com/office/drawing/2014/main" id="{BCA796D3-CCB0-45BE-BB99-D45334DE88BA}"/>
                </a:ext>
              </a:extLst>
            </p:cNvPr>
            <p:cNvSpPr/>
            <p:nvPr/>
          </p:nvSpPr>
          <p:spPr>
            <a:xfrm rot="8716295">
              <a:off x="487271" y="333444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6" name="Forme libre : forme 405">
              <a:extLst>
                <a:ext uri="{FF2B5EF4-FFF2-40B4-BE49-F238E27FC236}">
                  <a16:creationId xmlns:a16="http://schemas.microsoft.com/office/drawing/2014/main" id="{933101B8-7867-420E-81EE-0503A80C6D03}"/>
                </a:ext>
              </a:extLst>
            </p:cNvPr>
            <p:cNvSpPr/>
            <p:nvPr/>
          </p:nvSpPr>
          <p:spPr>
            <a:xfrm rot="8716295">
              <a:off x="702351" y="3584071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7" name="Forme libre : forme 406">
              <a:extLst>
                <a:ext uri="{FF2B5EF4-FFF2-40B4-BE49-F238E27FC236}">
                  <a16:creationId xmlns:a16="http://schemas.microsoft.com/office/drawing/2014/main" id="{5B641A15-3B25-4DD3-9A6C-0FFDEC9A133C}"/>
                </a:ext>
              </a:extLst>
            </p:cNvPr>
            <p:cNvSpPr/>
            <p:nvPr/>
          </p:nvSpPr>
          <p:spPr>
            <a:xfrm rot="8716295">
              <a:off x="460900" y="343447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8" name="Forme libre : forme 407">
              <a:extLst>
                <a:ext uri="{FF2B5EF4-FFF2-40B4-BE49-F238E27FC236}">
                  <a16:creationId xmlns:a16="http://schemas.microsoft.com/office/drawing/2014/main" id="{E763D240-1B00-445A-81E2-30AFA6DA38B9}"/>
                </a:ext>
              </a:extLst>
            </p:cNvPr>
            <p:cNvSpPr/>
            <p:nvPr/>
          </p:nvSpPr>
          <p:spPr>
            <a:xfrm rot="7484129">
              <a:off x="807282" y="377542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9" name="Forme libre : forme 408">
              <a:extLst>
                <a:ext uri="{FF2B5EF4-FFF2-40B4-BE49-F238E27FC236}">
                  <a16:creationId xmlns:a16="http://schemas.microsoft.com/office/drawing/2014/main" id="{73387E34-81D2-4A73-B141-75343A132394}"/>
                </a:ext>
              </a:extLst>
            </p:cNvPr>
            <p:cNvSpPr/>
            <p:nvPr/>
          </p:nvSpPr>
          <p:spPr>
            <a:xfrm rot="13089394">
              <a:off x="912102" y="374195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0" name="Forme libre : forme 409">
              <a:extLst>
                <a:ext uri="{FF2B5EF4-FFF2-40B4-BE49-F238E27FC236}">
                  <a16:creationId xmlns:a16="http://schemas.microsoft.com/office/drawing/2014/main" id="{CCA2FEEB-CE96-44BC-8FB9-EA169A41218A}"/>
                </a:ext>
              </a:extLst>
            </p:cNvPr>
            <p:cNvSpPr/>
            <p:nvPr/>
          </p:nvSpPr>
          <p:spPr>
            <a:xfrm rot="8716295">
              <a:off x="1097687" y="355027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1" name="Forme libre : forme 410">
              <a:extLst>
                <a:ext uri="{FF2B5EF4-FFF2-40B4-BE49-F238E27FC236}">
                  <a16:creationId xmlns:a16="http://schemas.microsoft.com/office/drawing/2014/main" id="{E1A40A9E-A324-487B-A5D9-A64B315CC0DB}"/>
                </a:ext>
              </a:extLst>
            </p:cNvPr>
            <p:cNvSpPr/>
            <p:nvPr/>
          </p:nvSpPr>
          <p:spPr>
            <a:xfrm rot="8716295">
              <a:off x="1045882" y="344668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2" name="Forme libre : forme 411">
              <a:extLst>
                <a:ext uri="{FF2B5EF4-FFF2-40B4-BE49-F238E27FC236}">
                  <a16:creationId xmlns:a16="http://schemas.microsoft.com/office/drawing/2014/main" id="{A6958C47-9B80-4B26-AABB-8FF29B27BC9F}"/>
                </a:ext>
              </a:extLst>
            </p:cNvPr>
            <p:cNvSpPr/>
            <p:nvPr/>
          </p:nvSpPr>
          <p:spPr>
            <a:xfrm rot="8716295">
              <a:off x="802636" y="347690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3" name="Forme libre : forme 412">
              <a:extLst>
                <a:ext uri="{FF2B5EF4-FFF2-40B4-BE49-F238E27FC236}">
                  <a16:creationId xmlns:a16="http://schemas.microsoft.com/office/drawing/2014/main" id="{8E6D0100-AF69-44B2-A5CF-E8C0130AB7E9}"/>
                </a:ext>
              </a:extLst>
            </p:cNvPr>
            <p:cNvSpPr/>
            <p:nvPr/>
          </p:nvSpPr>
          <p:spPr>
            <a:xfrm rot="8716295">
              <a:off x="980088" y="331766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4" name="Forme libre : forme 413">
              <a:extLst>
                <a:ext uri="{FF2B5EF4-FFF2-40B4-BE49-F238E27FC236}">
                  <a16:creationId xmlns:a16="http://schemas.microsoft.com/office/drawing/2014/main" id="{DDF69E8D-616E-4B06-B6E7-5816DA160ADA}"/>
                </a:ext>
              </a:extLst>
            </p:cNvPr>
            <p:cNvSpPr/>
            <p:nvPr/>
          </p:nvSpPr>
          <p:spPr>
            <a:xfrm rot="8716295">
              <a:off x="653978" y="436312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5" name="Forme libre : forme 414">
              <a:extLst>
                <a:ext uri="{FF2B5EF4-FFF2-40B4-BE49-F238E27FC236}">
                  <a16:creationId xmlns:a16="http://schemas.microsoft.com/office/drawing/2014/main" id="{28F41443-BBE2-4975-B85B-8718620F25A2}"/>
                </a:ext>
              </a:extLst>
            </p:cNvPr>
            <p:cNvSpPr/>
            <p:nvPr/>
          </p:nvSpPr>
          <p:spPr>
            <a:xfrm rot="8716295">
              <a:off x="743370" y="439236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6" name="Forme libre : forme 415">
              <a:extLst>
                <a:ext uri="{FF2B5EF4-FFF2-40B4-BE49-F238E27FC236}">
                  <a16:creationId xmlns:a16="http://schemas.microsoft.com/office/drawing/2014/main" id="{66BEE935-162B-468C-A488-08BB53F0E96A}"/>
                </a:ext>
              </a:extLst>
            </p:cNvPr>
            <p:cNvSpPr/>
            <p:nvPr/>
          </p:nvSpPr>
          <p:spPr>
            <a:xfrm rot="8716295">
              <a:off x="698520" y="430608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7" name="Forme libre : forme 416">
              <a:extLst>
                <a:ext uri="{FF2B5EF4-FFF2-40B4-BE49-F238E27FC236}">
                  <a16:creationId xmlns:a16="http://schemas.microsoft.com/office/drawing/2014/main" id="{C6A86155-7B92-42A4-B02E-66184BF812F2}"/>
                </a:ext>
              </a:extLst>
            </p:cNvPr>
            <p:cNvSpPr/>
            <p:nvPr/>
          </p:nvSpPr>
          <p:spPr>
            <a:xfrm rot="8716295">
              <a:off x="541744" y="445166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8" name="Forme libre : forme 417">
              <a:extLst>
                <a:ext uri="{FF2B5EF4-FFF2-40B4-BE49-F238E27FC236}">
                  <a16:creationId xmlns:a16="http://schemas.microsoft.com/office/drawing/2014/main" id="{46BFD870-BFFF-4A29-A35F-C7406F7430F7}"/>
                </a:ext>
              </a:extLst>
            </p:cNvPr>
            <p:cNvSpPr/>
            <p:nvPr/>
          </p:nvSpPr>
          <p:spPr>
            <a:xfrm rot="8716295">
              <a:off x="416841" y="424299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9" name="Forme libre : forme 418">
              <a:extLst>
                <a:ext uri="{FF2B5EF4-FFF2-40B4-BE49-F238E27FC236}">
                  <a16:creationId xmlns:a16="http://schemas.microsoft.com/office/drawing/2014/main" id="{A679BEA0-D0C5-41E0-ADCB-C970608B53F5}"/>
                </a:ext>
              </a:extLst>
            </p:cNvPr>
            <p:cNvSpPr/>
            <p:nvPr/>
          </p:nvSpPr>
          <p:spPr>
            <a:xfrm rot="8716295">
              <a:off x="404789" y="410421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0" name="Forme libre : forme 419">
              <a:extLst>
                <a:ext uri="{FF2B5EF4-FFF2-40B4-BE49-F238E27FC236}">
                  <a16:creationId xmlns:a16="http://schemas.microsoft.com/office/drawing/2014/main" id="{12FE079E-BD6C-4326-BBC6-E7FED6AEB0DE}"/>
                </a:ext>
              </a:extLst>
            </p:cNvPr>
            <p:cNvSpPr/>
            <p:nvPr/>
          </p:nvSpPr>
          <p:spPr>
            <a:xfrm rot="8716295">
              <a:off x="631922" y="449261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1" name="Forme libre : forme 420">
              <a:extLst>
                <a:ext uri="{FF2B5EF4-FFF2-40B4-BE49-F238E27FC236}">
                  <a16:creationId xmlns:a16="http://schemas.microsoft.com/office/drawing/2014/main" id="{ADCC2EDC-1B28-4142-9C4B-B780064981F4}"/>
                </a:ext>
              </a:extLst>
            </p:cNvPr>
            <p:cNvSpPr/>
            <p:nvPr/>
          </p:nvSpPr>
          <p:spPr>
            <a:xfrm rot="8716295">
              <a:off x="943077" y="411297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2" name="Forme libre : forme 421">
              <a:extLst>
                <a:ext uri="{FF2B5EF4-FFF2-40B4-BE49-F238E27FC236}">
                  <a16:creationId xmlns:a16="http://schemas.microsoft.com/office/drawing/2014/main" id="{85A46BE2-B28A-4B10-A98B-E1A4C9718784}"/>
                </a:ext>
              </a:extLst>
            </p:cNvPr>
            <p:cNvSpPr/>
            <p:nvPr/>
          </p:nvSpPr>
          <p:spPr>
            <a:xfrm rot="8716295">
              <a:off x="1032469" y="414221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3" name="Forme libre : forme 422">
              <a:extLst>
                <a:ext uri="{FF2B5EF4-FFF2-40B4-BE49-F238E27FC236}">
                  <a16:creationId xmlns:a16="http://schemas.microsoft.com/office/drawing/2014/main" id="{B997AC73-4A2E-4369-A0A3-B98AEFAEB0D2}"/>
                </a:ext>
              </a:extLst>
            </p:cNvPr>
            <p:cNvSpPr/>
            <p:nvPr/>
          </p:nvSpPr>
          <p:spPr>
            <a:xfrm rot="8716295">
              <a:off x="830843" y="420151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4" name="Forme libre : forme 423">
              <a:extLst>
                <a:ext uri="{FF2B5EF4-FFF2-40B4-BE49-F238E27FC236}">
                  <a16:creationId xmlns:a16="http://schemas.microsoft.com/office/drawing/2014/main" id="{B0F441EE-58D5-406D-84C8-BF6FB45F3E10}"/>
                </a:ext>
              </a:extLst>
            </p:cNvPr>
            <p:cNvSpPr/>
            <p:nvPr/>
          </p:nvSpPr>
          <p:spPr>
            <a:xfrm rot="8716295">
              <a:off x="705941" y="399284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5" name="Forme libre : forme 424">
              <a:extLst>
                <a:ext uri="{FF2B5EF4-FFF2-40B4-BE49-F238E27FC236}">
                  <a16:creationId xmlns:a16="http://schemas.microsoft.com/office/drawing/2014/main" id="{C2116289-0ECD-487D-B988-2550AD513EBC}"/>
                </a:ext>
              </a:extLst>
            </p:cNvPr>
            <p:cNvSpPr/>
            <p:nvPr/>
          </p:nvSpPr>
          <p:spPr>
            <a:xfrm rot="8716295">
              <a:off x="921021" y="424246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6" name="Forme libre : forme 425">
              <a:extLst>
                <a:ext uri="{FF2B5EF4-FFF2-40B4-BE49-F238E27FC236}">
                  <a16:creationId xmlns:a16="http://schemas.microsoft.com/office/drawing/2014/main" id="{BB2DB617-3C2B-44C3-B229-D2E3AF1F6397}"/>
                </a:ext>
              </a:extLst>
            </p:cNvPr>
            <p:cNvSpPr/>
            <p:nvPr/>
          </p:nvSpPr>
          <p:spPr>
            <a:xfrm rot="8716295">
              <a:off x="679570" y="409286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7" name="Forme libre : forme 426">
              <a:extLst>
                <a:ext uri="{FF2B5EF4-FFF2-40B4-BE49-F238E27FC236}">
                  <a16:creationId xmlns:a16="http://schemas.microsoft.com/office/drawing/2014/main" id="{AB1A41E1-EFF1-4B46-86EA-03A5D3137ECE}"/>
                </a:ext>
              </a:extLst>
            </p:cNvPr>
            <p:cNvSpPr/>
            <p:nvPr/>
          </p:nvSpPr>
          <p:spPr>
            <a:xfrm rot="7484129">
              <a:off x="1025952" y="443381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8" name="Forme libre : forme 427">
              <a:extLst>
                <a:ext uri="{FF2B5EF4-FFF2-40B4-BE49-F238E27FC236}">
                  <a16:creationId xmlns:a16="http://schemas.microsoft.com/office/drawing/2014/main" id="{FC716ACC-6F89-47F8-ABE1-58EDBEC4B6CB}"/>
                </a:ext>
              </a:extLst>
            </p:cNvPr>
            <p:cNvSpPr/>
            <p:nvPr/>
          </p:nvSpPr>
          <p:spPr>
            <a:xfrm rot="13089394">
              <a:off x="1130772" y="440035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9" name="Forme libre : forme 428">
              <a:extLst>
                <a:ext uri="{FF2B5EF4-FFF2-40B4-BE49-F238E27FC236}">
                  <a16:creationId xmlns:a16="http://schemas.microsoft.com/office/drawing/2014/main" id="{FBEB36D4-4104-4CEA-A5D9-270F8D790AEC}"/>
                </a:ext>
              </a:extLst>
            </p:cNvPr>
            <p:cNvSpPr/>
            <p:nvPr/>
          </p:nvSpPr>
          <p:spPr>
            <a:xfrm rot="8716295">
              <a:off x="1316357" y="420867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0" name="Forme libre : forme 429">
              <a:extLst>
                <a:ext uri="{FF2B5EF4-FFF2-40B4-BE49-F238E27FC236}">
                  <a16:creationId xmlns:a16="http://schemas.microsoft.com/office/drawing/2014/main" id="{F7950902-6556-4E4C-B905-0DD59A5961CC}"/>
                </a:ext>
              </a:extLst>
            </p:cNvPr>
            <p:cNvSpPr/>
            <p:nvPr/>
          </p:nvSpPr>
          <p:spPr>
            <a:xfrm rot="8716295">
              <a:off x="1264552" y="410507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1" name="Forme libre : forme 430">
              <a:extLst>
                <a:ext uri="{FF2B5EF4-FFF2-40B4-BE49-F238E27FC236}">
                  <a16:creationId xmlns:a16="http://schemas.microsoft.com/office/drawing/2014/main" id="{4F003DDA-355E-4DAE-A8BB-3FB35F5F4EAE}"/>
                </a:ext>
              </a:extLst>
            </p:cNvPr>
            <p:cNvSpPr/>
            <p:nvPr/>
          </p:nvSpPr>
          <p:spPr>
            <a:xfrm rot="8716295">
              <a:off x="1021306" y="413529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2" name="Forme libre : forme 431">
              <a:extLst>
                <a:ext uri="{FF2B5EF4-FFF2-40B4-BE49-F238E27FC236}">
                  <a16:creationId xmlns:a16="http://schemas.microsoft.com/office/drawing/2014/main" id="{3F6E657C-3858-4D98-91AA-063146CE262A}"/>
                </a:ext>
              </a:extLst>
            </p:cNvPr>
            <p:cNvSpPr/>
            <p:nvPr/>
          </p:nvSpPr>
          <p:spPr>
            <a:xfrm rot="8716295">
              <a:off x="1198758" y="397605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3" name="Forme libre : forme 432">
              <a:extLst>
                <a:ext uri="{FF2B5EF4-FFF2-40B4-BE49-F238E27FC236}">
                  <a16:creationId xmlns:a16="http://schemas.microsoft.com/office/drawing/2014/main" id="{6881A455-FC30-4886-9181-EEE1433B5DFF}"/>
                </a:ext>
              </a:extLst>
            </p:cNvPr>
            <p:cNvSpPr/>
            <p:nvPr/>
          </p:nvSpPr>
          <p:spPr>
            <a:xfrm rot="8716295">
              <a:off x="849927" y="5056695"/>
              <a:ext cx="61059" cy="114384"/>
            </a:xfrm>
            <a:custGeom>
              <a:avLst/>
              <a:gdLst>
                <a:gd name="connsiteX0" fmla="*/ 0 w 61059"/>
                <a:gd name="connsiteY0" fmla="*/ 114384 h 114384"/>
                <a:gd name="connsiteX1" fmla="*/ 0 w 61059"/>
                <a:gd name="connsiteY1" fmla="*/ 0 h 114384"/>
                <a:gd name="connsiteX2" fmla="*/ 61059 w 61059"/>
                <a:gd name="connsiteY2" fmla="*/ 42324 h 114384"/>
                <a:gd name="connsiteX3" fmla="*/ 61059 w 61059"/>
                <a:gd name="connsiteY3" fmla="*/ 90234 h 114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059" h="114384">
                  <a:moveTo>
                    <a:pt x="0" y="114384"/>
                  </a:moveTo>
                  <a:lnTo>
                    <a:pt x="0" y="0"/>
                  </a:lnTo>
                  <a:lnTo>
                    <a:pt x="61059" y="42324"/>
                  </a:lnTo>
                  <a:lnTo>
                    <a:pt x="61059" y="902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4" name="Forme libre : forme 433">
              <a:extLst>
                <a:ext uri="{FF2B5EF4-FFF2-40B4-BE49-F238E27FC236}">
                  <a16:creationId xmlns:a16="http://schemas.microsoft.com/office/drawing/2014/main" id="{CE4C8C85-2581-4CDF-9EB4-9C8C2E2C159C}"/>
                </a:ext>
              </a:extLst>
            </p:cNvPr>
            <p:cNvSpPr/>
            <p:nvPr/>
          </p:nvSpPr>
          <p:spPr>
            <a:xfrm rot="8716295">
              <a:off x="1072880" y="5030752"/>
              <a:ext cx="60148" cy="142578"/>
            </a:xfrm>
            <a:custGeom>
              <a:avLst/>
              <a:gdLst>
                <a:gd name="connsiteX0" fmla="*/ 0 w 60148"/>
                <a:gd name="connsiteY0" fmla="*/ 142578 h 142578"/>
                <a:gd name="connsiteX1" fmla="*/ 0 w 60148"/>
                <a:gd name="connsiteY1" fmla="*/ 0 h 142578"/>
                <a:gd name="connsiteX2" fmla="*/ 60148 w 60148"/>
                <a:gd name="connsiteY2" fmla="*/ 41693 h 142578"/>
                <a:gd name="connsiteX3" fmla="*/ 60148 w 60148"/>
                <a:gd name="connsiteY3" fmla="*/ 101569 h 142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8" h="142578">
                  <a:moveTo>
                    <a:pt x="0" y="142578"/>
                  </a:moveTo>
                  <a:lnTo>
                    <a:pt x="0" y="0"/>
                  </a:lnTo>
                  <a:lnTo>
                    <a:pt x="60148" y="41693"/>
                  </a:lnTo>
                  <a:lnTo>
                    <a:pt x="60148" y="1015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5" name="Forme libre : forme 434">
              <a:extLst>
                <a:ext uri="{FF2B5EF4-FFF2-40B4-BE49-F238E27FC236}">
                  <a16:creationId xmlns:a16="http://schemas.microsoft.com/office/drawing/2014/main" id="{683CB711-80B1-4038-ABB6-5DBDA3CAB0C0}"/>
                </a:ext>
              </a:extLst>
            </p:cNvPr>
            <p:cNvSpPr/>
            <p:nvPr/>
          </p:nvSpPr>
          <p:spPr>
            <a:xfrm rot="8716295">
              <a:off x="921687" y="496578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6" name="Forme libre : forme 435">
              <a:extLst>
                <a:ext uri="{FF2B5EF4-FFF2-40B4-BE49-F238E27FC236}">
                  <a16:creationId xmlns:a16="http://schemas.microsoft.com/office/drawing/2014/main" id="{8B993DFE-EE3E-4E92-8884-9A227F7DEAD1}"/>
                </a:ext>
              </a:extLst>
            </p:cNvPr>
            <p:cNvSpPr/>
            <p:nvPr/>
          </p:nvSpPr>
          <p:spPr>
            <a:xfrm rot="8716295">
              <a:off x="762271" y="5108547"/>
              <a:ext cx="53742" cy="49705"/>
            </a:xfrm>
            <a:custGeom>
              <a:avLst/>
              <a:gdLst>
                <a:gd name="connsiteX0" fmla="*/ 8658 w 53742"/>
                <a:gd name="connsiteY0" fmla="*/ 41503 h 49705"/>
                <a:gd name="connsiteX1" fmla="*/ 0 w 53742"/>
                <a:gd name="connsiteY1" fmla="*/ 20999 h 49705"/>
                <a:gd name="connsiteX2" fmla="*/ 0 w 53742"/>
                <a:gd name="connsiteY2" fmla="*/ 20542 h 49705"/>
                <a:gd name="connsiteX3" fmla="*/ 8658 w 53742"/>
                <a:gd name="connsiteY3" fmla="*/ 38 h 49705"/>
                <a:gd name="connsiteX4" fmla="*/ 8747 w 53742"/>
                <a:gd name="connsiteY4" fmla="*/ 0 h 49705"/>
                <a:gd name="connsiteX5" fmla="*/ 53742 w 53742"/>
                <a:gd name="connsiteY5" fmla="*/ 31189 h 49705"/>
                <a:gd name="connsiteX6" fmla="*/ 49668 w 53742"/>
                <a:gd name="connsiteY6" fmla="*/ 41048 h 49705"/>
                <a:gd name="connsiteX7" fmla="*/ 29162 w 53742"/>
                <a:gd name="connsiteY7" fmla="*/ 49705 h 49705"/>
                <a:gd name="connsiteX8" fmla="*/ 8658 w 53742"/>
                <a:gd name="connsiteY8" fmla="*/ 41503 h 49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2" h="49705">
                  <a:moveTo>
                    <a:pt x="8658" y="41503"/>
                  </a:moveTo>
                  <a:cubicBezTo>
                    <a:pt x="3190" y="36035"/>
                    <a:pt x="0" y="28744"/>
                    <a:pt x="0" y="20999"/>
                  </a:cubicBezTo>
                  <a:lnTo>
                    <a:pt x="0" y="20542"/>
                  </a:lnTo>
                  <a:cubicBezTo>
                    <a:pt x="0" y="12796"/>
                    <a:pt x="3190" y="5506"/>
                    <a:pt x="8658" y="38"/>
                  </a:cubicBezTo>
                  <a:lnTo>
                    <a:pt x="8747" y="0"/>
                  </a:lnTo>
                  <a:lnTo>
                    <a:pt x="53742" y="31189"/>
                  </a:lnTo>
                  <a:lnTo>
                    <a:pt x="49668" y="41048"/>
                  </a:lnTo>
                  <a:cubicBezTo>
                    <a:pt x="44200" y="46516"/>
                    <a:pt x="36909" y="49705"/>
                    <a:pt x="29162" y="49705"/>
                  </a:cubicBezTo>
                  <a:cubicBezTo>
                    <a:pt x="21416" y="49705"/>
                    <a:pt x="14126" y="46971"/>
                    <a:pt x="8658" y="415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7" name="Forme libre : forme 436">
              <a:extLst>
                <a:ext uri="{FF2B5EF4-FFF2-40B4-BE49-F238E27FC236}">
                  <a16:creationId xmlns:a16="http://schemas.microsoft.com/office/drawing/2014/main" id="{8DF09363-6B2B-44FC-9677-ED983FC9E371}"/>
                </a:ext>
              </a:extLst>
            </p:cNvPr>
            <p:cNvSpPr/>
            <p:nvPr/>
          </p:nvSpPr>
          <p:spPr>
            <a:xfrm rot="8716295">
              <a:off x="635497" y="4902607"/>
              <a:ext cx="203847" cy="195874"/>
            </a:xfrm>
            <a:custGeom>
              <a:avLst/>
              <a:gdLst>
                <a:gd name="connsiteX0" fmla="*/ 90709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203847 w 203847"/>
                <a:gd name="connsiteY5" fmla="*/ 0 h 195874"/>
                <a:gd name="connsiteX6" fmla="*/ 203847 w 203847"/>
                <a:gd name="connsiteY6" fmla="*/ 55323 h 195874"/>
                <a:gd name="connsiteX7" fmla="*/ 139055 w 203847"/>
                <a:gd name="connsiteY7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95874">
                  <a:moveTo>
                    <a:pt x="90709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8" name="Forme libre : forme 437">
              <a:extLst>
                <a:ext uri="{FF2B5EF4-FFF2-40B4-BE49-F238E27FC236}">
                  <a16:creationId xmlns:a16="http://schemas.microsoft.com/office/drawing/2014/main" id="{532437B6-4FB3-4387-A6A2-9CA74243FC9D}"/>
                </a:ext>
              </a:extLst>
            </p:cNvPr>
            <p:cNvSpPr/>
            <p:nvPr/>
          </p:nvSpPr>
          <p:spPr>
            <a:xfrm rot="8716295">
              <a:off x="627956" y="476391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9" name="Forme libre : forme 438">
              <a:extLst>
                <a:ext uri="{FF2B5EF4-FFF2-40B4-BE49-F238E27FC236}">
                  <a16:creationId xmlns:a16="http://schemas.microsoft.com/office/drawing/2014/main" id="{DC114E70-E891-401E-9C24-8619044C69DA}"/>
                </a:ext>
              </a:extLst>
            </p:cNvPr>
            <p:cNvSpPr/>
            <p:nvPr/>
          </p:nvSpPr>
          <p:spPr>
            <a:xfrm rot="8716295">
              <a:off x="1166244" y="477267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0" name="Forme libre : forme 439">
              <a:extLst>
                <a:ext uri="{FF2B5EF4-FFF2-40B4-BE49-F238E27FC236}">
                  <a16:creationId xmlns:a16="http://schemas.microsoft.com/office/drawing/2014/main" id="{1B83E310-81D3-4935-AA0D-87EA212E2F8C}"/>
                </a:ext>
              </a:extLst>
            </p:cNvPr>
            <p:cNvSpPr/>
            <p:nvPr/>
          </p:nvSpPr>
          <p:spPr>
            <a:xfrm rot="8716295">
              <a:off x="1255636" y="480191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1" name="Forme libre : forme 440">
              <a:extLst>
                <a:ext uri="{FF2B5EF4-FFF2-40B4-BE49-F238E27FC236}">
                  <a16:creationId xmlns:a16="http://schemas.microsoft.com/office/drawing/2014/main" id="{8A0A400D-6D17-4603-B756-25D5B32DB841}"/>
                </a:ext>
              </a:extLst>
            </p:cNvPr>
            <p:cNvSpPr/>
            <p:nvPr/>
          </p:nvSpPr>
          <p:spPr>
            <a:xfrm rot="8716295">
              <a:off x="1054010" y="486121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2" name="Forme libre : forme 441">
              <a:extLst>
                <a:ext uri="{FF2B5EF4-FFF2-40B4-BE49-F238E27FC236}">
                  <a16:creationId xmlns:a16="http://schemas.microsoft.com/office/drawing/2014/main" id="{A46C9B70-DE37-4964-9FA4-17387E1BA45F}"/>
                </a:ext>
              </a:extLst>
            </p:cNvPr>
            <p:cNvSpPr/>
            <p:nvPr/>
          </p:nvSpPr>
          <p:spPr>
            <a:xfrm rot="8716295">
              <a:off x="929108" y="465254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3" name="Forme libre : forme 442">
              <a:extLst>
                <a:ext uri="{FF2B5EF4-FFF2-40B4-BE49-F238E27FC236}">
                  <a16:creationId xmlns:a16="http://schemas.microsoft.com/office/drawing/2014/main" id="{B9F4170A-6E5B-49E4-8193-4286DEBE2EC9}"/>
                </a:ext>
              </a:extLst>
            </p:cNvPr>
            <p:cNvSpPr/>
            <p:nvPr/>
          </p:nvSpPr>
          <p:spPr>
            <a:xfrm rot="8716295">
              <a:off x="1144188" y="490216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4" name="Forme libre : forme 443">
              <a:extLst>
                <a:ext uri="{FF2B5EF4-FFF2-40B4-BE49-F238E27FC236}">
                  <a16:creationId xmlns:a16="http://schemas.microsoft.com/office/drawing/2014/main" id="{9F81EDCD-5E16-426F-9754-D2A37212C8FE}"/>
                </a:ext>
              </a:extLst>
            </p:cNvPr>
            <p:cNvSpPr/>
            <p:nvPr/>
          </p:nvSpPr>
          <p:spPr>
            <a:xfrm rot="8716295">
              <a:off x="902737" y="475256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5" name="Forme libre : forme 444">
              <a:extLst>
                <a:ext uri="{FF2B5EF4-FFF2-40B4-BE49-F238E27FC236}">
                  <a16:creationId xmlns:a16="http://schemas.microsoft.com/office/drawing/2014/main" id="{179F229D-2224-4467-8649-9DF965D65362}"/>
                </a:ext>
              </a:extLst>
            </p:cNvPr>
            <p:cNvSpPr/>
            <p:nvPr/>
          </p:nvSpPr>
          <p:spPr>
            <a:xfrm rot="7484129">
              <a:off x="1313689" y="5058219"/>
              <a:ext cx="97325" cy="159603"/>
            </a:xfrm>
            <a:custGeom>
              <a:avLst/>
              <a:gdLst>
                <a:gd name="connsiteX0" fmla="*/ 0 w 97325"/>
                <a:gd name="connsiteY0" fmla="*/ 19052 h 159603"/>
                <a:gd name="connsiteX1" fmla="*/ 0 w 97325"/>
                <a:gd name="connsiteY1" fmla="*/ 0 h 159603"/>
                <a:gd name="connsiteX2" fmla="*/ 13209 w 97325"/>
                <a:gd name="connsiteY2" fmla="*/ 19052 h 159603"/>
                <a:gd name="connsiteX3" fmla="*/ 90710 w 97325"/>
                <a:gd name="connsiteY3" fmla="*/ 159603 h 159603"/>
                <a:gd name="connsiteX4" fmla="*/ 47847 w 97325"/>
                <a:gd name="connsiteY4" fmla="*/ 79858 h 159603"/>
                <a:gd name="connsiteX5" fmla="*/ 50421 w 97325"/>
                <a:gd name="connsiteY5" fmla="*/ 72721 h 159603"/>
                <a:gd name="connsiteX6" fmla="*/ 97325 w 97325"/>
                <a:gd name="connsiteY6" fmla="*/ 140370 h 159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7325" h="159603">
                  <a:moveTo>
                    <a:pt x="0" y="19052"/>
                  </a:moveTo>
                  <a:lnTo>
                    <a:pt x="0" y="0"/>
                  </a:lnTo>
                  <a:lnTo>
                    <a:pt x="13209" y="19052"/>
                  </a:lnTo>
                  <a:close/>
                  <a:moveTo>
                    <a:pt x="90710" y="159603"/>
                  </a:moveTo>
                  <a:lnTo>
                    <a:pt x="47847" y="79858"/>
                  </a:lnTo>
                  <a:lnTo>
                    <a:pt x="50421" y="72721"/>
                  </a:lnTo>
                  <a:lnTo>
                    <a:pt x="97325" y="14037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6" name="Forme libre : forme 445">
              <a:extLst>
                <a:ext uri="{FF2B5EF4-FFF2-40B4-BE49-F238E27FC236}">
                  <a16:creationId xmlns:a16="http://schemas.microsoft.com/office/drawing/2014/main" id="{0DC6D2C5-5676-4685-B6C7-B0D9124302BA}"/>
                </a:ext>
              </a:extLst>
            </p:cNvPr>
            <p:cNvSpPr/>
            <p:nvPr/>
          </p:nvSpPr>
          <p:spPr>
            <a:xfrm rot="13089394">
              <a:off x="1435176" y="5064332"/>
              <a:ext cx="213297" cy="83320"/>
            </a:xfrm>
            <a:custGeom>
              <a:avLst/>
              <a:gdLst>
                <a:gd name="connsiteX0" fmla="*/ 213297 w 213297"/>
                <a:gd name="connsiteY0" fmla="*/ 12691 h 83320"/>
                <a:gd name="connsiteX1" fmla="*/ 32310 w 213297"/>
                <a:gd name="connsiteY1" fmla="*/ 83320 h 83320"/>
                <a:gd name="connsiteX2" fmla="*/ 0 w 213297"/>
                <a:gd name="connsiteY2" fmla="*/ 77753 h 83320"/>
                <a:gd name="connsiteX3" fmla="*/ 69926 w 213297"/>
                <a:gd name="connsiteY3" fmla="*/ 22813 h 83320"/>
                <a:gd name="connsiteX4" fmla="*/ 94662 w 213297"/>
                <a:gd name="connsiteY4" fmla="*/ 36418 h 83320"/>
                <a:gd name="connsiteX5" fmla="*/ 144323 w 213297"/>
                <a:gd name="connsiteY5" fmla="*/ 27589 h 83320"/>
                <a:gd name="connsiteX6" fmla="*/ 212193 w 213297"/>
                <a:gd name="connsiteY6" fmla="*/ 0 h 83320"/>
                <a:gd name="connsiteX7" fmla="*/ 213297 w 213297"/>
                <a:gd name="connsiteY7" fmla="*/ 7173 h 83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3297" h="83320">
                  <a:moveTo>
                    <a:pt x="213297" y="12691"/>
                  </a:moveTo>
                  <a:cubicBezTo>
                    <a:pt x="154807" y="62904"/>
                    <a:pt x="78108" y="80561"/>
                    <a:pt x="32310" y="83320"/>
                  </a:cubicBezTo>
                  <a:lnTo>
                    <a:pt x="0" y="77753"/>
                  </a:lnTo>
                  <a:lnTo>
                    <a:pt x="69926" y="22813"/>
                  </a:lnTo>
                  <a:lnTo>
                    <a:pt x="94662" y="36418"/>
                  </a:lnTo>
                  <a:cubicBezTo>
                    <a:pt x="111768" y="35866"/>
                    <a:pt x="128321" y="32555"/>
                    <a:pt x="144323" y="27589"/>
                  </a:cubicBezTo>
                  <a:cubicBezTo>
                    <a:pt x="167498" y="20416"/>
                    <a:pt x="190122" y="11036"/>
                    <a:pt x="212193" y="0"/>
                  </a:cubicBezTo>
                  <a:cubicBezTo>
                    <a:pt x="212745" y="2207"/>
                    <a:pt x="213297" y="4966"/>
                    <a:pt x="213297" y="71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7" name="Forme libre : forme 446">
              <a:extLst>
                <a:ext uri="{FF2B5EF4-FFF2-40B4-BE49-F238E27FC236}">
                  <a16:creationId xmlns:a16="http://schemas.microsoft.com/office/drawing/2014/main" id="{933D0F57-4827-4379-ADFC-4E442A7AA9F5}"/>
                </a:ext>
              </a:extLst>
            </p:cNvPr>
            <p:cNvSpPr/>
            <p:nvPr/>
          </p:nvSpPr>
          <p:spPr>
            <a:xfrm rot="8716295">
              <a:off x="1539524" y="486837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8" name="Forme libre : forme 447">
              <a:extLst>
                <a:ext uri="{FF2B5EF4-FFF2-40B4-BE49-F238E27FC236}">
                  <a16:creationId xmlns:a16="http://schemas.microsoft.com/office/drawing/2014/main" id="{F2B3C0A6-3119-4AF6-9904-83AA6D24B4D4}"/>
                </a:ext>
              </a:extLst>
            </p:cNvPr>
            <p:cNvSpPr/>
            <p:nvPr/>
          </p:nvSpPr>
          <p:spPr>
            <a:xfrm rot="8716295">
              <a:off x="1487719" y="476477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9" name="Forme libre : forme 448">
              <a:extLst>
                <a:ext uri="{FF2B5EF4-FFF2-40B4-BE49-F238E27FC236}">
                  <a16:creationId xmlns:a16="http://schemas.microsoft.com/office/drawing/2014/main" id="{A101E396-638E-4D53-9DD4-DFCEEB801BC5}"/>
                </a:ext>
              </a:extLst>
            </p:cNvPr>
            <p:cNvSpPr/>
            <p:nvPr/>
          </p:nvSpPr>
          <p:spPr>
            <a:xfrm rot="8716295">
              <a:off x="1244473" y="479499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0" name="Forme libre : forme 449">
              <a:extLst>
                <a:ext uri="{FF2B5EF4-FFF2-40B4-BE49-F238E27FC236}">
                  <a16:creationId xmlns:a16="http://schemas.microsoft.com/office/drawing/2014/main" id="{67402E49-E65F-45DA-8073-25DB882ECA1B}"/>
                </a:ext>
              </a:extLst>
            </p:cNvPr>
            <p:cNvSpPr/>
            <p:nvPr/>
          </p:nvSpPr>
          <p:spPr>
            <a:xfrm rot="8716295">
              <a:off x="1421925" y="463575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1" name="Forme libre : forme 450">
              <a:extLst>
                <a:ext uri="{FF2B5EF4-FFF2-40B4-BE49-F238E27FC236}">
                  <a16:creationId xmlns:a16="http://schemas.microsoft.com/office/drawing/2014/main" id="{4AD140D5-5D83-48BA-8FB5-0AE18019D236}"/>
                </a:ext>
              </a:extLst>
            </p:cNvPr>
            <p:cNvSpPr/>
            <p:nvPr/>
          </p:nvSpPr>
          <p:spPr>
            <a:xfrm rot="8716295">
              <a:off x="-3428" y="2405990"/>
              <a:ext cx="142167" cy="208592"/>
            </a:xfrm>
            <a:custGeom>
              <a:avLst/>
              <a:gdLst>
                <a:gd name="connsiteX0" fmla="*/ 81108 w 142167"/>
                <a:gd name="connsiteY0" fmla="*/ 208592 h 208592"/>
                <a:gd name="connsiteX1" fmla="*/ 81108 w 142167"/>
                <a:gd name="connsiteY1" fmla="*/ 69717 h 208592"/>
                <a:gd name="connsiteX2" fmla="*/ 81108 w 142167"/>
                <a:gd name="connsiteY2" fmla="*/ 65615 h 208592"/>
                <a:gd name="connsiteX3" fmla="*/ 60604 w 142167"/>
                <a:gd name="connsiteY3" fmla="*/ 50123 h 208592"/>
                <a:gd name="connsiteX4" fmla="*/ 0 w 142167"/>
                <a:gd name="connsiteY4" fmla="*/ 50123 h 208592"/>
                <a:gd name="connsiteX5" fmla="*/ 0 w 142167"/>
                <a:gd name="connsiteY5" fmla="*/ 0 h 208592"/>
                <a:gd name="connsiteX6" fmla="*/ 85210 w 142167"/>
                <a:gd name="connsiteY6" fmla="*/ 0 h 208592"/>
                <a:gd name="connsiteX7" fmla="*/ 142167 w 142167"/>
                <a:gd name="connsiteY7" fmla="*/ 50123 h 208592"/>
                <a:gd name="connsiteX8" fmla="*/ 142167 w 142167"/>
                <a:gd name="connsiteY8" fmla="*/ 120504 h 20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08592">
                  <a:moveTo>
                    <a:pt x="81108" y="208592"/>
                  </a:moveTo>
                  <a:lnTo>
                    <a:pt x="81108" y="69717"/>
                  </a:lnTo>
                  <a:cubicBezTo>
                    <a:pt x="81108" y="68350"/>
                    <a:pt x="81108" y="66983"/>
                    <a:pt x="81108" y="65615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10" y="0"/>
                  </a:lnTo>
                  <a:cubicBezTo>
                    <a:pt x="122118" y="0"/>
                    <a:pt x="142167" y="15948"/>
                    <a:pt x="142167" y="50123"/>
                  </a:cubicBezTo>
                  <a:lnTo>
                    <a:pt x="142167" y="1205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2" name="Forme libre : forme 451">
              <a:extLst>
                <a:ext uri="{FF2B5EF4-FFF2-40B4-BE49-F238E27FC236}">
                  <a16:creationId xmlns:a16="http://schemas.microsoft.com/office/drawing/2014/main" id="{2BA0993E-9FAB-4AEE-B83B-4CF3D7902044}"/>
                </a:ext>
              </a:extLst>
            </p:cNvPr>
            <p:cNvSpPr/>
            <p:nvPr/>
          </p:nvSpPr>
          <p:spPr>
            <a:xfrm rot="8716295">
              <a:off x="80015" y="241329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3" name="Forme libre : forme 452">
              <a:extLst>
                <a:ext uri="{FF2B5EF4-FFF2-40B4-BE49-F238E27FC236}">
                  <a16:creationId xmlns:a16="http://schemas.microsoft.com/office/drawing/2014/main" id="{CCF3EEA8-B3F9-461B-98BC-F35553672A96}"/>
                </a:ext>
              </a:extLst>
            </p:cNvPr>
            <p:cNvSpPr/>
            <p:nvPr/>
          </p:nvSpPr>
          <p:spPr>
            <a:xfrm rot="8716295">
              <a:off x="35165" y="232701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4" name="Forme libre : forme 453">
              <a:extLst>
                <a:ext uri="{FF2B5EF4-FFF2-40B4-BE49-F238E27FC236}">
                  <a16:creationId xmlns:a16="http://schemas.microsoft.com/office/drawing/2014/main" id="{7409E8F1-7A32-4862-9918-61EE35F1B801}"/>
                </a:ext>
              </a:extLst>
            </p:cNvPr>
            <p:cNvSpPr/>
            <p:nvPr/>
          </p:nvSpPr>
          <p:spPr>
            <a:xfrm rot="8716295">
              <a:off x="-20257" y="2217087"/>
              <a:ext cx="78731" cy="180665"/>
            </a:xfrm>
            <a:custGeom>
              <a:avLst/>
              <a:gdLst>
                <a:gd name="connsiteX0" fmla="*/ 0 w 78731"/>
                <a:gd name="connsiteY0" fmla="*/ 180665 h 180665"/>
                <a:gd name="connsiteX1" fmla="*/ 0 w 78731"/>
                <a:gd name="connsiteY1" fmla="*/ 40596 h 180665"/>
                <a:gd name="connsiteX2" fmla="*/ 78250 w 78731"/>
                <a:gd name="connsiteY2" fmla="*/ 0 h 180665"/>
                <a:gd name="connsiteX3" fmla="*/ 78731 w 78731"/>
                <a:gd name="connsiteY3" fmla="*/ 67083 h 180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731" h="180665">
                  <a:moveTo>
                    <a:pt x="0" y="180665"/>
                  </a:moveTo>
                  <a:lnTo>
                    <a:pt x="0" y="40596"/>
                  </a:lnTo>
                  <a:lnTo>
                    <a:pt x="78250" y="0"/>
                  </a:lnTo>
                  <a:lnTo>
                    <a:pt x="78731" y="670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5" name="Forme libre : forme 454">
              <a:extLst>
                <a:ext uri="{FF2B5EF4-FFF2-40B4-BE49-F238E27FC236}">
                  <a16:creationId xmlns:a16="http://schemas.microsoft.com/office/drawing/2014/main" id="{D1FF2FF9-6448-4826-95B6-0FAE856B0348}"/>
                </a:ext>
              </a:extLst>
            </p:cNvPr>
            <p:cNvSpPr/>
            <p:nvPr/>
          </p:nvSpPr>
          <p:spPr>
            <a:xfrm rot="8716295">
              <a:off x="-15341" y="2575209"/>
              <a:ext cx="103435" cy="152027"/>
            </a:xfrm>
            <a:custGeom>
              <a:avLst/>
              <a:gdLst>
                <a:gd name="connsiteX0" fmla="*/ 43288 w 103435"/>
                <a:gd name="connsiteY0" fmla="*/ 152027 h 152027"/>
                <a:gd name="connsiteX1" fmla="*/ 43288 w 103435"/>
                <a:gd name="connsiteY1" fmla="*/ 16404 h 152027"/>
                <a:gd name="connsiteX2" fmla="*/ 0 w 103435"/>
                <a:gd name="connsiteY2" fmla="*/ 16404 h 152027"/>
                <a:gd name="connsiteX3" fmla="*/ 0 w 103435"/>
                <a:gd name="connsiteY3" fmla="*/ 2278 h 152027"/>
                <a:gd name="connsiteX4" fmla="*/ 103435 w 103435"/>
                <a:gd name="connsiteY4" fmla="*/ 0 h 152027"/>
                <a:gd name="connsiteX5" fmla="*/ 103435 w 103435"/>
                <a:gd name="connsiteY5" fmla="*/ 65255 h 152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152027">
                  <a:moveTo>
                    <a:pt x="43288" y="152027"/>
                  </a:move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652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6" name="Forme libre : forme 455">
              <a:extLst>
                <a:ext uri="{FF2B5EF4-FFF2-40B4-BE49-F238E27FC236}">
                  <a16:creationId xmlns:a16="http://schemas.microsoft.com/office/drawing/2014/main" id="{D4422BA3-5FC8-407B-A01D-69AD0749DDD6}"/>
                </a:ext>
              </a:extLst>
            </p:cNvPr>
            <p:cNvSpPr/>
            <p:nvPr/>
          </p:nvSpPr>
          <p:spPr>
            <a:xfrm rot="8716295">
              <a:off x="279722" y="21339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7" name="Forme libre : forme 456">
              <a:extLst>
                <a:ext uri="{FF2B5EF4-FFF2-40B4-BE49-F238E27FC236}">
                  <a16:creationId xmlns:a16="http://schemas.microsoft.com/office/drawing/2014/main" id="{D39FDC20-561D-4627-BA38-506D7FCF7089}"/>
                </a:ext>
              </a:extLst>
            </p:cNvPr>
            <p:cNvSpPr/>
            <p:nvPr/>
          </p:nvSpPr>
          <p:spPr>
            <a:xfrm rot="8716295">
              <a:off x="369114" y="21631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8" name="Forme libre : forme 457">
              <a:extLst>
                <a:ext uri="{FF2B5EF4-FFF2-40B4-BE49-F238E27FC236}">
                  <a16:creationId xmlns:a16="http://schemas.microsoft.com/office/drawing/2014/main" id="{D14C1499-CA5F-496B-8BEC-69E04E19EA0D}"/>
                </a:ext>
              </a:extLst>
            </p:cNvPr>
            <p:cNvSpPr/>
            <p:nvPr/>
          </p:nvSpPr>
          <p:spPr>
            <a:xfrm rot="8716295">
              <a:off x="167488" y="22224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9" name="Forme libre : forme 458">
              <a:extLst>
                <a:ext uri="{FF2B5EF4-FFF2-40B4-BE49-F238E27FC236}">
                  <a16:creationId xmlns:a16="http://schemas.microsoft.com/office/drawing/2014/main" id="{193174EE-CFBC-438F-B1BB-D3ADA063388E}"/>
                </a:ext>
              </a:extLst>
            </p:cNvPr>
            <p:cNvSpPr/>
            <p:nvPr/>
          </p:nvSpPr>
          <p:spPr>
            <a:xfrm rot="8716295">
              <a:off x="42586" y="20137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0" name="Forme libre : forme 459">
              <a:extLst>
                <a:ext uri="{FF2B5EF4-FFF2-40B4-BE49-F238E27FC236}">
                  <a16:creationId xmlns:a16="http://schemas.microsoft.com/office/drawing/2014/main" id="{7E2244BC-364D-47B4-8B77-1ABDEF1DBB36}"/>
                </a:ext>
              </a:extLst>
            </p:cNvPr>
            <p:cNvSpPr/>
            <p:nvPr/>
          </p:nvSpPr>
          <p:spPr>
            <a:xfrm rot="8716295">
              <a:off x="257666" y="226339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1" name="Forme libre : forme 460">
              <a:extLst>
                <a:ext uri="{FF2B5EF4-FFF2-40B4-BE49-F238E27FC236}">
                  <a16:creationId xmlns:a16="http://schemas.microsoft.com/office/drawing/2014/main" id="{88E8FCAA-5A69-41AD-9BBF-E06402368569}"/>
                </a:ext>
              </a:extLst>
            </p:cNvPr>
            <p:cNvSpPr/>
            <p:nvPr/>
          </p:nvSpPr>
          <p:spPr>
            <a:xfrm rot="8716295">
              <a:off x="16215" y="211379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2" name="Forme libre : forme 461">
              <a:extLst>
                <a:ext uri="{FF2B5EF4-FFF2-40B4-BE49-F238E27FC236}">
                  <a16:creationId xmlns:a16="http://schemas.microsoft.com/office/drawing/2014/main" id="{2C0CE443-0100-47A6-BB72-6A7BBA3B084B}"/>
                </a:ext>
              </a:extLst>
            </p:cNvPr>
            <p:cNvSpPr/>
            <p:nvPr/>
          </p:nvSpPr>
          <p:spPr>
            <a:xfrm rot="7484129">
              <a:off x="362597" y="245474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3" name="Forme libre : forme 462">
              <a:extLst>
                <a:ext uri="{FF2B5EF4-FFF2-40B4-BE49-F238E27FC236}">
                  <a16:creationId xmlns:a16="http://schemas.microsoft.com/office/drawing/2014/main" id="{AE6C94D5-06F7-4134-9BDD-8703B8C3642E}"/>
                </a:ext>
              </a:extLst>
            </p:cNvPr>
            <p:cNvSpPr/>
            <p:nvPr/>
          </p:nvSpPr>
          <p:spPr>
            <a:xfrm rot="13089394">
              <a:off x="467417" y="242128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4" name="Forme libre : forme 463">
              <a:extLst>
                <a:ext uri="{FF2B5EF4-FFF2-40B4-BE49-F238E27FC236}">
                  <a16:creationId xmlns:a16="http://schemas.microsoft.com/office/drawing/2014/main" id="{90543D7D-143B-4ADD-B896-F2C09B360BC1}"/>
                </a:ext>
              </a:extLst>
            </p:cNvPr>
            <p:cNvSpPr/>
            <p:nvPr/>
          </p:nvSpPr>
          <p:spPr>
            <a:xfrm rot="8716295">
              <a:off x="653002" y="222960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5" name="Forme libre : forme 464">
              <a:extLst>
                <a:ext uri="{FF2B5EF4-FFF2-40B4-BE49-F238E27FC236}">
                  <a16:creationId xmlns:a16="http://schemas.microsoft.com/office/drawing/2014/main" id="{0A3F3F5B-79C0-41C7-8F17-B5752CC6E817}"/>
                </a:ext>
              </a:extLst>
            </p:cNvPr>
            <p:cNvSpPr/>
            <p:nvPr/>
          </p:nvSpPr>
          <p:spPr>
            <a:xfrm rot="8716295">
              <a:off x="601197" y="21260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6" name="Forme libre : forme 465">
              <a:extLst>
                <a:ext uri="{FF2B5EF4-FFF2-40B4-BE49-F238E27FC236}">
                  <a16:creationId xmlns:a16="http://schemas.microsoft.com/office/drawing/2014/main" id="{69D0AA2C-A5BB-4B7B-BB03-432400F6F2C5}"/>
                </a:ext>
              </a:extLst>
            </p:cNvPr>
            <p:cNvSpPr/>
            <p:nvPr/>
          </p:nvSpPr>
          <p:spPr>
            <a:xfrm rot="8716295">
              <a:off x="357951" y="21562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7" name="Forme libre : forme 466">
              <a:extLst>
                <a:ext uri="{FF2B5EF4-FFF2-40B4-BE49-F238E27FC236}">
                  <a16:creationId xmlns:a16="http://schemas.microsoft.com/office/drawing/2014/main" id="{82D68D60-D905-4F9D-9F1E-9018FDA856E2}"/>
                </a:ext>
              </a:extLst>
            </p:cNvPr>
            <p:cNvSpPr/>
            <p:nvPr/>
          </p:nvSpPr>
          <p:spPr>
            <a:xfrm rot="8716295">
              <a:off x="535403" y="199698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8" name="Forme libre : forme 467">
              <a:extLst>
                <a:ext uri="{FF2B5EF4-FFF2-40B4-BE49-F238E27FC236}">
                  <a16:creationId xmlns:a16="http://schemas.microsoft.com/office/drawing/2014/main" id="{E3253363-EB34-44DB-883A-13B6DE6143A2}"/>
                </a:ext>
              </a:extLst>
            </p:cNvPr>
            <p:cNvSpPr/>
            <p:nvPr/>
          </p:nvSpPr>
          <p:spPr>
            <a:xfrm rot="8716295">
              <a:off x="-76043" y="1768178"/>
              <a:ext cx="197178" cy="215049"/>
            </a:xfrm>
            <a:custGeom>
              <a:avLst/>
              <a:gdLst>
                <a:gd name="connsiteX0" fmla="*/ 51490 w 197178"/>
                <a:gd name="connsiteY0" fmla="*/ 215049 h 215049"/>
                <a:gd name="connsiteX1" fmla="*/ 51490 w 197178"/>
                <a:gd name="connsiteY1" fmla="*/ 45624 h 215049"/>
                <a:gd name="connsiteX2" fmla="*/ 0 w 197178"/>
                <a:gd name="connsiteY2" fmla="*/ 45624 h 215049"/>
                <a:gd name="connsiteX3" fmla="*/ 0 w 197178"/>
                <a:gd name="connsiteY3" fmla="*/ 1424 h 215049"/>
                <a:gd name="connsiteX4" fmla="*/ 104803 w 197178"/>
                <a:gd name="connsiteY4" fmla="*/ 1425 h 215049"/>
                <a:gd name="connsiteX5" fmla="*/ 104803 w 197178"/>
                <a:gd name="connsiteY5" fmla="*/ 75242 h 215049"/>
                <a:gd name="connsiteX6" fmla="*/ 106169 w 197178"/>
                <a:gd name="connsiteY6" fmla="*/ 75242 h 215049"/>
                <a:gd name="connsiteX7" fmla="*/ 154014 w 197178"/>
                <a:gd name="connsiteY7" fmla="*/ 5981 h 215049"/>
                <a:gd name="connsiteX8" fmla="*/ 185455 w 197178"/>
                <a:gd name="connsiteY8" fmla="*/ 57 h 215049"/>
                <a:gd name="connsiteX9" fmla="*/ 197178 w 197178"/>
                <a:gd name="connsiteY9" fmla="*/ 4872 h 215049"/>
                <a:gd name="connsiteX10" fmla="*/ 170795 w 197178"/>
                <a:gd name="connsiteY10" fmla="*/ 42934 h 215049"/>
                <a:gd name="connsiteX11" fmla="*/ 164950 w 197178"/>
                <a:gd name="connsiteY11" fmla="*/ 40156 h 215049"/>
                <a:gd name="connsiteX12" fmla="*/ 111638 w 197178"/>
                <a:gd name="connsiteY12" fmla="*/ 127643 h 215049"/>
                <a:gd name="connsiteX13" fmla="*/ 111638 w 197178"/>
                <a:gd name="connsiteY13" fmla="*/ 128277 h 21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178" h="215049">
                  <a:moveTo>
                    <a:pt x="51490" y="215049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4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lnTo>
                    <a:pt x="197178" y="4872"/>
                  </a:lnTo>
                  <a:lnTo>
                    <a:pt x="170795" y="42934"/>
                  </a:lnTo>
                  <a:lnTo>
                    <a:pt x="164950" y="40156"/>
                  </a:ln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1282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9" name="Forme libre : forme 468">
              <a:extLst>
                <a:ext uri="{FF2B5EF4-FFF2-40B4-BE49-F238E27FC236}">
                  <a16:creationId xmlns:a16="http://schemas.microsoft.com/office/drawing/2014/main" id="{13CAFE6B-0A3E-486D-8691-4D8C7920E841}"/>
                </a:ext>
              </a:extLst>
            </p:cNvPr>
            <p:cNvSpPr/>
            <p:nvPr/>
          </p:nvSpPr>
          <p:spPr>
            <a:xfrm rot="8716295">
              <a:off x="56555" y="14742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0" name="Forme libre : forme 469">
              <a:extLst>
                <a:ext uri="{FF2B5EF4-FFF2-40B4-BE49-F238E27FC236}">
                  <a16:creationId xmlns:a16="http://schemas.microsoft.com/office/drawing/2014/main" id="{AAF44C60-8776-4956-B0ED-2BB1FFCE9812}"/>
                </a:ext>
              </a:extLst>
            </p:cNvPr>
            <p:cNvSpPr/>
            <p:nvPr/>
          </p:nvSpPr>
          <p:spPr>
            <a:xfrm rot="8716295">
              <a:off x="145947" y="15034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1" name="Forme libre : forme 470">
              <a:extLst>
                <a:ext uri="{FF2B5EF4-FFF2-40B4-BE49-F238E27FC236}">
                  <a16:creationId xmlns:a16="http://schemas.microsoft.com/office/drawing/2014/main" id="{5A27D428-CE77-42C1-B8CA-3A227D5DF411}"/>
                </a:ext>
              </a:extLst>
            </p:cNvPr>
            <p:cNvSpPr/>
            <p:nvPr/>
          </p:nvSpPr>
          <p:spPr>
            <a:xfrm rot="8716295">
              <a:off x="-21870" y="1443501"/>
              <a:ext cx="68614" cy="55323"/>
            </a:xfrm>
            <a:custGeom>
              <a:avLst/>
              <a:gdLst>
                <a:gd name="connsiteX0" fmla="*/ 0 w 68614"/>
                <a:gd name="connsiteY0" fmla="*/ 55323 h 55323"/>
                <a:gd name="connsiteX1" fmla="*/ 0 w 68614"/>
                <a:gd name="connsiteY1" fmla="*/ 0 h 55323"/>
                <a:gd name="connsiteX2" fmla="*/ 68614 w 68614"/>
                <a:gd name="connsiteY2" fmla="*/ 0 h 55323"/>
                <a:gd name="connsiteX3" fmla="*/ 30266 w 68614"/>
                <a:gd name="connsiteY3" fmla="*/ 55323 h 55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614" h="55323">
                  <a:moveTo>
                    <a:pt x="0" y="55323"/>
                  </a:moveTo>
                  <a:lnTo>
                    <a:pt x="0" y="0"/>
                  </a:lnTo>
                  <a:lnTo>
                    <a:pt x="68614" y="0"/>
                  </a:lnTo>
                  <a:lnTo>
                    <a:pt x="30266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2" name="Forme libre : forme 471">
              <a:extLst>
                <a:ext uri="{FF2B5EF4-FFF2-40B4-BE49-F238E27FC236}">
                  <a16:creationId xmlns:a16="http://schemas.microsoft.com/office/drawing/2014/main" id="{DF9A3F72-B629-4ECA-8440-27AD7A8DC93E}"/>
                </a:ext>
              </a:extLst>
            </p:cNvPr>
            <p:cNvSpPr/>
            <p:nvPr/>
          </p:nvSpPr>
          <p:spPr>
            <a:xfrm rot="8716295">
              <a:off x="35817" y="1618109"/>
              <a:ext cx="103435" cy="203897"/>
            </a:xfrm>
            <a:custGeom>
              <a:avLst/>
              <a:gdLst>
                <a:gd name="connsiteX0" fmla="*/ 87556 w 103435"/>
                <a:gd name="connsiteY0" fmla="*/ 203897 h 203897"/>
                <a:gd name="connsiteX1" fmla="*/ 43288 w 103435"/>
                <a:gd name="connsiteY1" fmla="*/ 161305 h 203897"/>
                <a:gd name="connsiteX2" fmla="*/ 43288 w 103435"/>
                <a:gd name="connsiteY2" fmla="*/ 16404 h 203897"/>
                <a:gd name="connsiteX3" fmla="*/ 0 w 103435"/>
                <a:gd name="connsiteY3" fmla="*/ 16404 h 203897"/>
                <a:gd name="connsiteX4" fmla="*/ 0 w 103435"/>
                <a:gd name="connsiteY4" fmla="*/ 2278 h 203897"/>
                <a:gd name="connsiteX5" fmla="*/ 103435 w 103435"/>
                <a:gd name="connsiteY5" fmla="*/ 0 h 203897"/>
                <a:gd name="connsiteX6" fmla="*/ 103435 w 103435"/>
                <a:gd name="connsiteY6" fmla="*/ 180989 h 203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03897">
                  <a:moveTo>
                    <a:pt x="87556" y="203897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1809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3" name="Forme libre : forme 472">
              <a:extLst>
                <a:ext uri="{FF2B5EF4-FFF2-40B4-BE49-F238E27FC236}">
                  <a16:creationId xmlns:a16="http://schemas.microsoft.com/office/drawing/2014/main" id="{8E07B202-4136-4FA5-B44B-66518FBBBBA3}"/>
                </a:ext>
              </a:extLst>
            </p:cNvPr>
            <p:cNvSpPr/>
            <p:nvPr/>
          </p:nvSpPr>
          <p:spPr>
            <a:xfrm rot="7484129">
              <a:off x="139430" y="17950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4" name="Forme libre : forme 473">
              <a:extLst>
                <a:ext uri="{FF2B5EF4-FFF2-40B4-BE49-F238E27FC236}">
                  <a16:creationId xmlns:a16="http://schemas.microsoft.com/office/drawing/2014/main" id="{34554139-A9A2-4D5D-81E5-F4C0EE65204A}"/>
                </a:ext>
              </a:extLst>
            </p:cNvPr>
            <p:cNvSpPr/>
            <p:nvPr/>
          </p:nvSpPr>
          <p:spPr>
            <a:xfrm rot="13089394">
              <a:off x="244250" y="17615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5" name="Forme libre : forme 474">
              <a:extLst>
                <a:ext uri="{FF2B5EF4-FFF2-40B4-BE49-F238E27FC236}">
                  <a16:creationId xmlns:a16="http://schemas.microsoft.com/office/drawing/2014/main" id="{AB2F70AF-AA56-4CAD-ADF4-0833FC541883}"/>
                </a:ext>
              </a:extLst>
            </p:cNvPr>
            <p:cNvSpPr/>
            <p:nvPr/>
          </p:nvSpPr>
          <p:spPr>
            <a:xfrm rot="8716295">
              <a:off x="429835" y="15699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6" name="Forme libre : forme 475">
              <a:extLst>
                <a:ext uri="{FF2B5EF4-FFF2-40B4-BE49-F238E27FC236}">
                  <a16:creationId xmlns:a16="http://schemas.microsoft.com/office/drawing/2014/main" id="{75BBDF35-8448-40A6-BE33-7EEF756160B0}"/>
                </a:ext>
              </a:extLst>
            </p:cNvPr>
            <p:cNvSpPr/>
            <p:nvPr/>
          </p:nvSpPr>
          <p:spPr>
            <a:xfrm rot="8716295">
              <a:off x="378030" y="14663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7" name="Forme libre : forme 476">
              <a:extLst>
                <a:ext uri="{FF2B5EF4-FFF2-40B4-BE49-F238E27FC236}">
                  <a16:creationId xmlns:a16="http://schemas.microsoft.com/office/drawing/2014/main" id="{423A5D9B-DC1A-419A-9AFB-176F76ADBA77}"/>
                </a:ext>
              </a:extLst>
            </p:cNvPr>
            <p:cNvSpPr/>
            <p:nvPr/>
          </p:nvSpPr>
          <p:spPr>
            <a:xfrm rot="8716295">
              <a:off x="134784" y="14965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8" name="Forme libre : forme 477">
              <a:extLst>
                <a:ext uri="{FF2B5EF4-FFF2-40B4-BE49-F238E27FC236}">
                  <a16:creationId xmlns:a16="http://schemas.microsoft.com/office/drawing/2014/main" id="{09A04993-945B-4073-A4A3-49D8F429837D}"/>
                </a:ext>
              </a:extLst>
            </p:cNvPr>
            <p:cNvSpPr/>
            <p:nvPr/>
          </p:nvSpPr>
          <p:spPr>
            <a:xfrm rot="8716295">
              <a:off x="312236" y="13372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9" name="Forme libre : forme 478">
              <a:extLst>
                <a:ext uri="{FF2B5EF4-FFF2-40B4-BE49-F238E27FC236}">
                  <a16:creationId xmlns:a16="http://schemas.microsoft.com/office/drawing/2014/main" id="{F26589E4-0AEF-428F-8239-E3EDEF00E7E4}"/>
                </a:ext>
              </a:extLst>
            </p:cNvPr>
            <p:cNvSpPr/>
            <p:nvPr/>
          </p:nvSpPr>
          <p:spPr>
            <a:xfrm rot="8716295">
              <a:off x="-17798" y="949199"/>
              <a:ext cx="39526" cy="50123"/>
            </a:xfrm>
            <a:custGeom>
              <a:avLst/>
              <a:gdLst>
                <a:gd name="connsiteX0" fmla="*/ 0 w 39526"/>
                <a:gd name="connsiteY0" fmla="*/ 50123 h 50123"/>
                <a:gd name="connsiteX1" fmla="*/ 0 w 39526"/>
                <a:gd name="connsiteY1" fmla="*/ 0 h 50123"/>
                <a:gd name="connsiteX2" fmla="*/ 39526 w 39526"/>
                <a:gd name="connsiteY2" fmla="*/ 0 h 50123"/>
                <a:gd name="connsiteX3" fmla="*/ 4782 w 39526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26" h="50123">
                  <a:moveTo>
                    <a:pt x="0" y="50123"/>
                  </a:moveTo>
                  <a:lnTo>
                    <a:pt x="0" y="0"/>
                  </a:lnTo>
                  <a:lnTo>
                    <a:pt x="39526" y="0"/>
                  </a:lnTo>
                  <a:lnTo>
                    <a:pt x="4782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0" name="Forme libre : forme 479">
              <a:extLst>
                <a:ext uri="{FF2B5EF4-FFF2-40B4-BE49-F238E27FC236}">
                  <a16:creationId xmlns:a16="http://schemas.microsoft.com/office/drawing/2014/main" id="{4C4296DE-55F9-4C4A-97B0-A63397A7DF77}"/>
                </a:ext>
              </a:extLst>
            </p:cNvPr>
            <p:cNvSpPr/>
            <p:nvPr/>
          </p:nvSpPr>
          <p:spPr>
            <a:xfrm rot="8716295">
              <a:off x="-64996" y="834728"/>
              <a:ext cx="249650" cy="254774"/>
            </a:xfrm>
            <a:custGeom>
              <a:avLst/>
              <a:gdLst>
                <a:gd name="connsiteX0" fmla="*/ 51490 w 249650"/>
                <a:gd name="connsiteY0" fmla="*/ 254774 h 254774"/>
                <a:gd name="connsiteX1" fmla="*/ 51490 w 249650"/>
                <a:gd name="connsiteY1" fmla="*/ 45624 h 254774"/>
                <a:gd name="connsiteX2" fmla="*/ 0 w 249650"/>
                <a:gd name="connsiteY2" fmla="*/ 45624 h 254774"/>
                <a:gd name="connsiteX3" fmla="*/ 0 w 249650"/>
                <a:gd name="connsiteY3" fmla="*/ 1425 h 254774"/>
                <a:gd name="connsiteX4" fmla="*/ 104803 w 249650"/>
                <a:gd name="connsiteY4" fmla="*/ 1425 h 254774"/>
                <a:gd name="connsiteX5" fmla="*/ 104803 w 249650"/>
                <a:gd name="connsiteY5" fmla="*/ 75242 h 254774"/>
                <a:gd name="connsiteX6" fmla="*/ 106169 w 249650"/>
                <a:gd name="connsiteY6" fmla="*/ 75242 h 254774"/>
                <a:gd name="connsiteX7" fmla="*/ 154014 w 249650"/>
                <a:gd name="connsiteY7" fmla="*/ 5981 h 254774"/>
                <a:gd name="connsiteX8" fmla="*/ 185455 w 249650"/>
                <a:gd name="connsiteY8" fmla="*/ 57 h 254774"/>
                <a:gd name="connsiteX9" fmla="*/ 240647 w 249650"/>
                <a:gd name="connsiteY9" fmla="*/ 22727 h 254774"/>
                <a:gd name="connsiteX10" fmla="*/ 249650 w 249650"/>
                <a:gd name="connsiteY10" fmla="*/ 52327 h 254774"/>
                <a:gd name="connsiteX11" fmla="*/ 218795 w 249650"/>
                <a:gd name="connsiteY11" fmla="*/ 96841 h 254774"/>
                <a:gd name="connsiteX12" fmla="*/ 198669 w 249650"/>
                <a:gd name="connsiteY12" fmla="*/ 98025 h 254774"/>
                <a:gd name="connsiteX13" fmla="*/ 198669 w 249650"/>
                <a:gd name="connsiteY13" fmla="*/ 81621 h 254774"/>
                <a:gd name="connsiteX14" fmla="*/ 164950 w 249650"/>
                <a:gd name="connsiteY14" fmla="*/ 40156 h 254774"/>
                <a:gd name="connsiteX15" fmla="*/ 111638 w 249650"/>
                <a:gd name="connsiteY15" fmla="*/ 127643 h 254774"/>
                <a:gd name="connsiteX16" fmla="*/ 111638 w 249650"/>
                <a:gd name="connsiteY16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9650" h="254774">
                  <a:moveTo>
                    <a:pt x="51490" y="254774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08922" y="-398"/>
                    <a:pt x="227718" y="7576"/>
                    <a:pt x="240647" y="22727"/>
                  </a:cubicBezTo>
                  <a:lnTo>
                    <a:pt x="249650" y="52327"/>
                  </a:lnTo>
                  <a:lnTo>
                    <a:pt x="218795" y="96841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1" name="Forme libre : forme 480">
              <a:extLst>
                <a:ext uri="{FF2B5EF4-FFF2-40B4-BE49-F238E27FC236}">
                  <a16:creationId xmlns:a16="http://schemas.microsoft.com/office/drawing/2014/main" id="{5A2819AD-E741-4041-ACED-C828CEF01D2A}"/>
                </a:ext>
              </a:extLst>
            </p:cNvPr>
            <p:cNvSpPr/>
            <p:nvPr/>
          </p:nvSpPr>
          <p:spPr>
            <a:xfrm rot="7484129">
              <a:off x="-63314" y="1172497"/>
              <a:ext cx="203848" cy="146395"/>
            </a:xfrm>
            <a:custGeom>
              <a:avLst/>
              <a:gdLst>
                <a:gd name="connsiteX0" fmla="*/ 0 w 203848"/>
                <a:gd name="connsiteY0" fmla="*/ 55323 h 146395"/>
                <a:gd name="connsiteX1" fmla="*/ 0 w 203848"/>
                <a:gd name="connsiteY1" fmla="*/ 0 h 146395"/>
                <a:gd name="connsiteX2" fmla="*/ 203848 w 203848"/>
                <a:gd name="connsiteY2" fmla="*/ 0 h 146395"/>
                <a:gd name="connsiteX3" fmla="*/ 203847 w 203848"/>
                <a:gd name="connsiteY3" fmla="*/ 49512 h 146395"/>
                <a:gd name="connsiteX4" fmla="*/ 195466 w 203848"/>
                <a:gd name="connsiteY4" fmla="*/ 55323 h 146395"/>
                <a:gd name="connsiteX5" fmla="*/ 139055 w 203848"/>
                <a:gd name="connsiteY5" fmla="*/ 55323 h 146395"/>
                <a:gd name="connsiteX6" fmla="*/ 121388 w 203848"/>
                <a:gd name="connsiteY6" fmla="*/ 106685 h 146395"/>
                <a:gd name="connsiteX7" fmla="*/ 64115 w 203848"/>
                <a:gd name="connsiteY7" fmla="*/ 146395 h 146395"/>
                <a:gd name="connsiteX8" fmla="*/ 47847 w 203848"/>
                <a:gd name="connsiteY8" fmla="*/ 116129 h 146395"/>
                <a:gd name="connsiteX9" fmla="*/ 69777 w 203848"/>
                <a:gd name="connsiteY9" fmla="*/ 55323 h 146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848" h="146395">
                  <a:moveTo>
                    <a:pt x="0" y="55323"/>
                  </a:moveTo>
                  <a:lnTo>
                    <a:pt x="0" y="0"/>
                  </a:lnTo>
                  <a:lnTo>
                    <a:pt x="203848" y="0"/>
                  </a:lnTo>
                  <a:lnTo>
                    <a:pt x="203847" y="49512"/>
                  </a:lnTo>
                  <a:lnTo>
                    <a:pt x="195466" y="55323"/>
                  </a:lnTo>
                  <a:lnTo>
                    <a:pt x="139055" y="55323"/>
                  </a:lnTo>
                  <a:lnTo>
                    <a:pt x="121388" y="106685"/>
                  </a:lnTo>
                  <a:lnTo>
                    <a:pt x="64115" y="146395"/>
                  </a:lnTo>
                  <a:lnTo>
                    <a:pt x="47847" y="116129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2" name="Forme libre : forme 481">
              <a:extLst>
                <a:ext uri="{FF2B5EF4-FFF2-40B4-BE49-F238E27FC236}">
                  <a16:creationId xmlns:a16="http://schemas.microsoft.com/office/drawing/2014/main" id="{BF19A776-F6DB-4B5F-AAC3-71AD58912554}"/>
                </a:ext>
              </a:extLst>
            </p:cNvPr>
            <p:cNvSpPr/>
            <p:nvPr/>
          </p:nvSpPr>
          <p:spPr>
            <a:xfrm rot="13089394">
              <a:off x="25311" y="109952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3" name="Forme libre : forme 482">
              <a:extLst>
                <a:ext uri="{FF2B5EF4-FFF2-40B4-BE49-F238E27FC236}">
                  <a16:creationId xmlns:a16="http://schemas.microsoft.com/office/drawing/2014/main" id="{1F910699-3B12-45BE-B517-E2166075FFC7}"/>
                </a:ext>
              </a:extLst>
            </p:cNvPr>
            <p:cNvSpPr/>
            <p:nvPr/>
          </p:nvSpPr>
          <p:spPr>
            <a:xfrm rot="8716295">
              <a:off x="210896" y="90784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4" name="Forme libre : forme 483">
              <a:extLst>
                <a:ext uri="{FF2B5EF4-FFF2-40B4-BE49-F238E27FC236}">
                  <a16:creationId xmlns:a16="http://schemas.microsoft.com/office/drawing/2014/main" id="{A819C2A4-F35F-43E8-9AB1-07103AECD990}"/>
                </a:ext>
              </a:extLst>
            </p:cNvPr>
            <p:cNvSpPr/>
            <p:nvPr/>
          </p:nvSpPr>
          <p:spPr>
            <a:xfrm rot="8716295">
              <a:off x="159091" y="80425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5" name="Forme libre : forme 484">
              <a:extLst>
                <a:ext uri="{FF2B5EF4-FFF2-40B4-BE49-F238E27FC236}">
                  <a16:creationId xmlns:a16="http://schemas.microsoft.com/office/drawing/2014/main" id="{F748C402-EDBB-4B63-B49E-2F4080A37ADD}"/>
                </a:ext>
              </a:extLst>
            </p:cNvPr>
            <p:cNvSpPr/>
            <p:nvPr/>
          </p:nvSpPr>
          <p:spPr>
            <a:xfrm rot="8716295">
              <a:off x="93297" y="67523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6" name="Forme libre : forme 485">
              <a:extLst>
                <a:ext uri="{FF2B5EF4-FFF2-40B4-BE49-F238E27FC236}">
                  <a16:creationId xmlns:a16="http://schemas.microsoft.com/office/drawing/2014/main" id="{73609A63-0E69-42A0-8437-604DF28699ED}"/>
                </a:ext>
              </a:extLst>
            </p:cNvPr>
            <p:cNvSpPr/>
            <p:nvPr/>
          </p:nvSpPr>
          <p:spPr>
            <a:xfrm rot="8716295">
              <a:off x="-7001" y="316701"/>
              <a:ext cx="14001" cy="20198"/>
            </a:xfrm>
            <a:custGeom>
              <a:avLst/>
              <a:gdLst>
                <a:gd name="connsiteX0" fmla="*/ 0 w 14001"/>
                <a:gd name="connsiteY0" fmla="*/ 20198 h 20198"/>
                <a:gd name="connsiteX1" fmla="*/ 0 w 14001"/>
                <a:gd name="connsiteY1" fmla="*/ 0 h 20198"/>
                <a:gd name="connsiteX2" fmla="*/ 14001 w 14001"/>
                <a:gd name="connsiteY2" fmla="*/ 0 h 2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01" h="20198">
                  <a:moveTo>
                    <a:pt x="0" y="20198"/>
                  </a:moveTo>
                  <a:lnTo>
                    <a:pt x="0" y="0"/>
                  </a:lnTo>
                  <a:lnTo>
                    <a:pt x="1400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7" name="Forme libre : forme 486">
              <a:extLst>
                <a:ext uri="{FF2B5EF4-FFF2-40B4-BE49-F238E27FC236}">
                  <a16:creationId xmlns:a16="http://schemas.microsoft.com/office/drawing/2014/main" id="{577CC5F5-15C9-4008-90A0-668217098FFB}"/>
                </a:ext>
              </a:extLst>
            </p:cNvPr>
            <p:cNvSpPr/>
            <p:nvPr/>
          </p:nvSpPr>
          <p:spPr>
            <a:xfrm rot="13089394">
              <a:off x="-81658" y="472652"/>
              <a:ext cx="173631" cy="237684"/>
            </a:xfrm>
            <a:custGeom>
              <a:avLst/>
              <a:gdLst>
                <a:gd name="connsiteX0" fmla="*/ 173631 w 173631"/>
                <a:gd name="connsiteY0" fmla="*/ 220990 h 237684"/>
                <a:gd name="connsiteX1" fmla="*/ 130972 w 173631"/>
                <a:gd name="connsiteY1" fmla="*/ 232382 h 237684"/>
                <a:gd name="connsiteX2" fmla="*/ 91597 w 173631"/>
                <a:gd name="connsiteY2" fmla="*/ 237521 h 237684"/>
                <a:gd name="connsiteX3" fmla="*/ 23727 w 173631"/>
                <a:gd name="connsiteY3" fmla="*/ 209931 h 237684"/>
                <a:gd name="connsiteX4" fmla="*/ 0 w 173631"/>
                <a:gd name="connsiteY4" fmla="*/ 115023 h 237684"/>
                <a:gd name="connsiteX5" fmla="*/ 0 w 173631"/>
                <a:gd name="connsiteY5" fmla="*/ 0 h 237684"/>
                <a:gd name="connsiteX6" fmla="*/ 76176 w 173631"/>
                <a:gd name="connsiteY6" fmla="*/ 96953 h 237684"/>
                <a:gd name="connsiteX7" fmla="*/ 76768 w 173631"/>
                <a:gd name="connsiteY7" fmla="*/ 109023 h 237684"/>
                <a:gd name="connsiteX8" fmla="*/ 87734 w 173631"/>
                <a:gd name="connsiteY8" fmla="*/ 154201 h 237684"/>
                <a:gd name="connsiteX9" fmla="*/ 111117 w 173631"/>
                <a:gd name="connsiteY9" fmla="*/ 181514 h 237684"/>
                <a:gd name="connsiteX10" fmla="*/ 148930 w 173631"/>
                <a:gd name="connsiteY10" fmla="*/ 189552 h 237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3631" h="237684">
                  <a:moveTo>
                    <a:pt x="173631" y="220990"/>
                  </a:moveTo>
                  <a:lnTo>
                    <a:pt x="130972" y="232382"/>
                  </a:lnTo>
                  <a:cubicBezTo>
                    <a:pt x="116428" y="235210"/>
                    <a:pt x="103047" y="236831"/>
                    <a:pt x="91597" y="237521"/>
                  </a:cubicBezTo>
                  <a:cubicBezTo>
                    <a:pt x="66215" y="239176"/>
                    <a:pt x="41384" y="228141"/>
                    <a:pt x="23727" y="209931"/>
                  </a:cubicBezTo>
                  <a:cubicBezTo>
                    <a:pt x="4966" y="191722"/>
                    <a:pt x="0" y="160270"/>
                    <a:pt x="0" y="115023"/>
                  </a:cubicBezTo>
                  <a:lnTo>
                    <a:pt x="0" y="0"/>
                  </a:lnTo>
                  <a:lnTo>
                    <a:pt x="76176" y="96953"/>
                  </a:lnTo>
                  <a:lnTo>
                    <a:pt x="76768" y="109023"/>
                  </a:lnTo>
                  <a:cubicBezTo>
                    <a:pt x="79044" y="124404"/>
                    <a:pt x="82768" y="139578"/>
                    <a:pt x="87734" y="154201"/>
                  </a:cubicBezTo>
                  <a:cubicBezTo>
                    <a:pt x="92149" y="166340"/>
                    <a:pt x="100012" y="175445"/>
                    <a:pt x="111117" y="181514"/>
                  </a:cubicBezTo>
                  <a:lnTo>
                    <a:pt x="148930" y="1895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8" name="Forme libre : forme 487">
              <a:extLst>
                <a:ext uri="{FF2B5EF4-FFF2-40B4-BE49-F238E27FC236}">
                  <a16:creationId xmlns:a16="http://schemas.microsoft.com/office/drawing/2014/main" id="{E64C5A14-C3CC-4B02-838F-FD1CD7D882CB}"/>
                </a:ext>
              </a:extLst>
            </p:cNvPr>
            <p:cNvSpPr/>
            <p:nvPr/>
          </p:nvSpPr>
          <p:spPr>
            <a:xfrm rot="8716295">
              <a:off x="-11774" y="24443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9" name="Forme libre : forme 488">
              <a:extLst>
                <a:ext uri="{FF2B5EF4-FFF2-40B4-BE49-F238E27FC236}">
                  <a16:creationId xmlns:a16="http://schemas.microsoft.com/office/drawing/2014/main" id="{26383EB6-3CD6-4688-B5B2-AB6D6EF7025D}"/>
                </a:ext>
              </a:extLst>
            </p:cNvPr>
            <p:cNvSpPr/>
            <p:nvPr/>
          </p:nvSpPr>
          <p:spPr>
            <a:xfrm rot="8716295">
              <a:off x="-30092" y="143486"/>
              <a:ext cx="77721" cy="97260"/>
            </a:xfrm>
            <a:custGeom>
              <a:avLst/>
              <a:gdLst>
                <a:gd name="connsiteX0" fmla="*/ 15821 w 77721"/>
                <a:gd name="connsiteY0" fmla="*/ 97260 h 97260"/>
                <a:gd name="connsiteX1" fmla="*/ 0 w 77721"/>
                <a:gd name="connsiteY1" fmla="*/ 59790 h 97260"/>
                <a:gd name="connsiteX2" fmla="*/ 0 w 77721"/>
                <a:gd name="connsiteY2" fmla="*/ 58869 h 97260"/>
                <a:gd name="connsiteX3" fmla="*/ 17477 w 77721"/>
                <a:gd name="connsiteY3" fmla="*/ 17477 h 97260"/>
                <a:gd name="connsiteX4" fmla="*/ 58869 w 77721"/>
                <a:gd name="connsiteY4" fmla="*/ 0 h 97260"/>
                <a:gd name="connsiteX5" fmla="*/ 77721 w 77721"/>
                <a:gd name="connsiteY5" fmla="*/ 7960 h 97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721" h="97260">
                  <a:moveTo>
                    <a:pt x="15821" y="97260"/>
                  </a:moveTo>
                  <a:lnTo>
                    <a:pt x="0" y="59790"/>
                  </a:ln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lnTo>
                    <a:pt x="77721" y="79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0" name="Forme libre : forme 489">
              <a:extLst>
                <a:ext uri="{FF2B5EF4-FFF2-40B4-BE49-F238E27FC236}">
                  <a16:creationId xmlns:a16="http://schemas.microsoft.com/office/drawing/2014/main" id="{6537CDA1-2216-4877-A848-A93D1F552A9D}"/>
                </a:ext>
              </a:extLst>
            </p:cNvPr>
            <p:cNvSpPr/>
            <p:nvPr/>
          </p:nvSpPr>
          <p:spPr>
            <a:xfrm rot="8716295">
              <a:off x="-17797" y="3452694"/>
              <a:ext cx="58455" cy="44199"/>
            </a:xfrm>
            <a:custGeom>
              <a:avLst/>
              <a:gdLst>
                <a:gd name="connsiteX0" fmla="*/ 0 w 58455"/>
                <a:gd name="connsiteY0" fmla="*/ 44199 h 44199"/>
                <a:gd name="connsiteX1" fmla="*/ 0 w 58455"/>
                <a:gd name="connsiteY1" fmla="*/ 0 h 44199"/>
                <a:gd name="connsiteX2" fmla="*/ 58455 w 58455"/>
                <a:gd name="connsiteY2" fmla="*/ 0 h 44199"/>
                <a:gd name="connsiteX3" fmla="*/ 27817 w 58455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55" h="44199">
                  <a:moveTo>
                    <a:pt x="0" y="44199"/>
                  </a:moveTo>
                  <a:lnTo>
                    <a:pt x="0" y="0"/>
                  </a:lnTo>
                  <a:lnTo>
                    <a:pt x="58455" y="0"/>
                  </a:lnTo>
                  <a:lnTo>
                    <a:pt x="27817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1" name="Forme libre : forme 490">
              <a:extLst>
                <a:ext uri="{FF2B5EF4-FFF2-40B4-BE49-F238E27FC236}">
                  <a16:creationId xmlns:a16="http://schemas.microsoft.com/office/drawing/2014/main" id="{215CC3B1-8089-4D43-97B0-1819B833BE19}"/>
                </a:ext>
              </a:extLst>
            </p:cNvPr>
            <p:cNvSpPr/>
            <p:nvPr/>
          </p:nvSpPr>
          <p:spPr>
            <a:xfrm rot="13089394">
              <a:off x="-91485" y="3601812"/>
              <a:ext cx="206527" cy="292654"/>
            </a:xfrm>
            <a:custGeom>
              <a:avLst/>
              <a:gdLst>
                <a:gd name="connsiteX0" fmla="*/ 206527 w 206527"/>
                <a:gd name="connsiteY0" fmla="*/ 258693 h 292654"/>
                <a:gd name="connsiteX1" fmla="*/ 177331 w 206527"/>
                <a:gd name="connsiteY1" fmla="*/ 274971 h 292654"/>
                <a:gd name="connsiteX2" fmla="*/ 91597 w 206527"/>
                <a:gd name="connsiteY2" fmla="*/ 292491 h 292654"/>
                <a:gd name="connsiteX3" fmla="*/ 23727 w 206527"/>
                <a:gd name="connsiteY3" fmla="*/ 264901 h 292654"/>
                <a:gd name="connsiteX4" fmla="*/ 0 w 206527"/>
                <a:gd name="connsiteY4" fmla="*/ 169993 h 292654"/>
                <a:gd name="connsiteX5" fmla="*/ 0 w 206527"/>
                <a:gd name="connsiteY5" fmla="*/ 1698 h 292654"/>
                <a:gd name="connsiteX6" fmla="*/ 3273 w 206527"/>
                <a:gd name="connsiteY6" fmla="*/ 0 h 292654"/>
                <a:gd name="connsiteX7" fmla="*/ 74297 w 206527"/>
                <a:gd name="connsiteY7" fmla="*/ 90396 h 292654"/>
                <a:gd name="connsiteX8" fmla="*/ 74492 w 206527"/>
                <a:gd name="connsiteY8" fmla="*/ 117574 h 292654"/>
                <a:gd name="connsiteX9" fmla="*/ 87734 w 206527"/>
                <a:gd name="connsiteY9" fmla="*/ 209171 h 292654"/>
                <a:gd name="connsiteX10" fmla="*/ 153949 w 206527"/>
                <a:gd name="connsiteY10" fmla="*/ 245589 h 292654"/>
                <a:gd name="connsiteX11" fmla="*/ 191049 w 206527"/>
                <a:gd name="connsiteY11" fmla="*/ 238993 h 292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527" h="292654">
                  <a:moveTo>
                    <a:pt x="206527" y="258693"/>
                  </a:moveTo>
                  <a:lnTo>
                    <a:pt x="177331" y="274971"/>
                  </a:lnTo>
                  <a:cubicBezTo>
                    <a:pt x="145121" y="286007"/>
                    <a:pt x="114496" y="291111"/>
                    <a:pt x="91597" y="292491"/>
                  </a:cubicBezTo>
                  <a:cubicBezTo>
                    <a:pt x="66215" y="294146"/>
                    <a:pt x="41385" y="283111"/>
                    <a:pt x="23727" y="264901"/>
                  </a:cubicBezTo>
                  <a:cubicBezTo>
                    <a:pt x="4966" y="246692"/>
                    <a:pt x="0" y="215240"/>
                    <a:pt x="0" y="169993"/>
                  </a:cubicBezTo>
                  <a:lnTo>
                    <a:pt x="0" y="1698"/>
                  </a:lnTo>
                  <a:lnTo>
                    <a:pt x="3273" y="0"/>
                  </a:lnTo>
                  <a:lnTo>
                    <a:pt x="74297" y="90396"/>
                  </a:lnTo>
                  <a:lnTo>
                    <a:pt x="74492" y="117574"/>
                  </a:lnTo>
                  <a:cubicBezTo>
                    <a:pt x="72836" y="148474"/>
                    <a:pt x="77802" y="179926"/>
                    <a:pt x="87734" y="209171"/>
                  </a:cubicBezTo>
                  <a:cubicBezTo>
                    <a:pt x="96564" y="233450"/>
                    <a:pt x="119187" y="245589"/>
                    <a:pt x="153949" y="245589"/>
                  </a:cubicBezTo>
                  <a:lnTo>
                    <a:pt x="191049" y="2389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2" name="Forme libre : forme 491">
              <a:extLst>
                <a:ext uri="{FF2B5EF4-FFF2-40B4-BE49-F238E27FC236}">
                  <a16:creationId xmlns:a16="http://schemas.microsoft.com/office/drawing/2014/main" id="{234A14C5-DCBF-4B3D-8912-C2966FB8FAA0}"/>
                </a:ext>
              </a:extLst>
            </p:cNvPr>
            <p:cNvSpPr/>
            <p:nvPr/>
          </p:nvSpPr>
          <p:spPr>
            <a:xfrm rot="8716295">
              <a:off x="24761" y="33896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3" name="Forme libre : forme 492">
              <a:extLst>
                <a:ext uri="{FF2B5EF4-FFF2-40B4-BE49-F238E27FC236}">
                  <a16:creationId xmlns:a16="http://schemas.microsoft.com/office/drawing/2014/main" id="{A8F20E36-ED7E-4DCB-8818-49A4A7E98BE7}"/>
                </a:ext>
              </a:extLst>
            </p:cNvPr>
            <p:cNvSpPr/>
            <p:nvPr/>
          </p:nvSpPr>
          <p:spPr>
            <a:xfrm rot="8716295">
              <a:off x="-24047" y="3281741"/>
              <a:ext cx="106042" cy="113733"/>
            </a:xfrm>
            <a:custGeom>
              <a:avLst/>
              <a:gdLst>
                <a:gd name="connsiteX0" fmla="*/ 17477 w 106042"/>
                <a:gd name="connsiteY0" fmla="*/ 101182 h 113733"/>
                <a:gd name="connsiteX1" fmla="*/ 0 w 106042"/>
                <a:gd name="connsiteY1" fmla="*/ 59790 h 113733"/>
                <a:gd name="connsiteX2" fmla="*/ 0 w 106042"/>
                <a:gd name="connsiteY2" fmla="*/ 58869 h 113733"/>
                <a:gd name="connsiteX3" fmla="*/ 17477 w 106042"/>
                <a:gd name="connsiteY3" fmla="*/ 17477 h 113733"/>
                <a:gd name="connsiteX4" fmla="*/ 58869 w 106042"/>
                <a:gd name="connsiteY4" fmla="*/ 0 h 113733"/>
                <a:gd name="connsiteX5" fmla="*/ 100262 w 106042"/>
                <a:gd name="connsiteY5" fmla="*/ 17477 h 113733"/>
                <a:gd name="connsiteX6" fmla="*/ 106042 w 106042"/>
                <a:gd name="connsiteY6" fmla="*/ 31234 h 113733"/>
                <a:gd name="connsiteX7" fmla="*/ 48856 w 106042"/>
                <a:gd name="connsiteY7" fmla="*/ 113733 h 11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042" h="113733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cubicBezTo>
                    <a:pt x="74507" y="0"/>
                    <a:pt x="89224" y="6439"/>
                    <a:pt x="100262" y="17477"/>
                  </a:cubicBezTo>
                  <a:lnTo>
                    <a:pt x="106042" y="31234"/>
                  </a:lnTo>
                  <a:lnTo>
                    <a:pt x="48856" y="1137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4" name="Forme libre : forme 493">
              <a:extLst>
                <a:ext uri="{FF2B5EF4-FFF2-40B4-BE49-F238E27FC236}">
                  <a16:creationId xmlns:a16="http://schemas.microsoft.com/office/drawing/2014/main" id="{521798C9-8778-477C-89ED-433CF02349E9}"/>
                </a:ext>
              </a:extLst>
            </p:cNvPr>
            <p:cNvSpPr/>
            <p:nvPr/>
          </p:nvSpPr>
          <p:spPr>
            <a:xfrm rot="8716295">
              <a:off x="-21924" y="3179872"/>
              <a:ext cx="45776" cy="62656"/>
            </a:xfrm>
            <a:custGeom>
              <a:avLst/>
              <a:gdLst>
                <a:gd name="connsiteX0" fmla="*/ 2345 w 45776"/>
                <a:gd name="connsiteY0" fmla="*/ 62656 h 62656"/>
                <a:gd name="connsiteX1" fmla="*/ 0 w 45776"/>
                <a:gd name="connsiteY1" fmla="*/ 57104 h 62656"/>
                <a:gd name="connsiteX2" fmla="*/ 0 w 45776"/>
                <a:gd name="connsiteY2" fmla="*/ 56183 h 62656"/>
                <a:gd name="connsiteX3" fmla="*/ 17477 w 45776"/>
                <a:gd name="connsiteY3" fmla="*/ 14791 h 62656"/>
                <a:gd name="connsiteX4" fmla="*/ 36449 w 45776"/>
                <a:gd name="connsiteY4" fmla="*/ 1913 h 62656"/>
                <a:gd name="connsiteX5" fmla="*/ 45776 w 45776"/>
                <a:gd name="connsiteY5" fmla="*/ 0 h 62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776" h="62656">
                  <a:moveTo>
                    <a:pt x="2345" y="62656"/>
                  </a:moveTo>
                  <a:lnTo>
                    <a:pt x="0" y="57104"/>
                  </a:lnTo>
                  <a:lnTo>
                    <a:pt x="0" y="56183"/>
                  </a:lnTo>
                  <a:cubicBezTo>
                    <a:pt x="0" y="40547"/>
                    <a:pt x="6439" y="25829"/>
                    <a:pt x="17477" y="14791"/>
                  </a:cubicBezTo>
                  <a:cubicBezTo>
                    <a:pt x="22996" y="9272"/>
                    <a:pt x="29435" y="4903"/>
                    <a:pt x="36449" y="1913"/>
                  </a:cubicBezTo>
                  <a:lnTo>
                    <a:pt x="4577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5" name="Forme libre : forme 494">
              <a:extLst>
                <a:ext uri="{FF2B5EF4-FFF2-40B4-BE49-F238E27FC236}">
                  <a16:creationId xmlns:a16="http://schemas.microsoft.com/office/drawing/2014/main" id="{BB8A2107-7C61-4B85-8EFA-ABA59720E5DB}"/>
                </a:ext>
              </a:extLst>
            </p:cNvPr>
            <p:cNvSpPr/>
            <p:nvPr/>
          </p:nvSpPr>
          <p:spPr>
            <a:xfrm rot="8716295">
              <a:off x="592036" y="5123131"/>
              <a:ext cx="56900" cy="40151"/>
            </a:xfrm>
            <a:custGeom>
              <a:avLst/>
              <a:gdLst>
                <a:gd name="connsiteX0" fmla="*/ 13826 w 56900"/>
                <a:gd name="connsiteY0" fmla="*/ 23593 h 40151"/>
                <a:gd name="connsiteX1" fmla="*/ 948 w 56900"/>
                <a:gd name="connsiteY1" fmla="*/ 4622 h 40151"/>
                <a:gd name="connsiteX2" fmla="*/ 0 w 56900"/>
                <a:gd name="connsiteY2" fmla="*/ 0 h 40151"/>
                <a:gd name="connsiteX3" fmla="*/ 56900 w 56900"/>
                <a:gd name="connsiteY3" fmla="*/ 39441 h 40151"/>
                <a:gd name="connsiteX4" fmla="*/ 55218 w 56900"/>
                <a:gd name="connsiteY4" fmla="*/ 40151 h 40151"/>
                <a:gd name="connsiteX5" fmla="*/ 13826 w 56900"/>
                <a:gd name="connsiteY5" fmla="*/ 23593 h 40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900" h="40151">
                  <a:moveTo>
                    <a:pt x="13826" y="23593"/>
                  </a:moveTo>
                  <a:cubicBezTo>
                    <a:pt x="8307" y="18074"/>
                    <a:pt x="3938" y="11636"/>
                    <a:pt x="948" y="4622"/>
                  </a:cubicBezTo>
                  <a:lnTo>
                    <a:pt x="0" y="0"/>
                  </a:lnTo>
                  <a:lnTo>
                    <a:pt x="56900" y="39441"/>
                  </a:lnTo>
                  <a:lnTo>
                    <a:pt x="55218" y="40151"/>
                  </a:lnTo>
                  <a:cubicBezTo>
                    <a:pt x="39581" y="40151"/>
                    <a:pt x="24864" y="34631"/>
                    <a:pt x="13826" y="2359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6" name="Forme libre : forme 495">
              <a:extLst>
                <a:ext uri="{FF2B5EF4-FFF2-40B4-BE49-F238E27FC236}">
                  <a16:creationId xmlns:a16="http://schemas.microsoft.com/office/drawing/2014/main" id="{7E303E9D-76C1-4789-8C9D-5012551E179C}"/>
                </a:ext>
              </a:extLst>
            </p:cNvPr>
            <p:cNvSpPr/>
            <p:nvPr/>
          </p:nvSpPr>
          <p:spPr>
            <a:xfrm rot="8716295">
              <a:off x="-21324" y="4100649"/>
              <a:ext cx="79113" cy="50123"/>
            </a:xfrm>
            <a:custGeom>
              <a:avLst/>
              <a:gdLst>
                <a:gd name="connsiteX0" fmla="*/ 0 w 79113"/>
                <a:gd name="connsiteY0" fmla="*/ 50123 h 50123"/>
                <a:gd name="connsiteX1" fmla="*/ 0 w 79113"/>
                <a:gd name="connsiteY1" fmla="*/ 0 h 50123"/>
                <a:gd name="connsiteX2" fmla="*/ 79113 w 79113"/>
                <a:gd name="connsiteY2" fmla="*/ 0 h 50123"/>
                <a:gd name="connsiteX3" fmla="*/ 44369 w 79113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113" h="50123">
                  <a:moveTo>
                    <a:pt x="0" y="50123"/>
                  </a:moveTo>
                  <a:lnTo>
                    <a:pt x="0" y="0"/>
                  </a:lnTo>
                  <a:lnTo>
                    <a:pt x="79113" y="0"/>
                  </a:lnTo>
                  <a:lnTo>
                    <a:pt x="44369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7" name="Forme libre : forme 496">
              <a:extLst>
                <a:ext uri="{FF2B5EF4-FFF2-40B4-BE49-F238E27FC236}">
                  <a16:creationId xmlns:a16="http://schemas.microsoft.com/office/drawing/2014/main" id="{02FDD4B8-F673-41A9-915D-2FF1DD6CBE6F}"/>
                </a:ext>
              </a:extLst>
            </p:cNvPr>
            <p:cNvSpPr/>
            <p:nvPr/>
          </p:nvSpPr>
          <p:spPr>
            <a:xfrm rot="8716295">
              <a:off x="-40457" y="398156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8" name="Forme libre : forme 497">
              <a:extLst>
                <a:ext uri="{FF2B5EF4-FFF2-40B4-BE49-F238E27FC236}">
                  <a16:creationId xmlns:a16="http://schemas.microsoft.com/office/drawing/2014/main" id="{DBB3B685-0513-450E-A467-E28F77542517}"/>
                </a:ext>
              </a:extLst>
            </p:cNvPr>
            <p:cNvSpPr/>
            <p:nvPr/>
          </p:nvSpPr>
          <p:spPr>
            <a:xfrm rot="7484129">
              <a:off x="-46974" y="427316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9" name="Forme libre : forme 498">
              <a:extLst>
                <a:ext uri="{FF2B5EF4-FFF2-40B4-BE49-F238E27FC236}">
                  <a16:creationId xmlns:a16="http://schemas.microsoft.com/office/drawing/2014/main" id="{C5419776-A8A1-4E3C-9093-D945DA9FAC68}"/>
                </a:ext>
              </a:extLst>
            </p:cNvPr>
            <p:cNvSpPr/>
            <p:nvPr/>
          </p:nvSpPr>
          <p:spPr>
            <a:xfrm rot="13089394">
              <a:off x="57846" y="423970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0" name="Forme libre : forme 499">
              <a:extLst>
                <a:ext uri="{FF2B5EF4-FFF2-40B4-BE49-F238E27FC236}">
                  <a16:creationId xmlns:a16="http://schemas.microsoft.com/office/drawing/2014/main" id="{F97D67FD-E4E6-48C4-AEFE-555D34A356DE}"/>
                </a:ext>
              </a:extLst>
            </p:cNvPr>
            <p:cNvSpPr/>
            <p:nvPr/>
          </p:nvSpPr>
          <p:spPr>
            <a:xfrm rot="8716295">
              <a:off x="243431" y="404801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1" name="Forme libre : forme 500">
              <a:extLst>
                <a:ext uri="{FF2B5EF4-FFF2-40B4-BE49-F238E27FC236}">
                  <a16:creationId xmlns:a16="http://schemas.microsoft.com/office/drawing/2014/main" id="{BCE94871-8BA1-45A9-8930-C2F42EF9B5F3}"/>
                </a:ext>
              </a:extLst>
            </p:cNvPr>
            <p:cNvSpPr/>
            <p:nvPr/>
          </p:nvSpPr>
          <p:spPr>
            <a:xfrm rot="8716295">
              <a:off x="191626" y="39444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2" name="Forme libre : forme 501">
              <a:extLst>
                <a:ext uri="{FF2B5EF4-FFF2-40B4-BE49-F238E27FC236}">
                  <a16:creationId xmlns:a16="http://schemas.microsoft.com/office/drawing/2014/main" id="{04CBAE1D-449E-47DE-9709-A831A36DA439}"/>
                </a:ext>
              </a:extLst>
            </p:cNvPr>
            <p:cNvSpPr/>
            <p:nvPr/>
          </p:nvSpPr>
          <p:spPr>
            <a:xfrm rot="8716295">
              <a:off x="125832" y="381540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3" name="Forme libre : forme 502">
              <a:extLst>
                <a:ext uri="{FF2B5EF4-FFF2-40B4-BE49-F238E27FC236}">
                  <a16:creationId xmlns:a16="http://schemas.microsoft.com/office/drawing/2014/main" id="{2F83938F-B075-4593-8D11-BBF0A979A7C6}"/>
                </a:ext>
              </a:extLst>
            </p:cNvPr>
            <p:cNvSpPr/>
            <p:nvPr/>
          </p:nvSpPr>
          <p:spPr>
            <a:xfrm rot="8716295">
              <a:off x="-73048" y="4876828"/>
              <a:ext cx="221382" cy="253349"/>
            </a:xfrm>
            <a:custGeom>
              <a:avLst/>
              <a:gdLst>
                <a:gd name="connsiteX0" fmla="*/ 51490 w 221382"/>
                <a:gd name="connsiteY0" fmla="*/ 253349 h 253349"/>
                <a:gd name="connsiteX1" fmla="*/ 51490 w 221382"/>
                <a:gd name="connsiteY1" fmla="*/ 44199 h 253349"/>
                <a:gd name="connsiteX2" fmla="*/ 0 w 221382"/>
                <a:gd name="connsiteY2" fmla="*/ 44199 h 253349"/>
                <a:gd name="connsiteX3" fmla="*/ 0 w 221382"/>
                <a:gd name="connsiteY3" fmla="*/ 0 h 253349"/>
                <a:gd name="connsiteX4" fmla="*/ 104803 w 221382"/>
                <a:gd name="connsiteY4" fmla="*/ 0 h 253349"/>
                <a:gd name="connsiteX5" fmla="*/ 104802 w 221382"/>
                <a:gd name="connsiteY5" fmla="*/ 73817 h 253349"/>
                <a:gd name="connsiteX6" fmla="*/ 106169 w 221382"/>
                <a:gd name="connsiteY6" fmla="*/ 73817 h 253349"/>
                <a:gd name="connsiteX7" fmla="*/ 154014 w 221382"/>
                <a:gd name="connsiteY7" fmla="*/ 4556 h 253349"/>
                <a:gd name="connsiteX8" fmla="*/ 174650 w 221382"/>
                <a:gd name="connsiteY8" fmla="*/ 668 h 253349"/>
                <a:gd name="connsiteX9" fmla="*/ 214075 w 221382"/>
                <a:gd name="connsiteY9" fmla="*/ 27996 h 253349"/>
                <a:gd name="connsiteX10" fmla="*/ 221382 w 221382"/>
                <a:gd name="connsiteY10" fmla="*/ 33060 h 253349"/>
                <a:gd name="connsiteX11" fmla="*/ 195540 w 221382"/>
                <a:gd name="connsiteY11" fmla="*/ 70341 h 253349"/>
                <a:gd name="connsiteX12" fmla="*/ 189157 w 221382"/>
                <a:gd name="connsiteY12" fmla="*/ 50236 h 253349"/>
                <a:gd name="connsiteX13" fmla="*/ 164950 w 221382"/>
                <a:gd name="connsiteY13" fmla="*/ 38731 h 253349"/>
                <a:gd name="connsiteX14" fmla="*/ 111638 w 221382"/>
                <a:gd name="connsiteY14" fmla="*/ 126218 h 253349"/>
                <a:gd name="connsiteX15" fmla="*/ 111638 w 221382"/>
                <a:gd name="connsiteY15" fmla="*/ 191383 h 253349"/>
                <a:gd name="connsiteX16" fmla="*/ 84096 w 221382"/>
                <a:gd name="connsiteY16" fmla="*/ 231117 h 253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1382" h="253349">
                  <a:moveTo>
                    <a:pt x="51490" y="253349"/>
                  </a:moveTo>
                  <a:lnTo>
                    <a:pt x="51490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104803" y="0"/>
                  </a:lnTo>
                  <a:lnTo>
                    <a:pt x="104802" y="73817"/>
                  </a:lnTo>
                  <a:lnTo>
                    <a:pt x="106169" y="73817"/>
                  </a:lnTo>
                  <a:cubicBezTo>
                    <a:pt x="120751" y="30529"/>
                    <a:pt x="132142" y="13670"/>
                    <a:pt x="154014" y="4556"/>
                  </a:cubicBezTo>
                  <a:lnTo>
                    <a:pt x="174650" y="668"/>
                  </a:lnTo>
                  <a:lnTo>
                    <a:pt x="214075" y="27996"/>
                  </a:lnTo>
                  <a:lnTo>
                    <a:pt x="221382" y="33060"/>
                  </a:lnTo>
                  <a:lnTo>
                    <a:pt x="195540" y="70341"/>
                  </a:lnTo>
                  <a:lnTo>
                    <a:pt x="189157" y="50236"/>
                  </a:lnTo>
                  <a:cubicBezTo>
                    <a:pt x="183177" y="42946"/>
                    <a:pt x="174747" y="38731"/>
                    <a:pt x="164950" y="38731"/>
                  </a:cubicBezTo>
                  <a:cubicBezTo>
                    <a:pt x="135788" y="38731"/>
                    <a:pt x="111638" y="77463"/>
                    <a:pt x="111638" y="126218"/>
                  </a:cubicBezTo>
                  <a:lnTo>
                    <a:pt x="111638" y="191383"/>
                  </a:lnTo>
                  <a:lnTo>
                    <a:pt x="84096" y="2311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4" name="Forme libre : forme 503">
              <a:extLst>
                <a:ext uri="{FF2B5EF4-FFF2-40B4-BE49-F238E27FC236}">
                  <a16:creationId xmlns:a16="http://schemas.microsoft.com/office/drawing/2014/main" id="{BCB8F26A-8D9E-4DAA-BBEC-C72C4F89205F}"/>
                </a:ext>
              </a:extLst>
            </p:cNvPr>
            <p:cNvSpPr/>
            <p:nvPr/>
          </p:nvSpPr>
          <p:spPr>
            <a:xfrm rot="8716295">
              <a:off x="93318" y="46120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5" name="Forme libre : forme 504">
              <a:extLst>
                <a:ext uri="{FF2B5EF4-FFF2-40B4-BE49-F238E27FC236}">
                  <a16:creationId xmlns:a16="http://schemas.microsoft.com/office/drawing/2014/main" id="{81732388-5ACB-454A-B491-3EF6429CC57C}"/>
                </a:ext>
              </a:extLst>
            </p:cNvPr>
            <p:cNvSpPr/>
            <p:nvPr/>
          </p:nvSpPr>
          <p:spPr>
            <a:xfrm rot="8716295">
              <a:off x="182710" y="46412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6" name="Forme libre : forme 505">
              <a:extLst>
                <a:ext uri="{FF2B5EF4-FFF2-40B4-BE49-F238E27FC236}">
                  <a16:creationId xmlns:a16="http://schemas.microsoft.com/office/drawing/2014/main" id="{7C87F3BF-43A4-45FA-839A-23BBD5B5D4BE}"/>
                </a:ext>
              </a:extLst>
            </p:cNvPr>
            <p:cNvSpPr/>
            <p:nvPr/>
          </p:nvSpPr>
          <p:spPr>
            <a:xfrm rot="8716295">
              <a:off x="-14524" y="4699631"/>
              <a:ext cx="49997" cy="54238"/>
            </a:xfrm>
            <a:custGeom>
              <a:avLst/>
              <a:gdLst>
                <a:gd name="connsiteX0" fmla="*/ 8658 w 49997"/>
                <a:gd name="connsiteY0" fmla="*/ 50123 h 54238"/>
                <a:gd name="connsiteX1" fmla="*/ 0 w 49997"/>
                <a:gd name="connsiteY1" fmla="*/ 29619 h 54238"/>
                <a:gd name="connsiteX2" fmla="*/ 0 w 49997"/>
                <a:gd name="connsiteY2" fmla="*/ 29162 h 54238"/>
                <a:gd name="connsiteX3" fmla="*/ 8658 w 49997"/>
                <a:gd name="connsiteY3" fmla="*/ 8658 h 54238"/>
                <a:gd name="connsiteX4" fmla="*/ 29163 w 49997"/>
                <a:gd name="connsiteY4" fmla="*/ 0 h 54238"/>
                <a:gd name="connsiteX5" fmla="*/ 49668 w 49997"/>
                <a:gd name="connsiteY5" fmla="*/ 8658 h 54238"/>
                <a:gd name="connsiteX6" fmla="*/ 49997 w 49997"/>
                <a:gd name="connsiteY6" fmla="*/ 9441 h 54238"/>
                <a:gd name="connsiteX7" fmla="*/ 18945 w 49997"/>
                <a:gd name="connsiteY7" fmla="*/ 54238 h 54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997" h="54238">
                  <a:moveTo>
                    <a:pt x="8658" y="50123"/>
                  </a:moveTo>
                  <a:cubicBezTo>
                    <a:pt x="3190" y="44655"/>
                    <a:pt x="0" y="37365"/>
                    <a:pt x="0" y="29619"/>
                  </a:cubicBezTo>
                  <a:lnTo>
                    <a:pt x="0" y="29162"/>
                  </a:lnTo>
                  <a:cubicBezTo>
                    <a:pt x="0" y="21417"/>
                    <a:pt x="3190" y="14126"/>
                    <a:pt x="8658" y="8658"/>
                  </a:cubicBezTo>
                  <a:cubicBezTo>
                    <a:pt x="14126" y="3190"/>
                    <a:pt x="21416" y="0"/>
                    <a:pt x="29163" y="0"/>
                  </a:cubicBezTo>
                  <a:cubicBezTo>
                    <a:pt x="36909" y="0"/>
                    <a:pt x="44200" y="3190"/>
                    <a:pt x="49668" y="8658"/>
                  </a:cubicBezTo>
                  <a:lnTo>
                    <a:pt x="49997" y="9441"/>
                  </a:lnTo>
                  <a:lnTo>
                    <a:pt x="18945" y="54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7" name="Forme libre : forme 506">
              <a:extLst>
                <a:ext uri="{FF2B5EF4-FFF2-40B4-BE49-F238E27FC236}">
                  <a16:creationId xmlns:a16="http://schemas.microsoft.com/office/drawing/2014/main" id="{462FB9FF-D95F-4684-BB21-FBBABD5DD31F}"/>
                </a:ext>
              </a:extLst>
            </p:cNvPr>
            <p:cNvSpPr/>
            <p:nvPr/>
          </p:nvSpPr>
          <p:spPr>
            <a:xfrm rot="8716295">
              <a:off x="-30327" y="4579755"/>
              <a:ext cx="113346" cy="71024"/>
            </a:xfrm>
            <a:custGeom>
              <a:avLst/>
              <a:gdLst>
                <a:gd name="connsiteX0" fmla="*/ 0 w 113346"/>
                <a:gd name="connsiteY0" fmla="*/ 55323 h 71024"/>
                <a:gd name="connsiteX1" fmla="*/ 0 w 113346"/>
                <a:gd name="connsiteY1" fmla="*/ 0 h 71024"/>
                <a:gd name="connsiteX2" fmla="*/ 113346 w 113346"/>
                <a:gd name="connsiteY2" fmla="*/ 0 h 71024"/>
                <a:gd name="connsiteX3" fmla="*/ 64114 w 113346"/>
                <a:gd name="connsiteY3" fmla="*/ 71024 h 71024"/>
                <a:gd name="connsiteX4" fmla="*/ 69777 w 113346"/>
                <a:gd name="connsiteY4" fmla="*/ 55323 h 7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346" h="71024">
                  <a:moveTo>
                    <a:pt x="0" y="55323"/>
                  </a:moveTo>
                  <a:lnTo>
                    <a:pt x="0" y="0"/>
                  </a:lnTo>
                  <a:lnTo>
                    <a:pt x="113346" y="0"/>
                  </a:lnTo>
                  <a:lnTo>
                    <a:pt x="64114" y="71024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8" name="Forme libre : forme 507">
              <a:extLst>
                <a:ext uri="{FF2B5EF4-FFF2-40B4-BE49-F238E27FC236}">
                  <a16:creationId xmlns:a16="http://schemas.microsoft.com/office/drawing/2014/main" id="{67567764-034B-4A90-A05F-295129068706}"/>
                </a:ext>
              </a:extLst>
            </p:cNvPr>
            <p:cNvSpPr/>
            <p:nvPr/>
          </p:nvSpPr>
          <p:spPr>
            <a:xfrm rot="8716295">
              <a:off x="71262" y="47415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9" name="Forme libre : forme 508">
              <a:extLst>
                <a:ext uri="{FF2B5EF4-FFF2-40B4-BE49-F238E27FC236}">
                  <a16:creationId xmlns:a16="http://schemas.microsoft.com/office/drawing/2014/main" id="{0224BB71-E49A-401D-8E10-A43693404F59}"/>
                </a:ext>
              </a:extLst>
            </p:cNvPr>
            <p:cNvSpPr/>
            <p:nvPr/>
          </p:nvSpPr>
          <p:spPr>
            <a:xfrm rot="7484129">
              <a:off x="172059" y="493353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170341 w 203847"/>
                <a:gd name="connsiteY5" fmla="*/ 0 h 195874"/>
                <a:gd name="connsiteX6" fmla="*/ 203847 w 203847"/>
                <a:gd name="connsiteY6" fmla="*/ 48325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170341" y="0"/>
                  </a:lnTo>
                  <a:lnTo>
                    <a:pt x="203847" y="48325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0" name="Forme libre : forme 509">
              <a:extLst>
                <a:ext uri="{FF2B5EF4-FFF2-40B4-BE49-F238E27FC236}">
                  <a16:creationId xmlns:a16="http://schemas.microsoft.com/office/drawing/2014/main" id="{02C7DC92-22CE-4278-8FF3-A3AB1608AA63}"/>
                </a:ext>
              </a:extLst>
            </p:cNvPr>
            <p:cNvSpPr/>
            <p:nvPr/>
          </p:nvSpPr>
          <p:spPr>
            <a:xfrm rot="13089394">
              <a:off x="313263" y="4907079"/>
              <a:ext cx="272584" cy="221720"/>
            </a:xfrm>
            <a:custGeom>
              <a:avLst/>
              <a:gdLst>
                <a:gd name="connsiteX0" fmla="*/ 272584 w 272584"/>
                <a:gd name="connsiteY0" fmla="*/ 150928 h 221720"/>
                <a:gd name="connsiteX1" fmla="*/ 91597 w 272584"/>
                <a:gd name="connsiteY1" fmla="*/ 221557 h 221720"/>
                <a:gd name="connsiteX2" fmla="*/ 23727 w 272584"/>
                <a:gd name="connsiteY2" fmla="*/ 193967 h 221720"/>
                <a:gd name="connsiteX3" fmla="*/ 0 w 272584"/>
                <a:gd name="connsiteY3" fmla="*/ 99060 h 221720"/>
                <a:gd name="connsiteX4" fmla="*/ 0 w 272584"/>
                <a:gd name="connsiteY4" fmla="*/ 58265 h 221720"/>
                <a:gd name="connsiteX5" fmla="*/ 74157 w 272584"/>
                <a:gd name="connsiteY5" fmla="*/ 0 h 221720"/>
                <a:gd name="connsiteX6" fmla="*/ 74492 w 272584"/>
                <a:gd name="connsiteY6" fmla="*/ 46640 h 221720"/>
                <a:gd name="connsiteX7" fmla="*/ 87734 w 272584"/>
                <a:gd name="connsiteY7" fmla="*/ 138237 h 221720"/>
                <a:gd name="connsiteX8" fmla="*/ 153949 w 272584"/>
                <a:gd name="connsiteY8" fmla="*/ 174655 h 221720"/>
                <a:gd name="connsiteX9" fmla="*/ 203610 w 272584"/>
                <a:gd name="connsiteY9" fmla="*/ 165826 h 221720"/>
                <a:gd name="connsiteX10" fmla="*/ 271480 w 272584"/>
                <a:gd name="connsiteY10" fmla="*/ 138237 h 221720"/>
                <a:gd name="connsiteX11" fmla="*/ 272584 w 272584"/>
                <a:gd name="connsiteY11" fmla="*/ 145410 h 22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2584" h="221720">
                  <a:moveTo>
                    <a:pt x="272584" y="150928"/>
                  </a:moveTo>
                  <a:cubicBezTo>
                    <a:pt x="214094" y="201141"/>
                    <a:pt x="137395" y="218798"/>
                    <a:pt x="91597" y="221557"/>
                  </a:cubicBezTo>
                  <a:cubicBezTo>
                    <a:pt x="66215" y="223213"/>
                    <a:pt x="41384" y="212177"/>
                    <a:pt x="23727" y="193967"/>
                  </a:cubicBezTo>
                  <a:cubicBezTo>
                    <a:pt x="4966" y="175759"/>
                    <a:pt x="0" y="144306"/>
                    <a:pt x="0" y="99060"/>
                  </a:cubicBezTo>
                  <a:lnTo>
                    <a:pt x="0" y="58265"/>
                  </a:lnTo>
                  <a:lnTo>
                    <a:pt x="74157" y="0"/>
                  </a:lnTo>
                  <a:lnTo>
                    <a:pt x="74492" y="46640"/>
                  </a:lnTo>
                  <a:cubicBezTo>
                    <a:pt x="72836" y="77540"/>
                    <a:pt x="77802" y="108992"/>
                    <a:pt x="87734" y="138237"/>
                  </a:cubicBezTo>
                  <a:cubicBezTo>
                    <a:pt x="96563" y="162515"/>
                    <a:pt x="119186" y="174655"/>
                    <a:pt x="153949" y="174655"/>
                  </a:cubicBezTo>
                  <a:cubicBezTo>
                    <a:pt x="171055" y="174103"/>
                    <a:pt x="187608" y="170792"/>
                    <a:pt x="203610" y="165826"/>
                  </a:cubicBezTo>
                  <a:cubicBezTo>
                    <a:pt x="226785" y="158653"/>
                    <a:pt x="249409" y="149273"/>
                    <a:pt x="271480" y="138237"/>
                  </a:cubicBezTo>
                  <a:cubicBezTo>
                    <a:pt x="272032" y="140444"/>
                    <a:pt x="272584" y="143203"/>
                    <a:pt x="272584" y="1454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1" name="Forme libre : forme 510">
              <a:extLst>
                <a:ext uri="{FF2B5EF4-FFF2-40B4-BE49-F238E27FC236}">
                  <a16:creationId xmlns:a16="http://schemas.microsoft.com/office/drawing/2014/main" id="{2684AFDD-CDE2-41B8-A59C-E03D9F5FB899}"/>
                </a:ext>
              </a:extLst>
            </p:cNvPr>
            <p:cNvSpPr/>
            <p:nvPr/>
          </p:nvSpPr>
          <p:spPr>
            <a:xfrm rot="8716295">
              <a:off x="466598" y="470771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2" name="Forme libre : forme 511">
              <a:extLst>
                <a:ext uri="{FF2B5EF4-FFF2-40B4-BE49-F238E27FC236}">
                  <a16:creationId xmlns:a16="http://schemas.microsoft.com/office/drawing/2014/main" id="{874191D1-5A8A-4106-89BC-E4DE3F05FDFC}"/>
                </a:ext>
              </a:extLst>
            </p:cNvPr>
            <p:cNvSpPr/>
            <p:nvPr/>
          </p:nvSpPr>
          <p:spPr>
            <a:xfrm rot="8716295">
              <a:off x="414793" y="460412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3" name="Forme libre : forme 512">
              <a:extLst>
                <a:ext uri="{FF2B5EF4-FFF2-40B4-BE49-F238E27FC236}">
                  <a16:creationId xmlns:a16="http://schemas.microsoft.com/office/drawing/2014/main" id="{8D49479A-E710-4758-BEAF-44161F8FF530}"/>
                </a:ext>
              </a:extLst>
            </p:cNvPr>
            <p:cNvSpPr/>
            <p:nvPr/>
          </p:nvSpPr>
          <p:spPr>
            <a:xfrm rot="8716295">
              <a:off x="171547" y="46343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4" name="Forme libre : forme 513">
              <a:extLst>
                <a:ext uri="{FF2B5EF4-FFF2-40B4-BE49-F238E27FC236}">
                  <a16:creationId xmlns:a16="http://schemas.microsoft.com/office/drawing/2014/main" id="{0D3E5977-ABDE-469A-8B37-82662D2EE7DA}"/>
                </a:ext>
              </a:extLst>
            </p:cNvPr>
            <p:cNvSpPr/>
            <p:nvPr/>
          </p:nvSpPr>
          <p:spPr>
            <a:xfrm rot="8716295">
              <a:off x="348999" y="44751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528" name="Espace réservé du texte 527">
            <a:extLst>
              <a:ext uri="{FF2B5EF4-FFF2-40B4-BE49-F238E27FC236}">
                <a16:creationId xmlns:a16="http://schemas.microsoft.com/office/drawing/2014/main" id="{6A8E0876-8CB4-4156-A0C1-0BC7361D1C40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429470" y="3802408"/>
            <a:ext cx="108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29" name="Espace réservé du texte 528">
            <a:extLst>
              <a:ext uri="{FF2B5EF4-FFF2-40B4-BE49-F238E27FC236}">
                <a16:creationId xmlns:a16="http://schemas.microsoft.com/office/drawing/2014/main" id="{20C5F896-3CE3-44F8-B5B2-F667F9101641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1512561" y="3802408"/>
            <a:ext cx="108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31" name="Espace réservé du texte 530">
            <a:extLst>
              <a:ext uri="{FF2B5EF4-FFF2-40B4-BE49-F238E27FC236}">
                <a16:creationId xmlns:a16="http://schemas.microsoft.com/office/drawing/2014/main" id="{70ADA97F-36B2-42A5-9506-18C5EA9C6E0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3993" y="482179"/>
            <a:ext cx="2495932" cy="302805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24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3pPr>
            <a:lvl4pPr marL="0" indent="0">
              <a:buNone/>
              <a:defRPr sz="1000">
                <a:solidFill>
                  <a:schemeClr val="bg1"/>
                </a:solidFill>
              </a:defRPr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Niveau 2</a:t>
            </a:r>
          </a:p>
          <a:p>
            <a:pPr lvl="2"/>
            <a:r>
              <a:rPr lang="fr-FR" dirty="0"/>
              <a:t>Niveau 3</a:t>
            </a:r>
          </a:p>
          <a:p>
            <a:pPr lvl="3"/>
            <a:r>
              <a:rPr lang="fr-FR" dirty="0"/>
              <a:t>Niveau 4</a:t>
            </a:r>
          </a:p>
        </p:txBody>
      </p:sp>
      <p:sp>
        <p:nvSpPr>
          <p:cNvPr id="517" name="Espace réservé du numéro de diapositive 516">
            <a:extLst>
              <a:ext uri="{FF2B5EF4-FFF2-40B4-BE49-F238E27FC236}">
                <a16:creationId xmlns:a16="http://schemas.microsoft.com/office/drawing/2014/main" id="{D493D9E0-D7BE-4D71-A32F-50FDBE8AC3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48000" y="2811362"/>
            <a:ext cx="519702" cy="2332138"/>
          </a:xfrm>
          <a:custGeom>
            <a:avLst/>
            <a:gdLst>
              <a:gd name="connsiteX0" fmla="*/ 198551 w 519702"/>
              <a:gd name="connsiteY0" fmla="*/ 0 h 2332138"/>
              <a:gd name="connsiteX1" fmla="*/ 519702 w 519702"/>
              <a:gd name="connsiteY1" fmla="*/ 2332138 h 2332138"/>
              <a:gd name="connsiteX2" fmla="*/ 0 w 519702"/>
              <a:gd name="connsiteY2" fmla="*/ 2332138 h 2332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19702" h="2332138">
                <a:moveTo>
                  <a:pt x="198551" y="0"/>
                </a:moveTo>
                <a:lnTo>
                  <a:pt x="519702" y="2332138"/>
                </a:lnTo>
                <a:lnTo>
                  <a:pt x="0" y="233213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180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795555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ayures / Texte +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que 1">
            <a:extLst>
              <a:ext uri="{FF2B5EF4-FFF2-40B4-BE49-F238E27FC236}">
                <a16:creationId xmlns:a16="http://schemas.microsoft.com/office/drawing/2014/main" id="{66D8F75D-5A38-42AF-8BDE-EAA8F19867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3416312" cy="5143500"/>
          </a:xfrm>
          <a:prstGeom prst="rect">
            <a:avLst/>
          </a:prstGeom>
        </p:spPr>
      </p:pic>
      <p:sp>
        <p:nvSpPr>
          <p:cNvPr id="521" name="Espace réservé pour une image  520">
            <a:extLst>
              <a:ext uri="{FF2B5EF4-FFF2-40B4-BE49-F238E27FC236}">
                <a16:creationId xmlns:a16="http://schemas.microsoft.com/office/drawing/2014/main" id="{B8DAB854-64EB-4DD7-A364-5485ED453A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246551" y="-1"/>
            <a:ext cx="5897449" cy="5143501"/>
          </a:xfrm>
          <a:custGeom>
            <a:avLst/>
            <a:gdLst>
              <a:gd name="connsiteX0" fmla="*/ 0 w 6088062"/>
              <a:gd name="connsiteY0" fmla="*/ 0 h 5143501"/>
              <a:gd name="connsiteX1" fmla="*/ 6088062 w 6088062"/>
              <a:gd name="connsiteY1" fmla="*/ 0 h 5143501"/>
              <a:gd name="connsiteX2" fmla="*/ 6088062 w 6088062"/>
              <a:gd name="connsiteY2" fmla="*/ 5143501 h 5143501"/>
              <a:gd name="connsiteX3" fmla="*/ 511764 w 6088062"/>
              <a:gd name="connsiteY3" fmla="*/ 5143501 h 5143501"/>
              <a:gd name="connsiteX4" fmla="*/ 190613 w 6088062"/>
              <a:gd name="connsiteY4" fmla="*/ 2811363 h 5143501"/>
              <a:gd name="connsiteX5" fmla="*/ 429964 w 6088062"/>
              <a:gd name="connsiteY5" fmla="*/ 1 h 5143501"/>
              <a:gd name="connsiteX6" fmla="*/ 0 w 6088062"/>
              <a:gd name="connsiteY6" fmla="*/ 1 h 5143501"/>
              <a:gd name="connsiteX0" fmla="*/ 0 w 6088062"/>
              <a:gd name="connsiteY0" fmla="*/ 1 h 5143501"/>
              <a:gd name="connsiteX1" fmla="*/ 6088062 w 6088062"/>
              <a:gd name="connsiteY1" fmla="*/ 0 h 5143501"/>
              <a:gd name="connsiteX2" fmla="*/ 6088062 w 6088062"/>
              <a:gd name="connsiteY2" fmla="*/ 5143501 h 5143501"/>
              <a:gd name="connsiteX3" fmla="*/ 511764 w 6088062"/>
              <a:gd name="connsiteY3" fmla="*/ 5143501 h 5143501"/>
              <a:gd name="connsiteX4" fmla="*/ 190613 w 6088062"/>
              <a:gd name="connsiteY4" fmla="*/ 2811363 h 5143501"/>
              <a:gd name="connsiteX5" fmla="*/ 429964 w 6088062"/>
              <a:gd name="connsiteY5" fmla="*/ 1 h 5143501"/>
              <a:gd name="connsiteX6" fmla="*/ 0 w 6088062"/>
              <a:gd name="connsiteY6" fmla="*/ 1 h 5143501"/>
              <a:gd name="connsiteX0" fmla="*/ 239351 w 5897449"/>
              <a:gd name="connsiteY0" fmla="*/ 1 h 5143501"/>
              <a:gd name="connsiteX1" fmla="*/ 5897449 w 5897449"/>
              <a:gd name="connsiteY1" fmla="*/ 0 h 5143501"/>
              <a:gd name="connsiteX2" fmla="*/ 5897449 w 5897449"/>
              <a:gd name="connsiteY2" fmla="*/ 5143501 h 5143501"/>
              <a:gd name="connsiteX3" fmla="*/ 321151 w 5897449"/>
              <a:gd name="connsiteY3" fmla="*/ 5143501 h 5143501"/>
              <a:gd name="connsiteX4" fmla="*/ 0 w 5897449"/>
              <a:gd name="connsiteY4" fmla="*/ 2811363 h 5143501"/>
              <a:gd name="connsiteX5" fmla="*/ 239351 w 5897449"/>
              <a:gd name="connsiteY5" fmla="*/ 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97449" h="5143501">
                <a:moveTo>
                  <a:pt x="239351" y="1"/>
                </a:moveTo>
                <a:lnTo>
                  <a:pt x="5897449" y="0"/>
                </a:lnTo>
                <a:lnTo>
                  <a:pt x="5897449" y="5143501"/>
                </a:lnTo>
                <a:lnTo>
                  <a:pt x="321151" y="5143501"/>
                </a:lnTo>
                <a:lnTo>
                  <a:pt x="0" y="2811363"/>
                </a:lnTo>
                <a:lnTo>
                  <a:pt x="239351" y="1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528" name="Espace réservé du texte 527">
            <a:extLst>
              <a:ext uri="{FF2B5EF4-FFF2-40B4-BE49-F238E27FC236}">
                <a16:creationId xmlns:a16="http://schemas.microsoft.com/office/drawing/2014/main" id="{6A8E0876-8CB4-4156-A0C1-0BC7361D1C40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429470" y="3802408"/>
            <a:ext cx="108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29" name="Espace réservé du texte 528">
            <a:extLst>
              <a:ext uri="{FF2B5EF4-FFF2-40B4-BE49-F238E27FC236}">
                <a16:creationId xmlns:a16="http://schemas.microsoft.com/office/drawing/2014/main" id="{20C5F896-3CE3-44F8-B5B2-F667F9101641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1512561" y="3802408"/>
            <a:ext cx="108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31" name="Espace réservé du texte 530">
            <a:extLst>
              <a:ext uri="{FF2B5EF4-FFF2-40B4-BE49-F238E27FC236}">
                <a16:creationId xmlns:a16="http://schemas.microsoft.com/office/drawing/2014/main" id="{70ADA97F-36B2-42A5-9506-18C5EA9C6E0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3993" y="482179"/>
            <a:ext cx="2495932" cy="302805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24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3pPr>
            <a:lvl4pPr marL="0" indent="0">
              <a:buNone/>
              <a:defRPr sz="1000">
                <a:solidFill>
                  <a:schemeClr val="bg1"/>
                </a:solidFill>
              </a:defRPr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Niveau 2</a:t>
            </a:r>
          </a:p>
          <a:p>
            <a:pPr lvl="2"/>
            <a:r>
              <a:rPr lang="fr-FR" dirty="0"/>
              <a:t>Niveau 3</a:t>
            </a:r>
          </a:p>
          <a:p>
            <a:pPr lvl="3"/>
            <a:r>
              <a:rPr lang="fr-FR" dirty="0"/>
              <a:t>Niveau 4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29405B57-1CDE-4EE7-A0BA-3013851436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48000" y="2811362"/>
            <a:ext cx="519702" cy="2332138"/>
          </a:xfrm>
          <a:custGeom>
            <a:avLst/>
            <a:gdLst>
              <a:gd name="connsiteX0" fmla="*/ 198551 w 519702"/>
              <a:gd name="connsiteY0" fmla="*/ 0 h 2332138"/>
              <a:gd name="connsiteX1" fmla="*/ 519702 w 519702"/>
              <a:gd name="connsiteY1" fmla="*/ 2332138 h 2332138"/>
              <a:gd name="connsiteX2" fmla="*/ 0 w 519702"/>
              <a:gd name="connsiteY2" fmla="*/ 2332138 h 2332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19702" h="2332138">
                <a:moveTo>
                  <a:pt x="198551" y="0"/>
                </a:moveTo>
                <a:lnTo>
                  <a:pt x="519702" y="2332138"/>
                </a:lnTo>
                <a:lnTo>
                  <a:pt x="0" y="233213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180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715058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&amp; Réseaux sociaux - Fond foncé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Rectangle 123">
            <a:hlinkClick r:id="rId2"/>
            <a:extLst>
              <a:ext uri="{FF2B5EF4-FFF2-40B4-BE49-F238E27FC236}">
                <a16:creationId xmlns:a16="http://schemas.microsoft.com/office/drawing/2014/main" id="{35F4AE06-723F-4907-A0C1-25C2A55668EF}"/>
              </a:ext>
            </a:extLst>
          </p:cNvPr>
          <p:cNvSpPr/>
          <p:nvPr userDrawn="1"/>
        </p:nvSpPr>
        <p:spPr>
          <a:xfrm>
            <a:off x="3294590" y="1121624"/>
            <a:ext cx="90922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prstClr val="white"/>
                </a:solidFill>
              </a:rPr>
              <a:t>@</a:t>
            </a:r>
            <a:r>
              <a:rPr lang="fr-FR" sz="800" dirty="0" err="1">
                <a:solidFill>
                  <a:prstClr val="white"/>
                </a:solidFill>
              </a:rPr>
              <a:t>univbordeaux</a:t>
            </a:r>
            <a:endParaRPr lang="fr-FR" sz="800" dirty="0">
              <a:solidFill>
                <a:prstClr val="white"/>
              </a:solidFill>
            </a:endParaRPr>
          </a:p>
        </p:txBody>
      </p:sp>
      <p:pic>
        <p:nvPicPr>
          <p:cNvPr id="125" name="Graphique 124">
            <a:hlinkClick r:id="rId2"/>
            <a:extLst>
              <a:ext uri="{FF2B5EF4-FFF2-40B4-BE49-F238E27FC236}">
                <a16:creationId xmlns:a16="http://schemas.microsoft.com/office/drawing/2014/main" id="{C6FD32D5-7851-419E-B042-2C17E6452CA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69202" y="702273"/>
            <a:ext cx="360000" cy="360000"/>
          </a:xfrm>
          <a:prstGeom prst="rect">
            <a:avLst/>
          </a:prstGeom>
        </p:spPr>
      </p:pic>
      <p:pic>
        <p:nvPicPr>
          <p:cNvPr id="126" name="Graphique 125">
            <a:hlinkClick r:id="rId5"/>
            <a:extLst>
              <a:ext uri="{FF2B5EF4-FFF2-40B4-BE49-F238E27FC236}">
                <a16:creationId xmlns:a16="http://schemas.microsoft.com/office/drawing/2014/main" id="{AC4BA783-078F-4C6E-BE4E-E143E9F636D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894972" y="702273"/>
            <a:ext cx="360000" cy="360000"/>
          </a:xfrm>
          <a:prstGeom prst="rect">
            <a:avLst/>
          </a:prstGeom>
        </p:spPr>
      </p:pic>
      <p:sp>
        <p:nvSpPr>
          <p:cNvPr id="127" name="Rectangle 126">
            <a:hlinkClick r:id="rId5"/>
            <a:extLst>
              <a:ext uri="{FF2B5EF4-FFF2-40B4-BE49-F238E27FC236}">
                <a16:creationId xmlns:a16="http://schemas.microsoft.com/office/drawing/2014/main" id="{0DEFADA8-A00E-42F6-AAA8-08025CB38A01}"/>
              </a:ext>
            </a:extLst>
          </p:cNvPr>
          <p:cNvSpPr/>
          <p:nvPr userDrawn="1"/>
        </p:nvSpPr>
        <p:spPr>
          <a:xfrm>
            <a:off x="6620360" y="1121624"/>
            <a:ext cx="90922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prstClr val="white"/>
                </a:solidFill>
              </a:rPr>
              <a:t>@</a:t>
            </a:r>
            <a:r>
              <a:rPr lang="fr-FR" sz="800" dirty="0" err="1">
                <a:solidFill>
                  <a:prstClr val="white"/>
                </a:solidFill>
              </a:rPr>
              <a:t>univbordeaux</a:t>
            </a:r>
            <a:endParaRPr lang="fr-FR" sz="800" dirty="0">
              <a:solidFill>
                <a:prstClr val="white"/>
              </a:solidFill>
            </a:endParaRPr>
          </a:p>
        </p:txBody>
      </p:sp>
      <p:sp>
        <p:nvSpPr>
          <p:cNvPr id="128" name="Rectangle 127">
            <a:hlinkClick r:id="rId8"/>
            <a:extLst>
              <a:ext uri="{FF2B5EF4-FFF2-40B4-BE49-F238E27FC236}">
                <a16:creationId xmlns:a16="http://schemas.microsoft.com/office/drawing/2014/main" id="{43060483-BA3F-4429-9DB5-CBA75DDBC66C}"/>
              </a:ext>
            </a:extLst>
          </p:cNvPr>
          <p:cNvSpPr/>
          <p:nvPr userDrawn="1"/>
        </p:nvSpPr>
        <p:spPr>
          <a:xfrm>
            <a:off x="2277866" y="2154670"/>
            <a:ext cx="127631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prstClr val="white"/>
                </a:solidFill>
              </a:rPr>
              <a:t>@</a:t>
            </a:r>
            <a:r>
              <a:rPr lang="fr-FR" sz="800" dirty="0" err="1">
                <a:solidFill>
                  <a:prstClr val="white"/>
                </a:solidFill>
              </a:rPr>
              <a:t>universitedebordeaux</a:t>
            </a:r>
            <a:endParaRPr lang="fr-FR" sz="800" dirty="0">
              <a:solidFill>
                <a:prstClr val="white"/>
              </a:solidFill>
            </a:endParaRPr>
          </a:p>
        </p:txBody>
      </p:sp>
      <p:pic>
        <p:nvPicPr>
          <p:cNvPr id="129" name="Graphique 128">
            <a:hlinkClick r:id="rId8"/>
            <a:extLst>
              <a:ext uri="{FF2B5EF4-FFF2-40B4-BE49-F238E27FC236}">
                <a16:creationId xmlns:a16="http://schemas.microsoft.com/office/drawing/2014/main" id="{64F997C0-D043-4AC6-968A-B1C30BBB2282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736022" y="1735319"/>
            <a:ext cx="360000" cy="360000"/>
          </a:xfrm>
          <a:prstGeom prst="rect">
            <a:avLst/>
          </a:prstGeom>
        </p:spPr>
      </p:pic>
      <p:pic>
        <p:nvPicPr>
          <p:cNvPr id="130" name="Graphique 129">
            <a:hlinkClick r:id="rId11"/>
            <a:extLst>
              <a:ext uri="{FF2B5EF4-FFF2-40B4-BE49-F238E27FC236}">
                <a16:creationId xmlns:a16="http://schemas.microsoft.com/office/drawing/2014/main" id="{83FCBC0C-46CD-4319-932E-4A574B930242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232820" y="702273"/>
            <a:ext cx="360000" cy="360000"/>
          </a:xfrm>
          <a:prstGeom prst="rect">
            <a:avLst/>
          </a:prstGeom>
        </p:spPr>
      </p:pic>
      <p:pic>
        <p:nvPicPr>
          <p:cNvPr id="131" name="Graphique 130">
            <a:hlinkClick r:id="rId14"/>
            <a:extLst>
              <a:ext uri="{FF2B5EF4-FFF2-40B4-BE49-F238E27FC236}">
                <a16:creationId xmlns:a16="http://schemas.microsoft.com/office/drawing/2014/main" id="{1819CD89-E770-4FC4-A88B-BD521AE63294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904363" y="702273"/>
            <a:ext cx="360000" cy="360000"/>
          </a:xfrm>
          <a:prstGeom prst="rect">
            <a:avLst/>
          </a:prstGeom>
        </p:spPr>
      </p:pic>
      <p:sp>
        <p:nvSpPr>
          <p:cNvPr id="132" name="Rectangle 131">
            <a:hlinkClick r:id="rId14"/>
            <a:extLst>
              <a:ext uri="{FF2B5EF4-FFF2-40B4-BE49-F238E27FC236}">
                <a16:creationId xmlns:a16="http://schemas.microsoft.com/office/drawing/2014/main" id="{FD3B5232-D5E9-44F0-9C33-33247F54B052}"/>
              </a:ext>
            </a:extLst>
          </p:cNvPr>
          <p:cNvSpPr/>
          <p:nvPr userDrawn="1"/>
        </p:nvSpPr>
        <p:spPr>
          <a:xfrm>
            <a:off x="1560019" y="1121624"/>
            <a:ext cx="104868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prstClr val="white"/>
                </a:solidFill>
              </a:rPr>
              <a:t>www.u-bordeaux.fr</a:t>
            </a:r>
          </a:p>
        </p:txBody>
      </p:sp>
      <p:pic>
        <p:nvPicPr>
          <p:cNvPr id="133" name="Graphique 132">
            <a:hlinkClick r:id="rId17"/>
            <a:extLst>
              <a:ext uri="{FF2B5EF4-FFF2-40B4-BE49-F238E27FC236}">
                <a16:creationId xmlns:a16="http://schemas.microsoft.com/office/drawing/2014/main" id="{5E1444FE-01A7-45A1-BCDA-AF5DE3864777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060942" y="1735319"/>
            <a:ext cx="360000" cy="360000"/>
          </a:xfrm>
          <a:prstGeom prst="rect">
            <a:avLst/>
          </a:prstGeom>
        </p:spPr>
      </p:pic>
      <p:pic>
        <p:nvPicPr>
          <p:cNvPr id="134" name="Graphique 133">
            <a:extLst>
              <a:ext uri="{FF2B5EF4-FFF2-40B4-BE49-F238E27FC236}">
                <a16:creationId xmlns:a16="http://schemas.microsoft.com/office/drawing/2014/main" id="{AE8061E4-BB31-415B-8A63-EE72EEB79D9C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4400221" y="1735319"/>
            <a:ext cx="360000" cy="360000"/>
          </a:xfrm>
          <a:prstGeom prst="rect">
            <a:avLst/>
          </a:prstGeom>
        </p:spPr>
      </p:pic>
      <p:sp>
        <p:nvSpPr>
          <p:cNvPr id="135" name="Rectangle 134">
            <a:extLst>
              <a:ext uri="{FF2B5EF4-FFF2-40B4-BE49-F238E27FC236}">
                <a16:creationId xmlns:a16="http://schemas.microsoft.com/office/drawing/2014/main" id="{C8AD63C4-784A-4776-9B5D-FA8BD25ACF8C}"/>
              </a:ext>
            </a:extLst>
          </p:cNvPr>
          <p:cNvSpPr/>
          <p:nvPr userDrawn="1"/>
        </p:nvSpPr>
        <p:spPr>
          <a:xfrm>
            <a:off x="4029281" y="2154670"/>
            <a:ext cx="108876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prstClr val="white"/>
                </a:solidFill>
              </a:rPr>
              <a:t>Appli mobile </a:t>
            </a:r>
            <a:r>
              <a:rPr lang="fr-FR" sz="800" dirty="0" err="1">
                <a:solidFill>
                  <a:prstClr val="white"/>
                </a:solidFill>
              </a:rPr>
              <a:t>U&amp;me</a:t>
            </a:r>
            <a:endParaRPr lang="fr-FR" sz="800" dirty="0">
              <a:solidFill>
                <a:prstClr val="white"/>
              </a:solidFill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26C582E0-BC44-4452-B431-ACC02FF3B9A7}"/>
              </a:ext>
            </a:extLst>
          </p:cNvPr>
          <p:cNvSpPr/>
          <p:nvPr userDrawn="1"/>
        </p:nvSpPr>
        <p:spPr>
          <a:xfrm>
            <a:off x="5780492" y="2154670"/>
            <a:ext cx="90922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prstClr val="white"/>
                </a:solidFill>
              </a:rPr>
              <a:t>@</a:t>
            </a:r>
            <a:r>
              <a:rPr lang="fr-FR" sz="800" dirty="0" err="1">
                <a:solidFill>
                  <a:prstClr val="white"/>
                </a:solidFill>
              </a:rPr>
              <a:t>univbordeaux</a:t>
            </a:r>
            <a:endParaRPr lang="fr-FR" sz="800" dirty="0">
              <a:solidFill>
                <a:prstClr val="white"/>
              </a:solidFill>
            </a:endParaRPr>
          </a:p>
        </p:txBody>
      </p:sp>
      <p:sp>
        <p:nvSpPr>
          <p:cNvPr id="137" name="Rectangle 136">
            <a:hlinkClick r:id="rId11"/>
            <a:extLst>
              <a:ext uri="{FF2B5EF4-FFF2-40B4-BE49-F238E27FC236}">
                <a16:creationId xmlns:a16="http://schemas.microsoft.com/office/drawing/2014/main" id="{191CC0A6-AEB3-4CFD-B3D3-4BB18C95F655}"/>
              </a:ext>
            </a:extLst>
          </p:cNvPr>
          <p:cNvSpPr/>
          <p:nvPr userDrawn="1"/>
        </p:nvSpPr>
        <p:spPr>
          <a:xfrm>
            <a:off x="4774665" y="1121624"/>
            <a:ext cx="127631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prstClr val="white"/>
                </a:solidFill>
              </a:rPr>
              <a:t>@</a:t>
            </a:r>
            <a:r>
              <a:rPr lang="fr-FR" sz="800" dirty="0" err="1">
                <a:solidFill>
                  <a:prstClr val="white"/>
                </a:solidFill>
              </a:rPr>
              <a:t>universitedebordeaux</a:t>
            </a:r>
            <a:endParaRPr lang="fr-FR" sz="800" dirty="0">
              <a:solidFill>
                <a:prstClr val="white"/>
              </a:solidFill>
            </a:endParaRPr>
          </a:p>
        </p:txBody>
      </p:sp>
      <p:pic>
        <p:nvPicPr>
          <p:cNvPr id="139" name="Graphique 138">
            <a:extLst>
              <a:ext uri="{FF2B5EF4-FFF2-40B4-BE49-F238E27FC236}">
                <a16:creationId xmlns:a16="http://schemas.microsoft.com/office/drawing/2014/main" id="{79773E20-FDC7-4245-9634-08A0DCC6FE2D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3242261" y="3601712"/>
            <a:ext cx="2659479" cy="793651"/>
          </a:xfrm>
          <a:prstGeom prst="rect">
            <a:avLst/>
          </a:prstGeom>
        </p:spPr>
      </p:pic>
      <p:sp>
        <p:nvSpPr>
          <p:cNvPr id="141" name="Espace réservé du texte 140">
            <a:extLst>
              <a:ext uri="{FF2B5EF4-FFF2-40B4-BE49-F238E27FC236}">
                <a16:creationId xmlns:a16="http://schemas.microsoft.com/office/drawing/2014/main" id="{EE880427-05D3-40E0-A2B2-744B3528ADE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4417" y="2973427"/>
            <a:ext cx="5915166" cy="31393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algn="ctr" defTabSz="457200">
              <a:buNone/>
              <a:defRPr lang="fr-FR" sz="1600" b="1" dirty="0" smtClean="0">
                <a:solidFill>
                  <a:schemeClr val="bg1"/>
                </a:solidFill>
              </a:defRPr>
            </a:lvl1pPr>
          </a:lstStyle>
          <a:p>
            <a:pPr marL="0" lvl="0" algn="ctr" defTabSz="457200"/>
            <a:r>
              <a:rPr lang="fr-FR" dirty="0"/>
              <a:t>Message / remerciement</a:t>
            </a:r>
          </a:p>
        </p:txBody>
      </p:sp>
      <p:sp>
        <p:nvSpPr>
          <p:cNvPr id="144" name="Espace réservé du texte 143">
            <a:extLst>
              <a:ext uri="{FF2B5EF4-FFF2-40B4-BE49-F238E27FC236}">
                <a16:creationId xmlns:a16="http://schemas.microsoft.com/office/drawing/2014/main" id="{C20905A2-6F02-47AA-AF2E-63158D48679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5689" y="1"/>
            <a:ext cx="457523" cy="2017735"/>
          </a:xfrm>
          <a:custGeom>
            <a:avLst/>
            <a:gdLst>
              <a:gd name="connsiteX0" fmla="*/ 0 w 457523"/>
              <a:gd name="connsiteY0" fmla="*/ 0 h 2017735"/>
              <a:gd name="connsiteX1" fmla="*/ 275802 w 457523"/>
              <a:gd name="connsiteY1" fmla="*/ 0 h 2017735"/>
              <a:gd name="connsiteX2" fmla="*/ 457523 w 457523"/>
              <a:gd name="connsiteY2" fmla="*/ 0 h 2017735"/>
              <a:gd name="connsiteX3" fmla="*/ 179667 w 457523"/>
              <a:gd name="connsiteY3" fmla="*/ 2017735 h 2017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7523" h="2017735">
                <a:moveTo>
                  <a:pt x="0" y="0"/>
                </a:moveTo>
                <a:lnTo>
                  <a:pt x="275802" y="0"/>
                </a:lnTo>
                <a:lnTo>
                  <a:pt x="457523" y="0"/>
                </a:lnTo>
                <a:lnTo>
                  <a:pt x="179667" y="2017735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grpSp>
        <p:nvGrpSpPr>
          <p:cNvPr id="267" name="Groupe 266">
            <a:extLst>
              <a:ext uri="{FF2B5EF4-FFF2-40B4-BE49-F238E27FC236}">
                <a16:creationId xmlns:a16="http://schemas.microsoft.com/office/drawing/2014/main" id="{5E1891F2-FAFB-45B7-ADB0-B4532A71DEC4}"/>
              </a:ext>
            </a:extLst>
          </p:cNvPr>
          <p:cNvGrpSpPr/>
          <p:nvPr userDrawn="1"/>
        </p:nvGrpSpPr>
        <p:grpSpPr>
          <a:xfrm flipV="1">
            <a:off x="-91485" y="12467"/>
            <a:ext cx="1008300" cy="5190499"/>
            <a:chOff x="-91485" y="-57106"/>
            <a:chExt cx="1008300" cy="5190499"/>
          </a:xfrm>
          <a:solidFill>
            <a:schemeClr val="bg2">
              <a:alpha val="10000"/>
            </a:schemeClr>
          </a:solidFill>
        </p:grpSpPr>
        <p:sp>
          <p:nvSpPr>
            <p:cNvPr id="268" name="Forme libre : forme 267">
              <a:extLst>
                <a:ext uri="{FF2B5EF4-FFF2-40B4-BE49-F238E27FC236}">
                  <a16:creationId xmlns:a16="http://schemas.microsoft.com/office/drawing/2014/main" id="{73F747AB-BDD9-4153-8A0F-81B6FADAE149}"/>
                </a:ext>
              </a:extLst>
            </p:cNvPr>
            <p:cNvSpPr/>
            <p:nvPr/>
          </p:nvSpPr>
          <p:spPr>
            <a:xfrm rot="8716295">
              <a:off x="617786" y="1780350"/>
              <a:ext cx="152726" cy="195873"/>
            </a:xfrm>
            <a:custGeom>
              <a:avLst/>
              <a:gdLst>
                <a:gd name="connsiteX0" fmla="*/ 39589 w 152726"/>
                <a:gd name="connsiteY0" fmla="*/ 195873 h 195873"/>
                <a:gd name="connsiteX1" fmla="*/ 0 w 152726"/>
                <a:gd name="connsiteY1" fmla="*/ 122219 h 195873"/>
                <a:gd name="connsiteX2" fmla="*/ 101089 w 152726"/>
                <a:gd name="connsiteY2" fmla="*/ 0 h 195873"/>
                <a:gd name="connsiteX3" fmla="*/ 152726 w 152726"/>
                <a:gd name="connsiteY3" fmla="*/ 0 h 195873"/>
                <a:gd name="connsiteX4" fmla="*/ 152726 w 152726"/>
                <a:gd name="connsiteY4" fmla="*/ 55323 h 195873"/>
                <a:gd name="connsiteX5" fmla="*/ 87934 w 152726"/>
                <a:gd name="connsiteY5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726" h="195873">
                  <a:moveTo>
                    <a:pt x="39589" y="195873"/>
                  </a:moveTo>
                  <a:lnTo>
                    <a:pt x="0" y="122219"/>
                  </a:lnTo>
                  <a:lnTo>
                    <a:pt x="101089" y="0"/>
                  </a:lnTo>
                  <a:lnTo>
                    <a:pt x="152726" y="0"/>
                  </a:lnTo>
                  <a:lnTo>
                    <a:pt x="152726" y="55323"/>
                  </a:lnTo>
                  <a:lnTo>
                    <a:pt x="87934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" name="Forme libre : forme 268">
              <a:extLst>
                <a:ext uri="{FF2B5EF4-FFF2-40B4-BE49-F238E27FC236}">
                  <a16:creationId xmlns:a16="http://schemas.microsoft.com/office/drawing/2014/main" id="{ABB68B3A-64E8-421E-A122-56A45C711E07}"/>
                </a:ext>
              </a:extLst>
            </p:cNvPr>
            <p:cNvSpPr/>
            <p:nvPr/>
          </p:nvSpPr>
          <p:spPr>
            <a:xfrm rot="8716295">
              <a:off x="534441" y="1654353"/>
              <a:ext cx="262864" cy="103234"/>
            </a:xfrm>
            <a:custGeom>
              <a:avLst/>
              <a:gdLst>
                <a:gd name="connsiteX0" fmla="*/ 0 w 262864"/>
                <a:gd name="connsiteY0" fmla="*/ 75341 h 103234"/>
                <a:gd name="connsiteX1" fmla="*/ 62316 w 262864"/>
                <a:gd name="connsiteY1" fmla="*/ 0 h 103234"/>
                <a:gd name="connsiteX2" fmla="*/ 65768 w 262864"/>
                <a:gd name="connsiteY2" fmla="*/ 14220 h 103234"/>
                <a:gd name="connsiteX3" fmla="*/ 136369 w 262864"/>
                <a:gd name="connsiteY3" fmla="*/ 53051 h 103234"/>
                <a:gd name="connsiteX4" fmla="*/ 189321 w 262864"/>
                <a:gd name="connsiteY4" fmla="*/ 43637 h 103234"/>
                <a:gd name="connsiteX5" fmla="*/ 261688 w 262864"/>
                <a:gd name="connsiteY5" fmla="*/ 14220 h 103234"/>
                <a:gd name="connsiteX6" fmla="*/ 262864 w 262864"/>
                <a:gd name="connsiteY6" fmla="*/ 21868 h 103234"/>
                <a:gd name="connsiteX7" fmla="*/ 262864 w 262864"/>
                <a:gd name="connsiteY7" fmla="*/ 27752 h 103234"/>
                <a:gd name="connsiteX8" fmla="*/ 69887 w 262864"/>
                <a:gd name="connsiteY8" fmla="*/ 103060 h 103234"/>
                <a:gd name="connsiteX9" fmla="*/ 30615 w 262864"/>
                <a:gd name="connsiteY9" fmla="*/ 96294 h 103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2864" h="103234">
                  <a:moveTo>
                    <a:pt x="0" y="75341"/>
                  </a:moveTo>
                  <a:lnTo>
                    <a:pt x="62316" y="0"/>
                  </a:lnTo>
                  <a:lnTo>
                    <a:pt x="65768" y="14220"/>
                  </a:lnTo>
                  <a:cubicBezTo>
                    <a:pt x="75182" y="40107"/>
                    <a:pt x="99304" y="53051"/>
                    <a:pt x="136369" y="53051"/>
                  </a:cubicBezTo>
                  <a:cubicBezTo>
                    <a:pt x="154609" y="52462"/>
                    <a:pt x="172259" y="48932"/>
                    <a:pt x="189321" y="43637"/>
                  </a:cubicBezTo>
                  <a:cubicBezTo>
                    <a:pt x="214031" y="35988"/>
                    <a:pt x="238154" y="25987"/>
                    <a:pt x="261688" y="14220"/>
                  </a:cubicBezTo>
                  <a:cubicBezTo>
                    <a:pt x="262276" y="16573"/>
                    <a:pt x="262864" y="19515"/>
                    <a:pt x="262864" y="21868"/>
                  </a:cubicBezTo>
                  <a:lnTo>
                    <a:pt x="262864" y="27752"/>
                  </a:lnTo>
                  <a:cubicBezTo>
                    <a:pt x="200500" y="81291"/>
                    <a:pt x="118719" y="100119"/>
                    <a:pt x="69887" y="103060"/>
                  </a:cubicBezTo>
                  <a:cubicBezTo>
                    <a:pt x="56355" y="103943"/>
                    <a:pt x="42970" y="101442"/>
                    <a:pt x="30615" y="9629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0" name="Forme libre : forme 269">
              <a:extLst>
                <a:ext uri="{FF2B5EF4-FFF2-40B4-BE49-F238E27FC236}">
                  <a16:creationId xmlns:a16="http://schemas.microsoft.com/office/drawing/2014/main" id="{053D4FF2-A9EA-4185-9507-77A0BB17DB0B}"/>
                </a:ext>
              </a:extLst>
            </p:cNvPr>
            <p:cNvSpPr/>
            <p:nvPr/>
          </p:nvSpPr>
          <p:spPr>
            <a:xfrm rot="8716295">
              <a:off x="632719" y="1232432"/>
              <a:ext cx="121558" cy="232388"/>
            </a:xfrm>
            <a:custGeom>
              <a:avLst/>
              <a:gdLst>
                <a:gd name="connsiteX0" fmla="*/ 60499 w 121558"/>
                <a:gd name="connsiteY0" fmla="*/ 232388 h 232388"/>
                <a:gd name="connsiteX1" fmla="*/ 60499 w 121558"/>
                <a:gd name="connsiteY1" fmla="*/ 69717 h 232388"/>
                <a:gd name="connsiteX2" fmla="*/ 60499 w 121558"/>
                <a:gd name="connsiteY2" fmla="*/ 65615 h 232388"/>
                <a:gd name="connsiteX3" fmla="*/ 39995 w 121558"/>
                <a:gd name="connsiteY3" fmla="*/ 50123 h 232388"/>
                <a:gd name="connsiteX4" fmla="*/ 0 w 121558"/>
                <a:gd name="connsiteY4" fmla="*/ 50123 h 232388"/>
                <a:gd name="connsiteX5" fmla="*/ 41457 w 121558"/>
                <a:gd name="connsiteY5" fmla="*/ 0 h 232388"/>
                <a:gd name="connsiteX6" fmla="*/ 64601 w 121558"/>
                <a:gd name="connsiteY6" fmla="*/ 0 h 232388"/>
                <a:gd name="connsiteX7" fmla="*/ 121558 w 121558"/>
                <a:gd name="connsiteY7" fmla="*/ 50123 h 232388"/>
                <a:gd name="connsiteX8" fmla="*/ 121558 w 121558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558" h="232388">
                  <a:moveTo>
                    <a:pt x="60499" y="232388"/>
                  </a:moveTo>
                  <a:lnTo>
                    <a:pt x="60499" y="69717"/>
                  </a:lnTo>
                  <a:cubicBezTo>
                    <a:pt x="60499" y="68349"/>
                    <a:pt x="60499" y="66983"/>
                    <a:pt x="60499" y="65615"/>
                  </a:cubicBezTo>
                  <a:cubicBezTo>
                    <a:pt x="59133" y="55591"/>
                    <a:pt x="50019" y="48756"/>
                    <a:pt x="39995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64601" y="0"/>
                  </a:lnTo>
                  <a:cubicBezTo>
                    <a:pt x="101509" y="0"/>
                    <a:pt x="121558" y="15948"/>
                    <a:pt x="121558" y="50123"/>
                  </a:cubicBezTo>
                  <a:lnTo>
                    <a:pt x="121558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1" name="Forme libre : forme 270">
              <a:extLst>
                <a:ext uri="{FF2B5EF4-FFF2-40B4-BE49-F238E27FC236}">
                  <a16:creationId xmlns:a16="http://schemas.microsoft.com/office/drawing/2014/main" id="{79A1F7C8-13AC-4C12-A1FD-013BA48F78A7}"/>
                </a:ext>
              </a:extLst>
            </p:cNvPr>
            <p:cNvSpPr/>
            <p:nvPr/>
          </p:nvSpPr>
          <p:spPr>
            <a:xfrm rot="8716295">
              <a:off x="763454" y="1474783"/>
              <a:ext cx="14143" cy="14319"/>
            </a:xfrm>
            <a:custGeom>
              <a:avLst/>
              <a:gdLst>
                <a:gd name="connsiteX0" fmla="*/ 0 w 14143"/>
                <a:gd name="connsiteY0" fmla="*/ 14319 h 14319"/>
                <a:gd name="connsiteX1" fmla="*/ 11843 w 14143"/>
                <a:gd name="connsiteY1" fmla="*/ 0 h 14319"/>
                <a:gd name="connsiteX2" fmla="*/ 14143 w 14143"/>
                <a:gd name="connsiteY2" fmla="*/ 7563 h 14319"/>
                <a:gd name="connsiteX3" fmla="*/ 14143 w 14143"/>
                <a:gd name="connsiteY3" fmla="*/ 13487 h 1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43" h="14319">
                  <a:moveTo>
                    <a:pt x="0" y="14319"/>
                  </a:moveTo>
                  <a:lnTo>
                    <a:pt x="11843" y="0"/>
                  </a:lnTo>
                  <a:lnTo>
                    <a:pt x="14143" y="7563"/>
                  </a:lnTo>
                  <a:lnTo>
                    <a:pt x="14143" y="1348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2" name="Forme libre : forme 271">
              <a:extLst>
                <a:ext uri="{FF2B5EF4-FFF2-40B4-BE49-F238E27FC236}">
                  <a16:creationId xmlns:a16="http://schemas.microsoft.com/office/drawing/2014/main" id="{C3E454D8-15B4-4672-8FB0-B86B805165E6}"/>
                </a:ext>
              </a:extLst>
            </p:cNvPr>
            <p:cNvSpPr/>
            <p:nvPr/>
          </p:nvSpPr>
          <p:spPr>
            <a:xfrm rot="8716295">
              <a:off x="672878" y="1171577"/>
              <a:ext cx="183964" cy="137618"/>
            </a:xfrm>
            <a:custGeom>
              <a:avLst/>
              <a:gdLst>
                <a:gd name="connsiteX0" fmla="*/ 0 w 183964"/>
                <a:gd name="connsiteY0" fmla="*/ 137618 h 137618"/>
                <a:gd name="connsiteX1" fmla="*/ 53346 w 183964"/>
                <a:gd name="connsiteY1" fmla="*/ 73121 h 137618"/>
                <a:gd name="connsiteX2" fmla="*/ 101034 w 183964"/>
                <a:gd name="connsiteY2" fmla="*/ 28251 h 137618"/>
                <a:gd name="connsiteX3" fmla="*/ 155713 w 183964"/>
                <a:gd name="connsiteY3" fmla="*/ 0 h 137618"/>
                <a:gd name="connsiteX4" fmla="*/ 183964 w 183964"/>
                <a:gd name="connsiteY4" fmla="*/ 33719 h 137618"/>
                <a:gd name="connsiteX5" fmla="*/ 157536 w 183964"/>
                <a:gd name="connsiteY5" fmla="*/ 69261 h 137618"/>
                <a:gd name="connsiteX6" fmla="*/ 157991 w 183964"/>
                <a:gd name="connsiteY6" fmla="*/ 69261 h 137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3964" h="137618">
                  <a:moveTo>
                    <a:pt x="0" y="137618"/>
                  </a:moveTo>
                  <a:lnTo>
                    <a:pt x="53346" y="73121"/>
                  </a:lnTo>
                  <a:lnTo>
                    <a:pt x="101034" y="28251"/>
                  </a:lnTo>
                  <a:cubicBezTo>
                    <a:pt x="114703" y="12303"/>
                    <a:pt x="134297" y="2278"/>
                    <a:pt x="155713" y="0"/>
                  </a:cubicBezTo>
                  <a:cubicBezTo>
                    <a:pt x="177585" y="0"/>
                    <a:pt x="183964" y="19138"/>
                    <a:pt x="183964" y="33719"/>
                  </a:cubicBezTo>
                  <a:cubicBezTo>
                    <a:pt x="182597" y="49667"/>
                    <a:pt x="172117" y="62881"/>
                    <a:pt x="157536" y="69261"/>
                  </a:cubicBezTo>
                  <a:lnTo>
                    <a:pt x="157991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3" name="Forme libre : forme 272">
              <a:extLst>
                <a:ext uri="{FF2B5EF4-FFF2-40B4-BE49-F238E27FC236}">
                  <a16:creationId xmlns:a16="http://schemas.microsoft.com/office/drawing/2014/main" id="{9C05EADF-BE0D-49AA-B420-B1EB4831C5FE}"/>
                </a:ext>
              </a:extLst>
            </p:cNvPr>
            <p:cNvSpPr/>
            <p:nvPr/>
          </p:nvSpPr>
          <p:spPr>
            <a:xfrm rot="8716295">
              <a:off x="519479" y="13148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4" name="Forme libre : forme 273">
              <a:extLst>
                <a:ext uri="{FF2B5EF4-FFF2-40B4-BE49-F238E27FC236}">
                  <a16:creationId xmlns:a16="http://schemas.microsoft.com/office/drawing/2014/main" id="{AB241E56-80DB-4C03-BDCB-013736737321}"/>
                </a:ext>
              </a:extLst>
            </p:cNvPr>
            <p:cNvSpPr/>
            <p:nvPr/>
          </p:nvSpPr>
          <p:spPr>
            <a:xfrm rot="8716295">
              <a:off x="394576" y="11061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5" name="Forme libre : forme 274">
              <a:extLst>
                <a:ext uri="{FF2B5EF4-FFF2-40B4-BE49-F238E27FC236}">
                  <a16:creationId xmlns:a16="http://schemas.microsoft.com/office/drawing/2014/main" id="{E447AC23-F520-414E-AA97-1E8F359564D9}"/>
                </a:ext>
              </a:extLst>
            </p:cNvPr>
            <p:cNvSpPr/>
            <p:nvPr/>
          </p:nvSpPr>
          <p:spPr>
            <a:xfrm rot="8716295">
              <a:off x="382524" y="96739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6" name="Forme libre : forme 275">
              <a:extLst>
                <a:ext uri="{FF2B5EF4-FFF2-40B4-BE49-F238E27FC236}">
                  <a16:creationId xmlns:a16="http://schemas.microsoft.com/office/drawing/2014/main" id="{64C6C88C-FD82-456D-9665-DF0FCE0E4C47}"/>
                </a:ext>
              </a:extLst>
            </p:cNvPr>
            <p:cNvSpPr/>
            <p:nvPr/>
          </p:nvSpPr>
          <p:spPr>
            <a:xfrm rot="8716295">
              <a:off x="609657" y="135579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7" name="Forme libre : forme 276">
              <a:extLst>
                <a:ext uri="{FF2B5EF4-FFF2-40B4-BE49-F238E27FC236}">
                  <a16:creationId xmlns:a16="http://schemas.microsoft.com/office/drawing/2014/main" id="{0A77A193-F583-4928-97AF-E64E8FF6DEAD}"/>
                </a:ext>
              </a:extLst>
            </p:cNvPr>
            <p:cNvSpPr/>
            <p:nvPr/>
          </p:nvSpPr>
          <p:spPr>
            <a:xfrm rot="8716295">
              <a:off x="683426" y="869567"/>
              <a:ext cx="156000" cy="195873"/>
            </a:xfrm>
            <a:custGeom>
              <a:avLst/>
              <a:gdLst>
                <a:gd name="connsiteX0" fmla="*/ 42863 w 156000"/>
                <a:gd name="connsiteY0" fmla="*/ 195873 h 195873"/>
                <a:gd name="connsiteX1" fmla="*/ 0 w 156000"/>
                <a:gd name="connsiteY1" fmla="*/ 116129 h 195873"/>
                <a:gd name="connsiteX2" fmla="*/ 5100 w 156000"/>
                <a:gd name="connsiteY2" fmla="*/ 101988 h 195873"/>
                <a:gd name="connsiteX3" fmla="*/ 89456 w 156000"/>
                <a:gd name="connsiteY3" fmla="*/ 0 h 195873"/>
                <a:gd name="connsiteX4" fmla="*/ 156000 w 156000"/>
                <a:gd name="connsiteY4" fmla="*/ 0 h 195873"/>
                <a:gd name="connsiteX5" fmla="*/ 156000 w 156000"/>
                <a:gd name="connsiteY5" fmla="*/ 55323 h 195873"/>
                <a:gd name="connsiteX6" fmla="*/ 91208 w 156000"/>
                <a:gd name="connsiteY6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000" h="195873">
                  <a:moveTo>
                    <a:pt x="42863" y="195873"/>
                  </a:moveTo>
                  <a:lnTo>
                    <a:pt x="0" y="116129"/>
                  </a:lnTo>
                  <a:lnTo>
                    <a:pt x="5100" y="101988"/>
                  </a:lnTo>
                  <a:lnTo>
                    <a:pt x="89456" y="0"/>
                  </a:lnTo>
                  <a:lnTo>
                    <a:pt x="156000" y="0"/>
                  </a:lnTo>
                  <a:lnTo>
                    <a:pt x="156000" y="55323"/>
                  </a:lnTo>
                  <a:lnTo>
                    <a:pt x="91208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8" name="Forme libre : forme 277">
              <a:extLst>
                <a:ext uri="{FF2B5EF4-FFF2-40B4-BE49-F238E27FC236}">
                  <a16:creationId xmlns:a16="http://schemas.microsoft.com/office/drawing/2014/main" id="{CF3F0AFD-D31B-4029-B3F3-E13BB8216AB9}"/>
                </a:ext>
              </a:extLst>
            </p:cNvPr>
            <p:cNvSpPr/>
            <p:nvPr/>
          </p:nvSpPr>
          <p:spPr>
            <a:xfrm rot="8716295">
              <a:off x="657305" y="95604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9" name="Forme libre : forme 278">
              <a:extLst>
                <a:ext uri="{FF2B5EF4-FFF2-40B4-BE49-F238E27FC236}">
                  <a16:creationId xmlns:a16="http://schemas.microsoft.com/office/drawing/2014/main" id="{4E0EA875-3BAB-4BDB-A5B0-808C38082217}"/>
                </a:ext>
              </a:extLst>
            </p:cNvPr>
            <p:cNvSpPr/>
            <p:nvPr/>
          </p:nvSpPr>
          <p:spPr>
            <a:xfrm rot="8716295">
              <a:off x="412774" y="56424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0" name="Forme libre : forme 279">
              <a:extLst>
                <a:ext uri="{FF2B5EF4-FFF2-40B4-BE49-F238E27FC236}">
                  <a16:creationId xmlns:a16="http://schemas.microsoft.com/office/drawing/2014/main" id="{842C3D6E-95C4-425C-8B38-D0EBD8DBD5E5}"/>
                </a:ext>
              </a:extLst>
            </p:cNvPr>
            <p:cNvSpPr/>
            <p:nvPr/>
          </p:nvSpPr>
          <p:spPr>
            <a:xfrm rot="8716295">
              <a:off x="502166" y="59348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1" name="Forme libre : forme 280">
              <a:extLst>
                <a:ext uri="{FF2B5EF4-FFF2-40B4-BE49-F238E27FC236}">
                  <a16:creationId xmlns:a16="http://schemas.microsoft.com/office/drawing/2014/main" id="{A75BA1B9-497A-4874-9158-409D833D072A}"/>
                </a:ext>
              </a:extLst>
            </p:cNvPr>
            <p:cNvSpPr/>
            <p:nvPr/>
          </p:nvSpPr>
          <p:spPr>
            <a:xfrm rot="8716295">
              <a:off x="457316" y="50720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2" name="Forme libre : forme 281">
              <a:extLst>
                <a:ext uri="{FF2B5EF4-FFF2-40B4-BE49-F238E27FC236}">
                  <a16:creationId xmlns:a16="http://schemas.microsoft.com/office/drawing/2014/main" id="{205B75CA-6160-44CB-AE0D-8B52A04FF9B7}"/>
                </a:ext>
              </a:extLst>
            </p:cNvPr>
            <p:cNvSpPr/>
            <p:nvPr/>
          </p:nvSpPr>
          <p:spPr>
            <a:xfrm rot="8716295">
              <a:off x="300540" y="65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3" name="Forme libre : forme 282">
              <a:extLst>
                <a:ext uri="{FF2B5EF4-FFF2-40B4-BE49-F238E27FC236}">
                  <a16:creationId xmlns:a16="http://schemas.microsoft.com/office/drawing/2014/main" id="{91186326-55D6-4548-B33F-3511BC925FE8}"/>
                </a:ext>
              </a:extLst>
            </p:cNvPr>
            <p:cNvSpPr/>
            <p:nvPr/>
          </p:nvSpPr>
          <p:spPr>
            <a:xfrm rot="8716295">
              <a:off x="175637" y="44411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4" name="Forme libre : forme 283">
              <a:extLst>
                <a:ext uri="{FF2B5EF4-FFF2-40B4-BE49-F238E27FC236}">
                  <a16:creationId xmlns:a16="http://schemas.microsoft.com/office/drawing/2014/main" id="{A2ED5F31-FCDD-430A-BE16-9B1EA12A7F4F}"/>
                </a:ext>
              </a:extLst>
            </p:cNvPr>
            <p:cNvSpPr/>
            <p:nvPr/>
          </p:nvSpPr>
          <p:spPr>
            <a:xfrm rot="8716295">
              <a:off x="163585" y="30533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5" name="Forme libre : forme 284">
              <a:extLst>
                <a:ext uri="{FF2B5EF4-FFF2-40B4-BE49-F238E27FC236}">
                  <a16:creationId xmlns:a16="http://schemas.microsoft.com/office/drawing/2014/main" id="{FEC22DEA-F709-420C-A439-1AC57EB74539}"/>
                </a:ext>
              </a:extLst>
            </p:cNvPr>
            <p:cNvSpPr/>
            <p:nvPr/>
          </p:nvSpPr>
          <p:spPr>
            <a:xfrm rot="8716295">
              <a:off x="390718" y="69374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6" name="Forme libre : forme 285">
              <a:extLst>
                <a:ext uri="{FF2B5EF4-FFF2-40B4-BE49-F238E27FC236}">
                  <a16:creationId xmlns:a16="http://schemas.microsoft.com/office/drawing/2014/main" id="{4DA790D9-C5B8-43BC-8AB6-4E888B07FAC5}"/>
                </a:ext>
              </a:extLst>
            </p:cNvPr>
            <p:cNvSpPr/>
            <p:nvPr/>
          </p:nvSpPr>
          <p:spPr>
            <a:xfrm rot="8716295">
              <a:off x="702015" y="317459"/>
              <a:ext cx="131260" cy="232388"/>
            </a:xfrm>
            <a:custGeom>
              <a:avLst/>
              <a:gdLst>
                <a:gd name="connsiteX0" fmla="*/ 70201 w 131260"/>
                <a:gd name="connsiteY0" fmla="*/ 232388 h 232388"/>
                <a:gd name="connsiteX1" fmla="*/ 70201 w 131260"/>
                <a:gd name="connsiteY1" fmla="*/ 69717 h 232388"/>
                <a:gd name="connsiteX2" fmla="*/ 70201 w 131260"/>
                <a:gd name="connsiteY2" fmla="*/ 65615 h 232388"/>
                <a:gd name="connsiteX3" fmla="*/ 49697 w 131260"/>
                <a:gd name="connsiteY3" fmla="*/ 50123 h 232388"/>
                <a:gd name="connsiteX4" fmla="*/ 0 w 131260"/>
                <a:gd name="connsiteY4" fmla="*/ 50123 h 232388"/>
                <a:gd name="connsiteX5" fmla="*/ 41457 w 131260"/>
                <a:gd name="connsiteY5" fmla="*/ 0 h 232388"/>
                <a:gd name="connsiteX6" fmla="*/ 74303 w 131260"/>
                <a:gd name="connsiteY6" fmla="*/ 0 h 232388"/>
                <a:gd name="connsiteX7" fmla="*/ 131260 w 131260"/>
                <a:gd name="connsiteY7" fmla="*/ 50123 h 232388"/>
                <a:gd name="connsiteX8" fmla="*/ 131260 w 131260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1260" h="232388">
                  <a:moveTo>
                    <a:pt x="70201" y="232388"/>
                  </a:moveTo>
                  <a:lnTo>
                    <a:pt x="70201" y="69717"/>
                  </a:lnTo>
                  <a:cubicBezTo>
                    <a:pt x="70201" y="68349"/>
                    <a:pt x="70201" y="66983"/>
                    <a:pt x="70201" y="65615"/>
                  </a:cubicBezTo>
                  <a:cubicBezTo>
                    <a:pt x="68835" y="55591"/>
                    <a:pt x="59721" y="48756"/>
                    <a:pt x="49697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74303" y="0"/>
                  </a:lnTo>
                  <a:cubicBezTo>
                    <a:pt x="111211" y="0"/>
                    <a:pt x="131260" y="15948"/>
                    <a:pt x="131260" y="50123"/>
                  </a:cubicBezTo>
                  <a:lnTo>
                    <a:pt x="131260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7" name="Forme libre : forme 286">
              <a:extLst>
                <a:ext uri="{FF2B5EF4-FFF2-40B4-BE49-F238E27FC236}">
                  <a16:creationId xmlns:a16="http://schemas.microsoft.com/office/drawing/2014/main" id="{091E5F9C-73C6-4CAB-93E5-EFA60788C51C}"/>
                </a:ext>
              </a:extLst>
            </p:cNvPr>
            <p:cNvSpPr/>
            <p:nvPr/>
          </p:nvSpPr>
          <p:spPr>
            <a:xfrm rot="8716295">
              <a:off x="834978" y="558357"/>
              <a:ext cx="24341" cy="23495"/>
            </a:xfrm>
            <a:custGeom>
              <a:avLst/>
              <a:gdLst>
                <a:gd name="connsiteX0" fmla="*/ 0 w 24341"/>
                <a:gd name="connsiteY0" fmla="*/ 23495 h 23495"/>
                <a:gd name="connsiteX1" fmla="*/ 19433 w 24341"/>
                <a:gd name="connsiteY1" fmla="*/ 0 h 23495"/>
                <a:gd name="connsiteX2" fmla="*/ 24341 w 24341"/>
                <a:gd name="connsiteY2" fmla="*/ 16139 h 23495"/>
                <a:gd name="connsiteX3" fmla="*/ 24341 w 24341"/>
                <a:gd name="connsiteY3" fmla="*/ 22063 h 23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41" h="23495">
                  <a:moveTo>
                    <a:pt x="0" y="23495"/>
                  </a:moveTo>
                  <a:lnTo>
                    <a:pt x="19433" y="0"/>
                  </a:lnTo>
                  <a:lnTo>
                    <a:pt x="24341" y="16139"/>
                  </a:lnTo>
                  <a:lnTo>
                    <a:pt x="24341" y="220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8" name="Forme libre : forme 287">
              <a:extLst>
                <a:ext uri="{FF2B5EF4-FFF2-40B4-BE49-F238E27FC236}">
                  <a16:creationId xmlns:a16="http://schemas.microsoft.com/office/drawing/2014/main" id="{93F3A654-B74E-499B-8487-8A2B2CC5A0EA}"/>
                </a:ext>
              </a:extLst>
            </p:cNvPr>
            <p:cNvSpPr/>
            <p:nvPr/>
          </p:nvSpPr>
          <p:spPr>
            <a:xfrm rot="8716295">
              <a:off x="589639" y="40263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9" name="Forme libre : forme 288">
              <a:extLst>
                <a:ext uri="{FF2B5EF4-FFF2-40B4-BE49-F238E27FC236}">
                  <a16:creationId xmlns:a16="http://schemas.microsoft.com/office/drawing/2014/main" id="{D0AE4335-4774-4A5C-9D6E-6AA33670DF96}"/>
                </a:ext>
              </a:extLst>
            </p:cNvPr>
            <p:cNvSpPr/>
            <p:nvPr/>
          </p:nvSpPr>
          <p:spPr>
            <a:xfrm rot="8716295">
              <a:off x="464737" y="19396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0" name="Forme libre : forme 289">
              <a:extLst>
                <a:ext uri="{FF2B5EF4-FFF2-40B4-BE49-F238E27FC236}">
                  <a16:creationId xmlns:a16="http://schemas.microsoft.com/office/drawing/2014/main" id="{2305D91E-CF26-4028-92DC-E2D20BB482D6}"/>
                </a:ext>
              </a:extLst>
            </p:cNvPr>
            <p:cNvSpPr/>
            <p:nvPr/>
          </p:nvSpPr>
          <p:spPr>
            <a:xfrm rot="8716295">
              <a:off x="679817" y="44358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1" name="Forme libre : forme 290">
              <a:extLst>
                <a:ext uri="{FF2B5EF4-FFF2-40B4-BE49-F238E27FC236}">
                  <a16:creationId xmlns:a16="http://schemas.microsoft.com/office/drawing/2014/main" id="{DF9C8202-D29B-450E-90FF-E46CAC2E7FA2}"/>
                </a:ext>
              </a:extLst>
            </p:cNvPr>
            <p:cNvSpPr/>
            <p:nvPr/>
          </p:nvSpPr>
          <p:spPr>
            <a:xfrm rot="8716295">
              <a:off x="438366" y="29398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2" name="Forme libre : forme 291">
              <a:extLst>
                <a:ext uri="{FF2B5EF4-FFF2-40B4-BE49-F238E27FC236}">
                  <a16:creationId xmlns:a16="http://schemas.microsoft.com/office/drawing/2014/main" id="{28FFA2F5-C74D-4918-B35E-56FAFD44D7DC}"/>
                </a:ext>
              </a:extLst>
            </p:cNvPr>
            <p:cNvSpPr/>
            <p:nvPr/>
          </p:nvSpPr>
          <p:spPr>
            <a:xfrm rot="7484129">
              <a:off x="811674" y="658874"/>
              <a:ext cx="31078" cy="46141"/>
            </a:xfrm>
            <a:custGeom>
              <a:avLst/>
              <a:gdLst>
                <a:gd name="connsiteX0" fmla="*/ 15207 w 31078"/>
                <a:gd name="connsiteY0" fmla="*/ 46141 h 46141"/>
                <a:gd name="connsiteX1" fmla="*/ 0 w 31078"/>
                <a:gd name="connsiteY1" fmla="*/ 17849 h 46141"/>
                <a:gd name="connsiteX2" fmla="*/ 31078 w 31078"/>
                <a:gd name="connsiteY2" fmla="*/ 0 h 46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078" h="46141">
                  <a:moveTo>
                    <a:pt x="15207" y="46141"/>
                  </a:moveTo>
                  <a:lnTo>
                    <a:pt x="0" y="17849"/>
                  </a:lnTo>
                  <a:lnTo>
                    <a:pt x="3107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3" name="Forme libre : forme 292">
              <a:extLst>
                <a:ext uri="{FF2B5EF4-FFF2-40B4-BE49-F238E27FC236}">
                  <a16:creationId xmlns:a16="http://schemas.microsoft.com/office/drawing/2014/main" id="{F7F1B592-6665-4DA1-B454-1D5C767BA63B}"/>
                </a:ext>
              </a:extLst>
            </p:cNvPr>
            <p:cNvSpPr/>
            <p:nvPr/>
          </p:nvSpPr>
          <p:spPr>
            <a:xfrm rot="8716295">
              <a:off x="780102" y="336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4" name="Forme libre : forme 293">
              <a:extLst>
                <a:ext uri="{FF2B5EF4-FFF2-40B4-BE49-F238E27FC236}">
                  <a16:creationId xmlns:a16="http://schemas.microsoft.com/office/drawing/2014/main" id="{33626504-CACB-4364-8AA4-F28F086A7B6A}"/>
                </a:ext>
              </a:extLst>
            </p:cNvPr>
            <p:cNvSpPr/>
            <p:nvPr/>
          </p:nvSpPr>
          <p:spPr>
            <a:xfrm rot="8716295">
              <a:off x="202348" y="-57106"/>
              <a:ext cx="142167" cy="186494"/>
            </a:xfrm>
            <a:custGeom>
              <a:avLst/>
              <a:gdLst>
                <a:gd name="connsiteX0" fmla="*/ 142167 w 142167"/>
                <a:gd name="connsiteY0" fmla="*/ 186494 h 186494"/>
                <a:gd name="connsiteX1" fmla="*/ 81108 w 142167"/>
                <a:gd name="connsiteY1" fmla="*/ 144170 h 186494"/>
                <a:gd name="connsiteX2" fmla="*/ 81108 w 142167"/>
                <a:gd name="connsiteY2" fmla="*/ 69717 h 186494"/>
                <a:gd name="connsiteX3" fmla="*/ 81108 w 142167"/>
                <a:gd name="connsiteY3" fmla="*/ 65615 h 186494"/>
                <a:gd name="connsiteX4" fmla="*/ 60603 w 142167"/>
                <a:gd name="connsiteY4" fmla="*/ 50123 h 186494"/>
                <a:gd name="connsiteX5" fmla="*/ 0 w 142167"/>
                <a:gd name="connsiteY5" fmla="*/ 50123 h 186494"/>
                <a:gd name="connsiteX6" fmla="*/ 0 w 142167"/>
                <a:gd name="connsiteY6" fmla="*/ 0 h 186494"/>
                <a:gd name="connsiteX7" fmla="*/ 85209 w 142167"/>
                <a:gd name="connsiteY7" fmla="*/ 0 h 186494"/>
                <a:gd name="connsiteX8" fmla="*/ 142167 w 142167"/>
                <a:gd name="connsiteY8" fmla="*/ 50123 h 186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86494">
                  <a:moveTo>
                    <a:pt x="142167" y="186494"/>
                  </a:moveTo>
                  <a:lnTo>
                    <a:pt x="81108" y="144170"/>
                  </a:lnTo>
                  <a:lnTo>
                    <a:pt x="81108" y="69717"/>
                  </a:lnTo>
                  <a:cubicBezTo>
                    <a:pt x="81108" y="68349"/>
                    <a:pt x="81108" y="66983"/>
                    <a:pt x="81108" y="65615"/>
                  </a:cubicBezTo>
                  <a:cubicBezTo>
                    <a:pt x="79741" y="55591"/>
                    <a:pt x="70628" y="48756"/>
                    <a:pt x="60603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5" name="Forme libre : forme 294">
              <a:extLst>
                <a:ext uri="{FF2B5EF4-FFF2-40B4-BE49-F238E27FC236}">
                  <a16:creationId xmlns:a16="http://schemas.microsoft.com/office/drawing/2014/main" id="{8B9EE4C0-9C2E-42BB-B294-381EB8F6C5DA}"/>
                </a:ext>
              </a:extLst>
            </p:cNvPr>
            <p:cNvSpPr/>
            <p:nvPr/>
          </p:nvSpPr>
          <p:spPr>
            <a:xfrm rot="8716295">
              <a:off x="298766" y="-5395"/>
              <a:ext cx="260639" cy="180054"/>
            </a:xfrm>
            <a:custGeom>
              <a:avLst/>
              <a:gdLst>
                <a:gd name="connsiteX0" fmla="*/ 111638 w 260639"/>
                <a:gd name="connsiteY0" fmla="*/ 180054 h 180054"/>
                <a:gd name="connsiteX1" fmla="*/ 51490 w 260639"/>
                <a:gd name="connsiteY1" fmla="*/ 138362 h 180054"/>
                <a:gd name="connsiteX2" fmla="*/ 51490 w 260639"/>
                <a:gd name="connsiteY2" fmla="*/ 45624 h 180054"/>
                <a:gd name="connsiteX3" fmla="*/ 0 w 260639"/>
                <a:gd name="connsiteY3" fmla="*/ 45624 h 180054"/>
                <a:gd name="connsiteX4" fmla="*/ 0 w 260639"/>
                <a:gd name="connsiteY4" fmla="*/ 1425 h 180054"/>
                <a:gd name="connsiteX5" fmla="*/ 104802 w 260639"/>
                <a:gd name="connsiteY5" fmla="*/ 1425 h 180054"/>
                <a:gd name="connsiteX6" fmla="*/ 104802 w 260639"/>
                <a:gd name="connsiteY6" fmla="*/ 75242 h 180054"/>
                <a:gd name="connsiteX7" fmla="*/ 106169 w 260639"/>
                <a:gd name="connsiteY7" fmla="*/ 75242 h 180054"/>
                <a:gd name="connsiteX8" fmla="*/ 154014 w 260639"/>
                <a:gd name="connsiteY8" fmla="*/ 5981 h 180054"/>
                <a:gd name="connsiteX9" fmla="*/ 185455 w 260639"/>
                <a:gd name="connsiteY9" fmla="*/ 57 h 180054"/>
                <a:gd name="connsiteX10" fmla="*/ 260639 w 260639"/>
                <a:gd name="connsiteY10" fmla="*/ 88456 h 180054"/>
                <a:gd name="connsiteX11" fmla="*/ 260639 w 260639"/>
                <a:gd name="connsiteY11" fmla="*/ 94380 h 180054"/>
                <a:gd name="connsiteX12" fmla="*/ 198669 w 260639"/>
                <a:gd name="connsiteY12" fmla="*/ 98025 h 180054"/>
                <a:gd name="connsiteX13" fmla="*/ 198669 w 260639"/>
                <a:gd name="connsiteY13" fmla="*/ 81621 h 180054"/>
                <a:gd name="connsiteX14" fmla="*/ 164950 w 260639"/>
                <a:gd name="connsiteY14" fmla="*/ 40156 h 180054"/>
                <a:gd name="connsiteX15" fmla="*/ 111638 w 260639"/>
                <a:gd name="connsiteY15" fmla="*/ 127643 h 180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0639" h="180054">
                  <a:moveTo>
                    <a:pt x="111638" y="180054"/>
                  </a:moveTo>
                  <a:lnTo>
                    <a:pt x="51490" y="138362"/>
                  </a:ln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6" name="Forme libre : forme 295">
              <a:extLst>
                <a:ext uri="{FF2B5EF4-FFF2-40B4-BE49-F238E27FC236}">
                  <a16:creationId xmlns:a16="http://schemas.microsoft.com/office/drawing/2014/main" id="{426417CD-8FE4-43C3-B84F-A51A46F7C7B1}"/>
                </a:ext>
              </a:extLst>
            </p:cNvPr>
            <p:cNvSpPr/>
            <p:nvPr/>
          </p:nvSpPr>
          <p:spPr>
            <a:xfrm rot="8716295">
              <a:off x="276903" y="-12823"/>
              <a:ext cx="36272" cy="27982"/>
            </a:xfrm>
            <a:custGeom>
              <a:avLst/>
              <a:gdLst>
                <a:gd name="connsiteX0" fmla="*/ 36272 w 36272"/>
                <a:gd name="connsiteY0" fmla="*/ 27982 h 27982"/>
                <a:gd name="connsiteX1" fmla="*/ 0 w 36272"/>
                <a:gd name="connsiteY1" fmla="*/ 2840 h 27982"/>
                <a:gd name="connsiteX2" fmla="*/ 9543 w 36272"/>
                <a:gd name="connsiteY2" fmla="*/ 0 h 27982"/>
                <a:gd name="connsiteX3" fmla="*/ 31871 w 36272"/>
                <a:gd name="connsiteY3" fmla="*/ 11392 h 27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272" h="27982">
                  <a:moveTo>
                    <a:pt x="36272" y="27982"/>
                  </a:moveTo>
                  <a:lnTo>
                    <a:pt x="0" y="2840"/>
                  </a:lnTo>
                  <a:lnTo>
                    <a:pt x="9543" y="0"/>
                  </a:lnTo>
                  <a:cubicBezTo>
                    <a:pt x="20479" y="0"/>
                    <a:pt x="27542" y="4784"/>
                    <a:pt x="31871" y="113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7" name="Forme libre : forme 296">
              <a:extLst>
                <a:ext uri="{FF2B5EF4-FFF2-40B4-BE49-F238E27FC236}">
                  <a16:creationId xmlns:a16="http://schemas.microsoft.com/office/drawing/2014/main" id="{2194BB82-FA83-4BF9-8EBD-D8D0328F9BDF}"/>
                </a:ext>
              </a:extLst>
            </p:cNvPr>
            <p:cNvSpPr/>
            <p:nvPr/>
          </p:nvSpPr>
          <p:spPr>
            <a:xfrm rot="8716295">
              <a:off x="74640" y="-9665"/>
              <a:ext cx="58068" cy="54772"/>
            </a:xfrm>
            <a:custGeom>
              <a:avLst/>
              <a:gdLst>
                <a:gd name="connsiteX0" fmla="*/ 37436 w 58068"/>
                <a:gd name="connsiteY0" fmla="*/ 54772 h 54772"/>
                <a:gd name="connsiteX1" fmla="*/ 0 w 58068"/>
                <a:gd name="connsiteY1" fmla="*/ 28823 h 54772"/>
                <a:gd name="connsiteX2" fmla="*/ 8515 w 58068"/>
                <a:gd name="connsiteY2" fmla="*/ 8658 h 54772"/>
                <a:gd name="connsiteX3" fmla="*/ 29020 w 58068"/>
                <a:gd name="connsiteY3" fmla="*/ 0 h 54772"/>
                <a:gd name="connsiteX4" fmla="*/ 49525 w 58068"/>
                <a:gd name="connsiteY4" fmla="*/ 8658 h 54772"/>
                <a:gd name="connsiteX5" fmla="*/ 49525 w 58068"/>
                <a:gd name="connsiteY5" fmla="*/ 49668 h 5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068" h="54772">
                  <a:moveTo>
                    <a:pt x="37436" y="54772"/>
                  </a:moveTo>
                  <a:lnTo>
                    <a:pt x="0" y="28823"/>
                  </a:lnTo>
                  <a:lnTo>
                    <a:pt x="8515" y="8658"/>
                  </a:lnTo>
                  <a:cubicBezTo>
                    <a:pt x="13983" y="3190"/>
                    <a:pt x="21273" y="0"/>
                    <a:pt x="29020" y="0"/>
                  </a:cubicBezTo>
                  <a:cubicBezTo>
                    <a:pt x="36766" y="0"/>
                    <a:pt x="44057" y="3190"/>
                    <a:pt x="49525" y="8658"/>
                  </a:cubicBezTo>
                  <a:cubicBezTo>
                    <a:pt x="60916" y="19594"/>
                    <a:pt x="60916" y="38276"/>
                    <a:pt x="49525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8" name="Forme libre : forme 297">
              <a:extLst>
                <a:ext uri="{FF2B5EF4-FFF2-40B4-BE49-F238E27FC236}">
                  <a16:creationId xmlns:a16="http://schemas.microsoft.com/office/drawing/2014/main" id="{1E2DA60E-6B88-4273-B8B8-20DC571CA2F9}"/>
                </a:ext>
              </a:extLst>
            </p:cNvPr>
            <p:cNvSpPr/>
            <p:nvPr/>
          </p:nvSpPr>
          <p:spPr>
            <a:xfrm rot="8716295">
              <a:off x="13802" y="-10406"/>
              <a:ext cx="30027" cy="20814"/>
            </a:xfrm>
            <a:custGeom>
              <a:avLst/>
              <a:gdLst>
                <a:gd name="connsiteX0" fmla="*/ 30027 w 30027"/>
                <a:gd name="connsiteY0" fmla="*/ 20814 h 20814"/>
                <a:gd name="connsiteX1" fmla="*/ 0 w 30027"/>
                <a:gd name="connsiteY1" fmla="*/ 0 h 20814"/>
                <a:gd name="connsiteX2" fmla="*/ 30027 w 30027"/>
                <a:gd name="connsiteY2" fmla="*/ 0 h 20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027" h="20814">
                  <a:moveTo>
                    <a:pt x="30027" y="20814"/>
                  </a:moveTo>
                  <a:lnTo>
                    <a:pt x="0" y="0"/>
                  </a:lnTo>
                  <a:lnTo>
                    <a:pt x="3002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9" name="Forme libre : forme 298">
              <a:extLst>
                <a:ext uri="{FF2B5EF4-FFF2-40B4-BE49-F238E27FC236}">
                  <a16:creationId xmlns:a16="http://schemas.microsoft.com/office/drawing/2014/main" id="{0B53881C-9CFA-4C7A-B7BB-D045B9F708A3}"/>
                </a:ext>
              </a:extLst>
            </p:cNvPr>
            <p:cNvSpPr/>
            <p:nvPr/>
          </p:nvSpPr>
          <p:spPr>
            <a:xfrm rot="8716295">
              <a:off x="168048" y="3032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0" name="Forme libre : forme 299">
              <a:extLst>
                <a:ext uri="{FF2B5EF4-FFF2-40B4-BE49-F238E27FC236}">
                  <a16:creationId xmlns:a16="http://schemas.microsoft.com/office/drawing/2014/main" id="{07B92E1C-0CE7-4A26-8278-C39DA02570AC}"/>
                </a:ext>
              </a:extLst>
            </p:cNvPr>
            <p:cNvSpPr/>
            <p:nvPr/>
          </p:nvSpPr>
          <p:spPr>
            <a:xfrm rot="7484129">
              <a:off x="562078" y="-284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1" name="Forme libre : forme 300">
              <a:extLst>
                <a:ext uri="{FF2B5EF4-FFF2-40B4-BE49-F238E27FC236}">
                  <a16:creationId xmlns:a16="http://schemas.microsoft.com/office/drawing/2014/main" id="{CAE7423C-0BBB-4D40-8F55-D1ED03A3FDDA}"/>
                </a:ext>
              </a:extLst>
            </p:cNvPr>
            <p:cNvSpPr/>
            <p:nvPr/>
          </p:nvSpPr>
          <p:spPr>
            <a:xfrm rot="13089394">
              <a:off x="767127" y="-2787"/>
              <a:ext cx="149688" cy="301067"/>
            </a:xfrm>
            <a:custGeom>
              <a:avLst/>
              <a:gdLst>
                <a:gd name="connsiteX0" fmla="*/ 149688 w 149688"/>
                <a:gd name="connsiteY0" fmla="*/ 279622 h 301067"/>
                <a:gd name="connsiteX1" fmla="*/ 122393 w 149688"/>
                <a:gd name="connsiteY1" fmla="*/ 301067 h 301067"/>
                <a:gd name="connsiteX2" fmla="*/ 0 w 149688"/>
                <a:gd name="connsiteY2" fmla="*/ 114672 h 301067"/>
                <a:gd name="connsiteX3" fmla="*/ 0 w 149688"/>
                <a:gd name="connsiteY3" fmla="*/ 38074 h 301067"/>
                <a:gd name="connsiteX4" fmla="*/ 73388 w 149688"/>
                <a:gd name="connsiteY4" fmla="*/ 0 h 301067"/>
                <a:gd name="connsiteX5" fmla="*/ 74492 w 149688"/>
                <a:gd name="connsiteY5" fmla="*/ 153950 h 301067"/>
                <a:gd name="connsiteX6" fmla="*/ 87734 w 149688"/>
                <a:gd name="connsiteY6" fmla="*/ 245547 h 301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9688" h="301067">
                  <a:moveTo>
                    <a:pt x="149688" y="279622"/>
                  </a:moveTo>
                  <a:lnTo>
                    <a:pt x="122393" y="301067"/>
                  </a:lnTo>
                  <a:lnTo>
                    <a:pt x="0" y="114672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2836" y="184850"/>
                    <a:pt x="77802" y="216302"/>
                    <a:pt x="87734" y="2455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2" name="Forme libre : forme 301">
              <a:extLst>
                <a:ext uri="{FF2B5EF4-FFF2-40B4-BE49-F238E27FC236}">
                  <a16:creationId xmlns:a16="http://schemas.microsoft.com/office/drawing/2014/main" id="{DE7F88C3-F95A-48EB-BC5C-94F46E2332ED}"/>
                </a:ext>
              </a:extLst>
            </p:cNvPr>
            <p:cNvSpPr/>
            <p:nvPr/>
          </p:nvSpPr>
          <p:spPr>
            <a:xfrm rot="8716295">
              <a:off x="212141" y="304502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3" name="Forme libre : forme 302">
              <a:extLst>
                <a:ext uri="{FF2B5EF4-FFF2-40B4-BE49-F238E27FC236}">
                  <a16:creationId xmlns:a16="http://schemas.microsoft.com/office/drawing/2014/main" id="{D55BD2D7-C439-4F43-96D6-CC4EB9C9A2CD}"/>
                </a:ext>
              </a:extLst>
            </p:cNvPr>
            <p:cNvSpPr/>
            <p:nvPr/>
          </p:nvSpPr>
          <p:spPr>
            <a:xfrm rot="8716295">
              <a:off x="301533" y="307427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4" name="Forme libre : forme 303">
              <a:extLst>
                <a:ext uri="{FF2B5EF4-FFF2-40B4-BE49-F238E27FC236}">
                  <a16:creationId xmlns:a16="http://schemas.microsoft.com/office/drawing/2014/main" id="{98520A64-DC7D-4391-9310-C02770ED1A94}"/>
                </a:ext>
              </a:extLst>
            </p:cNvPr>
            <p:cNvSpPr/>
            <p:nvPr/>
          </p:nvSpPr>
          <p:spPr>
            <a:xfrm rot="8716295">
              <a:off x="256683" y="298799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5" name="Forme libre : forme 304">
              <a:extLst>
                <a:ext uri="{FF2B5EF4-FFF2-40B4-BE49-F238E27FC236}">
                  <a16:creationId xmlns:a16="http://schemas.microsoft.com/office/drawing/2014/main" id="{F4D8F56B-62F1-42CF-A7A2-650DB4131292}"/>
                </a:ext>
              </a:extLst>
            </p:cNvPr>
            <p:cNvSpPr/>
            <p:nvPr/>
          </p:nvSpPr>
          <p:spPr>
            <a:xfrm rot="8716295">
              <a:off x="99907" y="31335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6" name="Forme libre : forme 305">
              <a:extLst>
                <a:ext uri="{FF2B5EF4-FFF2-40B4-BE49-F238E27FC236}">
                  <a16:creationId xmlns:a16="http://schemas.microsoft.com/office/drawing/2014/main" id="{0D43E076-CB6A-4FEE-A459-C1DE20E99E2F}"/>
                </a:ext>
              </a:extLst>
            </p:cNvPr>
            <p:cNvSpPr/>
            <p:nvPr/>
          </p:nvSpPr>
          <p:spPr>
            <a:xfrm rot="8716295">
              <a:off x="-24996" y="29248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7" name="Forme libre : forme 306">
              <a:extLst>
                <a:ext uri="{FF2B5EF4-FFF2-40B4-BE49-F238E27FC236}">
                  <a16:creationId xmlns:a16="http://schemas.microsoft.com/office/drawing/2014/main" id="{CA2035BC-118E-49FD-BF84-9E105EEC437B}"/>
                </a:ext>
              </a:extLst>
            </p:cNvPr>
            <p:cNvSpPr/>
            <p:nvPr/>
          </p:nvSpPr>
          <p:spPr>
            <a:xfrm rot="8716295">
              <a:off x="51899" y="2754602"/>
              <a:ext cx="189488" cy="350829"/>
            </a:xfrm>
            <a:custGeom>
              <a:avLst/>
              <a:gdLst>
                <a:gd name="connsiteX0" fmla="*/ 25299 w 189488"/>
                <a:gd name="connsiteY0" fmla="*/ 321238 h 350829"/>
                <a:gd name="connsiteX1" fmla="*/ 0 w 189488"/>
                <a:gd name="connsiteY1" fmla="*/ 220042 h 350829"/>
                <a:gd name="connsiteX2" fmla="*/ 0 w 189488"/>
                <a:gd name="connsiteY2" fmla="*/ 40596 h 350829"/>
                <a:gd name="connsiteX3" fmla="*/ 78250 w 189488"/>
                <a:gd name="connsiteY3" fmla="*/ 0 h 350829"/>
                <a:gd name="connsiteX4" fmla="*/ 79427 w 189488"/>
                <a:gd name="connsiteY4" fmla="*/ 164149 h 350829"/>
                <a:gd name="connsiteX5" fmla="*/ 93547 w 189488"/>
                <a:gd name="connsiteY5" fmla="*/ 261815 h 350829"/>
                <a:gd name="connsiteX6" fmla="*/ 164148 w 189488"/>
                <a:gd name="connsiteY6" fmla="*/ 300646 h 350829"/>
                <a:gd name="connsiteX7" fmla="*/ 189488 w 189488"/>
                <a:gd name="connsiteY7" fmla="*/ 296141 h 350829"/>
                <a:gd name="connsiteX8" fmla="*/ 160617 w 189488"/>
                <a:gd name="connsiteY8" fmla="*/ 337791 h 350829"/>
                <a:gd name="connsiteX9" fmla="*/ 97666 w 189488"/>
                <a:gd name="connsiteY9" fmla="*/ 350655 h 350829"/>
                <a:gd name="connsiteX10" fmla="*/ 25299 w 189488"/>
                <a:gd name="connsiteY10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9488" h="350829">
                  <a:moveTo>
                    <a:pt x="25299" y="321238"/>
                  </a:moveTo>
                  <a:cubicBezTo>
                    <a:pt x="5295" y="301823"/>
                    <a:pt x="0" y="268286"/>
                    <a:pt x="0" y="220042"/>
                  </a:cubicBez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8" y="300646"/>
                  </a:cubicBezTo>
                  <a:lnTo>
                    <a:pt x="189488" y="296141"/>
                  </a:lnTo>
                  <a:lnTo>
                    <a:pt x="160617" y="337791"/>
                  </a:lnTo>
                  <a:lnTo>
                    <a:pt x="97666" y="350655"/>
                  </a:ln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8" name="Forme libre : forme 307">
              <a:extLst>
                <a:ext uri="{FF2B5EF4-FFF2-40B4-BE49-F238E27FC236}">
                  <a16:creationId xmlns:a16="http://schemas.microsoft.com/office/drawing/2014/main" id="{E8F898AD-C8B7-4665-871C-0DD08867FE33}"/>
                </a:ext>
              </a:extLst>
            </p:cNvPr>
            <p:cNvSpPr/>
            <p:nvPr/>
          </p:nvSpPr>
          <p:spPr>
            <a:xfrm rot="8716295">
              <a:off x="190085" y="317452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9" name="Forme libre : forme 308">
              <a:extLst>
                <a:ext uri="{FF2B5EF4-FFF2-40B4-BE49-F238E27FC236}">
                  <a16:creationId xmlns:a16="http://schemas.microsoft.com/office/drawing/2014/main" id="{21447FE1-A29B-45A2-85C9-8C8BA929308B}"/>
                </a:ext>
              </a:extLst>
            </p:cNvPr>
            <p:cNvSpPr/>
            <p:nvPr/>
          </p:nvSpPr>
          <p:spPr>
            <a:xfrm rot="8716295">
              <a:off x="502599" y="2802136"/>
              <a:ext cx="117588" cy="232388"/>
            </a:xfrm>
            <a:custGeom>
              <a:avLst/>
              <a:gdLst>
                <a:gd name="connsiteX0" fmla="*/ 56529 w 117588"/>
                <a:gd name="connsiteY0" fmla="*/ 232388 h 232388"/>
                <a:gd name="connsiteX1" fmla="*/ 56529 w 117588"/>
                <a:gd name="connsiteY1" fmla="*/ 69717 h 232388"/>
                <a:gd name="connsiteX2" fmla="*/ 56529 w 117588"/>
                <a:gd name="connsiteY2" fmla="*/ 65615 h 232388"/>
                <a:gd name="connsiteX3" fmla="*/ 36025 w 117588"/>
                <a:gd name="connsiteY3" fmla="*/ 50123 h 232388"/>
                <a:gd name="connsiteX4" fmla="*/ 0 w 117588"/>
                <a:gd name="connsiteY4" fmla="*/ 50123 h 232388"/>
                <a:gd name="connsiteX5" fmla="*/ 41458 w 117588"/>
                <a:gd name="connsiteY5" fmla="*/ 0 h 232388"/>
                <a:gd name="connsiteX6" fmla="*/ 60630 w 117588"/>
                <a:gd name="connsiteY6" fmla="*/ 0 h 232388"/>
                <a:gd name="connsiteX7" fmla="*/ 117588 w 117588"/>
                <a:gd name="connsiteY7" fmla="*/ 50123 h 232388"/>
                <a:gd name="connsiteX8" fmla="*/ 117588 w 117588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7588" h="232388">
                  <a:moveTo>
                    <a:pt x="56529" y="232388"/>
                  </a:moveTo>
                  <a:lnTo>
                    <a:pt x="56529" y="69717"/>
                  </a:lnTo>
                  <a:cubicBezTo>
                    <a:pt x="56529" y="68349"/>
                    <a:pt x="56529" y="66983"/>
                    <a:pt x="56529" y="65615"/>
                  </a:cubicBezTo>
                  <a:cubicBezTo>
                    <a:pt x="55163" y="55591"/>
                    <a:pt x="46049" y="48756"/>
                    <a:pt x="36025" y="50123"/>
                  </a:cubicBezTo>
                  <a:lnTo>
                    <a:pt x="0" y="50123"/>
                  </a:lnTo>
                  <a:lnTo>
                    <a:pt x="41458" y="0"/>
                  </a:lnTo>
                  <a:lnTo>
                    <a:pt x="60630" y="0"/>
                  </a:lnTo>
                  <a:cubicBezTo>
                    <a:pt x="97539" y="0"/>
                    <a:pt x="117588" y="15948"/>
                    <a:pt x="117588" y="50123"/>
                  </a:cubicBezTo>
                  <a:lnTo>
                    <a:pt x="117588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0" name="Forme libre : forme 309">
              <a:extLst>
                <a:ext uri="{FF2B5EF4-FFF2-40B4-BE49-F238E27FC236}">
                  <a16:creationId xmlns:a16="http://schemas.microsoft.com/office/drawing/2014/main" id="{DC5CD014-032B-4188-8129-1BA9EDEB5E1C}"/>
                </a:ext>
              </a:extLst>
            </p:cNvPr>
            <p:cNvSpPr/>
            <p:nvPr/>
          </p:nvSpPr>
          <p:spPr>
            <a:xfrm rot="8716295">
              <a:off x="389006" y="2883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1" name="Forme libre : forme 310">
              <a:extLst>
                <a:ext uri="{FF2B5EF4-FFF2-40B4-BE49-F238E27FC236}">
                  <a16:creationId xmlns:a16="http://schemas.microsoft.com/office/drawing/2014/main" id="{4BFA54F9-8E75-4357-98AE-7842173849BD}"/>
                </a:ext>
              </a:extLst>
            </p:cNvPr>
            <p:cNvSpPr/>
            <p:nvPr/>
          </p:nvSpPr>
          <p:spPr>
            <a:xfrm rot="8716295">
              <a:off x="264104" y="267474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2" name="Forme libre : forme 311">
              <a:extLst>
                <a:ext uri="{FF2B5EF4-FFF2-40B4-BE49-F238E27FC236}">
                  <a16:creationId xmlns:a16="http://schemas.microsoft.com/office/drawing/2014/main" id="{D627B6F1-7278-4938-8513-4523BF111D7A}"/>
                </a:ext>
              </a:extLst>
            </p:cNvPr>
            <p:cNvSpPr/>
            <p:nvPr/>
          </p:nvSpPr>
          <p:spPr>
            <a:xfrm rot="8716295">
              <a:off x="479184" y="292437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3" name="Forme libre : forme 312">
              <a:extLst>
                <a:ext uri="{FF2B5EF4-FFF2-40B4-BE49-F238E27FC236}">
                  <a16:creationId xmlns:a16="http://schemas.microsoft.com/office/drawing/2014/main" id="{44A8C608-76B9-49F0-B8EA-9C07C31A92DA}"/>
                </a:ext>
              </a:extLst>
            </p:cNvPr>
            <p:cNvSpPr/>
            <p:nvPr/>
          </p:nvSpPr>
          <p:spPr>
            <a:xfrm rot="8716295">
              <a:off x="237733" y="277477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4" name="Forme libre : forme 313">
              <a:extLst>
                <a:ext uri="{FF2B5EF4-FFF2-40B4-BE49-F238E27FC236}">
                  <a16:creationId xmlns:a16="http://schemas.microsoft.com/office/drawing/2014/main" id="{31723CE5-0F31-4468-8030-5F9773A83A08}"/>
                </a:ext>
              </a:extLst>
            </p:cNvPr>
            <p:cNvSpPr/>
            <p:nvPr/>
          </p:nvSpPr>
          <p:spPr>
            <a:xfrm rot="7484129">
              <a:off x="609980" y="3142825"/>
              <a:ext cx="20881" cy="31001"/>
            </a:xfrm>
            <a:custGeom>
              <a:avLst/>
              <a:gdLst>
                <a:gd name="connsiteX0" fmla="*/ 10218 w 20881"/>
                <a:gd name="connsiteY0" fmla="*/ 31001 h 31001"/>
                <a:gd name="connsiteX1" fmla="*/ 0 w 20881"/>
                <a:gd name="connsiteY1" fmla="*/ 11992 h 31001"/>
                <a:gd name="connsiteX2" fmla="*/ 20881 w 20881"/>
                <a:gd name="connsiteY2" fmla="*/ 0 h 31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881" h="31001">
                  <a:moveTo>
                    <a:pt x="10218" y="31001"/>
                  </a:moveTo>
                  <a:lnTo>
                    <a:pt x="0" y="11992"/>
                  </a:lnTo>
                  <a:lnTo>
                    <a:pt x="2088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5" name="Forme libre : forme 314">
              <a:extLst>
                <a:ext uri="{FF2B5EF4-FFF2-40B4-BE49-F238E27FC236}">
                  <a16:creationId xmlns:a16="http://schemas.microsoft.com/office/drawing/2014/main" id="{0A1A01CF-9944-4EC3-883D-948C509B42CD}"/>
                </a:ext>
              </a:extLst>
            </p:cNvPr>
            <p:cNvSpPr/>
            <p:nvPr/>
          </p:nvSpPr>
          <p:spPr>
            <a:xfrm rot="8716295">
              <a:off x="579469" y="28172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6" name="Forme libre : forme 315">
              <a:extLst>
                <a:ext uri="{FF2B5EF4-FFF2-40B4-BE49-F238E27FC236}">
                  <a16:creationId xmlns:a16="http://schemas.microsoft.com/office/drawing/2014/main" id="{71717ABE-8C5B-4E08-B642-252D74033C89}"/>
                </a:ext>
              </a:extLst>
            </p:cNvPr>
            <p:cNvSpPr/>
            <p:nvPr/>
          </p:nvSpPr>
          <p:spPr>
            <a:xfrm rot="8716295">
              <a:off x="437995" y="3716235"/>
              <a:ext cx="102679" cy="232388"/>
            </a:xfrm>
            <a:custGeom>
              <a:avLst/>
              <a:gdLst>
                <a:gd name="connsiteX0" fmla="*/ 41620 w 102679"/>
                <a:gd name="connsiteY0" fmla="*/ 232388 h 232388"/>
                <a:gd name="connsiteX1" fmla="*/ 41620 w 102679"/>
                <a:gd name="connsiteY1" fmla="*/ 69717 h 232388"/>
                <a:gd name="connsiteX2" fmla="*/ 41620 w 102679"/>
                <a:gd name="connsiteY2" fmla="*/ 65615 h 232388"/>
                <a:gd name="connsiteX3" fmla="*/ 21116 w 102679"/>
                <a:gd name="connsiteY3" fmla="*/ 50123 h 232388"/>
                <a:gd name="connsiteX4" fmla="*/ 0 w 102679"/>
                <a:gd name="connsiteY4" fmla="*/ 50123 h 232388"/>
                <a:gd name="connsiteX5" fmla="*/ 41457 w 102679"/>
                <a:gd name="connsiteY5" fmla="*/ 0 h 232388"/>
                <a:gd name="connsiteX6" fmla="*/ 45721 w 102679"/>
                <a:gd name="connsiteY6" fmla="*/ 0 h 232388"/>
                <a:gd name="connsiteX7" fmla="*/ 102679 w 102679"/>
                <a:gd name="connsiteY7" fmla="*/ 50123 h 232388"/>
                <a:gd name="connsiteX8" fmla="*/ 102679 w 102679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2679" h="232388">
                  <a:moveTo>
                    <a:pt x="41620" y="232388"/>
                  </a:moveTo>
                  <a:lnTo>
                    <a:pt x="41620" y="69717"/>
                  </a:lnTo>
                  <a:cubicBezTo>
                    <a:pt x="41620" y="68349"/>
                    <a:pt x="41620" y="66983"/>
                    <a:pt x="41620" y="65615"/>
                  </a:cubicBezTo>
                  <a:cubicBezTo>
                    <a:pt x="40254" y="55591"/>
                    <a:pt x="31140" y="48756"/>
                    <a:pt x="21116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45721" y="0"/>
                  </a:lnTo>
                  <a:cubicBezTo>
                    <a:pt x="82630" y="0"/>
                    <a:pt x="102679" y="15948"/>
                    <a:pt x="102679" y="50123"/>
                  </a:cubicBezTo>
                  <a:lnTo>
                    <a:pt x="102679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7" name="Forme libre : forme 316">
              <a:extLst>
                <a:ext uri="{FF2B5EF4-FFF2-40B4-BE49-F238E27FC236}">
                  <a16:creationId xmlns:a16="http://schemas.microsoft.com/office/drawing/2014/main" id="{57F9E802-91E2-4CB8-8036-748B1071E3AB}"/>
                </a:ext>
              </a:extLst>
            </p:cNvPr>
            <p:cNvSpPr/>
            <p:nvPr/>
          </p:nvSpPr>
          <p:spPr>
            <a:xfrm rot="8716295">
              <a:off x="482715" y="3669965"/>
              <a:ext cx="154563" cy="124897"/>
            </a:xfrm>
            <a:custGeom>
              <a:avLst/>
              <a:gdLst>
                <a:gd name="connsiteX0" fmla="*/ 0 w 154563"/>
                <a:gd name="connsiteY0" fmla="*/ 124897 h 124897"/>
                <a:gd name="connsiteX1" fmla="*/ 95474 w 154563"/>
                <a:gd name="connsiteY1" fmla="*/ 9467 h 124897"/>
                <a:gd name="connsiteX2" fmla="*/ 96067 w 154563"/>
                <a:gd name="connsiteY2" fmla="*/ 9000 h 124897"/>
                <a:gd name="connsiteX3" fmla="*/ 126312 w 154563"/>
                <a:gd name="connsiteY3" fmla="*/ 0 h 124897"/>
                <a:gd name="connsiteX4" fmla="*/ 154563 w 154563"/>
                <a:gd name="connsiteY4" fmla="*/ 33719 h 124897"/>
                <a:gd name="connsiteX5" fmla="*/ 128135 w 154563"/>
                <a:gd name="connsiteY5" fmla="*/ 69261 h 124897"/>
                <a:gd name="connsiteX6" fmla="*/ 128590 w 154563"/>
                <a:gd name="connsiteY6" fmla="*/ 69261 h 12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4563" h="124897">
                  <a:moveTo>
                    <a:pt x="0" y="124897"/>
                  </a:moveTo>
                  <a:lnTo>
                    <a:pt x="95474" y="9467"/>
                  </a:lnTo>
                  <a:lnTo>
                    <a:pt x="96067" y="9000"/>
                  </a:lnTo>
                  <a:cubicBezTo>
                    <a:pt x="105351" y="4215"/>
                    <a:pt x="115604" y="1139"/>
                    <a:pt x="126312" y="0"/>
                  </a:cubicBezTo>
                  <a:cubicBezTo>
                    <a:pt x="148184" y="0"/>
                    <a:pt x="154563" y="19138"/>
                    <a:pt x="154563" y="33719"/>
                  </a:cubicBezTo>
                  <a:cubicBezTo>
                    <a:pt x="153196" y="49668"/>
                    <a:pt x="142715" y="62882"/>
                    <a:pt x="128135" y="69261"/>
                  </a:cubicBezTo>
                  <a:lnTo>
                    <a:pt x="128590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8" name="Forme libre : forme 317">
              <a:extLst>
                <a:ext uri="{FF2B5EF4-FFF2-40B4-BE49-F238E27FC236}">
                  <a16:creationId xmlns:a16="http://schemas.microsoft.com/office/drawing/2014/main" id="{844BD3AC-808C-49B6-9585-45AED27044D8}"/>
                </a:ext>
              </a:extLst>
            </p:cNvPr>
            <p:cNvSpPr/>
            <p:nvPr/>
          </p:nvSpPr>
          <p:spPr>
            <a:xfrm rot="8716295">
              <a:off x="323074" y="379327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9" name="Forme libre : forme 318">
              <a:extLst>
                <a:ext uri="{FF2B5EF4-FFF2-40B4-BE49-F238E27FC236}">
                  <a16:creationId xmlns:a16="http://schemas.microsoft.com/office/drawing/2014/main" id="{6610930E-080F-4669-B332-C11A7EDE2E69}"/>
                </a:ext>
              </a:extLst>
            </p:cNvPr>
            <p:cNvSpPr/>
            <p:nvPr/>
          </p:nvSpPr>
          <p:spPr>
            <a:xfrm rot="8716295">
              <a:off x="198171" y="358459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0" name="Forme libre : forme 319">
              <a:extLst>
                <a:ext uri="{FF2B5EF4-FFF2-40B4-BE49-F238E27FC236}">
                  <a16:creationId xmlns:a16="http://schemas.microsoft.com/office/drawing/2014/main" id="{BB6AE4FF-01F3-4791-9797-82B71A71685F}"/>
                </a:ext>
              </a:extLst>
            </p:cNvPr>
            <p:cNvSpPr/>
            <p:nvPr/>
          </p:nvSpPr>
          <p:spPr>
            <a:xfrm rot="8716295">
              <a:off x="186119" y="344581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1" name="Forme libre : forme 320">
              <a:extLst>
                <a:ext uri="{FF2B5EF4-FFF2-40B4-BE49-F238E27FC236}">
                  <a16:creationId xmlns:a16="http://schemas.microsoft.com/office/drawing/2014/main" id="{B2FBA9B1-476F-454A-86CF-CB8E10185C59}"/>
                </a:ext>
              </a:extLst>
            </p:cNvPr>
            <p:cNvSpPr/>
            <p:nvPr/>
          </p:nvSpPr>
          <p:spPr>
            <a:xfrm rot="8716295">
              <a:off x="410218" y="3834716"/>
              <a:ext cx="103435" cy="219174"/>
            </a:xfrm>
            <a:custGeom>
              <a:avLst/>
              <a:gdLst>
                <a:gd name="connsiteX0" fmla="*/ 103435 w 103435"/>
                <a:gd name="connsiteY0" fmla="*/ 219174 h 219174"/>
                <a:gd name="connsiteX1" fmla="*/ 43288 w 103435"/>
                <a:gd name="connsiteY1" fmla="*/ 161305 h 219174"/>
                <a:gd name="connsiteX2" fmla="*/ 43288 w 103435"/>
                <a:gd name="connsiteY2" fmla="*/ 16404 h 219174"/>
                <a:gd name="connsiteX3" fmla="*/ 0 w 103435"/>
                <a:gd name="connsiteY3" fmla="*/ 16404 h 219174"/>
                <a:gd name="connsiteX4" fmla="*/ 0 w 103435"/>
                <a:gd name="connsiteY4" fmla="*/ 16028 h 219174"/>
                <a:gd name="connsiteX5" fmla="*/ 11583 w 103435"/>
                <a:gd name="connsiteY5" fmla="*/ 2023 h 219174"/>
                <a:gd name="connsiteX6" fmla="*/ 103435 w 103435"/>
                <a:gd name="connsiteY6" fmla="*/ 0 h 219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19174">
                  <a:moveTo>
                    <a:pt x="103435" y="219174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16028"/>
                  </a:lnTo>
                  <a:lnTo>
                    <a:pt x="11583" y="2023"/>
                  </a:lnTo>
                  <a:lnTo>
                    <a:pt x="10343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2" name="Forme libre : forme 321">
              <a:extLst>
                <a:ext uri="{FF2B5EF4-FFF2-40B4-BE49-F238E27FC236}">
                  <a16:creationId xmlns:a16="http://schemas.microsoft.com/office/drawing/2014/main" id="{FC54D21D-2562-49FC-BEBE-B5E2AB5AF4EE}"/>
                </a:ext>
              </a:extLst>
            </p:cNvPr>
            <p:cNvSpPr/>
            <p:nvPr/>
          </p:nvSpPr>
          <p:spPr>
            <a:xfrm rot="8716295">
              <a:off x="487452" y="3349370"/>
              <a:ext cx="151162" cy="195873"/>
            </a:xfrm>
            <a:custGeom>
              <a:avLst/>
              <a:gdLst>
                <a:gd name="connsiteX0" fmla="*/ 38025 w 151162"/>
                <a:gd name="connsiteY0" fmla="*/ 195873 h 195873"/>
                <a:gd name="connsiteX1" fmla="*/ 0 w 151162"/>
                <a:gd name="connsiteY1" fmla="*/ 125130 h 195873"/>
                <a:gd name="connsiteX2" fmla="*/ 103497 w 151162"/>
                <a:gd name="connsiteY2" fmla="*/ 0 h 195873"/>
                <a:gd name="connsiteX3" fmla="*/ 151162 w 151162"/>
                <a:gd name="connsiteY3" fmla="*/ 0 h 195873"/>
                <a:gd name="connsiteX4" fmla="*/ 151162 w 151162"/>
                <a:gd name="connsiteY4" fmla="*/ 55323 h 195873"/>
                <a:gd name="connsiteX5" fmla="*/ 86370 w 151162"/>
                <a:gd name="connsiteY5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1162" h="195873">
                  <a:moveTo>
                    <a:pt x="38025" y="195873"/>
                  </a:moveTo>
                  <a:lnTo>
                    <a:pt x="0" y="125130"/>
                  </a:lnTo>
                  <a:lnTo>
                    <a:pt x="103497" y="0"/>
                  </a:lnTo>
                  <a:lnTo>
                    <a:pt x="151162" y="0"/>
                  </a:lnTo>
                  <a:lnTo>
                    <a:pt x="151162" y="55323"/>
                  </a:lnTo>
                  <a:lnTo>
                    <a:pt x="86370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3" name="Forme libre : forme 322">
              <a:extLst>
                <a:ext uri="{FF2B5EF4-FFF2-40B4-BE49-F238E27FC236}">
                  <a16:creationId xmlns:a16="http://schemas.microsoft.com/office/drawing/2014/main" id="{1800C2CB-54A6-4240-B3ED-11D6043BB03F}"/>
                </a:ext>
              </a:extLst>
            </p:cNvPr>
            <p:cNvSpPr/>
            <p:nvPr/>
          </p:nvSpPr>
          <p:spPr>
            <a:xfrm rot="8716295">
              <a:off x="460900" y="343447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4" name="Forme libre : forme 323">
              <a:extLst>
                <a:ext uri="{FF2B5EF4-FFF2-40B4-BE49-F238E27FC236}">
                  <a16:creationId xmlns:a16="http://schemas.microsoft.com/office/drawing/2014/main" id="{3EBD1C82-1557-40AF-96AD-1C870F5CE8D7}"/>
                </a:ext>
              </a:extLst>
            </p:cNvPr>
            <p:cNvSpPr/>
            <p:nvPr/>
          </p:nvSpPr>
          <p:spPr>
            <a:xfrm rot="8716295">
              <a:off x="417336" y="4258920"/>
              <a:ext cx="147637" cy="195874"/>
            </a:xfrm>
            <a:custGeom>
              <a:avLst/>
              <a:gdLst>
                <a:gd name="connsiteX0" fmla="*/ 34500 w 147637"/>
                <a:gd name="connsiteY0" fmla="*/ 195874 h 195874"/>
                <a:gd name="connsiteX1" fmla="*/ 0 w 147637"/>
                <a:gd name="connsiteY1" fmla="*/ 131688 h 195874"/>
                <a:gd name="connsiteX2" fmla="*/ 108921 w 147637"/>
                <a:gd name="connsiteY2" fmla="*/ 0 h 195874"/>
                <a:gd name="connsiteX3" fmla="*/ 147637 w 147637"/>
                <a:gd name="connsiteY3" fmla="*/ 0 h 195874"/>
                <a:gd name="connsiteX4" fmla="*/ 147637 w 147637"/>
                <a:gd name="connsiteY4" fmla="*/ 55323 h 195874"/>
                <a:gd name="connsiteX5" fmla="*/ 82845 w 147637"/>
                <a:gd name="connsiteY5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7637" h="195874">
                  <a:moveTo>
                    <a:pt x="34500" y="195874"/>
                  </a:moveTo>
                  <a:lnTo>
                    <a:pt x="0" y="131688"/>
                  </a:lnTo>
                  <a:lnTo>
                    <a:pt x="108921" y="0"/>
                  </a:lnTo>
                  <a:lnTo>
                    <a:pt x="147637" y="0"/>
                  </a:lnTo>
                  <a:lnTo>
                    <a:pt x="147637" y="55323"/>
                  </a:lnTo>
                  <a:lnTo>
                    <a:pt x="8284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5" name="Forme libre : forme 324">
              <a:extLst>
                <a:ext uri="{FF2B5EF4-FFF2-40B4-BE49-F238E27FC236}">
                  <a16:creationId xmlns:a16="http://schemas.microsoft.com/office/drawing/2014/main" id="{50FA5920-2CA1-4B57-AFE9-708172C7151C}"/>
                </a:ext>
              </a:extLst>
            </p:cNvPr>
            <p:cNvSpPr/>
            <p:nvPr/>
          </p:nvSpPr>
          <p:spPr>
            <a:xfrm rot="8716295">
              <a:off x="330834" y="4134902"/>
              <a:ext cx="254613" cy="91157"/>
            </a:xfrm>
            <a:custGeom>
              <a:avLst/>
              <a:gdLst>
                <a:gd name="connsiteX0" fmla="*/ 0 w 254613"/>
                <a:gd name="connsiteY0" fmla="*/ 68911 h 91157"/>
                <a:gd name="connsiteX1" fmla="*/ 56997 w 254613"/>
                <a:gd name="connsiteY1" fmla="*/ 0 h 91157"/>
                <a:gd name="connsiteX2" fmla="*/ 57517 w 254613"/>
                <a:gd name="connsiteY2" fmla="*/ 2143 h 91157"/>
                <a:gd name="connsiteX3" fmla="*/ 128118 w 254613"/>
                <a:gd name="connsiteY3" fmla="*/ 40974 h 91157"/>
                <a:gd name="connsiteX4" fmla="*/ 181070 w 254613"/>
                <a:gd name="connsiteY4" fmla="*/ 31560 h 91157"/>
                <a:gd name="connsiteX5" fmla="*/ 253437 w 254613"/>
                <a:gd name="connsiteY5" fmla="*/ 2143 h 91157"/>
                <a:gd name="connsiteX6" fmla="*/ 254613 w 254613"/>
                <a:gd name="connsiteY6" fmla="*/ 9791 h 91157"/>
                <a:gd name="connsiteX7" fmla="*/ 254613 w 254613"/>
                <a:gd name="connsiteY7" fmla="*/ 15674 h 91157"/>
                <a:gd name="connsiteX8" fmla="*/ 61636 w 254613"/>
                <a:gd name="connsiteY8" fmla="*/ 90983 h 91157"/>
                <a:gd name="connsiteX9" fmla="*/ 22363 w 254613"/>
                <a:gd name="connsiteY9" fmla="*/ 84217 h 91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4613" h="91157">
                  <a:moveTo>
                    <a:pt x="0" y="68911"/>
                  </a:moveTo>
                  <a:lnTo>
                    <a:pt x="56997" y="0"/>
                  </a:lnTo>
                  <a:lnTo>
                    <a:pt x="57517" y="2143"/>
                  </a:lnTo>
                  <a:cubicBezTo>
                    <a:pt x="66931" y="28030"/>
                    <a:pt x="91053" y="40974"/>
                    <a:pt x="128118" y="40974"/>
                  </a:cubicBezTo>
                  <a:cubicBezTo>
                    <a:pt x="146357" y="40385"/>
                    <a:pt x="164008" y="36855"/>
                    <a:pt x="181070" y="31560"/>
                  </a:cubicBezTo>
                  <a:cubicBezTo>
                    <a:pt x="205780" y="23912"/>
                    <a:pt x="229903" y="13910"/>
                    <a:pt x="253437" y="2143"/>
                  </a:cubicBezTo>
                  <a:cubicBezTo>
                    <a:pt x="254025" y="4496"/>
                    <a:pt x="254613" y="7438"/>
                    <a:pt x="254613" y="9791"/>
                  </a:cubicBezTo>
                  <a:lnTo>
                    <a:pt x="254613" y="15674"/>
                  </a:lnTo>
                  <a:cubicBezTo>
                    <a:pt x="192249" y="69215"/>
                    <a:pt x="110468" y="88042"/>
                    <a:pt x="61636" y="90983"/>
                  </a:cubicBezTo>
                  <a:cubicBezTo>
                    <a:pt x="48104" y="91866"/>
                    <a:pt x="34719" y="89365"/>
                    <a:pt x="22363" y="842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6" name="Forme libre : forme 325">
              <a:extLst>
                <a:ext uri="{FF2B5EF4-FFF2-40B4-BE49-F238E27FC236}">
                  <a16:creationId xmlns:a16="http://schemas.microsoft.com/office/drawing/2014/main" id="{E3EDD39B-7171-468B-A877-2CE2BD07726B}"/>
                </a:ext>
              </a:extLst>
            </p:cNvPr>
            <p:cNvSpPr/>
            <p:nvPr/>
          </p:nvSpPr>
          <p:spPr>
            <a:xfrm rot="8716295">
              <a:off x="-3428" y="2405990"/>
              <a:ext cx="142167" cy="208592"/>
            </a:xfrm>
            <a:custGeom>
              <a:avLst/>
              <a:gdLst>
                <a:gd name="connsiteX0" fmla="*/ 81108 w 142167"/>
                <a:gd name="connsiteY0" fmla="*/ 208592 h 208592"/>
                <a:gd name="connsiteX1" fmla="*/ 81108 w 142167"/>
                <a:gd name="connsiteY1" fmla="*/ 69717 h 208592"/>
                <a:gd name="connsiteX2" fmla="*/ 81108 w 142167"/>
                <a:gd name="connsiteY2" fmla="*/ 65615 h 208592"/>
                <a:gd name="connsiteX3" fmla="*/ 60604 w 142167"/>
                <a:gd name="connsiteY3" fmla="*/ 50123 h 208592"/>
                <a:gd name="connsiteX4" fmla="*/ 0 w 142167"/>
                <a:gd name="connsiteY4" fmla="*/ 50123 h 208592"/>
                <a:gd name="connsiteX5" fmla="*/ 0 w 142167"/>
                <a:gd name="connsiteY5" fmla="*/ 0 h 208592"/>
                <a:gd name="connsiteX6" fmla="*/ 85210 w 142167"/>
                <a:gd name="connsiteY6" fmla="*/ 0 h 208592"/>
                <a:gd name="connsiteX7" fmla="*/ 142167 w 142167"/>
                <a:gd name="connsiteY7" fmla="*/ 50123 h 208592"/>
                <a:gd name="connsiteX8" fmla="*/ 142167 w 142167"/>
                <a:gd name="connsiteY8" fmla="*/ 120504 h 20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08592">
                  <a:moveTo>
                    <a:pt x="81108" y="208592"/>
                  </a:moveTo>
                  <a:lnTo>
                    <a:pt x="81108" y="69717"/>
                  </a:lnTo>
                  <a:cubicBezTo>
                    <a:pt x="81108" y="68350"/>
                    <a:pt x="81108" y="66983"/>
                    <a:pt x="81108" y="65615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10" y="0"/>
                  </a:lnTo>
                  <a:cubicBezTo>
                    <a:pt x="122118" y="0"/>
                    <a:pt x="142167" y="15948"/>
                    <a:pt x="142167" y="50123"/>
                  </a:cubicBezTo>
                  <a:lnTo>
                    <a:pt x="142167" y="1205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7" name="Forme libre : forme 326">
              <a:extLst>
                <a:ext uri="{FF2B5EF4-FFF2-40B4-BE49-F238E27FC236}">
                  <a16:creationId xmlns:a16="http://schemas.microsoft.com/office/drawing/2014/main" id="{23F7EF39-C8FF-4CA7-9DED-AF0E47CA9C7E}"/>
                </a:ext>
              </a:extLst>
            </p:cNvPr>
            <p:cNvSpPr/>
            <p:nvPr/>
          </p:nvSpPr>
          <p:spPr>
            <a:xfrm rot="8716295">
              <a:off x="80015" y="241329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8" name="Forme libre : forme 327">
              <a:extLst>
                <a:ext uri="{FF2B5EF4-FFF2-40B4-BE49-F238E27FC236}">
                  <a16:creationId xmlns:a16="http://schemas.microsoft.com/office/drawing/2014/main" id="{FBC44AA7-6291-474B-9C67-ED7522250EEB}"/>
                </a:ext>
              </a:extLst>
            </p:cNvPr>
            <p:cNvSpPr/>
            <p:nvPr/>
          </p:nvSpPr>
          <p:spPr>
            <a:xfrm rot="8716295">
              <a:off x="35165" y="232701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9" name="Forme libre : forme 328">
              <a:extLst>
                <a:ext uri="{FF2B5EF4-FFF2-40B4-BE49-F238E27FC236}">
                  <a16:creationId xmlns:a16="http://schemas.microsoft.com/office/drawing/2014/main" id="{5EA7A5E2-9C29-45B6-9267-972B0EFC92AD}"/>
                </a:ext>
              </a:extLst>
            </p:cNvPr>
            <p:cNvSpPr/>
            <p:nvPr/>
          </p:nvSpPr>
          <p:spPr>
            <a:xfrm rot="8716295">
              <a:off x="-20257" y="2217087"/>
              <a:ext cx="78731" cy="180665"/>
            </a:xfrm>
            <a:custGeom>
              <a:avLst/>
              <a:gdLst>
                <a:gd name="connsiteX0" fmla="*/ 0 w 78731"/>
                <a:gd name="connsiteY0" fmla="*/ 180665 h 180665"/>
                <a:gd name="connsiteX1" fmla="*/ 0 w 78731"/>
                <a:gd name="connsiteY1" fmla="*/ 40596 h 180665"/>
                <a:gd name="connsiteX2" fmla="*/ 78250 w 78731"/>
                <a:gd name="connsiteY2" fmla="*/ 0 h 180665"/>
                <a:gd name="connsiteX3" fmla="*/ 78731 w 78731"/>
                <a:gd name="connsiteY3" fmla="*/ 67083 h 180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731" h="180665">
                  <a:moveTo>
                    <a:pt x="0" y="180665"/>
                  </a:moveTo>
                  <a:lnTo>
                    <a:pt x="0" y="40596"/>
                  </a:lnTo>
                  <a:lnTo>
                    <a:pt x="78250" y="0"/>
                  </a:lnTo>
                  <a:lnTo>
                    <a:pt x="78731" y="670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0" name="Forme libre : forme 329">
              <a:extLst>
                <a:ext uri="{FF2B5EF4-FFF2-40B4-BE49-F238E27FC236}">
                  <a16:creationId xmlns:a16="http://schemas.microsoft.com/office/drawing/2014/main" id="{29FF2476-3E2D-4E1C-AC58-09A8EA6AE16D}"/>
                </a:ext>
              </a:extLst>
            </p:cNvPr>
            <p:cNvSpPr/>
            <p:nvPr/>
          </p:nvSpPr>
          <p:spPr>
            <a:xfrm rot="8716295">
              <a:off x="-15341" y="2575209"/>
              <a:ext cx="103435" cy="152027"/>
            </a:xfrm>
            <a:custGeom>
              <a:avLst/>
              <a:gdLst>
                <a:gd name="connsiteX0" fmla="*/ 43288 w 103435"/>
                <a:gd name="connsiteY0" fmla="*/ 152027 h 152027"/>
                <a:gd name="connsiteX1" fmla="*/ 43288 w 103435"/>
                <a:gd name="connsiteY1" fmla="*/ 16404 h 152027"/>
                <a:gd name="connsiteX2" fmla="*/ 0 w 103435"/>
                <a:gd name="connsiteY2" fmla="*/ 16404 h 152027"/>
                <a:gd name="connsiteX3" fmla="*/ 0 w 103435"/>
                <a:gd name="connsiteY3" fmla="*/ 2278 h 152027"/>
                <a:gd name="connsiteX4" fmla="*/ 103435 w 103435"/>
                <a:gd name="connsiteY4" fmla="*/ 0 h 152027"/>
                <a:gd name="connsiteX5" fmla="*/ 103435 w 103435"/>
                <a:gd name="connsiteY5" fmla="*/ 65255 h 152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152027">
                  <a:moveTo>
                    <a:pt x="43288" y="152027"/>
                  </a:move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652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1" name="Forme libre : forme 330">
              <a:extLst>
                <a:ext uri="{FF2B5EF4-FFF2-40B4-BE49-F238E27FC236}">
                  <a16:creationId xmlns:a16="http://schemas.microsoft.com/office/drawing/2014/main" id="{75F88328-D448-4AA5-9E75-FE8115368C6C}"/>
                </a:ext>
              </a:extLst>
            </p:cNvPr>
            <p:cNvSpPr/>
            <p:nvPr/>
          </p:nvSpPr>
          <p:spPr>
            <a:xfrm rot="8716295">
              <a:off x="279722" y="21339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2" name="Forme libre : forme 331">
              <a:extLst>
                <a:ext uri="{FF2B5EF4-FFF2-40B4-BE49-F238E27FC236}">
                  <a16:creationId xmlns:a16="http://schemas.microsoft.com/office/drawing/2014/main" id="{426E2A9F-197F-4F75-8782-ED9A68D4D6C8}"/>
                </a:ext>
              </a:extLst>
            </p:cNvPr>
            <p:cNvSpPr/>
            <p:nvPr/>
          </p:nvSpPr>
          <p:spPr>
            <a:xfrm rot="8716295">
              <a:off x="369114" y="21631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3" name="Forme libre : forme 332">
              <a:extLst>
                <a:ext uri="{FF2B5EF4-FFF2-40B4-BE49-F238E27FC236}">
                  <a16:creationId xmlns:a16="http://schemas.microsoft.com/office/drawing/2014/main" id="{94DB51E7-8EDB-4900-9675-0F9A6F5C490B}"/>
                </a:ext>
              </a:extLst>
            </p:cNvPr>
            <p:cNvSpPr/>
            <p:nvPr/>
          </p:nvSpPr>
          <p:spPr>
            <a:xfrm rot="8716295">
              <a:off x="167488" y="22224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4" name="Forme libre : forme 333">
              <a:extLst>
                <a:ext uri="{FF2B5EF4-FFF2-40B4-BE49-F238E27FC236}">
                  <a16:creationId xmlns:a16="http://schemas.microsoft.com/office/drawing/2014/main" id="{2E5B2022-399F-4450-9579-1B2308763857}"/>
                </a:ext>
              </a:extLst>
            </p:cNvPr>
            <p:cNvSpPr/>
            <p:nvPr/>
          </p:nvSpPr>
          <p:spPr>
            <a:xfrm rot="8716295">
              <a:off x="42586" y="20137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5" name="Forme libre : forme 334">
              <a:extLst>
                <a:ext uri="{FF2B5EF4-FFF2-40B4-BE49-F238E27FC236}">
                  <a16:creationId xmlns:a16="http://schemas.microsoft.com/office/drawing/2014/main" id="{2929CE2C-2256-40A5-A8F3-3829812FC41F}"/>
                </a:ext>
              </a:extLst>
            </p:cNvPr>
            <p:cNvSpPr/>
            <p:nvPr/>
          </p:nvSpPr>
          <p:spPr>
            <a:xfrm rot="8716295">
              <a:off x="257666" y="226339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6" name="Forme libre : forme 335">
              <a:extLst>
                <a:ext uri="{FF2B5EF4-FFF2-40B4-BE49-F238E27FC236}">
                  <a16:creationId xmlns:a16="http://schemas.microsoft.com/office/drawing/2014/main" id="{5B080DE2-EB07-4251-8225-D8F835BCC870}"/>
                </a:ext>
              </a:extLst>
            </p:cNvPr>
            <p:cNvSpPr/>
            <p:nvPr/>
          </p:nvSpPr>
          <p:spPr>
            <a:xfrm rot="8716295">
              <a:off x="16215" y="211379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7" name="Forme libre : forme 336">
              <a:extLst>
                <a:ext uri="{FF2B5EF4-FFF2-40B4-BE49-F238E27FC236}">
                  <a16:creationId xmlns:a16="http://schemas.microsoft.com/office/drawing/2014/main" id="{CE30ADAD-6662-46CB-9F1B-B1109F31D2A1}"/>
                </a:ext>
              </a:extLst>
            </p:cNvPr>
            <p:cNvSpPr/>
            <p:nvPr/>
          </p:nvSpPr>
          <p:spPr>
            <a:xfrm rot="7484129">
              <a:off x="362597" y="245474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8" name="Forme libre : forme 337">
              <a:extLst>
                <a:ext uri="{FF2B5EF4-FFF2-40B4-BE49-F238E27FC236}">
                  <a16:creationId xmlns:a16="http://schemas.microsoft.com/office/drawing/2014/main" id="{E0EC12C4-DE16-425E-A187-948925CA8B78}"/>
                </a:ext>
              </a:extLst>
            </p:cNvPr>
            <p:cNvSpPr/>
            <p:nvPr/>
          </p:nvSpPr>
          <p:spPr>
            <a:xfrm rot="13089394">
              <a:off x="463440" y="2426400"/>
              <a:ext cx="272584" cy="319064"/>
            </a:xfrm>
            <a:custGeom>
              <a:avLst/>
              <a:gdLst>
                <a:gd name="connsiteX0" fmla="*/ 80445 w 272584"/>
                <a:gd name="connsiteY0" fmla="*/ 215518 h 319064"/>
                <a:gd name="connsiteX1" fmla="*/ 0 w 272584"/>
                <a:gd name="connsiteY1" fmla="*/ 93007 h 319064"/>
                <a:gd name="connsiteX2" fmla="*/ 0 w 272584"/>
                <a:gd name="connsiteY2" fmla="*/ 38074 h 319064"/>
                <a:gd name="connsiteX3" fmla="*/ 73388 w 272584"/>
                <a:gd name="connsiteY3" fmla="*/ 0 h 319064"/>
                <a:gd name="connsiteX4" fmla="*/ 74492 w 272584"/>
                <a:gd name="connsiteY4" fmla="*/ 153950 h 319064"/>
                <a:gd name="connsiteX5" fmla="*/ 76768 w 272584"/>
                <a:gd name="connsiteY5" fmla="*/ 200369 h 319064"/>
                <a:gd name="connsiteX6" fmla="*/ 272584 w 272584"/>
                <a:gd name="connsiteY6" fmla="*/ 258238 h 319064"/>
                <a:gd name="connsiteX7" fmla="*/ 177331 w 272584"/>
                <a:gd name="connsiteY7" fmla="*/ 311347 h 319064"/>
                <a:gd name="connsiteX8" fmla="*/ 148437 w 272584"/>
                <a:gd name="connsiteY8" fmla="*/ 319064 h 319064"/>
                <a:gd name="connsiteX9" fmla="*/ 119231 w 272584"/>
                <a:gd name="connsiteY9" fmla="*/ 274585 h 319064"/>
                <a:gd name="connsiteX10" fmla="*/ 153949 w 272584"/>
                <a:gd name="connsiteY10" fmla="*/ 281965 h 319064"/>
                <a:gd name="connsiteX11" fmla="*/ 203610 w 272584"/>
                <a:gd name="connsiteY11" fmla="*/ 273136 h 319064"/>
                <a:gd name="connsiteX12" fmla="*/ 271481 w 272584"/>
                <a:gd name="connsiteY12" fmla="*/ 245547 h 319064"/>
                <a:gd name="connsiteX13" fmla="*/ 272584 w 272584"/>
                <a:gd name="connsiteY13" fmla="*/ 252720 h 319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2584" h="319064">
                  <a:moveTo>
                    <a:pt x="80445" y="215518"/>
                  </a:moveTo>
                  <a:lnTo>
                    <a:pt x="0" y="93007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3664" y="169400"/>
                    <a:pt x="74492" y="184988"/>
                    <a:pt x="76768" y="200369"/>
                  </a:cubicBezTo>
                  <a:close/>
                  <a:moveTo>
                    <a:pt x="272584" y="258238"/>
                  </a:moveTo>
                  <a:cubicBezTo>
                    <a:pt x="243339" y="283344"/>
                    <a:pt x="209542" y="300312"/>
                    <a:pt x="177331" y="311347"/>
                  </a:cubicBezTo>
                  <a:lnTo>
                    <a:pt x="148437" y="319064"/>
                  </a:lnTo>
                  <a:lnTo>
                    <a:pt x="119231" y="274585"/>
                  </a:lnTo>
                  <a:lnTo>
                    <a:pt x="153949" y="281965"/>
                  </a:lnTo>
                  <a:cubicBezTo>
                    <a:pt x="171055" y="281413"/>
                    <a:pt x="187609" y="278102"/>
                    <a:pt x="203610" y="273136"/>
                  </a:cubicBezTo>
                  <a:cubicBezTo>
                    <a:pt x="226785" y="265963"/>
                    <a:pt x="249409" y="256583"/>
                    <a:pt x="271481" y="245547"/>
                  </a:cubicBezTo>
                  <a:cubicBezTo>
                    <a:pt x="272032" y="247754"/>
                    <a:pt x="272584" y="250513"/>
                    <a:pt x="272584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9" name="Forme libre : forme 338">
              <a:extLst>
                <a:ext uri="{FF2B5EF4-FFF2-40B4-BE49-F238E27FC236}">
                  <a16:creationId xmlns:a16="http://schemas.microsoft.com/office/drawing/2014/main" id="{0EBB3BF6-5F1A-4179-B16F-FF1F99B6BEAC}"/>
                </a:ext>
              </a:extLst>
            </p:cNvPr>
            <p:cNvSpPr/>
            <p:nvPr/>
          </p:nvSpPr>
          <p:spPr>
            <a:xfrm rot="8716295">
              <a:off x="675867" y="2357327"/>
              <a:ext cx="38012" cy="45752"/>
            </a:xfrm>
            <a:custGeom>
              <a:avLst/>
              <a:gdLst>
                <a:gd name="connsiteX0" fmla="*/ 0 w 38012"/>
                <a:gd name="connsiteY0" fmla="*/ 45752 h 45752"/>
                <a:gd name="connsiteX1" fmla="*/ 37842 w 38012"/>
                <a:gd name="connsiteY1" fmla="*/ 0 h 45752"/>
                <a:gd name="connsiteX2" fmla="*/ 38012 w 38012"/>
                <a:gd name="connsiteY2" fmla="*/ 641 h 45752"/>
                <a:gd name="connsiteX3" fmla="*/ 6841 w 38012"/>
                <a:gd name="connsiteY3" fmla="*/ 42560 h 45752"/>
                <a:gd name="connsiteX4" fmla="*/ 7378 w 38012"/>
                <a:gd name="connsiteY4" fmla="*/ 42560 h 45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012" h="45752">
                  <a:moveTo>
                    <a:pt x="0" y="45752"/>
                  </a:moveTo>
                  <a:lnTo>
                    <a:pt x="37842" y="0"/>
                  </a:lnTo>
                  <a:lnTo>
                    <a:pt x="38012" y="641"/>
                  </a:lnTo>
                  <a:cubicBezTo>
                    <a:pt x="36400" y="19451"/>
                    <a:pt x="24039" y="35036"/>
                    <a:pt x="6841" y="42560"/>
                  </a:cubicBezTo>
                  <a:lnTo>
                    <a:pt x="7378" y="425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0" name="Forme libre : forme 339">
              <a:extLst>
                <a:ext uri="{FF2B5EF4-FFF2-40B4-BE49-F238E27FC236}">
                  <a16:creationId xmlns:a16="http://schemas.microsoft.com/office/drawing/2014/main" id="{40BD2394-2E6A-43B3-8282-5AF2A68AFB55}"/>
                </a:ext>
              </a:extLst>
            </p:cNvPr>
            <p:cNvSpPr/>
            <p:nvPr/>
          </p:nvSpPr>
          <p:spPr>
            <a:xfrm rot="8716295">
              <a:off x="601197" y="21260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1" name="Forme libre : forme 340">
              <a:extLst>
                <a:ext uri="{FF2B5EF4-FFF2-40B4-BE49-F238E27FC236}">
                  <a16:creationId xmlns:a16="http://schemas.microsoft.com/office/drawing/2014/main" id="{98C4AC75-3010-49F3-9D48-1212A4D988F1}"/>
                </a:ext>
              </a:extLst>
            </p:cNvPr>
            <p:cNvSpPr/>
            <p:nvPr/>
          </p:nvSpPr>
          <p:spPr>
            <a:xfrm rot="8716295">
              <a:off x="357951" y="21562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2" name="Forme libre : forme 341">
              <a:extLst>
                <a:ext uri="{FF2B5EF4-FFF2-40B4-BE49-F238E27FC236}">
                  <a16:creationId xmlns:a16="http://schemas.microsoft.com/office/drawing/2014/main" id="{F44EFD0C-26D8-44AF-B8B7-34925D1881F3}"/>
                </a:ext>
              </a:extLst>
            </p:cNvPr>
            <p:cNvSpPr/>
            <p:nvPr/>
          </p:nvSpPr>
          <p:spPr>
            <a:xfrm rot="8716295">
              <a:off x="535403" y="199698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3" name="Forme libre : forme 342">
              <a:extLst>
                <a:ext uri="{FF2B5EF4-FFF2-40B4-BE49-F238E27FC236}">
                  <a16:creationId xmlns:a16="http://schemas.microsoft.com/office/drawing/2014/main" id="{1A320605-AC28-4E7D-BF63-1E3FD62FB21F}"/>
                </a:ext>
              </a:extLst>
            </p:cNvPr>
            <p:cNvSpPr/>
            <p:nvPr/>
          </p:nvSpPr>
          <p:spPr>
            <a:xfrm rot="8716295">
              <a:off x="-76043" y="1768178"/>
              <a:ext cx="197178" cy="215049"/>
            </a:xfrm>
            <a:custGeom>
              <a:avLst/>
              <a:gdLst>
                <a:gd name="connsiteX0" fmla="*/ 51490 w 197178"/>
                <a:gd name="connsiteY0" fmla="*/ 215049 h 215049"/>
                <a:gd name="connsiteX1" fmla="*/ 51490 w 197178"/>
                <a:gd name="connsiteY1" fmla="*/ 45624 h 215049"/>
                <a:gd name="connsiteX2" fmla="*/ 0 w 197178"/>
                <a:gd name="connsiteY2" fmla="*/ 45624 h 215049"/>
                <a:gd name="connsiteX3" fmla="*/ 0 w 197178"/>
                <a:gd name="connsiteY3" fmla="*/ 1424 h 215049"/>
                <a:gd name="connsiteX4" fmla="*/ 104803 w 197178"/>
                <a:gd name="connsiteY4" fmla="*/ 1425 h 215049"/>
                <a:gd name="connsiteX5" fmla="*/ 104803 w 197178"/>
                <a:gd name="connsiteY5" fmla="*/ 75242 h 215049"/>
                <a:gd name="connsiteX6" fmla="*/ 106169 w 197178"/>
                <a:gd name="connsiteY6" fmla="*/ 75242 h 215049"/>
                <a:gd name="connsiteX7" fmla="*/ 154014 w 197178"/>
                <a:gd name="connsiteY7" fmla="*/ 5981 h 215049"/>
                <a:gd name="connsiteX8" fmla="*/ 185455 w 197178"/>
                <a:gd name="connsiteY8" fmla="*/ 57 h 215049"/>
                <a:gd name="connsiteX9" fmla="*/ 197178 w 197178"/>
                <a:gd name="connsiteY9" fmla="*/ 4872 h 215049"/>
                <a:gd name="connsiteX10" fmla="*/ 170795 w 197178"/>
                <a:gd name="connsiteY10" fmla="*/ 42934 h 215049"/>
                <a:gd name="connsiteX11" fmla="*/ 164950 w 197178"/>
                <a:gd name="connsiteY11" fmla="*/ 40156 h 215049"/>
                <a:gd name="connsiteX12" fmla="*/ 111638 w 197178"/>
                <a:gd name="connsiteY12" fmla="*/ 127643 h 215049"/>
                <a:gd name="connsiteX13" fmla="*/ 111638 w 197178"/>
                <a:gd name="connsiteY13" fmla="*/ 128277 h 21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178" h="215049">
                  <a:moveTo>
                    <a:pt x="51490" y="215049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4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lnTo>
                    <a:pt x="197178" y="4872"/>
                  </a:lnTo>
                  <a:lnTo>
                    <a:pt x="170795" y="42934"/>
                  </a:lnTo>
                  <a:lnTo>
                    <a:pt x="164950" y="40156"/>
                  </a:ln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1282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4" name="Forme libre : forme 343">
              <a:extLst>
                <a:ext uri="{FF2B5EF4-FFF2-40B4-BE49-F238E27FC236}">
                  <a16:creationId xmlns:a16="http://schemas.microsoft.com/office/drawing/2014/main" id="{79B4D19B-E848-47AB-BAFE-59EBF555A6F5}"/>
                </a:ext>
              </a:extLst>
            </p:cNvPr>
            <p:cNvSpPr/>
            <p:nvPr/>
          </p:nvSpPr>
          <p:spPr>
            <a:xfrm rot="8716295">
              <a:off x="56555" y="14742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5" name="Forme libre : forme 344">
              <a:extLst>
                <a:ext uri="{FF2B5EF4-FFF2-40B4-BE49-F238E27FC236}">
                  <a16:creationId xmlns:a16="http://schemas.microsoft.com/office/drawing/2014/main" id="{0496B299-828A-4BBC-966F-5FA47083E3CE}"/>
                </a:ext>
              </a:extLst>
            </p:cNvPr>
            <p:cNvSpPr/>
            <p:nvPr/>
          </p:nvSpPr>
          <p:spPr>
            <a:xfrm rot="8716295">
              <a:off x="145947" y="15034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6" name="Forme libre : forme 345">
              <a:extLst>
                <a:ext uri="{FF2B5EF4-FFF2-40B4-BE49-F238E27FC236}">
                  <a16:creationId xmlns:a16="http://schemas.microsoft.com/office/drawing/2014/main" id="{47AF6C7D-4B3B-4997-9D6C-9505A068BCE6}"/>
                </a:ext>
              </a:extLst>
            </p:cNvPr>
            <p:cNvSpPr/>
            <p:nvPr/>
          </p:nvSpPr>
          <p:spPr>
            <a:xfrm rot="8716295">
              <a:off x="-21870" y="1443501"/>
              <a:ext cx="68614" cy="55323"/>
            </a:xfrm>
            <a:custGeom>
              <a:avLst/>
              <a:gdLst>
                <a:gd name="connsiteX0" fmla="*/ 0 w 68614"/>
                <a:gd name="connsiteY0" fmla="*/ 55323 h 55323"/>
                <a:gd name="connsiteX1" fmla="*/ 0 w 68614"/>
                <a:gd name="connsiteY1" fmla="*/ 0 h 55323"/>
                <a:gd name="connsiteX2" fmla="*/ 68614 w 68614"/>
                <a:gd name="connsiteY2" fmla="*/ 0 h 55323"/>
                <a:gd name="connsiteX3" fmla="*/ 30266 w 68614"/>
                <a:gd name="connsiteY3" fmla="*/ 55323 h 55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614" h="55323">
                  <a:moveTo>
                    <a:pt x="0" y="55323"/>
                  </a:moveTo>
                  <a:lnTo>
                    <a:pt x="0" y="0"/>
                  </a:lnTo>
                  <a:lnTo>
                    <a:pt x="68614" y="0"/>
                  </a:lnTo>
                  <a:lnTo>
                    <a:pt x="30266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7" name="Forme libre : forme 346">
              <a:extLst>
                <a:ext uri="{FF2B5EF4-FFF2-40B4-BE49-F238E27FC236}">
                  <a16:creationId xmlns:a16="http://schemas.microsoft.com/office/drawing/2014/main" id="{6A925E12-2BFF-4625-A0A6-B147409EE83D}"/>
                </a:ext>
              </a:extLst>
            </p:cNvPr>
            <p:cNvSpPr/>
            <p:nvPr/>
          </p:nvSpPr>
          <p:spPr>
            <a:xfrm rot="8716295">
              <a:off x="35817" y="1618109"/>
              <a:ext cx="103435" cy="203897"/>
            </a:xfrm>
            <a:custGeom>
              <a:avLst/>
              <a:gdLst>
                <a:gd name="connsiteX0" fmla="*/ 87556 w 103435"/>
                <a:gd name="connsiteY0" fmla="*/ 203897 h 203897"/>
                <a:gd name="connsiteX1" fmla="*/ 43288 w 103435"/>
                <a:gd name="connsiteY1" fmla="*/ 161305 h 203897"/>
                <a:gd name="connsiteX2" fmla="*/ 43288 w 103435"/>
                <a:gd name="connsiteY2" fmla="*/ 16404 h 203897"/>
                <a:gd name="connsiteX3" fmla="*/ 0 w 103435"/>
                <a:gd name="connsiteY3" fmla="*/ 16404 h 203897"/>
                <a:gd name="connsiteX4" fmla="*/ 0 w 103435"/>
                <a:gd name="connsiteY4" fmla="*/ 2278 h 203897"/>
                <a:gd name="connsiteX5" fmla="*/ 103435 w 103435"/>
                <a:gd name="connsiteY5" fmla="*/ 0 h 203897"/>
                <a:gd name="connsiteX6" fmla="*/ 103435 w 103435"/>
                <a:gd name="connsiteY6" fmla="*/ 180989 h 203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03897">
                  <a:moveTo>
                    <a:pt x="87556" y="203897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1809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8" name="Forme libre : forme 347">
              <a:extLst>
                <a:ext uri="{FF2B5EF4-FFF2-40B4-BE49-F238E27FC236}">
                  <a16:creationId xmlns:a16="http://schemas.microsoft.com/office/drawing/2014/main" id="{8F161AAD-ABF3-4F08-A5E7-178FA67C468C}"/>
                </a:ext>
              </a:extLst>
            </p:cNvPr>
            <p:cNvSpPr/>
            <p:nvPr/>
          </p:nvSpPr>
          <p:spPr>
            <a:xfrm rot="7484129">
              <a:off x="139430" y="17950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9" name="Forme libre : forme 348">
              <a:extLst>
                <a:ext uri="{FF2B5EF4-FFF2-40B4-BE49-F238E27FC236}">
                  <a16:creationId xmlns:a16="http://schemas.microsoft.com/office/drawing/2014/main" id="{2B2677AB-A960-4EDE-895B-90B39923E929}"/>
                </a:ext>
              </a:extLst>
            </p:cNvPr>
            <p:cNvSpPr/>
            <p:nvPr/>
          </p:nvSpPr>
          <p:spPr>
            <a:xfrm rot="13089394">
              <a:off x="244250" y="17615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0" name="Forme libre : forme 349">
              <a:extLst>
                <a:ext uri="{FF2B5EF4-FFF2-40B4-BE49-F238E27FC236}">
                  <a16:creationId xmlns:a16="http://schemas.microsoft.com/office/drawing/2014/main" id="{57CCAF2A-AD40-4587-8C0B-9AD3AA1B47B2}"/>
                </a:ext>
              </a:extLst>
            </p:cNvPr>
            <p:cNvSpPr/>
            <p:nvPr/>
          </p:nvSpPr>
          <p:spPr>
            <a:xfrm rot="8716295">
              <a:off x="429835" y="15699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1" name="Forme libre : forme 350">
              <a:extLst>
                <a:ext uri="{FF2B5EF4-FFF2-40B4-BE49-F238E27FC236}">
                  <a16:creationId xmlns:a16="http://schemas.microsoft.com/office/drawing/2014/main" id="{1CD46395-0105-4DB9-A258-02757ED2970C}"/>
                </a:ext>
              </a:extLst>
            </p:cNvPr>
            <p:cNvSpPr/>
            <p:nvPr/>
          </p:nvSpPr>
          <p:spPr>
            <a:xfrm rot="8716295">
              <a:off x="378030" y="14663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2" name="Forme libre : forme 351">
              <a:extLst>
                <a:ext uri="{FF2B5EF4-FFF2-40B4-BE49-F238E27FC236}">
                  <a16:creationId xmlns:a16="http://schemas.microsoft.com/office/drawing/2014/main" id="{792A22ED-7042-473B-B5F0-A8F38B0EAB40}"/>
                </a:ext>
              </a:extLst>
            </p:cNvPr>
            <p:cNvSpPr/>
            <p:nvPr/>
          </p:nvSpPr>
          <p:spPr>
            <a:xfrm rot="8716295">
              <a:off x="134784" y="14965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3" name="Forme libre : forme 352">
              <a:extLst>
                <a:ext uri="{FF2B5EF4-FFF2-40B4-BE49-F238E27FC236}">
                  <a16:creationId xmlns:a16="http://schemas.microsoft.com/office/drawing/2014/main" id="{F026E106-3ED5-479C-A7E5-1D0CF59276FB}"/>
                </a:ext>
              </a:extLst>
            </p:cNvPr>
            <p:cNvSpPr/>
            <p:nvPr/>
          </p:nvSpPr>
          <p:spPr>
            <a:xfrm rot="8716295">
              <a:off x="312236" y="13372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4" name="Forme libre : forme 353">
              <a:extLst>
                <a:ext uri="{FF2B5EF4-FFF2-40B4-BE49-F238E27FC236}">
                  <a16:creationId xmlns:a16="http://schemas.microsoft.com/office/drawing/2014/main" id="{A652AA44-0788-418A-BCB7-7692D06F9F9C}"/>
                </a:ext>
              </a:extLst>
            </p:cNvPr>
            <p:cNvSpPr/>
            <p:nvPr/>
          </p:nvSpPr>
          <p:spPr>
            <a:xfrm rot="8716295">
              <a:off x="-17798" y="949199"/>
              <a:ext cx="39526" cy="50123"/>
            </a:xfrm>
            <a:custGeom>
              <a:avLst/>
              <a:gdLst>
                <a:gd name="connsiteX0" fmla="*/ 0 w 39526"/>
                <a:gd name="connsiteY0" fmla="*/ 50123 h 50123"/>
                <a:gd name="connsiteX1" fmla="*/ 0 w 39526"/>
                <a:gd name="connsiteY1" fmla="*/ 0 h 50123"/>
                <a:gd name="connsiteX2" fmla="*/ 39526 w 39526"/>
                <a:gd name="connsiteY2" fmla="*/ 0 h 50123"/>
                <a:gd name="connsiteX3" fmla="*/ 4782 w 39526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26" h="50123">
                  <a:moveTo>
                    <a:pt x="0" y="50123"/>
                  </a:moveTo>
                  <a:lnTo>
                    <a:pt x="0" y="0"/>
                  </a:lnTo>
                  <a:lnTo>
                    <a:pt x="39526" y="0"/>
                  </a:lnTo>
                  <a:lnTo>
                    <a:pt x="4782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5" name="Forme libre : forme 354">
              <a:extLst>
                <a:ext uri="{FF2B5EF4-FFF2-40B4-BE49-F238E27FC236}">
                  <a16:creationId xmlns:a16="http://schemas.microsoft.com/office/drawing/2014/main" id="{CC7F2B2F-A9EF-4436-92EE-F187A921B5A2}"/>
                </a:ext>
              </a:extLst>
            </p:cNvPr>
            <p:cNvSpPr/>
            <p:nvPr/>
          </p:nvSpPr>
          <p:spPr>
            <a:xfrm rot="8716295">
              <a:off x="-64996" y="834728"/>
              <a:ext cx="249650" cy="254774"/>
            </a:xfrm>
            <a:custGeom>
              <a:avLst/>
              <a:gdLst>
                <a:gd name="connsiteX0" fmla="*/ 51490 w 249650"/>
                <a:gd name="connsiteY0" fmla="*/ 254774 h 254774"/>
                <a:gd name="connsiteX1" fmla="*/ 51490 w 249650"/>
                <a:gd name="connsiteY1" fmla="*/ 45624 h 254774"/>
                <a:gd name="connsiteX2" fmla="*/ 0 w 249650"/>
                <a:gd name="connsiteY2" fmla="*/ 45624 h 254774"/>
                <a:gd name="connsiteX3" fmla="*/ 0 w 249650"/>
                <a:gd name="connsiteY3" fmla="*/ 1425 h 254774"/>
                <a:gd name="connsiteX4" fmla="*/ 104803 w 249650"/>
                <a:gd name="connsiteY4" fmla="*/ 1425 h 254774"/>
                <a:gd name="connsiteX5" fmla="*/ 104803 w 249650"/>
                <a:gd name="connsiteY5" fmla="*/ 75242 h 254774"/>
                <a:gd name="connsiteX6" fmla="*/ 106169 w 249650"/>
                <a:gd name="connsiteY6" fmla="*/ 75242 h 254774"/>
                <a:gd name="connsiteX7" fmla="*/ 154014 w 249650"/>
                <a:gd name="connsiteY7" fmla="*/ 5981 h 254774"/>
                <a:gd name="connsiteX8" fmla="*/ 185455 w 249650"/>
                <a:gd name="connsiteY8" fmla="*/ 57 h 254774"/>
                <a:gd name="connsiteX9" fmla="*/ 240647 w 249650"/>
                <a:gd name="connsiteY9" fmla="*/ 22727 h 254774"/>
                <a:gd name="connsiteX10" fmla="*/ 249650 w 249650"/>
                <a:gd name="connsiteY10" fmla="*/ 52327 h 254774"/>
                <a:gd name="connsiteX11" fmla="*/ 218795 w 249650"/>
                <a:gd name="connsiteY11" fmla="*/ 96841 h 254774"/>
                <a:gd name="connsiteX12" fmla="*/ 198669 w 249650"/>
                <a:gd name="connsiteY12" fmla="*/ 98025 h 254774"/>
                <a:gd name="connsiteX13" fmla="*/ 198669 w 249650"/>
                <a:gd name="connsiteY13" fmla="*/ 81621 h 254774"/>
                <a:gd name="connsiteX14" fmla="*/ 164950 w 249650"/>
                <a:gd name="connsiteY14" fmla="*/ 40156 h 254774"/>
                <a:gd name="connsiteX15" fmla="*/ 111638 w 249650"/>
                <a:gd name="connsiteY15" fmla="*/ 127643 h 254774"/>
                <a:gd name="connsiteX16" fmla="*/ 111638 w 249650"/>
                <a:gd name="connsiteY16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9650" h="254774">
                  <a:moveTo>
                    <a:pt x="51490" y="254774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08922" y="-398"/>
                    <a:pt x="227718" y="7576"/>
                    <a:pt x="240647" y="22727"/>
                  </a:cubicBezTo>
                  <a:lnTo>
                    <a:pt x="249650" y="52327"/>
                  </a:lnTo>
                  <a:lnTo>
                    <a:pt x="218795" y="96841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6" name="Forme libre : forme 355">
              <a:extLst>
                <a:ext uri="{FF2B5EF4-FFF2-40B4-BE49-F238E27FC236}">
                  <a16:creationId xmlns:a16="http://schemas.microsoft.com/office/drawing/2014/main" id="{B491F0AE-2B60-457D-9F7E-DF3C2D622FF0}"/>
                </a:ext>
              </a:extLst>
            </p:cNvPr>
            <p:cNvSpPr/>
            <p:nvPr/>
          </p:nvSpPr>
          <p:spPr>
            <a:xfrm rot="7484129">
              <a:off x="-63314" y="1172497"/>
              <a:ext cx="203848" cy="146395"/>
            </a:xfrm>
            <a:custGeom>
              <a:avLst/>
              <a:gdLst>
                <a:gd name="connsiteX0" fmla="*/ 0 w 203848"/>
                <a:gd name="connsiteY0" fmla="*/ 55323 h 146395"/>
                <a:gd name="connsiteX1" fmla="*/ 0 w 203848"/>
                <a:gd name="connsiteY1" fmla="*/ 0 h 146395"/>
                <a:gd name="connsiteX2" fmla="*/ 203848 w 203848"/>
                <a:gd name="connsiteY2" fmla="*/ 0 h 146395"/>
                <a:gd name="connsiteX3" fmla="*/ 203847 w 203848"/>
                <a:gd name="connsiteY3" fmla="*/ 49512 h 146395"/>
                <a:gd name="connsiteX4" fmla="*/ 195466 w 203848"/>
                <a:gd name="connsiteY4" fmla="*/ 55323 h 146395"/>
                <a:gd name="connsiteX5" fmla="*/ 139055 w 203848"/>
                <a:gd name="connsiteY5" fmla="*/ 55323 h 146395"/>
                <a:gd name="connsiteX6" fmla="*/ 121388 w 203848"/>
                <a:gd name="connsiteY6" fmla="*/ 106685 h 146395"/>
                <a:gd name="connsiteX7" fmla="*/ 64115 w 203848"/>
                <a:gd name="connsiteY7" fmla="*/ 146395 h 146395"/>
                <a:gd name="connsiteX8" fmla="*/ 47847 w 203848"/>
                <a:gd name="connsiteY8" fmla="*/ 116129 h 146395"/>
                <a:gd name="connsiteX9" fmla="*/ 69777 w 203848"/>
                <a:gd name="connsiteY9" fmla="*/ 55323 h 146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848" h="146395">
                  <a:moveTo>
                    <a:pt x="0" y="55323"/>
                  </a:moveTo>
                  <a:lnTo>
                    <a:pt x="0" y="0"/>
                  </a:lnTo>
                  <a:lnTo>
                    <a:pt x="203848" y="0"/>
                  </a:lnTo>
                  <a:lnTo>
                    <a:pt x="203847" y="49512"/>
                  </a:lnTo>
                  <a:lnTo>
                    <a:pt x="195466" y="55323"/>
                  </a:lnTo>
                  <a:lnTo>
                    <a:pt x="139055" y="55323"/>
                  </a:lnTo>
                  <a:lnTo>
                    <a:pt x="121388" y="106685"/>
                  </a:lnTo>
                  <a:lnTo>
                    <a:pt x="64115" y="146395"/>
                  </a:lnTo>
                  <a:lnTo>
                    <a:pt x="47847" y="116129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7" name="Forme libre : forme 356">
              <a:extLst>
                <a:ext uri="{FF2B5EF4-FFF2-40B4-BE49-F238E27FC236}">
                  <a16:creationId xmlns:a16="http://schemas.microsoft.com/office/drawing/2014/main" id="{566B0F1B-76F2-42A3-83ED-13519BAD8E0C}"/>
                </a:ext>
              </a:extLst>
            </p:cNvPr>
            <p:cNvSpPr/>
            <p:nvPr/>
          </p:nvSpPr>
          <p:spPr>
            <a:xfrm rot="13089394">
              <a:off x="25311" y="109952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8" name="Forme libre : forme 357">
              <a:extLst>
                <a:ext uri="{FF2B5EF4-FFF2-40B4-BE49-F238E27FC236}">
                  <a16:creationId xmlns:a16="http://schemas.microsoft.com/office/drawing/2014/main" id="{6ACA7109-A9A0-4CC8-B8F0-2B22C7DA70BF}"/>
                </a:ext>
              </a:extLst>
            </p:cNvPr>
            <p:cNvSpPr/>
            <p:nvPr/>
          </p:nvSpPr>
          <p:spPr>
            <a:xfrm rot="8716295">
              <a:off x="210896" y="90784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9" name="Forme libre : forme 358">
              <a:extLst>
                <a:ext uri="{FF2B5EF4-FFF2-40B4-BE49-F238E27FC236}">
                  <a16:creationId xmlns:a16="http://schemas.microsoft.com/office/drawing/2014/main" id="{452ADC31-6E2B-47AB-819B-06E9BDE7841B}"/>
                </a:ext>
              </a:extLst>
            </p:cNvPr>
            <p:cNvSpPr/>
            <p:nvPr/>
          </p:nvSpPr>
          <p:spPr>
            <a:xfrm rot="8716295">
              <a:off x="159091" y="80425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0" name="Forme libre : forme 359">
              <a:extLst>
                <a:ext uri="{FF2B5EF4-FFF2-40B4-BE49-F238E27FC236}">
                  <a16:creationId xmlns:a16="http://schemas.microsoft.com/office/drawing/2014/main" id="{BCEE9B8C-AA03-4719-891E-01DB914C78AC}"/>
                </a:ext>
              </a:extLst>
            </p:cNvPr>
            <p:cNvSpPr/>
            <p:nvPr/>
          </p:nvSpPr>
          <p:spPr>
            <a:xfrm rot="8716295">
              <a:off x="93297" y="67523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1" name="Forme libre : forme 360">
              <a:extLst>
                <a:ext uri="{FF2B5EF4-FFF2-40B4-BE49-F238E27FC236}">
                  <a16:creationId xmlns:a16="http://schemas.microsoft.com/office/drawing/2014/main" id="{F9DD0D80-4138-4478-988E-136F3B8038CE}"/>
                </a:ext>
              </a:extLst>
            </p:cNvPr>
            <p:cNvSpPr/>
            <p:nvPr/>
          </p:nvSpPr>
          <p:spPr>
            <a:xfrm rot="8716295">
              <a:off x="-7001" y="316701"/>
              <a:ext cx="14001" cy="20198"/>
            </a:xfrm>
            <a:custGeom>
              <a:avLst/>
              <a:gdLst>
                <a:gd name="connsiteX0" fmla="*/ 0 w 14001"/>
                <a:gd name="connsiteY0" fmla="*/ 20198 h 20198"/>
                <a:gd name="connsiteX1" fmla="*/ 0 w 14001"/>
                <a:gd name="connsiteY1" fmla="*/ 0 h 20198"/>
                <a:gd name="connsiteX2" fmla="*/ 14001 w 14001"/>
                <a:gd name="connsiteY2" fmla="*/ 0 h 2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01" h="20198">
                  <a:moveTo>
                    <a:pt x="0" y="20198"/>
                  </a:moveTo>
                  <a:lnTo>
                    <a:pt x="0" y="0"/>
                  </a:lnTo>
                  <a:lnTo>
                    <a:pt x="1400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2" name="Forme libre : forme 361">
              <a:extLst>
                <a:ext uri="{FF2B5EF4-FFF2-40B4-BE49-F238E27FC236}">
                  <a16:creationId xmlns:a16="http://schemas.microsoft.com/office/drawing/2014/main" id="{DF35AC08-7EAC-4D88-B60D-06D59DB2131D}"/>
                </a:ext>
              </a:extLst>
            </p:cNvPr>
            <p:cNvSpPr/>
            <p:nvPr/>
          </p:nvSpPr>
          <p:spPr>
            <a:xfrm rot="13089394">
              <a:off x="-81658" y="472652"/>
              <a:ext cx="173631" cy="237684"/>
            </a:xfrm>
            <a:custGeom>
              <a:avLst/>
              <a:gdLst>
                <a:gd name="connsiteX0" fmla="*/ 173631 w 173631"/>
                <a:gd name="connsiteY0" fmla="*/ 220990 h 237684"/>
                <a:gd name="connsiteX1" fmla="*/ 130972 w 173631"/>
                <a:gd name="connsiteY1" fmla="*/ 232382 h 237684"/>
                <a:gd name="connsiteX2" fmla="*/ 91597 w 173631"/>
                <a:gd name="connsiteY2" fmla="*/ 237521 h 237684"/>
                <a:gd name="connsiteX3" fmla="*/ 23727 w 173631"/>
                <a:gd name="connsiteY3" fmla="*/ 209931 h 237684"/>
                <a:gd name="connsiteX4" fmla="*/ 0 w 173631"/>
                <a:gd name="connsiteY4" fmla="*/ 115023 h 237684"/>
                <a:gd name="connsiteX5" fmla="*/ 0 w 173631"/>
                <a:gd name="connsiteY5" fmla="*/ 0 h 237684"/>
                <a:gd name="connsiteX6" fmla="*/ 76176 w 173631"/>
                <a:gd name="connsiteY6" fmla="*/ 96953 h 237684"/>
                <a:gd name="connsiteX7" fmla="*/ 76768 w 173631"/>
                <a:gd name="connsiteY7" fmla="*/ 109023 h 237684"/>
                <a:gd name="connsiteX8" fmla="*/ 87734 w 173631"/>
                <a:gd name="connsiteY8" fmla="*/ 154201 h 237684"/>
                <a:gd name="connsiteX9" fmla="*/ 111117 w 173631"/>
                <a:gd name="connsiteY9" fmla="*/ 181514 h 237684"/>
                <a:gd name="connsiteX10" fmla="*/ 148930 w 173631"/>
                <a:gd name="connsiteY10" fmla="*/ 189552 h 237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3631" h="237684">
                  <a:moveTo>
                    <a:pt x="173631" y="220990"/>
                  </a:moveTo>
                  <a:lnTo>
                    <a:pt x="130972" y="232382"/>
                  </a:lnTo>
                  <a:cubicBezTo>
                    <a:pt x="116428" y="235210"/>
                    <a:pt x="103047" y="236831"/>
                    <a:pt x="91597" y="237521"/>
                  </a:cubicBezTo>
                  <a:cubicBezTo>
                    <a:pt x="66215" y="239176"/>
                    <a:pt x="41384" y="228141"/>
                    <a:pt x="23727" y="209931"/>
                  </a:cubicBezTo>
                  <a:cubicBezTo>
                    <a:pt x="4966" y="191722"/>
                    <a:pt x="0" y="160270"/>
                    <a:pt x="0" y="115023"/>
                  </a:cubicBezTo>
                  <a:lnTo>
                    <a:pt x="0" y="0"/>
                  </a:lnTo>
                  <a:lnTo>
                    <a:pt x="76176" y="96953"/>
                  </a:lnTo>
                  <a:lnTo>
                    <a:pt x="76768" y="109023"/>
                  </a:lnTo>
                  <a:cubicBezTo>
                    <a:pt x="79044" y="124404"/>
                    <a:pt x="82768" y="139578"/>
                    <a:pt x="87734" y="154201"/>
                  </a:cubicBezTo>
                  <a:cubicBezTo>
                    <a:pt x="92149" y="166340"/>
                    <a:pt x="100012" y="175445"/>
                    <a:pt x="111117" y="181514"/>
                  </a:cubicBezTo>
                  <a:lnTo>
                    <a:pt x="148930" y="1895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3" name="Forme libre : forme 362">
              <a:extLst>
                <a:ext uri="{FF2B5EF4-FFF2-40B4-BE49-F238E27FC236}">
                  <a16:creationId xmlns:a16="http://schemas.microsoft.com/office/drawing/2014/main" id="{9AFF3E46-2559-4C6F-8BF3-7DBBEBA30E07}"/>
                </a:ext>
              </a:extLst>
            </p:cNvPr>
            <p:cNvSpPr/>
            <p:nvPr/>
          </p:nvSpPr>
          <p:spPr>
            <a:xfrm rot="8716295">
              <a:off x="-11774" y="24443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4" name="Forme libre : forme 363">
              <a:extLst>
                <a:ext uri="{FF2B5EF4-FFF2-40B4-BE49-F238E27FC236}">
                  <a16:creationId xmlns:a16="http://schemas.microsoft.com/office/drawing/2014/main" id="{97E07195-EA95-4E14-9CB9-A69F34AE04C5}"/>
                </a:ext>
              </a:extLst>
            </p:cNvPr>
            <p:cNvSpPr/>
            <p:nvPr/>
          </p:nvSpPr>
          <p:spPr>
            <a:xfrm rot="8716295">
              <a:off x="-30092" y="143486"/>
              <a:ext cx="77721" cy="97260"/>
            </a:xfrm>
            <a:custGeom>
              <a:avLst/>
              <a:gdLst>
                <a:gd name="connsiteX0" fmla="*/ 15821 w 77721"/>
                <a:gd name="connsiteY0" fmla="*/ 97260 h 97260"/>
                <a:gd name="connsiteX1" fmla="*/ 0 w 77721"/>
                <a:gd name="connsiteY1" fmla="*/ 59790 h 97260"/>
                <a:gd name="connsiteX2" fmla="*/ 0 w 77721"/>
                <a:gd name="connsiteY2" fmla="*/ 58869 h 97260"/>
                <a:gd name="connsiteX3" fmla="*/ 17477 w 77721"/>
                <a:gd name="connsiteY3" fmla="*/ 17477 h 97260"/>
                <a:gd name="connsiteX4" fmla="*/ 58869 w 77721"/>
                <a:gd name="connsiteY4" fmla="*/ 0 h 97260"/>
                <a:gd name="connsiteX5" fmla="*/ 77721 w 77721"/>
                <a:gd name="connsiteY5" fmla="*/ 7960 h 97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721" h="97260">
                  <a:moveTo>
                    <a:pt x="15821" y="97260"/>
                  </a:moveTo>
                  <a:lnTo>
                    <a:pt x="0" y="59790"/>
                  </a:ln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lnTo>
                    <a:pt x="77721" y="79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5" name="Forme libre : forme 364">
              <a:extLst>
                <a:ext uri="{FF2B5EF4-FFF2-40B4-BE49-F238E27FC236}">
                  <a16:creationId xmlns:a16="http://schemas.microsoft.com/office/drawing/2014/main" id="{F46DA911-E7B0-4E9F-BFB6-93C98E7208E7}"/>
                </a:ext>
              </a:extLst>
            </p:cNvPr>
            <p:cNvSpPr/>
            <p:nvPr/>
          </p:nvSpPr>
          <p:spPr>
            <a:xfrm rot="8716295">
              <a:off x="-17797" y="3452694"/>
              <a:ext cx="58455" cy="44199"/>
            </a:xfrm>
            <a:custGeom>
              <a:avLst/>
              <a:gdLst>
                <a:gd name="connsiteX0" fmla="*/ 0 w 58455"/>
                <a:gd name="connsiteY0" fmla="*/ 44199 h 44199"/>
                <a:gd name="connsiteX1" fmla="*/ 0 w 58455"/>
                <a:gd name="connsiteY1" fmla="*/ 0 h 44199"/>
                <a:gd name="connsiteX2" fmla="*/ 58455 w 58455"/>
                <a:gd name="connsiteY2" fmla="*/ 0 h 44199"/>
                <a:gd name="connsiteX3" fmla="*/ 27817 w 58455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55" h="44199">
                  <a:moveTo>
                    <a:pt x="0" y="44199"/>
                  </a:moveTo>
                  <a:lnTo>
                    <a:pt x="0" y="0"/>
                  </a:lnTo>
                  <a:lnTo>
                    <a:pt x="58455" y="0"/>
                  </a:lnTo>
                  <a:lnTo>
                    <a:pt x="27817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6" name="Forme libre : forme 365">
              <a:extLst>
                <a:ext uri="{FF2B5EF4-FFF2-40B4-BE49-F238E27FC236}">
                  <a16:creationId xmlns:a16="http://schemas.microsoft.com/office/drawing/2014/main" id="{C1D02749-F8C1-46C8-BEE0-16746055E93D}"/>
                </a:ext>
              </a:extLst>
            </p:cNvPr>
            <p:cNvSpPr/>
            <p:nvPr/>
          </p:nvSpPr>
          <p:spPr>
            <a:xfrm rot="13089394">
              <a:off x="-91485" y="3601812"/>
              <a:ext cx="206527" cy="292654"/>
            </a:xfrm>
            <a:custGeom>
              <a:avLst/>
              <a:gdLst>
                <a:gd name="connsiteX0" fmla="*/ 206527 w 206527"/>
                <a:gd name="connsiteY0" fmla="*/ 258693 h 292654"/>
                <a:gd name="connsiteX1" fmla="*/ 177331 w 206527"/>
                <a:gd name="connsiteY1" fmla="*/ 274971 h 292654"/>
                <a:gd name="connsiteX2" fmla="*/ 91597 w 206527"/>
                <a:gd name="connsiteY2" fmla="*/ 292491 h 292654"/>
                <a:gd name="connsiteX3" fmla="*/ 23727 w 206527"/>
                <a:gd name="connsiteY3" fmla="*/ 264901 h 292654"/>
                <a:gd name="connsiteX4" fmla="*/ 0 w 206527"/>
                <a:gd name="connsiteY4" fmla="*/ 169993 h 292654"/>
                <a:gd name="connsiteX5" fmla="*/ 0 w 206527"/>
                <a:gd name="connsiteY5" fmla="*/ 1698 h 292654"/>
                <a:gd name="connsiteX6" fmla="*/ 3273 w 206527"/>
                <a:gd name="connsiteY6" fmla="*/ 0 h 292654"/>
                <a:gd name="connsiteX7" fmla="*/ 74297 w 206527"/>
                <a:gd name="connsiteY7" fmla="*/ 90396 h 292654"/>
                <a:gd name="connsiteX8" fmla="*/ 74492 w 206527"/>
                <a:gd name="connsiteY8" fmla="*/ 117574 h 292654"/>
                <a:gd name="connsiteX9" fmla="*/ 87734 w 206527"/>
                <a:gd name="connsiteY9" fmla="*/ 209171 h 292654"/>
                <a:gd name="connsiteX10" fmla="*/ 153949 w 206527"/>
                <a:gd name="connsiteY10" fmla="*/ 245589 h 292654"/>
                <a:gd name="connsiteX11" fmla="*/ 191049 w 206527"/>
                <a:gd name="connsiteY11" fmla="*/ 238993 h 292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527" h="292654">
                  <a:moveTo>
                    <a:pt x="206527" y="258693"/>
                  </a:moveTo>
                  <a:lnTo>
                    <a:pt x="177331" y="274971"/>
                  </a:lnTo>
                  <a:cubicBezTo>
                    <a:pt x="145121" y="286007"/>
                    <a:pt x="114496" y="291111"/>
                    <a:pt x="91597" y="292491"/>
                  </a:cubicBezTo>
                  <a:cubicBezTo>
                    <a:pt x="66215" y="294146"/>
                    <a:pt x="41385" y="283111"/>
                    <a:pt x="23727" y="264901"/>
                  </a:cubicBezTo>
                  <a:cubicBezTo>
                    <a:pt x="4966" y="246692"/>
                    <a:pt x="0" y="215240"/>
                    <a:pt x="0" y="169993"/>
                  </a:cubicBezTo>
                  <a:lnTo>
                    <a:pt x="0" y="1698"/>
                  </a:lnTo>
                  <a:lnTo>
                    <a:pt x="3273" y="0"/>
                  </a:lnTo>
                  <a:lnTo>
                    <a:pt x="74297" y="90396"/>
                  </a:lnTo>
                  <a:lnTo>
                    <a:pt x="74492" y="117574"/>
                  </a:lnTo>
                  <a:cubicBezTo>
                    <a:pt x="72836" y="148474"/>
                    <a:pt x="77802" y="179926"/>
                    <a:pt x="87734" y="209171"/>
                  </a:cubicBezTo>
                  <a:cubicBezTo>
                    <a:pt x="96564" y="233450"/>
                    <a:pt x="119187" y="245589"/>
                    <a:pt x="153949" y="245589"/>
                  </a:cubicBezTo>
                  <a:lnTo>
                    <a:pt x="191049" y="2389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7" name="Forme libre : forme 366">
              <a:extLst>
                <a:ext uri="{FF2B5EF4-FFF2-40B4-BE49-F238E27FC236}">
                  <a16:creationId xmlns:a16="http://schemas.microsoft.com/office/drawing/2014/main" id="{DE83541C-6C64-4EFA-96DA-32677B2F8AB7}"/>
                </a:ext>
              </a:extLst>
            </p:cNvPr>
            <p:cNvSpPr/>
            <p:nvPr/>
          </p:nvSpPr>
          <p:spPr>
            <a:xfrm rot="8716295">
              <a:off x="24761" y="33896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8" name="Forme libre : forme 367">
              <a:extLst>
                <a:ext uri="{FF2B5EF4-FFF2-40B4-BE49-F238E27FC236}">
                  <a16:creationId xmlns:a16="http://schemas.microsoft.com/office/drawing/2014/main" id="{97641E82-A92B-4DDB-9997-4330C2FFFC03}"/>
                </a:ext>
              </a:extLst>
            </p:cNvPr>
            <p:cNvSpPr/>
            <p:nvPr/>
          </p:nvSpPr>
          <p:spPr>
            <a:xfrm rot="8716295">
              <a:off x="-24047" y="3281741"/>
              <a:ext cx="106042" cy="113733"/>
            </a:xfrm>
            <a:custGeom>
              <a:avLst/>
              <a:gdLst>
                <a:gd name="connsiteX0" fmla="*/ 17477 w 106042"/>
                <a:gd name="connsiteY0" fmla="*/ 101182 h 113733"/>
                <a:gd name="connsiteX1" fmla="*/ 0 w 106042"/>
                <a:gd name="connsiteY1" fmla="*/ 59790 h 113733"/>
                <a:gd name="connsiteX2" fmla="*/ 0 w 106042"/>
                <a:gd name="connsiteY2" fmla="*/ 58869 h 113733"/>
                <a:gd name="connsiteX3" fmla="*/ 17477 w 106042"/>
                <a:gd name="connsiteY3" fmla="*/ 17477 h 113733"/>
                <a:gd name="connsiteX4" fmla="*/ 58869 w 106042"/>
                <a:gd name="connsiteY4" fmla="*/ 0 h 113733"/>
                <a:gd name="connsiteX5" fmla="*/ 100262 w 106042"/>
                <a:gd name="connsiteY5" fmla="*/ 17477 h 113733"/>
                <a:gd name="connsiteX6" fmla="*/ 106042 w 106042"/>
                <a:gd name="connsiteY6" fmla="*/ 31234 h 113733"/>
                <a:gd name="connsiteX7" fmla="*/ 48856 w 106042"/>
                <a:gd name="connsiteY7" fmla="*/ 113733 h 11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042" h="113733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cubicBezTo>
                    <a:pt x="74507" y="0"/>
                    <a:pt x="89224" y="6439"/>
                    <a:pt x="100262" y="17477"/>
                  </a:cubicBezTo>
                  <a:lnTo>
                    <a:pt x="106042" y="31234"/>
                  </a:lnTo>
                  <a:lnTo>
                    <a:pt x="48856" y="1137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9" name="Forme libre : forme 368">
              <a:extLst>
                <a:ext uri="{FF2B5EF4-FFF2-40B4-BE49-F238E27FC236}">
                  <a16:creationId xmlns:a16="http://schemas.microsoft.com/office/drawing/2014/main" id="{CA7B7E86-E158-4CCC-9F30-35FD45AC52DC}"/>
                </a:ext>
              </a:extLst>
            </p:cNvPr>
            <p:cNvSpPr/>
            <p:nvPr/>
          </p:nvSpPr>
          <p:spPr>
            <a:xfrm rot="8716295">
              <a:off x="-21924" y="3179872"/>
              <a:ext cx="45776" cy="62656"/>
            </a:xfrm>
            <a:custGeom>
              <a:avLst/>
              <a:gdLst>
                <a:gd name="connsiteX0" fmla="*/ 2345 w 45776"/>
                <a:gd name="connsiteY0" fmla="*/ 62656 h 62656"/>
                <a:gd name="connsiteX1" fmla="*/ 0 w 45776"/>
                <a:gd name="connsiteY1" fmla="*/ 57104 h 62656"/>
                <a:gd name="connsiteX2" fmla="*/ 0 w 45776"/>
                <a:gd name="connsiteY2" fmla="*/ 56183 h 62656"/>
                <a:gd name="connsiteX3" fmla="*/ 17477 w 45776"/>
                <a:gd name="connsiteY3" fmla="*/ 14791 h 62656"/>
                <a:gd name="connsiteX4" fmla="*/ 36449 w 45776"/>
                <a:gd name="connsiteY4" fmla="*/ 1913 h 62656"/>
                <a:gd name="connsiteX5" fmla="*/ 45776 w 45776"/>
                <a:gd name="connsiteY5" fmla="*/ 0 h 62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776" h="62656">
                  <a:moveTo>
                    <a:pt x="2345" y="62656"/>
                  </a:moveTo>
                  <a:lnTo>
                    <a:pt x="0" y="57104"/>
                  </a:lnTo>
                  <a:lnTo>
                    <a:pt x="0" y="56183"/>
                  </a:lnTo>
                  <a:cubicBezTo>
                    <a:pt x="0" y="40547"/>
                    <a:pt x="6439" y="25829"/>
                    <a:pt x="17477" y="14791"/>
                  </a:cubicBezTo>
                  <a:cubicBezTo>
                    <a:pt x="22996" y="9272"/>
                    <a:pt x="29435" y="4903"/>
                    <a:pt x="36449" y="1913"/>
                  </a:cubicBezTo>
                  <a:lnTo>
                    <a:pt x="4577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0" name="Forme libre : forme 369">
              <a:extLst>
                <a:ext uri="{FF2B5EF4-FFF2-40B4-BE49-F238E27FC236}">
                  <a16:creationId xmlns:a16="http://schemas.microsoft.com/office/drawing/2014/main" id="{B95921A2-46DE-49F9-9F14-5364CEEC2044}"/>
                </a:ext>
              </a:extLst>
            </p:cNvPr>
            <p:cNvSpPr/>
            <p:nvPr/>
          </p:nvSpPr>
          <p:spPr>
            <a:xfrm rot="8716295">
              <a:off x="-21324" y="4100649"/>
              <a:ext cx="79113" cy="50123"/>
            </a:xfrm>
            <a:custGeom>
              <a:avLst/>
              <a:gdLst>
                <a:gd name="connsiteX0" fmla="*/ 0 w 79113"/>
                <a:gd name="connsiteY0" fmla="*/ 50123 h 50123"/>
                <a:gd name="connsiteX1" fmla="*/ 0 w 79113"/>
                <a:gd name="connsiteY1" fmla="*/ 0 h 50123"/>
                <a:gd name="connsiteX2" fmla="*/ 79113 w 79113"/>
                <a:gd name="connsiteY2" fmla="*/ 0 h 50123"/>
                <a:gd name="connsiteX3" fmla="*/ 44369 w 79113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113" h="50123">
                  <a:moveTo>
                    <a:pt x="0" y="50123"/>
                  </a:moveTo>
                  <a:lnTo>
                    <a:pt x="0" y="0"/>
                  </a:lnTo>
                  <a:lnTo>
                    <a:pt x="79113" y="0"/>
                  </a:lnTo>
                  <a:lnTo>
                    <a:pt x="44369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1" name="Forme libre : forme 370">
              <a:extLst>
                <a:ext uri="{FF2B5EF4-FFF2-40B4-BE49-F238E27FC236}">
                  <a16:creationId xmlns:a16="http://schemas.microsoft.com/office/drawing/2014/main" id="{84FEE941-A7A7-41F0-870B-FF2E21B132E9}"/>
                </a:ext>
              </a:extLst>
            </p:cNvPr>
            <p:cNvSpPr/>
            <p:nvPr/>
          </p:nvSpPr>
          <p:spPr>
            <a:xfrm rot="8716295">
              <a:off x="-40457" y="398156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2" name="Forme libre : forme 371">
              <a:extLst>
                <a:ext uri="{FF2B5EF4-FFF2-40B4-BE49-F238E27FC236}">
                  <a16:creationId xmlns:a16="http://schemas.microsoft.com/office/drawing/2014/main" id="{ED05E8E5-B04C-426F-A5B3-FDFECB7FA8BB}"/>
                </a:ext>
              </a:extLst>
            </p:cNvPr>
            <p:cNvSpPr/>
            <p:nvPr/>
          </p:nvSpPr>
          <p:spPr>
            <a:xfrm rot="7484129">
              <a:off x="-46974" y="427316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3" name="Forme libre : forme 372">
              <a:extLst>
                <a:ext uri="{FF2B5EF4-FFF2-40B4-BE49-F238E27FC236}">
                  <a16:creationId xmlns:a16="http://schemas.microsoft.com/office/drawing/2014/main" id="{2455BBCE-F26C-4AF6-86DC-09C81861FE56}"/>
                </a:ext>
              </a:extLst>
            </p:cNvPr>
            <p:cNvSpPr/>
            <p:nvPr/>
          </p:nvSpPr>
          <p:spPr>
            <a:xfrm rot="13089394">
              <a:off x="57846" y="423970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4" name="Forme libre : forme 373">
              <a:extLst>
                <a:ext uri="{FF2B5EF4-FFF2-40B4-BE49-F238E27FC236}">
                  <a16:creationId xmlns:a16="http://schemas.microsoft.com/office/drawing/2014/main" id="{51373B92-194C-42B9-B764-40EA297AE7F9}"/>
                </a:ext>
              </a:extLst>
            </p:cNvPr>
            <p:cNvSpPr/>
            <p:nvPr/>
          </p:nvSpPr>
          <p:spPr>
            <a:xfrm rot="8716295">
              <a:off x="243431" y="404801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5" name="Forme libre : forme 374">
              <a:extLst>
                <a:ext uri="{FF2B5EF4-FFF2-40B4-BE49-F238E27FC236}">
                  <a16:creationId xmlns:a16="http://schemas.microsoft.com/office/drawing/2014/main" id="{F38EDEED-C414-448B-8D37-E62E6FF38F3A}"/>
                </a:ext>
              </a:extLst>
            </p:cNvPr>
            <p:cNvSpPr/>
            <p:nvPr/>
          </p:nvSpPr>
          <p:spPr>
            <a:xfrm rot="8716295">
              <a:off x="191626" y="39444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6" name="Forme libre : forme 375">
              <a:extLst>
                <a:ext uri="{FF2B5EF4-FFF2-40B4-BE49-F238E27FC236}">
                  <a16:creationId xmlns:a16="http://schemas.microsoft.com/office/drawing/2014/main" id="{1E970937-55EB-4E1D-94ED-92F0499DC22F}"/>
                </a:ext>
              </a:extLst>
            </p:cNvPr>
            <p:cNvSpPr/>
            <p:nvPr/>
          </p:nvSpPr>
          <p:spPr>
            <a:xfrm rot="8716295">
              <a:off x="125832" y="381540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7" name="Forme libre : forme 376">
              <a:extLst>
                <a:ext uri="{FF2B5EF4-FFF2-40B4-BE49-F238E27FC236}">
                  <a16:creationId xmlns:a16="http://schemas.microsoft.com/office/drawing/2014/main" id="{9890EDE8-10DA-45ED-AA77-40989F9FB014}"/>
                </a:ext>
              </a:extLst>
            </p:cNvPr>
            <p:cNvSpPr/>
            <p:nvPr/>
          </p:nvSpPr>
          <p:spPr>
            <a:xfrm rot="8716295">
              <a:off x="-73048" y="4876828"/>
              <a:ext cx="221382" cy="253349"/>
            </a:xfrm>
            <a:custGeom>
              <a:avLst/>
              <a:gdLst>
                <a:gd name="connsiteX0" fmla="*/ 51490 w 221382"/>
                <a:gd name="connsiteY0" fmla="*/ 253349 h 253349"/>
                <a:gd name="connsiteX1" fmla="*/ 51490 w 221382"/>
                <a:gd name="connsiteY1" fmla="*/ 44199 h 253349"/>
                <a:gd name="connsiteX2" fmla="*/ 0 w 221382"/>
                <a:gd name="connsiteY2" fmla="*/ 44199 h 253349"/>
                <a:gd name="connsiteX3" fmla="*/ 0 w 221382"/>
                <a:gd name="connsiteY3" fmla="*/ 0 h 253349"/>
                <a:gd name="connsiteX4" fmla="*/ 104803 w 221382"/>
                <a:gd name="connsiteY4" fmla="*/ 0 h 253349"/>
                <a:gd name="connsiteX5" fmla="*/ 104802 w 221382"/>
                <a:gd name="connsiteY5" fmla="*/ 73817 h 253349"/>
                <a:gd name="connsiteX6" fmla="*/ 106169 w 221382"/>
                <a:gd name="connsiteY6" fmla="*/ 73817 h 253349"/>
                <a:gd name="connsiteX7" fmla="*/ 154014 w 221382"/>
                <a:gd name="connsiteY7" fmla="*/ 4556 h 253349"/>
                <a:gd name="connsiteX8" fmla="*/ 174650 w 221382"/>
                <a:gd name="connsiteY8" fmla="*/ 668 h 253349"/>
                <a:gd name="connsiteX9" fmla="*/ 214075 w 221382"/>
                <a:gd name="connsiteY9" fmla="*/ 27996 h 253349"/>
                <a:gd name="connsiteX10" fmla="*/ 221382 w 221382"/>
                <a:gd name="connsiteY10" fmla="*/ 33060 h 253349"/>
                <a:gd name="connsiteX11" fmla="*/ 195540 w 221382"/>
                <a:gd name="connsiteY11" fmla="*/ 70341 h 253349"/>
                <a:gd name="connsiteX12" fmla="*/ 189157 w 221382"/>
                <a:gd name="connsiteY12" fmla="*/ 50236 h 253349"/>
                <a:gd name="connsiteX13" fmla="*/ 164950 w 221382"/>
                <a:gd name="connsiteY13" fmla="*/ 38731 h 253349"/>
                <a:gd name="connsiteX14" fmla="*/ 111638 w 221382"/>
                <a:gd name="connsiteY14" fmla="*/ 126218 h 253349"/>
                <a:gd name="connsiteX15" fmla="*/ 111638 w 221382"/>
                <a:gd name="connsiteY15" fmla="*/ 191383 h 253349"/>
                <a:gd name="connsiteX16" fmla="*/ 84096 w 221382"/>
                <a:gd name="connsiteY16" fmla="*/ 231117 h 253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1382" h="253349">
                  <a:moveTo>
                    <a:pt x="51490" y="253349"/>
                  </a:moveTo>
                  <a:lnTo>
                    <a:pt x="51490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104803" y="0"/>
                  </a:lnTo>
                  <a:lnTo>
                    <a:pt x="104802" y="73817"/>
                  </a:lnTo>
                  <a:lnTo>
                    <a:pt x="106169" y="73817"/>
                  </a:lnTo>
                  <a:cubicBezTo>
                    <a:pt x="120751" y="30529"/>
                    <a:pt x="132142" y="13670"/>
                    <a:pt x="154014" y="4556"/>
                  </a:cubicBezTo>
                  <a:lnTo>
                    <a:pt x="174650" y="668"/>
                  </a:lnTo>
                  <a:lnTo>
                    <a:pt x="214075" y="27996"/>
                  </a:lnTo>
                  <a:lnTo>
                    <a:pt x="221382" y="33060"/>
                  </a:lnTo>
                  <a:lnTo>
                    <a:pt x="195540" y="70341"/>
                  </a:lnTo>
                  <a:lnTo>
                    <a:pt x="189157" y="50236"/>
                  </a:lnTo>
                  <a:cubicBezTo>
                    <a:pt x="183177" y="42946"/>
                    <a:pt x="174747" y="38731"/>
                    <a:pt x="164950" y="38731"/>
                  </a:cubicBezTo>
                  <a:cubicBezTo>
                    <a:pt x="135788" y="38731"/>
                    <a:pt x="111638" y="77463"/>
                    <a:pt x="111638" y="126218"/>
                  </a:cubicBezTo>
                  <a:lnTo>
                    <a:pt x="111638" y="191383"/>
                  </a:lnTo>
                  <a:lnTo>
                    <a:pt x="84096" y="2311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8" name="Forme libre : forme 377">
              <a:extLst>
                <a:ext uri="{FF2B5EF4-FFF2-40B4-BE49-F238E27FC236}">
                  <a16:creationId xmlns:a16="http://schemas.microsoft.com/office/drawing/2014/main" id="{D89764C9-6568-42FB-A4A1-D9595395AB12}"/>
                </a:ext>
              </a:extLst>
            </p:cNvPr>
            <p:cNvSpPr/>
            <p:nvPr/>
          </p:nvSpPr>
          <p:spPr>
            <a:xfrm rot="8716295">
              <a:off x="93318" y="46120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9" name="Forme libre : forme 378">
              <a:extLst>
                <a:ext uri="{FF2B5EF4-FFF2-40B4-BE49-F238E27FC236}">
                  <a16:creationId xmlns:a16="http://schemas.microsoft.com/office/drawing/2014/main" id="{B3A51367-1D00-45C2-8806-45DE56D1374A}"/>
                </a:ext>
              </a:extLst>
            </p:cNvPr>
            <p:cNvSpPr/>
            <p:nvPr/>
          </p:nvSpPr>
          <p:spPr>
            <a:xfrm rot="8716295">
              <a:off x="182710" y="46412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0" name="Forme libre : forme 379">
              <a:extLst>
                <a:ext uri="{FF2B5EF4-FFF2-40B4-BE49-F238E27FC236}">
                  <a16:creationId xmlns:a16="http://schemas.microsoft.com/office/drawing/2014/main" id="{5796D538-9FA1-4B69-9ECE-72D45F20B58A}"/>
                </a:ext>
              </a:extLst>
            </p:cNvPr>
            <p:cNvSpPr/>
            <p:nvPr/>
          </p:nvSpPr>
          <p:spPr>
            <a:xfrm rot="8716295">
              <a:off x="-14524" y="4699631"/>
              <a:ext cx="49997" cy="54238"/>
            </a:xfrm>
            <a:custGeom>
              <a:avLst/>
              <a:gdLst>
                <a:gd name="connsiteX0" fmla="*/ 8658 w 49997"/>
                <a:gd name="connsiteY0" fmla="*/ 50123 h 54238"/>
                <a:gd name="connsiteX1" fmla="*/ 0 w 49997"/>
                <a:gd name="connsiteY1" fmla="*/ 29619 h 54238"/>
                <a:gd name="connsiteX2" fmla="*/ 0 w 49997"/>
                <a:gd name="connsiteY2" fmla="*/ 29162 h 54238"/>
                <a:gd name="connsiteX3" fmla="*/ 8658 w 49997"/>
                <a:gd name="connsiteY3" fmla="*/ 8658 h 54238"/>
                <a:gd name="connsiteX4" fmla="*/ 29163 w 49997"/>
                <a:gd name="connsiteY4" fmla="*/ 0 h 54238"/>
                <a:gd name="connsiteX5" fmla="*/ 49668 w 49997"/>
                <a:gd name="connsiteY5" fmla="*/ 8658 h 54238"/>
                <a:gd name="connsiteX6" fmla="*/ 49997 w 49997"/>
                <a:gd name="connsiteY6" fmla="*/ 9441 h 54238"/>
                <a:gd name="connsiteX7" fmla="*/ 18945 w 49997"/>
                <a:gd name="connsiteY7" fmla="*/ 54238 h 54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997" h="54238">
                  <a:moveTo>
                    <a:pt x="8658" y="50123"/>
                  </a:moveTo>
                  <a:cubicBezTo>
                    <a:pt x="3190" y="44655"/>
                    <a:pt x="0" y="37365"/>
                    <a:pt x="0" y="29619"/>
                  </a:cubicBezTo>
                  <a:lnTo>
                    <a:pt x="0" y="29162"/>
                  </a:lnTo>
                  <a:cubicBezTo>
                    <a:pt x="0" y="21417"/>
                    <a:pt x="3190" y="14126"/>
                    <a:pt x="8658" y="8658"/>
                  </a:cubicBezTo>
                  <a:cubicBezTo>
                    <a:pt x="14126" y="3190"/>
                    <a:pt x="21416" y="0"/>
                    <a:pt x="29163" y="0"/>
                  </a:cubicBezTo>
                  <a:cubicBezTo>
                    <a:pt x="36909" y="0"/>
                    <a:pt x="44200" y="3190"/>
                    <a:pt x="49668" y="8658"/>
                  </a:cubicBezTo>
                  <a:lnTo>
                    <a:pt x="49997" y="9441"/>
                  </a:lnTo>
                  <a:lnTo>
                    <a:pt x="18945" y="54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1" name="Forme libre : forme 380">
              <a:extLst>
                <a:ext uri="{FF2B5EF4-FFF2-40B4-BE49-F238E27FC236}">
                  <a16:creationId xmlns:a16="http://schemas.microsoft.com/office/drawing/2014/main" id="{0A8DEA12-3B5F-4B33-B7D9-E32E7E70ED9F}"/>
                </a:ext>
              </a:extLst>
            </p:cNvPr>
            <p:cNvSpPr/>
            <p:nvPr/>
          </p:nvSpPr>
          <p:spPr>
            <a:xfrm rot="8716295">
              <a:off x="-30327" y="4579755"/>
              <a:ext cx="113346" cy="71024"/>
            </a:xfrm>
            <a:custGeom>
              <a:avLst/>
              <a:gdLst>
                <a:gd name="connsiteX0" fmla="*/ 0 w 113346"/>
                <a:gd name="connsiteY0" fmla="*/ 55323 h 71024"/>
                <a:gd name="connsiteX1" fmla="*/ 0 w 113346"/>
                <a:gd name="connsiteY1" fmla="*/ 0 h 71024"/>
                <a:gd name="connsiteX2" fmla="*/ 113346 w 113346"/>
                <a:gd name="connsiteY2" fmla="*/ 0 h 71024"/>
                <a:gd name="connsiteX3" fmla="*/ 64114 w 113346"/>
                <a:gd name="connsiteY3" fmla="*/ 71024 h 71024"/>
                <a:gd name="connsiteX4" fmla="*/ 69777 w 113346"/>
                <a:gd name="connsiteY4" fmla="*/ 55323 h 7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346" h="71024">
                  <a:moveTo>
                    <a:pt x="0" y="55323"/>
                  </a:moveTo>
                  <a:lnTo>
                    <a:pt x="0" y="0"/>
                  </a:lnTo>
                  <a:lnTo>
                    <a:pt x="113346" y="0"/>
                  </a:lnTo>
                  <a:lnTo>
                    <a:pt x="64114" y="71024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2" name="Forme libre : forme 381">
              <a:extLst>
                <a:ext uri="{FF2B5EF4-FFF2-40B4-BE49-F238E27FC236}">
                  <a16:creationId xmlns:a16="http://schemas.microsoft.com/office/drawing/2014/main" id="{B639F843-6BAF-4B67-80B8-3D30C09BF5FB}"/>
                </a:ext>
              </a:extLst>
            </p:cNvPr>
            <p:cNvSpPr/>
            <p:nvPr/>
          </p:nvSpPr>
          <p:spPr>
            <a:xfrm rot="8716295">
              <a:off x="71262" y="47415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3" name="Forme libre : forme 382">
              <a:extLst>
                <a:ext uri="{FF2B5EF4-FFF2-40B4-BE49-F238E27FC236}">
                  <a16:creationId xmlns:a16="http://schemas.microsoft.com/office/drawing/2014/main" id="{D52BFECF-759E-4683-BE94-173DD8657338}"/>
                </a:ext>
              </a:extLst>
            </p:cNvPr>
            <p:cNvSpPr/>
            <p:nvPr/>
          </p:nvSpPr>
          <p:spPr>
            <a:xfrm rot="7484129">
              <a:off x="172059" y="493353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170341 w 203847"/>
                <a:gd name="connsiteY5" fmla="*/ 0 h 195874"/>
                <a:gd name="connsiteX6" fmla="*/ 203847 w 203847"/>
                <a:gd name="connsiteY6" fmla="*/ 48325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170341" y="0"/>
                  </a:lnTo>
                  <a:lnTo>
                    <a:pt x="203847" y="48325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4" name="Forme libre : forme 383">
              <a:extLst>
                <a:ext uri="{FF2B5EF4-FFF2-40B4-BE49-F238E27FC236}">
                  <a16:creationId xmlns:a16="http://schemas.microsoft.com/office/drawing/2014/main" id="{25A08FAE-A75C-4B2E-B0C7-527DE2D9E508}"/>
                </a:ext>
              </a:extLst>
            </p:cNvPr>
            <p:cNvSpPr/>
            <p:nvPr/>
          </p:nvSpPr>
          <p:spPr>
            <a:xfrm rot="13089394">
              <a:off x="313551" y="4906246"/>
              <a:ext cx="221827" cy="205098"/>
            </a:xfrm>
            <a:custGeom>
              <a:avLst/>
              <a:gdLst>
                <a:gd name="connsiteX0" fmla="*/ 24153 w 221827"/>
                <a:gd name="connsiteY0" fmla="*/ 55168 h 205098"/>
                <a:gd name="connsiteX1" fmla="*/ 0 w 221827"/>
                <a:gd name="connsiteY1" fmla="*/ 18385 h 205098"/>
                <a:gd name="connsiteX2" fmla="*/ 23400 w 221827"/>
                <a:gd name="connsiteY2" fmla="*/ 0 h 205098"/>
                <a:gd name="connsiteX3" fmla="*/ 23735 w 221827"/>
                <a:gd name="connsiteY3" fmla="*/ 46640 h 205098"/>
                <a:gd name="connsiteX4" fmla="*/ 221827 w 221827"/>
                <a:gd name="connsiteY4" fmla="*/ 150928 h 205098"/>
                <a:gd name="connsiteX5" fmla="*/ 126574 w 221827"/>
                <a:gd name="connsiteY5" fmla="*/ 204038 h 205098"/>
                <a:gd name="connsiteX6" fmla="*/ 122603 w 221827"/>
                <a:gd name="connsiteY6" fmla="*/ 205098 h 205098"/>
                <a:gd name="connsiteX7" fmla="*/ 102519 w 221827"/>
                <a:gd name="connsiteY7" fmla="*/ 174512 h 205098"/>
                <a:gd name="connsiteX8" fmla="*/ 103192 w 221827"/>
                <a:gd name="connsiteY8" fmla="*/ 174655 h 205098"/>
                <a:gd name="connsiteX9" fmla="*/ 152853 w 221827"/>
                <a:gd name="connsiteY9" fmla="*/ 165826 h 205098"/>
                <a:gd name="connsiteX10" fmla="*/ 220723 w 221827"/>
                <a:gd name="connsiteY10" fmla="*/ 138237 h 205098"/>
                <a:gd name="connsiteX11" fmla="*/ 221827 w 221827"/>
                <a:gd name="connsiteY11" fmla="*/ 145410 h 205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1827" h="205098">
                  <a:moveTo>
                    <a:pt x="24153" y="55168"/>
                  </a:moveTo>
                  <a:lnTo>
                    <a:pt x="0" y="18385"/>
                  </a:lnTo>
                  <a:lnTo>
                    <a:pt x="23400" y="0"/>
                  </a:lnTo>
                  <a:lnTo>
                    <a:pt x="23735" y="46640"/>
                  </a:lnTo>
                  <a:close/>
                  <a:moveTo>
                    <a:pt x="221827" y="150928"/>
                  </a:moveTo>
                  <a:cubicBezTo>
                    <a:pt x="192582" y="176035"/>
                    <a:pt x="158785" y="193002"/>
                    <a:pt x="126574" y="204038"/>
                  </a:cubicBezTo>
                  <a:lnTo>
                    <a:pt x="122603" y="205098"/>
                  </a:lnTo>
                  <a:lnTo>
                    <a:pt x="102519" y="174512"/>
                  </a:lnTo>
                  <a:lnTo>
                    <a:pt x="103192" y="174655"/>
                  </a:lnTo>
                  <a:cubicBezTo>
                    <a:pt x="120298" y="174103"/>
                    <a:pt x="136851" y="170792"/>
                    <a:pt x="152853" y="165826"/>
                  </a:cubicBezTo>
                  <a:cubicBezTo>
                    <a:pt x="176028" y="158653"/>
                    <a:pt x="198652" y="149273"/>
                    <a:pt x="220723" y="138237"/>
                  </a:cubicBezTo>
                  <a:cubicBezTo>
                    <a:pt x="221275" y="140444"/>
                    <a:pt x="221827" y="143203"/>
                    <a:pt x="221827" y="1454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5" name="Forme libre : forme 384">
              <a:extLst>
                <a:ext uri="{FF2B5EF4-FFF2-40B4-BE49-F238E27FC236}">
                  <a16:creationId xmlns:a16="http://schemas.microsoft.com/office/drawing/2014/main" id="{6B1D4FCF-4868-4FA7-803E-D1D00595788E}"/>
                </a:ext>
              </a:extLst>
            </p:cNvPr>
            <p:cNvSpPr/>
            <p:nvPr/>
          </p:nvSpPr>
          <p:spPr>
            <a:xfrm rot="8716295">
              <a:off x="406370" y="4600606"/>
              <a:ext cx="113655" cy="117117"/>
            </a:xfrm>
            <a:custGeom>
              <a:avLst/>
              <a:gdLst>
                <a:gd name="connsiteX0" fmla="*/ 13623 w 113655"/>
                <a:gd name="connsiteY0" fmla="*/ 100559 h 117117"/>
                <a:gd name="connsiteX1" fmla="*/ 0 w 113655"/>
                <a:gd name="connsiteY1" fmla="*/ 68296 h 117117"/>
                <a:gd name="connsiteX2" fmla="*/ 56488 w 113655"/>
                <a:gd name="connsiteY2" fmla="*/ 0 h 117117"/>
                <a:gd name="connsiteX3" fmla="*/ 96408 w 113655"/>
                <a:gd name="connsiteY3" fmla="*/ 16856 h 117117"/>
                <a:gd name="connsiteX4" fmla="*/ 96408 w 113655"/>
                <a:gd name="connsiteY4" fmla="*/ 99640 h 117117"/>
                <a:gd name="connsiteX5" fmla="*/ 55015 w 113655"/>
                <a:gd name="connsiteY5" fmla="*/ 117117 h 117117"/>
                <a:gd name="connsiteX6" fmla="*/ 13623 w 113655"/>
                <a:gd name="connsiteY6" fmla="*/ 100559 h 117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655" h="117117">
                  <a:moveTo>
                    <a:pt x="13623" y="100559"/>
                  </a:moveTo>
                  <a:lnTo>
                    <a:pt x="0" y="68296"/>
                  </a:lnTo>
                  <a:lnTo>
                    <a:pt x="56488" y="0"/>
                  </a:lnTo>
                  <a:lnTo>
                    <a:pt x="96408" y="16856"/>
                  </a:lnTo>
                  <a:cubicBezTo>
                    <a:pt x="119404" y="38931"/>
                    <a:pt x="119404" y="76644"/>
                    <a:pt x="96408" y="99640"/>
                  </a:cubicBezTo>
                  <a:cubicBezTo>
                    <a:pt x="85370" y="110678"/>
                    <a:pt x="70653" y="117116"/>
                    <a:pt x="55015" y="117117"/>
                  </a:cubicBezTo>
                  <a:cubicBezTo>
                    <a:pt x="39378" y="117117"/>
                    <a:pt x="24661" y="111597"/>
                    <a:pt x="13623" y="10055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6" name="Forme libre : forme 385">
              <a:extLst>
                <a:ext uri="{FF2B5EF4-FFF2-40B4-BE49-F238E27FC236}">
                  <a16:creationId xmlns:a16="http://schemas.microsoft.com/office/drawing/2014/main" id="{A521D2F6-3CA4-443B-AE06-E761EA9F7456}"/>
                </a:ext>
              </a:extLst>
            </p:cNvPr>
            <p:cNvSpPr/>
            <p:nvPr/>
          </p:nvSpPr>
          <p:spPr>
            <a:xfrm rot="8716295">
              <a:off x="171547" y="46343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7" name="Forme libre : forme 386">
              <a:extLst>
                <a:ext uri="{FF2B5EF4-FFF2-40B4-BE49-F238E27FC236}">
                  <a16:creationId xmlns:a16="http://schemas.microsoft.com/office/drawing/2014/main" id="{830F38CE-6CA7-4EBA-A5A4-58CB35926CD3}"/>
                </a:ext>
              </a:extLst>
            </p:cNvPr>
            <p:cNvSpPr/>
            <p:nvPr/>
          </p:nvSpPr>
          <p:spPr>
            <a:xfrm rot="8716295">
              <a:off x="348999" y="44751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552331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&amp; Réseaux sociaux - Fond clair">
    <p:bg>
      <p:bgPr>
        <a:solidFill>
          <a:srgbClr val="3A1B0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Forme libre : forme 139">
            <a:extLst>
              <a:ext uri="{FF2B5EF4-FFF2-40B4-BE49-F238E27FC236}">
                <a16:creationId xmlns:a16="http://schemas.microsoft.com/office/drawing/2014/main" id="{9BAF1841-A5A7-4A72-BE89-09D329878A6E}"/>
              </a:ext>
            </a:extLst>
          </p:cNvPr>
          <p:cNvSpPr/>
          <p:nvPr userDrawn="1"/>
        </p:nvSpPr>
        <p:spPr>
          <a:xfrm>
            <a:off x="448701" y="0"/>
            <a:ext cx="8695299" cy="5143500"/>
          </a:xfrm>
          <a:custGeom>
            <a:avLst/>
            <a:gdLst>
              <a:gd name="connsiteX0" fmla="*/ 0 w 8695299"/>
              <a:gd name="connsiteY0" fmla="*/ 0 h 5143500"/>
              <a:gd name="connsiteX1" fmla="*/ 8695299 w 8695299"/>
              <a:gd name="connsiteY1" fmla="*/ 0 h 5143500"/>
              <a:gd name="connsiteX2" fmla="*/ 8695299 w 8695299"/>
              <a:gd name="connsiteY2" fmla="*/ 5143500 h 5143500"/>
              <a:gd name="connsiteX3" fmla="*/ 444304 w 8695299"/>
              <a:gd name="connsiteY3" fmla="*/ 5143500 h 5143500"/>
              <a:gd name="connsiteX4" fmla="*/ 171091 w 8695299"/>
              <a:gd name="connsiteY4" fmla="*/ 1980633 h 5143500"/>
              <a:gd name="connsiteX5" fmla="*/ 443837 w 8695299"/>
              <a:gd name="connsiteY5" fmla="*/ 1 h 5143500"/>
              <a:gd name="connsiteX6" fmla="*/ 262116 w 8695299"/>
              <a:gd name="connsiteY6" fmla="*/ 1 h 5143500"/>
              <a:gd name="connsiteX7" fmla="*/ 0 w 8695299"/>
              <a:gd name="connsiteY7" fmla="*/ 1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95299" h="5143500">
                <a:moveTo>
                  <a:pt x="0" y="0"/>
                </a:moveTo>
                <a:lnTo>
                  <a:pt x="8695299" y="0"/>
                </a:lnTo>
                <a:lnTo>
                  <a:pt x="8695299" y="5143500"/>
                </a:lnTo>
                <a:lnTo>
                  <a:pt x="444304" y="5143500"/>
                </a:lnTo>
                <a:lnTo>
                  <a:pt x="171091" y="1980633"/>
                </a:lnTo>
                <a:lnTo>
                  <a:pt x="443837" y="1"/>
                </a:lnTo>
                <a:lnTo>
                  <a:pt x="262116" y="1"/>
                </a:lnTo>
                <a:lnTo>
                  <a:pt x="0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grpSp>
        <p:nvGrpSpPr>
          <p:cNvPr id="192" name="Graphique 27">
            <a:extLst>
              <a:ext uri="{FF2B5EF4-FFF2-40B4-BE49-F238E27FC236}">
                <a16:creationId xmlns:a16="http://schemas.microsoft.com/office/drawing/2014/main" id="{B9396CB4-323C-4697-9B57-F626DEC3F247}"/>
              </a:ext>
            </a:extLst>
          </p:cNvPr>
          <p:cNvGrpSpPr/>
          <p:nvPr userDrawn="1"/>
        </p:nvGrpSpPr>
        <p:grpSpPr>
          <a:xfrm>
            <a:off x="3242261" y="3601712"/>
            <a:ext cx="2666014" cy="795600"/>
            <a:chOff x="5898130" y="3867908"/>
            <a:chExt cx="2666014" cy="795600"/>
          </a:xfrm>
        </p:grpSpPr>
        <p:sp>
          <p:nvSpPr>
            <p:cNvPr id="193" name="Forme libre : forme 192">
              <a:extLst>
                <a:ext uri="{FF2B5EF4-FFF2-40B4-BE49-F238E27FC236}">
                  <a16:creationId xmlns:a16="http://schemas.microsoft.com/office/drawing/2014/main" id="{86566BF4-64A3-4C33-AC64-E4183CC9F62F}"/>
                </a:ext>
              </a:extLst>
            </p:cNvPr>
            <p:cNvSpPr/>
            <p:nvPr/>
          </p:nvSpPr>
          <p:spPr>
            <a:xfrm>
              <a:off x="5898130" y="4006913"/>
              <a:ext cx="93070" cy="153115"/>
            </a:xfrm>
            <a:custGeom>
              <a:avLst/>
              <a:gdLst>
                <a:gd name="connsiteX0" fmla="*/ 93671 w 93070"/>
                <a:gd name="connsiteY0" fmla="*/ 33025 h 153115"/>
                <a:gd name="connsiteX1" fmla="*/ 93671 w 93070"/>
                <a:gd name="connsiteY1" fmla="*/ 137203 h 153115"/>
                <a:gd name="connsiteX2" fmla="*/ 53440 w 93070"/>
                <a:gd name="connsiteY2" fmla="*/ 153115 h 153115"/>
                <a:gd name="connsiteX3" fmla="*/ 53440 w 93070"/>
                <a:gd name="connsiteY3" fmla="*/ 45935 h 153115"/>
                <a:gd name="connsiteX4" fmla="*/ 53440 w 93070"/>
                <a:gd name="connsiteY4" fmla="*/ 43233 h 153115"/>
                <a:gd name="connsiteX5" fmla="*/ 39930 w 93070"/>
                <a:gd name="connsiteY5" fmla="*/ 33025 h 153115"/>
                <a:gd name="connsiteX6" fmla="*/ 0 w 93070"/>
                <a:gd name="connsiteY6" fmla="*/ 33025 h 153115"/>
                <a:gd name="connsiteX7" fmla="*/ 0 w 93070"/>
                <a:gd name="connsiteY7" fmla="*/ 0 h 153115"/>
                <a:gd name="connsiteX8" fmla="*/ 56142 w 93070"/>
                <a:gd name="connsiteY8" fmla="*/ 0 h 153115"/>
                <a:gd name="connsiteX9" fmla="*/ 93671 w 93070"/>
                <a:gd name="connsiteY9" fmla="*/ 33025 h 153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3070" h="153115">
                  <a:moveTo>
                    <a:pt x="93671" y="33025"/>
                  </a:moveTo>
                  <a:lnTo>
                    <a:pt x="93671" y="137203"/>
                  </a:lnTo>
                  <a:lnTo>
                    <a:pt x="53440" y="153115"/>
                  </a:lnTo>
                  <a:lnTo>
                    <a:pt x="53440" y="45935"/>
                  </a:lnTo>
                  <a:cubicBezTo>
                    <a:pt x="53440" y="45034"/>
                    <a:pt x="53440" y="44133"/>
                    <a:pt x="53440" y="43233"/>
                  </a:cubicBezTo>
                  <a:cubicBezTo>
                    <a:pt x="52540" y="36628"/>
                    <a:pt x="46535" y="32124"/>
                    <a:pt x="39930" y="33025"/>
                  </a:cubicBezTo>
                  <a:lnTo>
                    <a:pt x="0" y="33025"/>
                  </a:lnTo>
                  <a:lnTo>
                    <a:pt x="0" y="0"/>
                  </a:lnTo>
                  <a:lnTo>
                    <a:pt x="56142" y="0"/>
                  </a:lnTo>
                  <a:cubicBezTo>
                    <a:pt x="80461" y="0"/>
                    <a:pt x="93671" y="10508"/>
                    <a:pt x="93671" y="33025"/>
                  </a:cubicBezTo>
                  <a:close/>
                </a:path>
              </a:pathLst>
            </a:custGeom>
            <a:solidFill>
              <a:srgbClr val="009FE3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194" name="Forme libre : forme 193">
              <a:extLst>
                <a:ext uri="{FF2B5EF4-FFF2-40B4-BE49-F238E27FC236}">
                  <a16:creationId xmlns:a16="http://schemas.microsoft.com/office/drawing/2014/main" id="{FB082CB6-7B26-4E70-967B-98773BCFF4EE}"/>
                </a:ext>
              </a:extLst>
            </p:cNvPr>
            <p:cNvSpPr/>
            <p:nvPr/>
          </p:nvSpPr>
          <p:spPr>
            <a:xfrm>
              <a:off x="7134164" y="4001471"/>
              <a:ext cx="171129" cy="165125"/>
            </a:xfrm>
            <a:custGeom>
              <a:avLst/>
              <a:gdLst>
                <a:gd name="connsiteX0" fmla="*/ 171730 w 171129"/>
                <a:gd name="connsiteY0" fmla="*/ 58282 h 165124"/>
                <a:gd name="connsiteX1" fmla="*/ 171730 w 171129"/>
                <a:gd name="connsiteY1" fmla="*/ 62185 h 165124"/>
                <a:gd name="connsiteX2" fmla="*/ 130899 w 171129"/>
                <a:gd name="connsiteY2" fmla="*/ 64587 h 165124"/>
                <a:gd name="connsiteX3" fmla="*/ 130899 w 171129"/>
                <a:gd name="connsiteY3" fmla="*/ 53778 h 165124"/>
                <a:gd name="connsiteX4" fmla="*/ 108682 w 171129"/>
                <a:gd name="connsiteY4" fmla="*/ 26458 h 165124"/>
                <a:gd name="connsiteX5" fmla="*/ 73556 w 171129"/>
                <a:gd name="connsiteY5" fmla="*/ 84101 h 165124"/>
                <a:gd name="connsiteX6" fmla="*/ 73556 w 171129"/>
                <a:gd name="connsiteY6" fmla="*/ 140844 h 165124"/>
                <a:gd name="connsiteX7" fmla="*/ 33926 w 171129"/>
                <a:gd name="connsiteY7" fmla="*/ 167864 h 165124"/>
                <a:gd name="connsiteX8" fmla="*/ 33926 w 171129"/>
                <a:gd name="connsiteY8" fmla="*/ 30061 h 165124"/>
                <a:gd name="connsiteX9" fmla="*/ 0 w 171129"/>
                <a:gd name="connsiteY9" fmla="*/ 30061 h 165124"/>
                <a:gd name="connsiteX10" fmla="*/ 0 w 171129"/>
                <a:gd name="connsiteY10" fmla="*/ 939 h 165124"/>
                <a:gd name="connsiteX11" fmla="*/ 69052 w 171129"/>
                <a:gd name="connsiteY11" fmla="*/ 939 h 165124"/>
                <a:gd name="connsiteX12" fmla="*/ 69052 w 171129"/>
                <a:gd name="connsiteY12" fmla="*/ 49575 h 165124"/>
                <a:gd name="connsiteX13" fmla="*/ 69953 w 171129"/>
                <a:gd name="connsiteY13" fmla="*/ 49575 h 165124"/>
                <a:gd name="connsiteX14" fmla="*/ 101477 w 171129"/>
                <a:gd name="connsiteY14" fmla="*/ 3941 h 165124"/>
                <a:gd name="connsiteX15" fmla="*/ 122192 w 171129"/>
                <a:gd name="connsiteY15" fmla="*/ 38 h 165124"/>
                <a:gd name="connsiteX16" fmla="*/ 171730 w 171129"/>
                <a:gd name="connsiteY16" fmla="*/ 58282 h 165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71129" h="165124">
                  <a:moveTo>
                    <a:pt x="171730" y="58282"/>
                  </a:moveTo>
                  <a:lnTo>
                    <a:pt x="171730" y="62185"/>
                  </a:lnTo>
                  <a:lnTo>
                    <a:pt x="130899" y="64587"/>
                  </a:lnTo>
                  <a:lnTo>
                    <a:pt x="130899" y="53778"/>
                  </a:lnTo>
                  <a:cubicBezTo>
                    <a:pt x="130899" y="37566"/>
                    <a:pt x="121592" y="26458"/>
                    <a:pt x="108682" y="26458"/>
                  </a:cubicBezTo>
                  <a:cubicBezTo>
                    <a:pt x="89468" y="26458"/>
                    <a:pt x="73556" y="51977"/>
                    <a:pt x="73556" y="84101"/>
                  </a:cubicBezTo>
                  <a:lnTo>
                    <a:pt x="73556" y="140844"/>
                  </a:lnTo>
                  <a:lnTo>
                    <a:pt x="33926" y="167864"/>
                  </a:lnTo>
                  <a:lnTo>
                    <a:pt x="33926" y="30061"/>
                  </a:lnTo>
                  <a:lnTo>
                    <a:pt x="0" y="30061"/>
                  </a:lnTo>
                  <a:lnTo>
                    <a:pt x="0" y="939"/>
                  </a:lnTo>
                  <a:lnTo>
                    <a:pt x="69052" y="939"/>
                  </a:lnTo>
                  <a:lnTo>
                    <a:pt x="69052" y="49575"/>
                  </a:lnTo>
                  <a:lnTo>
                    <a:pt x="69953" y="49575"/>
                  </a:lnTo>
                  <a:cubicBezTo>
                    <a:pt x="79560" y="21054"/>
                    <a:pt x="87066" y="9945"/>
                    <a:pt x="101477" y="3941"/>
                  </a:cubicBezTo>
                  <a:cubicBezTo>
                    <a:pt x="108082" y="1239"/>
                    <a:pt x="114987" y="-262"/>
                    <a:pt x="122192" y="38"/>
                  </a:cubicBezTo>
                  <a:cubicBezTo>
                    <a:pt x="153116" y="-563"/>
                    <a:pt x="171730" y="21054"/>
                    <a:pt x="171730" y="58282"/>
                  </a:cubicBezTo>
                  <a:close/>
                </a:path>
              </a:pathLst>
            </a:custGeom>
            <a:solidFill>
              <a:srgbClr val="009FE3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195" name="Forme libre : forme 194">
              <a:extLst>
                <a:ext uri="{FF2B5EF4-FFF2-40B4-BE49-F238E27FC236}">
                  <a16:creationId xmlns:a16="http://schemas.microsoft.com/office/drawing/2014/main" id="{219ACDB1-34C9-4C32-A093-48E50867E42A}"/>
                </a:ext>
              </a:extLst>
            </p:cNvPr>
            <p:cNvSpPr/>
            <p:nvPr/>
          </p:nvSpPr>
          <p:spPr>
            <a:xfrm>
              <a:off x="7993113" y="3867608"/>
              <a:ext cx="123093" cy="90068"/>
            </a:xfrm>
            <a:custGeom>
              <a:avLst/>
              <a:gdLst>
                <a:gd name="connsiteX0" fmla="*/ 108382 w 123092"/>
                <a:gd name="connsiteY0" fmla="*/ 45634 h 90067"/>
                <a:gd name="connsiteX1" fmla="*/ 108682 w 123092"/>
                <a:gd name="connsiteY1" fmla="*/ 45634 h 90067"/>
                <a:gd name="connsiteX2" fmla="*/ 3903 w 123092"/>
                <a:gd name="connsiteY2" fmla="*/ 90969 h 90067"/>
                <a:gd name="connsiteX3" fmla="*/ 0 w 123092"/>
                <a:gd name="connsiteY3" fmla="*/ 85565 h 90067"/>
                <a:gd name="connsiteX4" fmla="*/ 71154 w 123092"/>
                <a:gd name="connsiteY4" fmla="*/ 18614 h 90067"/>
                <a:gd name="connsiteX5" fmla="*/ 107181 w 123092"/>
                <a:gd name="connsiteY5" fmla="*/ 0 h 90067"/>
                <a:gd name="connsiteX6" fmla="*/ 125795 w 123092"/>
                <a:gd name="connsiteY6" fmla="*/ 22217 h 90067"/>
                <a:gd name="connsiteX7" fmla="*/ 108382 w 123092"/>
                <a:gd name="connsiteY7" fmla="*/ 45634 h 90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3092" h="90067">
                  <a:moveTo>
                    <a:pt x="108382" y="45634"/>
                  </a:moveTo>
                  <a:lnTo>
                    <a:pt x="108682" y="45634"/>
                  </a:lnTo>
                  <a:lnTo>
                    <a:pt x="3903" y="90969"/>
                  </a:lnTo>
                  <a:lnTo>
                    <a:pt x="0" y="85565"/>
                  </a:lnTo>
                  <a:lnTo>
                    <a:pt x="71154" y="18614"/>
                  </a:lnTo>
                  <a:cubicBezTo>
                    <a:pt x="80161" y="8106"/>
                    <a:pt x="93070" y="1501"/>
                    <a:pt x="107181" y="0"/>
                  </a:cubicBezTo>
                  <a:cubicBezTo>
                    <a:pt x="121592" y="0"/>
                    <a:pt x="125795" y="12610"/>
                    <a:pt x="125795" y="22217"/>
                  </a:cubicBezTo>
                  <a:cubicBezTo>
                    <a:pt x="124894" y="32725"/>
                    <a:pt x="117989" y="41431"/>
                    <a:pt x="108382" y="45634"/>
                  </a:cubicBezTo>
                  <a:close/>
                </a:path>
              </a:pathLst>
            </a:custGeom>
            <a:solidFill>
              <a:srgbClr val="009FE3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196" name="Forme libre : forme 195">
              <a:extLst>
                <a:ext uri="{FF2B5EF4-FFF2-40B4-BE49-F238E27FC236}">
                  <a16:creationId xmlns:a16="http://schemas.microsoft.com/office/drawing/2014/main" id="{7A36B1D3-0BC9-43D3-A545-42A2378B84A2}"/>
                </a:ext>
              </a:extLst>
            </p:cNvPr>
            <p:cNvSpPr/>
            <p:nvPr/>
          </p:nvSpPr>
          <p:spPr>
            <a:xfrm>
              <a:off x="6523803" y="3918346"/>
              <a:ext cx="36027" cy="36027"/>
            </a:xfrm>
            <a:custGeom>
              <a:avLst/>
              <a:gdLst>
                <a:gd name="connsiteX0" fmla="*/ 32725 w 36027"/>
                <a:gd name="connsiteY0" fmla="*/ 32725 h 36027"/>
                <a:gd name="connsiteX1" fmla="*/ 19215 w 36027"/>
                <a:gd name="connsiteY1" fmla="*/ 38429 h 36027"/>
                <a:gd name="connsiteX2" fmla="*/ 5704 w 36027"/>
                <a:gd name="connsiteY2" fmla="*/ 33025 h 36027"/>
                <a:gd name="connsiteX3" fmla="*/ 0 w 36027"/>
                <a:gd name="connsiteY3" fmla="*/ 19515 h 36027"/>
                <a:gd name="connsiteX4" fmla="*/ 0 w 36027"/>
                <a:gd name="connsiteY4" fmla="*/ 19214 h 36027"/>
                <a:gd name="connsiteX5" fmla="*/ 5704 w 36027"/>
                <a:gd name="connsiteY5" fmla="*/ 5704 h 36027"/>
                <a:gd name="connsiteX6" fmla="*/ 19215 w 36027"/>
                <a:gd name="connsiteY6" fmla="*/ 0 h 36027"/>
                <a:gd name="connsiteX7" fmla="*/ 32725 w 36027"/>
                <a:gd name="connsiteY7" fmla="*/ 5704 h 36027"/>
                <a:gd name="connsiteX8" fmla="*/ 32725 w 36027"/>
                <a:gd name="connsiteY8" fmla="*/ 32725 h 36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027" h="36027">
                  <a:moveTo>
                    <a:pt x="32725" y="32725"/>
                  </a:moveTo>
                  <a:cubicBezTo>
                    <a:pt x="29122" y="36327"/>
                    <a:pt x="24318" y="38429"/>
                    <a:pt x="19215" y="38429"/>
                  </a:cubicBezTo>
                  <a:cubicBezTo>
                    <a:pt x="14111" y="38429"/>
                    <a:pt x="9307" y="36628"/>
                    <a:pt x="5704" y="33025"/>
                  </a:cubicBezTo>
                  <a:cubicBezTo>
                    <a:pt x="2102" y="29422"/>
                    <a:pt x="0" y="24619"/>
                    <a:pt x="0" y="19515"/>
                  </a:cubicBezTo>
                  <a:lnTo>
                    <a:pt x="0" y="19214"/>
                  </a:lnTo>
                  <a:cubicBezTo>
                    <a:pt x="0" y="14111"/>
                    <a:pt x="2102" y="9307"/>
                    <a:pt x="5704" y="5704"/>
                  </a:cubicBezTo>
                  <a:cubicBezTo>
                    <a:pt x="9307" y="2102"/>
                    <a:pt x="14111" y="0"/>
                    <a:pt x="19215" y="0"/>
                  </a:cubicBezTo>
                  <a:cubicBezTo>
                    <a:pt x="24318" y="0"/>
                    <a:pt x="29122" y="2102"/>
                    <a:pt x="32725" y="5704"/>
                  </a:cubicBezTo>
                  <a:cubicBezTo>
                    <a:pt x="40230" y="12910"/>
                    <a:pt x="40230" y="25219"/>
                    <a:pt x="32725" y="32725"/>
                  </a:cubicBezTo>
                  <a:close/>
                </a:path>
              </a:pathLst>
            </a:custGeom>
            <a:solidFill>
              <a:srgbClr val="009FE3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197" name="Forme libre : forme 196">
              <a:extLst>
                <a:ext uri="{FF2B5EF4-FFF2-40B4-BE49-F238E27FC236}">
                  <a16:creationId xmlns:a16="http://schemas.microsoft.com/office/drawing/2014/main" id="{BA76AE2F-0D7D-44B2-A262-EA419C215EA0}"/>
                </a:ext>
              </a:extLst>
            </p:cNvPr>
            <p:cNvSpPr/>
            <p:nvPr/>
          </p:nvSpPr>
          <p:spPr>
            <a:xfrm>
              <a:off x="6763083" y="4006913"/>
              <a:ext cx="120091" cy="117088"/>
            </a:xfrm>
            <a:custGeom>
              <a:avLst/>
              <a:gdLst>
                <a:gd name="connsiteX0" fmla="*/ 122793 w 120090"/>
                <a:gd name="connsiteY0" fmla="*/ 0 h 117088"/>
                <a:gd name="connsiteX1" fmla="*/ 122793 w 120090"/>
                <a:gd name="connsiteY1" fmla="*/ 33325 h 117088"/>
                <a:gd name="connsiteX2" fmla="*/ 83763 w 120090"/>
                <a:gd name="connsiteY2" fmla="*/ 33325 h 117088"/>
                <a:gd name="connsiteX3" fmla="*/ 54641 w 120090"/>
                <a:gd name="connsiteY3" fmla="*/ 117989 h 117088"/>
                <a:gd name="connsiteX4" fmla="*/ 28822 w 120090"/>
                <a:gd name="connsiteY4" fmla="*/ 69953 h 117088"/>
                <a:gd name="connsiteX5" fmla="*/ 42032 w 120090"/>
                <a:gd name="connsiteY5" fmla="*/ 33325 h 117088"/>
                <a:gd name="connsiteX6" fmla="*/ 0 w 120090"/>
                <a:gd name="connsiteY6" fmla="*/ 33325 h 117088"/>
                <a:gd name="connsiteX7" fmla="*/ 0 w 120090"/>
                <a:gd name="connsiteY7" fmla="*/ 0 h 117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0090" h="117088">
                  <a:moveTo>
                    <a:pt x="122793" y="0"/>
                  </a:moveTo>
                  <a:lnTo>
                    <a:pt x="122793" y="33325"/>
                  </a:lnTo>
                  <a:lnTo>
                    <a:pt x="83763" y="33325"/>
                  </a:lnTo>
                  <a:lnTo>
                    <a:pt x="54641" y="117989"/>
                  </a:lnTo>
                  <a:lnTo>
                    <a:pt x="28822" y="69953"/>
                  </a:lnTo>
                  <a:lnTo>
                    <a:pt x="42032" y="33325"/>
                  </a:lnTo>
                  <a:lnTo>
                    <a:pt x="0" y="333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FE3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198" name="Forme libre : forme 197">
              <a:extLst>
                <a:ext uri="{FF2B5EF4-FFF2-40B4-BE49-F238E27FC236}">
                  <a16:creationId xmlns:a16="http://schemas.microsoft.com/office/drawing/2014/main" id="{DBDE1595-6A35-4309-8304-C024038B286C}"/>
                </a:ext>
              </a:extLst>
            </p:cNvPr>
            <p:cNvSpPr/>
            <p:nvPr/>
          </p:nvSpPr>
          <p:spPr>
            <a:xfrm>
              <a:off x="7314421" y="4184121"/>
              <a:ext cx="120091" cy="114086"/>
            </a:xfrm>
            <a:custGeom>
              <a:avLst/>
              <a:gdLst>
                <a:gd name="connsiteX0" fmla="*/ 121170 w 120090"/>
                <a:gd name="connsiteY0" fmla="*/ 114311 h 114086"/>
                <a:gd name="connsiteX1" fmla="*/ 118168 w 120090"/>
                <a:gd name="connsiteY1" fmla="*/ 114311 h 114086"/>
                <a:gd name="connsiteX2" fmla="*/ 179 w 120090"/>
                <a:gd name="connsiteY2" fmla="*/ 33250 h 114086"/>
                <a:gd name="connsiteX3" fmla="*/ 26899 w 120090"/>
                <a:gd name="connsiteY3" fmla="*/ 225 h 114086"/>
                <a:gd name="connsiteX4" fmla="*/ 32603 w 120090"/>
                <a:gd name="connsiteY4" fmla="*/ 225 h 114086"/>
                <a:gd name="connsiteX5" fmla="*/ 59324 w 120090"/>
                <a:gd name="connsiteY5" fmla="*/ 25144 h 114086"/>
                <a:gd name="connsiteX6" fmla="*/ 39208 w 120090"/>
                <a:gd name="connsiteY6" fmla="*/ 52164 h 114086"/>
                <a:gd name="connsiteX7" fmla="*/ 121170 w 120090"/>
                <a:gd name="connsiteY7" fmla="*/ 114311 h 114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0090" h="114086">
                  <a:moveTo>
                    <a:pt x="121170" y="114311"/>
                  </a:moveTo>
                  <a:lnTo>
                    <a:pt x="118168" y="114311"/>
                  </a:lnTo>
                  <a:cubicBezTo>
                    <a:pt x="46114" y="114311"/>
                    <a:pt x="179" y="65675"/>
                    <a:pt x="179" y="33250"/>
                  </a:cubicBezTo>
                  <a:cubicBezTo>
                    <a:pt x="-1622" y="16738"/>
                    <a:pt x="10387" y="2027"/>
                    <a:pt x="26899" y="225"/>
                  </a:cubicBezTo>
                  <a:cubicBezTo>
                    <a:pt x="28700" y="-75"/>
                    <a:pt x="30802" y="-75"/>
                    <a:pt x="32603" y="225"/>
                  </a:cubicBezTo>
                  <a:cubicBezTo>
                    <a:pt x="46414" y="1426"/>
                    <a:pt x="57222" y="11934"/>
                    <a:pt x="59324" y="25144"/>
                  </a:cubicBezTo>
                  <a:cubicBezTo>
                    <a:pt x="59924" y="37753"/>
                    <a:pt x="51518" y="48862"/>
                    <a:pt x="39208" y="52164"/>
                  </a:cubicBezTo>
                  <a:lnTo>
                    <a:pt x="121170" y="114311"/>
                  </a:lnTo>
                  <a:close/>
                </a:path>
              </a:pathLst>
            </a:custGeom>
            <a:solidFill>
              <a:srgbClr val="009FE3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199" name="Forme libre : forme 198">
              <a:extLst>
                <a:ext uri="{FF2B5EF4-FFF2-40B4-BE49-F238E27FC236}">
                  <a16:creationId xmlns:a16="http://schemas.microsoft.com/office/drawing/2014/main" id="{4F0E7013-B703-4393-B5A7-8BAFE8A06CD7}"/>
                </a:ext>
              </a:extLst>
            </p:cNvPr>
            <p:cNvSpPr/>
            <p:nvPr/>
          </p:nvSpPr>
          <p:spPr>
            <a:xfrm>
              <a:off x="7744225" y="4120699"/>
              <a:ext cx="147111" cy="177134"/>
            </a:xfrm>
            <a:custGeom>
              <a:avLst/>
              <a:gdLst>
                <a:gd name="connsiteX0" fmla="*/ 148312 w 147111"/>
                <a:gd name="connsiteY0" fmla="*/ 137504 h 177133"/>
                <a:gd name="connsiteX1" fmla="*/ 148312 w 147111"/>
                <a:gd name="connsiteY1" fmla="*/ 140506 h 177133"/>
                <a:gd name="connsiteX2" fmla="*/ 49838 w 147111"/>
                <a:gd name="connsiteY2" fmla="*/ 178935 h 177133"/>
                <a:gd name="connsiteX3" fmla="*/ 12910 w 147111"/>
                <a:gd name="connsiteY3" fmla="*/ 163924 h 177133"/>
                <a:gd name="connsiteX4" fmla="*/ 0 w 147111"/>
                <a:gd name="connsiteY4" fmla="*/ 112285 h 177133"/>
                <a:gd name="connsiteX5" fmla="*/ 0 w 147111"/>
                <a:gd name="connsiteY5" fmla="*/ 20716 h 177133"/>
                <a:gd name="connsiteX6" fmla="*/ 39930 w 147111"/>
                <a:gd name="connsiteY6" fmla="*/ 0 h 177133"/>
                <a:gd name="connsiteX7" fmla="*/ 40531 w 147111"/>
                <a:gd name="connsiteY7" fmla="*/ 83763 h 177133"/>
                <a:gd name="connsiteX8" fmla="*/ 47736 w 147111"/>
                <a:gd name="connsiteY8" fmla="*/ 133601 h 177133"/>
                <a:gd name="connsiteX9" fmla="*/ 83763 w 147111"/>
                <a:gd name="connsiteY9" fmla="*/ 153416 h 177133"/>
                <a:gd name="connsiteX10" fmla="*/ 110784 w 147111"/>
                <a:gd name="connsiteY10" fmla="*/ 148612 h 177133"/>
                <a:gd name="connsiteX11" fmla="*/ 147711 w 147111"/>
                <a:gd name="connsiteY11" fmla="*/ 133601 h 177133"/>
                <a:gd name="connsiteX12" fmla="*/ 148312 w 147111"/>
                <a:gd name="connsiteY12" fmla="*/ 137504 h 177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7111" h="177133">
                  <a:moveTo>
                    <a:pt x="148312" y="137504"/>
                  </a:moveTo>
                  <a:lnTo>
                    <a:pt x="148312" y="140506"/>
                  </a:lnTo>
                  <a:cubicBezTo>
                    <a:pt x="116488" y="167827"/>
                    <a:pt x="74756" y="177434"/>
                    <a:pt x="49838" y="178935"/>
                  </a:cubicBezTo>
                  <a:cubicBezTo>
                    <a:pt x="36027" y="179836"/>
                    <a:pt x="22517" y="173831"/>
                    <a:pt x="12910" y="163924"/>
                  </a:cubicBezTo>
                  <a:cubicBezTo>
                    <a:pt x="2702" y="154016"/>
                    <a:pt x="0" y="136903"/>
                    <a:pt x="0" y="112285"/>
                  </a:cubicBezTo>
                  <a:lnTo>
                    <a:pt x="0" y="20716"/>
                  </a:lnTo>
                  <a:lnTo>
                    <a:pt x="39930" y="0"/>
                  </a:lnTo>
                  <a:lnTo>
                    <a:pt x="40531" y="83763"/>
                  </a:lnTo>
                  <a:cubicBezTo>
                    <a:pt x="39630" y="100576"/>
                    <a:pt x="42332" y="117689"/>
                    <a:pt x="47736" y="133601"/>
                  </a:cubicBezTo>
                  <a:cubicBezTo>
                    <a:pt x="52540" y="146811"/>
                    <a:pt x="64849" y="153416"/>
                    <a:pt x="83763" y="153416"/>
                  </a:cubicBezTo>
                  <a:cubicBezTo>
                    <a:pt x="93070" y="153115"/>
                    <a:pt x="102077" y="151314"/>
                    <a:pt x="110784" y="148612"/>
                  </a:cubicBezTo>
                  <a:cubicBezTo>
                    <a:pt x="123393" y="144709"/>
                    <a:pt x="135702" y="139605"/>
                    <a:pt x="147711" y="133601"/>
                  </a:cubicBezTo>
                  <a:cubicBezTo>
                    <a:pt x="148012" y="134802"/>
                    <a:pt x="148312" y="136303"/>
                    <a:pt x="148312" y="137504"/>
                  </a:cubicBezTo>
                  <a:close/>
                </a:path>
              </a:pathLst>
            </a:custGeom>
            <a:solidFill>
              <a:srgbClr val="009FE3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00" name="Forme libre : forme 199">
              <a:extLst>
                <a:ext uri="{FF2B5EF4-FFF2-40B4-BE49-F238E27FC236}">
                  <a16:creationId xmlns:a16="http://schemas.microsoft.com/office/drawing/2014/main" id="{BDC1994B-B6C4-40B0-8835-9B69BC78513D}"/>
                </a:ext>
              </a:extLst>
            </p:cNvPr>
            <p:cNvSpPr/>
            <p:nvPr/>
          </p:nvSpPr>
          <p:spPr>
            <a:xfrm>
              <a:off x="5951546" y="4012317"/>
              <a:ext cx="195147" cy="288217"/>
            </a:xfrm>
            <a:custGeom>
              <a:avLst/>
              <a:gdLst>
                <a:gd name="connsiteX0" fmla="*/ 190368 w 195147"/>
                <a:gd name="connsiteY0" fmla="*/ 0 h 288217"/>
                <a:gd name="connsiteX1" fmla="*/ 161847 w 195147"/>
                <a:gd name="connsiteY1" fmla="*/ 0 h 288217"/>
                <a:gd name="connsiteX2" fmla="*/ 156443 w 195147"/>
                <a:gd name="connsiteY2" fmla="*/ 5404 h 288217"/>
                <a:gd name="connsiteX3" fmla="*/ 156443 w 195147"/>
                <a:gd name="connsiteY3" fmla="*/ 190344 h 288217"/>
                <a:gd name="connsiteX4" fmla="*/ 138729 w 195147"/>
                <a:gd name="connsiteY4" fmla="*/ 231775 h 288217"/>
                <a:gd name="connsiteX5" fmla="*/ 98199 w 195147"/>
                <a:gd name="connsiteY5" fmla="*/ 248888 h 288217"/>
                <a:gd name="connsiteX6" fmla="*/ 57067 w 195147"/>
                <a:gd name="connsiteY6" fmla="*/ 231775 h 288217"/>
                <a:gd name="connsiteX7" fmla="*/ 39955 w 195147"/>
                <a:gd name="connsiteY7" fmla="*/ 190344 h 288217"/>
                <a:gd name="connsiteX8" fmla="*/ 39955 w 195147"/>
                <a:gd name="connsiteY8" fmla="*/ 131499 h 288217"/>
                <a:gd name="connsiteX9" fmla="*/ 24 w 195147"/>
                <a:gd name="connsiteY9" fmla="*/ 147711 h 288217"/>
                <a:gd name="connsiteX10" fmla="*/ 24 w 195147"/>
                <a:gd name="connsiteY10" fmla="*/ 190644 h 288217"/>
                <a:gd name="connsiteX11" fmla="*/ 28546 w 195147"/>
                <a:gd name="connsiteY11" fmla="*/ 260597 h 288217"/>
                <a:gd name="connsiteX12" fmla="*/ 98199 w 195147"/>
                <a:gd name="connsiteY12" fmla="*/ 290019 h 288217"/>
                <a:gd name="connsiteX13" fmla="*/ 167251 w 195147"/>
                <a:gd name="connsiteY13" fmla="*/ 260296 h 288217"/>
                <a:gd name="connsiteX14" fmla="*/ 196373 w 195147"/>
                <a:gd name="connsiteY14" fmla="*/ 190344 h 288217"/>
                <a:gd name="connsiteX15" fmla="*/ 196373 w 195147"/>
                <a:gd name="connsiteY15" fmla="*/ 5404 h 288217"/>
                <a:gd name="connsiteX16" fmla="*/ 190368 w 195147"/>
                <a:gd name="connsiteY16" fmla="*/ 0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147" h="288217">
                  <a:moveTo>
                    <a:pt x="190368" y="0"/>
                  </a:moveTo>
                  <a:lnTo>
                    <a:pt x="161847" y="0"/>
                  </a:lnTo>
                  <a:cubicBezTo>
                    <a:pt x="157944" y="0"/>
                    <a:pt x="156443" y="1501"/>
                    <a:pt x="156443" y="5404"/>
                  </a:cubicBezTo>
                  <a:lnTo>
                    <a:pt x="156443" y="190344"/>
                  </a:lnTo>
                  <a:cubicBezTo>
                    <a:pt x="156443" y="205955"/>
                    <a:pt x="150138" y="220967"/>
                    <a:pt x="138729" y="231775"/>
                  </a:cubicBezTo>
                  <a:cubicBezTo>
                    <a:pt x="128221" y="243183"/>
                    <a:pt x="113510" y="249188"/>
                    <a:pt x="98199" y="248888"/>
                  </a:cubicBezTo>
                  <a:cubicBezTo>
                    <a:pt x="82587" y="249188"/>
                    <a:pt x="67575" y="243183"/>
                    <a:pt x="57067" y="231775"/>
                  </a:cubicBezTo>
                  <a:cubicBezTo>
                    <a:pt x="45959" y="220967"/>
                    <a:pt x="39654" y="205955"/>
                    <a:pt x="39955" y="190344"/>
                  </a:cubicBezTo>
                  <a:lnTo>
                    <a:pt x="39955" y="131499"/>
                  </a:lnTo>
                  <a:lnTo>
                    <a:pt x="24" y="147711"/>
                  </a:lnTo>
                  <a:lnTo>
                    <a:pt x="24" y="190644"/>
                  </a:lnTo>
                  <a:cubicBezTo>
                    <a:pt x="-576" y="216763"/>
                    <a:pt x="9932" y="241982"/>
                    <a:pt x="28546" y="260597"/>
                  </a:cubicBezTo>
                  <a:cubicBezTo>
                    <a:pt x="46860" y="279511"/>
                    <a:pt x="71779" y="290019"/>
                    <a:pt x="98199" y="290019"/>
                  </a:cubicBezTo>
                  <a:cubicBezTo>
                    <a:pt x="124318" y="290019"/>
                    <a:pt x="149237" y="279511"/>
                    <a:pt x="167251" y="260296"/>
                  </a:cubicBezTo>
                  <a:cubicBezTo>
                    <a:pt x="186165" y="241982"/>
                    <a:pt x="196673" y="216763"/>
                    <a:pt x="196373" y="190344"/>
                  </a:cubicBezTo>
                  <a:lnTo>
                    <a:pt x="196373" y="5404"/>
                  </a:lnTo>
                  <a:cubicBezTo>
                    <a:pt x="196073" y="1501"/>
                    <a:pt x="193971" y="0"/>
                    <a:pt x="190368" y="0"/>
                  </a:cubicBez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01" name="Forme libre : forme 200">
              <a:extLst>
                <a:ext uri="{FF2B5EF4-FFF2-40B4-BE49-F238E27FC236}">
                  <a16:creationId xmlns:a16="http://schemas.microsoft.com/office/drawing/2014/main" id="{B4F8EAE4-67FF-448A-AB11-8701CF2DDB42}"/>
                </a:ext>
              </a:extLst>
            </p:cNvPr>
            <p:cNvSpPr/>
            <p:nvPr/>
          </p:nvSpPr>
          <p:spPr>
            <a:xfrm>
              <a:off x="6234678" y="3999143"/>
              <a:ext cx="198150" cy="288217"/>
            </a:xfrm>
            <a:custGeom>
              <a:avLst/>
              <a:gdLst>
                <a:gd name="connsiteX0" fmla="*/ 192452 w 198149"/>
                <a:gd name="connsiteY0" fmla="*/ 289382 h 288217"/>
                <a:gd name="connsiteX1" fmla="*/ 164230 w 198149"/>
                <a:gd name="connsiteY1" fmla="*/ 289382 h 288217"/>
                <a:gd name="connsiteX2" fmla="*/ 158226 w 198149"/>
                <a:gd name="connsiteY2" fmla="*/ 284578 h 288217"/>
                <a:gd name="connsiteX3" fmla="*/ 158226 w 198149"/>
                <a:gd name="connsiteY3" fmla="*/ 283377 h 288217"/>
                <a:gd name="connsiteX4" fmla="*/ 158226 w 198149"/>
                <a:gd name="connsiteY4" fmla="*/ 98438 h 288217"/>
                <a:gd name="connsiteX5" fmla="*/ 140813 w 198149"/>
                <a:gd name="connsiteY5" fmla="*/ 57307 h 288217"/>
                <a:gd name="connsiteX6" fmla="*/ 57950 w 198149"/>
                <a:gd name="connsiteY6" fmla="*/ 57006 h 288217"/>
                <a:gd name="connsiteX7" fmla="*/ 57650 w 198149"/>
                <a:gd name="connsiteY7" fmla="*/ 57307 h 288217"/>
                <a:gd name="connsiteX8" fmla="*/ 41137 w 198149"/>
                <a:gd name="connsiteY8" fmla="*/ 98438 h 288217"/>
                <a:gd name="connsiteX9" fmla="*/ 41137 w 198149"/>
                <a:gd name="connsiteY9" fmla="*/ 283377 h 288217"/>
                <a:gd name="connsiteX10" fmla="*/ 36634 w 198149"/>
                <a:gd name="connsiteY10" fmla="*/ 289382 h 288217"/>
                <a:gd name="connsiteX11" fmla="*/ 34833 w 198149"/>
                <a:gd name="connsiteY11" fmla="*/ 289382 h 288217"/>
                <a:gd name="connsiteX12" fmla="*/ 6011 w 198149"/>
                <a:gd name="connsiteY12" fmla="*/ 289382 h 288217"/>
                <a:gd name="connsiteX13" fmla="*/ 6 w 198149"/>
                <a:gd name="connsiteY13" fmla="*/ 284578 h 288217"/>
                <a:gd name="connsiteX14" fmla="*/ 6 w 198149"/>
                <a:gd name="connsiteY14" fmla="*/ 283377 h 288217"/>
                <a:gd name="connsiteX15" fmla="*/ 6 w 198149"/>
                <a:gd name="connsiteY15" fmla="*/ 98438 h 288217"/>
                <a:gd name="connsiteX16" fmla="*/ 29428 w 198149"/>
                <a:gd name="connsiteY16" fmla="*/ 28785 h 288217"/>
                <a:gd name="connsiteX17" fmla="*/ 168734 w 198149"/>
                <a:gd name="connsiteY17" fmla="*/ 28185 h 288217"/>
                <a:gd name="connsiteX18" fmla="*/ 169334 w 198149"/>
                <a:gd name="connsiteY18" fmla="*/ 28785 h 288217"/>
                <a:gd name="connsiteX19" fmla="*/ 198456 w 198149"/>
                <a:gd name="connsiteY19" fmla="*/ 98438 h 288217"/>
                <a:gd name="connsiteX20" fmla="*/ 198456 w 198149"/>
                <a:gd name="connsiteY20" fmla="*/ 283377 h 288217"/>
                <a:gd name="connsiteX21" fmla="*/ 193352 w 198149"/>
                <a:gd name="connsiteY21" fmla="*/ 289382 h 288217"/>
                <a:gd name="connsiteX22" fmla="*/ 192452 w 198149"/>
                <a:gd name="connsiteY22" fmla="*/ 289382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8149" h="288217">
                  <a:moveTo>
                    <a:pt x="192452" y="289382"/>
                  </a:moveTo>
                  <a:lnTo>
                    <a:pt x="164230" y="289382"/>
                  </a:lnTo>
                  <a:cubicBezTo>
                    <a:pt x="161228" y="289682"/>
                    <a:pt x="158526" y="287580"/>
                    <a:pt x="158226" y="284578"/>
                  </a:cubicBezTo>
                  <a:cubicBezTo>
                    <a:pt x="158226" y="284278"/>
                    <a:pt x="158226" y="283677"/>
                    <a:pt x="158226" y="283377"/>
                  </a:cubicBezTo>
                  <a:lnTo>
                    <a:pt x="158226" y="98438"/>
                  </a:lnTo>
                  <a:cubicBezTo>
                    <a:pt x="158526" y="82826"/>
                    <a:pt x="152221" y="68115"/>
                    <a:pt x="140813" y="57307"/>
                  </a:cubicBezTo>
                  <a:cubicBezTo>
                    <a:pt x="117995" y="34490"/>
                    <a:pt x="80767" y="34490"/>
                    <a:pt x="57950" y="57006"/>
                  </a:cubicBezTo>
                  <a:cubicBezTo>
                    <a:pt x="57950" y="57006"/>
                    <a:pt x="57650" y="57307"/>
                    <a:pt x="57650" y="57307"/>
                  </a:cubicBezTo>
                  <a:cubicBezTo>
                    <a:pt x="46842" y="68115"/>
                    <a:pt x="40837" y="83126"/>
                    <a:pt x="41137" y="98438"/>
                  </a:cubicBezTo>
                  <a:lnTo>
                    <a:pt x="41137" y="283377"/>
                  </a:lnTo>
                  <a:cubicBezTo>
                    <a:pt x="41738" y="286380"/>
                    <a:pt x="39636" y="289082"/>
                    <a:pt x="36634" y="289382"/>
                  </a:cubicBezTo>
                  <a:cubicBezTo>
                    <a:pt x="36033" y="289382"/>
                    <a:pt x="35433" y="289382"/>
                    <a:pt x="34833" y="289382"/>
                  </a:cubicBezTo>
                  <a:lnTo>
                    <a:pt x="6011" y="289382"/>
                  </a:lnTo>
                  <a:cubicBezTo>
                    <a:pt x="3009" y="289682"/>
                    <a:pt x="306" y="287580"/>
                    <a:pt x="6" y="284578"/>
                  </a:cubicBezTo>
                  <a:cubicBezTo>
                    <a:pt x="6" y="284278"/>
                    <a:pt x="6" y="283677"/>
                    <a:pt x="6" y="283377"/>
                  </a:cubicBezTo>
                  <a:lnTo>
                    <a:pt x="6" y="98438"/>
                  </a:lnTo>
                  <a:cubicBezTo>
                    <a:pt x="-294" y="72318"/>
                    <a:pt x="10214" y="47099"/>
                    <a:pt x="29428" y="28785"/>
                  </a:cubicBezTo>
                  <a:cubicBezTo>
                    <a:pt x="67858" y="-9344"/>
                    <a:pt x="130004" y="-9644"/>
                    <a:pt x="168734" y="28185"/>
                  </a:cubicBezTo>
                  <a:cubicBezTo>
                    <a:pt x="169034" y="28485"/>
                    <a:pt x="169034" y="28485"/>
                    <a:pt x="169334" y="28785"/>
                  </a:cubicBezTo>
                  <a:cubicBezTo>
                    <a:pt x="188248" y="47099"/>
                    <a:pt x="198756" y="72318"/>
                    <a:pt x="198456" y="98438"/>
                  </a:cubicBezTo>
                  <a:lnTo>
                    <a:pt x="198456" y="283377"/>
                  </a:lnTo>
                  <a:cubicBezTo>
                    <a:pt x="198756" y="286380"/>
                    <a:pt x="196355" y="289082"/>
                    <a:pt x="193352" y="289382"/>
                  </a:cubicBezTo>
                  <a:cubicBezTo>
                    <a:pt x="193052" y="289382"/>
                    <a:pt x="192752" y="289382"/>
                    <a:pt x="192452" y="289382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02" name="Forme libre : forme 201">
              <a:extLst>
                <a:ext uri="{FF2B5EF4-FFF2-40B4-BE49-F238E27FC236}">
                  <a16:creationId xmlns:a16="http://schemas.microsoft.com/office/drawing/2014/main" id="{A1B3C744-062F-46CB-AC7C-FDEF3C0084B5}"/>
                </a:ext>
              </a:extLst>
            </p:cNvPr>
            <p:cNvSpPr/>
            <p:nvPr/>
          </p:nvSpPr>
          <p:spPr>
            <a:xfrm>
              <a:off x="6523803" y="4111091"/>
              <a:ext cx="39029" cy="177134"/>
            </a:xfrm>
            <a:custGeom>
              <a:avLst/>
              <a:gdLst>
                <a:gd name="connsiteX0" fmla="*/ 39930 w 39029"/>
                <a:gd name="connsiteY0" fmla="*/ 37528 h 177133"/>
                <a:gd name="connsiteX1" fmla="*/ 39930 w 39029"/>
                <a:gd name="connsiteY1" fmla="*/ 173231 h 177133"/>
                <a:gd name="connsiteX2" fmla="*/ 34826 w 39029"/>
                <a:gd name="connsiteY2" fmla="*/ 179235 h 177133"/>
                <a:gd name="connsiteX3" fmla="*/ 33625 w 39029"/>
                <a:gd name="connsiteY3" fmla="*/ 179235 h 177133"/>
                <a:gd name="connsiteX4" fmla="*/ 6005 w 39029"/>
                <a:gd name="connsiteY4" fmla="*/ 179235 h 177133"/>
                <a:gd name="connsiteX5" fmla="*/ 0 w 39029"/>
                <a:gd name="connsiteY5" fmla="*/ 174732 h 177133"/>
                <a:gd name="connsiteX6" fmla="*/ 0 w 39029"/>
                <a:gd name="connsiteY6" fmla="*/ 172930 h 177133"/>
                <a:gd name="connsiteX7" fmla="*/ 0 w 39029"/>
                <a:gd name="connsiteY7" fmla="*/ 0 h 177133"/>
                <a:gd name="connsiteX8" fmla="*/ 39930 w 39029"/>
                <a:gd name="connsiteY8" fmla="*/ 37528 h 177133"/>
                <a:gd name="connsiteX9" fmla="*/ 39930 w 39029"/>
                <a:gd name="connsiteY9" fmla="*/ 37528 h 177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029" h="177133">
                  <a:moveTo>
                    <a:pt x="39930" y="37528"/>
                  </a:moveTo>
                  <a:lnTo>
                    <a:pt x="39930" y="173231"/>
                  </a:lnTo>
                  <a:cubicBezTo>
                    <a:pt x="40230" y="176233"/>
                    <a:pt x="38129" y="178935"/>
                    <a:pt x="34826" y="179235"/>
                  </a:cubicBezTo>
                  <a:cubicBezTo>
                    <a:pt x="34526" y="179235"/>
                    <a:pt x="34226" y="179235"/>
                    <a:pt x="33625" y="179235"/>
                  </a:cubicBezTo>
                  <a:lnTo>
                    <a:pt x="6005" y="179235"/>
                  </a:lnTo>
                  <a:cubicBezTo>
                    <a:pt x="3002" y="179836"/>
                    <a:pt x="300" y="177734"/>
                    <a:pt x="0" y="174732"/>
                  </a:cubicBezTo>
                  <a:cubicBezTo>
                    <a:pt x="0" y="174131"/>
                    <a:pt x="0" y="173531"/>
                    <a:pt x="0" y="172930"/>
                  </a:cubicBezTo>
                  <a:lnTo>
                    <a:pt x="0" y="0"/>
                  </a:lnTo>
                  <a:lnTo>
                    <a:pt x="39930" y="37528"/>
                  </a:lnTo>
                  <a:lnTo>
                    <a:pt x="39930" y="37528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03" name="Forme libre : forme 202">
              <a:extLst>
                <a:ext uri="{FF2B5EF4-FFF2-40B4-BE49-F238E27FC236}">
                  <a16:creationId xmlns:a16="http://schemas.microsoft.com/office/drawing/2014/main" id="{58089071-1C8F-4922-ABDA-D07A5EBBEBB5}"/>
                </a:ext>
              </a:extLst>
            </p:cNvPr>
            <p:cNvSpPr/>
            <p:nvPr/>
          </p:nvSpPr>
          <p:spPr>
            <a:xfrm>
              <a:off x="6624477" y="4006913"/>
              <a:ext cx="192145" cy="282213"/>
            </a:xfrm>
            <a:custGeom>
              <a:avLst/>
              <a:gdLst>
                <a:gd name="connsiteX0" fmla="*/ 193248 w 192145"/>
                <a:gd name="connsiteY0" fmla="*/ 117989 h 282212"/>
                <a:gd name="connsiteX1" fmla="*/ 135004 w 192145"/>
                <a:gd name="connsiteY1" fmla="*/ 277709 h 282212"/>
                <a:gd name="connsiteX2" fmla="*/ 128699 w 192145"/>
                <a:gd name="connsiteY2" fmla="*/ 282813 h 282212"/>
                <a:gd name="connsiteX3" fmla="*/ 105882 w 192145"/>
                <a:gd name="connsiteY3" fmla="*/ 282813 h 282212"/>
                <a:gd name="connsiteX4" fmla="*/ 99577 w 192145"/>
                <a:gd name="connsiteY4" fmla="*/ 277709 h 282212"/>
                <a:gd name="connsiteX5" fmla="*/ 803 w 192145"/>
                <a:gd name="connsiteY5" fmla="*/ 8406 h 282212"/>
                <a:gd name="connsiteX6" fmla="*/ 6207 w 192145"/>
                <a:gd name="connsiteY6" fmla="*/ 0 h 282212"/>
                <a:gd name="connsiteX7" fmla="*/ 36230 w 192145"/>
                <a:gd name="connsiteY7" fmla="*/ 0 h 282212"/>
                <a:gd name="connsiteX8" fmla="*/ 43435 w 192145"/>
                <a:gd name="connsiteY8" fmla="*/ 5704 h 282212"/>
                <a:gd name="connsiteX9" fmla="*/ 112787 w 192145"/>
                <a:gd name="connsiteY9" fmla="*/ 195447 h 282212"/>
                <a:gd name="connsiteX10" fmla="*/ 116690 w 192145"/>
                <a:gd name="connsiteY10" fmla="*/ 198149 h 282212"/>
                <a:gd name="connsiteX11" fmla="*/ 121194 w 192145"/>
                <a:gd name="connsiteY11" fmla="*/ 195447 h 282212"/>
                <a:gd name="connsiteX12" fmla="*/ 167128 w 192145"/>
                <a:gd name="connsiteY12" fmla="*/ 69953 h 282212"/>
                <a:gd name="connsiteX13" fmla="*/ 193248 w 192145"/>
                <a:gd name="connsiteY13" fmla="*/ 117989 h 282212"/>
                <a:gd name="connsiteX14" fmla="*/ 193248 w 192145"/>
                <a:gd name="connsiteY14" fmla="*/ 117989 h 282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2145" h="282212">
                  <a:moveTo>
                    <a:pt x="193248" y="117989"/>
                  </a:moveTo>
                  <a:lnTo>
                    <a:pt x="135004" y="277709"/>
                  </a:lnTo>
                  <a:cubicBezTo>
                    <a:pt x="134404" y="280712"/>
                    <a:pt x="131702" y="282813"/>
                    <a:pt x="128699" y="282813"/>
                  </a:cubicBezTo>
                  <a:lnTo>
                    <a:pt x="105882" y="282813"/>
                  </a:lnTo>
                  <a:cubicBezTo>
                    <a:pt x="102580" y="282813"/>
                    <a:pt x="100778" y="281012"/>
                    <a:pt x="99577" y="277709"/>
                  </a:cubicBezTo>
                  <a:lnTo>
                    <a:pt x="803" y="8406"/>
                  </a:lnTo>
                  <a:cubicBezTo>
                    <a:pt x="-1299" y="3002"/>
                    <a:pt x="803" y="0"/>
                    <a:pt x="6207" y="0"/>
                  </a:cubicBezTo>
                  <a:lnTo>
                    <a:pt x="36230" y="0"/>
                  </a:lnTo>
                  <a:cubicBezTo>
                    <a:pt x="39832" y="0"/>
                    <a:pt x="42835" y="2402"/>
                    <a:pt x="43435" y="5704"/>
                  </a:cubicBezTo>
                  <a:lnTo>
                    <a:pt x="112787" y="195447"/>
                  </a:lnTo>
                  <a:cubicBezTo>
                    <a:pt x="113088" y="197249"/>
                    <a:pt x="114889" y="198450"/>
                    <a:pt x="116690" y="198149"/>
                  </a:cubicBezTo>
                  <a:cubicBezTo>
                    <a:pt x="118792" y="198450"/>
                    <a:pt x="120593" y="197249"/>
                    <a:pt x="121194" y="195447"/>
                  </a:cubicBezTo>
                  <a:lnTo>
                    <a:pt x="167128" y="69953"/>
                  </a:lnTo>
                  <a:lnTo>
                    <a:pt x="193248" y="117989"/>
                  </a:lnTo>
                  <a:lnTo>
                    <a:pt x="193248" y="117989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04" name="Forme libre : forme 203">
              <a:extLst>
                <a:ext uri="{FF2B5EF4-FFF2-40B4-BE49-F238E27FC236}">
                  <a16:creationId xmlns:a16="http://schemas.microsoft.com/office/drawing/2014/main" id="{A0AFE0DB-2EC9-4B2F-A13D-5028AA80C759}"/>
                </a:ext>
              </a:extLst>
            </p:cNvPr>
            <p:cNvSpPr/>
            <p:nvPr/>
          </p:nvSpPr>
          <p:spPr>
            <a:xfrm>
              <a:off x="6902066" y="3999101"/>
              <a:ext cx="201152" cy="297224"/>
            </a:xfrm>
            <a:custGeom>
              <a:avLst/>
              <a:gdLst>
                <a:gd name="connsiteX0" fmla="*/ 197872 w 201151"/>
                <a:gd name="connsiteY0" fmla="*/ 166632 h 297224"/>
                <a:gd name="connsiteX1" fmla="*/ 47158 w 201151"/>
                <a:gd name="connsiteY1" fmla="*/ 166632 h 297224"/>
                <a:gd name="connsiteX2" fmla="*/ 40853 w 201151"/>
                <a:gd name="connsiteY2" fmla="*/ 171736 h 297224"/>
                <a:gd name="connsiteX3" fmla="*/ 40853 w 201151"/>
                <a:gd name="connsiteY3" fmla="*/ 172937 h 297224"/>
                <a:gd name="connsiteX4" fmla="*/ 40853 w 201151"/>
                <a:gd name="connsiteY4" fmla="*/ 190049 h 297224"/>
                <a:gd name="connsiteX5" fmla="*/ 60368 w 201151"/>
                <a:gd name="connsiteY5" fmla="*/ 237185 h 297224"/>
                <a:gd name="connsiteX6" fmla="*/ 106903 w 201151"/>
                <a:gd name="connsiteY6" fmla="*/ 257000 h 297224"/>
                <a:gd name="connsiteX7" fmla="*/ 170251 w 201151"/>
                <a:gd name="connsiteY7" fmla="*/ 237185 h 297224"/>
                <a:gd name="connsiteX8" fmla="*/ 177156 w 201151"/>
                <a:gd name="connsiteY8" fmla="*/ 237185 h 297224"/>
                <a:gd name="connsiteX9" fmla="*/ 178057 w 201151"/>
                <a:gd name="connsiteY9" fmla="*/ 238386 h 297224"/>
                <a:gd name="connsiteX10" fmla="*/ 194570 w 201151"/>
                <a:gd name="connsiteY10" fmla="*/ 262404 h 297224"/>
                <a:gd name="connsiteX11" fmla="*/ 194269 w 201151"/>
                <a:gd name="connsiteY11" fmla="*/ 269609 h 297224"/>
                <a:gd name="connsiteX12" fmla="*/ 193068 w 201151"/>
                <a:gd name="connsiteY12" fmla="*/ 270510 h 297224"/>
                <a:gd name="connsiteX13" fmla="*/ 107204 w 201151"/>
                <a:gd name="connsiteY13" fmla="*/ 298131 h 297224"/>
                <a:gd name="connsiteX14" fmla="*/ 31546 w 201151"/>
                <a:gd name="connsiteY14" fmla="*/ 266607 h 297224"/>
                <a:gd name="connsiteX15" fmla="*/ 23 w 201151"/>
                <a:gd name="connsiteY15" fmla="*/ 190950 h 297224"/>
                <a:gd name="connsiteX16" fmla="*/ 23 w 201151"/>
                <a:gd name="connsiteY16" fmla="*/ 101483 h 297224"/>
                <a:gd name="connsiteX17" fmla="*/ 101499 w 201151"/>
                <a:gd name="connsiteY17" fmla="*/ 6 h 297224"/>
                <a:gd name="connsiteX18" fmla="*/ 173554 w 201151"/>
                <a:gd name="connsiteY18" fmla="*/ 30029 h 297224"/>
                <a:gd name="connsiteX19" fmla="*/ 202976 w 201151"/>
                <a:gd name="connsiteY19" fmla="*/ 101483 h 297224"/>
                <a:gd name="connsiteX20" fmla="*/ 202976 w 201151"/>
                <a:gd name="connsiteY20" fmla="*/ 160627 h 297224"/>
                <a:gd name="connsiteX21" fmla="*/ 197272 w 201151"/>
                <a:gd name="connsiteY21" fmla="*/ 166632 h 297224"/>
                <a:gd name="connsiteX22" fmla="*/ 162445 w 201151"/>
                <a:gd name="connsiteY22" fmla="*/ 101783 h 297224"/>
                <a:gd name="connsiteX23" fmla="*/ 102400 w 201151"/>
                <a:gd name="connsiteY23" fmla="*/ 40837 h 297224"/>
                <a:gd name="connsiteX24" fmla="*/ 101499 w 201151"/>
                <a:gd name="connsiteY24" fmla="*/ 40837 h 297224"/>
                <a:gd name="connsiteX25" fmla="*/ 58867 w 201151"/>
                <a:gd name="connsiteY25" fmla="*/ 58550 h 297224"/>
                <a:gd name="connsiteX26" fmla="*/ 41454 w 201151"/>
                <a:gd name="connsiteY26" fmla="*/ 101483 h 297224"/>
                <a:gd name="connsiteX27" fmla="*/ 41454 w 201151"/>
                <a:gd name="connsiteY27" fmla="*/ 120397 h 297224"/>
                <a:gd name="connsiteX28" fmla="*/ 46558 w 201151"/>
                <a:gd name="connsiteY28" fmla="*/ 126401 h 297224"/>
                <a:gd name="connsiteX29" fmla="*/ 47759 w 201151"/>
                <a:gd name="connsiteY29" fmla="*/ 126401 h 297224"/>
                <a:gd name="connsiteX30" fmla="*/ 157942 w 201151"/>
                <a:gd name="connsiteY30" fmla="*/ 126401 h 297224"/>
                <a:gd name="connsiteX31" fmla="*/ 163346 w 201151"/>
                <a:gd name="connsiteY31" fmla="*/ 120397 h 297224"/>
                <a:gd name="connsiteX32" fmla="*/ 162445 w 201151"/>
                <a:gd name="connsiteY32" fmla="*/ 101783 h 297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1151" h="297224">
                  <a:moveTo>
                    <a:pt x="197872" y="166632"/>
                  </a:moveTo>
                  <a:lnTo>
                    <a:pt x="47158" y="166632"/>
                  </a:lnTo>
                  <a:cubicBezTo>
                    <a:pt x="44156" y="166332"/>
                    <a:pt x="41154" y="168433"/>
                    <a:pt x="40853" y="171736"/>
                  </a:cubicBezTo>
                  <a:cubicBezTo>
                    <a:pt x="40853" y="172036"/>
                    <a:pt x="40853" y="172336"/>
                    <a:pt x="40853" y="172937"/>
                  </a:cubicBezTo>
                  <a:lnTo>
                    <a:pt x="40853" y="190049"/>
                  </a:lnTo>
                  <a:cubicBezTo>
                    <a:pt x="40553" y="207763"/>
                    <a:pt x="47458" y="224876"/>
                    <a:pt x="60368" y="237185"/>
                  </a:cubicBezTo>
                  <a:cubicBezTo>
                    <a:pt x="72377" y="249794"/>
                    <a:pt x="89490" y="257000"/>
                    <a:pt x="106903" y="257000"/>
                  </a:cubicBezTo>
                  <a:cubicBezTo>
                    <a:pt x="129420" y="257300"/>
                    <a:pt x="151637" y="250095"/>
                    <a:pt x="170251" y="237185"/>
                  </a:cubicBezTo>
                  <a:cubicBezTo>
                    <a:pt x="172053" y="235384"/>
                    <a:pt x="175055" y="235384"/>
                    <a:pt x="177156" y="237185"/>
                  </a:cubicBezTo>
                  <a:cubicBezTo>
                    <a:pt x="177457" y="237485"/>
                    <a:pt x="177757" y="237785"/>
                    <a:pt x="178057" y="238386"/>
                  </a:cubicBezTo>
                  <a:lnTo>
                    <a:pt x="194570" y="262404"/>
                  </a:lnTo>
                  <a:cubicBezTo>
                    <a:pt x="196671" y="264506"/>
                    <a:pt x="196371" y="267808"/>
                    <a:pt x="194269" y="269609"/>
                  </a:cubicBezTo>
                  <a:cubicBezTo>
                    <a:pt x="193969" y="269910"/>
                    <a:pt x="193369" y="270210"/>
                    <a:pt x="193068" y="270510"/>
                  </a:cubicBezTo>
                  <a:cubicBezTo>
                    <a:pt x="168150" y="288824"/>
                    <a:pt x="138127" y="298431"/>
                    <a:pt x="107204" y="298131"/>
                  </a:cubicBezTo>
                  <a:cubicBezTo>
                    <a:pt x="78682" y="298431"/>
                    <a:pt x="51361" y="287023"/>
                    <a:pt x="31546" y="266607"/>
                  </a:cubicBezTo>
                  <a:cubicBezTo>
                    <a:pt x="10831" y="246792"/>
                    <a:pt x="-578" y="219171"/>
                    <a:pt x="23" y="190950"/>
                  </a:cubicBezTo>
                  <a:lnTo>
                    <a:pt x="23" y="101483"/>
                  </a:lnTo>
                  <a:cubicBezTo>
                    <a:pt x="-278" y="45641"/>
                    <a:pt x="45357" y="306"/>
                    <a:pt x="101499" y="6"/>
                  </a:cubicBezTo>
                  <a:cubicBezTo>
                    <a:pt x="128820" y="-294"/>
                    <a:pt x="154940" y="10514"/>
                    <a:pt x="173554" y="30029"/>
                  </a:cubicBezTo>
                  <a:cubicBezTo>
                    <a:pt x="193068" y="48643"/>
                    <a:pt x="203576" y="74462"/>
                    <a:pt x="202976" y="101483"/>
                  </a:cubicBezTo>
                  <a:lnTo>
                    <a:pt x="202976" y="160627"/>
                  </a:lnTo>
                  <a:cubicBezTo>
                    <a:pt x="202976" y="164530"/>
                    <a:pt x="201175" y="166632"/>
                    <a:pt x="197272" y="166632"/>
                  </a:cubicBezTo>
                  <a:moveTo>
                    <a:pt x="162445" y="101783"/>
                  </a:moveTo>
                  <a:cubicBezTo>
                    <a:pt x="162746" y="68458"/>
                    <a:pt x="135725" y="41137"/>
                    <a:pt x="102400" y="40837"/>
                  </a:cubicBezTo>
                  <a:cubicBezTo>
                    <a:pt x="102100" y="40837"/>
                    <a:pt x="101799" y="40837"/>
                    <a:pt x="101499" y="40837"/>
                  </a:cubicBezTo>
                  <a:cubicBezTo>
                    <a:pt x="85287" y="40537"/>
                    <a:pt x="69975" y="46841"/>
                    <a:pt x="58867" y="58550"/>
                  </a:cubicBezTo>
                  <a:cubicBezTo>
                    <a:pt x="47458" y="69959"/>
                    <a:pt x="41154" y="85270"/>
                    <a:pt x="41454" y="101483"/>
                  </a:cubicBezTo>
                  <a:lnTo>
                    <a:pt x="41454" y="120397"/>
                  </a:lnTo>
                  <a:cubicBezTo>
                    <a:pt x="41154" y="123399"/>
                    <a:pt x="43555" y="126101"/>
                    <a:pt x="46558" y="126401"/>
                  </a:cubicBezTo>
                  <a:cubicBezTo>
                    <a:pt x="46858" y="126401"/>
                    <a:pt x="47158" y="126401"/>
                    <a:pt x="47759" y="126401"/>
                  </a:cubicBezTo>
                  <a:lnTo>
                    <a:pt x="157942" y="126401"/>
                  </a:lnTo>
                  <a:cubicBezTo>
                    <a:pt x="161845" y="126401"/>
                    <a:pt x="163346" y="124300"/>
                    <a:pt x="163346" y="120397"/>
                  </a:cubicBezTo>
                  <a:lnTo>
                    <a:pt x="162445" y="101783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05" name="Forme libre : forme 204">
              <a:extLst>
                <a:ext uri="{FF2B5EF4-FFF2-40B4-BE49-F238E27FC236}">
                  <a16:creationId xmlns:a16="http://schemas.microsoft.com/office/drawing/2014/main" id="{A1DF73B0-2C05-4133-A9E5-3F81FF2C473A}"/>
                </a:ext>
              </a:extLst>
            </p:cNvPr>
            <p:cNvSpPr/>
            <p:nvPr/>
          </p:nvSpPr>
          <p:spPr>
            <a:xfrm>
              <a:off x="7168089" y="4142015"/>
              <a:ext cx="39029" cy="147111"/>
            </a:xfrm>
            <a:custGeom>
              <a:avLst/>
              <a:gdLst>
                <a:gd name="connsiteX0" fmla="*/ 39630 w 39029"/>
                <a:gd name="connsiteY0" fmla="*/ 0 h 147110"/>
                <a:gd name="connsiteX1" fmla="*/ 39630 w 39029"/>
                <a:gd name="connsiteY1" fmla="*/ 143808 h 147110"/>
                <a:gd name="connsiteX2" fmla="*/ 34826 w 39029"/>
                <a:gd name="connsiteY2" fmla="*/ 149813 h 147110"/>
                <a:gd name="connsiteX3" fmla="*/ 33625 w 39029"/>
                <a:gd name="connsiteY3" fmla="*/ 149813 h 147110"/>
                <a:gd name="connsiteX4" fmla="*/ 6005 w 39029"/>
                <a:gd name="connsiteY4" fmla="*/ 149813 h 147110"/>
                <a:gd name="connsiteX5" fmla="*/ 0 w 39029"/>
                <a:gd name="connsiteY5" fmla="*/ 144709 h 147110"/>
                <a:gd name="connsiteX6" fmla="*/ 0 w 39029"/>
                <a:gd name="connsiteY6" fmla="*/ 143508 h 147110"/>
                <a:gd name="connsiteX7" fmla="*/ 0 w 39029"/>
                <a:gd name="connsiteY7" fmla="*/ 26720 h 147110"/>
                <a:gd name="connsiteX8" fmla="*/ 39630 w 39029"/>
                <a:gd name="connsiteY8" fmla="*/ 0 h 147110"/>
                <a:gd name="connsiteX9" fmla="*/ 39630 w 39029"/>
                <a:gd name="connsiteY9" fmla="*/ 0 h 147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029" h="147110">
                  <a:moveTo>
                    <a:pt x="39630" y="0"/>
                  </a:moveTo>
                  <a:lnTo>
                    <a:pt x="39630" y="143808"/>
                  </a:lnTo>
                  <a:cubicBezTo>
                    <a:pt x="39930" y="146811"/>
                    <a:pt x="37829" y="149513"/>
                    <a:pt x="34826" y="149813"/>
                  </a:cubicBezTo>
                  <a:cubicBezTo>
                    <a:pt x="34526" y="149813"/>
                    <a:pt x="33926" y="149813"/>
                    <a:pt x="33625" y="149813"/>
                  </a:cubicBezTo>
                  <a:lnTo>
                    <a:pt x="6005" y="149813"/>
                  </a:lnTo>
                  <a:cubicBezTo>
                    <a:pt x="3002" y="150113"/>
                    <a:pt x="300" y="148012"/>
                    <a:pt x="0" y="144709"/>
                  </a:cubicBezTo>
                  <a:cubicBezTo>
                    <a:pt x="0" y="144409"/>
                    <a:pt x="0" y="144109"/>
                    <a:pt x="0" y="143508"/>
                  </a:cubicBezTo>
                  <a:lnTo>
                    <a:pt x="0" y="26720"/>
                  </a:lnTo>
                  <a:lnTo>
                    <a:pt x="39630" y="0"/>
                  </a:lnTo>
                  <a:lnTo>
                    <a:pt x="39630" y="0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06" name="Forme libre : forme 205">
              <a:extLst>
                <a:ext uri="{FF2B5EF4-FFF2-40B4-BE49-F238E27FC236}">
                  <a16:creationId xmlns:a16="http://schemas.microsoft.com/office/drawing/2014/main" id="{92CBA666-3616-4119-91AC-4F9C32BE24DB}"/>
                </a:ext>
              </a:extLst>
            </p:cNvPr>
            <p:cNvSpPr/>
            <p:nvPr/>
          </p:nvSpPr>
          <p:spPr>
            <a:xfrm>
              <a:off x="7592289" y="3898809"/>
              <a:ext cx="51039" cy="390294"/>
            </a:xfrm>
            <a:custGeom>
              <a:avLst/>
              <a:gdLst>
                <a:gd name="connsiteX0" fmla="*/ 44454 w 51038"/>
                <a:gd name="connsiteY0" fmla="*/ 46558 h 390294"/>
                <a:gd name="connsiteX1" fmla="*/ 25840 w 51038"/>
                <a:gd name="connsiteY1" fmla="*/ 54964 h 390294"/>
                <a:gd name="connsiteX2" fmla="*/ 7827 w 51038"/>
                <a:gd name="connsiteY2" fmla="*/ 46558 h 390294"/>
                <a:gd name="connsiteX3" fmla="*/ 21 w 51038"/>
                <a:gd name="connsiteY3" fmla="*/ 27343 h 390294"/>
                <a:gd name="connsiteX4" fmla="*/ 7827 w 51038"/>
                <a:gd name="connsiteY4" fmla="*/ 7828 h 390294"/>
                <a:gd name="connsiteX5" fmla="*/ 25840 w 51038"/>
                <a:gd name="connsiteY5" fmla="*/ 23 h 390294"/>
                <a:gd name="connsiteX6" fmla="*/ 44454 w 51038"/>
                <a:gd name="connsiteY6" fmla="*/ 7828 h 390294"/>
                <a:gd name="connsiteX7" fmla="*/ 52560 w 51038"/>
                <a:gd name="connsiteY7" fmla="*/ 27343 h 390294"/>
                <a:gd name="connsiteX8" fmla="*/ 44454 w 51038"/>
                <a:gd name="connsiteY8" fmla="*/ 46558 h 390294"/>
                <a:gd name="connsiteX9" fmla="*/ 39651 w 51038"/>
                <a:gd name="connsiteY9" fmla="*/ 392719 h 390294"/>
                <a:gd name="connsiteX10" fmla="*/ 12630 w 51038"/>
                <a:gd name="connsiteY10" fmla="*/ 392719 h 390294"/>
                <a:gd name="connsiteX11" fmla="*/ 6926 w 51038"/>
                <a:gd name="connsiteY11" fmla="*/ 386714 h 390294"/>
                <a:gd name="connsiteX12" fmla="*/ 6926 w 51038"/>
                <a:gd name="connsiteY12" fmla="*/ 112307 h 390294"/>
                <a:gd name="connsiteX13" fmla="*/ 12630 w 51038"/>
                <a:gd name="connsiteY13" fmla="*/ 106603 h 390294"/>
                <a:gd name="connsiteX14" fmla="*/ 39651 w 51038"/>
                <a:gd name="connsiteY14" fmla="*/ 106603 h 390294"/>
                <a:gd name="connsiteX15" fmla="*/ 45655 w 51038"/>
                <a:gd name="connsiteY15" fmla="*/ 112307 h 390294"/>
                <a:gd name="connsiteX16" fmla="*/ 45655 w 51038"/>
                <a:gd name="connsiteY16" fmla="*/ 386414 h 390294"/>
                <a:gd name="connsiteX17" fmla="*/ 40852 w 51038"/>
                <a:gd name="connsiteY17" fmla="*/ 392418 h 390294"/>
                <a:gd name="connsiteX18" fmla="*/ 39651 w 51038"/>
                <a:gd name="connsiteY18" fmla="*/ 392719 h 390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1038" h="390294">
                  <a:moveTo>
                    <a:pt x="44454" y="46558"/>
                  </a:moveTo>
                  <a:cubicBezTo>
                    <a:pt x="39651" y="51962"/>
                    <a:pt x="33046" y="55264"/>
                    <a:pt x="25840" y="54964"/>
                  </a:cubicBezTo>
                  <a:cubicBezTo>
                    <a:pt x="18935" y="54964"/>
                    <a:pt x="12330" y="51962"/>
                    <a:pt x="7827" y="46558"/>
                  </a:cubicBezTo>
                  <a:cubicBezTo>
                    <a:pt x="2723" y="41754"/>
                    <a:pt x="-280" y="34849"/>
                    <a:pt x="21" y="27343"/>
                  </a:cubicBezTo>
                  <a:cubicBezTo>
                    <a:pt x="-280" y="19837"/>
                    <a:pt x="2723" y="12632"/>
                    <a:pt x="7827" y="7828"/>
                  </a:cubicBezTo>
                  <a:cubicBezTo>
                    <a:pt x="12330" y="2424"/>
                    <a:pt x="18935" y="-278"/>
                    <a:pt x="25840" y="23"/>
                  </a:cubicBezTo>
                  <a:cubicBezTo>
                    <a:pt x="32745" y="-278"/>
                    <a:pt x="39651" y="2424"/>
                    <a:pt x="44454" y="7828"/>
                  </a:cubicBezTo>
                  <a:cubicBezTo>
                    <a:pt x="49858" y="12932"/>
                    <a:pt x="52560" y="20138"/>
                    <a:pt x="52560" y="27343"/>
                  </a:cubicBezTo>
                  <a:cubicBezTo>
                    <a:pt x="52260" y="34849"/>
                    <a:pt x="49558" y="41754"/>
                    <a:pt x="44454" y="46558"/>
                  </a:cubicBezTo>
                  <a:moveTo>
                    <a:pt x="39651" y="392719"/>
                  </a:moveTo>
                  <a:lnTo>
                    <a:pt x="12630" y="392719"/>
                  </a:lnTo>
                  <a:cubicBezTo>
                    <a:pt x="8427" y="392719"/>
                    <a:pt x="6926" y="390617"/>
                    <a:pt x="6926" y="386714"/>
                  </a:cubicBezTo>
                  <a:lnTo>
                    <a:pt x="6926" y="112307"/>
                  </a:lnTo>
                  <a:cubicBezTo>
                    <a:pt x="6926" y="108404"/>
                    <a:pt x="8427" y="106603"/>
                    <a:pt x="12630" y="106603"/>
                  </a:cubicBezTo>
                  <a:lnTo>
                    <a:pt x="39651" y="106603"/>
                  </a:lnTo>
                  <a:cubicBezTo>
                    <a:pt x="43553" y="106603"/>
                    <a:pt x="45655" y="108404"/>
                    <a:pt x="45655" y="112307"/>
                  </a:cubicBezTo>
                  <a:lnTo>
                    <a:pt x="45655" y="386414"/>
                  </a:lnTo>
                  <a:cubicBezTo>
                    <a:pt x="45955" y="389416"/>
                    <a:pt x="43854" y="392118"/>
                    <a:pt x="40852" y="392418"/>
                  </a:cubicBezTo>
                  <a:cubicBezTo>
                    <a:pt x="40551" y="392719"/>
                    <a:pt x="39951" y="392719"/>
                    <a:pt x="39651" y="392719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07" name="Forme libre : forme 206">
              <a:extLst>
                <a:ext uri="{FF2B5EF4-FFF2-40B4-BE49-F238E27FC236}">
                  <a16:creationId xmlns:a16="http://schemas.microsoft.com/office/drawing/2014/main" id="{BB992EE4-2318-4911-A533-A578440EECF0}"/>
                </a:ext>
              </a:extLst>
            </p:cNvPr>
            <p:cNvSpPr/>
            <p:nvPr/>
          </p:nvSpPr>
          <p:spPr>
            <a:xfrm>
              <a:off x="7927941" y="3999084"/>
              <a:ext cx="201152" cy="297224"/>
            </a:xfrm>
            <a:custGeom>
              <a:avLst/>
              <a:gdLst>
                <a:gd name="connsiteX0" fmla="*/ 197872 w 201151"/>
                <a:gd name="connsiteY0" fmla="*/ 166649 h 297224"/>
                <a:gd name="connsiteX1" fmla="*/ 46858 w 201151"/>
                <a:gd name="connsiteY1" fmla="*/ 166649 h 297224"/>
                <a:gd name="connsiteX2" fmla="*/ 40854 w 201151"/>
                <a:gd name="connsiteY2" fmla="*/ 171452 h 297224"/>
                <a:gd name="connsiteX3" fmla="*/ 40854 w 201151"/>
                <a:gd name="connsiteY3" fmla="*/ 172653 h 297224"/>
                <a:gd name="connsiteX4" fmla="*/ 40854 w 201151"/>
                <a:gd name="connsiteY4" fmla="*/ 189766 h 297224"/>
                <a:gd name="connsiteX5" fmla="*/ 60368 w 201151"/>
                <a:gd name="connsiteY5" fmla="*/ 236902 h 297224"/>
                <a:gd name="connsiteX6" fmla="*/ 107504 w 201151"/>
                <a:gd name="connsiteY6" fmla="*/ 256717 h 297224"/>
                <a:gd name="connsiteX7" fmla="*/ 170852 w 201151"/>
                <a:gd name="connsiteY7" fmla="*/ 236902 h 297224"/>
                <a:gd name="connsiteX8" fmla="*/ 177757 w 201151"/>
                <a:gd name="connsiteY8" fmla="*/ 236902 h 297224"/>
                <a:gd name="connsiteX9" fmla="*/ 178357 w 201151"/>
                <a:gd name="connsiteY9" fmla="*/ 237802 h 297224"/>
                <a:gd name="connsiteX10" fmla="*/ 194870 w 201151"/>
                <a:gd name="connsiteY10" fmla="*/ 261821 h 297224"/>
                <a:gd name="connsiteX11" fmla="*/ 194570 w 201151"/>
                <a:gd name="connsiteY11" fmla="*/ 269026 h 297224"/>
                <a:gd name="connsiteX12" fmla="*/ 193369 w 201151"/>
                <a:gd name="connsiteY12" fmla="*/ 269927 h 297224"/>
                <a:gd name="connsiteX13" fmla="*/ 107504 w 201151"/>
                <a:gd name="connsiteY13" fmla="*/ 297247 h 297224"/>
                <a:gd name="connsiteX14" fmla="*/ 31546 w 201151"/>
                <a:gd name="connsiteY14" fmla="*/ 265724 h 297224"/>
                <a:gd name="connsiteX15" fmla="*/ 23 w 201151"/>
                <a:gd name="connsiteY15" fmla="*/ 190066 h 297224"/>
                <a:gd name="connsiteX16" fmla="*/ 23 w 201151"/>
                <a:gd name="connsiteY16" fmla="*/ 101199 h 297224"/>
                <a:gd name="connsiteX17" fmla="*/ 101499 w 201151"/>
                <a:gd name="connsiteY17" fmla="*/ 23 h 297224"/>
                <a:gd name="connsiteX18" fmla="*/ 101499 w 201151"/>
                <a:gd name="connsiteY18" fmla="*/ 23 h 297224"/>
                <a:gd name="connsiteX19" fmla="*/ 173554 w 201151"/>
                <a:gd name="connsiteY19" fmla="*/ 29746 h 297224"/>
                <a:gd name="connsiteX20" fmla="*/ 202976 w 201151"/>
                <a:gd name="connsiteY20" fmla="*/ 101199 h 297224"/>
                <a:gd name="connsiteX21" fmla="*/ 202976 w 201151"/>
                <a:gd name="connsiteY21" fmla="*/ 160344 h 297224"/>
                <a:gd name="connsiteX22" fmla="*/ 197272 w 201151"/>
                <a:gd name="connsiteY22" fmla="*/ 166349 h 297224"/>
                <a:gd name="connsiteX23" fmla="*/ 162445 w 201151"/>
                <a:gd name="connsiteY23" fmla="*/ 101800 h 297224"/>
                <a:gd name="connsiteX24" fmla="*/ 144732 w 201151"/>
                <a:gd name="connsiteY24" fmla="*/ 58567 h 297224"/>
                <a:gd name="connsiteX25" fmla="*/ 101499 w 201151"/>
                <a:gd name="connsiteY25" fmla="*/ 40854 h 297224"/>
                <a:gd name="connsiteX26" fmla="*/ 58867 w 201151"/>
                <a:gd name="connsiteY26" fmla="*/ 58567 h 297224"/>
                <a:gd name="connsiteX27" fmla="*/ 40553 w 201151"/>
                <a:gd name="connsiteY27" fmla="*/ 101800 h 297224"/>
                <a:gd name="connsiteX28" fmla="*/ 40553 w 201151"/>
                <a:gd name="connsiteY28" fmla="*/ 120714 h 297224"/>
                <a:gd name="connsiteX29" fmla="*/ 45357 w 201151"/>
                <a:gd name="connsiteY29" fmla="*/ 126719 h 297224"/>
                <a:gd name="connsiteX30" fmla="*/ 46558 w 201151"/>
                <a:gd name="connsiteY30" fmla="*/ 126719 h 297224"/>
                <a:gd name="connsiteX31" fmla="*/ 157041 w 201151"/>
                <a:gd name="connsiteY31" fmla="*/ 126719 h 297224"/>
                <a:gd name="connsiteX32" fmla="*/ 162746 w 201151"/>
                <a:gd name="connsiteY32" fmla="*/ 120714 h 297224"/>
                <a:gd name="connsiteX33" fmla="*/ 162746 w 201151"/>
                <a:gd name="connsiteY33" fmla="*/ 101800 h 297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01151" h="297224">
                  <a:moveTo>
                    <a:pt x="197872" y="166649"/>
                  </a:moveTo>
                  <a:lnTo>
                    <a:pt x="46858" y="166649"/>
                  </a:lnTo>
                  <a:cubicBezTo>
                    <a:pt x="43856" y="166349"/>
                    <a:pt x="41154" y="168450"/>
                    <a:pt x="40854" y="171452"/>
                  </a:cubicBezTo>
                  <a:cubicBezTo>
                    <a:pt x="40854" y="171753"/>
                    <a:pt x="40854" y="172353"/>
                    <a:pt x="40854" y="172653"/>
                  </a:cubicBezTo>
                  <a:lnTo>
                    <a:pt x="40854" y="189766"/>
                  </a:lnTo>
                  <a:cubicBezTo>
                    <a:pt x="40553" y="207480"/>
                    <a:pt x="47459" y="224593"/>
                    <a:pt x="60368" y="236902"/>
                  </a:cubicBezTo>
                  <a:cubicBezTo>
                    <a:pt x="72677" y="249812"/>
                    <a:pt x="89790" y="257017"/>
                    <a:pt x="107504" y="256717"/>
                  </a:cubicBezTo>
                  <a:cubicBezTo>
                    <a:pt x="130021" y="257017"/>
                    <a:pt x="152238" y="249812"/>
                    <a:pt x="170852" y="236902"/>
                  </a:cubicBezTo>
                  <a:cubicBezTo>
                    <a:pt x="172953" y="235100"/>
                    <a:pt x="175956" y="235100"/>
                    <a:pt x="177757" y="236902"/>
                  </a:cubicBezTo>
                  <a:cubicBezTo>
                    <a:pt x="178057" y="237202"/>
                    <a:pt x="178357" y="237502"/>
                    <a:pt x="178357" y="237802"/>
                  </a:cubicBezTo>
                  <a:lnTo>
                    <a:pt x="194870" y="261821"/>
                  </a:lnTo>
                  <a:cubicBezTo>
                    <a:pt x="196671" y="263922"/>
                    <a:pt x="196671" y="267225"/>
                    <a:pt x="194570" y="269026"/>
                  </a:cubicBezTo>
                  <a:cubicBezTo>
                    <a:pt x="194269" y="269326"/>
                    <a:pt x="193669" y="269626"/>
                    <a:pt x="193369" y="269927"/>
                  </a:cubicBezTo>
                  <a:cubicBezTo>
                    <a:pt x="168450" y="288241"/>
                    <a:pt x="138427" y="297548"/>
                    <a:pt x="107504" y="297247"/>
                  </a:cubicBezTo>
                  <a:cubicBezTo>
                    <a:pt x="78682" y="297848"/>
                    <a:pt x="51061" y="286139"/>
                    <a:pt x="31546" y="265724"/>
                  </a:cubicBezTo>
                  <a:cubicBezTo>
                    <a:pt x="10831" y="245909"/>
                    <a:pt x="-578" y="218288"/>
                    <a:pt x="23" y="190066"/>
                  </a:cubicBezTo>
                  <a:lnTo>
                    <a:pt x="23" y="101199"/>
                  </a:lnTo>
                  <a:cubicBezTo>
                    <a:pt x="-278" y="45357"/>
                    <a:pt x="45357" y="323"/>
                    <a:pt x="101499" y="23"/>
                  </a:cubicBezTo>
                  <a:lnTo>
                    <a:pt x="101499" y="23"/>
                  </a:lnTo>
                  <a:cubicBezTo>
                    <a:pt x="128820" y="-577"/>
                    <a:pt x="154940" y="10531"/>
                    <a:pt x="173554" y="29746"/>
                  </a:cubicBezTo>
                  <a:cubicBezTo>
                    <a:pt x="193069" y="48360"/>
                    <a:pt x="203576" y="74179"/>
                    <a:pt x="202976" y="101199"/>
                  </a:cubicBezTo>
                  <a:lnTo>
                    <a:pt x="202976" y="160344"/>
                  </a:lnTo>
                  <a:cubicBezTo>
                    <a:pt x="202976" y="164247"/>
                    <a:pt x="201175" y="166349"/>
                    <a:pt x="197272" y="166349"/>
                  </a:cubicBezTo>
                  <a:moveTo>
                    <a:pt x="162445" y="101800"/>
                  </a:moveTo>
                  <a:cubicBezTo>
                    <a:pt x="162746" y="85588"/>
                    <a:pt x="156441" y="69976"/>
                    <a:pt x="144732" y="58567"/>
                  </a:cubicBezTo>
                  <a:cubicBezTo>
                    <a:pt x="133323" y="46858"/>
                    <a:pt x="117711" y="40554"/>
                    <a:pt x="101499" y="40854"/>
                  </a:cubicBezTo>
                  <a:cubicBezTo>
                    <a:pt x="85287" y="40554"/>
                    <a:pt x="69976" y="46858"/>
                    <a:pt x="58867" y="58567"/>
                  </a:cubicBezTo>
                  <a:cubicBezTo>
                    <a:pt x="46858" y="69976"/>
                    <a:pt x="40253" y="85588"/>
                    <a:pt x="40553" y="101800"/>
                  </a:cubicBezTo>
                  <a:lnTo>
                    <a:pt x="40553" y="120714"/>
                  </a:lnTo>
                  <a:cubicBezTo>
                    <a:pt x="40253" y="123716"/>
                    <a:pt x="42355" y="126418"/>
                    <a:pt x="45357" y="126719"/>
                  </a:cubicBezTo>
                  <a:cubicBezTo>
                    <a:pt x="45657" y="126719"/>
                    <a:pt x="46258" y="126719"/>
                    <a:pt x="46558" y="126719"/>
                  </a:cubicBezTo>
                  <a:lnTo>
                    <a:pt x="157041" y="126719"/>
                  </a:lnTo>
                  <a:cubicBezTo>
                    <a:pt x="160944" y="126719"/>
                    <a:pt x="162746" y="124617"/>
                    <a:pt x="162746" y="120714"/>
                  </a:cubicBezTo>
                  <a:lnTo>
                    <a:pt x="162746" y="101800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08" name="Forme libre : forme 207">
              <a:extLst>
                <a:ext uri="{FF2B5EF4-FFF2-40B4-BE49-F238E27FC236}">
                  <a16:creationId xmlns:a16="http://schemas.microsoft.com/office/drawing/2014/main" id="{E94D4579-F05D-43F4-A5DA-EFC27D932E05}"/>
                </a:ext>
              </a:extLst>
            </p:cNvPr>
            <p:cNvSpPr/>
            <p:nvPr/>
          </p:nvSpPr>
          <p:spPr>
            <a:xfrm>
              <a:off x="7334113" y="3998799"/>
              <a:ext cx="189143" cy="297224"/>
            </a:xfrm>
            <a:custGeom>
              <a:avLst/>
              <a:gdLst>
                <a:gd name="connsiteX0" fmla="*/ 18016 w 189142"/>
                <a:gd name="connsiteY0" fmla="*/ 238687 h 297224"/>
                <a:gd name="connsiteX1" fmla="*/ 102079 w 189142"/>
                <a:gd name="connsiteY1" fmla="*/ 260003 h 297224"/>
                <a:gd name="connsiteX2" fmla="*/ 135705 w 189142"/>
                <a:gd name="connsiteY2" fmla="*/ 245893 h 297224"/>
                <a:gd name="connsiteX3" fmla="*/ 149815 w 189142"/>
                <a:gd name="connsiteY3" fmla="*/ 212267 h 297224"/>
                <a:gd name="connsiteX4" fmla="*/ 140208 w 189142"/>
                <a:gd name="connsiteY4" fmla="*/ 185847 h 297224"/>
                <a:gd name="connsiteX5" fmla="*/ 116790 w 189142"/>
                <a:gd name="connsiteY5" fmla="*/ 169935 h 297224"/>
                <a:gd name="connsiteX6" fmla="*/ 57646 w 189142"/>
                <a:gd name="connsiteY6" fmla="*/ 153723 h 297224"/>
                <a:gd name="connsiteX7" fmla="*/ 2 w 189142"/>
                <a:gd name="connsiteY7" fmla="*/ 78967 h 297224"/>
                <a:gd name="connsiteX8" fmla="*/ 77761 w 189142"/>
                <a:gd name="connsiteY8" fmla="*/ 7 h 297224"/>
                <a:gd name="connsiteX9" fmla="*/ 79262 w 189142"/>
                <a:gd name="connsiteY9" fmla="*/ 7 h 297224"/>
                <a:gd name="connsiteX10" fmla="*/ 177136 w 189142"/>
                <a:gd name="connsiteY10" fmla="*/ 26427 h 297224"/>
                <a:gd name="connsiteX11" fmla="*/ 179538 w 189142"/>
                <a:gd name="connsiteY11" fmla="*/ 33633 h 297224"/>
                <a:gd name="connsiteX12" fmla="*/ 178637 w 189142"/>
                <a:gd name="connsiteY12" fmla="*/ 34834 h 297224"/>
                <a:gd name="connsiteX13" fmla="*/ 164226 w 189142"/>
                <a:gd name="connsiteY13" fmla="*/ 58852 h 297224"/>
                <a:gd name="connsiteX14" fmla="*/ 156420 w 189142"/>
                <a:gd name="connsiteY14" fmla="*/ 61554 h 297224"/>
                <a:gd name="connsiteX15" fmla="*/ 78361 w 189142"/>
                <a:gd name="connsiteY15" fmla="*/ 39637 h 297224"/>
                <a:gd name="connsiteX16" fmla="*/ 50740 w 189142"/>
                <a:gd name="connsiteY16" fmla="*/ 51046 h 297224"/>
                <a:gd name="connsiteX17" fmla="*/ 40232 w 189142"/>
                <a:gd name="connsiteY17" fmla="*/ 77466 h 297224"/>
                <a:gd name="connsiteX18" fmla="*/ 67553 w 189142"/>
                <a:gd name="connsiteY18" fmla="*/ 112892 h 297224"/>
                <a:gd name="connsiteX19" fmla="*/ 126398 w 189142"/>
                <a:gd name="connsiteY19" fmla="*/ 128504 h 297224"/>
                <a:gd name="connsiteX20" fmla="*/ 172933 w 189142"/>
                <a:gd name="connsiteY20" fmla="*/ 159427 h 297224"/>
                <a:gd name="connsiteX21" fmla="*/ 153418 w 189142"/>
                <a:gd name="connsiteY21" fmla="*/ 282821 h 297224"/>
                <a:gd name="connsiteX22" fmla="*/ 101779 w 189142"/>
                <a:gd name="connsiteY22" fmla="*/ 299633 h 297224"/>
                <a:gd name="connsiteX23" fmla="*/ 101779 w 189142"/>
                <a:gd name="connsiteY23" fmla="*/ 299633 h 297224"/>
                <a:gd name="connsiteX24" fmla="*/ 18016 w 189142"/>
                <a:gd name="connsiteY24" fmla="*/ 238687 h 297224"/>
                <a:gd name="connsiteX25" fmla="*/ 18016 w 189142"/>
                <a:gd name="connsiteY25" fmla="*/ 238687 h 297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9142" h="297224">
                  <a:moveTo>
                    <a:pt x="18016" y="238687"/>
                  </a:moveTo>
                  <a:cubicBezTo>
                    <a:pt x="43835" y="252498"/>
                    <a:pt x="72657" y="259703"/>
                    <a:pt x="102079" y="260003"/>
                  </a:cubicBezTo>
                  <a:cubicBezTo>
                    <a:pt x="114689" y="260304"/>
                    <a:pt x="126998" y="255200"/>
                    <a:pt x="135705" y="245893"/>
                  </a:cubicBezTo>
                  <a:cubicBezTo>
                    <a:pt x="144711" y="237186"/>
                    <a:pt x="149815" y="224877"/>
                    <a:pt x="149815" y="212267"/>
                  </a:cubicBezTo>
                  <a:cubicBezTo>
                    <a:pt x="149515" y="202660"/>
                    <a:pt x="146212" y="193353"/>
                    <a:pt x="140208" y="185847"/>
                  </a:cubicBezTo>
                  <a:cubicBezTo>
                    <a:pt x="134504" y="178042"/>
                    <a:pt x="126097" y="172637"/>
                    <a:pt x="116790" y="169935"/>
                  </a:cubicBezTo>
                  <a:lnTo>
                    <a:pt x="57646" y="153723"/>
                  </a:lnTo>
                  <a:cubicBezTo>
                    <a:pt x="23720" y="144716"/>
                    <a:pt x="2" y="114093"/>
                    <a:pt x="2" y="78967"/>
                  </a:cubicBezTo>
                  <a:cubicBezTo>
                    <a:pt x="-298" y="35734"/>
                    <a:pt x="34228" y="608"/>
                    <a:pt x="77761" y="7"/>
                  </a:cubicBezTo>
                  <a:cubicBezTo>
                    <a:pt x="78361" y="7"/>
                    <a:pt x="78962" y="7"/>
                    <a:pt x="79262" y="7"/>
                  </a:cubicBezTo>
                  <a:cubicBezTo>
                    <a:pt x="113788" y="-293"/>
                    <a:pt x="147413" y="8714"/>
                    <a:pt x="177136" y="26427"/>
                  </a:cubicBezTo>
                  <a:cubicBezTo>
                    <a:pt x="179838" y="27628"/>
                    <a:pt x="181039" y="30931"/>
                    <a:pt x="179538" y="33633"/>
                  </a:cubicBezTo>
                  <a:cubicBezTo>
                    <a:pt x="179237" y="33933"/>
                    <a:pt x="178937" y="34533"/>
                    <a:pt x="178637" y="34834"/>
                  </a:cubicBezTo>
                  <a:lnTo>
                    <a:pt x="164226" y="58852"/>
                  </a:lnTo>
                  <a:cubicBezTo>
                    <a:pt x="162124" y="62755"/>
                    <a:pt x="159122" y="63355"/>
                    <a:pt x="156420" y="61554"/>
                  </a:cubicBezTo>
                  <a:cubicBezTo>
                    <a:pt x="133002" y="47143"/>
                    <a:pt x="105982" y="39637"/>
                    <a:pt x="78361" y="39637"/>
                  </a:cubicBezTo>
                  <a:cubicBezTo>
                    <a:pt x="67853" y="39337"/>
                    <a:pt x="57946" y="43540"/>
                    <a:pt x="50740" y="51046"/>
                  </a:cubicBezTo>
                  <a:cubicBezTo>
                    <a:pt x="43835" y="57951"/>
                    <a:pt x="39932" y="67558"/>
                    <a:pt x="40232" y="77466"/>
                  </a:cubicBezTo>
                  <a:cubicBezTo>
                    <a:pt x="39031" y="94579"/>
                    <a:pt x="50740" y="109890"/>
                    <a:pt x="67553" y="112892"/>
                  </a:cubicBezTo>
                  <a:lnTo>
                    <a:pt x="126398" y="128504"/>
                  </a:lnTo>
                  <a:cubicBezTo>
                    <a:pt x="145011" y="133308"/>
                    <a:pt x="161524" y="144116"/>
                    <a:pt x="172933" y="159427"/>
                  </a:cubicBezTo>
                  <a:cubicBezTo>
                    <a:pt x="201754" y="198757"/>
                    <a:pt x="193048" y="253999"/>
                    <a:pt x="153418" y="282821"/>
                  </a:cubicBezTo>
                  <a:cubicBezTo>
                    <a:pt x="138407" y="293629"/>
                    <a:pt x="120393" y="299633"/>
                    <a:pt x="101779" y="299633"/>
                  </a:cubicBezTo>
                  <a:lnTo>
                    <a:pt x="101779" y="299633"/>
                  </a:lnTo>
                  <a:lnTo>
                    <a:pt x="18016" y="238687"/>
                  </a:lnTo>
                  <a:lnTo>
                    <a:pt x="18016" y="238687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09" name="Forme libre : forme 208">
              <a:extLst>
                <a:ext uri="{FF2B5EF4-FFF2-40B4-BE49-F238E27FC236}">
                  <a16:creationId xmlns:a16="http://schemas.microsoft.com/office/drawing/2014/main" id="{42A87569-3468-487F-B04D-E409BD79854C}"/>
                </a:ext>
              </a:extLst>
            </p:cNvPr>
            <p:cNvSpPr/>
            <p:nvPr/>
          </p:nvSpPr>
          <p:spPr>
            <a:xfrm>
              <a:off x="7700091" y="3921920"/>
              <a:ext cx="180136" cy="219165"/>
            </a:xfrm>
            <a:custGeom>
              <a:avLst/>
              <a:gdLst>
                <a:gd name="connsiteX0" fmla="*/ 44133 w 180136"/>
                <a:gd name="connsiteY0" fmla="*/ 219494 h 219165"/>
                <a:gd name="connsiteX1" fmla="*/ 44133 w 180136"/>
                <a:gd name="connsiteY1" fmla="*/ 132128 h 219165"/>
                <a:gd name="connsiteX2" fmla="*/ 38129 w 180136"/>
                <a:gd name="connsiteY2" fmla="*/ 126424 h 219165"/>
                <a:gd name="connsiteX3" fmla="*/ 6005 w 180136"/>
                <a:gd name="connsiteY3" fmla="*/ 126424 h 219165"/>
                <a:gd name="connsiteX4" fmla="*/ 0 w 180136"/>
                <a:gd name="connsiteY4" fmla="*/ 120419 h 219165"/>
                <a:gd name="connsiteX5" fmla="*/ 0 w 180136"/>
                <a:gd name="connsiteY5" fmla="*/ 91598 h 219165"/>
                <a:gd name="connsiteX6" fmla="*/ 6005 w 180136"/>
                <a:gd name="connsiteY6" fmla="*/ 86193 h 219165"/>
                <a:gd name="connsiteX7" fmla="*/ 37829 w 180136"/>
                <a:gd name="connsiteY7" fmla="*/ 86193 h 219165"/>
                <a:gd name="connsiteX8" fmla="*/ 43833 w 180136"/>
                <a:gd name="connsiteY8" fmla="*/ 81390 h 219165"/>
                <a:gd name="connsiteX9" fmla="*/ 43833 w 180136"/>
                <a:gd name="connsiteY9" fmla="*/ 80189 h 219165"/>
                <a:gd name="connsiteX10" fmla="*/ 43833 w 180136"/>
                <a:gd name="connsiteY10" fmla="*/ 6033 h 219165"/>
                <a:gd name="connsiteX11" fmla="*/ 48937 w 180136"/>
                <a:gd name="connsiteY11" fmla="*/ 28 h 219165"/>
                <a:gd name="connsiteX12" fmla="*/ 50138 w 180136"/>
                <a:gd name="connsiteY12" fmla="*/ 28 h 219165"/>
                <a:gd name="connsiteX13" fmla="*/ 78059 w 180136"/>
                <a:gd name="connsiteY13" fmla="*/ 28 h 219165"/>
                <a:gd name="connsiteX14" fmla="*/ 84064 w 180136"/>
                <a:gd name="connsiteY14" fmla="*/ 5132 h 219165"/>
                <a:gd name="connsiteX15" fmla="*/ 84064 w 180136"/>
                <a:gd name="connsiteY15" fmla="*/ 6333 h 219165"/>
                <a:gd name="connsiteX16" fmla="*/ 84064 w 180136"/>
                <a:gd name="connsiteY16" fmla="*/ 80189 h 219165"/>
                <a:gd name="connsiteX17" fmla="*/ 89167 w 180136"/>
                <a:gd name="connsiteY17" fmla="*/ 86193 h 219165"/>
                <a:gd name="connsiteX18" fmla="*/ 90368 w 180136"/>
                <a:gd name="connsiteY18" fmla="*/ 86193 h 219165"/>
                <a:gd name="connsiteX19" fmla="*/ 174732 w 180136"/>
                <a:gd name="connsiteY19" fmla="*/ 86193 h 219165"/>
                <a:gd name="connsiteX20" fmla="*/ 180737 w 180136"/>
                <a:gd name="connsiteY20" fmla="*/ 91598 h 219165"/>
                <a:gd name="connsiteX21" fmla="*/ 180737 w 180136"/>
                <a:gd name="connsiteY21" fmla="*/ 120419 h 219165"/>
                <a:gd name="connsiteX22" fmla="*/ 174732 w 180136"/>
                <a:gd name="connsiteY22" fmla="*/ 126424 h 219165"/>
                <a:gd name="connsiteX23" fmla="*/ 90068 w 180136"/>
                <a:gd name="connsiteY23" fmla="*/ 126424 h 219165"/>
                <a:gd name="connsiteX24" fmla="*/ 84064 w 180136"/>
                <a:gd name="connsiteY24" fmla="*/ 132128 h 219165"/>
                <a:gd name="connsiteX25" fmla="*/ 84064 w 180136"/>
                <a:gd name="connsiteY25" fmla="*/ 198778 h 219165"/>
                <a:gd name="connsiteX26" fmla="*/ 44133 w 180136"/>
                <a:gd name="connsiteY26" fmla="*/ 219494 h 219165"/>
                <a:gd name="connsiteX27" fmla="*/ 44133 w 180136"/>
                <a:gd name="connsiteY27" fmla="*/ 219494 h 219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80136" h="219165">
                  <a:moveTo>
                    <a:pt x="44133" y="219494"/>
                  </a:moveTo>
                  <a:lnTo>
                    <a:pt x="44133" y="132128"/>
                  </a:lnTo>
                  <a:cubicBezTo>
                    <a:pt x="44133" y="128225"/>
                    <a:pt x="42032" y="126424"/>
                    <a:pt x="38129" y="126424"/>
                  </a:cubicBezTo>
                  <a:lnTo>
                    <a:pt x="6005" y="126424"/>
                  </a:lnTo>
                  <a:cubicBezTo>
                    <a:pt x="1501" y="126424"/>
                    <a:pt x="0" y="124322"/>
                    <a:pt x="0" y="120419"/>
                  </a:cubicBezTo>
                  <a:lnTo>
                    <a:pt x="0" y="91598"/>
                  </a:lnTo>
                  <a:cubicBezTo>
                    <a:pt x="0" y="87695"/>
                    <a:pt x="1501" y="86193"/>
                    <a:pt x="6005" y="86193"/>
                  </a:cubicBezTo>
                  <a:lnTo>
                    <a:pt x="37829" y="86193"/>
                  </a:lnTo>
                  <a:cubicBezTo>
                    <a:pt x="40831" y="86494"/>
                    <a:pt x="43533" y="84392"/>
                    <a:pt x="43833" y="81390"/>
                  </a:cubicBezTo>
                  <a:cubicBezTo>
                    <a:pt x="43833" y="81090"/>
                    <a:pt x="43833" y="80489"/>
                    <a:pt x="43833" y="80189"/>
                  </a:cubicBezTo>
                  <a:lnTo>
                    <a:pt x="43833" y="6033"/>
                  </a:lnTo>
                  <a:cubicBezTo>
                    <a:pt x="43533" y="3031"/>
                    <a:pt x="45935" y="329"/>
                    <a:pt x="48937" y="28"/>
                  </a:cubicBezTo>
                  <a:cubicBezTo>
                    <a:pt x="49237" y="28"/>
                    <a:pt x="49537" y="28"/>
                    <a:pt x="50138" y="28"/>
                  </a:cubicBezTo>
                  <a:lnTo>
                    <a:pt x="78059" y="28"/>
                  </a:lnTo>
                  <a:cubicBezTo>
                    <a:pt x="81061" y="-272"/>
                    <a:pt x="83763" y="1830"/>
                    <a:pt x="84064" y="5132"/>
                  </a:cubicBezTo>
                  <a:cubicBezTo>
                    <a:pt x="84064" y="5433"/>
                    <a:pt x="84064" y="5733"/>
                    <a:pt x="84064" y="6333"/>
                  </a:cubicBezTo>
                  <a:lnTo>
                    <a:pt x="84064" y="80189"/>
                  </a:lnTo>
                  <a:cubicBezTo>
                    <a:pt x="83763" y="83191"/>
                    <a:pt x="86165" y="85893"/>
                    <a:pt x="89167" y="86193"/>
                  </a:cubicBezTo>
                  <a:cubicBezTo>
                    <a:pt x="89468" y="86193"/>
                    <a:pt x="89768" y="86193"/>
                    <a:pt x="90368" y="86193"/>
                  </a:cubicBezTo>
                  <a:lnTo>
                    <a:pt x="174732" y="86193"/>
                  </a:lnTo>
                  <a:cubicBezTo>
                    <a:pt x="179235" y="86193"/>
                    <a:pt x="180737" y="87695"/>
                    <a:pt x="180737" y="91598"/>
                  </a:cubicBezTo>
                  <a:lnTo>
                    <a:pt x="180737" y="120419"/>
                  </a:lnTo>
                  <a:cubicBezTo>
                    <a:pt x="180737" y="124322"/>
                    <a:pt x="179235" y="126424"/>
                    <a:pt x="174732" y="126424"/>
                  </a:cubicBezTo>
                  <a:lnTo>
                    <a:pt x="90068" y="126424"/>
                  </a:lnTo>
                  <a:cubicBezTo>
                    <a:pt x="86165" y="126424"/>
                    <a:pt x="84064" y="128225"/>
                    <a:pt x="84064" y="132128"/>
                  </a:cubicBezTo>
                  <a:lnTo>
                    <a:pt x="84064" y="198778"/>
                  </a:lnTo>
                  <a:lnTo>
                    <a:pt x="44133" y="219494"/>
                  </a:lnTo>
                  <a:lnTo>
                    <a:pt x="44133" y="219494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10" name="Forme libre : forme 209">
              <a:extLst>
                <a:ext uri="{FF2B5EF4-FFF2-40B4-BE49-F238E27FC236}">
                  <a16:creationId xmlns:a16="http://schemas.microsoft.com/office/drawing/2014/main" id="{8A480203-3BAE-4FB3-AFEF-BBBDA1B8A5D3}"/>
                </a:ext>
              </a:extLst>
            </p:cNvPr>
            <p:cNvSpPr/>
            <p:nvPr/>
          </p:nvSpPr>
          <p:spPr>
            <a:xfrm>
              <a:off x="6709034" y="4369579"/>
              <a:ext cx="183138" cy="288217"/>
            </a:xfrm>
            <a:custGeom>
              <a:avLst/>
              <a:gdLst>
                <a:gd name="connsiteX0" fmla="*/ 156127 w 183138"/>
                <a:gd name="connsiteY0" fmla="*/ 130306 h 288217"/>
                <a:gd name="connsiteX1" fmla="*/ 172039 w 183138"/>
                <a:gd name="connsiteY1" fmla="*/ 79568 h 288217"/>
                <a:gd name="connsiteX2" fmla="*/ 149221 w 183138"/>
                <a:gd name="connsiteY2" fmla="*/ 23425 h 288217"/>
                <a:gd name="connsiteX3" fmla="*/ 93980 w 183138"/>
                <a:gd name="connsiteY3" fmla="*/ 8 h 288217"/>
                <a:gd name="connsiteX4" fmla="*/ 17722 w 183138"/>
                <a:gd name="connsiteY4" fmla="*/ 8 h 288217"/>
                <a:gd name="connsiteX5" fmla="*/ 9 w 183138"/>
                <a:gd name="connsiteY5" fmla="*/ 17721 h 288217"/>
                <a:gd name="connsiteX6" fmla="*/ 9 w 183138"/>
                <a:gd name="connsiteY6" fmla="*/ 19222 h 288217"/>
                <a:gd name="connsiteX7" fmla="*/ 9 w 183138"/>
                <a:gd name="connsiteY7" fmla="*/ 271713 h 288217"/>
                <a:gd name="connsiteX8" fmla="*/ 16821 w 183138"/>
                <a:gd name="connsiteY8" fmla="*/ 290327 h 288217"/>
                <a:gd name="connsiteX9" fmla="*/ 18022 w 183138"/>
                <a:gd name="connsiteY9" fmla="*/ 290327 h 288217"/>
                <a:gd name="connsiteX10" fmla="*/ 103587 w 183138"/>
                <a:gd name="connsiteY10" fmla="*/ 290327 h 288217"/>
                <a:gd name="connsiteX11" fmla="*/ 160930 w 183138"/>
                <a:gd name="connsiteY11" fmla="*/ 266008 h 288217"/>
                <a:gd name="connsiteX12" fmla="*/ 185249 w 183138"/>
                <a:gd name="connsiteY12" fmla="*/ 207164 h 288217"/>
                <a:gd name="connsiteX13" fmla="*/ 185249 w 183138"/>
                <a:gd name="connsiteY13" fmla="*/ 195455 h 288217"/>
                <a:gd name="connsiteX14" fmla="*/ 172339 w 183138"/>
                <a:gd name="connsiteY14" fmla="*/ 148920 h 288217"/>
                <a:gd name="connsiteX15" fmla="*/ 157027 w 183138"/>
                <a:gd name="connsiteY15" fmla="*/ 130006 h 288217"/>
                <a:gd name="connsiteX16" fmla="*/ 111093 w 183138"/>
                <a:gd name="connsiteY16" fmla="*/ 100283 h 288217"/>
                <a:gd name="connsiteX17" fmla="*/ 90977 w 183138"/>
                <a:gd name="connsiteY17" fmla="*/ 107789 h 288217"/>
                <a:gd name="connsiteX18" fmla="*/ 53749 w 183138"/>
                <a:gd name="connsiteY18" fmla="*/ 107789 h 288217"/>
                <a:gd name="connsiteX19" fmla="*/ 53749 w 183138"/>
                <a:gd name="connsiteY19" fmla="*/ 55249 h 288217"/>
                <a:gd name="connsiteX20" fmla="*/ 93980 w 183138"/>
                <a:gd name="connsiteY20" fmla="*/ 55249 h 288217"/>
                <a:gd name="connsiteX21" fmla="*/ 110792 w 183138"/>
                <a:gd name="connsiteY21" fmla="*/ 61854 h 288217"/>
                <a:gd name="connsiteX22" fmla="*/ 117698 w 183138"/>
                <a:gd name="connsiteY22" fmla="*/ 78967 h 288217"/>
                <a:gd name="connsiteX23" fmla="*/ 110192 w 183138"/>
                <a:gd name="connsiteY23" fmla="*/ 99683 h 288217"/>
                <a:gd name="connsiteX24" fmla="*/ 53749 w 183138"/>
                <a:gd name="connsiteY24" fmla="*/ 163931 h 288217"/>
                <a:gd name="connsiteX25" fmla="*/ 99384 w 183138"/>
                <a:gd name="connsiteY25" fmla="*/ 163931 h 288217"/>
                <a:gd name="connsiteX26" fmla="*/ 121000 w 183138"/>
                <a:gd name="connsiteY26" fmla="*/ 173238 h 288217"/>
                <a:gd name="connsiteX27" fmla="*/ 130307 w 183138"/>
                <a:gd name="connsiteY27" fmla="*/ 195755 h 288217"/>
                <a:gd name="connsiteX28" fmla="*/ 130307 w 183138"/>
                <a:gd name="connsiteY28" fmla="*/ 206864 h 288217"/>
                <a:gd name="connsiteX29" fmla="*/ 122201 w 183138"/>
                <a:gd name="connsiteY29" fmla="*/ 226078 h 288217"/>
                <a:gd name="connsiteX30" fmla="*/ 102986 w 183138"/>
                <a:gd name="connsiteY30" fmla="*/ 234485 h 288217"/>
                <a:gd name="connsiteX31" fmla="*/ 53749 w 183138"/>
                <a:gd name="connsiteY31" fmla="*/ 234485 h 288217"/>
                <a:gd name="connsiteX32" fmla="*/ 53749 w 183138"/>
                <a:gd name="connsiteY32" fmla="*/ 163931 h 288217"/>
                <a:gd name="connsiteX33" fmla="*/ 53749 w 183138"/>
                <a:gd name="connsiteY33" fmla="*/ 163931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83138" h="288217">
                  <a:moveTo>
                    <a:pt x="156127" y="130306"/>
                  </a:moveTo>
                  <a:cubicBezTo>
                    <a:pt x="166935" y="115595"/>
                    <a:pt x="172639" y="97882"/>
                    <a:pt x="172039" y="79568"/>
                  </a:cubicBezTo>
                  <a:cubicBezTo>
                    <a:pt x="172339" y="58552"/>
                    <a:pt x="163933" y="38137"/>
                    <a:pt x="149221" y="23425"/>
                  </a:cubicBezTo>
                  <a:cubicBezTo>
                    <a:pt x="134811" y="8114"/>
                    <a:pt x="114996" y="-292"/>
                    <a:pt x="93980" y="8"/>
                  </a:cubicBezTo>
                  <a:lnTo>
                    <a:pt x="17722" y="8"/>
                  </a:lnTo>
                  <a:cubicBezTo>
                    <a:pt x="8115" y="8"/>
                    <a:pt x="309" y="7814"/>
                    <a:pt x="9" y="17721"/>
                  </a:cubicBezTo>
                  <a:cubicBezTo>
                    <a:pt x="9" y="18322"/>
                    <a:pt x="9" y="18922"/>
                    <a:pt x="9" y="19222"/>
                  </a:cubicBezTo>
                  <a:lnTo>
                    <a:pt x="9" y="271713"/>
                  </a:lnTo>
                  <a:cubicBezTo>
                    <a:pt x="-292" y="281620"/>
                    <a:pt x="7214" y="290027"/>
                    <a:pt x="16821" y="290327"/>
                  </a:cubicBezTo>
                  <a:cubicBezTo>
                    <a:pt x="17122" y="290327"/>
                    <a:pt x="17722" y="290327"/>
                    <a:pt x="18022" y="290327"/>
                  </a:cubicBezTo>
                  <a:lnTo>
                    <a:pt x="103587" y="290327"/>
                  </a:lnTo>
                  <a:cubicBezTo>
                    <a:pt x="125203" y="290627"/>
                    <a:pt x="145919" y="281920"/>
                    <a:pt x="160930" y="266008"/>
                  </a:cubicBezTo>
                  <a:cubicBezTo>
                    <a:pt x="176542" y="250697"/>
                    <a:pt x="185249" y="229381"/>
                    <a:pt x="185249" y="207164"/>
                  </a:cubicBezTo>
                  <a:lnTo>
                    <a:pt x="185249" y="195455"/>
                  </a:lnTo>
                  <a:cubicBezTo>
                    <a:pt x="185249" y="178943"/>
                    <a:pt x="180745" y="163031"/>
                    <a:pt x="172339" y="148920"/>
                  </a:cubicBezTo>
                  <a:cubicBezTo>
                    <a:pt x="168136" y="142015"/>
                    <a:pt x="163032" y="135410"/>
                    <a:pt x="157027" y="130006"/>
                  </a:cubicBezTo>
                  <a:moveTo>
                    <a:pt x="111093" y="100283"/>
                  </a:moveTo>
                  <a:cubicBezTo>
                    <a:pt x="105688" y="105687"/>
                    <a:pt x="98483" y="108389"/>
                    <a:pt x="90977" y="107789"/>
                  </a:cubicBezTo>
                  <a:lnTo>
                    <a:pt x="53749" y="107789"/>
                  </a:lnTo>
                  <a:lnTo>
                    <a:pt x="53749" y="55249"/>
                  </a:lnTo>
                  <a:lnTo>
                    <a:pt x="93980" y="55249"/>
                  </a:lnTo>
                  <a:cubicBezTo>
                    <a:pt x="100284" y="54949"/>
                    <a:pt x="106289" y="57351"/>
                    <a:pt x="110792" y="61854"/>
                  </a:cubicBezTo>
                  <a:cubicBezTo>
                    <a:pt x="115596" y="66358"/>
                    <a:pt x="117998" y="72663"/>
                    <a:pt x="117698" y="78967"/>
                  </a:cubicBezTo>
                  <a:cubicBezTo>
                    <a:pt x="117998" y="86773"/>
                    <a:pt x="115296" y="94279"/>
                    <a:pt x="110192" y="99683"/>
                  </a:cubicBezTo>
                  <a:moveTo>
                    <a:pt x="53749" y="163931"/>
                  </a:moveTo>
                  <a:lnTo>
                    <a:pt x="99384" y="163931"/>
                  </a:lnTo>
                  <a:cubicBezTo>
                    <a:pt x="107490" y="163931"/>
                    <a:pt x="115596" y="167234"/>
                    <a:pt x="121000" y="173238"/>
                  </a:cubicBezTo>
                  <a:cubicBezTo>
                    <a:pt x="127005" y="179243"/>
                    <a:pt x="130607" y="187349"/>
                    <a:pt x="130307" y="195755"/>
                  </a:cubicBezTo>
                  <a:lnTo>
                    <a:pt x="130307" y="206864"/>
                  </a:lnTo>
                  <a:cubicBezTo>
                    <a:pt x="130307" y="214069"/>
                    <a:pt x="127305" y="221275"/>
                    <a:pt x="122201" y="226078"/>
                  </a:cubicBezTo>
                  <a:cubicBezTo>
                    <a:pt x="117097" y="231482"/>
                    <a:pt x="110192" y="234485"/>
                    <a:pt x="102986" y="234485"/>
                  </a:cubicBezTo>
                  <a:lnTo>
                    <a:pt x="53749" y="234485"/>
                  </a:lnTo>
                  <a:lnTo>
                    <a:pt x="53749" y="163931"/>
                  </a:lnTo>
                  <a:lnTo>
                    <a:pt x="53749" y="163931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11" name="Forme libre : forme 210">
              <a:extLst>
                <a:ext uri="{FF2B5EF4-FFF2-40B4-BE49-F238E27FC236}">
                  <a16:creationId xmlns:a16="http://schemas.microsoft.com/office/drawing/2014/main" id="{2802A1C5-F8B8-472F-BA61-4CA64A6C5347}"/>
                </a:ext>
              </a:extLst>
            </p:cNvPr>
            <p:cNvSpPr/>
            <p:nvPr/>
          </p:nvSpPr>
          <p:spPr>
            <a:xfrm>
              <a:off x="6940511" y="4365677"/>
              <a:ext cx="189143" cy="297224"/>
            </a:xfrm>
            <a:custGeom>
              <a:avLst/>
              <a:gdLst>
                <a:gd name="connsiteX0" fmla="*/ 95479 w 189142"/>
                <a:gd name="connsiteY0" fmla="*/ 6 h 297224"/>
                <a:gd name="connsiteX1" fmla="*/ 27928 w 189142"/>
                <a:gd name="connsiteY1" fmla="*/ 28828 h 297224"/>
                <a:gd name="connsiteX2" fmla="*/ 7 w 189142"/>
                <a:gd name="connsiteY2" fmla="*/ 97880 h 297224"/>
                <a:gd name="connsiteX3" fmla="*/ 7 w 189142"/>
                <a:gd name="connsiteY3" fmla="*/ 200858 h 297224"/>
                <a:gd name="connsiteX4" fmla="*/ 27928 w 189142"/>
                <a:gd name="connsiteY4" fmla="*/ 269910 h 297224"/>
                <a:gd name="connsiteX5" fmla="*/ 162429 w 189142"/>
                <a:gd name="connsiteY5" fmla="*/ 270811 h 297224"/>
                <a:gd name="connsiteX6" fmla="*/ 163330 w 189142"/>
                <a:gd name="connsiteY6" fmla="*/ 269910 h 297224"/>
                <a:gd name="connsiteX7" fmla="*/ 191551 w 189142"/>
                <a:gd name="connsiteY7" fmla="*/ 200858 h 297224"/>
                <a:gd name="connsiteX8" fmla="*/ 191551 w 189142"/>
                <a:gd name="connsiteY8" fmla="*/ 97880 h 297224"/>
                <a:gd name="connsiteX9" fmla="*/ 163330 w 189142"/>
                <a:gd name="connsiteY9" fmla="*/ 28828 h 297224"/>
                <a:gd name="connsiteX10" fmla="*/ 95479 w 189142"/>
                <a:gd name="connsiteY10" fmla="*/ 6 h 297224"/>
                <a:gd name="connsiteX11" fmla="*/ 54348 w 189142"/>
                <a:gd name="connsiteY11" fmla="*/ 97880 h 297224"/>
                <a:gd name="connsiteX12" fmla="*/ 67257 w 189142"/>
                <a:gd name="connsiteY12" fmla="*/ 67858 h 297224"/>
                <a:gd name="connsiteX13" fmla="*/ 125501 w 189142"/>
                <a:gd name="connsiteY13" fmla="*/ 67858 h 297224"/>
                <a:gd name="connsiteX14" fmla="*/ 138411 w 189142"/>
                <a:gd name="connsiteY14" fmla="*/ 97880 h 297224"/>
                <a:gd name="connsiteX15" fmla="*/ 138411 w 189142"/>
                <a:gd name="connsiteY15" fmla="*/ 200858 h 297224"/>
                <a:gd name="connsiteX16" fmla="*/ 125501 w 189142"/>
                <a:gd name="connsiteY16" fmla="*/ 230580 h 297224"/>
                <a:gd name="connsiteX17" fmla="*/ 68458 w 189142"/>
                <a:gd name="connsiteY17" fmla="*/ 232081 h 297224"/>
                <a:gd name="connsiteX18" fmla="*/ 67257 w 189142"/>
                <a:gd name="connsiteY18" fmla="*/ 230580 h 297224"/>
                <a:gd name="connsiteX19" fmla="*/ 54948 w 189142"/>
                <a:gd name="connsiteY19" fmla="*/ 200858 h 297224"/>
                <a:gd name="connsiteX20" fmla="*/ 54348 w 189142"/>
                <a:gd name="connsiteY20" fmla="*/ 97880 h 297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9142" h="297224">
                  <a:moveTo>
                    <a:pt x="95479" y="6"/>
                  </a:moveTo>
                  <a:cubicBezTo>
                    <a:pt x="69959" y="-294"/>
                    <a:pt x="45641" y="9914"/>
                    <a:pt x="27928" y="28828"/>
                  </a:cubicBezTo>
                  <a:cubicBezTo>
                    <a:pt x="9614" y="47142"/>
                    <a:pt x="-294" y="72061"/>
                    <a:pt x="7" y="97880"/>
                  </a:cubicBezTo>
                  <a:lnTo>
                    <a:pt x="7" y="200858"/>
                  </a:lnTo>
                  <a:cubicBezTo>
                    <a:pt x="-294" y="226677"/>
                    <a:pt x="9914" y="251896"/>
                    <a:pt x="27928" y="269910"/>
                  </a:cubicBezTo>
                  <a:cubicBezTo>
                    <a:pt x="64856" y="307738"/>
                    <a:pt x="124901" y="308039"/>
                    <a:pt x="162429" y="270811"/>
                  </a:cubicBezTo>
                  <a:cubicBezTo>
                    <a:pt x="162730" y="270510"/>
                    <a:pt x="163030" y="270210"/>
                    <a:pt x="163330" y="269910"/>
                  </a:cubicBezTo>
                  <a:cubicBezTo>
                    <a:pt x="181644" y="251596"/>
                    <a:pt x="191852" y="226677"/>
                    <a:pt x="191551" y="200858"/>
                  </a:cubicBezTo>
                  <a:lnTo>
                    <a:pt x="191551" y="97880"/>
                  </a:lnTo>
                  <a:cubicBezTo>
                    <a:pt x="191852" y="71761"/>
                    <a:pt x="181644" y="46842"/>
                    <a:pt x="163330" y="28828"/>
                  </a:cubicBezTo>
                  <a:cubicBezTo>
                    <a:pt x="145617" y="9914"/>
                    <a:pt x="120998" y="-294"/>
                    <a:pt x="95479" y="6"/>
                  </a:cubicBezTo>
                  <a:moveTo>
                    <a:pt x="54348" y="97880"/>
                  </a:moveTo>
                  <a:cubicBezTo>
                    <a:pt x="54348" y="86472"/>
                    <a:pt x="58851" y="75363"/>
                    <a:pt x="67257" y="67858"/>
                  </a:cubicBezTo>
                  <a:cubicBezTo>
                    <a:pt x="83470" y="51645"/>
                    <a:pt x="109289" y="51645"/>
                    <a:pt x="125501" y="67858"/>
                  </a:cubicBezTo>
                  <a:cubicBezTo>
                    <a:pt x="133908" y="75663"/>
                    <a:pt x="138411" y="86472"/>
                    <a:pt x="138411" y="97880"/>
                  </a:cubicBezTo>
                  <a:lnTo>
                    <a:pt x="138411" y="200858"/>
                  </a:lnTo>
                  <a:cubicBezTo>
                    <a:pt x="138711" y="212267"/>
                    <a:pt x="133908" y="223075"/>
                    <a:pt x="125501" y="230580"/>
                  </a:cubicBezTo>
                  <a:cubicBezTo>
                    <a:pt x="110190" y="246793"/>
                    <a:pt x="84671" y="247393"/>
                    <a:pt x="68458" y="232081"/>
                  </a:cubicBezTo>
                  <a:cubicBezTo>
                    <a:pt x="67858" y="231781"/>
                    <a:pt x="67558" y="231181"/>
                    <a:pt x="67257" y="230580"/>
                  </a:cubicBezTo>
                  <a:cubicBezTo>
                    <a:pt x="59151" y="222774"/>
                    <a:pt x="54948" y="212267"/>
                    <a:pt x="54948" y="200858"/>
                  </a:cubicBezTo>
                  <a:lnTo>
                    <a:pt x="54348" y="97880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12" name="Forme libre : forme 211">
              <a:extLst>
                <a:ext uri="{FF2B5EF4-FFF2-40B4-BE49-F238E27FC236}">
                  <a16:creationId xmlns:a16="http://schemas.microsoft.com/office/drawing/2014/main" id="{352CA0BD-A178-47B9-AE2F-C156F1943F08}"/>
                </a:ext>
              </a:extLst>
            </p:cNvPr>
            <p:cNvSpPr/>
            <p:nvPr/>
          </p:nvSpPr>
          <p:spPr>
            <a:xfrm>
              <a:off x="7438285" y="4369280"/>
              <a:ext cx="183138" cy="288217"/>
            </a:xfrm>
            <a:custGeom>
              <a:avLst/>
              <a:gdLst>
                <a:gd name="connsiteX0" fmla="*/ 81070 w 183138"/>
                <a:gd name="connsiteY0" fmla="*/ 306 h 288217"/>
                <a:gd name="connsiteX1" fmla="*/ 18923 w 183138"/>
                <a:gd name="connsiteY1" fmla="*/ 306 h 288217"/>
                <a:gd name="connsiteX2" fmla="*/ 8 w 183138"/>
                <a:gd name="connsiteY2" fmla="*/ 16819 h 288217"/>
                <a:gd name="connsiteX3" fmla="*/ 8 w 183138"/>
                <a:gd name="connsiteY3" fmla="*/ 19521 h 288217"/>
                <a:gd name="connsiteX4" fmla="*/ 8 w 183138"/>
                <a:gd name="connsiteY4" fmla="*/ 272011 h 288217"/>
                <a:gd name="connsiteX5" fmla="*/ 17421 w 183138"/>
                <a:gd name="connsiteY5" fmla="*/ 290625 h 288217"/>
                <a:gd name="connsiteX6" fmla="*/ 18622 w 183138"/>
                <a:gd name="connsiteY6" fmla="*/ 290625 h 288217"/>
                <a:gd name="connsiteX7" fmla="*/ 90377 w 183138"/>
                <a:gd name="connsiteY7" fmla="*/ 290625 h 288217"/>
                <a:gd name="connsiteX8" fmla="*/ 157627 w 183138"/>
                <a:gd name="connsiteY8" fmla="*/ 262704 h 288217"/>
                <a:gd name="connsiteX9" fmla="*/ 185248 w 183138"/>
                <a:gd name="connsiteY9" fmla="*/ 194553 h 288217"/>
                <a:gd name="connsiteX10" fmla="*/ 185248 w 183138"/>
                <a:gd name="connsiteY10" fmla="*/ 104485 h 288217"/>
                <a:gd name="connsiteX11" fmla="*/ 154625 w 183138"/>
                <a:gd name="connsiteY11" fmla="*/ 30629 h 288217"/>
                <a:gd name="connsiteX12" fmla="*/ 80769 w 183138"/>
                <a:gd name="connsiteY12" fmla="*/ 6 h 288217"/>
                <a:gd name="connsiteX13" fmla="*/ 89776 w 183138"/>
                <a:gd name="connsiteY13" fmla="*/ 234483 h 288217"/>
                <a:gd name="connsiteX14" fmla="*/ 54950 w 183138"/>
                <a:gd name="connsiteY14" fmla="*/ 234483 h 288217"/>
                <a:gd name="connsiteX15" fmla="*/ 54950 w 183138"/>
                <a:gd name="connsiteY15" fmla="*/ 55848 h 288217"/>
                <a:gd name="connsiteX16" fmla="*/ 80469 w 183138"/>
                <a:gd name="connsiteY16" fmla="*/ 55848 h 288217"/>
                <a:gd name="connsiteX17" fmla="*/ 114995 w 183138"/>
                <a:gd name="connsiteY17" fmla="*/ 70259 h 288217"/>
                <a:gd name="connsiteX18" fmla="*/ 129706 w 183138"/>
                <a:gd name="connsiteY18" fmla="*/ 104485 h 288217"/>
                <a:gd name="connsiteX19" fmla="*/ 129706 w 183138"/>
                <a:gd name="connsiteY19" fmla="*/ 194553 h 288217"/>
                <a:gd name="connsiteX20" fmla="*/ 90076 w 183138"/>
                <a:gd name="connsiteY20" fmla="*/ 233882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3138" h="288217">
                  <a:moveTo>
                    <a:pt x="81070" y="306"/>
                  </a:moveTo>
                  <a:lnTo>
                    <a:pt x="18923" y="306"/>
                  </a:lnTo>
                  <a:cubicBezTo>
                    <a:pt x="9015" y="-294"/>
                    <a:pt x="609" y="7211"/>
                    <a:pt x="8" y="16819"/>
                  </a:cubicBezTo>
                  <a:cubicBezTo>
                    <a:pt x="8" y="17719"/>
                    <a:pt x="8" y="18620"/>
                    <a:pt x="8" y="19521"/>
                  </a:cubicBezTo>
                  <a:lnTo>
                    <a:pt x="8" y="272011"/>
                  </a:lnTo>
                  <a:cubicBezTo>
                    <a:pt x="-292" y="281919"/>
                    <a:pt x="7514" y="290325"/>
                    <a:pt x="17421" y="290625"/>
                  </a:cubicBezTo>
                  <a:cubicBezTo>
                    <a:pt x="17722" y="290625"/>
                    <a:pt x="18322" y="290625"/>
                    <a:pt x="18622" y="290625"/>
                  </a:cubicBezTo>
                  <a:lnTo>
                    <a:pt x="90377" y="290625"/>
                  </a:lnTo>
                  <a:cubicBezTo>
                    <a:pt x="115596" y="290925"/>
                    <a:pt x="139914" y="280718"/>
                    <a:pt x="157627" y="262704"/>
                  </a:cubicBezTo>
                  <a:cubicBezTo>
                    <a:pt x="175941" y="244690"/>
                    <a:pt x="185849" y="220072"/>
                    <a:pt x="185248" y="194553"/>
                  </a:cubicBezTo>
                  <a:lnTo>
                    <a:pt x="185248" y="104485"/>
                  </a:lnTo>
                  <a:cubicBezTo>
                    <a:pt x="185549" y="76864"/>
                    <a:pt x="174440" y="50144"/>
                    <a:pt x="154625" y="30629"/>
                  </a:cubicBezTo>
                  <a:cubicBezTo>
                    <a:pt x="135411" y="10814"/>
                    <a:pt x="108691" y="-294"/>
                    <a:pt x="80769" y="6"/>
                  </a:cubicBezTo>
                  <a:moveTo>
                    <a:pt x="89776" y="234483"/>
                  </a:moveTo>
                  <a:lnTo>
                    <a:pt x="54950" y="234483"/>
                  </a:lnTo>
                  <a:lnTo>
                    <a:pt x="54950" y="55848"/>
                  </a:lnTo>
                  <a:lnTo>
                    <a:pt x="80469" y="55848"/>
                  </a:lnTo>
                  <a:cubicBezTo>
                    <a:pt x="93379" y="55548"/>
                    <a:pt x="105988" y="60952"/>
                    <a:pt x="114995" y="70259"/>
                  </a:cubicBezTo>
                  <a:cubicBezTo>
                    <a:pt x="124603" y="79266"/>
                    <a:pt x="129706" y="91575"/>
                    <a:pt x="129706" y="104485"/>
                  </a:cubicBezTo>
                  <a:lnTo>
                    <a:pt x="129706" y="194553"/>
                  </a:lnTo>
                  <a:cubicBezTo>
                    <a:pt x="129406" y="216169"/>
                    <a:pt x="111693" y="233582"/>
                    <a:pt x="90076" y="233882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13" name="Forme libre : forme 212">
              <a:extLst>
                <a:ext uri="{FF2B5EF4-FFF2-40B4-BE49-F238E27FC236}">
                  <a16:creationId xmlns:a16="http://schemas.microsoft.com/office/drawing/2014/main" id="{DEED5057-310C-4699-BC49-F273FA789151}"/>
                </a:ext>
              </a:extLst>
            </p:cNvPr>
            <p:cNvSpPr/>
            <p:nvPr/>
          </p:nvSpPr>
          <p:spPr>
            <a:xfrm>
              <a:off x="7680868" y="4369878"/>
              <a:ext cx="159120" cy="288217"/>
            </a:xfrm>
            <a:custGeom>
              <a:avLst/>
              <a:gdLst>
                <a:gd name="connsiteX0" fmla="*/ 143517 w 159120"/>
                <a:gd name="connsiteY0" fmla="*/ 233584 h 288217"/>
                <a:gd name="connsiteX1" fmla="*/ 53449 w 159120"/>
                <a:gd name="connsiteY1" fmla="*/ 233584 h 288217"/>
                <a:gd name="connsiteX2" fmla="*/ 53449 w 159120"/>
                <a:gd name="connsiteY2" fmla="*/ 163331 h 288217"/>
                <a:gd name="connsiteX3" fmla="*/ 127905 w 159120"/>
                <a:gd name="connsiteY3" fmla="*/ 163331 h 288217"/>
                <a:gd name="connsiteX4" fmla="*/ 145619 w 159120"/>
                <a:gd name="connsiteY4" fmla="*/ 145318 h 288217"/>
                <a:gd name="connsiteX5" fmla="*/ 145619 w 159120"/>
                <a:gd name="connsiteY5" fmla="*/ 144417 h 288217"/>
                <a:gd name="connsiteX6" fmla="*/ 145619 w 159120"/>
                <a:gd name="connsiteY6" fmla="*/ 125503 h 288217"/>
                <a:gd name="connsiteX7" fmla="*/ 129707 w 159120"/>
                <a:gd name="connsiteY7" fmla="*/ 106889 h 288217"/>
                <a:gd name="connsiteX8" fmla="*/ 127905 w 159120"/>
                <a:gd name="connsiteY8" fmla="*/ 106889 h 288217"/>
                <a:gd name="connsiteX9" fmla="*/ 53449 w 159120"/>
                <a:gd name="connsiteY9" fmla="*/ 106889 h 288217"/>
                <a:gd name="connsiteX10" fmla="*/ 53449 w 159120"/>
                <a:gd name="connsiteY10" fmla="*/ 54349 h 288217"/>
                <a:gd name="connsiteX11" fmla="*/ 140515 w 159120"/>
                <a:gd name="connsiteY11" fmla="*/ 54349 h 288217"/>
                <a:gd name="connsiteX12" fmla="*/ 158528 w 159120"/>
                <a:gd name="connsiteY12" fmla="*/ 36636 h 288217"/>
                <a:gd name="connsiteX13" fmla="*/ 158528 w 159120"/>
                <a:gd name="connsiteY13" fmla="*/ 35735 h 288217"/>
                <a:gd name="connsiteX14" fmla="*/ 158528 w 159120"/>
                <a:gd name="connsiteY14" fmla="*/ 18622 h 288217"/>
                <a:gd name="connsiteX15" fmla="*/ 141716 w 159120"/>
                <a:gd name="connsiteY15" fmla="*/ 8 h 288217"/>
                <a:gd name="connsiteX16" fmla="*/ 140515 w 159120"/>
                <a:gd name="connsiteY16" fmla="*/ 8 h 288217"/>
                <a:gd name="connsiteX17" fmla="*/ 17722 w 159120"/>
                <a:gd name="connsiteY17" fmla="*/ 8 h 288217"/>
                <a:gd name="connsiteX18" fmla="*/ 9 w 159120"/>
                <a:gd name="connsiteY18" fmla="*/ 17421 h 288217"/>
                <a:gd name="connsiteX19" fmla="*/ 9 w 159120"/>
                <a:gd name="connsiteY19" fmla="*/ 18622 h 288217"/>
                <a:gd name="connsiteX20" fmla="*/ 9 w 159120"/>
                <a:gd name="connsiteY20" fmla="*/ 271113 h 288217"/>
                <a:gd name="connsiteX21" fmla="*/ 16822 w 159120"/>
                <a:gd name="connsiteY21" fmla="*/ 289727 h 288217"/>
                <a:gd name="connsiteX22" fmla="*/ 18022 w 159120"/>
                <a:gd name="connsiteY22" fmla="*/ 289727 h 288217"/>
                <a:gd name="connsiteX23" fmla="*/ 143217 w 159120"/>
                <a:gd name="connsiteY23" fmla="*/ 289727 h 288217"/>
                <a:gd name="connsiteX24" fmla="*/ 161231 w 159120"/>
                <a:gd name="connsiteY24" fmla="*/ 272313 h 288217"/>
                <a:gd name="connsiteX25" fmla="*/ 161231 w 159120"/>
                <a:gd name="connsiteY25" fmla="*/ 271113 h 288217"/>
                <a:gd name="connsiteX26" fmla="*/ 161231 w 159120"/>
                <a:gd name="connsiteY26" fmla="*/ 252799 h 288217"/>
                <a:gd name="connsiteX27" fmla="*/ 144418 w 159120"/>
                <a:gd name="connsiteY27" fmla="*/ 234185 h 288217"/>
                <a:gd name="connsiteX28" fmla="*/ 143217 w 159120"/>
                <a:gd name="connsiteY28" fmla="*/ 234185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9120" h="288217">
                  <a:moveTo>
                    <a:pt x="143517" y="233584"/>
                  </a:moveTo>
                  <a:lnTo>
                    <a:pt x="53449" y="233584"/>
                  </a:lnTo>
                  <a:lnTo>
                    <a:pt x="53449" y="163331"/>
                  </a:lnTo>
                  <a:lnTo>
                    <a:pt x="127905" y="163331"/>
                  </a:lnTo>
                  <a:cubicBezTo>
                    <a:pt x="137513" y="163331"/>
                    <a:pt x="145619" y="155525"/>
                    <a:pt x="145619" y="145318"/>
                  </a:cubicBezTo>
                  <a:cubicBezTo>
                    <a:pt x="145619" y="145017"/>
                    <a:pt x="145619" y="144717"/>
                    <a:pt x="145619" y="144417"/>
                  </a:cubicBezTo>
                  <a:lnTo>
                    <a:pt x="145619" y="125503"/>
                  </a:lnTo>
                  <a:cubicBezTo>
                    <a:pt x="146219" y="115895"/>
                    <a:pt x="139014" y="107489"/>
                    <a:pt x="129707" y="106889"/>
                  </a:cubicBezTo>
                  <a:cubicBezTo>
                    <a:pt x="129106" y="106889"/>
                    <a:pt x="128506" y="106889"/>
                    <a:pt x="127905" y="106889"/>
                  </a:cubicBezTo>
                  <a:lnTo>
                    <a:pt x="53449" y="106889"/>
                  </a:lnTo>
                  <a:lnTo>
                    <a:pt x="53449" y="54349"/>
                  </a:lnTo>
                  <a:lnTo>
                    <a:pt x="140515" y="54349"/>
                  </a:lnTo>
                  <a:cubicBezTo>
                    <a:pt x="150422" y="54649"/>
                    <a:pt x="158528" y="46543"/>
                    <a:pt x="158528" y="36636"/>
                  </a:cubicBezTo>
                  <a:cubicBezTo>
                    <a:pt x="158528" y="36335"/>
                    <a:pt x="158528" y="36035"/>
                    <a:pt x="158528" y="35735"/>
                  </a:cubicBezTo>
                  <a:lnTo>
                    <a:pt x="158528" y="18622"/>
                  </a:lnTo>
                  <a:cubicBezTo>
                    <a:pt x="158829" y="8715"/>
                    <a:pt x="151323" y="308"/>
                    <a:pt x="141716" y="8"/>
                  </a:cubicBezTo>
                  <a:cubicBezTo>
                    <a:pt x="141416" y="8"/>
                    <a:pt x="140815" y="8"/>
                    <a:pt x="140515" y="8"/>
                  </a:cubicBezTo>
                  <a:lnTo>
                    <a:pt x="17722" y="8"/>
                  </a:lnTo>
                  <a:cubicBezTo>
                    <a:pt x="8115" y="-292"/>
                    <a:pt x="309" y="7814"/>
                    <a:pt x="9" y="17421"/>
                  </a:cubicBezTo>
                  <a:cubicBezTo>
                    <a:pt x="9" y="17721"/>
                    <a:pt x="9" y="18322"/>
                    <a:pt x="9" y="18622"/>
                  </a:cubicBezTo>
                  <a:lnTo>
                    <a:pt x="9" y="271113"/>
                  </a:lnTo>
                  <a:cubicBezTo>
                    <a:pt x="-291" y="281020"/>
                    <a:pt x="7214" y="289426"/>
                    <a:pt x="16822" y="289727"/>
                  </a:cubicBezTo>
                  <a:cubicBezTo>
                    <a:pt x="17122" y="289727"/>
                    <a:pt x="17722" y="289727"/>
                    <a:pt x="18022" y="289727"/>
                  </a:cubicBezTo>
                  <a:lnTo>
                    <a:pt x="143217" y="289727"/>
                  </a:lnTo>
                  <a:cubicBezTo>
                    <a:pt x="152824" y="290027"/>
                    <a:pt x="160930" y="282221"/>
                    <a:pt x="161231" y="272313"/>
                  </a:cubicBezTo>
                  <a:cubicBezTo>
                    <a:pt x="161231" y="272013"/>
                    <a:pt x="161231" y="271413"/>
                    <a:pt x="161231" y="271113"/>
                  </a:cubicBezTo>
                  <a:lnTo>
                    <a:pt x="161231" y="252799"/>
                  </a:lnTo>
                  <a:cubicBezTo>
                    <a:pt x="161531" y="242891"/>
                    <a:pt x="154025" y="234485"/>
                    <a:pt x="144418" y="234185"/>
                  </a:cubicBezTo>
                  <a:cubicBezTo>
                    <a:pt x="144118" y="234185"/>
                    <a:pt x="143517" y="234185"/>
                    <a:pt x="143217" y="234185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14" name="Forme libre : forme 213">
              <a:extLst>
                <a:ext uri="{FF2B5EF4-FFF2-40B4-BE49-F238E27FC236}">
                  <a16:creationId xmlns:a16="http://schemas.microsoft.com/office/drawing/2014/main" id="{9512A7EE-B270-4EAC-A2BB-03EECA786568}"/>
                </a:ext>
              </a:extLst>
            </p:cNvPr>
            <p:cNvSpPr/>
            <p:nvPr/>
          </p:nvSpPr>
          <p:spPr>
            <a:xfrm>
              <a:off x="7885323" y="4369575"/>
              <a:ext cx="219166" cy="288217"/>
            </a:xfrm>
            <a:custGeom>
              <a:avLst/>
              <a:gdLst>
                <a:gd name="connsiteX0" fmla="*/ 144418 w 219165"/>
                <a:gd name="connsiteY0" fmla="*/ 13221 h 288217"/>
                <a:gd name="connsiteX1" fmla="*/ 127305 w 219165"/>
                <a:gd name="connsiteY1" fmla="*/ 11 h 288217"/>
                <a:gd name="connsiteX2" fmla="*/ 94280 w 219165"/>
                <a:gd name="connsiteY2" fmla="*/ 11 h 288217"/>
                <a:gd name="connsiteX3" fmla="*/ 76867 w 219165"/>
                <a:gd name="connsiteY3" fmla="*/ 13221 h 288217"/>
                <a:gd name="connsiteX4" fmla="*/ 1510 w 219165"/>
                <a:gd name="connsiteY4" fmla="*/ 264211 h 288217"/>
                <a:gd name="connsiteX5" fmla="*/ 9 w 219165"/>
                <a:gd name="connsiteY5" fmla="*/ 271716 h 288217"/>
                <a:gd name="connsiteX6" fmla="*/ 17121 w 219165"/>
                <a:gd name="connsiteY6" fmla="*/ 290330 h 288217"/>
                <a:gd name="connsiteX7" fmla="*/ 18322 w 219165"/>
                <a:gd name="connsiteY7" fmla="*/ 290330 h 288217"/>
                <a:gd name="connsiteX8" fmla="*/ 36636 w 219165"/>
                <a:gd name="connsiteY8" fmla="*/ 290330 h 288217"/>
                <a:gd name="connsiteX9" fmla="*/ 54050 w 219165"/>
                <a:gd name="connsiteY9" fmla="*/ 277120 h 288217"/>
                <a:gd name="connsiteX10" fmla="*/ 76266 w 219165"/>
                <a:gd name="connsiteY10" fmla="*/ 203565 h 288217"/>
                <a:gd name="connsiteX11" fmla="*/ 144118 w 219165"/>
                <a:gd name="connsiteY11" fmla="*/ 203565 h 288217"/>
                <a:gd name="connsiteX12" fmla="*/ 166635 w 219165"/>
                <a:gd name="connsiteY12" fmla="*/ 277721 h 288217"/>
                <a:gd name="connsiteX13" fmla="*/ 166635 w 219165"/>
                <a:gd name="connsiteY13" fmla="*/ 278922 h 288217"/>
                <a:gd name="connsiteX14" fmla="*/ 183747 w 219165"/>
                <a:gd name="connsiteY14" fmla="*/ 290630 h 288217"/>
                <a:gd name="connsiteX15" fmla="*/ 202361 w 219165"/>
                <a:gd name="connsiteY15" fmla="*/ 290630 h 288217"/>
                <a:gd name="connsiteX16" fmla="*/ 220675 w 219165"/>
                <a:gd name="connsiteY16" fmla="*/ 272617 h 288217"/>
                <a:gd name="connsiteX17" fmla="*/ 220675 w 219165"/>
                <a:gd name="connsiteY17" fmla="*/ 272016 h 288217"/>
                <a:gd name="connsiteX18" fmla="*/ 219474 w 219165"/>
                <a:gd name="connsiteY18" fmla="*/ 265111 h 288217"/>
                <a:gd name="connsiteX19" fmla="*/ 144418 w 219165"/>
                <a:gd name="connsiteY19" fmla="*/ 13221 h 288217"/>
                <a:gd name="connsiteX20" fmla="*/ 131208 w 219165"/>
                <a:gd name="connsiteY20" fmla="*/ 147723 h 288217"/>
                <a:gd name="connsiteX21" fmla="*/ 90677 w 219165"/>
                <a:gd name="connsiteY21" fmla="*/ 147723 h 288217"/>
                <a:gd name="connsiteX22" fmla="*/ 110792 w 219165"/>
                <a:gd name="connsiteY22" fmla="*/ 78370 h 288217"/>
                <a:gd name="connsiteX23" fmla="*/ 131208 w 219165"/>
                <a:gd name="connsiteY23" fmla="*/ 147723 h 288217"/>
                <a:gd name="connsiteX24" fmla="*/ 131208 w 219165"/>
                <a:gd name="connsiteY24" fmla="*/ 147723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19165" h="288217">
                  <a:moveTo>
                    <a:pt x="144418" y="13221"/>
                  </a:moveTo>
                  <a:cubicBezTo>
                    <a:pt x="142316" y="5415"/>
                    <a:pt x="135111" y="11"/>
                    <a:pt x="127305" y="11"/>
                  </a:cubicBezTo>
                  <a:lnTo>
                    <a:pt x="94280" y="11"/>
                  </a:lnTo>
                  <a:cubicBezTo>
                    <a:pt x="86174" y="-289"/>
                    <a:pt x="78968" y="5415"/>
                    <a:pt x="76867" y="13221"/>
                  </a:cubicBezTo>
                  <a:lnTo>
                    <a:pt x="1510" y="264211"/>
                  </a:lnTo>
                  <a:cubicBezTo>
                    <a:pt x="309" y="266612"/>
                    <a:pt x="9" y="269014"/>
                    <a:pt x="9" y="271716"/>
                  </a:cubicBezTo>
                  <a:cubicBezTo>
                    <a:pt x="-292" y="281624"/>
                    <a:pt x="7214" y="290030"/>
                    <a:pt x="17121" y="290330"/>
                  </a:cubicBezTo>
                  <a:cubicBezTo>
                    <a:pt x="17422" y="290330"/>
                    <a:pt x="18022" y="290330"/>
                    <a:pt x="18322" y="290330"/>
                  </a:cubicBezTo>
                  <a:lnTo>
                    <a:pt x="36636" y="290330"/>
                  </a:lnTo>
                  <a:cubicBezTo>
                    <a:pt x="44742" y="290630"/>
                    <a:pt x="51948" y="285226"/>
                    <a:pt x="54050" y="277120"/>
                  </a:cubicBezTo>
                  <a:lnTo>
                    <a:pt x="76266" y="203565"/>
                  </a:lnTo>
                  <a:lnTo>
                    <a:pt x="144118" y="203565"/>
                  </a:lnTo>
                  <a:lnTo>
                    <a:pt x="166635" y="277721"/>
                  </a:lnTo>
                  <a:lnTo>
                    <a:pt x="166635" y="278922"/>
                  </a:lnTo>
                  <a:cubicBezTo>
                    <a:pt x="169337" y="286127"/>
                    <a:pt x="176242" y="290931"/>
                    <a:pt x="183747" y="290630"/>
                  </a:cubicBezTo>
                  <a:lnTo>
                    <a:pt x="202361" y="290630"/>
                  </a:lnTo>
                  <a:cubicBezTo>
                    <a:pt x="212269" y="290630"/>
                    <a:pt x="220375" y="282825"/>
                    <a:pt x="220675" y="272617"/>
                  </a:cubicBezTo>
                  <a:cubicBezTo>
                    <a:pt x="220675" y="272317"/>
                    <a:pt x="220675" y="272317"/>
                    <a:pt x="220675" y="272016"/>
                  </a:cubicBezTo>
                  <a:cubicBezTo>
                    <a:pt x="220675" y="269615"/>
                    <a:pt x="220375" y="267213"/>
                    <a:pt x="219474" y="265111"/>
                  </a:cubicBezTo>
                  <a:lnTo>
                    <a:pt x="144418" y="13221"/>
                  </a:lnTo>
                  <a:close/>
                  <a:moveTo>
                    <a:pt x="131208" y="147723"/>
                  </a:moveTo>
                  <a:lnTo>
                    <a:pt x="90677" y="147723"/>
                  </a:lnTo>
                  <a:lnTo>
                    <a:pt x="110792" y="78370"/>
                  </a:lnTo>
                  <a:lnTo>
                    <a:pt x="131208" y="147723"/>
                  </a:lnTo>
                  <a:lnTo>
                    <a:pt x="131208" y="147723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15" name="Forme libre : forme 214">
              <a:extLst>
                <a:ext uri="{FF2B5EF4-FFF2-40B4-BE49-F238E27FC236}">
                  <a16:creationId xmlns:a16="http://schemas.microsoft.com/office/drawing/2014/main" id="{C8657F07-6965-4D50-B54E-9456798336BC}"/>
                </a:ext>
              </a:extLst>
            </p:cNvPr>
            <p:cNvSpPr/>
            <p:nvPr/>
          </p:nvSpPr>
          <p:spPr>
            <a:xfrm>
              <a:off x="8147703" y="4369554"/>
              <a:ext cx="180136" cy="294222"/>
            </a:xfrm>
            <a:custGeom>
              <a:avLst/>
              <a:gdLst>
                <a:gd name="connsiteX0" fmla="*/ 161849 w 180136"/>
                <a:gd name="connsiteY0" fmla="*/ 32 h 294221"/>
                <a:gd name="connsiteX1" fmla="*/ 143835 w 180136"/>
                <a:gd name="connsiteY1" fmla="*/ 32 h 294221"/>
                <a:gd name="connsiteX2" fmla="*/ 125221 w 180136"/>
                <a:gd name="connsiteY2" fmla="*/ 17145 h 294221"/>
                <a:gd name="connsiteX3" fmla="*/ 125221 w 180136"/>
                <a:gd name="connsiteY3" fmla="*/ 19247 h 294221"/>
                <a:gd name="connsiteX4" fmla="*/ 125221 w 180136"/>
                <a:gd name="connsiteY4" fmla="*/ 203286 h 294221"/>
                <a:gd name="connsiteX5" fmla="*/ 115013 w 180136"/>
                <a:gd name="connsiteY5" fmla="*/ 228805 h 294221"/>
                <a:gd name="connsiteX6" fmla="*/ 64575 w 180136"/>
                <a:gd name="connsiteY6" fmla="*/ 227904 h 294221"/>
                <a:gd name="connsiteX7" fmla="*/ 54668 w 180136"/>
                <a:gd name="connsiteY7" fmla="*/ 203286 h 294221"/>
                <a:gd name="connsiteX8" fmla="*/ 54668 w 180136"/>
                <a:gd name="connsiteY8" fmla="*/ 19247 h 294221"/>
                <a:gd name="connsiteX9" fmla="*/ 38155 w 180136"/>
                <a:gd name="connsiteY9" fmla="*/ 633 h 294221"/>
                <a:gd name="connsiteX10" fmla="*/ 36354 w 180136"/>
                <a:gd name="connsiteY10" fmla="*/ 633 h 294221"/>
                <a:gd name="connsiteX11" fmla="*/ 18341 w 180136"/>
                <a:gd name="connsiteY11" fmla="*/ 633 h 294221"/>
                <a:gd name="connsiteX12" fmla="*/ 27 w 180136"/>
                <a:gd name="connsiteY12" fmla="*/ 18046 h 294221"/>
                <a:gd name="connsiteX13" fmla="*/ 27 w 180136"/>
                <a:gd name="connsiteY13" fmla="*/ 19247 h 294221"/>
                <a:gd name="connsiteX14" fmla="*/ 27 w 180136"/>
                <a:gd name="connsiteY14" fmla="*/ 203286 h 294221"/>
                <a:gd name="connsiteX15" fmla="*/ 26146 w 180136"/>
                <a:gd name="connsiteY15" fmla="*/ 268135 h 294221"/>
                <a:gd name="connsiteX16" fmla="*/ 153443 w 180136"/>
                <a:gd name="connsiteY16" fmla="*/ 268735 h 294221"/>
                <a:gd name="connsiteX17" fmla="*/ 154043 w 180136"/>
                <a:gd name="connsiteY17" fmla="*/ 268135 h 294221"/>
                <a:gd name="connsiteX18" fmla="*/ 180163 w 180136"/>
                <a:gd name="connsiteY18" fmla="*/ 203286 h 294221"/>
                <a:gd name="connsiteX19" fmla="*/ 180163 w 180136"/>
                <a:gd name="connsiteY19" fmla="*/ 18947 h 294221"/>
                <a:gd name="connsiteX20" fmla="*/ 163350 w 180136"/>
                <a:gd name="connsiteY20" fmla="*/ 333 h 294221"/>
                <a:gd name="connsiteX21" fmla="*/ 161549 w 180136"/>
                <a:gd name="connsiteY21" fmla="*/ 333 h 294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80136" h="294221">
                  <a:moveTo>
                    <a:pt x="161849" y="32"/>
                  </a:moveTo>
                  <a:lnTo>
                    <a:pt x="143835" y="32"/>
                  </a:lnTo>
                  <a:cubicBezTo>
                    <a:pt x="133928" y="-568"/>
                    <a:pt x="125521" y="7238"/>
                    <a:pt x="125221" y="17145"/>
                  </a:cubicBezTo>
                  <a:cubicBezTo>
                    <a:pt x="125221" y="17746"/>
                    <a:pt x="125221" y="18646"/>
                    <a:pt x="125221" y="19247"/>
                  </a:cubicBezTo>
                  <a:lnTo>
                    <a:pt x="125221" y="203286"/>
                  </a:lnTo>
                  <a:cubicBezTo>
                    <a:pt x="125521" y="212893"/>
                    <a:pt x="121919" y="222200"/>
                    <a:pt x="115013" y="228805"/>
                  </a:cubicBezTo>
                  <a:cubicBezTo>
                    <a:pt x="100903" y="242615"/>
                    <a:pt x="78086" y="242315"/>
                    <a:pt x="64575" y="227904"/>
                  </a:cubicBezTo>
                  <a:cubicBezTo>
                    <a:pt x="58271" y="221299"/>
                    <a:pt x="54668" y="212593"/>
                    <a:pt x="54668" y="203286"/>
                  </a:cubicBezTo>
                  <a:lnTo>
                    <a:pt x="54668" y="19247"/>
                  </a:lnTo>
                  <a:cubicBezTo>
                    <a:pt x="55268" y="9640"/>
                    <a:pt x="48063" y="1233"/>
                    <a:pt x="38155" y="633"/>
                  </a:cubicBezTo>
                  <a:cubicBezTo>
                    <a:pt x="37555" y="633"/>
                    <a:pt x="36954" y="633"/>
                    <a:pt x="36354" y="633"/>
                  </a:cubicBezTo>
                  <a:lnTo>
                    <a:pt x="18341" y="633"/>
                  </a:lnTo>
                  <a:cubicBezTo>
                    <a:pt x="8433" y="333"/>
                    <a:pt x="327" y="8139"/>
                    <a:pt x="27" y="18046"/>
                  </a:cubicBezTo>
                  <a:cubicBezTo>
                    <a:pt x="27" y="18346"/>
                    <a:pt x="27" y="18947"/>
                    <a:pt x="27" y="19247"/>
                  </a:cubicBezTo>
                  <a:lnTo>
                    <a:pt x="27" y="203286"/>
                  </a:lnTo>
                  <a:cubicBezTo>
                    <a:pt x="-574" y="227604"/>
                    <a:pt x="9033" y="251022"/>
                    <a:pt x="26146" y="268135"/>
                  </a:cubicBezTo>
                  <a:cubicBezTo>
                    <a:pt x="60973" y="303862"/>
                    <a:pt x="118016" y="304162"/>
                    <a:pt x="153443" y="268735"/>
                  </a:cubicBezTo>
                  <a:cubicBezTo>
                    <a:pt x="153743" y="268435"/>
                    <a:pt x="154043" y="268135"/>
                    <a:pt x="154043" y="268135"/>
                  </a:cubicBezTo>
                  <a:cubicBezTo>
                    <a:pt x="171156" y="251022"/>
                    <a:pt x="180463" y="227604"/>
                    <a:pt x="180163" y="203286"/>
                  </a:cubicBezTo>
                  <a:lnTo>
                    <a:pt x="180163" y="18947"/>
                  </a:lnTo>
                  <a:cubicBezTo>
                    <a:pt x="180763" y="9039"/>
                    <a:pt x="173257" y="933"/>
                    <a:pt x="163350" y="333"/>
                  </a:cubicBezTo>
                  <a:cubicBezTo>
                    <a:pt x="162750" y="333"/>
                    <a:pt x="162149" y="333"/>
                    <a:pt x="161549" y="333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16" name="Forme libre : forme 215">
              <a:extLst>
                <a:ext uri="{FF2B5EF4-FFF2-40B4-BE49-F238E27FC236}">
                  <a16:creationId xmlns:a16="http://schemas.microsoft.com/office/drawing/2014/main" id="{60216A88-A3CF-47E8-9E0D-9C03722A156E}"/>
                </a:ext>
              </a:extLst>
            </p:cNvPr>
            <p:cNvSpPr/>
            <p:nvPr/>
          </p:nvSpPr>
          <p:spPr>
            <a:xfrm>
              <a:off x="8374774" y="4369858"/>
              <a:ext cx="189143" cy="285215"/>
            </a:xfrm>
            <a:custGeom>
              <a:avLst/>
              <a:gdLst>
                <a:gd name="connsiteX0" fmla="*/ 124821 w 189142"/>
                <a:gd name="connsiteY0" fmla="*/ 143236 h 285215"/>
                <a:gd name="connsiteX1" fmla="*/ 187869 w 189142"/>
                <a:gd name="connsiteY1" fmla="*/ 25848 h 285215"/>
                <a:gd name="connsiteX2" fmla="*/ 189070 w 189142"/>
                <a:gd name="connsiteY2" fmla="*/ 22545 h 285215"/>
                <a:gd name="connsiteX3" fmla="*/ 185767 w 189142"/>
                <a:gd name="connsiteY3" fmla="*/ 6633 h 285215"/>
                <a:gd name="connsiteX4" fmla="*/ 171657 w 189142"/>
                <a:gd name="connsiteY4" fmla="*/ 28 h 285215"/>
                <a:gd name="connsiteX5" fmla="*/ 153343 w 189142"/>
                <a:gd name="connsiteY5" fmla="*/ 28 h 285215"/>
                <a:gd name="connsiteX6" fmla="*/ 137131 w 189142"/>
                <a:gd name="connsiteY6" fmla="*/ 10536 h 285215"/>
                <a:gd name="connsiteX7" fmla="*/ 94799 w 189142"/>
                <a:gd name="connsiteY7" fmla="*/ 88895 h 285215"/>
                <a:gd name="connsiteX8" fmla="*/ 52767 w 189142"/>
                <a:gd name="connsiteY8" fmla="*/ 11137 h 285215"/>
                <a:gd name="connsiteX9" fmla="*/ 36254 w 189142"/>
                <a:gd name="connsiteY9" fmla="*/ 28 h 285215"/>
                <a:gd name="connsiteX10" fmla="*/ 18241 w 189142"/>
                <a:gd name="connsiteY10" fmla="*/ 28 h 285215"/>
                <a:gd name="connsiteX11" fmla="*/ 3830 w 189142"/>
                <a:gd name="connsiteY11" fmla="*/ 6033 h 285215"/>
                <a:gd name="connsiteX12" fmla="*/ 828 w 189142"/>
                <a:gd name="connsiteY12" fmla="*/ 22545 h 285215"/>
                <a:gd name="connsiteX13" fmla="*/ 2028 w 189142"/>
                <a:gd name="connsiteY13" fmla="*/ 25848 h 285215"/>
                <a:gd name="connsiteX14" fmla="*/ 65076 w 189142"/>
                <a:gd name="connsiteY14" fmla="*/ 143236 h 285215"/>
                <a:gd name="connsiteX15" fmla="*/ 2028 w 189142"/>
                <a:gd name="connsiteY15" fmla="*/ 259724 h 285215"/>
                <a:gd name="connsiteX16" fmla="*/ 1128 w 189142"/>
                <a:gd name="connsiteY16" fmla="*/ 262126 h 285215"/>
                <a:gd name="connsiteX17" fmla="*/ 3530 w 189142"/>
                <a:gd name="connsiteY17" fmla="*/ 278939 h 285215"/>
                <a:gd name="connsiteX18" fmla="*/ 18541 w 189142"/>
                <a:gd name="connsiteY18" fmla="*/ 286144 h 285215"/>
                <a:gd name="connsiteX19" fmla="*/ 37155 w 189142"/>
                <a:gd name="connsiteY19" fmla="*/ 286144 h 285215"/>
                <a:gd name="connsiteX20" fmla="*/ 53367 w 189142"/>
                <a:gd name="connsiteY20" fmla="*/ 275036 h 285215"/>
                <a:gd name="connsiteX21" fmla="*/ 94799 w 189142"/>
                <a:gd name="connsiteY21" fmla="*/ 197877 h 285215"/>
                <a:gd name="connsiteX22" fmla="*/ 136230 w 189142"/>
                <a:gd name="connsiteY22" fmla="*/ 274735 h 285215"/>
                <a:gd name="connsiteX23" fmla="*/ 152742 w 189142"/>
                <a:gd name="connsiteY23" fmla="*/ 285844 h 285215"/>
                <a:gd name="connsiteX24" fmla="*/ 171356 w 189142"/>
                <a:gd name="connsiteY24" fmla="*/ 285844 h 285215"/>
                <a:gd name="connsiteX25" fmla="*/ 186068 w 189142"/>
                <a:gd name="connsiteY25" fmla="*/ 278638 h 285215"/>
                <a:gd name="connsiteX26" fmla="*/ 188469 w 189142"/>
                <a:gd name="connsiteY26" fmla="*/ 261225 h 285215"/>
                <a:gd name="connsiteX27" fmla="*/ 124821 w 189142"/>
                <a:gd name="connsiteY27" fmla="*/ 143236 h 285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89142" h="285215">
                  <a:moveTo>
                    <a:pt x="124821" y="143236"/>
                  </a:moveTo>
                  <a:lnTo>
                    <a:pt x="187869" y="25848"/>
                  </a:lnTo>
                  <a:lnTo>
                    <a:pt x="189070" y="22545"/>
                  </a:lnTo>
                  <a:cubicBezTo>
                    <a:pt x="190571" y="16841"/>
                    <a:pt x="189370" y="11137"/>
                    <a:pt x="185767" y="6633"/>
                  </a:cubicBezTo>
                  <a:cubicBezTo>
                    <a:pt x="182465" y="2430"/>
                    <a:pt x="177061" y="-272"/>
                    <a:pt x="171657" y="28"/>
                  </a:cubicBezTo>
                  <a:lnTo>
                    <a:pt x="153343" y="28"/>
                  </a:lnTo>
                  <a:cubicBezTo>
                    <a:pt x="146137" y="-272"/>
                    <a:pt x="139833" y="3931"/>
                    <a:pt x="137131" y="10536"/>
                  </a:cubicBezTo>
                  <a:lnTo>
                    <a:pt x="94799" y="88895"/>
                  </a:lnTo>
                  <a:lnTo>
                    <a:pt x="52767" y="11137"/>
                  </a:lnTo>
                  <a:cubicBezTo>
                    <a:pt x="50065" y="4231"/>
                    <a:pt x="43460" y="28"/>
                    <a:pt x="36254" y="28"/>
                  </a:cubicBezTo>
                  <a:lnTo>
                    <a:pt x="18241" y="28"/>
                  </a:lnTo>
                  <a:cubicBezTo>
                    <a:pt x="12837" y="-272"/>
                    <a:pt x="7433" y="1830"/>
                    <a:pt x="3830" y="6033"/>
                  </a:cubicBezTo>
                  <a:cubicBezTo>
                    <a:pt x="227" y="10836"/>
                    <a:pt x="-974" y="16841"/>
                    <a:pt x="828" y="22545"/>
                  </a:cubicBezTo>
                  <a:lnTo>
                    <a:pt x="2028" y="25848"/>
                  </a:lnTo>
                  <a:lnTo>
                    <a:pt x="65076" y="143236"/>
                  </a:lnTo>
                  <a:lnTo>
                    <a:pt x="2028" y="259724"/>
                  </a:lnTo>
                  <a:lnTo>
                    <a:pt x="1128" y="262126"/>
                  </a:lnTo>
                  <a:cubicBezTo>
                    <a:pt x="-673" y="267830"/>
                    <a:pt x="227" y="274135"/>
                    <a:pt x="3530" y="278939"/>
                  </a:cubicBezTo>
                  <a:cubicBezTo>
                    <a:pt x="7132" y="283742"/>
                    <a:pt x="12536" y="286144"/>
                    <a:pt x="18541" y="286144"/>
                  </a:cubicBezTo>
                  <a:lnTo>
                    <a:pt x="37155" y="286144"/>
                  </a:lnTo>
                  <a:cubicBezTo>
                    <a:pt x="44361" y="286144"/>
                    <a:pt x="50665" y="281941"/>
                    <a:pt x="53367" y="275036"/>
                  </a:cubicBezTo>
                  <a:lnTo>
                    <a:pt x="94799" y="197877"/>
                  </a:lnTo>
                  <a:lnTo>
                    <a:pt x="136230" y="274735"/>
                  </a:lnTo>
                  <a:cubicBezTo>
                    <a:pt x="138932" y="281641"/>
                    <a:pt x="145537" y="285844"/>
                    <a:pt x="152742" y="285844"/>
                  </a:cubicBezTo>
                  <a:lnTo>
                    <a:pt x="171356" y="285844"/>
                  </a:lnTo>
                  <a:cubicBezTo>
                    <a:pt x="177061" y="286144"/>
                    <a:pt x="182765" y="283442"/>
                    <a:pt x="186068" y="278638"/>
                  </a:cubicBezTo>
                  <a:cubicBezTo>
                    <a:pt x="189670" y="273534"/>
                    <a:pt x="190571" y="267230"/>
                    <a:pt x="188469" y="261225"/>
                  </a:cubicBezTo>
                  <a:lnTo>
                    <a:pt x="124821" y="143236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17" name="Forme libre : forme 216">
              <a:extLst>
                <a:ext uri="{FF2B5EF4-FFF2-40B4-BE49-F238E27FC236}">
                  <a16:creationId xmlns:a16="http://schemas.microsoft.com/office/drawing/2014/main" id="{1BBBC77A-F437-4C7C-8E02-4997379CE2FA}"/>
                </a:ext>
              </a:extLst>
            </p:cNvPr>
            <p:cNvSpPr/>
            <p:nvPr/>
          </p:nvSpPr>
          <p:spPr>
            <a:xfrm>
              <a:off x="7191198" y="4369210"/>
              <a:ext cx="186141" cy="288217"/>
            </a:xfrm>
            <a:custGeom>
              <a:avLst/>
              <a:gdLst>
                <a:gd name="connsiteX0" fmla="*/ 186149 w 186140"/>
                <a:gd name="connsiteY0" fmla="*/ 264275 h 288217"/>
                <a:gd name="connsiteX1" fmla="*/ 136612 w 186140"/>
                <a:gd name="connsiteY1" fmla="*/ 167903 h 288217"/>
                <a:gd name="connsiteX2" fmla="*/ 154025 w 186140"/>
                <a:gd name="connsiteY2" fmla="*/ 154693 h 288217"/>
                <a:gd name="connsiteX3" fmla="*/ 177443 w 186140"/>
                <a:gd name="connsiteY3" fmla="*/ 97049 h 288217"/>
                <a:gd name="connsiteX4" fmla="*/ 177443 w 186140"/>
                <a:gd name="connsiteY4" fmla="*/ 82038 h 288217"/>
                <a:gd name="connsiteX5" fmla="*/ 154626 w 186140"/>
                <a:gd name="connsiteY5" fmla="*/ 23794 h 288217"/>
                <a:gd name="connsiteX6" fmla="*/ 98183 w 186140"/>
                <a:gd name="connsiteY6" fmla="*/ 76 h 288217"/>
                <a:gd name="connsiteX7" fmla="*/ 18923 w 186140"/>
                <a:gd name="connsiteY7" fmla="*/ 76 h 288217"/>
                <a:gd name="connsiteX8" fmla="*/ 9 w 186140"/>
                <a:gd name="connsiteY8" fmla="*/ 16288 h 288217"/>
                <a:gd name="connsiteX9" fmla="*/ 9 w 186140"/>
                <a:gd name="connsiteY9" fmla="*/ 19290 h 288217"/>
                <a:gd name="connsiteX10" fmla="*/ 9 w 186140"/>
                <a:gd name="connsiteY10" fmla="*/ 271781 h 288217"/>
                <a:gd name="connsiteX11" fmla="*/ 16821 w 186140"/>
                <a:gd name="connsiteY11" fmla="*/ 290395 h 288217"/>
                <a:gd name="connsiteX12" fmla="*/ 18022 w 186140"/>
                <a:gd name="connsiteY12" fmla="*/ 290395 h 288217"/>
                <a:gd name="connsiteX13" fmla="*/ 36036 w 186140"/>
                <a:gd name="connsiteY13" fmla="*/ 290395 h 288217"/>
                <a:gd name="connsiteX14" fmla="*/ 54050 w 186140"/>
                <a:gd name="connsiteY14" fmla="*/ 272381 h 288217"/>
                <a:gd name="connsiteX15" fmla="*/ 54050 w 186140"/>
                <a:gd name="connsiteY15" fmla="*/ 271781 h 288217"/>
                <a:gd name="connsiteX16" fmla="*/ 54050 w 186140"/>
                <a:gd name="connsiteY16" fmla="*/ 178410 h 288217"/>
                <a:gd name="connsiteX17" fmla="*/ 83171 w 186140"/>
                <a:gd name="connsiteY17" fmla="*/ 178410 h 288217"/>
                <a:gd name="connsiteX18" fmla="*/ 133910 w 186140"/>
                <a:gd name="connsiteY18" fmla="*/ 278086 h 288217"/>
                <a:gd name="connsiteX19" fmla="*/ 150422 w 186140"/>
                <a:gd name="connsiteY19" fmla="*/ 289494 h 288217"/>
                <a:gd name="connsiteX20" fmla="*/ 169036 w 186140"/>
                <a:gd name="connsiteY20" fmla="*/ 289494 h 288217"/>
                <a:gd name="connsiteX21" fmla="*/ 183747 w 186140"/>
                <a:gd name="connsiteY21" fmla="*/ 282289 h 288217"/>
                <a:gd name="connsiteX22" fmla="*/ 186149 w 186140"/>
                <a:gd name="connsiteY22" fmla="*/ 265176 h 288217"/>
                <a:gd name="connsiteX23" fmla="*/ 186149 w 186140"/>
                <a:gd name="connsiteY23" fmla="*/ 265176 h 288217"/>
                <a:gd name="connsiteX24" fmla="*/ 123402 w 186140"/>
                <a:gd name="connsiteY24" fmla="*/ 83539 h 288217"/>
                <a:gd name="connsiteX25" fmla="*/ 123402 w 186140"/>
                <a:gd name="connsiteY25" fmla="*/ 97950 h 288217"/>
                <a:gd name="connsiteX26" fmla="*/ 97582 w 186140"/>
                <a:gd name="connsiteY26" fmla="*/ 124370 h 288217"/>
                <a:gd name="connsiteX27" fmla="*/ 54050 w 186140"/>
                <a:gd name="connsiteY27" fmla="*/ 124370 h 288217"/>
                <a:gd name="connsiteX28" fmla="*/ 54050 w 186140"/>
                <a:gd name="connsiteY28" fmla="*/ 56218 h 288217"/>
                <a:gd name="connsiteX29" fmla="*/ 97582 w 186140"/>
                <a:gd name="connsiteY29" fmla="*/ 56218 h 288217"/>
                <a:gd name="connsiteX30" fmla="*/ 115296 w 186140"/>
                <a:gd name="connsiteY30" fmla="*/ 63424 h 288217"/>
                <a:gd name="connsiteX31" fmla="*/ 123102 w 186140"/>
                <a:gd name="connsiteY31" fmla="*/ 82338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86140" h="288217">
                  <a:moveTo>
                    <a:pt x="186149" y="264275"/>
                  </a:moveTo>
                  <a:lnTo>
                    <a:pt x="136612" y="167903"/>
                  </a:lnTo>
                  <a:cubicBezTo>
                    <a:pt x="142917" y="164300"/>
                    <a:pt x="148621" y="159796"/>
                    <a:pt x="154025" y="154693"/>
                  </a:cubicBezTo>
                  <a:cubicBezTo>
                    <a:pt x="169337" y="139681"/>
                    <a:pt x="177743" y="118665"/>
                    <a:pt x="177443" y="97049"/>
                  </a:cubicBezTo>
                  <a:lnTo>
                    <a:pt x="177443" y="82038"/>
                  </a:lnTo>
                  <a:cubicBezTo>
                    <a:pt x="178043" y="60422"/>
                    <a:pt x="169637" y="39105"/>
                    <a:pt x="154626" y="23794"/>
                  </a:cubicBezTo>
                  <a:cubicBezTo>
                    <a:pt x="139914" y="8182"/>
                    <a:pt x="119499" y="-224"/>
                    <a:pt x="98183" y="76"/>
                  </a:cubicBezTo>
                  <a:lnTo>
                    <a:pt x="18923" y="76"/>
                  </a:lnTo>
                  <a:cubicBezTo>
                    <a:pt x="9316" y="-825"/>
                    <a:pt x="909" y="6381"/>
                    <a:pt x="9" y="16288"/>
                  </a:cubicBezTo>
                  <a:cubicBezTo>
                    <a:pt x="9" y="17189"/>
                    <a:pt x="9" y="18390"/>
                    <a:pt x="9" y="19290"/>
                  </a:cubicBezTo>
                  <a:lnTo>
                    <a:pt x="9" y="271781"/>
                  </a:lnTo>
                  <a:cubicBezTo>
                    <a:pt x="-292" y="281688"/>
                    <a:pt x="7214" y="290095"/>
                    <a:pt x="16821" y="290395"/>
                  </a:cubicBezTo>
                  <a:cubicBezTo>
                    <a:pt x="17122" y="290395"/>
                    <a:pt x="17722" y="290395"/>
                    <a:pt x="18022" y="290395"/>
                  </a:cubicBezTo>
                  <a:lnTo>
                    <a:pt x="36036" y="290395"/>
                  </a:lnTo>
                  <a:cubicBezTo>
                    <a:pt x="45943" y="290395"/>
                    <a:pt x="54050" y="282589"/>
                    <a:pt x="54050" y="272381"/>
                  </a:cubicBezTo>
                  <a:cubicBezTo>
                    <a:pt x="54050" y="272081"/>
                    <a:pt x="54050" y="272081"/>
                    <a:pt x="54050" y="271781"/>
                  </a:cubicBezTo>
                  <a:lnTo>
                    <a:pt x="54050" y="178410"/>
                  </a:lnTo>
                  <a:lnTo>
                    <a:pt x="83171" y="178410"/>
                  </a:lnTo>
                  <a:lnTo>
                    <a:pt x="133910" y="278086"/>
                  </a:lnTo>
                  <a:cubicBezTo>
                    <a:pt x="136612" y="284991"/>
                    <a:pt x="143217" y="289494"/>
                    <a:pt x="150422" y="289494"/>
                  </a:cubicBezTo>
                  <a:lnTo>
                    <a:pt x="169036" y="289494"/>
                  </a:lnTo>
                  <a:cubicBezTo>
                    <a:pt x="174741" y="289795"/>
                    <a:pt x="180445" y="287092"/>
                    <a:pt x="183747" y="282289"/>
                  </a:cubicBezTo>
                  <a:cubicBezTo>
                    <a:pt x="187350" y="277185"/>
                    <a:pt x="188251" y="270880"/>
                    <a:pt x="186149" y="265176"/>
                  </a:cubicBezTo>
                  <a:lnTo>
                    <a:pt x="186149" y="265176"/>
                  </a:lnTo>
                  <a:moveTo>
                    <a:pt x="123402" y="83539"/>
                  </a:moveTo>
                  <a:lnTo>
                    <a:pt x="123402" y="97950"/>
                  </a:lnTo>
                  <a:cubicBezTo>
                    <a:pt x="123402" y="112361"/>
                    <a:pt x="111693" y="124370"/>
                    <a:pt x="97582" y="124370"/>
                  </a:cubicBezTo>
                  <a:lnTo>
                    <a:pt x="54050" y="124370"/>
                  </a:lnTo>
                  <a:lnTo>
                    <a:pt x="54050" y="56218"/>
                  </a:lnTo>
                  <a:lnTo>
                    <a:pt x="97582" y="56218"/>
                  </a:lnTo>
                  <a:cubicBezTo>
                    <a:pt x="104187" y="55918"/>
                    <a:pt x="110492" y="58620"/>
                    <a:pt x="115296" y="63424"/>
                  </a:cubicBezTo>
                  <a:cubicBezTo>
                    <a:pt x="120400" y="68227"/>
                    <a:pt x="123402" y="75133"/>
                    <a:pt x="123102" y="82338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18" name="Forme libre : forme 217">
              <a:extLst>
                <a:ext uri="{FF2B5EF4-FFF2-40B4-BE49-F238E27FC236}">
                  <a16:creationId xmlns:a16="http://schemas.microsoft.com/office/drawing/2014/main" id="{3F1EC6FE-FFB0-464B-9BD6-8962B8DD5036}"/>
                </a:ext>
              </a:extLst>
            </p:cNvPr>
            <p:cNvSpPr/>
            <p:nvPr/>
          </p:nvSpPr>
          <p:spPr>
            <a:xfrm>
              <a:off x="6485374" y="4373489"/>
              <a:ext cx="60045" cy="120091"/>
            </a:xfrm>
            <a:custGeom>
              <a:avLst/>
              <a:gdLst>
                <a:gd name="connsiteX0" fmla="*/ 60045 w 60045"/>
                <a:gd name="connsiteY0" fmla="*/ 120391 h 120090"/>
                <a:gd name="connsiteX1" fmla="*/ 54641 w 60045"/>
                <a:gd name="connsiteY1" fmla="*/ 120391 h 120090"/>
                <a:gd name="connsiteX2" fmla="*/ 52840 w 60045"/>
                <a:gd name="connsiteY2" fmla="*/ 118589 h 120090"/>
                <a:gd name="connsiteX3" fmla="*/ 52840 w 60045"/>
                <a:gd name="connsiteY3" fmla="*/ 117088 h 120090"/>
                <a:gd name="connsiteX4" fmla="*/ 51039 w 60045"/>
                <a:gd name="connsiteY4" fmla="*/ 115287 h 120090"/>
                <a:gd name="connsiteX5" fmla="*/ 50138 w 60045"/>
                <a:gd name="connsiteY5" fmla="*/ 115287 h 120090"/>
                <a:gd name="connsiteX6" fmla="*/ 6605 w 60045"/>
                <a:gd name="connsiteY6" fmla="*/ 109583 h 120090"/>
                <a:gd name="connsiteX7" fmla="*/ 0 w 60045"/>
                <a:gd name="connsiteY7" fmla="*/ 90368 h 120090"/>
                <a:gd name="connsiteX8" fmla="*/ 0 w 60045"/>
                <a:gd name="connsiteY8" fmla="*/ 64549 h 120090"/>
                <a:gd name="connsiteX9" fmla="*/ 9007 w 60045"/>
                <a:gd name="connsiteY9" fmla="*/ 43233 h 120090"/>
                <a:gd name="connsiteX10" fmla="*/ 30923 w 60045"/>
                <a:gd name="connsiteY10" fmla="*/ 33926 h 120090"/>
                <a:gd name="connsiteX11" fmla="*/ 47136 w 60045"/>
                <a:gd name="connsiteY11" fmla="*/ 38729 h 120090"/>
                <a:gd name="connsiteX12" fmla="*/ 48336 w 60045"/>
                <a:gd name="connsiteY12" fmla="*/ 38729 h 120090"/>
                <a:gd name="connsiteX13" fmla="*/ 49838 w 60045"/>
                <a:gd name="connsiteY13" fmla="*/ 37228 h 120090"/>
                <a:gd name="connsiteX14" fmla="*/ 49838 w 60045"/>
                <a:gd name="connsiteY14" fmla="*/ 1801 h 120090"/>
                <a:gd name="connsiteX15" fmla="*/ 51039 w 60045"/>
                <a:gd name="connsiteY15" fmla="*/ 0 h 120090"/>
                <a:gd name="connsiteX16" fmla="*/ 51639 w 60045"/>
                <a:gd name="connsiteY16" fmla="*/ 0 h 120090"/>
                <a:gd name="connsiteX17" fmla="*/ 60045 w 60045"/>
                <a:gd name="connsiteY17" fmla="*/ 0 h 120090"/>
                <a:gd name="connsiteX18" fmla="*/ 61546 w 60045"/>
                <a:gd name="connsiteY18" fmla="*/ 1801 h 120090"/>
                <a:gd name="connsiteX19" fmla="*/ 61546 w 60045"/>
                <a:gd name="connsiteY19" fmla="*/ 118589 h 120090"/>
                <a:gd name="connsiteX20" fmla="*/ 60045 w 60045"/>
                <a:gd name="connsiteY20" fmla="*/ 120391 h 120090"/>
                <a:gd name="connsiteX21" fmla="*/ 49838 w 60045"/>
                <a:gd name="connsiteY21" fmla="*/ 65449 h 120090"/>
                <a:gd name="connsiteX22" fmla="*/ 44133 w 60045"/>
                <a:gd name="connsiteY22" fmla="*/ 51639 h 120090"/>
                <a:gd name="connsiteX23" fmla="*/ 17113 w 60045"/>
                <a:gd name="connsiteY23" fmla="*/ 51639 h 120090"/>
                <a:gd name="connsiteX24" fmla="*/ 11409 w 60045"/>
                <a:gd name="connsiteY24" fmla="*/ 65449 h 120090"/>
                <a:gd name="connsiteX25" fmla="*/ 11409 w 60045"/>
                <a:gd name="connsiteY25" fmla="*/ 91269 h 120090"/>
                <a:gd name="connsiteX26" fmla="*/ 16813 w 60045"/>
                <a:gd name="connsiteY26" fmla="*/ 105379 h 120090"/>
                <a:gd name="connsiteX27" fmla="*/ 30623 w 60045"/>
                <a:gd name="connsiteY27" fmla="*/ 111084 h 120090"/>
                <a:gd name="connsiteX28" fmla="*/ 44133 w 60045"/>
                <a:gd name="connsiteY28" fmla="*/ 105379 h 120090"/>
                <a:gd name="connsiteX29" fmla="*/ 49838 w 60045"/>
                <a:gd name="connsiteY29" fmla="*/ 91269 h 120090"/>
                <a:gd name="connsiteX30" fmla="*/ 49838 w 60045"/>
                <a:gd name="connsiteY30" fmla="*/ 65449 h 120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60045" h="120090">
                  <a:moveTo>
                    <a:pt x="60045" y="120391"/>
                  </a:moveTo>
                  <a:lnTo>
                    <a:pt x="54641" y="120391"/>
                  </a:lnTo>
                  <a:cubicBezTo>
                    <a:pt x="53440" y="120391"/>
                    <a:pt x="52840" y="119490"/>
                    <a:pt x="52840" y="118589"/>
                  </a:cubicBezTo>
                  <a:lnTo>
                    <a:pt x="52840" y="117088"/>
                  </a:lnTo>
                  <a:cubicBezTo>
                    <a:pt x="52840" y="115587"/>
                    <a:pt x="52239" y="115287"/>
                    <a:pt x="51039" y="115287"/>
                  </a:cubicBezTo>
                  <a:cubicBezTo>
                    <a:pt x="49838" y="115287"/>
                    <a:pt x="50138" y="115287"/>
                    <a:pt x="50138" y="115287"/>
                  </a:cubicBezTo>
                  <a:cubicBezTo>
                    <a:pt x="36628" y="126095"/>
                    <a:pt x="17113" y="123693"/>
                    <a:pt x="6605" y="109583"/>
                  </a:cubicBezTo>
                  <a:cubicBezTo>
                    <a:pt x="2402" y="104179"/>
                    <a:pt x="0" y="97273"/>
                    <a:pt x="0" y="90368"/>
                  </a:cubicBezTo>
                  <a:lnTo>
                    <a:pt x="0" y="64549"/>
                  </a:lnTo>
                  <a:cubicBezTo>
                    <a:pt x="0" y="56443"/>
                    <a:pt x="3302" y="48937"/>
                    <a:pt x="9007" y="43233"/>
                  </a:cubicBezTo>
                  <a:cubicBezTo>
                    <a:pt x="14711" y="36928"/>
                    <a:pt x="22517" y="33625"/>
                    <a:pt x="30923" y="33926"/>
                  </a:cubicBezTo>
                  <a:cubicBezTo>
                    <a:pt x="36628" y="33926"/>
                    <a:pt x="42332" y="35427"/>
                    <a:pt x="47136" y="38729"/>
                  </a:cubicBezTo>
                  <a:lnTo>
                    <a:pt x="48336" y="38729"/>
                  </a:lnTo>
                  <a:cubicBezTo>
                    <a:pt x="49537" y="38729"/>
                    <a:pt x="49838" y="38729"/>
                    <a:pt x="49838" y="37228"/>
                  </a:cubicBezTo>
                  <a:lnTo>
                    <a:pt x="49838" y="1801"/>
                  </a:lnTo>
                  <a:cubicBezTo>
                    <a:pt x="49537" y="901"/>
                    <a:pt x="50138" y="300"/>
                    <a:pt x="51039" y="0"/>
                  </a:cubicBezTo>
                  <a:cubicBezTo>
                    <a:pt x="51339" y="0"/>
                    <a:pt x="51339" y="0"/>
                    <a:pt x="51639" y="0"/>
                  </a:cubicBezTo>
                  <a:lnTo>
                    <a:pt x="60045" y="0"/>
                  </a:lnTo>
                  <a:cubicBezTo>
                    <a:pt x="61246" y="0"/>
                    <a:pt x="61546" y="0"/>
                    <a:pt x="61546" y="1801"/>
                  </a:cubicBezTo>
                  <a:lnTo>
                    <a:pt x="61546" y="118589"/>
                  </a:lnTo>
                  <a:cubicBezTo>
                    <a:pt x="61546" y="119790"/>
                    <a:pt x="61546" y="120691"/>
                    <a:pt x="60045" y="120391"/>
                  </a:cubicBezTo>
                  <a:moveTo>
                    <a:pt x="49838" y="65449"/>
                  </a:moveTo>
                  <a:cubicBezTo>
                    <a:pt x="50138" y="60346"/>
                    <a:pt x="48036" y="55242"/>
                    <a:pt x="44133" y="51639"/>
                  </a:cubicBezTo>
                  <a:cubicBezTo>
                    <a:pt x="36628" y="43833"/>
                    <a:pt x="24619" y="44133"/>
                    <a:pt x="17113" y="51639"/>
                  </a:cubicBezTo>
                  <a:cubicBezTo>
                    <a:pt x="13510" y="55242"/>
                    <a:pt x="11409" y="60346"/>
                    <a:pt x="11409" y="65449"/>
                  </a:cubicBezTo>
                  <a:lnTo>
                    <a:pt x="11409" y="91269"/>
                  </a:lnTo>
                  <a:cubicBezTo>
                    <a:pt x="11409" y="96673"/>
                    <a:pt x="13210" y="101777"/>
                    <a:pt x="16813" y="105379"/>
                  </a:cubicBezTo>
                  <a:cubicBezTo>
                    <a:pt x="20415" y="109282"/>
                    <a:pt x="25219" y="111084"/>
                    <a:pt x="30623" y="111084"/>
                  </a:cubicBezTo>
                  <a:cubicBezTo>
                    <a:pt x="35727" y="111084"/>
                    <a:pt x="40531" y="108982"/>
                    <a:pt x="44133" y="105379"/>
                  </a:cubicBezTo>
                  <a:cubicBezTo>
                    <a:pt x="47736" y="101777"/>
                    <a:pt x="49838" y="96673"/>
                    <a:pt x="49838" y="91269"/>
                  </a:cubicBezTo>
                  <a:lnTo>
                    <a:pt x="49838" y="65449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19" name="Forme libre : forme 218">
              <a:extLst>
                <a:ext uri="{FF2B5EF4-FFF2-40B4-BE49-F238E27FC236}">
                  <a16:creationId xmlns:a16="http://schemas.microsoft.com/office/drawing/2014/main" id="{C68CE9AA-6FB7-44DB-BE11-BD8AF474D231}"/>
                </a:ext>
              </a:extLst>
            </p:cNvPr>
            <p:cNvSpPr/>
            <p:nvPr/>
          </p:nvSpPr>
          <p:spPr>
            <a:xfrm>
              <a:off x="6570319" y="4403924"/>
              <a:ext cx="57043" cy="93070"/>
            </a:xfrm>
            <a:custGeom>
              <a:avLst/>
              <a:gdLst>
                <a:gd name="connsiteX0" fmla="*/ 56762 w 57043"/>
                <a:gd name="connsiteY0" fmla="*/ 52728 h 93070"/>
                <a:gd name="connsiteX1" fmla="*/ 12929 w 57043"/>
                <a:gd name="connsiteY1" fmla="*/ 52728 h 93070"/>
                <a:gd name="connsiteX2" fmla="*/ 11127 w 57043"/>
                <a:gd name="connsiteY2" fmla="*/ 54229 h 93070"/>
                <a:gd name="connsiteX3" fmla="*/ 11127 w 57043"/>
                <a:gd name="connsiteY3" fmla="*/ 54529 h 93070"/>
                <a:gd name="connsiteX4" fmla="*/ 11127 w 57043"/>
                <a:gd name="connsiteY4" fmla="*/ 59933 h 93070"/>
                <a:gd name="connsiteX5" fmla="*/ 16832 w 57043"/>
                <a:gd name="connsiteY5" fmla="*/ 74644 h 93070"/>
                <a:gd name="connsiteX6" fmla="*/ 30642 w 57043"/>
                <a:gd name="connsiteY6" fmla="*/ 80949 h 93070"/>
                <a:gd name="connsiteX7" fmla="*/ 48956 w 57043"/>
                <a:gd name="connsiteY7" fmla="*/ 74644 h 93070"/>
                <a:gd name="connsiteX8" fmla="*/ 51057 w 57043"/>
                <a:gd name="connsiteY8" fmla="*/ 74644 h 93070"/>
                <a:gd name="connsiteX9" fmla="*/ 51057 w 57043"/>
                <a:gd name="connsiteY9" fmla="*/ 74644 h 93070"/>
                <a:gd name="connsiteX10" fmla="*/ 55861 w 57043"/>
                <a:gd name="connsiteY10" fmla="*/ 82150 h 93070"/>
                <a:gd name="connsiteX11" fmla="*/ 56161 w 57043"/>
                <a:gd name="connsiteY11" fmla="*/ 84552 h 93070"/>
                <a:gd name="connsiteX12" fmla="*/ 55861 w 57043"/>
                <a:gd name="connsiteY12" fmla="*/ 84852 h 93070"/>
                <a:gd name="connsiteX13" fmla="*/ 30942 w 57043"/>
                <a:gd name="connsiteY13" fmla="*/ 93558 h 93070"/>
                <a:gd name="connsiteX14" fmla="*/ 9026 w 57043"/>
                <a:gd name="connsiteY14" fmla="*/ 83651 h 93070"/>
                <a:gd name="connsiteX15" fmla="*/ 19 w 57043"/>
                <a:gd name="connsiteY15" fmla="*/ 59633 h 93070"/>
                <a:gd name="connsiteX16" fmla="*/ 19 w 57043"/>
                <a:gd name="connsiteY16" fmla="*/ 32012 h 93070"/>
                <a:gd name="connsiteX17" fmla="*/ 8725 w 57043"/>
                <a:gd name="connsiteY17" fmla="*/ 9195 h 93070"/>
                <a:gd name="connsiteX18" fmla="*/ 50457 w 57043"/>
                <a:gd name="connsiteY18" fmla="*/ 9495 h 93070"/>
                <a:gd name="connsiteX19" fmla="*/ 58863 w 57043"/>
                <a:gd name="connsiteY19" fmla="*/ 32012 h 93070"/>
                <a:gd name="connsiteX20" fmla="*/ 58863 w 57043"/>
                <a:gd name="connsiteY20" fmla="*/ 50626 h 93070"/>
                <a:gd name="connsiteX21" fmla="*/ 56762 w 57043"/>
                <a:gd name="connsiteY21" fmla="*/ 52728 h 93070"/>
                <a:gd name="connsiteX22" fmla="*/ 46854 w 57043"/>
                <a:gd name="connsiteY22" fmla="*/ 32312 h 93070"/>
                <a:gd name="connsiteX23" fmla="*/ 41750 w 57043"/>
                <a:gd name="connsiteY23" fmla="*/ 18802 h 93070"/>
                <a:gd name="connsiteX24" fmla="*/ 29141 w 57043"/>
                <a:gd name="connsiteY24" fmla="*/ 13398 h 93070"/>
                <a:gd name="connsiteX25" fmla="*/ 16531 w 57043"/>
                <a:gd name="connsiteY25" fmla="*/ 18802 h 93070"/>
                <a:gd name="connsiteX26" fmla="*/ 11127 w 57043"/>
                <a:gd name="connsiteY26" fmla="*/ 32312 h 93070"/>
                <a:gd name="connsiteX27" fmla="*/ 11127 w 57043"/>
                <a:gd name="connsiteY27" fmla="*/ 38017 h 93070"/>
                <a:gd name="connsiteX28" fmla="*/ 12328 w 57043"/>
                <a:gd name="connsiteY28" fmla="*/ 40118 h 93070"/>
                <a:gd name="connsiteX29" fmla="*/ 12628 w 57043"/>
                <a:gd name="connsiteY29" fmla="*/ 40118 h 93070"/>
                <a:gd name="connsiteX30" fmla="*/ 44452 w 57043"/>
                <a:gd name="connsiteY30" fmla="*/ 40118 h 93070"/>
                <a:gd name="connsiteX31" fmla="*/ 45954 w 57043"/>
                <a:gd name="connsiteY31" fmla="*/ 38017 h 93070"/>
                <a:gd name="connsiteX32" fmla="*/ 46854 w 57043"/>
                <a:gd name="connsiteY32" fmla="*/ 32312 h 93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57043" h="93070">
                  <a:moveTo>
                    <a:pt x="56762" y="52728"/>
                  </a:moveTo>
                  <a:lnTo>
                    <a:pt x="12929" y="52728"/>
                  </a:lnTo>
                  <a:cubicBezTo>
                    <a:pt x="12028" y="52728"/>
                    <a:pt x="11127" y="53328"/>
                    <a:pt x="11127" y="54229"/>
                  </a:cubicBezTo>
                  <a:cubicBezTo>
                    <a:pt x="11127" y="54229"/>
                    <a:pt x="11127" y="54529"/>
                    <a:pt x="11127" y="54529"/>
                  </a:cubicBezTo>
                  <a:lnTo>
                    <a:pt x="11127" y="59933"/>
                  </a:lnTo>
                  <a:cubicBezTo>
                    <a:pt x="11127" y="65637"/>
                    <a:pt x="13229" y="70741"/>
                    <a:pt x="16832" y="74644"/>
                  </a:cubicBezTo>
                  <a:cubicBezTo>
                    <a:pt x="20434" y="78547"/>
                    <a:pt x="25238" y="80949"/>
                    <a:pt x="30642" y="80949"/>
                  </a:cubicBezTo>
                  <a:cubicBezTo>
                    <a:pt x="37247" y="80949"/>
                    <a:pt x="43552" y="78847"/>
                    <a:pt x="48956" y="74644"/>
                  </a:cubicBezTo>
                  <a:cubicBezTo>
                    <a:pt x="49556" y="74044"/>
                    <a:pt x="50457" y="74044"/>
                    <a:pt x="51057" y="74644"/>
                  </a:cubicBezTo>
                  <a:cubicBezTo>
                    <a:pt x="51057" y="74644"/>
                    <a:pt x="51057" y="74644"/>
                    <a:pt x="51057" y="74644"/>
                  </a:cubicBezTo>
                  <a:lnTo>
                    <a:pt x="55861" y="82150"/>
                  </a:lnTo>
                  <a:cubicBezTo>
                    <a:pt x="56461" y="82750"/>
                    <a:pt x="56762" y="83651"/>
                    <a:pt x="56161" y="84552"/>
                  </a:cubicBezTo>
                  <a:cubicBezTo>
                    <a:pt x="56161" y="84552"/>
                    <a:pt x="55861" y="84852"/>
                    <a:pt x="55861" y="84852"/>
                  </a:cubicBezTo>
                  <a:cubicBezTo>
                    <a:pt x="48656" y="90556"/>
                    <a:pt x="39949" y="93558"/>
                    <a:pt x="30942" y="93558"/>
                  </a:cubicBezTo>
                  <a:cubicBezTo>
                    <a:pt x="22836" y="93558"/>
                    <a:pt x="14730" y="89956"/>
                    <a:pt x="9026" y="83651"/>
                  </a:cubicBezTo>
                  <a:cubicBezTo>
                    <a:pt x="3021" y="77346"/>
                    <a:pt x="-281" y="68640"/>
                    <a:pt x="19" y="59633"/>
                  </a:cubicBezTo>
                  <a:lnTo>
                    <a:pt x="19" y="32012"/>
                  </a:lnTo>
                  <a:cubicBezTo>
                    <a:pt x="19" y="23606"/>
                    <a:pt x="3021" y="15199"/>
                    <a:pt x="8725" y="9195"/>
                  </a:cubicBezTo>
                  <a:cubicBezTo>
                    <a:pt x="20434" y="-3115"/>
                    <a:pt x="39048" y="-3115"/>
                    <a:pt x="50457" y="9495"/>
                  </a:cubicBezTo>
                  <a:cubicBezTo>
                    <a:pt x="55861" y="15500"/>
                    <a:pt x="58863" y="23606"/>
                    <a:pt x="58863" y="32012"/>
                  </a:cubicBezTo>
                  <a:lnTo>
                    <a:pt x="58863" y="50626"/>
                  </a:lnTo>
                  <a:cubicBezTo>
                    <a:pt x="58863" y="52127"/>
                    <a:pt x="58863" y="52728"/>
                    <a:pt x="56762" y="52728"/>
                  </a:cubicBezTo>
                  <a:moveTo>
                    <a:pt x="46854" y="32312"/>
                  </a:moveTo>
                  <a:cubicBezTo>
                    <a:pt x="46854" y="27208"/>
                    <a:pt x="45053" y="22405"/>
                    <a:pt x="41750" y="18802"/>
                  </a:cubicBezTo>
                  <a:cubicBezTo>
                    <a:pt x="38448" y="15199"/>
                    <a:pt x="33944" y="13098"/>
                    <a:pt x="29141" y="13398"/>
                  </a:cubicBezTo>
                  <a:cubicBezTo>
                    <a:pt x="24337" y="13098"/>
                    <a:pt x="19834" y="15199"/>
                    <a:pt x="16531" y="18802"/>
                  </a:cubicBezTo>
                  <a:cubicBezTo>
                    <a:pt x="12929" y="22405"/>
                    <a:pt x="11127" y="27208"/>
                    <a:pt x="11127" y="32312"/>
                  </a:cubicBezTo>
                  <a:lnTo>
                    <a:pt x="11127" y="38017"/>
                  </a:lnTo>
                  <a:cubicBezTo>
                    <a:pt x="11127" y="38917"/>
                    <a:pt x="11728" y="39818"/>
                    <a:pt x="12328" y="40118"/>
                  </a:cubicBezTo>
                  <a:cubicBezTo>
                    <a:pt x="12328" y="40118"/>
                    <a:pt x="12628" y="40118"/>
                    <a:pt x="12628" y="40118"/>
                  </a:cubicBezTo>
                  <a:lnTo>
                    <a:pt x="44452" y="40118"/>
                  </a:lnTo>
                  <a:cubicBezTo>
                    <a:pt x="45653" y="40118"/>
                    <a:pt x="45954" y="39217"/>
                    <a:pt x="45954" y="38017"/>
                  </a:cubicBezTo>
                  <a:lnTo>
                    <a:pt x="46854" y="32312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20" name="Forme libre : forme 219">
              <a:extLst>
                <a:ext uri="{FF2B5EF4-FFF2-40B4-BE49-F238E27FC236}">
                  <a16:creationId xmlns:a16="http://schemas.microsoft.com/office/drawing/2014/main" id="{E6D00E63-D41E-4543-A013-A2A8C6E88E13}"/>
                </a:ext>
              </a:extLst>
            </p:cNvPr>
            <p:cNvSpPr/>
            <p:nvPr/>
          </p:nvSpPr>
          <p:spPr>
            <a:xfrm>
              <a:off x="5951546" y="4012317"/>
              <a:ext cx="195147" cy="288217"/>
            </a:xfrm>
            <a:custGeom>
              <a:avLst/>
              <a:gdLst>
                <a:gd name="connsiteX0" fmla="*/ 190368 w 195147"/>
                <a:gd name="connsiteY0" fmla="*/ 0 h 288217"/>
                <a:gd name="connsiteX1" fmla="*/ 161847 w 195147"/>
                <a:gd name="connsiteY1" fmla="*/ 0 h 288217"/>
                <a:gd name="connsiteX2" fmla="*/ 156443 w 195147"/>
                <a:gd name="connsiteY2" fmla="*/ 5404 h 288217"/>
                <a:gd name="connsiteX3" fmla="*/ 156443 w 195147"/>
                <a:gd name="connsiteY3" fmla="*/ 190344 h 288217"/>
                <a:gd name="connsiteX4" fmla="*/ 138729 w 195147"/>
                <a:gd name="connsiteY4" fmla="*/ 231775 h 288217"/>
                <a:gd name="connsiteX5" fmla="*/ 98199 w 195147"/>
                <a:gd name="connsiteY5" fmla="*/ 248888 h 288217"/>
                <a:gd name="connsiteX6" fmla="*/ 57067 w 195147"/>
                <a:gd name="connsiteY6" fmla="*/ 231775 h 288217"/>
                <a:gd name="connsiteX7" fmla="*/ 39955 w 195147"/>
                <a:gd name="connsiteY7" fmla="*/ 190344 h 288217"/>
                <a:gd name="connsiteX8" fmla="*/ 39955 w 195147"/>
                <a:gd name="connsiteY8" fmla="*/ 131499 h 288217"/>
                <a:gd name="connsiteX9" fmla="*/ 24 w 195147"/>
                <a:gd name="connsiteY9" fmla="*/ 147711 h 288217"/>
                <a:gd name="connsiteX10" fmla="*/ 24 w 195147"/>
                <a:gd name="connsiteY10" fmla="*/ 190644 h 288217"/>
                <a:gd name="connsiteX11" fmla="*/ 28546 w 195147"/>
                <a:gd name="connsiteY11" fmla="*/ 260597 h 288217"/>
                <a:gd name="connsiteX12" fmla="*/ 98199 w 195147"/>
                <a:gd name="connsiteY12" fmla="*/ 290019 h 288217"/>
                <a:gd name="connsiteX13" fmla="*/ 167251 w 195147"/>
                <a:gd name="connsiteY13" fmla="*/ 260296 h 288217"/>
                <a:gd name="connsiteX14" fmla="*/ 196373 w 195147"/>
                <a:gd name="connsiteY14" fmla="*/ 190344 h 288217"/>
                <a:gd name="connsiteX15" fmla="*/ 196373 w 195147"/>
                <a:gd name="connsiteY15" fmla="*/ 5404 h 288217"/>
                <a:gd name="connsiteX16" fmla="*/ 190368 w 195147"/>
                <a:gd name="connsiteY16" fmla="*/ 0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147" h="288217">
                  <a:moveTo>
                    <a:pt x="190368" y="0"/>
                  </a:moveTo>
                  <a:lnTo>
                    <a:pt x="161847" y="0"/>
                  </a:lnTo>
                  <a:cubicBezTo>
                    <a:pt x="157944" y="0"/>
                    <a:pt x="156443" y="1501"/>
                    <a:pt x="156443" y="5404"/>
                  </a:cubicBezTo>
                  <a:lnTo>
                    <a:pt x="156443" y="190344"/>
                  </a:lnTo>
                  <a:cubicBezTo>
                    <a:pt x="156443" y="205955"/>
                    <a:pt x="150138" y="220967"/>
                    <a:pt x="138729" y="231775"/>
                  </a:cubicBezTo>
                  <a:cubicBezTo>
                    <a:pt x="128221" y="243183"/>
                    <a:pt x="113510" y="249188"/>
                    <a:pt x="98199" y="248888"/>
                  </a:cubicBezTo>
                  <a:cubicBezTo>
                    <a:pt x="82587" y="249188"/>
                    <a:pt x="67575" y="243183"/>
                    <a:pt x="57067" y="231775"/>
                  </a:cubicBezTo>
                  <a:cubicBezTo>
                    <a:pt x="45959" y="220967"/>
                    <a:pt x="39654" y="205955"/>
                    <a:pt x="39955" y="190344"/>
                  </a:cubicBezTo>
                  <a:lnTo>
                    <a:pt x="39955" y="131499"/>
                  </a:lnTo>
                  <a:lnTo>
                    <a:pt x="24" y="147711"/>
                  </a:lnTo>
                  <a:lnTo>
                    <a:pt x="24" y="190644"/>
                  </a:lnTo>
                  <a:cubicBezTo>
                    <a:pt x="-576" y="216763"/>
                    <a:pt x="9932" y="241982"/>
                    <a:pt x="28546" y="260597"/>
                  </a:cubicBezTo>
                  <a:cubicBezTo>
                    <a:pt x="46860" y="279511"/>
                    <a:pt x="71779" y="290019"/>
                    <a:pt x="98199" y="290019"/>
                  </a:cubicBezTo>
                  <a:cubicBezTo>
                    <a:pt x="124318" y="290019"/>
                    <a:pt x="149237" y="279511"/>
                    <a:pt x="167251" y="260296"/>
                  </a:cubicBezTo>
                  <a:cubicBezTo>
                    <a:pt x="186165" y="241982"/>
                    <a:pt x="196673" y="216763"/>
                    <a:pt x="196373" y="190344"/>
                  </a:cubicBezTo>
                  <a:lnTo>
                    <a:pt x="196373" y="5404"/>
                  </a:lnTo>
                  <a:cubicBezTo>
                    <a:pt x="196073" y="1501"/>
                    <a:pt x="193971" y="0"/>
                    <a:pt x="190368" y="0"/>
                  </a:cubicBez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21" name="Forme libre : forme 220">
              <a:extLst>
                <a:ext uri="{FF2B5EF4-FFF2-40B4-BE49-F238E27FC236}">
                  <a16:creationId xmlns:a16="http://schemas.microsoft.com/office/drawing/2014/main" id="{C2474F43-3D6B-46AC-B182-F0307C87AE93}"/>
                </a:ext>
              </a:extLst>
            </p:cNvPr>
            <p:cNvSpPr/>
            <p:nvPr/>
          </p:nvSpPr>
          <p:spPr>
            <a:xfrm>
              <a:off x="6234678" y="3999143"/>
              <a:ext cx="198150" cy="288217"/>
            </a:xfrm>
            <a:custGeom>
              <a:avLst/>
              <a:gdLst>
                <a:gd name="connsiteX0" fmla="*/ 192452 w 198149"/>
                <a:gd name="connsiteY0" fmla="*/ 289382 h 288217"/>
                <a:gd name="connsiteX1" fmla="*/ 164230 w 198149"/>
                <a:gd name="connsiteY1" fmla="*/ 289382 h 288217"/>
                <a:gd name="connsiteX2" fmla="*/ 158226 w 198149"/>
                <a:gd name="connsiteY2" fmla="*/ 284578 h 288217"/>
                <a:gd name="connsiteX3" fmla="*/ 158226 w 198149"/>
                <a:gd name="connsiteY3" fmla="*/ 283377 h 288217"/>
                <a:gd name="connsiteX4" fmla="*/ 158226 w 198149"/>
                <a:gd name="connsiteY4" fmla="*/ 98438 h 288217"/>
                <a:gd name="connsiteX5" fmla="*/ 140813 w 198149"/>
                <a:gd name="connsiteY5" fmla="*/ 57307 h 288217"/>
                <a:gd name="connsiteX6" fmla="*/ 57950 w 198149"/>
                <a:gd name="connsiteY6" fmla="*/ 57006 h 288217"/>
                <a:gd name="connsiteX7" fmla="*/ 57650 w 198149"/>
                <a:gd name="connsiteY7" fmla="*/ 57307 h 288217"/>
                <a:gd name="connsiteX8" fmla="*/ 41137 w 198149"/>
                <a:gd name="connsiteY8" fmla="*/ 98438 h 288217"/>
                <a:gd name="connsiteX9" fmla="*/ 41137 w 198149"/>
                <a:gd name="connsiteY9" fmla="*/ 283377 h 288217"/>
                <a:gd name="connsiteX10" fmla="*/ 36634 w 198149"/>
                <a:gd name="connsiteY10" fmla="*/ 289382 h 288217"/>
                <a:gd name="connsiteX11" fmla="*/ 34833 w 198149"/>
                <a:gd name="connsiteY11" fmla="*/ 289382 h 288217"/>
                <a:gd name="connsiteX12" fmla="*/ 6011 w 198149"/>
                <a:gd name="connsiteY12" fmla="*/ 289382 h 288217"/>
                <a:gd name="connsiteX13" fmla="*/ 6 w 198149"/>
                <a:gd name="connsiteY13" fmla="*/ 284578 h 288217"/>
                <a:gd name="connsiteX14" fmla="*/ 6 w 198149"/>
                <a:gd name="connsiteY14" fmla="*/ 283377 h 288217"/>
                <a:gd name="connsiteX15" fmla="*/ 6 w 198149"/>
                <a:gd name="connsiteY15" fmla="*/ 98438 h 288217"/>
                <a:gd name="connsiteX16" fmla="*/ 29428 w 198149"/>
                <a:gd name="connsiteY16" fmla="*/ 28785 h 288217"/>
                <a:gd name="connsiteX17" fmla="*/ 168734 w 198149"/>
                <a:gd name="connsiteY17" fmla="*/ 28185 h 288217"/>
                <a:gd name="connsiteX18" fmla="*/ 169334 w 198149"/>
                <a:gd name="connsiteY18" fmla="*/ 28785 h 288217"/>
                <a:gd name="connsiteX19" fmla="*/ 198456 w 198149"/>
                <a:gd name="connsiteY19" fmla="*/ 98438 h 288217"/>
                <a:gd name="connsiteX20" fmla="*/ 198456 w 198149"/>
                <a:gd name="connsiteY20" fmla="*/ 283377 h 288217"/>
                <a:gd name="connsiteX21" fmla="*/ 193352 w 198149"/>
                <a:gd name="connsiteY21" fmla="*/ 289382 h 288217"/>
                <a:gd name="connsiteX22" fmla="*/ 192452 w 198149"/>
                <a:gd name="connsiteY22" fmla="*/ 289382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8149" h="288217">
                  <a:moveTo>
                    <a:pt x="192452" y="289382"/>
                  </a:moveTo>
                  <a:lnTo>
                    <a:pt x="164230" y="289382"/>
                  </a:lnTo>
                  <a:cubicBezTo>
                    <a:pt x="161228" y="289682"/>
                    <a:pt x="158526" y="287580"/>
                    <a:pt x="158226" y="284578"/>
                  </a:cubicBezTo>
                  <a:cubicBezTo>
                    <a:pt x="158226" y="284278"/>
                    <a:pt x="158226" y="283677"/>
                    <a:pt x="158226" y="283377"/>
                  </a:cubicBezTo>
                  <a:lnTo>
                    <a:pt x="158226" y="98438"/>
                  </a:lnTo>
                  <a:cubicBezTo>
                    <a:pt x="158526" y="82826"/>
                    <a:pt x="152221" y="68115"/>
                    <a:pt x="140813" y="57307"/>
                  </a:cubicBezTo>
                  <a:cubicBezTo>
                    <a:pt x="117995" y="34490"/>
                    <a:pt x="80767" y="34490"/>
                    <a:pt x="57950" y="57006"/>
                  </a:cubicBezTo>
                  <a:cubicBezTo>
                    <a:pt x="57950" y="57006"/>
                    <a:pt x="57650" y="57307"/>
                    <a:pt x="57650" y="57307"/>
                  </a:cubicBezTo>
                  <a:cubicBezTo>
                    <a:pt x="46842" y="68115"/>
                    <a:pt x="40837" y="83126"/>
                    <a:pt x="41137" y="98438"/>
                  </a:cubicBezTo>
                  <a:lnTo>
                    <a:pt x="41137" y="283377"/>
                  </a:lnTo>
                  <a:cubicBezTo>
                    <a:pt x="41738" y="286380"/>
                    <a:pt x="39636" y="289082"/>
                    <a:pt x="36634" y="289382"/>
                  </a:cubicBezTo>
                  <a:cubicBezTo>
                    <a:pt x="36033" y="289382"/>
                    <a:pt x="35433" y="289382"/>
                    <a:pt x="34833" y="289382"/>
                  </a:cubicBezTo>
                  <a:lnTo>
                    <a:pt x="6011" y="289382"/>
                  </a:lnTo>
                  <a:cubicBezTo>
                    <a:pt x="3009" y="289682"/>
                    <a:pt x="306" y="287580"/>
                    <a:pt x="6" y="284578"/>
                  </a:cubicBezTo>
                  <a:cubicBezTo>
                    <a:pt x="6" y="284278"/>
                    <a:pt x="6" y="283677"/>
                    <a:pt x="6" y="283377"/>
                  </a:cubicBezTo>
                  <a:lnTo>
                    <a:pt x="6" y="98438"/>
                  </a:lnTo>
                  <a:cubicBezTo>
                    <a:pt x="-294" y="72318"/>
                    <a:pt x="10214" y="47099"/>
                    <a:pt x="29428" y="28785"/>
                  </a:cubicBezTo>
                  <a:cubicBezTo>
                    <a:pt x="67858" y="-9344"/>
                    <a:pt x="130004" y="-9644"/>
                    <a:pt x="168734" y="28185"/>
                  </a:cubicBezTo>
                  <a:cubicBezTo>
                    <a:pt x="169034" y="28485"/>
                    <a:pt x="169034" y="28485"/>
                    <a:pt x="169334" y="28785"/>
                  </a:cubicBezTo>
                  <a:cubicBezTo>
                    <a:pt x="188248" y="47099"/>
                    <a:pt x="198756" y="72318"/>
                    <a:pt x="198456" y="98438"/>
                  </a:cubicBezTo>
                  <a:lnTo>
                    <a:pt x="198456" y="283377"/>
                  </a:lnTo>
                  <a:cubicBezTo>
                    <a:pt x="198756" y="286380"/>
                    <a:pt x="196355" y="289082"/>
                    <a:pt x="193352" y="289382"/>
                  </a:cubicBezTo>
                  <a:cubicBezTo>
                    <a:pt x="193052" y="289382"/>
                    <a:pt x="192752" y="289382"/>
                    <a:pt x="192452" y="289382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22" name="Forme libre : forme 221">
              <a:extLst>
                <a:ext uri="{FF2B5EF4-FFF2-40B4-BE49-F238E27FC236}">
                  <a16:creationId xmlns:a16="http://schemas.microsoft.com/office/drawing/2014/main" id="{14932DF6-990E-43CA-A33B-4AC8AB12DE70}"/>
                </a:ext>
              </a:extLst>
            </p:cNvPr>
            <p:cNvSpPr/>
            <p:nvPr/>
          </p:nvSpPr>
          <p:spPr>
            <a:xfrm>
              <a:off x="6523803" y="4111091"/>
              <a:ext cx="39029" cy="177134"/>
            </a:xfrm>
            <a:custGeom>
              <a:avLst/>
              <a:gdLst>
                <a:gd name="connsiteX0" fmla="*/ 39930 w 39029"/>
                <a:gd name="connsiteY0" fmla="*/ 37528 h 177133"/>
                <a:gd name="connsiteX1" fmla="*/ 39930 w 39029"/>
                <a:gd name="connsiteY1" fmla="*/ 173231 h 177133"/>
                <a:gd name="connsiteX2" fmla="*/ 34826 w 39029"/>
                <a:gd name="connsiteY2" fmla="*/ 179235 h 177133"/>
                <a:gd name="connsiteX3" fmla="*/ 33625 w 39029"/>
                <a:gd name="connsiteY3" fmla="*/ 179235 h 177133"/>
                <a:gd name="connsiteX4" fmla="*/ 6005 w 39029"/>
                <a:gd name="connsiteY4" fmla="*/ 179235 h 177133"/>
                <a:gd name="connsiteX5" fmla="*/ 0 w 39029"/>
                <a:gd name="connsiteY5" fmla="*/ 174732 h 177133"/>
                <a:gd name="connsiteX6" fmla="*/ 0 w 39029"/>
                <a:gd name="connsiteY6" fmla="*/ 172930 h 177133"/>
                <a:gd name="connsiteX7" fmla="*/ 0 w 39029"/>
                <a:gd name="connsiteY7" fmla="*/ 0 h 177133"/>
                <a:gd name="connsiteX8" fmla="*/ 39930 w 39029"/>
                <a:gd name="connsiteY8" fmla="*/ 37528 h 177133"/>
                <a:gd name="connsiteX9" fmla="*/ 39930 w 39029"/>
                <a:gd name="connsiteY9" fmla="*/ 37528 h 177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029" h="177133">
                  <a:moveTo>
                    <a:pt x="39930" y="37528"/>
                  </a:moveTo>
                  <a:lnTo>
                    <a:pt x="39930" y="173231"/>
                  </a:lnTo>
                  <a:cubicBezTo>
                    <a:pt x="40230" y="176233"/>
                    <a:pt x="38129" y="178935"/>
                    <a:pt x="34826" y="179235"/>
                  </a:cubicBezTo>
                  <a:cubicBezTo>
                    <a:pt x="34526" y="179235"/>
                    <a:pt x="34226" y="179235"/>
                    <a:pt x="33625" y="179235"/>
                  </a:cubicBezTo>
                  <a:lnTo>
                    <a:pt x="6005" y="179235"/>
                  </a:lnTo>
                  <a:cubicBezTo>
                    <a:pt x="3002" y="179836"/>
                    <a:pt x="300" y="177734"/>
                    <a:pt x="0" y="174732"/>
                  </a:cubicBezTo>
                  <a:cubicBezTo>
                    <a:pt x="0" y="174131"/>
                    <a:pt x="0" y="173531"/>
                    <a:pt x="0" y="172930"/>
                  </a:cubicBezTo>
                  <a:lnTo>
                    <a:pt x="0" y="0"/>
                  </a:lnTo>
                  <a:lnTo>
                    <a:pt x="39930" y="37528"/>
                  </a:lnTo>
                  <a:lnTo>
                    <a:pt x="39930" y="37528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23" name="Forme libre : forme 222">
              <a:extLst>
                <a:ext uri="{FF2B5EF4-FFF2-40B4-BE49-F238E27FC236}">
                  <a16:creationId xmlns:a16="http://schemas.microsoft.com/office/drawing/2014/main" id="{6CD20DC9-0C34-4C92-8BE4-482DC8087033}"/>
                </a:ext>
              </a:extLst>
            </p:cNvPr>
            <p:cNvSpPr/>
            <p:nvPr/>
          </p:nvSpPr>
          <p:spPr>
            <a:xfrm>
              <a:off x="6624477" y="4006913"/>
              <a:ext cx="192145" cy="282213"/>
            </a:xfrm>
            <a:custGeom>
              <a:avLst/>
              <a:gdLst>
                <a:gd name="connsiteX0" fmla="*/ 193248 w 192145"/>
                <a:gd name="connsiteY0" fmla="*/ 117989 h 282212"/>
                <a:gd name="connsiteX1" fmla="*/ 135004 w 192145"/>
                <a:gd name="connsiteY1" fmla="*/ 277709 h 282212"/>
                <a:gd name="connsiteX2" fmla="*/ 128699 w 192145"/>
                <a:gd name="connsiteY2" fmla="*/ 282813 h 282212"/>
                <a:gd name="connsiteX3" fmla="*/ 105882 w 192145"/>
                <a:gd name="connsiteY3" fmla="*/ 282813 h 282212"/>
                <a:gd name="connsiteX4" fmla="*/ 99577 w 192145"/>
                <a:gd name="connsiteY4" fmla="*/ 277709 h 282212"/>
                <a:gd name="connsiteX5" fmla="*/ 803 w 192145"/>
                <a:gd name="connsiteY5" fmla="*/ 8406 h 282212"/>
                <a:gd name="connsiteX6" fmla="*/ 6207 w 192145"/>
                <a:gd name="connsiteY6" fmla="*/ 0 h 282212"/>
                <a:gd name="connsiteX7" fmla="*/ 36230 w 192145"/>
                <a:gd name="connsiteY7" fmla="*/ 0 h 282212"/>
                <a:gd name="connsiteX8" fmla="*/ 43435 w 192145"/>
                <a:gd name="connsiteY8" fmla="*/ 5704 h 282212"/>
                <a:gd name="connsiteX9" fmla="*/ 112787 w 192145"/>
                <a:gd name="connsiteY9" fmla="*/ 195447 h 282212"/>
                <a:gd name="connsiteX10" fmla="*/ 116690 w 192145"/>
                <a:gd name="connsiteY10" fmla="*/ 198149 h 282212"/>
                <a:gd name="connsiteX11" fmla="*/ 121194 w 192145"/>
                <a:gd name="connsiteY11" fmla="*/ 195447 h 282212"/>
                <a:gd name="connsiteX12" fmla="*/ 167128 w 192145"/>
                <a:gd name="connsiteY12" fmla="*/ 69953 h 282212"/>
                <a:gd name="connsiteX13" fmla="*/ 193248 w 192145"/>
                <a:gd name="connsiteY13" fmla="*/ 117989 h 282212"/>
                <a:gd name="connsiteX14" fmla="*/ 193248 w 192145"/>
                <a:gd name="connsiteY14" fmla="*/ 117989 h 282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2145" h="282212">
                  <a:moveTo>
                    <a:pt x="193248" y="117989"/>
                  </a:moveTo>
                  <a:lnTo>
                    <a:pt x="135004" y="277709"/>
                  </a:lnTo>
                  <a:cubicBezTo>
                    <a:pt x="134404" y="280712"/>
                    <a:pt x="131702" y="282813"/>
                    <a:pt x="128699" y="282813"/>
                  </a:cubicBezTo>
                  <a:lnTo>
                    <a:pt x="105882" y="282813"/>
                  </a:lnTo>
                  <a:cubicBezTo>
                    <a:pt x="102580" y="282813"/>
                    <a:pt x="100778" y="281012"/>
                    <a:pt x="99577" y="277709"/>
                  </a:cubicBezTo>
                  <a:lnTo>
                    <a:pt x="803" y="8406"/>
                  </a:lnTo>
                  <a:cubicBezTo>
                    <a:pt x="-1299" y="3002"/>
                    <a:pt x="803" y="0"/>
                    <a:pt x="6207" y="0"/>
                  </a:cubicBezTo>
                  <a:lnTo>
                    <a:pt x="36230" y="0"/>
                  </a:lnTo>
                  <a:cubicBezTo>
                    <a:pt x="39832" y="0"/>
                    <a:pt x="42835" y="2402"/>
                    <a:pt x="43435" y="5704"/>
                  </a:cubicBezTo>
                  <a:lnTo>
                    <a:pt x="112787" y="195447"/>
                  </a:lnTo>
                  <a:cubicBezTo>
                    <a:pt x="113088" y="197249"/>
                    <a:pt x="114889" y="198450"/>
                    <a:pt x="116690" y="198149"/>
                  </a:cubicBezTo>
                  <a:cubicBezTo>
                    <a:pt x="118792" y="198450"/>
                    <a:pt x="120593" y="197249"/>
                    <a:pt x="121194" y="195447"/>
                  </a:cubicBezTo>
                  <a:lnTo>
                    <a:pt x="167128" y="69953"/>
                  </a:lnTo>
                  <a:lnTo>
                    <a:pt x="193248" y="117989"/>
                  </a:lnTo>
                  <a:lnTo>
                    <a:pt x="193248" y="117989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24" name="Forme libre : forme 223">
              <a:extLst>
                <a:ext uri="{FF2B5EF4-FFF2-40B4-BE49-F238E27FC236}">
                  <a16:creationId xmlns:a16="http://schemas.microsoft.com/office/drawing/2014/main" id="{94C7CC29-813D-4EE1-848B-FE490AB95F14}"/>
                </a:ext>
              </a:extLst>
            </p:cNvPr>
            <p:cNvSpPr/>
            <p:nvPr/>
          </p:nvSpPr>
          <p:spPr>
            <a:xfrm>
              <a:off x="6902066" y="3999101"/>
              <a:ext cx="201152" cy="297224"/>
            </a:xfrm>
            <a:custGeom>
              <a:avLst/>
              <a:gdLst>
                <a:gd name="connsiteX0" fmla="*/ 197872 w 201151"/>
                <a:gd name="connsiteY0" fmla="*/ 166632 h 297224"/>
                <a:gd name="connsiteX1" fmla="*/ 47158 w 201151"/>
                <a:gd name="connsiteY1" fmla="*/ 166632 h 297224"/>
                <a:gd name="connsiteX2" fmla="*/ 40853 w 201151"/>
                <a:gd name="connsiteY2" fmla="*/ 171736 h 297224"/>
                <a:gd name="connsiteX3" fmla="*/ 40853 w 201151"/>
                <a:gd name="connsiteY3" fmla="*/ 172937 h 297224"/>
                <a:gd name="connsiteX4" fmla="*/ 40853 w 201151"/>
                <a:gd name="connsiteY4" fmla="*/ 190049 h 297224"/>
                <a:gd name="connsiteX5" fmla="*/ 60368 w 201151"/>
                <a:gd name="connsiteY5" fmla="*/ 237185 h 297224"/>
                <a:gd name="connsiteX6" fmla="*/ 106903 w 201151"/>
                <a:gd name="connsiteY6" fmla="*/ 257000 h 297224"/>
                <a:gd name="connsiteX7" fmla="*/ 170251 w 201151"/>
                <a:gd name="connsiteY7" fmla="*/ 237185 h 297224"/>
                <a:gd name="connsiteX8" fmla="*/ 177156 w 201151"/>
                <a:gd name="connsiteY8" fmla="*/ 237185 h 297224"/>
                <a:gd name="connsiteX9" fmla="*/ 178057 w 201151"/>
                <a:gd name="connsiteY9" fmla="*/ 238386 h 297224"/>
                <a:gd name="connsiteX10" fmla="*/ 194570 w 201151"/>
                <a:gd name="connsiteY10" fmla="*/ 262404 h 297224"/>
                <a:gd name="connsiteX11" fmla="*/ 194269 w 201151"/>
                <a:gd name="connsiteY11" fmla="*/ 269609 h 297224"/>
                <a:gd name="connsiteX12" fmla="*/ 193068 w 201151"/>
                <a:gd name="connsiteY12" fmla="*/ 270510 h 297224"/>
                <a:gd name="connsiteX13" fmla="*/ 107204 w 201151"/>
                <a:gd name="connsiteY13" fmla="*/ 298131 h 297224"/>
                <a:gd name="connsiteX14" fmla="*/ 31546 w 201151"/>
                <a:gd name="connsiteY14" fmla="*/ 266607 h 297224"/>
                <a:gd name="connsiteX15" fmla="*/ 23 w 201151"/>
                <a:gd name="connsiteY15" fmla="*/ 190950 h 297224"/>
                <a:gd name="connsiteX16" fmla="*/ 23 w 201151"/>
                <a:gd name="connsiteY16" fmla="*/ 101483 h 297224"/>
                <a:gd name="connsiteX17" fmla="*/ 101499 w 201151"/>
                <a:gd name="connsiteY17" fmla="*/ 6 h 297224"/>
                <a:gd name="connsiteX18" fmla="*/ 173554 w 201151"/>
                <a:gd name="connsiteY18" fmla="*/ 30029 h 297224"/>
                <a:gd name="connsiteX19" fmla="*/ 202976 w 201151"/>
                <a:gd name="connsiteY19" fmla="*/ 101483 h 297224"/>
                <a:gd name="connsiteX20" fmla="*/ 202976 w 201151"/>
                <a:gd name="connsiteY20" fmla="*/ 160627 h 297224"/>
                <a:gd name="connsiteX21" fmla="*/ 197272 w 201151"/>
                <a:gd name="connsiteY21" fmla="*/ 166632 h 297224"/>
                <a:gd name="connsiteX22" fmla="*/ 162445 w 201151"/>
                <a:gd name="connsiteY22" fmla="*/ 101783 h 297224"/>
                <a:gd name="connsiteX23" fmla="*/ 102400 w 201151"/>
                <a:gd name="connsiteY23" fmla="*/ 40837 h 297224"/>
                <a:gd name="connsiteX24" fmla="*/ 101499 w 201151"/>
                <a:gd name="connsiteY24" fmla="*/ 40837 h 297224"/>
                <a:gd name="connsiteX25" fmla="*/ 58867 w 201151"/>
                <a:gd name="connsiteY25" fmla="*/ 58550 h 297224"/>
                <a:gd name="connsiteX26" fmla="*/ 41454 w 201151"/>
                <a:gd name="connsiteY26" fmla="*/ 101483 h 297224"/>
                <a:gd name="connsiteX27" fmla="*/ 41454 w 201151"/>
                <a:gd name="connsiteY27" fmla="*/ 120397 h 297224"/>
                <a:gd name="connsiteX28" fmla="*/ 46558 w 201151"/>
                <a:gd name="connsiteY28" fmla="*/ 126401 h 297224"/>
                <a:gd name="connsiteX29" fmla="*/ 47759 w 201151"/>
                <a:gd name="connsiteY29" fmla="*/ 126401 h 297224"/>
                <a:gd name="connsiteX30" fmla="*/ 157942 w 201151"/>
                <a:gd name="connsiteY30" fmla="*/ 126401 h 297224"/>
                <a:gd name="connsiteX31" fmla="*/ 163346 w 201151"/>
                <a:gd name="connsiteY31" fmla="*/ 120397 h 297224"/>
                <a:gd name="connsiteX32" fmla="*/ 162445 w 201151"/>
                <a:gd name="connsiteY32" fmla="*/ 101783 h 297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1151" h="297224">
                  <a:moveTo>
                    <a:pt x="197872" y="166632"/>
                  </a:moveTo>
                  <a:lnTo>
                    <a:pt x="47158" y="166632"/>
                  </a:lnTo>
                  <a:cubicBezTo>
                    <a:pt x="44156" y="166332"/>
                    <a:pt x="41154" y="168433"/>
                    <a:pt x="40853" y="171736"/>
                  </a:cubicBezTo>
                  <a:cubicBezTo>
                    <a:pt x="40853" y="172036"/>
                    <a:pt x="40853" y="172336"/>
                    <a:pt x="40853" y="172937"/>
                  </a:cubicBezTo>
                  <a:lnTo>
                    <a:pt x="40853" y="190049"/>
                  </a:lnTo>
                  <a:cubicBezTo>
                    <a:pt x="40553" y="207763"/>
                    <a:pt x="47458" y="224876"/>
                    <a:pt x="60368" y="237185"/>
                  </a:cubicBezTo>
                  <a:cubicBezTo>
                    <a:pt x="72377" y="249794"/>
                    <a:pt x="89490" y="257000"/>
                    <a:pt x="106903" y="257000"/>
                  </a:cubicBezTo>
                  <a:cubicBezTo>
                    <a:pt x="129420" y="257300"/>
                    <a:pt x="151637" y="250095"/>
                    <a:pt x="170251" y="237185"/>
                  </a:cubicBezTo>
                  <a:cubicBezTo>
                    <a:pt x="172053" y="235384"/>
                    <a:pt x="175055" y="235384"/>
                    <a:pt x="177156" y="237185"/>
                  </a:cubicBezTo>
                  <a:cubicBezTo>
                    <a:pt x="177457" y="237485"/>
                    <a:pt x="177757" y="237785"/>
                    <a:pt x="178057" y="238386"/>
                  </a:cubicBezTo>
                  <a:lnTo>
                    <a:pt x="194570" y="262404"/>
                  </a:lnTo>
                  <a:cubicBezTo>
                    <a:pt x="196671" y="264506"/>
                    <a:pt x="196371" y="267808"/>
                    <a:pt x="194269" y="269609"/>
                  </a:cubicBezTo>
                  <a:cubicBezTo>
                    <a:pt x="193969" y="269910"/>
                    <a:pt x="193369" y="270210"/>
                    <a:pt x="193068" y="270510"/>
                  </a:cubicBezTo>
                  <a:cubicBezTo>
                    <a:pt x="168150" y="288824"/>
                    <a:pt x="138127" y="298431"/>
                    <a:pt x="107204" y="298131"/>
                  </a:cubicBezTo>
                  <a:cubicBezTo>
                    <a:pt x="78682" y="298431"/>
                    <a:pt x="51361" y="287023"/>
                    <a:pt x="31546" y="266607"/>
                  </a:cubicBezTo>
                  <a:cubicBezTo>
                    <a:pt x="10831" y="246792"/>
                    <a:pt x="-578" y="219171"/>
                    <a:pt x="23" y="190950"/>
                  </a:cubicBezTo>
                  <a:lnTo>
                    <a:pt x="23" y="101483"/>
                  </a:lnTo>
                  <a:cubicBezTo>
                    <a:pt x="-278" y="45641"/>
                    <a:pt x="45357" y="306"/>
                    <a:pt x="101499" y="6"/>
                  </a:cubicBezTo>
                  <a:cubicBezTo>
                    <a:pt x="128820" y="-294"/>
                    <a:pt x="154940" y="10514"/>
                    <a:pt x="173554" y="30029"/>
                  </a:cubicBezTo>
                  <a:cubicBezTo>
                    <a:pt x="193068" y="48643"/>
                    <a:pt x="203576" y="74462"/>
                    <a:pt x="202976" y="101483"/>
                  </a:cubicBezTo>
                  <a:lnTo>
                    <a:pt x="202976" y="160627"/>
                  </a:lnTo>
                  <a:cubicBezTo>
                    <a:pt x="202976" y="164530"/>
                    <a:pt x="201175" y="166632"/>
                    <a:pt x="197272" y="166632"/>
                  </a:cubicBezTo>
                  <a:moveTo>
                    <a:pt x="162445" y="101783"/>
                  </a:moveTo>
                  <a:cubicBezTo>
                    <a:pt x="162746" y="68458"/>
                    <a:pt x="135725" y="41137"/>
                    <a:pt x="102400" y="40837"/>
                  </a:cubicBezTo>
                  <a:cubicBezTo>
                    <a:pt x="102100" y="40837"/>
                    <a:pt x="101799" y="40837"/>
                    <a:pt x="101499" y="40837"/>
                  </a:cubicBezTo>
                  <a:cubicBezTo>
                    <a:pt x="85287" y="40537"/>
                    <a:pt x="69975" y="46841"/>
                    <a:pt x="58867" y="58550"/>
                  </a:cubicBezTo>
                  <a:cubicBezTo>
                    <a:pt x="47458" y="69959"/>
                    <a:pt x="41154" y="85270"/>
                    <a:pt x="41454" y="101483"/>
                  </a:cubicBezTo>
                  <a:lnTo>
                    <a:pt x="41454" y="120397"/>
                  </a:lnTo>
                  <a:cubicBezTo>
                    <a:pt x="41154" y="123399"/>
                    <a:pt x="43555" y="126101"/>
                    <a:pt x="46558" y="126401"/>
                  </a:cubicBezTo>
                  <a:cubicBezTo>
                    <a:pt x="46858" y="126401"/>
                    <a:pt x="47158" y="126401"/>
                    <a:pt x="47759" y="126401"/>
                  </a:cubicBezTo>
                  <a:lnTo>
                    <a:pt x="157942" y="126401"/>
                  </a:lnTo>
                  <a:cubicBezTo>
                    <a:pt x="161845" y="126401"/>
                    <a:pt x="163346" y="124300"/>
                    <a:pt x="163346" y="120397"/>
                  </a:cubicBezTo>
                  <a:lnTo>
                    <a:pt x="162445" y="101783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25" name="Forme libre : forme 224">
              <a:extLst>
                <a:ext uri="{FF2B5EF4-FFF2-40B4-BE49-F238E27FC236}">
                  <a16:creationId xmlns:a16="http://schemas.microsoft.com/office/drawing/2014/main" id="{356AA647-C707-493E-97F9-A4C75EC09045}"/>
                </a:ext>
              </a:extLst>
            </p:cNvPr>
            <p:cNvSpPr/>
            <p:nvPr/>
          </p:nvSpPr>
          <p:spPr>
            <a:xfrm>
              <a:off x="7168089" y="4142015"/>
              <a:ext cx="39029" cy="147111"/>
            </a:xfrm>
            <a:custGeom>
              <a:avLst/>
              <a:gdLst>
                <a:gd name="connsiteX0" fmla="*/ 39630 w 39029"/>
                <a:gd name="connsiteY0" fmla="*/ 0 h 147110"/>
                <a:gd name="connsiteX1" fmla="*/ 39630 w 39029"/>
                <a:gd name="connsiteY1" fmla="*/ 143808 h 147110"/>
                <a:gd name="connsiteX2" fmla="*/ 34826 w 39029"/>
                <a:gd name="connsiteY2" fmla="*/ 149813 h 147110"/>
                <a:gd name="connsiteX3" fmla="*/ 33625 w 39029"/>
                <a:gd name="connsiteY3" fmla="*/ 149813 h 147110"/>
                <a:gd name="connsiteX4" fmla="*/ 6005 w 39029"/>
                <a:gd name="connsiteY4" fmla="*/ 149813 h 147110"/>
                <a:gd name="connsiteX5" fmla="*/ 0 w 39029"/>
                <a:gd name="connsiteY5" fmla="*/ 144709 h 147110"/>
                <a:gd name="connsiteX6" fmla="*/ 0 w 39029"/>
                <a:gd name="connsiteY6" fmla="*/ 143508 h 147110"/>
                <a:gd name="connsiteX7" fmla="*/ 0 w 39029"/>
                <a:gd name="connsiteY7" fmla="*/ 26720 h 147110"/>
                <a:gd name="connsiteX8" fmla="*/ 39630 w 39029"/>
                <a:gd name="connsiteY8" fmla="*/ 0 h 147110"/>
                <a:gd name="connsiteX9" fmla="*/ 39630 w 39029"/>
                <a:gd name="connsiteY9" fmla="*/ 0 h 147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029" h="147110">
                  <a:moveTo>
                    <a:pt x="39630" y="0"/>
                  </a:moveTo>
                  <a:lnTo>
                    <a:pt x="39630" y="143808"/>
                  </a:lnTo>
                  <a:cubicBezTo>
                    <a:pt x="39930" y="146811"/>
                    <a:pt x="37829" y="149513"/>
                    <a:pt x="34826" y="149813"/>
                  </a:cubicBezTo>
                  <a:cubicBezTo>
                    <a:pt x="34526" y="149813"/>
                    <a:pt x="33926" y="149813"/>
                    <a:pt x="33625" y="149813"/>
                  </a:cubicBezTo>
                  <a:lnTo>
                    <a:pt x="6005" y="149813"/>
                  </a:lnTo>
                  <a:cubicBezTo>
                    <a:pt x="3002" y="150113"/>
                    <a:pt x="300" y="148012"/>
                    <a:pt x="0" y="144709"/>
                  </a:cubicBezTo>
                  <a:cubicBezTo>
                    <a:pt x="0" y="144409"/>
                    <a:pt x="0" y="144109"/>
                    <a:pt x="0" y="143508"/>
                  </a:cubicBezTo>
                  <a:lnTo>
                    <a:pt x="0" y="26720"/>
                  </a:lnTo>
                  <a:lnTo>
                    <a:pt x="39630" y="0"/>
                  </a:lnTo>
                  <a:lnTo>
                    <a:pt x="39630" y="0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26" name="Forme libre : forme 225">
              <a:extLst>
                <a:ext uri="{FF2B5EF4-FFF2-40B4-BE49-F238E27FC236}">
                  <a16:creationId xmlns:a16="http://schemas.microsoft.com/office/drawing/2014/main" id="{64C7EBFB-4BF0-4855-A0C0-E1B5F1B9A32D}"/>
                </a:ext>
              </a:extLst>
            </p:cNvPr>
            <p:cNvSpPr/>
            <p:nvPr/>
          </p:nvSpPr>
          <p:spPr>
            <a:xfrm>
              <a:off x="7592289" y="3898809"/>
              <a:ext cx="51039" cy="390294"/>
            </a:xfrm>
            <a:custGeom>
              <a:avLst/>
              <a:gdLst>
                <a:gd name="connsiteX0" fmla="*/ 44454 w 51038"/>
                <a:gd name="connsiteY0" fmla="*/ 46558 h 390294"/>
                <a:gd name="connsiteX1" fmla="*/ 25840 w 51038"/>
                <a:gd name="connsiteY1" fmla="*/ 54964 h 390294"/>
                <a:gd name="connsiteX2" fmla="*/ 7827 w 51038"/>
                <a:gd name="connsiteY2" fmla="*/ 46558 h 390294"/>
                <a:gd name="connsiteX3" fmla="*/ 21 w 51038"/>
                <a:gd name="connsiteY3" fmla="*/ 27343 h 390294"/>
                <a:gd name="connsiteX4" fmla="*/ 7827 w 51038"/>
                <a:gd name="connsiteY4" fmla="*/ 7828 h 390294"/>
                <a:gd name="connsiteX5" fmla="*/ 25840 w 51038"/>
                <a:gd name="connsiteY5" fmla="*/ 23 h 390294"/>
                <a:gd name="connsiteX6" fmla="*/ 44454 w 51038"/>
                <a:gd name="connsiteY6" fmla="*/ 7828 h 390294"/>
                <a:gd name="connsiteX7" fmla="*/ 52560 w 51038"/>
                <a:gd name="connsiteY7" fmla="*/ 27343 h 390294"/>
                <a:gd name="connsiteX8" fmla="*/ 44454 w 51038"/>
                <a:gd name="connsiteY8" fmla="*/ 46558 h 390294"/>
                <a:gd name="connsiteX9" fmla="*/ 39651 w 51038"/>
                <a:gd name="connsiteY9" fmla="*/ 392719 h 390294"/>
                <a:gd name="connsiteX10" fmla="*/ 12630 w 51038"/>
                <a:gd name="connsiteY10" fmla="*/ 392719 h 390294"/>
                <a:gd name="connsiteX11" fmla="*/ 6926 w 51038"/>
                <a:gd name="connsiteY11" fmla="*/ 386714 h 390294"/>
                <a:gd name="connsiteX12" fmla="*/ 6926 w 51038"/>
                <a:gd name="connsiteY12" fmla="*/ 112307 h 390294"/>
                <a:gd name="connsiteX13" fmla="*/ 12630 w 51038"/>
                <a:gd name="connsiteY13" fmla="*/ 106603 h 390294"/>
                <a:gd name="connsiteX14" fmla="*/ 39651 w 51038"/>
                <a:gd name="connsiteY14" fmla="*/ 106603 h 390294"/>
                <a:gd name="connsiteX15" fmla="*/ 45655 w 51038"/>
                <a:gd name="connsiteY15" fmla="*/ 112307 h 390294"/>
                <a:gd name="connsiteX16" fmla="*/ 45655 w 51038"/>
                <a:gd name="connsiteY16" fmla="*/ 386414 h 390294"/>
                <a:gd name="connsiteX17" fmla="*/ 40852 w 51038"/>
                <a:gd name="connsiteY17" fmla="*/ 392418 h 390294"/>
                <a:gd name="connsiteX18" fmla="*/ 39651 w 51038"/>
                <a:gd name="connsiteY18" fmla="*/ 392719 h 390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1038" h="390294">
                  <a:moveTo>
                    <a:pt x="44454" y="46558"/>
                  </a:moveTo>
                  <a:cubicBezTo>
                    <a:pt x="39651" y="51962"/>
                    <a:pt x="33046" y="55264"/>
                    <a:pt x="25840" y="54964"/>
                  </a:cubicBezTo>
                  <a:cubicBezTo>
                    <a:pt x="18935" y="54964"/>
                    <a:pt x="12330" y="51962"/>
                    <a:pt x="7827" y="46558"/>
                  </a:cubicBezTo>
                  <a:cubicBezTo>
                    <a:pt x="2723" y="41754"/>
                    <a:pt x="-280" y="34849"/>
                    <a:pt x="21" y="27343"/>
                  </a:cubicBezTo>
                  <a:cubicBezTo>
                    <a:pt x="-280" y="19837"/>
                    <a:pt x="2723" y="12632"/>
                    <a:pt x="7827" y="7828"/>
                  </a:cubicBezTo>
                  <a:cubicBezTo>
                    <a:pt x="12330" y="2424"/>
                    <a:pt x="18935" y="-278"/>
                    <a:pt x="25840" y="23"/>
                  </a:cubicBezTo>
                  <a:cubicBezTo>
                    <a:pt x="32745" y="-278"/>
                    <a:pt x="39651" y="2424"/>
                    <a:pt x="44454" y="7828"/>
                  </a:cubicBezTo>
                  <a:cubicBezTo>
                    <a:pt x="49858" y="12932"/>
                    <a:pt x="52560" y="20138"/>
                    <a:pt x="52560" y="27343"/>
                  </a:cubicBezTo>
                  <a:cubicBezTo>
                    <a:pt x="52260" y="34849"/>
                    <a:pt x="49558" y="41754"/>
                    <a:pt x="44454" y="46558"/>
                  </a:cubicBezTo>
                  <a:moveTo>
                    <a:pt x="39651" y="392719"/>
                  </a:moveTo>
                  <a:lnTo>
                    <a:pt x="12630" y="392719"/>
                  </a:lnTo>
                  <a:cubicBezTo>
                    <a:pt x="8427" y="392719"/>
                    <a:pt x="6926" y="390617"/>
                    <a:pt x="6926" y="386714"/>
                  </a:cubicBezTo>
                  <a:lnTo>
                    <a:pt x="6926" y="112307"/>
                  </a:lnTo>
                  <a:cubicBezTo>
                    <a:pt x="6926" y="108404"/>
                    <a:pt x="8427" y="106603"/>
                    <a:pt x="12630" y="106603"/>
                  </a:cubicBezTo>
                  <a:lnTo>
                    <a:pt x="39651" y="106603"/>
                  </a:lnTo>
                  <a:cubicBezTo>
                    <a:pt x="43553" y="106603"/>
                    <a:pt x="45655" y="108404"/>
                    <a:pt x="45655" y="112307"/>
                  </a:cubicBezTo>
                  <a:lnTo>
                    <a:pt x="45655" y="386414"/>
                  </a:lnTo>
                  <a:cubicBezTo>
                    <a:pt x="45955" y="389416"/>
                    <a:pt x="43854" y="392118"/>
                    <a:pt x="40852" y="392418"/>
                  </a:cubicBezTo>
                  <a:cubicBezTo>
                    <a:pt x="40551" y="392719"/>
                    <a:pt x="39951" y="392719"/>
                    <a:pt x="39651" y="392719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27" name="Forme libre : forme 226">
              <a:extLst>
                <a:ext uri="{FF2B5EF4-FFF2-40B4-BE49-F238E27FC236}">
                  <a16:creationId xmlns:a16="http://schemas.microsoft.com/office/drawing/2014/main" id="{95681AFE-72CC-41F5-82EB-2958FCBCC1CB}"/>
                </a:ext>
              </a:extLst>
            </p:cNvPr>
            <p:cNvSpPr/>
            <p:nvPr/>
          </p:nvSpPr>
          <p:spPr>
            <a:xfrm>
              <a:off x="7927941" y="3999084"/>
              <a:ext cx="201152" cy="297224"/>
            </a:xfrm>
            <a:custGeom>
              <a:avLst/>
              <a:gdLst>
                <a:gd name="connsiteX0" fmla="*/ 197872 w 201151"/>
                <a:gd name="connsiteY0" fmla="*/ 166649 h 297224"/>
                <a:gd name="connsiteX1" fmla="*/ 46858 w 201151"/>
                <a:gd name="connsiteY1" fmla="*/ 166649 h 297224"/>
                <a:gd name="connsiteX2" fmla="*/ 40854 w 201151"/>
                <a:gd name="connsiteY2" fmla="*/ 171452 h 297224"/>
                <a:gd name="connsiteX3" fmla="*/ 40854 w 201151"/>
                <a:gd name="connsiteY3" fmla="*/ 172653 h 297224"/>
                <a:gd name="connsiteX4" fmla="*/ 40854 w 201151"/>
                <a:gd name="connsiteY4" fmla="*/ 189766 h 297224"/>
                <a:gd name="connsiteX5" fmla="*/ 60368 w 201151"/>
                <a:gd name="connsiteY5" fmla="*/ 236902 h 297224"/>
                <a:gd name="connsiteX6" fmla="*/ 107504 w 201151"/>
                <a:gd name="connsiteY6" fmla="*/ 256717 h 297224"/>
                <a:gd name="connsiteX7" fmla="*/ 170852 w 201151"/>
                <a:gd name="connsiteY7" fmla="*/ 236902 h 297224"/>
                <a:gd name="connsiteX8" fmla="*/ 177757 w 201151"/>
                <a:gd name="connsiteY8" fmla="*/ 236902 h 297224"/>
                <a:gd name="connsiteX9" fmla="*/ 178357 w 201151"/>
                <a:gd name="connsiteY9" fmla="*/ 237802 h 297224"/>
                <a:gd name="connsiteX10" fmla="*/ 194870 w 201151"/>
                <a:gd name="connsiteY10" fmla="*/ 261821 h 297224"/>
                <a:gd name="connsiteX11" fmla="*/ 194570 w 201151"/>
                <a:gd name="connsiteY11" fmla="*/ 269026 h 297224"/>
                <a:gd name="connsiteX12" fmla="*/ 193369 w 201151"/>
                <a:gd name="connsiteY12" fmla="*/ 269927 h 297224"/>
                <a:gd name="connsiteX13" fmla="*/ 107504 w 201151"/>
                <a:gd name="connsiteY13" fmla="*/ 297247 h 297224"/>
                <a:gd name="connsiteX14" fmla="*/ 31546 w 201151"/>
                <a:gd name="connsiteY14" fmla="*/ 265724 h 297224"/>
                <a:gd name="connsiteX15" fmla="*/ 23 w 201151"/>
                <a:gd name="connsiteY15" fmla="*/ 190066 h 297224"/>
                <a:gd name="connsiteX16" fmla="*/ 23 w 201151"/>
                <a:gd name="connsiteY16" fmla="*/ 101199 h 297224"/>
                <a:gd name="connsiteX17" fmla="*/ 101499 w 201151"/>
                <a:gd name="connsiteY17" fmla="*/ 23 h 297224"/>
                <a:gd name="connsiteX18" fmla="*/ 101499 w 201151"/>
                <a:gd name="connsiteY18" fmla="*/ 23 h 297224"/>
                <a:gd name="connsiteX19" fmla="*/ 173554 w 201151"/>
                <a:gd name="connsiteY19" fmla="*/ 29746 h 297224"/>
                <a:gd name="connsiteX20" fmla="*/ 202976 w 201151"/>
                <a:gd name="connsiteY20" fmla="*/ 101199 h 297224"/>
                <a:gd name="connsiteX21" fmla="*/ 202976 w 201151"/>
                <a:gd name="connsiteY21" fmla="*/ 160344 h 297224"/>
                <a:gd name="connsiteX22" fmla="*/ 197272 w 201151"/>
                <a:gd name="connsiteY22" fmla="*/ 166349 h 297224"/>
                <a:gd name="connsiteX23" fmla="*/ 162445 w 201151"/>
                <a:gd name="connsiteY23" fmla="*/ 101800 h 297224"/>
                <a:gd name="connsiteX24" fmla="*/ 144732 w 201151"/>
                <a:gd name="connsiteY24" fmla="*/ 58567 h 297224"/>
                <a:gd name="connsiteX25" fmla="*/ 101499 w 201151"/>
                <a:gd name="connsiteY25" fmla="*/ 40854 h 297224"/>
                <a:gd name="connsiteX26" fmla="*/ 58867 w 201151"/>
                <a:gd name="connsiteY26" fmla="*/ 58567 h 297224"/>
                <a:gd name="connsiteX27" fmla="*/ 40553 w 201151"/>
                <a:gd name="connsiteY27" fmla="*/ 101800 h 297224"/>
                <a:gd name="connsiteX28" fmla="*/ 40553 w 201151"/>
                <a:gd name="connsiteY28" fmla="*/ 120714 h 297224"/>
                <a:gd name="connsiteX29" fmla="*/ 45357 w 201151"/>
                <a:gd name="connsiteY29" fmla="*/ 126719 h 297224"/>
                <a:gd name="connsiteX30" fmla="*/ 46558 w 201151"/>
                <a:gd name="connsiteY30" fmla="*/ 126719 h 297224"/>
                <a:gd name="connsiteX31" fmla="*/ 157041 w 201151"/>
                <a:gd name="connsiteY31" fmla="*/ 126719 h 297224"/>
                <a:gd name="connsiteX32" fmla="*/ 162746 w 201151"/>
                <a:gd name="connsiteY32" fmla="*/ 120714 h 297224"/>
                <a:gd name="connsiteX33" fmla="*/ 162746 w 201151"/>
                <a:gd name="connsiteY33" fmla="*/ 101800 h 297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01151" h="297224">
                  <a:moveTo>
                    <a:pt x="197872" y="166649"/>
                  </a:moveTo>
                  <a:lnTo>
                    <a:pt x="46858" y="166649"/>
                  </a:lnTo>
                  <a:cubicBezTo>
                    <a:pt x="43856" y="166349"/>
                    <a:pt x="41154" y="168450"/>
                    <a:pt x="40854" y="171452"/>
                  </a:cubicBezTo>
                  <a:cubicBezTo>
                    <a:pt x="40854" y="171753"/>
                    <a:pt x="40854" y="172353"/>
                    <a:pt x="40854" y="172653"/>
                  </a:cubicBezTo>
                  <a:lnTo>
                    <a:pt x="40854" y="189766"/>
                  </a:lnTo>
                  <a:cubicBezTo>
                    <a:pt x="40553" y="207480"/>
                    <a:pt x="47459" y="224593"/>
                    <a:pt x="60368" y="236902"/>
                  </a:cubicBezTo>
                  <a:cubicBezTo>
                    <a:pt x="72677" y="249812"/>
                    <a:pt x="89790" y="257017"/>
                    <a:pt x="107504" y="256717"/>
                  </a:cubicBezTo>
                  <a:cubicBezTo>
                    <a:pt x="130021" y="257017"/>
                    <a:pt x="152238" y="249812"/>
                    <a:pt x="170852" y="236902"/>
                  </a:cubicBezTo>
                  <a:cubicBezTo>
                    <a:pt x="172953" y="235100"/>
                    <a:pt x="175956" y="235100"/>
                    <a:pt x="177757" y="236902"/>
                  </a:cubicBezTo>
                  <a:cubicBezTo>
                    <a:pt x="178057" y="237202"/>
                    <a:pt x="178357" y="237502"/>
                    <a:pt x="178357" y="237802"/>
                  </a:cubicBezTo>
                  <a:lnTo>
                    <a:pt x="194870" y="261821"/>
                  </a:lnTo>
                  <a:cubicBezTo>
                    <a:pt x="196671" y="263922"/>
                    <a:pt x="196671" y="267225"/>
                    <a:pt x="194570" y="269026"/>
                  </a:cubicBezTo>
                  <a:cubicBezTo>
                    <a:pt x="194269" y="269326"/>
                    <a:pt x="193669" y="269626"/>
                    <a:pt x="193369" y="269927"/>
                  </a:cubicBezTo>
                  <a:cubicBezTo>
                    <a:pt x="168450" y="288241"/>
                    <a:pt x="138427" y="297548"/>
                    <a:pt x="107504" y="297247"/>
                  </a:cubicBezTo>
                  <a:cubicBezTo>
                    <a:pt x="78682" y="297848"/>
                    <a:pt x="51061" y="286139"/>
                    <a:pt x="31546" y="265724"/>
                  </a:cubicBezTo>
                  <a:cubicBezTo>
                    <a:pt x="10831" y="245909"/>
                    <a:pt x="-578" y="218288"/>
                    <a:pt x="23" y="190066"/>
                  </a:cubicBezTo>
                  <a:lnTo>
                    <a:pt x="23" y="101199"/>
                  </a:lnTo>
                  <a:cubicBezTo>
                    <a:pt x="-278" y="45357"/>
                    <a:pt x="45357" y="323"/>
                    <a:pt x="101499" y="23"/>
                  </a:cubicBezTo>
                  <a:lnTo>
                    <a:pt x="101499" y="23"/>
                  </a:lnTo>
                  <a:cubicBezTo>
                    <a:pt x="128820" y="-577"/>
                    <a:pt x="154940" y="10531"/>
                    <a:pt x="173554" y="29746"/>
                  </a:cubicBezTo>
                  <a:cubicBezTo>
                    <a:pt x="193069" y="48360"/>
                    <a:pt x="203576" y="74179"/>
                    <a:pt x="202976" y="101199"/>
                  </a:cubicBezTo>
                  <a:lnTo>
                    <a:pt x="202976" y="160344"/>
                  </a:lnTo>
                  <a:cubicBezTo>
                    <a:pt x="202976" y="164247"/>
                    <a:pt x="201175" y="166349"/>
                    <a:pt x="197272" y="166349"/>
                  </a:cubicBezTo>
                  <a:moveTo>
                    <a:pt x="162445" y="101800"/>
                  </a:moveTo>
                  <a:cubicBezTo>
                    <a:pt x="162746" y="85588"/>
                    <a:pt x="156441" y="69976"/>
                    <a:pt x="144732" y="58567"/>
                  </a:cubicBezTo>
                  <a:cubicBezTo>
                    <a:pt x="133323" y="46858"/>
                    <a:pt x="117711" y="40554"/>
                    <a:pt x="101499" y="40854"/>
                  </a:cubicBezTo>
                  <a:cubicBezTo>
                    <a:pt x="85287" y="40554"/>
                    <a:pt x="69976" y="46858"/>
                    <a:pt x="58867" y="58567"/>
                  </a:cubicBezTo>
                  <a:cubicBezTo>
                    <a:pt x="46858" y="69976"/>
                    <a:pt x="40253" y="85588"/>
                    <a:pt x="40553" y="101800"/>
                  </a:cubicBezTo>
                  <a:lnTo>
                    <a:pt x="40553" y="120714"/>
                  </a:lnTo>
                  <a:cubicBezTo>
                    <a:pt x="40253" y="123716"/>
                    <a:pt x="42355" y="126418"/>
                    <a:pt x="45357" y="126719"/>
                  </a:cubicBezTo>
                  <a:cubicBezTo>
                    <a:pt x="45657" y="126719"/>
                    <a:pt x="46258" y="126719"/>
                    <a:pt x="46558" y="126719"/>
                  </a:cubicBezTo>
                  <a:lnTo>
                    <a:pt x="157041" y="126719"/>
                  </a:lnTo>
                  <a:cubicBezTo>
                    <a:pt x="160944" y="126719"/>
                    <a:pt x="162746" y="124617"/>
                    <a:pt x="162746" y="120714"/>
                  </a:cubicBezTo>
                  <a:lnTo>
                    <a:pt x="162746" y="101800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28" name="Forme libre : forme 227">
              <a:extLst>
                <a:ext uri="{FF2B5EF4-FFF2-40B4-BE49-F238E27FC236}">
                  <a16:creationId xmlns:a16="http://schemas.microsoft.com/office/drawing/2014/main" id="{783B00F1-95A1-4A69-98A5-6B6648439E4A}"/>
                </a:ext>
              </a:extLst>
            </p:cNvPr>
            <p:cNvSpPr/>
            <p:nvPr/>
          </p:nvSpPr>
          <p:spPr>
            <a:xfrm>
              <a:off x="7334113" y="3998799"/>
              <a:ext cx="189143" cy="297224"/>
            </a:xfrm>
            <a:custGeom>
              <a:avLst/>
              <a:gdLst>
                <a:gd name="connsiteX0" fmla="*/ 18016 w 189142"/>
                <a:gd name="connsiteY0" fmla="*/ 238687 h 297224"/>
                <a:gd name="connsiteX1" fmla="*/ 102079 w 189142"/>
                <a:gd name="connsiteY1" fmla="*/ 260003 h 297224"/>
                <a:gd name="connsiteX2" fmla="*/ 135705 w 189142"/>
                <a:gd name="connsiteY2" fmla="*/ 245893 h 297224"/>
                <a:gd name="connsiteX3" fmla="*/ 149815 w 189142"/>
                <a:gd name="connsiteY3" fmla="*/ 212267 h 297224"/>
                <a:gd name="connsiteX4" fmla="*/ 140208 w 189142"/>
                <a:gd name="connsiteY4" fmla="*/ 185847 h 297224"/>
                <a:gd name="connsiteX5" fmla="*/ 116790 w 189142"/>
                <a:gd name="connsiteY5" fmla="*/ 169935 h 297224"/>
                <a:gd name="connsiteX6" fmla="*/ 57646 w 189142"/>
                <a:gd name="connsiteY6" fmla="*/ 153723 h 297224"/>
                <a:gd name="connsiteX7" fmla="*/ 2 w 189142"/>
                <a:gd name="connsiteY7" fmla="*/ 78967 h 297224"/>
                <a:gd name="connsiteX8" fmla="*/ 77761 w 189142"/>
                <a:gd name="connsiteY8" fmla="*/ 7 h 297224"/>
                <a:gd name="connsiteX9" fmla="*/ 79262 w 189142"/>
                <a:gd name="connsiteY9" fmla="*/ 7 h 297224"/>
                <a:gd name="connsiteX10" fmla="*/ 177136 w 189142"/>
                <a:gd name="connsiteY10" fmla="*/ 26427 h 297224"/>
                <a:gd name="connsiteX11" fmla="*/ 179538 w 189142"/>
                <a:gd name="connsiteY11" fmla="*/ 33633 h 297224"/>
                <a:gd name="connsiteX12" fmla="*/ 178637 w 189142"/>
                <a:gd name="connsiteY12" fmla="*/ 34834 h 297224"/>
                <a:gd name="connsiteX13" fmla="*/ 164226 w 189142"/>
                <a:gd name="connsiteY13" fmla="*/ 58852 h 297224"/>
                <a:gd name="connsiteX14" fmla="*/ 156420 w 189142"/>
                <a:gd name="connsiteY14" fmla="*/ 61554 h 297224"/>
                <a:gd name="connsiteX15" fmla="*/ 78361 w 189142"/>
                <a:gd name="connsiteY15" fmla="*/ 39637 h 297224"/>
                <a:gd name="connsiteX16" fmla="*/ 50740 w 189142"/>
                <a:gd name="connsiteY16" fmla="*/ 51046 h 297224"/>
                <a:gd name="connsiteX17" fmla="*/ 40232 w 189142"/>
                <a:gd name="connsiteY17" fmla="*/ 77466 h 297224"/>
                <a:gd name="connsiteX18" fmla="*/ 67553 w 189142"/>
                <a:gd name="connsiteY18" fmla="*/ 112892 h 297224"/>
                <a:gd name="connsiteX19" fmla="*/ 126398 w 189142"/>
                <a:gd name="connsiteY19" fmla="*/ 128504 h 297224"/>
                <a:gd name="connsiteX20" fmla="*/ 172933 w 189142"/>
                <a:gd name="connsiteY20" fmla="*/ 159427 h 297224"/>
                <a:gd name="connsiteX21" fmla="*/ 153418 w 189142"/>
                <a:gd name="connsiteY21" fmla="*/ 282821 h 297224"/>
                <a:gd name="connsiteX22" fmla="*/ 101779 w 189142"/>
                <a:gd name="connsiteY22" fmla="*/ 299633 h 297224"/>
                <a:gd name="connsiteX23" fmla="*/ 101779 w 189142"/>
                <a:gd name="connsiteY23" fmla="*/ 299633 h 297224"/>
                <a:gd name="connsiteX24" fmla="*/ 18016 w 189142"/>
                <a:gd name="connsiteY24" fmla="*/ 238687 h 297224"/>
                <a:gd name="connsiteX25" fmla="*/ 18016 w 189142"/>
                <a:gd name="connsiteY25" fmla="*/ 238687 h 297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9142" h="297224">
                  <a:moveTo>
                    <a:pt x="18016" y="238687"/>
                  </a:moveTo>
                  <a:cubicBezTo>
                    <a:pt x="43835" y="252498"/>
                    <a:pt x="72657" y="259703"/>
                    <a:pt x="102079" y="260003"/>
                  </a:cubicBezTo>
                  <a:cubicBezTo>
                    <a:pt x="114689" y="260304"/>
                    <a:pt x="126998" y="255200"/>
                    <a:pt x="135705" y="245893"/>
                  </a:cubicBezTo>
                  <a:cubicBezTo>
                    <a:pt x="144711" y="237186"/>
                    <a:pt x="149815" y="224877"/>
                    <a:pt x="149815" y="212267"/>
                  </a:cubicBezTo>
                  <a:cubicBezTo>
                    <a:pt x="149515" y="202660"/>
                    <a:pt x="146212" y="193353"/>
                    <a:pt x="140208" y="185847"/>
                  </a:cubicBezTo>
                  <a:cubicBezTo>
                    <a:pt x="134504" y="178042"/>
                    <a:pt x="126097" y="172637"/>
                    <a:pt x="116790" y="169935"/>
                  </a:cubicBezTo>
                  <a:lnTo>
                    <a:pt x="57646" y="153723"/>
                  </a:lnTo>
                  <a:cubicBezTo>
                    <a:pt x="23720" y="144716"/>
                    <a:pt x="2" y="114093"/>
                    <a:pt x="2" y="78967"/>
                  </a:cubicBezTo>
                  <a:cubicBezTo>
                    <a:pt x="-298" y="35734"/>
                    <a:pt x="34228" y="608"/>
                    <a:pt x="77761" y="7"/>
                  </a:cubicBezTo>
                  <a:cubicBezTo>
                    <a:pt x="78361" y="7"/>
                    <a:pt x="78962" y="7"/>
                    <a:pt x="79262" y="7"/>
                  </a:cubicBezTo>
                  <a:cubicBezTo>
                    <a:pt x="113788" y="-293"/>
                    <a:pt x="147413" y="8714"/>
                    <a:pt x="177136" y="26427"/>
                  </a:cubicBezTo>
                  <a:cubicBezTo>
                    <a:pt x="179838" y="27628"/>
                    <a:pt x="181039" y="30931"/>
                    <a:pt x="179538" y="33633"/>
                  </a:cubicBezTo>
                  <a:cubicBezTo>
                    <a:pt x="179237" y="33933"/>
                    <a:pt x="178937" y="34533"/>
                    <a:pt x="178637" y="34834"/>
                  </a:cubicBezTo>
                  <a:lnTo>
                    <a:pt x="164226" y="58852"/>
                  </a:lnTo>
                  <a:cubicBezTo>
                    <a:pt x="162124" y="62755"/>
                    <a:pt x="159122" y="63355"/>
                    <a:pt x="156420" y="61554"/>
                  </a:cubicBezTo>
                  <a:cubicBezTo>
                    <a:pt x="133002" y="47143"/>
                    <a:pt x="105982" y="39637"/>
                    <a:pt x="78361" y="39637"/>
                  </a:cubicBezTo>
                  <a:cubicBezTo>
                    <a:pt x="67853" y="39337"/>
                    <a:pt x="57946" y="43540"/>
                    <a:pt x="50740" y="51046"/>
                  </a:cubicBezTo>
                  <a:cubicBezTo>
                    <a:pt x="43835" y="57951"/>
                    <a:pt x="39932" y="67558"/>
                    <a:pt x="40232" y="77466"/>
                  </a:cubicBezTo>
                  <a:cubicBezTo>
                    <a:pt x="39031" y="94579"/>
                    <a:pt x="50740" y="109890"/>
                    <a:pt x="67553" y="112892"/>
                  </a:cubicBezTo>
                  <a:lnTo>
                    <a:pt x="126398" y="128504"/>
                  </a:lnTo>
                  <a:cubicBezTo>
                    <a:pt x="145011" y="133308"/>
                    <a:pt x="161524" y="144116"/>
                    <a:pt x="172933" y="159427"/>
                  </a:cubicBezTo>
                  <a:cubicBezTo>
                    <a:pt x="201754" y="198757"/>
                    <a:pt x="193048" y="253999"/>
                    <a:pt x="153418" y="282821"/>
                  </a:cubicBezTo>
                  <a:cubicBezTo>
                    <a:pt x="138407" y="293629"/>
                    <a:pt x="120393" y="299633"/>
                    <a:pt x="101779" y="299633"/>
                  </a:cubicBezTo>
                  <a:lnTo>
                    <a:pt x="101779" y="299633"/>
                  </a:lnTo>
                  <a:lnTo>
                    <a:pt x="18016" y="238687"/>
                  </a:lnTo>
                  <a:lnTo>
                    <a:pt x="18016" y="238687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29" name="Forme libre : forme 228">
              <a:extLst>
                <a:ext uri="{FF2B5EF4-FFF2-40B4-BE49-F238E27FC236}">
                  <a16:creationId xmlns:a16="http://schemas.microsoft.com/office/drawing/2014/main" id="{794B9F09-C0B7-401F-8070-8C173E17DB69}"/>
                </a:ext>
              </a:extLst>
            </p:cNvPr>
            <p:cNvSpPr/>
            <p:nvPr/>
          </p:nvSpPr>
          <p:spPr>
            <a:xfrm>
              <a:off x="7700091" y="3921920"/>
              <a:ext cx="180136" cy="219165"/>
            </a:xfrm>
            <a:custGeom>
              <a:avLst/>
              <a:gdLst>
                <a:gd name="connsiteX0" fmla="*/ 44133 w 180136"/>
                <a:gd name="connsiteY0" fmla="*/ 219494 h 219165"/>
                <a:gd name="connsiteX1" fmla="*/ 44133 w 180136"/>
                <a:gd name="connsiteY1" fmla="*/ 132128 h 219165"/>
                <a:gd name="connsiteX2" fmla="*/ 38129 w 180136"/>
                <a:gd name="connsiteY2" fmla="*/ 126424 h 219165"/>
                <a:gd name="connsiteX3" fmla="*/ 6005 w 180136"/>
                <a:gd name="connsiteY3" fmla="*/ 126424 h 219165"/>
                <a:gd name="connsiteX4" fmla="*/ 0 w 180136"/>
                <a:gd name="connsiteY4" fmla="*/ 120419 h 219165"/>
                <a:gd name="connsiteX5" fmla="*/ 0 w 180136"/>
                <a:gd name="connsiteY5" fmla="*/ 91598 h 219165"/>
                <a:gd name="connsiteX6" fmla="*/ 6005 w 180136"/>
                <a:gd name="connsiteY6" fmla="*/ 86193 h 219165"/>
                <a:gd name="connsiteX7" fmla="*/ 37829 w 180136"/>
                <a:gd name="connsiteY7" fmla="*/ 86193 h 219165"/>
                <a:gd name="connsiteX8" fmla="*/ 43833 w 180136"/>
                <a:gd name="connsiteY8" fmla="*/ 81390 h 219165"/>
                <a:gd name="connsiteX9" fmla="*/ 43833 w 180136"/>
                <a:gd name="connsiteY9" fmla="*/ 80189 h 219165"/>
                <a:gd name="connsiteX10" fmla="*/ 43833 w 180136"/>
                <a:gd name="connsiteY10" fmla="*/ 6033 h 219165"/>
                <a:gd name="connsiteX11" fmla="*/ 48937 w 180136"/>
                <a:gd name="connsiteY11" fmla="*/ 28 h 219165"/>
                <a:gd name="connsiteX12" fmla="*/ 50138 w 180136"/>
                <a:gd name="connsiteY12" fmla="*/ 28 h 219165"/>
                <a:gd name="connsiteX13" fmla="*/ 78059 w 180136"/>
                <a:gd name="connsiteY13" fmla="*/ 28 h 219165"/>
                <a:gd name="connsiteX14" fmla="*/ 84064 w 180136"/>
                <a:gd name="connsiteY14" fmla="*/ 5132 h 219165"/>
                <a:gd name="connsiteX15" fmla="*/ 84064 w 180136"/>
                <a:gd name="connsiteY15" fmla="*/ 6333 h 219165"/>
                <a:gd name="connsiteX16" fmla="*/ 84064 w 180136"/>
                <a:gd name="connsiteY16" fmla="*/ 80189 h 219165"/>
                <a:gd name="connsiteX17" fmla="*/ 89167 w 180136"/>
                <a:gd name="connsiteY17" fmla="*/ 86193 h 219165"/>
                <a:gd name="connsiteX18" fmla="*/ 90368 w 180136"/>
                <a:gd name="connsiteY18" fmla="*/ 86193 h 219165"/>
                <a:gd name="connsiteX19" fmla="*/ 174732 w 180136"/>
                <a:gd name="connsiteY19" fmla="*/ 86193 h 219165"/>
                <a:gd name="connsiteX20" fmla="*/ 180737 w 180136"/>
                <a:gd name="connsiteY20" fmla="*/ 91598 h 219165"/>
                <a:gd name="connsiteX21" fmla="*/ 180737 w 180136"/>
                <a:gd name="connsiteY21" fmla="*/ 120419 h 219165"/>
                <a:gd name="connsiteX22" fmla="*/ 174732 w 180136"/>
                <a:gd name="connsiteY22" fmla="*/ 126424 h 219165"/>
                <a:gd name="connsiteX23" fmla="*/ 90068 w 180136"/>
                <a:gd name="connsiteY23" fmla="*/ 126424 h 219165"/>
                <a:gd name="connsiteX24" fmla="*/ 84064 w 180136"/>
                <a:gd name="connsiteY24" fmla="*/ 132128 h 219165"/>
                <a:gd name="connsiteX25" fmla="*/ 84064 w 180136"/>
                <a:gd name="connsiteY25" fmla="*/ 198778 h 219165"/>
                <a:gd name="connsiteX26" fmla="*/ 44133 w 180136"/>
                <a:gd name="connsiteY26" fmla="*/ 219494 h 219165"/>
                <a:gd name="connsiteX27" fmla="*/ 44133 w 180136"/>
                <a:gd name="connsiteY27" fmla="*/ 219494 h 219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80136" h="219165">
                  <a:moveTo>
                    <a:pt x="44133" y="219494"/>
                  </a:moveTo>
                  <a:lnTo>
                    <a:pt x="44133" y="132128"/>
                  </a:lnTo>
                  <a:cubicBezTo>
                    <a:pt x="44133" y="128225"/>
                    <a:pt x="42032" y="126424"/>
                    <a:pt x="38129" y="126424"/>
                  </a:cubicBezTo>
                  <a:lnTo>
                    <a:pt x="6005" y="126424"/>
                  </a:lnTo>
                  <a:cubicBezTo>
                    <a:pt x="1501" y="126424"/>
                    <a:pt x="0" y="124322"/>
                    <a:pt x="0" y="120419"/>
                  </a:cubicBezTo>
                  <a:lnTo>
                    <a:pt x="0" y="91598"/>
                  </a:lnTo>
                  <a:cubicBezTo>
                    <a:pt x="0" y="87695"/>
                    <a:pt x="1501" y="86193"/>
                    <a:pt x="6005" y="86193"/>
                  </a:cubicBezTo>
                  <a:lnTo>
                    <a:pt x="37829" y="86193"/>
                  </a:lnTo>
                  <a:cubicBezTo>
                    <a:pt x="40831" y="86494"/>
                    <a:pt x="43533" y="84392"/>
                    <a:pt x="43833" y="81390"/>
                  </a:cubicBezTo>
                  <a:cubicBezTo>
                    <a:pt x="43833" y="81090"/>
                    <a:pt x="43833" y="80489"/>
                    <a:pt x="43833" y="80189"/>
                  </a:cubicBezTo>
                  <a:lnTo>
                    <a:pt x="43833" y="6033"/>
                  </a:lnTo>
                  <a:cubicBezTo>
                    <a:pt x="43533" y="3031"/>
                    <a:pt x="45935" y="329"/>
                    <a:pt x="48937" y="28"/>
                  </a:cubicBezTo>
                  <a:cubicBezTo>
                    <a:pt x="49237" y="28"/>
                    <a:pt x="49537" y="28"/>
                    <a:pt x="50138" y="28"/>
                  </a:cubicBezTo>
                  <a:lnTo>
                    <a:pt x="78059" y="28"/>
                  </a:lnTo>
                  <a:cubicBezTo>
                    <a:pt x="81061" y="-272"/>
                    <a:pt x="83763" y="1830"/>
                    <a:pt x="84064" y="5132"/>
                  </a:cubicBezTo>
                  <a:cubicBezTo>
                    <a:pt x="84064" y="5433"/>
                    <a:pt x="84064" y="5733"/>
                    <a:pt x="84064" y="6333"/>
                  </a:cubicBezTo>
                  <a:lnTo>
                    <a:pt x="84064" y="80189"/>
                  </a:lnTo>
                  <a:cubicBezTo>
                    <a:pt x="83763" y="83191"/>
                    <a:pt x="86165" y="85893"/>
                    <a:pt x="89167" y="86193"/>
                  </a:cubicBezTo>
                  <a:cubicBezTo>
                    <a:pt x="89468" y="86193"/>
                    <a:pt x="89768" y="86193"/>
                    <a:pt x="90368" y="86193"/>
                  </a:cubicBezTo>
                  <a:lnTo>
                    <a:pt x="174732" y="86193"/>
                  </a:lnTo>
                  <a:cubicBezTo>
                    <a:pt x="179235" y="86193"/>
                    <a:pt x="180737" y="87695"/>
                    <a:pt x="180737" y="91598"/>
                  </a:cubicBezTo>
                  <a:lnTo>
                    <a:pt x="180737" y="120419"/>
                  </a:lnTo>
                  <a:cubicBezTo>
                    <a:pt x="180737" y="124322"/>
                    <a:pt x="179235" y="126424"/>
                    <a:pt x="174732" y="126424"/>
                  </a:cubicBezTo>
                  <a:lnTo>
                    <a:pt x="90068" y="126424"/>
                  </a:lnTo>
                  <a:cubicBezTo>
                    <a:pt x="86165" y="126424"/>
                    <a:pt x="84064" y="128225"/>
                    <a:pt x="84064" y="132128"/>
                  </a:cubicBezTo>
                  <a:lnTo>
                    <a:pt x="84064" y="198778"/>
                  </a:lnTo>
                  <a:lnTo>
                    <a:pt x="44133" y="219494"/>
                  </a:lnTo>
                  <a:lnTo>
                    <a:pt x="44133" y="219494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30" name="Forme libre : forme 229">
              <a:extLst>
                <a:ext uri="{FF2B5EF4-FFF2-40B4-BE49-F238E27FC236}">
                  <a16:creationId xmlns:a16="http://schemas.microsoft.com/office/drawing/2014/main" id="{6D72FB6F-B50E-4304-95C6-AC63A25682B0}"/>
                </a:ext>
              </a:extLst>
            </p:cNvPr>
            <p:cNvSpPr/>
            <p:nvPr/>
          </p:nvSpPr>
          <p:spPr>
            <a:xfrm>
              <a:off x="6709034" y="4369579"/>
              <a:ext cx="183138" cy="288217"/>
            </a:xfrm>
            <a:custGeom>
              <a:avLst/>
              <a:gdLst>
                <a:gd name="connsiteX0" fmla="*/ 156127 w 183138"/>
                <a:gd name="connsiteY0" fmla="*/ 130306 h 288217"/>
                <a:gd name="connsiteX1" fmla="*/ 172039 w 183138"/>
                <a:gd name="connsiteY1" fmla="*/ 79568 h 288217"/>
                <a:gd name="connsiteX2" fmla="*/ 149221 w 183138"/>
                <a:gd name="connsiteY2" fmla="*/ 23425 h 288217"/>
                <a:gd name="connsiteX3" fmla="*/ 93980 w 183138"/>
                <a:gd name="connsiteY3" fmla="*/ 8 h 288217"/>
                <a:gd name="connsiteX4" fmla="*/ 17722 w 183138"/>
                <a:gd name="connsiteY4" fmla="*/ 8 h 288217"/>
                <a:gd name="connsiteX5" fmla="*/ 9 w 183138"/>
                <a:gd name="connsiteY5" fmla="*/ 17721 h 288217"/>
                <a:gd name="connsiteX6" fmla="*/ 9 w 183138"/>
                <a:gd name="connsiteY6" fmla="*/ 19222 h 288217"/>
                <a:gd name="connsiteX7" fmla="*/ 9 w 183138"/>
                <a:gd name="connsiteY7" fmla="*/ 271713 h 288217"/>
                <a:gd name="connsiteX8" fmla="*/ 16821 w 183138"/>
                <a:gd name="connsiteY8" fmla="*/ 290327 h 288217"/>
                <a:gd name="connsiteX9" fmla="*/ 18022 w 183138"/>
                <a:gd name="connsiteY9" fmla="*/ 290327 h 288217"/>
                <a:gd name="connsiteX10" fmla="*/ 103587 w 183138"/>
                <a:gd name="connsiteY10" fmla="*/ 290327 h 288217"/>
                <a:gd name="connsiteX11" fmla="*/ 160930 w 183138"/>
                <a:gd name="connsiteY11" fmla="*/ 266008 h 288217"/>
                <a:gd name="connsiteX12" fmla="*/ 185249 w 183138"/>
                <a:gd name="connsiteY12" fmla="*/ 207164 h 288217"/>
                <a:gd name="connsiteX13" fmla="*/ 185249 w 183138"/>
                <a:gd name="connsiteY13" fmla="*/ 195455 h 288217"/>
                <a:gd name="connsiteX14" fmla="*/ 172339 w 183138"/>
                <a:gd name="connsiteY14" fmla="*/ 148920 h 288217"/>
                <a:gd name="connsiteX15" fmla="*/ 157027 w 183138"/>
                <a:gd name="connsiteY15" fmla="*/ 130006 h 288217"/>
                <a:gd name="connsiteX16" fmla="*/ 111093 w 183138"/>
                <a:gd name="connsiteY16" fmla="*/ 100283 h 288217"/>
                <a:gd name="connsiteX17" fmla="*/ 90977 w 183138"/>
                <a:gd name="connsiteY17" fmla="*/ 107789 h 288217"/>
                <a:gd name="connsiteX18" fmla="*/ 53749 w 183138"/>
                <a:gd name="connsiteY18" fmla="*/ 107789 h 288217"/>
                <a:gd name="connsiteX19" fmla="*/ 53749 w 183138"/>
                <a:gd name="connsiteY19" fmla="*/ 55249 h 288217"/>
                <a:gd name="connsiteX20" fmla="*/ 93980 w 183138"/>
                <a:gd name="connsiteY20" fmla="*/ 55249 h 288217"/>
                <a:gd name="connsiteX21" fmla="*/ 110792 w 183138"/>
                <a:gd name="connsiteY21" fmla="*/ 61854 h 288217"/>
                <a:gd name="connsiteX22" fmla="*/ 117698 w 183138"/>
                <a:gd name="connsiteY22" fmla="*/ 78967 h 288217"/>
                <a:gd name="connsiteX23" fmla="*/ 110192 w 183138"/>
                <a:gd name="connsiteY23" fmla="*/ 99683 h 288217"/>
                <a:gd name="connsiteX24" fmla="*/ 53749 w 183138"/>
                <a:gd name="connsiteY24" fmla="*/ 163931 h 288217"/>
                <a:gd name="connsiteX25" fmla="*/ 99384 w 183138"/>
                <a:gd name="connsiteY25" fmla="*/ 163931 h 288217"/>
                <a:gd name="connsiteX26" fmla="*/ 121000 w 183138"/>
                <a:gd name="connsiteY26" fmla="*/ 173238 h 288217"/>
                <a:gd name="connsiteX27" fmla="*/ 130307 w 183138"/>
                <a:gd name="connsiteY27" fmla="*/ 195755 h 288217"/>
                <a:gd name="connsiteX28" fmla="*/ 130307 w 183138"/>
                <a:gd name="connsiteY28" fmla="*/ 206864 h 288217"/>
                <a:gd name="connsiteX29" fmla="*/ 122201 w 183138"/>
                <a:gd name="connsiteY29" fmla="*/ 226078 h 288217"/>
                <a:gd name="connsiteX30" fmla="*/ 102986 w 183138"/>
                <a:gd name="connsiteY30" fmla="*/ 234485 h 288217"/>
                <a:gd name="connsiteX31" fmla="*/ 53749 w 183138"/>
                <a:gd name="connsiteY31" fmla="*/ 234485 h 288217"/>
                <a:gd name="connsiteX32" fmla="*/ 53749 w 183138"/>
                <a:gd name="connsiteY32" fmla="*/ 163931 h 288217"/>
                <a:gd name="connsiteX33" fmla="*/ 53749 w 183138"/>
                <a:gd name="connsiteY33" fmla="*/ 163931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83138" h="288217">
                  <a:moveTo>
                    <a:pt x="156127" y="130306"/>
                  </a:moveTo>
                  <a:cubicBezTo>
                    <a:pt x="166935" y="115595"/>
                    <a:pt x="172639" y="97882"/>
                    <a:pt x="172039" y="79568"/>
                  </a:cubicBezTo>
                  <a:cubicBezTo>
                    <a:pt x="172339" y="58552"/>
                    <a:pt x="163933" y="38137"/>
                    <a:pt x="149221" y="23425"/>
                  </a:cubicBezTo>
                  <a:cubicBezTo>
                    <a:pt x="134811" y="8114"/>
                    <a:pt x="114996" y="-292"/>
                    <a:pt x="93980" y="8"/>
                  </a:cubicBezTo>
                  <a:lnTo>
                    <a:pt x="17722" y="8"/>
                  </a:lnTo>
                  <a:cubicBezTo>
                    <a:pt x="8115" y="8"/>
                    <a:pt x="309" y="7814"/>
                    <a:pt x="9" y="17721"/>
                  </a:cubicBezTo>
                  <a:cubicBezTo>
                    <a:pt x="9" y="18322"/>
                    <a:pt x="9" y="18922"/>
                    <a:pt x="9" y="19222"/>
                  </a:cubicBezTo>
                  <a:lnTo>
                    <a:pt x="9" y="271713"/>
                  </a:lnTo>
                  <a:cubicBezTo>
                    <a:pt x="-292" y="281620"/>
                    <a:pt x="7214" y="290027"/>
                    <a:pt x="16821" y="290327"/>
                  </a:cubicBezTo>
                  <a:cubicBezTo>
                    <a:pt x="17122" y="290327"/>
                    <a:pt x="17722" y="290327"/>
                    <a:pt x="18022" y="290327"/>
                  </a:cubicBezTo>
                  <a:lnTo>
                    <a:pt x="103587" y="290327"/>
                  </a:lnTo>
                  <a:cubicBezTo>
                    <a:pt x="125203" y="290627"/>
                    <a:pt x="145919" y="281920"/>
                    <a:pt x="160930" y="266008"/>
                  </a:cubicBezTo>
                  <a:cubicBezTo>
                    <a:pt x="176542" y="250697"/>
                    <a:pt x="185249" y="229381"/>
                    <a:pt x="185249" y="207164"/>
                  </a:cubicBezTo>
                  <a:lnTo>
                    <a:pt x="185249" y="195455"/>
                  </a:lnTo>
                  <a:cubicBezTo>
                    <a:pt x="185249" y="178943"/>
                    <a:pt x="180745" y="163031"/>
                    <a:pt x="172339" y="148920"/>
                  </a:cubicBezTo>
                  <a:cubicBezTo>
                    <a:pt x="168136" y="142015"/>
                    <a:pt x="163032" y="135410"/>
                    <a:pt x="157027" y="130006"/>
                  </a:cubicBezTo>
                  <a:moveTo>
                    <a:pt x="111093" y="100283"/>
                  </a:moveTo>
                  <a:cubicBezTo>
                    <a:pt x="105688" y="105687"/>
                    <a:pt x="98483" y="108389"/>
                    <a:pt x="90977" y="107789"/>
                  </a:cubicBezTo>
                  <a:lnTo>
                    <a:pt x="53749" y="107789"/>
                  </a:lnTo>
                  <a:lnTo>
                    <a:pt x="53749" y="55249"/>
                  </a:lnTo>
                  <a:lnTo>
                    <a:pt x="93980" y="55249"/>
                  </a:lnTo>
                  <a:cubicBezTo>
                    <a:pt x="100284" y="54949"/>
                    <a:pt x="106289" y="57351"/>
                    <a:pt x="110792" y="61854"/>
                  </a:cubicBezTo>
                  <a:cubicBezTo>
                    <a:pt x="115596" y="66358"/>
                    <a:pt x="117998" y="72663"/>
                    <a:pt x="117698" y="78967"/>
                  </a:cubicBezTo>
                  <a:cubicBezTo>
                    <a:pt x="117998" y="86773"/>
                    <a:pt x="115296" y="94279"/>
                    <a:pt x="110192" y="99683"/>
                  </a:cubicBezTo>
                  <a:moveTo>
                    <a:pt x="53749" y="163931"/>
                  </a:moveTo>
                  <a:lnTo>
                    <a:pt x="99384" y="163931"/>
                  </a:lnTo>
                  <a:cubicBezTo>
                    <a:pt x="107490" y="163931"/>
                    <a:pt x="115596" y="167234"/>
                    <a:pt x="121000" y="173238"/>
                  </a:cubicBezTo>
                  <a:cubicBezTo>
                    <a:pt x="127005" y="179243"/>
                    <a:pt x="130607" y="187349"/>
                    <a:pt x="130307" y="195755"/>
                  </a:cubicBezTo>
                  <a:lnTo>
                    <a:pt x="130307" y="206864"/>
                  </a:lnTo>
                  <a:cubicBezTo>
                    <a:pt x="130307" y="214069"/>
                    <a:pt x="127305" y="221275"/>
                    <a:pt x="122201" y="226078"/>
                  </a:cubicBezTo>
                  <a:cubicBezTo>
                    <a:pt x="117097" y="231482"/>
                    <a:pt x="110192" y="234485"/>
                    <a:pt x="102986" y="234485"/>
                  </a:cubicBezTo>
                  <a:lnTo>
                    <a:pt x="53749" y="234485"/>
                  </a:lnTo>
                  <a:lnTo>
                    <a:pt x="53749" y="163931"/>
                  </a:lnTo>
                  <a:lnTo>
                    <a:pt x="53749" y="163931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31" name="Forme libre : forme 230">
              <a:extLst>
                <a:ext uri="{FF2B5EF4-FFF2-40B4-BE49-F238E27FC236}">
                  <a16:creationId xmlns:a16="http://schemas.microsoft.com/office/drawing/2014/main" id="{657E3F82-8F6D-4B3C-9CA0-B9A015FFE96A}"/>
                </a:ext>
              </a:extLst>
            </p:cNvPr>
            <p:cNvSpPr/>
            <p:nvPr/>
          </p:nvSpPr>
          <p:spPr>
            <a:xfrm>
              <a:off x="6940511" y="4365677"/>
              <a:ext cx="189143" cy="297224"/>
            </a:xfrm>
            <a:custGeom>
              <a:avLst/>
              <a:gdLst>
                <a:gd name="connsiteX0" fmla="*/ 95479 w 189142"/>
                <a:gd name="connsiteY0" fmla="*/ 6 h 297224"/>
                <a:gd name="connsiteX1" fmla="*/ 27928 w 189142"/>
                <a:gd name="connsiteY1" fmla="*/ 28828 h 297224"/>
                <a:gd name="connsiteX2" fmla="*/ 7 w 189142"/>
                <a:gd name="connsiteY2" fmla="*/ 97880 h 297224"/>
                <a:gd name="connsiteX3" fmla="*/ 7 w 189142"/>
                <a:gd name="connsiteY3" fmla="*/ 200858 h 297224"/>
                <a:gd name="connsiteX4" fmla="*/ 27928 w 189142"/>
                <a:gd name="connsiteY4" fmla="*/ 269910 h 297224"/>
                <a:gd name="connsiteX5" fmla="*/ 162429 w 189142"/>
                <a:gd name="connsiteY5" fmla="*/ 270811 h 297224"/>
                <a:gd name="connsiteX6" fmla="*/ 163330 w 189142"/>
                <a:gd name="connsiteY6" fmla="*/ 269910 h 297224"/>
                <a:gd name="connsiteX7" fmla="*/ 191551 w 189142"/>
                <a:gd name="connsiteY7" fmla="*/ 200858 h 297224"/>
                <a:gd name="connsiteX8" fmla="*/ 191551 w 189142"/>
                <a:gd name="connsiteY8" fmla="*/ 97880 h 297224"/>
                <a:gd name="connsiteX9" fmla="*/ 163330 w 189142"/>
                <a:gd name="connsiteY9" fmla="*/ 28828 h 297224"/>
                <a:gd name="connsiteX10" fmla="*/ 95479 w 189142"/>
                <a:gd name="connsiteY10" fmla="*/ 6 h 297224"/>
                <a:gd name="connsiteX11" fmla="*/ 54348 w 189142"/>
                <a:gd name="connsiteY11" fmla="*/ 97880 h 297224"/>
                <a:gd name="connsiteX12" fmla="*/ 67257 w 189142"/>
                <a:gd name="connsiteY12" fmla="*/ 67858 h 297224"/>
                <a:gd name="connsiteX13" fmla="*/ 125501 w 189142"/>
                <a:gd name="connsiteY13" fmla="*/ 67858 h 297224"/>
                <a:gd name="connsiteX14" fmla="*/ 138411 w 189142"/>
                <a:gd name="connsiteY14" fmla="*/ 97880 h 297224"/>
                <a:gd name="connsiteX15" fmla="*/ 138411 w 189142"/>
                <a:gd name="connsiteY15" fmla="*/ 200858 h 297224"/>
                <a:gd name="connsiteX16" fmla="*/ 125501 w 189142"/>
                <a:gd name="connsiteY16" fmla="*/ 230580 h 297224"/>
                <a:gd name="connsiteX17" fmla="*/ 68458 w 189142"/>
                <a:gd name="connsiteY17" fmla="*/ 232081 h 297224"/>
                <a:gd name="connsiteX18" fmla="*/ 67257 w 189142"/>
                <a:gd name="connsiteY18" fmla="*/ 230580 h 297224"/>
                <a:gd name="connsiteX19" fmla="*/ 54948 w 189142"/>
                <a:gd name="connsiteY19" fmla="*/ 200858 h 297224"/>
                <a:gd name="connsiteX20" fmla="*/ 54348 w 189142"/>
                <a:gd name="connsiteY20" fmla="*/ 97880 h 297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9142" h="297224">
                  <a:moveTo>
                    <a:pt x="95479" y="6"/>
                  </a:moveTo>
                  <a:cubicBezTo>
                    <a:pt x="69959" y="-294"/>
                    <a:pt x="45641" y="9914"/>
                    <a:pt x="27928" y="28828"/>
                  </a:cubicBezTo>
                  <a:cubicBezTo>
                    <a:pt x="9614" y="47142"/>
                    <a:pt x="-294" y="72061"/>
                    <a:pt x="7" y="97880"/>
                  </a:cubicBezTo>
                  <a:lnTo>
                    <a:pt x="7" y="200858"/>
                  </a:lnTo>
                  <a:cubicBezTo>
                    <a:pt x="-294" y="226677"/>
                    <a:pt x="9914" y="251896"/>
                    <a:pt x="27928" y="269910"/>
                  </a:cubicBezTo>
                  <a:cubicBezTo>
                    <a:pt x="64856" y="307738"/>
                    <a:pt x="124901" y="308039"/>
                    <a:pt x="162429" y="270811"/>
                  </a:cubicBezTo>
                  <a:cubicBezTo>
                    <a:pt x="162730" y="270510"/>
                    <a:pt x="163030" y="270210"/>
                    <a:pt x="163330" y="269910"/>
                  </a:cubicBezTo>
                  <a:cubicBezTo>
                    <a:pt x="181644" y="251596"/>
                    <a:pt x="191852" y="226677"/>
                    <a:pt x="191551" y="200858"/>
                  </a:cubicBezTo>
                  <a:lnTo>
                    <a:pt x="191551" y="97880"/>
                  </a:lnTo>
                  <a:cubicBezTo>
                    <a:pt x="191852" y="71761"/>
                    <a:pt x="181644" y="46842"/>
                    <a:pt x="163330" y="28828"/>
                  </a:cubicBezTo>
                  <a:cubicBezTo>
                    <a:pt x="145617" y="9914"/>
                    <a:pt x="120998" y="-294"/>
                    <a:pt x="95479" y="6"/>
                  </a:cubicBezTo>
                  <a:moveTo>
                    <a:pt x="54348" y="97880"/>
                  </a:moveTo>
                  <a:cubicBezTo>
                    <a:pt x="54348" y="86472"/>
                    <a:pt x="58851" y="75363"/>
                    <a:pt x="67257" y="67858"/>
                  </a:cubicBezTo>
                  <a:cubicBezTo>
                    <a:pt x="83470" y="51645"/>
                    <a:pt x="109289" y="51645"/>
                    <a:pt x="125501" y="67858"/>
                  </a:cubicBezTo>
                  <a:cubicBezTo>
                    <a:pt x="133908" y="75663"/>
                    <a:pt x="138411" y="86472"/>
                    <a:pt x="138411" y="97880"/>
                  </a:cubicBezTo>
                  <a:lnTo>
                    <a:pt x="138411" y="200858"/>
                  </a:lnTo>
                  <a:cubicBezTo>
                    <a:pt x="138711" y="212267"/>
                    <a:pt x="133908" y="223075"/>
                    <a:pt x="125501" y="230580"/>
                  </a:cubicBezTo>
                  <a:cubicBezTo>
                    <a:pt x="110190" y="246793"/>
                    <a:pt x="84671" y="247393"/>
                    <a:pt x="68458" y="232081"/>
                  </a:cubicBezTo>
                  <a:cubicBezTo>
                    <a:pt x="67858" y="231781"/>
                    <a:pt x="67558" y="231181"/>
                    <a:pt x="67257" y="230580"/>
                  </a:cubicBezTo>
                  <a:cubicBezTo>
                    <a:pt x="59151" y="222774"/>
                    <a:pt x="54948" y="212267"/>
                    <a:pt x="54948" y="200858"/>
                  </a:cubicBezTo>
                  <a:lnTo>
                    <a:pt x="54348" y="97880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32" name="Forme libre : forme 231">
              <a:extLst>
                <a:ext uri="{FF2B5EF4-FFF2-40B4-BE49-F238E27FC236}">
                  <a16:creationId xmlns:a16="http://schemas.microsoft.com/office/drawing/2014/main" id="{69A7FC27-F494-4135-A2FB-A1B28CFE8C5D}"/>
                </a:ext>
              </a:extLst>
            </p:cNvPr>
            <p:cNvSpPr/>
            <p:nvPr/>
          </p:nvSpPr>
          <p:spPr>
            <a:xfrm>
              <a:off x="7438285" y="4369280"/>
              <a:ext cx="183138" cy="288217"/>
            </a:xfrm>
            <a:custGeom>
              <a:avLst/>
              <a:gdLst>
                <a:gd name="connsiteX0" fmla="*/ 81070 w 183138"/>
                <a:gd name="connsiteY0" fmla="*/ 306 h 288217"/>
                <a:gd name="connsiteX1" fmla="*/ 18923 w 183138"/>
                <a:gd name="connsiteY1" fmla="*/ 306 h 288217"/>
                <a:gd name="connsiteX2" fmla="*/ 8 w 183138"/>
                <a:gd name="connsiteY2" fmla="*/ 16819 h 288217"/>
                <a:gd name="connsiteX3" fmla="*/ 8 w 183138"/>
                <a:gd name="connsiteY3" fmla="*/ 19521 h 288217"/>
                <a:gd name="connsiteX4" fmla="*/ 8 w 183138"/>
                <a:gd name="connsiteY4" fmla="*/ 272011 h 288217"/>
                <a:gd name="connsiteX5" fmla="*/ 17421 w 183138"/>
                <a:gd name="connsiteY5" fmla="*/ 290625 h 288217"/>
                <a:gd name="connsiteX6" fmla="*/ 18622 w 183138"/>
                <a:gd name="connsiteY6" fmla="*/ 290625 h 288217"/>
                <a:gd name="connsiteX7" fmla="*/ 90377 w 183138"/>
                <a:gd name="connsiteY7" fmla="*/ 290625 h 288217"/>
                <a:gd name="connsiteX8" fmla="*/ 157627 w 183138"/>
                <a:gd name="connsiteY8" fmla="*/ 262704 h 288217"/>
                <a:gd name="connsiteX9" fmla="*/ 185248 w 183138"/>
                <a:gd name="connsiteY9" fmla="*/ 194553 h 288217"/>
                <a:gd name="connsiteX10" fmla="*/ 185248 w 183138"/>
                <a:gd name="connsiteY10" fmla="*/ 104485 h 288217"/>
                <a:gd name="connsiteX11" fmla="*/ 154625 w 183138"/>
                <a:gd name="connsiteY11" fmla="*/ 30629 h 288217"/>
                <a:gd name="connsiteX12" fmla="*/ 80769 w 183138"/>
                <a:gd name="connsiteY12" fmla="*/ 6 h 288217"/>
                <a:gd name="connsiteX13" fmla="*/ 89776 w 183138"/>
                <a:gd name="connsiteY13" fmla="*/ 234483 h 288217"/>
                <a:gd name="connsiteX14" fmla="*/ 54950 w 183138"/>
                <a:gd name="connsiteY14" fmla="*/ 234483 h 288217"/>
                <a:gd name="connsiteX15" fmla="*/ 54950 w 183138"/>
                <a:gd name="connsiteY15" fmla="*/ 55848 h 288217"/>
                <a:gd name="connsiteX16" fmla="*/ 80469 w 183138"/>
                <a:gd name="connsiteY16" fmla="*/ 55848 h 288217"/>
                <a:gd name="connsiteX17" fmla="*/ 114995 w 183138"/>
                <a:gd name="connsiteY17" fmla="*/ 70259 h 288217"/>
                <a:gd name="connsiteX18" fmla="*/ 129706 w 183138"/>
                <a:gd name="connsiteY18" fmla="*/ 104485 h 288217"/>
                <a:gd name="connsiteX19" fmla="*/ 129706 w 183138"/>
                <a:gd name="connsiteY19" fmla="*/ 194553 h 288217"/>
                <a:gd name="connsiteX20" fmla="*/ 90076 w 183138"/>
                <a:gd name="connsiteY20" fmla="*/ 233882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3138" h="288217">
                  <a:moveTo>
                    <a:pt x="81070" y="306"/>
                  </a:moveTo>
                  <a:lnTo>
                    <a:pt x="18923" y="306"/>
                  </a:lnTo>
                  <a:cubicBezTo>
                    <a:pt x="9015" y="-294"/>
                    <a:pt x="609" y="7211"/>
                    <a:pt x="8" y="16819"/>
                  </a:cubicBezTo>
                  <a:cubicBezTo>
                    <a:pt x="8" y="17719"/>
                    <a:pt x="8" y="18620"/>
                    <a:pt x="8" y="19521"/>
                  </a:cubicBezTo>
                  <a:lnTo>
                    <a:pt x="8" y="272011"/>
                  </a:lnTo>
                  <a:cubicBezTo>
                    <a:pt x="-292" y="281919"/>
                    <a:pt x="7514" y="290325"/>
                    <a:pt x="17421" y="290625"/>
                  </a:cubicBezTo>
                  <a:cubicBezTo>
                    <a:pt x="17722" y="290625"/>
                    <a:pt x="18322" y="290625"/>
                    <a:pt x="18622" y="290625"/>
                  </a:cubicBezTo>
                  <a:lnTo>
                    <a:pt x="90377" y="290625"/>
                  </a:lnTo>
                  <a:cubicBezTo>
                    <a:pt x="115596" y="290925"/>
                    <a:pt x="139914" y="280718"/>
                    <a:pt x="157627" y="262704"/>
                  </a:cubicBezTo>
                  <a:cubicBezTo>
                    <a:pt x="175941" y="244690"/>
                    <a:pt x="185849" y="220072"/>
                    <a:pt x="185248" y="194553"/>
                  </a:cubicBezTo>
                  <a:lnTo>
                    <a:pt x="185248" y="104485"/>
                  </a:lnTo>
                  <a:cubicBezTo>
                    <a:pt x="185549" y="76864"/>
                    <a:pt x="174440" y="50144"/>
                    <a:pt x="154625" y="30629"/>
                  </a:cubicBezTo>
                  <a:cubicBezTo>
                    <a:pt x="135411" y="10814"/>
                    <a:pt x="108691" y="-294"/>
                    <a:pt x="80769" y="6"/>
                  </a:cubicBezTo>
                  <a:moveTo>
                    <a:pt x="89776" y="234483"/>
                  </a:moveTo>
                  <a:lnTo>
                    <a:pt x="54950" y="234483"/>
                  </a:lnTo>
                  <a:lnTo>
                    <a:pt x="54950" y="55848"/>
                  </a:lnTo>
                  <a:lnTo>
                    <a:pt x="80469" y="55848"/>
                  </a:lnTo>
                  <a:cubicBezTo>
                    <a:pt x="93379" y="55548"/>
                    <a:pt x="105988" y="60952"/>
                    <a:pt x="114995" y="70259"/>
                  </a:cubicBezTo>
                  <a:cubicBezTo>
                    <a:pt x="124603" y="79266"/>
                    <a:pt x="129706" y="91575"/>
                    <a:pt x="129706" y="104485"/>
                  </a:cubicBezTo>
                  <a:lnTo>
                    <a:pt x="129706" y="194553"/>
                  </a:lnTo>
                  <a:cubicBezTo>
                    <a:pt x="129406" y="216169"/>
                    <a:pt x="111693" y="233582"/>
                    <a:pt x="90076" y="233882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33" name="Forme libre : forme 232">
              <a:extLst>
                <a:ext uri="{FF2B5EF4-FFF2-40B4-BE49-F238E27FC236}">
                  <a16:creationId xmlns:a16="http://schemas.microsoft.com/office/drawing/2014/main" id="{AA9F809A-5225-465E-8789-C294D13B4FAC}"/>
                </a:ext>
              </a:extLst>
            </p:cNvPr>
            <p:cNvSpPr/>
            <p:nvPr/>
          </p:nvSpPr>
          <p:spPr>
            <a:xfrm>
              <a:off x="7680868" y="4369878"/>
              <a:ext cx="159120" cy="288217"/>
            </a:xfrm>
            <a:custGeom>
              <a:avLst/>
              <a:gdLst>
                <a:gd name="connsiteX0" fmla="*/ 143517 w 159120"/>
                <a:gd name="connsiteY0" fmla="*/ 233584 h 288217"/>
                <a:gd name="connsiteX1" fmla="*/ 53449 w 159120"/>
                <a:gd name="connsiteY1" fmla="*/ 233584 h 288217"/>
                <a:gd name="connsiteX2" fmla="*/ 53449 w 159120"/>
                <a:gd name="connsiteY2" fmla="*/ 163331 h 288217"/>
                <a:gd name="connsiteX3" fmla="*/ 127905 w 159120"/>
                <a:gd name="connsiteY3" fmla="*/ 163331 h 288217"/>
                <a:gd name="connsiteX4" fmla="*/ 145619 w 159120"/>
                <a:gd name="connsiteY4" fmla="*/ 145318 h 288217"/>
                <a:gd name="connsiteX5" fmla="*/ 145619 w 159120"/>
                <a:gd name="connsiteY5" fmla="*/ 144417 h 288217"/>
                <a:gd name="connsiteX6" fmla="*/ 145619 w 159120"/>
                <a:gd name="connsiteY6" fmla="*/ 125503 h 288217"/>
                <a:gd name="connsiteX7" fmla="*/ 129707 w 159120"/>
                <a:gd name="connsiteY7" fmla="*/ 106889 h 288217"/>
                <a:gd name="connsiteX8" fmla="*/ 127905 w 159120"/>
                <a:gd name="connsiteY8" fmla="*/ 106889 h 288217"/>
                <a:gd name="connsiteX9" fmla="*/ 53449 w 159120"/>
                <a:gd name="connsiteY9" fmla="*/ 106889 h 288217"/>
                <a:gd name="connsiteX10" fmla="*/ 53449 w 159120"/>
                <a:gd name="connsiteY10" fmla="*/ 54349 h 288217"/>
                <a:gd name="connsiteX11" fmla="*/ 140515 w 159120"/>
                <a:gd name="connsiteY11" fmla="*/ 54349 h 288217"/>
                <a:gd name="connsiteX12" fmla="*/ 158528 w 159120"/>
                <a:gd name="connsiteY12" fmla="*/ 36636 h 288217"/>
                <a:gd name="connsiteX13" fmla="*/ 158528 w 159120"/>
                <a:gd name="connsiteY13" fmla="*/ 35735 h 288217"/>
                <a:gd name="connsiteX14" fmla="*/ 158528 w 159120"/>
                <a:gd name="connsiteY14" fmla="*/ 18622 h 288217"/>
                <a:gd name="connsiteX15" fmla="*/ 141716 w 159120"/>
                <a:gd name="connsiteY15" fmla="*/ 8 h 288217"/>
                <a:gd name="connsiteX16" fmla="*/ 140515 w 159120"/>
                <a:gd name="connsiteY16" fmla="*/ 8 h 288217"/>
                <a:gd name="connsiteX17" fmla="*/ 17722 w 159120"/>
                <a:gd name="connsiteY17" fmla="*/ 8 h 288217"/>
                <a:gd name="connsiteX18" fmla="*/ 9 w 159120"/>
                <a:gd name="connsiteY18" fmla="*/ 17421 h 288217"/>
                <a:gd name="connsiteX19" fmla="*/ 9 w 159120"/>
                <a:gd name="connsiteY19" fmla="*/ 18622 h 288217"/>
                <a:gd name="connsiteX20" fmla="*/ 9 w 159120"/>
                <a:gd name="connsiteY20" fmla="*/ 271113 h 288217"/>
                <a:gd name="connsiteX21" fmla="*/ 16822 w 159120"/>
                <a:gd name="connsiteY21" fmla="*/ 289727 h 288217"/>
                <a:gd name="connsiteX22" fmla="*/ 18022 w 159120"/>
                <a:gd name="connsiteY22" fmla="*/ 289727 h 288217"/>
                <a:gd name="connsiteX23" fmla="*/ 143217 w 159120"/>
                <a:gd name="connsiteY23" fmla="*/ 289727 h 288217"/>
                <a:gd name="connsiteX24" fmla="*/ 161231 w 159120"/>
                <a:gd name="connsiteY24" fmla="*/ 272313 h 288217"/>
                <a:gd name="connsiteX25" fmla="*/ 161231 w 159120"/>
                <a:gd name="connsiteY25" fmla="*/ 271113 h 288217"/>
                <a:gd name="connsiteX26" fmla="*/ 161231 w 159120"/>
                <a:gd name="connsiteY26" fmla="*/ 252799 h 288217"/>
                <a:gd name="connsiteX27" fmla="*/ 144418 w 159120"/>
                <a:gd name="connsiteY27" fmla="*/ 234185 h 288217"/>
                <a:gd name="connsiteX28" fmla="*/ 143217 w 159120"/>
                <a:gd name="connsiteY28" fmla="*/ 234185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9120" h="288217">
                  <a:moveTo>
                    <a:pt x="143517" y="233584"/>
                  </a:moveTo>
                  <a:lnTo>
                    <a:pt x="53449" y="233584"/>
                  </a:lnTo>
                  <a:lnTo>
                    <a:pt x="53449" y="163331"/>
                  </a:lnTo>
                  <a:lnTo>
                    <a:pt x="127905" y="163331"/>
                  </a:lnTo>
                  <a:cubicBezTo>
                    <a:pt x="137513" y="163331"/>
                    <a:pt x="145619" y="155525"/>
                    <a:pt x="145619" y="145318"/>
                  </a:cubicBezTo>
                  <a:cubicBezTo>
                    <a:pt x="145619" y="145017"/>
                    <a:pt x="145619" y="144717"/>
                    <a:pt x="145619" y="144417"/>
                  </a:cubicBezTo>
                  <a:lnTo>
                    <a:pt x="145619" y="125503"/>
                  </a:lnTo>
                  <a:cubicBezTo>
                    <a:pt x="146219" y="115895"/>
                    <a:pt x="139014" y="107489"/>
                    <a:pt x="129707" y="106889"/>
                  </a:cubicBezTo>
                  <a:cubicBezTo>
                    <a:pt x="129106" y="106889"/>
                    <a:pt x="128506" y="106889"/>
                    <a:pt x="127905" y="106889"/>
                  </a:cubicBezTo>
                  <a:lnTo>
                    <a:pt x="53449" y="106889"/>
                  </a:lnTo>
                  <a:lnTo>
                    <a:pt x="53449" y="54349"/>
                  </a:lnTo>
                  <a:lnTo>
                    <a:pt x="140515" y="54349"/>
                  </a:lnTo>
                  <a:cubicBezTo>
                    <a:pt x="150422" y="54649"/>
                    <a:pt x="158528" y="46543"/>
                    <a:pt x="158528" y="36636"/>
                  </a:cubicBezTo>
                  <a:cubicBezTo>
                    <a:pt x="158528" y="36335"/>
                    <a:pt x="158528" y="36035"/>
                    <a:pt x="158528" y="35735"/>
                  </a:cubicBezTo>
                  <a:lnTo>
                    <a:pt x="158528" y="18622"/>
                  </a:lnTo>
                  <a:cubicBezTo>
                    <a:pt x="158829" y="8715"/>
                    <a:pt x="151323" y="308"/>
                    <a:pt x="141716" y="8"/>
                  </a:cubicBezTo>
                  <a:cubicBezTo>
                    <a:pt x="141416" y="8"/>
                    <a:pt x="140815" y="8"/>
                    <a:pt x="140515" y="8"/>
                  </a:cubicBezTo>
                  <a:lnTo>
                    <a:pt x="17722" y="8"/>
                  </a:lnTo>
                  <a:cubicBezTo>
                    <a:pt x="8115" y="-292"/>
                    <a:pt x="309" y="7814"/>
                    <a:pt x="9" y="17421"/>
                  </a:cubicBezTo>
                  <a:cubicBezTo>
                    <a:pt x="9" y="17721"/>
                    <a:pt x="9" y="18322"/>
                    <a:pt x="9" y="18622"/>
                  </a:cubicBezTo>
                  <a:lnTo>
                    <a:pt x="9" y="271113"/>
                  </a:lnTo>
                  <a:cubicBezTo>
                    <a:pt x="-291" y="281020"/>
                    <a:pt x="7214" y="289426"/>
                    <a:pt x="16822" y="289727"/>
                  </a:cubicBezTo>
                  <a:cubicBezTo>
                    <a:pt x="17122" y="289727"/>
                    <a:pt x="17722" y="289727"/>
                    <a:pt x="18022" y="289727"/>
                  </a:cubicBezTo>
                  <a:lnTo>
                    <a:pt x="143217" y="289727"/>
                  </a:lnTo>
                  <a:cubicBezTo>
                    <a:pt x="152824" y="290027"/>
                    <a:pt x="160930" y="282221"/>
                    <a:pt x="161231" y="272313"/>
                  </a:cubicBezTo>
                  <a:cubicBezTo>
                    <a:pt x="161231" y="272013"/>
                    <a:pt x="161231" y="271413"/>
                    <a:pt x="161231" y="271113"/>
                  </a:cubicBezTo>
                  <a:lnTo>
                    <a:pt x="161231" y="252799"/>
                  </a:lnTo>
                  <a:cubicBezTo>
                    <a:pt x="161531" y="242891"/>
                    <a:pt x="154025" y="234485"/>
                    <a:pt x="144418" y="234185"/>
                  </a:cubicBezTo>
                  <a:cubicBezTo>
                    <a:pt x="144118" y="234185"/>
                    <a:pt x="143517" y="234185"/>
                    <a:pt x="143217" y="234185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34" name="Forme libre : forme 233">
              <a:extLst>
                <a:ext uri="{FF2B5EF4-FFF2-40B4-BE49-F238E27FC236}">
                  <a16:creationId xmlns:a16="http://schemas.microsoft.com/office/drawing/2014/main" id="{0863FA8E-322B-45F9-9009-6AE9E6FA673B}"/>
                </a:ext>
              </a:extLst>
            </p:cNvPr>
            <p:cNvSpPr/>
            <p:nvPr/>
          </p:nvSpPr>
          <p:spPr>
            <a:xfrm>
              <a:off x="7885323" y="4369575"/>
              <a:ext cx="219166" cy="288217"/>
            </a:xfrm>
            <a:custGeom>
              <a:avLst/>
              <a:gdLst>
                <a:gd name="connsiteX0" fmla="*/ 144418 w 219165"/>
                <a:gd name="connsiteY0" fmla="*/ 13221 h 288217"/>
                <a:gd name="connsiteX1" fmla="*/ 127305 w 219165"/>
                <a:gd name="connsiteY1" fmla="*/ 11 h 288217"/>
                <a:gd name="connsiteX2" fmla="*/ 94280 w 219165"/>
                <a:gd name="connsiteY2" fmla="*/ 11 h 288217"/>
                <a:gd name="connsiteX3" fmla="*/ 76867 w 219165"/>
                <a:gd name="connsiteY3" fmla="*/ 13221 h 288217"/>
                <a:gd name="connsiteX4" fmla="*/ 1510 w 219165"/>
                <a:gd name="connsiteY4" fmla="*/ 264211 h 288217"/>
                <a:gd name="connsiteX5" fmla="*/ 9 w 219165"/>
                <a:gd name="connsiteY5" fmla="*/ 271716 h 288217"/>
                <a:gd name="connsiteX6" fmla="*/ 17121 w 219165"/>
                <a:gd name="connsiteY6" fmla="*/ 290330 h 288217"/>
                <a:gd name="connsiteX7" fmla="*/ 18322 w 219165"/>
                <a:gd name="connsiteY7" fmla="*/ 290330 h 288217"/>
                <a:gd name="connsiteX8" fmla="*/ 36636 w 219165"/>
                <a:gd name="connsiteY8" fmla="*/ 290330 h 288217"/>
                <a:gd name="connsiteX9" fmla="*/ 54050 w 219165"/>
                <a:gd name="connsiteY9" fmla="*/ 277120 h 288217"/>
                <a:gd name="connsiteX10" fmla="*/ 76266 w 219165"/>
                <a:gd name="connsiteY10" fmla="*/ 203565 h 288217"/>
                <a:gd name="connsiteX11" fmla="*/ 144118 w 219165"/>
                <a:gd name="connsiteY11" fmla="*/ 203565 h 288217"/>
                <a:gd name="connsiteX12" fmla="*/ 166635 w 219165"/>
                <a:gd name="connsiteY12" fmla="*/ 277721 h 288217"/>
                <a:gd name="connsiteX13" fmla="*/ 166635 w 219165"/>
                <a:gd name="connsiteY13" fmla="*/ 278922 h 288217"/>
                <a:gd name="connsiteX14" fmla="*/ 183747 w 219165"/>
                <a:gd name="connsiteY14" fmla="*/ 290630 h 288217"/>
                <a:gd name="connsiteX15" fmla="*/ 202361 w 219165"/>
                <a:gd name="connsiteY15" fmla="*/ 290630 h 288217"/>
                <a:gd name="connsiteX16" fmla="*/ 220675 w 219165"/>
                <a:gd name="connsiteY16" fmla="*/ 272617 h 288217"/>
                <a:gd name="connsiteX17" fmla="*/ 220675 w 219165"/>
                <a:gd name="connsiteY17" fmla="*/ 272016 h 288217"/>
                <a:gd name="connsiteX18" fmla="*/ 219474 w 219165"/>
                <a:gd name="connsiteY18" fmla="*/ 265111 h 288217"/>
                <a:gd name="connsiteX19" fmla="*/ 144418 w 219165"/>
                <a:gd name="connsiteY19" fmla="*/ 13221 h 288217"/>
                <a:gd name="connsiteX20" fmla="*/ 131208 w 219165"/>
                <a:gd name="connsiteY20" fmla="*/ 147723 h 288217"/>
                <a:gd name="connsiteX21" fmla="*/ 90677 w 219165"/>
                <a:gd name="connsiteY21" fmla="*/ 147723 h 288217"/>
                <a:gd name="connsiteX22" fmla="*/ 110792 w 219165"/>
                <a:gd name="connsiteY22" fmla="*/ 78370 h 288217"/>
                <a:gd name="connsiteX23" fmla="*/ 131208 w 219165"/>
                <a:gd name="connsiteY23" fmla="*/ 147723 h 288217"/>
                <a:gd name="connsiteX24" fmla="*/ 131208 w 219165"/>
                <a:gd name="connsiteY24" fmla="*/ 147723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19165" h="288217">
                  <a:moveTo>
                    <a:pt x="144418" y="13221"/>
                  </a:moveTo>
                  <a:cubicBezTo>
                    <a:pt x="142316" y="5415"/>
                    <a:pt x="135111" y="11"/>
                    <a:pt x="127305" y="11"/>
                  </a:cubicBezTo>
                  <a:lnTo>
                    <a:pt x="94280" y="11"/>
                  </a:lnTo>
                  <a:cubicBezTo>
                    <a:pt x="86174" y="-289"/>
                    <a:pt x="78968" y="5415"/>
                    <a:pt x="76867" y="13221"/>
                  </a:cubicBezTo>
                  <a:lnTo>
                    <a:pt x="1510" y="264211"/>
                  </a:lnTo>
                  <a:cubicBezTo>
                    <a:pt x="309" y="266612"/>
                    <a:pt x="9" y="269014"/>
                    <a:pt x="9" y="271716"/>
                  </a:cubicBezTo>
                  <a:cubicBezTo>
                    <a:pt x="-292" y="281624"/>
                    <a:pt x="7214" y="290030"/>
                    <a:pt x="17121" y="290330"/>
                  </a:cubicBezTo>
                  <a:cubicBezTo>
                    <a:pt x="17422" y="290330"/>
                    <a:pt x="18022" y="290330"/>
                    <a:pt x="18322" y="290330"/>
                  </a:cubicBezTo>
                  <a:lnTo>
                    <a:pt x="36636" y="290330"/>
                  </a:lnTo>
                  <a:cubicBezTo>
                    <a:pt x="44742" y="290630"/>
                    <a:pt x="51948" y="285226"/>
                    <a:pt x="54050" y="277120"/>
                  </a:cubicBezTo>
                  <a:lnTo>
                    <a:pt x="76266" y="203565"/>
                  </a:lnTo>
                  <a:lnTo>
                    <a:pt x="144118" y="203565"/>
                  </a:lnTo>
                  <a:lnTo>
                    <a:pt x="166635" y="277721"/>
                  </a:lnTo>
                  <a:lnTo>
                    <a:pt x="166635" y="278922"/>
                  </a:lnTo>
                  <a:cubicBezTo>
                    <a:pt x="169337" y="286127"/>
                    <a:pt x="176242" y="290931"/>
                    <a:pt x="183747" y="290630"/>
                  </a:cubicBezTo>
                  <a:lnTo>
                    <a:pt x="202361" y="290630"/>
                  </a:lnTo>
                  <a:cubicBezTo>
                    <a:pt x="212269" y="290630"/>
                    <a:pt x="220375" y="282825"/>
                    <a:pt x="220675" y="272617"/>
                  </a:cubicBezTo>
                  <a:cubicBezTo>
                    <a:pt x="220675" y="272317"/>
                    <a:pt x="220675" y="272317"/>
                    <a:pt x="220675" y="272016"/>
                  </a:cubicBezTo>
                  <a:cubicBezTo>
                    <a:pt x="220675" y="269615"/>
                    <a:pt x="220375" y="267213"/>
                    <a:pt x="219474" y="265111"/>
                  </a:cubicBezTo>
                  <a:lnTo>
                    <a:pt x="144418" y="13221"/>
                  </a:lnTo>
                  <a:close/>
                  <a:moveTo>
                    <a:pt x="131208" y="147723"/>
                  </a:moveTo>
                  <a:lnTo>
                    <a:pt x="90677" y="147723"/>
                  </a:lnTo>
                  <a:lnTo>
                    <a:pt x="110792" y="78370"/>
                  </a:lnTo>
                  <a:lnTo>
                    <a:pt x="131208" y="147723"/>
                  </a:lnTo>
                  <a:lnTo>
                    <a:pt x="131208" y="147723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35" name="Forme libre : forme 234">
              <a:extLst>
                <a:ext uri="{FF2B5EF4-FFF2-40B4-BE49-F238E27FC236}">
                  <a16:creationId xmlns:a16="http://schemas.microsoft.com/office/drawing/2014/main" id="{C227BB27-36AF-449B-A0FB-A7E648520D15}"/>
                </a:ext>
              </a:extLst>
            </p:cNvPr>
            <p:cNvSpPr/>
            <p:nvPr/>
          </p:nvSpPr>
          <p:spPr>
            <a:xfrm>
              <a:off x="8147703" y="4369554"/>
              <a:ext cx="180136" cy="294222"/>
            </a:xfrm>
            <a:custGeom>
              <a:avLst/>
              <a:gdLst>
                <a:gd name="connsiteX0" fmla="*/ 161849 w 180136"/>
                <a:gd name="connsiteY0" fmla="*/ 32 h 294221"/>
                <a:gd name="connsiteX1" fmla="*/ 143835 w 180136"/>
                <a:gd name="connsiteY1" fmla="*/ 32 h 294221"/>
                <a:gd name="connsiteX2" fmla="*/ 125221 w 180136"/>
                <a:gd name="connsiteY2" fmla="*/ 17145 h 294221"/>
                <a:gd name="connsiteX3" fmla="*/ 125221 w 180136"/>
                <a:gd name="connsiteY3" fmla="*/ 19247 h 294221"/>
                <a:gd name="connsiteX4" fmla="*/ 125221 w 180136"/>
                <a:gd name="connsiteY4" fmla="*/ 203286 h 294221"/>
                <a:gd name="connsiteX5" fmla="*/ 115013 w 180136"/>
                <a:gd name="connsiteY5" fmla="*/ 228805 h 294221"/>
                <a:gd name="connsiteX6" fmla="*/ 64575 w 180136"/>
                <a:gd name="connsiteY6" fmla="*/ 227904 h 294221"/>
                <a:gd name="connsiteX7" fmla="*/ 54668 w 180136"/>
                <a:gd name="connsiteY7" fmla="*/ 203286 h 294221"/>
                <a:gd name="connsiteX8" fmla="*/ 54668 w 180136"/>
                <a:gd name="connsiteY8" fmla="*/ 19247 h 294221"/>
                <a:gd name="connsiteX9" fmla="*/ 38155 w 180136"/>
                <a:gd name="connsiteY9" fmla="*/ 633 h 294221"/>
                <a:gd name="connsiteX10" fmla="*/ 36354 w 180136"/>
                <a:gd name="connsiteY10" fmla="*/ 633 h 294221"/>
                <a:gd name="connsiteX11" fmla="*/ 18341 w 180136"/>
                <a:gd name="connsiteY11" fmla="*/ 633 h 294221"/>
                <a:gd name="connsiteX12" fmla="*/ 27 w 180136"/>
                <a:gd name="connsiteY12" fmla="*/ 18046 h 294221"/>
                <a:gd name="connsiteX13" fmla="*/ 27 w 180136"/>
                <a:gd name="connsiteY13" fmla="*/ 19247 h 294221"/>
                <a:gd name="connsiteX14" fmla="*/ 27 w 180136"/>
                <a:gd name="connsiteY14" fmla="*/ 203286 h 294221"/>
                <a:gd name="connsiteX15" fmla="*/ 26146 w 180136"/>
                <a:gd name="connsiteY15" fmla="*/ 268135 h 294221"/>
                <a:gd name="connsiteX16" fmla="*/ 153443 w 180136"/>
                <a:gd name="connsiteY16" fmla="*/ 268735 h 294221"/>
                <a:gd name="connsiteX17" fmla="*/ 154043 w 180136"/>
                <a:gd name="connsiteY17" fmla="*/ 268135 h 294221"/>
                <a:gd name="connsiteX18" fmla="*/ 180163 w 180136"/>
                <a:gd name="connsiteY18" fmla="*/ 203286 h 294221"/>
                <a:gd name="connsiteX19" fmla="*/ 180163 w 180136"/>
                <a:gd name="connsiteY19" fmla="*/ 18947 h 294221"/>
                <a:gd name="connsiteX20" fmla="*/ 163350 w 180136"/>
                <a:gd name="connsiteY20" fmla="*/ 333 h 294221"/>
                <a:gd name="connsiteX21" fmla="*/ 161549 w 180136"/>
                <a:gd name="connsiteY21" fmla="*/ 333 h 294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80136" h="294221">
                  <a:moveTo>
                    <a:pt x="161849" y="32"/>
                  </a:moveTo>
                  <a:lnTo>
                    <a:pt x="143835" y="32"/>
                  </a:lnTo>
                  <a:cubicBezTo>
                    <a:pt x="133928" y="-568"/>
                    <a:pt x="125521" y="7238"/>
                    <a:pt x="125221" y="17145"/>
                  </a:cubicBezTo>
                  <a:cubicBezTo>
                    <a:pt x="125221" y="17746"/>
                    <a:pt x="125221" y="18646"/>
                    <a:pt x="125221" y="19247"/>
                  </a:cubicBezTo>
                  <a:lnTo>
                    <a:pt x="125221" y="203286"/>
                  </a:lnTo>
                  <a:cubicBezTo>
                    <a:pt x="125521" y="212893"/>
                    <a:pt x="121919" y="222200"/>
                    <a:pt x="115013" y="228805"/>
                  </a:cubicBezTo>
                  <a:cubicBezTo>
                    <a:pt x="100903" y="242615"/>
                    <a:pt x="78086" y="242315"/>
                    <a:pt x="64575" y="227904"/>
                  </a:cubicBezTo>
                  <a:cubicBezTo>
                    <a:pt x="58271" y="221299"/>
                    <a:pt x="54668" y="212593"/>
                    <a:pt x="54668" y="203286"/>
                  </a:cubicBezTo>
                  <a:lnTo>
                    <a:pt x="54668" y="19247"/>
                  </a:lnTo>
                  <a:cubicBezTo>
                    <a:pt x="55268" y="9640"/>
                    <a:pt x="48063" y="1233"/>
                    <a:pt x="38155" y="633"/>
                  </a:cubicBezTo>
                  <a:cubicBezTo>
                    <a:pt x="37555" y="633"/>
                    <a:pt x="36954" y="633"/>
                    <a:pt x="36354" y="633"/>
                  </a:cubicBezTo>
                  <a:lnTo>
                    <a:pt x="18341" y="633"/>
                  </a:lnTo>
                  <a:cubicBezTo>
                    <a:pt x="8433" y="333"/>
                    <a:pt x="327" y="8139"/>
                    <a:pt x="27" y="18046"/>
                  </a:cubicBezTo>
                  <a:cubicBezTo>
                    <a:pt x="27" y="18346"/>
                    <a:pt x="27" y="18947"/>
                    <a:pt x="27" y="19247"/>
                  </a:cubicBezTo>
                  <a:lnTo>
                    <a:pt x="27" y="203286"/>
                  </a:lnTo>
                  <a:cubicBezTo>
                    <a:pt x="-574" y="227604"/>
                    <a:pt x="9033" y="251022"/>
                    <a:pt x="26146" y="268135"/>
                  </a:cubicBezTo>
                  <a:cubicBezTo>
                    <a:pt x="60973" y="303862"/>
                    <a:pt x="118016" y="304162"/>
                    <a:pt x="153443" y="268735"/>
                  </a:cubicBezTo>
                  <a:cubicBezTo>
                    <a:pt x="153743" y="268435"/>
                    <a:pt x="154043" y="268135"/>
                    <a:pt x="154043" y="268135"/>
                  </a:cubicBezTo>
                  <a:cubicBezTo>
                    <a:pt x="171156" y="251022"/>
                    <a:pt x="180463" y="227604"/>
                    <a:pt x="180163" y="203286"/>
                  </a:cubicBezTo>
                  <a:lnTo>
                    <a:pt x="180163" y="18947"/>
                  </a:lnTo>
                  <a:cubicBezTo>
                    <a:pt x="180763" y="9039"/>
                    <a:pt x="173257" y="933"/>
                    <a:pt x="163350" y="333"/>
                  </a:cubicBezTo>
                  <a:cubicBezTo>
                    <a:pt x="162750" y="333"/>
                    <a:pt x="162149" y="333"/>
                    <a:pt x="161549" y="333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36" name="Forme libre : forme 235">
              <a:extLst>
                <a:ext uri="{FF2B5EF4-FFF2-40B4-BE49-F238E27FC236}">
                  <a16:creationId xmlns:a16="http://schemas.microsoft.com/office/drawing/2014/main" id="{E6A5DC08-05CA-466A-93F5-CF62315640AF}"/>
                </a:ext>
              </a:extLst>
            </p:cNvPr>
            <p:cNvSpPr/>
            <p:nvPr/>
          </p:nvSpPr>
          <p:spPr>
            <a:xfrm>
              <a:off x="8374774" y="4369858"/>
              <a:ext cx="189143" cy="285215"/>
            </a:xfrm>
            <a:custGeom>
              <a:avLst/>
              <a:gdLst>
                <a:gd name="connsiteX0" fmla="*/ 124821 w 189142"/>
                <a:gd name="connsiteY0" fmla="*/ 143236 h 285215"/>
                <a:gd name="connsiteX1" fmla="*/ 187869 w 189142"/>
                <a:gd name="connsiteY1" fmla="*/ 25848 h 285215"/>
                <a:gd name="connsiteX2" fmla="*/ 189070 w 189142"/>
                <a:gd name="connsiteY2" fmla="*/ 22545 h 285215"/>
                <a:gd name="connsiteX3" fmla="*/ 185767 w 189142"/>
                <a:gd name="connsiteY3" fmla="*/ 6633 h 285215"/>
                <a:gd name="connsiteX4" fmla="*/ 171657 w 189142"/>
                <a:gd name="connsiteY4" fmla="*/ 28 h 285215"/>
                <a:gd name="connsiteX5" fmla="*/ 153343 w 189142"/>
                <a:gd name="connsiteY5" fmla="*/ 28 h 285215"/>
                <a:gd name="connsiteX6" fmla="*/ 137131 w 189142"/>
                <a:gd name="connsiteY6" fmla="*/ 10536 h 285215"/>
                <a:gd name="connsiteX7" fmla="*/ 94799 w 189142"/>
                <a:gd name="connsiteY7" fmla="*/ 88895 h 285215"/>
                <a:gd name="connsiteX8" fmla="*/ 52767 w 189142"/>
                <a:gd name="connsiteY8" fmla="*/ 11137 h 285215"/>
                <a:gd name="connsiteX9" fmla="*/ 36254 w 189142"/>
                <a:gd name="connsiteY9" fmla="*/ 28 h 285215"/>
                <a:gd name="connsiteX10" fmla="*/ 18241 w 189142"/>
                <a:gd name="connsiteY10" fmla="*/ 28 h 285215"/>
                <a:gd name="connsiteX11" fmla="*/ 3830 w 189142"/>
                <a:gd name="connsiteY11" fmla="*/ 6033 h 285215"/>
                <a:gd name="connsiteX12" fmla="*/ 828 w 189142"/>
                <a:gd name="connsiteY12" fmla="*/ 22545 h 285215"/>
                <a:gd name="connsiteX13" fmla="*/ 2028 w 189142"/>
                <a:gd name="connsiteY13" fmla="*/ 25848 h 285215"/>
                <a:gd name="connsiteX14" fmla="*/ 65076 w 189142"/>
                <a:gd name="connsiteY14" fmla="*/ 143236 h 285215"/>
                <a:gd name="connsiteX15" fmla="*/ 2028 w 189142"/>
                <a:gd name="connsiteY15" fmla="*/ 259724 h 285215"/>
                <a:gd name="connsiteX16" fmla="*/ 1128 w 189142"/>
                <a:gd name="connsiteY16" fmla="*/ 262126 h 285215"/>
                <a:gd name="connsiteX17" fmla="*/ 3530 w 189142"/>
                <a:gd name="connsiteY17" fmla="*/ 278939 h 285215"/>
                <a:gd name="connsiteX18" fmla="*/ 18541 w 189142"/>
                <a:gd name="connsiteY18" fmla="*/ 286144 h 285215"/>
                <a:gd name="connsiteX19" fmla="*/ 37155 w 189142"/>
                <a:gd name="connsiteY19" fmla="*/ 286144 h 285215"/>
                <a:gd name="connsiteX20" fmla="*/ 53367 w 189142"/>
                <a:gd name="connsiteY20" fmla="*/ 275036 h 285215"/>
                <a:gd name="connsiteX21" fmla="*/ 94799 w 189142"/>
                <a:gd name="connsiteY21" fmla="*/ 197877 h 285215"/>
                <a:gd name="connsiteX22" fmla="*/ 136230 w 189142"/>
                <a:gd name="connsiteY22" fmla="*/ 274735 h 285215"/>
                <a:gd name="connsiteX23" fmla="*/ 152742 w 189142"/>
                <a:gd name="connsiteY23" fmla="*/ 285844 h 285215"/>
                <a:gd name="connsiteX24" fmla="*/ 171356 w 189142"/>
                <a:gd name="connsiteY24" fmla="*/ 285844 h 285215"/>
                <a:gd name="connsiteX25" fmla="*/ 186068 w 189142"/>
                <a:gd name="connsiteY25" fmla="*/ 278638 h 285215"/>
                <a:gd name="connsiteX26" fmla="*/ 188469 w 189142"/>
                <a:gd name="connsiteY26" fmla="*/ 261225 h 285215"/>
                <a:gd name="connsiteX27" fmla="*/ 124821 w 189142"/>
                <a:gd name="connsiteY27" fmla="*/ 143236 h 285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89142" h="285215">
                  <a:moveTo>
                    <a:pt x="124821" y="143236"/>
                  </a:moveTo>
                  <a:lnTo>
                    <a:pt x="187869" y="25848"/>
                  </a:lnTo>
                  <a:lnTo>
                    <a:pt x="189070" y="22545"/>
                  </a:lnTo>
                  <a:cubicBezTo>
                    <a:pt x="190571" y="16841"/>
                    <a:pt x="189370" y="11137"/>
                    <a:pt x="185767" y="6633"/>
                  </a:cubicBezTo>
                  <a:cubicBezTo>
                    <a:pt x="182465" y="2430"/>
                    <a:pt x="177061" y="-272"/>
                    <a:pt x="171657" y="28"/>
                  </a:cubicBezTo>
                  <a:lnTo>
                    <a:pt x="153343" y="28"/>
                  </a:lnTo>
                  <a:cubicBezTo>
                    <a:pt x="146137" y="-272"/>
                    <a:pt x="139833" y="3931"/>
                    <a:pt x="137131" y="10536"/>
                  </a:cubicBezTo>
                  <a:lnTo>
                    <a:pt x="94799" y="88895"/>
                  </a:lnTo>
                  <a:lnTo>
                    <a:pt x="52767" y="11137"/>
                  </a:lnTo>
                  <a:cubicBezTo>
                    <a:pt x="50065" y="4231"/>
                    <a:pt x="43460" y="28"/>
                    <a:pt x="36254" y="28"/>
                  </a:cubicBezTo>
                  <a:lnTo>
                    <a:pt x="18241" y="28"/>
                  </a:lnTo>
                  <a:cubicBezTo>
                    <a:pt x="12837" y="-272"/>
                    <a:pt x="7433" y="1830"/>
                    <a:pt x="3830" y="6033"/>
                  </a:cubicBezTo>
                  <a:cubicBezTo>
                    <a:pt x="227" y="10836"/>
                    <a:pt x="-974" y="16841"/>
                    <a:pt x="828" y="22545"/>
                  </a:cubicBezTo>
                  <a:lnTo>
                    <a:pt x="2028" y="25848"/>
                  </a:lnTo>
                  <a:lnTo>
                    <a:pt x="65076" y="143236"/>
                  </a:lnTo>
                  <a:lnTo>
                    <a:pt x="2028" y="259724"/>
                  </a:lnTo>
                  <a:lnTo>
                    <a:pt x="1128" y="262126"/>
                  </a:lnTo>
                  <a:cubicBezTo>
                    <a:pt x="-673" y="267830"/>
                    <a:pt x="227" y="274135"/>
                    <a:pt x="3530" y="278939"/>
                  </a:cubicBezTo>
                  <a:cubicBezTo>
                    <a:pt x="7132" y="283742"/>
                    <a:pt x="12536" y="286144"/>
                    <a:pt x="18541" y="286144"/>
                  </a:cubicBezTo>
                  <a:lnTo>
                    <a:pt x="37155" y="286144"/>
                  </a:lnTo>
                  <a:cubicBezTo>
                    <a:pt x="44361" y="286144"/>
                    <a:pt x="50665" y="281941"/>
                    <a:pt x="53367" y="275036"/>
                  </a:cubicBezTo>
                  <a:lnTo>
                    <a:pt x="94799" y="197877"/>
                  </a:lnTo>
                  <a:lnTo>
                    <a:pt x="136230" y="274735"/>
                  </a:lnTo>
                  <a:cubicBezTo>
                    <a:pt x="138932" y="281641"/>
                    <a:pt x="145537" y="285844"/>
                    <a:pt x="152742" y="285844"/>
                  </a:cubicBezTo>
                  <a:lnTo>
                    <a:pt x="171356" y="285844"/>
                  </a:lnTo>
                  <a:cubicBezTo>
                    <a:pt x="177061" y="286144"/>
                    <a:pt x="182765" y="283442"/>
                    <a:pt x="186068" y="278638"/>
                  </a:cubicBezTo>
                  <a:cubicBezTo>
                    <a:pt x="189670" y="273534"/>
                    <a:pt x="190571" y="267230"/>
                    <a:pt x="188469" y="261225"/>
                  </a:cubicBezTo>
                  <a:lnTo>
                    <a:pt x="124821" y="143236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37" name="Forme libre : forme 236">
              <a:extLst>
                <a:ext uri="{FF2B5EF4-FFF2-40B4-BE49-F238E27FC236}">
                  <a16:creationId xmlns:a16="http://schemas.microsoft.com/office/drawing/2014/main" id="{327DF8B0-8D2F-43F4-8A40-25C724D49306}"/>
                </a:ext>
              </a:extLst>
            </p:cNvPr>
            <p:cNvSpPr/>
            <p:nvPr/>
          </p:nvSpPr>
          <p:spPr>
            <a:xfrm>
              <a:off x="7191198" y="4369210"/>
              <a:ext cx="186141" cy="288217"/>
            </a:xfrm>
            <a:custGeom>
              <a:avLst/>
              <a:gdLst>
                <a:gd name="connsiteX0" fmla="*/ 186149 w 186140"/>
                <a:gd name="connsiteY0" fmla="*/ 264275 h 288217"/>
                <a:gd name="connsiteX1" fmla="*/ 136612 w 186140"/>
                <a:gd name="connsiteY1" fmla="*/ 167903 h 288217"/>
                <a:gd name="connsiteX2" fmla="*/ 154025 w 186140"/>
                <a:gd name="connsiteY2" fmla="*/ 154693 h 288217"/>
                <a:gd name="connsiteX3" fmla="*/ 177443 w 186140"/>
                <a:gd name="connsiteY3" fmla="*/ 97049 h 288217"/>
                <a:gd name="connsiteX4" fmla="*/ 177443 w 186140"/>
                <a:gd name="connsiteY4" fmla="*/ 82038 h 288217"/>
                <a:gd name="connsiteX5" fmla="*/ 154626 w 186140"/>
                <a:gd name="connsiteY5" fmla="*/ 23794 h 288217"/>
                <a:gd name="connsiteX6" fmla="*/ 98183 w 186140"/>
                <a:gd name="connsiteY6" fmla="*/ 76 h 288217"/>
                <a:gd name="connsiteX7" fmla="*/ 18923 w 186140"/>
                <a:gd name="connsiteY7" fmla="*/ 76 h 288217"/>
                <a:gd name="connsiteX8" fmla="*/ 9 w 186140"/>
                <a:gd name="connsiteY8" fmla="*/ 16288 h 288217"/>
                <a:gd name="connsiteX9" fmla="*/ 9 w 186140"/>
                <a:gd name="connsiteY9" fmla="*/ 19290 h 288217"/>
                <a:gd name="connsiteX10" fmla="*/ 9 w 186140"/>
                <a:gd name="connsiteY10" fmla="*/ 271781 h 288217"/>
                <a:gd name="connsiteX11" fmla="*/ 16821 w 186140"/>
                <a:gd name="connsiteY11" fmla="*/ 290395 h 288217"/>
                <a:gd name="connsiteX12" fmla="*/ 18022 w 186140"/>
                <a:gd name="connsiteY12" fmla="*/ 290395 h 288217"/>
                <a:gd name="connsiteX13" fmla="*/ 36036 w 186140"/>
                <a:gd name="connsiteY13" fmla="*/ 290395 h 288217"/>
                <a:gd name="connsiteX14" fmla="*/ 54050 w 186140"/>
                <a:gd name="connsiteY14" fmla="*/ 272381 h 288217"/>
                <a:gd name="connsiteX15" fmla="*/ 54050 w 186140"/>
                <a:gd name="connsiteY15" fmla="*/ 271781 h 288217"/>
                <a:gd name="connsiteX16" fmla="*/ 54050 w 186140"/>
                <a:gd name="connsiteY16" fmla="*/ 178410 h 288217"/>
                <a:gd name="connsiteX17" fmla="*/ 83171 w 186140"/>
                <a:gd name="connsiteY17" fmla="*/ 178410 h 288217"/>
                <a:gd name="connsiteX18" fmla="*/ 133910 w 186140"/>
                <a:gd name="connsiteY18" fmla="*/ 278086 h 288217"/>
                <a:gd name="connsiteX19" fmla="*/ 150422 w 186140"/>
                <a:gd name="connsiteY19" fmla="*/ 289494 h 288217"/>
                <a:gd name="connsiteX20" fmla="*/ 169036 w 186140"/>
                <a:gd name="connsiteY20" fmla="*/ 289494 h 288217"/>
                <a:gd name="connsiteX21" fmla="*/ 183747 w 186140"/>
                <a:gd name="connsiteY21" fmla="*/ 282289 h 288217"/>
                <a:gd name="connsiteX22" fmla="*/ 186149 w 186140"/>
                <a:gd name="connsiteY22" fmla="*/ 265176 h 288217"/>
                <a:gd name="connsiteX23" fmla="*/ 186149 w 186140"/>
                <a:gd name="connsiteY23" fmla="*/ 265176 h 288217"/>
                <a:gd name="connsiteX24" fmla="*/ 123402 w 186140"/>
                <a:gd name="connsiteY24" fmla="*/ 83539 h 288217"/>
                <a:gd name="connsiteX25" fmla="*/ 123402 w 186140"/>
                <a:gd name="connsiteY25" fmla="*/ 97950 h 288217"/>
                <a:gd name="connsiteX26" fmla="*/ 97582 w 186140"/>
                <a:gd name="connsiteY26" fmla="*/ 124370 h 288217"/>
                <a:gd name="connsiteX27" fmla="*/ 54050 w 186140"/>
                <a:gd name="connsiteY27" fmla="*/ 124370 h 288217"/>
                <a:gd name="connsiteX28" fmla="*/ 54050 w 186140"/>
                <a:gd name="connsiteY28" fmla="*/ 56218 h 288217"/>
                <a:gd name="connsiteX29" fmla="*/ 97582 w 186140"/>
                <a:gd name="connsiteY29" fmla="*/ 56218 h 288217"/>
                <a:gd name="connsiteX30" fmla="*/ 115296 w 186140"/>
                <a:gd name="connsiteY30" fmla="*/ 63424 h 288217"/>
                <a:gd name="connsiteX31" fmla="*/ 123102 w 186140"/>
                <a:gd name="connsiteY31" fmla="*/ 82338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86140" h="288217">
                  <a:moveTo>
                    <a:pt x="186149" y="264275"/>
                  </a:moveTo>
                  <a:lnTo>
                    <a:pt x="136612" y="167903"/>
                  </a:lnTo>
                  <a:cubicBezTo>
                    <a:pt x="142917" y="164300"/>
                    <a:pt x="148621" y="159796"/>
                    <a:pt x="154025" y="154693"/>
                  </a:cubicBezTo>
                  <a:cubicBezTo>
                    <a:pt x="169337" y="139681"/>
                    <a:pt x="177743" y="118665"/>
                    <a:pt x="177443" y="97049"/>
                  </a:cubicBezTo>
                  <a:lnTo>
                    <a:pt x="177443" y="82038"/>
                  </a:lnTo>
                  <a:cubicBezTo>
                    <a:pt x="178043" y="60422"/>
                    <a:pt x="169637" y="39105"/>
                    <a:pt x="154626" y="23794"/>
                  </a:cubicBezTo>
                  <a:cubicBezTo>
                    <a:pt x="139914" y="8182"/>
                    <a:pt x="119499" y="-224"/>
                    <a:pt x="98183" y="76"/>
                  </a:cubicBezTo>
                  <a:lnTo>
                    <a:pt x="18923" y="76"/>
                  </a:lnTo>
                  <a:cubicBezTo>
                    <a:pt x="9316" y="-825"/>
                    <a:pt x="909" y="6381"/>
                    <a:pt x="9" y="16288"/>
                  </a:cubicBezTo>
                  <a:cubicBezTo>
                    <a:pt x="9" y="17189"/>
                    <a:pt x="9" y="18390"/>
                    <a:pt x="9" y="19290"/>
                  </a:cubicBezTo>
                  <a:lnTo>
                    <a:pt x="9" y="271781"/>
                  </a:lnTo>
                  <a:cubicBezTo>
                    <a:pt x="-292" y="281688"/>
                    <a:pt x="7214" y="290095"/>
                    <a:pt x="16821" y="290395"/>
                  </a:cubicBezTo>
                  <a:cubicBezTo>
                    <a:pt x="17122" y="290395"/>
                    <a:pt x="17722" y="290395"/>
                    <a:pt x="18022" y="290395"/>
                  </a:cubicBezTo>
                  <a:lnTo>
                    <a:pt x="36036" y="290395"/>
                  </a:lnTo>
                  <a:cubicBezTo>
                    <a:pt x="45943" y="290395"/>
                    <a:pt x="54050" y="282589"/>
                    <a:pt x="54050" y="272381"/>
                  </a:cubicBezTo>
                  <a:cubicBezTo>
                    <a:pt x="54050" y="272081"/>
                    <a:pt x="54050" y="272081"/>
                    <a:pt x="54050" y="271781"/>
                  </a:cubicBezTo>
                  <a:lnTo>
                    <a:pt x="54050" y="178410"/>
                  </a:lnTo>
                  <a:lnTo>
                    <a:pt x="83171" y="178410"/>
                  </a:lnTo>
                  <a:lnTo>
                    <a:pt x="133910" y="278086"/>
                  </a:lnTo>
                  <a:cubicBezTo>
                    <a:pt x="136612" y="284991"/>
                    <a:pt x="143217" y="289494"/>
                    <a:pt x="150422" y="289494"/>
                  </a:cubicBezTo>
                  <a:lnTo>
                    <a:pt x="169036" y="289494"/>
                  </a:lnTo>
                  <a:cubicBezTo>
                    <a:pt x="174741" y="289795"/>
                    <a:pt x="180445" y="287092"/>
                    <a:pt x="183747" y="282289"/>
                  </a:cubicBezTo>
                  <a:cubicBezTo>
                    <a:pt x="187350" y="277185"/>
                    <a:pt x="188251" y="270880"/>
                    <a:pt x="186149" y="265176"/>
                  </a:cubicBezTo>
                  <a:lnTo>
                    <a:pt x="186149" y="265176"/>
                  </a:lnTo>
                  <a:moveTo>
                    <a:pt x="123402" y="83539"/>
                  </a:moveTo>
                  <a:lnTo>
                    <a:pt x="123402" y="97950"/>
                  </a:lnTo>
                  <a:cubicBezTo>
                    <a:pt x="123402" y="112361"/>
                    <a:pt x="111693" y="124370"/>
                    <a:pt x="97582" y="124370"/>
                  </a:cubicBezTo>
                  <a:lnTo>
                    <a:pt x="54050" y="124370"/>
                  </a:lnTo>
                  <a:lnTo>
                    <a:pt x="54050" y="56218"/>
                  </a:lnTo>
                  <a:lnTo>
                    <a:pt x="97582" y="56218"/>
                  </a:lnTo>
                  <a:cubicBezTo>
                    <a:pt x="104187" y="55918"/>
                    <a:pt x="110492" y="58620"/>
                    <a:pt x="115296" y="63424"/>
                  </a:cubicBezTo>
                  <a:cubicBezTo>
                    <a:pt x="120400" y="68227"/>
                    <a:pt x="123402" y="75133"/>
                    <a:pt x="123102" y="82338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38" name="Forme libre : forme 237">
              <a:extLst>
                <a:ext uri="{FF2B5EF4-FFF2-40B4-BE49-F238E27FC236}">
                  <a16:creationId xmlns:a16="http://schemas.microsoft.com/office/drawing/2014/main" id="{EE1A81AD-847E-4805-B99F-AB281DC9C67A}"/>
                </a:ext>
              </a:extLst>
            </p:cNvPr>
            <p:cNvSpPr/>
            <p:nvPr/>
          </p:nvSpPr>
          <p:spPr>
            <a:xfrm>
              <a:off x="6485374" y="4373489"/>
              <a:ext cx="60045" cy="120091"/>
            </a:xfrm>
            <a:custGeom>
              <a:avLst/>
              <a:gdLst>
                <a:gd name="connsiteX0" fmla="*/ 60045 w 60045"/>
                <a:gd name="connsiteY0" fmla="*/ 120391 h 120090"/>
                <a:gd name="connsiteX1" fmla="*/ 54641 w 60045"/>
                <a:gd name="connsiteY1" fmla="*/ 120391 h 120090"/>
                <a:gd name="connsiteX2" fmla="*/ 52840 w 60045"/>
                <a:gd name="connsiteY2" fmla="*/ 118589 h 120090"/>
                <a:gd name="connsiteX3" fmla="*/ 52840 w 60045"/>
                <a:gd name="connsiteY3" fmla="*/ 117088 h 120090"/>
                <a:gd name="connsiteX4" fmla="*/ 51039 w 60045"/>
                <a:gd name="connsiteY4" fmla="*/ 115287 h 120090"/>
                <a:gd name="connsiteX5" fmla="*/ 50138 w 60045"/>
                <a:gd name="connsiteY5" fmla="*/ 115287 h 120090"/>
                <a:gd name="connsiteX6" fmla="*/ 6605 w 60045"/>
                <a:gd name="connsiteY6" fmla="*/ 109583 h 120090"/>
                <a:gd name="connsiteX7" fmla="*/ 0 w 60045"/>
                <a:gd name="connsiteY7" fmla="*/ 90368 h 120090"/>
                <a:gd name="connsiteX8" fmla="*/ 0 w 60045"/>
                <a:gd name="connsiteY8" fmla="*/ 64549 h 120090"/>
                <a:gd name="connsiteX9" fmla="*/ 9007 w 60045"/>
                <a:gd name="connsiteY9" fmla="*/ 43233 h 120090"/>
                <a:gd name="connsiteX10" fmla="*/ 30923 w 60045"/>
                <a:gd name="connsiteY10" fmla="*/ 33926 h 120090"/>
                <a:gd name="connsiteX11" fmla="*/ 47136 w 60045"/>
                <a:gd name="connsiteY11" fmla="*/ 38729 h 120090"/>
                <a:gd name="connsiteX12" fmla="*/ 48336 w 60045"/>
                <a:gd name="connsiteY12" fmla="*/ 38729 h 120090"/>
                <a:gd name="connsiteX13" fmla="*/ 49838 w 60045"/>
                <a:gd name="connsiteY13" fmla="*/ 37228 h 120090"/>
                <a:gd name="connsiteX14" fmla="*/ 49838 w 60045"/>
                <a:gd name="connsiteY14" fmla="*/ 1801 h 120090"/>
                <a:gd name="connsiteX15" fmla="*/ 51039 w 60045"/>
                <a:gd name="connsiteY15" fmla="*/ 0 h 120090"/>
                <a:gd name="connsiteX16" fmla="*/ 51639 w 60045"/>
                <a:gd name="connsiteY16" fmla="*/ 0 h 120090"/>
                <a:gd name="connsiteX17" fmla="*/ 60045 w 60045"/>
                <a:gd name="connsiteY17" fmla="*/ 0 h 120090"/>
                <a:gd name="connsiteX18" fmla="*/ 61546 w 60045"/>
                <a:gd name="connsiteY18" fmla="*/ 1801 h 120090"/>
                <a:gd name="connsiteX19" fmla="*/ 61546 w 60045"/>
                <a:gd name="connsiteY19" fmla="*/ 118589 h 120090"/>
                <a:gd name="connsiteX20" fmla="*/ 60045 w 60045"/>
                <a:gd name="connsiteY20" fmla="*/ 120391 h 120090"/>
                <a:gd name="connsiteX21" fmla="*/ 49838 w 60045"/>
                <a:gd name="connsiteY21" fmla="*/ 65449 h 120090"/>
                <a:gd name="connsiteX22" fmla="*/ 44133 w 60045"/>
                <a:gd name="connsiteY22" fmla="*/ 51639 h 120090"/>
                <a:gd name="connsiteX23" fmla="*/ 17113 w 60045"/>
                <a:gd name="connsiteY23" fmla="*/ 51639 h 120090"/>
                <a:gd name="connsiteX24" fmla="*/ 11409 w 60045"/>
                <a:gd name="connsiteY24" fmla="*/ 65449 h 120090"/>
                <a:gd name="connsiteX25" fmla="*/ 11409 w 60045"/>
                <a:gd name="connsiteY25" fmla="*/ 91269 h 120090"/>
                <a:gd name="connsiteX26" fmla="*/ 16813 w 60045"/>
                <a:gd name="connsiteY26" fmla="*/ 105379 h 120090"/>
                <a:gd name="connsiteX27" fmla="*/ 30623 w 60045"/>
                <a:gd name="connsiteY27" fmla="*/ 111084 h 120090"/>
                <a:gd name="connsiteX28" fmla="*/ 44133 w 60045"/>
                <a:gd name="connsiteY28" fmla="*/ 105379 h 120090"/>
                <a:gd name="connsiteX29" fmla="*/ 49838 w 60045"/>
                <a:gd name="connsiteY29" fmla="*/ 91269 h 120090"/>
                <a:gd name="connsiteX30" fmla="*/ 49838 w 60045"/>
                <a:gd name="connsiteY30" fmla="*/ 65449 h 120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60045" h="120090">
                  <a:moveTo>
                    <a:pt x="60045" y="120391"/>
                  </a:moveTo>
                  <a:lnTo>
                    <a:pt x="54641" y="120391"/>
                  </a:lnTo>
                  <a:cubicBezTo>
                    <a:pt x="53440" y="120391"/>
                    <a:pt x="52840" y="119490"/>
                    <a:pt x="52840" y="118589"/>
                  </a:cubicBezTo>
                  <a:lnTo>
                    <a:pt x="52840" y="117088"/>
                  </a:lnTo>
                  <a:cubicBezTo>
                    <a:pt x="52840" y="115587"/>
                    <a:pt x="52239" y="115287"/>
                    <a:pt x="51039" y="115287"/>
                  </a:cubicBezTo>
                  <a:cubicBezTo>
                    <a:pt x="49838" y="115287"/>
                    <a:pt x="50138" y="115287"/>
                    <a:pt x="50138" y="115287"/>
                  </a:cubicBezTo>
                  <a:cubicBezTo>
                    <a:pt x="36628" y="126095"/>
                    <a:pt x="17113" y="123693"/>
                    <a:pt x="6605" y="109583"/>
                  </a:cubicBezTo>
                  <a:cubicBezTo>
                    <a:pt x="2402" y="104179"/>
                    <a:pt x="0" y="97273"/>
                    <a:pt x="0" y="90368"/>
                  </a:cubicBezTo>
                  <a:lnTo>
                    <a:pt x="0" y="64549"/>
                  </a:lnTo>
                  <a:cubicBezTo>
                    <a:pt x="0" y="56443"/>
                    <a:pt x="3302" y="48937"/>
                    <a:pt x="9007" y="43233"/>
                  </a:cubicBezTo>
                  <a:cubicBezTo>
                    <a:pt x="14711" y="36928"/>
                    <a:pt x="22517" y="33625"/>
                    <a:pt x="30923" y="33926"/>
                  </a:cubicBezTo>
                  <a:cubicBezTo>
                    <a:pt x="36628" y="33926"/>
                    <a:pt x="42332" y="35427"/>
                    <a:pt x="47136" y="38729"/>
                  </a:cubicBezTo>
                  <a:lnTo>
                    <a:pt x="48336" y="38729"/>
                  </a:lnTo>
                  <a:cubicBezTo>
                    <a:pt x="49537" y="38729"/>
                    <a:pt x="49838" y="38729"/>
                    <a:pt x="49838" y="37228"/>
                  </a:cubicBezTo>
                  <a:lnTo>
                    <a:pt x="49838" y="1801"/>
                  </a:lnTo>
                  <a:cubicBezTo>
                    <a:pt x="49537" y="901"/>
                    <a:pt x="50138" y="300"/>
                    <a:pt x="51039" y="0"/>
                  </a:cubicBezTo>
                  <a:cubicBezTo>
                    <a:pt x="51339" y="0"/>
                    <a:pt x="51339" y="0"/>
                    <a:pt x="51639" y="0"/>
                  </a:cubicBezTo>
                  <a:lnTo>
                    <a:pt x="60045" y="0"/>
                  </a:lnTo>
                  <a:cubicBezTo>
                    <a:pt x="61246" y="0"/>
                    <a:pt x="61546" y="0"/>
                    <a:pt x="61546" y="1801"/>
                  </a:cubicBezTo>
                  <a:lnTo>
                    <a:pt x="61546" y="118589"/>
                  </a:lnTo>
                  <a:cubicBezTo>
                    <a:pt x="61546" y="119790"/>
                    <a:pt x="61546" y="120691"/>
                    <a:pt x="60045" y="120391"/>
                  </a:cubicBezTo>
                  <a:moveTo>
                    <a:pt x="49838" y="65449"/>
                  </a:moveTo>
                  <a:cubicBezTo>
                    <a:pt x="50138" y="60346"/>
                    <a:pt x="48036" y="55242"/>
                    <a:pt x="44133" y="51639"/>
                  </a:cubicBezTo>
                  <a:cubicBezTo>
                    <a:pt x="36628" y="43833"/>
                    <a:pt x="24619" y="44133"/>
                    <a:pt x="17113" y="51639"/>
                  </a:cubicBezTo>
                  <a:cubicBezTo>
                    <a:pt x="13510" y="55242"/>
                    <a:pt x="11409" y="60346"/>
                    <a:pt x="11409" y="65449"/>
                  </a:cubicBezTo>
                  <a:lnTo>
                    <a:pt x="11409" y="91269"/>
                  </a:lnTo>
                  <a:cubicBezTo>
                    <a:pt x="11409" y="96673"/>
                    <a:pt x="13210" y="101777"/>
                    <a:pt x="16813" y="105379"/>
                  </a:cubicBezTo>
                  <a:cubicBezTo>
                    <a:pt x="20415" y="109282"/>
                    <a:pt x="25219" y="111084"/>
                    <a:pt x="30623" y="111084"/>
                  </a:cubicBezTo>
                  <a:cubicBezTo>
                    <a:pt x="35727" y="111084"/>
                    <a:pt x="40531" y="108982"/>
                    <a:pt x="44133" y="105379"/>
                  </a:cubicBezTo>
                  <a:cubicBezTo>
                    <a:pt x="47736" y="101777"/>
                    <a:pt x="49838" y="96673"/>
                    <a:pt x="49838" y="91269"/>
                  </a:cubicBezTo>
                  <a:lnTo>
                    <a:pt x="49838" y="65449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39" name="Forme libre : forme 238">
              <a:extLst>
                <a:ext uri="{FF2B5EF4-FFF2-40B4-BE49-F238E27FC236}">
                  <a16:creationId xmlns:a16="http://schemas.microsoft.com/office/drawing/2014/main" id="{5FEDD632-ED9C-4751-8335-351F78E28A7C}"/>
                </a:ext>
              </a:extLst>
            </p:cNvPr>
            <p:cNvSpPr/>
            <p:nvPr/>
          </p:nvSpPr>
          <p:spPr>
            <a:xfrm>
              <a:off x="6570319" y="4403924"/>
              <a:ext cx="57043" cy="93070"/>
            </a:xfrm>
            <a:custGeom>
              <a:avLst/>
              <a:gdLst>
                <a:gd name="connsiteX0" fmla="*/ 56762 w 57043"/>
                <a:gd name="connsiteY0" fmla="*/ 52728 h 93070"/>
                <a:gd name="connsiteX1" fmla="*/ 12929 w 57043"/>
                <a:gd name="connsiteY1" fmla="*/ 52728 h 93070"/>
                <a:gd name="connsiteX2" fmla="*/ 11127 w 57043"/>
                <a:gd name="connsiteY2" fmla="*/ 54229 h 93070"/>
                <a:gd name="connsiteX3" fmla="*/ 11127 w 57043"/>
                <a:gd name="connsiteY3" fmla="*/ 54529 h 93070"/>
                <a:gd name="connsiteX4" fmla="*/ 11127 w 57043"/>
                <a:gd name="connsiteY4" fmla="*/ 59933 h 93070"/>
                <a:gd name="connsiteX5" fmla="*/ 16832 w 57043"/>
                <a:gd name="connsiteY5" fmla="*/ 74644 h 93070"/>
                <a:gd name="connsiteX6" fmla="*/ 30642 w 57043"/>
                <a:gd name="connsiteY6" fmla="*/ 80949 h 93070"/>
                <a:gd name="connsiteX7" fmla="*/ 48956 w 57043"/>
                <a:gd name="connsiteY7" fmla="*/ 74644 h 93070"/>
                <a:gd name="connsiteX8" fmla="*/ 51057 w 57043"/>
                <a:gd name="connsiteY8" fmla="*/ 74644 h 93070"/>
                <a:gd name="connsiteX9" fmla="*/ 51057 w 57043"/>
                <a:gd name="connsiteY9" fmla="*/ 74644 h 93070"/>
                <a:gd name="connsiteX10" fmla="*/ 55861 w 57043"/>
                <a:gd name="connsiteY10" fmla="*/ 82150 h 93070"/>
                <a:gd name="connsiteX11" fmla="*/ 56161 w 57043"/>
                <a:gd name="connsiteY11" fmla="*/ 84552 h 93070"/>
                <a:gd name="connsiteX12" fmla="*/ 55861 w 57043"/>
                <a:gd name="connsiteY12" fmla="*/ 84852 h 93070"/>
                <a:gd name="connsiteX13" fmla="*/ 30942 w 57043"/>
                <a:gd name="connsiteY13" fmla="*/ 93558 h 93070"/>
                <a:gd name="connsiteX14" fmla="*/ 9026 w 57043"/>
                <a:gd name="connsiteY14" fmla="*/ 83651 h 93070"/>
                <a:gd name="connsiteX15" fmla="*/ 19 w 57043"/>
                <a:gd name="connsiteY15" fmla="*/ 59633 h 93070"/>
                <a:gd name="connsiteX16" fmla="*/ 19 w 57043"/>
                <a:gd name="connsiteY16" fmla="*/ 32012 h 93070"/>
                <a:gd name="connsiteX17" fmla="*/ 8725 w 57043"/>
                <a:gd name="connsiteY17" fmla="*/ 9195 h 93070"/>
                <a:gd name="connsiteX18" fmla="*/ 50457 w 57043"/>
                <a:gd name="connsiteY18" fmla="*/ 9495 h 93070"/>
                <a:gd name="connsiteX19" fmla="*/ 58863 w 57043"/>
                <a:gd name="connsiteY19" fmla="*/ 32012 h 93070"/>
                <a:gd name="connsiteX20" fmla="*/ 58863 w 57043"/>
                <a:gd name="connsiteY20" fmla="*/ 50626 h 93070"/>
                <a:gd name="connsiteX21" fmla="*/ 56762 w 57043"/>
                <a:gd name="connsiteY21" fmla="*/ 52728 h 93070"/>
                <a:gd name="connsiteX22" fmla="*/ 46854 w 57043"/>
                <a:gd name="connsiteY22" fmla="*/ 32312 h 93070"/>
                <a:gd name="connsiteX23" fmla="*/ 41750 w 57043"/>
                <a:gd name="connsiteY23" fmla="*/ 18802 h 93070"/>
                <a:gd name="connsiteX24" fmla="*/ 29141 w 57043"/>
                <a:gd name="connsiteY24" fmla="*/ 13398 h 93070"/>
                <a:gd name="connsiteX25" fmla="*/ 16531 w 57043"/>
                <a:gd name="connsiteY25" fmla="*/ 18802 h 93070"/>
                <a:gd name="connsiteX26" fmla="*/ 11127 w 57043"/>
                <a:gd name="connsiteY26" fmla="*/ 32312 h 93070"/>
                <a:gd name="connsiteX27" fmla="*/ 11127 w 57043"/>
                <a:gd name="connsiteY27" fmla="*/ 38017 h 93070"/>
                <a:gd name="connsiteX28" fmla="*/ 12328 w 57043"/>
                <a:gd name="connsiteY28" fmla="*/ 40118 h 93070"/>
                <a:gd name="connsiteX29" fmla="*/ 12628 w 57043"/>
                <a:gd name="connsiteY29" fmla="*/ 40118 h 93070"/>
                <a:gd name="connsiteX30" fmla="*/ 44452 w 57043"/>
                <a:gd name="connsiteY30" fmla="*/ 40118 h 93070"/>
                <a:gd name="connsiteX31" fmla="*/ 45954 w 57043"/>
                <a:gd name="connsiteY31" fmla="*/ 38017 h 93070"/>
                <a:gd name="connsiteX32" fmla="*/ 46854 w 57043"/>
                <a:gd name="connsiteY32" fmla="*/ 32312 h 93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57043" h="93070">
                  <a:moveTo>
                    <a:pt x="56762" y="52728"/>
                  </a:moveTo>
                  <a:lnTo>
                    <a:pt x="12929" y="52728"/>
                  </a:lnTo>
                  <a:cubicBezTo>
                    <a:pt x="12028" y="52728"/>
                    <a:pt x="11127" y="53328"/>
                    <a:pt x="11127" y="54229"/>
                  </a:cubicBezTo>
                  <a:cubicBezTo>
                    <a:pt x="11127" y="54229"/>
                    <a:pt x="11127" y="54529"/>
                    <a:pt x="11127" y="54529"/>
                  </a:cubicBezTo>
                  <a:lnTo>
                    <a:pt x="11127" y="59933"/>
                  </a:lnTo>
                  <a:cubicBezTo>
                    <a:pt x="11127" y="65637"/>
                    <a:pt x="13229" y="70741"/>
                    <a:pt x="16832" y="74644"/>
                  </a:cubicBezTo>
                  <a:cubicBezTo>
                    <a:pt x="20434" y="78547"/>
                    <a:pt x="25238" y="80949"/>
                    <a:pt x="30642" y="80949"/>
                  </a:cubicBezTo>
                  <a:cubicBezTo>
                    <a:pt x="37247" y="80949"/>
                    <a:pt x="43552" y="78847"/>
                    <a:pt x="48956" y="74644"/>
                  </a:cubicBezTo>
                  <a:cubicBezTo>
                    <a:pt x="49556" y="74044"/>
                    <a:pt x="50457" y="74044"/>
                    <a:pt x="51057" y="74644"/>
                  </a:cubicBezTo>
                  <a:cubicBezTo>
                    <a:pt x="51057" y="74644"/>
                    <a:pt x="51057" y="74644"/>
                    <a:pt x="51057" y="74644"/>
                  </a:cubicBezTo>
                  <a:lnTo>
                    <a:pt x="55861" y="82150"/>
                  </a:lnTo>
                  <a:cubicBezTo>
                    <a:pt x="56461" y="82750"/>
                    <a:pt x="56762" y="83651"/>
                    <a:pt x="56161" y="84552"/>
                  </a:cubicBezTo>
                  <a:cubicBezTo>
                    <a:pt x="56161" y="84552"/>
                    <a:pt x="55861" y="84852"/>
                    <a:pt x="55861" y="84852"/>
                  </a:cubicBezTo>
                  <a:cubicBezTo>
                    <a:pt x="48656" y="90556"/>
                    <a:pt x="39949" y="93558"/>
                    <a:pt x="30942" y="93558"/>
                  </a:cubicBezTo>
                  <a:cubicBezTo>
                    <a:pt x="22836" y="93558"/>
                    <a:pt x="14730" y="89956"/>
                    <a:pt x="9026" y="83651"/>
                  </a:cubicBezTo>
                  <a:cubicBezTo>
                    <a:pt x="3021" y="77346"/>
                    <a:pt x="-281" y="68640"/>
                    <a:pt x="19" y="59633"/>
                  </a:cubicBezTo>
                  <a:lnTo>
                    <a:pt x="19" y="32012"/>
                  </a:lnTo>
                  <a:cubicBezTo>
                    <a:pt x="19" y="23606"/>
                    <a:pt x="3021" y="15199"/>
                    <a:pt x="8725" y="9195"/>
                  </a:cubicBezTo>
                  <a:cubicBezTo>
                    <a:pt x="20434" y="-3115"/>
                    <a:pt x="39048" y="-3115"/>
                    <a:pt x="50457" y="9495"/>
                  </a:cubicBezTo>
                  <a:cubicBezTo>
                    <a:pt x="55861" y="15500"/>
                    <a:pt x="58863" y="23606"/>
                    <a:pt x="58863" y="32012"/>
                  </a:cubicBezTo>
                  <a:lnTo>
                    <a:pt x="58863" y="50626"/>
                  </a:lnTo>
                  <a:cubicBezTo>
                    <a:pt x="58863" y="52127"/>
                    <a:pt x="58863" y="52728"/>
                    <a:pt x="56762" y="52728"/>
                  </a:cubicBezTo>
                  <a:moveTo>
                    <a:pt x="46854" y="32312"/>
                  </a:moveTo>
                  <a:cubicBezTo>
                    <a:pt x="46854" y="27208"/>
                    <a:pt x="45053" y="22405"/>
                    <a:pt x="41750" y="18802"/>
                  </a:cubicBezTo>
                  <a:cubicBezTo>
                    <a:pt x="38448" y="15199"/>
                    <a:pt x="33944" y="13098"/>
                    <a:pt x="29141" y="13398"/>
                  </a:cubicBezTo>
                  <a:cubicBezTo>
                    <a:pt x="24337" y="13098"/>
                    <a:pt x="19834" y="15199"/>
                    <a:pt x="16531" y="18802"/>
                  </a:cubicBezTo>
                  <a:cubicBezTo>
                    <a:pt x="12929" y="22405"/>
                    <a:pt x="11127" y="27208"/>
                    <a:pt x="11127" y="32312"/>
                  </a:cubicBezTo>
                  <a:lnTo>
                    <a:pt x="11127" y="38017"/>
                  </a:lnTo>
                  <a:cubicBezTo>
                    <a:pt x="11127" y="38917"/>
                    <a:pt x="11728" y="39818"/>
                    <a:pt x="12328" y="40118"/>
                  </a:cubicBezTo>
                  <a:cubicBezTo>
                    <a:pt x="12328" y="40118"/>
                    <a:pt x="12628" y="40118"/>
                    <a:pt x="12628" y="40118"/>
                  </a:cubicBezTo>
                  <a:lnTo>
                    <a:pt x="44452" y="40118"/>
                  </a:lnTo>
                  <a:cubicBezTo>
                    <a:pt x="45653" y="40118"/>
                    <a:pt x="45954" y="39217"/>
                    <a:pt x="45954" y="38017"/>
                  </a:cubicBezTo>
                  <a:lnTo>
                    <a:pt x="46854" y="32312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40" name="Forme libre : forme 239">
              <a:extLst>
                <a:ext uri="{FF2B5EF4-FFF2-40B4-BE49-F238E27FC236}">
                  <a16:creationId xmlns:a16="http://schemas.microsoft.com/office/drawing/2014/main" id="{9F2B949D-579B-4C02-9CB9-20D20ABC55B6}"/>
                </a:ext>
              </a:extLst>
            </p:cNvPr>
            <p:cNvSpPr/>
            <p:nvPr/>
          </p:nvSpPr>
          <p:spPr>
            <a:xfrm>
              <a:off x="6495581" y="4006913"/>
              <a:ext cx="66050" cy="144109"/>
            </a:xfrm>
            <a:custGeom>
              <a:avLst/>
              <a:gdLst>
                <a:gd name="connsiteX0" fmla="*/ 68151 w 66049"/>
                <a:gd name="connsiteY0" fmla="*/ 0 h 144108"/>
                <a:gd name="connsiteX1" fmla="*/ 68151 w 66049"/>
                <a:gd name="connsiteY1" fmla="*/ 144409 h 144108"/>
                <a:gd name="connsiteX2" fmla="*/ 28522 w 66049"/>
                <a:gd name="connsiteY2" fmla="*/ 106280 h 144108"/>
                <a:gd name="connsiteX3" fmla="*/ 28522 w 66049"/>
                <a:gd name="connsiteY3" fmla="*/ 10808 h 144108"/>
                <a:gd name="connsiteX4" fmla="*/ 0 w 66049"/>
                <a:gd name="connsiteY4" fmla="*/ 10808 h 144108"/>
                <a:gd name="connsiteX5" fmla="*/ 0 w 66049"/>
                <a:gd name="connsiteY5" fmla="*/ 1501 h 144108"/>
                <a:gd name="connsiteX6" fmla="*/ 68151 w 66049"/>
                <a:gd name="connsiteY6" fmla="*/ 0 h 144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049" h="144108">
                  <a:moveTo>
                    <a:pt x="68151" y="0"/>
                  </a:moveTo>
                  <a:lnTo>
                    <a:pt x="68151" y="144409"/>
                  </a:lnTo>
                  <a:lnTo>
                    <a:pt x="28522" y="106280"/>
                  </a:lnTo>
                  <a:lnTo>
                    <a:pt x="28522" y="10808"/>
                  </a:lnTo>
                  <a:lnTo>
                    <a:pt x="0" y="10808"/>
                  </a:lnTo>
                  <a:lnTo>
                    <a:pt x="0" y="1501"/>
                  </a:lnTo>
                  <a:cubicBezTo>
                    <a:pt x="21616" y="2402"/>
                    <a:pt x="44133" y="600"/>
                    <a:pt x="68151" y="0"/>
                  </a:cubicBezTo>
                  <a:close/>
                </a:path>
              </a:pathLst>
            </a:custGeom>
            <a:solidFill>
              <a:srgbClr val="009FE3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</p:grpSp>
      <p:sp>
        <p:nvSpPr>
          <p:cNvPr id="124" name="Rectangle 123">
            <a:hlinkClick r:id="rId2"/>
            <a:extLst>
              <a:ext uri="{FF2B5EF4-FFF2-40B4-BE49-F238E27FC236}">
                <a16:creationId xmlns:a16="http://schemas.microsoft.com/office/drawing/2014/main" id="{35F4AE06-723F-4907-A0C1-25C2A55668EF}"/>
              </a:ext>
            </a:extLst>
          </p:cNvPr>
          <p:cNvSpPr/>
          <p:nvPr userDrawn="1"/>
        </p:nvSpPr>
        <p:spPr>
          <a:xfrm>
            <a:off x="3294590" y="1121624"/>
            <a:ext cx="90922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srgbClr val="3A1B0B"/>
                </a:solidFill>
              </a:rPr>
              <a:t>@</a:t>
            </a:r>
            <a:r>
              <a:rPr lang="fr-FR" sz="800" dirty="0" err="1">
                <a:solidFill>
                  <a:srgbClr val="3A1B0B"/>
                </a:solidFill>
              </a:rPr>
              <a:t>univbordeaux</a:t>
            </a:r>
            <a:endParaRPr lang="fr-FR" sz="800" dirty="0">
              <a:solidFill>
                <a:srgbClr val="3A1B0B"/>
              </a:solidFill>
            </a:endParaRPr>
          </a:p>
        </p:txBody>
      </p:sp>
      <p:pic>
        <p:nvPicPr>
          <p:cNvPr id="125" name="Graphique 124">
            <a:hlinkClick r:id="rId2"/>
            <a:extLst>
              <a:ext uri="{FF2B5EF4-FFF2-40B4-BE49-F238E27FC236}">
                <a16:creationId xmlns:a16="http://schemas.microsoft.com/office/drawing/2014/main" id="{C6FD32D5-7851-419E-B042-2C17E6452CA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69202" y="702273"/>
            <a:ext cx="360000" cy="360000"/>
          </a:xfrm>
          <a:prstGeom prst="rect">
            <a:avLst/>
          </a:prstGeom>
        </p:spPr>
      </p:pic>
      <p:pic>
        <p:nvPicPr>
          <p:cNvPr id="126" name="Graphique 125">
            <a:hlinkClick r:id="rId5"/>
            <a:extLst>
              <a:ext uri="{FF2B5EF4-FFF2-40B4-BE49-F238E27FC236}">
                <a16:creationId xmlns:a16="http://schemas.microsoft.com/office/drawing/2014/main" id="{AC4BA783-078F-4C6E-BE4E-E143E9F636D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894972" y="702273"/>
            <a:ext cx="360000" cy="360000"/>
          </a:xfrm>
          <a:prstGeom prst="rect">
            <a:avLst/>
          </a:prstGeom>
        </p:spPr>
      </p:pic>
      <p:sp>
        <p:nvSpPr>
          <p:cNvPr id="127" name="Rectangle 126">
            <a:hlinkClick r:id="rId5"/>
            <a:extLst>
              <a:ext uri="{FF2B5EF4-FFF2-40B4-BE49-F238E27FC236}">
                <a16:creationId xmlns:a16="http://schemas.microsoft.com/office/drawing/2014/main" id="{0DEFADA8-A00E-42F6-AAA8-08025CB38A01}"/>
              </a:ext>
            </a:extLst>
          </p:cNvPr>
          <p:cNvSpPr/>
          <p:nvPr userDrawn="1"/>
        </p:nvSpPr>
        <p:spPr>
          <a:xfrm>
            <a:off x="6620360" y="1121624"/>
            <a:ext cx="90922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srgbClr val="3A1B0B"/>
                </a:solidFill>
              </a:rPr>
              <a:t>@</a:t>
            </a:r>
            <a:r>
              <a:rPr lang="fr-FR" sz="800" dirty="0" err="1">
                <a:solidFill>
                  <a:srgbClr val="3A1B0B"/>
                </a:solidFill>
              </a:rPr>
              <a:t>univbordeaux</a:t>
            </a:r>
            <a:endParaRPr lang="fr-FR" sz="800" dirty="0">
              <a:solidFill>
                <a:srgbClr val="3A1B0B"/>
              </a:solidFill>
            </a:endParaRPr>
          </a:p>
        </p:txBody>
      </p:sp>
      <p:sp>
        <p:nvSpPr>
          <p:cNvPr id="128" name="Rectangle 127">
            <a:hlinkClick r:id="rId8"/>
            <a:extLst>
              <a:ext uri="{FF2B5EF4-FFF2-40B4-BE49-F238E27FC236}">
                <a16:creationId xmlns:a16="http://schemas.microsoft.com/office/drawing/2014/main" id="{43060483-BA3F-4429-9DB5-CBA75DDBC66C}"/>
              </a:ext>
            </a:extLst>
          </p:cNvPr>
          <p:cNvSpPr/>
          <p:nvPr userDrawn="1"/>
        </p:nvSpPr>
        <p:spPr>
          <a:xfrm>
            <a:off x="2277866" y="2154670"/>
            <a:ext cx="127631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srgbClr val="3A1B0B"/>
                </a:solidFill>
              </a:rPr>
              <a:t>@</a:t>
            </a:r>
            <a:r>
              <a:rPr lang="fr-FR" sz="800" dirty="0" err="1">
                <a:solidFill>
                  <a:srgbClr val="3A1B0B"/>
                </a:solidFill>
              </a:rPr>
              <a:t>universitedebordeaux</a:t>
            </a:r>
            <a:endParaRPr lang="fr-FR" sz="800" dirty="0">
              <a:solidFill>
                <a:srgbClr val="3A1B0B"/>
              </a:solidFill>
            </a:endParaRPr>
          </a:p>
        </p:txBody>
      </p:sp>
      <p:pic>
        <p:nvPicPr>
          <p:cNvPr id="129" name="Graphique 128">
            <a:hlinkClick r:id="rId8"/>
            <a:extLst>
              <a:ext uri="{FF2B5EF4-FFF2-40B4-BE49-F238E27FC236}">
                <a16:creationId xmlns:a16="http://schemas.microsoft.com/office/drawing/2014/main" id="{64F997C0-D043-4AC6-968A-B1C30BBB2282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736022" y="1735319"/>
            <a:ext cx="360000" cy="360000"/>
          </a:xfrm>
          <a:prstGeom prst="rect">
            <a:avLst/>
          </a:prstGeom>
        </p:spPr>
      </p:pic>
      <p:pic>
        <p:nvPicPr>
          <p:cNvPr id="130" name="Graphique 129">
            <a:hlinkClick r:id="rId11"/>
            <a:extLst>
              <a:ext uri="{FF2B5EF4-FFF2-40B4-BE49-F238E27FC236}">
                <a16:creationId xmlns:a16="http://schemas.microsoft.com/office/drawing/2014/main" id="{83FCBC0C-46CD-4319-932E-4A574B930242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232820" y="702273"/>
            <a:ext cx="360000" cy="360000"/>
          </a:xfrm>
          <a:prstGeom prst="rect">
            <a:avLst/>
          </a:prstGeom>
        </p:spPr>
      </p:pic>
      <p:pic>
        <p:nvPicPr>
          <p:cNvPr id="131" name="Graphique 130">
            <a:hlinkClick r:id="rId14"/>
            <a:extLst>
              <a:ext uri="{FF2B5EF4-FFF2-40B4-BE49-F238E27FC236}">
                <a16:creationId xmlns:a16="http://schemas.microsoft.com/office/drawing/2014/main" id="{1819CD89-E770-4FC4-A88B-BD521AE63294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904363" y="702273"/>
            <a:ext cx="360000" cy="360000"/>
          </a:xfrm>
          <a:prstGeom prst="rect">
            <a:avLst/>
          </a:prstGeom>
        </p:spPr>
      </p:pic>
      <p:sp>
        <p:nvSpPr>
          <p:cNvPr id="132" name="Rectangle 131">
            <a:hlinkClick r:id="rId14"/>
            <a:extLst>
              <a:ext uri="{FF2B5EF4-FFF2-40B4-BE49-F238E27FC236}">
                <a16:creationId xmlns:a16="http://schemas.microsoft.com/office/drawing/2014/main" id="{FD3B5232-D5E9-44F0-9C33-33247F54B052}"/>
              </a:ext>
            </a:extLst>
          </p:cNvPr>
          <p:cNvSpPr/>
          <p:nvPr userDrawn="1"/>
        </p:nvSpPr>
        <p:spPr>
          <a:xfrm>
            <a:off x="1560019" y="1121624"/>
            <a:ext cx="104868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srgbClr val="3A1B0B"/>
                </a:solidFill>
              </a:rPr>
              <a:t>www.u-bordeaux.fr</a:t>
            </a:r>
          </a:p>
        </p:txBody>
      </p:sp>
      <p:pic>
        <p:nvPicPr>
          <p:cNvPr id="133" name="Graphique 132">
            <a:hlinkClick r:id="rId17"/>
            <a:extLst>
              <a:ext uri="{FF2B5EF4-FFF2-40B4-BE49-F238E27FC236}">
                <a16:creationId xmlns:a16="http://schemas.microsoft.com/office/drawing/2014/main" id="{5E1444FE-01A7-45A1-BCDA-AF5DE3864777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060942" y="1735319"/>
            <a:ext cx="360000" cy="360000"/>
          </a:xfrm>
          <a:prstGeom prst="rect">
            <a:avLst/>
          </a:prstGeom>
        </p:spPr>
      </p:pic>
      <p:pic>
        <p:nvPicPr>
          <p:cNvPr id="134" name="Graphique 133">
            <a:extLst>
              <a:ext uri="{FF2B5EF4-FFF2-40B4-BE49-F238E27FC236}">
                <a16:creationId xmlns:a16="http://schemas.microsoft.com/office/drawing/2014/main" id="{AE8061E4-BB31-415B-8A63-EE72EEB79D9C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4400221" y="1735319"/>
            <a:ext cx="360000" cy="360000"/>
          </a:xfrm>
          <a:prstGeom prst="rect">
            <a:avLst/>
          </a:prstGeom>
        </p:spPr>
      </p:pic>
      <p:sp>
        <p:nvSpPr>
          <p:cNvPr id="135" name="Rectangle 134">
            <a:extLst>
              <a:ext uri="{FF2B5EF4-FFF2-40B4-BE49-F238E27FC236}">
                <a16:creationId xmlns:a16="http://schemas.microsoft.com/office/drawing/2014/main" id="{C8AD63C4-784A-4776-9B5D-FA8BD25ACF8C}"/>
              </a:ext>
            </a:extLst>
          </p:cNvPr>
          <p:cNvSpPr/>
          <p:nvPr userDrawn="1"/>
        </p:nvSpPr>
        <p:spPr>
          <a:xfrm>
            <a:off x="4029281" y="2154670"/>
            <a:ext cx="108876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srgbClr val="3A1B0B"/>
                </a:solidFill>
              </a:rPr>
              <a:t>Appli mobile </a:t>
            </a:r>
            <a:r>
              <a:rPr lang="fr-FR" sz="800" dirty="0" err="1">
                <a:solidFill>
                  <a:srgbClr val="3A1B0B"/>
                </a:solidFill>
              </a:rPr>
              <a:t>U&amp;me</a:t>
            </a:r>
            <a:endParaRPr lang="fr-FR" sz="800" dirty="0">
              <a:solidFill>
                <a:srgbClr val="3A1B0B"/>
              </a:solidFill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26C582E0-BC44-4452-B431-ACC02FF3B9A7}"/>
              </a:ext>
            </a:extLst>
          </p:cNvPr>
          <p:cNvSpPr/>
          <p:nvPr userDrawn="1"/>
        </p:nvSpPr>
        <p:spPr>
          <a:xfrm>
            <a:off x="5780492" y="2154670"/>
            <a:ext cx="90922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srgbClr val="3A1B0B"/>
                </a:solidFill>
              </a:rPr>
              <a:t>@</a:t>
            </a:r>
            <a:r>
              <a:rPr lang="fr-FR" sz="800" dirty="0" err="1">
                <a:solidFill>
                  <a:srgbClr val="3A1B0B"/>
                </a:solidFill>
              </a:rPr>
              <a:t>univbordeaux</a:t>
            </a:r>
            <a:endParaRPr lang="fr-FR" sz="800" dirty="0">
              <a:solidFill>
                <a:srgbClr val="3A1B0B"/>
              </a:solidFill>
            </a:endParaRPr>
          </a:p>
        </p:txBody>
      </p:sp>
      <p:sp>
        <p:nvSpPr>
          <p:cNvPr id="137" name="Rectangle 136">
            <a:hlinkClick r:id="rId11"/>
            <a:extLst>
              <a:ext uri="{FF2B5EF4-FFF2-40B4-BE49-F238E27FC236}">
                <a16:creationId xmlns:a16="http://schemas.microsoft.com/office/drawing/2014/main" id="{191CC0A6-AEB3-4CFD-B3D3-4BB18C95F655}"/>
              </a:ext>
            </a:extLst>
          </p:cNvPr>
          <p:cNvSpPr/>
          <p:nvPr userDrawn="1"/>
        </p:nvSpPr>
        <p:spPr>
          <a:xfrm>
            <a:off x="4774665" y="1121624"/>
            <a:ext cx="127631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srgbClr val="3A1B0B"/>
                </a:solidFill>
              </a:rPr>
              <a:t>@</a:t>
            </a:r>
            <a:r>
              <a:rPr lang="fr-FR" sz="800" dirty="0" err="1">
                <a:solidFill>
                  <a:srgbClr val="3A1B0B"/>
                </a:solidFill>
              </a:rPr>
              <a:t>universitedebordeaux</a:t>
            </a:r>
            <a:endParaRPr lang="fr-FR" sz="800" dirty="0">
              <a:solidFill>
                <a:srgbClr val="3A1B0B"/>
              </a:solidFill>
            </a:endParaRPr>
          </a:p>
        </p:txBody>
      </p:sp>
      <p:sp>
        <p:nvSpPr>
          <p:cNvPr id="141" name="Espace réservé du texte 140">
            <a:extLst>
              <a:ext uri="{FF2B5EF4-FFF2-40B4-BE49-F238E27FC236}">
                <a16:creationId xmlns:a16="http://schemas.microsoft.com/office/drawing/2014/main" id="{EE880427-05D3-40E0-A2B2-744B3528ADE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4417" y="2973427"/>
            <a:ext cx="5915166" cy="31393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algn="ctr" defTabSz="457200">
              <a:buNone/>
              <a:tabLst>
                <a:tab pos="2066925" algn="l"/>
              </a:tabLst>
              <a:defRPr lang="fr-FR" sz="1600" b="1" dirty="0" smtClean="0">
                <a:solidFill>
                  <a:schemeClr val="tx1"/>
                </a:solidFill>
              </a:defRPr>
            </a:lvl1pPr>
          </a:lstStyle>
          <a:p>
            <a:pPr marL="0" lvl="0" algn="ctr" defTabSz="457200"/>
            <a:r>
              <a:rPr lang="fr-FR" dirty="0"/>
              <a:t>Message / remerciement</a:t>
            </a:r>
          </a:p>
        </p:txBody>
      </p:sp>
      <p:sp>
        <p:nvSpPr>
          <p:cNvPr id="144" name="Espace réservé du texte 143">
            <a:extLst>
              <a:ext uri="{FF2B5EF4-FFF2-40B4-BE49-F238E27FC236}">
                <a16:creationId xmlns:a16="http://schemas.microsoft.com/office/drawing/2014/main" id="{C20905A2-6F02-47AA-AF2E-63158D48679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5689" y="1"/>
            <a:ext cx="457523" cy="2017735"/>
          </a:xfrm>
          <a:custGeom>
            <a:avLst/>
            <a:gdLst>
              <a:gd name="connsiteX0" fmla="*/ 0 w 457523"/>
              <a:gd name="connsiteY0" fmla="*/ 0 h 2017735"/>
              <a:gd name="connsiteX1" fmla="*/ 275802 w 457523"/>
              <a:gd name="connsiteY1" fmla="*/ 0 h 2017735"/>
              <a:gd name="connsiteX2" fmla="*/ 457523 w 457523"/>
              <a:gd name="connsiteY2" fmla="*/ 0 h 2017735"/>
              <a:gd name="connsiteX3" fmla="*/ 179667 w 457523"/>
              <a:gd name="connsiteY3" fmla="*/ 2017735 h 2017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7523" h="2017735">
                <a:moveTo>
                  <a:pt x="0" y="0"/>
                </a:moveTo>
                <a:lnTo>
                  <a:pt x="275802" y="0"/>
                </a:lnTo>
                <a:lnTo>
                  <a:pt x="457523" y="0"/>
                </a:lnTo>
                <a:lnTo>
                  <a:pt x="179667" y="2017735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grpSp>
        <p:nvGrpSpPr>
          <p:cNvPr id="267" name="Groupe 266">
            <a:extLst>
              <a:ext uri="{FF2B5EF4-FFF2-40B4-BE49-F238E27FC236}">
                <a16:creationId xmlns:a16="http://schemas.microsoft.com/office/drawing/2014/main" id="{5E1891F2-FAFB-45B7-ADB0-B4532A71DEC4}"/>
              </a:ext>
            </a:extLst>
          </p:cNvPr>
          <p:cNvGrpSpPr/>
          <p:nvPr userDrawn="1"/>
        </p:nvGrpSpPr>
        <p:grpSpPr>
          <a:xfrm flipV="1">
            <a:off x="-91485" y="12467"/>
            <a:ext cx="1008300" cy="5190499"/>
            <a:chOff x="-91485" y="-57106"/>
            <a:chExt cx="1008300" cy="5190499"/>
          </a:xfrm>
          <a:solidFill>
            <a:schemeClr val="bg2">
              <a:alpha val="10000"/>
            </a:schemeClr>
          </a:solidFill>
        </p:grpSpPr>
        <p:sp>
          <p:nvSpPr>
            <p:cNvPr id="268" name="Forme libre : forme 267">
              <a:extLst>
                <a:ext uri="{FF2B5EF4-FFF2-40B4-BE49-F238E27FC236}">
                  <a16:creationId xmlns:a16="http://schemas.microsoft.com/office/drawing/2014/main" id="{73F747AB-BDD9-4153-8A0F-81B6FADAE149}"/>
                </a:ext>
              </a:extLst>
            </p:cNvPr>
            <p:cNvSpPr/>
            <p:nvPr/>
          </p:nvSpPr>
          <p:spPr>
            <a:xfrm rot="8716295">
              <a:off x="617786" y="1780350"/>
              <a:ext cx="152726" cy="195873"/>
            </a:xfrm>
            <a:custGeom>
              <a:avLst/>
              <a:gdLst>
                <a:gd name="connsiteX0" fmla="*/ 39589 w 152726"/>
                <a:gd name="connsiteY0" fmla="*/ 195873 h 195873"/>
                <a:gd name="connsiteX1" fmla="*/ 0 w 152726"/>
                <a:gd name="connsiteY1" fmla="*/ 122219 h 195873"/>
                <a:gd name="connsiteX2" fmla="*/ 101089 w 152726"/>
                <a:gd name="connsiteY2" fmla="*/ 0 h 195873"/>
                <a:gd name="connsiteX3" fmla="*/ 152726 w 152726"/>
                <a:gd name="connsiteY3" fmla="*/ 0 h 195873"/>
                <a:gd name="connsiteX4" fmla="*/ 152726 w 152726"/>
                <a:gd name="connsiteY4" fmla="*/ 55323 h 195873"/>
                <a:gd name="connsiteX5" fmla="*/ 87934 w 152726"/>
                <a:gd name="connsiteY5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726" h="195873">
                  <a:moveTo>
                    <a:pt x="39589" y="195873"/>
                  </a:moveTo>
                  <a:lnTo>
                    <a:pt x="0" y="122219"/>
                  </a:lnTo>
                  <a:lnTo>
                    <a:pt x="101089" y="0"/>
                  </a:lnTo>
                  <a:lnTo>
                    <a:pt x="152726" y="0"/>
                  </a:lnTo>
                  <a:lnTo>
                    <a:pt x="152726" y="55323"/>
                  </a:lnTo>
                  <a:lnTo>
                    <a:pt x="87934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" name="Forme libre : forme 268">
              <a:extLst>
                <a:ext uri="{FF2B5EF4-FFF2-40B4-BE49-F238E27FC236}">
                  <a16:creationId xmlns:a16="http://schemas.microsoft.com/office/drawing/2014/main" id="{ABB68B3A-64E8-421E-A122-56A45C711E07}"/>
                </a:ext>
              </a:extLst>
            </p:cNvPr>
            <p:cNvSpPr/>
            <p:nvPr/>
          </p:nvSpPr>
          <p:spPr>
            <a:xfrm rot="8716295">
              <a:off x="534441" y="1654353"/>
              <a:ext cx="262864" cy="103234"/>
            </a:xfrm>
            <a:custGeom>
              <a:avLst/>
              <a:gdLst>
                <a:gd name="connsiteX0" fmla="*/ 0 w 262864"/>
                <a:gd name="connsiteY0" fmla="*/ 75341 h 103234"/>
                <a:gd name="connsiteX1" fmla="*/ 62316 w 262864"/>
                <a:gd name="connsiteY1" fmla="*/ 0 h 103234"/>
                <a:gd name="connsiteX2" fmla="*/ 65768 w 262864"/>
                <a:gd name="connsiteY2" fmla="*/ 14220 h 103234"/>
                <a:gd name="connsiteX3" fmla="*/ 136369 w 262864"/>
                <a:gd name="connsiteY3" fmla="*/ 53051 h 103234"/>
                <a:gd name="connsiteX4" fmla="*/ 189321 w 262864"/>
                <a:gd name="connsiteY4" fmla="*/ 43637 h 103234"/>
                <a:gd name="connsiteX5" fmla="*/ 261688 w 262864"/>
                <a:gd name="connsiteY5" fmla="*/ 14220 h 103234"/>
                <a:gd name="connsiteX6" fmla="*/ 262864 w 262864"/>
                <a:gd name="connsiteY6" fmla="*/ 21868 h 103234"/>
                <a:gd name="connsiteX7" fmla="*/ 262864 w 262864"/>
                <a:gd name="connsiteY7" fmla="*/ 27752 h 103234"/>
                <a:gd name="connsiteX8" fmla="*/ 69887 w 262864"/>
                <a:gd name="connsiteY8" fmla="*/ 103060 h 103234"/>
                <a:gd name="connsiteX9" fmla="*/ 30615 w 262864"/>
                <a:gd name="connsiteY9" fmla="*/ 96294 h 103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2864" h="103234">
                  <a:moveTo>
                    <a:pt x="0" y="75341"/>
                  </a:moveTo>
                  <a:lnTo>
                    <a:pt x="62316" y="0"/>
                  </a:lnTo>
                  <a:lnTo>
                    <a:pt x="65768" y="14220"/>
                  </a:lnTo>
                  <a:cubicBezTo>
                    <a:pt x="75182" y="40107"/>
                    <a:pt x="99304" y="53051"/>
                    <a:pt x="136369" y="53051"/>
                  </a:cubicBezTo>
                  <a:cubicBezTo>
                    <a:pt x="154609" y="52462"/>
                    <a:pt x="172259" y="48932"/>
                    <a:pt x="189321" y="43637"/>
                  </a:cubicBezTo>
                  <a:cubicBezTo>
                    <a:pt x="214031" y="35988"/>
                    <a:pt x="238154" y="25987"/>
                    <a:pt x="261688" y="14220"/>
                  </a:cubicBezTo>
                  <a:cubicBezTo>
                    <a:pt x="262276" y="16573"/>
                    <a:pt x="262864" y="19515"/>
                    <a:pt x="262864" y="21868"/>
                  </a:cubicBezTo>
                  <a:lnTo>
                    <a:pt x="262864" y="27752"/>
                  </a:lnTo>
                  <a:cubicBezTo>
                    <a:pt x="200500" y="81291"/>
                    <a:pt x="118719" y="100119"/>
                    <a:pt x="69887" y="103060"/>
                  </a:cubicBezTo>
                  <a:cubicBezTo>
                    <a:pt x="56355" y="103943"/>
                    <a:pt x="42970" y="101442"/>
                    <a:pt x="30615" y="9629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0" name="Forme libre : forme 269">
              <a:extLst>
                <a:ext uri="{FF2B5EF4-FFF2-40B4-BE49-F238E27FC236}">
                  <a16:creationId xmlns:a16="http://schemas.microsoft.com/office/drawing/2014/main" id="{053D4FF2-A9EA-4185-9507-77A0BB17DB0B}"/>
                </a:ext>
              </a:extLst>
            </p:cNvPr>
            <p:cNvSpPr/>
            <p:nvPr/>
          </p:nvSpPr>
          <p:spPr>
            <a:xfrm rot="8716295">
              <a:off x="632719" y="1232432"/>
              <a:ext cx="121558" cy="232388"/>
            </a:xfrm>
            <a:custGeom>
              <a:avLst/>
              <a:gdLst>
                <a:gd name="connsiteX0" fmla="*/ 60499 w 121558"/>
                <a:gd name="connsiteY0" fmla="*/ 232388 h 232388"/>
                <a:gd name="connsiteX1" fmla="*/ 60499 w 121558"/>
                <a:gd name="connsiteY1" fmla="*/ 69717 h 232388"/>
                <a:gd name="connsiteX2" fmla="*/ 60499 w 121558"/>
                <a:gd name="connsiteY2" fmla="*/ 65615 h 232388"/>
                <a:gd name="connsiteX3" fmla="*/ 39995 w 121558"/>
                <a:gd name="connsiteY3" fmla="*/ 50123 h 232388"/>
                <a:gd name="connsiteX4" fmla="*/ 0 w 121558"/>
                <a:gd name="connsiteY4" fmla="*/ 50123 h 232388"/>
                <a:gd name="connsiteX5" fmla="*/ 41457 w 121558"/>
                <a:gd name="connsiteY5" fmla="*/ 0 h 232388"/>
                <a:gd name="connsiteX6" fmla="*/ 64601 w 121558"/>
                <a:gd name="connsiteY6" fmla="*/ 0 h 232388"/>
                <a:gd name="connsiteX7" fmla="*/ 121558 w 121558"/>
                <a:gd name="connsiteY7" fmla="*/ 50123 h 232388"/>
                <a:gd name="connsiteX8" fmla="*/ 121558 w 121558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558" h="232388">
                  <a:moveTo>
                    <a:pt x="60499" y="232388"/>
                  </a:moveTo>
                  <a:lnTo>
                    <a:pt x="60499" y="69717"/>
                  </a:lnTo>
                  <a:cubicBezTo>
                    <a:pt x="60499" y="68349"/>
                    <a:pt x="60499" y="66983"/>
                    <a:pt x="60499" y="65615"/>
                  </a:cubicBezTo>
                  <a:cubicBezTo>
                    <a:pt x="59133" y="55591"/>
                    <a:pt x="50019" y="48756"/>
                    <a:pt x="39995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64601" y="0"/>
                  </a:lnTo>
                  <a:cubicBezTo>
                    <a:pt x="101509" y="0"/>
                    <a:pt x="121558" y="15948"/>
                    <a:pt x="121558" y="50123"/>
                  </a:cubicBezTo>
                  <a:lnTo>
                    <a:pt x="121558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1" name="Forme libre : forme 270">
              <a:extLst>
                <a:ext uri="{FF2B5EF4-FFF2-40B4-BE49-F238E27FC236}">
                  <a16:creationId xmlns:a16="http://schemas.microsoft.com/office/drawing/2014/main" id="{79A1F7C8-13AC-4C12-A1FD-013BA48F78A7}"/>
                </a:ext>
              </a:extLst>
            </p:cNvPr>
            <p:cNvSpPr/>
            <p:nvPr/>
          </p:nvSpPr>
          <p:spPr>
            <a:xfrm rot="8716295">
              <a:off x="763454" y="1474783"/>
              <a:ext cx="14143" cy="14319"/>
            </a:xfrm>
            <a:custGeom>
              <a:avLst/>
              <a:gdLst>
                <a:gd name="connsiteX0" fmla="*/ 0 w 14143"/>
                <a:gd name="connsiteY0" fmla="*/ 14319 h 14319"/>
                <a:gd name="connsiteX1" fmla="*/ 11843 w 14143"/>
                <a:gd name="connsiteY1" fmla="*/ 0 h 14319"/>
                <a:gd name="connsiteX2" fmla="*/ 14143 w 14143"/>
                <a:gd name="connsiteY2" fmla="*/ 7563 h 14319"/>
                <a:gd name="connsiteX3" fmla="*/ 14143 w 14143"/>
                <a:gd name="connsiteY3" fmla="*/ 13487 h 1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43" h="14319">
                  <a:moveTo>
                    <a:pt x="0" y="14319"/>
                  </a:moveTo>
                  <a:lnTo>
                    <a:pt x="11843" y="0"/>
                  </a:lnTo>
                  <a:lnTo>
                    <a:pt x="14143" y="7563"/>
                  </a:lnTo>
                  <a:lnTo>
                    <a:pt x="14143" y="1348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2" name="Forme libre : forme 271">
              <a:extLst>
                <a:ext uri="{FF2B5EF4-FFF2-40B4-BE49-F238E27FC236}">
                  <a16:creationId xmlns:a16="http://schemas.microsoft.com/office/drawing/2014/main" id="{C3E454D8-15B4-4672-8FB0-B86B805165E6}"/>
                </a:ext>
              </a:extLst>
            </p:cNvPr>
            <p:cNvSpPr/>
            <p:nvPr/>
          </p:nvSpPr>
          <p:spPr>
            <a:xfrm rot="8716295">
              <a:off x="672878" y="1171577"/>
              <a:ext cx="183964" cy="137618"/>
            </a:xfrm>
            <a:custGeom>
              <a:avLst/>
              <a:gdLst>
                <a:gd name="connsiteX0" fmla="*/ 0 w 183964"/>
                <a:gd name="connsiteY0" fmla="*/ 137618 h 137618"/>
                <a:gd name="connsiteX1" fmla="*/ 53346 w 183964"/>
                <a:gd name="connsiteY1" fmla="*/ 73121 h 137618"/>
                <a:gd name="connsiteX2" fmla="*/ 101034 w 183964"/>
                <a:gd name="connsiteY2" fmla="*/ 28251 h 137618"/>
                <a:gd name="connsiteX3" fmla="*/ 155713 w 183964"/>
                <a:gd name="connsiteY3" fmla="*/ 0 h 137618"/>
                <a:gd name="connsiteX4" fmla="*/ 183964 w 183964"/>
                <a:gd name="connsiteY4" fmla="*/ 33719 h 137618"/>
                <a:gd name="connsiteX5" fmla="*/ 157536 w 183964"/>
                <a:gd name="connsiteY5" fmla="*/ 69261 h 137618"/>
                <a:gd name="connsiteX6" fmla="*/ 157991 w 183964"/>
                <a:gd name="connsiteY6" fmla="*/ 69261 h 137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3964" h="137618">
                  <a:moveTo>
                    <a:pt x="0" y="137618"/>
                  </a:moveTo>
                  <a:lnTo>
                    <a:pt x="53346" y="73121"/>
                  </a:lnTo>
                  <a:lnTo>
                    <a:pt x="101034" y="28251"/>
                  </a:lnTo>
                  <a:cubicBezTo>
                    <a:pt x="114703" y="12303"/>
                    <a:pt x="134297" y="2278"/>
                    <a:pt x="155713" y="0"/>
                  </a:cubicBezTo>
                  <a:cubicBezTo>
                    <a:pt x="177585" y="0"/>
                    <a:pt x="183964" y="19138"/>
                    <a:pt x="183964" y="33719"/>
                  </a:cubicBezTo>
                  <a:cubicBezTo>
                    <a:pt x="182597" y="49667"/>
                    <a:pt x="172117" y="62881"/>
                    <a:pt x="157536" y="69261"/>
                  </a:cubicBezTo>
                  <a:lnTo>
                    <a:pt x="157991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3" name="Forme libre : forme 272">
              <a:extLst>
                <a:ext uri="{FF2B5EF4-FFF2-40B4-BE49-F238E27FC236}">
                  <a16:creationId xmlns:a16="http://schemas.microsoft.com/office/drawing/2014/main" id="{9C05EADF-BE0D-49AA-B420-B1EB4831C5FE}"/>
                </a:ext>
              </a:extLst>
            </p:cNvPr>
            <p:cNvSpPr/>
            <p:nvPr/>
          </p:nvSpPr>
          <p:spPr>
            <a:xfrm rot="8716295">
              <a:off x="519479" y="13148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4" name="Forme libre : forme 273">
              <a:extLst>
                <a:ext uri="{FF2B5EF4-FFF2-40B4-BE49-F238E27FC236}">
                  <a16:creationId xmlns:a16="http://schemas.microsoft.com/office/drawing/2014/main" id="{AB241E56-80DB-4C03-BDCB-013736737321}"/>
                </a:ext>
              </a:extLst>
            </p:cNvPr>
            <p:cNvSpPr/>
            <p:nvPr/>
          </p:nvSpPr>
          <p:spPr>
            <a:xfrm rot="8716295">
              <a:off x="394576" y="11061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5" name="Forme libre : forme 274">
              <a:extLst>
                <a:ext uri="{FF2B5EF4-FFF2-40B4-BE49-F238E27FC236}">
                  <a16:creationId xmlns:a16="http://schemas.microsoft.com/office/drawing/2014/main" id="{E447AC23-F520-414E-AA97-1E8F359564D9}"/>
                </a:ext>
              </a:extLst>
            </p:cNvPr>
            <p:cNvSpPr/>
            <p:nvPr/>
          </p:nvSpPr>
          <p:spPr>
            <a:xfrm rot="8716295">
              <a:off x="382524" y="96739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6" name="Forme libre : forme 275">
              <a:extLst>
                <a:ext uri="{FF2B5EF4-FFF2-40B4-BE49-F238E27FC236}">
                  <a16:creationId xmlns:a16="http://schemas.microsoft.com/office/drawing/2014/main" id="{64C6C88C-FD82-456D-9665-DF0FCE0E4C47}"/>
                </a:ext>
              </a:extLst>
            </p:cNvPr>
            <p:cNvSpPr/>
            <p:nvPr/>
          </p:nvSpPr>
          <p:spPr>
            <a:xfrm rot="8716295">
              <a:off x="609657" y="135579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7" name="Forme libre : forme 276">
              <a:extLst>
                <a:ext uri="{FF2B5EF4-FFF2-40B4-BE49-F238E27FC236}">
                  <a16:creationId xmlns:a16="http://schemas.microsoft.com/office/drawing/2014/main" id="{0A77A193-F583-4928-97AF-E64E8FF6DEAD}"/>
                </a:ext>
              </a:extLst>
            </p:cNvPr>
            <p:cNvSpPr/>
            <p:nvPr/>
          </p:nvSpPr>
          <p:spPr>
            <a:xfrm rot="8716295">
              <a:off x="683426" y="869567"/>
              <a:ext cx="156000" cy="195873"/>
            </a:xfrm>
            <a:custGeom>
              <a:avLst/>
              <a:gdLst>
                <a:gd name="connsiteX0" fmla="*/ 42863 w 156000"/>
                <a:gd name="connsiteY0" fmla="*/ 195873 h 195873"/>
                <a:gd name="connsiteX1" fmla="*/ 0 w 156000"/>
                <a:gd name="connsiteY1" fmla="*/ 116129 h 195873"/>
                <a:gd name="connsiteX2" fmla="*/ 5100 w 156000"/>
                <a:gd name="connsiteY2" fmla="*/ 101988 h 195873"/>
                <a:gd name="connsiteX3" fmla="*/ 89456 w 156000"/>
                <a:gd name="connsiteY3" fmla="*/ 0 h 195873"/>
                <a:gd name="connsiteX4" fmla="*/ 156000 w 156000"/>
                <a:gd name="connsiteY4" fmla="*/ 0 h 195873"/>
                <a:gd name="connsiteX5" fmla="*/ 156000 w 156000"/>
                <a:gd name="connsiteY5" fmla="*/ 55323 h 195873"/>
                <a:gd name="connsiteX6" fmla="*/ 91208 w 156000"/>
                <a:gd name="connsiteY6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000" h="195873">
                  <a:moveTo>
                    <a:pt x="42863" y="195873"/>
                  </a:moveTo>
                  <a:lnTo>
                    <a:pt x="0" y="116129"/>
                  </a:lnTo>
                  <a:lnTo>
                    <a:pt x="5100" y="101988"/>
                  </a:lnTo>
                  <a:lnTo>
                    <a:pt x="89456" y="0"/>
                  </a:lnTo>
                  <a:lnTo>
                    <a:pt x="156000" y="0"/>
                  </a:lnTo>
                  <a:lnTo>
                    <a:pt x="156000" y="55323"/>
                  </a:lnTo>
                  <a:lnTo>
                    <a:pt x="91208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8" name="Forme libre : forme 277">
              <a:extLst>
                <a:ext uri="{FF2B5EF4-FFF2-40B4-BE49-F238E27FC236}">
                  <a16:creationId xmlns:a16="http://schemas.microsoft.com/office/drawing/2014/main" id="{CF3F0AFD-D31B-4029-B3F3-E13BB8216AB9}"/>
                </a:ext>
              </a:extLst>
            </p:cNvPr>
            <p:cNvSpPr/>
            <p:nvPr/>
          </p:nvSpPr>
          <p:spPr>
            <a:xfrm rot="8716295">
              <a:off x="657305" y="95604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9" name="Forme libre : forme 278">
              <a:extLst>
                <a:ext uri="{FF2B5EF4-FFF2-40B4-BE49-F238E27FC236}">
                  <a16:creationId xmlns:a16="http://schemas.microsoft.com/office/drawing/2014/main" id="{4E0EA875-3BAB-4BDB-A5B0-808C38082217}"/>
                </a:ext>
              </a:extLst>
            </p:cNvPr>
            <p:cNvSpPr/>
            <p:nvPr/>
          </p:nvSpPr>
          <p:spPr>
            <a:xfrm rot="8716295">
              <a:off x="412774" y="56424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0" name="Forme libre : forme 279">
              <a:extLst>
                <a:ext uri="{FF2B5EF4-FFF2-40B4-BE49-F238E27FC236}">
                  <a16:creationId xmlns:a16="http://schemas.microsoft.com/office/drawing/2014/main" id="{842C3D6E-95C4-425C-8B38-D0EBD8DBD5E5}"/>
                </a:ext>
              </a:extLst>
            </p:cNvPr>
            <p:cNvSpPr/>
            <p:nvPr/>
          </p:nvSpPr>
          <p:spPr>
            <a:xfrm rot="8716295">
              <a:off x="502166" y="59348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1" name="Forme libre : forme 280">
              <a:extLst>
                <a:ext uri="{FF2B5EF4-FFF2-40B4-BE49-F238E27FC236}">
                  <a16:creationId xmlns:a16="http://schemas.microsoft.com/office/drawing/2014/main" id="{A75BA1B9-497A-4874-9158-409D833D072A}"/>
                </a:ext>
              </a:extLst>
            </p:cNvPr>
            <p:cNvSpPr/>
            <p:nvPr/>
          </p:nvSpPr>
          <p:spPr>
            <a:xfrm rot="8716295">
              <a:off x="457316" y="50720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2" name="Forme libre : forme 281">
              <a:extLst>
                <a:ext uri="{FF2B5EF4-FFF2-40B4-BE49-F238E27FC236}">
                  <a16:creationId xmlns:a16="http://schemas.microsoft.com/office/drawing/2014/main" id="{205B75CA-6160-44CB-AE0D-8B52A04FF9B7}"/>
                </a:ext>
              </a:extLst>
            </p:cNvPr>
            <p:cNvSpPr/>
            <p:nvPr/>
          </p:nvSpPr>
          <p:spPr>
            <a:xfrm rot="8716295">
              <a:off x="300540" y="65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3" name="Forme libre : forme 282">
              <a:extLst>
                <a:ext uri="{FF2B5EF4-FFF2-40B4-BE49-F238E27FC236}">
                  <a16:creationId xmlns:a16="http://schemas.microsoft.com/office/drawing/2014/main" id="{91186326-55D6-4548-B33F-3511BC925FE8}"/>
                </a:ext>
              </a:extLst>
            </p:cNvPr>
            <p:cNvSpPr/>
            <p:nvPr/>
          </p:nvSpPr>
          <p:spPr>
            <a:xfrm rot="8716295">
              <a:off x="175637" y="44411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4" name="Forme libre : forme 283">
              <a:extLst>
                <a:ext uri="{FF2B5EF4-FFF2-40B4-BE49-F238E27FC236}">
                  <a16:creationId xmlns:a16="http://schemas.microsoft.com/office/drawing/2014/main" id="{A2ED5F31-FCDD-430A-BE16-9B1EA12A7F4F}"/>
                </a:ext>
              </a:extLst>
            </p:cNvPr>
            <p:cNvSpPr/>
            <p:nvPr/>
          </p:nvSpPr>
          <p:spPr>
            <a:xfrm rot="8716295">
              <a:off x="163585" y="30533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5" name="Forme libre : forme 284">
              <a:extLst>
                <a:ext uri="{FF2B5EF4-FFF2-40B4-BE49-F238E27FC236}">
                  <a16:creationId xmlns:a16="http://schemas.microsoft.com/office/drawing/2014/main" id="{FEC22DEA-F709-420C-A439-1AC57EB74539}"/>
                </a:ext>
              </a:extLst>
            </p:cNvPr>
            <p:cNvSpPr/>
            <p:nvPr/>
          </p:nvSpPr>
          <p:spPr>
            <a:xfrm rot="8716295">
              <a:off x="390718" y="69374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6" name="Forme libre : forme 285">
              <a:extLst>
                <a:ext uri="{FF2B5EF4-FFF2-40B4-BE49-F238E27FC236}">
                  <a16:creationId xmlns:a16="http://schemas.microsoft.com/office/drawing/2014/main" id="{4DA790D9-C5B8-43BC-8AB6-4E888B07FAC5}"/>
                </a:ext>
              </a:extLst>
            </p:cNvPr>
            <p:cNvSpPr/>
            <p:nvPr/>
          </p:nvSpPr>
          <p:spPr>
            <a:xfrm rot="8716295">
              <a:off x="702015" y="317459"/>
              <a:ext cx="131260" cy="232388"/>
            </a:xfrm>
            <a:custGeom>
              <a:avLst/>
              <a:gdLst>
                <a:gd name="connsiteX0" fmla="*/ 70201 w 131260"/>
                <a:gd name="connsiteY0" fmla="*/ 232388 h 232388"/>
                <a:gd name="connsiteX1" fmla="*/ 70201 w 131260"/>
                <a:gd name="connsiteY1" fmla="*/ 69717 h 232388"/>
                <a:gd name="connsiteX2" fmla="*/ 70201 w 131260"/>
                <a:gd name="connsiteY2" fmla="*/ 65615 h 232388"/>
                <a:gd name="connsiteX3" fmla="*/ 49697 w 131260"/>
                <a:gd name="connsiteY3" fmla="*/ 50123 h 232388"/>
                <a:gd name="connsiteX4" fmla="*/ 0 w 131260"/>
                <a:gd name="connsiteY4" fmla="*/ 50123 h 232388"/>
                <a:gd name="connsiteX5" fmla="*/ 41457 w 131260"/>
                <a:gd name="connsiteY5" fmla="*/ 0 h 232388"/>
                <a:gd name="connsiteX6" fmla="*/ 74303 w 131260"/>
                <a:gd name="connsiteY6" fmla="*/ 0 h 232388"/>
                <a:gd name="connsiteX7" fmla="*/ 131260 w 131260"/>
                <a:gd name="connsiteY7" fmla="*/ 50123 h 232388"/>
                <a:gd name="connsiteX8" fmla="*/ 131260 w 131260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1260" h="232388">
                  <a:moveTo>
                    <a:pt x="70201" y="232388"/>
                  </a:moveTo>
                  <a:lnTo>
                    <a:pt x="70201" y="69717"/>
                  </a:lnTo>
                  <a:cubicBezTo>
                    <a:pt x="70201" y="68349"/>
                    <a:pt x="70201" y="66983"/>
                    <a:pt x="70201" y="65615"/>
                  </a:cubicBezTo>
                  <a:cubicBezTo>
                    <a:pt x="68835" y="55591"/>
                    <a:pt x="59721" y="48756"/>
                    <a:pt x="49697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74303" y="0"/>
                  </a:lnTo>
                  <a:cubicBezTo>
                    <a:pt x="111211" y="0"/>
                    <a:pt x="131260" y="15948"/>
                    <a:pt x="131260" y="50123"/>
                  </a:cubicBezTo>
                  <a:lnTo>
                    <a:pt x="131260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7" name="Forme libre : forme 286">
              <a:extLst>
                <a:ext uri="{FF2B5EF4-FFF2-40B4-BE49-F238E27FC236}">
                  <a16:creationId xmlns:a16="http://schemas.microsoft.com/office/drawing/2014/main" id="{091E5F9C-73C6-4CAB-93E5-EFA60788C51C}"/>
                </a:ext>
              </a:extLst>
            </p:cNvPr>
            <p:cNvSpPr/>
            <p:nvPr/>
          </p:nvSpPr>
          <p:spPr>
            <a:xfrm rot="8716295">
              <a:off x="834978" y="558357"/>
              <a:ext cx="24341" cy="23495"/>
            </a:xfrm>
            <a:custGeom>
              <a:avLst/>
              <a:gdLst>
                <a:gd name="connsiteX0" fmla="*/ 0 w 24341"/>
                <a:gd name="connsiteY0" fmla="*/ 23495 h 23495"/>
                <a:gd name="connsiteX1" fmla="*/ 19433 w 24341"/>
                <a:gd name="connsiteY1" fmla="*/ 0 h 23495"/>
                <a:gd name="connsiteX2" fmla="*/ 24341 w 24341"/>
                <a:gd name="connsiteY2" fmla="*/ 16139 h 23495"/>
                <a:gd name="connsiteX3" fmla="*/ 24341 w 24341"/>
                <a:gd name="connsiteY3" fmla="*/ 22063 h 23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41" h="23495">
                  <a:moveTo>
                    <a:pt x="0" y="23495"/>
                  </a:moveTo>
                  <a:lnTo>
                    <a:pt x="19433" y="0"/>
                  </a:lnTo>
                  <a:lnTo>
                    <a:pt x="24341" y="16139"/>
                  </a:lnTo>
                  <a:lnTo>
                    <a:pt x="24341" y="220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8" name="Forme libre : forme 287">
              <a:extLst>
                <a:ext uri="{FF2B5EF4-FFF2-40B4-BE49-F238E27FC236}">
                  <a16:creationId xmlns:a16="http://schemas.microsoft.com/office/drawing/2014/main" id="{93F3A654-B74E-499B-8487-8A2B2CC5A0EA}"/>
                </a:ext>
              </a:extLst>
            </p:cNvPr>
            <p:cNvSpPr/>
            <p:nvPr/>
          </p:nvSpPr>
          <p:spPr>
            <a:xfrm rot="8716295">
              <a:off x="589639" y="40263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9" name="Forme libre : forme 288">
              <a:extLst>
                <a:ext uri="{FF2B5EF4-FFF2-40B4-BE49-F238E27FC236}">
                  <a16:creationId xmlns:a16="http://schemas.microsoft.com/office/drawing/2014/main" id="{D0AE4335-4774-4A5C-9D6E-6AA33670DF96}"/>
                </a:ext>
              </a:extLst>
            </p:cNvPr>
            <p:cNvSpPr/>
            <p:nvPr/>
          </p:nvSpPr>
          <p:spPr>
            <a:xfrm rot="8716295">
              <a:off x="464737" y="19396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0" name="Forme libre : forme 289">
              <a:extLst>
                <a:ext uri="{FF2B5EF4-FFF2-40B4-BE49-F238E27FC236}">
                  <a16:creationId xmlns:a16="http://schemas.microsoft.com/office/drawing/2014/main" id="{2305D91E-CF26-4028-92DC-E2D20BB482D6}"/>
                </a:ext>
              </a:extLst>
            </p:cNvPr>
            <p:cNvSpPr/>
            <p:nvPr/>
          </p:nvSpPr>
          <p:spPr>
            <a:xfrm rot="8716295">
              <a:off x="679817" y="44358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1" name="Forme libre : forme 290">
              <a:extLst>
                <a:ext uri="{FF2B5EF4-FFF2-40B4-BE49-F238E27FC236}">
                  <a16:creationId xmlns:a16="http://schemas.microsoft.com/office/drawing/2014/main" id="{DF9C8202-D29B-450E-90FF-E46CAC2E7FA2}"/>
                </a:ext>
              </a:extLst>
            </p:cNvPr>
            <p:cNvSpPr/>
            <p:nvPr/>
          </p:nvSpPr>
          <p:spPr>
            <a:xfrm rot="8716295">
              <a:off x="438366" y="29398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2" name="Forme libre : forme 291">
              <a:extLst>
                <a:ext uri="{FF2B5EF4-FFF2-40B4-BE49-F238E27FC236}">
                  <a16:creationId xmlns:a16="http://schemas.microsoft.com/office/drawing/2014/main" id="{28FFA2F5-C74D-4918-B35E-56FAFD44D7DC}"/>
                </a:ext>
              </a:extLst>
            </p:cNvPr>
            <p:cNvSpPr/>
            <p:nvPr/>
          </p:nvSpPr>
          <p:spPr>
            <a:xfrm rot="7484129">
              <a:off x="811674" y="658874"/>
              <a:ext cx="31078" cy="46141"/>
            </a:xfrm>
            <a:custGeom>
              <a:avLst/>
              <a:gdLst>
                <a:gd name="connsiteX0" fmla="*/ 15207 w 31078"/>
                <a:gd name="connsiteY0" fmla="*/ 46141 h 46141"/>
                <a:gd name="connsiteX1" fmla="*/ 0 w 31078"/>
                <a:gd name="connsiteY1" fmla="*/ 17849 h 46141"/>
                <a:gd name="connsiteX2" fmla="*/ 31078 w 31078"/>
                <a:gd name="connsiteY2" fmla="*/ 0 h 46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078" h="46141">
                  <a:moveTo>
                    <a:pt x="15207" y="46141"/>
                  </a:moveTo>
                  <a:lnTo>
                    <a:pt x="0" y="17849"/>
                  </a:lnTo>
                  <a:lnTo>
                    <a:pt x="3107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3" name="Forme libre : forme 292">
              <a:extLst>
                <a:ext uri="{FF2B5EF4-FFF2-40B4-BE49-F238E27FC236}">
                  <a16:creationId xmlns:a16="http://schemas.microsoft.com/office/drawing/2014/main" id="{F7F1B592-6665-4DA1-B454-1D5C767BA63B}"/>
                </a:ext>
              </a:extLst>
            </p:cNvPr>
            <p:cNvSpPr/>
            <p:nvPr/>
          </p:nvSpPr>
          <p:spPr>
            <a:xfrm rot="8716295">
              <a:off x="780102" y="336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4" name="Forme libre : forme 293">
              <a:extLst>
                <a:ext uri="{FF2B5EF4-FFF2-40B4-BE49-F238E27FC236}">
                  <a16:creationId xmlns:a16="http://schemas.microsoft.com/office/drawing/2014/main" id="{33626504-CACB-4364-8AA4-F28F086A7B6A}"/>
                </a:ext>
              </a:extLst>
            </p:cNvPr>
            <p:cNvSpPr/>
            <p:nvPr/>
          </p:nvSpPr>
          <p:spPr>
            <a:xfrm rot="8716295">
              <a:off x="202348" y="-57106"/>
              <a:ext cx="142167" cy="186494"/>
            </a:xfrm>
            <a:custGeom>
              <a:avLst/>
              <a:gdLst>
                <a:gd name="connsiteX0" fmla="*/ 142167 w 142167"/>
                <a:gd name="connsiteY0" fmla="*/ 186494 h 186494"/>
                <a:gd name="connsiteX1" fmla="*/ 81108 w 142167"/>
                <a:gd name="connsiteY1" fmla="*/ 144170 h 186494"/>
                <a:gd name="connsiteX2" fmla="*/ 81108 w 142167"/>
                <a:gd name="connsiteY2" fmla="*/ 69717 h 186494"/>
                <a:gd name="connsiteX3" fmla="*/ 81108 w 142167"/>
                <a:gd name="connsiteY3" fmla="*/ 65615 h 186494"/>
                <a:gd name="connsiteX4" fmla="*/ 60603 w 142167"/>
                <a:gd name="connsiteY4" fmla="*/ 50123 h 186494"/>
                <a:gd name="connsiteX5" fmla="*/ 0 w 142167"/>
                <a:gd name="connsiteY5" fmla="*/ 50123 h 186494"/>
                <a:gd name="connsiteX6" fmla="*/ 0 w 142167"/>
                <a:gd name="connsiteY6" fmla="*/ 0 h 186494"/>
                <a:gd name="connsiteX7" fmla="*/ 85209 w 142167"/>
                <a:gd name="connsiteY7" fmla="*/ 0 h 186494"/>
                <a:gd name="connsiteX8" fmla="*/ 142167 w 142167"/>
                <a:gd name="connsiteY8" fmla="*/ 50123 h 186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86494">
                  <a:moveTo>
                    <a:pt x="142167" y="186494"/>
                  </a:moveTo>
                  <a:lnTo>
                    <a:pt x="81108" y="144170"/>
                  </a:lnTo>
                  <a:lnTo>
                    <a:pt x="81108" y="69717"/>
                  </a:lnTo>
                  <a:cubicBezTo>
                    <a:pt x="81108" y="68349"/>
                    <a:pt x="81108" y="66983"/>
                    <a:pt x="81108" y="65615"/>
                  </a:cubicBezTo>
                  <a:cubicBezTo>
                    <a:pt x="79741" y="55591"/>
                    <a:pt x="70628" y="48756"/>
                    <a:pt x="60603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5" name="Forme libre : forme 294">
              <a:extLst>
                <a:ext uri="{FF2B5EF4-FFF2-40B4-BE49-F238E27FC236}">
                  <a16:creationId xmlns:a16="http://schemas.microsoft.com/office/drawing/2014/main" id="{8B9EE4C0-9C2E-42BB-B294-381EB8F6C5DA}"/>
                </a:ext>
              </a:extLst>
            </p:cNvPr>
            <p:cNvSpPr/>
            <p:nvPr/>
          </p:nvSpPr>
          <p:spPr>
            <a:xfrm rot="8716295">
              <a:off x="298766" y="-5395"/>
              <a:ext cx="260639" cy="180054"/>
            </a:xfrm>
            <a:custGeom>
              <a:avLst/>
              <a:gdLst>
                <a:gd name="connsiteX0" fmla="*/ 111638 w 260639"/>
                <a:gd name="connsiteY0" fmla="*/ 180054 h 180054"/>
                <a:gd name="connsiteX1" fmla="*/ 51490 w 260639"/>
                <a:gd name="connsiteY1" fmla="*/ 138362 h 180054"/>
                <a:gd name="connsiteX2" fmla="*/ 51490 w 260639"/>
                <a:gd name="connsiteY2" fmla="*/ 45624 h 180054"/>
                <a:gd name="connsiteX3" fmla="*/ 0 w 260639"/>
                <a:gd name="connsiteY3" fmla="*/ 45624 h 180054"/>
                <a:gd name="connsiteX4" fmla="*/ 0 w 260639"/>
                <a:gd name="connsiteY4" fmla="*/ 1425 h 180054"/>
                <a:gd name="connsiteX5" fmla="*/ 104802 w 260639"/>
                <a:gd name="connsiteY5" fmla="*/ 1425 h 180054"/>
                <a:gd name="connsiteX6" fmla="*/ 104802 w 260639"/>
                <a:gd name="connsiteY6" fmla="*/ 75242 h 180054"/>
                <a:gd name="connsiteX7" fmla="*/ 106169 w 260639"/>
                <a:gd name="connsiteY7" fmla="*/ 75242 h 180054"/>
                <a:gd name="connsiteX8" fmla="*/ 154014 w 260639"/>
                <a:gd name="connsiteY8" fmla="*/ 5981 h 180054"/>
                <a:gd name="connsiteX9" fmla="*/ 185455 w 260639"/>
                <a:gd name="connsiteY9" fmla="*/ 57 h 180054"/>
                <a:gd name="connsiteX10" fmla="*/ 260639 w 260639"/>
                <a:gd name="connsiteY10" fmla="*/ 88456 h 180054"/>
                <a:gd name="connsiteX11" fmla="*/ 260639 w 260639"/>
                <a:gd name="connsiteY11" fmla="*/ 94380 h 180054"/>
                <a:gd name="connsiteX12" fmla="*/ 198669 w 260639"/>
                <a:gd name="connsiteY12" fmla="*/ 98025 h 180054"/>
                <a:gd name="connsiteX13" fmla="*/ 198669 w 260639"/>
                <a:gd name="connsiteY13" fmla="*/ 81621 h 180054"/>
                <a:gd name="connsiteX14" fmla="*/ 164950 w 260639"/>
                <a:gd name="connsiteY14" fmla="*/ 40156 h 180054"/>
                <a:gd name="connsiteX15" fmla="*/ 111638 w 260639"/>
                <a:gd name="connsiteY15" fmla="*/ 127643 h 180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0639" h="180054">
                  <a:moveTo>
                    <a:pt x="111638" y="180054"/>
                  </a:moveTo>
                  <a:lnTo>
                    <a:pt x="51490" y="138362"/>
                  </a:ln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6" name="Forme libre : forme 295">
              <a:extLst>
                <a:ext uri="{FF2B5EF4-FFF2-40B4-BE49-F238E27FC236}">
                  <a16:creationId xmlns:a16="http://schemas.microsoft.com/office/drawing/2014/main" id="{426417CD-8FE4-43C3-B84F-A51A46F7C7B1}"/>
                </a:ext>
              </a:extLst>
            </p:cNvPr>
            <p:cNvSpPr/>
            <p:nvPr/>
          </p:nvSpPr>
          <p:spPr>
            <a:xfrm rot="8716295">
              <a:off x="276903" y="-12823"/>
              <a:ext cx="36272" cy="27982"/>
            </a:xfrm>
            <a:custGeom>
              <a:avLst/>
              <a:gdLst>
                <a:gd name="connsiteX0" fmla="*/ 36272 w 36272"/>
                <a:gd name="connsiteY0" fmla="*/ 27982 h 27982"/>
                <a:gd name="connsiteX1" fmla="*/ 0 w 36272"/>
                <a:gd name="connsiteY1" fmla="*/ 2840 h 27982"/>
                <a:gd name="connsiteX2" fmla="*/ 9543 w 36272"/>
                <a:gd name="connsiteY2" fmla="*/ 0 h 27982"/>
                <a:gd name="connsiteX3" fmla="*/ 31871 w 36272"/>
                <a:gd name="connsiteY3" fmla="*/ 11392 h 27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272" h="27982">
                  <a:moveTo>
                    <a:pt x="36272" y="27982"/>
                  </a:moveTo>
                  <a:lnTo>
                    <a:pt x="0" y="2840"/>
                  </a:lnTo>
                  <a:lnTo>
                    <a:pt x="9543" y="0"/>
                  </a:lnTo>
                  <a:cubicBezTo>
                    <a:pt x="20479" y="0"/>
                    <a:pt x="27542" y="4784"/>
                    <a:pt x="31871" y="113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7" name="Forme libre : forme 296">
              <a:extLst>
                <a:ext uri="{FF2B5EF4-FFF2-40B4-BE49-F238E27FC236}">
                  <a16:creationId xmlns:a16="http://schemas.microsoft.com/office/drawing/2014/main" id="{2194BB82-FA83-4BF9-8EBD-D8D0328F9BDF}"/>
                </a:ext>
              </a:extLst>
            </p:cNvPr>
            <p:cNvSpPr/>
            <p:nvPr/>
          </p:nvSpPr>
          <p:spPr>
            <a:xfrm rot="8716295">
              <a:off x="74640" y="-9665"/>
              <a:ext cx="58068" cy="54772"/>
            </a:xfrm>
            <a:custGeom>
              <a:avLst/>
              <a:gdLst>
                <a:gd name="connsiteX0" fmla="*/ 37436 w 58068"/>
                <a:gd name="connsiteY0" fmla="*/ 54772 h 54772"/>
                <a:gd name="connsiteX1" fmla="*/ 0 w 58068"/>
                <a:gd name="connsiteY1" fmla="*/ 28823 h 54772"/>
                <a:gd name="connsiteX2" fmla="*/ 8515 w 58068"/>
                <a:gd name="connsiteY2" fmla="*/ 8658 h 54772"/>
                <a:gd name="connsiteX3" fmla="*/ 29020 w 58068"/>
                <a:gd name="connsiteY3" fmla="*/ 0 h 54772"/>
                <a:gd name="connsiteX4" fmla="*/ 49525 w 58068"/>
                <a:gd name="connsiteY4" fmla="*/ 8658 h 54772"/>
                <a:gd name="connsiteX5" fmla="*/ 49525 w 58068"/>
                <a:gd name="connsiteY5" fmla="*/ 49668 h 5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068" h="54772">
                  <a:moveTo>
                    <a:pt x="37436" y="54772"/>
                  </a:moveTo>
                  <a:lnTo>
                    <a:pt x="0" y="28823"/>
                  </a:lnTo>
                  <a:lnTo>
                    <a:pt x="8515" y="8658"/>
                  </a:lnTo>
                  <a:cubicBezTo>
                    <a:pt x="13983" y="3190"/>
                    <a:pt x="21273" y="0"/>
                    <a:pt x="29020" y="0"/>
                  </a:cubicBezTo>
                  <a:cubicBezTo>
                    <a:pt x="36766" y="0"/>
                    <a:pt x="44057" y="3190"/>
                    <a:pt x="49525" y="8658"/>
                  </a:cubicBezTo>
                  <a:cubicBezTo>
                    <a:pt x="60916" y="19594"/>
                    <a:pt x="60916" y="38276"/>
                    <a:pt x="49525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8" name="Forme libre : forme 297">
              <a:extLst>
                <a:ext uri="{FF2B5EF4-FFF2-40B4-BE49-F238E27FC236}">
                  <a16:creationId xmlns:a16="http://schemas.microsoft.com/office/drawing/2014/main" id="{1E2DA60E-6B88-4273-B8B8-20DC571CA2F9}"/>
                </a:ext>
              </a:extLst>
            </p:cNvPr>
            <p:cNvSpPr/>
            <p:nvPr/>
          </p:nvSpPr>
          <p:spPr>
            <a:xfrm rot="8716295">
              <a:off x="13802" y="-10406"/>
              <a:ext cx="30027" cy="20814"/>
            </a:xfrm>
            <a:custGeom>
              <a:avLst/>
              <a:gdLst>
                <a:gd name="connsiteX0" fmla="*/ 30027 w 30027"/>
                <a:gd name="connsiteY0" fmla="*/ 20814 h 20814"/>
                <a:gd name="connsiteX1" fmla="*/ 0 w 30027"/>
                <a:gd name="connsiteY1" fmla="*/ 0 h 20814"/>
                <a:gd name="connsiteX2" fmla="*/ 30027 w 30027"/>
                <a:gd name="connsiteY2" fmla="*/ 0 h 20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027" h="20814">
                  <a:moveTo>
                    <a:pt x="30027" y="20814"/>
                  </a:moveTo>
                  <a:lnTo>
                    <a:pt x="0" y="0"/>
                  </a:lnTo>
                  <a:lnTo>
                    <a:pt x="3002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9" name="Forme libre : forme 298">
              <a:extLst>
                <a:ext uri="{FF2B5EF4-FFF2-40B4-BE49-F238E27FC236}">
                  <a16:creationId xmlns:a16="http://schemas.microsoft.com/office/drawing/2014/main" id="{0B53881C-9CFA-4C7A-B7BB-D045B9F708A3}"/>
                </a:ext>
              </a:extLst>
            </p:cNvPr>
            <p:cNvSpPr/>
            <p:nvPr/>
          </p:nvSpPr>
          <p:spPr>
            <a:xfrm rot="8716295">
              <a:off x="168048" y="3032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0" name="Forme libre : forme 299">
              <a:extLst>
                <a:ext uri="{FF2B5EF4-FFF2-40B4-BE49-F238E27FC236}">
                  <a16:creationId xmlns:a16="http://schemas.microsoft.com/office/drawing/2014/main" id="{07B92E1C-0CE7-4A26-8278-C39DA02570AC}"/>
                </a:ext>
              </a:extLst>
            </p:cNvPr>
            <p:cNvSpPr/>
            <p:nvPr/>
          </p:nvSpPr>
          <p:spPr>
            <a:xfrm rot="7484129">
              <a:off x="562078" y="-284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1" name="Forme libre : forme 300">
              <a:extLst>
                <a:ext uri="{FF2B5EF4-FFF2-40B4-BE49-F238E27FC236}">
                  <a16:creationId xmlns:a16="http://schemas.microsoft.com/office/drawing/2014/main" id="{CAE7423C-0BBB-4D40-8F55-D1ED03A3FDDA}"/>
                </a:ext>
              </a:extLst>
            </p:cNvPr>
            <p:cNvSpPr/>
            <p:nvPr/>
          </p:nvSpPr>
          <p:spPr>
            <a:xfrm rot="13089394">
              <a:off x="767127" y="-2787"/>
              <a:ext cx="149688" cy="301067"/>
            </a:xfrm>
            <a:custGeom>
              <a:avLst/>
              <a:gdLst>
                <a:gd name="connsiteX0" fmla="*/ 149688 w 149688"/>
                <a:gd name="connsiteY0" fmla="*/ 279622 h 301067"/>
                <a:gd name="connsiteX1" fmla="*/ 122393 w 149688"/>
                <a:gd name="connsiteY1" fmla="*/ 301067 h 301067"/>
                <a:gd name="connsiteX2" fmla="*/ 0 w 149688"/>
                <a:gd name="connsiteY2" fmla="*/ 114672 h 301067"/>
                <a:gd name="connsiteX3" fmla="*/ 0 w 149688"/>
                <a:gd name="connsiteY3" fmla="*/ 38074 h 301067"/>
                <a:gd name="connsiteX4" fmla="*/ 73388 w 149688"/>
                <a:gd name="connsiteY4" fmla="*/ 0 h 301067"/>
                <a:gd name="connsiteX5" fmla="*/ 74492 w 149688"/>
                <a:gd name="connsiteY5" fmla="*/ 153950 h 301067"/>
                <a:gd name="connsiteX6" fmla="*/ 87734 w 149688"/>
                <a:gd name="connsiteY6" fmla="*/ 245547 h 301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9688" h="301067">
                  <a:moveTo>
                    <a:pt x="149688" y="279622"/>
                  </a:moveTo>
                  <a:lnTo>
                    <a:pt x="122393" y="301067"/>
                  </a:lnTo>
                  <a:lnTo>
                    <a:pt x="0" y="114672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2836" y="184850"/>
                    <a:pt x="77802" y="216302"/>
                    <a:pt x="87734" y="2455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2" name="Forme libre : forme 301">
              <a:extLst>
                <a:ext uri="{FF2B5EF4-FFF2-40B4-BE49-F238E27FC236}">
                  <a16:creationId xmlns:a16="http://schemas.microsoft.com/office/drawing/2014/main" id="{DE7F88C3-F95A-48EB-BC5C-94F46E2332ED}"/>
                </a:ext>
              </a:extLst>
            </p:cNvPr>
            <p:cNvSpPr/>
            <p:nvPr/>
          </p:nvSpPr>
          <p:spPr>
            <a:xfrm rot="8716295">
              <a:off x="212141" y="304502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3" name="Forme libre : forme 302">
              <a:extLst>
                <a:ext uri="{FF2B5EF4-FFF2-40B4-BE49-F238E27FC236}">
                  <a16:creationId xmlns:a16="http://schemas.microsoft.com/office/drawing/2014/main" id="{D55BD2D7-C439-4F43-96D6-CC4EB9C9A2CD}"/>
                </a:ext>
              </a:extLst>
            </p:cNvPr>
            <p:cNvSpPr/>
            <p:nvPr/>
          </p:nvSpPr>
          <p:spPr>
            <a:xfrm rot="8716295">
              <a:off x="301533" y="307427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4" name="Forme libre : forme 303">
              <a:extLst>
                <a:ext uri="{FF2B5EF4-FFF2-40B4-BE49-F238E27FC236}">
                  <a16:creationId xmlns:a16="http://schemas.microsoft.com/office/drawing/2014/main" id="{98520A64-DC7D-4391-9310-C02770ED1A94}"/>
                </a:ext>
              </a:extLst>
            </p:cNvPr>
            <p:cNvSpPr/>
            <p:nvPr/>
          </p:nvSpPr>
          <p:spPr>
            <a:xfrm rot="8716295">
              <a:off x="256683" y="298799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5" name="Forme libre : forme 304">
              <a:extLst>
                <a:ext uri="{FF2B5EF4-FFF2-40B4-BE49-F238E27FC236}">
                  <a16:creationId xmlns:a16="http://schemas.microsoft.com/office/drawing/2014/main" id="{F4D8F56B-62F1-42CF-A7A2-650DB4131292}"/>
                </a:ext>
              </a:extLst>
            </p:cNvPr>
            <p:cNvSpPr/>
            <p:nvPr/>
          </p:nvSpPr>
          <p:spPr>
            <a:xfrm rot="8716295">
              <a:off x="99907" y="31335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6" name="Forme libre : forme 305">
              <a:extLst>
                <a:ext uri="{FF2B5EF4-FFF2-40B4-BE49-F238E27FC236}">
                  <a16:creationId xmlns:a16="http://schemas.microsoft.com/office/drawing/2014/main" id="{0D43E076-CB6A-4FEE-A459-C1DE20E99E2F}"/>
                </a:ext>
              </a:extLst>
            </p:cNvPr>
            <p:cNvSpPr/>
            <p:nvPr/>
          </p:nvSpPr>
          <p:spPr>
            <a:xfrm rot="8716295">
              <a:off x="-24996" y="29248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7" name="Forme libre : forme 306">
              <a:extLst>
                <a:ext uri="{FF2B5EF4-FFF2-40B4-BE49-F238E27FC236}">
                  <a16:creationId xmlns:a16="http://schemas.microsoft.com/office/drawing/2014/main" id="{CA2035BC-118E-49FD-BF84-9E105EEC437B}"/>
                </a:ext>
              </a:extLst>
            </p:cNvPr>
            <p:cNvSpPr/>
            <p:nvPr/>
          </p:nvSpPr>
          <p:spPr>
            <a:xfrm rot="8716295">
              <a:off x="51899" y="2754602"/>
              <a:ext cx="189488" cy="350829"/>
            </a:xfrm>
            <a:custGeom>
              <a:avLst/>
              <a:gdLst>
                <a:gd name="connsiteX0" fmla="*/ 25299 w 189488"/>
                <a:gd name="connsiteY0" fmla="*/ 321238 h 350829"/>
                <a:gd name="connsiteX1" fmla="*/ 0 w 189488"/>
                <a:gd name="connsiteY1" fmla="*/ 220042 h 350829"/>
                <a:gd name="connsiteX2" fmla="*/ 0 w 189488"/>
                <a:gd name="connsiteY2" fmla="*/ 40596 h 350829"/>
                <a:gd name="connsiteX3" fmla="*/ 78250 w 189488"/>
                <a:gd name="connsiteY3" fmla="*/ 0 h 350829"/>
                <a:gd name="connsiteX4" fmla="*/ 79427 w 189488"/>
                <a:gd name="connsiteY4" fmla="*/ 164149 h 350829"/>
                <a:gd name="connsiteX5" fmla="*/ 93547 w 189488"/>
                <a:gd name="connsiteY5" fmla="*/ 261815 h 350829"/>
                <a:gd name="connsiteX6" fmla="*/ 164148 w 189488"/>
                <a:gd name="connsiteY6" fmla="*/ 300646 h 350829"/>
                <a:gd name="connsiteX7" fmla="*/ 189488 w 189488"/>
                <a:gd name="connsiteY7" fmla="*/ 296141 h 350829"/>
                <a:gd name="connsiteX8" fmla="*/ 160617 w 189488"/>
                <a:gd name="connsiteY8" fmla="*/ 337791 h 350829"/>
                <a:gd name="connsiteX9" fmla="*/ 97666 w 189488"/>
                <a:gd name="connsiteY9" fmla="*/ 350655 h 350829"/>
                <a:gd name="connsiteX10" fmla="*/ 25299 w 189488"/>
                <a:gd name="connsiteY10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9488" h="350829">
                  <a:moveTo>
                    <a:pt x="25299" y="321238"/>
                  </a:moveTo>
                  <a:cubicBezTo>
                    <a:pt x="5295" y="301823"/>
                    <a:pt x="0" y="268286"/>
                    <a:pt x="0" y="220042"/>
                  </a:cubicBez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8" y="300646"/>
                  </a:cubicBezTo>
                  <a:lnTo>
                    <a:pt x="189488" y="296141"/>
                  </a:lnTo>
                  <a:lnTo>
                    <a:pt x="160617" y="337791"/>
                  </a:lnTo>
                  <a:lnTo>
                    <a:pt x="97666" y="350655"/>
                  </a:ln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8" name="Forme libre : forme 307">
              <a:extLst>
                <a:ext uri="{FF2B5EF4-FFF2-40B4-BE49-F238E27FC236}">
                  <a16:creationId xmlns:a16="http://schemas.microsoft.com/office/drawing/2014/main" id="{E8F898AD-C8B7-4665-871C-0DD08867FE33}"/>
                </a:ext>
              </a:extLst>
            </p:cNvPr>
            <p:cNvSpPr/>
            <p:nvPr/>
          </p:nvSpPr>
          <p:spPr>
            <a:xfrm rot="8716295">
              <a:off x="190085" y="317452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9" name="Forme libre : forme 308">
              <a:extLst>
                <a:ext uri="{FF2B5EF4-FFF2-40B4-BE49-F238E27FC236}">
                  <a16:creationId xmlns:a16="http://schemas.microsoft.com/office/drawing/2014/main" id="{21447FE1-A29B-45A2-85C9-8C8BA929308B}"/>
                </a:ext>
              </a:extLst>
            </p:cNvPr>
            <p:cNvSpPr/>
            <p:nvPr/>
          </p:nvSpPr>
          <p:spPr>
            <a:xfrm rot="8716295">
              <a:off x="502599" y="2802136"/>
              <a:ext cx="117588" cy="232388"/>
            </a:xfrm>
            <a:custGeom>
              <a:avLst/>
              <a:gdLst>
                <a:gd name="connsiteX0" fmla="*/ 56529 w 117588"/>
                <a:gd name="connsiteY0" fmla="*/ 232388 h 232388"/>
                <a:gd name="connsiteX1" fmla="*/ 56529 w 117588"/>
                <a:gd name="connsiteY1" fmla="*/ 69717 h 232388"/>
                <a:gd name="connsiteX2" fmla="*/ 56529 w 117588"/>
                <a:gd name="connsiteY2" fmla="*/ 65615 h 232388"/>
                <a:gd name="connsiteX3" fmla="*/ 36025 w 117588"/>
                <a:gd name="connsiteY3" fmla="*/ 50123 h 232388"/>
                <a:gd name="connsiteX4" fmla="*/ 0 w 117588"/>
                <a:gd name="connsiteY4" fmla="*/ 50123 h 232388"/>
                <a:gd name="connsiteX5" fmla="*/ 41458 w 117588"/>
                <a:gd name="connsiteY5" fmla="*/ 0 h 232388"/>
                <a:gd name="connsiteX6" fmla="*/ 60630 w 117588"/>
                <a:gd name="connsiteY6" fmla="*/ 0 h 232388"/>
                <a:gd name="connsiteX7" fmla="*/ 117588 w 117588"/>
                <a:gd name="connsiteY7" fmla="*/ 50123 h 232388"/>
                <a:gd name="connsiteX8" fmla="*/ 117588 w 117588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7588" h="232388">
                  <a:moveTo>
                    <a:pt x="56529" y="232388"/>
                  </a:moveTo>
                  <a:lnTo>
                    <a:pt x="56529" y="69717"/>
                  </a:lnTo>
                  <a:cubicBezTo>
                    <a:pt x="56529" y="68349"/>
                    <a:pt x="56529" y="66983"/>
                    <a:pt x="56529" y="65615"/>
                  </a:cubicBezTo>
                  <a:cubicBezTo>
                    <a:pt x="55163" y="55591"/>
                    <a:pt x="46049" y="48756"/>
                    <a:pt x="36025" y="50123"/>
                  </a:cubicBezTo>
                  <a:lnTo>
                    <a:pt x="0" y="50123"/>
                  </a:lnTo>
                  <a:lnTo>
                    <a:pt x="41458" y="0"/>
                  </a:lnTo>
                  <a:lnTo>
                    <a:pt x="60630" y="0"/>
                  </a:lnTo>
                  <a:cubicBezTo>
                    <a:pt x="97539" y="0"/>
                    <a:pt x="117588" y="15948"/>
                    <a:pt x="117588" y="50123"/>
                  </a:cubicBezTo>
                  <a:lnTo>
                    <a:pt x="117588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0" name="Forme libre : forme 309">
              <a:extLst>
                <a:ext uri="{FF2B5EF4-FFF2-40B4-BE49-F238E27FC236}">
                  <a16:creationId xmlns:a16="http://schemas.microsoft.com/office/drawing/2014/main" id="{DC5CD014-032B-4188-8129-1BA9EDEB5E1C}"/>
                </a:ext>
              </a:extLst>
            </p:cNvPr>
            <p:cNvSpPr/>
            <p:nvPr/>
          </p:nvSpPr>
          <p:spPr>
            <a:xfrm rot="8716295">
              <a:off x="389006" y="2883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1" name="Forme libre : forme 310">
              <a:extLst>
                <a:ext uri="{FF2B5EF4-FFF2-40B4-BE49-F238E27FC236}">
                  <a16:creationId xmlns:a16="http://schemas.microsoft.com/office/drawing/2014/main" id="{4BFA54F9-8E75-4357-98AE-7842173849BD}"/>
                </a:ext>
              </a:extLst>
            </p:cNvPr>
            <p:cNvSpPr/>
            <p:nvPr/>
          </p:nvSpPr>
          <p:spPr>
            <a:xfrm rot="8716295">
              <a:off x="264104" y="267474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2" name="Forme libre : forme 311">
              <a:extLst>
                <a:ext uri="{FF2B5EF4-FFF2-40B4-BE49-F238E27FC236}">
                  <a16:creationId xmlns:a16="http://schemas.microsoft.com/office/drawing/2014/main" id="{D627B6F1-7278-4938-8513-4523BF111D7A}"/>
                </a:ext>
              </a:extLst>
            </p:cNvPr>
            <p:cNvSpPr/>
            <p:nvPr/>
          </p:nvSpPr>
          <p:spPr>
            <a:xfrm rot="8716295">
              <a:off x="479184" y="292437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3" name="Forme libre : forme 312">
              <a:extLst>
                <a:ext uri="{FF2B5EF4-FFF2-40B4-BE49-F238E27FC236}">
                  <a16:creationId xmlns:a16="http://schemas.microsoft.com/office/drawing/2014/main" id="{44A8C608-76B9-49F0-B8EA-9C07C31A92DA}"/>
                </a:ext>
              </a:extLst>
            </p:cNvPr>
            <p:cNvSpPr/>
            <p:nvPr/>
          </p:nvSpPr>
          <p:spPr>
            <a:xfrm rot="8716295">
              <a:off x="237733" y="277477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4" name="Forme libre : forme 313">
              <a:extLst>
                <a:ext uri="{FF2B5EF4-FFF2-40B4-BE49-F238E27FC236}">
                  <a16:creationId xmlns:a16="http://schemas.microsoft.com/office/drawing/2014/main" id="{31723CE5-0F31-4468-8030-5F9773A83A08}"/>
                </a:ext>
              </a:extLst>
            </p:cNvPr>
            <p:cNvSpPr/>
            <p:nvPr/>
          </p:nvSpPr>
          <p:spPr>
            <a:xfrm rot="7484129">
              <a:off x="609980" y="3142825"/>
              <a:ext cx="20881" cy="31001"/>
            </a:xfrm>
            <a:custGeom>
              <a:avLst/>
              <a:gdLst>
                <a:gd name="connsiteX0" fmla="*/ 10218 w 20881"/>
                <a:gd name="connsiteY0" fmla="*/ 31001 h 31001"/>
                <a:gd name="connsiteX1" fmla="*/ 0 w 20881"/>
                <a:gd name="connsiteY1" fmla="*/ 11992 h 31001"/>
                <a:gd name="connsiteX2" fmla="*/ 20881 w 20881"/>
                <a:gd name="connsiteY2" fmla="*/ 0 h 31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881" h="31001">
                  <a:moveTo>
                    <a:pt x="10218" y="31001"/>
                  </a:moveTo>
                  <a:lnTo>
                    <a:pt x="0" y="11992"/>
                  </a:lnTo>
                  <a:lnTo>
                    <a:pt x="2088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5" name="Forme libre : forme 314">
              <a:extLst>
                <a:ext uri="{FF2B5EF4-FFF2-40B4-BE49-F238E27FC236}">
                  <a16:creationId xmlns:a16="http://schemas.microsoft.com/office/drawing/2014/main" id="{0A1A01CF-9944-4EC3-883D-948C509B42CD}"/>
                </a:ext>
              </a:extLst>
            </p:cNvPr>
            <p:cNvSpPr/>
            <p:nvPr/>
          </p:nvSpPr>
          <p:spPr>
            <a:xfrm rot="8716295">
              <a:off x="579469" y="28172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6" name="Forme libre : forme 315">
              <a:extLst>
                <a:ext uri="{FF2B5EF4-FFF2-40B4-BE49-F238E27FC236}">
                  <a16:creationId xmlns:a16="http://schemas.microsoft.com/office/drawing/2014/main" id="{71717ABE-8C5B-4E08-B642-252D74033C89}"/>
                </a:ext>
              </a:extLst>
            </p:cNvPr>
            <p:cNvSpPr/>
            <p:nvPr/>
          </p:nvSpPr>
          <p:spPr>
            <a:xfrm rot="8716295">
              <a:off x="437995" y="3716235"/>
              <a:ext cx="102679" cy="232388"/>
            </a:xfrm>
            <a:custGeom>
              <a:avLst/>
              <a:gdLst>
                <a:gd name="connsiteX0" fmla="*/ 41620 w 102679"/>
                <a:gd name="connsiteY0" fmla="*/ 232388 h 232388"/>
                <a:gd name="connsiteX1" fmla="*/ 41620 w 102679"/>
                <a:gd name="connsiteY1" fmla="*/ 69717 h 232388"/>
                <a:gd name="connsiteX2" fmla="*/ 41620 w 102679"/>
                <a:gd name="connsiteY2" fmla="*/ 65615 h 232388"/>
                <a:gd name="connsiteX3" fmla="*/ 21116 w 102679"/>
                <a:gd name="connsiteY3" fmla="*/ 50123 h 232388"/>
                <a:gd name="connsiteX4" fmla="*/ 0 w 102679"/>
                <a:gd name="connsiteY4" fmla="*/ 50123 h 232388"/>
                <a:gd name="connsiteX5" fmla="*/ 41457 w 102679"/>
                <a:gd name="connsiteY5" fmla="*/ 0 h 232388"/>
                <a:gd name="connsiteX6" fmla="*/ 45721 w 102679"/>
                <a:gd name="connsiteY6" fmla="*/ 0 h 232388"/>
                <a:gd name="connsiteX7" fmla="*/ 102679 w 102679"/>
                <a:gd name="connsiteY7" fmla="*/ 50123 h 232388"/>
                <a:gd name="connsiteX8" fmla="*/ 102679 w 102679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2679" h="232388">
                  <a:moveTo>
                    <a:pt x="41620" y="232388"/>
                  </a:moveTo>
                  <a:lnTo>
                    <a:pt x="41620" y="69717"/>
                  </a:lnTo>
                  <a:cubicBezTo>
                    <a:pt x="41620" y="68349"/>
                    <a:pt x="41620" y="66983"/>
                    <a:pt x="41620" y="65615"/>
                  </a:cubicBezTo>
                  <a:cubicBezTo>
                    <a:pt x="40254" y="55591"/>
                    <a:pt x="31140" y="48756"/>
                    <a:pt x="21116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45721" y="0"/>
                  </a:lnTo>
                  <a:cubicBezTo>
                    <a:pt x="82630" y="0"/>
                    <a:pt x="102679" y="15948"/>
                    <a:pt x="102679" y="50123"/>
                  </a:cubicBezTo>
                  <a:lnTo>
                    <a:pt x="102679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7" name="Forme libre : forme 316">
              <a:extLst>
                <a:ext uri="{FF2B5EF4-FFF2-40B4-BE49-F238E27FC236}">
                  <a16:creationId xmlns:a16="http://schemas.microsoft.com/office/drawing/2014/main" id="{57F9E802-91E2-4CB8-8036-748B1071E3AB}"/>
                </a:ext>
              </a:extLst>
            </p:cNvPr>
            <p:cNvSpPr/>
            <p:nvPr/>
          </p:nvSpPr>
          <p:spPr>
            <a:xfrm rot="8716295">
              <a:off x="482715" y="3669965"/>
              <a:ext cx="154563" cy="124897"/>
            </a:xfrm>
            <a:custGeom>
              <a:avLst/>
              <a:gdLst>
                <a:gd name="connsiteX0" fmla="*/ 0 w 154563"/>
                <a:gd name="connsiteY0" fmla="*/ 124897 h 124897"/>
                <a:gd name="connsiteX1" fmla="*/ 95474 w 154563"/>
                <a:gd name="connsiteY1" fmla="*/ 9467 h 124897"/>
                <a:gd name="connsiteX2" fmla="*/ 96067 w 154563"/>
                <a:gd name="connsiteY2" fmla="*/ 9000 h 124897"/>
                <a:gd name="connsiteX3" fmla="*/ 126312 w 154563"/>
                <a:gd name="connsiteY3" fmla="*/ 0 h 124897"/>
                <a:gd name="connsiteX4" fmla="*/ 154563 w 154563"/>
                <a:gd name="connsiteY4" fmla="*/ 33719 h 124897"/>
                <a:gd name="connsiteX5" fmla="*/ 128135 w 154563"/>
                <a:gd name="connsiteY5" fmla="*/ 69261 h 124897"/>
                <a:gd name="connsiteX6" fmla="*/ 128590 w 154563"/>
                <a:gd name="connsiteY6" fmla="*/ 69261 h 12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4563" h="124897">
                  <a:moveTo>
                    <a:pt x="0" y="124897"/>
                  </a:moveTo>
                  <a:lnTo>
                    <a:pt x="95474" y="9467"/>
                  </a:lnTo>
                  <a:lnTo>
                    <a:pt x="96067" y="9000"/>
                  </a:lnTo>
                  <a:cubicBezTo>
                    <a:pt x="105351" y="4215"/>
                    <a:pt x="115604" y="1139"/>
                    <a:pt x="126312" y="0"/>
                  </a:cubicBezTo>
                  <a:cubicBezTo>
                    <a:pt x="148184" y="0"/>
                    <a:pt x="154563" y="19138"/>
                    <a:pt x="154563" y="33719"/>
                  </a:cubicBezTo>
                  <a:cubicBezTo>
                    <a:pt x="153196" y="49668"/>
                    <a:pt x="142715" y="62882"/>
                    <a:pt x="128135" y="69261"/>
                  </a:cubicBezTo>
                  <a:lnTo>
                    <a:pt x="128590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8" name="Forme libre : forme 317">
              <a:extLst>
                <a:ext uri="{FF2B5EF4-FFF2-40B4-BE49-F238E27FC236}">
                  <a16:creationId xmlns:a16="http://schemas.microsoft.com/office/drawing/2014/main" id="{844BD3AC-808C-49B6-9585-45AED27044D8}"/>
                </a:ext>
              </a:extLst>
            </p:cNvPr>
            <p:cNvSpPr/>
            <p:nvPr/>
          </p:nvSpPr>
          <p:spPr>
            <a:xfrm rot="8716295">
              <a:off x="323074" y="379327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9" name="Forme libre : forme 318">
              <a:extLst>
                <a:ext uri="{FF2B5EF4-FFF2-40B4-BE49-F238E27FC236}">
                  <a16:creationId xmlns:a16="http://schemas.microsoft.com/office/drawing/2014/main" id="{6610930E-080F-4669-B332-C11A7EDE2E69}"/>
                </a:ext>
              </a:extLst>
            </p:cNvPr>
            <p:cNvSpPr/>
            <p:nvPr/>
          </p:nvSpPr>
          <p:spPr>
            <a:xfrm rot="8716295">
              <a:off x="198171" y="358459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0" name="Forme libre : forme 319">
              <a:extLst>
                <a:ext uri="{FF2B5EF4-FFF2-40B4-BE49-F238E27FC236}">
                  <a16:creationId xmlns:a16="http://schemas.microsoft.com/office/drawing/2014/main" id="{BB6AE4FF-01F3-4791-9797-82B71A71685F}"/>
                </a:ext>
              </a:extLst>
            </p:cNvPr>
            <p:cNvSpPr/>
            <p:nvPr/>
          </p:nvSpPr>
          <p:spPr>
            <a:xfrm rot="8716295">
              <a:off x="186119" y="344581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1" name="Forme libre : forme 320">
              <a:extLst>
                <a:ext uri="{FF2B5EF4-FFF2-40B4-BE49-F238E27FC236}">
                  <a16:creationId xmlns:a16="http://schemas.microsoft.com/office/drawing/2014/main" id="{B2FBA9B1-476F-454A-86CF-CB8E10185C59}"/>
                </a:ext>
              </a:extLst>
            </p:cNvPr>
            <p:cNvSpPr/>
            <p:nvPr/>
          </p:nvSpPr>
          <p:spPr>
            <a:xfrm rot="8716295">
              <a:off x="410218" y="3834716"/>
              <a:ext cx="103435" cy="219174"/>
            </a:xfrm>
            <a:custGeom>
              <a:avLst/>
              <a:gdLst>
                <a:gd name="connsiteX0" fmla="*/ 103435 w 103435"/>
                <a:gd name="connsiteY0" fmla="*/ 219174 h 219174"/>
                <a:gd name="connsiteX1" fmla="*/ 43288 w 103435"/>
                <a:gd name="connsiteY1" fmla="*/ 161305 h 219174"/>
                <a:gd name="connsiteX2" fmla="*/ 43288 w 103435"/>
                <a:gd name="connsiteY2" fmla="*/ 16404 h 219174"/>
                <a:gd name="connsiteX3" fmla="*/ 0 w 103435"/>
                <a:gd name="connsiteY3" fmla="*/ 16404 h 219174"/>
                <a:gd name="connsiteX4" fmla="*/ 0 w 103435"/>
                <a:gd name="connsiteY4" fmla="*/ 16028 h 219174"/>
                <a:gd name="connsiteX5" fmla="*/ 11583 w 103435"/>
                <a:gd name="connsiteY5" fmla="*/ 2023 h 219174"/>
                <a:gd name="connsiteX6" fmla="*/ 103435 w 103435"/>
                <a:gd name="connsiteY6" fmla="*/ 0 h 219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19174">
                  <a:moveTo>
                    <a:pt x="103435" y="219174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16028"/>
                  </a:lnTo>
                  <a:lnTo>
                    <a:pt x="11583" y="2023"/>
                  </a:lnTo>
                  <a:lnTo>
                    <a:pt x="10343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2" name="Forme libre : forme 321">
              <a:extLst>
                <a:ext uri="{FF2B5EF4-FFF2-40B4-BE49-F238E27FC236}">
                  <a16:creationId xmlns:a16="http://schemas.microsoft.com/office/drawing/2014/main" id="{FC54D21D-2562-49FC-BEBE-B5E2AB5AF4EE}"/>
                </a:ext>
              </a:extLst>
            </p:cNvPr>
            <p:cNvSpPr/>
            <p:nvPr/>
          </p:nvSpPr>
          <p:spPr>
            <a:xfrm rot="8716295">
              <a:off x="487452" y="3349370"/>
              <a:ext cx="151162" cy="195873"/>
            </a:xfrm>
            <a:custGeom>
              <a:avLst/>
              <a:gdLst>
                <a:gd name="connsiteX0" fmla="*/ 38025 w 151162"/>
                <a:gd name="connsiteY0" fmla="*/ 195873 h 195873"/>
                <a:gd name="connsiteX1" fmla="*/ 0 w 151162"/>
                <a:gd name="connsiteY1" fmla="*/ 125130 h 195873"/>
                <a:gd name="connsiteX2" fmla="*/ 103497 w 151162"/>
                <a:gd name="connsiteY2" fmla="*/ 0 h 195873"/>
                <a:gd name="connsiteX3" fmla="*/ 151162 w 151162"/>
                <a:gd name="connsiteY3" fmla="*/ 0 h 195873"/>
                <a:gd name="connsiteX4" fmla="*/ 151162 w 151162"/>
                <a:gd name="connsiteY4" fmla="*/ 55323 h 195873"/>
                <a:gd name="connsiteX5" fmla="*/ 86370 w 151162"/>
                <a:gd name="connsiteY5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1162" h="195873">
                  <a:moveTo>
                    <a:pt x="38025" y="195873"/>
                  </a:moveTo>
                  <a:lnTo>
                    <a:pt x="0" y="125130"/>
                  </a:lnTo>
                  <a:lnTo>
                    <a:pt x="103497" y="0"/>
                  </a:lnTo>
                  <a:lnTo>
                    <a:pt x="151162" y="0"/>
                  </a:lnTo>
                  <a:lnTo>
                    <a:pt x="151162" y="55323"/>
                  </a:lnTo>
                  <a:lnTo>
                    <a:pt x="86370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3" name="Forme libre : forme 322">
              <a:extLst>
                <a:ext uri="{FF2B5EF4-FFF2-40B4-BE49-F238E27FC236}">
                  <a16:creationId xmlns:a16="http://schemas.microsoft.com/office/drawing/2014/main" id="{1800C2CB-54A6-4240-B3ED-11D6043BB03F}"/>
                </a:ext>
              </a:extLst>
            </p:cNvPr>
            <p:cNvSpPr/>
            <p:nvPr/>
          </p:nvSpPr>
          <p:spPr>
            <a:xfrm rot="8716295">
              <a:off x="460900" y="343447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4" name="Forme libre : forme 323">
              <a:extLst>
                <a:ext uri="{FF2B5EF4-FFF2-40B4-BE49-F238E27FC236}">
                  <a16:creationId xmlns:a16="http://schemas.microsoft.com/office/drawing/2014/main" id="{3EBD1C82-1557-40AF-96AD-1C870F5CE8D7}"/>
                </a:ext>
              </a:extLst>
            </p:cNvPr>
            <p:cNvSpPr/>
            <p:nvPr/>
          </p:nvSpPr>
          <p:spPr>
            <a:xfrm rot="8716295">
              <a:off x="417336" y="4258920"/>
              <a:ext cx="147637" cy="195874"/>
            </a:xfrm>
            <a:custGeom>
              <a:avLst/>
              <a:gdLst>
                <a:gd name="connsiteX0" fmla="*/ 34500 w 147637"/>
                <a:gd name="connsiteY0" fmla="*/ 195874 h 195874"/>
                <a:gd name="connsiteX1" fmla="*/ 0 w 147637"/>
                <a:gd name="connsiteY1" fmla="*/ 131688 h 195874"/>
                <a:gd name="connsiteX2" fmla="*/ 108921 w 147637"/>
                <a:gd name="connsiteY2" fmla="*/ 0 h 195874"/>
                <a:gd name="connsiteX3" fmla="*/ 147637 w 147637"/>
                <a:gd name="connsiteY3" fmla="*/ 0 h 195874"/>
                <a:gd name="connsiteX4" fmla="*/ 147637 w 147637"/>
                <a:gd name="connsiteY4" fmla="*/ 55323 h 195874"/>
                <a:gd name="connsiteX5" fmla="*/ 82845 w 147637"/>
                <a:gd name="connsiteY5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7637" h="195874">
                  <a:moveTo>
                    <a:pt x="34500" y="195874"/>
                  </a:moveTo>
                  <a:lnTo>
                    <a:pt x="0" y="131688"/>
                  </a:lnTo>
                  <a:lnTo>
                    <a:pt x="108921" y="0"/>
                  </a:lnTo>
                  <a:lnTo>
                    <a:pt x="147637" y="0"/>
                  </a:lnTo>
                  <a:lnTo>
                    <a:pt x="147637" y="55323"/>
                  </a:lnTo>
                  <a:lnTo>
                    <a:pt x="8284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5" name="Forme libre : forme 324">
              <a:extLst>
                <a:ext uri="{FF2B5EF4-FFF2-40B4-BE49-F238E27FC236}">
                  <a16:creationId xmlns:a16="http://schemas.microsoft.com/office/drawing/2014/main" id="{50FA5920-2CA1-4B57-AFE9-708172C7151C}"/>
                </a:ext>
              </a:extLst>
            </p:cNvPr>
            <p:cNvSpPr/>
            <p:nvPr/>
          </p:nvSpPr>
          <p:spPr>
            <a:xfrm rot="8716295">
              <a:off x="330834" y="4134902"/>
              <a:ext cx="254613" cy="91157"/>
            </a:xfrm>
            <a:custGeom>
              <a:avLst/>
              <a:gdLst>
                <a:gd name="connsiteX0" fmla="*/ 0 w 254613"/>
                <a:gd name="connsiteY0" fmla="*/ 68911 h 91157"/>
                <a:gd name="connsiteX1" fmla="*/ 56997 w 254613"/>
                <a:gd name="connsiteY1" fmla="*/ 0 h 91157"/>
                <a:gd name="connsiteX2" fmla="*/ 57517 w 254613"/>
                <a:gd name="connsiteY2" fmla="*/ 2143 h 91157"/>
                <a:gd name="connsiteX3" fmla="*/ 128118 w 254613"/>
                <a:gd name="connsiteY3" fmla="*/ 40974 h 91157"/>
                <a:gd name="connsiteX4" fmla="*/ 181070 w 254613"/>
                <a:gd name="connsiteY4" fmla="*/ 31560 h 91157"/>
                <a:gd name="connsiteX5" fmla="*/ 253437 w 254613"/>
                <a:gd name="connsiteY5" fmla="*/ 2143 h 91157"/>
                <a:gd name="connsiteX6" fmla="*/ 254613 w 254613"/>
                <a:gd name="connsiteY6" fmla="*/ 9791 h 91157"/>
                <a:gd name="connsiteX7" fmla="*/ 254613 w 254613"/>
                <a:gd name="connsiteY7" fmla="*/ 15674 h 91157"/>
                <a:gd name="connsiteX8" fmla="*/ 61636 w 254613"/>
                <a:gd name="connsiteY8" fmla="*/ 90983 h 91157"/>
                <a:gd name="connsiteX9" fmla="*/ 22363 w 254613"/>
                <a:gd name="connsiteY9" fmla="*/ 84217 h 91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4613" h="91157">
                  <a:moveTo>
                    <a:pt x="0" y="68911"/>
                  </a:moveTo>
                  <a:lnTo>
                    <a:pt x="56997" y="0"/>
                  </a:lnTo>
                  <a:lnTo>
                    <a:pt x="57517" y="2143"/>
                  </a:lnTo>
                  <a:cubicBezTo>
                    <a:pt x="66931" y="28030"/>
                    <a:pt x="91053" y="40974"/>
                    <a:pt x="128118" y="40974"/>
                  </a:cubicBezTo>
                  <a:cubicBezTo>
                    <a:pt x="146357" y="40385"/>
                    <a:pt x="164008" y="36855"/>
                    <a:pt x="181070" y="31560"/>
                  </a:cubicBezTo>
                  <a:cubicBezTo>
                    <a:pt x="205780" y="23912"/>
                    <a:pt x="229903" y="13910"/>
                    <a:pt x="253437" y="2143"/>
                  </a:cubicBezTo>
                  <a:cubicBezTo>
                    <a:pt x="254025" y="4496"/>
                    <a:pt x="254613" y="7438"/>
                    <a:pt x="254613" y="9791"/>
                  </a:cubicBezTo>
                  <a:lnTo>
                    <a:pt x="254613" y="15674"/>
                  </a:lnTo>
                  <a:cubicBezTo>
                    <a:pt x="192249" y="69215"/>
                    <a:pt x="110468" y="88042"/>
                    <a:pt x="61636" y="90983"/>
                  </a:cubicBezTo>
                  <a:cubicBezTo>
                    <a:pt x="48104" y="91866"/>
                    <a:pt x="34719" y="89365"/>
                    <a:pt x="22363" y="842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6" name="Forme libre : forme 325">
              <a:extLst>
                <a:ext uri="{FF2B5EF4-FFF2-40B4-BE49-F238E27FC236}">
                  <a16:creationId xmlns:a16="http://schemas.microsoft.com/office/drawing/2014/main" id="{E3EDD39B-7171-468B-A877-2CE2BD07726B}"/>
                </a:ext>
              </a:extLst>
            </p:cNvPr>
            <p:cNvSpPr/>
            <p:nvPr/>
          </p:nvSpPr>
          <p:spPr>
            <a:xfrm rot="8716295">
              <a:off x="-3428" y="2405990"/>
              <a:ext cx="142167" cy="208592"/>
            </a:xfrm>
            <a:custGeom>
              <a:avLst/>
              <a:gdLst>
                <a:gd name="connsiteX0" fmla="*/ 81108 w 142167"/>
                <a:gd name="connsiteY0" fmla="*/ 208592 h 208592"/>
                <a:gd name="connsiteX1" fmla="*/ 81108 w 142167"/>
                <a:gd name="connsiteY1" fmla="*/ 69717 h 208592"/>
                <a:gd name="connsiteX2" fmla="*/ 81108 w 142167"/>
                <a:gd name="connsiteY2" fmla="*/ 65615 h 208592"/>
                <a:gd name="connsiteX3" fmla="*/ 60604 w 142167"/>
                <a:gd name="connsiteY3" fmla="*/ 50123 h 208592"/>
                <a:gd name="connsiteX4" fmla="*/ 0 w 142167"/>
                <a:gd name="connsiteY4" fmla="*/ 50123 h 208592"/>
                <a:gd name="connsiteX5" fmla="*/ 0 w 142167"/>
                <a:gd name="connsiteY5" fmla="*/ 0 h 208592"/>
                <a:gd name="connsiteX6" fmla="*/ 85210 w 142167"/>
                <a:gd name="connsiteY6" fmla="*/ 0 h 208592"/>
                <a:gd name="connsiteX7" fmla="*/ 142167 w 142167"/>
                <a:gd name="connsiteY7" fmla="*/ 50123 h 208592"/>
                <a:gd name="connsiteX8" fmla="*/ 142167 w 142167"/>
                <a:gd name="connsiteY8" fmla="*/ 120504 h 20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08592">
                  <a:moveTo>
                    <a:pt x="81108" y="208592"/>
                  </a:moveTo>
                  <a:lnTo>
                    <a:pt x="81108" y="69717"/>
                  </a:lnTo>
                  <a:cubicBezTo>
                    <a:pt x="81108" y="68350"/>
                    <a:pt x="81108" y="66983"/>
                    <a:pt x="81108" y="65615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10" y="0"/>
                  </a:lnTo>
                  <a:cubicBezTo>
                    <a:pt x="122118" y="0"/>
                    <a:pt x="142167" y="15948"/>
                    <a:pt x="142167" y="50123"/>
                  </a:cubicBezTo>
                  <a:lnTo>
                    <a:pt x="142167" y="1205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7" name="Forme libre : forme 326">
              <a:extLst>
                <a:ext uri="{FF2B5EF4-FFF2-40B4-BE49-F238E27FC236}">
                  <a16:creationId xmlns:a16="http://schemas.microsoft.com/office/drawing/2014/main" id="{23F7EF39-C8FF-4CA7-9DED-AF0E47CA9C7E}"/>
                </a:ext>
              </a:extLst>
            </p:cNvPr>
            <p:cNvSpPr/>
            <p:nvPr/>
          </p:nvSpPr>
          <p:spPr>
            <a:xfrm rot="8716295">
              <a:off x="80015" y="241329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8" name="Forme libre : forme 327">
              <a:extLst>
                <a:ext uri="{FF2B5EF4-FFF2-40B4-BE49-F238E27FC236}">
                  <a16:creationId xmlns:a16="http://schemas.microsoft.com/office/drawing/2014/main" id="{FBC44AA7-6291-474B-9C67-ED7522250EEB}"/>
                </a:ext>
              </a:extLst>
            </p:cNvPr>
            <p:cNvSpPr/>
            <p:nvPr/>
          </p:nvSpPr>
          <p:spPr>
            <a:xfrm rot="8716295">
              <a:off x="35165" y="232701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9" name="Forme libre : forme 328">
              <a:extLst>
                <a:ext uri="{FF2B5EF4-FFF2-40B4-BE49-F238E27FC236}">
                  <a16:creationId xmlns:a16="http://schemas.microsoft.com/office/drawing/2014/main" id="{5EA7A5E2-9C29-45B6-9267-972B0EFC92AD}"/>
                </a:ext>
              </a:extLst>
            </p:cNvPr>
            <p:cNvSpPr/>
            <p:nvPr/>
          </p:nvSpPr>
          <p:spPr>
            <a:xfrm rot="8716295">
              <a:off x="-20257" y="2217087"/>
              <a:ext cx="78731" cy="180665"/>
            </a:xfrm>
            <a:custGeom>
              <a:avLst/>
              <a:gdLst>
                <a:gd name="connsiteX0" fmla="*/ 0 w 78731"/>
                <a:gd name="connsiteY0" fmla="*/ 180665 h 180665"/>
                <a:gd name="connsiteX1" fmla="*/ 0 w 78731"/>
                <a:gd name="connsiteY1" fmla="*/ 40596 h 180665"/>
                <a:gd name="connsiteX2" fmla="*/ 78250 w 78731"/>
                <a:gd name="connsiteY2" fmla="*/ 0 h 180665"/>
                <a:gd name="connsiteX3" fmla="*/ 78731 w 78731"/>
                <a:gd name="connsiteY3" fmla="*/ 67083 h 180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731" h="180665">
                  <a:moveTo>
                    <a:pt x="0" y="180665"/>
                  </a:moveTo>
                  <a:lnTo>
                    <a:pt x="0" y="40596"/>
                  </a:lnTo>
                  <a:lnTo>
                    <a:pt x="78250" y="0"/>
                  </a:lnTo>
                  <a:lnTo>
                    <a:pt x="78731" y="670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0" name="Forme libre : forme 329">
              <a:extLst>
                <a:ext uri="{FF2B5EF4-FFF2-40B4-BE49-F238E27FC236}">
                  <a16:creationId xmlns:a16="http://schemas.microsoft.com/office/drawing/2014/main" id="{29FF2476-3E2D-4E1C-AC58-09A8EA6AE16D}"/>
                </a:ext>
              </a:extLst>
            </p:cNvPr>
            <p:cNvSpPr/>
            <p:nvPr/>
          </p:nvSpPr>
          <p:spPr>
            <a:xfrm rot="8716295">
              <a:off x="-15341" y="2575209"/>
              <a:ext cx="103435" cy="152027"/>
            </a:xfrm>
            <a:custGeom>
              <a:avLst/>
              <a:gdLst>
                <a:gd name="connsiteX0" fmla="*/ 43288 w 103435"/>
                <a:gd name="connsiteY0" fmla="*/ 152027 h 152027"/>
                <a:gd name="connsiteX1" fmla="*/ 43288 w 103435"/>
                <a:gd name="connsiteY1" fmla="*/ 16404 h 152027"/>
                <a:gd name="connsiteX2" fmla="*/ 0 w 103435"/>
                <a:gd name="connsiteY2" fmla="*/ 16404 h 152027"/>
                <a:gd name="connsiteX3" fmla="*/ 0 w 103435"/>
                <a:gd name="connsiteY3" fmla="*/ 2278 h 152027"/>
                <a:gd name="connsiteX4" fmla="*/ 103435 w 103435"/>
                <a:gd name="connsiteY4" fmla="*/ 0 h 152027"/>
                <a:gd name="connsiteX5" fmla="*/ 103435 w 103435"/>
                <a:gd name="connsiteY5" fmla="*/ 65255 h 152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152027">
                  <a:moveTo>
                    <a:pt x="43288" y="152027"/>
                  </a:move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652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1" name="Forme libre : forme 330">
              <a:extLst>
                <a:ext uri="{FF2B5EF4-FFF2-40B4-BE49-F238E27FC236}">
                  <a16:creationId xmlns:a16="http://schemas.microsoft.com/office/drawing/2014/main" id="{75F88328-D448-4AA5-9E75-FE8115368C6C}"/>
                </a:ext>
              </a:extLst>
            </p:cNvPr>
            <p:cNvSpPr/>
            <p:nvPr/>
          </p:nvSpPr>
          <p:spPr>
            <a:xfrm rot="8716295">
              <a:off x="279722" y="21339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2" name="Forme libre : forme 331">
              <a:extLst>
                <a:ext uri="{FF2B5EF4-FFF2-40B4-BE49-F238E27FC236}">
                  <a16:creationId xmlns:a16="http://schemas.microsoft.com/office/drawing/2014/main" id="{426E2A9F-197F-4F75-8782-ED9A68D4D6C8}"/>
                </a:ext>
              </a:extLst>
            </p:cNvPr>
            <p:cNvSpPr/>
            <p:nvPr/>
          </p:nvSpPr>
          <p:spPr>
            <a:xfrm rot="8716295">
              <a:off x="369114" y="21631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3" name="Forme libre : forme 332">
              <a:extLst>
                <a:ext uri="{FF2B5EF4-FFF2-40B4-BE49-F238E27FC236}">
                  <a16:creationId xmlns:a16="http://schemas.microsoft.com/office/drawing/2014/main" id="{94DB51E7-8EDB-4900-9675-0F9A6F5C490B}"/>
                </a:ext>
              </a:extLst>
            </p:cNvPr>
            <p:cNvSpPr/>
            <p:nvPr/>
          </p:nvSpPr>
          <p:spPr>
            <a:xfrm rot="8716295">
              <a:off x="167488" y="22224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4" name="Forme libre : forme 333">
              <a:extLst>
                <a:ext uri="{FF2B5EF4-FFF2-40B4-BE49-F238E27FC236}">
                  <a16:creationId xmlns:a16="http://schemas.microsoft.com/office/drawing/2014/main" id="{2E5B2022-399F-4450-9579-1B2308763857}"/>
                </a:ext>
              </a:extLst>
            </p:cNvPr>
            <p:cNvSpPr/>
            <p:nvPr/>
          </p:nvSpPr>
          <p:spPr>
            <a:xfrm rot="8716295">
              <a:off x="42586" y="20137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5" name="Forme libre : forme 334">
              <a:extLst>
                <a:ext uri="{FF2B5EF4-FFF2-40B4-BE49-F238E27FC236}">
                  <a16:creationId xmlns:a16="http://schemas.microsoft.com/office/drawing/2014/main" id="{2929CE2C-2256-40A5-A8F3-3829812FC41F}"/>
                </a:ext>
              </a:extLst>
            </p:cNvPr>
            <p:cNvSpPr/>
            <p:nvPr/>
          </p:nvSpPr>
          <p:spPr>
            <a:xfrm rot="8716295">
              <a:off x="257666" y="226339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6" name="Forme libre : forme 335">
              <a:extLst>
                <a:ext uri="{FF2B5EF4-FFF2-40B4-BE49-F238E27FC236}">
                  <a16:creationId xmlns:a16="http://schemas.microsoft.com/office/drawing/2014/main" id="{5B080DE2-EB07-4251-8225-D8F835BCC870}"/>
                </a:ext>
              </a:extLst>
            </p:cNvPr>
            <p:cNvSpPr/>
            <p:nvPr/>
          </p:nvSpPr>
          <p:spPr>
            <a:xfrm rot="8716295">
              <a:off x="16215" y="211379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7" name="Forme libre : forme 336">
              <a:extLst>
                <a:ext uri="{FF2B5EF4-FFF2-40B4-BE49-F238E27FC236}">
                  <a16:creationId xmlns:a16="http://schemas.microsoft.com/office/drawing/2014/main" id="{CE30ADAD-6662-46CB-9F1B-B1109F31D2A1}"/>
                </a:ext>
              </a:extLst>
            </p:cNvPr>
            <p:cNvSpPr/>
            <p:nvPr/>
          </p:nvSpPr>
          <p:spPr>
            <a:xfrm rot="7484129">
              <a:off x="362597" y="245474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8" name="Forme libre : forme 337">
              <a:extLst>
                <a:ext uri="{FF2B5EF4-FFF2-40B4-BE49-F238E27FC236}">
                  <a16:creationId xmlns:a16="http://schemas.microsoft.com/office/drawing/2014/main" id="{E0EC12C4-DE16-425E-A187-948925CA8B78}"/>
                </a:ext>
              </a:extLst>
            </p:cNvPr>
            <p:cNvSpPr/>
            <p:nvPr/>
          </p:nvSpPr>
          <p:spPr>
            <a:xfrm rot="13089394">
              <a:off x="463440" y="2426400"/>
              <a:ext cx="272584" cy="319064"/>
            </a:xfrm>
            <a:custGeom>
              <a:avLst/>
              <a:gdLst>
                <a:gd name="connsiteX0" fmla="*/ 80445 w 272584"/>
                <a:gd name="connsiteY0" fmla="*/ 215518 h 319064"/>
                <a:gd name="connsiteX1" fmla="*/ 0 w 272584"/>
                <a:gd name="connsiteY1" fmla="*/ 93007 h 319064"/>
                <a:gd name="connsiteX2" fmla="*/ 0 w 272584"/>
                <a:gd name="connsiteY2" fmla="*/ 38074 h 319064"/>
                <a:gd name="connsiteX3" fmla="*/ 73388 w 272584"/>
                <a:gd name="connsiteY3" fmla="*/ 0 h 319064"/>
                <a:gd name="connsiteX4" fmla="*/ 74492 w 272584"/>
                <a:gd name="connsiteY4" fmla="*/ 153950 h 319064"/>
                <a:gd name="connsiteX5" fmla="*/ 76768 w 272584"/>
                <a:gd name="connsiteY5" fmla="*/ 200369 h 319064"/>
                <a:gd name="connsiteX6" fmla="*/ 272584 w 272584"/>
                <a:gd name="connsiteY6" fmla="*/ 258238 h 319064"/>
                <a:gd name="connsiteX7" fmla="*/ 177331 w 272584"/>
                <a:gd name="connsiteY7" fmla="*/ 311347 h 319064"/>
                <a:gd name="connsiteX8" fmla="*/ 148437 w 272584"/>
                <a:gd name="connsiteY8" fmla="*/ 319064 h 319064"/>
                <a:gd name="connsiteX9" fmla="*/ 119231 w 272584"/>
                <a:gd name="connsiteY9" fmla="*/ 274585 h 319064"/>
                <a:gd name="connsiteX10" fmla="*/ 153949 w 272584"/>
                <a:gd name="connsiteY10" fmla="*/ 281965 h 319064"/>
                <a:gd name="connsiteX11" fmla="*/ 203610 w 272584"/>
                <a:gd name="connsiteY11" fmla="*/ 273136 h 319064"/>
                <a:gd name="connsiteX12" fmla="*/ 271481 w 272584"/>
                <a:gd name="connsiteY12" fmla="*/ 245547 h 319064"/>
                <a:gd name="connsiteX13" fmla="*/ 272584 w 272584"/>
                <a:gd name="connsiteY13" fmla="*/ 252720 h 319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2584" h="319064">
                  <a:moveTo>
                    <a:pt x="80445" y="215518"/>
                  </a:moveTo>
                  <a:lnTo>
                    <a:pt x="0" y="93007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3664" y="169400"/>
                    <a:pt x="74492" y="184988"/>
                    <a:pt x="76768" y="200369"/>
                  </a:cubicBezTo>
                  <a:close/>
                  <a:moveTo>
                    <a:pt x="272584" y="258238"/>
                  </a:moveTo>
                  <a:cubicBezTo>
                    <a:pt x="243339" y="283344"/>
                    <a:pt x="209542" y="300312"/>
                    <a:pt x="177331" y="311347"/>
                  </a:cubicBezTo>
                  <a:lnTo>
                    <a:pt x="148437" y="319064"/>
                  </a:lnTo>
                  <a:lnTo>
                    <a:pt x="119231" y="274585"/>
                  </a:lnTo>
                  <a:lnTo>
                    <a:pt x="153949" y="281965"/>
                  </a:lnTo>
                  <a:cubicBezTo>
                    <a:pt x="171055" y="281413"/>
                    <a:pt x="187609" y="278102"/>
                    <a:pt x="203610" y="273136"/>
                  </a:cubicBezTo>
                  <a:cubicBezTo>
                    <a:pt x="226785" y="265963"/>
                    <a:pt x="249409" y="256583"/>
                    <a:pt x="271481" y="245547"/>
                  </a:cubicBezTo>
                  <a:cubicBezTo>
                    <a:pt x="272032" y="247754"/>
                    <a:pt x="272584" y="250513"/>
                    <a:pt x="272584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9" name="Forme libre : forme 338">
              <a:extLst>
                <a:ext uri="{FF2B5EF4-FFF2-40B4-BE49-F238E27FC236}">
                  <a16:creationId xmlns:a16="http://schemas.microsoft.com/office/drawing/2014/main" id="{0EBB3BF6-5F1A-4179-B16F-FF1F99B6BEAC}"/>
                </a:ext>
              </a:extLst>
            </p:cNvPr>
            <p:cNvSpPr/>
            <p:nvPr/>
          </p:nvSpPr>
          <p:spPr>
            <a:xfrm rot="8716295">
              <a:off x="675867" y="2357327"/>
              <a:ext cx="38012" cy="45752"/>
            </a:xfrm>
            <a:custGeom>
              <a:avLst/>
              <a:gdLst>
                <a:gd name="connsiteX0" fmla="*/ 0 w 38012"/>
                <a:gd name="connsiteY0" fmla="*/ 45752 h 45752"/>
                <a:gd name="connsiteX1" fmla="*/ 37842 w 38012"/>
                <a:gd name="connsiteY1" fmla="*/ 0 h 45752"/>
                <a:gd name="connsiteX2" fmla="*/ 38012 w 38012"/>
                <a:gd name="connsiteY2" fmla="*/ 641 h 45752"/>
                <a:gd name="connsiteX3" fmla="*/ 6841 w 38012"/>
                <a:gd name="connsiteY3" fmla="*/ 42560 h 45752"/>
                <a:gd name="connsiteX4" fmla="*/ 7378 w 38012"/>
                <a:gd name="connsiteY4" fmla="*/ 42560 h 45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012" h="45752">
                  <a:moveTo>
                    <a:pt x="0" y="45752"/>
                  </a:moveTo>
                  <a:lnTo>
                    <a:pt x="37842" y="0"/>
                  </a:lnTo>
                  <a:lnTo>
                    <a:pt x="38012" y="641"/>
                  </a:lnTo>
                  <a:cubicBezTo>
                    <a:pt x="36400" y="19451"/>
                    <a:pt x="24039" y="35036"/>
                    <a:pt x="6841" y="42560"/>
                  </a:cubicBezTo>
                  <a:lnTo>
                    <a:pt x="7378" y="425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0" name="Forme libre : forme 339">
              <a:extLst>
                <a:ext uri="{FF2B5EF4-FFF2-40B4-BE49-F238E27FC236}">
                  <a16:creationId xmlns:a16="http://schemas.microsoft.com/office/drawing/2014/main" id="{40BD2394-2E6A-43B3-8282-5AF2A68AFB55}"/>
                </a:ext>
              </a:extLst>
            </p:cNvPr>
            <p:cNvSpPr/>
            <p:nvPr/>
          </p:nvSpPr>
          <p:spPr>
            <a:xfrm rot="8716295">
              <a:off x="601197" y="21260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1" name="Forme libre : forme 340">
              <a:extLst>
                <a:ext uri="{FF2B5EF4-FFF2-40B4-BE49-F238E27FC236}">
                  <a16:creationId xmlns:a16="http://schemas.microsoft.com/office/drawing/2014/main" id="{98C4AC75-3010-49F3-9D48-1212A4D988F1}"/>
                </a:ext>
              </a:extLst>
            </p:cNvPr>
            <p:cNvSpPr/>
            <p:nvPr/>
          </p:nvSpPr>
          <p:spPr>
            <a:xfrm rot="8716295">
              <a:off x="357951" y="21562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2" name="Forme libre : forme 341">
              <a:extLst>
                <a:ext uri="{FF2B5EF4-FFF2-40B4-BE49-F238E27FC236}">
                  <a16:creationId xmlns:a16="http://schemas.microsoft.com/office/drawing/2014/main" id="{F44EFD0C-26D8-44AF-B8B7-34925D1881F3}"/>
                </a:ext>
              </a:extLst>
            </p:cNvPr>
            <p:cNvSpPr/>
            <p:nvPr/>
          </p:nvSpPr>
          <p:spPr>
            <a:xfrm rot="8716295">
              <a:off x="535403" y="199698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3" name="Forme libre : forme 342">
              <a:extLst>
                <a:ext uri="{FF2B5EF4-FFF2-40B4-BE49-F238E27FC236}">
                  <a16:creationId xmlns:a16="http://schemas.microsoft.com/office/drawing/2014/main" id="{1A320605-AC28-4E7D-BF63-1E3FD62FB21F}"/>
                </a:ext>
              </a:extLst>
            </p:cNvPr>
            <p:cNvSpPr/>
            <p:nvPr/>
          </p:nvSpPr>
          <p:spPr>
            <a:xfrm rot="8716295">
              <a:off x="-76043" y="1768178"/>
              <a:ext cx="197178" cy="215049"/>
            </a:xfrm>
            <a:custGeom>
              <a:avLst/>
              <a:gdLst>
                <a:gd name="connsiteX0" fmla="*/ 51490 w 197178"/>
                <a:gd name="connsiteY0" fmla="*/ 215049 h 215049"/>
                <a:gd name="connsiteX1" fmla="*/ 51490 w 197178"/>
                <a:gd name="connsiteY1" fmla="*/ 45624 h 215049"/>
                <a:gd name="connsiteX2" fmla="*/ 0 w 197178"/>
                <a:gd name="connsiteY2" fmla="*/ 45624 h 215049"/>
                <a:gd name="connsiteX3" fmla="*/ 0 w 197178"/>
                <a:gd name="connsiteY3" fmla="*/ 1424 h 215049"/>
                <a:gd name="connsiteX4" fmla="*/ 104803 w 197178"/>
                <a:gd name="connsiteY4" fmla="*/ 1425 h 215049"/>
                <a:gd name="connsiteX5" fmla="*/ 104803 w 197178"/>
                <a:gd name="connsiteY5" fmla="*/ 75242 h 215049"/>
                <a:gd name="connsiteX6" fmla="*/ 106169 w 197178"/>
                <a:gd name="connsiteY6" fmla="*/ 75242 h 215049"/>
                <a:gd name="connsiteX7" fmla="*/ 154014 w 197178"/>
                <a:gd name="connsiteY7" fmla="*/ 5981 h 215049"/>
                <a:gd name="connsiteX8" fmla="*/ 185455 w 197178"/>
                <a:gd name="connsiteY8" fmla="*/ 57 h 215049"/>
                <a:gd name="connsiteX9" fmla="*/ 197178 w 197178"/>
                <a:gd name="connsiteY9" fmla="*/ 4872 h 215049"/>
                <a:gd name="connsiteX10" fmla="*/ 170795 w 197178"/>
                <a:gd name="connsiteY10" fmla="*/ 42934 h 215049"/>
                <a:gd name="connsiteX11" fmla="*/ 164950 w 197178"/>
                <a:gd name="connsiteY11" fmla="*/ 40156 h 215049"/>
                <a:gd name="connsiteX12" fmla="*/ 111638 w 197178"/>
                <a:gd name="connsiteY12" fmla="*/ 127643 h 215049"/>
                <a:gd name="connsiteX13" fmla="*/ 111638 w 197178"/>
                <a:gd name="connsiteY13" fmla="*/ 128277 h 21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178" h="215049">
                  <a:moveTo>
                    <a:pt x="51490" y="215049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4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lnTo>
                    <a:pt x="197178" y="4872"/>
                  </a:lnTo>
                  <a:lnTo>
                    <a:pt x="170795" y="42934"/>
                  </a:lnTo>
                  <a:lnTo>
                    <a:pt x="164950" y="40156"/>
                  </a:ln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1282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4" name="Forme libre : forme 343">
              <a:extLst>
                <a:ext uri="{FF2B5EF4-FFF2-40B4-BE49-F238E27FC236}">
                  <a16:creationId xmlns:a16="http://schemas.microsoft.com/office/drawing/2014/main" id="{79B4D19B-E848-47AB-BAFE-59EBF555A6F5}"/>
                </a:ext>
              </a:extLst>
            </p:cNvPr>
            <p:cNvSpPr/>
            <p:nvPr/>
          </p:nvSpPr>
          <p:spPr>
            <a:xfrm rot="8716295">
              <a:off x="56555" y="14742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5" name="Forme libre : forme 344">
              <a:extLst>
                <a:ext uri="{FF2B5EF4-FFF2-40B4-BE49-F238E27FC236}">
                  <a16:creationId xmlns:a16="http://schemas.microsoft.com/office/drawing/2014/main" id="{0496B299-828A-4BBC-966F-5FA47083E3CE}"/>
                </a:ext>
              </a:extLst>
            </p:cNvPr>
            <p:cNvSpPr/>
            <p:nvPr/>
          </p:nvSpPr>
          <p:spPr>
            <a:xfrm rot="8716295">
              <a:off x="145947" y="15034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6" name="Forme libre : forme 345">
              <a:extLst>
                <a:ext uri="{FF2B5EF4-FFF2-40B4-BE49-F238E27FC236}">
                  <a16:creationId xmlns:a16="http://schemas.microsoft.com/office/drawing/2014/main" id="{47AF6C7D-4B3B-4997-9D6C-9505A068BCE6}"/>
                </a:ext>
              </a:extLst>
            </p:cNvPr>
            <p:cNvSpPr/>
            <p:nvPr/>
          </p:nvSpPr>
          <p:spPr>
            <a:xfrm rot="8716295">
              <a:off x="-21870" y="1443501"/>
              <a:ext cx="68614" cy="55323"/>
            </a:xfrm>
            <a:custGeom>
              <a:avLst/>
              <a:gdLst>
                <a:gd name="connsiteX0" fmla="*/ 0 w 68614"/>
                <a:gd name="connsiteY0" fmla="*/ 55323 h 55323"/>
                <a:gd name="connsiteX1" fmla="*/ 0 w 68614"/>
                <a:gd name="connsiteY1" fmla="*/ 0 h 55323"/>
                <a:gd name="connsiteX2" fmla="*/ 68614 w 68614"/>
                <a:gd name="connsiteY2" fmla="*/ 0 h 55323"/>
                <a:gd name="connsiteX3" fmla="*/ 30266 w 68614"/>
                <a:gd name="connsiteY3" fmla="*/ 55323 h 55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614" h="55323">
                  <a:moveTo>
                    <a:pt x="0" y="55323"/>
                  </a:moveTo>
                  <a:lnTo>
                    <a:pt x="0" y="0"/>
                  </a:lnTo>
                  <a:lnTo>
                    <a:pt x="68614" y="0"/>
                  </a:lnTo>
                  <a:lnTo>
                    <a:pt x="30266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7" name="Forme libre : forme 346">
              <a:extLst>
                <a:ext uri="{FF2B5EF4-FFF2-40B4-BE49-F238E27FC236}">
                  <a16:creationId xmlns:a16="http://schemas.microsoft.com/office/drawing/2014/main" id="{6A925E12-2BFF-4625-A0A6-B147409EE83D}"/>
                </a:ext>
              </a:extLst>
            </p:cNvPr>
            <p:cNvSpPr/>
            <p:nvPr/>
          </p:nvSpPr>
          <p:spPr>
            <a:xfrm rot="8716295">
              <a:off x="35817" y="1618109"/>
              <a:ext cx="103435" cy="203897"/>
            </a:xfrm>
            <a:custGeom>
              <a:avLst/>
              <a:gdLst>
                <a:gd name="connsiteX0" fmla="*/ 87556 w 103435"/>
                <a:gd name="connsiteY0" fmla="*/ 203897 h 203897"/>
                <a:gd name="connsiteX1" fmla="*/ 43288 w 103435"/>
                <a:gd name="connsiteY1" fmla="*/ 161305 h 203897"/>
                <a:gd name="connsiteX2" fmla="*/ 43288 w 103435"/>
                <a:gd name="connsiteY2" fmla="*/ 16404 h 203897"/>
                <a:gd name="connsiteX3" fmla="*/ 0 w 103435"/>
                <a:gd name="connsiteY3" fmla="*/ 16404 h 203897"/>
                <a:gd name="connsiteX4" fmla="*/ 0 w 103435"/>
                <a:gd name="connsiteY4" fmla="*/ 2278 h 203897"/>
                <a:gd name="connsiteX5" fmla="*/ 103435 w 103435"/>
                <a:gd name="connsiteY5" fmla="*/ 0 h 203897"/>
                <a:gd name="connsiteX6" fmla="*/ 103435 w 103435"/>
                <a:gd name="connsiteY6" fmla="*/ 180989 h 203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03897">
                  <a:moveTo>
                    <a:pt x="87556" y="203897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1809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8" name="Forme libre : forme 347">
              <a:extLst>
                <a:ext uri="{FF2B5EF4-FFF2-40B4-BE49-F238E27FC236}">
                  <a16:creationId xmlns:a16="http://schemas.microsoft.com/office/drawing/2014/main" id="{8F161AAD-ABF3-4F08-A5E7-178FA67C468C}"/>
                </a:ext>
              </a:extLst>
            </p:cNvPr>
            <p:cNvSpPr/>
            <p:nvPr/>
          </p:nvSpPr>
          <p:spPr>
            <a:xfrm rot="7484129">
              <a:off x="139430" y="17950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9" name="Forme libre : forme 348">
              <a:extLst>
                <a:ext uri="{FF2B5EF4-FFF2-40B4-BE49-F238E27FC236}">
                  <a16:creationId xmlns:a16="http://schemas.microsoft.com/office/drawing/2014/main" id="{2B2677AB-A960-4EDE-895B-90B39923E929}"/>
                </a:ext>
              </a:extLst>
            </p:cNvPr>
            <p:cNvSpPr/>
            <p:nvPr/>
          </p:nvSpPr>
          <p:spPr>
            <a:xfrm rot="13089394">
              <a:off x="244250" y="17615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0" name="Forme libre : forme 349">
              <a:extLst>
                <a:ext uri="{FF2B5EF4-FFF2-40B4-BE49-F238E27FC236}">
                  <a16:creationId xmlns:a16="http://schemas.microsoft.com/office/drawing/2014/main" id="{57CCAF2A-AD40-4587-8C0B-9AD3AA1B47B2}"/>
                </a:ext>
              </a:extLst>
            </p:cNvPr>
            <p:cNvSpPr/>
            <p:nvPr/>
          </p:nvSpPr>
          <p:spPr>
            <a:xfrm rot="8716295">
              <a:off x="429835" y="15699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1" name="Forme libre : forme 350">
              <a:extLst>
                <a:ext uri="{FF2B5EF4-FFF2-40B4-BE49-F238E27FC236}">
                  <a16:creationId xmlns:a16="http://schemas.microsoft.com/office/drawing/2014/main" id="{1CD46395-0105-4DB9-A258-02757ED2970C}"/>
                </a:ext>
              </a:extLst>
            </p:cNvPr>
            <p:cNvSpPr/>
            <p:nvPr/>
          </p:nvSpPr>
          <p:spPr>
            <a:xfrm rot="8716295">
              <a:off x="378030" y="14663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2" name="Forme libre : forme 351">
              <a:extLst>
                <a:ext uri="{FF2B5EF4-FFF2-40B4-BE49-F238E27FC236}">
                  <a16:creationId xmlns:a16="http://schemas.microsoft.com/office/drawing/2014/main" id="{792A22ED-7042-473B-B5F0-A8F38B0EAB40}"/>
                </a:ext>
              </a:extLst>
            </p:cNvPr>
            <p:cNvSpPr/>
            <p:nvPr/>
          </p:nvSpPr>
          <p:spPr>
            <a:xfrm rot="8716295">
              <a:off x="134784" y="14965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3" name="Forme libre : forme 352">
              <a:extLst>
                <a:ext uri="{FF2B5EF4-FFF2-40B4-BE49-F238E27FC236}">
                  <a16:creationId xmlns:a16="http://schemas.microsoft.com/office/drawing/2014/main" id="{F026E106-3ED5-479C-A7E5-1D0CF59276FB}"/>
                </a:ext>
              </a:extLst>
            </p:cNvPr>
            <p:cNvSpPr/>
            <p:nvPr/>
          </p:nvSpPr>
          <p:spPr>
            <a:xfrm rot="8716295">
              <a:off x="312236" y="13372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4" name="Forme libre : forme 353">
              <a:extLst>
                <a:ext uri="{FF2B5EF4-FFF2-40B4-BE49-F238E27FC236}">
                  <a16:creationId xmlns:a16="http://schemas.microsoft.com/office/drawing/2014/main" id="{A652AA44-0788-418A-BCB7-7692D06F9F9C}"/>
                </a:ext>
              </a:extLst>
            </p:cNvPr>
            <p:cNvSpPr/>
            <p:nvPr/>
          </p:nvSpPr>
          <p:spPr>
            <a:xfrm rot="8716295">
              <a:off x="-17798" y="949199"/>
              <a:ext cx="39526" cy="50123"/>
            </a:xfrm>
            <a:custGeom>
              <a:avLst/>
              <a:gdLst>
                <a:gd name="connsiteX0" fmla="*/ 0 w 39526"/>
                <a:gd name="connsiteY0" fmla="*/ 50123 h 50123"/>
                <a:gd name="connsiteX1" fmla="*/ 0 w 39526"/>
                <a:gd name="connsiteY1" fmla="*/ 0 h 50123"/>
                <a:gd name="connsiteX2" fmla="*/ 39526 w 39526"/>
                <a:gd name="connsiteY2" fmla="*/ 0 h 50123"/>
                <a:gd name="connsiteX3" fmla="*/ 4782 w 39526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26" h="50123">
                  <a:moveTo>
                    <a:pt x="0" y="50123"/>
                  </a:moveTo>
                  <a:lnTo>
                    <a:pt x="0" y="0"/>
                  </a:lnTo>
                  <a:lnTo>
                    <a:pt x="39526" y="0"/>
                  </a:lnTo>
                  <a:lnTo>
                    <a:pt x="4782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5" name="Forme libre : forme 354">
              <a:extLst>
                <a:ext uri="{FF2B5EF4-FFF2-40B4-BE49-F238E27FC236}">
                  <a16:creationId xmlns:a16="http://schemas.microsoft.com/office/drawing/2014/main" id="{CC7F2B2F-A9EF-4436-92EE-F187A921B5A2}"/>
                </a:ext>
              </a:extLst>
            </p:cNvPr>
            <p:cNvSpPr/>
            <p:nvPr/>
          </p:nvSpPr>
          <p:spPr>
            <a:xfrm rot="8716295">
              <a:off x="-64996" y="834728"/>
              <a:ext cx="249650" cy="254774"/>
            </a:xfrm>
            <a:custGeom>
              <a:avLst/>
              <a:gdLst>
                <a:gd name="connsiteX0" fmla="*/ 51490 w 249650"/>
                <a:gd name="connsiteY0" fmla="*/ 254774 h 254774"/>
                <a:gd name="connsiteX1" fmla="*/ 51490 w 249650"/>
                <a:gd name="connsiteY1" fmla="*/ 45624 h 254774"/>
                <a:gd name="connsiteX2" fmla="*/ 0 w 249650"/>
                <a:gd name="connsiteY2" fmla="*/ 45624 h 254774"/>
                <a:gd name="connsiteX3" fmla="*/ 0 w 249650"/>
                <a:gd name="connsiteY3" fmla="*/ 1425 h 254774"/>
                <a:gd name="connsiteX4" fmla="*/ 104803 w 249650"/>
                <a:gd name="connsiteY4" fmla="*/ 1425 h 254774"/>
                <a:gd name="connsiteX5" fmla="*/ 104803 w 249650"/>
                <a:gd name="connsiteY5" fmla="*/ 75242 h 254774"/>
                <a:gd name="connsiteX6" fmla="*/ 106169 w 249650"/>
                <a:gd name="connsiteY6" fmla="*/ 75242 h 254774"/>
                <a:gd name="connsiteX7" fmla="*/ 154014 w 249650"/>
                <a:gd name="connsiteY7" fmla="*/ 5981 h 254774"/>
                <a:gd name="connsiteX8" fmla="*/ 185455 w 249650"/>
                <a:gd name="connsiteY8" fmla="*/ 57 h 254774"/>
                <a:gd name="connsiteX9" fmla="*/ 240647 w 249650"/>
                <a:gd name="connsiteY9" fmla="*/ 22727 h 254774"/>
                <a:gd name="connsiteX10" fmla="*/ 249650 w 249650"/>
                <a:gd name="connsiteY10" fmla="*/ 52327 h 254774"/>
                <a:gd name="connsiteX11" fmla="*/ 218795 w 249650"/>
                <a:gd name="connsiteY11" fmla="*/ 96841 h 254774"/>
                <a:gd name="connsiteX12" fmla="*/ 198669 w 249650"/>
                <a:gd name="connsiteY12" fmla="*/ 98025 h 254774"/>
                <a:gd name="connsiteX13" fmla="*/ 198669 w 249650"/>
                <a:gd name="connsiteY13" fmla="*/ 81621 h 254774"/>
                <a:gd name="connsiteX14" fmla="*/ 164950 w 249650"/>
                <a:gd name="connsiteY14" fmla="*/ 40156 h 254774"/>
                <a:gd name="connsiteX15" fmla="*/ 111638 w 249650"/>
                <a:gd name="connsiteY15" fmla="*/ 127643 h 254774"/>
                <a:gd name="connsiteX16" fmla="*/ 111638 w 249650"/>
                <a:gd name="connsiteY16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9650" h="254774">
                  <a:moveTo>
                    <a:pt x="51490" y="254774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08922" y="-398"/>
                    <a:pt x="227718" y="7576"/>
                    <a:pt x="240647" y="22727"/>
                  </a:cubicBezTo>
                  <a:lnTo>
                    <a:pt x="249650" y="52327"/>
                  </a:lnTo>
                  <a:lnTo>
                    <a:pt x="218795" y="96841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6" name="Forme libre : forme 355">
              <a:extLst>
                <a:ext uri="{FF2B5EF4-FFF2-40B4-BE49-F238E27FC236}">
                  <a16:creationId xmlns:a16="http://schemas.microsoft.com/office/drawing/2014/main" id="{B491F0AE-2B60-457D-9F7E-DF3C2D622FF0}"/>
                </a:ext>
              </a:extLst>
            </p:cNvPr>
            <p:cNvSpPr/>
            <p:nvPr/>
          </p:nvSpPr>
          <p:spPr>
            <a:xfrm rot="7484129">
              <a:off x="-63314" y="1172497"/>
              <a:ext cx="203848" cy="146395"/>
            </a:xfrm>
            <a:custGeom>
              <a:avLst/>
              <a:gdLst>
                <a:gd name="connsiteX0" fmla="*/ 0 w 203848"/>
                <a:gd name="connsiteY0" fmla="*/ 55323 h 146395"/>
                <a:gd name="connsiteX1" fmla="*/ 0 w 203848"/>
                <a:gd name="connsiteY1" fmla="*/ 0 h 146395"/>
                <a:gd name="connsiteX2" fmla="*/ 203848 w 203848"/>
                <a:gd name="connsiteY2" fmla="*/ 0 h 146395"/>
                <a:gd name="connsiteX3" fmla="*/ 203847 w 203848"/>
                <a:gd name="connsiteY3" fmla="*/ 49512 h 146395"/>
                <a:gd name="connsiteX4" fmla="*/ 195466 w 203848"/>
                <a:gd name="connsiteY4" fmla="*/ 55323 h 146395"/>
                <a:gd name="connsiteX5" fmla="*/ 139055 w 203848"/>
                <a:gd name="connsiteY5" fmla="*/ 55323 h 146395"/>
                <a:gd name="connsiteX6" fmla="*/ 121388 w 203848"/>
                <a:gd name="connsiteY6" fmla="*/ 106685 h 146395"/>
                <a:gd name="connsiteX7" fmla="*/ 64115 w 203848"/>
                <a:gd name="connsiteY7" fmla="*/ 146395 h 146395"/>
                <a:gd name="connsiteX8" fmla="*/ 47847 w 203848"/>
                <a:gd name="connsiteY8" fmla="*/ 116129 h 146395"/>
                <a:gd name="connsiteX9" fmla="*/ 69777 w 203848"/>
                <a:gd name="connsiteY9" fmla="*/ 55323 h 146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848" h="146395">
                  <a:moveTo>
                    <a:pt x="0" y="55323"/>
                  </a:moveTo>
                  <a:lnTo>
                    <a:pt x="0" y="0"/>
                  </a:lnTo>
                  <a:lnTo>
                    <a:pt x="203848" y="0"/>
                  </a:lnTo>
                  <a:lnTo>
                    <a:pt x="203847" y="49512"/>
                  </a:lnTo>
                  <a:lnTo>
                    <a:pt x="195466" y="55323"/>
                  </a:lnTo>
                  <a:lnTo>
                    <a:pt x="139055" y="55323"/>
                  </a:lnTo>
                  <a:lnTo>
                    <a:pt x="121388" y="106685"/>
                  </a:lnTo>
                  <a:lnTo>
                    <a:pt x="64115" y="146395"/>
                  </a:lnTo>
                  <a:lnTo>
                    <a:pt x="47847" y="116129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7" name="Forme libre : forme 356">
              <a:extLst>
                <a:ext uri="{FF2B5EF4-FFF2-40B4-BE49-F238E27FC236}">
                  <a16:creationId xmlns:a16="http://schemas.microsoft.com/office/drawing/2014/main" id="{566B0F1B-76F2-42A3-83ED-13519BAD8E0C}"/>
                </a:ext>
              </a:extLst>
            </p:cNvPr>
            <p:cNvSpPr/>
            <p:nvPr/>
          </p:nvSpPr>
          <p:spPr>
            <a:xfrm rot="13089394">
              <a:off x="25311" y="109952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8" name="Forme libre : forme 357">
              <a:extLst>
                <a:ext uri="{FF2B5EF4-FFF2-40B4-BE49-F238E27FC236}">
                  <a16:creationId xmlns:a16="http://schemas.microsoft.com/office/drawing/2014/main" id="{6ACA7109-A9A0-4CC8-B8F0-2B22C7DA70BF}"/>
                </a:ext>
              </a:extLst>
            </p:cNvPr>
            <p:cNvSpPr/>
            <p:nvPr/>
          </p:nvSpPr>
          <p:spPr>
            <a:xfrm rot="8716295">
              <a:off x="210896" y="90784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9" name="Forme libre : forme 358">
              <a:extLst>
                <a:ext uri="{FF2B5EF4-FFF2-40B4-BE49-F238E27FC236}">
                  <a16:creationId xmlns:a16="http://schemas.microsoft.com/office/drawing/2014/main" id="{452ADC31-6E2B-47AB-819B-06E9BDE7841B}"/>
                </a:ext>
              </a:extLst>
            </p:cNvPr>
            <p:cNvSpPr/>
            <p:nvPr/>
          </p:nvSpPr>
          <p:spPr>
            <a:xfrm rot="8716295">
              <a:off x="159091" y="80425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0" name="Forme libre : forme 359">
              <a:extLst>
                <a:ext uri="{FF2B5EF4-FFF2-40B4-BE49-F238E27FC236}">
                  <a16:creationId xmlns:a16="http://schemas.microsoft.com/office/drawing/2014/main" id="{BCEE9B8C-AA03-4719-891E-01DB914C78AC}"/>
                </a:ext>
              </a:extLst>
            </p:cNvPr>
            <p:cNvSpPr/>
            <p:nvPr/>
          </p:nvSpPr>
          <p:spPr>
            <a:xfrm rot="8716295">
              <a:off x="93297" y="67523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1" name="Forme libre : forme 360">
              <a:extLst>
                <a:ext uri="{FF2B5EF4-FFF2-40B4-BE49-F238E27FC236}">
                  <a16:creationId xmlns:a16="http://schemas.microsoft.com/office/drawing/2014/main" id="{F9DD0D80-4138-4478-988E-136F3B8038CE}"/>
                </a:ext>
              </a:extLst>
            </p:cNvPr>
            <p:cNvSpPr/>
            <p:nvPr/>
          </p:nvSpPr>
          <p:spPr>
            <a:xfrm rot="8716295">
              <a:off x="-7001" y="316701"/>
              <a:ext cx="14001" cy="20198"/>
            </a:xfrm>
            <a:custGeom>
              <a:avLst/>
              <a:gdLst>
                <a:gd name="connsiteX0" fmla="*/ 0 w 14001"/>
                <a:gd name="connsiteY0" fmla="*/ 20198 h 20198"/>
                <a:gd name="connsiteX1" fmla="*/ 0 w 14001"/>
                <a:gd name="connsiteY1" fmla="*/ 0 h 20198"/>
                <a:gd name="connsiteX2" fmla="*/ 14001 w 14001"/>
                <a:gd name="connsiteY2" fmla="*/ 0 h 2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01" h="20198">
                  <a:moveTo>
                    <a:pt x="0" y="20198"/>
                  </a:moveTo>
                  <a:lnTo>
                    <a:pt x="0" y="0"/>
                  </a:lnTo>
                  <a:lnTo>
                    <a:pt x="1400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2" name="Forme libre : forme 361">
              <a:extLst>
                <a:ext uri="{FF2B5EF4-FFF2-40B4-BE49-F238E27FC236}">
                  <a16:creationId xmlns:a16="http://schemas.microsoft.com/office/drawing/2014/main" id="{DF35AC08-7EAC-4D88-B60D-06D59DB2131D}"/>
                </a:ext>
              </a:extLst>
            </p:cNvPr>
            <p:cNvSpPr/>
            <p:nvPr/>
          </p:nvSpPr>
          <p:spPr>
            <a:xfrm rot="13089394">
              <a:off x="-81658" y="472652"/>
              <a:ext cx="173631" cy="237684"/>
            </a:xfrm>
            <a:custGeom>
              <a:avLst/>
              <a:gdLst>
                <a:gd name="connsiteX0" fmla="*/ 173631 w 173631"/>
                <a:gd name="connsiteY0" fmla="*/ 220990 h 237684"/>
                <a:gd name="connsiteX1" fmla="*/ 130972 w 173631"/>
                <a:gd name="connsiteY1" fmla="*/ 232382 h 237684"/>
                <a:gd name="connsiteX2" fmla="*/ 91597 w 173631"/>
                <a:gd name="connsiteY2" fmla="*/ 237521 h 237684"/>
                <a:gd name="connsiteX3" fmla="*/ 23727 w 173631"/>
                <a:gd name="connsiteY3" fmla="*/ 209931 h 237684"/>
                <a:gd name="connsiteX4" fmla="*/ 0 w 173631"/>
                <a:gd name="connsiteY4" fmla="*/ 115023 h 237684"/>
                <a:gd name="connsiteX5" fmla="*/ 0 w 173631"/>
                <a:gd name="connsiteY5" fmla="*/ 0 h 237684"/>
                <a:gd name="connsiteX6" fmla="*/ 76176 w 173631"/>
                <a:gd name="connsiteY6" fmla="*/ 96953 h 237684"/>
                <a:gd name="connsiteX7" fmla="*/ 76768 w 173631"/>
                <a:gd name="connsiteY7" fmla="*/ 109023 h 237684"/>
                <a:gd name="connsiteX8" fmla="*/ 87734 w 173631"/>
                <a:gd name="connsiteY8" fmla="*/ 154201 h 237684"/>
                <a:gd name="connsiteX9" fmla="*/ 111117 w 173631"/>
                <a:gd name="connsiteY9" fmla="*/ 181514 h 237684"/>
                <a:gd name="connsiteX10" fmla="*/ 148930 w 173631"/>
                <a:gd name="connsiteY10" fmla="*/ 189552 h 237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3631" h="237684">
                  <a:moveTo>
                    <a:pt x="173631" y="220990"/>
                  </a:moveTo>
                  <a:lnTo>
                    <a:pt x="130972" y="232382"/>
                  </a:lnTo>
                  <a:cubicBezTo>
                    <a:pt x="116428" y="235210"/>
                    <a:pt x="103047" y="236831"/>
                    <a:pt x="91597" y="237521"/>
                  </a:cubicBezTo>
                  <a:cubicBezTo>
                    <a:pt x="66215" y="239176"/>
                    <a:pt x="41384" y="228141"/>
                    <a:pt x="23727" y="209931"/>
                  </a:cubicBezTo>
                  <a:cubicBezTo>
                    <a:pt x="4966" y="191722"/>
                    <a:pt x="0" y="160270"/>
                    <a:pt x="0" y="115023"/>
                  </a:cubicBezTo>
                  <a:lnTo>
                    <a:pt x="0" y="0"/>
                  </a:lnTo>
                  <a:lnTo>
                    <a:pt x="76176" y="96953"/>
                  </a:lnTo>
                  <a:lnTo>
                    <a:pt x="76768" y="109023"/>
                  </a:lnTo>
                  <a:cubicBezTo>
                    <a:pt x="79044" y="124404"/>
                    <a:pt x="82768" y="139578"/>
                    <a:pt x="87734" y="154201"/>
                  </a:cubicBezTo>
                  <a:cubicBezTo>
                    <a:pt x="92149" y="166340"/>
                    <a:pt x="100012" y="175445"/>
                    <a:pt x="111117" y="181514"/>
                  </a:cubicBezTo>
                  <a:lnTo>
                    <a:pt x="148930" y="1895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3" name="Forme libre : forme 362">
              <a:extLst>
                <a:ext uri="{FF2B5EF4-FFF2-40B4-BE49-F238E27FC236}">
                  <a16:creationId xmlns:a16="http://schemas.microsoft.com/office/drawing/2014/main" id="{9AFF3E46-2559-4C6F-8BF3-7DBBEBA30E07}"/>
                </a:ext>
              </a:extLst>
            </p:cNvPr>
            <p:cNvSpPr/>
            <p:nvPr/>
          </p:nvSpPr>
          <p:spPr>
            <a:xfrm rot="8716295">
              <a:off x="-11774" y="24443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4" name="Forme libre : forme 363">
              <a:extLst>
                <a:ext uri="{FF2B5EF4-FFF2-40B4-BE49-F238E27FC236}">
                  <a16:creationId xmlns:a16="http://schemas.microsoft.com/office/drawing/2014/main" id="{97E07195-EA95-4E14-9CB9-A69F34AE04C5}"/>
                </a:ext>
              </a:extLst>
            </p:cNvPr>
            <p:cNvSpPr/>
            <p:nvPr/>
          </p:nvSpPr>
          <p:spPr>
            <a:xfrm rot="8716295">
              <a:off x="-30092" y="143486"/>
              <a:ext cx="77721" cy="97260"/>
            </a:xfrm>
            <a:custGeom>
              <a:avLst/>
              <a:gdLst>
                <a:gd name="connsiteX0" fmla="*/ 15821 w 77721"/>
                <a:gd name="connsiteY0" fmla="*/ 97260 h 97260"/>
                <a:gd name="connsiteX1" fmla="*/ 0 w 77721"/>
                <a:gd name="connsiteY1" fmla="*/ 59790 h 97260"/>
                <a:gd name="connsiteX2" fmla="*/ 0 w 77721"/>
                <a:gd name="connsiteY2" fmla="*/ 58869 h 97260"/>
                <a:gd name="connsiteX3" fmla="*/ 17477 w 77721"/>
                <a:gd name="connsiteY3" fmla="*/ 17477 h 97260"/>
                <a:gd name="connsiteX4" fmla="*/ 58869 w 77721"/>
                <a:gd name="connsiteY4" fmla="*/ 0 h 97260"/>
                <a:gd name="connsiteX5" fmla="*/ 77721 w 77721"/>
                <a:gd name="connsiteY5" fmla="*/ 7960 h 97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721" h="97260">
                  <a:moveTo>
                    <a:pt x="15821" y="97260"/>
                  </a:moveTo>
                  <a:lnTo>
                    <a:pt x="0" y="59790"/>
                  </a:ln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lnTo>
                    <a:pt x="77721" y="79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5" name="Forme libre : forme 364">
              <a:extLst>
                <a:ext uri="{FF2B5EF4-FFF2-40B4-BE49-F238E27FC236}">
                  <a16:creationId xmlns:a16="http://schemas.microsoft.com/office/drawing/2014/main" id="{F46DA911-E7B0-4E9F-BFB6-93C98E7208E7}"/>
                </a:ext>
              </a:extLst>
            </p:cNvPr>
            <p:cNvSpPr/>
            <p:nvPr/>
          </p:nvSpPr>
          <p:spPr>
            <a:xfrm rot="8716295">
              <a:off x="-17797" y="3452694"/>
              <a:ext cx="58455" cy="44199"/>
            </a:xfrm>
            <a:custGeom>
              <a:avLst/>
              <a:gdLst>
                <a:gd name="connsiteX0" fmla="*/ 0 w 58455"/>
                <a:gd name="connsiteY0" fmla="*/ 44199 h 44199"/>
                <a:gd name="connsiteX1" fmla="*/ 0 w 58455"/>
                <a:gd name="connsiteY1" fmla="*/ 0 h 44199"/>
                <a:gd name="connsiteX2" fmla="*/ 58455 w 58455"/>
                <a:gd name="connsiteY2" fmla="*/ 0 h 44199"/>
                <a:gd name="connsiteX3" fmla="*/ 27817 w 58455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55" h="44199">
                  <a:moveTo>
                    <a:pt x="0" y="44199"/>
                  </a:moveTo>
                  <a:lnTo>
                    <a:pt x="0" y="0"/>
                  </a:lnTo>
                  <a:lnTo>
                    <a:pt x="58455" y="0"/>
                  </a:lnTo>
                  <a:lnTo>
                    <a:pt x="27817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6" name="Forme libre : forme 365">
              <a:extLst>
                <a:ext uri="{FF2B5EF4-FFF2-40B4-BE49-F238E27FC236}">
                  <a16:creationId xmlns:a16="http://schemas.microsoft.com/office/drawing/2014/main" id="{C1D02749-F8C1-46C8-BEE0-16746055E93D}"/>
                </a:ext>
              </a:extLst>
            </p:cNvPr>
            <p:cNvSpPr/>
            <p:nvPr/>
          </p:nvSpPr>
          <p:spPr>
            <a:xfrm rot="13089394">
              <a:off x="-91485" y="3601812"/>
              <a:ext cx="206527" cy="292654"/>
            </a:xfrm>
            <a:custGeom>
              <a:avLst/>
              <a:gdLst>
                <a:gd name="connsiteX0" fmla="*/ 206527 w 206527"/>
                <a:gd name="connsiteY0" fmla="*/ 258693 h 292654"/>
                <a:gd name="connsiteX1" fmla="*/ 177331 w 206527"/>
                <a:gd name="connsiteY1" fmla="*/ 274971 h 292654"/>
                <a:gd name="connsiteX2" fmla="*/ 91597 w 206527"/>
                <a:gd name="connsiteY2" fmla="*/ 292491 h 292654"/>
                <a:gd name="connsiteX3" fmla="*/ 23727 w 206527"/>
                <a:gd name="connsiteY3" fmla="*/ 264901 h 292654"/>
                <a:gd name="connsiteX4" fmla="*/ 0 w 206527"/>
                <a:gd name="connsiteY4" fmla="*/ 169993 h 292654"/>
                <a:gd name="connsiteX5" fmla="*/ 0 w 206527"/>
                <a:gd name="connsiteY5" fmla="*/ 1698 h 292654"/>
                <a:gd name="connsiteX6" fmla="*/ 3273 w 206527"/>
                <a:gd name="connsiteY6" fmla="*/ 0 h 292654"/>
                <a:gd name="connsiteX7" fmla="*/ 74297 w 206527"/>
                <a:gd name="connsiteY7" fmla="*/ 90396 h 292654"/>
                <a:gd name="connsiteX8" fmla="*/ 74492 w 206527"/>
                <a:gd name="connsiteY8" fmla="*/ 117574 h 292654"/>
                <a:gd name="connsiteX9" fmla="*/ 87734 w 206527"/>
                <a:gd name="connsiteY9" fmla="*/ 209171 h 292654"/>
                <a:gd name="connsiteX10" fmla="*/ 153949 w 206527"/>
                <a:gd name="connsiteY10" fmla="*/ 245589 h 292654"/>
                <a:gd name="connsiteX11" fmla="*/ 191049 w 206527"/>
                <a:gd name="connsiteY11" fmla="*/ 238993 h 292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527" h="292654">
                  <a:moveTo>
                    <a:pt x="206527" y="258693"/>
                  </a:moveTo>
                  <a:lnTo>
                    <a:pt x="177331" y="274971"/>
                  </a:lnTo>
                  <a:cubicBezTo>
                    <a:pt x="145121" y="286007"/>
                    <a:pt x="114496" y="291111"/>
                    <a:pt x="91597" y="292491"/>
                  </a:cubicBezTo>
                  <a:cubicBezTo>
                    <a:pt x="66215" y="294146"/>
                    <a:pt x="41385" y="283111"/>
                    <a:pt x="23727" y="264901"/>
                  </a:cubicBezTo>
                  <a:cubicBezTo>
                    <a:pt x="4966" y="246692"/>
                    <a:pt x="0" y="215240"/>
                    <a:pt x="0" y="169993"/>
                  </a:cubicBezTo>
                  <a:lnTo>
                    <a:pt x="0" y="1698"/>
                  </a:lnTo>
                  <a:lnTo>
                    <a:pt x="3273" y="0"/>
                  </a:lnTo>
                  <a:lnTo>
                    <a:pt x="74297" y="90396"/>
                  </a:lnTo>
                  <a:lnTo>
                    <a:pt x="74492" y="117574"/>
                  </a:lnTo>
                  <a:cubicBezTo>
                    <a:pt x="72836" y="148474"/>
                    <a:pt x="77802" y="179926"/>
                    <a:pt x="87734" y="209171"/>
                  </a:cubicBezTo>
                  <a:cubicBezTo>
                    <a:pt x="96564" y="233450"/>
                    <a:pt x="119187" y="245589"/>
                    <a:pt x="153949" y="245589"/>
                  </a:cubicBezTo>
                  <a:lnTo>
                    <a:pt x="191049" y="2389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7" name="Forme libre : forme 366">
              <a:extLst>
                <a:ext uri="{FF2B5EF4-FFF2-40B4-BE49-F238E27FC236}">
                  <a16:creationId xmlns:a16="http://schemas.microsoft.com/office/drawing/2014/main" id="{DE83541C-6C64-4EFA-96DA-32677B2F8AB7}"/>
                </a:ext>
              </a:extLst>
            </p:cNvPr>
            <p:cNvSpPr/>
            <p:nvPr/>
          </p:nvSpPr>
          <p:spPr>
            <a:xfrm rot="8716295">
              <a:off x="24761" y="33896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8" name="Forme libre : forme 367">
              <a:extLst>
                <a:ext uri="{FF2B5EF4-FFF2-40B4-BE49-F238E27FC236}">
                  <a16:creationId xmlns:a16="http://schemas.microsoft.com/office/drawing/2014/main" id="{97641E82-A92B-4DDB-9997-4330C2FFFC03}"/>
                </a:ext>
              </a:extLst>
            </p:cNvPr>
            <p:cNvSpPr/>
            <p:nvPr/>
          </p:nvSpPr>
          <p:spPr>
            <a:xfrm rot="8716295">
              <a:off x="-24047" y="3281741"/>
              <a:ext cx="106042" cy="113733"/>
            </a:xfrm>
            <a:custGeom>
              <a:avLst/>
              <a:gdLst>
                <a:gd name="connsiteX0" fmla="*/ 17477 w 106042"/>
                <a:gd name="connsiteY0" fmla="*/ 101182 h 113733"/>
                <a:gd name="connsiteX1" fmla="*/ 0 w 106042"/>
                <a:gd name="connsiteY1" fmla="*/ 59790 h 113733"/>
                <a:gd name="connsiteX2" fmla="*/ 0 w 106042"/>
                <a:gd name="connsiteY2" fmla="*/ 58869 h 113733"/>
                <a:gd name="connsiteX3" fmla="*/ 17477 w 106042"/>
                <a:gd name="connsiteY3" fmla="*/ 17477 h 113733"/>
                <a:gd name="connsiteX4" fmla="*/ 58869 w 106042"/>
                <a:gd name="connsiteY4" fmla="*/ 0 h 113733"/>
                <a:gd name="connsiteX5" fmla="*/ 100262 w 106042"/>
                <a:gd name="connsiteY5" fmla="*/ 17477 h 113733"/>
                <a:gd name="connsiteX6" fmla="*/ 106042 w 106042"/>
                <a:gd name="connsiteY6" fmla="*/ 31234 h 113733"/>
                <a:gd name="connsiteX7" fmla="*/ 48856 w 106042"/>
                <a:gd name="connsiteY7" fmla="*/ 113733 h 11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042" h="113733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cubicBezTo>
                    <a:pt x="74507" y="0"/>
                    <a:pt x="89224" y="6439"/>
                    <a:pt x="100262" y="17477"/>
                  </a:cubicBezTo>
                  <a:lnTo>
                    <a:pt x="106042" y="31234"/>
                  </a:lnTo>
                  <a:lnTo>
                    <a:pt x="48856" y="1137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9" name="Forme libre : forme 368">
              <a:extLst>
                <a:ext uri="{FF2B5EF4-FFF2-40B4-BE49-F238E27FC236}">
                  <a16:creationId xmlns:a16="http://schemas.microsoft.com/office/drawing/2014/main" id="{CA7B7E86-E158-4CCC-9F30-35FD45AC52DC}"/>
                </a:ext>
              </a:extLst>
            </p:cNvPr>
            <p:cNvSpPr/>
            <p:nvPr/>
          </p:nvSpPr>
          <p:spPr>
            <a:xfrm rot="8716295">
              <a:off x="-21924" y="3179872"/>
              <a:ext cx="45776" cy="62656"/>
            </a:xfrm>
            <a:custGeom>
              <a:avLst/>
              <a:gdLst>
                <a:gd name="connsiteX0" fmla="*/ 2345 w 45776"/>
                <a:gd name="connsiteY0" fmla="*/ 62656 h 62656"/>
                <a:gd name="connsiteX1" fmla="*/ 0 w 45776"/>
                <a:gd name="connsiteY1" fmla="*/ 57104 h 62656"/>
                <a:gd name="connsiteX2" fmla="*/ 0 w 45776"/>
                <a:gd name="connsiteY2" fmla="*/ 56183 h 62656"/>
                <a:gd name="connsiteX3" fmla="*/ 17477 w 45776"/>
                <a:gd name="connsiteY3" fmla="*/ 14791 h 62656"/>
                <a:gd name="connsiteX4" fmla="*/ 36449 w 45776"/>
                <a:gd name="connsiteY4" fmla="*/ 1913 h 62656"/>
                <a:gd name="connsiteX5" fmla="*/ 45776 w 45776"/>
                <a:gd name="connsiteY5" fmla="*/ 0 h 62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776" h="62656">
                  <a:moveTo>
                    <a:pt x="2345" y="62656"/>
                  </a:moveTo>
                  <a:lnTo>
                    <a:pt x="0" y="57104"/>
                  </a:lnTo>
                  <a:lnTo>
                    <a:pt x="0" y="56183"/>
                  </a:lnTo>
                  <a:cubicBezTo>
                    <a:pt x="0" y="40547"/>
                    <a:pt x="6439" y="25829"/>
                    <a:pt x="17477" y="14791"/>
                  </a:cubicBezTo>
                  <a:cubicBezTo>
                    <a:pt x="22996" y="9272"/>
                    <a:pt x="29435" y="4903"/>
                    <a:pt x="36449" y="1913"/>
                  </a:cubicBezTo>
                  <a:lnTo>
                    <a:pt x="4577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0" name="Forme libre : forme 369">
              <a:extLst>
                <a:ext uri="{FF2B5EF4-FFF2-40B4-BE49-F238E27FC236}">
                  <a16:creationId xmlns:a16="http://schemas.microsoft.com/office/drawing/2014/main" id="{B95921A2-46DE-49F9-9F14-5364CEEC2044}"/>
                </a:ext>
              </a:extLst>
            </p:cNvPr>
            <p:cNvSpPr/>
            <p:nvPr/>
          </p:nvSpPr>
          <p:spPr>
            <a:xfrm rot="8716295">
              <a:off x="-21324" y="4100649"/>
              <a:ext cx="79113" cy="50123"/>
            </a:xfrm>
            <a:custGeom>
              <a:avLst/>
              <a:gdLst>
                <a:gd name="connsiteX0" fmla="*/ 0 w 79113"/>
                <a:gd name="connsiteY0" fmla="*/ 50123 h 50123"/>
                <a:gd name="connsiteX1" fmla="*/ 0 w 79113"/>
                <a:gd name="connsiteY1" fmla="*/ 0 h 50123"/>
                <a:gd name="connsiteX2" fmla="*/ 79113 w 79113"/>
                <a:gd name="connsiteY2" fmla="*/ 0 h 50123"/>
                <a:gd name="connsiteX3" fmla="*/ 44369 w 79113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113" h="50123">
                  <a:moveTo>
                    <a:pt x="0" y="50123"/>
                  </a:moveTo>
                  <a:lnTo>
                    <a:pt x="0" y="0"/>
                  </a:lnTo>
                  <a:lnTo>
                    <a:pt x="79113" y="0"/>
                  </a:lnTo>
                  <a:lnTo>
                    <a:pt x="44369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1" name="Forme libre : forme 370">
              <a:extLst>
                <a:ext uri="{FF2B5EF4-FFF2-40B4-BE49-F238E27FC236}">
                  <a16:creationId xmlns:a16="http://schemas.microsoft.com/office/drawing/2014/main" id="{84FEE941-A7A7-41F0-870B-FF2E21B132E9}"/>
                </a:ext>
              </a:extLst>
            </p:cNvPr>
            <p:cNvSpPr/>
            <p:nvPr/>
          </p:nvSpPr>
          <p:spPr>
            <a:xfrm rot="8716295">
              <a:off x="-40457" y="398156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2" name="Forme libre : forme 371">
              <a:extLst>
                <a:ext uri="{FF2B5EF4-FFF2-40B4-BE49-F238E27FC236}">
                  <a16:creationId xmlns:a16="http://schemas.microsoft.com/office/drawing/2014/main" id="{ED05E8E5-B04C-426F-A5B3-FDFECB7FA8BB}"/>
                </a:ext>
              </a:extLst>
            </p:cNvPr>
            <p:cNvSpPr/>
            <p:nvPr/>
          </p:nvSpPr>
          <p:spPr>
            <a:xfrm rot="7484129">
              <a:off x="-46974" y="427316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3" name="Forme libre : forme 372">
              <a:extLst>
                <a:ext uri="{FF2B5EF4-FFF2-40B4-BE49-F238E27FC236}">
                  <a16:creationId xmlns:a16="http://schemas.microsoft.com/office/drawing/2014/main" id="{2455BBCE-F26C-4AF6-86DC-09C81861FE56}"/>
                </a:ext>
              </a:extLst>
            </p:cNvPr>
            <p:cNvSpPr/>
            <p:nvPr/>
          </p:nvSpPr>
          <p:spPr>
            <a:xfrm rot="13089394">
              <a:off x="57846" y="423970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4" name="Forme libre : forme 373">
              <a:extLst>
                <a:ext uri="{FF2B5EF4-FFF2-40B4-BE49-F238E27FC236}">
                  <a16:creationId xmlns:a16="http://schemas.microsoft.com/office/drawing/2014/main" id="{51373B92-194C-42B9-B764-40EA297AE7F9}"/>
                </a:ext>
              </a:extLst>
            </p:cNvPr>
            <p:cNvSpPr/>
            <p:nvPr/>
          </p:nvSpPr>
          <p:spPr>
            <a:xfrm rot="8716295">
              <a:off x="243431" y="404801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5" name="Forme libre : forme 374">
              <a:extLst>
                <a:ext uri="{FF2B5EF4-FFF2-40B4-BE49-F238E27FC236}">
                  <a16:creationId xmlns:a16="http://schemas.microsoft.com/office/drawing/2014/main" id="{F38EDEED-C414-448B-8D37-E62E6FF38F3A}"/>
                </a:ext>
              </a:extLst>
            </p:cNvPr>
            <p:cNvSpPr/>
            <p:nvPr/>
          </p:nvSpPr>
          <p:spPr>
            <a:xfrm rot="8716295">
              <a:off x="191626" y="39444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6" name="Forme libre : forme 375">
              <a:extLst>
                <a:ext uri="{FF2B5EF4-FFF2-40B4-BE49-F238E27FC236}">
                  <a16:creationId xmlns:a16="http://schemas.microsoft.com/office/drawing/2014/main" id="{1E970937-55EB-4E1D-94ED-92F0499DC22F}"/>
                </a:ext>
              </a:extLst>
            </p:cNvPr>
            <p:cNvSpPr/>
            <p:nvPr/>
          </p:nvSpPr>
          <p:spPr>
            <a:xfrm rot="8716295">
              <a:off x="125832" y="381540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7" name="Forme libre : forme 376">
              <a:extLst>
                <a:ext uri="{FF2B5EF4-FFF2-40B4-BE49-F238E27FC236}">
                  <a16:creationId xmlns:a16="http://schemas.microsoft.com/office/drawing/2014/main" id="{9890EDE8-10DA-45ED-AA77-40989F9FB014}"/>
                </a:ext>
              </a:extLst>
            </p:cNvPr>
            <p:cNvSpPr/>
            <p:nvPr/>
          </p:nvSpPr>
          <p:spPr>
            <a:xfrm rot="8716295">
              <a:off x="-73048" y="4876828"/>
              <a:ext cx="221382" cy="253349"/>
            </a:xfrm>
            <a:custGeom>
              <a:avLst/>
              <a:gdLst>
                <a:gd name="connsiteX0" fmla="*/ 51490 w 221382"/>
                <a:gd name="connsiteY0" fmla="*/ 253349 h 253349"/>
                <a:gd name="connsiteX1" fmla="*/ 51490 w 221382"/>
                <a:gd name="connsiteY1" fmla="*/ 44199 h 253349"/>
                <a:gd name="connsiteX2" fmla="*/ 0 w 221382"/>
                <a:gd name="connsiteY2" fmla="*/ 44199 h 253349"/>
                <a:gd name="connsiteX3" fmla="*/ 0 w 221382"/>
                <a:gd name="connsiteY3" fmla="*/ 0 h 253349"/>
                <a:gd name="connsiteX4" fmla="*/ 104803 w 221382"/>
                <a:gd name="connsiteY4" fmla="*/ 0 h 253349"/>
                <a:gd name="connsiteX5" fmla="*/ 104802 w 221382"/>
                <a:gd name="connsiteY5" fmla="*/ 73817 h 253349"/>
                <a:gd name="connsiteX6" fmla="*/ 106169 w 221382"/>
                <a:gd name="connsiteY6" fmla="*/ 73817 h 253349"/>
                <a:gd name="connsiteX7" fmla="*/ 154014 w 221382"/>
                <a:gd name="connsiteY7" fmla="*/ 4556 h 253349"/>
                <a:gd name="connsiteX8" fmla="*/ 174650 w 221382"/>
                <a:gd name="connsiteY8" fmla="*/ 668 h 253349"/>
                <a:gd name="connsiteX9" fmla="*/ 214075 w 221382"/>
                <a:gd name="connsiteY9" fmla="*/ 27996 h 253349"/>
                <a:gd name="connsiteX10" fmla="*/ 221382 w 221382"/>
                <a:gd name="connsiteY10" fmla="*/ 33060 h 253349"/>
                <a:gd name="connsiteX11" fmla="*/ 195540 w 221382"/>
                <a:gd name="connsiteY11" fmla="*/ 70341 h 253349"/>
                <a:gd name="connsiteX12" fmla="*/ 189157 w 221382"/>
                <a:gd name="connsiteY12" fmla="*/ 50236 h 253349"/>
                <a:gd name="connsiteX13" fmla="*/ 164950 w 221382"/>
                <a:gd name="connsiteY13" fmla="*/ 38731 h 253349"/>
                <a:gd name="connsiteX14" fmla="*/ 111638 w 221382"/>
                <a:gd name="connsiteY14" fmla="*/ 126218 h 253349"/>
                <a:gd name="connsiteX15" fmla="*/ 111638 w 221382"/>
                <a:gd name="connsiteY15" fmla="*/ 191383 h 253349"/>
                <a:gd name="connsiteX16" fmla="*/ 84096 w 221382"/>
                <a:gd name="connsiteY16" fmla="*/ 231117 h 253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1382" h="253349">
                  <a:moveTo>
                    <a:pt x="51490" y="253349"/>
                  </a:moveTo>
                  <a:lnTo>
                    <a:pt x="51490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104803" y="0"/>
                  </a:lnTo>
                  <a:lnTo>
                    <a:pt x="104802" y="73817"/>
                  </a:lnTo>
                  <a:lnTo>
                    <a:pt x="106169" y="73817"/>
                  </a:lnTo>
                  <a:cubicBezTo>
                    <a:pt x="120751" y="30529"/>
                    <a:pt x="132142" y="13670"/>
                    <a:pt x="154014" y="4556"/>
                  </a:cubicBezTo>
                  <a:lnTo>
                    <a:pt x="174650" y="668"/>
                  </a:lnTo>
                  <a:lnTo>
                    <a:pt x="214075" y="27996"/>
                  </a:lnTo>
                  <a:lnTo>
                    <a:pt x="221382" y="33060"/>
                  </a:lnTo>
                  <a:lnTo>
                    <a:pt x="195540" y="70341"/>
                  </a:lnTo>
                  <a:lnTo>
                    <a:pt x="189157" y="50236"/>
                  </a:lnTo>
                  <a:cubicBezTo>
                    <a:pt x="183177" y="42946"/>
                    <a:pt x="174747" y="38731"/>
                    <a:pt x="164950" y="38731"/>
                  </a:cubicBezTo>
                  <a:cubicBezTo>
                    <a:pt x="135788" y="38731"/>
                    <a:pt x="111638" y="77463"/>
                    <a:pt x="111638" y="126218"/>
                  </a:cubicBezTo>
                  <a:lnTo>
                    <a:pt x="111638" y="191383"/>
                  </a:lnTo>
                  <a:lnTo>
                    <a:pt x="84096" y="2311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8" name="Forme libre : forme 377">
              <a:extLst>
                <a:ext uri="{FF2B5EF4-FFF2-40B4-BE49-F238E27FC236}">
                  <a16:creationId xmlns:a16="http://schemas.microsoft.com/office/drawing/2014/main" id="{D89764C9-6568-42FB-A4A1-D9595395AB12}"/>
                </a:ext>
              </a:extLst>
            </p:cNvPr>
            <p:cNvSpPr/>
            <p:nvPr/>
          </p:nvSpPr>
          <p:spPr>
            <a:xfrm rot="8716295">
              <a:off x="93318" y="46120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9" name="Forme libre : forme 378">
              <a:extLst>
                <a:ext uri="{FF2B5EF4-FFF2-40B4-BE49-F238E27FC236}">
                  <a16:creationId xmlns:a16="http://schemas.microsoft.com/office/drawing/2014/main" id="{B3A51367-1D00-45C2-8806-45DE56D1374A}"/>
                </a:ext>
              </a:extLst>
            </p:cNvPr>
            <p:cNvSpPr/>
            <p:nvPr/>
          </p:nvSpPr>
          <p:spPr>
            <a:xfrm rot="8716295">
              <a:off x="182710" y="46412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0" name="Forme libre : forme 379">
              <a:extLst>
                <a:ext uri="{FF2B5EF4-FFF2-40B4-BE49-F238E27FC236}">
                  <a16:creationId xmlns:a16="http://schemas.microsoft.com/office/drawing/2014/main" id="{5796D538-9FA1-4B69-9ECE-72D45F20B58A}"/>
                </a:ext>
              </a:extLst>
            </p:cNvPr>
            <p:cNvSpPr/>
            <p:nvPr/>
          </p:nvSpPr>
          <p:spPr>
            <a:xfrm rot="8716295">
              <a:off x="-14524" y="4699631"/>
              <a:ext cx="49997" cy="54238"/>
            </a:xfrm>
            <a:custGeom>
              <a:avLst/>
              <a:gdLst>
                <a:gd name="connsiteX0" fmla="*/ 8658 w 49997"/>
                <a:gd name="connsiteY0" fmla="*/ 50123 h 54238"/>
                <a:gd name="connsiteX1" fmla="*/ 0 w 49997"/>
                <a:gd name="connsiteY1" fmla="*/ 29619 h 54238"/>
                <a:gd name="connsiteX2" fmla="*/ 0 w 49997"/>
                <a:gd name="connsiteY2" fmla="*/ 29162 h 54238"/>
                <a:gd name="connsiteX3" fmla="*/ 8658 w 49997"/>
                <a:gd name="connsiteY3" fmla="*/ 8658 h 54238"/>
                <a:gd name="connsiteX4" fmla="*/ 29163 w 49997"/>
                <a:gd name="connsiteY4" fmla="*/ 0 h 54238"/>
                <a:gd name="connsiteX5" fmla="*/ 49668 w 49997"/>
                <a:gd name="connsiteY5" fmla="*/ 8658 h 54238"/>
                <a:gd name="connsiteX6" fmla="*/ 49997 w 49997"/>
                <a:gd name="connsiteY6" fmla="*/ 9441 h 54238"/>
                <a:gd name="connsiteX7" fmla="*/ 18945 w 49997"/>
                <a:gd name="connsiteY7" fmla="*/ 54238 h 54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997" h="54238">
                  <a:moveTo>
                    <a:pt x="8658" y="50123"/>
                  </a:moveTo>
                  <a:cubicBezTo>
                    <a:pt x="3190" y="44655"/>
                    <a:pt x="0" y="37365"/>
                    <a:pt x="0" y="29619"/>
                  </a:cubicBezTo>
                  <a:lnTo>
                    <a:pt x="0" y="29162"/>
                  </a:lnTo>
                  <a:cubicBezTo>
                    <a:pt x="0" y="21417"/>
                    <a:pt x="3190" y="14126"/>
                    <a:pt x="8658" y="8658"/>
                  </a:cubicBezTo>
                  <a:cubicBezTo>
                    <a:pt x="14126" y="3190"/>
                    <a:pt x="21416" y="0"/>
                    <a:pt x="29163" y="0"/>
                  </a:cubicBezTo>
                  <a:cubicBezTo>
                    <a:pt x="36909" y="0"/>
                    <a:pt x="44200" y="3190"/>
                    <a:pt x="49668" y="8658"/>
                  </a:cubicBezTo>
                  <a:lnTo>
                    <a:pt x="49997" y="9441"/>
                  </a:lnTo>
                  <a:lnTo>
                    <a:pt x="18945" y="54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1" name="Forme libre : forme 380">
              <a:extLst>
                <a:ext uri="{FF2B5EF4-FFF2-40B4-BE49-F238E27FC236}">
                  <a16:creationId xmlns:a16="http://schemas.microsoft.com/office/drawing/2014/main" id="{0A8DEA12-3B5F-4B33-B7D9-E32E7E70ED9F}"/>
                </a:ext>
              </a:extLst>
            </p:cNvPr>
            <p:cNvSpPr/>
            <p:nvPr/>
          </p:nvSpPr>
          <p:spPr>
            <a:xfrm rot="8716295">
              <a:off x="-30327" y="4579755"/>
              <a:ext cx="113346" cy="71024"/>
            </a:xfrm>
            <a:custGeom>
              <a:avLst/>
              <a:gdLst>
                <a:gd name="connsiteX0" fmla="*/ 0 w 113346"/>
                <a:gd name="connsiteY0" fmla="*/ 55323 h 71024"/>
                <a:gd name="connsiteX1" fmla="*/ 0 w 113346"/>
                <a:gd name="connsiteY1" fmla="*/ 0 h 71024"/>
                <a:gd name="connsiteX2" fmla="*/ 113346 w 113346"/>
                <a:gd name="connsiteY2" fmla="*/ 0 h 71024"/>
                <a:gd name="connsiteX3" fmla="*/ 64114 w 113346"/>
                <a:gd name="connsiteY3" fmla="*/ 71024 h 71024"/>
                <a:gd name="connsiteX4" fmla="*/ 69777 w 113346"/>
                <a:gd name="connsiteY4" fmla="*/ 55323 h 7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346" h="71024">
                  <a:moveTo>
                    <a:pt x="0" y="55323"/>
                  </a:moveTo>
                  <a:lnTo>
                    <a:pt x="0" y="0"/>
                  </a:lnTo>
                  <a:lnTo>
                    <a:pt x="113346" y="0"/>
                  </a:lnTo>
                  <a:lnTo>
                    <a:pt x="64114" y="71024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2" name="Forme libre : forme 381">
              <a:extLst>
                <a:ext uri="{FF2B5EF4-FFF2-40B4-BE49-F238E27FC236}">
                  <a16:creationId xmlns:a16="http://schemas.microsoft.com/office/drawing/2014/main" id="{B639F843-6BAF-4B67-80B8-3D30C09BF5FB}"/>
                </a:ext>
              </a:extLst>
            </p:cNvPr>
            <p:cNvSpPr/>
            <p:nvPr/>
          </p:nvSpPr>
          <p:spPr>
            <a:xfrm rot="8716295">
              <a:off x="71262" y="47415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3" name="Forme libre : forme 382">
              <a:extLst>
                <a:ext uri="{FF2B5EF4-FFF2-40B4-BE49-F238E27FC236}">
                  <a16:creationId xmlns:a16="http://schemas.microsoft.com/office/drawing/2014/main" id="{D52BFECF-759E-4683-BE94-173DD8657338}"/>
                </a:ext>
              </a:extLst>
            </p:cNvPr>
            <p:cNvSpPr/>
            <p:nvPr/>
          </p:nvSpPr>
          <p:spPr>
            <a:xfrm rot="7484129">
              <a:off x="172059" y="493353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170341 w 203847"/>
                <a:gd name="connsiteY5" fmla="*/ 0 h 195874"/>
                <a:gd name="connsiteX6" fmla="*/ 203847 w 203847"/>
                <a:gd name="connsiteY6" fmla="*/ 48325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170341" y="0"/>
                  </a:lnTo>
                  <a:lnTo>
                    <a:pt x="203847" y="48325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4" name="Forme libre : forme 383">
              <a:extLst>
                <a:ext uri="{FF2B5EF4-FFF2-40B4-BE49-F238E27FC236}">
                  <a16:creationId xmlns:a16="http://schemas.microsoft.com/office/drawing/2014/main" id="{25A08FAE-A75C-4B2E-B0C7-527DE2D9E508}"/>
                </a:ext>
              </a:extLst>
            </p:cNvPr>
            <p:cNvSpPr/>
            <p:nvPr/>
          </p:nvSpPr>
          <p:spPr>
            <a:xfrm rot="13089394">
              <a:off x="313551" y="4906246"/>
              <a:ext cx="221827" cy="205098"/>
            </a:xfrm>
            <a:custGeom>
              <a:avLst/>
              <a:gdLst>
                <a:gd name="connsiteX0" fmla="*/ 24153 w 221827"/>
                <a:gd name="connsiteY0" fmla="*/ 55168 h 205098"/>
                <a:gd name="connsiteX1" fmla="*/ 0 w 221827"/>
                <a:gd name="connsiteY1" fmla="*/ 18385 h 205098"/>
                <a:gd name="connsiteX2" fmla="*/ 23400 w 221827"/>
                <a:gd name="connsiteY2" fmla="*/ 0 h 205098"/>
                <a:gd name="connsiteX3" fmla="*/ 23735 w 221827"/>
                <a:gd name="connsiteY3" fmla="*/ 46640 h 205098"/>
                <a:gd name="connsiteX4" fmla="*/ 221827 w 221827"/>
                <a:gd name="connsiteY4" fmla="*/ 150928 h 205098"/>
                <a:gd name="connsiteX5" fmla="*/ 126574 w 221827"/>
                <a:gd name="connsiteY5" fmla="*/ 204038 h 205098"/>
                <a:gd name="connsiteX6" fmla="*/ 122603 w 221827"/>
                <a:gd name="connsiteY6" fmla="*/ 205098 h 205098"/>
                <a:gd name="connsiteX7" fmla="*/ 102519 w 221827"/>
                <a:gd name="connsiteY7" fmla="*/ 174512 h 205098"/>
                <a:gd name="connsiteX8" fmla="*/ 103192 w 221827"/>
                <a:gd name="connsiteY8" fmla="*/ 174655 h 205098"/>
                <a:gd name="connsiteX9" fmla="*/ 152853 w 221827"/>
                <a:gd name="connsiteY9" fmla="*/ 165826 h 205098"/>
                <a:gd name="connsiteX10" fmla="*/ 220723 w 221827"/>
                <a:gd name="connsiteY10" fmla="*/ 138237 h 205098"/>
                <a:gd name="connsiteX11" fmla="*/ 221827 w 221827"/>
                <a:gd name="connsiteY11" fmla="*/ 145410 h 205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1827" h="205098">
                  <a:moveTo>
                    <a:pt x="24153" y="55168"/>
                  </a:moveTo>
                  <a:lnTo>
                    <a:pt x="0" y="18385"/>
                  </a:lnTo>
                  <a:lnTo>
                    <a:pt x="23400" y="0"/>
                  </a:lnTo>
                  <a:lnTo>
                    <a:pt x="23735" y="46640"/>
                  </a:lnTo>
                  <a:close/>
                  <a:moveTo>
                    <a:pt x="221827" y="150928"/>
                  </a:moveTo>
                  <a:cubicBezTo>
                    <a:pt x="192582" y="176035"/>
                    <a:pt x="158785" y="193002"/>
                    <a:pt x="126574" y="204038"/>
                  </a:cubicBezTo>
                  <a:lnTo>
                    <a:pt x="122603" y="205098"/>
                  </a:lnTo>
                  <a:lnTo>
                    <a:pt x="102519" y="174512"/>
                  </a:lnTo>
                  <a:lnTo>
                    <a:pt x="103192" y="174655"/>
                  </a:lnTo>
                  <a:cubicBezTo>
                    <a:pt x="120298" y="174103"/>
                    <a:pt x="136851" y="170792"/>
                    <a:pt x="152853" y="165826"/>
                  </a:cubicBezTo>
                  <a:cubicBezTo>
                    <a:pt x="176028" y="158653"/>
                    <a:pt x="198652" y="149273"/>
                    <a:pt x="220723" y="138237"/>
                  </a:cubicBezTo>
                  <a:cubicBezTo>
                    <a:pt x="221275" y="140444"/>
                    <a:pt x="221827" y="143203"/>
                    <a:pt x="221827" y="1454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5" name="Forme libre : forme 384">
              <a:extLst>
                <a:ext uri="{FF2B5EF4-FFF2-40B4-BE49-F238E27FC236}">
                  <a16:creationId xmlns:a16="http://schemas.microsoft.com/office/drawing/2014/main" id="{6B1D4FCF-4868-4FA7-803E-D1D00595788E}"/>
                </a:ext>
              </a:extLst>
            </p:cNvPr>
            <p:cNvSpPr/>
            <p:nvPr/>
          </p:nvSpPr>
          <p:spPr>
            <a:xfrm rot="8716295">
              <a:off x="406370" y="4600606"/>
              <a:ext cx="113655" cy="117117"/>
            </a:xfrm>
            <a:custGeom>
              <a:avLst/>
              <a:gdLst>
                <a:gd name="connsiteX0" fmla="*/ 13623 w 113655"/>
                <a:gd name="connsiteY0" fmla="*/ 100559 h 117117"/>
                <a:gd name="connsiteX1" fmla="*/ 0 w 113655"/>
                <a:gd name="connsiteY1" fmla="*/ 68296 h 117117"/>
                <a:gd name="connsiteX2" fmla="*/ 56488 w 113655"/>
                <a:gd name="connsiteY2" fmla="*/ 0 h 117117"/>
                <a:gd name="connsiteX3" fmla="*/ 96408 w 113655"/>
                <a:gd name="connsiteY3" fmla="*/ 16856 h 117117"/>
                <a:gd name="connsiteX4" fmla="*/ 96408 w 113655"/>
                <a:gd name="connsiteY4" fmla="*/ 99640 h 117117"/>
                <a:gd name="connsiteX5" fmla="*/ 55015 w 113655"/>
                <a:gd name="connsiteY5" fmla="*/ 117117 h 117117"/>
                <a:gd name="connsiteX6" fmla="*/ 13623 w 113655"/>
                <a:gd name="connsiteY6" fmla="*/ 100559 h 117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655" h="117117">
                  <a:moveTo>
                    <a:pt x="13623" y="100559"/>
                  </a:moveTo>
                  <a:lnTo>
                    <a:pt x="0" y="68296"/>
                  </a:lnTo>
                  <a:lnTo>
                    <a:pt x="56488" y="0"/>
                  </a:lnTo>
                  <a:lnTo>
                    <a:pt x="96408" y="16856"/>
                  </a:lnTo>
                  <a:cubicBezTo>
                    <a:pt x="119404" y="38931"/>
                    <a:pt x="119404" y="76644"/>
                    <a:pt x="96408" y="99640"/>
                  </a:cubicBezTo>
                  <a:cubicBezTo>
                    <a:pt x="85370" y="110678"/>
                    <a:pt x="70653" y="117116"/>
                    <a:pt x="55015" y="117117"/>
                  </a:cubicBezTo>
                  <a:cubicBezTo>
                    <a:pt x="39378" y="117117"/>
                    <a:pt x="24661" y="111597"/>
                    <a:pt x="13623" y="10055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6" name="Forme libre : forme 385">
              <a:extLst>
                <a:ext uri="{FF2B5EF4-FFF2-40B4-BE49-F238E27FC236}">
                  <a16:creationId xmlns:a16="http://schemas.microsoft.com/office/drawing/2014/main" id="{A521D2F6-3CA4-443B-AE06-E761EA9F7456}"/>
                </a:ext>
              </a:extLst>
            </p:cNvPr>
            <p:cNvSpPr/>
            <p:nvPr/>
          </p:nvSpPr>
          <p:spPr>
            <a:xfrm rot="8716295">
              <a:off x="171547" y="46343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7" name="Forme libre : forme 386">
              <a:extLst>
                <a:ext uri="{FF2B5EF4-FFF2-40B4-BE49-F238E27FC236}">
                  <a16:creationId xmlns:a16="http://schemas.microsoft.com/office/drawing/2014/main" id="{830F38CE-6CA7-4EBA-A5A4-58CB35926CD3}"/>
                </a:ext>
              </a:extLst>
            </p:cNvPr>
            <p:cNvSpPr/>
            <p:nvPr/>
          </p:nvSpPr>
          <p:spPr>
            <a:xfrm rot="8716295">
              <a:off x="348999" y="44751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8251217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628651" y="4767264"/>
            <a:ext cx="2057400" cy="273844"/>
          </a:xfrm>
          <a:prstGeom prst="rect">
            <a:avLst/>
          </a:prstGeom>
        </p:spPr>
        <p:txBody>
          <a:bodyPr/>
          <a:lstStyle/>
          <a:p>
            <a:fld id="{E939B9B4-2DB4-4F57-BA5B-6F450AC72536}" type="datetimeFigureOut">
              <a:rPr lang="fr-FR" smtClean="0"/>
              <a:t>15/10/2025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028952" y="4767264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515CF-1638-4FF4-AE03-4B6732A3881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4436489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uverture 1 - Foncé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que 2">
            <a:extLst>
              <a:ext uri="{FF2B5EF4-FFF2-40B4-BE49-F238E27FC236}">
                <a16:creationId xmlns:a16="http://schemas.microsoft.com/office/drawing/2014/main" id="{BCA76D0D-BBB6-4E20-BDA2-AF79702AE4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04432" y="2054979"/>
            <a:ext cx="3470194" cy="1035588"/>
          </a:xfrm>
          <a:prstGeom prst="rect">
            <a:avLst/>
          </a:prstGeom>
        </p:spPr>
      </p:pic>
      <p:sp>
        <p:nvSpPr>
          <p:cNvPr id="5" name="Forme libre : forme 4">
            <a:extLst>
              <a:ext uri="{FF2B5EF4-FFF2-40B4-BE49-F238E27FC236}">
                <a16:creationId xmlns:a16="http://schemas.microsoft.com/office/drawing/2014/main" id="{AEFD991A-ABBA-4F4C-98CF-1084947DFB28}"/>
              </a:ext>
            </a:extLst>
          </p:cNvPr>
          <p:cNvSpPr/>
          <p:nvPr userDrawn="1"/>
        </p:nvSpPr>
        <p:spPr>
          <a:xfrm>
            <a:off x="0" y="0"/>
            <a:ext cx="2476252" cy="5143500"/>
          </a:xfrm>
          <a:custGeom>
            <a:avLst/>
            <a:gdLst>
              <a:gd name="connsiteX0" fmla="*/ 0 w 2476252"/>
              <a:gd name="connsiteY0" fmla="*/ 0 h 5143500"/>
              <a:gd name="connsiteX1" fmla="*/ 2038350 w 2476252"/>
              <a:gd name="connsiteY1" fmla="*/ 0 h 5143500"/>
              <a:gd name="connsiteX2" fmla="*/ 2476252 w 2476252"/>
              <a:gd name="connsiteY2" fmla="*/ 0 h 5143500"/>
              <a:gd name="connsiteX3" fmla="*/ 2038350 w 2476252"/>
              <a:gd name="connsiteY3" fmla="*/ 5143500 h 5143500"/>
              <a:gd name="connsiteX4" fmla="*/ 0 w 2476252"/>
              <a:gd name="connsiteY4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76252" h="5143500">
                <a:moveTo>
                  <a:pt x="0" y="0"/>
                </a:moveTo>
                <a:lnTo>
                  <a:pt x="2038350" y="0"/>
                </a:lnTo>
                <a:lnTo>
                  <a:pt x="2476252" y="0"/>
                </a:lnTo>
                <a:lnTo>
                  <a:pt x="2038350" y="5143500"/>
                </a:lnTo>
                <a:lnTo>
                  <a:pt x="0" y="5143500"/>
                </a:lnTo>
                <a:close/>
              </a:path>
            </a:pathLst>
          </a:custGeom>
          <a:solidFill>
            <a:srgbClr val="3A1B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6" name="Forme libre : forme 5">
            <a:extLst>
              <a:ext uri="{FF2B5EF4-FFF2-40B4-BE49-F238E27FC236}">
                <a16:creationId xmlns:a16="http://schemas.microsoft.com/office/drawing/2014/main" id="{864821C3-7BAD-4585-9F8D-C119AC850133}"/>
              </a:ext>
            </a:extLst>
          </p:cNvPr>
          <p:cNvSpPr/>
          <p:nvPr userDrawn="1"/>
        </p:nvSpPr>
        <p:spPr>
          <a:xfrm flipH="1">
            <a:off x="2029641" y="2387470"/>
            <a:ext cx="614164" cy="2756031"/>
          </a:xfrm>
          <a:custGeom>
            <a:avLst/>
            <a:gdLst>
              <a:gd name="connsiteX0" fmla="*/ 379524 w 614164"/>
              <a:gd name="connsiteY0" fmla="*/ 0 h 2756031"/>
              <a:gd name="connsiteX1" fmla="*/ 0 w 614164"/>
              <a:gd name="connsiteY1" fmla="*/ 2756031 h 2756031"/>
              <a:gd name="connsiteX2" fmla="*/ 614164 w 614164"/>
              <a:gd name="connsiteY2" fmla="*/ 2756031 h 2756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14164" h="2756031">
                <a:moveTo>
                  <a:pt x="379524" y="0"/>
                </a:moveTo>
                <a:lnTo>
                  <a:pt x="0" y="2756031"/>
                </a:lnTo>
                <a:lnTo>
                  <a:pt x="614164" y="2756031"/>
                </a:lnTo>
                <a:close/>
              </a:path>
            </a:pathLst>
          </a:custGeom>
          <a:solidFill>
            <a:srgbClr val="009F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DA8CA9DB-B794-428D-9ECF-D4872FBA5C4C}"/>
              </a:ext>
            </a:extLst>
          </p:cNvPr>
          <p:cNvGrpSpPr/>
          <p:nvPr userDrawn="1"/>
        </p:nvGrpSpPr>
        <p:grpSpPr>
          <a:xfrm>
            <a:off x="-134707" y="-72828"/>
            <a:ext cx="2658992" cy="5335244"/>
            <a:chOff x="-134707" y="-72828"/>
            <a:chExt cx="2658992" cy="5335244"/>
          </a:xfrm>
          <a:solidFill>
            <a:schemeClr val="bg2">
              <a:alpha val="10000"/>
            </a:schemeClr>
          </a:solidFill>
        </p:grpSpPr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81E41836-E956-4188-9AAC-A83AE8900453}"/>
                </a:ext>
              </a:extLst>
            </p:cNvPr>
            <p:cNvSpPr/>
            <p:nvPr/>
          </p:nvSpPr>
          <p:spPr>
            <a:xfrm rot="8716295">
              <a:off x="1460344" y="348006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6217F1CC-5E84-40FC-88E7-C42A2398F84B}"/>
                </a:ext>
              </a:extLst>
            </p:cNvPr>
            <p:cNvSpPr/>
            <p:nvPr/>
          </p:nvSpPr>
          <p:spPr>
            <a:xfrm rot="8716295">
              <a:off x="1595642" y="352432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B80A1B59-7F4C-4E95-8CB7-0AACC6C05627}"/>
                </a:ext>
              </a:extLst>
            </p:cNvPr>
            <p:cNvSpPr/>
            <p:nvPr/>
          </p:nvSpPr>
          <p:spPr>
            <a:xfrm rot="8716295">
              <a:off x="1527760" y="339373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8728A690-34B9-4DFF-8734-9F6EBD35EBC5}"/>
                </a:ext>
              </a:extLst>
            </p:cNvPr>
            <p:cNvSpPr/>
            <p:nvPr/>
          </p:nvSpPr>
          <p:spPr>
            <a:xfrm rot="8716295">
              <a:off x="1290473" y="361408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2927191B-5C8D-4149-8DBA-718546C29906}"/>
                </a:ext>
              </a:extLst>
            </p:cNvPr>
            <p:cNvSpPr/>
            <p:nvPr/>
          </p:nvSpPr>
          <p:spPr>
            <a:xfrm rot="8716295">
              <a:off x="1101427" y="329824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375566C6-9E02-4DD8-8C3B-267A6C61A667}"/>
                </a:ext>
              </a:extLst>
            </p:cNvPr>
            <p:cNvSpPr/>
            <p:nvPr/>
          </p:nvSpPr>
          <p:spPr>
            <a:xfrm rot="8716295">
              <a:off x="1083185" y="3088198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1A3C2C2D-7CBE-4F9B-8B8B-959B1D778E3E}"/>
                </a:ext>
              </a:extLst>
            </p:cNvPr>
            <p:cNvSpPr/>
            <p:nvPr/>
          </p:nvSpPr>
          <p:spPr>
            <a:xfrm rot="8716295">
              <a:off x="1426961" y="367606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8EB673A3-36B5-4724-AE91-A9B8454C1396}"/>
                </a:ext>
              </a:extLst>
            </p:cNvPr>
            <p:cNvSpPr/>
            <p:nvPr/>
          </p:nvSpPr>
          <p:spPr>
            <a:xfrm rot="8716295">
              <a:off x="1897908" y="310145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F8EEA06C-B620-4C52-ACA9-B6AC8852992A}"/>
                </a:ext>
              </a:extLst>
            </p:cNvPr>
            <p:cNvSpPr/>
            <p:nvPr/>
          </p:nvSpPr>
          <p:spPr>
            <a:xfrm rot="8716295">
              <a:off x="2028620" y="3176625"/>
              <a:ext cx="305088" cy="336622"/>
            </a:xfrm>
            <a:custGeom>
              <a:avLst/>
              <a:gdLst>
                <a:gd name="connsiteX0" fmla="*/ 211294 w 305088"/>
                <a:gd name="connsiteY0" fmla="*/ 107197 h 336622"/>
                <a:gd name="connsiteX1" fmla="*/ 211294 w 305088"/>
                <a:gd name="connsiteY1" fmla="*/ 82369 h 336622"/>
                <a:gd name="connsiteX2" fmla="*/ 211017 w 305088"/>
                <a:gd name="connsiteY2" fmla="*/ 81498 h 336622"/>
                <a:gd name="connsiteX3" fmla="*/ 278425 w 305088"/>
                <a:gd name="connsiteY3" fmla="*/ 0 h 336622"/>
                <a:gd name="connsiteX4" fmla="*/ 297297 w 305088"/>
                <a:gd name="connsiteY4" fmla="*/ 35535 h 336622"/>
                <a:gd name="connsiteX5" fmla="*/ 305088 w 305088"/>
                <a:gd name="connsiteY5" fmla="*/ 92713 h 336622"/>
                <a:gd name="connsiteX6" fmla="*/ 305088 w 305088"/>
                <a:gd name="connsiteY6" fmla="*/ 101679 h 336622"/>
                <a:gd name="connsiteX7" fmla="*/ 0 w 305088"/>
                <a:gd name="connsiteY7" fmla="*/ 336622 h 336622"/>
                <a:gd name="connsiteX8" fmla="*/ 79568 w 305088"/>
                <a:gd name="connsiteY8" fmla="*/ 240423 h 336622"/>
                <a:gd name="connsiteX9" fmla="*/ 79568 w 305088"/>
                <a:gd name="connsiteY9" fmla="*/ 282372 h 33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5088" h="336622">
                  <a:moveTo>
                    <a:pt x="211294" y="107197"/>
                  </a:moveTo>
                  <a:lnTo>
                    <a:pt x="211294" y="82369"/>
                  </a:lnTo>
                  <a:lnTo>
                    <a:pt x="211017" y="81498"/>
                  </a:lnTo>
                  <a:lnTo>
                    <a:pt x="278425" y="0"/>
                  </a:lnTo>
                  <a:lnTo>
                    <a:pt x="297297" y="35535"/>
                  </a:lnTo>
                  <a:cubicBezTo>
                    <a:pt x="302416" y="52195"/>
                    <a:pt x="305088" y="71334"/>
                    <a:pt x="305088" y="92713"/>
                  </a:cubicBezTo>
                  <a:lnTo>
                    <a:pt x="305088" y="101679"/>
                  </a:lnTo>
                  <a:close/>
                  <a:moveTo>
                    <a:pt x="0" y="336622"/>
                  </a:moveTo>
                  <a:lnTo>
                    <a:pt x="79568" y="240423"/>
                  </a:lnTo>
                  <a:lnTo>
                    <a:pt x="79568" y="28237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84C08685-C991-44FD-898B-8BF95960C6B9}"/>
                </a:ext>
              </a:extLst>
            </p:cNvPr>
            <p:cNvSpPr/>
            <p:nvPr/>
          </p:nvSpPr>
          <p:spPr>
            <a:xfrm rot="8716295">
              <a:off x="1728037" y="323546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75F06F9A-B5F6-494A-BA46-78E41263CC81}"/>
                </a:ext>
              </a:extLst>
            </p:cNvPr>
            <p:cNvSpPr/>
            <p:nvPr/>
          </p:nvSpPr>
          <p:spPr>
            <a:xfrm rot="8716295">
              <a:off x="1538992" y="291963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CE3913D0-3ECC-49C2-BFCE-2E22945EB24B}"/>
                </a:ext>
              </a:extLst>
            </p:cNvPr>
            <p:cNvSpPr/>
            <p:nvPr/>
          </p:nvSpPr>
          <p:spPr>
            <a:xfrm rot="8716295">
              <a:off x="1864525" y="329745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ACF63173-E092-4F8A-A29A-250C09066948}"/>
                </a:ext>
              </a:extLst>
            </p:cNvPr>
            <p:cNvSpPr/>
            <p:nvPr/>
          </p:nvSpPr>
          <p:spPr>
            <a:xfrm rot="8716295">
              <a:off x="1499078" y="307102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7EFA26CA-A39B-4E8B-847D-F85F8518030F}"/>
                </a:ext>
              </a:extLst>
            </p:cNvPr>
            <p:cNvSpPr/>
            <p:nvPr/>
          </p:nvSpPr>
          <p:spPr>
            <a:xfrm rot="7484129">
              <a:off x="2004987" y="3639772"/>
              <a:ext cx="221889" cy="221665"/>
            </a:xfrm>
            <a:custGeom>
              <a:avLst/>
              <a:gdLst>
                <a:gd name="connsiteX0" fmla="*/ 206330 w 221889"/>
                <a:gd name="connsiteY0" fmla="*/ 8936 h 221665"/>
                <a:gd name="connsiteX1" fmla="*/ 221889 w 221889"/>
                <a:gd name="connsiteY1" fmla="*/ 0 h 221665"/>
                <a:gd name="connsiteX2" fmla="*/ 221889 w 221889"/>
                <a:gd name="connsiteY2" fmla="*/ 8936 h 221665"/>
                <a:gd name="connsiteX3" fmla="*/ 50650 w 221889"/>
                <a:gd name="connsiteY3" fmla="*/ 221665 h 221665"/>
                <a:gd name="connsiteX4" fmla="*/ 0 w 221889"/>
                <a:gd name="connsiteY4" fmla="*/ 127433 h 221665"/>
                <a:gd name="connsiteX5" fmla="*/ 103511 w 221889"/>
                <a:gd name="connsiteY5" fmla="*/ 67986 h 221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1889" h="221665">
                  <a:moveTo>
                    <a:pt x="206330" y="8936"/>
                  </a:moveTo>
                  <a:lnTo>
                    <a:pt x="221889" y="0"/>
                  </a:lnTo>
                  <a:lnTo>
                    <a:pt x="221889" y="8936"/>
                  </a:lnTo>
                  <a:close/>
                  <a:moveTo>
                    <a:pt x="50650" y="221665"/>
                  </a:moveTo>
                  <a:lnTo>
                    <a:pt x="0" y="127433"/>
                  </a:lnTo>
                  <a:lnTo>
                    <a:pt x="103511" y="6798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54CB42FE-32B8-4C2C-A4AB-C4F8B84705EC}"/>
                </a:ext>
              </a:extLst>
            </p:cNvPr>
            <p:cNvSpPr/>
            <p:nvPr/>
          </p:nvSpPr>
          <p:spPr>
            <a:xfrm rot="8716295">
              <a:off x="2016311" y="313524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B97467BE-761E-4E11-AD12-792548131E9F}"/>
                </a:ext>
              </a:extLst>
            </p:cNvPr>
            <p:cNvSpPr/>
            <p:nvPr/>
          </p:nvSpPr>
          <p:spPr>
            <a:xfrm rot="8716295">
              <a:off x="1796861" y="4478944"/>
              <a:ext cx="215176" cy="351729"/>
            </a:xfrm>
            <a:custGeom>
              <a:avLst/>
              <a:gdLst>
                <a:gd name="connsiteX0" fmla="*/ 122761 w 215176"/>
                <a:gd name="connsiteY0" fmla="*/ 351729 h 351729"/>
                <a:gd name="connsiteX1" fmla="*/ 122761 w 215176"/>
                <a:gd name="connsiteY1" fmla="*/ 105519 h 351729"/>
                <a:gd name="connsiteX2" fmla="*/ 122761 w 215176"/>
                <a:gd name="connsiteY2" fmla="*/ 99312 h 351729"/>
                <a:gd name="connsiteX3" fmla="*/ 91726 w 215176"/>
                <a:gd name="connsiteY3" fmla="*/ 75863 h 351729"/>
                <a:gd name="connsiteX4" fmla="*/ 0 w 215176"/>
                <a:gd name="connsiteY4" fmla="*/ 75863 h 351729"/>
                <a:gd name="connsiteX5" fmla="*/ 0 w 215176"/>
                <a:gd name="connsiteY5" fmla="*/ 31564 h 351729"/>
                <a:gd name="connsiteX6" fmla="*/ 26107 w 215176"/>
                <a:gd name="connsiteY6" fmla="*/ 0 h 351729"/>
                <a:gd name="connsiteX7" fmla="*/ 128968 w 215176"/>
                <a:gd name="connsiteY7" fmla="*/ 0 h 351729"/>
                <a:gd name="connsiteX8" fmla="*/ 215176 w 215176"/>
                <a:gd name="connsiteY8" fmla="*/ 75863 h 351729"/>
                <a:gd name="connsiteX9" fmla="*/ 215176 w 215176"/>
                <a:gd name="connsiteY9" fmla="*/ 315177 h 351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5176" h="351729">
                  <a:moveTo>
                    <a:pt x="122761" y="35172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31564"/>
                  </a:lnTo>
                  <a:lnTo>
                    <a:pt x="26107" y="0"/>
                  </a:lnTo>
                  <a:lnTo>
                    <a:pt x="128968" y="0"/>
                  </a:lnTo>
                  <a:cubicBezTo>
                    <a:pt x="184831" y="0"/>
                    <a:pt x="215176" y="24139"/>
                    <a:pt x="215176" y="75863"/>
                  </a:cubicBezTo>
                  <a:lnTo>
                    <a:pt x="215176" y="3151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8C358B06-CFB8-4D7E-B58B-64076A590B10}"/>
                </a:ext>
              </a:extLst>
            </p:cNvPr>
            <p:cNvSpPr/>
            <p:nvPr/>
          </p:nvSpPr>
          <p:spPr>
            <a:xfrm rot="8716295">
              <a:off x="1938756" y="4602084"/>
              <a:ext cx="253340" cy="284725"/>
            </a:xfrm>
            <a:custGeom>
              <a:avLst/>
              <a:gdLst>
                <a:gd name="connsiteX0" fmla="*/ 160632 w 253340"/>
                <a:gd name="connsiteY0" fmla="*/ 90518 h 284725"/>
                <a:gd name="connsiteX1" fmla="*/ 235501 w 253340"/>
                <a:gd name="connsiteY1" fmla="*/ 0 h 284725"/>
                <a:gd name="connsiteX2" fmla="*/ 245549 w 253340"/>
                <a:gd name="connsiteY2" fmla="*/ 18921 h 284725"/>
                <a:gd name="connsiteX3" fmla="*/ 253340 w 253340"/>
                <a:gd name="connsiteY3" fmla="*/ 76098 h 284725"/>
                <a:gd name="connsiteX4" fmla="*/ 253340 w 253340"/>
                <a:gd name="connsiteY4" fmla="*/ 85064 h 284725"/>
                <a:gd name="connsiteX5" fmla="*/ 0 w 253340"/>
                <a:gd name="connsiteY5" fmla="*/ 284725 h 284725"/>
                <a:gd name="connsiteX6" fmla="*/ 27820 w 253340"/>
                <a:gd name="connsiteY6" fmla="*/ 251090 h 284725"/>
                <a:gd name="connsiteX7" fmla="*/ 27820 w 253340"/>
                <a:gd name="connsiteY7" fmla="*/ 265757 h 28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3340" h="284725">
                  <a:moveTo>
                    <a:pt x="160632" y="90518"/>
                  </a:moveTo>
                  <a:lnTo>
                    <a:pt x="235501" y="0"/>
                  </a:lnTo>
                  <a:lnTo>
                    <a:pt x="245549" y="18921"/>
                  </a:lnTo>
                  <a:cubicBezTo>
                    <a:pt x="250668" y="35581"/>
                    <a:pt x="253340" y="54719"/>
                    <a:pt x="253340" y="76098"/>
                  </a:cubicBezTo>
                  <a:lnTo>
                    <a:pt x="253340" y="85064"/>
                  </a:lnTo>
                  <a:close/>
                  <a:moveTo>
                    <a:pt x="0" y="284725"/>
                  </a:moveTo>
                  <a:lnTo>
                    <a:pt x="27820" y="251090"/>
                  </a:lnTo>
                  <a:lnTo>
                    <a:pt x="27820" y="26575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55465226-9705-450D-9333-C6F18EA9DA5B}"/>
                </a:ext>
              </a:extLst>
            </p:cNvPr>
            <p:cNvSpPr/>
            <p:nvPr/>
          </p:nvSpPr>
          <p:spPr>
            <a:xfrm rot="8716295">
              <a:off x="1865533" y="439222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14393A34-234C-4F82-B937-651BE2C2EB26}"/>
                </a:ext>
              </a:extLst>
            </p:cNvPr>
            <p:cNvSpPr/>
            <p:nvPr/>
          </p:nvSpPr>
          <p:spPr>
            <a:xfrm rot="8716295">
              <a:off x="1628246" y="461256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C8A075BE-A4F2-4F84-B522-C6E43EFD2240}"/>
                </a:ext>
              </a:extLst>
            </p:cNvPr>
            <p:cNvSpPr/>
            <p:nvPr/>
          </p:nvSpPr>
          <p:spPr>
            <a:xfrm rot="8716295">
              <a:off x="1439200" y="42967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56AB483C-9DB6-4B2C-B13B-6356C19C1FBB}"/>
                </a:ext>
              </a:extLst>
            </p:cNvPr>
            <p:cNvSpPr/>
            <p:nvPr/>
          </p:nvSpPr>
          <p:spPr>
            <a:xfrm rot="8716295">
              <a:off x="1420958" y="408668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AFF52EFA-F302-42BC-851E-3ECAD5E2BCCE}"/>
                </a:ext>
              </a:extLst>
            </p:cNvPr>
            <p:cNvSpPr/>
            <p:nvPr/>
          </p:nvSpPr>
          <p:spPr>
            <a:xfrm rot="8716295">
              <a:off x="1764734" y="467454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DD8C6387-B92F-4AE3-84AA-9699909C3151}"/>
                </a:ext>
              </a:extLst>
            </p:cNvPr>
            <p:cNvSpPr/>
            <p:nvPr/>
          </p:nvSpPr>
          <p:spPr>
            <a:xfrm rot="8716295">
              <a:off x="2058111" y="4234218"/>
              <a:ext cx="77302" cy="80483"/>
            </a:xfrm>
            <a:custGeom>
              <a:avLst/>
              <a:gdLst>
                <a:gd name="connsiteX0" fmla="*/ 2300 w 77302"/>
                <a:gd name="connsiteY0" fmla="*/ 68069 h 80483"/>
                <a:gd name="connsiteX1" fmla="*/ 0 w 77302"/>
                <a:gd name="connsiteY1" fmla="*/ 62622 h 80483"/>
                <a:gd name="connsiteX2" fmla="*/ 51796 w 77302"/>
                <a:gd name="connsiteY2" fmla="*/ 0 h 80483"/>
                <a:gd name="connsiteX3" fmla="*/ 64371 w 77302"/>
                <a:gd name="connsiteY3" fmla="*/ 5309 h 80483"/>
                <a:gd name="connsiteX4" fmla="*/ 64371 w 77302"/>
                <a:gd name="connsiteY4" fmla="*/ 67380 h 80483"/>
                <a:gd name="connsiteX5" fmla="*/ 33335 w 77302"/>
                <a:gd name="connsiteY5" fmla="*/ 80483 h 80483"/>
                <a:gd name="connsiteX6" fmla="*/ 2300 w 77302"/>
                <a:gd name="connsiteY6" fmla="*/ 68069 h 80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7302" h="80483">
                  <a:moveTo>
                    <a:pt x="2300" y="68069"/>
                  </a:moveTo>
                  <a:lnTo>
                    <a:pt x="0" y="62622"/>
                  </a:lnTo>
                  <a:lnTo>
                    <a:pt x="51796" y="0"/>
                  </a:lnTo>
                  <a:lnTo>
                    <a:pt x="64371" y="5309"/>
                  </a:lnTo>
                  <a:cubicBezTo>
                    <a:pt x="81612" y="21861"/>
                    <a:pt x="81613" y="50138"/>
                    <a:pt x="64371" y="67380"/>
                  </a:cubicBezTo>
                  <a:cubicBezTo>
                    <a:pt x="56095" y="75656"/>
                    <a:pt x="45060" y="80483"/>
                    <a:pt x="33335" y="80483"/>
                  </a:cubicBezTo>
                  <a:cubicBezTo>
                    <a:pt x="21611" y="80483"/>
                    <a:pt x="10576" y="76345"/>
                    <a:pt x="2300" y="6806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7D76A85F-9EC7-4610-8B93-DADD647681CA}"/>
                </a:ext>
              </a:extLst>
            </p:cNvPr>
            <p:cNvSpPr/>
            <p:nvPr/>
          </p:nvSpPr>
          <p:spPr>
            <a:xfrm rot="8716295">
              <a:off x="1876235" y="3938134"/>
              <a:ext cx="237808" cy="296463"/>
            </a:xfrm>
            <a:custGeom>
              <a:avLst/>
              <a:gdLst>
                <a:gd name="connsiteX0" fmla="*/ 66569 w 237808"/>
                <a:gd name="connsiteY0" fmla="*/ 296463 h 296463"/>
                <a:gd name="connsiteX1" fmla="*/ 1694 w 237808"/>
                <a:gd name="connsiteY1" fmla="*/ 175766 h 296463"/>
                <a:gd name="connsiteX2" fmla="*/ 34886 w 237808"/>
                <a:gd name="connsiteY2" fmla="*/ 83734 h 296463"/>
                <a:gd name="connsiteX3" fmla="*/ 0 w 237808"/>
                <a:gd name="connsiteY3" fmla="*/ 83734 h 296463"/>
                <a:gd name="connsiteX4" fmla="*/ 69258 w 237808"/>
                <a:gd name="connsiteY4" fmla="*/ 0 h 296463"/>
                <a:gd name="connsiteX5" fmla="*/ 237808 w 237808"/>
                <a:gd name="connsiteY5" fmla="*/ 0 h 296463"/>
                <a:gd name="connsiteX6" fmla="*/ 237808 w 237808"/>
                <a:gd name="connsiteY6" fmla="*/ 83734 h 296463"/>
                <a:gd name="connsiteX7" fmla="*/ 139741 w 237808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7808" h="296463">
                  <a:moveTo>
                    <a:pt x="66569" y="296463"/>
                  </a:moveTo>
                  <a:lnTo>
                    <a:pt x="1694" y="175766"/>
                  </a:lnTo>
                  <a:lnTo>
                    <a:pt x="34886" y="83734"/>
                  </a:lnTo>
                  <a:lnTo>
                    <a:pt x="0" y="83734"/>
                  </a:lnTo>
                  <a:lnTo>
                    <a:pt x="69258" y="0"/>
                  </a:lnTo>
                  <a:lnTo>
                    <a:pt x="237808" y="0"/>
                  </a:lnTo>
                  <a:lnTo>
                    <a:pt x="237808" y="83734"/>
                  </a:lnTo>
                  <a:lnTo>
                    <a:pt x="139741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1D9CF1AF-A09A-459A-A4AB-D88D1905EA6F}"/>
                </a:ext>
              </a:extLst>
            </p:cNvPr>
            <p:cNvSpPr/>
            <p:nvPr/>
          </p:nvSpPr>
          <p:spPr>
            <a:xfrm rot="8716295">
              <a:off x="1836851" y="406950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33B04AAC-330F-42F9-9C1F-3BB73DEAD114}"/>
                </a:ext>
              </a:extLst>
            </p:cNvPr>
            <p:cNvSpPr/>
            <p:nvPr/>
          </p:nvSpPr>
          <p:spPr>
            <a:xfrm rot="8716295">
              <a:off x="1827832" y="5057264"/>
              <a:ext cx="219410" cy="140851"/>
            </a:xfrm>
            <a:custGeom>
              <a:avLst/>
              <a:gdLst>
                <a:gd name="connsiteX0" fmla="*/ 27373 w 219410"/>
                <a:gd name="connsiteY0" fmla="*/ 96063 h 140851"/>
                <a:gd name="connsiteX1" fmla="*/ 1953 w 219410"/>
                <a:gd name="connsiteY1" fmla="*/ 53941 h 140851"/>
                <a:gd name="connsiteX2" fmla="*/ 0 w 219410"/>
                <a:gd name="connsiteY2" fmla="*/ 43352 h 140851"/>
                <a:gd name="connsiteX3" fmla="*/ 35858 w 219410"/>
                <a:gd name="connsiteY3" fmla="*/ 0 h 140851"/>
                <a:gd name="connsiteX4" fmla="*/ 219410 w 219410"/>
                <a:gd name="connsiteY4" fmla="*/ 127232 h 140851"/>
                <a:gd name="connsiteX5" fmla="*/ 200448 w 219410"/>
                <a:gd name="connsiteY5" fmla="*/ 132296 h 140851"/>
                <a:gd name="connsiteX6" fmla="*/ 136904 w 219410"/>
                <a:gd name="connsiteY6" fmla="*/ 140588 h 140851"/>
                <a:gd name="connsiteX7" fmla="*/ 27373 w 219410"/>
                <a:gd name="connsiteY7" fmla="*/ 96063 h 140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9410" h="140851">
                  <a:moveTo>
                    <a:pt x="27373" y="96063"/>
                  </a:moveTo>
                  <a:cubicBezTo>
                    <a:pt x="16020" y="85043"/>
                    <a:pt x="7797" y="71018"/>
                    <a:pt x="1953" y="53941"/>
                  </a:cubicBezTo>
                  <a:lnTo>
                    <a:pt x="0" y="43352"/>
                  </a:lnTo>
                  <a:lnTo>
                    <a:pt x="35858" y="0"/>
                  </a:lnTo>
                  <a:lnTo>
                    <a:pt x="219410" y="127232"/>
                  </a:lnTo>
                  <a:lnTo>
                    <a:pt x="200448" y="132296"/>
                  </a:lnTo>
                  <a:cubicBezTo>
                    <a:pt x="176976" y="136859"/>
                    <a:pt x="155381" y="139475"/>
                    <a:pt x="136904" y="140588"/>
                  </a:cubicBezTo>
                  <a:cubicBezTo>
                    <a:pt x="95942" y="143260"/>
                    <a:pt x="55870" y="125450"/>
                    <a:pt x="27373" y="960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24E0BB53-945A-402E-838B-93267E59D513}"/>
                </a:ext>
              </a:extLst>
            </p:cNvPr>
            <p:cNvSpPr/>
            <p:nvPr/>
          </p:nvSpPr>
          <p:spPr>
            <a:xfrm rot="8716295">
              <a:off x="1125067" y="247965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6C251D8C-A5D9-4ECA-AD3B-1A05AB92D036}"/>
                </a:ext>
              </a:extLst>
            </p:cNvPr>
            <p:cNvSpPr/>
            <p:nvPr/>
          </p:nvSpPr>
          <p:spPr>
            <a:xfrm rot="8716295">
              <a:off x="1260365" y="252391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8B96FE87-2D5C-4688-844D-4E74C72A4B6C}"/>
                </a:ext>
              </a:extLst>
            </p:cNvPr>
            <p:cNvSpPr/>
            <p:nvPr/>
          </p:nvSpPr>
          <p:spPr>
            <a:xfrm rot="8716295">
              <a:off x="1192483" y="2393326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582D3CFC-4736-4E25-B369-A4CE70A870B5}"/>
                </a:ext>
              </a:extLst>
            </p:cNvPr>
            <p:cNvSpPr/>
            <p:nvPr/>
          </p:nvSpPr>
          <p:spPr>
            <a:xfrm rot="8716295">
              <a:off x="955196" y="261367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005E4ED8-B75C-4EF1-8BE9-2F684ADC8702}"/>
                </a:ext>
              </a:extLst>
            </p:cNvPr>
            <p:cNvSpPr/>
            <p:nvPr/>
          </p:nvSpPr>
          <p:spPr>
            <a:xfrm rot="8716295">
              <a:off x="766149" y="229783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AFABF28F-6E8A-4957-B94B-921C1E69A440}"/>
                </a:ext>
              </a:extLst>
            </p:cNvPr>
            <p:cNvSpPr/>
            <p:nvPr/>
          </p:nvSpPr>
          <p:spPr>
            <a:xfrm rot="8716295">
              <a:off x="747908" y="2087785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A9A47BF0-B3E6-4CA8-B1F1-FEC766FA52E5}"/>
                </a:ext>
              </a:extLst>
            </p:cNvPr>
            <p:cNvSpPr/>
            <p:nvPr/>
          </p:nvSpPr>
          <p:spPr>
            <a:xfrm rot="8716295">
              <a:off x="1091684" y="2675653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E9996FB1-6163-4708-89D3-37E7BECE1764}"/>
                </a:ext>
              </a:extLst>
            </p:cNvPr>
            <p:cNvSpPr/>
            <p:nvPr/>
          </p:nvSpPr>
          <p:spPr>
            <a:xfrm rot="8716295">
              <a:off x="1562630" y="210103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A1CE2F3B-6619-4775-85F0-1C1F8C974630}"/>
                </a:ext>
              </a:extLst>
            </p:cNvPr>
            <p:cNvSpPr/>
            <p:nvPr/>
          </p:nvSpPr>
          <p:spPr>
            <a:xfrm rot="8716295">
              <a:off x="1697929" y="214529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8284C668-CF6A-429F-A20E-B2542F51FB46}"/>
                </a:ext>
              </a:extLst>
            </p:cNvPr>
            <p:cNvSpPr/>
            <p:nvPr/>
          </p:nvSpPr>
          <p:spPr>
            <a:xfrm rot="8716295">
              <a:off x="1392759" y="223505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AA01786E-CED8-47C1-98FC-809C875C8CD9}"/>
                </a:ext>
              </a:extLst>
            </p:cNvPr>
            <p:cNvSpPr/>
            <p:nvPr/>
          </p:nvSpPr>
          <p:spPr>
            <a:xfrm rot="8716295">
              <a:off x="1203715" y="191921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2425A90E-FE44-45AD-B145-151A84FF9C22}"/>
                </a:ext>
              </a:extLst>
            </p:cNvPr>
            <p:cNvSpPr/>
            <p:nvPr/>
          </p:nvSpPr>
          <p:spPr>
            <a:xfrm rot="8716295">
              <a:off x="1529248" y="2297037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C0E93116-88EE-4D50-8215-854EE6AEF62E}"/>
                </a:ext>
              </a:extLst>
            </p:cNvPr>
            <p:cNvSpPr/>
            <p:nvPr/>
          </p:nvSpPr>
          <p:spPr>
            <a:xfrm rot="8716295">
              <a:off x="1163801" y="2070611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97447593-0A4C-444A-8AD1-F14699136B1C}"/>
                </a:ext>
              </a:extLst>
            </p:cNvPr>
            <p:cNvSpPr/>
            <p:nvPr/>
          </p:nvSpPr>
          <p:spPr>
            <a:xfrm rot="7484129">
              <a:off x="1688065" y="258665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E8FA1E58-23E1-4418-9B7C-2F5C67C32BDC}"/>
                </a:ext>
              </a:extLst>
            </p:cNvPr>
            <p:cNvSpPr/>
            <p:nvPr/>
          </p:nvSpPr>
          <p:spPr>
            <a:xfrm rot="13089394">
              <a:off x="1845023" y="2531236"/>
              <a:ext cx="412568" cy="496925"/>
            </a:xfrm>
            <a:custGeom>
              <a:avLst/>
              <a:gdLst>
                <a:gd name="connsiteX0" fmla="*/ 412568 w 412568"/>
                <a:gd name="connsiteY0" fmla="*/ 390854 h 496925"/>
                <a:gd name="connsiteX1" fmla="*/ 198232 w 412568"/>
                <a:gd name="connsiteY1" fmla="*/ 489977 h 496925"/>
                <a:gd name="connsiteX2" fmla="*/ 144991 w 412568"/>
                <a:gd name="connsiteY2" fmla="*/ 496925 h 496925"/>
                <a:gd name="connsiteX3" fmla="*/ 0 w 412568"/>
                <a:gd name="connsiteY3" fmla="*/ 276116 h 496925"/>
                <a:gd name="connsiteX4" fmla="*/ 0 w 412568"/>
                <a:gd name="connsiteY4" fmla="*/ 57626 h 496925"/>
                <a:gd name="connsiteX5" fmla="*/ 111075 w 412568"/>
                <a:gd name="connsiteY5" fmla="*/ 0 h 496925"/>
                <a:gd name="connsiteX6" fmla="*/ 112747 w 412568"/>
                <a:gd name="connsiteY6" fmla="*/ 233009 h 496925"/>
                <a:gd name="connsiteX7" fmla="*/ 132789 w 412568"/>
                <a:gd name="connsiteY7" fmla="*/ 371646 h 496925"/>
                <a:gd name="connsiteX8" fmla="*/ 233008 w 412568"/>
                <a:gd name="connsiteY8" fmla="*/ 426766 h 496925"/>
                <a:gd name="connsiteX9" fmla="*/ 308173 w 412568"/>
                <a:gd name="connsiteY9" fmla="*/ 413403 h 496925"/>
                <a:gd name="connsiteX10" fmla="*/ 410897 w 412568"/>
                <a:gd name="connsiteY10" fmla="*/ 371646 h 496925"/>
                <a:gd name="connsiteX11" fmla="*/ 412568 w 412568"/>
                <a:gd name="connsiteY11" fmla="*/ 382502 h 496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2568" h="496925">
                  <a:moveTo>
                    <a:pt x="412568" y="390854"/>
                  </a:moveTo>
                  <a:cubicBezTo>
                    <a:pt x="346173" y="447854"/>
                    <a:pt x="264275" y="477136"/>
                    <a:pt x="198232" y="489977"/>
                  </a:cubicBezTo>
                  <a:lnTo>
                    <a:pt x="144991" y="496925"/>
                  </a:lnTo>
                  <a:lnTo>
                    <a:pt x="0" y="276116"/>
                  </a:lnTo>
                  <a:lnTo>
                    <a:pt x="0" y="57626"/>
                  </a:lnTo>
                  <a:lnTo>
                    <a:pt x="111075" y="0"/>
                  </a:lnTo>
                  <a:lnTo>
                    <a:pt x="112747" y="233009"/>
                  </a:lnTo>
                  <a:cubicBezTo>
                    <a:pt x="110241" y="279778"/>
                    <a:pt x="117757" y="327382"/>
                    <a:pt x="132789" y="371646"/>
                  </a:cubicBezTo>
                  <a:cubicBezTo>
                    <a:pt x="146153" y="408393"/>
                    <a:pt x="180394" y="426766"/>
                    <a:pt x="233008" y="426766"/>
                  </a:cubicBezTo>
                  <a:cubicBezTo>
                    <a:pt x="258899" y="425930"/>
                    <a:pt x="283953" y="420919"/>
                    <a:pt x="308173" y="413403"/>
                  </a:cubicBezTo>
                  <a:cubicBezTo>
                    <a:pt x="343249" y="402546"/>
                    <a:pt x="377491" y="388349"/>
                    <a:pt x="410897" y="371646"/>
                  </a:cubicBezTo>
                  <a:cubicBezTo>
                    <a:pt x="411732" y="374986"/>
                    <a:pt x="412568" y="379161"/>
                    <a:pt x="412568" y="38250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18E16AF5-15DE-4CED-B67B-CF099D4DD885}"/>
                </a:ext>
              </a:extLst>
            </p:cNvPr>
            <p:cNvSpPr/>
            <p:nvPr/>
          </p:nvSpPr>
          <p:spPr>
            <a:xfrm rot="8716295">
              <a:off x="2147054" y="2332037"/>
              <a:ext cx="207668" cy="192886"/>
            </a:xfrm>
            <a:custGeom>
              <a:avLst/>
              <a:gdLst>
                <a:gd name="connsiteX0" fmla="*/ 0 w 207668"/>
                <a:gd name="connsiteY0" fmla="*/ 192886 h 192886"/>
                <a:gd name="connsiteX1" fmla="*/ 159539 w 207668"/>
                <a:gd name="connsiteY1" fmla="*/ 0 h 192886"/>
                <a:gd name="connsiteX2" fmla="*/ 181588 w 207668"/>
                <a:gd name="connsiteY2" fmla="*/ 5201 h 192886"/>
                <a:gd name="connsiteX3" fmla="*/ 207668 w 207668"/>
                <a:gd name="connsiteY3" fmla="*/ 59649 h 192886"/>
                <a:gd name="connsiteX4" fmla="*/ 160490 w 207668"/>
                <a:gd name="connsiteY4" fmla="*/ 123096 h 192886"/>
                <a:gd name="connsiteX5" fmla="*/ 161303 w 207668"/>
                <a:gd name="connsiteY5" fmla="*/ 123096 h 192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668" h="192886">
                  <a:moveTo>
                    <a:pt x="0" y="192886"/>
                  </a:moveTo>
                  <a:lnTo>
                    <a:pt x="159539" y="0"/>
                  </a:lnTo>
                  <a:lnTo>
                    <a:pt x="181588" y="5201"/>
                  </a:lnTo>
                  <a:cubicBezTo>
                    <a:pt x="201262" y="16029"/>
                    <a:pt x="207668" y="40127"/>
                    <a:pt x="207668" y="59649"/>
                  </a:cubicBezTo>
                  <a:cubicBezTo>
                    <a:pt x="205228" y="88119"/>
                    <a:pt x="186518" y="111708"/>
                    <a:pt x="160490" y="123096"/>
                  </a:cubicBezTo>
                  <a:lnTo>
                    <a:pt x="161303" y="1230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EE7EA580-766E-4570-A7DD-55A7181E9140}"/>
                </a:ext>
              </a:extLst>
            </p:cNvPr>
            <p:cNvSpPr/>
            <p:nvPr/>
          </p:nvSpPr>
          <p:spPr>
            <a:xfrm rot="8716295">
              <a:off x="2049197" y="208909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89C54D82-6DB7-45E9-8646-AF058AAE6AFE}"/>
                </a:ext>
              </a:extLst>
            </p:cNvPr>
            <p:cNvSpPr/>
            <p:nvPr/>
          </p:nvSpPr>
          <p:spPr>
            <a:xfrm rot="8716295">
              <a:off x="1681033" y="21348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350EA871-183D-437B-B28B-EF893E9A4930}"/>
                </a:ext>
              </a:extLst>
            </p:cNvPr>
            <p:cNvSpPr/>
            <p:nvPr/>
          </p:nvSpPr>
          <p:spPr>
            <a:xfrm rot="8716295">
              <a:off x="1949615" y="189381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7625BF35-EB3E-4083-8310-66A6ABEEBE81}"/>
                </a:ext>
              </a:extLst>
            </p:cNvPr>
            <p:cNvSpPr/>
            <p:nvPr/>
          </p:nvSpPr>
          <p:spPr>
            <a:xfrm rot="8716295">
              <a:off x="787294" y="148117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4A278F8F-FAFA-4D7A-877C-29D91BF541D4}"/>
                </a:ext>
              </a:extLst>
            </p:cNvPr>
            <p:cNvSpPr/>
            <p:nvPr/>
          </p:nvSpPr>
          <p:spPr>
            <a:xfrm rot="8716295">
              <a:off x="922592" y="152543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DB2610A3-31CF-45EF-B184-4657FD23CA44}"/>
                </a:ext>
              </a:extLst>
            </p:cNvPr>
            <p:cNvSpPr/>
            <p:nvPr/>
          </p:nvSpPr>
          <p:spPr>
            <a:xfrm rot="8716295">
              <a:off x="854710" y="1394843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2721DD24-E32D-474A-8AE8-CB1F5FEA63CC}"/>
                </a:ext>
              </a:extLst>
            </p:cNvPr>
            <p:cNvSpPr/>
            <p:nvPr/>
          </p:nvSpPr>
          <p:spPr>
            <a:xfrm rot="8716295">
              <a:off x="617423" y="161518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271ACC1B-5BC1-4C90-8744-187E477874EA}"/>
                </a:ext>
              </a:extLst>
            </p:cNvPr>
            <p:cNvSpPr/>
            <p:nvPr/>
          </p:nvSpPr>
          <p:spPr>
            <a:xfrm rot="8716295">
              <a:off x="428376" y="129935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09A9FE1D-6CB8-4187-8C52-59F1BA866B08}"/>
                </a:ext>
              </a:extLst>
            </p:cNvPr>
            <p:cNvSpPr/>
            <p:nvPr/>
          </p:nvSpPr>
          <p:spPr>
            <a:xfrm rot="8716295">
              <a:off x="410135" y="1089302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orme libre : forme 58">
              <a:extLst>
                <a:ext uri="{FF2B5EF4-FFF2-40B4-BE49-F238E27FC236}">
                  <a16:creationId xmlns:a16="http://schemas.microsoft.com/office/drawing/2014/main" id="{536CBB26-493E-4AF3-B817-10984C95D957}"/>
                </a:ext>
              </a:extLst>
            </p:cNvPr>
            <p:cNvSpPr/>
            <p:nvPr/>
          </p:nvSpPr>
          <p:spPr>
            <a:xfrm rot="8716295">
              <a:off x="753911" y="1677170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orme libre : forme 59">
              <a:extLst>
                <a:ext uri="{FF2B5EF4-FFF2-40B4-BE49-F238E27FC236}">
                  <a16:creationId xmlns:a16="http://schemas.microsoft.com/office/drawing/2014/main" id="{945CA62F-9E79-459F-9A9E-98D352B7F4FC}"/>
                </a:ext>
              </a:extLst>
            </p:cNvPr>
            <p:cNvSpPr/>
            <p:nvPr/>
          </p:nvSpPr>
          <p:spPr>
            <a:xfrm rot="8716295">
              <a:off x="1224858" y="1102556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orme libre : forme 60">
              <a:extLst>
                <a:ext uri="{FF2B5EF4-FFF2-40B4-BE49-F238E27FC236}">
                  <a16:creationId xmlns:a16="http://schemas.microsoft.com/office/drawing/2014/main" id="{369C3DB8-F103-4448-B156-2B184240310A}"/>
                </a:ext>
              </a:extLst>
            </p:cNvPr>
            <p:cNvSpPr/>
            <p:nvPr/>
          </p:nvSpPr>
          <p:spPr>
            <a:xfrm rot="8716295">
              <a:off x="1360156" y="1146815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orme libre : forme 61">
              <a:extLst>
                <a:ext uri="{FF2B5EF4-FFF2-40B4-BE49-F238E27FC236}">
                  <a16:creationId xmlns:a16="http://schemas.microsoft.com/office/drawing/2014/main" id="{18E1EF68-3C34-4AED-A042-F974F305FFA4}"/>
                </a:ext>
              </a:extLst>
            </p:cNvPr>
            <p:cNvSpPr/>
            <p:nvPr/>
          </p:nvSpPr>
          <p:spPr>
            <a:xfrm rot="8716295">
              <a:off x="1054986" y="123657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orme libre : forme 62">
              <a:extLst>
                <a:ext uri="{FF2B5EF4-FFF2-40B4-BE49-F238E27FC236}">
                  <a16:creationId xmlns:a16="http://schemas.microsoft.com/office/drawing/2014/main" id="{E6940BAB-7063-447D-9788-7A9EFB3FD540}"/>
                </a:ext>
              </a:extLst>
            </p:cNvPr>
            <p:cNvSpPr/>
            <p:nvPr/>
          </p:nvSpPr>
          <p:spPr>
            <a:xfrm rot="8716295">
              <a:off x="865942" y="92073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orme libre : forme 63">
              <a:extLst>
                <a:ext uri="{FF2B5EF4-FFF2-40B4-BE49-F238E27FC236}">
                  <a16:creationId xmlns:a16="http://schemas.microsoft.com/office/drawing/2014/main" id="{ACE5BF6F-DB4B-42E3-B1BA-145CDB9C3DF9}"/>
                </a:ext>
              </a:extLst>
            </p:cNvPr>
            <p:cNvSpPr/>
            <p:nvPr/>
          </p:nvSpPr>
          <p:spPr>
            <a:xfrm rot="8716295">
              <a:off x="1191475" y="1298554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orme libre : forme 64">
              <a:extLst>
                <a:ext uri="{FF2B5EF4-FFF2-40B4-BE49-F238E27FC236}">
                  <a16:creationId xmlns:a16="http://schemas.microsoft.com/office/drawing/2014/main" id="{652E743A-00B8-433E-B55D-34BA48EAC5CE}"/>
                </a:ext>
              </a:extLst>
            </p:cNvPr>
            <p:cNvSpPr/>
            <p:nvPr/>
          </p:nvSpPr>
          <p:spPr>
            <a:xfrm rot="8716295">
              <a:off x="826028" y="1072128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orme libre : forme 65">
              <a:extLst>
                <a:ext uri="{FF2B5EF4-FFF2-40B4-BE49-F238E27FC236}">
                  <a16:creationId xmlns:a16="http://schemas.microsoft.com/office/drawing/2014/main" id="{BACD1396-4989-4CCD-AB4F-6277B1FA025D}"/>
                </a:ext>
              </a:extLst>
            </p:cNvPr>
            <p:cNvSpPr/>
            <p:nvPr/>
          </p:nvSpPr>
          <p:spPr>
            <a:xfrm rot="7484129">
              <a:off x="1350292" y="158817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orme libre : forme 66">
              <a:extLst>
                <a:ext uri="{FF2B5EF4-FFF2-40B4-BE49-F238E27FC236}">
                  <a16:creationId xmlns:a16="http://schemas.microsoft.com/office/drawing/2014/main" id="{F1575DA2-DE7C-4BAF-AFB3-D8ACAD3FE8BB}"/>
                </a:ext>
              </a:extLst>
            </p:cNvPr>
            <p:cNvSpPr/>
            <p:nvPr/>
          </p:nvSpPr>
          <p:spPr>
            <a:xfrm rot="13089394">
              <a:off x="1508942" y="1537520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3D5C7C03-0DD7-4CE0-B323-2DBC8A33D724}"/>
                </a:ext>
              </a:extLst>
            </p:cNvPr>
            <p:cNvSpPr/>
            <p:nvPr/>
          </p:nvSpPr>
          <p:spPr>
            <a:xfrm rot="8716295">
              <a:off x="1789833" y="1247402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orme libre : forme 68">
              <a:extLst>
                <a:ext uri="{FF2B5EF4-FFF2-40B4-BE49-F238E27FC236}">
                  <a16:creationId xmlns:a16="http://schemas.microsoft.com/office/drawing/2014/main" id="{2A0940B5-3257-4C64-A206-488AFE286994}"/>
                </a:ext>
              </a:extLst>
            </p:cNvPr>
            <p:cNvSpPr/>
            <p:nvPr/>
          </p:nvSpPr>
          <p:spPr>
            <a:xfrm rot="8716295">
              <a:off x="1711424" y="109061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orme libre : forme 69">
              <a:extLst>
                <a:ext uri="{FF2B5EF4-FFF2-40B4-BE49-F238E27FC236}">
                  <a16:creationId xmlns:a16="http://schemas.microsoft.com/office/drawing/2014/main" id="{3166A607-68F9-4F3F-A5ED-4FA937BEECD1}"/>
                </a:ext>
              </a:extLst>
            </p:cNvPr>
            <p:cNvSpPr/>
            <p:nvPr/>
          </p:nvSpPr>
          <p:spPr>
            <a:xfrm rot="8716295">
              <a:off x="1343261" y="113635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orme libre : forme 70">
              <a:extLst>
                <a:ext uri="{FF2B5EF4-FFF2-40B4-BE49-F238E27FC236}">
                  <a16:creationId xmlns:a16="http://schemas.microsoft.com/office/drawing/2014/main" id="{E3E45D07-7F2E-45AC-8607-5306F45B7B5E}"/>
                </a:ext>
              </a:extLst>
            </p:cNvPr>
            <p:cNvSpPr/>
            <p:nvPr/>
          </p:nvSpPr>
          <p:spPr>
            <a:xfrm rot="8716295">
              <a:off x="1611842" y="89533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orme libre : forme 71">
              <a:extLst>
                <a:ext uri="{FF2B5EF4-FFF2-40B4-BE49-F238E27FC236}">
                  <a16:creationId xmlns:a16="http://schemas.microsoft.com/office/drawing/2014/main" id="{F61F2692-40B7-4A40-AE32-B2180297905C}"/>
                </a:ext>
              </a:extLst>
            </p:cNvPr>
            <p:cNvSpPr/>
            <p:nvPr/>
          </p:nvSpPr>
          <p:spPr>
            <a:xfrm rot="8716295">
              <a:off x="455920" y="47911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orme libre : forme 72">
              <a:extLst>
                <a:ext uri="{FF2B5EF4-FFF2-40B4-BE49-F238E27FC236}">
                  <a16:creationId xmlns:a16="http://schemas.microsoft.com/office/drawing/2014/main" id="{8D510AFD-E0B6-4C04-A231-06F0DA5461FE}"/>
                </a:ext>
              </a:extLst>
            </p:cNvPr>
            <p:cNvSpPr/>
            <p:nvPr/>
          </p:nvSpPr>
          <p:spPr>
            <a:xfrm rot="8716295">
              <a:off x="591219" y="52337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" name="Forme libre : forme 73">
              <a:extLst>
                <a:ext uri="{FF2B5EF4-FFF2-40B4-BE49-F238E27FC236}">
                  <a16:creationId xmlns:a16="http://schemas.microsoft.com/office/drawing/2014/main" id="{6B88DB4B-6413-485F-AD39-EF4AC1850A75}"/>
                </a:ext>
              </a:extLst>
            </p:cNvPr>
            <p:cNvSpPr/>
            <p:nvPr/>
          </p:nvSpPr>
          <p:spPr>
            <a:xfrm rot="8716295">
              <a:off x="523336" y="39278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" name="Forme libre : forme 74">
              <a:extLst>
                <a:ext uri="{FF2B5EF4-FFF2-40B4-BE49-F238E27FC236}">
                  <a16:creationId xmlns:a16="http://schemas.microsoft.com/office/drawing/2014/main" id="{985A4035-A707-4F38-A0C9-2533BF637BC9}"/>
                </a:ext>
              </a:extLst>
            </p:cNvPr>
            <p:cNvSpPr/>
            <p:nvPr/>
          </p:nvSpPr>
          <p:spPr>
            <a:xfrm rot="8716295">
              <a:off x="286049" y="6131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" name="Forme libre : forme 75">
              <a:extLst>
                <a:ext uri="{FF2B5EF4-FFF2-40B4-BE49-F238E27FC236}">
                  <a16:creationId xmlns:a16="http://schemas.microsoft.com/office/drawing/2014/main" id="{F8A46B91-F44C-4F7E-94A8-64349465DA46}"/>
                </a:ext>
              </a:extLst>
            </p:cNvPr>
            <p:cNvSpPr/>
            <p:nvPr/>
          </p:nvSpPr>
          <p:spPr>
            <a:xfrm rot="8716295">
              <a:off x="97003" y="2972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" name="Forme libre : forme 76">
              <a:extLst>
                <a:ext uri="{FF2B5EF4-FFF2-40B4-BE49-F238E27FC236}">
                  <a16:creationId xmlns:a16="http://schemas.microsoft.com/office/drawing/2014/main" id="{D98B2AD3-F200-4E21-B245-12CF6B31E044}"/>
                </a:ext>
              </a:extLst>
            </p:cNvPr>
            <p:cNvSpPr/>
            <p:nvPr/>
          </p:nvSpPr>
          <p:spPr>
            <a:xfrm rot="8716295">
              <a:off x="78761" y="87249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" name="Forme libre : forme 77">
              <a:extLst>
                <a:ext uri="{FF2B5EF4-FFF2-40B4-BE49-F238E27FC236}">
                  <a16:creationId xmlns:a16="http://schemas.microsoft.com/office/drawing/2014/main" id="{31F62124-299F-4960-8825-F200F77E89B1}"/>
                </a:ext>
              </a:extLst>
            </p:cNvPr>
            <p:cNvSpPr/>
            <p:nvPr/>
          </p:nvSpPr>
          <p:spPr>
            <a:xfrm rot="8716295">
              <a:off x="422537" y="67511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orme libre : forme 78">
              <a:extLst>
                <a:ext uri="{FF2B5EF4-FFF2-40B4-BE49-F238E27FC236}">
                  <a16:creationId xmlns:a16="http://schemas.microsoft.com/office/drawing/2014/main" id="{EE39F313-B670-444A-981C-E127C24D857F}"/>
                </a:ext>
              </a:extLst>
            </p:cNvPr>
            <p:cNvSpPr/>
            <p:nvPr/>
          </p:nvSpPr>
          <p:spPr>
            <a:xfrm rot="8716295">
              <a:off x="893484" y="10050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Forme libre : forme 79">
              <a:extLst>
                <a:ext uri="{FF2B5EF4-FFF2-40B4-BE49-F238E27FC236}">
                  <a16:creationId xmlns:a16="http://schemas.microsoft.com/office/drawing/2014/main" id="{9BFFA7AA-3FAD-4A4D-BF99-76B00FB2C288}"/>
                </a:ext>
              </a:extLst>
            </p:cNvPr>
            <p:cNvSpPr/>
            <p:nvPr/>
          </p:nvSpPr>
          <p:spPr>
            <a:xfrm rot="8716295">
              <a:off x="1028783" y="14476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" name="Forme libre : forme 80">
              <a:extLst>
                <a:ext uri="{FF2B5EF4-FFF2-40B4-BE49-F238E27FC236}">
                  <a16:creationId xmlns:a16="http://schemas.microsoft.com/office/drawing/2014/main" id="{1433DBAF-4AFA-4A86-A99F-428DB317C17F}"/>
                </a:ext>
              </a:extLst>
            </p:cNvPr>
            <p:cNvSpPr/>
            <p:nvPr/>
          </p:nvSpPr>
          <p:spPr>
            <a:xfrm rot="8716295">
              <a:off x="723613" y="23451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orme libre : forme 81">
              <a:extLst>
                <a:ext uri="{FF2B5EF4-FFF2-40B4-BE49-F238E27FC236}">
                  <a16:creationId xmlns:a16="http://schemas.microsoft.com/office/drawing/2014/main" id="{AF029D07-5D40-4341-9548-A67032BB1C77}"/>
                </a:ext>
              </a:extLst>
            </p:cNvPr>
            <p:cNvSpPr/>
            <p:nvPr/>
          </p:nvSpPr>
          <p:spPr>
            <a:xfrm rot="8716295">
              <a:off x="547803" y="-17289"/>
              <a:ext cx="308531" cy="226033"/>
            </a:xfrm>
            <a:custGeom>
              <a:avLst/>
              <a:gdLst>
                <a:gd name="connsiteX0" fmla="*/ 106716 w 203847"/>
                <a:gd name="connsiteY0" fmla="*/ 149340 h 149340"/>
                <a:gd name="connsiteX1" fmla="*/ 50038 w 203847"/>
                <a:gd name="connsiteY1" fmla="*/ 110053 h 149340"/>
                <a:gd name="connsiteX2" fmla="*/ 69777 w 203847"/>
                <a:gd name="connsiteY2" fmla="*/ 55323 h 149340"/>
                <a:gd name="connsiteX3" fmla="*/ 0 w 203847"/>
                <a:gd name="connsiteY3" fmla="*/ 55323 h 149340"/>
                <a:gd name="connsiteX4" fmla="*/ 0 w 203847"/>
                <a:gd name="connsiteY4" fmla="*/ 0 h 149340"/>
                <a:gd name="connsiteX5" fmla="*/ 203847 w 203847"/>
                <a:gd name="connsiteY5" fmla="*/ 0 h 149340"/>
                <a:gd name="connsiteX6" fmla="*/ 203847 w 203847"/>
                <a:gd name="connsiteY6" fmla="*/ 55323 h 149340"/>
                <a:gd name="connsiteX7" fmla="*/ 139055 w 203847"/>
                <a:gd name="connsiteY7" fmla="*/ 55323 h 14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49340">
                  <a:moveTo>
                    <a:pt x="106716" y="149340"/>
                  </a:moveTo>
                  <a:lnTo>
                    <a:pt x="50038" y="110053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Forme libre : forme 82">
              <a:extLst>
                <a:ext uri="{FF2B5EF4-FFF2-40B4-BE49-F238E27FC236}">
                  <a16:creationId xmlns:a16="http://schemas.microsoft.com/office/drawing/2014/main" id="{2932702E-E8E3-46BA-A87E-0ED0BC303BF9}"/>
                </a:ext>
              </a:extLst>
            </p:cNvPr>
            <p:cNvSpPr/>
            <p:nvPr/>
          </p:nvSpPr>
          <p:spPr>
            <a:xfrm rot="8716295">
              <a:off x="860101" y="29650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4" name="Forme libre : forme 83">
              <a:extLst>
                <a:ext uri="{FF2B5EF4-FFF2-40B4-BE49-F238E27FC236}">
                  <a16:creationId xmlns:a16="http://schemas.microsoft.com/office/drawing/2014/main" id="{69A563A2-99F0-4626-A5AF-E9AD22DC8484}"/>
                </a:ext>
              </a:extLst>
            </p:cNvPr>
            <p:cNvSpPr/>
            <p:nvPr/>
          </p:nvSpPr>
          <p:spPr>
            <a:xfrm rot="8716295">
              <a:off x="494655" y="7007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5" name="Forme libre : forme 84">
              <a:extLst>
                <a:ext uri="{FF2B5EF4-FFF2-40B4-BE49-F238E27FC236}">
                  <a16:creationId xmlns:a16="http://schemas.microsoft.com/office/drawing/2014/main" id="{B18A375D-EEA2-4D9B-96D1-D4924AE08EC7}"/>
                </a:ext>
              </a:extLst>
            </p:cNvPr>
            <p:cNvSpPr/>
            <p:nvPr/>
          </p:nvSpPr>
          <p:spPr>
            <a:xfrm rot="7484129">
              <a:off x="1018919" y="58611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6" name="Forme libre : forme 85">
              <a:extLst>
                <a:ext uri="{FF2B5EF4-FFF2-40B4-BE49-F238E27FC236}">
                  <a16:creationId xmlns:a16="http://schemas.microsoft.com/office/drawing/2014/main" id="{7717CD41-705F-4F28-B88E-73D27DF645C8}"/>
                </a:ext>
              </a:extLst>
            </p:cNvPr>
            <p:cNvSpPr/>
            <p:nvPr/>
          </p:nvSpPr>
          <p:spPr>
            <a:xfrm rot="13089394">
              <a:off x="1177568" y="53546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7" name="Forme libre : forme 86">
              <a:extLst>
                <a:ext uri="{FF2B5EF4-FFF2-40B4-BE49-F238E27FC236}">
                  <a16:creationId xmlns:a16="http://schemas.microsoft.com/office/drawing/2014/main" id="{285D68BE-9E3D-4F4C-AC96-578345571AC5}"/>
                </a:ext>
              </a:extLst>
            </p:cNvPr>
            <p:cNvSpPr/>
            <p:nvPr/>
          </p:nvSpPr>
          <p:spPr>
            <a:xfrm rot="8716295">
              <a:off x="1458459" y="24534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8" name="Forme libre : forme 87">
              <a:extLst>
                <a:ext uri="{FF2B5EF4-FFF2-40B4-BE49-F238E27FC236}">
                  <a16:creationId xmlns:a16="http://schemas.microsoft.com/office/drawing/2014/main" id="{83EDC7AF-2352-4CD0-B767-0567B99FAECC}"/>
                </a:ext>
              </a:extLst>
            </p:cNvPr>
            <p:cNvSpPr/>
            <p:nvPr/>
          </p:nvSpPr>
          <p:spPr>
            <a:xfrm rot="8716295">
              <a:off x="1380050" y="8855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9" name="Forme libre : forme 88">
              <a:extLst>
                <a:ext uri="{FF2B5EF4-FFF2-40B4-BE49-F238E27FC236}">
                  <a16:creationId xmlns:a16="http://schemas.microsoft.com/office/drawing/2014/main" id="{E853F8BE-90D5-4EB8-BCC9-E92102CA6DFE}"/>
                </a:ext>
              </a:extLst>
            </p:cNvPr>
            <p:cNvSpPr/>
            <p:nvPr/>
          </p:nvSpPr>
          <p:spPr>
            <a:xfrm rot="8716295">
              <a:off x="1011887" y="13429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" name="Forme libre : forme 89">
              <a:extLst>
                <a:ext uri="{FF2B5EF4-FFF2-40B4-BE49-F238E27FC236}">
                  <a16:creationId xmlns:a16="http://schemas.microsoft.com/office/drawing/2014/main" id="{42758375-22F2-40F5-8D40-436514F398B4}"/>
                </a:ext>
              </a:extLst>
            </p:cNvPr>
            <p:cNvSpPr/>
            <p:nvPr/>
          </p:nvSpPr>
          <p:spPr>
            <a:xfrm rot="8716295">
              <a:off x="1291652" y="-36449"/>
              <a:ext cx="134197" cy="106947"/>
            </a:xfrm>
            <a:custGeom>
              <a:avLst/>
              <a:gdLst>
                <a:gd name="connsiteX0" fmla="*/ 83649 w 88664"/>
                <a:gd name="connsiteY0" fmla="*/ 70660 h 70660"/>
                <a:gd name="connsiteX1" fmla="*/ 0 w 88664"/>
                <a:gd name="connsiteY1" fmla="*/ 12677 h 70660"/>
                <a:gd name="connsiteX2" fmla="*/ 30024 w 88664"/>
                <a:gd name="connsiteY2" fmla="*/ 0 h 70660"/>
                <a:gd name="connsiteX3" fmla="*/ 71417 w 88664"/>
                <a:gd name="connsiteY3" fmla="*/ 17477 h 70660"/>
                <a:gd name="connsiteX4" fmla="*/ 88664 w 88664"/>
                <a:gd name="connsiteY4" fmla="*/ 58525 h 70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664" h="70660">
                  <a:moveTo>
                    <a:pt x="83649" y="70660"/>
                  </a:moveTo>
                  <a:lnTo>
                    <a:pt x="0" y="12677"/>
                  </a:lnTo>
                  <a:lnTo>
                    <a:pt x="30024" y="0"/>
                  </a:lnTo>
                  <a:cubicBezTo>
                    <a:pt x="45662" y="0"/>
                    <a:pt x="60379" y="6439"/>
                    <a:pt x="71417" y="17477"/>
                  </a:cubicBezTo>
                  <a:cubicBezTo>
                    <a:pt x="82915" y="28515"/>
                    <a:pt x="88664" y="43462"/>
                    <a:pt x="88664" y="58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" name="Forme libre : forme 90">
              <a:extLst>
                <a:ext uri="{FF2B5EF4-FFF2-40B4-BE49-F238E27FC236}">
                  <a16:creationId xmlns:a16="http://schemas.microsoft.com/office/drawing/2014/main" id="{39402522-16DA-4E11-927D-0744A887E931}"/>
                </a:ext>
              </a:extLst>
            </p:cNvPr>
            <p:cNvSpPr/>
            <p:nvPr/>
          </p:nvSpPr>
          <p:spPr>
            <a:xfrm rot="13089394">
              <a:off x="990163" y="-39748"/>
              <a:ext cx="111277" cy="115595"/>
            </a:xfrm>
            <a:custGeom>
              <a:avLst/>
              <a:gdLst>
                <a:gd name="connsiteX0" fmla="*/ 73521 w 73521"/>
                <a:gd name="connsiteY0" fmla="*/ 18609 h 76374"/>
                <a:gd name="connsiteX1" fmla="*/ 0 w 73521"/>
                <a:gd name="connsiteY1" fmla="*/ 76374 h 76374"/>
                <a:gd name="connsiteX2" fmla="*/ 0 w 73521"/>
                <a:gd name="connsiteY2" fmla="*/ 38074 h 76374"/>
                <a:gd name="connsiteX3" fmla="*/ 73388 w 73521"/>
                <a:gd name="connsiteY3" fmla="*/ 0 h 7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521" h="76374">
                  <a:moveTo>
                    <a:pt x="73521" y="18609"/>
                  </a:moveTo>
                  <a:lnTo>
                    <a:pt x="0" y="76374"/>
                  </a:lnTo>
                  <a:lnTo>
                    <a:pt x="0" y="38074"/>
                  </a:lnTo>
                  <a:lnTo>
                    <a:pt x="7338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" name="Forme libre : forme 91">
              <a:extLst>
                <a:ext uri="{FF2B5EF4-FFF2-40B4-BE49-F238E27FC236}">
                  <a16:creationId xmlns:a16="http://schemas.microsoft.com/office/drawing/2014/main" id="{BA0CCCD1-A43A-4EDA-9AE2-2B760A750CB8}"/>
                </a:ext>
              </a:extLst>
            </p:cNvPr>
            <p:cNvSpPr/>
            <p:nvPr/>
          </p:nvSpPr>
          <p:spPr>
            <a:xfrm rot="8716295">
              <a:off x="121288" y="414134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" name="Forme libre : forme 92">
              <a:extLst>
                <a:ext uri="{FF2B5EF4-FFF2-40B4-BE49-F238E27FC236}">
                  <a16:creationId xmlns:a16="http://schemas.microsoft.com/office/drawing/2014/main" id="{B00F8218-3F51-4CFB-9D4D-4142207B942F}"/>
                </a:ext>
              </a:extLst>
            </p:cNvPr>
            <p:cNvSpPr/>
            <p:nvPr/>
          </p:nvSpPr>
          <p:spPr>
            <a:xfrm rot="8716295">
              <a:off x="256586" y="418560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" name="Forme libre : forme 93">
              <a:extLst>
                <a:ext uri="{FF2B5EF4-FFF2-40B4-BE49-F238E27FC236}">
                  <a16:creationId xmlns:a16="http://schemas.microsoft.com/office/drawing/2014/main" id="{59A33452-85A5-44B9-85E4-34DB64857691}"/>
                </a:ext>
              </a:extLst>
            </p:cNvPr>
            <p:cNvSpPr/>
            <p:nvPr/>
          </p:nvSpPr>
          <p:spPr>
            <a:xfrm rot="8716295">
              <a:off x="188704" y="405501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orme libre : forme 94">
              <a:extLst>
                <a:ext uri="{FF2B5EF4-FFF2-40B4-BE49-F238E27FC236}">
                  <a16:creationId xmlns:a16="http://schemas.microsoft.com/office/drawing/2014/main" id="{6EB29E53-18CD-42F3-9B37-2ECC6883F84C}"/>
                </a:ext>
              </a:extLst>
            </p:cNvPr>
            <p:cNvSpPr/>
            <p:nvPr/>
          </p:nvSpPr>
          <p:spPr>
            <a:xfrm rot="8716295">
              <a:off x="-22408" y="4278013"/>
              <a:ext cx="57413" cy="71926"/>
            </a:xfrm>
            <a:custGeom>
              <a:avLst/>
              <a:gdLst>
                <a:gd name="connsiteX0" fmla="*/ 11441 w 57413"/>
                <a:gd name="connsiteY0" fmla="*/ 71926 h 71926"/>
                <a:gd name="connsiteX1" fmla="*/ 0 w 57413"/>
                <a:gd name="connsiteY1" fmla="*/ 44829 h 71926"/>
                <a:gd name="connsiteX2" fmla="*/ 0 w 57413"/>
                <a:gd name="connsiteY2" fmla="*/ 44139 h 71926"/>
                <a:gd name="connsiteX3" fmla="*/ 13104 w 57413"/>
                <a:gd name="connsiteY3" fmla="*/ 13104 h 71926"/>
                <a:gd name="connsiteX4" fmla="*/ 44139 w 57413"/>
                <a:gd name="connsiteY4" fmla="*/ 0 h 71926"/>
                <a:gd name="connsiteX5" fmla="*/ 57413 w 57413"/>
                <a:gd name="connsiteY5" fmla="*/ 5605 h 71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413" h="71926">
                  <a:moveTo>
                    <a:pt x="11441" y="71926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lnTo>
                    <a:pt x="57413" y="5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Forme libre : forme 95">
              <a:extLst>
                <a:ext uri="{FF2B5EF4-FFF2-40B4-BE49-F238E27FC236}">
                  <a16:creationId xmlns:a16="http://schemas.microsoft.com/office/drawing/2014/main" id="{5DEA4AC8-B4A8-4210-932F-E61308CFB12D}"/>
                </a:ext>
              </a:extLst>
            </p:cNvPr>
            <p:cNvSpPr/>
            <p:nvPr/>
          </p:nvSpPr>
          <p:spPr>
            <a:xfrm rot="8716295">
              <a:off x="-36969" y="4107248"/>
              <a:ext cx="147272" cy="83734"/>
            </a:xfrm>
            <a:custGeom>
              <a:avLst/>
              <a:gdLst>
                <a:gd name="connsiteX0" fmla="*/ 0 w 147272"/>
                <a:gd name="connsiteY0" fmla="*/ 83734 h 83734"/>
                <a:gd name="connsiteX1" fmla="*/ 0 w 147272"/>
                <a:gd name="connsiteY1" fmla="*/ 0 h 83734"/>
                <a:gd name="connsiteX2" fmla="*/ 147272 w 147272"/>
                <a:gd name="connsiteY2" fmla="*/ 0 h 83734"/>
                <a:gd name="connsiteX3" fmla="*/ 89230 w 147272"/>
                <a:gd name="connsiteY3" fmla="*/ 83734 h 83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272" h="83734">
                  <a:moveTo>
                    <a:pt x="0" y="83734"/>
                  </a:moveTo>
                  <a:lnTo>
                    <a:pt x="0" y="0"/>
                  </a:lnTo>
                  <a:lnTo>
                    <a:pt x="147272" y="0"/>
                  </a:lnTo>
                  <a:lnTo>
                    <a:pt x="89230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" name="Forme libre : forme 96">
              <a:extLst>
                <a:ext uri="{FF2B5EF4-FFF2-40B4-BE49-F238E27FC236}">
                  <a16:creationId xmlns:a16="http://schemas.microsoft.com/office/drawing/2014/main" id="{B218914A-7EA1-40E4-B44A-2A3DBC972AF7}"/>
                </a:ext>
              </a:extLst>
            </p:cNvPr>
            <p:cNvSpPr/>
            <p:nvPr/>
          </p:nvSpPr>
          <p:spPr>
            <a:xfrm rot="8716295">
              <a:off x="43378" y="3712531"/>
              <a:ext cx="125537" cy="468763"/>
            </a:xfrm>
            <a:custGeom>
              <a:avLst/>
              <a:gdLst>
                <a:gd name="connsiteX0" fmla="*/ 29455 w 125537"/>
                <a:gd name="connsiteY0" fmla="*/ 468763 h 468763"/>
                <a:gd name="connsiteX1" fmla="*/ 7792 w 125537"/>
                <a:gd name="connsiteY1" fmla="*/ 425988 h 468763"/>
                <a:gd name="connsiteX2" fmla="*/ 0 w 125537"/>
                <a:gd name="connsiteY2" fmla="*/ 333043 h 468763"/>
                <a:gd name="connsiteX3" fmla="*/ 0 w 125537"/>
                <a:gd name="connsiteY3" fmla="*/ 61444 h 468763"/>
                <a:gd name="connsiteX4" fmla="*/ 118434 w 125537"/>
                <a:gd name="connsiteY4" fmla="*/ 0 h 468763"/>
                <a:gd name="connsiteX5" fmla="*/ 120216 w 125537"/>
                <a:gd name="connsiteY5" fmla="*/ 248447 h 468763"/>
                <a:gd name="connsiteX6" fmla="*/ 123889 w 125537"/>
                <a:gd name="connsiteY6" fmla="*/ 323359 h 468763"/>
                <a:gd name="connsiteX7" fmla="*/ 125537 w 125537"/>
                <a:gd name="connsiteY7" fmla="*/ 330150 h 468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537" h="468763">
                  <a:moveTo>
                    <a:pt x="29455" y="468763"/>
                  </a:moveTo>
                  <a:lnTo>
                    <a:pt x="7792" y="425988"/>
                  </a:lnTo>
                  <a:cubicBezTo>
                    <a:pt x="2003" y="400498"/>
                    <a:pt x="0" y="369553"/>
                    <a:pt x="0" y="333043"/>
                  </a:cubicBezTo>
                  <a:lnTo>
                    <a:pt x="0" y="61444"/>
                  </a:lnTo>
                  <a:lnTo>
                    <a:pt x="118434" y="0"/>
                  </a:lnTo>
                  <a:lnTo>
                    <a:pt x="120216" y="248447"/>
                  </a:lnTo>
                  <a:cubicBezTo>
                    <a:pt x="118880" y="273381"/>
                    <a:pt x="120216" y="298537"/>
                    <a:pt x="123889" y="323359"/>
                  </a:cubicBezTo>
                  <a:lnTo>
                    <a:pt x="125537" y="3301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" name="Forme libre : forme 97">
              <a:extLst>
                <a:ext uri="{FF2B5EF4-FFF2-40B4-BE49-F238E27FC236}">
                  <a16:creationId xmlns:a16="http://schemas.microsoft.com/office/drawing/2014/main" id="{B6F2924E-906C-4ED1-BF2D-C834372E14EF}"/>
                </a:ext>
              </a:extLst>
            </p:cNvPr>
            <p:cNvSpPr/>
            <p:nvPr/>
          </p:nvSpPr>
          <p:spPr>
            <a:xfrm rot="8716295">
              <a:off x="87905" y="4337347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" name="Forme libre : forme 98">
              <a:extLst>
                <a:ext uri="{FF2B5EF4-FFF2-40B4-BE49-F238E27FC236}">
                  <a16:creationId xmlns:a16="http://schemas.microsoft.com/office/drawing/2014/main" id="{0D75C9D9-5C3D-47E0-90AD-938F1B8E2F44}"/>
                </a:ext>
              </a:extLst>
            </p:cNvPr>
            <p:cNvSpPr/>
            <p:nvPr/>
          </p:nvSpPr>
          <p:spPr>
            <a:xfrm rot="8716295">
              <a:off x="558851" y="376273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orme libre : forme 99">
              <a:extLst>
                <a:ext uri="{FF2B5EF4-FFF2-40B4-BE49-F238E27FC236}">
                  <a16:creationId xmlns:a16="http://schemas.microsoft.com/office/drawing/2014/main" id="{FB753F16-18A9-4EF7-8A5C-AFE5FF2AAE20}"/>
                </a:ext>
              </a:extLst>
            </p:cNvPr>
            <p:cNvSpPr/>
            <p:nvPr/>
          </p:nvSpPr>
          <p:spPr>
            <a:xfrm rot="8716295">
              <a:off x="694150" y="380699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Forme libre : forme 100">
              <a:extLst>
                <a:ext uri="{FF2B5EF4-FFF2-40B4-BE49-F238E27FC236}">
                  <a16:creationId xmlns:a16="http://schemas.microsoft.com/office/drawing/2014/main" id="{3BF96335-BBEB-4DB5-9C46-1C3097EF0D59}"/>
                </a:ext>
              </a:extLst>
            </p:cNvPr>
            <p:cNvSpPr/>
            <p:nvPr/>
          </p:nvSpPr>
          <p:spPr>
            <a:xfrm rot="8716295">
              <a:off x="388980" y="389674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" name="Forme libre : forme 101">
              <a:extLst>
                <a:ext uri="{FF2B5EF4-FFF2-40B4-BE49-F238E27FC236}">
                  <a16:creationId xmlns:a16="http://schemas.microsoft.com/office/drawing/2014/main" id="{5E31C792-E11F-4ADA-B2CB-57C48077CBA4}"/>
                </a:ext>
              </a:extLst>
            </p:cNvPr>
            <p:cNvSpPr/>
            <p:nvPr/>
          </p:nvSpPr>
          <p:spPr>
            <a:xfrm rot="8716295">
              <a:off x="199936" y="358091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" name="Forme libre : forme 102">
              <a:extLst>
                <a:ext uri="{FF2B5EF4-FFF2-40B4-BE49-F238E27FC236}">
                  <a16:creationId xmlns:a16="http://schemas.microsoft.com/office/drawing/2014/main" id="{94FED6A4-8569-4EA9-A306-CB876E36FB03}"/>
                </a:ext>
              </a:extLst>
            </p:cNvPr>
            <p:cNvSpPr/>
            <p:nvPr/>
          </p:nvSpPr>
          <p:spPr>
            <a:xfrm rot="8716295">
              <a:off x="525469" y="3958731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" name="Forme libre : forme 103">
              <a:extLst>
                <a:ext uri="{FF2B5EF4-FFF2-40B4-BE49-F238E27FC236}">
                  <a16:creationId xmlns:a16="http://schemas.microsoft.com/office/drawing/2014/main" id="{980A1AA3-B52B-4C80-9AC4-D47CC78A5A3B}"/>
                </a:ext>
              </a:extLst>
            </p:cNvPr>
            <p:cNvSpPr/>
            <p:nvPr/>
          </p:nvSpPr>
          <p:spPr>
            <a:xfrm rot="8716295">
              <a:off x="160022" y="3732305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" name="Forme libre : forme 104">
              <a:extLst>
                <a:ext uri="{FF2B5EF4-FFF2-40B4-BE49-F238E27FC236}">
                  <a16:creationId xmlns:a16="http://schemas.microsoft.com/office/drawing/2014/main" id="{C66003E5-2553-46E6-8D65-9CD33FAF8398}"/>
                </a:ext>
              </a:extLst>
            </p:cNvPr>
            <p:cNvSpPr/>
            <p:nvPr/>
          </p:nvSpPr>
          <p:spPr>
            <a:xfrm rot="7484129">
              <a:off x="684286" y="424834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" name="Forme libre : forme 105">
              <a:extLst>
                <a:ext uri="{FF2B5EF4-FFF2-40B4-BE49-F238E27FC236}">
                  <a16:creationId xmlns:a16="http://schemas.microsoft.com/office/drawing/2014/main" id="{A5156F8D-1CAA-4650-BC6D-5AD5CAA0A30F}"/>
                </a:ext>
              </a:extLst>
            </p:cNvPr>
            <p:cNvSpPr/>
            <p:nvPr/>
          </p:nvSpPr>
          <p:spPr>
            <a:xfrm rot="13089394">
              <a:off x="842936" y="4197697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" name="Forme libre : forme 106">
              <a:extLst>
                <a:ext uri="{FF2B5EF4-FFF2-40B4-BE49-F238E27FC236}">
                  <a16:creationId xmlns:a16="http://schemas.microsoft.com/office/drawing/2014/main" id="{7A0FA012-A668-45E7-9A04-80DC4066A5EA}"/>
                </a:ext>
              </a:extLst>
            </p:cNvPr>
            <p:cNvSpPr/>
            <p:nvPr/>
          </p:nvSpPr>
          <p:spPr>
            <a:xfrm rot="8716295">
              <a:off x="1123827" y="390757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" name="Forme libre : forme 107">
              <a:extLst>
                <a:ext uri="{FF2B5EF4-FFF2-40B4-BE49-F238E27FC236}">
                  <a16:creationId xmlns:a16="http://schemas.microsoft.com/office/drawing/2014/main" id="{DE4CA035-6173-48AD-BD1D-D7ED5F77A322}"/>
                </a:ext>
              </a:extLst>
            </p:cNvPr>
            <p:cNvSpPr/>
            <p:nvPr/>
          </p:nvSpPr>
          <p:spPr>
            <a:xfrm rot="8716295">
              <a:off x="1045418" y="375078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" name="Forme libre : forme 108">
              <a:extLst>
                <a:ext uri="{FF2B5EF4-FFF2-40B4-BE49-F238E27FC236}">
                  <a16:creationId xmlns:a16="http://schemas.microsoft.com/office/drawing/2014/main" id="{40E22C8F-9A2F-4D96-8E60-B4FAE9625F7E}"/>
                </a:ext>
              </a:extLst>
            </p:cNvPr>
            <p:cNvSpPr/>
            <p:nvPr/>
          </p:nvSpPr>
          <p:spPr>
            <a:xfrm rot="8716295">
              <a:off x="677254" y="379652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" name="Forme libre : forme 109">
              <a:extLst>
                <a:ext uri="{FF2B5EF4-FFF2-40B4-BE49-F238E27FC236}">
                  <a16:creationId xmlns:a16="http://schemas.microsoft.com/office/drawing/2014/main" id="{0FB9706E-9855-492B-8609-A2F256591A28}"/>
                </a:ext>
              </a:extLst>
            </p:cNvPr>
            <p:cNvSpPr/>
            <p:nvPr/>
          </p:nvSpPr>
          <p:spPr>
            <a:xfrm rot="8716295">
              <a:off x="945836" y="355550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" name="Forme libre : forme 110">
              <a:extLst>
                <a:ext uri="{FF2B5EF4-FFF2-40B4-BE49-F238E27FC236}">
                  <a16:creationId xmlns:a16="http://schemas.microsoft.com/office/drawing/2014/main" id="{ADF55B74-AC60-4155-92FA-4565710C9BFA}"/>
                </a:ext>
              </a:extLst>
            </p:cNvPr>
            <p:cNvSpPr/>
            <p:nvPr/>
          </p:nvSpPr>
          <p:spPr>
            <a:xfrm rot="8716295">
              <a:off x="601570" y="5027951"/>
              <a:ext cx="169680" cy="113030"/>
            </a:xfrm>
            <a:custGeom>
              <a:avLst/>
              <a:gdLst>
                <a:gd name="connsiteX0" fmla="*/ 8965 w 169680"/>
                <a:gd name="connsiteY0" fmla="*/ 113030 h 113030"/>
                <a:gd name="connsiteX1" fmla="*/ 0 w 169680"/>
                <a:gd name="connsiteY1" fmla="*/ 100616 h 113030"/>
                <a:gd name="connsiteX2" fmla="*/ 106933 w 169680"/>
                <a:gd name="connsiteY2" fmla="*/ 0 h 113030"/>
                <a:gd name="connsiteX3" fmla="*/ 169680 w 169680"/>
                <a:gd name="connsiteY3" fmla="*/ 43494 h 113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680" h="113030">
                  <a:moveTo>
                    <a:pt x="8965" y="113030"/>
                  </a:moveTo>
                  <a:lnTo>
                    <a:pt x="0" y="100616"/>
                  </a:lnTo>
                  <a:lnTo>
                    <a:pt x="106933" y="0"/>
                  </a:lnTo>
                  <a:lnTo>
                    <a:pt x="169680" y="434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" name="Forme libre : forme 111">
              <a:extLst>
                <a:ext uri="{FF2B5EF4-FFF2-40B4-BE49-F238E27FC236}">
                  <a16:creationId xmlns:a16="http://schemas.microsoft.com/office/drawing/2014/main" id="{DDFE2301-223D-4F62-87C3-BBD61CFA4AE0}"/>
                </a:ext>
              </a:extLst>
            </p:cNvPr>
            <p:cNvSpPr/>
            <p:nvPr/>
          </p:nvSpPr>
          <p:spPr>
            <a:xfrm rot="8716295">
              <a:off x="197311" y="4925365"/>
              <a:ext cx="194366" cy="296463"/>
            </a:xfrm>
            <a:custGeom>
              <a:avLst/>
              <a:gdLst>
                <a:gd name="connsiteX0" fmla="*/ 137293 w 194366"/>
                <a:gd name="connsiteY0" fmla="*/ 296463 h 296463"/>
                <a:gd name="connsiteX1" fmla="*/ 72418 w 194366"/>
                <a:gd name="connsiteY1" fmla="*/ 175766 h 296463"/>
                <a:gd name="connsiteX2" fmla="*/ 105610 w 194366"/>
                <a:gd name="connsiteY2" fmla="*/ 83734 h 296463"/>
                <a:gd name="connsiteX3" fmla="*/ 0 w 194366"/>
                <a:gd name="connsiteY3" fmla="*/ 83734 h 296463"/>
                <a:gd name="connsiteX4" fmla="*/ 0 w 194366"/>
                <a:gd name="connsiteY4" fmla="*/ 0 h 296463"/>
                <a:gd name="connsiteX5" fmla="*/ 6043 w 194366"/>
                <a:gd name="connsiteY5" fmla="*/ 0 h 296463"/>
                <a:gd name="connsiteX6" fmla="*/ 194366 w 194366"/>
                <a:gd name="connsiteY6" fmla="*/ 130539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4366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6043" y="0"/>
                  </a:lnTo>
                  <a:lnTo>
                    <a:pt x="194366" y="1305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" name="Forme libre : forme 112">
              <a:extLst>
                <a:ext uri="{FF2B5EF4-FFF2-40B4-BE49-F238E27FC236}">
                  <a16:creationId xmlns:a16="http://schemas.microsoft.com/office/drawing/2014/main" id="{3377FDF7-2BED-4403-9821-41A8059D732F}"/>
                </a:ext>
              </a:extLst>
            </p:cNvPr>
            <p:cNvSpPr/>
            <p:nvPr/>
          </p:nvSpPr>
          <p:spPr>
            <a:xfrm rot="8716295">
              <a:off x="73168" y="4745087"/>
              <a:ext cx="439901" cy="517329"/>
            </a:xfrm>
            <a:custGeom>
              <a:avLst/>
              <a:gdLst>
                <a:gd name="connsiteX0" fmla="*/ 38290 w 439901"/>
                <a:gd name="connsiteY0" fmla="*/ 472541 h 517329"/>
                <a:gd name="connsiteX1" fmla="*/ 0 w 439901"/>
                <a:gd name="connsiteY1" fmla="*/ 319377 h 517329"/>
                <a:gd name="connsiteX2" fmla="*/ 0 w 439901"/>
                <a:gd name="connsiteY2" fmla="*/ 47778 h 517329"/>
                <a:gd name="connsiteX3" fmla="*/ 92094 w 439901"/>
                <a:gd name="connsiteY3" fmla="*/ 0 h 517329"/>
                <a:gd name="connsiteX4" fmla="*/ 118664 w 439901"/>
                <a:gd name="connsiteY4" fmla="*/ 18418 h 517329"/>
                <a:gd name="connsiteX5" fmla="*/ 120216 w 439901"/>
                <a:gd name="connsiteY5" fmla="*/ 234781 h 517329"/>
                <a:gd name="connsiteX6" fmla="*/ 141587 w 439901"/>
                <a:gd name="connsiteY6" fmla="*/ 382603 h 517329"/>
                <a:gd name="connsiteX7" fmla="*/ 248446 w 439901"/>
                <a:gd name="connsiteY7" fmla="*/ 441375 h 517329"/>
                <a:gd name="connsiteX8" fmla="*/ 328589 w 439901"/>
                <a:gd name="connsiteY8" fmla="*/ 427127 h 517329"/>
                <a:gd name="connsiteX9" fmla="*/ 438120 w 439901"/>
                <a:gd name="connsiteY9" fmla="*/ 382603 h 517329"/>
                <a:gd name="connsiteX10" fmla="*/ 439901 w 439901"/>
                <a:gd name="connsiteY10" fmla="*/ 394178 h 517329"/>
                <a:gd name="connsiteX11" fmla="*/ 439901 w 439901"/>
                <a:gd name="connsiteY11" fmla="*/ 403083 h 517329"/>
                <a:gd name="connsiteX12" fmla="*/ 147821 w 439901"/>
                <a:gd name="connsiteY12" fmla="*/ 517066 h 517329"/>
                <a:gd name="connsiteX13" fmla="*/ 38290 w 439901"/>
                <a:gd name="connsiteY13" fmla="*/ 472541 h 517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9901" h="517329">
                  <a:moveTo>
                    <a:pt x="38290" y="472541"/>
                  </a:moveTo>
                  <a:cubicBezTo>
                    <a:pt x="8014" y="443156"/>
                    <a:pt x="0" y="392397"/>
                    <a:pt x="0" y="319377"/>
                  </a:cubicBezTo>
                  <a:lnTo>
                    <a:pt x="0" y="47778"/>
                  </a:lnTo>
                  <a:lnTo>
                    <a:pt x="92094" y="0"/>
                  </a:lnTo>
                  <a:lnTo>
                    <a:pt x="118664" y="18418"/>
                  </a:lnTo>
                  <a:lnTo>
                    <a:pt x="120216" y="234781"/>
                  </a:lnTo>
                  <a:cubicBezTo>
                    <a:pt x="117544" y="284648"/>
                    <a:pt x="125558" y="335406"/>
                    <a:pt x="141587" y="382603"/>
                  </a:cubicBezTo>
                  <a:cubicBezTo>
                    <a:pt x="155836" y="421784"/>
                    <a:pt x="192345" y="441375"/>
                    <a:pt x="248446" y="441375"/>
                  </a:cubicBezTo>
                  <a:cubicBezTo>
                    <a:pt x="276051" y="440484"/>
                    <a:pt x="302766" y="435141"/>
                    <a:pt x="328589" y="427127"/>
                  </a:cubicBezTo>
                  <a:cubicBezTo>
                    <a:pt x="365990" y="415550"/>
                    <a:pt x="402500" y="400412"/>
                    <a:pt x="438120" y="382603"/>
                  </a:cubicBezTo>
                  <a:cubicBezTo>
                    <a:pt x="439010" y="386164"/>
                    <a:pt x="439901" y="390616"/>
                    <a:pt x="439901" y="394178"/>
                  </a:cubicBezTo>
                  <a:lnTo>
                    <a:pt x="439901" y="403083"/>
                  </a:lnTo>
                  <a:cubicBezTo>
                    <a:pt x="345509" y="484118"/>
                    <a:pt x="221731" y="512614"/>
                    <a:pt x="147821" y="517066"/>
                  </a:cubicBezTo>
                  <a:cubicBezTo>
                    <a:pt x="106859" y="519738"/>
                    <a:pt x="66787" y="501928"/>
                    <a:pt x="38290" y="47254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" name="Forme libre : forme 113">
              <a:extLst>
                <a:ext uri="{FF2B5EF4-FFF2-40B4-BE49-F238E27FC236}">
                  <a16:creationId xmlns:a16="http://schemas.microsoft.com/office/drawing/2014/main" id="{B93DC94C-820F-4572-BF0C-6383E8E9C877}"/>
                </a:ext>
              </a:extLst>
            </p:cNvPr>
            <p:cNvSpPr/>
            <p:nvPr/>
          </p:nvSpPr>
          <p:spPr>
            <a:xfrm rot="8716295">
              <a:off x="896624" y="4761216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" name="Forme libre : forme 114">
              <a:extLst>
                <a:ext uri="{FF2B5EF4-FFF2-40B4-BE49-F238E27FC236}">
                  <a16:creationId xmlns:a16="http://schemas.microsoft.com/office/drawing/2014/main" id="{46905971-2CA6-4786-88F6-6625CD1AC045}"/>
                </a:ext>
              </a:extLst>
            </p:cNvPr>
            <p:cNvSpPr/>
            <p:nvPr/>
          </p:nvSpPr>
          <p:spPr>
            <a:xfrm rot="8716295">
              <a:off x="1032483" y="4799006"/>
              <a:ext cx="389853" cy="383455"/>
            </a:xfrm>
            <a:custGeom>
              <a:avLst/>
              <a:gdLst>
                <a:gd name="connsiteX0" fmla="*/ 77932 w 389853"/>
                <a:gd name="connsiteY0" fmla="*/ 383455 h 383455"/>
                <a:gd name="connsiteX1" fmla="*/ 77932 w 389853"/>
                <a:gd name="connsiteY1" fmla="*/ 66898 h 383455"/>
                <a:gd name="connsiteX2" fmla="*/ 0 w 389853"/>
                <a:gd name="connsiteY2" fmla="*/ 66898 h 383455"/>
                <a:gd name="connsiteX3" fmla="*/ 0 w 389853"/>
                <a:gd name="connsiteY3" fmla="*/ 0 h 383455"/>
                <a:gd name="connsiteX4" fmla="*/ 158623 w 389853"/>
                <a:gd name="connsiteY4" fmla="*/ 0 h 383455"/>
                <a:gd name="connsiteX5" fmla="*/ 158623 w 389853"/>
                <a:gd name="connsiteY5" fmla="*/ 111726 h 383455"/>
                <a:gd name="connsiteX6" fmla="*/ 160692 w 389853"/>
                <a:gd name="connsiteY6" fmla="*/ 111726 h 383455"/>
                <a:gd name="connsiteX7" fmla="*/ 192762 w 389853"/>
                <a:gd name="connsiteY7" fmla="*/ 39914 h 383455"/>
                <a:gd name="connsiteX8" fmla="*/ 216292 w 389853"/>
                <a:gd name="connsiteY8" fmla="*/ 20658 h 383455"/>
                <a:gd name="connsiteX9" fmla="*/ 389853 w 389853"/>
                <a:gd name="connsiteY9" fmla="*/ 140965 h 383455"/>
                <a:gd name="connsiteX10" fmla="*/ 300695 w 389853"/>
                <a:gd name="connsiteY10" fmla="*/ 146210 h 383455"/>
                <a:gd name="connsiteX11" fmla="*/ 300694 w 389853"/>
                <a:gd name="connsiteY11" fmla="*/ 121382 h 383455"/>
                <a:gd name="connsiteX12" fmla="*/ 249659 w 389853"/>
                <a:gd name="connsiteY12" fmla="*/ 58622 h 383455"/>
                <a:gd name="connsiteX13" fmla="*/ 168969 w 389853"/>
                <a:gd name="connsiteY13" fmla="*/ 191038 h 383455"/>
                <a:gd name="connsiteX14" fmla="*/ 168969 w 389853"/>
                <a:gd name="connsiteY14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9853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71727" y="78967"/>
                    <a:pt x="181555" y="56208"/>
                    <a:pt x="192762" y="39914"/>
                  </a:cubicBezTo>
                  <a:lnTo>
                    <a:pt x="216292" y="20658"/>
                  </a:lnTo>
                  <a:lnTo>
                    <a:pt x="389853" y="140965"/>
                  </a:lnTo>
                  <a:lnTo>
                    <a:pt x="300695" y="146210"/>
                  </a:lnTo>
                  <a:lnTo>
                    <a:pt x="300694" y="121382"/>
                  </a:lnTo>
                  <a:cubicBezTo>
                    <a:pt x="300695" y="84140"/>
                    <a:pt x="279315" y="58621"/>
                    <a:pt x="249659" y="58622"/>
                  </a:cubicBezTo>
                  <a:cubicBezTo>
                    <a:pt x="205521" y="58621"/>
                    <a:pt x="168969" y="117244"/>
                    <a:pt x="168969" y="191038"/>
                  </a:cubicBez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" name="Forme libre : forme 115">
              <a:extLst>
                <a:ext uri="{FF2B5EF4-FFF2-40B4-BE49-F238E27FC236}">
                  <a16:creationId xmlns:a16="http://schemas.microsoft.com/office/drawing/2014/main" id="{8E2B23B6-FA24-4ECF-865C-D4B85991FB2B}"/>
                </a:ext>
              </a:extLst>
            </p:cNvPr>
            <p:cNvSpPr/>
            <p:nvPr/>
          </p:nvSpPr>
          <p:spPr>
            <a:xfrm rot="8716295">
              <a:off x="726753" y="489523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" name="Forme libre : forme 116">
              <a:extLst>
                <a:ext uri="{FF2B5EF4-FFF2-40B4-BE49-F238E27FC236}">
                  <a16:creationId xmlns:a16="http://schemas.microsoft.com/office/drawing/2014/main" id="{068C5BF4-ACAC-42CE-AE54-FD21152507C1}"/>
                </a:ext>
              </a:extLst>
            </p:cNvPr>
            <p:cNvSpPr/>
            <p:nvPr/>
          </p:nvSpPr>
          <p:spPr>
            <a:xfrm rot="8716295">
              <a:off x="537709" y="457939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" name="Forme libre : forme 117">
              <a:extLst>
                <a:ext uri="{FF2B5EF4-FFF2-40B4-BE49-F238E27FC236}">
                  <a16:creationId xmlns:a16="http://schemas.microsoft.com/office/drawing/2014/main" id="{0ACBCA4F-4DCF-49D0-8A3E-C12DE7B45BF0}"/>
                </a:ext>
              </a:extLst>
            </p:cNvPr>
            <p:cNvSpPr/>
            <p:nvPr/>
          </p:nvSpPr>
          <p:spPr>
            <a:xfrm rot="8716295">
              <a:off x="826576" y="4988476"/>
              <a:ext cx="91035" cy="198648"/>
            </a:xfrm>
            <a:custGeom>
              <a:avLst/>
              <a:gdLst>
                <a:gd name="connsiteX0" fmla="*/ 91035 w 91035"/>
                <a:gd name="connsiteY0" fmla="*/ 198648 h 198648"/>
                <a:gd name="connsiteX1" fmla="*/ 0 w 91035"/>
                <a:gd name="connsiteY1" fmla="*/ 111060 h 198648"/>
                <a:gd name="connsiteX2" fmla="*/ 0 w 91035"/>
                <a:gd name="connsiteY2" fmla="*/ 0 h 198648"/>
                <a:gd name="connsiteX3" fmla="*/ 91035 w 91035"/>
                <a:gd name="connsiteY3" fmla="*/ 63103 h 198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198648">
                  <a:moveTo>
                    <a:pt x="91035" y="198648"/>
                  </a:moveTo>
                  <a:lnTo>
                    <a:pt x="0" y="111060"/>
                  </a:lnTo>
                  <a:lnTo>
                    <a:pt x="0" y="0"/>
                  </a:lnTo>
                  <a:lnTo>
                    <a:pt x="91035" y="631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" name="Forme libre : forme 118">
              <a:extLst>
                <a:ext uri="{FF2B5EF4-FFF2-40B4-BE49-F238E27FC236}">
                  <a16:creationId xmlns:a16="http://schemas.microsoft.com/office/drawing/2014/main" id="{CF5DC784-7D69-46EA-A75B-D2ED877AA625}"/>
                </a:ext>
              </a:extLst>
            </p:cNvPr>
            <p:cNvSpPr/>
            <p:nvPr/>
          </p:nvSpPr>
          <p:spPr>
            <a:xfrm rot="8716295">
              <a:off x="497795" y="4730788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" name="Forme libre : forme 119">
              <a:extLst>
                <a:ext uri="{FF2B5EF4-FFF2-40B4-BE49-F238E27FC236}">
                  <a16:creationId xmlns:a16="http://schemas.microsoft.com/office/drawing/2014/main" id="{283C5FE9-EF8F-4940-9D13-7BC399536967}"/>
                </a:ext>
              </a:extLst>
            </p:cNvPr>
            <p:cNvSpPr/>
            <p:nvPr/>
          </p:nvSpPr>
          <p:spPr>
            <a:xfrm rot="8716295">
              <a:off x="1459248" y="4904357"/>
              <a:ext cx="328004" cy="223069"/>
            </a:xfrm>
            <a:custGeom>
              <a:avLst/>
              <a:gdLst>
                <a:gd name="connsiteX0" fmla="*/ 10574 w 328004"/>
                <a:gd name="connsiteY0" fmla="*/ 223069 h 223069"/>
                <a:gd name="connsiteX1" fmla="*/ 0 w 328004"/>
                <a:gd name="connsiteY1" fmla="*/ 208428 h 223069"/>
                <a:gd name="connsiteX2" fmla="*/ 192781 w 328004"/>
                <a:gd name="connsiteY2" fmla="*/ 27035 h 223069"/>
                <a:gd name="connsiteX3" fmla="*/ 227094 w 328004"/>
                <a:gd name="connsiteY3" fmla="*/ 0 h 223069"/>
                <a:gd name="connsiteX4" fmla="*/ 328004 w 328004"/>
                <a:gd name="connsiteY4" fmla="*/ 69948 h 223069"/>
                <a:gd name="connsiteX5" fmla="*/ 326080 w 328004"/>
                <a:gd name="connsiteY5" fmla="*/ 74925 h 223069"/>
                <a:gd name="connsiteX6" fmla="*/ 293645 w 328004"/>
                <a:gd name="connsiteY6" fmla="*/ 100243 h 223069"/>
                <a:gd name="connsiteX7" fmla="*/ 294458 w 328004"/>
                <a:gd name="connsiteY7" fmla="*/ 100243 h 223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8004" h="223069">
                  <a:moveTo>
                    <a:pt x="10574" y="223069"/>
                  </a:moveTo>
                  <a:lnTo>
                    <a:pt x="0" y="208428"/>
                  </a:lnTo>
                  <a:lnTo>
                    <a:pt x="192781" y="27035"/>
                  </a:lnTo>
                  <a:lnTo>
                    <a:pt x="227094" y="0"/>
                  </a:lnTo>
                  <a:lnTo>
                    <a:pt x="328004" y="69948"/>
                  </a:lnTo>
                  <a:lnTo>
                    <a:pt x="326080" y="74925"/>
                  </a:lnTo>
                  <a:cubicBezTo>
                    <a:pt x="317843" y="85805"/>
                    <a:pt x="306659" y="94549"/>
                    <a:pt x="293645" y="100243"/>
                  </a:cubicBezTo>
                  <a:lnTo>
                    <a:pt x="294458" y="10024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" name="Forme libre : forme 120">
              <a:extLst>
                <a:ext uri="{FF2B5EF4-FFF2-40B4-BE49-F238E27FC236}">
                  <a16:creationId xmlns:a16="http://schemas.microsoft.com/office/drawing/2014/main" id="{0B28DAC7-E1B5-4397-8312-3939C6181805}"/>
                </a:ext>
              </a:extLst>
            </p:cNvPr>
            <p:cNvSpPr/>
            <p:nvPr/>
          </p:nvSpPr>
          <p:spPr>
            <a:xfrm rot="8716295">
              <a:off x="1383191" y="474927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" name="Forme libre : forme 121">
              <a:extLst>
                <a:ext uri="{FF2B5EF4-FFF2-40B4-BE49-F238E27FC236}">
                  <a16:creationId xmlns:a16="http://schemas.microsoft.com/office/drawing/2014/main" id="{9B5900D5-EF58-45B1-849A-84D4EFAA76C9}"/>
                </a:ext>
              </a:extLst>
            </p:cNvPr>
            <p:cNvSpPr/>
            <p:nvPr/>
          </p:nvSpPr>
          <p:spPr>
            <a:xfrm rot="8716295">
              <a:off x="1015027" y="479501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" name="Forme libre : forme 122">
              <a:extLst>
                <a:ext uri="{FF2B5EF4-FFF2-40B4-BE49-F238E27FC236}">
                  <a16:creationId xmlns:a16="http://schemas.microsoft.com/office/drawing/2014/main" id="{31771F28-8680-4E6C-A8C1-BC66F7BF0BA9}"/>
                </a:ext>
              </a:extLst>
            </p:cNvPr>
            <p:cNvSpPr/>
            <p:nvPr/>
          </p:nvSpPr>
          <p:spPr>
            <a:xfrm rot="8716295">
              <a:off x="1283609" y="455399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" name="Forme libre : forme 123">
              <a:extLst>
                <a:ext uri="{FF2B5EF4-FFF2-40B4-BE49-F238E27FC236}">
                  <a16:creationId xmlns:a16="http://schemas.microsoft.com/office/drawing/2014/main" id="{AC2CE701-4BE3-4F79-917E-19B3C750B982}"/>
                </a:ext>
              </a:extLst>
            </p:cNvPr>
            <p:cNvSpPr/>
            <p:nvPr/>
          </p:nvSpPr>
          <p:spPr>
            <a:xfrm rot="8716295">
              <a:off x="-30381" y="3359388"/>
              <a:ext cx="98497" cy="75863"/>
            </a:xfrm>
            <a:custGeom>
              <a:avLst/>
              <a:gdLst>
                <a:gd name="connsiteX0" fmla="*/ 0 w 98497"/>
                <a:gd name="connsiteY0" fmla="*/ 75863 h 75863"/>
                <a:gd name="connsiteX1" fmla="*/ 0 w 98497"/>
                <a:gd name="connsiteY1" fmla="*/ 0 h 75863"/>
                <a:gd name="connsiteX2" fmla="*/ 98497 w 98497"/>
                <a:gd name="connsiteY2" fmla="*/ 0 h 75863"/>
                <a:gd name="connsiteX3" fmla="*/ 45911 w 98497"/>
                <a:gd name="connsiteY3" fmla="*/ 75863 h 75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497" h="75863">
                  <a:moveTo>
                    <a:pt x="0" y="75863"/>
                  </a:moveTo>
                  <a:lnTo>
                    <a:pt x="0" y="0"/>
                  </a:lnTo>
                  <a:lnTo>
                    <a:pt x="98497" y="0"/>
                  </a:lnTo>
                  <a:lnTo>
                    <a:pt x="45911" y="758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" name="Forme libre : forme 124">
              <a:extLst>
                <a:ext uri="{FF2B5EF4-FFF2-40B4-BE49-F238E27FC236}">
                  <a16:creationId xmlns:a16="http://schemas.microsoft.com/office/drawing/2014/main" id="{F4F0C1BC-FBE5-45A4-A80E-BAB3E52DE367}"/>
                </a:ext>
              </a:extLst>
            </p:cNvPr>
            <p:cNvSpPr/>
            <p:nvPr/>
          </p:nvSpPr>
          <p:spPr>
            <a:xfrm rot="8716295">
              <a:off x="-77334" y="3178477"/>
              <a:ext cx="389652" cy="385611"/>
            </a:xfrm>
            <a:custGeom>
              <a:avLst/>
              <a:gdLst>
                <a:gd name="connsiteX0" fmla="*/ 77932 w 389652"/>
                <a:gd name="connsiteY0" fmla="*/ 385611 h 385611"/>
                <a:gd name="connsiteX1" fmla="*/ 77932 w 389652"/>
                <a:gd name="connsiteY1" fmla="*/ 69054 h 385611"/>
                <a:gd name="connsiteX2" fmla="*/ 0 w 389652"/>
                <a:gd name="connsiteY2" fmla="*/ 69054 h 385611"/>
                <a:gd name="connsiteX3" fmla="*/ 0 w 389652"/>
                <a:gd name="connsiteY3" fmla="*/ 2156 h 385611"/>
                <a:gd name="connsiteX4" fmla="*/ 158623 w 389652"/>
                <a:gd name="connsiteY4" fmla="*/ 2156 h 385611"/>
                <a:gd name="connsiteX5" fmla="*/ 158623 w 389652"/>
                <a:gd name="connsiteY5" fmla="*/ 113882 h 385611"/>
                <a:gd name="connsiteX6" fmla="*/ 160692 w 389652"/>
                <a:gd name="connsiteY6" fmla="*/ 113882 h 385611"/>
                <a:gd name="connsiteX7" fmla="*/ 233107 w 389652"/>
                <a:gd name="connsiteY7" fmla="*/ 9053 h 385611"/>
                <a:gd name="connsiteX8" fmla="*/ 280694 w 389652"/>
                <a:gd name="connsiteY8" fmla="*/ 87 h 385611"/>
                <a:gd name="connsiteX9" fmla="*/ 364230 w 389652"/>
                <a:gd name="connsiteY9" fmla="*/ 34398 h 385611"/>
                <a:gd name="connsiteX10" fmla="*/ 389652 w 389652"/>
                <a:gd name="connsiteY10" fmla="*/ 117977 h 385611"/>
                <a:gd name="connsiteX11" fmla="*/ 371473 w 389652"/>
                <a:gd name="connsiteY11" fmla="*/ 144202 h 385611"/>
                <a:gd name="connsiteX12" fmla="*/ 300695 w 389652"/>
                <a:gd name="connsiteY12" fmla="*/ 148366 h 385611"/>
                <a:gd name="connsiteX13" fmla="*/ 300695 w 389652"/>
                <a:gd name="connsiteY13" fmla="*/ 123538 h 385611"/>
                <a:gd name="connsiteX14" fmla="*/ 249659 w 389652"/>
                <a:gd name="connsiteY14" fmla="*/ 60778 h 385611"/>
                <a:gd name="connsiteX15" fmla="*/ 168969 w 389652"/>
                <a:gd name="connsiteY15" fmla="*/ 193194 h 385611"/>
                <a:gd name="connsiteX16" fmla="*/ 168969 w 389652"/>
                <a:gd name="connsiteY16" fmla="*/ 323541 h 385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89652" h="385611">
                  <a:moveTo>
                    <a:pt x="77932" y="385611"/>
                  </a:moveTo>
                  <a:lnTo>
                    <a:pt x="77932" y="69054"/>
                  </a:lnTo>
                  <a:lnTo>
                    <a:pt x="0" y="69054"/>
                  </a:lnTo>
                  <a:lnTo>
                    <a:pt x="0" y="2156"/>
                  </a:lnTo>
                  <a:lnTo>
                    <a:pt x="158623" y="2156"/>
                  </a:lnTo>
                  <a:lnTo>
                    <a:pt x="158623" y="113882"/>
                  </a:lnTo>
                  <a:lnTo>
                    <a:pt x="160692" y="113882"/>
                  </a:lnTo>
                  <a:cubicBezTo>
                    <a:pt x="182762" y="48364"/>
                    <a:pt x="200003" y="22846"/>
                    <a:pt x="233107" y="9053"/>
                  </a:cubicBezTo>
                  <a:cubicBezTo>
                    <a:pt x="248280" y="2846"/>
                    <a:pt x="264142" y="-602"/>
                    <a:pt x="280694" y="87"/>
                  </a:cubicBezTo>
                  <a:cubicBezTo>
                    <a:pt x="316212" y="-603"/>
                    <a:pt x="344661" y="11466"/>
                    <a:pt x="364230" y="34398"/>
                  </a:cubicBezTo>
                  <a:lnTo>
                    <a:pt x="389652" y="117977"/>
                  </a:lnTo>
                  <a:lnTo>
                    <a:pt x="371473" y="144202"/>
                  </a:lnTo>
                  <a:lnTo>
                    <a:pt x="300695" y="148366"/>
                  </a:lnTo>
                  <a:lnTo>
                    <a:pt x="300695" y="123538"/>
                  </a:lnTo>
                  <a:cubicBezTo>
                    <a:pt x="300695" y="86296"/>
                    <a:pt x="279315" y="60778"/>
                    <a:pt x="249659" y="60778"/>
                  </a:cubicBezTo>
                  <a:cubicBezTo>
                    <a:pt x="205521" y="60778"/>
                    <a:pt x="168969" y="119400"/>
                    <a:pt x="168969" y="193194"/>
                  </a:cubicBezTo>
                  <a:lnTo>
                    <a:pt x="168969" y="3235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" name="Forme libre : forme 125">
              <a:extLst>
                <a:ext uri="{FF2B5EF4-FFF2-40B4-BE49-F238E27FC236}">
                  <a16:creationId xmlns:a16="http://schemas.microsoft.com/office/drawing/2014/main" id="{DD7E27D6-EDC4-4410-A8FD-B0AB28C9E1C2}"/>
                </a:ext>
              </a:extLst>
            </p:cNvPr>
            <p:cNvSpPr/>
            <p:nvPr/>
          </p:nvSpPr>
          <p:spPr>
            <a:xfrm rot="8716295">
              <a:off x="-71352" y="3029015"/>
              <a:ext cx="193594" cy="189959"/>
            </a:xfrm>
            <a:custGeom>
              <a:avLst/>
              <a:gdLst>
                <a:gd name="connsiteX0" fmla="*/ 8965 w 193594"/>
                <a:gd name="connsiteY0" fmla="*/ 189959 h 189959"/>
                <a:gd name="connsiteX1" fmla="*/ 0 w 193594"/>
                <a:gd name="connsiteY1" fmla="*/ 177545 h 189959"/>
                <a:gd name="connsiteX2" fmla="*/ 163451 w 193594"/>
                <a:gd name="connsiteY2" fmla="*/ 23749 h 189959"/>
                <a:gd name="connsiteX3" fmla="*/ 193594 w 193594"/>
                <a:gd name="connsiteY3" fmla="*/ 0 h 189959"/>
                <a:gd name="connsiteX4" fmla="*/ 84606 w 193594"/>
                <a:gd name="connsiteY4" fmla="*/ 157232 h 189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594" h="189959">
                  <a:moveTo>
                    <a:pt x="8965" y="189959"/>
                  </a:moveTo>
                  <a:lnTo>
                    <a:pt x="0" y="177545"/>
                  </a:lnTo>
                  <a:lnTo>
                    <a:pt x="163451" y="23749"/>
                  </a:lnTo>
                  <a:lnTo>
                    <a:pt x="193594" y="0"/>
                  </a:lnTo>
                  <a:lnTo>
                    <a:pt x="84606" y="15723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" name="Forme libre : forme 126">
              <a:extLst>
                <a:ext uri="{FF2B5EF4-FFF2-40B4-BE49-F238E27FC236}">
                  <a16:creationId xmlns:a16="http://schemas.microsoft.com/office/drawing/2014/main" id="{9053D84D-7FDB-4998-A81C-E5ABAA6EDE5E}"/>
                </a:ext>
              </a:extLst>
            </p:cNvPr>
            <p:cNvSpPr/>
            <p:nvPr/>
          </p:nvSpPr>
          <p:spPr>
            <a:xfrm rot="8716295">
              <a:off x="223574" y="276232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" name="Forme libre : forme 127">
              <a:extLst>
                <a:ext uri="{FF2B5EF4-FFF2-40B4-BE49-F238E27FC236}">
                  <a16:creationId xmlns:a16="http://schemas.microsoft.com/office/drawing/2014/main" id="{87AB580E-8F4B-47CD-9028-D46526078CE4}"/>
                </a:ext>
              </a:extLst>
            </p:cNvPr>
            <p:cNvSpPr/>
            <p:nvPr/>
          </p:nvSpPr>
          <p:spPr>
            <a:xfrm rot="8716295">
              <a:off x="358873" y="2806579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" name="Forme libre : forme 128">
              <a:extLst>
                <a:ext uri="{FF2B5EF4-FFF2-40B4-BE49-F238E27FC236}">
                  <a16:creationId xmlns:a16="http://schemas.microsoft.com/office/drawing/2014/main" id="{E19792CF-DDD1-4F4B-9682-435BC6CB8DED}"/>
                </a:ext>
              </a:extLst>
            </p:cNvPr>
            <p:cNvSpPr/>
            <p:nvPr/>
          </p:nvSpPr>
          <p:spPr>
            <a:xfrm rot="8716295">
              <a:off x="53703" y="2896335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" name="Forme libre : forme 129">
              <a:extLst>
                <a:ext uri="{FF2B5EF4-FFF2-40B4-BE49-F238E27FC236}">
                  <a16:creationId xmlns:a16="http://schemas.microsoft.com/office/drawing/2014/main" id="{BD0B65CA-A3C5-4B2A-8016-3FA0B6B241F4}"/>
                </a:ext>
              </a:extLst>
            </p:cNvPr>
            <p:cNvSpPr/>
            <p:nvPr/>
          </p:nvSpPr>
          <p:spPr>
            <a:xfrm rot="8716295">
              <a:off x="-92201" y="2622488"/>
              <a:ext cx="271732" cy="238722"/>
            </a:xfrm>
            <a:custGeom>
              <a:avLst/>
              <a:gdLst>
                <a:gd name="connsiteX0" fmla="*/ 106257 w 271732"/>
                <a:gd name="connsiteY0" fmla="*/ 238722 h 238722"/>
                <a:gd name="connsiteX1" fmla="*/ 72418 w 271732"/>
                <a:gd name="connsiteY1" fmla="*/ 175766 h 238722"/>
                <a:gd name="connsiteX2" fmla="*/ 105610 w 271732"/>
                <a:gd name="connsiteY2" fmla="*/ 83734 h 238722"/>
                <a:gd name="connsiteX3" fmla="*/ 0 w 271732"/>
                <a:gd name="connsiteY3" fmla="*/ 83734 h 238722"/>
                <a:gd name="connsiteX4" fmla="*/ 0 w 271732"/>
                <a:gd name="connsiteY4" fmla="*/ 0 h 238722"/>
                <a:gd name="connsiteX5" fmla="*/ 271732 w 271732"/>
                <a:gd name="connsiteY5" fmla="*/ 0 h 238722"/>
                <a:gd name="connsiteX6" fmla="*/ 213690 w 271732"/>
                <a:gd name="connsiteY6" fmla="*/ 83734 h 238722"/>
                <a:gd name="connsiteX7" fmla="*/ 210465 w 271732"/>
                <a:gd name="connsiteY7" fmla="*/ 83734 h 238722"/>
                <a:gd name="connsiteX8" fmla="*/ 207289 w 271732"/>
                <a:gd name="connsiteY8" fmla="*/ 92969 h 238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1732" h="238722">
                  <a:moveTo>
                    <a:pt x="106257" y="238722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71732" y="0"/>
                  </a:lnTo>
                  <a:lnTo>
                    <a:pt x="213690" y="83734"/>
                  </a:lnTo>
                  <a:lnTo>
                    <a:pt x="210465" y="83734"/>
                  </a:lnTo>
                  <a:lnTo>
                    <a:pt x="207289" y="929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" name="Forme libre : forme 130">
              <a:extLst>
                <a:ext uri="{FF2B5EF4-FFF2-40B4-BE49-F238E27FC236}">
                  <a16:creationId xmlns:a16="http://schemas.microsoft.com/office/drawing/2014/main" id="{A401047D-B75D-4F40-878E-D1BF52EA2F0E}"/>
                </a:ext>
              </a:extLst>
            </p:cNvPr>
            <p:cNvSpPr/>
            <p:nvPr/>
          </p:nvSpPr>
          <p:spPr>
            <a:xfrm rot="8716295">
              <a:off x="190192" y="2958318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" name="Forme libre : forme 131">
              <a:extLst>
                <a:ext uri="{FF2B5EF4-FFF2-40B4-BE49-F238E27FC236}">
                  <a16:creationId xmlns:a16="http://schemas.microsoft.com/office/drawing/2014/main" id="{0A764231-DFA5-45AC-9649-96FE00947629}"/>
                </a:ext>
              </a:extLst>
            </p:cNvPr>
            <p:cNvSpPr/>
            <p:nvPr/>
          </p:nvSpPr>
          <p:spPr>
            <a:xfrm rot="7484129">
              <a:off x="349009" y="324793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" name="Forme libre : forme 132">
              <a:extLst>
                <a:ext uri="{FF2B5EF4-FFF2-40B4-BE49-F238E27FC236}">
                  <a16:creationId xmlns:a16="http://schemas.microsoft.com/office/drawing/2014/main" id="{08367284-C420-422D-A59E-EC2B0D5CAF81}"/>
                </a:ext>
              </a:extLst>
            </p:cNvPr>
            <p:cNvSpPr/>
            <p:nvPr/>
          </p:nvSpPr>
          <p:spPr>
            <a:xfrm rot="13089394">
              <a:off x="507659" y="3197284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" name="Forme libre : forme 133">
              <a:extLst>
                <a:ext uri="{FF2B5EF4-FFF2-40B4-BE49-F238E27FC236}">
                  <a16:creationId xmlns:a16="http://schemas.microsoft.com/office/drawing/2014/main" id="{6E0CAE80-C507-4A7F-B64E-2B2322B07A4F}"/>
                </a:ext>
              </a:extLst>
            </p:cNvPr>
            <p:cNvSpPr/>
            <p:nvPr/>
          </p:nvSpPr>
          <p:spPr>
            <a:xfrm rot="8716295">
              <a:off x="788550" y="2907166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" name="Forme libre : forme 134">
              <a:extLst>
                <a:ext uri="{FF2B5EF4-FFF2-40B4-BE49-F238E27FC236}">
                  <a16:creationId xmlns:a16="http://schemas.microsoft.com/office/drawing/2014/main" id="{4935918E-F29D-4E02-AE1D-44610A8EABE6}"/>
                </a:ext>
              </a:extLst>
            </p:cNvPr>
            <p:cNvSpPr/>
            <p:nvPr/>
          </p:nvSpPr>
          <p:spPr>
            <a:xfrm rot="8716295">
              <a:off x="710141" y="275037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" name="Forme libre : forme 135">
              <a:extLst>
                <a:ext uri="{FF2B5EF4-FFF2-40B4-BE49-F238E27FC236}">
                  <a16:creationId xmlns:a16="http://schemas.microsoft.com/office/drawing/2014/main" id="{0186616C-3255-4138-99FF-17ACDEE12423}"/>
                </a:ext>
              </a:extLst>
            </p:cNvPr>
            <p:cNvSpPr/>
            <p:nvPr/>
          </p:nvSpPr>
          <p:spPr>
            <a:xfrm rot="8716295">
              <a:off x="341977" y="279611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" name="Forme libre : forme 136">
              <a:extLst>
                <a:ext uri="{FF2B5EF4-FFF2-40B4-BE49-F238E27FC236}">
                  <a16:creationId xmlns:a16="http://schemas.microsoft.com/office/drawing/2014/main" id="{00B7B22E-16FD-44D5-9219-31608DDFCC39}"/>
                </a:ext>
              </a:extLst>
            </p:cNvPr>
            <p:cNvSpPr/>
            <p:nvPr/>
          </p:nvSpPr>
          <p:spPr>
            <a:xfrm rot="8716295">
              <a:off x="610559" y="2555095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" name="Forme libre : forme 137">
              <a:extLst>
                <a:ext uri="{FF2B5EF4-FFF2-40B4-BE49-F238E27FC236}">
                  <a16:creationId xmlns:a16="http://schemas.microsoft.com/office/drawing/2014/main" id="{A6953B6D-6364-4054-88C6-74B273B65431}"/>
                </a:ext>
              </a:extLst>
            </p:cNvPr>
            <p:cNvSpPr/>
            <p:nvPr/>
          </p:nvSpPr>
          <p:spPr>
            <a:xfrm rot="8716295">
              <a:off x="-24305" y="2374348"/>
              <a:ext cx="58950" cy="66898"/>
            </a:xfrm>
            <a:custGeom>
              <a:avLst/>
              <a:gdLst>
                <a:gd name="connsiteX0" fmla="*/ 0 w 58950"/>
                <a:gd name="connsiteY0" fmla="*/ 66898 h 66898"/>
                <a:gd name="connsiteX1" fmla="*/ 0 w 58950"/>
                <a:gd name="connsiteY1" fmla="*/ 0 h 66898"/>
                <a:gd name="connsiteX2" fmla="*/ 58950 w 58950"/>
                <a:gd name="connsiteY2" fmla="*/ 0 h 66898"/>
                <a:gd name="connsiteX3" fmla="*/ 12579 w 58950"/>
                <a:gd name="connsiteY3" fmla="*/ 66898 h 6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950" h="66898">
                  <a:moveTo>
                    <a:pt x="0" y="66898"/>
                  </a:moveTo>
                  <a:lnTo>
                    <a:pt x="0" y="0"/>
                  </a:lnTo>
                  <a:lnTo>
                    <a:pt x="58950" y="0"/>
                  </a:lnTo>
                  <a:lnTo>
                    <a:pt x="12579" y="668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" name="Forme libre : forme 138">
              <a:extLst>
                <a:ext uri="{FF2B5EF4-FFF2-40B4-BE49-F238E27FC236}">
                  <a16:creationId xmlns:a16="http://schemas.microsoft.com/office/drawing/2014/main" id="{41AD4D21-E927-44C5-8A83-B759FDFF6D06}"/>
                </a:ext>
              </a:extLst>
            </p:cNvPr>
            <p:cNvSpPr/>
            <p:nvPr/>
          </p:nvSpPr>
          <p:spPr>
            <a:xfrm rot="8716295">
              <a:off x="-39593" y="1952072"/>
              <a:ext cx="198050" cy="140164"/>
            </a:xfrm>
            <a:custGeom>
              <a:avLst/>
              <a:gdLst>
                <a:gd name="connsiteX0" fmla="*/ 0 w 198050"/>
                <a:gd name="connsiteY0" fmla="*/ 75863 h 140164"/>
                <a:gd name="connsiteX1" fmla="*/ 0 w 198050"/>
                <a:gd name="connsiteY1" fmla="*/ 0 h 140164"/>
                <a:gd name="connsiteX2" fmla="*/ 128968 w 198050"/>
                <a:gd name="connsiteY2" fmla="*/ 0 h 140164"/>
                <a:gd name="connsiteX3" fmla="*/ 193021 w 198050"/>
                <a:gd name="connsiteY3" fmla="*/ 18535 h 140164"/>
                <a:gd name="connsiteX4" fmla="*/ 198050 w 198050"/>
                <a:gd name="connsiteY4" fmla="*/ 31548 h 140164"/>
                <a:gd name="connsiteX5" fmla="*/ 122761 w 198050"/>
                <a:gd name="connsiteY5" fmla="*/ 140164 h 140164"/>
                <a:gd name="connsiteX6" fmla="*/ 122761 w 198050"/>
                <a:gd name="connsiteY6" fmla="*/ 105519 h 140164"/>
                <a:gd name="connsiteX7" fmla="*/ 122761 w 198050"/>
                <a:gd name="connsiteY7" fmla="*/ 99312 h 140164"/>
                <a:gd name="connsiteX8" fmla="*/ 91726 w 198050"/>
                <a:gd name="connsiteY8" fmla="*/ 75863 h 140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8050" h="140164">
                  <a:moveTo>
                    <a:pt x="0" y="75863"/>
                  </a:moveTo>
                  <a:lnTo>
                    <a:pt x="0" y="0"/>
                  </a:lnTo>
                  <a:lnTo>
                    <a:pt x="128968" y="0"/>
                  </a:lnTo>
                  <a:cubicBezTo>
                    <a:pt x="156900" y="0"/>
                    <a:pt x="178452" y="6034"/>
                    <a:pt x="193021" y="18535"/>
                  </a:cubicBezTo>
                  <a:lnTo>
                    <a:pt x="198050" y="31548"/>
                  </a:lnTo>
                  <a:lnTo>
                    <a:pt x="122761" y="140164"/>
                  </a:ln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4"/>
                    <a:pt x="91726" y="758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" name="Forme libre : forme 139">
              <a:extLst>
                <a:ext uri="{FF2B5EF4-FFF2-40B4-BE49-F238E27FC236}">
                  <a16:creationId xmlns:a16="http://schemas.microsoft.com/office/drawing/2014/main" id="{B82C4F59-A689-41F2-8DD0-9745004AE675}"/>
                </a:ext>
              </a:extLst>
            </p:cNvPr>
            <p:cNvSpPr/>
            <p:nvPr/>
          </p:nvSpPr>
          <p:spPr>
            <a:xfrm rot="8716295">
              <a:off x="21100" y="1808096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" name="Forme libre : forme 140">
              <a:extLst>
                <a:ext uri="{FF2B5EF4-FFF2-40B4-BE49-F238E27FC236}">
                  <a16:creationId xmlns:a16="http://schemas.microsoft.com/office/drawing/2014/main" id="{FA2478B0-E5E2-4F32-8061-87C7FA11FBE0}"/>
                </a:ext>
              </a:extLst>
            </p:cNvPr>
            <p:cNvSpPr/>
            <p:nvPr/>
          </p:nvSpPr>
          <p:spPr>
            <a:xfrm rot="8716295">
              <a:off x="-24330" y="2197782"/>
              <a:ext cx="102508" cy="53362"/>
            </a:xfrm>
            <a:custGeom>
              <a:avLst/>
              <a:gdLst>
                <a:gd name="connsiteX0" fmla="*/ 0 w 102508"/>
                <a:gd name="connsiteY0" fmla="*/ 23637 h 53362"/>
                <a:gd name="connsiteX1" fmla="*/ 0 w 102508"/>
                <a:gd name="connsiteY1" fmla="*/ 2258 h 53362"/>
                <a:gd name="connsiteX2" fmla="*/ 102508 w 102508"/>
                <a:gd name="connsiteY2" fmla="*/ 0 h 53362"/>
                <a:gd name="connsiteX3" fmla="*/ 65519 w 102508"/>
                <a:gd name="connsiteY3" fmla="*/ 53362 h 53362"/>
                <a:gd name="connsiteX4" fmla="*/ 65519 w 102508"/>
                <a:gd name="connsiteY4" fmla="*/ 23637 h 5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508" h="53362">
                  <a:moveTo>
                    <a:pt x="0" y="23637"/>
                  </a:moveTo>
                  <a:lnTo>
                    <a:pt x="0" y="2258"/>
                  </a:lnTo>
                  <a:lnTo>
                    <a:pt x="102508" y="0"/>
                  </a:lnTo>
                  <a:lnTo>
                    <a:pt x="65519" y="53362"/>
                  </a:lnTo>
                  <a:lnTo>
                    <a:pt x="65519" y="2363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" name="Forme libre : forme 141">
              <a:extLst>
                <a:ext uri="{FF2B5EF4-FFF2-40B4-BE49-F238E27FC236}">
                  <a16:creationId xmlns:a16="http://schemas.microsoft.com/office/drawing/2014/main" id="{949053A5-7216-4B32-8AE1-A37ED2B2705A}"/>
                </a:ext>
              </a:extLst>
            </p:cNvPr>
            <p:cNvSpPr/>
            <p:nvPr/>
          </p:nvSpPr>
          <p:spPr>
            <a:xfrm rot="7484129">
              <a:off x="11236" y="224945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" name="Forme libre : forme 142">
              <a:extLst>
                <a:ext uri="{FF2B5EF4-FFF2-40B4-BE49-F238E27FC236}">
                  <a16:creationId xmlns:a16="http://schemas.microsoft.com/office/drawing/2014/main" id="{028B569C-B0FE-4A67-B111-B99F3950BB2A}"/>
                </a:ext>
              </a:extLst>
            </p:cNvPr>
            <p:cNvSpPr/>
            <p:nvPr/>
          </p:nvSpPr>
          <p:spPr>
            <a:xfrm rot="13089394">
              <a:off x="169886" y="2198801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4" name="Forme libre : forme 143">
              <a:extLst>
                <a:ext uri="{FF2B5EF4-FFF2-40B4-BE49-F238E27FC236}">
                  <a16:creationId xmlns:a16="http://schemas.microsoft.com/office/drawing/2014/main" id="{DDDAF86D-35C8-42A2-A70C-525D2D5475FD}"/>
                </a:ext>
              </a:extLst>
            </p:cNvPr>
            <p:cNvSpPr/>
            <p:nvPr/>
          </p:nvSpPr>
          <p:spPr>
            <a:xfrm rot="8716295">
              <a:off x="450777" y="1908683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5" name="Forme libre : forme 144">
              <a:extLst>
                <a:ext uri="{FF2B5EF4-FFF2-40B4-BE49-F238E27FC236}">
                  <a16:creationId xmlns:a16="http://schemas.microsoft.com/office/drawing/2014/main" id="{0456C75C-046A-4449-8D19-7B887B7670B6}"/>
                </a:ext>
              </a:extLst>
            </p:cNvPr>
            <p:cNvSpPr/>
            <p:nvPr/>
          </p:nvSpPr>
          <p:spPr>
            <a:xfrm rot="8716295">
              <a:off x="372368" y="175189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6" name="Forme libre : forme 145">
              <a:extLst>
                <a:ext uri="{FF2B5EF4-FFF2-40B4-BE49-F238E27FC236}">
                  <a16:creationId xmlns:a16="http://schemas.microsoft.com/office/drawing/2014/main" id="{9071FCAB-0728-4659-9A50-F1E4D3A34FCA}"/>
                </a:ext>
              </a:extLst>
            </p:cNvPr>
            <p:cNvSpPr/>
            <p:nvPr/>
          </p:nvSpPr>
          <p:spPr>
            <a:xfrm rot="8716295">
              <a:off x="4204" y="179763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7" name="Forme libre : forme 146">
              <a:extLst>
                <a:ext uri="{FF2B5EF4-FFF2-40B4-BE49-F238E27FC236}">
                  <a16:creationId xmlns:a16="http://schemas.microsoft.com/office/drawing/2014/main" id="{74F9CC45-BF7F-4E25-8F71-1BD6DA2F0E29}"/>
                </a:ext>
              </a:extLst>
            </p:cNvPr>
            <p:cNvSpPr/>
            <p:nvPr/>
          </p:nvSpPr>
          <p:spPr>
            <a:xfrm rot="8716295">
              <a:off x="272786" y="155661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8" name="Forme libre : forme 147">
              <a:extLst>
                <a:ext uri="{FF2B5EF4-FFF2-40B4-BE49-F238E27FC236}">
                  <a16:creationId xmlns:a16="http://schemas.microsoft.com/office/drawing/2014/main" id="{9BA7D72C-89C5-4ADB-A9D6-05B170E731F6}"/>
                </a:ext>
              </a:extLst>
            </p:cNvPr>
            <p:cNvSpPr/>
            <p:nvPr/>
          </p:nvSpPr>
          <p:spPr>
            <a:xfrm rot="8716295">
              <a:off x="-35149" y="938156"/>
              <a:ext cx="158623" cy="159016"/>
            </a:xfrm>
            <a:custGeom>
              <a:avLst/>
              <a:gdLst>
                <a:gd name="connsiteX0" fmla="*/ 77932 w 158623"/>
                <a:gd name="connsiteY0" fmla="*/ 159016 h 159016"/>
                <a:gd name="connsiteX1" fmla="*/ 77932 w 158623"/>
                <a:gd name="connsiteY1" fmla="*/ 66898 h 159016"/>
                <a:gd name="connsiteX2" fmla="*/ 0 w 158623"/>
                <a:gd name="connsiteY2" fmla="*/ 66898 h 159016"/>
                <a:gd name="connsiteX3" fmla="*/ 0 w 158623"/>
                <a:gd name="connsiteY3" fmla="*/ 0 h 159016"/>
                <a:gd name="connsiteX4" fmla="*/ 158623 w 158623"/>
                <a:gd name="connsiteY4" fmla="*/ 0 h 159016"/>
                <a:gd name="connsiteX5" fmla="*/ 158623 w 158623"/>
                <a:gd name="connsiteY5" fmla="*/ 42606 h 15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8623" h="159016">
                  <a:moveTo>
                    <a:pt x="77932" y="159016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4260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9" name="Forme libre : forme 148">
              <a:extLst>
                <a:ext uri="{FF2B5EF4-FFF2-40B4-BE49-F238E27FC236}">
                  <a16:creationId xmlns:a16="http://schemas.microsoft.com/office/drawing/2014/main" id="{049A796E-46A8-44F5-A685-EFE861D38A62}"/>
                </a:ext>
              </a:extLst>
            </p:cNvPr>
            <p:cNvSpPr/>
            <p:nvPr/>
          </p:nvSpPr>
          <p:spPr>
            <a:xfrm rot="7484129">
              <a:off x="-32979" y="1345537"/>
              <a:ext cx="65961" cy="45734"/>
            </a:xfrm>
            <a:custGeom>
              <a:avLst/>
              <a:gdLst>
                <a:gd name="connsiteX0" fmla="*/ 0 w 65961"/>
                <a:gd name="connsiteY0" fmla="*/ 45734 h 45734"/>
                <a:gd name="connsiteX1" fmla="*/ 0 w 65961"/>
                <a:gd name="connsiteY1" fmla="*/ 0 h 45734"/>
                <a:gd name="connsiteX2" fmla="*/ 65961 w 65961"/>
                <a:gd name="connsiteY2" fmla="*/ 0 h 45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5961" h="45734">
                  <a:moveTo>
                    <a:pt x="0" y="45734"/>
                  </a:moveTo>
                  <a:lnTo>
                    <a:pt x="0" y="0"/>
                  </a:lnTo>
                  <a:lnTo>
                    <a:pt x="6596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0" name="Forme libre : forme 149">
              <a:extLst>
                <a:ext uri="{FF2B5EF4-FFF2-40B4-BE49-F238E27FC236}">
                  <a16:creationId xmlns:a16="http://schemas.microsoft.com/office/drawing/2014/main" id="{5C3088F6-9CC3-48D3-A8B8-D590346DDC75}"/>
                </a:ext>
              </a:extLst>
            </p:cNvPr>
            <p:cNvSpPr/>
            <p:nvPr/>
          </p:nvSpPr>
          <p:spPr>
            <a:xfrm rot="13089394">
              <a:off x="-134707" y="1200752"/>
              <a:ext cx="386820" cy="481345"/>
            </a:xfrm>
            <a:custGeom>
              <a:avLst/>
              <a:gdLst>
                <a:gd name="connsiteX0" fmla="*/ 386820 w 386820"/>
                <a:gd name="connsiteY0" fmla="*/ 391818 h 481345"/>
                <a:gd name="connsiteX1" fmla="*/ 342166 w 386820"/>
                <a:gd name="connsiteY1" fmla="*/ 422376 h 481345"/>
                <a:gd name="connsiteX2" fmla="*/ 138636 w 386820"/>
                <a:gd name="connsiteY2" fmla="*/ 481098 h 481345"/>
                <a:gd name="connsiteX3" fmla="*/ 35911 w 386820"/>
                <a:gd name="connsiteY3" fmla="*/ 439340 h 481345"/>
                <a:gd name="connsiteX4" fmla="*/ 0 w 386820"/>
                <a:gd name="connsiteY4" fmla="*/ 295693 h 481345"/>
                <a:gd name="connsiteX5" fmla="*/ 0 w 386820"/>
                <a:gd name="connsiteY5" fmla="*/ 40970 h 481345"/>
                <a:gd name="connsiteX6" fmla="*/ 78970 w 386820"/>
                <a:gd name="connsiteY6" fmla="*/ 0 h 481345"/>
                <a:gd name="connsiteX7" fmla="*/ 111492 w 386820"/>
                <a:gd name="connsiteY7" fmla="*/ 41392 h 481345"/>
                <a:gd name="connsiteX8" fmla="*/ 112747 w 386820"/>
                <a:gd name="connsiteY8" fmla="*/ 216353 h 481345"/>
                <a:gd name="connsiteX9" fmla="*/ 132789 w 386820"/>
                <a:gd name="connsiteY9" fmla="*/ 354990 h 481345"/>
                <a:gd name="connsiteX10" fmla="*/ 233008 w 386820"/>
                <a:gd name="connsiteY10" fmla="*/ 410110 h 481345"/>
                <a:gd name="connsiteX11" fmla="*/ 308173 w 386820"/>
                <a:gd name="connsiteY11" fmla="*/ 396747 h 481345"/>
                <a:gd name="connsiteX12" fmla="*/ 370717 w 386820"/>
                <a:gd name="connsiteY12" fmla="*/ 371323 h 481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6820" h="481345">
                  <a:moveTo>
                    <a:pt x="386820" y="391818"/>
                  </a:moveTo>
                  <a:lnTo>
                    <a:pt x="342166" y="422376"/>
                  </a:lnTo>
                  <a:cubicBezTo>
                    <a:pt x="268920" y="462151"/>
                    <a:pt x="190624" y="477966"/>
                    <a:pt x="138636" y="481098"/>
                  </a:cubicBezTo>
                  <a:cubicBezTo>
                    <a:pt x="100219" y="483604"/>
                    <a:pt x="62637" y="466901"/>
                    <a:pt x="35911" y="439340"/>
                  </a:cubicBezTo>
                  <a:cubicBezTo>
                    <a:pt x="7516" y="411780"/>
                    <a:pt x="0" y="364176"/>
                    <a:pt x="0" y="295693"/>
                  </a:cubicBezTo>
                  <a:lnTo>
                    <a:pt x="0" y="40970"/>
                  </a:lnTo>
                  <a:lnTo>
                    <a:pt x="78970" y="0"/>
                  </a:lnTo>
                  <a:lnTo>
                    <a:pt x="111492" y="41392"/>
                  </a:lnTo>
                  <a:lnTo>
                    <a:pt x="112747" y="216353"/>
                  </a:lnTo>
                  <a:cubicBezTo>
                    <a:pt x="110241" y="263122"/>
                    <a:pt x="117757" y="310726"/>
                    <a:pt x="132789" y="354990"/>
                  </a:cubicBezTo>
                  <a:cubicBezTo>
                    <a:pt x="146153" y="391736"/>
                    <a:pt x="180394" y="410110"/>
                    <a:pt x="233008" y="410110"/>
                  </a:cubicBezTo>
                  <a:cubicBezTo>
                    <a:pt x="258899" y="409274"/>
                    <a:pt x="283953" y="404263"/>
                    <a:pt x="308173" y="396747"/>
                  </a:cubicBezTo>
                  <a:lnTo>
                    <a:pt x="370717" y="371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1" name="Forme libre : forme 150">
              <a:extLst>
                <a:ext uri="{FF2B5EF4-FFF2-40B4-BE49-F238E27FC236}">
                  <a16:creationId xmlns:a16="http://schemas.microsoft.com/office/drawing/2014/main" id="{45A3690F-0557-4DB0-94E4-7427021CEC86}"/>
                </a:ext>
              </a:extLst>
            </p:cNvPr>
            <p:cNvSpPr/>
            <p:nvPr/>
          </p:nvSpPr>
          <p:spPr>
            <a:xfrm rot="8716295">
              <a:off x="119403" y="90662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2" name="Forme libre : forme 151">
              <a:extLst>
                <a:ext uri="{FF2B5EF4-FFF2-40B4-BE49-F238E27FC236}">
                  <a16:creationId xmlns:a16="http://schemas.microsoft.com/office/drawing/2014/main" id="{1C3938EF-FACF-4118-88DE-3CA52114B602}"/>
                </a:ext>
              </a:extLst>
            </p:cNvPr>
            <p:cNvSpPr/>
            <p:nvPr/>
          </p:nvSpPr>
          <p:spPr>
            <a:xfrm rot="8716295">
              <a:off x="40994" y="74983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3" name="Forme libre : forme 152">
              <a:extLst>
                <a:ext uri="{FF2B5EF4-FFF2-40B4-BE49-F238E27FC236}">
                  <a16:creationId xmlns:a16="http://schemas.microsoft.com/office/drawing/2014/main" id="{DFC0458A-EB47-48D9-8C11-B6676E2C5CAE}"/>
                </a:ext>
              </a:extLst>
            </p:cNvPr>
            <p:cNvSpPr/>
            <p:nvPr/>
          </p:nvSpPr>
          <p:spPr>
            <a:xfrm rot="8716295">
              <a:off x="-44934" y="551941"/>
              <a:ext cx="152592" cy="165412"/>
            </a:xfrm>
            <a:custGeom>
              <a:avLst/>
              <a:gdLst>
                <a:gd name="connsiteX0" fmla="*/ 26453 w 152592"/>
                <a:gd name="connsiteY0" fmla="*/ 153143 h 165412"/>
                <a:gd name="connsiteX1" fmla="*/ 0 w 152592"/>
                <a:gd name="connsiteY1" fmla="*/ 90494 h 165412"/>
                <a:gd name="connsiteX2" fmla="*/ 0 w 152592"/>
                <a:gd name="connsiteY2" fmla="*/ 89101 h 165412"/>
                <a:gd name="connsiteX3" fmla="*/ 26453 w 152592"/>
                <a:gd name="connsiteY3" fmla="*/ 26453 h 165412"/>
                <a:gd name="connsiteX4" fmla="*/ 89101 w 152592"/>
                <a:gd name="connsiteY4" fmla="*/ 0 h 165412"/>
                <a:gd name="connsiteX5" fmla="*/ 151752 w 152592"/>
                <a:gd name="connsiteY5" fmla="*/ 26453 h 165412"/>
                <a:gd name="connsiteX6" fmla="*/ 152592 w 152592"/>
                <a:gd name="connsiteY6" fmla="*/ 27688 h 165412"/>
                <a:gd name="connsiteX7" fmla="*/ 57126 w 152592"/>
                <a:gd name="connsiteY7" fmla="*/ 165412 h 165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592" h="165412">
                  <a:moveTo>
                    <a:pt x="26453" y="153143"/>
                  </a:moveTo>
                  <a:cubicBezTo>
                    <a:pt x="9746" y="136436"/>
                    <a:pt x="0" y="114161"/>
                    <a:pt x="0" y="90494"/>
                  </a:cubicBezTo>
                  <a:lnTo>
                    <a:pt x="0" y="89101"/>
                  </a:lnTo>
                  <a:cubicBezTo>
                    <a:pt x="0" y="65434"/>
                    <a:pt x="9746" y="43159"/>
                    <a:pt x="26453" y="26453"/>
                  </a:cubicBezTo>
                  <a:cubicBezTo>
                    <a:pt x="43159" y="9746"/>
                    <a:pt x="65435" y="0"/>
                    <a:pt x="89101" y="0"/>
                  </a:cubicBezTo>
                  <a:cubicBezTo>
                    <a:pt x="112770" y="0"/>
                    <a:pt x="135045" y="9746"/>
                    <a:pt x="151752" y="26453"/>
                  </a:cubicBezTo>
                  <a:lnTo>
                    <a:pt x="152592" y="27688"/>
                  </a:lnTo>
                  <a:lnTo>
                    <a:pt x="57126" y="1654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4" name="Forme libre : forme 153">
              <a:extLst>
                <a:ext uri="{FF2B5EF4-FFF2-40B4-BE49-F238E27FC236}">
                  <a16:creationId xmlns:a16="http://schemas.microsoft.com/office/drawing/2014/main" id="{51206894-A2FA-4091-8709-9038ECFC9F62}"/>
                </a:ext>
              </a:extLst>
            </p:cNvPr>
            <p:cNvSpPr/>
            <p:nvPr/>
          </p:nvSpPr>
          <p:spPr>
            <a:xfrm rot="8716295">
              <a:off x="-69806" y="4587027"/>
              <a:ext cx="183810" cy="187594"/>
            </a:xfrm>
            <a:custGeom>
              <a:avLst/>
              <a:gdLst>
                <a:gd name="connsiteX0" fmla="*/ 10574 w 183810"/>
                <a:gd name="connsiteY0" fmla="*/ 187594 h 187594"/>
                <a:gd name="connsiteX1" fmla="*/ 0 w 183810"/>
                <a:gd name="connsiteY1" fmla="*/ 172952 h 187594"/>
                <a:gd name="connsiteX2" fmla="*/ 183810 w 183810"/>
                <a:gd name="connsiteY2" fmla="*/ 0 h 187594"/>
                <a:gd name="connsiteX3" fmla="*/ 72284 w 183810"/>
                <a:gd name="connsiteY3" fmla="*/ 160894 h 187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810" h="187594">
                  <a:moveTo>
                    <a:pt x="10574" y="187594"/>
                  </a:moveTo>
                  <a:lnTo>
                    <a:pt x="0" y="172952"/>
                  </a:lnTo>
                  <a:lnTo>
                    <a:pt x="183810" y="0"/>
                  </a:lnTo>
                  <a:lnTo>
                    <a:pt x="72284" y="1608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5" name="Forme libre : forme 154">
              <a:extLst>
                <a:ext uri="{FF2B5EF4-FFF2-40B4-BE49-F238E27FC236}">
                  <a16:creationId xmlns:a16="http://schemas.microsoft.com/office/drawing/2014/main" id="{75F36939-0C1D-4F35-A6F3-978C7845A7FE}"/>
                </a:ext>
              </a:extLst>
            </p:cNvPr>
            <p:cNvSpPr/>
            <p:nvPr/>
          </p:nvSpPr>
          <p:spPr>
            <a:xfrm rot="8716295">
              <a:off x="2260816" y="1871889"/>
              <a:ext cx="76563" cy="79800"/>
            </a:xfrm>
            <a:custGeom>
              <a:avLst/>
              <a:gdLst>
                <a:gd name="connsiteX0" fmla="*/ 1561 w 76563"/>
                <a:gd name="connsiteY0" fmla="*/ 67386 h 79800"/>
                <a:gd name="connsiteX1" fmla="*/ 0 w 76563"/>
                <a:gd name="connsiteY1" fmla="*/ 63688 h 79800"/>
                <a:gd name="connsiteX2" fmla="*/ 52676 w 76563"/>
                <a:gd name="connsiteY2" fmla="*/ 0 h 79800"/>
                <a:gd name="connsiteX3" fmla="*/ 63632 w 76563"/>
                <a:gd name="connsiteY3" fmla="*/ 4626 h 79800"/>
                <a:gd name="connsiteX4" fmla="*/ 63632 w 76563"/>
                <a:gd name="connsiteY4" fmla="*/ 66697 h 79800"/>
                <a:gd name="connsiteX5" fmla="*/ 32596 w 76563"/>
                <a:gd name="connsiteY5" fmla="*/ 79800 h 79800"/>
                <a:gd name="connsiteX6" fmla="*/ 1561 w 76563"/>
                <a:gd name="connsiteY6" fmla="*/ 67386 h 79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563" h="79800">
                  <a:moveTo>
                    <a:pt x="1561" y="67386"/>
                  </a:moveTo>
                  <a:lnTo>
                    <a:pt x="0" y="63688"/>
                  </a:lnTo>
                  <a:lnTo>
                    <a:pt x="52676" y="0"/>
                  </a:lnTo>
                  <a:lnTo>
                    <a:pt x="63632" y="4626"/>
                  </a:lnTo>
                  <a:cubicBezTo>
                    <a:pt x="80874" y="21178"/>
                    <a:pt x="80873" y="49455"/>
                    <a:pt x="63632" y="66697"/>
                  </a:cubicBezTo>
                  <a:cubicBezTo>
                    <a:pt x="55356" y="74973"/>
                    <a:pt x="44321" y="79800"/>
                    <a:pt x="32596" y="79800"/>
                  </a:cubicBezTo>
                  <a:cubicBezTo>
                    <a:pt x="20872" y="79800"/>
                    <a:pt x="9837" y="75662"/>
                    <a:pt x="1561" y="6738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6" name="Forme libre : forme 155">
              <a:extLst>
                <a:ext uri="{FF2B5EF4-FFF2-40B4-BE49-F238E27FC236}">
                  <a16:creationId xmlns:a16="http://schemas.microsoft.com/office/drawing/2014/main" id="{BD296649-E6F7-43B4-A921-2D9F25E09891}"/>
                </a:ext>
              </a:extLst>
            </p:cNvPr>
            <p:cNvSpPr/>
            <p:nvPr/>
          </p:nvSpPr>
          <p:spPr>
            <a:xfrm rot="8716295">
              <a:off x="2079218" y="1576016"/>
              <a:ext cx="236114" cy="296463"/>
            </a:xfrm>
            <a:custGeom>
              <a:avLst/>
              <a:gdLst>
                <a:gd name="connsiteX0" fmla="*/ 64875 w 236114"/>
                <a:gd name="connsiteY0" fmla="*/ 296463 h 296463"/>
                <a:gd name="connsiteX1" fmla="*/ 0 w 236114"/>
                <a:gd name="connsiteY1" fmla="*/ 175766 h 296463"/>
                <a:gd name="connsiteX2" fmla="*/ 33192 w 236114"/>
                <a:gd name="connsiteY2" fmla="*/ 83734 h 296463"/>
                <a:gd name="connsiteX3" fmla="*/ 489 w 236114"/>
                <a:gd name="connsiteY3" fmla="*/ 83734 h 296463"/>
                <a:gd name="connsiteX4" fmla="*/ 69747 w 236114"/>
                <a:gd name="connsiteY4" fmla="*/ 0 h 296463"/>
                <a:gd name="connsiteX5" fmla="*/ 236114 w 236114"/>
                <a:gd name="connsiteY5" fmla="*/ 0 h 296463"/>
                <a:gd name="connsiteX6" fmla="*/ 236114 w 236114"/>
                <a:gd name="connsiteY6" fmla="*/ 83734 h 296463"/>
                <a:gd name="connsiteX7" fmla="*/ 138047 w 236114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6114" h="296463">
                  <a:moveTo>
                    <a:pt x="64875" y="296463"/>
                  </a:moveTo>
                  <a:lnTo>
                    <a:pt x="0" y="175766"/>
                  </a:lnTo>
                  <a:lnTo>
                    <a:pt x="33192" y="83734"/>
                  </a:lnTo>
                  <a:lnTo>
                    <a:pt x="489" y="83734"/>
                  </a:lnTo>
                  <a:lnTo>
                    <a:pt x="69747" y="0"/>
                  </a:lnTo>
                  <a:lnTo>
                    <a:pt x="236114" y="0"/>
                  </a:lnTo>
                  <a:lnTo>
                    <a:pt x="236114" y="83734"/>
                  </a:lnTo>
                  <a:lnTo>
                    <a:pt x="138047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7" name="Forme libre : forme 156">
              <a:extLst>
                <a:ext uri="{FF2B5EF4-FFF2-40B4-BE49-F238E27FC236}">
                  <a16:creationId xmlns:a16="http://schemas.microsoft.com/office/drawing/2014/main" id="{6CA34F6D-826D-4D6C-B9D3-13816F14A2D6}"/>
                </a:ext>
              </a:extLst>
            </p:cNvPr>
            <p:cNvSpPr/>
            <p:nvPr/>
          </p:nvSpPr>
          <p:spPr>
            <a:xfrm rot="8716295">
              <a:off x="1975890" y="1368961"/>
              <a:ext cx="432296" cy="245571"/>
            </a:xfrm>
            <a:custGeom>
              <a:avLst/>
              <a:gdLst>
                <a:gd name="connsiteX0" fmla="*/ 30685 w 432296"/>
                <a:gd name="connsiteY0" fmla="*/ 200783 h 245571"/>
                <a:gd name="connsiteX1" fmla="*/ 187 w 432296"/>
                <a:gd name="connsiteY1" fmla="*/ 140564 h 245571"/>
                <a:gd name="connsiteX2" fmla="*/ 0 w 432296"/>
                <a:gd name="connsiteY2" fmla="*/ 138341 h 245571"/>
                <a:gd name="connsiteX3" fmla="*/ 114424 w 432296"/>
                <a:gd name="connsiteY3" fmla="*/ 0 h 245571"/>
                <a:gd name="connsiteX4" fmla="*/ 116284 w 432296"/>
                <a:gd name="connsiteY4" fmla="*/ 37935 h 245571"/>
                <a:gd name="connsiteX5" fmla="*/ 133982 w 432296"/>
                <a:gd name="connsiteY5" fmla="*/ 110844 h 245571"/>
                <a:gd name="connsiteX6" fmla="*/ 240841 w 432296"/>
                <a:gd name="connsiteY6" fmla="*/ 169617 h 245571"/>
                <a:gd name="connsiteX7" fmla="*/ 320985 w 432296"/>
                <a:gd name="connsiteY7" fmla="*/ 155369 h 245571"/>
                <a:gd name="connsiteX8" fmla="*/ 430515 w 432296"/>
                <a:gd name="connsiteY8" fmla="*/ 110844 h 245571"/>
                <a:gd name="connsiteX9" fmla="*/ 432296 w 432296"/>
                <a:gd name="connsiteY9" fmla="*/ 122420 h 245571"/>
                <a:gd name="connsiteX10" fmla="*/ 432296 w 432296"/>
                <a:gd name="connsiteY10" fmla="*/ 131325 h 245571"/>
                <a:gd name="connsiteX11" fmla="*/ 140216 w 432296"/>
                <a:gd name="connsiteY11" fmla="*/ 245308 h 245571"/>
                <a:gd name="connsiteX12" fmla="*/ 30685 w 432296"/>
                <a:gd name="connsiteY12" fmla="*/ 200783 h 245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32296" h="245571">
                  <a:moveTo>
                    <a:pt x="30685" y="200783"/>
                  </a:moveTo>
                  <a:cubicBezTo>
                    <a:pt x="15547" y="186091"/>
                    <a:pt x="5975" y="166054"/>
                    <a:pt x="187" y="140564"/>
                  </a:cubicBezTo>
                  <a:lnTo>
                    <a:pt x="0" y="138341"/>
                  </a:lnTo>
                  <a:lnTo>
                    <a:pt x="114424" y="0"/>
                  </a:lnTo>
                  <a:lnTo>
                    <a:pt x="116284" y="37935"/>
                  </a:lnTo>
                  <a:cubicBezTo>
                    <a:pt x="119957" y="62758"/>
                    <a:pt x="125968" y="87246"/>
                    <a:pt x="133982" y="110844"/>
                  </a:cubicBezTo>
                  <a:cubicBezTo>
                    <a:pt x="148231" y="150026"/>
                    <a:pt x="184740" y="169617"/>
                    <a:pt x="240841" y="169617"/>
                  </a:cubicBezTo>
                  <a:cubicBezTo>
                    <a:pt x="268446" y="168726"/>
                    <a:pt x="295161" y="163383"/>
                    <a:pt x="320985" y="155369"/>
                  </a:cubicBezTo>
                  <a:cubicBezTo>
                    <a:pt x="358385" y="143792"/>
                    <a:pt x="394895" y="128654"/>
                    <a:pt x="430515" y="110844"/>
                  </a:cubicBezTo>
                  <a:cubicBezTo>
                    <a:pt x="431405" y="114406"/>
                    <a:pt x="432296" y="118858"/>
                    <a:pt x="432296" y="122420"/>
                  </a:cubicBezTo>
                  <a:lnTo>
                    <a:pt x="432296" y="131325"/>
                  </a:lnTo>
                  <a:cubicBezTo>
                    <a:pt x="337904" y="212360"/>
                    <a:pt x="214126" y="240856"/>
                    <a:pt x="140216" y="245308"/>
                  </a:cubicBezTo>
                  <a:cubicBezTo>
                    <a:pt x="99254" y="247980"/>
                    <a:pt x="59182" y="230170"/>
                    <a:pt x="30685" y="2007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8" name="Forme libre : forme 157">
              <a:extLst>
                <a:ext uri="{FF2B5EF4-FFF2-40B4-BE49-F238E27FC236}">
                  <a16:creationId xmlns:a16="http://schemas.microsoft.com/office/drawing/2014/main" id="{1B5AAC38-2C08-40E5-95BE-5338A8CAC415}"/>
                </a:ext>
              </a:extLst>
            </p:cNvPr>
            <p:cNvSpPr/>
            <p:nvPr/>
          </p:nvSpPr>
          <p:spPr>
            <a:xfrm rot="8716295">
              <a:off x="2107141" y="73528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9" name="Forme libre : forme 158">
              <a:extLst>
                <a:ext uri="{FF2B5EF4-FFF2-40B4-BE49-F238E27FC236}">
                  <a16:creationId xmlns:a16="http://schemas.microsoft.com/office/drawing/2014/main" id="{A4125EC0-3011-4C53-83B6-DD287160F4E7}"/>
                </a:ext>
              </a:extLst>
            </p:cNvPr>
            <p:cNvSpPr/>
            <p:nvPr/>
          </p:nvSpPr>
          <p:spPr>
            <a:xfrm rot="8716295">
              <a:off x="2242282" y="832029"/>
              <a:ext cx="282003" cy="313470"/>
            </a:xfrm>
            <a:custGeom>
              <a:avLst/>
              <a:gdLst>
                <a:gd name="connsiteX0" fmla="*/ 188208 w 282003"/>
                <a:gd name="connsiteY0" fmla="*/ 99785 h 313470"/>
                <a:gd name="connsiteX1" fmla="*/ 188208 w 282003"/>
                <a:gd name="connsiteY1" fmla="*/ 85923 h 313470"/>
                <a:gd name="connsiteX2" fmla="*/ 259276 w 282003"/>
                <a:gd name="connsiteY2" fmla="*/ 0 h 313470"/>
                <a:gd name="connsiteX3" fmla="*/ 274211 w 282003"/>
                <a:gd name="connsiteY3" fmla="*/ 28123 h 313470"/>
                <a:gd name="connsiteX4" fmla="*/ 282003 w 282003"/>
                <a:gd name="connsiteY4" fmla="*/ 85301 h 313470"/>
                <a:gd name="connsiteX5" fmla="*/ 282002 w 282003"/>
                <a:gd name="connsiteY5" fmla="*/ 94267 h 313470"/>
                <a:gd name="connsiteX6" fmla="*/ 0 w 282003"/>
                <a:gd name="connsiteY6" fmla="*/ 313470 h 313470"/>
                <a:gd name="connsiteX7" fmla="*/ 56482 w 282003"/>
                <a:gd name="connsiteY7" fmla="*/ 245183 h 313470"/>
                <a:gd name="connsiteX8" fmla="*/ 56482 w 282003"/>
                <a:gd name="connsiteY8" fmla="*/ 274960 h 313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2003" h="313470">
                  <a:moveTo>
                    <a:pt x="188208" y="99785"/>
                  </a:moveTo>
                  <a:lnTo>
                    <a:pt x="188208" y="85923"/>
                  </a:lnTo>
                  <a:lnTo>
                    <a:pt x="259276" y="0"/>
                  </a:lnTo>
                  <a:lnTo>
                    <a:pt x="274211" y="28123"/>
                  </a:lnTo>
                  <a:cubicBezTo>
                    <a:pt x="279330" y="44783"/>
                    <a:pt x="282002" y="63922"/>
                    <a:pt x="282003" y="85301"/>
                  </a:cubicBezTo>
                  <a:lnTo>
                    <a:pt x="282002" y="94267"/>
                  </a:lnTo>
                  <a:close/>
                  <a:moveTo>
                    <a:pt x="0" y="313470"/>
                  </a:moveTo>
                  <a:lnTo>
                    <a:pt x="56482" y="245183"/>
                  </a:lnTo>
                  <a:lnTo>
                    <a:pt x="56482" y="2749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0" name="Forme libre : forme 159">
              <a:extLst>
                <a:ext uri="{FF2B5EF4-FFF2-40B4-BE49-F238E27FC236}">
                  <a16:creationId xmlns:a16="http://schemas.microsoft.com/office/drawing/2014/main" id="{FF9B0781-A82C-47AF-AC1C-21015974FDE2}"/>
                </a:ext>
              </a:extLst>
            </p:cNvPr>
            <p:cNvSpPr/>
            <p:nvPr/>
          </p:nvSpPr>
          <p:spPr>
            <a:xfrm rot="8716295">
              <a:off x="2174558" y="64895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1" name="Forme libre : forme 160">
              <a:extLst>
                <a:ext uri="{FF2B5EF4-FFF2-40B4-BE49-F238E27FC236}">
                  <a16:creationId xmlns:a16="http://schemas.microsoft.com/office/drawing/2014/main" id="{E647964A-EFA4-4875-8CBA-E79FD37F80FD}"/>
                </a:ext>
              </a:extLst>
            </p:cNvPr>
            <p:cNvSpPr/>
            <p:nvPr/>
          </p:nvSpPr>
          <p:spPr>
            <a:xfrm rot="8716295">
              <a:off x="1937270" y="86929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2" name="Forme libre : forme 161">
              <a:extLst>
                <a:ext uri="{FF2B5EF4-FFF2-40B4-BE49-F238E27FC236}">
                  <a16:creationId xmlns:a16="http://schemas.microsoft.com/office/drawing/2014/main" id="{92A84223-E9E1-4AA2-A477-395EEFC832F2}"/>
                </a:ext>
              </a:extLst>
            </p:cNvPr>
            <p:cNvSpPr/>
            <p:nvPr/>
          </p:nvSpPr>
          <p:spPr>
            <a:xfrm rot="8716295">
              <a:off x="1748224" y="55346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3" name="Forme libre : forme 162">
              <a:extLst>
                <a:ext uri="{FF2B5EF4-FFF2-40B4-BE49-F238E27FC236}">
                  <a16:creationId xmlns:a16="http://schemas.microsoft.com/office/drawing/2014/main" id="{25B16338-FDD7-4AA6-9D09-5C2DE296D9CE}"/>
                </a:ext>
              </a:extLst>
            </p:cNvPr>
            <p:cNvSpPr/>
            <p:nvPr/>
          </p:nvSpPr>
          <p:spPr>
            <a:xfrm rot="8716295">
              <a:off x="1729983" y="34341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4" name="Forme libre : forme 163">
              <a:extLst>
                <a:ext uri="{FF2B5EF4-FFF2-40B4-BE49-F238E27FC236}">
                  <a16:creationId xmlns:a16="http://schemas.microsoft.com/office/drawing/2014/main" id="{FD37B6C0-63BE-47FD-9D48-08E0F916E511}"/>
                </a:ext>
              </a:extLst>
            </p:cNvPr>
            <p:cNvSpPr/>
            <p:nvPr/>
          </p:nvSpPr>
          <p:spPr>
            <a:xfrm rot="8716295">
              <a:off x="2073759" y="93127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5" name="Forme libre : forme 164">
              <a:extLst>
                <a:ext uri="{FF2B5EF4-FFF2-40B4-BE49-F238E27FC236}">
                  <a16:creationId xmlns:a16="http://schemas.microsoft.com/office/drawing/2014/main" id="{93F06371-0361-4141-BEE3-CC9849B020E6}"/>
                </a:ext>
              </a:extLst>
            </p:cNvPr>
            <p:cNvSpPr/>
            <p:nvPr/>
          </p:nvSpPr>
          <p:spPr>
            <a:xfrm rot="8716295">
              <a:off x="2367873" y="489398"/>
              <a:ext cx="81526" cy="84395"/>
            </a:xfrm>
            <a:custGeom>
              <a:avLst/>
              <a:gdLst>
                <a:gd name="connsiteX0" fmla="*/ 6524 w 81526"/>
                <a:gd name="connsiteY0" fmla="*/ 71981 h 84395"/>
                <a:gd name="connsiteX1" fmla="*/ 0 w 81526"/>
                <a:gd name="connsiteY1" fmla="*/ 56529 h 84395"/>
                <a:gd name="connsiteX2" fmla="*/ 46756 w 81526"/>
                <a:gd name="connsiteY2" fmla="*/ 0 h 84395"/>
                <a:gd name="connsiteX3" fmla="*/ 68595 w 81526"/>
                <a:gd name="connsiteY3" fmla="*/ 9221 h 84395"/>
                <a:gd name="connsiteX4" fmla="*/ 68595 w 81526"/>
                <a:gd name="connsiteY4" fmla="*/ 71292 h 84395"/>
                <a:gd name="connsiteX5" fmla="*/ 37559 w 81526"/>
                <a:gd name="connsiteY5" fmla="*/ 84395 h 84395"/>
                <a:gd name="connsiteX6" fmla="*/ 6524 w 81526"/>
                <a:gd name="connsiteY6" fmla="*/ 71981 h 84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526" h="84395">
                  <a:moveTo>
                    <a:pt x="6524" y="71981"/>
                  </a:moveTo>
                  <a:lnTo>
                    <a:pt x="0" y="56529"/>
                  </a:lnTo>
                  <a:lnTo>
                    <a:pt x="46756" y="0"/>
                  </a:lnTo>
                  <a:lnTo>
                    <a:pt x="68595" y="9221"/>
                  </a:lnTo>
                  <a:cubicBezTo>
                    <a:pt x="85837" y="25773"/>
                    <a:pt x="85836" y="54050"/>
                    <a:pt x="68595" y="71292"/>
                  </a:cubicBezTo>
                  <a:cubicBezTo>
                    <a:pt x="60319" y="79568"/>
                    <a:pt x="49284" y="84395"/>
                    <a:pt x="37559" y="84395"/>
                  </a:cubicBezTo>
                  <a:cubicBezTo>
                    <a:pt x="25835" y="84395"/>
                    <a:pt x="14800" y="80257"/>
                    <a:pt x="6524" y="7198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6" name="Forme libre : forme 165">
              <a:extLst>
                <a:ext uri="{FF2B5EF4-FFF2-40B4-BE49-F238E27FC236}">
                  <a16:creationId xmlns:a16="http://schemas.microsoft.com/office/drawing/2014/main" id="{5196C23A-E9EE-4BB5-B0E6-FCA193386C5B}"/>
                </a:ext>
              </a:extLst>
            </p:cNvPr>
            <p:cNvSpPr/>
            <p:nvPr/>
          </p:nvSpPr>
          <p:spPr>
            <a:xfrm rot="8716295">
              <a:off x="2184146" y="191304"/>
              <a:ext cx="250306" cy="296463"/>
            </a:xfrm>
            <a:custGeom>
              <a:avLst/>
              <a:gdLst>
                <a:gd name="connsiteX0" fmla="*/ 79067 w 250306"/>
                <a:gd name="connsiteY0" fmla="*/ 296463 h 296463"/>
                <a:gd name="connsiteX1" fmla="*/ 14192 w 250306"/>
                <a:gd name="connsiteY1" fmla="*/ 175766 h 296463"/>
                <a:gd name="connsiteX2" fmla="*/ 47384 w 250306"/>
                <a:gd name="connsiteY2" fmla="*/ 83734 h 296463"/>
                <a:gd name="connsiteX3" fmla="*/ 0 w 250306"/>
                <a:gd name="connsiteY3" fmla="*/ 83734 h 296463"/>
                <a:gd name="connsiteX4" fmla="*/ 69257 w 250306"/>
                <a:gd name="connsiteY4" fmla="*/ 0 h 296463"/>
                <a:gd name="connsiteX5" fmla="*/ 250306 w 250306"/>
                <a:gd name="connsiteY5" fmla="*/ 0 h 296463"/>
                <a:gd name="connsiteX6" fmla="*/ 250306 w 250306"/>
                <a:gd name="connsiteY6" fmla="*/ 83734 h 296463"/>
                <a:gd name="connsiteX7" fmla="*/ 152239 w 250306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0306" h="296463">
                  <a:moveTo>
                    <a:pt x="79067" y="296463"/>
                  </a:moveTo>
                  <a:lnTo>
                    <a:pt x="14192" y="175766"/>
                  </a:lnTo>
                  <a:lnTo>
                    <a:pt x="47384" y="83734"/>
                  </a:lnTo>
                  <a:lnTo>
                    <a:pt x="0" y="83734"/>
                  </a:lnTo>
                  <a:lnTo>
                    <a:pt x="69257" y="0"/>
                  </a:lnTo>
                  <a:lnTo>
                    <a:pt x="250306" y="0"/>
                  </a:lnTo>
                  <a:lnTo>
                    <a:pt x="250306" y="83734"/>
                  </a:lnTo>
                  <a:lnTo>
                    <a:pt x="152239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7" name="Forme libre : forme 166">
              <a:extLst>
                <a:ext uri="{FF2B5EF4-FFF2-40B4-BE49-F238E27FC236}">
                  <a16:creationId xmlns:a16="http://schemas.microsoft.com/office/drawing/2014/main" id="{AF8BB132-EA68-41A8-B3E5-2FCCBDEB7D5A}"/>
                </a:ext>
              </a:extLst>
            </p:cNvPr>
            <p:cNvSpPr/>
            <p:nvPr/>
          </p:nvSpPr>
          <p:spPr>
            <a:xfrm rot="8716295">
              <a:off x="2145876" y="32623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8" name="Forme libre : forme 167">
              <a:extLst>
                <a:ext uri="{FF2B5EF4-FFF2-40B4-BE49-F238E27FC236}">
                  <a16:creationId xmlns:a16="http://schemas.microsoft.com/office/drawing/2014/main" id="{0C891817-7BA1-4E19-A5B6-7030FDA5B7F1}"/>
                </a:ext>
              </a:extLst>
            </p:cNvPr>
            <p:cNvSpPr/>
            <p:nvPr/>
          </p:nvSpPr>
          <p:spPr>
            <a:xfrm rot="8716295">
              <a:off x="1834766" y="-57684"/>
              <a:ext cx="186564" cy="129320"/>
            </a:xfrm>
            <a:custGeom>
              <a:avLst/>
              <a:gdLst>
                <a:gd name="connsiteX0" fmla="*/ 123263 w 123263"/>
                <a:gd name="connsiteY0" fmla="*/ 85442 h 85442"/>
                <a:gd name="connsiteX1" fmla="*/ 0 w 123263"/>
                <a:gd name="connsiteY1" fmla="*/ 0 h 85442"/>
                <a:gd name="connsiteX2" fmla="*/ 66305 w 123263"/>
                <a:gd name="connsiteY2" fmla="*/ 0 h 85442"/>
                <a:gd name="connsiteX3" fmla="*/ 123263 w 123263"/>
                <a:gd name="connsiteY3" fmla="*/ 50123 h 85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63" h="85442">
                  <a:moveTo>
                    <a:pt x="123263" y="85442"/>
                  </a:moveTo>
                  <a:lnTo>
                    <a:pt x="0" y="0"/>
                  </a:lnTo>
                  <a:lnTo>
                    <a:pt x="66305" y="0"/>
                  </a:lnTo>
                  <a:cubicBezTo>
                    <a:pt x="103214" y="0"/>
                    <a:pt x="123263" y="15948"/>
                    <a:pt x="123263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9" name="Forme libre : forme 168">
              <a:extLst>
                <a:ext uri="{FF2B5EF4-FFF2-40B4-BE49-F238E27FC236}">
                  <a16:creationId xmlns:a16="http://schemas.microsoft.com/office/drawing/2014/main" id="{4406013B-1E43-4380-98C9-594C282D12B3}"/>
                </a:ext>
              </a:extLst>
            </p:cNvPr>
            <p:cNvSpPr/>
            <p:nvPr/>
          </p:nvSpPr>
          <p:spPr>
            <a:xfrm rot="8716295">
              <a:off x="1969949" y="-13794"/>
              <a:ext cx="394488" cy="148365"/>
            </a:xfrm>
            <a:custGeom>
              <a:avLst/>
              <a:gdLst>
                <a:gd name="connsiteX0" fmla="*/ 104802 w 260639"/>
                <a:gd name="connsiteY0" fmla="*/ 74264 h 98025"/>
                <a:gd name="connsiteX1" fmla="*/ 0 w 260639"/>
                <a:gd name="connsiteY1" fmla="*/ 1618 h 98025"/>
                <a:gd name="connsiteX2" fmla="*/ 0 w 260639"/>
                <a:gd name="connsiteY2" fmla="*/ 1425 h 98025"/>
                <a:gd name="connsiteX3" fmla="*/ 104803 w 260639"/>
                <a:gd name="connsiteY3" fmla="*/ 1425 h 98025"/>
                <a:gd name="connsiteX4" fmla="*/ 122123 w 260639"/>
                <a:gd name="connsiteY4" fmla="*/ 86270 h 98025"/>
                <a:gd name="connsiteX5" fmla="*/ 106178 w 260639"/>
                <a:gd name="connsiteY5" fmla="*/ 75218 h 98025"/>
                <a:gd name="connsiteX6" fmla="*/ 116721 w 260639"/>
                <a:gd name="connsiteY6" fmla="*/ 47439 h 98025"/>
                <a:gd name="connsiteX7" fmla="*/ 154014 w 260639"/>
                <a:gd name="connsiteY7" fmla="*/ 5981 h 98025"/>
                <a:gd name="connsiteX8" fmla="*/ 185455 w 260639"/>
                <a:gd name="connsiteY8" fmla="*/ 57 h 98025"/>
                <a:gd name="connsiteX9" fmla="*/ 260639 w 260639"/>
                <a:gd name="connsiteY9" fmla="*/ 88456 h 98025"/>
                <a:gd name="connsiteX10" fmla="*/ 260639 w 260639"/>
                <a:gd name="connsiteY10" fmla="*/ 94380 h 98025"/>
                <a:gd name="connsiteX11" fmla="*/ 198669 w 260639"/>
                <a:gd name="connsiteY11" fmla="*/ 98025 h 98025"/>
                <a:gd name="connsiteX12" fmla="*/ 198669 w 260639"/>
                <a:gd name="connsiteY12" fmla="*/ 81621 h 98025"/>
                <a:gd name="connsiteX13" fmla="*/ 164950 w 260639"/>
                <a:gd name="connsiteY13" fmla="*/ 40156 h 98025"/>
                <a:gd name="connsiteX14" fmla="*/ 127358 w 260639"/>
                <a:gd name="connsiteY14" fmla="*/ 65616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60639" h="98025">
                  <a:moveTo>
                    <a:pt x="104802" y="74264"/>
                  </a:moveTo>
                  <a:lnTo>
                    <a:pt x="0" y="1618"/>
                  </a:lnTo>
                  <a:lnTo>
                    <a:pt x="0" y="1425"/>
                  </a:lnTo>
                  <a:lnTo>
                    <a:pt x="104803" y="1425"/>
                  </a:lnTo>
                  <a:close/>
                  <a:moveTo>
                    <a:pt x="122123" y="86270"/>
                  </a:moveTo>
                  <a:lnTo>
                    <a:pt x="106178" y="75218"/>
                  </a:lnTo>
                  <a:lnTo>
                    <a:pt x="116721" y="47439"/>
                  </a:lnTo>
                  <a:cubicBezTo>
                    <a:pt x="127102" y="24008"/>
                    <a:pt x="137610" y="12816"/>
                    <a:pt x="154014" y="5981"/>
                  </a:cubicBezTo>
                  <a:cubicBezTo>
                    <a:pt x="164038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50369" y="40156"/>
                    <a:pt x="137041" y="49839"/>
                    <a:pt x="127358" y="656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0" name="Forme libre : forme 169">
              <a:extLst>
                <a:ext uri="{FF2B5EF4-FFF2-40B4-BE49-F238E27FC236}">
                  <a16:creationId xmlns:a16="http://schemas.microsoft.com/office/drawing/2014/main" id="{697ACF89-8E3E-4CA4-96AD-ED3067ABB920}"/>
                </a:ext>
              </a:extLst>
            </p:cNvPr>
            <p:cNvSpPr/>
            <p:nvPr/>
          </p:nvSpPr>
          <p:spPr>
            <a:xfrm rot="8716295">
              <a:off x="1736738" y="-7282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1" name="Forme libre : forme 170">
              <a:extLst>
                <a:ext uri="{FF2B5EF4-FFF2-40B4-BE49-F238E27FC236}">
                  <a16:creationId xmlns:a16="http://schemas.microsoft.com/office/drawing/2014/main" id="{914F8714-5CD4-41D2-92D2-73A622448BB2}"/>
                </a:ext>
              </a:extLst>
            </p:cNvPr>
            <p:cNvSpPr/>
            <p:nvPr/>
          </p:nvSpPr>
          <p:spPr>
            <a:xfrm rot="7484129">
              <a:off x="2394733" y="32841"/>
              <a:ext cx="135077" cy="94074"/>
            </a:xfrm>
            <a:custGeom>
              <a:avLst/>
              <a:gdLst>
                <a:gd name="connsiteX0" fmla="*/ 100725 w 135077"/>
                <a:gd name="connsiteY0" fmla="*/ 19729 h 94074"/>
                <a:gd name="connsiteX1" fmla="*/ 135077 w 135077"/>
                <a:gd name="connsiteY1" fmla="*/ 0 h 94074"/>
                <a:gd name="connsiteX2" fmla="*/ 135077 w 135077"/>
                <a:gd name="connsiteY2" fmla="*/ 19729 h 94074"/>
                <a:gd name="connsiteX3" fmla="*/ 0 w 135077"/>
                <a:gd name="connsiteY3" fmla="*/ 77576 h 94074"/>
                <a:gd name="connsiteX4" fmla="*/ 21327 w 135077"/>
                <a:gd name="connsiteY4" fmla="*/ 65328 h 94074"/>
                <a:gd name="connsiteX5" fmla="*/ 11439 w 135077"/>
                <a:gd name="connsiteY5" fmla="*/ 94074 h 94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5077" h="94074">
                  <a:moveTo>
                    <a:pt x="100725" y="19729"/>
                  </a:moveTo>
                  <a:lnTo>
                    <a:pt x="135077" y="0"/>
                  </a:lnTo>
                  <a:lnTo>
                    <a:pt x="135077" y="19729"/>
                  </a:lnTo>
                  <a:close/>
                  <a:moveTo>
                    <a:pt x="0" y="77576"/>
                  </a:moveTo>
                  <a:lnTo>
                    <a:pt x="21327" y="65328"/>
                  </a:lnTo>
                  <a:lnTo>
                    <a:pt x="11439" y="940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3698433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uverture 1 - C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e libre : forme 4">
            <a:extLst>
              <a:ext uri="{FF2B5EF4-FFF2-40B4-BE49-F238E27FC236}">
                <a16:creationId xmlns:a16="http://schemas.microsoft.com/office/drawing/2014/main" id="{AEFD991A-ABBA-4F4C-98CF-1084947DFB28}"/>
              </a:ext>
            </a:extLst>
          </p:cNvPr>
          <p:cNvSpPr/>
          <p:nvPr userDrawn="1"/>
        </p:nvSpPr>
        <p:spPr>
          <a:xfrm>
            <a:off x="0" y="0"/>
            <a:ext cx="2476252" cy="5143500"/>
          </a:xfrm>
          <a:custGeom>
            <a:avLst/>
            <a:gdLst>
              <a:gd name="connsiteX0" fmla="*/ 0 w 2476252"/>
              <a:gd name="connsiteY0" fmla="*/ 0 h 5143500"/>
              <a:gd name="connsiteX1" fmla="*/ 2038350 w 2476252"/>
              <a:gd name="connsiteY1" fmla="*/ 0 h 5143500"/>
              <a:gd name="connsiteX2" fmla="*/ 2476252 w 2476252"/>
              <a:gd name="connsiteY2" fmla="*/ 0 h 5143500"/>
              <a:gd name="connsiteX3" fmla="*/ 2038350 w 2476252"/>
              <a:gd name="connsiteY3" fmla="*/ 5143500 h 5143500"/>
              <a:gd name="connsiteX4" fmla="*/ 0 w 2476252"/>
              <a:gd name="connsiteY4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76252" h="5143500">
                <a:moveTo>
                  <a:pt x="0" y="0"/>
                </a:moveTo>
                <a:lnTo>
                  <a:pt x="2038350" y="0"/>
                </a:lnTo>
                <a:lnTo>
                  <a:pt x="2476252" y="0"/>
                </a:lnTo>
                <a:lnTo>
                  <a:pt x="2038350" y="5143500"/>
                </a:lnTo>
                <a:lnTo>
                  <a:pt x="0" y="5143500"/>
                </a:lnTo>
                <a:close/>
              </a:path>
            </a:pathLst>
          </a:custGeom>
          <a:solidFill>
            <a:srgbClr val="3A1B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6" name="Forme libre : forme 5">
            <a:extLst>
              <a:ext uri="{FF2B5EF4-FFF2-40B4-BE49-F238E27FC236}">
                <a16:creationId xmlns:a16="http://schemas.microsoft.com/office/drawing/2014/main" id="{864821C3-7BAD-4585-9F8D-C119AC850133}"/>
              </a:ext>
            </a:extLst>
          </p:cNvPr>
          <p:cNvSpPr/>
          <p:nvPr userDrawn="1"/>
        </p:nvSpPr>
        <p:spPr>
          <a:xfrm flipH="1">
            <a:off x="2029641" y="2387470"/>
            <a:ext cx="614164" cy="2756031"/>
          </a:xfrm>
          <a:custGeom>
            <a:avLst/>
            <a:gdLst>
              <a:gd name="connsiteX0" fmla="*/ 379524 w 614164"/>
              <a:gd name="connsiteY0" fmla="*/ 0 h 2756031"/>
              <a:gd name="connsiteX1" fmla="*/ 0 w 614164"/>
              <a:gd name="connsiteY1" fmla="*/ 2756031 h 2756031"/>
              <a:gd name="connsiteX2" fmla="*/ 614164 w 614164"/>
              <a:gd name="connsiteY2" fmla="*/ 2756031 h 2756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14164" h="2756031">
                <a:moveTo>
                  <a:pt x="379524" y="0"/>
                </a:moveTo>
                <a:lnTo>
                  <a:pt x="0" y="2756031"/>
                </a:lnTo>
                <a:lnTo>
                  <a:pt x="614164" y="2756031"/>
                </a:lnTo>
                <a:close/>
              </a:path>
            </a:pathLst>
          </a:custGeom>
          <a:solidFill>
            <a:srgbClr val="009F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DA8CA9DB-B794-428D-9ECF-D4872FBA5C4C}"/>
              </a:ext>
            </a:extLst>
          </p:cNvPr>
          <p:cNvGrpSpPr/>
          <p:nvPr userDrawn="1"/>
        </p:nvGrpSpPr>
        <p:grpSpPr>
          <a:xfrm>
            <a:off x="-134707" y="-72828"/>
            <a:ext cx="2658992" cy="5335244"/>
            <a:chOff x="-134707" y="-72828"/>
            <a:chExt cx="2658992" cy="5335244"/>
          </a:xfrm>
          <a:solidFill>
            <a:schemeClr val="bg2">
              <a:alpha val="10000"/>
            </a:schemeClr>
          </a:solidFill>
        </p:grpSpPr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81E41836-E956-4188-9AAC-A83AE8900453}"/>
                </a:ext>
              </a:extLst>
            </p:cNvPr>
            <p:cNvSpPr/>
            <p:nvPr/>
          </p:nvSpPr>
          <p:spPr>
            <a:xfrm rot="8716295">
              <a:off x="1460344" y="348006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6217F1CC-5E84-40FC-88E7-C42A2398F84B}"/>
                </a:ext>
              </a:extLst>
            </p:cNvPr>
            <p:cNvSpPr/>
            <p:nvPr/>
          </p:nvSpPr>
          <p:spPr>
            <a:xfrm rot="8716295">
              <a:off x="1595642" y="352432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B80A1B59-7F4C-4E95-8CB7-0AACC6C05627}"/>
                </a:ext>
              </a:extLst>
            </p:cNvPr>
            <p:cNvSpPr/>
            <p:nvPr/>
          </p:nvSpPr>
          <p:spPr>
            <a:xfrm rot="8716295">
              <a:off x="1527760" y="339373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8728A690-34B9-4DFF-8734-9F6EBD35EBC5}"/>
                </a:ext>
              </a:extLst>
            </p:cNvPr>
            <p:cNvSpPr/>
            <p:nvPr/>
          </p:nvSpPr>
          <p:spPr>
            <a:xfrm rot="8716295">
              <a:off x="1290473" y="361408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2927191B-5C8D-4149-8DBA-718546C29906}"/>
                </a:ext>
              </a:extLst>
            </p:cNvPr>
            <p:cNvSpPr/>
            <p:nvPr/>
          </p:nvSpPr>
          <p:spPr>
            <a:xfrm rot="8716295">
              <a:off x="1101427" y="329824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375566C6-9E02-4DD8-8C3B-267A6C61A667}"/>
                </a:ext>
              </a:extLst>
            </p:cNvPr>
            <p:cNvSpPr/>
            <p:nvPr/>
          </p:nvSpPr>
          <p:spPr>
            <a:xfrm rot="8716295">
              <a:off x="1083185" y="3088198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1A3C2C2D-7CBE-4F9B-8B8B-959B1D778E3E}"/>
                </a:ext>
              </a:extLst>
            </p:cNvPr>
            <p:cNvSpPr/>
            <p:nvPr/>
          </p:nvSpPr>
          <p:spPr>
            <a:xfrm rot="8716295">
              <a:off x="1426961" y="367606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8EB673A3-36B5-4724-AE91-A9B8454C1396}"/>
                </a:ext>
              </a:extLst>
            </p:cNvPr>
            <p:cNvSpPr/>
            <p:nvPr/>
          </p:nvSpPr>
          <p:spPr>
            <a:xfrm rot="8716295">
              <a:off x="1897908" y="310145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F8EEA06C-B620-4C52-ACA9-B6AC8852992A}"/>
                </a:ext>
              </a:extLst>
            </p:cNvPr>
            <p:cNvSpPr/>
            <p:nvPr/>
          </p:nvSpPr>
          <p:spPr>
            <a:xfrm rot="8716295">
              <a:off x="2028620" y="3176625"/>
              <a:ext cx="305088" cy="336622"/>
            </a:xfrm>
            <a:custGeom>
              <a:avLst/>
              <a:gdLst>
                <a:gd name="connsiteX0" fmla="*/ 211294 w 305088"/>
                <a:gd name="connsiteY0" fmla="*/ 107197 h 336622"/>
                <a:gd name="connsiteX1" fmla="*/ 211294 w 305088"/>
                <a:gd name="connsiteY1" fmla="*/ 82369 h 336622"/>
                <a:gd name="connsiteX2" fmla="*/ 211017 w 305088"/>
                <a:gd name="connsiteY2" fmla="*/ 81498 h 336622"/>
                <a:gd name="connsiteX3" fmla="*/ 278425 w 305088"/>
                <a:gd name="connsiteY3" fmla="*/ 0 h 336622"/>
                <a:gd name="connsiteX4" fmla="*/ 297297 w 305088"/>
                <a:gd name="connsiteY4" fmla="*/ 35535 h 336622"/>
                <a:gd name="connsiteX5" fmla="*/ 305088 w 305088"/>
                <a:gd name="connsiteY5" fmla="*/ 92713 h 336622"/>
                <a:gd name="connsiteX6" fmla="*/ 305088 w 305088"/>
                <a:gd name="connsiteY6" fmla="*/ 101679 h 336622"/>
                <a:gd name="connsiteX7" fmla="*/ 0 w 305088"/>
                <a:gd name="connsiteY7" fmla="*/ 336622 h 336622"/>
                <a:gd name="connsiteX8" fmla="*/ 79568 w 305088"/>
                <a:gd name="connsiteY8" fmla="*/ 240423 h 336622"/>
                <a:gd name="connsiteX9" fmla="*/ 79568 w 305088"/>
                <a:gd name="connsiteY9" fmla="*/ 282372 h 33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5088" h="336622">
                  <a:moveTo>
                    <a:pt x="211294" y="107197"/>
                  </a:moveTo>
                  <a:lnTo>
                    <a:pt x="211294" y="82369"/>
                  </a:lnTo>
                  <a:lnTo>
                    <a:pt x="211017" y="81498"/>
                  </a:lnTo>
                  <a:lnTo>
                    <a:pt x="278425" y="0"/>
                  </a:lnTo>
                  <a:lnTo>
                    <a:pt x="297297" y="35535"/>
                  </a:lnTo>
                  <a:cubicBezTo>
                    <a:pt x="302416" y="52195"/>
                    <a:pt x="305088" y="71334"/>
                    <a:pt x="305088" y="92713"/>
                  </a:cubicBezTo>
                  <a:lnTo>
                    <a:pt x="305088" y="101679"/>
                  </a:lnTo>
                  <a:close/>
                  <a:moveTo>
                    <a:pt x="0" y="336622"/>
                  </a:moveTo>
                  <a:lnTo>
                    <a:pt x="79568" y="240423"/>
                  </a:lnTo>
                  <a:lnTo>
                    <a:pt x="79568" y="28237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84C08685-C991-44FD-898B-8BF95960C6B9}"/>
                </a:ext>
              </a:extLst>
            </p:cNvPr>
            <p:cNvSpPr/>
            <p:nvPr/>
          </p:nvSpPr>
          <p:spPr>
            <a:xfrm rot="8716295">
              <a:off x="1728037" y="323546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75F06F9A-B5F6-494A-BA46-78E41263CC81}"/>
                </a:ext>
              </a:extLst>
            </p:cNvPr>
            <p:cNvSpPr/>
            <p:nvPr/>
          </p:nvSpPr>
          <p:spPr>
            <a:xfrm rot="8716295">
              <a:off x="1538992" y="291963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CE3913D0-3ECC-49C2-BFCE-2E22945EB24B}"/>
                </a:ext>
              </a:extLst>
            </p:cNvPr>
            <p:cNvSpPr/>
            <p:nvPr/>
          </p:nvSpPr>
          <p:spPr>
            <a:xfrm rot="8716295">
              <a:off x="1864525" y="329745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ACF63173-E092-4F8A-A29A-250C09066948}"/>
                </a:ext>
              </a:extLst>
            </p:cNvPr>
            <p:cNvSpPr/>
            <p:nvPr/>
          </p:nvSpPr>
          <p:spPr>
            <a:xfrm rot="8716295">
              <a:off x="1499078" y="307102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7EFA26CA-A39B-4E8B-847D-F85F8518030F}"/>
                </a:ext>
              </a:extLst>
            </p:cNvPr>
            <p:cNvSpPr/>
            <p:nvPr/>
          </p:nvSpPr>
          <p:spPr>
            <a:xfrm rot="7484129">
              <a:off x="2004987" y="3639772"/>
              <a:ext cx="221889" cy="221665"/>
            </a:xfrm>
            <a:custGeom>
              <a:avLst/>
              <a:gdLst>
                <a:gd name="connsiteX0" fmla="*/ 206330 w 221889"/>
                <a:gd name="connsiteY0" fmla="*/ 8936 h 221665"/>
                <a:gd name="connsiteX1" fmla="*/ 221889 w 221889"/>
                <a:gd name="connsiteY1" fmla="*/ 0 h 221665"/>
                <a:gd name="connsiteX2" fmla="*/ 221889 w 221889"/>
                <a:gd name="connsiteY2" fmla="*/ 8936 h 221665"/>
                <a:gd name="connsiteX3" fmla="*/ 50650 w 221889"/>
                <a:gd name="connsiteY3" fmla="*/ 221665 h 221665"/>
                <a:gd name="connsiteX4" fmla="*/ 0 w 221889"/>
                <a:gd name="connsiteY4" fmla="*/ 127433 h 221665"/>
                <a:gd name="connsiteX5" fmla="*/ 103511 w 221889"/>
                <a:gd name="connsiteY5" fmla="*/ 67986 h 221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1889" h="221665">
                  <a:moveTo>
                    <a:pt x="206330" y="8936"/>
                  </a:moveTo>
                  <a:lnTo>
                    <a:pt x="221889" y="0"/>
                  </a:lnTo>
                  <a:lnTo>
                    <a:pt x="221889" y="8936"/>
                  </a:lnTo>
                  <a:close/>
                  <a:moveTo>
                    <a:pt x="50650" y="221665"/>
                  </a:moveTo>
                  <a:lnTo>
                    <a:pt x="0" y="127433"/>
                  </a:lnTo>
                  <a:lnTo>
                    <a:pt x="103511" y="6798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54CB42FE-32B8-4C2C-A4AB-C4F8B84705EC}"/>
                </a:ext>
              </a:extLst>
            </p:cNvPr>
            <p:cNvSpPr/>
            <p:nvPr/>
          </p:nvSpPr>
          <p:spPr>
            <a:xfrm rot="8716295">
              <a:off x="2016311" y="313524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B97467BE-761E-4E11-AD12-792548131E9F}"/>
                </a:ext>
              </a:extLst>
            </p:cNvPr>
            <p:cNvSpPr/>
            <p:nvPr/>
          </p:nvSpPr>
          <p:spPr>
            <a:xfrm rot="8716295">
              <a:off x="1796861" y="4478944"/>
              <a:ext cx="215176" cy="351729"/>
            </a:xfrm>
            <a:custGeom>
              <a:avLst/>
              <a:gdLst>
                <a:gd name="connsiteX0" fmla="*/ 122761 w 215176"/>
                <a:gd name="connsiteY0" fmla="*/ 351729 h 351729"/>
                <a:gd name="connsiteX1" fmla="*/ 122761 w 215176"/>
                <a:gd name="connsiteY1" fmla="*/ 105519 h 351729"/>
                <a:gd name="connsiteX2" fmla="*/ 122761 w 215176"/>
                <a:gd name="connsiteY2" fmla="*/ 99312 h 351729"/>
                <a:gd name="connsiteX3" fmla="*/ 91726 w 215176"/>
                <a:gd name="connsiteY3" fmla="*/ 75863 h 351729"/>
                <a:gd name="connsiteX4" fmla="*/ 0 w 215176"/>
                <a:gd name="connsiteY4" fmla="*/ 75863 h 351729"/>
                <a:gd name="connsiteX5" fmla="*/ 0 w 215176"/>
                <a:gd name="connsiteY5" fmla="*/ 31564 h 351729"/>
                <a:gd name="connsiteX6" fmla="*/ 26107 w 215176"/>
                <a:gd name="connsiteY6" fmla="*/ 0 h 351729"/>
                <a:gd name="connsiteX7" fmla="*/ 128968 w 215176"/>
                <a:gd name="connsiteY7" fmla="*/ 0 h 351729"/>
                <a:gd name="connsiteX8" fmla="*/ 215176 w 215176"/>
                <a:gd name="connsiteY8" fmla="*/ 75863 h 351729"/>
                <a:gd name="connsiteX9" fmla="*/ 215176 w 215176"/>
                <a:gd name="connsiteY9" fmla="*/ 315177 h 351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5176" h="351729">
                  <a:moveTo>
                    <a:pt x="122761" y="35172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31564"/>
                  </a:lnTo>
                  <a:lnTo>
                    <a:pt x="26107" y="0"/>
                  </a:lnTo>
                  <a:lnTo>
                    <a:pt x="128968" y="0"/>
                  </a:lnTo>
                  <a:cubicBezTo>
                    <a:pt x="184831" y="0"/>
                    <a:pt x="215176" y="24139"/>
                    <a:pt x="215176" y="75863"/>
                  </a:cubicBezTo>
                  <a:lnTo>
                    <a:pt x="215176" y="3151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8C358B06-CFB8-4D7E-B58B-64076A590B10}"/>
                </a:ext>
              </a:extLst>
            </p:cNvPr>
            <p:cNvSpPr/>
            <p:nvPr/>
          </p:nvSpPr>
          <p:spPr>
            <a:xfrm rot="8716295">
              <a:off x="1938756" y="4602084"/>
              <a:ext cx="253340" cy="284725"/>
            </a:xfrm>
            <a:custGeom>
              <a:avLst/>
              <a:gdLst>
                <a:gd name="connsiteX0" fmla="*/ 160632 w 253340"/>
                <a:gd name="connsiteY0" fmla="*/ 90518 h 284725"/>
                <a:gd name="connsiteX1" fmla="*/ 235501 w 253340"/>
                <a:gd name="connsiteY1" fmla="*/ 0 h 284725"/>
                <a:gd name="connsiteX2" fmla="*/ 245549 w 253340"/>
                <a:gd name="connsiteY2" fmla="*/ 18921 h 284725"/>
                <a:gd name="connsiteX3" fmla="*/ 253340 w 253340"/>
                <a:gd name="connsiteY3" fmla="*/ 76098 h 284725"/>
                <a:gd name="connsiteX4" fmla="*/ 253340 w 253340"/>
                <a:gd name="connsiteY4" fmla="*/ 85064 h 284725"/>
                <a:gd name="connsiteX5" fmla="*/ 0 w 253340"/>
                <a:gd name="connsiteY5" fmla="*/ 284725 h 284725"/>
                <a:gd name="connsiteX6" fmla="*/ 27820 w 253340"/>
                <a:gd name="connsiteY6" fmla="*/ 251090 h 284725"/>
                <a:gd name="connsiteX7" fmla="*/ 27820 w 253340"/>
                <a:gd name="connsiteY7" fmla="*/ 265757 h 28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3340" h="284725">
                  <a:moveTo>
                    <a:pt x="160632" y="90518"/>
                  </a:moveTo>
                  <a:lnTo>
                    <a:pt x="235501" y="0"/>
                  </a:lnTo>
                  <a:lnTo>
                    <a:pt x="245549" y="18921"/>
                  </a:lnTo>
                  <a:cubicBezTo>
                    <a:pt x="250668" y="35581"/>
                    <a:pt x="253340" y="54719"/>
                    <a:pt x="253340" y="76098"/>
                  </a:cubicBezTo>
                  <a:lnTo>
                    <a:pt x="253340" y="85064"/>
                  </a:lnTo>
                  <a:close/>
                  <a:moveTo>
                    <a:pt x="0" y="284725"/>
                  </a:moveTo>
                  <a:lnTo>
                    <a:pt x="27820" y="251090"/>
                  </a:lnTo>
                  <a:lnTo>
                    <a:pt x="27820" y="26575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55465226-9705-450D-9333-C6F18EA9DA5B}"/>
                </a:ext>
              </a:extLst>
            </p:cNvPr>
            <p:cNvSpPr/>
            <p:nvPr/>
          </p:nvSpPr>
          <p:spPr>
            <a:xfrm rot="8716295">
              <a:off x="1865533" y="439222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14393A34-234C-4F82-B937-651BE2C2EB26}"/>
                </a:ext>
              </a:extLst>
            </p:cNvPr>
            <p:cNvSpPr/>
            <p:nvPr/>
          </p:nvSpPr>
          <p:spPr>
            <a:xfrm rot="8716295">
              <a:off x="1628246" y="461256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C8A075BE-A4F2-4F84-B522-C6E43EFD2240}"/>
                </a:ext>
              </a:extLst>
            </p:cNvPr>
            <p:cNvSpPr/>
            <p:nvPr/>
          </p:nvSpPr>
          <p:spPr>
            <a:xfrm rot="8716295">
              <a:off x="1439200" y="42967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56AB483C-9DB6-4B2C-B13B-6356C19C1FBB}"/>
                </a:ext>
              </a:extLst>
            </p:cNvPr>
            <p:cNvSpPr/>
            <p:nvPr/>
          </p:nvSpPr>
          <p:spPr>
            <a:xfrm rot="8716295">
              <a:off x="1420958" y="408668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AFF52EFA-F302-42BC-851E-3ECAD5E2BCCE}"/>
                </a:ext>
              </a:extLst>
            </p:cNvPr>
            <p:cNvSpPr/>
            <p:nvPr/>
          </p:nvSpPr>
          <p:spPr>
            <a:xfrm rot="8716295">
              <a:off x="1764734" y="467454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DD8C6387-B92F-4AE3-84AA-9699909C3151}"/>
                </a:ext>
              </a:extLst>
            </p:cNvPr>
            <p:cNvSpPr/>
            <p:nvPr/>
          </p:nvSpPr>
          <p:spPr>
            <a:xfrm rot="8716295">
              <a:off x="2058111" y="4234218"/>
              <a:ext cx="77302" cy="80483"/>
            </a:xfrm>
            <a:custGeom>
              <a:avLst/>
              <a:gdLst>
                <a:gd name="connsiteX0" fmla="*/ 2300 w 77302"/>
                <a:gd name="connsiteY0" fmla="*/ 68069 h 80483"/>
                <a:gd name="connsiteX1" fmla="*/ 0 w 77302"/>
                <a:gd name="connsiteY1" fmla="*/ 62622 h 80483"/>
                <a:gd name="connsiteX2" fmla="*/ 51796 w 77302"/>
                <a:gd name="connsiteY2" fmla="*/ 0 h 80483"/>
                <a:gd name="connsiteX3" fmla="*/ 64371 w 77302"/>
                <a:gd name="connsiteY3" fmla="*/ 5309 h 80483"/>
                <a:gd name="connsiteX4" fmla="*/ 64371 w 77302"/>
                <a:gd name="connsiteY4" fmla="*/ 67380 h 80483"/>
                <a:gd name="connsiteX5" fmla="*/ 33335 w 77302"/>
                <a:gd name="connsiteY5" fmla="*/ 80483 h 80483"/>
                <a:gd name="connsiteX6" fmla="*/ 2300 w 77302"/>
                <a:gd name="connsiteY6" fmla="*/ 68069 h 80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7302" h="80483">
                  <a:moveTo>
                    <a:pt x="2300" y="68069"/>
                  </a:moveTo>
                  <a:lnTo>
                    <a:pt x="0" y="62622"/>
                  </a:lnTo>
                  <a:lnTo>
                    <a:pt x="51796" y="0"/>
                  </a:lnTo>
                  <a:lnTo>
                    <a:pt x="64371" y="5309"/>
                  </a:lnTo>
                  <a:cubicBezTo>
                    <a:pt x="81612" y="21861"/>
                    <a:pt x="81613" y="50138"/>
                    <a:pt x="64371" y="67380"/>
                  </a:cubicBezTo>
                  <a:cubicBezTo>
                    <a:pt x="56095" y="75656"/>
                    <a:pt x="45060" y="80483"/>
                    <a:pt x="33335" y="80483"/>
                  </a:cubicBezTo>
                  <a:cubicBezTo>
                    <a:pt x="21611" y="80483"/>
                    <a:pt x="10576" y="76345"/>
                    <a:pt x="2300" y="6806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7D76A85F-9EC7-4610-8B93-DADD647681CA}"/>
                </a:ext>
              </a:extLst>
            </p:cNvPr>
            <p:cNvSpPr/>
            <p:nvPr/>
          </p:nvSpPr>
          <p:spPr>
            <a:xfrm rot="8716295">
              <a:off x="1876235" y="3938134"/>
              <a:ext cx="237808" cy="296463"/>
            </a:xfrm>
            <a:custGeom>
              <a:avLst/>
              <a:gdLst>
                <a:gd name="connsiteX0" fmla="*/ 66569 w 237808"/>
                <a:gd name="connsiteY0" fmla="*/ 296463 h 296463"/>
                <a:gd name="connsiteX1" fmla="*/ 1694 w 237808"/>
                <a:gd name="connsiteY1" fmla="*/ 175766 h 296463"/>
                <a:gd name="connsiteX2" fmla="*/ 34886 w 237808"/>
                <a:gd name="connsiteY2" fmla="*/ 83734 h 296463"/>
                <a:gd name="connsiteX3" fmla="*/ 0 w 237808"/>
                <a:gd name="connsiteY3" fmla="*/ 83734 h 296463"/>
                <a:gd name="connsiteX4" fmla="*/ 69258 w 237808"/>
                <a:gd name="connsiteY4" fmla="*/ 0 h 296463"/>
                <a:gd name="connsiteX5" fmla="*/ 237808 w 237808"/>
                <a:gd name="connsiteY5" fmla="*/ 0 h 296463"/>
                <a:gd name="connsiteX6" fmla="*/ 237808 w 237808"/>
                <a:gd name="connsiteY6" fmla="*/ 83734 h 296463"/>
                <a:gd name="connsiteX7" fmla="*/ 139741 w 237808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7808" h="296463">
                  <a:moveTo>
                    <a:pt x="66569" y="296463"/>
                  </a:moveTo>
                  <a:lnTo>
                    <a:pt x="1694" y="175766"/>
                  </a:lnTo>
                  <a:lnTo>
                    <a:pt x="34886" y="83734"/>
                  </a:lnTo>
                  <a:lnTo>
                    <a:pt x="0" y="83734"/>
                  </a:lnTo>
                  <a:lnTo>
                    <a:pt x="69258" y="0"/>
                  </a:lnTo>
                  <a:lnTo>
                    <a:pt x="237808" y="0"/>
                  </a:lnTo>
                  <a:lnTo>
                    <a:pt x="237808" y="83734"/>
                  </a:lnTo>
                  <a:lnTo>
                    <a:pt x="139741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1D9CF1AF-A09A-459A-A4AB-D88D1905EA6F}"/>
                </a:ext>
              </a:extLst>
            </p:cNvPr>
            <p:cNvSpPr/>
            <p:nvPr/>
          </p:nvSpPr>
          <p:spPr>
            <a:xfrm rot="8716295">
              <a:off x="1836851" y="406950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33B04AAC-330F-42F9-9C1F-3BB73DEAD114}"/>
                </a:ext>
              </a:extLst>
            </p:cNvPr>
            <p:cNvSpPr/>
            <p:nvPr/>
          </p:nvSpPr>
          <p:spPr>
            <a:xfrm rot="8716295">
              <a:off x="1827832" y="5057264"/>
              <a:ext cx="219410" cy="140851"/>
            </a:xfrm>
            <a:custGeom>
              <a:avLst/>
              <a:gdLst>
                <a:gd name="connsiteX0" fmla="*/ 27373 w 219410"/>
                <a:gd name="connsiteY0" fmla="*/ 96063 h 140851"/>
                <a:gd name="connsiteX1" fmla="*/ 1953 w 219410"/>
                <a:gd name="connsiteY1" fmla="*/ 53941 h 140851"/>
                <a:gd name="connsiteX2" fmla="*/ 0 w 219410"/>
                <a:gd name="connsiteY2" fmla="*/ 43352 h 140851"/>
                <a:gd name="connsiteX3" fmla="*/ 35858 w 219410"/>
                <a:gd name="connsiteY3" fmla="*/ 0 h 140851"/>
                <a:gd name="connsiteX4" fmla="*/ 219410 w 219410"/>
                <a:gd name="connsiteY4" fmla="*/ 127232 h 140851"/>
                <a:gd name="connsiteX5" fmla="*/ 200448 w 219410"/>
                <a:gd name="connsiteY5" fmla="*/ 132296 h 140851"/>
                <a:gd name="connsiteX6" fmla="*/ 136904 w 219410"/>
                <a:gd name="connsiteY6" fmla="*/ 140588 h 140851"/>
                <a:gd name="connsiteX7" fmla="*/ 27373 w 219410"/>
                <a:gd name="connsiteY7" fmla="*/ 96063 h 140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9410" h="140851">
                  <a:moveTo>
                    <a:pt x="27373" y="96063"/>
                  </a:moveTo>
                  <a:cubicBezTo>
                    <a:pt x="16020" y="85043"/>
                    <a:pt x="7797" y="71018"/>
                    <a:pt x="1953" y="53941"/>
                  </a:cubicBezTo>
                  <a:lnTo>
                    <a:pt x="0" y="43352"/>
                  </a:lnTo>
                  <a:lnTo>
                    <a:pt x="35858" y="0"/>
                  </a:lnTo>
                  <a:lnTo>
                    <a:pt x="219410" y="127232"/>
                  </a:lnTo>
                  <a:lnTo>
                    <a:pt x="200448" y="132296"/>
                  </a:lnTo>
                  <a:cubicBezTo>
                    <a:pt x="176976" y="136859"/>
                    <a:pt x="155381" y="139475"/>
                    <a:pt x="136904" y="140588"/>
                  </a:cubicBezTo>
                  <a:cubicBezTo>
                    <a:pt x="95942" y="143260"/>
                    <a:pt x="55870" y="125450"/>
                    <a:pt x="27373" y="960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24E0BB53-945A-402E-838B-93267E59D513}"/>
                </a:ext>
              </a:extLst>
            </p:cNvPr>
            <p:cNvSpPr/>
            <p:nvPr/>
          </p:nvSpPr>
          <p:spPr>
            <a:xfrm rot="8716295">
              <a:off x="1125067" y="247965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6C251D8C-A5D9-4ECA-AD3B-1A05AB92D036}"/>
                </a:ext>
              </a:extLst>
            </p:cNvPr>
            <p:cNvSpPr/>
            <p:nvPr/>
          </p:nvSpPr>
          <p:spPr>
            <a:xfrm rot="8716295">
              <a:off x="1260365" y="252391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8B96FE87-2D5C-4688-844D-4E74C72A4B6C}"/>
                </a:ext>
              </a:extLst>
            </p:cNvPr>
            <p:cNvSpPr/>
            <p:nvPr/>
          </p:nvSpPr>
          <p:spPr>
            <a:xfrm rot="8716295">
              <a:off x="1192483" y="2393326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582D3CFC-4736-4E25-B369-A4CE70A870B5}"/>
                </a:ext>
              </a:extLst>
            </p:cNvPr>
            <p:cNvSpPr/>
            <p:nvPr/>
          </p:nvSpPr>
          <p:spPr>
            <a:xfrm rot="8716295">
              <a:off x="955196" y="261367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005E4ED8-B75C-4EF1-8BE9-2F684ADC8702}"/>
                </a:ext>
              </a:extLst>
            </p:cNvPr>
            <p:cNvSpPr/>
            <p:nvPr/>
          </p:nvSpPr>
          <p:spPr>
            <a:xfrm rot="8716295">
              <a:off x="766149" y="229783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AFABF28F-6E8A-4957-B94B-921C1E69A440}"/>
                </a:ext>
              </a:extLst>
            </p:cNvPr>
            <p:cNvSpPr/>
            <p:nvPr/>
          </p:nvSpPr>
          <p:spPr>
            <a:xfrm rot="8716295">
              <a:off x="747908" y="2087785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A9A47BF0-B3E6-4CA8-B1F1-FEC766FA52E5}"/>
                </a:ext>
              </a:extLst>
            </p:cNvPr>
            <p:cNvSpPr/>
            <p:nvPr/>
          </p:nvSpPr>
          <p:spPr>
            <a:xfrm rot="8716295">
              <a:off x="1091684" y="2675653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E9996FB1-6163-4708-89D3-37E7BECE1764}"/>
                </a:ext>
              </a:extLst>
            </p:cNvPr>
            <p:cNvSpPr/>
            <p:nvPr/>
          </p:nvSpPr>
          <p:spPr>
            <a:xfrm rot="8716295">
              <a:off x="1562630" y="210103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A1CE2F3B-6619-4775-85F0-1C1F8C974630}"/>
                </a:ext>
              </a:extLst>
            </p:cNvPr>
            <p:cNvSpPr/>
            <p:nvPr/>
          </p:nvSpPr>
          <p:spPr>
            <a:xfrm rot="8716295">
              <a:off x="1697929" y="214529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8284C668-CF6A-429F-A20E-B2542F51FB46}"/>
                </a:ext>
              </a:extLst>
            </p:cNvPr>
            <p:cNvSpPr/>
            <p:nvPr/>
          </p:nvSpPr>
          <p:spPr>
            <a:xfrm rot="8716295">
              <a:off x="1392759" y="223505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AA01786E-CED8-47C1-98FC-809C875C8CD9}"/>
                </a:ext>
              </a:extLst>
            </p:cNvPr>
            <p:cNvSpPr/>
            <p:nvPr/>
          </p:nvSpPr>
          <p:spPr>
            <a:xfrm rot="8716295">
              <a:off x="1203715" y="191921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2425A90E-FE44-45AD-B145-151A84FF9C22}"/>
                </a:ext>
              </a:extLst>
            </p:cNvPr>
            <p:cNvSpPr/>
            <p:nvPr/>
          </p:nvSpPr>
          <p:spPr>
            <a:xfrm rot="8716295">
              <a:off x="1529248" y="2297037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C0E93116-88EE-4D50-8215-854EE6AEF62E}"/>
                </a:ext>
              </a:extLst>
            </p:cNvPr>
            <p:cNvSpPr/>
            <p:nvPr/>
          </p:nvSpPr>
          <p:spPr>
            <a:xfrm rot="8716295">
              <a:off x="1163801" y="2070611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97447593-0A4C-444A-8AD1-F14699136B1C}"/>
                </a:ext>
              </a:extLst>
            </p:cNvPr>
            <p:cNvSpPr/>
            <p:nvPr/>
          </p:nvSpPr>
          <p:spPr>
            <a:xfrm rot="7484129">
              <a:off x="1688065" y="258665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E8FA1E58-23E1-4418-9B7C-2F5C67C32BDC}"/>
                </a:ext>
              </a:extLst>
            </p:cNvPr>
            <p:cNvSpPr/>
            <p:nvPr/>
          </p:nvSpPr>
          <p:spPr>
            <a:xfrm rot="13089394">
              <a:off x="1845023" y="2531236"/>
              <a:ext cx="412568" cy="496925"/>
            </a:xfrm>
            <a:custGeom>
              <a:avLst/>
              <a:gdLst>
                <a:gd name="connsiteX0" fmla="*/ 412568 w 412568"/>
                <a:gd name="connsiteY0" fmla="*/ 390854 h 496925"/>
                <a:gd name="connsiteX1" fmla="*/ 198232 w 412568"/>
                <a:gd name="connsiteY1" fmla="*/ 489977 h 496925"/>
                <a:gd name="connsiteX2" fmla="*/ 144991 w 412568"/>
                <a:gd name="connsiteY2" fmla="*/ 496925 h 496925"/>
                <a:gd name="connsiteX3" fmla="*/ 0 w 412568"/>
                <a:gd name="connsiteY3" fmla="*/ 276116 h 496925"/>
                <a:gd name="connsiteX4" fmla="*/ 0 w 412568"/>
                <a:gd name="connsiteY4" fmla="*/ 57626 h 496925"/>
                <a:gd name="connsiteX5" fmla="*/ 111075 w 412568"/>
                <a:gd name="connsiteY5" fmla="*/ 0 h 496925"/>
                <a:gd name="connsiteX6" fmla="*/ 112747 w 412568"/>
                <a:gd name="connsiteY6" fmla="*/ 233009 h 496925"/>
                <a:gd name="connsiteX7" fmla="*/ 132789 w 412568"/>
                <a:gd name="connsiteY7" fmla="*/ 371646 h 496925"/>
                <a:gd name="connsiteX8" fmla="*/ 233008 w 412568"/>
                <a:gd name="connsiteY8" fmla="*/ 426766 h 496925"/>
                <a:gd name="connsiteX9" fmla="*/ 308173 w 412568"/>
                <a:gd name="connsiteY9" fmla="*/ 413403 h 496925"/>
                <a:gd name="connsiteX10" fmla="*/ 410897 w 412568"/>
                <a:gd name="connsiteY10" fmla="*/ 371646 h 496925"/>
                <a:gd name="connsiteX11" fmla="*/ 412568 w 412568"/>
                <a:gd name="connsiteY11" fmla="*/ 382502 h 496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2568" h="496925">
                  <a:moveTo>
                    <a:pt x="412568" y="390854"/>
                  </a:moveTo>
                  <a:cubicBezTo>
                    <a:pt x="346173" y="447854"/>
                    <a:pt x="264275" y="477136"/>
                    <a:pt x="198232" y="489977"/>
                  </a:cubicBezTo>
                  <a:lnTo>
                    <a:pt x="144991" y="496925"/>
                  </a:lnTo>
                  <a:lnTo>
                    <a:pt x="0" y="276116"/>
                  </a:lnTo>
                  <a:lnTo>
                    <a:pt x="0" y="57626"/>
                  </a:lnTo>
                  <a:lnTo>
                    <a:pt x="111075" y="0"/>
                  </a:lnTo>
                  <a:lnTo>
                    <a:pt x="112747" y="233009"/>
                  </a:lnTo>
                  <a:cubicBezTo>
                    <a:pt x="110241" y="279778"/>
                    <a:pt x="117757" y="327382"/>
                    <a:pt x="132789" y="371646"/>
                  </a:cubicBezTo>
                  <a:cubicBezTo>
                    <a:pt x="146153" y="408393"/>
                    <a:pt x="180394" y="426766"/>
                    <a:pt x="233008" y="426766"/>
                  </a:cubicBezTo>
                  <a:cubicBezTo>
                    <a:pt x="258899" y="425930"/>
                    <a:pt x="283953" y="420919"/>
                    <a:pt x="308173" y="413403"/>
                  </a:cubicBezTo>
                  <a:cubicBezTo>
                    <a:pt x="343249" y="402546"/>
                    <a:pt x="377491" y="388349"/>
                    <a:pt x="410897" y="371646"/>
                  </a:cubicBezTo>
                  <a:cubicBezTo>
                    <a:pt x="411732" y="374986"/>
                    <a:pt x="412568" y="379161"/>
                    <a:pt x="412568" y="38250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18E16AF5-15DE-4CED-B67B-CF099D4DD885}"/>
                </a:ext>
              </a:extLst>
            </p:cNvPr>
            <p:cNvSpPr/>
            <p:nvPr/>
          </p:nvSpPr>
          <p:spPr>
            <a:xfrm rot="8716295">
              <a:off x="2147054" y="2332037"/>
              <a:ext cx="207668" cy="192886"/>
            </a:xfrm>
            <a:custGeom>
              <a:avLst/>
              <a:gdLst>
                <a:gd name="connsiteX0" fmla="*/ 0 w 207668"/>
                <a:gd name="connsiteY0" fmla="*/ 192886 h 192886"/>
                <a:gd name="connsiteX1" fmla="*/ 159539 w 207668"/>
                <a:gd name="connsiteY1" fmla="*/ 0 h 192886"/>
                <a:gd name="connsiteX2" fmla="*/ 181588 w 207668"/>
                <a:gd name="connsiteY2" fmla="*/ 5201 h 192886"/>
                <a:gd name="connsiteX3" fmla="*/ 207668 w 207668"/>
                <a:gd name="connsiteY3" fmla="*/ 59649 h 192886"/>
                <a:gd name="connsiteX4" fmla="*/ 160490 w 207668"/>
                <a:gd name="connsiteY4" fmla="*/ 123096 h 192886"/>
                <a:gd name="connsiteX5" fmla="*/ 161303 w 207668"/>
                <a:gd name="connsiteY5" fmla="*/ 123096 h 192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668" h="192886">
                  <a:moveTo>
                    <a:pt x="0" y="192886"/>
                  </a:moveTo>
                  <a:lnTo>
                    <a:pt x="159539" y="0"/>
                  </a:lnTo>
                  <a:lnTo>
                    <a:pt x="181588" y="5201"/>
                  </a:lnTo>
                  <a:cubicBezTo>
                    <a:pt x="201262" y="16029"/>
                    <a:pt x="207668" y="40127"/>
                    <a:pt x="207668" y="59649"/>
                  </a:cubicBezTo>
                  <a:cubicBezTo>
                    <a:pt x="205228" y="88119"/>
                    <a:pt x="186518" y="111708"/>
                    <a:pt x="160490" y="123096"/>
                  </a:cubicBezTo>
                  <a:lnTo>
                    <a:pt x="161303" y="1230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EE7EA580-766E-4570-A7DD-55A7181E9140}"/>
                </a:ext>
              </a:extLst>
            </p:cNvPr>
            <p:cNvSpPr/>
            <p:nvPr/>
          </p:nvSpPr>
          <p:spPr>
            <a:xfrm rot="8716295">
              <a:off x="2049197" y="208909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89C54D82-6DB7-45E9-8646-AF058AAE6AFE}"/>
                </a:ext>
              </a:extLst>
            </p:cNvPr>
            <p:cNvSpPr/>
            <p:nvPr/>
          </p:nvSpPr>
          <p:spPr>
            <a:xfrm rot="8716295">
              <a:off x="1681033" y="21348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350EA871-183D-437B-B28B-EF893E9A4930}"/>
                </a:ext>
              </a:extLst>
            </p:cNvPr>
            <p:cNvSpPr/>
            <p:nvPr/>
          </p:nvSpPr>
          <p:spPr>
            <a:xfrm rot="8716295">
              <a:off x="1949615" y="189381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7625BF35-EB3E-4083-8310-66A6ABEEBE81}"/>
                </a:ext>
              </a:extLst>
            </p:cNvPr>
            <p:cNvSpPr/>
            <p:nvPr/>
          </p:nvSpPr>
          <p:spPr>
            <a:xfrm rot="8716295">
              <a:off x="787294" y="148117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4A278F8F-FAFA-4D7A-877C-29D91BF541D4}"/>
                </a:ext>
              </a:extLst>
            </p:cNvPr>
            <p:cNvSpPr/>
            <p:nvPr/>
          </p:nvSpPr>
          <p:spPr>
            <a:xfrm rot="8716295">
              <a:off x="922592" y="152543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DB2610A3-31CF-45EF-B184-4657FD23CA44}"/>
                </a:ext>
              </a:extLst>
            </p:cNvPr>
            <p:cNvSpPr/>
            <p:nvPr/>
          </p:nvSpPr>
          <p:spPr>
            <a:xfrm rot="8716295">
              <a:off x="854710" y="1394843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2721DD24-E32D-474A-8AE8-CB1F5FEA63CC}"/>
                </a:ext>
              </a:extLst>
            </p:cNvPr>
            <p:cNvSpPr/>
            <p:nvPr/>
          </p:nvSpPr>
          <p:spPr>
            <a:xfrm rot="8716295">
              <a:off x="617423" y="161518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271ACC1B-5BC1-4C90-8744-187E477874EA}"/>
                </a:ext>
              </a:extLst>
            </p:cNvPr>
            <p:cNvSpPr/>
            <p:nvPr/>
          </p:nvSpPr>
          <p:spPr>
            <a:xfrm rot="8716295">
              <a:off x="428376" y="129935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09A9FE1D-6CB8-4187-8C52-59F1BA866B08}"/>
                </a:ext>
              </a:extLst>
            </p:cNvPr>
            <p:cNvSpPr/>
            <p:nvPr/>
          </p:nvSpPr>
          <p:spPr>
            <a:xfrm rot="8716295">
              <a:off x="410135" y="1089302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orme libre : forme 58">
              <a:extLst>
                <a:ext uri="{FF2B5EF4-FFF2-40B4-BE49-F238E27FC236}">
                  <a16:creationId xmlns:a16="http://schemas.microsoft.com/office/drawing/2014/main" id="{536CBB26-493E-4AF3-B817-10984C95D957}"/>
                </a:ext>
              </a:extLst>
            </p:cNvPr>
            <p:cNvSpPr/>
            <p:nvPr/>
          </p:nvSpPr>
          <p:spPr>
            <a:xfrm rot="8716295">
              <a:off x="753911" y="1677170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orme libre : forme 59">
              <a:extLst>
                <a:ext uri="{FF2B5EF4-FFF2-40B4-BE49-F238E27FC236}">
                  <a16:creationId xmlns:a16="http://schemas.microsoft.com/office/drawing/2014/main" id="{945CA62F-9E79-459F-9A9E-98D352B7F4FC}"/>
                </a:ext>
              </a:extLst>
            </p:cNvPr>
            <p:cNvSpPr/>
            <p:nvPr/>
          </p:nvSpPr>
          <p:spPr>
            <a:xfrm rot="8716295">
              <a:off x="1224858" y="1102556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orme libre : forme 60">
              <a:extLst>
                <a:ext uri="{FF2B5EF4-FFF2-40B4-BE49-F238E27FC236}">
                  <a16:creationId xmlns:a16="http://schemas.microsoft.com/office/drawing/2014/main" id="{369C3DB8-F103-4448-B156-2B184240310A}"/>
                </a:ext>
              </a:extLst>
            </p:cNvPr>
            <p:cNvSpPr/>
            <p:nvPr/>
          </p:nvSpPr>
          <p:spPr>
            <a:xfrm rot="8716295">
              <a:off x="1360156" y="1146815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orme libre : forme 61">
              <a:extLst>
                <a:ext uri="{FF2B5EF4-FFF2-40B4-BE49-F238E27FC236}">
                  <a16:creationId xmlns:a16="http://schemas.microsoft.com/office/drawing/2014/main" id="{18E1EF68-3C34-4AED-A042-F974F305FFA4}"/>
                </a:ext>
              </a:extLst>
            </p:cNvPr>
            <p:cNvSpPr/>
            <p:nvPr/>
          </p:nvSpPr>
          <p:spPr>
            <a:xfrm rot="8716295">
              <a:off x="1054986" y="123657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orme libre : forme 62">
              <a:extLst>
                <a:ext uri="{FF2B5EF4-FFF2-40B4-BE49-F238E27FC236}">
                  <a16:creationId xmlns:a16="http://schemas.microsoft.com/office/drawing/2014/main" id="{E6940BAB-7063-447D-9788-7A9EFB3FD540}"/>
                </a:ext>
              </a:extLst>
            </p:cNvPr>
            <p:cNvSpPr/>
            <p:nvPr/>
          </p:nvSpPr>
          <p:spPr>
            <a:xfrm rot="8716295">
              <a:off x="865942" y="92073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orme libre : forme 63">
              <a:extLst>
                <a:ext uri="{FF2B5EF4-FFF2-40B4-BE49-F238E27FC236}">
                  <a16:creationId xmlns:a16="http://schemas.microsoft.com/office/drawing/2014/main" id="{ACE5BF6F-DB4B-42E3-B1BA-145CDB9C3DF9}"/>
                </a:ext>
              </a:extLst>
            </p:cNvPr>
            <p:cNvSpPr/>
            <p:nvPr/>
          </p:nvSpPr>
          <p:spPr>
            <a:xfrm rot="8716295">
              <a:off x="1191475" y="1298554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orme libre : forme 64">
              <a:extLst>
                <a:ext uri="{FF2B5EF4-FFF2-40B4-BE49-F238E27FC236}">
                  <a16:creationId xmlns:a16="http://schemas.microsoft.com/office/drawing/2014/main" id="{652E743A-00B8-433E-B55D-34BA48EAC5CE}"/>
                </a:ext>
              </a:extLst>
            </p:cNvPr>
            <p:cNvSpPr/>
            <p:nvPr/>
          </p:nvSpPr>
          <p:spPr>
            <a:xfrm rot="8716295">
              <a:off x="826028" y="1072128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orme libre : forme 65">
              <a:extLst>
                <a:ext uri="{FF2B5EF4-FFF2-40B4-BE49-F238E27FC236}">
                  <a16:creationId xmlns:a16="http://schemas.microsoft.com/office/drawing/2014/main" id="{BACD1396-4989-4CCD-AB4F-6277B1FA025D}"/>
                </a:ext>
              </a:extLst>
            </p:cNvPr>
            <p:cNvSpPr/>
            <p:nvPr/>
          </p:nvSpPr>
          <p:spPr>
            <a:xfrm rot="7484129">
              <a:off x="1350292" y="158817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orme libre : forme 66">
              <a:extLst>
                <a:ext uri="{FF2B5EF4-FFF2-40B4-BE49-F238E27FC236}">
                  <a16:creationId xmlns:a16="http://schemas.microsoft.com/office/drawing/2014/main" id="{F1575DA2-DE7C-4BAF-AFB3-D8ACAD3FE8BB}"/>
                </a:ext>
              </a:extLst>
            </p:cNvPr>
            <p:cNvSpPr/>
            <p:nvPr/>
          </p:nvSpPr>
          <p:spPr>
            <a:xfrm rot="13089394">
              <a:off x="1508942" y="1537520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3D5C7C03-0DD7-4CE0-B323-2DBC8A33D724}"/>
                </a:ext>
              </a:extLst>
            </p:cNvPr>
            <p:cNvSpPr/>
            <p:nvPr/>
          </p:nvSpPr>
          <p:spPr>
            <a:xfrm rot="8716295">
              <a:off x="1789833" y="1247402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orme libre : forme 68">
              <a:extLst>
                <a:ext uri="{FF2B5EF4-FFF2-40B4-BE49-F238E27FC236}">
                  <a16:creationId xmlns:a16="http://schemas.microsoft.com/office/drawing/2014/main" id="{2A0940B5-3257-4C64-A206-488AFE286994}"/>
                </a:ext>
              </a:extLst>
            </p:cNvPr>
            <p:cNvSpPr/>
            <p:nvPr/>
          </p:nvSpPr>
          <p:spPr>
            <a:xfrm rot="8716295">
              <a:off x="1711424" y="109061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orme libre : forme 69">
              <a:extLst>
                <a:ext uri="{FF2B5EF4-FFF2-40B4-BE49-F238E27FC236}">
                  <a16:creationId xmlns:a16="http://schemas.microsoft.com/office/drawing/2014/main" id="{3166A607-68F9-4F3F-A5ED-4FA937BEECD1}"/>
                </a:ext>
              </a:extLst>
            </p:cNvPr>
            <p:cNvSpPr/>
            <p:nvPr/>
          </p:nvSpPr>
          <p:spPr>
            <a:xfrm rot="8716295">
              <a:off x="1343261" y="113635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orme libre : forme 70">
              <a:extLst>
                <a:ext uri="{FF2B5EF4-FFF2-40B4-BE49-F238E27FC236}">
                  <a16:creationId xmlns:a16="http://schemas.microsoft.com/office/drawing/2014/main" id="{E3E45D07-7F2E-45AC-8607-5306F45B7B5E}"/>
                </a:ext>
              </a:extLst>
            </p:cNvPr>
            <p:cNvSpPr/>
            <p:nvPr/>
          </p:nvSpPr>
          <p:spPr>
            <a:xfrm rot="8716295">
              <a:off x="1611842" y="89533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orme libre : forme 71">
              <a:extLst>
                <a:ext uri="{FF2B5EF4-FFF2-40B4-BE49-F238E27FC236}">
                  <a16:creationId xmlns:a16="http://schemas.microsoft.com/office/drawing/2014/main" id="{F61F2692-40B7-4A40-AE32-B2180297905C}"/>
                </a:ext>
              </a:extLst>
            </p:cNvPr>
            <p:cNvSpPr/>
            <p:nvPr/>
          </p:nvSpPr>
          <p:spPr>
            <a:xfrm rot="8716295">
              <a:off x="455920" y="47911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orme libre : forme 72">
              <a:extLst>
                <a:ext uri="{FF2B5EF4-FFF2-40B4-BE49-F238E27FC236}">
                  <a16:creationId xmlns:a16="http://schemas.microsoft.com/office/drawing/2014/main" id="{8D510AFD-E0B6-4C04-A231-06F0DA5461FE}"/>
                </a:ext>
              </a:extLst>
            </p:cNvPr>
            <p:cNvSpPr/>
            <p:nvPr/>
          </p:nvSpPr>
          <p:spPr>
            <a:xfrm rot="8716295">
              <a:off x="591219" y="52337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" name="Forme libre : forme 73">
              <a:extLst>
                <a:ext uri="{FF2B5EF4-FFF2-40B4-BE49-F238E27FC236}">
                  <a16:creationId xmlns:a16="http://schemas.microsoft.com/office/drawing/2014/main" id="{6B88DB4B-6413-485F-AD39-EF4AC1850A75}"/>
                </a:ext>
              </a:extLst>
            </p:cNvPr>
            <p:cNvSpPr/>
            <p:nvPr/>
          </p:nvSpPr>
          <p:spPr>
            <a:xfrm rot="8716295">
              <a:off x="523336" y="39278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" name="Forme libre : forme 74">
              <a:extLst>
                <a:ext uri="{FF2B5EF4-FFF2-40B4-BE49-F238E27FC236}">
                  <a16:creationId xmlns:a16="http://schemas.microsoft.com/office/drawing/2014/main" id="{985A4035-A707-4F38-A0C9-2533BF637BC9}"/>
                </a:ext>
              </a:extLst>
            </p:cNvPr>
            <p:cNvSpPr/>
            <p:nvPr/>
          </p:nvSpPr>
          <p:spPr>
            <a:xfrm rot="8716295">
              <a:off x="286049" y="6131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" name="Forme libre : forme 75">
              <a:extLst>
                <a:ext uri="{FF2B5EF4-FFF2-40B4-BE49-F238E27FC236}">
                  <a16:creationId xmlns:a16="http://schemas.microsoft.com/office/drawing/2014/main" id="{F8A46B91-F44C-4F7E-94A8-64349465DA46}"/>
                </a:ext>
              </a:extLst>
            </p:cNvPr>
            <p:cNvSpPr/>
            <p:nvPr/>
          </p:nvSpPr>
          <p:spPr>
            <a:xfrm rot="8716295">
              <a:off x="97003" y="2972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" name="Forme libre : forme 76">
              <a:extLst>
                <a:ext uri="{FF2B5EF4-FFF2-40B4-BE49-F238E27FC236}">
                  <a16:creationId xmlns:a16="http://schemas.microsoft.com/office/drawing/2014/main" id="{D98B2AD3-F200-4E21-B245-12CF6B31E044}"/>
                </a:ext>
              </a:extLst>
            </p:cNvPr>
            <p:cNvSpPr/>
            <p:nvPr/>
          </p:nvSpPr>
          <p:spPr>
            <a:xfrm rot="8716295">
              <a:off x="78761" y="87249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" name="Forme libre : forme 77">
              <a:extLst>
                <a:ext uri="{FF2B5EF4-FFF2-40B4-BE49-F238E27FC236}">
                  <a16:creationId xmlns:a16="http://schemas.microsoft.com/office/drawing/2014/main" id="{31F62124-299F-4960-8825-F200F77E89B1}"/>
                </a:ext>
              </a:extLst>
            </p:cNvPr>
            <p:cNvSpPr/>
            <p:nvPr/>
          </p:nvSpPr>
          <p:spPr>
            <a:xfrm rot="8716295">
              <a:off x="422537" y="67511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orme libre : forme 78">
              <a:extLst>
                <a:ext uri="{FF2B5EF4-FFF2-40B4-BE49-F238E27FC236}">
                  <a16:creationId xmlns:a16="http://schemas.microsoft.com/office/drawing/2014/main" id="{EE39F313-B670-444A-981C-E127C24D857F}"/>
                </a:ext>
              </a:extLst>
            </p:cNvPr>
            <p:cNvSpPr/>
            <p:nvPr/>
          </p:nvSpPr>
          <p:spPr>
            <a:xfrm rot="8716295">
              <a:off x="893484" y="10050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Forme libre : forme 79">
              <a:extLst>
                <a:ext uri="{FF2B5EF4-FFF2-40B4-BE49-F238E27FC236}">
                  <a16:creationId xmlns:a16="http://schemas.microsoft.com/office/drawing/2014/main" id="{9BFFA7AA-3FAD-4A4D-BF99-76B00FB2C288}"/>
                </a:ext>
              </a:extLst>
            </p:cNvPr>
            <p:cNvSpPr/>
            <p:nvPr/>
          </p:nvSpPr>
          <p:spPr>
            <a:xfrm rot="8716295">
              <a:off x="1028783" y="14476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" name="Forme libre : forme 80">
              <a:extLst>
                <a:ext uri="{FF2B5EF4-FFF2-40B4-BE49-F238E27FC236}">
                  <a16:creationId xmlns:a16="http://schemas.microsoft.com/office/drawing/2014/main" id="{1433DBAF-4AFA-4A86-A99F-428DB317C17F}"/>
                </a:ext>
              </a:extLst>
            </p:cNvPr>
            <p:cNvSpPr/>
            <p:nvPr/>
          </p:nvSpPr>
          <p:spPr>
            <a:xfrm rot="8716295">
              <a:off x="723613" y="23451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orme libre : forme 81">
              <a:extLst>
                <a:ext uri="{FF2B5EF4-FFF2-40B4-BE49-F238E27FC236}">
                  <a16:creationId xmlns:a16="http://schemas.microsoft.com/office/drawing/2014/main" id="{AF029D07-5D40-4341-9548-A67032BB1C77}"/>
                </a:ext>
              </a:extLst>
            </p:cNvPr>
            <p:cNvSpPr/>
            <p:nvPr/>
          </p:nvSpPr>
          <p:spPr>
            <a:xfrm rot="8716295">
              <a:off x="547803" y="-17289"/>
              <a:ext cx="308531" cy="226033"/>
            </a:xfrm>
            <a:custGeom>
              <a:avLst/>
              <a:gdLst>
                <a:gd name="connsiteX0" fmla="*/ 106716 w 203847"/>
                <a:gd name="connsiteY0" fmla="*/ 149340 h 149340"/>
                <a:gd name="connsiteX1" fmla="*/ 50038 w 203847"/>
                <a:gd name="connsiteY1" fmla="*/ 110053 h 149340"/>
                <a:gd name="connsiteX2" fmla="*/ 69777 w 203847"/>
                <a:gd name="connsiteY2" fmla="*/ 55323 h 149340"/>
                <a:gd name="connsiteX3" fmla="*/ 0 w 203847"/>
                <a:gd name="connsiteY3" fmla="*/ 55323 h 149340"/>
                <a:gd name="connsiteX4" fmla="*/ 0 w 203847"/>
                <a:gd name="connsiteY4" fmla="*/ 0 h 149340"/>
                <a:gd name="connsiteX5" fmla="*/ 203847 w 203847"/>
                <a:gd name="connsiteY5" fmla="*/ 0 h 149340"/>
                <a:gd name="connsiteX6" fmla="*/ 203847 w 203847"/>
                <a:gd name="connsiteY6" fmla="*/ 55323 h 149340"/>
                <a:gd name="connsiteX7" fmla="*/ 139055 w 203847"/>
                <a:gd name="connsiteY7" fmla="*/ 55323 h 14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49340">
                  <a:moveTo>
                    <a:pt x="106716" y="149340"/>
                  </a:moveTo>
                  <a:lnTo>
                    <a:pt x="50038" y="110053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Forme libre : forme 82">
              <a:extLst>
                <a:ext uri="{FF2B5EF4-FFF2-40B4-BE49-F238E27FC236}">
                  <a16:creationId xmlns:a16="http://schemas.microsoft.com/office/drawing/2014/main" id="{2932702E-E8E3-46BA-A87E-0ED0BC303BF9}"/>
                </a:ext>
              </a:extLst>
            </p:cNvPr>
            <p:cNvSpPr/>
            <p:nvPr/>
          </p:nvSpPr>
          <p:spPr>
            <a:xfrm rot="8716295">
              <a:off x="860101" y="29650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4" name="Forme libre : forme 83">
              <a:extLst>
                <a:ext uri="{FF2B5EF4-FFF2-40B4-BE49-F238E27FC236}">
                  <a16:creationId xmlns:a16="http://schemas.microsoft.com/office/drawing/2014/main" id="{69A563A2-99F0-4626-A5AF-E9AD22DC8484}"/>
                </a:ext>
              </a:extLst>
            </p:cNvPr>
            <p:cNvSpPr/>
            <p:nvPr/>
          </p:nvSpPr>
          <p:spPr>
            <a:xfrm rot="8716295">
              <a:off x="494655" y="7007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5" name="Forme libre : forme 84">
              <a:extLst>
                <a:ext uri="{FF2B5EF4-FFF2-40B4-BE49-F238E27FC236}">
                  <a16:creationId xmlns:a16="http://schemas.microsoft.com/office/drawing/2014/main" id="{B18A375D-EEA2-4D9B-96D1-D4924AE08EC7}"/>
                </a:ext>
              </a:extLst>
            </p:cNvPr>
            <p:cNvSpPr/>
            <p:nvPr/>
          </p:nvSpPr>
          <p:spPr>
            <a:xfrm rot="7484129">
              <a:off x="1018919" y="58611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6" name="Forme libre : forme 85">
              <a:extLst>
                <a:ext uri="{FF2B5EF4-FFF2-40B4-BE49-F238E27FC236}">
                  <a16:creationId xmlns:a16="http://schemas.microsoft.com/office/drawing/2014/main" id="{7717CD41-705F-4F28-B88E-73D27DF645C8}"/>
                </a:ext>
              </a:extLst>
            </p:cNvPr>
            <p:cNvSpPr/>
            <p:nvPr/>
          </p:nvSpPr>
          <p:spPr>
            <a:xfrm rot="13089394">
              <a:off x="1177568" y="53546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7" name="Forme libre : forme 86">
              <a:extLst>
                <a:ext uri="{FF2B5EF4-FFF2-40B4-BE49-F238E27FC236}">
                  <a16:creationId xmlns:a16="http://schemas.microsoft.com/office/drawing/2014/main" id="{285D68BE-9E3D-4F4C-AC96-578345571AC5}"/>
                </a:ext>
              </a:extLst>
            </p:cNvPr>
            <p:cNvSpPr/>
            <p:nvPr/>
          </p:nvSpPr>
          <p:spPr>
            <a:xfrm rot="8716295">
              <a:off x="1458459" y="24534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8" name="Forme libre : forme 87">
              <a:extLst>
                <a:ext uri="{FF2B5EF4-FFF2-40B4-BE49-F238E27FC236}">
                  <a16:creationId xmlns:a16="http://schemas.microsoft.com/office/drawing/2014/main" id="{83EDC7AF-2352-4CD0-B767-0567B99FAECC}"/>
                </a:ext>
              </a:extLst>
            </p:cNvPr>
            <p:cNvSpPr/>
            <p:nvPr/>
          </p:nvSpPr>
          <p:spPr>
            <a:xfrm rot="8716295">
              <a:off x="1380050" y="8855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9" name="Forme libre : forme 88">
              <a:extLst>
                <a:ext uri="{FF2B5EF4-FFF2-40B4-BE49-F238E27FC236}">
                  <a16:creationId xmlns:a16="http://schemas.microsoft.com/office/drawing/2014/main" id="{E853F8BE-90D5-4EB8-BCC9-E92102CA6DFE}"/>
                </a:ext>
              </a:extLst>
            </p:cNvPr>
            <p:cNvSpPr/>
            <p:nvPr/>
          </p:nvSpPr>
          <p:spPr>
            <a:xfrm rot="8716295">
              <a:off x="1011887" y="13429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" name="Forme libre : forme 89">
              <a:extLst>
                <a:ext uri="{FF2B5EF4-FFF2-40B4-BE49-F238E27FC236}">
                  <a16:creationId xmlns:a16="http://schemas.microsoft.com/office/drawing/2014/main" id="{42758375-22F2-40F5-8D40-436514F398B4}"/>
                </a:ext>
              </a:extLst>
            </p:cNvPr>
            <p:cNvSpPr/>
            <p:nvPr/>
          </p:nvSpPr>
          <p:spPr>
            <a:xfrm rot="8716295">
              <a:off x="1291652" y="-36449"/>
              <a:ext cx="134197" cy="106947"/>
            </a:xfrm>
            <a:custGeom>
              <a:avLst/>
              <a:gdLst>
                <a:gd name="connsiteX0" fmla="*/ 83649 w 88664"/>
                <a:gd name="connsiteY0" fmla="*/ 70660 h 70660"/>
                <a:gd name="connsiteX1" fmla="*/ 0 w 88664"/>
                <a:gd name="connsiteY1" fmla="*/ 12677 h 70660"/>
                <a:gd name="connsiteX2" fmla="*/ 30024 w 88664"/>
                <a:gd name="connsiteY2" fmla="*/ 0 h 70660"/>
                <a:gd name="connsiteX3" fmla="*/ 71417 w 88664"/>
                <a:gd name="connsiteY3" fmla="*/ 17477 h 70660"/>
                <a:gd name="connsiteX4" fmla="*/ 88664 w 88664"/>
                <a:gd name="connsiteY4" fmla="*/ 58525 h 70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664" h="70660">
                  <a:moveTo>
                    <a:pt x="83649" y="70660"/>
                  </a:moveTo>
                  <a:lnTo>
                    <a:pt x="0" y="12677"/>
                  </a:lnTo>
                  <a:lnTo>
                    <a:pt x="30024" y="0"/>
                  </a:lnTo>
                  <a:cubicBezTo>
                    <a:pt x="45662" y="0"/>
                    <a:pt x="60379" y="6439"/>
                    <a:pt x="71417" y="17477"/>
                  </a:cubicBezTo>
                  <a:cubicBezTo>
                    <a:pt x="82915" y="28515"/>
                    <a:pt x="88664" y="43462"/>
                    <a:pt x="88664" y="58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" name="Forme libre : forme 90">
              <a:extLst>
                <a:ext uri="{FF2B5EF4-FFF2-40B4-BE49-F238E27FC236}">
                  <a16:creationId xmlns:a16="http://schemas.microsoft.com/office/drawing/2014/main" id="{39402522-16DA-4E11-927D-0744A887E931}"/>
                </a:ext>
              </a:extLst>
            </p:cNvPr>
            <p:cNvSpPr/>
            <p:nvPr/>
          </p:nvSpPr>
          <p:spPr>
            <a:xfrm rot="13089394">
              <a:off x="990163" y="-39748"/>
              <a:ext cx="111277" cy="115595"/>
            </a:xfrm>
            <a:custGeom>
              <a:avLst/>
              <a:gdLst>
                <a:gd name="connsiteX0" fmla="*/ 73521 w 73521"/>
                <a:gd name="connsiteY0" fmla="*/ 18609 h 76374"/>
                <a:gd name="connsiteX1" fmla="*/ 0 w 73521"/>
                <a:gd name="connsiteY1" fmla="*/ 76374 h 76374"/>
                <a:gd name="connsiteX2" fmla="*/ 0 w 73521"/>
                <a:gd name="connsiteY2" fmla="*/ 38074 h 76374"/>
                <a:gd name="connsiteX3" fmla="*/ 73388 w 73521"/>
                <a:gd name="connsiteY3" fmla="*/ 0 h 7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521" h="76374">
                  <a:moveTo>
                    <a:pt x="73521" y="18609"/>
                  </a:moveTo>
                  <a:lnTo>
                    <a:pt x="0" y="76374"/>
                  </a:lnTo>
                  <a:lnTo>
                    <a:pt x="0" y="38074"/>
                  </a:lnTo>
                  <a:lnTo>
                    <a:pt x="7338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" name="Forme libre : forme 91">
              <a:extLst>
                <a:ext uri="{FF2B5EF4-FFF2-40B4-BE49-F238E27FC236}">
                  <a16:creationId xmlns:a16="http://schemas.microsoft.com/office/drawing/2014/main" id="{BA0CCCD1-A43A-4EDA-9AE2-2B760A750CB8}"/>
                </a:ext>
              </a:extLst>
            </p:cNvPr>
            <p:cNvSpPr/>
            <p:nvPr/>
          </p:nvSpPr>
          <p:spPr>
            <a:xfrm rot="8716295">
              <a:off x="121288" y="414134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" name="Forme libre : forme 92">
              <a:extLst>
                <a:ext uri="{FF2B5EF4-FFF2-40B4-BE49-F238E27FC236}">
                  <a16:creationId xmlns:a16="http://schemas.microsoft.com/office/drawing/2014/main" id="{B00F8218-3F51-4CFB-9D4D-4142207B942F}"/>
                </a:ext>
              </a:extLst>
            </p:cNvPr>
            <p:cNvSpPr/>
            <p:nvPr/>
          </p:nvSpPr>
          <p:spPr>
            <a:xfrm rot="8716295">
              <a:off x="256586" y="418560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" name="Forme libre : forme 93">
              <a:extLst>
                <a:ext uri="{FF2B5EF4-FFF2-40B4-BE49-F238E27FC236}">
                  <a16:creationId xmlns:a16="http://schemas.microsoft.com/office/drawing/2014/main" id="{59A33452-85A5-44B9-85E4-34DB64857691}"/>
                </a:ext>
              </a:extLst>
            </p:cNvPr>
            <p:cNvSpPr/>
            <p:nvPr/>
          </p:nvSpPr>
          <p:spPr>
            <a:xfrm rot="8716295">
              <a:off x="188704" y="405501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orme libre : forme 94">
              <a:extLst>
                <a:ext uri="{FF2B5EF4-FFF2-40B4-BE49-F238E27FC236}">
                  <a16:creationId xmlns:a16="http://schemas.microsoft.com/office/drawing/2014/main" id="{6EB29E53-18CD-42F3-9B37-2ECC6883F84C}"/>
                </a:ext>
              </a:extLst>
            </p:cNvPr>
            <p:cNvSpPr/>
            <p:nvPr/>
          </p:nvSpPr>
          <p:spPr>
            <a:xfrm rot="8716295">
              <a:off x="-22408" y="4278013"/>
              <a:ext cx="57413" cy="71926"/>
            </a:xfrm>
            <a:custGeom>
              <a:avLst/>
              <a:gdLst>
                <a:gd name="connsiteX0" fmla="*/ 11441 w 57413"/>
                <a:gd name="connsiteY0" fmla="*/ 71926 h 71926"/>
                <a:gd name="connsiteX1" fmla="*/ 0 w 57413"/>
                <a:gd name="connsiteY1" fmla="*/ 44829 h 71926"/>
                <a:gd name="connsiteX2" fmla="*/ 0 w 57413"/>
                <a:gd name="connsiteY2" fmla="*/ 44139 h 71926"/>
                <a:gd name="connsiteX3" fmla="*/ 13104 w 57413"/>
                <a:gd name="connsiteY3" fmla="*/ 13104 h 71926"/>
                <a:gd name="connsiteX4" fmla="*/ 44139 w 57413"/>
                <a:gd name="connsiteY4" fmla="*/ 0 h 71926"/>
                <a:gd name="connsiteX5" fmla="*/ 57413 w 57413"/>
                <a:gd name="connsiteY5" fmla="*/ 5605 h 71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413" h="71926">
                  <a:moveTo>
                    <a:pt x="11441" y="71926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lnTo>
                    <a:pt x="57413" y="5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Forme libre : forme 95">
              <a:extLst>
                <a:ext uri="{FF2B5EF4-FFF2-40B4-BE49-F238E27FC236}">
                  <a16:creationId xmlns:a16="http://schemas.microsoft.com/office/drawing/2014/main" id="{5DEA4AC8-B4A8-4210-932F-E61308CFB12D}"/>
                </a:ext>
              </a:extLst>
            </p:cNvPr>
            <p:cNvSpPr/>
            <p:nvPr/>
          </p:nvSpPr>
          <p:spPr>
            <a:xfrm rot="8716295">
              <a:off x="-36969" y="4107248"/>
              <a:ext cx="147272" cy="83734"/>
            </a:xfrm>
            <a:custGeom>
              <a:avLst/>
              <a:gdLst>
                <a:gd name="connsiteX0" fmla="*/ 0 w 147272"/>
                <a:gd name="connsiteY0" fmla="*/ 83734 h 83734"/>
                <a:gd name="connsiteX1" fmla="*/ 0 w 147272"/>
                <a:gd name="connsiteY1" fmla="*/ 0 h 83734"/>
                <a:gd name="connsiteX2" fmla="*/ 147272 w 147272"/>
                <a:gd name="connsiteY2" fmla="*/ 0 h 83734"/>
                <a:gd name="connsiteX3" fmla="*/ 89230 w 147272"/>
                <a:gd name="connsiteY3" fmla="*/ 83734 h 83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272" h="83734">
                  <a:moveTo>
                    <a:pt x="0" y="83734"/>
                  </a:moveTo>
                  <a:lnTo>
                    <a:pt x="0" y="0"/>
                  </a:lnTo>
                  <a:lnTo>
                    <a:pt x="147272" y="0"/>
                  </a:lnTo>
                  <a:lnTo>
                    <a:pt x="89230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" name="Forme libre : forme 96">
              <a:extLst>
                <a:ext uri="{FF2B5EF4-FFF2-40B4-BE49-F238E27FC236}">
                  <a16:creationId xmlns:a16="http://schemas.microsoft.com/office/drawing/2014/main" id="{B218914A-7EA1-40E4-B44A-2A3DBC972AF7}"/>
                </a:ext>
              </a:extLst>
            </p:cNvPr>
            <p:cNvSpPr/>
            <p:nvPr/>
          </p:nvSpPr>
          <p:spPr>
            <a:xfrm rot="8716295">
              <a:off x="43378" y="3712531"/>
              <a:ext cx="125537" cy="468763"/>
            </a:xfrm>
            <a:custGeom>
              <a:avLst/>
              <a:gdLst>
                <a:gd name="connsiteX0" fmla="*/ 29455 w 125537"/>
                <a:gd name="connsiteY0" fmla="*/ 468763 h 468763"/>
                <a:gd name="connsiteX1" fmla="*/ 7792 w 125537"/>
                <a:gd name="connsiteY1" fmla="*/ 425988 h 468763"/>
                <a:gd name="connsiteX2" fmla="*/ 0 w 125537"/>
                <a:gd name="connsiteY2" fmla="*/ 333043 h 468763"/>
                <a:gd name="connsiteX3" fmla="*/ 0 w 125537"/>
                <a:gd name="connsiteY3" fmla="*/ 61444 h 468763"/>
                <a:gd name="connsiteX4" fmla="*/ 118434 w 125537"/>
                <a:gd name="connsiteY4" fmla="*/ 0 h 468763"/>
                <a:gd name="connsiteX5" fmla="*/ 120216 w 125537"/>
                <a:gd name="connsiteY5" fmla="*/ 248447 h 468763"/>
                <a:gd name="connsiteX6" fmla="*/ 123889 w 125537"/>
                <a:gd name="connsiteY6" fmla="*/ 323359 h 468763"/>
                <a:gd name="connsiteX7" fmla="*/ 125537 w 125537"/>
                <a:gd name="connsiteY7" fmla="*/ 330150 h 468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537" h="468763">
                  <a:moveTo>
                    <a:pt x="29455" y="468763"/>
                  </a:moveTo>
                  <a:lnTo>
                    <a:pt x="7792" y="425988"/>
                  </a:lnTo>
                  <a:cubicBezTo>
                    <a:pt x="2003" y="400498"/>
                    <a:pt x="0" y="369553"/>
                    <a:pt x="0" y="333043"/>
                  </a:cubicBezTo>
                  <a:lnTo>
                    <a:pt x="0" y="61444"/>
                  </a:lnTo>
                  <a:lnTo>
                    <a:pt x="118434" y="0"/>
                  </a:lnTo>
                  <a:lnTo>
                    <a:pt x="120216" y="248447"/>
                  </a:lnTo>
                  <a:cubicBezTo>
                    <a:pt x="118880" y="273381"/>
                    <a:pt x="120216" y="298537"/>
                    <a:pt x="123889" y="323359"/>
                  </a:cubicBezTo>
                  <a:lnTo>
                    <a:pt x="125537" y="3301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" name="Forme libre : forme 97">
              <a:extLst>
                <a:ext uri="{FF2B5EF4-FFF2-40B4-BE49-F238E27FC236}">
                  <a16:creationId xmlns:a16="http://schemas.microsoft.com/office/drawing/2014/main" id="{B6F2924E-906C-4ED1-BF2D-C834372E14EF}"/>
                </a:ext>
              </a:extLst>
            </p:cNvPr>
            <p:cNvSpPr/>
            <p:nvPr/>
          </p:nvSpPr>
          <p:spPr>
            <a:xfrm rot="8716295">
              <a:off x="87905" y="4337347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" name="Forme libre : forme 98">
              <a:extLst>
                <a:ext uri="{FF2B5EF4-FFF2-40B4-BE49-F238E27FC236}">
                  <a16:creationId xmlns:a16="http://schemas.microsoft.com/office/drawing/2014/main" id="{0D75C9D9-5C3D-47E0-90AD-938F1B8E2F44}"/>
                </a:ext>
              </a:extLst>
            </p:cNvPr>
            <p:cNvSpPr/>
            <p:nvPr/>
          </p:nvSpPr>
          <p:spPr>
            <a:xfrm rot="8716295">
              <a:off x="558851" y="376273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orme libre : forme 99">
              <a:extLst>
                <a:ext uri="{FF2B5EF4-FFF2-40B4-BE49-F238E27FC236}">
                  <a16:creationId xmlns:a16="http://schemas.microsoft.com/office/drawing/2014/main" id="{FB753F16-18A9-4EF7-8A5C-AFE5FF2AAE20}"/>
                </a:ext>
              </a:extLst>
            </p:cNvPr>
            <p:cNvSpPr/>
            <p:nvPr/>
          </p:nvSpPr>
          <p:spPr>
            <a:xfrm rot="8716295">
              <a:off x="694150" y="380699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Forme libre : forme 100">
              <a:extLst>
                <a:ext uri="{FF2B5EF4-FFF2-40B4-BE49-F238E27FC236}">
                  <a16:creationId xmlns:a16="http://schemas.microsoft.com/office/drawing/2014/main" id="{3BF96335-BBEB-4DB5-9C46-1C3097EF0D59}"/>
                </a:ext>
              </a:extLst>
            </p:cNvPr>
            <p:cNvSpPr/>
            <p:nvPr/>
          </p:nvSpPr>
          <p:spPr>
            <a:xfrm rot="8716295">
              <a:off x="388980" y="389674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" name="Forme libre : forme 101">
              <a:extLst>
                <a:ext uri="{FF2B5EF4-FFF2-40B4-BE49-F238E27FC236}">
                  <a16:creationId xmlns:a16="http://schemas.microsoft.com/office/drawing/2014/main" id="{5E31C792-E11F-4ADA-B2CB-57C48077CBA4}"/>
                </a:ext>
              </a:extLst>
            </p:cNvPr>
            <p:cNvSpPr/>
            <p:nvPr/>
          </p:nvSpPr>
          <p:spPr>
            <a:xfrm rot="8716295">
              <a:off x="199936" y="358091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" name="Forme libre : forme 102">
              <a:extLst>
                <a:ext uri="{FF2B5EF4-FFF2-40B4-BE49-F238E27FC236}">
                  <a16:creationId xmlns:a16="http://schemas.microsoft.com/office/drawing/2014/main" id="{94FED6A4-8569-4EA9-A306-CB876E36FB03}"/>
                </a:ext>
              </a:extLst>
            </p:cNvPr>
            <p:cNvSpPr/>
            <p:nvPr/>
          </p:nvSpPr>
          <p:spPr>
            <a:xfrm rot="8716295">
              <a:off x="525469" y="3958731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" name="Forme libre : forme 103">
              <a:extLst>
                <a:ext uri="{FF2B5EF4-FFF2-40B4-BE49-F238E27FC236}">
                  <a16:creationId xmlns:a16="http://schemas.microsoft.com/office/drawing/2014/main" id="{980A1AA3-B52B-4C80-9AC4-D47CC78A5A3B}"/>
                </a:ext>
              </a:extLst>
            </p:cNvPr>
            <p:cNvSpPr/>
            <p:nvPr/>
          </p:nvSpPr>
          <p:spPr>
            <a:xfrm rot="8716295">
              <a:off x="160022" y="3732305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" name="Forme libre : forme 104">
              <a:extLst>
                <a:ext uri="{FF2B5EF4-FFF2-40B4-BE49-F238E27FC236}">
                  <a16:creationId xmlns:a16="http://schemas.microsoft.com/office/drawing/2014/main" id="{C66003E5-2553-46E6-8D65-9CD33FAF8398}"/>
                </a:ext>
              </a:extLst>
            </p:cNvPr>
            <p:cNvSpPr/>
            <p:nvPr/>
          </p:nvSpPr>
          <p:spPr>
            <a:xfrm rot="7484129">
              <a:off x="684286" y="424834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" name="Forme libre : forme 105">
              <a:extLst>
                <a:ext uri="{FF2B5EF4-FFF2-40B4-BE49-F238E27FC236}">
                  <a16:creationId xmlns:a16="http://schemas.microsoft.com/office/drawing/2014/main" id="{A5156F8D-1CAA-4650-BC6D-5AD5CAA0A30F}"/>
                </a:ext>
              </a:extLst>
            </p:cNvPr>
            <p:cNvSpPr/>
            <p:nvPr/>
          </p:nvSpPr>
          <p:spPr>
            <a:xfrm rot="13089394">
              <a:off x="842936" y="4197697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" name="Forme libre : forme 106">
              <a:extLst>
                <a:ext uri="{FF2B5EF4-FFF2-40B4-BE49-F238E27FC236}">
                  <a16:creationId xmlns:a16="http://schemas.microsoft.com/office/drawing/2014/main" id="{7A0FA012-A668-45E7-9A04-80DC4066A5EA}"/>
                </a:ext>
              </a:extLst>
            </p:cNvPr>
            <p:cNvSpPr/>
            <p:nvPr/>
          </p:nvSpPr>
          <p:spPr>
            <a:xfrm rot="8716295">
              <a:off x="1123827" y="390757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" name="Forme libre : forme 107">
              <a:extLst>
                <a:ext uri="{FF2B5EF4-FFF2-40B4-BE49-F238E27FC236}">
                  <a16:creationId xmlns:a16="http://schemas.microsoft.com/office/drawing/2014/main" id="{DE4CA035-6173-48AD-BD1D-D7ED5F77A322}"/>
                </a:ext>
              </a:extLst>
            </p:cNvPr>
            <p:cNvSpPr/>
            <p:nvPr/>
          </p:nvSpPr>
          <p:spPr>
            <a:xfrm rot="8716295">
              <a:off x="1045418" y="375078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" name="Forme libre : forme 108">
              <a:extLst>
                <a:ext uri="{FF2B5EF4-FFF2-40B4-BE49-F238E27FC236}">
                  <a16:creationId xmlns:a16="http://schemas.microsoft.com/office/drawing/2014/main" id="{40E22C8F-9A2F-4D96-8E60-B4FAE9625F7E}"/>
                </a:ext>
              </a:extLst>
            </p:cNvPr>
            <p:cNvSpPr/>
            <p:nvPr/>
          </p:nvSpPr>
          <p:spPr>
            <a:xfrm rot="8716295">
              <a:off x="677254" y="379652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" name="Forme libre : forme 109">
              <a:extLst>
                <a:ext uri="{FF2B5EF4-FFF2-40B4-BE49-F238E27FC236}">
                  <a16:creationId xmlns:a16="http://schemas.microsoft.com/office/drawing/2014/main" id="{0FB9706E-9855-492B-8609-A2F256591A28}"/>
                </a:ext>
              </a:extLst>
            </p:cNvPr>
            <p:cNvSpPr/>
            <p:nvPr/>
          </p:nvSpPr>
          <p:spPr>
            <a:xfrm rot="8716295">
              <a:off x="945836" y="355550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" name="Forme libre : forme 110">
              <a:extLst>
                <a:ext uri="{FF2B5EF4-FFF2-40B4-BE49-F238E27FC236}">
                  <a16:creationId xmlns:a16="http://schemas.microsoft.com/office/drawing/2014/main" id="{ADF55B74-AC60-4155-92FA-4565710C9BFA}"/>
                </a:ext>
              </a:extLst>
            </p:cNvPr>
            <p:cNvSpPr/>
            <p:nvPr/>
          </p:nvSpPr>
          <p:spPr>
            <a:xfrm rot="8716295">
              <a:off x="601570" y="5027951"/>
              <a:ext cx="169680" cy="113030"/>
            </a:xfrm>
            <a:custGeom>
              <a:avLst/>
              <a:gdLst>
                <a:gd name="connsiteX0" fmla="*/ 8965 w 169680"/>
                <a:gd name="connsiteY0" fmla="*/ 113030 h 113030"/>
                <a:gd name="connsiteX1" fmla="*/ 0 w 169680"/>
                <a:gd name="connsiteY1" fmla="*/ 100616 h 113030"/>
                <a:gd name="connsiteX2" fmla="*/ 106933 w 169680"/>
                <a:gd name="connsiteY2" fmla="*/ 0 h 113030"/>
                <a:gd name="connsiteX3" fmla="*/ 169680 w 169680"/>
                <a:gd name="connsiteY3" fmla="*/ 43494 h 113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680" h="113030">
                  <a:moveTo>
                    <a:pt x="8965" y="113030"/>
                  </a:moveTo>
                  <a:lnTo>
                    <a:pt x="0" y="100616"/>
                  </a:lnTo>
                  <a:lnTo>
                    <a:pt x="106933" y="0"/>
                  </a:lnTo>
                  <a:lnTo>
                    <a:pt x="169680" y="434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" name="Forme libre : forme 111">
              <a:extLst>
                <a:ext uri="{FF2B5EF4-FFF2-40B4-BE49-F238E27FC236}">
                  <a16:creationId xmlns:a16="http://schemas.microsoft.com/office/drawing/2014/main" id="{DDFE2301-223D-4F62-87C3-BBD61CFA4AE0}"/>
                </a:ext>
              </a:extLst>
            </p:cNvPr>
            <p:cNvSpPr/>
            <p:nvPr/>
          </p:nvSpPr>
          <p:spPr>
            <a:xfrm rot="8716295">
              <a:off x="197311" y="4925365"/>
              <a:ext cx="194366" cy="296463"/>
            </a:xfrm>
            <a:custGeom>
              <a:avLst/>
              <a:gdLst>
                <a:gd name="connsiteX0" fmla="*/ 137293 w 194366"/>
                <a:gd name="connsiteY0" fmla="*/ 296463 h 296463"/>
                <a:gd name="connsiteX1" fmla="*/ 72418 w 194366"/>
                <a:gd name="connsiteY1" fmla="*/ 175766 h 296463"/>
                <a:gd name="connsiteX2" fmla="*/ 105610 w 194366"/>
                <a:gd name="connsiteY2" fmla="*/ 83734 h 296463"/>
                <a:gd name="connsiteX3" fmla="*/ 0 w 194366"/>
                <a:gd name="connsiteY3" fmla="*/ 83734 h 296463"/>
                <a:gd name="connsiteX4" fmla="*/ 0 w 194366"/>
                <a:gd name="connsiteY4" fmla="*/ 0 h 296463"/>
                <a:gd name="connsiteX5" fmla="*/ 6043 w 194366"/>
                <a:gd name="connsiteY5" fmla="*/ 0 h 296463"/>
                <a:gd name="connsiteX6" fmla="*/ 194366 w 194366"/>
                <a:gd name="connsiteY6" fmla="*/ 130539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4366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6043" y="0"/>
                  </a:lnTo>
                  <a:lnTo>
                    <a:pt x="194366" y="1305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" name="Forme libre : forme 112">
              <a:extLst>
                <a:ext uri="{FF2B5EF4-FFF2-40B4-BE49-F238E27FC236}">
                  <a16:creationId xmlns:a16="http://schemas.microsoft.com/office/drawing/2014/main" id="{3377FDF7-2BED-4403-9821-41A8059D732F}"/>
                </a:ext>
              </a:extLst>
            </p:cNvPr>
            <p:cNvSpPr/>
            <p:nvPr/>
          </p:nvSpPr>
          <p:spPr>
            <a:xfrm rot="8716295">
              <a:off x="73168" y="4745087"/>
              <a:ext cx="439901" cy="517329"/>
            </a:xfrm>
            <a:custGeom>
              <a:avLst/>
              <a:gdLst>
                <a:gd name="connsiteX0" fmla="*/ 38290 w 439901"/>
                <a:gd name="connsiteY0" fmla="*/ 472541 h 517329"/>
                <a:gd name="connsiteX1" fmla="*/ 0 w 439901"/>
                <a:gd name="connsiteY1" fmla="*/ 319377 h 517329"/>
                <a:gd name="connsiteX2" fmla="*/ 0 w 439901"/>
                <a:gd name="connsiteY2" fmla="*/ 47778 h 517329"/>
                <a:gd name="connsiteX3" fmla="*/ 92094 w 439901"/>
                <a:gd name="connsiteY3" fmla="*/ 0 h 517329"/>
                <a:gd name="connsiteX4" fmla="*/ 118664 w 439901"/>
                <a:gd name="connsiteY4" fmla="*/ 18418 h 517329"/>
                <a:gd name="connsiteX5" fmla="*/ 120216 w 439901"/>
                <a:gd name="connsiteY5" fmla="*/ 234781 h 517329"/>
                <a:gd name="connsiteX6" fmla="*/ 141587 w 439901"/>
                <a:gd name="connsiteY6" fmla="*/ 382603 h 517329"/>
                <a:gd name="connsiteX7" fmla="*/ 248446 w 439901"/>
                <a:gd name="connsiteY7" fmla="*/ 441375 h 517329"/>
                <a:gd name="connsiteX8" fmla="*/ 328589 w 439901"/>
                <a:gd name="connsiteY8" fmla="*/ 427127 h 517329"/>
                <a:gd name="connsiteX9" fmla="*/ 438120 w 439901"/>
                <a:gd name="connsiteY9" fmla="*/ 382603 h 517329"/>
                <a:gd name="connsiteX10" fmla="*/ 439901 w 439901"/>
                <a:gd name="connsiteY10" fmla="*/ 394178 h 517329"/>
                <a:gd name="connsiteX11" fmla="*/ 439901 w 439901"/>
                <a:gd name="connsiteY11" fmla="*/ 403083 h 517329"/>
                <a:gd name="connsiteX12" fmla="*/ 147821 w 439901"/>
                <a:gd name="connsiteY12" fmla="*/ 517066 h 517329"/>
                <a:gd name="connsiteX13" fmla="*/ 38290 w 439901"/>
                <a:gd name="connsiteY13" fmla="*/ 472541 h 517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9901" h="517329">
                  <a:moveTo>
                    <a:pt x="38290" y="472541"/>
                  </a:moveTo>
                  <a:cubicBezTo>
                    <a:pt x="8014" y="443156"/>
                    <a:pt x="0" y="392397"/>
                    <a:pt x="0" y="319377"/>
                  </a:cubicBezTo>
                  <a:lnTo>
                    <a:pt x="0" y="47778"/>
                  </a:lnTo>
                  <a:lnTo>
                    <a:pt x="92094" y="0"/>
                  </a:lnTo>
                  <a:lnTo>
                    <a:pt x="118664" y="18418"/>
                  </a:lnTo>
                  <a:lnTo>
                    <a:pt x="120216" y="234781"/>
                  </a:lnTo>
                  <a:cubicBezTo>
                    <a:pt x="117544" y="284648"/>
                    <a:pt x="125558" y="335406"/>
                    <a:pt x="141587" y="382603"/>
                  </a:cubicBezTo>
                  <a:cubicBezTo>
                    <a:pt x="155836" y="421784"/>
                    <a:pt x="192345" y="441375"/>
                    <a:pt x="248446" y="441375"/>
                  </a:cubicBezTo>
                  <a:cubicBezTo>
                    <a:pt x="276051" y="440484"/>
                    <a:pt x="302766" y="435141"/>
                    <a:pt x="328589" y="427127"/>
                  </a:cubicBezTo>
                  <a:cubicBezTo>
                    <a:pt x="365990" y="415550"/>
                    <a:pt x="402500" y="400412"/>
                    <a:pt x="438120" y="382603"/>
                  </a:cubicBezTo>
                  <a:cubicBezTo>
                    <a:pt x="439010" y="386164"/>
                    <a:pt x="439901" y="390616"/>
                    <a:pt x="439901" y="394178"/>
                  </a:cubicBezTo>
                  <a:lnTo>
                    <a:pt x="439901" y="403083"/>
                  </a:lnTo>
                  <a:cubicBezTo>
                    <a:pt x="345509" y="484118"/>
                    <a:pt x="221731" y="512614"/>
                    <a:pt x="147821" y="517066"/>
                  </a:cubicBezTo>
                  <a:cubicBezTo>
                    <a:pt x="106859" y="519738"/>
                    <a:pt x="66787" y="501928"/>
                    <a:pt x="38290" y="47254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" name="Forme libre : forme 113">
              <a:extLst>
                <a:ext uri="{FF2B5EF4-FFF2-40B4-BE49-F238E27FC236}">
                  <a16:creationId xmlns:a16="http://schemas.microsoft.com/office/drawing/2014/main" id="{B93DC94C-820F-4572-BF0C-6383E8E9C877}"/>
                </a:ext>
              </a:extLst>
            </p:cNvPr>
            <p:cNvSpPr/>
            <p:nvPr/>
          </p:nvSpPr>
          <p:spPr>
            <a:xfrm rot="8716295">
              <a:off x="896624" y="4761216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" name="Forme libre : forme 114">
              <a:extLst>
                <a:ext uri="{FF2B5EF4-FFF2-40B4-BE49-F238E27FC236}">
                  <a16:creationId xmlns:a16="http://schemas.microsoft.com/office/drawing/2014/main" id="{46905971-2CA6-4786-88F6-6625CD1AC045}"/>
                </a:ext>
              </a:extLst>
            </p:cNvPr>
            <p:cNvSpPr/>
            <p:nvPr/>
          </p:nvSpPr>
          <p:spPr>
            <a:xfrm rot="8716295">
              <a:off x="1032483" y="4799006"/>
              <a:ext cx="389853" cy="383455"/>
            </a:xfrm>
            <a:custGeom>
              <a:avLst/>
              <a:gdLst>
                <a:gd name="connsiteX0" fmla="*/ 77932 w 389853"/>
                <a:gd name="connsiteY0" fmla="*/ 383455 h 383455"/>
                <a:gd name="connsiteX1" fmla="*/ 77932 w 389853"/>
                <a:gd name="connsiteY1" fmla="*/ 66898 h 383455"/>
                <a:gd name="connsiteX2" fmla="*/ 0 w 389853"/>
                <a:gd name="connsiteY2" fmla="*/ 66898 h 383455"/>
                <a:gd name="connsiteX3" fmla="*/ 0 w 389853"/>
                <a:gd name="connsiteY3" fmla="*/ 0 h 383455"/>
                <a:gd name="connsiteX4" fmla="*/ 158623 w 389853"/>
                <a:gd name="connsiteY4" fmla="*/ 0 h 383455"/>
                <a:gd name="connsiteX5" fmla="*/ 158623 w 389853"/>
                <a:gd name="connsiteY5" fmla="*/ 111726 h 383455"/>
                <a:gd name="connsiteX6" fmla="*/ 160692 w 389853"/>
                <a:gd name="connsiteY6" fmla="*/ 111726 h 383455"/>
                <a:gd name="connsiteX7" fmla="*/ 192762 w 389853"/>
                <a:gd name="connsiteY7" fmla="*/ 39914 h 383455"/>
                <a:gd name="connsiteX8" fmla="*/ 216292 w 389853"/>
                <a:gd name="connsiteY8" fmla="*/ 20658 h 383455"/>
                <a:gd name="connsiteX9" fmla="*/ 389853 w 389853"/>
                <a:gd name="connsiteY9" fmla="*/ 140965 h 383455"/>
                <a:gd name="connsiteX10" fmla="*/ 300695 w 389853"/>
                <a:gd name="connsiteY10" fmla="*/ 146210 h 383455"/>
                <a:gd name="connsiteX11" fmla="*/ 300694 w 389853"/>
                <a:gd name="connsiteY11" fmla="*/ 121382 h 383455"/>
                <a:gd name="connsiteX12" fmla="*/ 249659 w 389853"/>
                <a:gd name="connsiteY12" fmla="*/ 58622 h 383455"/>
                <a:gd name="connsiteX13" fmla="*/ 168969 w 389853"/>
                <a:gd name="connsiteY13" fmla="*/ 191038 h 383455"/>
                <a:gd name="connsiteX14" fmla="*/ 168969 w 389853"/>
                <a:gd name="connsiteY14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9853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71727" y="78967"/>
                    <a:pt x="181555" y="56208"/>
                    <a:pt x="192762" y="39914"/>
                  </a:cubicBezTo>
                  <a:lnTo>
                    <a:pt x="216292" y="20658"/>
                  </a:lnTo>
                  <a:lnTo>
                    <a:pt x="389853" y="140965"/>
                  </a:lnTo>
                  <a:lnTo>
                    <a:pt x="300695" y="146210"/>
                  </a:lnTo>
                  <a:lnTo>
                    <a:pt x="300694" y="121382"/>
                  </a:lnTo>
                  <a:cubicBezTo>
                    <a:pt x="300695" y="84140"/>
                    <a:pt x="279315" y="58621"/>
                    <a:pt x="249659" y="58622"/>
                  </a:cubicBezTo>
                  <a:cubicBezTo>
                    <a:pt x="205521" y="58621"/>
                    <a:pt x="168969" y="117244"/>
                    <a:pt x="168969" y="191038"/>
                  </a:cubicBez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" name="Forme libre : forme 115">
              <a:extLst>
                <a:ext uri="{FF2B5EF4-FFF2-40B4-BE49-F238E27FC236}">
                  <a16:creationId xmlns:a16="http://schemas.microsoft.com/office/drawing/2014/main" id="{8E2B23B6-FA24-4ECF-865C-D4B85991FB2B}"/>
                </a:ext>
              </a:extLst>
            </p:cNvPr>
            <p:cNvSpPr/>
            <p:nvPr/>
          </p:nvSpPr>
          <p:spPr>
            <a:xfrm rot="8716295">
              <a:off x="726753" y="489523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" name="Forme libre : forme 116">
              <a:extLst>
                <a:ext uri="{FF2B5EF4-FFF2-40B4-BE49-F238E27FC236}">
                  <a16:creationId xmlns:a16="http://schemas.microsoft.com/office/drawing/2014/main" id="{068C5BF4-ACAC-42CE-AE54-FD21152507C1}"/>
                </a:ext>
              </a:extLst>
            </p:cNvPr>
            <p:cNvSpPr/>
            <p:nvPr/>
          </p:nvSpPr>
          <p:spPr>
            <a:xfrm rot="8716295">
              <a:off x="537709" y="457939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" name="Forme libre : forme 117">
              <a:extLst>
                <a:ext uri="{FF2B5EF4-FFF2-40B4-BE49-F238E27FC236}">
                  <a16:creationId xmlns:a16="http://schemas.microsoft.com/office/drawing/2014/main" id="{0ACBCA4F-4DCF-49D0-8A3E-C12DE7B45BF0}"/>
                </a:ext>
              </a:extLst>
            </p:cNvPr>
            <p:cNvSpPr/>
            <p:nvPr/>
          </p:nvSpPr>
          <p:spPr>
            <a:xfrm rot="8716295">
              <a:off x="826576" y="4988476"/>
              <a:ext cx="91035" cy="198648"/>
            </a:xfrm>
            <a:custGeom>
              <a:avLst/>
              <a:gdLst>
                <a:gd name="connsiteX0" fmla="*/ 91035 w 91035"/>
                <a:gd name="connsiteY0" fmla="*/ 198648 h 198648"/>
                <a:gd name="connsiteX1" fmla="*/ 0 w 91035"/>
                <a:gd name="connsiteY1" fmla="*/ 111060 h 198648"/>
                <a:gd name="connsiteX2" fmla="*/ 0 w 91035"/>
                <a:gd name="connsiteY2" fmla="*/ 0 h 198648"/>
                <a:gd name="connsiteX3" fmla="*/ 91035 w 91035"/>
                <a:gd name="connsiteY3" fmla="*/ 63103 h 198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198648">
                  <a:moveTo>
                    <a:pt x="91035" y="198648"/>
                  </a:moveTo>
                  <a:lnTo>
                    <a:pt x="0" y="111060"/>
                  </a:lnTo>
                  <a:lnTo>
                    <a:pt x="0" y="0"/>
                  </a:lnTo>
                  <a:lnTo>
                    <a:pt x="91035" y="631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" name="Forme libre : forme 118">
              <a:extLst>
                <a:ext uri="{FF2B5EF4-FFF2-40B4-BE49-F238E27FC236}">
                  <a16:creationId xmlns:a16="http://schemas.microsoft.com/office/drawing/2014/main" id="{CF5DC784-7D69-46EA-A75B-D2ED877AA625}"/>
                </a:ext>
              </a:extLst>
            </p:cNvPr>
            <p:cNvSpPr/>
            <p:nvPr/>
          </p:nvSpPr>
          <p:spPr>
            <a:xfrm rot="8716295">
              <a:off x="497795" y="4730788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" name="Forme libre : forme 119">
              <a:extLst>
                <a:ext uri="{FF2B5EF4-FFF2-40B4-BE49-F238E27FC236}">
                  <a16:creationId xmlns:a16="http://schemas.microsoft.com/office/drawing/2014/main" id="{283C5FE9-EF8F-4940-9D13-7BC399536967}"/>
                </a:ext>
              </a:extLst>
            </p:cNvPr>
            <p:cNvSpPr/>
            <p:nvPr/>
          </p:nvSpPr>
          <p:spPr>
            <a:xfrm rot="8716295">
              <a:off x="1459248" y="4904357"/>
              <a:ext cx="328004" cy="223069"/>
            </a:xfrm>
            <a:custGeom>
              <a:avLst/>
              <a:gdLst>
                <a:gd name="connsiteX0" fmla="*/ 10574 w 328004"/>
                <a:gd name="connsiteY0" fmla="*/ 223069 h 223069"/>
                <a:gd name="connsiteX1" fmla="*/ 0 w 328004"/>
                <a:gd name="connsiteY1" fmla="*/ 208428 h 223069"/>
                <a:gd name="connsiteX2" fmla="*/ 192781 w 328004"/>
                <a:gd name="connsiteY2" fmla="*/ 27035 h 223069"/>
                <a:gd name="connsiteX3" fmla="*/ 227094 w 328004"/>
                <a:gd name="connsiteY3" fmla="*/ 0 h 223069"/>
                <a:gd name="connsiteX4" fmla="*/ 328004 w 328004"/>
                <a:gd name="connsiteY4" fmla="*/ 69948 h 223069"/>
                <a:gd name="connsiteX5" fmla="*/ 326080 w 328004"/>
                <a:gd name="connsiteY5" fmla="*/ 74925 h 223069"/>
                <a:gd name="connsiteX6" fmla="*/ 293645 w 328004"/>
                <a:gd name="connsiteY6" fmla="*/ 100243 h 223069"/>
                <a:gd name="connsiteX7" fmla="*/ 294458 w 328004"/>
                <a:gd name="connsiteY7" fmla="*/ 100243 h 223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8004" h="223069">
                  <a:moveTo>
                    <a:pt x="10574" y="223069"/>
                  </a:moveTo>
                  <a:lnTo>
                    <a:pt x="0" y="208428"/>
                  </a:lnTo>
                  <a:lnTo>
                    <a:pt x="192781" y="27035"/>
                  </a:lnTo>
                  <a:lnTo>
                    <a:pt x="227094" y="0"/>
                  </a:lnTo>
                  <a:lnTo>
                    <a:pt x="328004" y="69948"/>
                  </a:lnTo>
                  <a:lnTo>
                    <a:pt x="326080" y="74925"/>
                  </a:lnTo>
                  <a:cubicBezTo>
                    <a:pt x="317843" y="85805"/>
                    <a:pt x="306659" y="94549"/>
                    <a:pt x="293645" y="100243"/>
                  </a:cubicBezTo>
                  <a:lnTo>
                    <a:pt x="294458" y="10024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" name="Forme libre : forme 120">
              <a:extLst>
                <a:ext uri="{FF2B5EF4-FFF2-40B4-BE49-F238E27FC236}">
                  <a16:creationId xmlns:a16="http://schemas.microsoft.com/office/drawing/2014/main" id="{0B28DAC7-E1B5-4397-8312-3939C6181805}"/>
                </a:ext>
              </a:extLst>
            </p:cNvPr>
            <p:cNvSpPr/>
            <p:nvPr/>
          </p:nvSpPr>
          <p:spPr>
            <a:xfrm rot="8716295">
              <a:off x="1383191" y="474927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" name="Forme libre : forme 121">
              <a:extLst>
                <a:ext uri="{FF2B5EF4-FFF2-40B4-BE49-F238E27FC236}">
                  <a16:creationId xmlns:a16="http://schemas.microsoft.com/office/drawing/2014/main" id="{9B5900D5-EF58-45B1-849A-84D4EFAA76C9}"/>
                </a:ext>
              </a:extLst>
            </p:cNvPr>
            <p:cNvSpPr/>
            <p:nvPr/>
          </p:nvSpPr>
          <p:spPr>
            <a:xfrm rot="8716295">
              <a:off x="1015027" y="479501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" name="Forme libre : forme 122">
              <a:extLst>
                <a:ext uri="{FF2B5EF4-FFF2-40B4-BE49-F238E27FC236}">
                  <a16:creationId xmlns:a16="http://schemas.microsoft.com/office/drawing/2014/main" id="{31771F28-8680-4E6C-A8C1-BC66F7BF0BA9}"/>
                </a:ext>
              </a:extLst>
            </p:cNvPr>
            <p:cNvSpPr/>
            <p:nvPr/>
          </p:nvSpPr>
          <p:spPr>
            <a:xfrm rot="8716295">
              <a:off x="1283609" y="455399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" name="Forme libre : forme 123">
              <a:extLst>
                <a:ext uri="{FF2B5EF4-FFF2-40B4-BE49-F238E27FC236}">
                  <a16:creationId xmlns:a16="http://schemas.microsoft.com/office/drawing/2014/main" id="{AC2CE701-4BE3-4F79-917E-19B3C750B982}"/>
                </a:ext>
              </a:extLst>
            </p:cNvPr>
            <p:cNvSpPr/>
            <p:nvPr/>
          </p:nvSpPr>
          <p:spPr>
            <a:xfrm rot="8716295">
              <a:off x="-30381" y="3359388"/>
              <a:ext cx="98497" cy="75863"/>
            </a:xfrm>
            <a:custGeom>
              <a:avLst/>
              <a:gdLst>
                <a:gd name="connsiteX0" fmla="*/ 0 w 98497"/>
                <a:gd name="connsiteY0" fmla="*/ 75863 h 75863"/>
                <a:gd name="connsiteX1" fmla="*/ 0 w 98497"/>
                <a:gd name="connsiteY1" fmla="*/ 0 h 75863"/>
                <a:gd name="connsiteX2" fmla="*/ 98497 w 98497"/>
                <a:gd name="connsiteY2" fmla="*/ 0 h 75863"/>
                <a:gd name="connsiteX3" fmla="*/ 45911 w 98497"/>
                <a:gd name="connsiteY3" fmla="*/ 75863 h 75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497" h="75863">
                  <a:moveTo>
                    <a:pt x="0" y="75863"/>
                  </a:moveTo>
                  <a:lnTo>
                    <a:pt x="0" y="0"/>
                  </a:lnTo>
                  <a:lnTo>
                    <a:pt x="98497" y="0"/>
                  </a:lnTo>
                  <a:lnTo>
                    <a:pt x="45911" y="758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" name="Forme libre : forme 124">
              <a:extLst>
                <a:ext uri="{FF2B5EF4-FFF2-40B4-BE49-F238E27FC236}">
                  <a16:creationId xmlns:a16="http://schemas.microsoft.com/office/drawing/2014/main" id="{F4F0C1BC-FBE5-45A4-A80E-BAB3E52DE367}"/>
                </a:ext>
              </a:extLst>
            </p:cNvPr>
            <p:cNvSpPr/>
            <p:nvPr/>
          </p:nvSpPr>
          <p:spPr>
            <a:xfrm rot="8716295">
              <a:off x="-77334" y="3178477"/>
              <a:ext cx="389652" cy="385611"/>
            </a:xfrm>
            <a:custGeom>
              <a:avLst/>
              <a:gdLst>
                <a:gd name="connsiteX0" fmla="*/ 77932 w 389652"/>
                <a:gd name="connsiteY0" fmla="*/ 385611 h 385611"/>
                <a:gd name="connsiteX1" fmla="*/ 77932 w 389652"/>
                <a:gd name="connsiteY1" fmla="*/ 69054 h 385611"/>
                <a:gd name="connsiteX2" fmla="*/ 0 w 389652"/>
                <a:gd name="connsiteY2" fmla="*/ 69054 h 385611"/>
                <a:gd name="connsiteX3" fmla="*/ 0 w 389652"/>
                <a:gd name="connsiteY3" fmla="*/ 2156 h 385611"/>
                <a:gd name="connsiteX4" fmla="*/ 158623 w 389652"/>
                <a:gd name="connsiteY4" fmla="*/ 2156 h 385611"/>
                <a:gd name="connsiteX5" fmla="*/ 158623 w 389652"/>
                <a:gd name="connsiteY5" fmla="*/ 113882 h 385611"/>
                <a:gd name="connsiteX6" fmla="*/ 160692 w 389652"/>
                <a:gd name="connsiteY6" fmla="*/ 113882 h 385611"/>
                <a:gd name="connsiteX7" fmla="*/ 233107 w 389652"/>
                <a:gd name="connsiteY7" fmla="*/ 9053 h 385611"/>
                <a:gd name="connsiteX8" fmla="*/ 280694 w 389652"/>
                <a:gd name="connsiteY8" fmla="*/ 87 h 385611"/>
                <a:gd name="connsiteX9" fmla="*/ 364230 w 389652"/>
                <a:gd name="connsiteY9" fmla="*/ 34398 h 385611"/>
                <a:gd name="connsiteX10" fmla="*/ 389652 w 389652"/>
                <a:gd name="connsiteY10" fmla="*/ 117977 h 385611"/>
                <a:gd name="connsiteX11" fmla="*/ 371473 w 389652"/>
                <a:gd name="connsiteY11" fmla="*/ 144202 h 385611"/>
                <a:gd name="connsiteX12" fmla="*/ 300695 w 389652"/>
                <a:gd name="connsiteY12" fmla="*/ 148366 h 385611"/>
                <a:gd name="connsiteX13" fmla="*/ 300695 w 389652"/>
                <a:gd name="connsiteY13" fmla="*/ 123538 h 385611"/>
                <a:gd name="connsiteX14" fmla="*/ 249659 w 389652"/>
                <a:gd name="connsiteY14" fmla="*/ 60778 h 385611"/>
                <a:gd name="connsiteX15" fmla="*/ 168969 w 389652"/>
                <a:gd name="connsiteY15" fmla="*/ 193194 h 385611"/>
                <a:gd name="connsiteX16" fmla="*/ 168969 w 389652"/>
                <a:gd name="connsiteY16" fmla="*/ 323541 h 385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89652" h="385611">
                  <a:moveTo>
                    <a:pt x="77932" y="385611"/>
                  </a:moveTo>
                  <a:lnTo>
                    <a:pt x="77932" y="69054"/>
                  </a:lnTo>
                  <a:lnTo>
                    <a:pt x="0" y="69054"/>
                  </a:lnTo>
                  <a:lnTo>
                    <a:pt x="0" y="2156"/>
                  </a:lnTo>
                  <a:lnTo>
                    <a:pt x="158623" y="2156"/>
                  </a:lnTo>
                  <a:lnTo>
                    <a:pt x="158623" y="113882"/>
                  </a:lnTo>
                  <a:lnTo>
                    <a:pt x="160692" y="113882"/>
                  </a:lnTo>
                  <a:cubicBezTo>
                    <a:pt x="182762" y="48364"/>
                    <a:pt x="200003" y="22846"/>
                    <a:pt x="233107" y="9053"/>
                  </a:cubicBezTo>
                  <a:cubicBezTo>
                    <a:pt x="248280" y="2846"/>
                    <a:pt x="264142" y="-602"/>
                    <a:pt x="280694" y="87"/>
                  </a:cubicBezTo>
                  <a:cubicBezTo>
                    <a:pt x="316212" y="-603"/>
                    <a:pt x="344661" y="11466"/>
                    <a:pt x="364230" y="34398"/>
                  </a:cubicBezTo>
                  <a:lnTo>
                    <a:pt x="389652" y="117977"/>
                  </a:lnTo>
                  <a:lnTo>
                    <a:pt x="371473" y="144202"/>
                  </a:lnTo>
                  <a:lnTo>
                    <a:pt x="300695" y="148366"/>
                  </a:lnTo>
                  <a:lnTo>
                    <a:pt x="300695" y="123538"/>
                  </a:lnTo>
                  <a:cubicBezTo>
                    <a:pt x="300695" y="86296"/>
                    <a:pt x="279315" y="60778"/>
                    <a:pt x="249659" y="60778"/>
                  </a:cubicBezTo>
                  <a:cubicBezTo>
                    <a:pt x="205521" y="60778"/>
                    <a:pt x="168969" y="119400"/>
                    <a:pt x="168969" y="193194"/>
                  </a:cubicBezTo>
                  <a:lnTo>
                    <a:pt x="168969" y="3235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" name="Forme libre : forme 125">
              <a:extLst>
                <a:ext uri="{FF2B5EF4-FFF2-40B4-BE49-F238E27FC236}">
                  <a16:creationId xmlns:a16="http://schemas.microsoft.com/office/drawing/2014/main" id="{DD7E27D6-EDC4-4410-A8FD-B0AB28C9E1C2}"/>
                </a:ext>
              </a:extLst>
            </p:cNvPr>
            <p:cNvSpPr/>
            <p:nvPr/>
          </p:nvSpPr>
          <p:spPr>
            <a:xfrm rot="8716295">
              <a:off x="-71352" y="3029015"/>
              <a:ext cx="193594" cy="189959"/>
            </a:xfrm>
            <a:custGeom>
              <a:avLst/>
              <a:gdLst>
                <a:gd name="connsiteX0" fmla="*/ 8965 w 193594"/>
                <a:gd name="connsiteY0" fmla="*/ 189959 h 189959"/>
                <a:gd name="connsiteX1" fmla="*/ 0 w 193594"/>
                <a:gd name="connsiteY1" fmla="*/ 177545 h 189959"/>
                <a:gd name="connsiteX2" fmla="*/ 163451 w 193594"/>
                <a:gd name="connsiteY2" fmla="*/ 23749 h 189959"/>
                <a:gd name="connsiteX3" fmla="*/ 193594 w 193594"/>
                <a:gd name="connsiteY3" fmla="*/ 0 h 189959"/>
                <a:gd name="connsiteX4" fmla="*/ 84606 w 193594"/>
                <a:gd name="connsiteY4" fmla="*/ 157232 h 189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594" h="189959">
                  <a:moveTo>
                    <a:pt x="8965" y="189959"/>
                  </a:moveTo>
                  <a:lnTo>
                    <a:pt x="0" y="177545"/>
                  </a:lnTo>
                  <a:lnTo>
                    <a:pt x="163451" y="23749"/>
                  </a:lnTo>
                  <a:lnTo>
                    <a:pt x="193594" y="0"/>
                  </a:lnTo>
                  <a:lnTo>
                    <a:pt x="84606" y="15723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" name="Forme libre : forme 126">
              <a:extLst>
                <a:ext uri="{FF2B5EF4-FFF2-40B4-BE49-F238E27FC236}">
                  <a16:creationId xmlns:a16="http://schemas.microsoft.com/office/drawing/2014/main" id="{9053D84D-7FDB-4998-A81C-E5ABAA6EDE5E}"/>
                </a:ext>
              </a:extLst>
            </p:cNvPr>
            <p:cNvSpPr/>
            <p:nvPr/>
          </p:nvSpPr>
          <p:spPr>
            <a:xfrm rot="8716295">
              <a:off x="223574" y="276232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" name="Forme libre : forme 127">
              <a:extLst>
                <a:ext uri="{FF2B5EF4-FFF2-40B4-BE49-F238E27FC236}">
                  <a16:creationId xmlns:a16="http://schemas.microsoft.com/office/drawing/2014/main" id="{87AB580E-8F4B-47CD-9028-D46526078CE4}"/>
                </a:ext>
              </a:extLst>
            </p:cNvPr>
            <p:cNvSpPr/>
            <p:nvPr/>
          </p:nvSpPr>
          <p:spPr>
            <a:xfrm rot="8716295">
              <a:off x="358873" y="2806579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" name="Forme libre : forme 128">
              <a:extLst>
                <a:ext uri="{FF2B5EF4-FFF2-40B4-BE49-F238E27FC236}">
                  <a16:creationId xmlns:a16="http://schemas.microsoft.com/office/drawing/2014/main" id="{E19792CF-DDD1-4F4B-9682-435BC6CB8DED}"/>
                </a:ext>
              </a:extLst>
            </p:cNvPr>
            <p:cNvSpPr/>
            <p:nvPr/>
          </p:nvSpPr>
          <p:spPr>
            <a:xfrm rot="8716295">
              <a:off x="53703" y="2896335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" name="Forme libre : forme 129">
              <a:extLst>
                <a:ext uri="{FF2B5EF4-FFF2-40B4-BE49-F238E27FC236}">
                  <a16:creationId xmlns:a16="http://schemas.microsoft.com/office/drawing/2014/main" id="{BD0B65CA-A3C5-4B2A-8016-3FA0B6B241F4}"/>
                </a:ext>
              </a:extLst>
            </p:cNvPr>
            <p:cNvSpPr/>
            <p:nvPr/>
          </p:nvSpPr>
          <p:spPr>
            <a:xfrm rot="8716295">
              <a:off x="-92201" y="2622488"/>
              <a:ext cx="271732" cy="238722"/>
            </a:xfrm>
            <a:custGeom>
              <a:avLst/>
              <a:gdLst>
                <a:gd name="connsiteX0" fmla="*/ 106257 w 271732"/>
                <a:gd name="connsiteY0" fmla="*/ 238722 h 238722"/>
                <a:gd name="connsiteX1" fmla="*/ 72418 w 271732"/>
                <a:gd name="connsiteY1" fmla="*/ 175766 h 238722"/>
                <a:gd name="connsiteX2" fmla="*/ 105610 w 271732"/>
                <a:gd name="connsiteY2" fmla="*/ 83734 h 238722"/>
                <a:gd name="connsiteX3" fmla="*/ 0 w 271732"/>
                <a:gd name="connsiteY3" fmla="*/ 83734 h 238722"/>
                <a:gd name="connsiteX4" fmla="*/ 0 w 271732"/>
                <a:gd name="connsiteY4" fmla="*/ 0 h 238722"/>
                <a:gd name="connsiteX5" fmla="*/ 271732 w 271732"/>
                <a:gd name="connsiteY5" fmla="*/ 0 h 238722"/>
                <a:gd name="connsiteX6" fmla="*/ 213690 w 271732"/>
                <a:gd name="connsiteY6" fmla="*/ 83734 h 238722"/>
                <a:gd name="connsiteX7" fmla="*/ 210465 w 271732"/>
                <a:gd name="connsiteY7" fmla="*/ 83734 h 238722"/>
                <a:gd name="connsiteX8" fmla="*/ 207289 w 271732"/>
                <a:gd name="connsiteY8" fmla="*/ 92969 h 238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1732" h="238722">
                  <a:moveTo>
                    <a:pt x="106257" y="238722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71732" y="0"/>
                  </a:lnTo>
                  <a:lnTo>
                    <a:pt x="213690" y="83734"/>
                  </a:lnTo>
                  <a:lnTo>
                    <a:pt x="210465" y="83734"/>
                  </a:lnTo>
                  <a:lnTo>
                    <a:pt x="207289" y="929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" name="Forme libre : forme 130">
              <a:extLst>
                <a:ext uri="{FF2B5EF4-FFF2-40B4-BE49-F238E27FC236}">
                  <a16:creationId xmlns:a16="http://schemas.microsoft.com/office/drawing/2014/main" id="{A401047D-B75D-4F40-878E-D1BF52EA2F0E}"/>
                </a:ext>
              </a:extLst>
            </p:cNvPr>
            <p:cNvSpPr/>
            <p:nvPr/>
          </p:nvSpPr>
          <p:spPr>
            <a:xfrm rot="8716295">
              <a:off x="190192" y="2958318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" name="Forme libre : forme 131">
              <a:extLst>
                <a:ext uri="{FF2B5EF4-FFF2-40B4-BE49-F238E27FC236}">
                  <a16:creationId xmlns:a16="http://schemas.microsoft.com/office/drawing/2014/main" id="{0A764231-DFA5-45AC-9649-96FE00947629}"/>
                </a:ext>
              </a:extLst>
            </p:cNvPr>
            <p:cNvSpPr/>
            <p:nvPr/>
          </p:nvSpPr>
          <p:spPr>
            <a:xfrm rot="7484129">
              <a:off x="349009" y="324793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" name="Forme libre : forme 132">
              <a:extLst>
                <a:ext uri="{FF2B5EF4-FFF2-40B4-BE49-F238E27FC236}">
                  <a16:creationId xmlns:a16="http://schemas.microsoft.com/office/drawing/2014/main" id="{08367284-C420-422D-A59E-EC2B0D5CAF81}"/>
                </a:ext>
              </a:extLst>
            </p:cNvPr>
            <p:cNvSpPr/>
            <p:nvPr/>
          </p:nvSpPr>
          <p:spPr>
            <a:xfrm rot="13089394">
              <a:off x="507659" y="3197284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" name="Forme libre : forme 133">
              <a:extLst>
                <a:ext uri="{FF2B5EF4-FFF2-40B4-BE49-F238E27FC236}">
                  <a16:creationId xmlns:a16="http://schemas.microsoft.com/office/drawing/2014/main" id="{6E0CAE80-C507-4A7F-B64E-2B2322B07A4F}"/>
                </a:ext>
              </a:extLst>
            </p:cNvPr>
            <p:cNvSpPr/>
            <p:nvPr/>
          </p:nvSpPr>
          <p:spPr>
            <a:xfrm rot="8716295">
              <a:off x="788550" y="2907166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" name="Forme libre : forme 134">
              <a:extLst>
                <a:ext uri="{FF2B5EF4-FFF2-40B4-BE49-F238E27FC236}">
                  <a16:creationId xmlns:a16="http://schemas.microsoft.com/office/drawing/2014/main" id="{4935918E-F29D-4E02-AE1D-44610A8EABE6}"/>
                </a:ext>
              </a:extLst>
            </p:cNvPr>
            <p:cNvSpPr/>
            <p:nvPr/>
          </p:nvSpPr>
          <p:spPr>
            <a:xfrm rot="8716295">
              <a:off x="710141" y="275037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" name="Forme libre : forme 135">
              <a:extLst>
                <a:ext uri="{FF2B5EF4-FFF2-40B4-BE49-F238E27FC236}">
                  <a16:creationId xmlns:a16="http://schemas.microsoft.com/office/drawing/2014/main" id="{0186616C-3255-4138-99FF-17ACDEE12423}"/>
                </a:ext>
              </a:extLst>
            </p:cNvPr>
            <p:cNvSpPr/>
            <p:nvPr/>
          </p:nvSpPr>
          <p:spPr>
            <a:xfrm rot="8716295">
              <a:off x="341977" y="279611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" name="Forme libre : forme 136">
              <a:extLst>
                <a:ext uri="{FF2B5EF4-FFF2-40B4-BE49-F238E27FC236}">
                  <a16:creationId xmlns:a16="http://schemas.microsoft.com/office/drawing/2014/main" id="{00B7B22E-16FD-44D5-9219-31608DDFCC39}"/>
                </a:ext>
              </a:extLst>
            </p:cNvPr>
            <p:cNvSpPr/>
            <p:nvPr/>
          </p:nvSpPr>
          <p:spPr>
            <a:xfrm rot="8716295">
              <a:off x="610559" y="2555095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" name="Forme libre : forme 137">
              <a:extLst>
                <a:ext uri="{FF2B5EF4-FFF2-40B4-BE49-F238E27FC236}">
                  <a16:creationId xmlns:a16="http://schemas.microsoft.com/office/drawing/2014/main" id="{A6953B6D-6364-4054-88C6-74B273B65431}"/>
                </a:ext>
              </a:extLst>
            </p:cNvPr>
            <p:cNvSpPr/>
            <p:nvPr/>
          </p:nvSpPr>
          <p:spPr>
            <a:xfrm rot="8716295">
              <a:off x="-24305" y="2374348"/>
              <a:ext cx="58950" cy="66898"/>
            </a:xfrm>
            <a:custGeom>
              <a:avLst/>
              <a:gdLst>
                <a:gd name="connsiteX0" fmla="*/ 0 w 58950"/>
                <a:gd name="connsiteY0" fmla="*/ 66898 h 66898"/>
                <a:gd name="connsiteX1" fmla="*/ 0 w 58950"/>
                <a:gd name="connsiteY1" fmla="*/ 0 h 66898"/>
                <a:gd name="connsiteX2" fmla="*/ 58950 w 58950"/>
                <a:gd name="connsiteY2" fmla="*/ 0 h 66898"/>
                <a:gd name="connsiteX3" fmla="*/ 12579 w 58950"/>
                <a:gd name="connsiteY3" fmla="*/ 66898 h 6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950" h="66898">
                  <a:moveTo>
                    <a:pt x="0" y="66898"/>
                  </a:moveTo>
                  <a:lnTo>
                    <a:pt x="0" y="0"/>
                  </a:lnTo>
                  <a:lnTo>
                    <a:pt x="58950" y="0"/>
                  </a:lnTo>
                  <a:lnTo>
                    <a:pt x="12579" y="668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" name="Forme libre : forme 138">
              <a:extLst>
                <a:ext uri="{FF2B5EF4-FFF2-40B4-BE49-F238E27FC236}">
                  <a16:creationId xmlns:a16="http://schemas.microsoft.com/office/drawing/2014/main" id="{41AD4D21-E927-44C5-8A83-B759FDFF6D06}"/>
                </a:ext>
              </a:extLst>
            </p:cNvPr>
            <p:cNvSpPr/>
            <p:nvPr/>
          </p:nvSpPr>
          <p:spPr>
            <a:xfrm rot="8716295">
              <a:off x="-39593" y="1952072"/>
              <a:ext cx="198050" cy="140164"/>
            </a:xfrm>
            <a:custGeom>
              <a:avLst/>
              <a:gdLst>
                <a:gd name="connsiteX0" fmla="*/ 0 w 198050"/>
                <a:gd name="connsiteY0" fmla="*/ 75863 h 140164"/>
                <a:gd name="connsiteX1" fmla="*/ 0 w 198050"/>
                <a:gd name="connsiteY1" fmla="*/ 0 h 140164"/>
                <a:gd name="connsiteX2" fmla="*/ 128968 w 198050"/>
                <a:gd name="connsiteY2" fmla="*/ 0 h 140164"/>
                <a:gd name="connsiteX3" fmla="*/ 193021 w 198050"/>
                <a:gd name="connsiteY3" fmla="*/ 18535 h 140164"/>
                <a:gd name="connsiteX4" fmla="*/ 198050 w 198050"/>
                <a:gd name="connsiteY4" fmla="*/ 31548 h 140164"/>
                <a:gd name="connsiteX5" fmla="*/ 122761 w 198050"/>
                <a:gd name="connsiteY5" fmla="*/ 140164 h 140164"/>
                <a:gd name="connsiteX6" fmla="*/ 122761 w 198050"/>
                <a:gd name="connsiteY6" fmla="*/ 105519 h 140164"/>
                <a:gd name="connsiteX7" fmla="*/ 122761 w 198050"/>
                <a:gd name="connsiteY7" fmla="*/ 99312 h 140164"/>
                <a:gd name="connsiteX8" fmla="*/ 91726 w 198050"/>
                <a:gd name="connsiteY8" fmla="*/ 75863 h 140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8050" h="140164">
                  <a:moveTo>
                    <a:pt x="0" y="75863"/>
                  </a:moveTo>
                  <a:lnTo>
                    <a:pt x="0" y="0"/>
                  </a:lnTo>
                  <a:lnTo>
                    <a:pt x="128968" y="0"/>
                  </a:lnTo>
                  <a:cubicBezTo>
                    <a:pt x="156900" y="0"/>
                    <a:pt x="178452" y="6034"/>
                    <a:pt x="193021" y="18535"/>
                  </a:cubicBezTo>
                  <a:lnTo>
                    <a:pt x="198050" y="31548"/>
                  </a:lnTo>
                  <a:lnTo>
                    <a:pt x="122761" y="140164"/>
                  </a:ln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4"/>
                    <a:pt x="91726" y="758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" name="Forme libre : forme 139">
              <a:extLst>
                <a:ext uri="{FF2B5EF4-FFF2-40B4-BE49-F238E27FC236}">
                  <a16:creationId xmlns:a16="http://schemas.microsoft.com/office/drawing/2014/main" id="{B82C4F59-A689-41F2-8DD0-9745004AE675}"/>
                </a:ext>
              </a:extLst>
            </p:cNvPr>
            <p:cNvSpPr/>
            <p:nvPr/>
          </p:nvSpPr>
          <p:spPr>
            <a:xfrm rot="8716295">
              <a:off x="21100" y="1808096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" name="Forme libre : forme 140">
              <a:extLst>
                <a:ext uri="{FF2B5EF4-FFF2-40B4-BE49-F238E27FC236}">
                  <a16:creationId xmlns:a16="http://schemas.microsoft.com/office/drawing/2014/main" id="{FA2478B0-E5E2-4F32-8061-87C7FA11FBE0}"/>
                </a:ext>
              </a:extLst>
            </p:cNvPr>
            <p:cNvSpPr/>
            <p:nvPr/>
          </p:nvSpPr>
          <p:spPr>
            <a:xfrm rot="8716295">
              <a:off x="-24330" y="2197782"/>
              <a:ext cx="102508" cy="53362"/>
            </a:xfrm>
            <a:custGeom>
              <a:avLst/>
              <a:gdLst>
                <a:gd name="connsiteX0" fmla="*/ 0 w 102508"/>
                <a:gd name="connsiteY0" fmla="*/ 23637 h 53362"/>
                <a:gd name="connsiteX1" fmla="*/ 0 w 102508"/>
                <a:gd name="connsiteY1" fmla="*/ 2258 h 53362"/>
                <a:gd name="connsiteX2" fmla="*/ 102508 w 102508"/>
                <a:gd name="connsiteY2" fmla="*/ 0 h 53362"/>
                <a:gd name="connsiteX3" fmla="*/ 65519 w 102508"/>
                <a:gd name="connsiteY3" fmla="*/ 53362 h 53362"/>
                <a:gd name="connsiteX4" fmla="*/ 65519 w 102508"/>
                <a:gd name="connsiteY4" fmla="*/ 23637 h 5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508" h="53362">
                  <a:moveTo>
                    <a:pt x="0" y="23637"/>
                  </a:moveTo>
                  <a:lnTo>
                    <a:pt x="0" y="2258"/>
                  </a:lnTo>
                  <a:lnTo>
                    <a:pt x="102508" y="0"/>
                  </a:lnTo>
                  <a:lnTo>
                    <a:pt x="65519" y="53362"/>
                  </a:lnTo>
                  <a:lnTo>
                    <a:pt x="65519" y="2363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" name="Forme libre : forme 141">
              <a:extLst>
                <a:ext uri="{FF2B5EF4-FFF2-40B4-BE49-F238E27FC236}">
                  <a16:creationId xmlns:a16="http://schemas.microsoft.com/office/drawing/2014/main" id="{949053A5-7216-4B32-8AE1-A37ED2B2705A}"/>
                </a:ext>
              </a:extLst>
            </p:cNvPr>
            <p:cNvSpPr/>
            <p:nvPr/>
          </p:nvSpPr>
          <p:spPr>
            <a:xfrm rot="7484129">
              <a:off x="11236" y="224945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" name="Forme libre : forme 142">
              <a:extLst>
                <a:ext uri="{FF2B5EF4-FFF2-40B4-BE49-F238E27FC236}">
                  <a16:creationId xmlns:a16="http://schemas.microsoft.com/office/drawing/2014/main" id="{028B569C-B0FE-4A67-B111-B99F3950BB2A}"/>
                </a:ext>
              </a:extLst>
            </p:cNvPr>
            <p:cNvSpPr/>
            <p:nvPr/>
          </p:nvSpPr>
          <p:spPr>
            <a:xfrm rot="13089394">
              <a:off x="169886" y="2198801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4" name="Forme libre : forme 143">
              <a:extLst>
                <a:ext uri="{FF2B5EF4-FFF2-40B4-BE49-F238E27FC236}">
                  <a16:creationId xmlns:a16="http://schemas.microsoft.com/office/drawing/2014/main" id="{DDDAF86D-35C8-42A2-A70C-525D2D5475FD}"/>
                </a:ext>
              </a:extLst>
            </p:cNvPr>
            <p:cNvSpPr/>
            <p:nvPr/>
          </p:nvSpPr>
          <p:spPr>
            <a:xfrm rot="8716295">
              <a:off x="450777" y="1908683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5" name="Forme libre : forme 144">
              <a:extLst>
                <a:ext uri="{FF2B5EF4-FFF2-40B4-BE49-F238E27FC236}">
                  <a16:creationId xmlns:a16="http://schemas.microsoft.com/office/drawing/2014/main" id="{0456C75C-046A-4449-8D19-7B887B7670B6}"/>
                </a:ext>
              </a:extLst>
            </p:cNvPr>
            <p:cNvSpPr/>
            <p:nvPr/>
          </p:nvSpPr>
          <p:spPr>
            <a:xfrm rot="8716295">
              <a:off x="372368" y="175189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6" name="Forme libre : forme 145">
              <a:extLst>
                <a:ext uri="{FF2B5EF4-FFF2-40B4-BE49-F238E27FC236}">
                  <a16:creationId xmlns:a16="http://schemas.microsoft.com/office/drawing/2014/main" id="{9071FCAB-0728-4659-9A50-F1E4D3A34FCA}"/>
                </a:ext>
              </a:extLst>
            </p:cNvPr>
            <p:cNvSpPr/>
            <p:nvPr/>
          </p:nvSpPr>
          <p:spPr>
            <a:xfrm rot="8716295">
              <a:off x="4204" y="179763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7" name="Forme libre : forme 146">
              <a:extLst>
                <a:ext uri="{FF2B5EF4-FFF2-40B4-BE49-F238E27FC236}">
                  <a16:creationId xmlns:a16="http://schemas.microsoft.com/office/drawing/2014/main" id="{74F9CC45-BF7F-4E25-8F71-1BD6DA2F0E29}"/>
                </a:ext>
              </a:extLst>
            </p:cNvPr>
            <p:cNvSpPr/>
            <p:nvPr/>
          </p:nvSpPr>
          <p:spPr>
            <a:xfrm rot="8716295">
              <a:off x="272786" y="155661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8" name="Forme libre : forme 147">
              <a:extLst>
                <a:ext uri="{FF2B5EF4-FFF2-40B4-BE49-F238E27FC236}">
                  <a16:creationId xmlns:a16="http://schemas.microsoft.com/office/drawing/2014/main" id="{9BA7D72C-89C5-4ADB-A9D6-05B170E731F6}"/>
                </a:ext>
              </a:extLst>
            </p:cNvPr>
            <p:cNvSpPr/>
            <p:nvPr/>
          </p:nvSpPr>
          <p:spPr>
            <a:xfrm rot="8716295">
              <a:off x="-35149" y="938156"/>
              <a:ext cx="158623" cy="159016"/>
            </a:xfrm>
            <a:custGeom>
              <a:avLst/>
              <a:gdLst>
                <a:gd name="connsiteX0" fmla="*/ 77932 w 158623"/>
                <a:gd name="connsiteY0" fmla="*/ 159016 h 159016"/>
                <a:gd name="connsiteX1" fmla="*/ 77932 w 158623"/>
                <a:gd name="connsiteY1" fmla="*/ 66898 h 159016"/>
                <a:gd name="connsiteX2" fmla="*/ 0 w 158623"/>
                <a:gd name="connsiteY2" fmla="*/ 66898 h 159016"/>
                <a:gd name="connsiteX3" fmla="*/ 0 w 158623"/>
                <a:gd name="connsiteY3" fmla="*/ 0 h 159016"/>
                <a:gd name="connsiteX4" fmla="*/ 158623 w 158623"/>
                <a:gd name="connsiteY4" fmla="*/ 0 h 159016"/>
                <a:gd name="connsiteX5" fmla="*/ 158623 w 158623"/>
                <a:gd name="connsiteY5" fmla="*/ 42606 h 15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8623" h="159016">
                  <a:moveTo>
                    <a:pt x="77932" y="159016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4260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9" name="Forme libre : forme 148">
              <a:extLst>
                <a:ext uri="{FF2B5EF4-FFF2-40B4-BE49-F238E27FC236}">
                  <a16:creationId xmlns:a16="http://schemas.microsoft.com/office/drawing/2014/main" id="{049A796E-46A8-44F5-A685-EFE861D38A62}"/>
                </a:ext>
              </a:extLst>
            </p:cNvPr>
            <p:cNvSpPr/>
            <p:nvPr/>
          </p:nvSpPr>
          <p:spPr>
            <a:xfrm rot="7484129">
              <a:off x="-32979" y="1345537"/>
              <a:ext cx="65961" cy="45734"/>
            </a:xfrm>
            <a:custGeom>
              <a:avLst/>
              <a:gdLst>
                <a:gd name="connsiteX0" fmla="*/ 0 w 65961"/>
                <a:gd name="connsiteY0" fmla="*/ 45734 h 45734"/>
                <a:gd name="connsiteX1" fmla="*/ 0 w 65961"/>
                <a:gd name="connsiteY1" fmla="*/ 0 h 45734"/>
                <a:gd name="connsiteX2" fmla="*/ 65961 w 65961"/>
                <a:gd name="connsiteY2" fmla="*/ 0 h 45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5961" h="45734">
                  <a:moveTo>
                    <a:pt x="0" y="45734"/>
                  </a:moveTo>
                  <a:lnTo>
                    <a:pt x="0" y="0"/>
                  </a:lnTo>
                  <a:lnTo>
                    <a:pt x="6596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0" name="Forme libre : forme 149">
              <a:extLst>
                <a:ext uri="{FF2B5EF4-FFF2-40B4-BE49-F238E27FC236}">
                  <a16:creationId xmlns:a16="http://schemas.microsoft.com/office/drawing/2014/main" id="{5C3088F6-9CC3-48D3-A8B8-D590346DDC75}"/>
                </a:ext>
              </a:extLst>
            </p:cNvPr>
            <p:cNvSpPr/>
            <p:nvPr/>
          </p:nvSpPr>
          <p:spPr>
            <a:xfrm rot="13089394">
              <a:off x="-134707" y="1200752"/>
              <a:ext cx="386820" cy="481345"/>
            </a:xfrm>
            <a:custGeom>
              <a:avLst/>
              <a:gdLst>
                <a:gd name="connsiteX0" fmla="*/ 386820 w 386820"/>
                <a:gd name="connsiteY0" fmla="*/ 391818 h 481345"/>
                <a:gd name="connsiteX1" fmla="*/ 342166 w 386820"/>
                <a:gd name="connsiteY1" fmla="*/ 422376 h 481345"/>
                <a:gd name="connsiteX2" fmla="*/ 138636 w 386820"/>
                <a:gd name="connsiteY2" fmla="*/ 481098 h 481345"/>
                <a:gd name="connsiteX3" fmla="*/ 35911 w 386820"/>
                <a:gd name="connsiteY3" fmla="*/ 439340 h 481345"/>
                <a:gd name="connsiteX4" fmla="*/ 0 w 386820"/>
                <a:gd name="connsiteY4" fmla="*/ 295693 h 481345"/>
                <a:gd name="connsiteX5" fmla="*/ 0 w 386820"/>
                <a:gd name="connsiteY5" fmla="*/ 40970 h 481345"/>
                <a:gd name="connsiteX6" fmla="*/ 78970 w 386820"/>
                <a:gd name="connsiteY6" fmla="*/ 0 h 481345"/>
                <a:gd name="connsiteX7" fmla="*/ 111492 w 386820"/>
                <a:gd name="connsiteY7" fmla="*/ 41392 h 481345"/>
                <a:gd name="connsiteX8" fmla="*/ 112747 w 386820"/>
                <a:gd name="connsiteY8" fmla="*/ 216353 h 481345"/>
                <a:gd name="connsiteX9" fmla="*/ 132789 w 386820"/>
                <a:gd name="connsiteY9" fmla="*/ 354990 h 481345"/>
                <a:gd name="connsiteX10" fmla="*/ 233008 w 386820"/>
                <a:gd name="connsiteY10" fmla="*/ 410110 h 481345"/>
                <a:gd name="connsiteX11" fmla="*/ 308173 w 386820"/>
                <a:gd name="connsiteY11" fmla="*/ 396747 h 481345"/>
                <a:gd name="connsiteX12" fmla="*/ 370717 w 386820"/>
                <a:gd name="connsiteY12" fmla="*/ 371323 h 481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6820" h="481345">
                  <a:moveTo>
                    <a:pt x="386820" y="391818"/>
                  </a:moveTo>
                  <a:lnTo>
                    <a:pt x="342166" y="422376"/>
                  </a:lnTo>
                  <a:cubicBezTo>
                    <a:pt x="268920" y="462151"/>
                    <a:pt x="190624" y="477966"/>
                    <a:pt x="138636" y="481098"/>
                  </a:cubicBezTo>
                  <a:cubicBezTo>
                    <a:pt x="100219" y="483604"/>
                    <a:pt x="62637" y="466901"/>
                    <a:pt x="35911" y="439340"/>
                  </a:cubicBezTo>
                  <a:cubicBezTo>
                    <a:pt x="7516" y="411780"/>
                    <a:pt x="0" y="364176"/>
                    <a:pt x="0" y="295693"/>
                  </a:cubicBezTo>
                  <a:lnTo>
                    <a:pt x="0" y="40970"/>
                  </a:lnTo>
                  <a:lnTo>
                    <a:pt x="78970" y="0"/>
                  </a:lnTo>
                  <a:lnTo>
                    <a:pt x="111492" y="41392"/>
                  </a:lnTo>
                  <a:lnTo>
                    <a:pt x="112747" y="216353"/>
                  </a:lnTo>
                  <a:cubicBezTo>
                    <a:pt x="110241" y="263122"/>
                    <a:pt x="117757" y="310726"/>
                    <a:pt x="132789" y="354990"/>
                  </a:cubicBezTo>
                  <a:cubicBezTo>
                    <a:pt x="146153" y="391736"/>
                    <a:pt x="180394" y="410110"/>
                    <a:pt x="233008" y="410110"/>
                  </a:cubicBezTo>
                  <a:cubicBezTo>
                    <a:pt x="258899" y="409274"/>
                    <a:pt x="283953" y="404263"/>
                    <a:pt x="308173" y="396747"/>
                  </a:cubicBezTo>
                  <a:lnTo>
                    <a:pt x="370717" y="371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1" name="Forme libre : forme 150">
              <a:extLst>
                <a:ext uri="{FF2B5EF4-FFF2-40B4-BE49-F238E27FC236}">
                  <a16:creationId xmlns:a16="http://schemas.microsoft.com/office/drawing/2014/main" id="{45A3690F-0557-4DB0-94E4-7427021CEC86}"/>
                </a:ext>
              </a:extLst>
            </p:cNvPr>
            <p:cNvSpPr/>
            <p:nvPr/>
          </p:nvSpPr>
          <p:spPr>
            <a:xfrm rot="8716295">
              <a:off x="119403" y="90662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2" name="Forme libre : forme 151">
              <a:extLst>
                <a:ext uri="{FF2B5EF4-FFF2-40B4-BE49-F238E27FC236}">
                  <a16:creationId xmlns:a16="http://schemas.microsoft.com/office/drawing/2014/main" id="{1C3938EF-FACF-4118-88DE-3CA52114B602}"/>
                </a:ext>
              </a:extLst>
            </p:cNvPr>
            <p:cNvSpPr/>
            <p:nvPr/>
          </p:nvSpPr>
          <p:spPr>
            <a:xfrm rot="8716295">
              <a:off x="40994" y="74983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3" name="Forme libre : forme 152">
              <a:extLst>
                <a:ext uri="{FF2B5EF4-FFF2-40B4-BE49-F238E27FC236}">
                  <a16:creationId xmlns:a16="http://schemas.microsoft.com/office/drawing/2014/main" id="{DFC0458A-EB47-48D9-8C11-B6676E2C5CAE}"/>
                </a:ext>
              </a:extLst>
            </p:cNvPr>
            <p:cNvSpPr/>
            <p:nvPr/>
          </p:nvSpPr>
          <p:spPr>
            <a:xfrm rot="8716295">
              <a:off x="-44934" y="551941"/>
              <a:ext cx="152592" cy="165412"/>
            </a:xfrm>
            <a:custGeom>
              <a:avLst/>
              <a:gdLst>
                <a:gd name="connsiteX0" fmla="*/ 26453 w 152592"/>
                <a:gd name="connsiteY0" fmla="*/ 153143 h 165412"/>
                <a:gd name="connsiteX1" fmla="*/ 0 w 152592"/>
                <a:gd name="connsiteY1" fmla="*/ 90494 h 165412"/>
                <a:gd name="connsiteX2" fmla="*/ 0 w 152592"/>
                <a:gd name="connsiteY2" fmla="*/ 89101 h 165412"/>
                <a:gd name="connsiteX3" fmla="*/ 26453 w 152592"/>
                <a:gd name="connsiteY3" fmla="*/ 26453 h 165412"/>
                <a:gd name="connsiteX4" fmla="*/ 89101 w 152592"/>
                <a:gd name="connsiteY4" fmla="*/ 0 h 165412"/>
                <a:gd name="connsiteX5" fmla="*/ 151752 w 152592"/>
                <a:gd name="connsiteY5" fmla="*/ 26453 h 165412"/>
                <a:gd name="connsiteX6" fmla="*/ 152592 w 152592"/>
                <a:gd name="connsiteY6" fmla="*/ 27688 h 165412"/>
                <a:gd name="connsiteX7" fmla="*/ 57126 w 152592"/>
                <a:gd name="connsiteY7" fmla="*/ 165412 h 165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592" h="165412">
                  <a:moveTo>
                    <a:pt x="26453" y="153143"/>
                  </a:moveTo>
                  <a:cubicBezTo>
                    <a:pt x="9746" y="136436"/>
                    <a:pt x="0" y="114161"/>
                    <a:pt x="0" y="90494"/>
                  </a:cubicBezTo>
                  <a:lnTo>
                    <a:pt x="0" y="89101"/>
                  </a:lnTo>
                  <a:cubicBezTo>
                    <a:pt x="0" y="65434"/>
                    <a:pt x="9746" y="43159"/>
                    <a:pt x="26453" y="26453"/>
                  </a:cubicBezTo>
                  <a:cubicBezTo>
                    <a:pt x="43159" y="9746"/>
                    <a:pt x="65435" y="0"/>
                    <a:pt x="89101" y="0"/>
                  </a:cubicBezTo>
                  <a:cubicBezTo>
                    <a:pt x="112770" y="0"/>
                    <a:pt x="135045" y="9746"/>
                    <a:pt x="151752" y="26453"/>
                  </a:cubicBezTo>
                  <a:lnTo>
                    <a:pt x="152592" y="27688"/>
                  </a:lnTo>
                  <a:lnTo>
                    <a:pt x="57126" y="1654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4" name="Forme libre : forme 153">
              <a:extLst>
                <a:ext uri="{FF2B5EF4-FFF2-40B4-BE49-F238E27FC236}">
                  <a16:creationId xmlns:a16="http://schemas.microsoft.com/office/drawing/2014/main" id="{51206894-A2FA-4091-8709-9038ECFC9F62}"/>
                </a:ext>
              </a:extLst>
            </p:cNvPr>
            <p:cNvSpPr/>
            <p:nvPr/>
          </p:nvSpPr>
          <p:spPr>
            <a:xfrm rot="8716295">
              <a:off x="-69806" y="4587027"/>
              <a:ext cx="183810" cy="187594"/>
            </a:xfrm>
            <a:custGeom>
              <a:avLst/>
              <a:gdLst>
                <a:gd name="connsiteX0" fmla="*/ 10574 w 183810"/>
                <a:gd name="connsiteY0" fmla="*/ 187594 h 187594"/>
                <a:gd name="connsiteX1" fmla="*/ 0 w 183810"/>
                <a:gd name="connsiteY1" fmla="*/ 172952 h 187594"/>
                <a:gd name="connsiteX2" fmla="*/ 183810 w 183810"/>
                <a:gd name="connsiteY2" fmla="*/ 0 h 187594"/>
                <a:gd name="connsiteX3" fmla="*/ 72284 w 183810"/>
                <a:gd name="connsiteY3" fmla="*/ 160894 h 187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810" h="187594">
                  <a:moveTo>
                    <a:pt x="10574" y="187594"/>
                  </a:moveTo>
                  <a:lnTo>
                    <a:pt x="0" y="172952"/>
                  </a:lnTo>
                  <a:lnTo>
                    <a:pt x="183810" y="0"/>
                  </a:lnTo>
                  <a:lnTo>
                    <a:pt x="72284" y="1608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5" name="Forme libre : forme 154">
              <a:extLst>
                <a:ext uri="{FF2B5EF4-FFF2-40B4-BE49-F238E27FC236}">
                  <a16:creationId xmlns:a16="http://schemas.microsoft.com/office/drawing/2014/main" id="{75F36939-0C1D-4F35-A6F3-978C7845A7FE}"/>
                </a:ext>
              </a:extLst>
            </p:cNvPr>
            <p:cNvSpPr/>
            <p:nvPr/>
          </p:nvSpPr>
          <p:spPr>
            <a:xfrm rot="8716295">
              <a:off x="2260816" y="1871889"/>
              <a:ext cx="76563" cy="79800"/>
            </a:xfrm>
            <a:custGeom>
              <a:avLst/>
              <a:gdLst>
                <a:gd name="connsiteX0" fmla="*/ 1561 w 76563"/>
                <a:gd name="connsiteY0" fmla="*/ 67386 h 79800"/>
                <a:gd name="connsiteX1" fmla="*/ 0 w 76563"/>
                <a:gd name="connsiteY1" fmla="*/ 63688 h 79800"/>
                <a:gd name="connsiteX2" fmla="*/ 52676 w 76563"/>
                <a:gd name="connsiteY2" fmla="*/ 0 h 79800"/>
                <a:gd name="connsiteX3" fmla="*/ 63632 w 76563"/>
                <a:gd name="connsiteY3" fmla="*/ 4626 h 79800"/>
                <a:gd name="connsiteX4" fmla="*/ 63632 w 76563"/>
                <a:gd name="connsiteY4" fmla="*/ 66697 h 79800"/>
                <a:gd name="connsiteX5" fmla="*/ 32596 w 76563"/>
                <a:gd name="connsiteY5" fmla="*/ 79800 h 79800"/>
                <a:gd name="connsiteX6" fmla="*/ 1561 w 76563"/>
                <a:gd name="connsiteY6" fmla="*/ 67386 h 79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563" h="79800">
                  <a:moveTo>
                    <a:pt x="1561" y="67386"/>
                  </a:moveTo>
                  <a:lnTo>
                    <a:pt x="0" y="63688"/>
                  </a:lnTo>
                  <a:lnTo>
                    <a:pt x="52676" y="0"/>
                  </a:lnTo>
                  <a:lnTo>
                    <a:pt x="63632" y="4626"/>
                  </a:lnTo>
                  <a:cubicBezTo>
                    <a:pt x="80874" y="21178"/>
                    <a:pt x="80873" y="49455"/>
                    <a:pt x="63632" y="66697"/>
                  </a:cubicBezTo>
                  <a:cubicBezTo>
                    <a:pt x="55356" y="74973"/>
                    <a:pt x="44321" y="79800"/>
                    <a:pt x="32596" y="79800"/>
                  </a:cubicBezTo>
                  <a:cubicBezTo>
                    <a:pt x="20872" y="79800"/>
                    <a:pt x="9837" y="75662"/>
                    <a:pt x="1561" y="6738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6" name="Forme libre : forme 155">
              <a:extLst>
                <a:ext uri="{FF2B5EF4-FFF2-40B4-BE49-F238E27FC236}">
                  <a16:creationId xmlns:a16="http://schemas.microsoft.com/office/drawing/2014/main" id="{BD296649-E6F7-43B4-A921-2D9F25E09891}"/>
                </a:ext>
              </a:extLst>
            </p:cNvPr>
            <p:cNvSpPr/>
            <p:nvPr/>
          </p:nvSpPr>
          <p:spPr>
            <a:xfrm rot="8716295">
              <a:off x="2079218" y="1576016"/>
              <a:ext cx="236114" cy="296463"/>
            </a:xfrm>
            <a:custGeom>
              <a:avLst/>
              <a:gdLst>
                <a:gd name="connsiteX0" fmla="*/ 64875 w 236114"/>
                <a:gd name="connsiteY0" fmla="*/ 296463 h 296463"/>
                <a:gd name="connsiteX1" fmla="*/ 0 w 236114"/>
                <a:gd name="connsiteY1" fmla="*/ 175766 h 296463"/>
                <a:gd name="connsiteX2" fmla="*/ 33192 w 236114"/>
                <a:gd name="connsiteY2" fmla="*/ 83734 h 296463"/>
                <a:gd name="connsiteX3" fmla="*/ 489 w 236114"/>
                <a:gd name="connsiteY3" fmla="*/ 83734 h 296463"/>
                <a:gd name="connsiteX4" fmla="*/ 69747 w 236114"/>
                <a:gd name="connsiteY4" fmla="*/ 0 h 296463"/>
                <a:gd name="connsiteX5" fmla="*/ 236114 w 236114"/>
                <a:gd name="connsiteY5" fmla="*/ 0 h 296463"/>
                <a:gd name="connsiteX6" fmla="*/ 236114 w 236114"/>
                <a:gd name="connsiteY6" fmla="*/ 83734 h 296463"/>
                <a:gd name="connsiteX7" fmla="*/ 138047 w 236114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6114" h="296463">
                  <a:moveTo>
                    <a:pt x="64875" y="296463"/>
                  </a:moveTo>
                  <a:lnTo>
                    <a:pt x="0" y="175766"/>
                  </a:lnTo>
                  <a:lnTo>
                    <a:pt x="33192" y="83734"/>
                  </a:lnTo>
                  <a:lnTo>
                    <a:pt x="489" y="83734"/>
                  </a:lnTo>
                  <a:lnTo>
                    <a:pt x="69747" y="0"/>
                  </a:lnTo>
                  <a:lnTo>
                    <a:pt x="236114" y="0"/>
                  </a:lnTo>
                  <a:lnTo>
                    <a:pt x="236114" y="83734"/>
                  </a:lnTo>
                  <a:lnTo>
                    <a:pt x="138047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7" name="Forme libre : forme 156">
              <a:extLst>
                <a:ext uri="{FF2B5EF4-FFF2-40B4-BE49-F238E27FC236}">
                  <a16:creationId xmlns:a16="http://schemas.microsoft.com/office/drawing/2014/main" id="{6CA34F6D-826D-4D6C-B9D3-13816F14A2D6}"/>
                </a:ext>
              </a:extLst>
            </p:cNvPr>
            <p:cNvSpPr/>
            <p:nvPr/>
          </p:nvSpPr>
          <p:spPr>
            <a:xfrm rot="8716295">
              <a:off x="1975890" y="1368961"/>
              <a:ext cx="432296" cy="245571"/>
            </a:xfrm>
            <a:custGeom>
              <a:avLst/>
              <a:gdLst>
                <a:gd name="connsiteX0" fmla="*/ 30685 w 432296"/>
                <a:gd name="connsiteY0" fmla="*/ 200783 h 245571"/>
                <a:gd name="connsiteX1" fmla="*/ 187 w 432296"/>
                <a:gd name="connsiteY1" fmla="*/ 140564 h 245571"/>
                <a:gd name="connsiteX2" fmla="*/ 0 w 432296"/>
                <a:gd name="connsiteY2" fmla="*/ 138341 h 245571"/>
                <a:gd name="connsiteX3" fmla="*/ 114424 w 432296"/>
                <a:gd name="connsiteY3" fmla="*/ 0 h 245571"/>
                <a:gd name="connsiteX4" fmla="*/ 116284 w 432296"/>
                <a:gd name="connsiteY4" fmla="*/ 37935 h 245571"/>
                <a:gd name="connsiteX5" fmla="*/ 133982 w 432296"/>
                <a:gd name="connsiteY5" fmla="*/ 110844 h 245571"/>
                <a:gd name="connsiteX6" fmla="*/ 240841 w 432296"/>
                <a:gd name="connsiteY6" fmla="*/ 169617 h 245571"/>
                <a:gd name="connsiteX7" fmla="*/ 320985 w 432296"/>
                <a:gd name="connsiteY7" fmla="*/ 155369 h 245571"/>
                <a:gd name="connsiteX8" fmla="*/ 430515 w 432296"/>
                <a:gd name="connsiteY8" fmla="*/ 110844 h 245571"/>
                <a:gd name="connsiteX9" fmla="*/ 432296 w 432296"/>
                <a:gd name="connsiteY9" fmla="*/ 122420 h 245571"/>
                <a:gd name="connsiteX10" fmla="*/ 432296 w 432296"/>
                <a:gd name="connsiteY10" fmla="*/ 131325 h 245571"/>
                <a:gd name="connsiteX11" fmla="*/ 140216 w 432296"/>
                <a:gd name="connsiteY11" fmla="*/ 245308 h 245571"/>
                <a:gd name="connsiteX12" fmla="*/ 30685 w 432296"/>
                <a:gd name="connsiteY12" fmla="*/ 200783 h 245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32296" h="245571">
                  <a:moveTo>
                    <a:pt x="30685" y="200783"/>
                  </a:moveTo>
                  <a:cubicBezTo>
                    <a:pt x="15547" y="186091"/>
                    <a:pt x="5975" y="166054"/>
                    <a:pt x="187" y="140564"/>
                  </a:cubicBezTo>
                  <a:lnTo>
                    <a:pt x="0" y="138341"/>
                  </a:lnTo>
                  <a:lnTo>
                    <a:pt x="114424" y="0"/>
                  </a:lnTo>
                  <a:lnTo>
                    <a:pt x="116284" y="37935"/>
                  </a:lnTo>
                  <a:cubicBezTo>
                    <a:pt x="119957" y="62758"/>
                    <a:pt x="125968" y="87246"/>
                    <a:pt x="133982" y="110844"/>
                  </a:cubicBezTo>
                  <a:cubicBezTo>
                    <a:pt x="148231" y="150026"/>
                    <a:pt x="184740" y="169617"/>
                    <a:pt x="240841" y="169617"/>
                  </a:cubicBezTo>
                  <a:cubicBezTo>
                    <a:pt x="268446" y="168726"/>
                    <a:pt x="295161" y="163383"/>
                    <a:pt x="320985" y="155369"/>
                  </a:cubicBezTo>
                  <a:cubicBezTo>
                    <a:pt x="358385" y="143792"/>
                    <a:pt x="394895" y="128654"/>
                    <a:pt x="430515" y="110844"/>
                  </a:cubicBezTo>
                  <a:cubicBezTo>
                    <a:pt x="431405" y="114406"/>
                    <a:pt x="432296" y="118858"/>
                    <a:pt x="432296" y="122420"/>
                  </a:cubicBezTo>
                  <a:lnTo>
                    <a:pt x="432296" y="131325"/>
                  </a:lnTo>
                  <a:cubicBezTo>
                    <a:pt x="337904" y="212360"/>
                    <a:pt x="214126" y="240856"/>
                    <a:pt x="140216" y="245308"/>
                  </a:cubicBezTo>
                  <a:cubicBezTo>
                    <a:pt x="99254" y="247980"/>
                    <a:pt x="59182" y="230170"/>
                    <a:pt x="30685" y="2007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8" name="Forme libre : forme 157">
              <a:extLst>
                <a:ext uri="{FF2B5EF4-FFF2-40B4-BE49-F238E27FC236}">
                  <a16:creationId xmlns:a16="http://schemas.microsoft.com/office/drawing/2014/main" id="{1B5AAC38-2C08-40E5-95BE-5338A8CAC415}"/>
                </a:ext>
              </a:extLst>
            </p:cNvPr>
            <p:cNvSpPr/>
            <p:nvPr/>
          </p:nvSpPr>
          <p:spPr>
            <a:xfrm rot="8716295">
              <a:off x="2107141" y="73528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9" name="Forme libre : forme 158">
              <a:extLst>
                <a:ext uri="{FF2B5EF4-FFF2-40B4-BE49-F238E27FC236}">
                  <a16:creationId xmlns:a16="http://schemas.microsoft.com/office/drawing/2014/main" id="{A4125EC0-3011-4C53-83B6-DD287160F4E7}"/>
                </a:ext>
              </a:extLst>
            </p:cNvPr>
            <p:cNvSpPr/>
            <p:nvPr/>
          </p:nvSpPr>
          <p:spPr>
            <a:xfrm rot="8716295">
              <a:off x="2242282" y="832029"/>
              <a:ext cx="282003" cy="313470"/>
            </a:xfrm>
            <a:custGeom>
              <a:avLst/>
              <a:gdLst>
                <a:gd name="connsiteX0" fmla="*/ 188208 w 282003"/>
                <a:gd name="connsiteY0" fmla="*/ 99785 h 313470"/>
                <a:gd name="connsiteX1" fmla="*/ 188208 w 282003"/>
                <a:gd name="connsiteY1" fmla="*/ 85923 h 313470"/>
                <a:gd name="connsiteX2" fmla="*/ 259276 w 282003"/>
                <a:gd name="connsiteY2" fmla="*/ 0 h 313470"/>
                <a:gd name="connsiteX3" fmla="*/ 274211 w 282003"/>
                <a:gd name="connsiteY3" fmla="*/ 28123 h 313470"/>
                <a:gd name="connsiteX4" fmla="*/ 282003 w 282003"/>
                <a:gd name="connsiteY4" fmla="*/ 85301 h 313470"/>
                <a:gd name="connsiteX5" fmla="*/ 282002 w 282003"/>
                <a:gd name="connsiteY5" fmla="*/ 94267 h 313470"/>
                <a:gd name="connsiteX6" fmla="*/ 0 w 282003"/>
                <a:gd name="connsiteY6" fmla="*/ 313470 h 313470"/>
                <a:gd name="connsiteX7" fmla="*/ 56482 w 282003"/>
                <a:gd name="connsiteY7" fmla="*/ 245183 h 313470"/>
                <a:gd name="connsiteX8" fmla="*/ 56482 w 282003"/>
                <a:gd name="connsiteY8" fmla="*/ 274960 h 313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2003" h="313470">
                  <a:moveTo>
                    <a:pt x="188208" y="99785"/>
                  </a:moveTo>
                  <a:lnTo>
                    <a:pt x="188208" y="85923"/>
                  </a:lnTo>
                  <a:lnTo>
                    <a:pt x="259276" y="0"/>
                  </a:lnTo>
                  <a:lnTo>
                    <a:pt x="274211" y="28123"/>
                  </a:lnTo>
                  <a:cubicBezTo>
                    <a:pt x="279330" y="44783"/>
                    <a:pt x="282002" y="63922"/>
                    <a:pt x="282003" y="85301"/>
                  </a:cubicBezTo>
                  <a:lnTo>
                    <a:pt x="282002" y="94267"/>
                  </a:lnTo>
                  <a:close/>
                  <a:moveTo>
                    <a:pt x="0" y="313470"/>
                  </a:moveTo>
                  <a:lnTo>
                    <a:pt x="56482" y="245183"/>
                  </a:lnTo>
                  <a:lnTo>
                    <a:pt x="56482" y="2749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0" name="Forme libre : forme 159">
              <a:extLst>
                <a:ext uri="{FF2B5EF4-FFF2-40B4-BE49-F238E27FC236}">
                  <a16:creationId xmlns:a16="http://schemas.microsoft.com/office/drawing/2014/main" id="{FF9B0781-A82C-47AF-AC1C-21015974FDE2}"/>
                </a:ext>
              </a:extLst>
            </p:cNvPr>
            <p:cNvSpPr/>
            <p:nvPr/>
          </p:nvSpPr>
          <p:spPr>
            <a:xfrm rot="8716295">
              <a:off x="2174558" y="64895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1" name="Forme libre : forme 160">
              <a:extLst>
                <a:ext uri="{FF2B5EF4-FFF2-40B4-BE49-F238E27FC236}">
                  <a16:creationId xmlns:a16="http://schemas.microsoft.com/office/drawing/2014/main" id="{E647964A-EFA4-4875-8CBA-E79FD37F80FD}"/>
                </a:ext>
              </a:extLst>
            </p:cNvPr>
            <p:cNvSpPr/>
            <p:nvPr/>
          </p:nvSpPr>
          <p:spPr>
            <a:xfrm rot="8716295">
              <a:off x="1937270" y="86929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2" name="Forme libre : forme 161">
              <a:extLst>
                <a:ext uri="{FF2B5EF4-FFF2-40B4-BE49-F238E27FC236}">
                  <a16:creationId xmlns:a16="http://schemas.microsoft.com/office/drawing/2014/main" id="{92A84223-E9E1-4AA2-A477-395EEFC832F2}"/>
                </a:ext>
              </a:extLst>
            </p:cNvPr>
            <p:cNvSpPr/>
            <p:nvPr/>
          </p:nvSpPr>
          <p:spPr>
            <a:xfrm rot="8716295">
              <a:off x="1748224" y="55346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3" name="Forme libre : forme 162">
              <a:extLst>
                <a:ext uri="{FF2B5EF4-FFF2-40B4-BE49-F238E27FC236}">
                  <a16:creationId xmlns:a16="http://schemas.microsoft.com/office/drawing/2014/main" id="{25B16338-FDD7-4AA6-9D09-5C2DE296D9CE}"/>
                </a:ext>
              </a:extLst>
            </p:cNvPr>
            <p:cNvSpPr/>
            <p:nvPr/>
          </p:nvSpPr>
          <p:spPr>
            <a:xfrm rot="8716295">
              <a:off x="1729983" y="34341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4" name="Forme libre : forme 163">
              <a:extLst>
                <a:ext uri="{FF2B5EF4-FFF2-40B4-BE49-F238E27FC236}">
                  <a16:creationId xmlns:a16="http://schemas.microsoft.com/office/drawing/2014/main" id="{FD37B6C0-63BE-47FD-9D48-08E0F916E511}"/>
                </a:ext>
              </a:extLst>
            </p:cNvPr>
            <p:cNvSpPr/>
            <p:nvPr/>
          </p:nvSpPr>
          <p:spPr>
            <a:xfrm rot="8716295">
              <a:off x="2073759" y="93127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5" name="Forme libre : forme 164">
              <a:extLst>
                <a:ext uri="{FF2B5EF4-FFF2-40B4-BE49-F238E27FC236}">
                  <a16:creationId xmlns:a16="http://schemas.microsoft.com/office/drawing/2014/main" id="{93F06371-0361-4141-BEE3-CC9849B020E6}"/>
                </a:ext>
              </a:extLst>
            </p:cNvPr>
            <p:cNvSpPr/>
            <p:nvPr/>
          </p:nvSpPr>
          <p:spPr>
            <a:xfrm rot="8716295">
              <a:off x="2367873" y="489398"/>
              <a:ext cx="81526" cy="84395"/>
            </a:xfrm>
            <a:custGeom>
              <a:avLst/>
              <a:gdLst>
                <a:gd name="connsiteX0" fmla="*/ 6524 w 81526"/>
                <a:gd name="connsiteY0" fmla="*/ 71981 h 84395"/>
                <a:gd name="connsiteX1" fmla="*/ 0 w 81526"/>
                <a:gd name="connsiteY1" fmla="*/ 56529 h 84395"/>
                <a:gd name="connsiteX2" fmla="*/ 46756 w 81526"/>
                <a:gd name="connsiteY2" fmla="*/ 0 h 84395"/>
                <a:gd name="connsiteX3" fmla="*/ 68595 w 81526"/>
                <a:gd name="connsiteY3" fmla="*/ 9221 h 84395"/>
                <a:gd name="connsiteX4" fmla="*/ 68595 w 81526"/>
                <a:gd name="connsiteY4" fmla="*/ 71292 h 84395"/>
                <a:gd name="connsiteX5" fmla="*/ 37559 w 81526"/>
                <a:gd name="connsiteY5" fmla="*/ 84395 h 84395"/>
                <a:gd name="connsiteX6" fmla="*/ 6524 w 81526"/>
                <a:gd name="connsiteY6" fmla="*/ 71981 h 84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526" h="84395">
                  <a:moveTo>
                    <a:pt x="6524" y="71981"/>
                  </a:moveTo>
                  <a:lnTo>
                    <a:pt x="0" y="56529"/>
                  </a:lnTo>
                  <a:lnTo>
                    <a:pt x="46756" y="0"/>
                  </a:lnTo>
                  <a:lnTo>
                    <a:pt x="68595" y="9221"/>
                  </a:lnTo>
                  <a:cubicBezTo>
                    <a:pt x="85837" y="25773"/>
                    <a:pt x="85836" y="54050"/>
                    <a:pt x="68595" y="71292"/>
                  </a:cubicBezTo>
                  <a:cubicBezTo>
                    <a:pt x="60319" y="79568"/>
                    <a:pt x="49284" y="84395"/>
                    <a:pt x="37559" y="84395"/>
                  </a:cubicBezTo>
                  <a:cubicBezTo>
                    <a:pt x="25835" y="84395"/>
                    <a:pt x="14800" y="80257"/>
                    <a:pt x="6524" y="7198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6" name="Forme libre : forme 165">
              <a:extLst>
                <a:ext uri="{FF2B5EF4-FFF2-40B4-BE49-F238E27FC236}">
                  <a16:creationId xmlns:a16="http://schemas.microsoft.com/office/drawing/2014/main" id="{5196C23A-E9EE-4BB5-B0E6-FCA193386C5B}"/>
                </a:ext>
              </a:extLst>
            </p:cNvPr>
            <p:cNvSpPr/>
            <p:nvPr/>
          </p:nvSpPr>
          <p:spPr>
            <a:xfrm rot="8716295">
              <a:off x="2184146" y="191304"/>
              <a:ext cx="250306" cy="296463"/>
            </a:xfrm>
            <a:custGeom>
              <a:avLst/>
              <a:gdLst>
                <a:gd name="connsiteX0" fmla="*/ 79067 w 250306"/>
                <a:gd name="connsiteY0" fmla="*/ 296463 h 296463"/>
                <a:gd name="connsiteX1" fmla="*/ 14192 w 250306"/>
                <a:gd name="connsiteY1" fmla="*/ 175766 h 296463"/>
                <a:gd name="connsiteX2" fmla="*/ 47384 w 250306"/>
                <a:gd name="connsiteY2" fmla="*/ 83734 h 296463"/>
                <a:gd name="connsiteX3" fmla="*/ 0 w 250306"/>
                <a:gd name="connsiteY3" fmla="*/ 83734 h 296463"/>
                <a:gd name="connsiteX4" fmla="*/ 69257 w 250306"/>
                <a:gd name="connsiteY4" fmla="*/ 0 h 296463"/>
                <a:gd name="connsiteX5" fmla="*/ 250306 w 250306"/>
                <a:gd name="connsiteY5" fmla="*/ 0 h 296463"/>
                <a:gd name="connsiteX6" fmla="*/ 250306 w 250306"/>
                <a:gd name="connsiteY6" fmla="*/ 83734 h 296463"/>
                <a:gd name="connsiteX7" fmla="*/ 152239 w 250306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0306" h="296463">
                  <a:moveTo>
                    <a:pt x="79067" y="296463"/>
                  </a:moveTo>
                  <a:lnTo>
                    <a:pt x="14192" y="175766"/>
                  </a:lnTo>
                  <a:lnTo>
                    <a:pt x="47384" y="83734"/>
                  </a:lnTo>
                  <a:lnTo>
                    <a:pt x="0" y="83734"/>
                  </a:lnTo>
                  <a:lnTo>
                    <a:pt x="69257" y="0"/>
                  </a:lnTo>
                  <a:lnTo>
                    <a:pt x="250306" y="0"/>
                  </a:lnTo>
                  <a:lnTo>
                    <a:pt x="250306" y="83734"/>
                  </a:lnTo>
                  <a:lnTo>
                    <a:pt x="152239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7" name="Forme libre : forme 166">
              <a:extLst>
                <a:ext uri="{FF2B5EF4-FFF2-40B4-BE49-F238E27FC236}">
                  <a16:creationId xmlns:a16="http://schemas.microsoft.com/office/drawing/2014/main" id="{AF8BB132-EA68-41A8-B3E5-2FCCBDEB7D5A}"/>
                </a:ext>
              </a:extLst>
            </p:cNvPr>
            <p:cNvSpPr/>
            <p:nvPr/>
          </p:nvSpPr>
          <p:spPr>
            <a:xfrm rot="8716295">
              <a:off x="2145876" y="32623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8" name="Forme libre : forme 167">
              <a:extLst>
                <a:ext uri="{FF2B5EF4-FFF2-40B4-BE49-F238E27FC236}">
                  <a16:creationId xmlns:a16="http://schemas.microsoft.com/office/drawing/2014/main" id="{0C891817-7BA1-4E19-A5B6-7030FDA5B7F1}"/>
                </a:ext>
              </a:extLst>
            </p:cNvPr>
            <p:cNvSpPr/>
            <p:nvPr/>
          </p:nvSpPr>
          <p:spPr>
            <a:xfrm rot="8716295">
              <a:off x="1834766" y="-57684"/>
              <a:ext cx="186564" cy="129320"/>
            </a:xfrm>
            <a:custGeom>
              <a:avLst/>
              <a:gdLst>
                <a:gd name="connsiteX0" fmla="*/ 123263 w 123263"/>
                <a:gd name="connsiteY0" fmla="*/ 85442 h 85442"/>
                <a:gd name="connsiteX1" fmla="*/ 0 w 123263"/>
                <a:gd name="connsiteY1" fmla="*/ 0 h 85442"/>
                <a:gd name="connsiteX2" fmla="*/ 66305 w 123263"/>
                <a:gd name="connsiteY2" fmla="*/ 0 h 85442"/>
                <a:gd name="connsiteX3" fmla="*/ 123263 w 123263"/>
                <a:gd name="connsiteY3" fmla="*/ 50123 h 85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63" h="85442">
                  <a:moveTo>
                    <a:pt x="123263" y="85442"/>
                  </a:moveTo>
                  <a:lnTo>
                    <a:pt x="0" y="0"/>
                  </a:lnTo>
                  <a:lnTo>
                    <a:pt x="66305" y="0"/>
                  </a:lnTo>
                  <a:cubicBezTo>
                    <a:pt x="103214" y="0"/>
                    <a:pt x="123263" y="15948"/>
                    <a:pt x="123263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9" name="Forme libre : forme 168">
              <a:extLst>
                <a:ext uri="{FF2B5EF4-FFF2-40B4-BE49-F238E27FC236}">
                  <a16:creationId xmlns:a16="http://schemas.microsoft.com/office/drawing/2014/main" id="{4406013B-1E43-4380-98C9-594C282D12B3}"/>
                </a:ext>
              </a:extLst>
            </p:cNvPr>
            <p:cNvSpPr/>
            <p:nvPr/>
          </p:nvSpPr>
          <p:spPr>
            <a:xfrm rot="8716295">
              <a:off x="1969949" y="-13794"/>
              <a:ext cx="394488" cy="148365"/>
            </a:xfrm>
            <a:custGeom>
              <a:avLst/>
              <a:gdLst>
                <a:gd name="connsiteX0" fmla="*/ 104802 w 260639"/>
                <a:gd name="connsiteY0" fmla="*/ 74264 h 98025"/>
                <a:gd name="connsiteX1" fmla="*/ 0 w 260639"/>
                <a:gd name="connsiteY1" fmla="*/ 1618 h 98025"/>
                <a:gd name="connsiteX2" fmla="*/ 0 w 260639"/>
                <a:gd name="connsiteY2" fmla="*/ 1425 h 98025"/>
                <a:gd name="connsiteX3" fmla="*/ 104803 w 260639"/>
                <a:gd name="connsiteY3" fmla="*/ 1425 h 98025"/>
                <a:gd name="connsiteX4" fmla="*/ 122123 w 260639"/>
                <a:gd name="connsiteY4" fmla="*/ 86270 h 98025"/>
                <a:gd name="connsiteX5" fmla="*/ 106178 w 260639"/>
                <a:gd name="connsiteY5" fmla="*/ 75218 h 98025"/>
                <a:gd name="connsiteX6" fmla="*/ 116721 w 260639"/>
                <a:gd name="connsiteY6" fmla="*/ 47439 h 98025"/>
                <a:gd name="connsiteX7" fmla="*/ 154014 w 260639"/>
                <a:gd name="connsiteY7" fmla="*/ 5981 h 98025"/>
                <a:gd name="connsiteX8" fmla="*/ 185455 w 260639"/>
                <a:gd name="connsiteY8" fmla="*/ 57 h 98025"/>
                <a:gd name="connsiteX9" fmla="*/ 260639 w 260639"/>
                <a:gd name="connsiteY9" fmla="*/ 88456 h 98025"/>
                <a:gd name="connsiteX10" fmla="*/ 260639 w 260639"/>
                <a:gd name="connsiteY10" fmla="*/ 94380 h 98025"/>
                <a:gd name="connsiteX11" fmla="*/ 198669 w 260639"/>
                <a:gd name="connsiteY11" fmla="*/ 98025 h 98025"/>
                <a:gd name="connsiteX12" fmla="*/ 198669 w 260639"/>
                <a:gd name="connsiteY12" fmla="*/ 81621 h 98025"/>
                <a:gd name="connsiteX13" fmla="*/ 164950 w 260639"/>
                <a:gd name="connsiteY13" fmla="*/ 40156 h 98025"/>
                <a:gd name="connsiteX14" fmla="*/ 127358 w 260639"/>
                <a:gd name="connsiteY14" fmla="*/ 65616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60639" h="98025">
                  <a:moveTo>
                    <a:pt x="104802" y="74264"/>
                  </a:moveTo>
                  <a:lnTo>
                    <a:pt x="0" y="1618"/>
                  </a:lnTo>
                  <a:lnTo>
                    <a:pt x="0" y="1425"/>
                  </a:lnTo>
                  <a:lnTo>
                    <a:pt x="104803" y="1425"/>
                  </a:lnTo>
                  <a:close/>
                  <a:moveTo>
                    <a:pt x="122123" y="86270"/>
                  </a:moveTo>
                  <a:lnTo>
                    <a:pt x="106178" y="75218"/>
                  </a:lnTo>
                  <a:lnTo>
                    <a:pt x="116721" y="47439"/>
                  </a:lnTo>
                  <a:cubicBezTo>
                    <a:pt x="127102" y="24008"/>
                    <a:pt x="137610" y="12816"/>
                    <a:pt x="154014" y="5981"/>
                  </a:cubicBezTo>
                  <a:cubicBezTo>
                    <a:pt x="164038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50369" y="40156"/>
                    <a:pt x="137041" y="49839"/>
                    <a:pt x="127358" y="656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0" name="Forme libre : forme 169">
              <a:extLst>
                <a:ext uri="{FF2B5EF4-FFF2-40B4-BE49-F238E27FC236}">
                  <a16:creationId xmlns:a16="http://schemas.microsoft.com/office/drawing/2014/main" id="{697ACF89-8E3E-4CA4-96AD-ED3067ABB920}"/>
                </a:ext>
              </a:extLst>
            </p:cNvPr>
            <p:cNvSpPr/>
            <p:nvPr/>
          </p:nvSpPr>
          <p:spPr>
            <a:xfrm rot="8716295">
              <a:off x="1736738" y="-7282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1" name="Forme libre : forme 170">
              <a:extLst>
                <a:ext uri="{FF2B5EF4-FFF2-40B4-BE49-F238E27FC236}">
                  <a16:creationId xmlns:a16="http://schemas.microsoft.com/office/drawing/2014/main" id="{914F8714-5CD4-41D2-92D2-73A622448BB2}"/>
                </a:ext>
              </a:extLst>
            </p:cNvPr>
            <p:cNvSpPr/>
            <p:nvPr/>
          </p:nvSpPr>
          <p:spPr>
            <a:xfrm rot="7484129">
              <a:off x="2394733" y="32841"/>
              <a:ext cx="135077" cy="94074"/>
            </a:xfrm>
            <a:custGeom>
              <a:avLst/>
              <a:gdLst>
                <a:gd name="connsiteX0" fmla="*/ 100725 w 135077"/>
                <a:gd name="connsiteY0" fmla="*/ 19729 h 94074"/>
                <a:gd name="connsiteX1" fmla="*/ 135077 w 135077"/>
                <a:gd name="connsiteY1" fmla="*/ 0 h 94074"/>
                <a:gd name="connsiteX2" fmla="*/ 135077 w 135077"/>
                <a:gd name="connsiteY2" fmla="*/ 19729 h 94074"/>
                <a:gd name="connsiteX3" fmla="*/ 0 w 135077"/>
                <a:gd name="connsiteY3" fmla="*/ 77576 h 94074"/>
                <a:gd name="connsiteX4" fmla="*/ 21327 w 135077"/>
                <a:gd name="connsiteY4" fmla="*/ 65328 h 94074"/>
                <a:gd name="connsiteX5" fmla="*/ 11439 w 135077"/>
                <a:gd name="connsiteY5" fmla="*/ 94074 h 94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5077" h="94074">
                  <a:moveTo>
                    <a:pt x="100725" y="19729"/>
                  </a:moveTo>
                  <a:lnTo>
                    <a:pt x="135077" y="0"/>
                  </a:lnTo>
                  <a:lnTo>
                    <a:pt x="135077" y="19729"/>
                  </a:lnTo>
                  <a:close/>
                  <a:moveTo>
                    <a:pt x="0" y="77576"/>
                  </a:moveTo>
                  <a:lnTo>
                    <a:pt x="21327" y="65328"/>
                  </a:lnTo>
                  <a:lnTo>
                    <a:pt x="11439" y="940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pic>
        <p:nvPicPr>
          <p:cNvPr id="172" name="Graphique 171">
            <a:extLst>
              <a:ext uri="{FF2B5EF4-FFF2-40B4-BE49-F238E27FC236}">
                <a16:creationId xmlns:a16="http://schemas.microsoft.com/office/drawing/2014/main" id="{EEB7B645-2A8D-4396-ACBA-9D90A74761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9935" y="2052251"/>
            <a:ext cx="3474258" cy="103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90151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uverture 2 - Foncé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que 2">
            <a:extLst>
              <a:ext uri="{FF2B5EF4-FFF2-40B4-BE49-F238E27FC236}">
                <a16:creationId xmlns:a16="http://schemas.microsoft.com/office/drawing/2014/main" id="{E7008A4A-56ED-4B79-8C76-07B31083E9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36903" y="2053956"/>
            <a:ext cx="3470194" cy="1035588"/>
          </a:xfrm>
          <a:prstGeom prst="rect">
            <a:avLst/>
          </a:prstGeom>
        </p:spPr>
      </p:pic>
      <p:sp>
        <p:nvSpPr>
          <p:cNvPr id="5" name="Forme libre : forme 4">
            <a:extLst>
              <a:ext uri="{FF2B5EF4-FFF2-40B4-BE49-F238E27FC236}">
                <a16:creationId xmlns:a16="http://schemas.microsoft.com/office/drawing/2014/main" id="{6BBA7953-6320-4985-B304-CAEF45B84CC1}"/>
              </a:ext>
            </a:extLst>
          </p:cNvPr>
          <p:cNvSpPr/>
          <p:nvPr userDrawn="1"/>
        </p:nvSpPr>
        <p:spPr>
          <a:xfrm rot="16200000">
            <a:off x="6276217" y="2274933"/>
            <a:ext cx="1037443" cy="4698124"/>
          </a:xfrm>
          <a:custGeom>
            <a:avLst/>
            <a:gdLst>
              <a:gd name="connsiteX0" fmla="*/ 1037443 w 1037443"/>
              <a:gd name="connsiteY0" fmla="*/ 4698124 h 4698124"/>
              <a:gd name="connsiteX1" fmla="*/ 0 w 1037443"/>
              <a:gd name="connsiteY1" fmla="*/ 4698124 h 4698124"/>
              <a:gd name="connsiteX2" fmla="*/ 386215 w 1037443"/>
              <a:gd name="connsiteY2" fmla="*/ 0 h 4698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37443" h="4698124">
                <a:moveTo>
                  <a:pt x="1037443" y="4698124"/>
                </a:moveTo>
                <a:lnTo>
                  <a:pt x="0" y="4698124"/>
                </a:lnTo>
                <a:lnTo>
                  <a:pt x="386215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48FA6A4C-949D-4D78-851A-5D85C0ACA219}"/>
              </a:ext>
            </a:extLst>
          </p:cNvPr>
          <p:cNvGrpSpPr/>
          <p:nvPr userDrawn="1"/>
        </p:nvGrpSpPr>
        <p:grpSpPr>
          <a:xfrm>
            <a:off x="4782105" y="4078441"/>
            <a:ext cx="4416497" cy="1125022"/>
            <a:chOff x="4782105" y="4078441"/>
            <a:chExt cx="4416497" cy="1125022"/>
          </a:xfrm>
          <a:solidFill>
            <a:schemeClr val="bg2">
              <a:alpha val="10000"/>
            </a:schemeClr>
          </a:solidFill>
        </p:grpSpPr>
        <p:sp>
          <p:nvSpPr>
            <p:cNvPr id="7" name="Forme libre : forme 6">
              <a:extLst>
                <a:ext uri="{FF2B5EF4-FFF2-40B4-BE49-F238E27FC236}">
                  <a16:creationId xmlns:a16="http://schemas.microsoft.com/office/drawing/2014/main" id="{791FB8C9-9221-4E4C-A4AC-2AAD9F08AE59}"/>
                </a:ext>
              </a:extLst>
            </p:cNvPr>
            <p:cNvSpPr/>
            <p:nvPr/>
          </p:nvSpPr>
          <p:spPr>
            <a:xfrm rot="8716295">
              <a:off x="8490768" y="467807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CAEA067D-BF83-4ED3-87B4-BB06FFFF2B66}"/>
                </a:ext>
              </a:extLst>
            </p:cNvPr>
            <p:cNvSpPr/>
            <p:nvPr/>
          </p:nvSpPr>
          <p:spPr>
            <a:xfrm rot="8716295">
              <a:off x="5559260" y="4523190"/>
              <a:ext cx="215177" cy="303156"/>
            </a:xfrm>
            <a:custGeom>
              <a:avLst/>
              <a:gdLst>
                <a:gd name="connsiteX0" fmla="*/ 122761 w 215177"/>
                <a:gd name="connsiteY0" fmla="*/ 256399 h 303156"/>
                <a:gd name="connsiteX1" fmla="*/ 122761 w 215177"/>
                <a:gd name="connsiteY1" fmla="*/ 105519 h 303156"/>
                <a:gd name="connsiteX2" fmla="*/ 122761 w 215177"/>
                <a:gd name="connsiteY2" fmla="*/ 99312 h 303156"/>
                <a:gd name="connsiteX3" fmla="*/ 91726 w 215177"/>
                <a:gd name="connsiteY3" fmla="*/ 75863 h 303156"/>
                <a:gd name="connsiteX4" fmla="*/ 0 w 215177"/>
                <a:gd name="connsiteY4" fmla="*/ 75863 h 303156"/>
                <a:gd name="connsiteX5" fmla="*/ 0 w 215177"/>
                <a:gd name="connsiteY5" fmla="*/ 0 h 303156"/>
                <a:gd name="connsiteX6" fmla="*/ 128968 w 215177"/>
                <a:gd name="connsiteY6" fmla="*/ 0 h 303156"/>
                <a:gd name="connsiteX7" fmla="*/ 215177 w 215177"/>
                <a:gd name="connsiteY7" fmla="*/ 75863 h 303156"/>
                <a:gd name="connsiteX8" fmla="*/ 215176 w 215177"/>
                <a:gd name="connsiteY8" fmla="*/ 303156 h 303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5177" h="303156">
                  <a:moveTo>
                    <a:pt x="122761" y="25639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0"/>
                  </a:lnTo>
                  <a:lnTo>
                    <a:pt x="128968" y="0"/>
                  </a:lnTo>
                  <a:cubicBezTo>
                    <a:pt x="184831" y="0"/>
                    <a:pt x="215176" y="24139"/>
                    <a:pt x="215177" y="75863"/>
                  </a:cubicBezTo>
                  <a:lnTo>
                    <a:pt x="215176" y="30315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ADF38186-185D-41F8-A6B1-FB10366A4CEE}"/>
                </a:ext>
              </a:extLst>
            </p:cNvPr>
            <p:cNvSpPr/>
            <p:nvPr/>
          </p:nvSpPr>
          <p:spPr>
            <a:xfrm rot="8716295">
              <a:off x="5692925" y="4561542"/>
              <a:ext cx="393603" cy="335006"/>
            </a:xfrm>
            <a:custGeom>
              <a:avLst/>
              <a:gdLst>
                <a:gd name="connsiteX0" fmla="*/ 77932 w 393603"/>
                <a:gd name="connsiteY0" fmla="*/ 299055 h 335006"/>
                <a:gd name="connsiteX1" fmla="*/ 77932 w 393603"/>
                <a:gd name="connsiteY1" fmla="*/ 66897 h 335006"/>
                <a:gd name="connsiteX2" fmla="*/ 0 w 393603"/>
                <a:gd name="connsiteY2" fmla="*/ 66898 h 335006"/>
                <a:gd name="connsiteX3" fmla="*/ 0 w 393603"/>
                <a:gd name="connsiteY3" fmla="*/ 0 h 335006"/>
                <a:gd name="connsiteX4" fmla="*/ 158623 w 393603"/>
                <a:gd name="connsiteY4" fmla="*/ 1 h 335006"/>
                <a:gd name="connsiteX5" fmla="*/ 158623 w 393603"/>
                <a:gd name="connsiteY5" fmla="*/ 111726 h 335006"/>
                <a:gd name="connsiteX6" fmla="*/ 160692 w 393603"/>
                <a:gd name="connsiteY6" fmla="*/ 111726 h 335006"/>
                <a:gd name="connsiteX7" fmla="*/ 192762 w 393603"/>
                <a:gd name="connsiteY7" fmla="*/ 39915 h 335006"/>
                <a:gd name="connsiteX8" fmla="*/ 231959 w 393603"/>
                <a:gd name="connsiteY8" fmla="*/ 7837 h 335006"/>
                <a:gd name="connsiteX9" fmla="*/ 393603 w 393603"/>
                <a:gd name="connsiteY9" fmla="*/ 140745 h 335006"/>
                <a:gd name="connsiteX10" fmla="*/ 300695 w 393603"/>
                <a:gd name="connsiteY10" fmla="*/ 146210 h 335006"/>
                <a:gd name="connsiteX11" fmla="*/ 300694 w 393603"/>
                <a:gd name="connsiteY11" fmla="*/ 121382 h 335006"/>
                <a:gd name="connsiteX12" fmla="*/ 249659 w 393603"/>
                <a:gd name="connsiteY12" fmla="*/ 58622 h 335006"/>
                <a:gd name="connsiteX13" fmla="*/ 168969 w 393603"/>
                <a:gd name="connsiteY13" fmla="*/ 191038 h 335006"/>
                <a:gd name="connsiteX14" fmla="*/ 168969 w 393603"/>
                <a:gd name="connsiteY14" fmla="*/ 321385 h 335006"/>
                <a:gd name="connsiteX15" fmla="*/ 148991 w 393603"/>
                <a:gd name="connsiteY15" fmla="*/ 335006 h 335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93603" h="335006">
                  <a:moveTo>
                    <a:pt x="77932" y="299055"/>
                  </a:moveTo>
                  <a:lnTo>
                    <a:pt x="77932" y="66897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1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71727" y="78967"/>
                    <a:pt x="181555" y="56208"/>
                    <a:pt x="192762" y="39915"/>
                  </a:cubicBezTo>
                  <a:lnTo>
                    <a:pt x="231959" y="7837"/>
                  </a:lnTo>
                  <a:lnTo>
                    <a:pt x="393603" y="140745"/>
                  </a:lnTo>
                  <a:lnTo>
                    <a:pt x="300695" y="146210"/>
                  </a:lnTo>
                  <a:lnTo>
                    <a:pt x="300694" y="121382"/>
                  </a:lnTo>
                  <a:cubicBezTo>
                    <a:pt x="300695" y="84140"/>
                    <a:pt x="279316" y="58622"/>
                    <a:pt x="249659" y="58622"/>
                  </a:cubicBezTo>
                  <a:cubicBezTo>
                    <a:pt x="205521" y="58621"/>
                    <a:pt x="168969" y="117244"/>
                    <a:pt x="168969" y="191038"/>
                  </a:cubicBezTo>
                  <a:lnTo>
                    <a:pt x="168969" y="321385"/>
                  </a:lnTo>
                  <a:lnTo>
                    <a:pt x="148991" y="33500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4B724F9D-95FF-4F02-B59A-7E5AC8B98AC8}"/>
                </a:ext>
              </a:extLst>
            </p:cNvPr>
            <p:cNvSpPr/>
            <p:nvPr/>
          </p:nvSpPr>
          <p:spPr>
            <a:xfrm rot="8716295">
              <a:off x="5659234" y="4556420"/>
              <a:ext cx="113018" cy="83608"/>
            </a:xfrm>
            <a:custGeom>
              <a:avLst/>
              <a:gdLst>
                <a:gd name="connsiteX0" fmla="*/ 0 w 113018"/>
                <a:gd name="connsiteY0" fmla="*/ 32910 h 83608"/>
                <a:gd name="connsiteX1" fmla="*/ 24482 w 113018"/>
                <a:gd name="connsiteY1" fmla="*/ 13621 h 83608"/>
                <a:gd name="connsiteX2" fmla="*/ 70259 w 113018"/>
                <a:gd name="connsiteY2" fmla="*/ 0 h 83608"/>
                <a:gd name="connsiteX3" fmla="*/ 113018 w 113018"/>
                <a:gd name="connsiteY3" fmla="*/ 51035 h 83608"/>
                <a:gd name="connsiteX4" fmla="*/ 100518 w 113018"/>
                <a:gd name="connsiteY4" fmla="*/ 83363 h 83608"/>
                <a:gd name="connsiteX5" fmla="*/ 100204 w 113018"/>
                <a:gd name="connsiteY5" fmla="*/ 83608 h 83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018" h="83608">
                  <a:moveTo>
                    <a:pt x="0" y="32910"/>
                  </a:moveTo>
                  <a:lnTo>
                    <a:pt x="24482" y="13621"/>
                  </a:lnTo>
                  <a:cubicBezTo>
                    <a:pt x="38534" y="6380"/>
                    <a:pt x="54052" y="1725"/>
                    <a:pt x="70259" y="0"/>
                  </a:cubicBezTo>
                  <a:cubicBezTo>
                    <a:pt x="103363" y="0"/>
                    <a:pt x="113018" y="28966"/>
                    <a:pt x="113018" y="51035"/>
                  </a:cubicBezTo>
                  <a:cubicBezTo>
                    <a:pt x="111984" y="63105"/>
                    <a:pt x="107501" y="74139"/>
                    <a:pt x="100518" y="83363"/>
                  </a:cubicBezTo>
                  <a:lnTo>
                    <a:pt x="100204" y="8360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D01436B5-D8EB-44DF-8B51-633BF4E9FB42}"/>
                </a:ext>
              </a:extLst>
            </p:cNvPr>
            <p:cNvSpPr/>
            <p:nvPr/>
          </p:nvSpPr>
          <p:spPr>
            <a:xfrm rot="8716295">
              <a:off x="5371633" y="4613095"/>
              <a:ext cx="88105" cy="83851"/>
            </a:xfrm>
            <a:custGeom>
              <a:avLst/>
              <a:gdLst>
                <a:gd name="connsiteX0" fmla="*/ 6112 w 88105"/>
                <a:gd name="connsiteY0" fmla="*/ 59305 h 83851"/>
                <a:gd name="connsiteX1" fmla="*/ 0 w 88105"/>
                <a:gd name="connsiteY1" fmla="*/ 44829 h 83851"/>
                <a:gd name="connsiteX2" fmla="*/ 0 w 88105"/>
                <a:gd name="connsiteY2" fmla="*/ 44139 h 83851"/>
                <a:gd name="connsiteX3" fmla="*/ 13104 w 88105"/>
                <a:gd name="connsiteY3" fmla="*/ 13104 h 83851"/>
                <a:gd name="connsiteX4" fmla="*/ 44139 w 88105"/>
                <a:gd name="connsiteY4" fmla="*/ 0 h 83851"/>
                <a:gd name="connsiteX5" fmla="*/ 75175 w 88105"/>
                <a:gd name="connsiteY5" fmla="*/ 13104 h 83851"/>
                <a:gd name="connsiteX6" fmla="*/ 75175 w 88105"/>
                <a:gd name="connsiteY6" fmla="*/ 75175 h 83851"/>
                <a:gd name="connsiteX7" fmla="*/ 54626 w 88105"/>
                <a:gd name="connsiteY7" fmla="*/ 83851 h 83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105" h="83851">
                  <a:moveTo>
                    <a:pt x="6112" y="59305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cubicBezTo>
                    <a:pt x="55864" y="0"/>
                    <a:pt x="66899" y="4828"/>
                    <a:pt x="75175" y="13104"/>
                  </a:cubicBezTo>
                  <a:cubicBezTo>
                    <a:pt x="92416" y="29657"/>
                    <a:pt x="92416" y="57933"/>
                    <a:pt x="75175" y="75175"/>
                  </a:cubicBezTo>
                  <a:lnTo>
                    <a:pt x="54626" y="8385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6F3BF20E-F037-4374-BB41-095B54D26F08}"/>
                </a:ext>
              </a:extLst>
            </p:cNvPr>
            <p:cNvSpPr/>
            <p:nvPr/>
          </p:nvSpPr>
          <p:spPr>
            <a:xfrm rot="8716295">
              <a:off x="5473646" y="4706746"/>
              <a:ext cx="91035" cy="188159"/>
            </a:xfrm>
            <a:custGeom>
              <a:avLst/>
              <a:gdLst>
                <a:gd name="connsiteX0" fmla="*/ 91035 w 91035"/>
                <a:gd name="connsiteY0" fmla="*/ 188159 h 188159"/>
                <a:gd name="connsiteX1" fmla="*/ 0 w 91035"/>
                <a:gd name="connsiteY1" fmla="*/ 100571 h 188159"/>
                <a:gd name="connsiteX2" fmla="*/ 0 w 91035"/>
                <a:gd name="connsiteY2" fmla="*/ 0 h 188159"/>
                <a:gd name="connsiteX3" fmla="*/ 91035 w 91035"/>
                <a:gd name="connsiteY3" fmla="*/ 74852 h 188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188159">
                  <a:moveTo>
                    <a:pt x="91035" y="188159"/>
                  </a:moveTo>
                  <a:lnTo>
                    <a:pt x="0" y="100571"/>
                  </a:lnTo>
                  <a:lnTo>
                    <a:pt x="0" y="0"/>
                  </a:lnTo>
                  <a:lnTo>
                    <a:pt x="91035" y="748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BBB1D061-FD31-402D-BCCB-6813149262F1}"/>
                </a:ext>
              </a:extLst>
            </p:cNvPr>
            <p:cNvSpPr/>
            <p:nvPr/>
          </p:nvSpPr>
          <p:spPr>
            <a:xfrm rot="8716295">
              <a:off x="6218962" y="4454620"/>
              <a:ext cx="171018" cy="106515"/>
            </a:xfrm>
            <a:custGeom>
              <a:avLst/>
              <a:gdLst>
                <a:gd name="connsiteX0" fmla="*/ 0 w 171018"/>
                <a:gd name="connsiteY0" fmla="*/ 19991 h 106515"/>
                <a:gd name="connsiteX1" fmla="*/ 13365 w 171018"/>
                <a:gd name="connsiteY1" fmla="*/ 9053 h 106515"/>
                <a:gd name="connsiteX2" fmla="*/ 60952 w 171018"/>
                <a:gd name="connsiteY2" fmla="*/ 87 h 106515"/>
                <a:gd name="connsiteX3" fmla="*/ 166956 w 171018"/>
                <a:gd name="connsiteY3" fmla="*/ 76705 h 106515"/>
                <a:gd name="connsiteX4" fmla="*/ 171018 w 171018"/>
                <a:gd name="connsiteY4" fmla="*/ 106515 h 106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018" h="106515">
                  <a:moveTo>
                    <a:pt x="0" y="19991"/>
                  </a:moveTo>
                  <a:lnTo>
                    <a:pt x="13365" y="9053"/>
                  </a:lnTo>
                  <a:cubicBezTo>
                    <a:pt x="28538" y="2846"/>
                    <a:pt x="44400" y="-602"/>
                    <a:pt x="60952" y="87"/>
                  </a:cubicBezTo>
                  <a:cubicBezTo>
                    <a:pt x="114229" y="-948"/>
                    <a:pt x="151600" y="26725"/>
                    <a:pt x="166956" y="76705"/>
                  </a:cubicBezTo>
                  <a:lnTo>
                    <a:pt x="171018" y="10651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B49834EB-4686-4A9A-AFBE-353B0A4BB9CC}"/>
                </a:ext>
              </a:extLst>
            </p:cNvPr>
            <p:cNvSpPr/>
            <p:nvPr/>
          </p:nvSpPr>
          <p:spPr>
            <a:xfrm rot="8716295">
              <a:off x="6005990" y="4487669"/>
              <a:ext cx="156555" cy="122067"/>
            </a:xfrm>
            <a:custGeom>
              <a:avLst/>
              <a:gdLst>
                <a:gd name="connsiteX0" fmla="*/ 65519 w 156555"/>
                <a:gd name="connsiteY0" fmla="*/ 76009 h 122067"/>
                <a:gd name="connsiteX1" fmla="*/ 65519 w 156555"/>
                <a:gd name="connsiteY1" fmla="*/ 24828 h 122067"/>
                <a:gd name="connsiteX2" fmla="*/ 0 w 156555"/>
                <a:gd name="connsiteY2" fmla="*/ 24828 h 122067"/>
                <a:gd name="connsiteX3" fmla="*/ 0 w 156555"/>
                <a:gd name="connsiteY3" fmla="*/ 3449 h 122067"/>
                <a:gd name="connsiteX4" fmla="*/ 156555 w 156555"/>
                <a:gd name="connsiteY4" fmla="*/ 0 h 122067"/>
                <a:gd name="connsiteX5" fmla="*/ 156554 w 156555"/>
                <a:gd name="connsiteY5" fmla="*/ 122067 h 122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6555" h="122067">
                  <a:moveTo>
                    <a:pt x="65519" y="76009"/>
                  </a:moveTo>
                  <a:lnTo>
                    <a:pt x="65519" y="24828"/>
                  </a:lnTo>
                  <a:lnTo>
                    <a:pt x="0" y="24828"/>
                  </a:lnTo>
                  <a:lnTo>
                    <a:pt x="0" y="3449"/>
                  </a:lnTo>
                  <a:cubicBezTo>
                    <a:pt x="49656" y="5517"/>
                    <a:pt x="101381" y="1379"/>
                    <a:pt x="156555" y="0"/>
                  </a:cubicBezTo>
                  <a:lnTo>
                    <a:pt x="156554" y="1220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676F5558-2730-4CE0-B993-EAC478371730}"/>
                </a:ext>
              </a:extLst>
            </p:cNvPr>
            <p:cNvSpPr/>
            <p:nvPr/>
          </p:nvSpPr>
          <p:spPr>
            <a:xfrm rot="7484129">
              <a:off x="6103422" y="4586563"/>
              <a:ext cx="308532" cy="296464"/>
            </a:xfrm>
            <a:custGeom>
              <a:avLst/>
              <a:gdLst>
                <a:gd name="connsiteX0" fmla="*/ 137293 w 308532"/>
                <a:gd name="connsiteY0" fmla="*/ 296464 h 296464"/>
                <a:gd name="connsiteX1" fmla="*/ 72419 w 308532"/>
                <a:gd name="connsiteY1" fmla="*/ 175766 h 296464"/>
                <a:gd name="connsiteX2" fmla="*/ 105610 w 308532"/>
                <a:gd name="connsiteY2" fmla="*/ 83734 h 296464"/>
                <a:gd name="connsiteX3" fmla="*/ 0 w 308532"/>
                <a:gd name="connsiteY3" fmla="*/ 83734 h 296464"/>
                <a:gd name="connsiteX4" fmla="*/ 0 w 308532"/>
                <a:gd name="connsiteY4" fmla="*/ 0 h 296464"/>
                <a:gd name="connsiteX5" fmla="*/ 265017 w 308532"/>
                <a:gd name="connsiteY5" fmla="*/ 0 h 296464"/>
                <a:gd name="connsiteX6" fmla="*/ 308532 w 308532"/>
                <a:gd name="connsiteY6" fmla="*/ 75260 h 296464"/>
                <a:gd name="connsiteX7" fmla="*/ 308532 w 308532"/>
                <a:gd name="connsiteY7" fmla="*/ 83734 h 296464"/>
                <a:gd name="connsiteX8" fmla="*/ 210466 w 308532"/>
                <a:gd name="connsiteY8" fmla="*/ 83734 h 296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532" h="296464">
                  <a:moveTo>
                    <a:pt x="137293" y="296464"/>
                  </a:moveTo>
                  <a:lnTo>
                    <a:pt x="72419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65017" y="0"/>
                  </a:lnTo>
                  <a:lnTo>
                    <a:pt x="308532" y="75260"/>
                  </a:lnTo>
                  <a:lnTo>
                    <a:pt x="308532" y="83734"/>
                  </a:lnTo>
                  <a:lnTo>
                    <a:pt x="210466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6446F284-DF3B-4BD3-84E9-63513197872A}"/>
                </a:ext>
              </a:extLst>
            </p:cNvPr>
            <p:cNvSpPr/>
            <p:nvPr/>
          </p:nvSpPr>
          <p:spPr>
            <a:xfrm rot="13089394">
              <a:off x="6309616" y="4543919"/>
              <a:ext cx="412568" cy="359948"/>
            </a:xfrm>
            <a:custGeom>
              <a:avLst/>
              <a:gdLst>
                <a:gd name="connsiteX0" fmla="*/ 412568 w 412568"/>
                <a:gd name="connsiteY0" fmla="*/ 252801 h 359948"/>
                <a:gd name="connsiteX1" fmla="*/ 138636 w 412568"/>
                <a:gd name="connsiteY1" fmla="*/ 359701 h 359948"/>
                <a:gd name="connsiteX2" fmla="*/ 35911 w 412568"/>
                <a:gd name="connsiteY2" fmla="*/ 317943 h 359948"/>
                <a:gd name="connsiteX3" fmla="*/ 0 w 412568"/>
                <a:gd name="connsiteY3" fmla="*/ 174296 h 359948"/>
                <a:gd name="connsiteX4" fmla="*/ 0 w 412568"/>
                <a:gd name="connsiteY4" fmla="*/ 74054 h 359948"/>
                <a:gd name="connsiteX5" fmla="*/ 112066 w 412568"/>
                <a:gd name="connsiteY5" fmla="*/ 0 h 359948"/>
                <a:gd name="connsiteX6" fmla="*/ 112747 w 412568"/>
                <a:gd name="connsiteY6" fmla="*/ 94956 h 359948"/>
                <a:gd name="connsiteX7" fmla="*/ 132789 w 412568"/>
                <a:gd name="connsiteY7" fmla="*/ 233593 h 359948"/>
                <a:gd name="connsiteX8" fmla="*/ 233008 w 412568"/>
                <a:gd name="connsiteY8" fmla="*/ 288713 h 359948"/>
                <a:gd name="connsiteX9" fmla="*/ 308172 w 412568"/>
                <a:gd name="connsiteY9" fmla="*/ 275351 h 359948"/>
                <a:gd name="connsiteX10" fmla="*/ 410898 w 412568"/>
                <a:gd name="connsiteY10" fmla="*/ 233593 h 359948"/>
                <a:gd name="connsiteX11" fmla="*/ 412568 w 412568"/>
                <a:gd name="connsiteY11" fmla="*/ 244449 h 359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2568" h="359948">
                  <a:moveTo>
                    <a:pt x="412568" y="252801"/>
                  </a:moveTo>
                  <a:cubicBezTo>
                    <a:pt x="324041" y="328800"/>
                    <a:pt x="207954" y="355526"/>
                    <a:pt x="138636" y="359701"/>
                  </a:cubicBezTo>
                  <a:cubicBezTo>
                    <a:pt x="100219" y="362207"/>
                    <a:pt x="62637" y="345504"/>
                    <a:pt x="35911" y="317943"/>
                  </a:cubicBezTo>
                  <a:cubicBezTo>
                    <a:pt x="7516" y="290383"/>
                    <a:pt x="0" y="242779"/>
                    <a:pt x="0" y="174296"/>
                  </a:cubicBezTo>
                  <a:lnTo>
                    <a:pt x="0" y="74054"/>
                  </a:lnTo>
                  <a:lnTo>
                    <a:pt x="112066" y="0"/>
                  </a:lnTo>
                  <a:lnTo>
                    <a:pt x="112747" y="94956"/>
                  </a:lnTo>
                  <a:cubicBezTo>
                    <a:pt x="110241" y="141725"/>
                    <a:pt x="117756" y="189329"/>
                    <a:pt x="132789" y="233593"/>
                  </a:cubicBezTo>
                  <a:cubicBezTo>
                    <a:pt x="146153" y="270339"/>
                    <a:pt x="180394" y="288713"/>
                    <a:pt x="233008" y="288713"/>
                  </a:cubicBezTo>
                  <a:cubicBezTo>
                    <a:pt x="258899" y="287878"/>
                    <a:pt x="283953" y="282866"/>
                    <a:pt x="308172" y="275351"/>
                  </a:cubicBezTo>
                  <a:cubicBezTo>
                    <a:pt x="343249" y="264493"/>
                    <a:pt x="377491" y="250296"/>
                    <a:pt x="410898" y="233593"/>
                  </a:cubicBezTo>
                  <a:cubicBezTo>
                    <a:pt x="411732" y="236933"/>
                    <a:pt x="412568" y="241109"/>
                    <a:pt x="412568" y="24444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88875692-D947-4058-8206-44233A06BFD3}"/>
                </a:ext>
              </a:extLst>
            </p:cNvPr>
            <p:cNvSpPr/>
            <p:nvPr/>
          </p:nvSpPr>
          <p:spPr>
            <a:xfrm rot="8716295">
              <a:off x="6597507" y="4422612"/>
              <a:ext cx="149044" cy="111064"/>
            </a:xfrm>
            <a:custGeom>
              <a:avLst/>
              <a:gdLst>
                <a:gd name="connsiteX0" fmla="*/ 0 w 149044"/>
                <a:gd name="connsiteY0" fmla="*/ 51375 h 111064"/>
                <a:gd name="connsiteX1" fmla="*/ 1002 w 149044"/>
                <a:gd name="connsiteY1" fmla="*/ 50432 h 111064"/>
                <a:gd name="connsiteX2" fmla="*/ 98612 w 149044"/>
                <a:gd name="connsiteY2" fmla="*/ 0 h 111064"/>
                <a:gd name="connsiteX3" fmla="*/ 149044 w 149044"/>
                <a:gd name="connsiteY3" fmla="*/ 60193 h 111064"/>
                <a:gd name="connsiteX4" fmla="*/ 134300 w 149044"/>
                <a:gd name="connsiteY4" fmla="*/ 98322 h 111064"/>
                <a:gd name="connsiteX5" fmla="*/ 117977 w 149044"/>
                <a:gd name="connsiteY5" fmla="*/ 111064 h 111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044" h="111064">
                  <a:moveTo>
                    <a:pt x="0" y="51375"/>
                  </a:moveTo>
                  <a:lnTo>
                    <a:pt x="1002" y="50432"/>
                  </a:lnTo>
                  <a:cubicBezTo>
                    <a:pt x="25404" y="21963"/>
                    <a:pt x="60381" y="4067"/>
                    <a:pt x="98612" y="0"/>
                  </a:cubicBezTo>
                  <a:cubicBezTo>
                    <a:pt x="137657" y="0"/>
                    <a:pt x="149044" y="34164"/>
                    <a:pt x="149044" y="60193"/>
                  </a:cubicBezTo>
                  <a:cubicBezTo>
                    <a:pt x="147824" y="74428"/>
                    <a:pt x="142536" y="87443"/>
                    <a:pt x="134300" y="98322"/>
                  </a:cubicBezTo>
                  <a:lnTo>
                    <a:pt x="117977" y="1110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371804DA-D0A5-4840-894B-07AAE1064663}"/>
                </a:ext>
              </a:extLst>
            </p:cNvPr>
            <p:cNvSpPr/>
            <p:nvPr/>
          </p:nvSpPr>
          <p:spPr>
            <a:xfrm rot="8716295">
              <a:off x="6708126" y="4876229"/>
              <a:ext cx="139286" cy="121327"/>
            </a:xfrm>
            <a:custGeom>
              <a:avLst/>
              <a:gdLst>
                <a:gd name="connsiteX0" fmla="*/ 26453 w 139286"/>
                <a:gd name="connsiteY0" fmla="*/ 96267 h 121327"/>
                <a:gd name="connsiteX1" fmla="*/ 0 w 139286"/>
                <a:gd name="connsiteY1" fmla="*/ 33618 h 121327"/>
                <a:gd name="connsiteX2" fmla="*/ 0 w 139286"/>
                <a:gd name="connsiteY2" fmla="*/ 32225 h 121327"/>
                <a:gd name="connsiteX3" fmla="*/ 13607 w 139286"/>
                <a:gd name="connsiteY3" fmla="*/ 0 h 121327"/>
                <a:gd name="connsiteX4" fmla="*/ 139286 w 139286"/>
                <a:gd name="connsiteY4" fmla="*/ 103337 h 121327"/>
                <a:gd name="connsiteX5" fmla="*/ 123037 w 139286"/>
                <a:gd name="connsiteY5" fmla="*/ 114366 h 121327"/>
                <a:gd name="connsiteX6" fmla="*/ 89101 w 139286"/>
                <a:gd name="connsiteY6" fmla="*/ 121327 h 121327"/>
                <a:gd name="connsiteX7" fmla="*/ 26453 w 139286"/>
                <a:gd name="connsiteY7" fmla="*/ 96267 h 121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9286" h="121327">
                  <a:moveTo>
                    <a:pt x="26453" y="96267"/>
                  </a:moveTo>
                  <a:cubicBezTo>
                    <a:pt x="9746" y="79561"/>
                    <a:pt x="0" y="57285"/>
                    <a:pt x="0" y="33618"/>
                  </a:cubicBezTo>
                  <a:lnTo>
                    <a:pt x="0" y="32225"/>
                  </a:lnTo>
                  <a:lnTo>
                    <a:pt x="13607" y="0"/>
                  </a:lnTo>
                  <a:lnTo>
                    <a:pt x="139286" y="103337"/>
                  </a:lnTo>
                  <a:lnTo>
                    <a:pt x="123037" y="114366"/>
                  </a:lnTo>
                  <a:cubicBezTo>
                    <a:pt x="112421" y="118890"/>
                    <a:pt x="100935" y="121327"/>
                    <a:pt x="89101" y="121327"/>
                  </a:cubicBezTo>
                  <a:cubicBezTo>
                    <a:pt x="65435" y="121327"/>
                    <a:pt x="43159" y="112973"/>
                    <a:pt x="26453" y="9626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6EEBC52A-3D14-419B-8366-97197098C604}"/>
                </a:ext>
              </a:extLst>
            </p:cNvPr>
            <p:cNvSpPr/>
            <p:nvPr/>
          </p:nvSpPr>
          <p:spPr>
            <a:xfrm rot="8716295">
              <a:off x="4782105" y="4823045"/>
              <a:ext cx="311921" cy="362797"/>
            </a:xfrm>
            <a:custGeom>
              <a:avLst/>
              <a:gdLst>
                <a:gd name="connsiteX0" fmla="*/ 311920 w 311921"/>
                <a:gd name="connsiteY0" fmla="*/ 120307 h 362797"/>
                <a:gd name="connsiteX1" fmla="*/ 138360 w 311921"/>
                <a:gd name="connsiteY1" fmla="*/ 1 h 362797"/>
                <a:gd name="connsiteX2" fmla="*/ 138360 w 311921"/>
                <a:gd name="connsiteY2" fmla="*/ 0 h 362797"/>
                <a:gd name="connsiteX3" fmla="*/ 311921 w 311921"/>
                <a:gd name="connsiteY3" fmla="*/ 120307 h 362797"/>
                <a:gd name="connsiteX4" fmla="*/ 0 w 311921"/>
                <a:gd name="connsiteY4" fmla="*/ 362797 h 362797"/>
                <a:gd name="connsiteX5" fmla="*/ 0 w 311921"/>
                <a:gd name="connsiteY5" fmla="*/ 320869 h 362797"/>
                <a:gd name="connsiteX6" fmla="*/ 27877 w 311921"/>
                <a:gd name="connsiteY6" fmla="*/ 343790 h 362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1921" h="362797">
                  <a:moveTo>
                    <a:pt x="311920" y="120307"/>
                  </a:moveTo>
                  <a:lnTo>
                    <a:pt x="138360" y="1"/>
                  </a:lnTo>
                  <a:lnTo>
                    <a:pt x="138360" y="0"/>
                  </a:lnTo>
                  <a:lnTo>
                    <a:pt x="311921" y="120307"/>
                  </a:lnTo>
                  <a:close/>
                  <a:moveTo>
                    <a:pt x="0" y="362797"/>
                  </a:moveTo>
                  <a:lnTo>
                    <a:pt x="0" y="320869"/>
                  </a:lnTo>
                  <a:lnTo>
                    <a:pt x="27877" y="34379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53F2D732-A25A-4CEE-B98E-E5DC8CC54158}"/>
                </a:ext>
              </a:extLst>
            </p:cNvPr>
            <p:cNvSpPr/>
            <p:nvPr/>
          </p:nvSpPr>
          <p:spPr>
            <a:xfrm rot="8716295">
              <a:off x="5132149" y="4738008"/>
              <a:ext cx="148614" cy="131720"/>
            </a:xfrm>
            <a:custGeom>
              <a:avLst/>
              <a:gdLst>
                <a:gd name="connsiteX0" fmla="*/ 26453 w 148614"/>
                <a:gd name="connsiteY0" fmla="*/ 106660 h 131720"/>
                <a:gd name="connsiteX1" fmla="*/ 0 w 148614"/>
                <a:gd name="connsiteY1" fmla="*/ 44011 h 131720"/>
                <a:gd name="connsiteX2" fmla="*/ 0 w 148614"/>
                <a:gd name="connsiteY2" fmla="*/ 42618 h 131720"/>
                <a:gd name="connsiteX3" fmla="*/ 17995 w 148614"/>
                <a:gd name="connsiteY3" fmla="*/ 0 h 131720"/>
                <a:gd name="connsiteX4" fmla="*/ 148614 w 148614"/>
                <a:gd name="connsiteY4" fmla="*/ 107398 h 131720"/>
                <a:gd name="connsiteX5" fmla="*/ 123037 w 148614"/>
                <a:gd name="connsiteY5" fmla="*/ 124759 h 131720"/>
                <a:gd name="connsiteX6" fmla="*/ 89101 w 148614"/>
                <a:gd name="connsiteY6" fmla="*/ 131720 h 131720"/>
                <a:gd name="connsiteX7" fmla="*/ 26453 w 148614"/>
                <a:gd name="connsiteY7" fmla="*/ 106660 h 13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8614" h="131720">
                  <a:moveTo>
                    <a:pt x="26453" y="106660"/>
                  </a:moveTo>
                  <a:cubicBezTo>
                    <a:pt x="9746" y="89954"/>
                    <a:pt x="0" y="67678"/>
                    <a:pt x="0" y="44011"/>
                  </a:cubicBezTo>
                  <a:lnTo>
                    <a:pt x="0" y="42618"/>
                  </a:lnTo>
                  <a:lnTo>
                    <a:pt x="17995" y="0"/>
                  </a:lnTo>
                  <a:lnTo>
                    <a:pt x="148614" y="107398"/>
                  </a:lnTo>
                  <a:lnTo>
                    <a:pt x="123037" y="124759"/>
                  </a:lnTo>
                  <a:cubicBezTo>
                    <a:pt x="112421" y="129283"/>
                    <a:pt x="100935" y="131720"/>
                    <a:pt x="89101" y="131720"/>
                  </a:cubicBezTo>
                  <a:cubicBezTo>
                    <a:pt x="65435" y="131720"/>
                    <a:pt x="43159" y="123366"/>
                    <a:pt x="26453" y="10666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937A52BD-510B-4C03-9C16-CD9D234ABB7D}"/>
                </a:ext>
              </a:extLst>
            </p:cNvPr>
            <p:cNvSpPr/>
            <p:nvPr/>
          </p:nvSpPr>
          <p:spPr>
            <a:xfrm rot="8716295">
              <a:off x="5043572" y="4624951"/>
              <a:ext cx="150722" cy="101024"/>
            </a:xfrm>
            <a:custGeom>
              <a:avLst/>
              <a:gdLst>
                <a:gd name="connsiteX0" fmla="*/ 0 w 150722"/>
                <a:gd name="connsiteY0" fmla="*/ 25991 h 101024"/>
                <a:gd name="connsiteX1" fmla="*/ 28034 w 150722"/>
                <a:gd name="connsiteY1" fmla="*/ 6961 h 101024"/>
                <a:gd name="connsiteX2" fmla="*/ 61968 w 150722"/>
                <a:gd name="connsiteY2" fmla="*/ 0 h 101024"/>
                <a:gd name="connsiteX3" fmla="*/ 124618 w 150722"/>
                <a:gd name="connsiteY3" fmla="*/ 26453 h 101024"/>
                <a:gd name="connsiteX4" fmla="*/ 150722 w 150722"/>
                <a:gd name="connsiteY4" fmla="*/ 88580 h 101024"/>
                <a:gd name="connsiteX5" fmla="*/ 148306 w 150722"/>
                <a:gd name="connsiteY5" fmla="*/ 101024 h 10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0722" h="101024">
                  <a:moveTo>
                    <a:pt x="0" y="25991"/>
                  </a:moveTo>
                  <a:lnTo>
                    <a:pt x="28034" y="6961"/>
                  </a:lnTo>
                  <a:cubicBezTo>
                    <a:pt x="38649" y="2437"/>
                    <a:pt x="50135" y="0"/>
                    <a:pt x="61968" y="0"/>
                  </a:cubicBezTo>
                  <a:cubicBezTo>
                    <a:pt x="85637" y="0"/>
                    <a:pt x="107912" y="9746"/>
                    <a:pt x="124618" y="26453"/>
                  </a:cubicBezTo>
                  <a:cubicBezTo>
                    <a:pt x="142021" y="43159"/>
                    <a:pt x="150722" y="65782"/>
                    <a:pt x="150722" y="88580"/>
                  </a:cubicBezTo>
                  <a:lnTo>
                    <a:pt x="148306" y="1010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C719F00E-5A8E-45CC-8F56-B823EE2F6BB7}"/>
                </a:ext>
              </a:extLst>
            </p:cNvPr>
            <p:cNvSpPr/>
            <p:nvPr/>
          </p:nvSpPr>
          <p:spPr>
            <a:xfrm rot="8716295">
              <a:off x="8546573" y="4108588"/>
              <a:ext cx="215176" cy="313567"/>
            </a:xfrm>
            <a:custGeom>
              <a:avLst/>
              <a:gdLst>
                <a:gd name="connsiteX0" fmla="*/ 122760 w 215176"/>
                <a:gd name="connsiteY0" fmla="*/ 266809 h 313567"/>
                <a:gd name="connsiteX1" fmla="*/ 122761 w 215176"/>
                <a:gd name="connsiteY1" fmla="*/ 105519 h 313567"/>
                <a:gd name="connsiteX2" fmla="*/ 122761 w 215176"/>
                <a:gd name="connsiteY2" fmla="*/ 99312 h 313567"/>
                <a:gd name="connsiteX3" fmla="*/ 91726 w 215176"/>
                <a:gd name="connsiteY3" fmla="*/ 75863 h 313567"/>
                <a:gd name="connsiteX4" fmla="*/ 0 w 215176"/>
                <a:gd name="connsiteY4" fmla="*/ 75863 h 313567"/>
                <a:gd name="connsiteX5" fmla="*/ 0 w 215176"/>
                <a:gd name="connsiteY5" fmla="*/ 0 h 313567"/>
                <a:gd name="connsiteX6" fmla="*/ 128968 w 215176"/>
                <a:gd name="connsiteY6" fmla="*/ 0 h 313567"/>
                <a:gd name="connsiteX7" fmla="*/ 215176 w 215176"/>
                <a:gd name="connsiteY7" fmla="*/ 75863 h 313567"/>
                <a:gd name="connsiteX8" fmla="*/ 215176 w 215176"/>
                <a:gd name="connsiteY8" fmla="*/ 313567 h 31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5176" h="313567">
                  <a:moveTo>
                    <a:pt x="122760" y="26680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0"/>
                  </a:lnTo>
                  <a:lnTo>
                    <a:pt x="128968" y="0"/>
                  </a:lnTo>
                  <a:cubicBezTo>
                    <a:pt x="184831" y="0"/>
                    <a:pt x="215177" y="24139"/>
                    <a:pt x="215176" y="75863"/>
                  </a:cubicBezTo>
                  <a:lnTo>
                    <a:pt x="215176" y="3135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25DD9CA0-AFE3-4B5F-B15D-E7FBAF734592}"/>
                </a:ext>
              </a:extLst>
            </p:cNvPr>
            <p:cNvSpPr/>
            <p:nvPr/>
          </p:nvSpPr>
          <p:spPr>
            <a:xfrm rot="8716295">
              <a:off x="8681306" y="4151041"/>
              <a:ext cx="394490" cy="343138"/>
            </a:xfrm>
            <a:custGeom>
              <a:avLst/>
              <a:gdLst>
                <a:gd name="connsiteX0" fmla="*/ 77932 w 394490"/>
                <a:gd name="connsiteY0" fmla="*/ 311621 h 343138"/>
                <a:gd name="connsiteX1" fmla="*/ 77932 w 394490"/>
                <a:gd name="connsiteY1" fmla="*/ 69053 h 343138"/>
                <a:gd name="connsiteX2" fmla="*/ 0 w 394490"/>
                <a:gd name="connsiteY2" fmla="*/ 69054 h 343138"/>
                <a:gd name="connsiteX3" fmla="*/ 0 w 394490"/>
                <a:gd name="connsiteY3" fmla="*/ 2156 h 343138"/>
                <a:gd name="connsiteX4" fmla="*/ 158623 w 394490"/>
                <a:gd name="connsiteY4" fmla="*/ 2157 h 343138"/>
                <a:gd name="connsiteX5" fmla="*/ 158624 w 394490"/>
                <a:gd name="connsiteY5" fmla="*/ 113882 h 343138"/>
                <a:gd name="connsiteX6" fmla="*/ 160692 w 394490"/>
                <a:gd name="connsiteY6" fmla="*/ 113882 h 343138"/>
                <a:gd name="connsiteX7" fmla="*/ 233107 w 394490"/>
                <a:gd name="connsiteY7" fmla="*/ 9053 h 343138"/>
                <a:gd name="connsiteX8" fmla="*/ 280694 w 394490"/>
                <a:gd name="connsiteY8" fmla="*/ 87 h 343138"/>
                <a:gd name="connsiteX9" fmla="*/ 394490 w 394490"/>
                <a:gd name="connsiteY9" fmla="*/ 133882 h 343138"/>
                <a:gd name="connsiteX10" fmla="*/ 394490 w 394490"/>
                <a:gd name="connsiteY10" fmla="*/ 142849 h 343138"/>
                <a:gd name="connsiteX11" fmla="*/ 300694 w 394490"/>
                <a:gd name="connsiteY11" fmla="*/ 148365 h 343138"/>
                <a:gd name="connsiteX12" fmla="*/ 300694 w 394490"/>
                <a:gd name="connsiteY12" fmla="*/ 123538 h 343138"/>
                <a:gd name="connsiteX13" fmla="*/ 249660 w 394490"/>
                <a:gd name="connsiteY13" fmla="*/ 60778 h 343138"/>
                <a:gd name="connsiteX14" fmla="*/ 168969 w 394490"/>
                <a:gd name="connsiteY14" fmla="*/ 193194 h 343138"/>
                <a:gd name="connsiteX15" fmla="*/ 168969 w 394490"/>
                <a:gd name="connsiteY15" fmla="*/ 323541 h 343138"/>
                <a:gd name="connsiteX16" fmla="*/ 140226 w 394490"/>
                <a:gd name="connsiteY16" fmla="*/ 343138 h 343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4490" h="343138">
                  <a:moveTo>
                    <a:pt x="77932" y="311621"/>
                  </a:moveTo>
                  <a:lnTo>
                    <a:pt x="77932" y="69053"/>
                  </a:lnTo>
                  <a:lnTo>
                    <a:pt x="0" y="69054"/>
                  </a:lnTo>
                  <a:lnTo>
                    <a:pt x="0" y="2156"/>
                  </a:lnTo>
                  <a:lnTo>
                    <a:pt x="158623" y="2157"/>
                  </a:lnTo>
                  <a:lnTo>
                    <a:pt x="158624" y="113882"/>
                  </a:lnTo>
                  <a:lnTo>
                    <a:pt x="160692" y="113882"/>
                  </a:lnTo>
                  <a:cubicBezTo>
                    <a:pt x="182762" y="48364"/>
                    <a:pt x="200003" y="22846"/>
                    <a:pt x="233107" y="9053"/>
                  </a:cubicBezTo>
                  <a:cubicBezTo>
                    <a:pt x="248280" y="2846"/>
                    <a:pt x="264142" y="-602"/>
                    <a:pt x="280694" y="87"/>
                  </a:cubicBezTo>
                  <a:cubicBezTo>
                    <a:pt x="351730" y="-1293"/>
                    <a:pt x="394490" y="48364"/>
                    <a:pt x="394490" y="133882"/>
                  </a:cubicBezTo>
                  <a:lnTo>
                    <a:pt x="394490" y="142849"/>
                  </a:lnTo>
                  <a:lnTo>
                    <a:pt x="300694" y="148365"/>
                  </a:lnTo>
                  <a:lnTo>
                    <a:pt x="300694" y="123538"/>
                  </a:lnTo>
                  <a:cubicBezTo>
                    <a:pt x="300695" y="86296"/>
                    <a:pt x="279316" y="60778"/>
                    <a:pt x="249660" y="60778"/>
                  </a:cubicBezTo>
                  <a:cubicBezTo>
                    <a:pt x="205521" y="60778"/>
                    <a:pt x="168968" y="119399"/>
                    <a:pt x="168969" y="193194"/>
                  </a:cubicBezTo>
                  <a:lnTo>
                    <a:pt x="168969" y="323541"/>
                  </a:lnTo>
                  <a:lnTo>
                    <a:pt x="140226" y="3431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24323A32-7D51-45A5-8D91-2223C2D14BC5}"/>
                </a:ext>
              </a:extLst>
            </p:cNvPr>
            <p:cNvSpPr/>
            <p:nvPr/>
          </p:nvSpPr>
          <p:spPr>
            <a:xfrm rot="8716295">
              <a:off x="8646997" y="4143256"/>
              <a:ext cx="121064" cy="89924"/>
            </a:xfrm>
            <a:custGeom>
              <a:avLst/>
              <a:gdLst>
                <a:gd name="connsiteX0" fmla="*/ 0 w 121064"/>
                <a:gd name="connsiteY0" fmla="*/ 39250 h 89924"/>
                <a:gd name="connsiteX1" fmla="*/ 32528 w 121064"/>
                <a:gd name="connsiteY1" fmla="*/ 13621 h 89924"/>
                <a:gd name="connsiteX2" fmla="*/ 78305 w 121064"/>
                <a:gd name="connsiteY2" fmla="*/ 0 h 89924"/>
                <a:gd name="connsiteX3" fmla="*/ 121064 w 121064"/>
                <a:gd name="connsiteY3" fmla="*/ 51035 h 89924"/>
                <a:gd name="connsiteX4" fmla="*/ 108563 w 121064"/>
                <a:gd name="connsiteY4" fmla="*/ 83363 h 89924"/>
                <a:gd name="connsiteX5" fmla="*/ 100159 w 121064"/>
                <a:gd name="connsiteY5" fmla="*/ 89924 h 89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1064" h="89924">
                  <a:moveTo>
                    <a:pt x="0" y="39250"/>
                  </a:moveTo>
                  <a:lnTo>
                    <a:pt x="32528" y="13621"/>
                  </a:lnTo>
                  <a:cubicBezTo>
                    <a:pt x="46580" y="6380"/>
                    <a:pt x="62098" y="1724"/>
                    <a:pt x="78305" y="0"/>
                  </a:cubicBezTo>
                  <a:cubicBezTo>
                    <a:pt x="111409" y="0"/>
                    <a:pt x="121065" y="28966"/>
                    <a:pt x="121064" y="51035"/>
                  </a:cubicBezTo>
                  <a:cubicBezTo>
                    <a:pt x="120030" y="63105"/>
                    <a:pt x="115546" y="74139"/>
                    <a:pt x="108563" y="83363"/>
                  </a:cubicBezTo>
                  <a:lnTo>
                    <a:pt x="100159" y="899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CF24F6A6-E56B-4B69-A6B4-F595B4AECDB5}"/>
                </a:ext>
              </a:extLst>
            </p:cNvPr>
            <p:cNvSpPr/>
            <p:nvPr/>
          </p:nvSpPr>
          <p:spPr>
            <a:xfrm rot="8716295">
              <a:off x="8360649" y="4203945"/>
              <a:ext cx="88105" cy="88278"/>
            </a:xfrm>
            <a:custGeom>
              <a:avLst/>
              <a:gdLst>
                <a:gd name="connsiteX0" fmla="*/ 11702 w 88105"/>
                <a:gd name="connsiteY0" fmla="*/ 72544 h 88278"/>
                <a:gd name="connsiteX1" fmla="*/ 0 w 88105"/>
                <a:gd name="connsiteY1" fmla="*/ 44829 h 88278"/>
                <a:gd name="connsiteX2" fmla="*/ 0 w 88105"/>
                <a:gd name="connsiteY2" fmla="*/ 44139 h 88278"/>
                <a:gd name="connsiteX3" fmla="*/ 13104 w 88105"/>
                <a:gd name="connsiteY3" fmla="*/ 13104 h 88278"/>
                <a:gd name="connsiteX4" fmla="*/ 44139 w 88105"/>
                <a:gd name="connsiteY4" fmla="*/ 0 h 88278"/>
                <a:gd name="connsiteX5" fmla="*/ 75175 w 88105"/>
                <a:gd name="connsiteY5" fmla="*/ 13104 h 88278"/>
                <a:gd name="connsiteX6" fmla="*/ 75175 w 88105"/>
                <a:gd name="connsiteY6" fmla="*/ 75175 h 88278"/>
                <a:gd name="connsiteX7" fmla="*/ 44139 w 88105"/>
                <a:gd name="connsiteY7" fmla="*/ 88278 h 88278"/>
                <a:gd name="connsiteX8" fmla="*/ 37752 w 88105"/>
                <a:gd name="connsiteY8" fmla="*/ 85724 h 88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8105" h="88278">
                  <a:moveTo>
                    <a:pt x="11702" y="72544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cubicBezTo>
                    <a:pt x="55864" y="0"/>
                    <a:pt x="66899" y="4828"/>
                    <a:pt x="75175" y="13104"/>
                  </a:cubicBezTo>
                  <a:cubicBezTo>
                    <a:pt x="92416" y="29657"/>
                    <a:pt x="92416" y="57933"/>
                    <a:pt x="75175" y="75175"/>
                  </a:cubicBezTo>
                  <a:cubicBezTo>
                    <a:pt x="66899" y="83451"/>
                    <a:pt x="55864" y="88278"/>
                    <a:pt x="44139" y="88278"/>
                  </a:cubicBezTo>
                  <a:lnTo>
                    <a:pt x="37752" y="857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823BDB41-A1E6-41AA-847A-64C2D14D0B20}"/>
                </a:ext>
              </a:extLst>
            </p:cNvPr>
            <p:cNvSpPr/>
            <p:nvPr/>
          </p:nvSpPr>
          <p:spPr>
            <a:xfrm rot="8716295">
              <a:off x="8270439" y="4208809"/>
              <a:ext cx="54467" cy="27557"/>
            </a:xfrm>
            <a:custGeom>
              <a:avLst/>
              <a:gdLst>
                <a:gd name="connsiteX0" fmla="*/ 0 w 54467"/>
                <a:gd name="connsiteY0" fmla="*/ 0 h 27557"/>
                <a:gd name="connsiteX1" fmla="*/ 54467 w 54467"/>
                <a:gd name="connsiteY1" fmla="*/ 0 h 27557"/>
                <a:gd name="connsiteX2" fmla="*/ 54467 w 54467"/>
                <a:gd name="connsiteY2" fmla="*/ 27557 h 27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467" h="27557">
                  <a:moveTo>
                    <a:pt x="0" y="0"/>
                  </a:moveTo>
                  <a:lnTo>
                    <a:pt x="54467" y="0"/>
                  </a:lnTo>
                  <a:lnTo>
                    <a:pt x="54467" y="2755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C4D7300C-5B1D-4389-9C36-32D5B08AA75A}"/>
                </a:ext>
              </a:extLst>
            </p:cNvPr>
            <p:cNvSpPr/>
            <p:nvPr/>
          </p:nvSpPr>
          <p:spPr>
            <a:xfrm rot="8716295">
              <a:off x="8503577" y="4269431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A57703A1-63B4-443D-A8D6-A43C23AB9B28}"/>
                </a:ext>
              </a:extLst>
            </p:cNvPr>
            <p:cNvSpPr/>
            <p:nvPr/>
          </p:nvSpPr>
          <p:spPr>
            <a:xfrm rot="8716295">
              <a:off x="8994983" y="4078441"/>
              <a:ext cx="137688" cy="132478"/>
            </a:xfrm>
            <a:custGeom>
              <a:avLst/>
              <a:gdLst>
                <a:gd name="connsiteX0" fmla="*/ 46653 w 137688"/>
                <a:gd name="connsiteY0" fmla="*/ 86420 h 132478"/>
                <a:gd name="connsiteX1" fmla="*/ 46653 w 137688"/>
                <a:gd name="connsiteY1" fmla="*/ 24828 h 132478"/>
                <a:gd name="connsiteX2" fmla="*/ 0 w 137688"/>
                <a:gd name="connsiteY2" fmla="*/ 24828 h 132478"/>
                <a:gd name="connsiteX3" fmla="*/ 15342 w 137688"/>
                <a:gd name="connsiteY3" fmla="*/ 2695 h 132478"/>
                <a:gd name="connsiteX4" fmla="*/ 137688 w 137688"/>
                <a:gd name="connsiteY4" fmla="*/ 0 h 132478"/>
                <a:gd name="connsiteX5" fmla="*/ 137688 w 137688"/>
                <a:gd name="connsiteY5" fmla="*/ 132478 h 132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7688" h="132478">
                  <a:moveTo>
                    <a:pt x="46653" y="86420"/>
                  </a:moveTo>
                  <a:lnTo>
                    <a:pt x="46653" y="24828"/>
                  </a:lnTo>
                  <a:lnTo>
                    <a:pt x="0" y="24828"/>
                  </a:lnTo>
                  <a:lnTo>
                    <a:pt x="15342" y="2695"/>
                  </a:lnTo>
                  <a:lnTo>
                    <a:pt x="137688" y="0"/>
                  </a:lnTo>
                  <a:lnTo>
                    <a:pt x="137688" y="13247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46727CBF-18BC-4939-8F2B-40813E13A972}"/>
                </a:ext>
              </a:extLst>
            </p:cNvPr>
            <p:cNvSpPr/>
            <p:nvPr/>
          </p:nvSpPr>
          <p:spPr>
            <a:xfrm rot="7484129">
              <a:off x="9136824" y="4228704"/>
              <a:ext cx="8392" cy="13068"/>
            </a:xfrm>
            <a:custGeom>
              <a:avLst/>
              <a:gdLst>
                <a:gd name="connsiteX0" fmla="*/ 3897 w 8392"/>
                <a:gd name="connsiteY0" fmla="*/ 13068 h 13068"/>
                <a:gd name="connsiteX1" fmla="*/ 0 w 8392"/>
                <a:gd name="connsiteY1" fmla="*/ 5818 h 13068"/>
                <a:gd name="connsiteX2" fmla="*/ 8392 w 8392"/>
                <a:gd name="connsiteY2" fmla="*/ 0 h 13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2" h="13068">
                  <a:moveTo>
                    <a:pt x="3897" y="13068"/>
                  </a:moveTo>
                  <a:lnTo>
                    <a:pt x="0" y="5818"/>
                  </a:lnTo>
                  <a:lnTo>
                    <a:pt x="839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D9037FA7-ED1D-4D57-8F2C-1298751D415A}"/>
                </a:ext>
              </a:extLst>
            </p:cNvPr>
            <p:cNvSpPr/>
            <p:nvPr/>
          </p:nvSpPr>
          <p:spPr>
            <a:xfrm rot="8716295">
              <a:off x="8839311" y="5117279"/>
              <a:ext cx="37096" cy="40385"/>
            </a:xfrm>
            <a:custGeom>
              <a:avLst/>
              <a:gdLst>
                <a:gd name="connsiteX0" fmla="*/ 37095 w 37096"/>
                <a:gd name="connsiteY0" fmla="*/ 25713 h 40385"/>
                <a:gd name="connsiteX1" fmla="*/ 0 w 37096"/>
                <a:gd name="connsiteY1" fmla="*/ 0 h 40385"/>
                <a:gd name="connsiteX2" fmla="*/ 0 w 37096"/>
                <a:gd name="connsiteY2" fmla="*/ 0 h 40385"/>
                <a:gd name="connsiteX3" fmla="*/ 37096 w 37096"/>
                <a:gd name="connsiteY3" fmla="*/ 25713 h 40385"/>
                <a:gd name="connsiteX4" fmla="*/ 0 w 37096"/>
                <a:gd name="connsiteY4" fmla="*/ 40385 h 40385"/>
                <a:gd name="connsiteX5" fmla="*/ 0 w 37096"/>
                <a:gd name="connsiteY5" fmla="*/ 28525 h 40385"/>
                <a:gd name="connsiteX6" fmla="*/ 9740 w 37096"/>
                <a:gd name="connsiteY6" fmla="*/ 36533 h 40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096" h="40385">
                  <a:moveTo>
                    <a:pt x="37095" y="25713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37096" y="25713"/>
                  </a:lnTo>
                  <a:close/>
                  <a:moveTo>
                    <a:pt x="0" y="40385"/>
                  </a:moveTo>
                  <a:lnTo>
                    <a:pt x="0" y="28525"/>
                  </a:lnTo>
                  <a:lnTo>
                    <a:pt x="9740" y="365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7762AEC2-4809-4723-B4B8-AD709205FF29}"/>
                </a:ext>
              </a:extLst>
            </p:cNvPr>
            <p:cNvSpPr/>
            <p:nvPr/>
          </p:nvSpPr>
          <p:spPr>
            <a:xfrm rot="8716295">
              <a:off x="8967255" y="4971567"/>
              <a:ext cx="231347" cy="158649"/>
            </a:xfrm>
            <a:custGeom>
              <a:avLst/>
              <a:gdLst>
                <a:gd name="connsiteX0" fmla="*/ 8965 w 231347"/>
                <a:gd name="connsiteY0" fmla="*/ 158649 h 158649"/>
                <a:gd name="connsiteX1" fmla="*/ 0 w 231347"/>
                <a:gd name="connsiteY1" fmla="*/ 146235 h 158649"/>
                <a:gd name="connsiteX2" fmla="*/ 155416 w 231347"/>
                <a:gd name="connsiteY2" fmla="*/ 0 h 158649"/>
                <a:gd name="connsiteX3" fmla="*/ 231347 w 231347"/>
                <a:gd name="connsiteY3" fmla="*/ 62433 h 158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347" h="158649">
                  <a:moveTo>
                    <a:pt x="8965" y="158649"/>
                  </a:moveTo>
                  <a:lnTo>
                    <a:pt x="0" y="146235"/>
                  </a:lnTo>
                  <a:lnTo>
                    <a:pt x="155416" y="0"/>
                  </a:lnTo>
                  <a:lnTo>
                    <a:pt x="231347" y="624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45E00815-1C71-4483-8D7E-4D817A5C21EF}"/>
                </a:ext>
              </a:extLst>
            </p:cNvPr>
            <p:cNvSpPr/>
            <p:nvPr/>
          </p:nvSpPr>
          <p:spPr>
            <a:xfrm rot="8716295">
              <a:off x="8555937" y="4871188"/>
              <a:ext cx="249519" cy="296463"/>
            </a:xfrm>
            <a:custGeom>
              <a:avLst/>
              <a:gdLst>
                <a:gd name="connsiteX0" fmla="*/ 249516 w 249519"/>
                <a:gd name="connsiteY0" fmla="*/ 83734 h 296463"/>
                <a:gd name="connsiteX1" fmla="*/ 128718 w 249519"/>
                <a:gd name="connsiteY1" fmla="*/ 0 h 296463"/>
                <a:gd name="connsiteX2" fmla="*/ 128719 w 249519"/>
                <a:gd name="connsiteY2" fmla="*/ 0 h 296463"/>
                <a:gd name="connsiteX3" fmla="*/ 249519 w 249519"/>
                <a:gd name="connsiteY3" fmla="*/ 83734 h 296463"/>
                <a:gd name="connsiteX4" fmla="*/ 137293 w 249519"/>
                <a:gd name="connsiteY4" fmla="*/ 296463 h 296463"/>
                <a:gd name="connsiteX5" fmla="*/ 72418 w 249519"/>
                <a:gd name="connsiteY5" fmla="*/ 175766 h 296463"/>
                <a:gd name="connsiteX6" fmla="*/ 105610 w 249519"/>
                <a:gd name="connsiteY6" fmla="*/ 83734 h 296463"/>
                <a:gd name="connsiteX7" fmla="*/ 0 w 249519"/>
                <a:gd name="connsiteY7" fmla="*/ 83734 h 296463"/>
                <a:gd name="connsiteX8" fmla="*/ 0 w 249519"/>
                <a:gd name="connsiteY8" fmla="*/ 0 h 296463"/>
                <a:gd name="connsiteX9" fmla="*/ 78196 w 249519"/>
                <a:gd name="connsiteY9" fmla="*/ 0 h 296463"/>
                <a:gd name="connsiteX10" fmla="*/ 203756 w 249519"/>
                <a:gd name="connsiteY10" fmla="*/ 103239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519" h="296463">
                  <a:moveTo>
                    <a:pt x="249516" y="83734"/>
                  </a:moveTo>
                  <a:lnTo>
                    <a:pt x="128718" y="0"/>
                  </a:lnTo>
                  <a:lnTo>
                    <a:pt x="128719" y="0"/>
                  </a:lnTo>
                  <a:lnTo>
                    <a:pt x="249519" y="83734"/>
                  </a:lnTo>
                  <a:close/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78196" y="0"/>
                  </a:lnTo>
                  <a:lnTo>
                    <a:pt x="203756" y="1032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58E38A6F-A61D-44CF-B900-AC3229C6053D}"/>
                </a:ext>
              </a:extLst>
            </p:cNvPr>
            <p:cNvSpPr/>
            <p:nvPr/>
          </p:nvSpPr>
          <p:spPr>
            <a:xfrm rot="8716295">
              <a:off x="9124182" y="4842281"/>
              <a:ext cx="37059" cy="48941"/>
            </a:xfrm>
            <a:custGeom>
              <a:avLst/>
              <a:gdLst>
                <a:gd name="connsiteX0" fmla="*/ 0 w 37059"/>
                <a:gd name="connsiteY0" fmla="*/ 48941 h 48941"/>
                <a:gd name="connsiteX1" fmla="*/ 33925 w 37059"/>
                <a:gd name="connsiteY1" fmla="*/ 0 h 48941"/>
                <a:gd name="connsiteX2" fmla="*/ 37059 w 37059"/>
                <a:gd name="connsiteY2" fmla="*/ 7460 h 48941"/>
                <a:gd name="connsiteX3" fmla="*/ 24128 w 37059"/>
                <a:gd name="connsiteY3" fmla="*/ 38754 h 48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059" h="48941">
                  <a:moveTo>
                    <a:pt x="0" y="48941"/>
                  </a:moveTo>
                  <a:lnTo>
                    <a:pt x="33925" y="0"/>
                  </a:lnTo>
                  <a:lnTo>
                    <a:pt x="37059" y="7460"/>
                  </a:lnTo>
                  <a:cubicBezTo>
                    <a:pt x="37059" y="18753"/>
                    <a:pt x="32749" y="30133"/>
                    <a:pt x="24128" y="3875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0438BEFE-52E9-475C-AF5B-D887CDB606B3}"/>
                </a:ext>
              </a:extLst>
            </p:cNvPr>
            <p:cNvSpPr/>
            <p:nvPr/>
          </p:nvSpPr>
          <p:spPr>
            <a:xfrm rot="8716295">
              <a:off x="8946271" y="4530250"/>
              <a:ext cx="235267" cy="296463"/>
            </a:xfrm>
            <a:custGeom>
              <a:avLst/>
              <a:gdLst>
                <a:gd name="connsiteX0" fmla="*/ 64028 w 235267"/>
                <a:gd name="connsiteY0" fmla="*/ 296463 h 296463"/>
                <a:gd name="connsiteX1" fmla="*/ 0 w 235267"/>
                <a:gd name="connsiteY1" fmla="*/ 177341 h 296463"/>
                <a:gd name="connsiteX2" fmla="*/ 122928 w 235267"/>
                <a:gd name="connsiteY2" fmla="*/ 0 h 296463"/>
                <a:gd name="connsiteX3" fmla="*/ 235266 w 235267"/>
                <a:gd name="connsiteY3" fmla="*/ 0 h 296463"/>
                <a:gd name="connsiteX4" fmla="*/ 235267 w 235267"/>
                <a:gd name="connsiteY4" fmla="*/ 83734 h 296463"/>
                <a:gd name="connsiteX5" fmla="*/ 137200 w 235267"/>
                <a:gd name="connsiteY5" fmla="*/ 83735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5267" h="296463">
                  <a:moveTo>
                    <a:pt x="64028" y="296463"/>
                  </a:moveTo>
                  <a:lnTo>
                    <a:pt x="0" y="177341"/>
                  </a:lnTo>
                  <a:lnTo>
                    <a:pt x="122928" y="0"/>
                  </a:lnTo>
                  <a:lnTo>
                    <a:pt x="235266" y="0"/>
                  </a:lnTo>
                  <a:lnTo>
                    <a:pt x="235267" y="83734"/>
                  </a:lnTo>
                  <a:lnTo>
                    <a:pt x="137200" y="837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D3F9B5D8-06D4-4B43-BC6C-7C19EABDD1C4}"/>
                </a:ext>
              </a:extLst>
            </p:cNvPr>
            <p:cNvSpPr/>
            <p:nvPr/>
          </p:nvSpPr>
          <p:spPr>
            <a:xfrm rot="8716295">
              <a:off x="8906661" y="466090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71905357-F1DF-411B-B59B-0F032583384E}"/>
                </a:ext>
              </a:extLst>
            </p:cNvPr>
            <p:cNvSpPr/>
            <p:nvPr/>
          </p:nvSpPr>
          <p:spPr>
            <a:xfrm rot="13089394">
              <a:off x="7765620" y="4253518"/>
              <a:ext cx="72828" cy="75543"/>
            </a:xfrm>
            <a:custGeom>
              <a:avLst/>
              <a:gdLst>
                <a:gd name="connsiteX0" fmla="*/ 0 w 72828"/>
                <a:gd name="connsiteY0" fmla="*/ 75543 h 75543"/>
                <a:gd name="connsiteX1" fmla="*/ 0 w 72828"/>
                <a:gd name="connsiteY1" fmla="*/ 37783 h 75543"/>
                <a:gd name="connsiteX2" fmla="*/ 72828 w 72828"/>
                <a:gd name="connsiteY2" fmla="*/ 0 h 7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828" h="75543">
                  <a:moveTo>
                    <a:pt x="0" y="75543"/>
                  </a:moveTo>
                  <a:lnTo>
                    <a:pt x="0" y="37783"/>
                  </a:lnTo>
                  <a:lnTo>
                    <a:pt x="7282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9CC70003-388A-4ED2-9C78-B5584C3B43A2}"/>
                </a:ext>
              </a:extLst>
            </p:cNvPr>
            <p:cNvSpPr/>
            <p:nvPr/>
          </p:nvSpPr>
          <p:spPr>
            <a:xfrm rot="8716295">
              <a:off x="7196646" y="4735107"/>
              <a:ext cx="215177" cy="351729"/>
            </a:xfrm>
            <a:custGeom>
              <a:avLst/>
              <a:gdLst>
                <a:gd name="connsiteX0" fmla="*/ 122761 w 215177"/>
                <a:gd name="connsiteY0" fmla="*/ 351729 h 351729"/>
                <a:gd name="connsiteX1" fmla="*/ 122761 w 215177"/>
                <a:gd name="connsiteY1" fmla="*/ 105519 h 351729"/>
                <a:gd name="connsiteX2" fmla="*/ 122761 w 215177"/>
                <a:gd name="connsiteY2" fmla="*/ 99312 h 351729"/>
                <a:gd name="connsiteX3" fmla="*/ 91726 w 215177"/>
                <a:gd name="connsiteY3" fmla="*/ 75863 h 351729"/>
                <a:gd name="connsiteX4" fmla="*/ 0 w 215177"/>
                <a:gd name="connsiteY4" fmla="*/ 75863 h 351729"/>
                <a:gd name="connsiteX5" fmla="*/ 0 w 215177"/>
                <a:gd name="connsiteY5" fmla="*/ 0 h 351729"/>
                <a:gd name="connsiteX6" fmla="*/ 20033 w 215177"/>
                <a:gd name="connsiteY6" fmla="*/ 0 h 351729"/>
                <a:gd name="connsiteX7" fmla="*/ 215177 w 215177"/>
                <a:gd name="connsiteY7" fmla="*/ 160452 h 351729"/>
                <a:gd name="connsiteX8" fmla="*/ 215176 w 215177"/>
                <a:gd name="connsiteY8" fmla="*/ 315177 h 351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5177" h="351729">
                  <a:moveTo>
                    <a:pt x="122761" y="35172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0"/>
                  </a:lnTo>
                  <a:lnTo>
                    <a:pt x="20033" y="0"/>
                  </a:lnTo>
                  <a:lnTo>
                    <a:pt x="215177" y="160452"/>
                  </a:lnTo>
                  <a:lnTo>
                    <a:pt x="215176" y="3151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E46A29A2-07B5-4D69-A57A-B7E84F78585B}"/>
                </a:ext>
              </a:extLst>
            </p:cNvPr>
            <p:cNvSpPr/>
            <p:nvPr/>
          </p:nvSpPr>
          <p:spPr>
            <a:xfrm rot="8716295">
              <a:off x="7519762" y="4714342"/>
              <a:ext cx="185667" cy="383455"/>
            </a:xfrm>
            <a:custGeom>
              <a:avLst/>
              <a:gdLst>
                <a:gd name="connsiteX0" fmla="*/ 77932 w 185667"/>
                <a:gd name="connsiteY0" fmla="*/ 383455 h 383455"/>
                <a:gd name="connsiteX1" fmla="*/ 77932 w 185667"/>
                <a:gd name="connsiteY1" fmla="*/ 66898 h 383455"/>
                <a:gd name="connsiteX2" fmla="*/ 0 w 185667"/>
                <a:gd name="connsiteY2" fmla="*/ 66898 h 383455"/>
                <a:gd name="connsiteX3" fmla="*/ 0 w 185667"/>
                <a:gd name="connsiteY3" fmla="*/ 0 h 383455"/>
                <a:gd name="connsiteX4" fmla="*/ 33456 w 185667"/>
                <a:gd name="connsiteY4" fmla="*/ 0 h 383455"/>
                <a:gd name="connsiteX5" fmla="*/ 158623 w 185667"/>
                <a:gd name="connsiteY5" fmla="*/ 102916 h 383455"/>
                <a:gd name="connsiteX6" fmla="*/ 158623 w 185667"/>
                <a:gd name="connsiteY6" fmla="*/ 111726 h 383455"/>
                <a:gd name="connsiteX7" fmla="*/ 160692 w 185667"/>
                <a:gd name="connsiteY7" fmla="*/ 111726 h 383455"/>
                <a:gd name="connsiteX8" fmla="*/ 162749 w 185667"/>
                <a:gd name="connsiteY8" fmla="*/ 106308 h 383455"/>
                <a:gd name="connsiteX9" fmla="*/ 185667 w 185667"/>
                <a:gd name="connsiteY9" fmla="*/ 125152 h 383455"/>
                <a:gd name="connsiteX10" fmla="*/ 168969 w 185667"/>
                <a:gd name="connsiteY10" fmla="*/ 191038 h 383455"/>
                <a:gd name="connsiteX11" fmla="*/ 168969 w 185667"/>
                <a:gd name="connsiteY11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5667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33456" y="0"/>
                  </a:lnTo>
                  <a:lnTo>
                    <a:pt x="158623" y="102916"/>
                  </a:lnTo>
                  <a:lnTo>
                    <a:pt x="158623" y="111726"/>
                  </a:lnTo>
                  <a:lnTo>
                    <a:pt x="160692" y="111726"/>
                  </a:lnTo>
                  <a:lnTo>
                    <a:pt x="162749" y="106308"/>
                  </a:lnTo>
                  <a:lnTo>
                    <a:pt x="185667" y="125152"/>
                  </a:lnTo>
                  <a:lnTo>
                    <a:pt x="168969" y="191038"/>
                  </a:ln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BB2B590A-BBED-49DF-BE0A-D7CDB8C7EA53}"/>
                </a:ext>
              </a:extLst>
            </p:cNvPr>
            <p:cNvSpPr/>
            <p:nvPr/>
          </p:nvSpPr>
          <p:spPr>
            <a:xfrm rot="8716295">
              <a:off x="7265319" y="4648384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7838B053-EE23-465E-B80C-0FDB953D8E9F}"/>
                </a:ext>
              </a:extLst>
            </p:cNvPr>
            <p:cNvSpPr/>
            <p:nvPr/>
          </p:nvSpPr>
          <p:spPr>
            <a:xfrm rot="8716295">
              <a:off x="7028032" y="486872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46F2EA92-FAA0-4CBD-8D20-0B7AF9B36906}"/>
                </a:ext>
              </a:extLst>
            </p:cNvPr>
            <p:cNvSpPr/>
            <p:nvPr/>
          </p:nvSpPr>
          <p:spPr>
            <a:xfrm rot="8716295">
              <a:off x="6838986" y="455289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C33E7506-2F8D-4DC7-82BD-DA6D9CD10C11}"/>
                </a:ext>
              </a:extLst>
            </p:cNvPr>
            <p:cNvSpPr/>
            <p:nvPr/>
          </p:nvSpPr>
          <p:spPr>
            <a:xfrm rot="8716295">
              <a:off x="6821466" y="4356542"/>
              <a:ext cx="439901" cy="511464"/>
            </a:xfrm>
            <a:custGeom>
              <a:avLst/>
              <a:gdLst>
                <a:gd name="connsiteX0" fmla="*/ 1873 w 439901"/>
                <a:gd name="connsiteY0" fmla="*/ 384681 h 511464"/>
                <a:gd name="connsiteX1" fmla="*/ 1725 w 439901"/>
                <a:gd name="connsiteY1" fmla="*/ 383648 h 511464"/>
                <a:gd name="connsiteX2" fmla="*/ 0 w 439901"/>
                <a:gd name="connsiteY2" fmla="*/ 333043 h 511464"/>
                <a:gd name="connsiteX3" fmla="*/ 0 w 439901"/>
                <a:gd name="connsiteY3" fmla="*/ 61444 h 511464"/>
                <a:gd name="connsiteX4" fmla="*/ 118434 w 439901"/>
                <a:gd name="connsiteY4" fmla="*/ 0 h 511464"/>
                <a:gd name="connsiteX5" fmla="*/ 120216 w 439901"/>
                <a:gd name="connsiteY5" fmla="*/ 248447 h 511464"/>
                <a:gd name="connsiteX6" fmla="*/ 141587 w 439901"/>
                <a:gd name="connsiteY6" fmla="*/ 396268 h 511464"/>
                <a:gd name="connsiteX7" fmla="*/ 248446 w 439901"/>
                <a:gd name="connsiteY7" fmla="*/ 455041 h 511464"/>
                <a:gd name="connsiteX8" fmla="*/ 328590 w 439901"/>
                <a:gd name="connsiteY8" fmla="*/ 440793 h 511464"/>
                <a:gd name="connsiteX9" fmla="*/ 438120 w 439901"/>
                <a:gd name="connsiteY9" fmla="*/ 396268 h 511464"/>
                <a:gd name="connsiteX10" fmla="*/ 439901 w 439901"/>
                <a:gd name="connsiteY10" fmla="*/ 407844 h 511464"/>
                <a:gd name="connsiteX11" fmla="*/ 439901 w 439901"/>
                <a:gd name="connsiteY11" fmla="*/ 416749 h 511464"/>
                <a:gd name="connsiteX12" fmla="*/ 286180 w 439901"/>
                <a:gd name="connsiteY12" fmla="*/ 502459 h 511464"/>
                <a:gd name="connsiteX13" fmla="*/ 252462 w 439901"/>
                <a:gd name="connsiteY13" fmla="*/ 511464 h 511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9901" h="511464">
                  <a:moveTo>
                    <a:pt x="1873" y="384681"/>
                  </a:moveTo>
                  <a:lnTo>
                    <a:pt x="1725" y="383648"/>
                  </a:lnTo>
                  <a:cubicBezTo>
                    <a:pt x="501" y="368162"/>
                    <a:pt x="0" y="351298"/>
                    <a:pt x="0" y="333043"/>
                  </a:cubicBezTo>
                  <a:lnTo>
                    <a:pt x="0" y="61444"/>
                  </a:lnTo>
                  <a:lnTo>
                    <a:pt x="118434" y="0"/>
                  </a:lnTo>
                  <a:lnTo>
                    <a:pt x="120216" y="248447"/>
                  </a:lnTo>
                  <a:cubicBezTo>
                    <a:pt x="117545" y="298315"/>
                    <a:pt x="125558" y="349072"/>
                    <a:pt x="141587" y="396268"/>
                  </a:cubicBezTo>
                  <a:cubicBezTo>
                    <a:pt x="155836" y="435450"/>
                    <a:pt x="192346" y="455041"/>
                    <a:pt x="248446" y="455041"/>
                  </a:cubicBezTo>
                  <a:cubicBezTo>
                    <a:pt x="276051" y="454150"/>
                    <a:pt x="302766" y="448807"/>
                    <a:pt x="328590" y="440793"/>
                  </a:cubicBezTo>
                  <a:cubicBezTo>
                    <a:pt x="365990" y="429216"/>
                    <a:pt x="402501" y="414078"/>
                    <a:pt x="438120" y="396268"/>
                  </a:cubicBezTo>
                  <a:cubicBezTo>
                    <a:pt x="439010" y="399830"/>
                    <a:pt x="439901" y="404282"/>
                    <a:pt x="439901" y="407844"/>
                  </a:cubicBezTo>
                  <a:lnTo>
                    <a:pt x="439901" y="416749"/>
                  </a:lnTo>
                  <a:cubicBezTo>
                    <a:pt x="392705" y="457267"/>
                    <a:pt x="338163" y="484649"/>
                    <a:pt x="286180" y="502459"/>
                  </a:cubicBezTo>
                  <a:lnTo>
                    <a:pt x="252462" y="5114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F0039EE6-19E5-4457-84A9-3D50560FF71B}"/>
                </a:ext>
              </a:extLst>
            </p:cNvPr>
            <p:cNvSpPr/>
            <p:nvPr/>
          </p:nvSpPr>
          <p:spPr>
            <a:xfrm rot="8716295">
              <a:off x="7635467" y="435609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62946C15-BE3C-45DF-BB3D-128249E4D1A5}"/>
                </a:ext>
              </a:extLst>
            </p:cNvPr>
            <p:cNvSpPr/>
            <p:nvPr/>
          </p:nvSpPr>
          <p:spPr>
            <a:xfrm rot="8716295">
              <a:off x="7770766" y="440035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3C27B629-4EE2-46C6-9535-F5382300825F}"/>
                </a:ext>
              </a:extLst>
            </p:cNvPr>
            <p:cNvSpPr/>
            <p:nvPr/>
          </p:nvSpPr>
          <p:spPr>
            <a:xfrm rot="8716295">
              <a:off x="7465596" y="44901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6592736C-E2B7-4AAA-9132-CE6867AFB7E6}"/>
                </a:ext>
              </a:extLst>
            </p:cNvPr>
            <p:cNvSpPr/>
            <p:nvPr/>
          </p:nvSpPr>
          <p:spPr>
            <a:xfrm rot="8716295">
              <a:off x="7313509" y="4314181"/>
              <a:ext cx="308532" cy="142740"/>
            </a:xfrm>
            <a:custGeom>
              <a:avLst/>
              <a:gdLst>
                <a:gd name="connsiteX0" fmla="*/ 0 w 308532"/>
                <a:gd name="connsiteY0" fmla="*/ 46525 h 142740"/>
                <a:gd name="connsiteX1" fmla="*/ 0 w 308532"/>
                <a:gd name="connsiteY1" fmla="*/ 0 h 142740"/>
                <a:gd name="connsiteX2" fmla="*/ 308532 w 308532"/>
                <a:gd name="connsiteY2" fmla="*/ 0 h 142740"/>
                <a:gd name="connsiteX3" fmla="*/ 308532 w 308532"/>
                <a:gd name="connsiteY3" fmla="*/ 83734 h 142740"/>
                <a:gd name="connsiteX4" fmla="*/ 210465 w 308532"/>
                <a:gd name="connsiteY4" fmla="*/ 83734 h 142740"/>
                <a:gd name="connsiteX5" fmla="*/ 190169 w 308532"/>
                <a:gd name="connsiteY5" fmla="*/ 142740 h 142740"/>
                <a:gd name="connsiteX6" fmla="*/ 100662 w 308532"/>
                <a:gd name="connsiteY6" fmla="*/ 97454 h 142740"/>
                <a:gd name="connsiteX7" fmla="*/ 105610 w 308532"/>
                <a:gd name="connsiteY7" fmla="*/ 83734 h 142740"/>
                <a:gd name="connsiteX8" fmla="*/ 73544 w 308532"/>
                <a:gd name="connsiteY8" fmla="*/ 83734 h 142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532" h="142740">
                  <a:moveTo>
                    <a:pt x="0" y="46525"/>
                  </a:moveTo>
                  <a:lnTo>
                    <a:pt x="0" y="0"/>
                  </a:lnTo>
                  <a:lnTo>
                    <a:pt x="308532" y="0"/>
                  </a:lnTo>
                  <a:lnTo>
                    <a:pt x="308532" y="83734"/>
                  </a:lnTo>
                  <a:lnTo>
                    <a:pt x="210465" y="83734"/>
                  </a:lnTo>
                  <a:lnTo>
                    <a:pt x="190169" y="142740"/>
                  </a:lnTo>
                  <a:lnTo>
                    <a:pt x="100662" y="97454"/>
                  </a:lnTo>
                  <a:lnTo>
                    <a:pt x="105610" y="83734"/>
                  </a:lnTo>
                  <a:lnTo>
                    <a:pt x="73544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39B2926A-51C6-4DDF-86D8-072C96B838B0}"/>
                </a:ext>
              </a:extLst>
            </p:cNvPr>
            <p:cNvSpPr/>
            <p:nvPr/>
          </p:nvSpPr>
          <p:spPr>
            <a:xfrm rot="8716295">
              <a:off x="7602084" y="4552096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A5226D1B-39C8-4DB7-A39D-DE8AE96085BA}"/>
                </a:ext>
              </a:extLst>
            </p:cNvPr>
            <p:cNvSpPr/>
            <p:nvPr/>
          </p:nvSpPr>
          <p:spPr>
            <a:xfrm rot="8716295">
              <a:off x="7233779" y="4339176"/>
              <a:ext cx="112931" cy="98229"/>
            </a:xfrm>
            <a:custGeom>
              <a:avLst/>
              <a:gdLst>
                <a:gd name="connsiteX0" fmla="*/ 0 w 112931"/>
                <a:gd name="connsiteY0" fmla="*/ 49475 h 98229"/>
                <a:gd name="connsiteX1" fmla="*/ 13559 w 112931"/>
                <a:gd name="connsiteY1" fmla="*/ 17362 h 98229"/>
                <a:gd name="connsiteX2" fmla="*/ 54678 w 112931"/>
                <a:gd name="connsiteY2" fmla="*/ 0 h 98229"/>
                <a:gd name="connsiteX3" fmla="*/ 95798 w 112931"/>
                <a:gd name="connsiteY3" fmla="*/ 17362 h 98229"/>
                <a:gd name="connsiteX4" fmla="*/ 112931 w 112931"/>
                <a:gd name="connsiteY4" fmla="*/ 58139 h 98229"/>
                <a:gd name="connsiteX5" fmla="*/ 96365 w 112931"/>
                <a:gd name="connsiteY5" fmla="*/ 98229 h 98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931" h="98229">
                  <a:moveTo>
                    <a:pt x="0" y="49475"/>
                  </a:moveTo>
                  <a:lnTo>
                    <a:pt x="13559" y="17362"/>
                  </a:lnTo>
                  <a:cubicBezTo>
                    <a:pt x="24524" y="6397"/>
                    <a:pt x="39145" y="0"/>
                    <a:pt x="54678" y="0"/>
                  </a:cubicBezTo>
                  <a:cubicBezTo>
                    <a:pt x="70213" y="0"/>
                    <a:pt x="84833" y="6397"/>
                    <a:pt x="95798" y="17362"/>
                  </a:cubicBezTo>
                  <a:cubicBezTo>
                    <a:pt x="107220" y="28327"/>
                    <a:pt x="112931" y="43176"/>
                    <a:pt x="112931" y="58139"/>
                  </a:cubicBezTo>
                  <a:lnTo>
                    <a:pt x="96365" y="9822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B8D891A1-7C58-4828-B849-358D4D72EA90}"/>
                </a:ext>
              </a:extLst>
            </p:cNvPr>
            <p:cNvSpPr/>
            <p:nvPr/>
          </p:nvSpPr>
          <p:spPr>
            <a:xfrm rot="7484129">
              <a:off x="7765134" y="4837237"/>
              <a:ext cx="295167" cy="296463"/>
            </a:xfrm>
            <a:custGeom>
              <a:avLst/>
              <a:gdLst>
                <a:gd name="connsiteX0" fmla="*/ 295165 w 295167"/>
                <a:gd name="connsiteY0" fmla="*/ 83734 h 296463"/>
                <a:gd name="connsiteX1" fmla="*/ 237109 w 295167"/>
                <a:gd name="connsiteY1" fmla="*/ 0 h 296463"/>
                <a:gd name="connsiteX2" fmla="*/ 237110 w 295167"/>
                <a:gd name="connsiteY2" fmla="*/ 0 h 296463"/>
                <a:gd name="connsiteX3" fmla="*/ 295167 w 295167"/>
                <a:gd name="connsiteY3" fmla="*/ 83734 h 296463"/>
                <a:gd name="connsiteX4" fmla="*/ 137293 w 295167"/>
                <a:gd name="connsiteY4" fmla="*/ 296463 h 296463"/>
                <a:gd name="connsiteX5" fmla="*/ 72418 w 295167"/>
                <a:gd name="connsiteY5" fmla="*/ 175766 h 296463"/>
                <a:gd name="connsiteX6" fmla="*/ 105610 w 295167"/>
                <a:gd name="connsiteY6" fmla="*/ 83734 h 296463"/>
                <a:gd name="connsiteX7" fmla="*/ 0 w 295167"/>
                <a:gd name="connsiteY7" fmla="*/ 83734 h 296463"/>
                <a:gd name="connsiteX8" fmla="*/ 0 w 295167"/>
                <a:gd name="connsiteY8" fmla="*/ 0 h 296463"/>
                <a:gd name="connsiteX9" fmla="*/ 126381 w 295167"/>
                <a:gd name="connsiteY9" fmla="*/ 0 h 296463"/>
                <a:gd name="connsiteX10" fmla="*/ 197160 w 295167"/>
                <a:gd name="connsiteY10" fmla="*/ 122416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5167" h="296463">
                  <a:moveTo>
                    <a:pt x="295165" y="83734"/>
                  </a:moveTo>
                  <a:lnTo>
                    <a:pt x="237109" y="0"/>
                  </a:lnTo>
                  <a:lnTo>
                    <a:pt x="237110" y="0"/>
                  </a:lnTo>
                  <a:lnTo>
                    <a:pt x="295167" y="83734"/>
                  </a:lnTo>
                  <a:close/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126381" y="0"/>
                  </a:lnTo>
                  <a:lnTo>
                    <a:pt x="197160" y="1224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527B4309-024C-4B07-A449-12F7536748C5}"/>
                </a:ext>
              </a:extLst>
            </p:cNvPr>
            <p:cNvSpPr/>
            <p:nvPr/>
          </p:nvSpPr>
          <p:spPr>
            <a:xfrm rot="13089394">
              <a:off x="8005038" y="4814171"/>
              <a:ext cx="409104" cy="218063"/>
            </a:xfrm>
            <a:custGeom>
              <a:avLst/>
              <a:gdLst>
                <a:gd name="connsiteX0" fmla="*/ 409104 w 409104"/>
                <a:gd name="connsiteY0" fmla="*/ 110916 h 218063"/>
                <a:gd name="connsiteX1" fmla="*/ 135172 w 409104"/>
                <a:gd name="connsiteY1" fmla="*/ 217816 h 218063"/>
                <a:gd name="connsiteX2" fmla="*/ 32447 w 409104"/>
                <a:gd name="connsiteY2" fmla="*/ 176058 h 218063"/>
                <a:gd name="connsiteX3" fmla="*/ 3843 w 409104"/>
                <a:gd name="connsiteY3" fmla="*/ 119581 h 218063"/>
                <a:gd name="connsiteX4" fmla="*/ 0 w 409104"/>
                <a:gd name="connsiteY4" fmla="*/ 73735 h 218063"/>
                <a:gd name="connsiteX5" fmla="*/ 111583 w 409104"/>
                <a:gd name="connsiteY5" fmla="*/ 0 h 218063"/>
                <a:gd name="connsiteX6" fmla="*/ 112727 w 409104"/>
                <a:gd name="connsiteY6" fmla="*/ 23329 h 218063"/>
                <a:gd name="connsiteX7" fmla="*/ 129325 w 409104"/>
                <a:gd name="connsiteY7" fmla="*/ 91708 h 218063"/>
                <a:gd name="connsiteX8" fmla="*/ 229544 w 409104"/>
                <a:gd name="connsiteY8" fmla="*/ 146828 h 218063"/>
                <a:gd name="connsiteX9" fmla="*/ 304708 w 409104"/>
                <a:gd name="connsiteY9" fmla="*/ 133466 h 218063"/>
                <a:gd name="connsiteX10" fmla="*/ 407434 w 409104"/>
                <a:gd name="connsiteY10" fmla="*/ 91708 h 218063"/>
                <a:gd name="connsiteX11" fmla="*/ 409104 w 409104"/>
                <a:gd name="connsiteY11" fmla="*/ 102564 h 218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9104" h="218063">
                  <a:moveTo>
                    <a:pt x="409104" y="110916"/>
                  </a:moveTo>
                  <a:cubicBezTo>
                    <a:pt x="320577" y="186915"/>
                    <a:pt x="204490" y="213641"/>
                    <a:pt x="135172" y="217816"/>
                  </a:cubicBezTo>
                  <a:cubicBezTo>
                    <a:pt x="96755" y="220322"/>
                    <a:pt x="59173" y="203619"/>
                    <a:pt x="32447" y="176058"/>
                  </a:cubicBezTo>
                  <a:cubicBezTo>
                    <a:pt x="18249" y="162278"/>
                    <a:pt x="9272" y="143487"/>
                    <a:pt x="3843" y="119581"/>
                  </a:cubicBezTo>
                  <a:lnTo>
                    <a:pt x="0" y="73735"/>
                  </a:lnTo>
                  <a:lnTo>
                    <a:pt x="111583" y="0"/>
                  </a:lnTo>
                  <a:lnTo>
                    <a:pt x="112727" y="23329"/>
                  </a:lnTo>
                  <a:cubicBezTo>
                    <a:pt x="116171" y="46609"/>
                    <a:pt x="121808" y="69576"/>
                    <a:pt x="129325" y="91708"/>
                  </a:cubicBezTo>
                  <a:cubicBezTo>
                    <a:pt x="142689" y="128454"/>
                    <a:pt x="176930" y="146828"/>
                    <a:pt x="229544" y="146828"/>
                  </a:cubicBezTo>
                  <a:cubicBezTo>
                    <a:pt x="255435" y="145993"/>
                    <a:pt x="280489" y="140981"/>
                    <a:pt x="304708" y="133466"/>
                  </a:cubicBezTo>
                  <a:cubicBezTo>
                    <a:pt x="339785" y="122608"/>
                    <a:pt x="374027" y="108411"/>
                    <a:pt x="407434" y="91708"/>
                  </a:cubicBezTo>
                  <a:cubicBezTo>
                    <a:pt x="408268" y="95048"/>
                    <a:pt x="409104" y="99224"/>
                    <a:pt x="409104" y="10256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A6665952-BEBA-4083-8857-192589F92F66}"/>
                </a:ext>
              </a:extLst>
            </p:cNvPr>
            <p:cNvSpPr/>
            <p:nvPr/>
          </p:nvSpPr>
          <p:spPr>
            <a:xfrm rot="8716295">
              <a:off x="8200443" y="4500944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48E8912F-96AC-4641-B68F-1FAC8423EE44}"/>
                </a:ext>
              </a:extLst>
            </p:cNvPr>
            <p:cNvSpPr/>
            <p:nvPr/>
          </p:nvSpPr>
          <p:spPr>
            <a:xfrm rot="8716295">
              <a:off x="8122034" y="434415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53758D6F-45BC-4683-9BA4-5F935E950CCD}"/>
                </a:ext>
              </a:extLst>
            </p:cNvPr>
            <p:cNvSpPr/>
            <p:nvPr/>
          </p:nvSpPr>
          <p:spPr>
            <a:xfrm rot="8716295">
              <a:off x="7753870" y="438989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3D33FD22-12AD-4D1A-88D7-5F0D534CAA44}"/>
                </a:ext>
              </a:extLst>
            </p:cNvPr>
            <p:cNvSpPr/>
            <p:nvPr/>
          </p:nvSpPr>
          <p:spPr>
            <a:xfrm rot="8716295">
              <a:off x="8030791" y="4210054"/>
              <a:ext cx="154744" cy="110503"/>
            </a:xfrm>
            <a:custGeom>
              <a:avLst/>
              <a:gdLst>
                <a:gd name="connsiteX0" fmla="*/ 0 w 154744"/>
                <a:gd name="connsiteY0" fmla="*/ 34366 h 110503"/>
                <a:gd name="connsiteX1" fmla="*/ 3342 w 154744"/>
                <a:gd name="connsiteY1" fmla="*/ 26453 h 110503"/>
                <a:gd name="connsiteX2" fmla="*/ 65990 w 154744"/>
                <a:gd name="connsiteY2" fmla="*/ 0 h 110503"/>
                <a:gd name="connsiteX3" fmla="*/ 128640 w 154744"/>
                <a:gd name="connsiteY3" fmla="*/ 26453 h 110503"/>
                <a:gd name="connsiteX4" fmla="*/ 154744 w 154744"/>
                <a:gd name="connsiteY4" fmla="*/ 88580 h 110503"/>
                <a:gd name="connsiteX5" fmla="*/ 150487 w 154744"/>
                <a:gd name="connsiteY5" fmla="*/ 110503 h 110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4744" h="110503">
                  <a:moveTo>
                    <a:pt x="0" y="34366"/>
                  </a:moveTo>
                  <a:lnTo>
                    <a:pt x="3342" y="26453"/>
                  </a:lnTo>
                  <a:cubicBezTo>
                    <a:pt x="20048" y="9746"/>
                    <a:pt x="42323" y="0"/>
                    <a:pt x="65990" y="0"/>
                  </a:cubicBezTo>
                  <a:cubicBezTo>
                    <a:pt x="89659" y="0"/>
                    <a:pt x="111934" y="9746"/>
                    <a:pt x="128640" y="26453"/>
                  </a:cubicBezTo>
                  <a:cubicBezTo>
                    <a:pt x="146043" y="43159"/>
                    <a:pt x="154744" y="65782"/>
                    <a:pt x="154744" y="88580"/>
                  </a:cubicBezTo>
                  <a:lnTo>
                    <a:pt x="150487" y="1105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55" name="Rectangle 7">
            <a:extLst>
              <a:ext uri="{FF2B5EF4-FFF2-40B4-BE49-F238E27FC236}">
                <a16:creationId xmlns:a16="http://schemas.microsoft.com/office/drawing/2014/main" id="{88941299-7323-4585-91C3-38C1B71800C4}"/>
              </a:ext>
            </a:extLst>
          </p:cNvPr>
          <p:cNvSpPr/>
          <p:nvPr userDrawn="1"/>
        </p:nvSpPr>
        <p:spPr>
          <a:xfrm>
            <a:off x="0" y="4391025"/>
            <a:ext cx="9153528" cy="752475"/>
          </a:xfrm>
          <a:custGeom>
            <a:avLst/>
            <a:gdLst>
              <a:gd name="connsiteX0" fmla="*/ 0 w 9153528"/>
              <a:gd name="connsiteY0" fmla="*/ 0 h 752475"/>
              <a:gd name="connsiteX1" fmla="*/ 9153528 w 9153528"/>
              <a:gd name="connsiteY1" fmla="*/ 0 h 752475"/>
              <a:gd name="connsiteX2" fmla="*/ 9153528 w 9153528"/>
              <a:gd name="connsiteY2" fmla="*/ 752475 h 752475"/>
              <a:gd name="connsiteX3" fmla="*/ 0 w 9153528"/>
              <a:gd name="connsiteY3" fmla="*/ 752475 h 752475"/>
              <a:gd name="connsiteX4" fmla="*/ 0 w 9153528"/>
              <a:gd name="connsiteY4" fmla="*/ 0 h 752475"/>
              <a:gd name="connsiteX0" fmla="*/ 0 w 9153528"/>
              <a:gd name="connsiteY0" fmla="*/ 0 h 752475"/>
              <a:gd name="connsiteX1" fmla="*/ 9153528 w 9153528"/>
              <a:gd name="connsiteY1" fmla="*/ 752475 h 752475"/>
              <a:gd name="connsiteX2" fmla="*/ 0 w 9153528"/>
              <a:gd name="connsiteY2" fmla="*/ 752475 h 752475"/>
              <a:gd name="connsiteX3" fmla="*/ 0 w 9153528"/>
              <a:gd name="connsiteY3" fmla="*/ 0 h 752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53528" h="752475">
                <a:moveTo>
                  <a:pt x="0" y="0"/>
                </a:moveTo>
                <a:lnTo>
                  <a:pt x="9153528" y="752475"/>
                </a:lnTo>
                <a:lnTo>
                  <a:pt x="0" y="752475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191686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 2 avec image - Foncé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Forme libre : forme 69">
            <a:extLst>
              <a:ext uri="{FF2B5EF4-FFF2-40B4-BE49-F238E27FC236}">
                <a16:creationId xmlns:a16="http://schemas.microsoft.com/office/drawing/2014/main" id="{7A9D45F7-F6EE-4110-A350-96F73BCE90D1}"/>
              </a:ext>
            </a:extLst>
          </p:cNvPr>
          <p:cNvSpPr/>
          <p:nvPr userDrawn="1"/>
        </p:nvSpPr>
        <p:spPr>
          <a:xfrm>
            <a:off x="0" y="3708637"/>
            <a:ext cx="9153528" cy="1434863"/>
          </a:xfrm>
          <a:custGeom>
            <a:avLst/>
            <a:gdLst>
              <a:gd name="connsiteX0" fmla="*/ 0 w 9153528"/>
              <a:gd name="connsiteY0" fmla="*/ 0 h 1434863"/>
              <a:gd name="connsiteX1" fmla="*/ 9097717 w 9153528"/>
              <a:gd name="connsiteY1" fmla="*/ 747887 h 1434863"/>
              <a:gd name="connsiteX2" fmla="*/ 9153528 w 9153528"/>
              <a:gd name="connsiteY2" fmla="*/ 747887 h 1434863"/>
              <a:gd name="connsiteX3" fmla="*/ 9153528 w 9153528"/>
              <a:gd name="connsiteY3" fmla="*/ 752475 h 1434863"/>
              <a:gd name="connsiteX4" fmla="*/ 9153528 w 9153528"/>
              <a:gd name="connsiteY4" fmla="*/ 1434863 h 1434863"/>
              <a:gd name="connsiteX5" fmla="*/ 0 w 9153528"/>
              <a:gd name="connsiteY5" fmla="*/ 1434863 h 1434863"/>
              <a:gd name="connsiteX6" fmla="*/ 0 w 9153528"/>
              <a:gd name="connsiteY6" fmla="*/ 752475 h 1434863"/>
              <a:gd name="connsiteX7" fmla="*/ 0 w 9153528"/>
              <a:gd name="connsiteY7" fmla="*/ 747887 h 1434863"/>
              <a:gd name="connsiteX0" fmla="*/ 0 w 9153528"/>
              <a:gd name="connsiteY0" fmla="*/ 0 h 1434863"/>
              <a:gd name="connsiteX1" fmla="*/ 9097717 w 9153528"/>
              <a:gd name="connsiteY1" fmla="*/ 747887 h 1434863"/>
              <a:gd name="connsiteX2" fmla="*/ 9153528 w 9153528"/>
              <a:gd name="connsiteY2" fmla="*/ 752475 h 1434863"/>
              <a:gd name="connsiteX3" fmla="*/ 9153528 w 9153528"/>
              <a:gd name="connsiteY3" fmla="*/ 1434863 h 1434863"/>
              <a:gd name="connsiteX4" fmla="*/ 0 w 9153528"/>
              <a:gd name="connsiteY4" fmla="*/ 1434863 h 1434863"/>
              <a:gd name="connsiteX5" fmla="*/ 0 w 9153528"/>
              <a:gd name="connsiteY5" fmla="*/ 752475 h 1434863"/>
              <a:gd name="connsiteX6" fmla="*/ 0 w 9153528"/>
              <a:gd name="connsiteY6" fmla="*/ 747887 h 1434863"/>
              <a:gd name="connsiteX7" fmla="*/ 0 w 9153528"/>
              <a:gd name="connsiteY7" fmla="*/ 0 h 1434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53528" h="1434863">
                <a:moveTo>
                  <a:pt x="0" y="0"/>
                </a:moveTo>
                <a:lnTo>
                  <a:pt x="9097717" y="747887"/>
                </a:lnTo>
                <a:lnTo>
                  <a:pt x="9153528" y="752475"/>
                </a:lnTo>
                <a:lnTo>
                  <a:pt x="9153528" y="1434863"/>
                </a:lnTo>
                <a:lnTo>
                  <a:pt x="0" y="1434863"/>
                </a:lnTo>
                <a:lnTo>
                  <a:pt x="0" y="752475"/>
                </a:lnTo>
                <a:lnTo>
                  <a:pt x="0" y="747887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48FA6A4C-949D-4D78-851A-5D85C0ACA219}"/>
              </a:ext>
            </a:extLst>
          </p:cNvPr>
          <p:cNvGrpSpPr/>
          <p:nvPr userDrawn="1"/>
        </p:nvGrpSpPr>
        <p:grpSpPr>
          <a:xfrm>
            <a:off x="4782105" y="3396053"/>
            <a:ext cx="4416497" cy="1125022"/>
            <a:chOff x="4782105" y="4078441"/>
            <a:chExt cx="4416497" cy="1125022"/>
          </a:xfrm>
          <a:solidFill>
            <a:schemeClr val="bg2">
              <a:alpha val="10000"/>
            </a:schemeClr>
          </a:solidFill>
        </p:grpSpPr>
        <p:sp>
          <p:nvSpPr>
            <p:cNvPr id="7" name="Forme libre : forme 6">
              <a:extLst>
                <a:ext uri="{FF2B5EF4-FFF2-40B4-BE49-F238E27FC236}">
                  <a16:creationId xmlns:a16="http://schemas.microsoft.com/office/drawing/2014/main" id="{791FB8C9-9221-4E4C-A4AC-2AAD9F08AE59}"/>
                </a:ext>
              </a:extLst>
            </p:cNvPr>
            <p:cNvSpPr/>
            <p:nvPr/>
          </p:nvSpPr>
          <p:spPr>
            <a:xfrm rot="8716295">
              <a:off x="8490768" y="467807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CAEA067D-BF83-4ED3-87B4-BB06FFFF2B66}"/>
                </a:ext>
              </a:extLst>
            </p:cNvPr>
            <p:cNvSpPr/>
            <p:nvPr/>
          </p:nvSpPr>
          <p:spPr>
            <a:xfrm rot="8716295">
              <a:off x="5559260" y="4523190"/>
              <a:ext cx="215177" cy="303156"/>
            </a:xfrm>
            <a:custGeom>
              <a:avLst/>
              <a:gdLst>
                <a:gd name="connsiteX0" fmla="*/ 122761 w 215177"/>
                <a:gd name="connsiteY0" fmla="*/ 256399 h 303156"/>
                <a:gd name="connsiteX1" fmla="*/ 122761 w 215177"/>
                <a:gd name="connsiteY1" fmla="*/ 105519 h 303156"/>
                <a:gd name="connsiteX2" fmla="*/ 122761 w 215177"/>
                <a:gd name="connsiteY2" fmla="*/ 99312 h 303156"/>
                <a:gd name="connsiteX3" fmla="*/ 91726 w 215177"/>
                <a:gd name="connsiteY3" fmla="*/ 75863 h 303156"/>
                <a:gd name="connsiteX4" fmla="*/ 0 w 215177"/>
                <a:gd name="connsiteY4" fmla="*/ 75863 h 303156"/>
                <a:gd name="connsiteX5" fmla="*/ 0 w 215177"/>
                <a:gd name="connsiteY5" fmla="*/ 0 h 303156"/>
                <a:gd name="connsiteX6" fmla="*/ 128968 w 215177"/>
                <a:gd name="connsiteY6" fmla="*/ 0 h 303156"/>
                <a:gd name="connsiteX7" fmla="*/ 215177 w 215177"/>
                <a:gd name="connsiteY7" fmla="*/ 75863 h 303156"/>
                <a:gd name="connsiteX8" fmla="*/ 215176 w 215177"/>
                <a:gd name="connsiteY8" fmla="*/ 303156 h 303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5177" h="303156">
                  <a:moveTo>
                    <a:pt x="122761" y="25639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0"/>
                  </a:lnTo>
                  <a:lnTo>
                    <a:pt x="128968" y="0"/>
                  </a:lnTo>
                  <a:cubicBezTo>
                    <a:pt x="184831" y="0"/>
                    <a:pt x="215176" y="24139"/>
                    <a:pt x="215177" y="75863"/>
                  </a:cubicBezTo>
                  <a:lnTo>
                    <a:pt x="215176" y="30315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ADF38186-185D-41F8-A6B1-FB10366A4CEE}"/>
                </a:ext>
              </a:extLst>
            </p:cNvPr>
            <p:cNvSpPr/>
            <p:nvPr/>
          </p:nvSpPr>
          <p:spPr>
            <a:xfrm rot="8716295">
              <a:off x="5692925" y="4561542"/>
              <a:ext cx="393603" cy="335006"/>
            </a:xfrm>
            <a:custGeom>
              <a:avLst/>
              <a:gdLst>
                <a:gd name="connsiteX0" fmla="*/ 77932 w 393603"/>
                <a:gd name="connsiteY0" fmla="*/ 299055 h 335006"/>
                <a:gd name="connsiteX1" fmla="*/ 77932 w 393603"/>
                <a:gd name="connsiteY1" fmla="*/ 66897 h 335006"/>
                <a:gd name="connsiteX2" fmla="*/ 0 w 393603"/>
                <a:gd name="connsiteY2" fmla="*/ 66898 h 335006"/>
                <a:gd name="connsiteX3" fmla="*/ 0 w 393603"/>
                <a:gd name="connsiteY3" fmla="*/ 0 h 335006"/>
                <a:gd name="connsiteX4" fmla="*/ 158623 w 393603"/>
                <a:gd name="connsiteY4" fmla="*/ 1 h 335006"/>
                <a:gd name="connsiteX5" fmla="*/ 158623 w 393603"/>
                <a:gd name="connsiteY5" fmla="*/ 111726 h 335006"/>
                <a:gd name="connsiteX6" fmla="*/ 160692 w 393603"/>
                <a:gd name="connsiteY6" fmla="*/ 111726 h 335006"/>
                <a:gd name="connsiteX7" fmla="*/ 192762 w 393603"/>
                <a:gd name="connsiteY7" fmla="*/ 39915 h 335006"/>
                <a:gd name="connsiteX8" fmla="*/ 231959 w 393603"/>
                <a:gd name="connsiteY8" fmla="*/ 7837 h 335006"/>
                <a:gd name="connsiteX9" fmla="*/ 393603 w 393603"/>
                <a:gd name="connsiteY9" fmla="*/ 140745 h 335006"/>
                <a:gd name="connsiteX10" fmla="*/ 300695 w 393603"/>
                <a:gd name="connsiteY10" fmla="*/ 146210 h 335006"/>
                <a:gd name="connsiteX11" fmla="*/ 300694 w 393603"/>
                <a:gd name="connsiteY11" fmla="*/ 121382 h 335006"/>
                <a:gd name="connsiteX12" fmla="*/ 249659 w 393603"/>
                <a:gd name="connsiteY12" fmla="*/ 58622 h 335006"/>
                <a:gd name="connsiteX13" fmla="*/ 168969 w 393603"/>
                <a:gd name="connsiteY13" fmla="*/ 191038 h 335006"/>
                <a:gd name="connsiteX14" fmla="*/ 168969 w 393603"/>
                <a:gd name="connsiteY14" fmla="*/ 321385 h 335006"/>
                <a:gd name="connsiteX15" fmla="*/ 148991 w 393603"/>
                <a:gd name="connsiteY15" fmla="*/ 335006 h 335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93603" h="335006">
                  <a:moveTo>
                    <a:pt x="77932" y="299055"/>
                  </a:moveTo>
                  <a:lnTo>
                    <a:pt x="77932" y="66897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1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71727" y="78967"/>
                    <a:pt x="181555" y="56208"/>
                    <a:pt x="192762" y="39915"/>
                  </a:cubicBezTo>
                  <a:lnTo>
                    <a:pt x="231959" y="7837"/>
                  </a:lnTo>
                  <a:lnTo>
                    <a:pt x="393603" y="140745"/>
                  </a:lnTo>
                  <a:lnTo>
                    <a:pt x="300695" y="146210"/>
                  </a:lnTo>
                  <a:lnTo>
                    <a:pt x="300694" y="121382"/>
                  </a:lnTo>
                  <a:cubicBezTo>
                    <a:pt x="300695" y="84140"/>
                    <a:pt x="279316" y="58622"/>
                    <a:pt x="249659" y="58622"/>
                  </a:cubicBezTo>
                  <a:cubicBezTo>
                    <a:pt x="205521" y="58621"/>
                    <a:pt x="168969" y="117244"/>
                    <a:pt x="168969" y="191038"/>
                  </a:cubicBezTo>
                  <a:lnTo>
                    <a:pt x="168969" y="321385"/>
                  </a:lnTo>
                  <a:lnTo>
                    <a:pt x="148991" y="33500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4B724F9D-95FF-4F02-B59A-7E5AC8B98AC8}"/>
                </a:ext>
              </a:extLst>
            </p:cNvPr>
            <p:cNvSpPr/>
            <p:nvPr/>
          </p:nvSpPr>
          <p:spPr>
            <a:xfrm rot="8716295">
              <a:off x="5659234" y="4556420"/>
              <a:ext cx="113018" cy="83608"/>
            </a:xfrm>
            <a:custGeom>
              <a:avLst/>
              <a:gdLst>
                <a:gd name="connsiteX0" fmla="*/ 0 w 113018"/>
                <a:gd name="connsiteY0" fmla="*/ 32910 h 83608"/>
                <a:gd name="connsiteX1" fmla="*/ 24482 w 113018"/>
                <a:gd name="connsiteY1" fmla="*/ 13621 h 83608"/>
                <a:gd name="connsiteX2" fmla="*/ 70259 w 113018"/>
                <a:gd name="connsiteY2" fmla="*/ 0 h 83608"/>
                <a:gd name="connsiteX3" fmla="*/ 113018 w 113018"/>
                <a:gd name="connsiteY3" fmla="*/ 51035 h 83608"/>
                <a:gd name="connsiteX4" fmla="*/ 100518 w 113018"/>
                <a:gd name="connsiteY4" fmla="*/ 83363 h 83608"/>
                <a:gd name="connsiteX5" fmla="*/ 100204 w 113018"/>
                <a:gd name="connsiteY5" fmla="*/ 83608 h 83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018" h="83608">
                  <a:moveTo>
                    <a:pt x="0" y="32910"/>
                  </a:moveTo>
                  <a:lnTo>
                    <a:pt x="24482" y="13621"/>
                  </a:lnTo>
                  <a:cubicBezTo>
                    <a:pt x="38534" y="6380"/>
                    <a:pt x="54052" y="1725"/>
                    <a:pt x="70259" y="0"/>
                  </a:cubicBezTo>
                  <a:cubicBezTo>
                    <a:pt x="103363" y="0"/>
                    <a:pt x="113018" y="28966"/>
                    <a:pt x="113018" y="51035"/>
                  </a:cubicBezTo>
                  <a:cubicBezTo>
                    <a:pt x="111984" y="63105"/>
                    <a:pt x="107501" y="74139"/>
                    <a:pt x="100518" y="83363"/>
                  </a:cubicBezTo>
                  <a:lnTo>
                    <a:pt x="100204" y="8360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D01436B5-D8EB-44DF-8B51-633BF4E9FB42}"/>
                </a:ext>
              </a:extLst>
            </p:cNvPr>
            <p:cNvSpPr/>
            <p:nvPr/>
          </p:nvSpPr>
          <p:spPr>
            <a:xfrm rot="8716295">
              <a:off x="5371633" y="4613095"/>
              <a:ext cx="88105" cy="83851"/>
            </a:xfrm>
            <a:custGeom>
              <a:avLst/>
              <a:gdLst>
                <a:gd name="connsiteX0" fmla="*/ 6112 w 88105"/>
                <a:gd name="connsiteY0" fmla="*/ 59305 h 83851"/>
                <a:gd name="connsiteX1" fmla="*/ 0 w 88105"/>
                <a:gd name="connsiteY1" fmla="*/ 44829 h 83851"/>
                <a:gd name="connsiteX2" fmla="*/ 0 w 88105"/>
                <a:gd name="connsiteY2" fmla="*/ 44139 h 83851"/>
                <a:gd name="connsiteX3" fmla="*/ 13104 w 88105"/>
                <a:gd name="connsiteY3" fmla="*/ 13104 h 83851"/>
                <a:gd name="connsiteX4" fmla="*/ 44139 w 88105"/>
                <a:gd name="connsiteY4" fmla="*/ 0 h 83851"/>
                <a:gd name="connsiteX5" fmla="*/ 75175 w 88105"/>
                <a:gd name="connsiteY5" fmla="*/ 13104 h 83851"/>
                <a:gd name="connsiteX6" fmla="*/ 75175 w 88105"/>
                <a:gd name="connsiteY6" fmla="*/ 75175 h 83851"/>
                <a:gd name="connsiteX7" fmla="*/ 54626 w 88105"/>
                <a:gd name="connsiteY7" fmla="*/ 83851 h 83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105" h="83851">
                  <a:moveTo>
                    <a:pt x="6112" y="59305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cubicBezTo>
                    <a:pt x="55864" y="0"/>
                    <a:pt x="66899" y="4828"/>
                    <a:pt x="75175" y="13104"/>
                  </a:cubicBezTo>
                  <a:cubicBezTo>
                    <a:pt x="92416" y="29657"/>
                    <a:pt x="92416" y="57933"/>
                    <a:pt x="75175" y="75175"/>
                  </a:cubicBezTo>
                  <a:lnTo>
                    <a:pt x="54626" y="8385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6F3BF20E-F037-4374-BB41-095B54D26F08}"/>
                </a:ext>
              </a:extLst>
            </p:cNvPr>
            <p:cNvSpPr/>
            <p:nvPr/>
          </p:nvSpPr>
          <p:spPr>
            <a:xfrm rot="8716295">
              <a:off x="5473646" y="4706746"/>
              <a:ext cx="91035" cy="188159"/>
            </a:xfrm>
            <a:custGeom>
              <a:avLst/>
              <a:gdLst>
                <a:gd name="connsiteX0" fmla="*/ 91035 w 91035"/>
                <a:gd name="connsiteY0" fmla="*/ 188159 h 188159"/>
                <a:gd name="connsiteX1" fmla="*/ 0 w 91035"/>
                <a:gd name="connsiteY1" fmla="*/ 100571 h 188159"/>
                <a:gd name="connsiteX2" fmla="*/ 0 w 91035"/>
                <a:gd name="connsiteY2" fmla="*/ 0 h 188159"/>
                <a:gd name="connsiteX3" fmla="*/ 91035 w 91035"/>
                <a:gd name="connsiteY3" fmla="*/ 74852 h 188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188159">
                  <a:moveTo>
                    <a:pt x="91035" y="188159"/>
                  </a:moveTo>
                  <a:lnTo>
                    <a:pt x="0" y="100571"/>
                  </a:lnTo>
                  <a:lnTo>
                    <a:pt x="0" y="0"/>
                  </a:lnTo>
                  <a:lnTo>
                    <a:pt x="91035" y="748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BBB1D061-FD31-402D-BCCB-6813149262F1}"/>
                </a:ext>
              </a:extLst>
            </p:cNvPr>
            <p:cNvSpPr/>
            <p:nvPr/>
          </p:nvSpPr>
          <p:spPr>
            <a:xfrm rot="8716295">
              <a:off x="6218962" y="4454620"/>
              <a:ext cx="171018" cy="106515"/>
            </a:xfrm>
            <a:custGeom>
              <a:avLst/>
              <a:gdLst>
                <a:gd name="connsiteX0" fmla="*/ 0 w 171018"/>
                <a:gd name="connsiteY0" fmla="*/ 19991 h 106515"/>
                <a:gd name="connsiteX1" fmla="*/ 13365 w 171018"/>
                <a:gd name="connsiteY1" fmla="*/ 9053 h 106515"/>
                <a:gd name="connsiteX2" fmla="*/ 60952 w 171018"/>
                <a:gd name="connsiteY2" fmla="*/ 87 h 106515"/>
                <a:gd name="connsiteX3" fmla="*/ 166956 w 171018"/>
                <a:gd name="connsiteY3" fmla="*/ 76705 h 106515"/>
                <a:gd name="connsiteX4" fmla="*/ 171018 w 171018"/>
                <a:gd name="connsiteY4" fmla="*/ 106515 h 106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018" h="106515">
                  <a:moveTo>
                    <a:pt x="0" y="19991"/>
                  </a:moveTo>
                  <a:lnTo>
                    <a:pt x="13365" y="9053"/>
                  </a:lnTo>
                  <a:cubicBezTo>
                    <a:pt x="28538" y="2846"/>
                    <a:pt x="44400" y="-602"/>
                    <a:pt x="60952" y="87"/>
                  </a:cubicBezTo>
                  <a:cubicBezTo>
                    <a:pt x="114229" y="-948"/>
                    <a:pt x="151600" y="26725"/>
                    <a:pt x="166956" y="76705"/>
                  </a:cubicBezTo>
                  <a:lnTo>
                    <a:pt x="171018" y="10651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B49834EB-4686-4A9A-AFBE-353B0A4BB9CC}"/>
                </a:ext>
              </a:extLst>
            </p:cNvPr>
            <p:cNvSpPr/>
            <p:nvPr/>
          </p:nvSpPr>
          <p:spPr>
            <a:xfrm rot="8716295">
              <a:off x="6005990" y="4487669"/>
              <a:ext cx="156555" cy="122067"/>
            </a:xfrm>
            <a:custGeom>
              <a:avLst/>
              <a:gdLst>
                <a:gd name="connsiteX0" fmla="*/ 65519 w 156555"/>
                <a:gd name="connsiteY0" fmla="*/ 76009 h 122067"/>
                <a:gd name="connsiteX1" fmla="*/ 65519 w 156555"/>
                <a:gd name="connsiteY1" fmla="*/ 24828 h 122067"/>
                <a:gd name="connsiteX2" fmla="*/ 0 w 156555"/>
                <a:gd name="connsiteY2" fmla="*/ 24828 h 122067"/>
                <a:gd name="connsiteX3" fmla="*/ 0 w 156555"/>
                <a:gd name="connsiteY3" fmla="*/ 3449 h 122067"/>
                <a:gd name="connsiteX4" fmla="*/ 156555 w 156555"/>
                <a:gd name="connsiteY4" fmla="*/ 0 h 122067"/>
                <a:gd name="connsiteX5" fmla="*/ 156554 w 156555"/>
                <a:gd name="connsiteY5" fmla="*/ 122067 h 122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6555" h="122067">
                  <a:moveTo>
                    <a:pt x="65519" y="76009"/>
                  </a:moveTo>
                  <a:lnTo>
                    <a:pt x="65519" y="24828"/>
                  </a:lnTo>
                  <a:lnTo>
                    <a:pt x="0" y="24828"/>
                  </a:lnTo>
                  <a:lnTo>
                    <a:pt x="0" y="3449"/>
                  </a:lnTo>
                  <a:cubicBezTo>
                    <a:pt x="49656" y="5517"/>
                    <a:pt x="101381" y="1379"/>
                    <a:pt x="156555" y="0"/>
                  </a:cubicBezTo>
                  <a:lnTo>
                    <a:pt x="156554" y="1220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676F5558-2730-4CE0-B993-EAC478371730}"/>
                </a:ext>
              </a:extLst>
            </p:cNvPr>
            <p:cNvSpPr/>
            <p:nvPr/>
          </p:nvSpPr>
          <p:spPr>
            <a:xfrm rot="7484129">
              <a:off x="6103422" y="4586563"/>
              <a:ext cx="308532" cy="296464"/>
            </a:xfrm>
            <a:custGeom>
              <a:avLst/>
              <a:gdLst>
                <a:gd name="connsiteX0" fmla="*/ 137293 w 308532"/>
                <a:gd name="connsiteY0" fmla="*/ 296464 h 296464"/>
                <a:gd name="connsiteX1" fmla="*/ 72419 w 308532"/>
                <a:gd name="connsiteY1" fmla="*/ 175766 h 296464"/>
                <a:gd name="connsiteX2" fmla="*/ 105610 w 308532"/>
                <a:gd name="connsiteY2" fmla="*/ 83734 h 296464"/>
                <a:gd name="connsiteX3" fmla="*/ 0 w 308532"/>
                <a:gd name="connsiteY3" fmla="*/ 83734 h 296464"/>
                <a:gd name="connsiteX4" fmla="*/ 0 w 308532"/>
                <a:gd name="connsiteY4" fmla="*/ 0 h 296464"/>
                <a:gd name="connsiteX5" fmla="*/ 265017 w 308532"/>
                <a:gd name="connsiteY5" fmla="*/ 0 h 296464"/>
                <a:gd name="connsiteX6" fmla="*/ 308532 w 308532"/>
                <a:gd name="connsiteY6" fmla="*/ 75260 h 296464"/>
                <a:gd name="connsiteX7" fmla="*/ 308532 w 308532"/>
                <a:gd name="connsiteY7" fmla="*/ 83734 h 296464"/>
                <a:gd name="connsiteX8" fmla="*/ 210466 w 308532"/>
                <a:gd name="connsiteY8" fmla="*/ 83734 h 296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532" h="296464">
                  <a:moveTo>
                    <a:pt x="137293" y="296464"/>
                  </a:moveTo>
                  <a:lnTo>
                    <a:pt x="72419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65017" y="0"/>
                  </a:lnTo>
                  <a:lnTo>
                    <a:pt x="308532" y="75260"/>
                  </a:lnTo>
                  <a:lnTo>
                    <a:pt x="308532" y="83734"/>
                  </a:lnTo>
                  <a:lnTo>
                    <a:pt x="210466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6446F284-DF3B-4BD3-84E9-63513197872A}"/>
                </a:ext>
              </a:extLst>
            </p:cNvPr>
            <p:cNvSpPr/>
            <p:nvPr/>
          </p:nvSpPr>
          <p:spPr>
            <a:xfrm rot="13089394">
              <a:off x="6309616" y="4543919"/>
              <a:ext cx="412568" cy="359948"/>
            </a:xfrm>
            <a:custGeom>
              <a:avLst/>
              <a:gdLst>
                <a:gd name="connsiteX0" fmla="*/ 412568 w 412568"/>
                <a:gd name="connsiteY0" fmla="*/ 252801 h 359948"/>
                <a:gd name="connsiteX1" fmla="*/ 138636 w 412568"/>
                <a:gd name="connsiteY1" fmla="*/ 359701 h 359948"/>
                <a:gd name="connsiteX2" fmla="*/ 35911 w 412568"/>
                <a:gd name="connsiteY2" fmla="*/ 317943 h 359948"/>
                <a:gd name="connsiteX3" fmla="*/ 0 w 412568"/>
                <a:gd name="connsiteY3" fmla="*/ 174296 h 359948"/>
                <a:gd name="connsiteX4" fmla="*/ 0 w 412568"/>
                <a:gd name="connsiteY4" fmla="*/ 74054 h 359948"/>
                <a:gd name="connsiteX5" fmla="*/ 112066 w 412568"/>
                <a:gd name="connsiteY5" fmla="*/ 0 h 359948"/>
                <a:gd name="connsiteX6" fmla="*/ 112747 w 412568"/>
                <a:gd name="connsiteY6" fmla="*/ 94956 h 359948"/>
                <a:gd name="connsiteX7" fmla="*/ 132789 w 412568"/>
                <a:gd name="connsiteY7" fmla="*/ 233593 h 359948"/>
                <a:gd name="connsiteX8" fmla="*/ 233008 w 412568"/>
                <a:gd name="connsiteY8" fmla="*/ 288713 h 359948"/>
                <a:gd name="connsiteX9" fmla="*/ 308172 w 412568"/>
                <a:gd name="connsiteY9" fmla="*/ 275351 h 359948"/>
                <a:gd name="connsiteX10" fmla="*/ 410898 w 412568"/>
                <a:gd name="connsiteY10" fmla="*/ 233593 h 359948"/>
                <a:gd name="connsiteX11" fmla="*/ 412568 w 412568"/>
                <a:gd name="connsiteY11" fmla="*/ 244449 h 359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2568" h="359948">
                  <a:moveTo>
                    <a:pt x="412568" y="252801"/>
                  </a:moveTo>
                  <a:cubicBezTo>
                    <a:pt x="324041" y="328800"/>
                    <a:pt x="207954" y="355526"/>
                    <a:pt x="138636" y="359701"/>
                  </a:cubicBezTo>
                  <a:cubicBezTo>
                    <a:pt x="100219" y="362207"/>
                    <a:pt x="62637" y="345504"/>
                    <a:pt x="35911" y="317943"/>
                  </a:cubicBezTo>
                  <a:cubicBezTo>
                    <a:pt x="7516" y="290383"/>
                    <a:pt x="0" y="242779"/>
                    <a:pt x="0" y="174296"/>
                  </a:cubicBezTo>
                  <a:lnTo>
                    <a:pt x="0" y="74054"/>
                  </a:lnTo>
                  <a:lnTo>
                    <a:pt x="112066" y="0"/>
                  </a:lnTo>
                  <a:lnTo>
                    <a:pt x="112747" y="94956"/>
                  </a:lnTo>
                  <a:cubicBezTo>
                    <a:pt x="110241" y="141725"/>
                    <a:pt x="117756" y="189329"/>
                    <a:pt x="132789" y="233593"/>
                  </a:cubicBezTo>
                  <a:cubicBezTo>
                    <a:pt x="146153" y="270339"/>
                    <a:pt x="180394" y="288713"/>
                    <a:pt x="233008" y="288713"/>
                  </a:cubicBezTo>
                  <a:cubicBezTo>
                    <a:pt x="258899" y="287878"/>
                    <a:pt x="283953" y="282866"/>
                    <a:pt x="308172" y="275351"/>
                  </a:cubicBezTo>
                  <a:cubicBezTo>
                    <a:pt x="343249" y="264493"/>
                    <a:pt x="377491" y="250296"/>
                    <a:pt x="410898" y="233593"/>
                  </a:cubicBezTo>
                  <a:cubicBezTo>
                    <a:pt x="411732" y="236933"/>
                    <a:pt x="412568" y="241109"/>
                    <a:pt x="412568" y="24444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88875692-D947-4058-8206-44233A06BFD3}"/>
                </a:ext>
              </a:extLst>
            </p:cNvPr>
            <p:cNvSpPr/>
            <p:nvPr/>
          </p:nvSpPr>
          <p:spPr>
            <a:xfrm rot="8716295">
              <a:off x="6597507" y="4422612"/>
              <a:ext cx="149044" cy="111064"/>
            </a:xfrm>
            <a:custGeom>
              <a:avLst/>
              <a:gdLst>
                <a:gd name="connsiteX0" fmla="*/ 0 w 149044"/>
                <a:gd name="connsiteY0" fmla="*/ 51375 h 111064"/>
                <a:gd name="connsiteX1" fmla="*/ 1002 w 149044"/>
                <a:gd name="connsiteY1" fmla="*/ 50432 h 111064"/>
                <a:gd name="connsiteX2" fmla="*/ 98612 w 149044"/>
                <a:gd name="connsiteY2" fmla="*/ 0 h 111064"/>
                <a:gd name="connsiteX3" fmla="*/ 149044 w 149044"/>
                <a:gd name="connsiteY3" fmla="*/ 60193 h 111064"/>
                <a:gd name="connsiteX4" fmla="*/ 134300 w 149044"/>
                <a:gd name="connsiteY4" fmla="*/ 98322 h 111064"/>
                <a:gd name="connsiteX5" fmla="*/ 117977 w 149044"/>
                <a:gd name="connsiteY5" fmla="*/ 111064 h 111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044" h="111064">
                  <a:moveTo>
                    <a:pt x="0" y="51375"/>
                  </a:moveTo>
                  <a:lnTo>
                    <a:pt x="1002" y="50432"/>
                  </a:lnTo>
                  <a:cubicBezTo>
                    <a:pt x="25404" y="21963"/>
                    <a:pt x="60381" y="4067"/>
                    <a:pt x="98612" y="0"/>
                  </a:cubicBezTo>
                  <a:cubicBezTo>
                    <a:pt x="137657" y="0"/>
                    <a:pt x="149044" y="34164"/>
                    <a:pt x="149044" y="60193"/>
                  </a:cubicBezTo>
                  <a:cubicBezTo>
                    <a:pt x="147824" y="74428"/>
                    <a:pt x="142536" y="87443"/>
                    <a:pt x="134300" y="98322"/>
                  </a:cubicBezTo>
                  <a:lnTo>
                    <a:pt x="117977" y="1110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371804DA-D0A5-4840-894B-07AAE1064663}"/>
                </a:ext>
              </a:extLst>
            </p:cNvPr>
            <p:cNvSpPr/>
            <p:nvPr/>
          </p:nvSpPr>
          <p:spPr>
            <a:xfrm rot="8716295">
              <a:off x="6708126" y="4876229"/>
              <a:ext cx="139286" cy="121327"/>
            </a:xfrm>
            <a:custGeom>
              <a:avLst/>
              <a:gdLst>
                <a:gd name="connsiteX0" fmla="*/ 26453 w 139286"/>
                <a:gd name="connsiteY0" fmla="*/ 96267 h 121327"/>
                <a:gd name="connsiteX1" fmla="*/ 0 w 139286"/>
                <a:gd name="connsiteY1" fmla="*/ 33618 h 121327"/>
                <a:gd name="connsiteX2" fmla="*/ 0 w 139286"/>
                <a:gd name="connsiteY2" fmla="*/ 32225 h 121327"/>
                <a:gd name="connsiteX3" fmla="*/ 13607 w 139286"/>
                <a:gd name="connsiteY3" fmla="*/ 0 h 121327"/>
                <a:gd name="connsiteX4" fmla="*/ 139286 w 139286"/>
                <a:gd name="connsiteY4" fmla="*/ 103337 h 121327"/>
                <a:gd name="connsiteX5" fmla="*/ 123037 w 139286"/>
                <a:gd name="connsiteY5" fmla="*/ 114366 h 121327"/>
                <a:gd name="connsiteX6" fmla="*/ 89101 w 139286"/>
                <a:gd name="connsiteY6" fmla="*/ 121327 h 121327"/>
                <a:gd name="connsiteX7" fmla="*/ 26453 w 139286"/>
                <a:gd name="connsiteY7" fmla="*/ 96267 h 121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9286" h="121327">
                  <a:moveTo>
                    <a:pt x="26453" y="96267"/>
                  </a:moveTo>
                  <a:cubicBezTo>
                    <a:pt x="9746" y="79561"/>
                    <a:pt x="0" y="57285"/>
                    <a:pt x="0" y="33618"/>
                  </a:cubicBezTo>
                  <a:lnTo>
                    <a:pt x="0" y="32225"/>
                  </a:lnTo>
                  <a:lnTo>
                    <a:pt x="13607" y="0"/>
                  </a:lnTo>
                  <a:lnTo>
                    <a:pt x="139286" y="103337"/>
                  </a:lnTo>
                  <a:lnTo>
                    <a:pt x="123037" y="114366"/>
                  </a:lnTo>
                  <a:cubicBezTo>
                    <a:pt x="112421" y="118890"/>
                    <a:pt x="100935" y="121327"/>
                    <a:pt x="89101" y="121327"/>
                  </a:cubicBezTo>
                  <a:cubicBezTo>
                    <a:pt x="65435" y="121327"/>
                    <a:pt x="43159" y="112973"/>
                    <a:pt x="26453" y="9626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6EEBC52A-3D14-419B-8366-97197098C604}"/>
                </a:ext>
              </a:extLst>
            </p:cNvPr>
            <p:cNvSpPr/>
            <p:nvPr/>
          </p:nvSpPr>
          <p:spPr>
            <a:xfrm rot="8716295">
              <a:off x="4782105" y="4823045"/>
              <a:ext cx="311921" cy="362797"/>
            </a:xfrm>
            <a:custGeom>
              <a:avLst/>
              <a:gdLst>
                <a:gd name="connsiteX0" fmla="*/ 311920 w 311921"/>
                <a:gd name="connsiteY0" fmla="*/ 120307 h 362797"/>
                <a:gd name="connsiteX1" fmla="*/ 138360 w 311921"/>
                <a:gd name="connsiteY1" fmla="*/ 1 h 362797"/>
                <a:gd name="connsiteX2" fmla="*/ 138360 w 311921"/>
                <a:gd name="connsiteY2" fmla="*/ 0 h 362797"/>
                <a:gd name="connsiteX3" fmla="*/ 311921 w 311921"/>
                <a:gd name="connsiteY3" fmla="*/ 120307 h 362797"/>
                <a:gd name="connsiteX4" fmla="*/ 0 w 311921"/>
                <a:gd name="connsiteY4" fmla="*/ 362797 h 362797"/>
                <a:gd name="connsiteX5" fmla="*/ 0 w 311921"/>
                <a:gd name="connsiteY5" fmla="*/ 320869 h 362797"/>
                <a:gd name="connsiteX6" fmla="*/ 27877 w 311921"/>
                <a:gd name="connsiteY6" fmla="*/ 343790 h 362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1921" h="362797">
                  <a:moveTo>
                    <a:pt x="311920" y="120307"/>
                  </a:moveTo>
                  <a:lnTo>
                    <a:pt x="138360" y="1"/>
                  </a:lnTo>
                  <a:lnTo>
                    <a:pt x="138360" y="0"/>
                  </a:lnTo>
                  <a:lnTo>
                    <a:pt x="311921" y="120307"/>
                  </a:lnTo>
                  <a:close/>
                  <a:moveTo>
                    <a:pt x="0" y="362797"/>
                  </a:moveTo>
                  <a:lnTo>
                    <a:pt x="0" y="320869"/>
                  </a:lnTo>
                  <a:lnTo>
                    <a:pt x="27877" y="34379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53F2D732-A25A-4CEE-B98E-E5DC8CC54158}"/>
                </a:ext>
              </a:extLst>
            </p:cNvPr>
            <p:cNvSpPr/>
            <p:nvPr/>
          </p:nvSpPr>
          <p:spPr>
            <a:xfrm rot="8716295">
              <a:off x="5132149" y="4738008"/>
              <a:ext cx="148614" cy="131720"/>
            </a:xfrm>
            <a:custGeom>
              <a:avLst/>
              <a:gdLst>
                <a:gd name="connsiteX0" fmla="*/ 26453 w 148614"/>
                <a:gd name="connsiteY0" fmla="*/ 106660 h 131720"/>
                <a:gd name="connsiteX1" fmla="*/ 0 w 148614"/>
                <a:gd name="connsiteY1" fmla="*/ 44011 h 131720"/>
                <a:gd name="connsiteX2" fmla="*/ 0 w 148614"/>
                <a:gd name="connsiteY2" fmla="*/ 42618 h 131720"/>
                <a:gd name="connsiteX3" fmla="*/ 17995 w 148614"/>
                <a:gd name="connsiteY3" fmla="*/ 0 h 131720"/>
                <a:gd name="connsiteX4" fmla="*/ 148614 w 148614"/>
                <a:gd name="connsiteY4" fmla="*/ 107398 h 131720"/>
                <a:gd name="connsiteX5" fmla="*/ 123037 w 148614"/>
                <a:gd name="connsiteY5" fmla="*/ 124759 h 131720"/>
                <a:gd name="connsiteX6" fmla="*/ 89101 w 148614"/>
                <a:gd name="connsiteY6" fmla="*/ 131720 h 131720"/>
                <a:gd name="connsiteX7" fmla="*/ 26453 w 148614"/>
                <a:gd name="connsiteY7" fmla="*/ 106660 h 13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8614" h="131720">
                  <a:moveTo>
                    <a:pt x="26453" y="106660"/>
                  </a:moveTo>
                  <a:cubicBezTo>
                    <a:pt x="9746" y="89954"/>
                    <a:pt x="0" y="67678"/>
                    <a:pt x="0" y="44011"/>
                  </a:cubicBezTo>
                  <a:lnTo>
                    <a:pt x="0" y="42618"/>
                  </a:lnTo>
                  <a:lnTo>
                    <a:pt x="17995" y="0"/>
                  </a:lnTo>
                  <a:lnTo>
                    <a:pt x="148614" y="107398"/>
                  </a:lnTo>
                  <a:lnTo>
                    <a:pt x="123037" y="124759"/>
                  </a:lnTo>
                  <a:cubicBezTo>
                    <a:pt x="112421" y="129283"/>
                    <a:pt x="100935" y="131720"/>
                    <a:pt x="89101" y="131720"/>
                  </a:cubicBezTo>
                  <a:cubicBezTo>
                    <a:pt x="65435" y="131720"/>
                    <a:pt x="43159" y="123366"/>
                    <a:pt x="26453" y="10666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937A52BD-510B-4C03-9C16-CD9D234ABB7D}"/>
                </a:ext>
              </a:extLst>
            </p:cNvPr>
            <p:cNvSpPr/>
            <p:nvPr/>
          </p:nvSpPr>
          <p:spPr>
            <a:xfrm rot="8716295">
              <a:off x="5043572" y="4624951"/>
              <a:ext cx="150722" cy="101024"/>
            </a:xfrm>
            <a:custGeom>
              <a:avLst/>
              <a:gdLst>
                <a:gd name="connsiteX0" fmla="*/ 0 w 150722"/>
                <a:gd name="connsiteY0" fmla="*/ 25991 h 101024"/>
                <a:gd name="connsiteX1" fmla="*/ 28034 w 150722"/>
                <a:gd name="connsiteY1" fmla="*/ 6961 h 101024"/>
                <a:gd name="connsiteX2" fmla="*/ 61968 w 150722"/>
                <a:gd name="connsiteY2" fmla="*/ 0 h 101024"/>
                <a:gd name="connsiteX3" fmla="*/ 124618 w 150722"/>
                <a:gd name="connsiteY3" fmla="*/ 26453 h 101024"/>
                <a:gd name="connsiteX4" fmla="*/ 150722 w 150722"/>
                <a:gd name="connsiteY4" fmla="*/ 88580 h 101024"/>
                <a:gd name="connsiteX5" fmla="*/ 148306 w 150722"/>
                <a:gd name="connsiteY5" fmla="*/ 101024 h 10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0722" h="101024">
                  <a:moveTo>
                    <a:pt x="0" y="25991"/>
                  </a:moveTo>
                  <a:lnTo>
                    <a:pt x="28034" y="6961"/>
                  </a:lnTo>
                  <a:cubicBezTo>
                    <a:pt x="38649" y="2437"/>
                    <a:pt x="50135" y="0"/>
                    <a:pt x="61968" y="0"/>
                  </a:cubicBezTo>
                  <a:cubicBezTo>
                    <a:pt x="85637" y="0"/>
                    <a:pt x="107912" y="9746"/>
                    <a:pt x="124618" y="26453"/>
                  </a:cubicBezTo>
                  <a:cubicBezTo>
                    <a:pt x="142021" y="43159"/>
                    <a:pt x="150722" y="65782"/>
                    <a:pt x="150722" y="88580"/>
                  </a:cubicBezTo>
                  <a:lnTo>
                    <a:pt x="148306" y="1010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C719F00E-5A8E-45CC-8F56-B823EE2F6BB7}"/>
                </a:ext>
              </a:extLst>
            </p:cNvPr>
            <p:cNvSpPr/>
            <p:nvPr/>
          </p:nvSpPr>
          <p:spPr>
            <a:xfrm rot="8716295">
              <a:off x="8546573" y="4108588"/>
              <a:ext cx="215176" cy="313567"/>
            </a:xfrm>
            <a:custGeom>
              <a:avLst/>
              <a:gdLst>
                <a:gd name="connsiteX0" fmla="*/ 122760 w 215176"/>
                <a:gd name="connsiteY0" fmla="*/ 266809 h 313567"/>
                <a:gd name="connsiteX1" fmla="*/ 122761 w 215176"/>
                <a:gd name="connsiteY1" fmla="*/ 105519 h 313567"/>
                <a:gd name="connsiteX2" fmla="*/ 122761 w 215176"/>
                <a:gd name="connsiteY2" fmla="*/ 99312 h 313567"/>
                <a:gd name="connsiteX3" fmla="*/ 91726 w 215176"/>
                <a:gd name="connsiteY3" fmla="*/ 75863 h 313567"/>
                <a:gd name="connsiteX4" fmla="*/ 0 w 215176"/>
                <a:gd name="connsiteY4" fmla="*/ 75863 h 313567"/>
                <a:gd name="connsiteX5" fmla="*/ 0 w 215176"/>
                <a:gd name="connsiteY5" fmla="*/ 0 h 313567"/>
                <a:gd name="connsiteX6" fmla="*/ 128968 w 215176"/>
                <a:gd name="connsiteY6" fmla="*/ 0 h 313567"/>
                <a:gd name="connsiteX7" fmla="*/ 215176 w 215176"/>
                <a:gd name="connsiteY7" fmla="*/ 75863 h 313567"/>
                <a:gd name="connsiteX8" fmla="*/ 215176 w 215176"/>
                <a:gd name="connsiteY8" fmla="*/ 313567 h 31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5176" h="313567">
                  <a:moveTo>
                    <a:pt x="122760" y="26680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0"/>
                  </a:lnTo>
                  <a:lnTo>
                    <a:pt x="128968" y="0"/>
                  </a:lnTo>
                  <a:cubicBezTo>
                    <a:pt x="184831" y="0"/>
                    <a:pt x="215177" y="24139"/>
                    <a:pt x="215176" y="75863"/>
                  </a:cubicBezTo>
                  <a:lnTo>
                    <a:pt x="215176" y="3135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25DD9CA0-AFE3-4B5F-B15D-E7FBAF734592}"/>
                </a:ext>
              </a:extLst>
            </p:cNvPr>
            <p:cNvSpPr/>
            <p:nvPr/>
          </p:nvSpPr>
          <p:spPr>
            <a:xfrm rot="8716295">
              <a:off x="8681306" y="4151041"/>
              <a:ext cx="394490" cy="343138"/>
            </a:xfrm>
            <a:custGeom>
              <a:avLst/>
              <a:gdLst>
                <a:gd name="connsiteX0" fmla="*/ 77932 w 394490"/>
                <a:gd name="connsiteY0" fmla="*/ 311621 h 343138"/>
                <a:gd name="connsiteX1" fmla="*/ 77932 w 394490"/>
                <a:gd name="connsiteY1" fmla="*/ 69053 h 343138"/>
                <a:gd name="connsiteX2" fmla="*/ 0 w 394490"/>
                <a:gd name="connsiteY2" fmla="*/ 69054 h 343138"/>
                <a:gd name="connsiteX3" fmla="*/ 0 w 394490"/>
                <a:gd name="connsiteY3" fmla="*/ 2156 h 343138"/>
                <a:gd name="connsiteX4" fmla="*/ 158623 w 394490"/>
                <a:gd name="connsiteY4" fmla="*/ 2157 h 343138"/>
                <a:gd name="connsiteX5" fmla="*/ 158624 w 394490"/>
                <a:gd name="connsiteY5" fmla="*/ 113882 h 343138"/>
                <a:gd name="connsiteX6" fmla="*/ 160692 w 394490"/>
                <a:gd name="connsiteY6" fmla="*/ 113882 h 343138"/>
                <a:gd name="connsiteX7" fmla="*/ 233107 w 394490"/>
                <a:gd name="connsiteY7" fmla="*/ 9053 h 343138"/>
                <a:gd name="connsiteX8" fmla="*/ 280694 w 394490"/>
                <a:gd name="connsiteY8" fmla="*/ 87 h 343138"/>
                <a:gd name="connsiteX9" fmla="*/ 394490 w 394490"/>
                <a:gd name="connsiteY9" fmla="*/ 133882 h 343138"/>
                <a:gd name="connsiteX10" fmla="*/ 394490 w 394490"/>
                <a:gd name="connsiteY10" fmla="*/ 142849 h 343138"/>
                <a:gd name="connsiteX11" fmla="*/ 300694 w 394490"/>
                <a:gd name="connsiteY11" fmla="*/ 148365 h 343138"/>
                <a:gd name="connsiteX12" fmla="*/ 300694 w 394490"/>
                <a:gd name="connsiteY12" fmla="*/ 123538 h 343138"/>
                <a:gd name="connsiteX13" fmla="*/ 249660 w 394490"/>
                <a:gd name="connsiteY13" fmla="*/ 60778 h 343138"/>
                <a:gd name="connsiteX14" fmla="*/ 168969 w 394490"/>
                <a:gd name="connsiteY14" fmla="*/ 193194 h 343138"/>
                <a:gd name="connsiteX15" fmla="*/ 168969 w 394490"/>
                <a:gd name="connsiteY15" fmla="*/ 323541 h 343138"/>
                <a:gd name="connsiteX16" fmla="*/ 140226 w 394490"/>
                <a:gd name="connsiteY16" fmla="*/ 343138 h 343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4490" h="343138">
                  <a:moveTo>
                    <a:pt x="77932" y="311621"/>
                  </a:moveTo>
                  <a:lnTo>
                    <a:pt x="77932" y="69053"/>
                  </a:lnTo>
                  <a:lnTo>
                    <a:pt x="0" y="69054"/>
                  </a:lnTo>
                  <a:lnTo>
                    <a:pt x="0" y="2156"/>
                  </a:lnTo>
                  <a:lnTo>
                    <a:pt x="158623" y="2157"/>
                  </a:lnTo>
                  <a:lnTo>
                    <a:pt x="158624" y="113882"/>
                  </a:lnTo>
                  <a:lnTo>
                    <a:pt x="160692" y="113882"/>
                  </a:lnTo>
                  <a:cubicBezTo>
                    <a:pt x="182762" y="48364"/>
                    <a:pt x="200003" y="22846"/>
                    <a:pt x="233107" y="9053"/>
                  </a:cubicBezTo>
                  <a:cubicBezTo>
                    <a:pt x="248280" y="2846"/>
                    <a:pt x="264142" y="-602"/>
                    <a:pt x="280694" y="87"/>
                  </a:cubicBezTo>
                  <a:cubicBezTo>
                    <a:pt x="351730" y="-1293"/>
                    <a:pt x="394490" y="48364"/>
                    <a:pt x="394490" y="133882"/>
                  </a:cubicBezTo>
                  <a:lnTo>
                    <a:pt x="394490" y="142849"/>
                  </a:lnTo>
                  <a:lnTo>
                    <a:pt x="300694" y="148365"/>
                  </a:lnTo>
                  <a:lnTo>
                    <a:pt x="300694" y="123538"/>
                  </a:lnTo>
                  <a:cubicBezTo>
                    <a:pt x="300695" y="86296"/>
                    <a:pt x="279316" y="60778"/>
                    <a:pt x="249660" y="60778"/>
                  </a:cubicBezTo>
                  <a:cubicBezTo>
                    <a:pt x="205521" y="60778"/>
                    <a:pt x="168968" y="119399"/>
                    <a:pt x="168969" y="193194"/>
                  </a:cubicBezTo>
                  <a:lnTo>
                    <a:pt x="168969" y="323541"/>
                  </a:lnTo>
                  <a:lnTo>
                    <a:pt x="140226" y="3431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24323A32-7D51-45A5-8D91-2223C2D14BC5}"/>
                </a:ext>
              </a:extLst>
            </p:cNvPr>
            <p:cNvSpPr/>
            <p:nvPr/>
          </p:nvSpPr>
          <p:spPr>
            <a:xfrm rot="8716295">
              <a:off x="8646997" y="4143256"/>
              <a:ext cx="121064" cy="89924"/>
            </a:xfrm>
            <a:custGeom>
              <a:avLst/>
              <a:gdLst>
                <a:gd name="connsiteX0" fmla="*/ 0 w 121064"/>
                <a:gd name="connsiteY0" fmla="*/ 39250 h 89924"/>
                <a:gd name="connsiteX1" fmla="*/ 32528 w 121064"/>
                <a:gd name="connsiteY1" fmla="*/ 13621 h 89924"/>
                <a:gd name="connsiteX2" fmla="*/ 78305 w 121064"/>
                <a:gd name="connsiteY2" fmla="*/ 0 h 89924"/>
                <a:gd name="connsiteX3" fmla="*/ 121064 w 121064"/>
                <a:gd name="connsiteY3" fmla="*/ 51035 h 89924"/>
                <a:gd name="connsiteX4" fmla="*/ 108563 w 121064"/>
                <a:gd name="connsiteY4" fmla="*/ 83363 h 89924"/>
                <a:gd name="connsiteX5" fmla="*/ 100159 w 121064"/>
                <a:gd name="connsiteY5" fmla="*/ 89924 h 89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1064" h="89924">
                  <a:moveTo>
                    <a:pt x="0" y="39250"/>
                  </a:moveTo>
                  <a:lnTo>
                    <a:pt x="32528" y="13621"/>
                  </a:lnTo>
                  <a:cubicBezTo>
                    <a:pt x="46580" y="6380"/>
                    <a:pt x="62098" y="1724"/>
                    <a:pt x="78305" y="0"/>
                  </a:cubicBezTo>
                  <a:cubicBezTo>
                    <a:pt x="111409" y="0"/>
                    <a:pt x="121065" y="28966"/>
                    <a:pt x="121064" y="51035"/>
                  </a:cubicBezTo>
                  <a:cubicBezTo>
                    <a:pt x="120030" y="63105"/>
                    <a:pt x="115546" y="74139"/>
                    <a:pt x="108563" y="83363"/>
                  </a:cubicBezTo>
                  <a:lnTo>
                    <a:pt x="100159" y="899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CF24F6A6-E56B-4B69-A6B4-F595B4AECDB5}"/>
                </a:ext>
              </a:extLst>
            </p:cNvPr>
            <p:cNvSpPr/>
            <p:nvPr/>
          </p:nvSpPr>
          <p:spPr>
            <a:xfrm rot="8716295">
              <a:off x="8360649" y="4203945"/>
              <a:ext cx="88105" cy="88278"/>
            </a:xfrm>
            <a:custGeom>
              <a:avLst/>
              <a:gdLst>
                <a:gd name="connsiteX0" fmla="*/ 11702 w 88105"/>
                <a:gd name="connsiteY0" fmla="*/ 72544 h 88278"/>
                <a:gd name="connsiteX1" fmla="*/ 0 w 88105"/>
                <a:gd name="connsiteY1" fmla="*/ 44829 h 88278"/>
                <a:gd name="connsiteX2" fmla="*/ 0 w 88105"/>
                <a:gd name="connsiteY2" fmla="*/ 44139 h 88278"/>
                <a:gd name="connsiteX3" fmla="*/ 13104 w 88105"/>
                <a:gd name="connsiteY3" fmla="*/ 13104 h 88278"/>
                <a:gd name="connsiteX4" fmla="*/ 44139 w 88105"/>
                <a:gd name="connsiteY4" fmla="*/ 0 h 88278"/>
                <a:gd name="connsiteX5" fmla="*/ 75175 w 88105"/>
                <a:gd name="connsiteY5" fmla="*/ 13104 h 88278"/>
                <a:gd name="connsiteX6" fmla="*/ 75175 w 88105"/>
                <a:gd name="connsiteY6" fmla="*/ 75175 h 88278"/>
                <a:gd name="connsiteX7" fmla="*/ 44139 w 88105"/>
                <a:gd name="connsiteY7" fmla="*/ 88278 h 88278"/>
                <a:gd name="connsiteX8" fmla="*/ 37752 w 88105"/>
                <a:gd name="connsiteY8" fmla="*/ 85724 h 88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8105" h="88278">
                  <a:moveTo>
                    <a:pt x="11702" y="72544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cubicBezTo>
                    <a:pt x="55864" y="0"/>
                    <a:pt x="66899" y="4828"/>
                    <a:pt x="75175" y="13104"/>
                  </a:cubicBezTo>
                  <a:cubicBezTo>
                    <a:pt x="92416" y="29657"/>
                    <a:pt x="92416" y="57933"/>
                    <a:pt x="75175" y="75175"/>
                  </a:cubicBezTo>
                  <a:cubicBezTo>
                    <a:pt x="66899" y="83451"/>
                    <a:pt x="55864" y="88278"/>
                    <a:pt x="44139" y="88278"/>
                  </a:cubicBezTo>
                  <a:lnTo>
                    <a:pt x="37752" y="857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823BDB41-A1E6-41AA-847A-64C2D14D0B20}"/>
                </a:ext>
              </a:extLst>
            </p:cNvPr>
            <p:cNvSpPr/>
            <p:nvPr/>
          </p:nvSpPr>
          <p:spPr>
            <a:xfrm rot="8716295">
              <a:off x="8270439" y="4208809"/>
              <a:ext cx="54467" cy="27557"/>
            </a:xfrm>
            <a:custGeom>
              <a:avLst/>
              <a:gdLst>
                <a:gd name="connsiteX0" fmla="*/ 0 w 54467"/>
                <a:gd name="connsiteY0" fmla="*/ 0 h 27557"/>
                <a:gd name="connsiteX1" fmla="*/ 54467 w 54467"/>
                <a:gd name="connsiteY1" fmla="*/ 0 h 27557"/>
                <a:gd name="connsiteX2" fmla="*/ 54467 w 54467"/>
                <a:gd name="connsiteY2" fmla="*/ 27557 h 27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467" h="27557">
                  <a:moveTo>
                    <a:pt x="0" y="0"/>
                  </a:moveTo>
                  <a:lnTo>
                    <a:pt x="54467" y="0"/>
                  </a:lnTo>
                  <a:lnTo>
                    <a:pt x="54467" y="2755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C4D7300C-5B1D-4389-9C36-32D5B08AA75A}"/>
                </a:ext>
              </a:extLst>
            </p:cNvPr>
            <p:cNvSpPr/>
            <p:nvPr/>
          </p:nvSpPr>
          <p:spPr>
            <a:xfrm rot="8716295">
              <a:off x="8503577" y="4269431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A57703A1-63B4-443D-A8D6-A43C23AB9B28}"/>
                </a:ext>
              </a:extLst>
            </p:cNvPr>
            <p:cNvSpPr/>
            <p:nvPr/>
          </p:nvSpPr>
          <p:spPr>
            <a:xfrm rot="8716295">
              <a:off x="8994983" y="4078441"/>
              <a:ext cx="137688" cy="132478"/>
            </a:xfrm>
            <a:custGeom>
              <a:avLst/>
              <a:gdLst>
                <a:gd name="connsiteX0" fmla="*/ 46653 w 137688"/>
                <a:gd name="connsiteY0" fmla="*/ 86420 h 132478"/>
                <a:gd name="connsiteX1" fmla="*/ 46653 w 137688"/>
                <a:gd name="connsiteY1" fmla="*/ 24828 h 132478"/>
                <a:gd name="connsiteX2" fmla="*/ 0 w 137688"/>
                <a:gd name="connsiteY2" fmla="*/ 24828 h 132478"/>
                <a:gd name="connsiteX3" fmla="*/ 15342 w 137688"/>
                <a:gd name="connsiteY3" fmla="*/ 2695 h 132478"/>
                <a:gd name="connsiteX4" fmla="*/ 137688 w 137688"/>
                <a:gd name="connsiteY4" fmla="*/ 0 h 132478"/>
                <a:gd name="connsiteX5" fmla="*/ 137688 w 137688"/>
                <a:gd name="connsiteY5" fmla="*/ 132478 h 132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7688" h="132478">
                  <a:moveTo>
                    <a:pt x="46653" y="86420"/>
                  </a:moveTo>
                  <a:lnTo>
                    <a:pt x="46653" y="24828"/>
                  </a:lnTo>
                  <a:lnTo>
                    <a:pt x="0" y="24828"/>
                  </a:lnTo>
                  <a:lnTo>
                    <a:pt x="15342" y="2695"/>
                  </a:lnTo>
                  <a:lnTo>
                    <a:pt x="137688" y="0"/>
                  </a:lnTo>
                  <a:lnTo>
                    <a:pt x="137688" y="13247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46727CBF-18BC-4939-8F2B-40813E13A972}"/>
                </a:ext>
              </a:extLst>
            </p:cNvPr>
            <p:cNvSpPr/>
            <p:nvPr/>
          </p:nvSpPr>
          <p:spPr>
            <a:xfrm rot="7484129">
              <a:off x="9136824" y="4228704"/>
              <a:ext cx="8392" cy="13068"/>
            </a:xfrm>
            <a:custGeom>
              <a:avLst/>
              <a:gdLst>
                <a:gd name="connsiteX0" fmla="*/ 3897 w 8392"/>
                <a:gd name="connsiteY0" fmla="*/ 13068 h 13068"/>
                <a:gd name="connsiteX1" fmla="*/ 0 w 8392"/>
                <a:gd name="connsiteY1" fmla="*/ 5818 h 13068"/>
                <a:gd name="connsiteX2" fmla="*/ 8392 w 8392"/>
                <a:gd name="connsiteY2" fmla="*/ 0 h 13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2" h="13068">
                  <a:moveTo>
                    <a:pt x="3897" y="13068"/>
                  </a:moveTo>
                  <a:lnTo>
                    <a:pt x="0" y="5818"/>
                  </a:lnTo>
                  <a:lnTo>
                    <a:pt x="839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D9037FA7-ED1D-4D57-8F2C-1298751D415A}"/>
                </a:ext>
              </a:extLst>
            </p:cNvPr>
            <p:cNvSpPr/>
            <p:nvPr/>
          </p:nvSpPr>
          <p:spPr>
            <a:xfrm rot="8716295">
              <a:off x="8839311" y="5117279"/>
              <a:ext cx="37096" cy="40385"/>
            </a:xfrm>
            <a:custGeom>
              <a:avLst/>
              <a:gdLst>
                <a:gd name="connsiteX0" fmla="*/ 37095 w 37096"/>
                <a:gd name="connsiteY0" fmla="*/ 25713 h 40385"/>
                <a:gd name="connsiteX1" fmla="*/ 0 w 37096"/>
                <a:gd name="connsiteY1" fmla="*/ 0 h 40385"/>
                <a:gd name="connsiteX2" fmla="*/ 0 w 37096"/>
                <a:gd name="connsiteY2" fmla="*/ 0 h 40385"/>
                <a:gd name="connsiteX3" fmla="*/ 37096 w 37096"/>
                <a:gd name="connsiteY3" fmla="*/ 25713 h 40385"/>
                <a:gd name="connsiteX4" fmla="*/ 0 w 37096"/>
                <a:gd name="connsiteY4" fmla="*/ 40385 h 40385"/>
                <a:gd name="connsiteX5" fmla="*/ 0 w 37096"/>
                <a:gd name="connsiteY5" fmla="*/ 28525 h 40385"/>
                <a:gd name="connsiteX6" fmla="*/ 9740 w 37096"/>
                <a:gd name="connsiteY6" fmla="*/ 36533 h 40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096" h="40385">
                  <a:moveTo>
                    <a:pt x="37095" y="25713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37096" y="25713"/>
                  </a:lnTo>
                  <a:close/>
                  <a:moveTo>
                    <a:pt x="0" y="40385"/>
                  </a:moveTo>
                  <a:lnTo>
                    <a:pt x="0" y="28525"/>
                  </a:lnTo>
                  <a:lnTo>
                    <a:pt x="9740" y="365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7762AEC2-4809-4723-B4B8-AD709205FF29}"/>
                </a:ext>
              </a:extLst>
            </p:cNvPr>
            <p:cNvSpPr/>
            <p:nvPr/>
          </p:nvSpPr>
          <p:spPr>
            <a:xfrm rot="8716295">
              <a:off x="8967255" y="4971567"/>
              <a:ext cx="231347" cy="158649"/>
            </a:xfrm>
            <a:custGeom>
              <a:avLst/>
              <a:gdLst>
                <a:gd name="connsiteX0" fmla="*/ 8965 w 231347"/>
                <a:gd name="connsiteY0" fmla="*/ 158649 h 158649"/>
                <a:gd name="connsiteX1" fmla="*/ 0 w 231347"/>
                <a:gd name="connsiteY1" fmla="*/ 146235 h 158649"/>
                <a:gd name="connsiteX2" fmla="*/ 155416 w 231347"/>
                <a:gd name="connsiteY2" fmla="*/ 0 h 158649"/>
                <a:gd name="connsiteX3" fmla="*/ 231347 w 231347"/>
                <a:gd name="connsiteY3" fmla="*/ 62433 h 158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347" h="158649">
                  <a:moveTo>
                    <a:pt x="8965" y="158649"/>
                  </a:moveTo>
                  <a:lnTo>
                    <a:pt x="0" y="146235"/>
                  </a:lnTo>
                  <a:lnTo>
                    <a:pt x="155416" y="0"/>
                  </a:lnTo>
                  <a:lnTo>
                    <a:pt x="231347" y="624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45E00815-1C71-4483-8D7E-4D817A5C21EF}"/>
                </a:ext>
              </a:extLst>
            </p:cNvPr>
            <p:cNvSpPr/>
            <p:nvPr/>
          </p:nvSpPr>
          <p:spPr>
            <a:xfrm rot="8716295">
              <a:off x="8555937" y="4871188"/>
              <a:ext cx="249519" cy="296463"/>
            </a:xfrm>
            <a:custGeom>
              <a:avLst/>
              <a:gdLst>
                <a:gd name="connsiteX0" fmla="*/ 249516 w 249519"/>
                <a:gd name="connsiteY0" fmla="*/ 83734 h 296463"/>
                <a:gd name="connsiteX1" fmla="*/ 128718 w 249519"/>
                <a:gd name="connsiteY1" fmla="*/ 0 h 296463"/>
                <a:gd name="connsiteX2" fmla="*/ 128719 w 249519"/>
                <a:gd name="connsiteY2" fmla="*/ 0 h 296463"/>
                <a:gd name="connsiteX3" fmla="*/ 249519 w 249519"/>
                <a:gd name="connsiteY3" fmla="*/ 83734 h 296463"/>
                <a:gd name="connsiteX4" fmla="*/ 137293 w 249519"/>
                <a:gd name="connsiteY4" fmla="*/ 296463 h 296463"/>
                <a:gd name="connsiteX5" fmla="*/ 72418 w 249519"/>
                <a:gd name="connsiteY5" fmla="*/ 175766 h 296463"/>
                <a:gd name="connsiteX6" fmla="*/ 105610 w 249519"/>
                <a:gd name="connsiteY6" fmla="*/ 83734 h 296463"/>
                <a:gd name="connsiteX7" fmla="*/ 0 w 249519"/>
                <a:gd name="connsiteY7" fmla="*/ 83734 h 296463"/>
                <a:gd name="connsiteX8" fmla="*/ 0 w 249519"/>
                <a:gd name="connsiteY8" fmla="*/ 0 h 296463"/>
                <a:gd name="connsiteX9" fmla="*/ 78196 w 249519"/>
                <a:gd name="connsiteY9" fmla="*/ 0 h 296463"/>
                <a:gd name="connsiteX10" fmla="*/ 203756 w 249519"/>
                <a:gd name="connsiteY10" fmla="*/ 103239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519" h="296463">
                  <a:moveTo>
                    <a:pt x="249516" y="83734"/>
                  </a:moveTo>
                  <a:lnTo>
                    <a:pt x="128718" y="0"/>
                  </a:lnTo>
                  <a:lnTo>
                    <a:pt x="128719" y="0"/>
                  </a:lnTo>
                  <a:lnTo>
                    <a:pt x="249519" y="83734"/>
                  </a:lnTo>
                  <a:close/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78196" y="0"/>
                  </a:lnTo>
                  <a:lnTo>
                    <a:pt x="203756" y="1032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58E38A6F-A61D-44CF-B900-AC3229C6053D}"/>
                </a:ext>
              </a:extLst>
            </p:cNvPr>
            <p:cNvSpPr/>
            <p:nvPr/>
          </p:nvSpPr>
          <p:spPr>
            <a:xfrm rot="8716295">
              <a:off x="9124182" y="4842281"/>
              <a:ext cx="37059" cy="48941"/>
            </a:xfrm>
            <a:custGeom>
              <a:avLst/>
              <a:gdLst>
                <a:gd name="connsiteX0" fmla="*/ 0 w 37059"/>
                <a:gd name="connsiteY0" fmla="*/ 48941 h 48941"/>
                <a:gd name="connsiteX1" fmla="*/ 33925 w 37059"/>
                <a:gd name="connsiteY1" fmla="*/ 0 h 48941"/>
                <a:gd name="connsiteX2" fmla="*/ 37059 w 37059"/>
                <a:gd name="connsiteY2" fmla="*/ 7460 h 48941"/>
                <a:gd name="connsiteX3" fmla="*/ 24128 w 37059"/>
                <a:gd name="connsiteY3" fmla="*/ 38754 h 48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059" h="48941">
                  <a:moveTo>
                    <a:pt x="0" y="48941"/>
                  </a:moveTo>
                  <a:lnTo>
                    <a:pt x="33925" y="0"/>
                  </a:lnTo>
                  <a:lnTo>
                    <a:pt x="37059" y="7460"/>
                  </a:lnTo>
                  <a:cubicBezTo>
                    <a:pt x="37059" y="18753"/>
                    <a:pt x="32749" y="30133"/>
                    <a:pt x="24128" y="3875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0438BEFE-52E9-475C-AF5B-D887CDB606B3}"/>
                </a:ext>
              </a:extLst>
            </p:cNvPr>
            <p:cNvSpPr/>
            <p:nvPr/>
          </p:nvSpPr>
          <p:spPr>
            <a:xfrm rot="8716295">
              <a:off x="8946271" y="4530250"/>
              <a:ext cx="235267" cy="296463"/>
            </a:xfrm>
            <a:custGeom>
              <a:avLst/>
              <a:gdLst>
                <a:gd name="connsiteX0" fmla="*/ 64028 w 235267"/>
                <a:gd name="connsiteY0" fmla="*/ 296463 h 296463"/>
                <a:gd name="connsiteX1" fmla="*/ 0 w 235267"/>
                <a:gd name="connsiteY1" fmla="*/ 177341 h 296463"/>
                <a:gd name="connsiteX2" fmla="*/ 122928 w 235267"/>
                <a:gd name="connsiteY2" fmla="*/ 0 h 296463"/>
                <a:gd name="connsiteX3" fmla="*/ 235266 w 235267"/>
                <a:gd name="connsiteY3" fmla="*/ 0 h 296463"/>
                <a:gd name="connsiteX4" fmla="*/ 235267 w 235267"/>
                <a:gd name="connsiteY4" fmla="*/ 83734 h 296463"/>
                <a:gd name="connsiteX5" fmla="*/ 137200 w 235267"/>
                <a:gd name="connsiteY5" fmla="*/ 83735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5267" h="296463">
                  <a:moveTo>
                    <a:pt x="64028" y="296463"/>
                  </a:moveTo>
                  <a:lnTo>
                    <a:pt x="0" y="177341"/>
                  </a:lnTo>
                  <a:lnTo>
                    <a:pt x="122928" y="0"/>
                  </a:lnTo>
                  <a:lnTo>
                    <a:pt x="235266" y="0"/>
                  </a:lnTo>
                  <a:lnTo>
                    <a:pt x="235267" y="83734"/>
                  </a:lnTo>
                  <a:lnTo>
                    <a:pt x="137200" y="837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D3F9B5D8-06D4-4B43-BC6C-7C19EABDD1C4}"/>
                </a:ext>
              </a:extLst>
            </p:cNvPr>
            <p:cNvSpPr/>
            <p:nvPr/>
          </p:nvSpPr>
          <p:spPr>
            <a:xfrm rot="8716295">
              <a:off x="8906661" y="466090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71905357-F1DF-411B-B59B-0F032583384E}"/>
                </a:ext>
              </a:extLst>
            </p:cNvPr>
            <p:cNvSpPr/>
            <p:nvPr/>
          </p:nvSpPr>
          <p:spPr>
            <a:xfrm rot="13089394">
              <a:off x="7765620" y="4253518"/>
              <a:ext cx="72828" cy="75543"/>
            </a:xfrm>
            <a:custGeom>
              <a:avLst/>
              <a:gdLst>
                <a:gd name="connsiteX0" fmla="*/ 0 w 72828"/>
                <a:gd name="connsiteY0" fmla="*/ 75543 h 75543"/>
                <a:gd name="connsiteX1" fmla="*/ 0 w 72828"/>
                <a:gd name="connsiteY1" fmla="*/ 37783 h 75543"/>
                <a:gd name="connsiteX2" fmla="*/ 72828 w 72828"/>
                <a:gd name="connsiteY2" fmla="*/ 0 h 7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828" h="75543">
                  <a:moveTo>
                    <a:pt x="0" y="75543"/>
                  </a:moveTo>
                  <a:lnTo>
                    <a:pt x="0" y="37783"/>
                  </a:lnTo>
                  <a:lnTo>
                    <a:pt x="7282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9CC70003-388A-4ED2-9C78-B5584C3B43A2}"/>
                </a:ext>
              </a:extLst>
            </p:cNvPr>
            <p:cNvSpPr/>
            <p:nvPr/>
          </p:nvSpPr>
          <p:spPr>
            <a:xfrm rot="8716295">
              <a:off x="7196646" y="4735107"/>
              <a:ext cx="215177" cy="351729"/>
            </a:xfrm>
            <a:custGeom>
              <a:avLst/>
              <a:gdLst>
                <a:gd name="connsiteX0" fmla="*/ 122761 w 215177"/>
                <a:gd name="connsiteY0" fmla="*/ 351729 h 351729"/>
                <a:gd name="connsiteX1" fmla="*/ 122761 w 215177"/>
                <a:gd name="connsiteY1" fmla="*/ 105519 h 351729"/>
                <a:gd name="connsiteX2" fmla="*/ 122761 w 215177"/>
                <a:gd name="connsiteY2" fmla="*/ 99312 h 351729"/>
                <a:gd name="connsiteX3" fmla="*/ 91726 w 215177"/>
                <a:gd name="connsiteY3" fmla="*/ 75863 h 351729"/>
                <a:gd name="connsiteX4" fmla="*/ 0 w 215177"/>
                <a:gd name="connsiteY4" fmla="*/ 75863 h 351729"/>
                <a:gd name="connsiteX5" fmla="*/ 0 w 215177"/>
                <a:gd name="connsiteY5" fmla="*/ 0 h 351729"/>
                <a:gd name="connsiteX6" fmla="*/ 20033 w 215177"/>
                <a:gd name="connsiteY6" fmla="*/ 0 h 351729"/>
                <a:gd name="connsiteX7" fmla="*/ 215177 w 215177"/>
                <a:gd name="connsiteY7" fmla="*/ 160452 h 351729"/>
                <a:gd name="connsiteX8" fmla="*/ 215176 w 215177"/>
                <a:gd name="connsiteY8" fmla="*/ 315177 h 351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5177" h="351729">
                  <a:moveTo>
                    <a:pt x="122761" y="35172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0"/>
                  </a:lnTo>
                  <a:lnTo>
                    <a:pt x="20033" y="0"/>
                  </a:lnTo>
                  <a:lnTo>
                    <a:pt x="215177" y="160452"/>
                  </a:lnTo>
                  <a:lnTo>
                    <a:pt x="215176" y="3151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E46A29A2-07B5-4D69-A57A-B7E84F78585B}"/>
                </a:ext>
              </a:extLst>
            </p:cNvPr>
            <p:cNvSpPr/>
            <p:nvPr/>
          </p:nvSpPr>
          <p:spPr>
            <a:xfrm rot="8716295">
              <a:off x="7519762" y="4714342"/>
              <a:ext cx="185667" cy="383455"/>
            </a:xfrm>
            <a:custGeom>
              <a:avLst/>
              <a:gdLst>
                <a:gd name="connsiteX0" fmla="*/ 77932 w 185667"/>
                <a:gd name="connsiteY0" fmla="*/ 383455 h 383455"/>
                <a:gd name="connsiteX1" fmla="*/ 77932 w 185667"/>
                <a:gd name="connsiteY1" fmla="*/ 66898 h 383455"/>
                <a:gd name="connsiteX2" fmla="*/ 0 w 185667"/>
                <a:gd name="connsiteY2" fmla="*/ 66898 h 383455"/>
                <a:gd name="connsiteX3" fmla="*/ 0 w 185667"/>
                <a:gd name="connsiteY3" fmla="*/ 0 h 383455"/>
                <a:gd name="connsiteX4" fmla="*/ 33456 w 185667"/>
                <a:gd name="connsiteY4" fmla="*/ 0 h 383455"/>
                <a:gd name="connsiteX5" fmla="*/ 158623 w 185667"/>
                <a:gd name="connsiteY5" fmla="*/ 102916 h 383455"/>
                <a:gd name="connsiteX6" fmla="*/ 158623 w 185667"/>
                <a:gd name="connsiteY6" fmla="*/ 111726 h 383455"/>
                <a:gd name="connsiteX7" fmla="*/ 160692 w 185667"/>
                <a:gd name="connsiteY7" fmla="*/ 111726 h 383455"/>
                <a:gd name="connsiteX8" fmla="*/ 162749 w 185667"/>
                <a:gd name="connsiteY8" fmla="*/ 106308 h 383455"/>
                <a:gd name="connsiteX9" fmla="*/ 185667 w 185667"/>
                <a:gd name="connsiteY9" fmla="*/ 125152 h 383455"/>
                <a:gd name="connsiteX10" fmla="*/ 168969 w 185667"/>
                <a:gd name="connsiteY10" fmla="*/ 191038 h 383455"/>
                <a:gd name="connsiteX11" fmla="*/ 168969 w 185667"/>
                <a:gd name="connsiteY11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5667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33456" y="0"/>
                  </a:lnTo>
                  <a:lnTo>
                    <a:pt x="158623" y="102916"/>
                  </a:lnTo>
                  <a:lnTo>
                    <a:pt x="158623" y="111726"/>
                  </a:lnTo>
                  <a:lnTo>
                    <a:pt x="160692" y="111726"/>
                  </a:lnTo>
                  <a:lnTo>
                    <a:pt x="162749" y="106308"/>
                  </a:lnTo>
                  <a:lnTo>
                    <a:pt x="185667" y="125152"/>
                  </a:lnTo>
                  <a:lnTo>
                    <a:pt x="168969" y="191038"/>
                  </a:ln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BB2B590A-BBED-49DF-BE0A-D7CDB8C7EA53}"/>
                </a:ext>
              </a:extLst>
            </p:cNvPr>
            <p:cNvSpPr/>
            <p:nvPr/>
          </p:nvSpPr>
          <p:spPr>
            <a:xfrm rot="8716295">
              <a:off x="7265319" y="4648384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7838B053-EE23-465E-B80C-0FDB953D8E9F}"/>
                </a:ext>
              </a:extLst>
            </p:cNvPr>
            <p:cNvSpPr/>
            <p:nvPr/>
          </p:nvSpPr>
          <p:spPr>
            <a:xfrm rot="8716295">
              <a:off x="7028032" y="486872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46F2EA92-FAA0-4CBD-8D20-0B7AF9B36906}"/>
                </a:ext>
              </a:extLst>
            </p:cNvPr>
            <p:cNvSpPr/>
            <p:nvPr/>
          </p:nvSpPr>
          <p:spPr>
            <a:xfrm rot="8716295">
              <a:off x="6838986" y="455289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C33E7506-2F8D-4DC7-82BD-DA6D9CD10C11}"/>
                </a:ext>
              </a:extLst>
            </p:cNvPr>
            <p:cNvSpPr/>
            <p:nvPr/>
          </p:nvSpPr>
          <p:spPr>
            <a:xfrm rot="8716295">
              <a:off x="6821466" y="4356542"/>
              <a:ext cx="439901" cy="511464"/>
            </a:xfrm>
            <a:custGeom>
              <a:avLst/>
              <a:gdLst>
                <a:gd name="connsiteX0" fmla="*/ 1873 w 439901"/>
                <a:gd name="connsiteY0" fmla="*/ 384681 h 511464"/>
                <a:gd name="connsiteX1" fmla="*/ 1725 w 439901"/>
                <a:gd name="connsiteY1" fmla="*/ 383648 h 511464"/>
                <a:gd name="connsiteX2" fmla="*/ 0 w 439901"/>
                <a:gd name="connsiteY2" fmla="*/ 333043 h 511464"/>
                <a:gd name="connsiteX3" fmla="*/ 0 w 439901"/>
                <a:gd name="connsiteY3" fmla="*/ 61444 h 511464"/>
                <a:gd name="connsiteX4" fmla="*/ 118434 w 439901"/>
                <a:gd name="connsiteY4" fmla="*/ 0 h 511464"/>
                <a:gd name="connsiteX5" fmla="*/ 120216 w 439901"/>
                <a:gd name="connsiteY5" fmla="*/ 248447 h 511464"/>
                <a:gd name="connsiteX6" fmla="*/ 141587 w 439901"/>
                <a:gd name="connsiteY6" fmla="*/ 396268 h 511464"/>
                <a:gd name="connsiteX7" fmla="*/ 248446 w 439901"/>
                <a:gd name="connsiteY7" fmla="*/ 455041 h 511464"/>
                <a:gd name="connsiteX8" fmla="*/ 328590 w 439901"/>
                <a:gd name="connsiteY8" fmla="*/ 440793 h 511464"/>
                <a:gd name="connsiteX9" fmla="*/ 438120 w 439901"/>
                <a:gd name="connsiteY9" fmla="*/ 396268 h 511464"/>
                <a:gd name="connsiteX10" fmla="*/ 439901 w 439901"/>
                <a:gd name="connsiteY10" fmla="*/ 407844 h 511464"/>
                <a:gd name="connsiteX11" fmla="*/ 439901 w 439901"/>
                <a:gd name="connsiteY11" fmla="*/ 416749 h 511464"/>
                <a:gd name="connsiteX12" fmla="*/ 286180 w 439901"/>
                <a:gd name="connsiteY12" fmla="*/ 502459 h 511464"/>
                <a:gd name="connsiteX13" fmla="*/ 252462 w 439901"/>
                <a:gd name="connsiteY13" fmla="*/ 511464 h 511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9901" h="511464">
                  <a:moveTo>
                    <a:pt x="1873" y="384681"/>
                  </a:moveTo>
                  <a:lnTo>
                    <a:pt x="1725" y="383648"/>
                  </a:lnTo>
                  <a:cubicBezTo>
                    <a:pt x="501" y="368162"/>
                    <a:pt x="0" y="351298"/>
                    <a:pt x="0" y="333043"/>
                  </a:cubicBezTo>
                  <a:lnTo>
                    <a:pt x="0" y="61444"/>
                  </a:lnTo>
                  <a:lnTo>
                    <a:pt x="118434" y="0"/>
                  </a:lnTo>
                  <a:lnTo>
                    <a:pt x="120216" y="248447"/>
                  </a:lnTo>
                  <a:cubicBezTo>
                    <a:pt x="117545" y="298315"/>
                    <a:pt x="125558" y="349072"/>
                    <a:pt x="141587" y="396268"/>
                  </a:cubicBezTo>
                  <a:cubicBezTo>
                    <a:pt x="155836" y="435450"/>
                    <a:pt x="192346" y="455041"/>
                    <a:pt x="248446" y="455041"/>
                  </a:cubicBezTo>
                  <a:cubicBezTo>
                    <a:pt x="276051" y="454150"/>
                    <a:pt x="302766" y="448807"/>
                    <a:pt x="328590" y="440793"/>
                  </a:cubicBezTo>
                  <a:cubicBezTo>
                    <a:pt x="365990" y="429216"/>
                    <a:pt x="402501" y="414078"/>
                    <a:pt x="438120" y="396268"/>
                  </a:cubicBezTo>
                  <a:cubicBezTo>
                    <a:pt x="439010" y="399830"/>
                    <a:pt x="439901" y="404282"/>
                    <a:pt x="439901" y="407844"/>
                  </a:cubicBezTo>
                  <a:lnTo>
                    <a:pt x="439901" y="416749"/>
                  </a:lnTo>
                  <a:cubicBezTo>
                    <a:pt x="392705" y="457267"/>
                    <a:pt x="338163" y="484649"/>
                    <a:pt x="286180" y="502459"/>
                  </a:cubicBezTo>
                  <a:lnTo>
                    <a:pt x="252462" y="5114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F0039EE6-19E5-4457-84A9-3D50560FF71B}"/>
                </a:ext>
              </a:extLst>
            </p:cNvPr>
            <p:cNvSpPr/>
            <p:nvPr/>
          </p:nvSpPr>
          <p:spPr>
            <a:xfrm rot="8716295">
              <a:off x="7635467" y="435609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62946C15-BE3C-45DF-BB3D-128249E4D1A5}"/>
                </a:ext>
              </a:extLst>
            </p:cNvPr>
            <p:cNvSpPr/>
            <p:nvPr/>
          </p:nvSpPr>
          <p:spPr>
            <a:xfrm rot="8716295">
              <a:off x="7770766" y="440035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3C27B629-4EE2-46C6-9535-F5382300825F}"/>
                </a:ext>
              </a:extLst>
            </p:cNvPr>
            <p:cNvSpPr/>
            <p:nvPr/>
          </p:nvSpPr>
          <p:spPr>
            <a:xfrm rot="8716295">
              <a:off x="7465596" y="44901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6592736C-E2B7-4AAA-9132-CE6867AFB7E6}"/>
                </a:ext>
              </a:extLst>
            </p:cNvPr>
            <p:cNvSpPr/>
            <p:nvPr/>
          </p:nvSpPr>
          <p:spPr>
            <a:xfrm rot="8716295">
              <a:off x="7313509" y="4314181"/>
              <a:ext cx="308532" cy="142740"/>
            </a:xfrm>
            <a:custGeom>
              <a:avLst/>
              <a:gdLst>
                <a:gd name="connsiteX0" fmla="*/ 0 w 308532"/>
                <a:gd name="connsiteY0" fmla="*/ 46525 h 142740"/>
                <a:gd name="connsiteX1" fmla="*/ 0 w 308532"/>
                <a:gd name="connsiteY1" fmla="*/ 0 h 142740"/>
                <a:gd name="connsiteX2" fmla="*/ 308532 w 308532"/>
                <a:gd name="connsiteY2" fmla="*/ 0 h 142740"/>
                <a:gd name="connsiteX3" fmla="*/ 308532 w 308532"/>
                <a:gd name="connsiteY3" fmla="*/ 83734 h 142740"/>
                <a:gd name="connsiteX4" fmla="*/ 210465 w 308532"/>
                <a:gd name="connsiteY4" fmla="*/ 83734 h 142740"/>
                <a:gd name="connsiteX5" fmla="*/ 190169 w 308532"/>
                <a:gd name="connsiteY5" fmla="*/ 142740 h 142740"/>
                <a:gd name="connsiteX6" fmla="*/ 100662 w 308532"/>
                <a:gd name="connsiteY6" fmla="*/ 97454 h 142740"/>
                <a:gd name="connsiteX7" fmla="*/ 105610 w 308532"/>
                <a:gd name="connsiteY7" fmla="*/ 83734 h 142740"/>
                <a:gd name="connsiteX8" fmla="*/ 73544 w 308532"/>
                <a:gd name="connsiteY8" fmla="*/ 83734 h 142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532" h="142740">
                  <a:moveTo>
                    <a:pt x="0" y="46525"/>
                  </a:moveTo>
                  <a:lnTo>
                    <a:pt x="0" y="0"/>
                  </a:lnTo>
                  <a:lnTo>
                    <a:pt x="308532" y="0"/>
                  </a:lnTo>
                  <a:lnTo>
                    <a:pt x="308532" y="83734"/>
                  </a:lnTo>
                  <a:lnTo>
                    <a:pt x="210465" y="83734"/>
                  </a:lnTo>
                  <a:lnTo>
                    <a:pt x="190169" y="142740"/>
                  </a:lnTo>
                  <a:lnTo>
                    <a:pt x="100662" y="97454"/>
                  </a:lnTo>
                  <a:lnTo>
                    <a:pt x="105610" y="83734"/>
                  </a:lnTo>
                  <a:lnTo>
                    <a:pt x="73544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39B2926A-51C6-4DDF-86D8-072C96B838B0}"/>
                </a:ext>
              </a:extLst>
            </p:cNvPr>
            <p:cNvSpPr/>
            <p:nvPr/>
          </p:nvSpPr>
          <p:spPr>
            <a:xfrm rot="8716295">
              <a:off x="7602084" y="4552096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A5226D1B-39C8-4DB7-A39D-DE8AE96085BA}"/>
                </a:ext>
              </a:extLst>
            </p:cNvPr>
            <p:cNvSpPr/>
            <p:nvPr/>
          </p:nvSpPr>
          <p:spPr>
            <a:xfrm rot="8716295">
              <a:off x="7233779" y="4339176"/>
              <a:ext cx="112931" cy="98229"/>
            </a:xfrm>
            <a:custGeom>
              <a:avLst/>
              <a:gdLst>
                <a:gd name="connsiteX0" fmla="*/ 0 w 112931"/>
                <a:gd name="connsiteY0" fmla="*/ 49475 h 98229"/>
                <a:gd name="connsiteX1" fmla="*/ 13559 w 112931"/>
                <a:gd name="connsiteY1" fmla="*/ 17362 h 98229"/>
                <a:gd name="connsiteX2" fmla="*/ 54678 w 112931"/>
                <a:gd name="connsiteY2" fmla="*/ 0 h 98229"/>
                <a:gd name="connsiteX3" fmla="*/ 95798 w 112931"/>
                <a:gd name="connsiteY3" fmla="*/ 17362 h 98229"/>
                <a:gd name="connsiteX4" fmla="*/ 112931 w 112931"/>
                <a:gd name="connsiteY4" fmla="*/ 58139 h 98229"/>
                <a:gd name="connsiteX5" fmla="*/ 96365 w 112931"/>
                <a:gd name="connsiteY5" fmla="*/ 98229 h 98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931" h="98229">
                  <a:moveTo>
                    <a:pt x="0" y="49475"/>
                  </a:moveTo>
                  <a:lnTo>
                    <a:pt x="13559" y="17362"/>
                  </a:lnTo>
                  <a:cubicBezTo>
                    <a:pt x="24524" y="6397"/>
                    <a:pt x="39145" y="0"/>
                    <a:pt x="54678" y="0"/>
                  </a:cubicBezTo>
                  <a:cubicBezTo>
                    <a:pt x="70213" y="0"/>
                    <a:pt x="84833" y="6397"/>
                    <a:pt x="95798" y="17362"/>
                  </a:cubicBezTo>
                  <a:cubicBezTo>
                    <a:pt x="107220" y="28327"/>
                    <a:pt x="112931" y="43176"/>
                    <a:pt x="112931" y="58139"/>
                  </a:cubicBezTo>
                  <a:lnTo>
                    <a:pt x="96365" y="9822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B8D891A1-7C58-4828-B849-358D4D72EA90}"/>
                </a:ext>
              </a:extLst>
            </p:cNvPr>
            <p:cNvSpPr/>
            <p:nvPr/>
          </p:nvSpPr>
          <p:spPr>
            <a:xfrm rot="7484129">
              <a:off x="7765134" y="4837237"/>
              <a:ext cx="295167" cy="296463"/>
            </a:xfrm>
            <a:custGeom>
              <a:avLst/>
              <a:gdLst>
                <a:gd name="connsiteX0" fmla="*/ 295165 w 295167"/>
                <a:gd name="connsiteY0" fmla="*/ 83734 h 296463"/>
                <a:gd name="connsiteX1" fmla="*/ 237109 w 295167"/>
                <a:gd name="connsiteY1" fmla="*/ 0 h 296463"/>
                <a:gd name="connsiteX2" fmla="*/ 237110 w 295167"/>
                <a:gd name="connsiteY2" fmla="*/ 0 h 296463"/>
                <a:gd name="connsiteX3" fmla="*/ 295167 w 295167"/>
                <a:gd name="connsiteY3" fmla="*/ 83734 h 296463"/>
                <a:gd name="connsiteX4" fmla="*/ 137293 w 295167"/>
                <a:gd name="connsiteY4" fmla="*/ 296463 h 296463"/>
                <a:gd name="connsiteX5" fmla="*/ 72418 w 295167"/>
                <a:gd name="connsiteY5" fmla="*/ 175766 h 296463"/>
                <a:gd name="connsiteX6" fmla="*/ 105610 w 295167"/>
                <a:gd name="connsiteY6" fmla="*/ 83734 h 296463"/>
                <a:gd name="connsiteX7" fmla="*/ 0 w 295167"/>
                <a:gd name="connsiteY7" fmla="*/ 83734 h 296463"/>
                <a:gd name="connsiteX8" fmla="*/ 0 w 295167"/>
                <a:gd name="connsiteY8" fmla="*/ 0 h 296463"/>
                <a:gd name="connsiteX9" fmla="*/ 126381 w 295167"/>
                <a:gd name="connsiteY9" fmla="*/ 0 h 296463"/>
                <a:gd name="connsiteX10" fmla="*/ 197160 w 295167"/>
                <a:gd name="connsiteY10" fmla="*/ 122416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5167" h="296463">
                  <a:moveTo>
                    <a:pt x="295165" y="83734"/>
                  </a:moveTo>
                  <a:lnTo>
                    <a:pt x="237109" y="0"/>
                  </a:lnTo>
                  <a:lnTo>
                    <a:pt x="237110" y="0"/>
                  </a:lnTo>
                  <a:lnTo>
                    <a:pt x="295167" y="83734"/>
                  </a:lnTo>
                  <a:close/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126381" y="0"/>
                  </a:lnTo>
                  <a:lnTo>
                    <a:pt x="197160" y="1224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527B4309-024C-4B07-A449-12F7536748C5}"/>
                </a:ext>
              </a:extLst>
            </p:cNvPr>
            <p:cNvSpPr/>
            <p:nvPr/>
          </p:nvSpPr>
          <p:spPr>
            <a:xfrm rot="13089394">
              <a:off x="8005038" y="4814171"/>
              <a:ext cx="409104" cy="218063"/>
            </a:xfrm>
            <a:custGeom>
              <a:avLst/>
              <a:gdLst>
                <a:gd name="connsiteX0" fmla="*/ 409104 w 409104"/>
                <a:gd name="connsiteY0" fmla="*/ 110916 h 218063"/>
                <a:gd name="connsiteX1" fmla="*/ 135172 w 409104"/>
                <a:gd name="connsiteY1" fmla="*/ 217816 h 218063"/>
                <a:gd name="connsiteX2" fmla="*/ 32447 w 409104"/>
                <a:gd name="connsiteY2" fmla="*/ 176058 h 218063"/>
                <a:gd name="connsiteX3" fmla="*/ 3843 w 409104"/>
                <a:gd name="connsiteY3" fmla="*/ 119581 h 218063"/>
                <a:gd name="connsiteX4" fmla="*/ 0 w 409104"/>
                <a:gd name="connsiteY4" fmla="*/ 73735 h 218063"/>
                <a:gd name="connsiteX5" fmla="*/ 111583 w 409104"/>
                <a:gd name="connsiteY5" fmla="*/ 0 h 218063"/>
                <a:gd name="connsiteX6" fmla="*/ 112727 w 409104"/>
                <a:gd name="connsiteY6" fmla="*/ 23329 h 218063"/>
                <a:gd name="connsiteX7" fmla="*/ 129325 w 409104"/>
                <a:gd name="connsiteY7" fmla="*/ 91708 h 218063"/>
                <a:gd name="connsiteX8" fmla="*/ 229544 w 409104"/>
                <a:gd name="connsiteY8" fmla="*/ 146828 h 218063"/>
                <a:gd name="connsiteX9" fmla="*/ 304708 w 409104"/>
                <a:gd name="connsiteY9" fmla="*/ 133466 h 218063"/>
                <a:gd name="connsiteX10" fmla="*/ 407434 w 409104"/>
                <a:gd name="connsiteY10" fmla="*/ 91708 h 218063"/>
                <a:gd name="connsiteX11" fmla="*/ 409104 w 409104"/>
                <a:gd name="connsiteY11" fmla="*/ 102564 h 218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9104" h="218063">
                  <a:moveTo>
                    <a:pt x="409104" y="110916"/>
                  </a:moveTo>
                  <a:cubicBezTo>
                    <a:pt x="320577" y="186915"/>
                    <a:pt x="204490" y="213641"/>
                    <a:pt x="135172" y="217816"/>
                  </a:cubicBezTo>
                  <a:cubicBezTo>
                    <a:pt x="96755" y="220322"/>
                    <a:pt x="59173" y="203619"/>
                    <a:pt x="32447" y="176058"/>
                  </a:cubicBezTo>
                  <a:cubicBezTo>
                    <a:pt x="18249" y="162278"/>
                    <a:pt x="9272" y="143487"/>
                    <a:pt x="3843" y="119581"/>
                  </a:cubicBezTo>
                  <a:lnTo>
                    <a:pt x="0" y="73735"/>
                  </a:lnTo>
                  <a:lnTo>
                    <a:pt x="111583" y="0"/>
                  </a:lnTo>
                  <a:lnTo>
                    <a:pt x="112727" y="23329"/>
                  </a:lnTo>
                  <a:cubicBezTo>
                    <a:pt x="116171" y="46609"/>
                    <a:pt x="121808" y="69576"/>
                    <a:pt x="129325" y="91708"/>
                  </a:cubicBezTo>
                  <a:cubicBezTo>
                    <a:pt x="142689" y="128454"/>
                    <a:pt x="176930" y="146828"/>
                    <a:pt x="229544" y="146828"/>
                  </a:cubicBezTo>
                  <a:cubicBezTo>
                    <a:pt x="255435" y="145993"/>
                    <a:pt x="280489" y="140981"/>
                    <a:pt x="304708" y="133466"/>
                  </a:cubicBezTo>
                  <a:cubicBezTo>
                    <a:pt x="339785" y="122608"/>
                    <a:pt x="374027" y="108411"/>
                    <a:pt x="407434" y="91708"/>
                  </a:cubicBezTo>
                  <a:cubicBezTo>
                    <a:pt x="408268" y="95048"/>
                    <a:pt x="409104" y="99224"/>
                    <a:pt x="409104" y="10256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A6665952-BEBA-4083-8857-192589F92F66}"/>
                </a:ext>
              </a:extLst>
            </p:cNvPr>
            <p:cNvSpPr/>
            <p:nvPr/>
          </p:nvSpPr>
          <p:spPr>
            <a:xfrm rot="8716295">
              <a:off x="8200443" y="4500944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48E8912F-96AC-4641-B68F-1FAC8423EE44}"/>
                </a:ext>
              </a:extLst>
            </p:cNvPr>
            <p:cNvSpPr/>
            <p:nvPr/>
          </p:nvSpPr>
          <p:spPr>
            <a:xfrm rot="8716295">
              <a:off x="8122034" y="434415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53758D6F-45BC-4683-9BA4-5F935E950CCD}"/>
                </a:ext>
              </a:extLst>
            </p:cNvPr>
            <p:cNvSpPr/>
            <p:nvPr/>
          </p:nvSpPr>
          <p:spPr>
            <a:xfrm rot="8716295">
              <a:off x="7753870" y="438989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3D33FD22-12AD-4D1A-88D7-5F0D534CAA44}"/>
                </a:ext>
              </a:extLst>
            </p:cNvPr>
            <p:cNvSpPr/>
            <p:nvPr/>
          </p:nvSpPr>
          <p:spPr>
            <a:xfrm rot="8716295">
              <a:off x="8030791" y="4210054"/>
              <a:ext cx="154744" cy="110503"/>
            </a:xfrm>
            <a:custGeom>
              <a:avLst/>
              <a:gdLst>
                <a:gd name="connsiteX0" fmla="*/ 0 w 154744"/>
                <a:gd name="connsiteY0" fmla="*/ 34366 h 110503"/>
                <a:gd name="connsiteX1" fmla="*/ 3342 w 154744"/>
                <a:gd name="connsiteY1" fmla="*/ 26453 h 110503"/>
                <a:gd name="connsiteX2" fmla="*/ 65990 w 154744"/>
                <a:gd name="connsiteY2" fmla="*/ 0 h 110503"/>
                <a:gd name="connsiteX3" fmla="*/ 128640 w 154744"/>
                <a:gd name="connsiteY3" fmla="*/ 26453 h 110503"/>
                <a:gd name="connsiteX4" fmla="*/ 154744 w 154744"/>
                <a:gd name="connsiteY4" fmla="*/ 88580 h 110503"/>
                <a:gd name="connsiteX5" fmla="*/ 150487 w 154744"/>
                <a:gd name="connsiteY5" fmla="*/ 110503 h 110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4744" h="110503">
                  <a:moveTo>
                    <a:pt x="0" y="34366"/>
                  </a:moveTo>
                  <a:lnTo>
                    <a:pt x="3342" y="26453"/>
                  </a:lnTo>
                  <a:cubicBezTo>
                    <a:pt x="20048" y="9746"/>
                    <a:pt x="42323" y="0"/>
                    <a:pt x="65990" y="0"/>
                  </a:cubicBezTo>
                  <a:cubicBezTo>
                    <a:pt x="89659" y="0"/>
                    <a:pt x="111934" y="9746"/>
                    <a:pt x="128640" y="26453"/>
                  </a:cubicBezTo>
                  <a:cubicBezTo>
                    <a:pt x="146043" y="43159"/>
                    <a:pt x="154744" y="65782"/>
                    <a:pt x="154744" y="88580"/>
                  </a:cubicBezTo>
                  <a:lnTo>
                    <a:pt x="150487" y="1105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69" name="Espace réservé pour une image  68">
            <a:extLst>
              <a:ext uri="{FF2B5EF4-FFF2-40B4-BE49-F238E27FC236}">
                <a16:creationId xmlns:a16="http://schemas.microsoft.com/office/drawing/2014/main" id="{407212D0-4ACD-410B-8E9A-EE07511F0C4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9153528" cy="4075643"/>
          </a:xfrm>
          <a:custGeom>
            <a:avLst/>
            <a:gdLst>
              <a:gd name="connsiteX0" fmla="*/ 0 w 9153528"/>
              <a:gd name="connsiteY0" fmla="*/ 5143499 h 5143500"/>
              <a:gd name="connsiteX1" fmla="*/ 9153528 w 9153528"/>
              <a:gd name="connsiteY1" fmla="*/ 5143499 h 5143500"/>
              <a:gd name="connsiteX2" fmla="*/ 9153528 w 9153528"/>
              <a:gd name="connsiteY2" fmla="*/ 5143500 h 5143500"/>
              <a:gd name="connsiteX3" fmla="*/ 0 w 9153528"/>
              <a:gd name="connsiteY3" fmla="*/ 5143500 h 5143500"/>
              <a:gd name="connsiteX4" fmla="*/ 0 w 9153528"/>
              <a:gd name="connsiteY4" fmla="*/ 0 h 5143500"/>
              <a:gd name="connsiteX5" fmla="*/ 9153528 w 9153528"/>
              <a:gd name="connsiteY5" fmla="*/ 0 h 5143500"/>
              <a:gd name="connsiteX6" fmla="*/ 9153528 w 9153528"/>
              <a:gd name="connsiteY6" fmla="*/ 4204192 h 5143500"/>
              <a:gd name="connsiteX7" fmla="*/ 9145341 w 9153528"/>
              <a:gd name="connsiteY7" fmla="*/ 4199282 h 5143500"/>
              <a:gd name="connsiteX8" fmla="*/ 9144001 w 9153528"/>
              <a:gd name="connsiteY8" fmla="*/ 4198735 h 5143500"/>
              <a:gd name="connsiteX9" fmla="*/ 9144001 w 9153528"/>
              <a:gd name="connsiteY9" fmla="*/ 3426281 h 5143500"/>
              <a:gd name="connsiteX10" fmla="*/ 4464473 w 9153528"/>
              <a:gd name="connsiteY10" fmla="*/ 4075643 h 5143500"/>
              <a:gd name="connsiteX11" fmla="*/ 0 w 9153528"/>
              <a:gd name="connsiteY11" fmla="*/ 3708636 h 5143500"/>
              <a:gd name="connsiteX0" fmla="*/ 0 w 9153528"/>
              <a:gd name="connsiteY0" fmla="*/ 5143499 h 5143500"/>
              <a:gd name="connsiteX1" fmla="*/ 9153528 w 9153528"/>
              <a:gd name="connsiteY1" fmla="*/ 5143499 h 5143500"/>
              <a:gd name="connsiteX2" fmla="*/ 9153528 w 9153528"/>
              <a:gd name="connsiteY2" fmla="*/ 5143500 h 5143500"/>
              <a:gd name="connsiteX3" fmla="*/ 0 w 9153528"/>
              <a:gd name="connsiteY3" fmla="*/ 5143500 h 5143500"/>
              <a:gd name="connsiteX4" fmla="*/ 0 w 9153528"/>
              <a:gd name="connsiteY4" fmla="*/ 5143499 h 5143500"/>
              <a:gd name="connsiteX5" fmla="*/ 0 w 9153528"/>
              <a:gd name="connsiteY5" fmla="*/ 0 h 5143500"/>
              <a:gd name="connsiteX6" fmla="*/ 9153528 w 9153528"/>
              <a:gd name="connsiteY6" fmla="*/ 0 h 5143500"/>
              <a:gd name="connsiteX7" fmla="*/ 9153528 w 9153528"/>
              <a:gd name="connsiteY7" fmla="*/ 4204192 h 5143500"/>
              <a:gd name="connsiteX8" fmla="*/ 9145341 w 9153528"/>
              <a:gd name="connsiteY8" fmla="*/ 4199282 h 5143500"/>
              <a:gd name="connsiteX9" fmla="*/ 9144001 w 9153528"/>
              <a:gd name="connsiteY9" fmla="*/ 3426281 h 5143500"/>
              <a:gd name="connsiteX10" fmla="*/ 4464473 w 9153528"/>
              <a:gd name="connsiteY10" fmla="*/ 4075643 h 5143500"/>
              <a:gd name="connsiteX11" fmla="*/ 0 w 9153528"/>
              <a:gd name="connsiteY11" fmla="*/ 3708636 h 5143500"/>
              <a:gd name="connsiteX12" fmla="*/ 0 w 9153528"/>
              <a:gd name="connsiteY12" fmla="*/ 0 h 5143500"/>
              <a:gd name="connsiteX0" fmla="*/ 0 w 9153528"/>
              <a:gd name="connsiteY0" fmla="*/ 5143499 h 5143500"/>
              <a:gd name="connsiteX1" fmla="*/ 9153528 w 9153528"/>
              <a:gd name="connsiteY1" fmla="*/ 5143499 h 5143500"/>
              <a:gd name="connsiteX2" fmla="*/ 9153528 w 9153528"/>
              <a:gd name="connsiteY2" fmla="*/ 5143500 h 5143500"/>
              <a:gd name="connsiteX3" fmla="*/ 0 w 9153528"/>
              <a:gd name="connsiteY3" fmla="*/ 5143500 h 5143500"/>
              <a:gd name="connsiteX4" fmla="*/ 0 w 9153528"/>
              <a:gd name="connsiteY4" fmla="*/ 5143499 h 5143500"/>
              <a:gd name="connsiteX5" fmla="*/ 0 w 9153528"/>
              <a:gd name="connsiteY5" fmla="*/ 0 h 5143500"/>
              <a:gd name="connsiteX6" fmla="*/ 9153528 w 9153528"/>
              <a:gd name="connsiteY6" fmla="*/ 0 h 5143500"/>
              <a:gd name="connsiteX7" fmla="*/ 9153528 w 9153528"/>
              <a:gd name="connsiteY7" fmla="*/ 4204192 h 5143500"/>
              <a:gd name="connsiteX8" fmla="*/ 9144001 w 9153528"/>
              <a:gd name="connsiteY8" fmla="*/ 3426281 h 5143500"/>
              <a:gd name="connsiteX9" fmla="*/ 4464473 w 9153528"/>
              <a:gd name="connsiteY9" fmla="*/ 4075643 h 5143500"/>
              <a:gd name="connsiteX10" fmla="*/ 0 w 9153528"/>
              <a:gd name="connsiteY10" fmla="*/ 3708636 h 5143500"/>
              <a:gd name="connsiteX11" fmla="*/ 0 w 9153528"/>
              <a:gd name="connsiteY11" fmla="*/ 0 h 5143500"/>
              <a:gd name="connsiteX0" fmla="*/ 0 w 9153528"/>
              <a:gd name="connsiteY0" fmla="*/ 5143499 h 5143500"/>
              <a:gd name="connsiteX1" fmla="*/ 9153528 w 9153528"/>
              <a:gd name="connsiteY1" fmla="*/ 5143499 h 5143500"/>
              <a:gd name="connsiteX2" fmla="*/ 9153528 w 9153528"/>
              <a:gd name="connsiteY2" fmla="*/ 5143500 h 5143500"/>
              <a:gd name="connsiteX3" fmla="*/ 0 w 9153528"/>
              <a:gd name="connsiteY3" fmla="*/ 5143500 h 5143500"/>
              <a:gd name="connsiteX4" fmla="*/ 0 w 9153528"/>
              <a:gd name="connsiteY4" fmla="*/ 5143499 h 5143500"/>
              <a:gd name="connsiteX5" fmla="*/ 0 w 9153528"/>
              <a:gd name="connsiteY5" fmla="*/ 0 h 5143500"/>
              <a:gd name="connsiteX6" fmla="*/ 9153528 w 9153528"/>
              <a:gd name="connsiteY6" fmla="*/ 0 h 5143500"/>
              <a:gd name="connsiteX7" fmla="*/ 9144001 w 9153528"/>
              <a:gd name="connsiteY7" fmla="*/ 3426281 h 5143500"/>
              <a:gd name="connsiteX8" fmla="*/ 4464473 w 9153528"/>
              <a:gd name="connsiteY8" fmla="*/ 4075643 h 5143500"/>
              <a:gd name="connsiteX9" fmla="*/ 0 w 9153528"/>
              <a:gd name="connsiteY9" fmla="*/ 3708636 h 5143500"/>
              <a:gd name="connsiteX10" fmla="*/ 0 w 9153528"/>
              <a:gd name="connsiteY10" fmla="*/ 0 h 5143500"/>
              <a:gd name="connsiteX0" fmla="*/ 0 w 9153528"/>
              <a:gd name="connsiteY0" fmla="*/ 5143499 h 5143500"/>
              <a:gd name="connsiteX1" fmla="*/ 9153528 w 9153528"/>
              <a:gd name="connsiteY1" fmla="*/ 5143499 h 5143500"/>
              <a:gd name="connsiteX2" fmla="*/ 0 w 9153528"/>
              <a:gd name="connsiteY2" fmla="*/ 5143500 h 5143500"/>
              <a:gd name="connsiteX3" fmla="*/ 0 w 9153528"/>
              <a:gd name="connsiteY3" fmla="*/ 5143499 h 5143500"/>
              <a:gd name="connsiteX4" fmla="*/ 0 w 9153528"/>
              <a:gd name="connsiteY4" fmla="*/ 0 h 5143500"/>
              <a:gd name="connsiteX5" fmla="*/ 9153528 w 9153528"/>
              <a:gd name="connsiteY5" fmla="*/ 0 h 5143500"/>
              <a:gd name="connsiteX6" fmla="*/ 9144001 w 9153528"/>
              <a:gd name="connsiteY6" fmla="*/ 3426281 h 5143500"/>
              <a:gd name="connsiteX7" fmla="*/ 4464473 w 9153528"/>
              <a:gd name="connsiteY7" fmla="*/ 4075643 h 5143500"/>
              <a:gd name="connsiteX8" fmla="*/ 0 w 9153528"/>
              <a:gd name="connsiteY8" fmla="*/ 3708636 h 5143500"/>
              <a:gd name="connsiteX9" fmla="*/ 0 w 9153528"/>
              <a:gd name="connsiteY9" fmla="*/ 0 h 5143500"/>
              <a:gd name="connsiteX0" fmla="*/ 0 w 9153528"/>
              <a:gd name="connsiteY0" fmla="*/ 5143499 h 5143500"/>
              <a:gd name="connsiteX1" fmla="*/ 0 w 9153528"/>
              <a:gd name="connsiteY1" fmla="*/ 5143500 h 5143500"/>
              <a:gd name="connsiteX2" fmla="*/ 0 w 9153528"/>
              <a:gd name="connsiteY2" fmla="*/ 5143499 h 5143500"/>
              <a:gd name="connsiteX3" fmla="*/ 0 w 9153528"/>
              <a:gd name="connsiteY3" fmla="*/ 0 h 5143500"/>
              <a:gd name="connsiteX4" fmla="*/ 9153528 w 9153528"/>
              <a:gd name="connsiteY4" fmla="*/ 0 h 5143500"/>
              <a:gd name="connsiteX5" fmla="*/ 9144001 w 9153528"/>
              <a:gd name="connsiteY5" fmla="*/ 3426281 h 5143500"/>
              <a:gd name="connsiteX6" fmla="*/ 4464473 w 9153528"/>
              <a:gd name="connsiteY6" fmla="*/ 4075643 h 5143500"/>
              <a:gd name="connsiteX7" fmla="*/ 0 w 9153528"/>
              <a:gd name="connsiteY7" fmla="*/ 3708636 h 5143500"/>
              <a:gd name="connsiteX8" fmla="*/ 0 w 9153528"/>
              <a:gd name="connsiteY8" fmla="*/ 0 h 5143500"/>
              <a:gd name="connsiteX0" fmla="*/ 0 w 9153528"/>
              <a:gd name="connsiteY0" fmla="*/ 0 h 4075643"/>
              <a:gd name="connsiteX1" fmla="*/ 9153528 w 9153528"/>
              <a:gd name="connsiteY1" fmla="*/ 0 h 4075643"/>
              <a:gd name="connsiteX2" fmla="*/ 9144001 w 9153528"/>
              <a:gd name="connsiteY2" fmla="*/ 3426281 h 4075643"/>
              <a:gd name="connsiteX3" fmla="*/ 4464473 w 9153528"/>
              <a:gd name="connsiteY3" fmla="*/ 4075643 h 4075643"/>
              <a:gd name="connsiteX4" fmla="*/ 0 w 9153528"/>
              <a:gd name="connsiteY4" fmla="*/ 3708636 h 4075643"/>
              <a:gd name="connsiteX5" fmla="*/ 0 w 9153528"/>
              <a:gd name="connsiteY5" fmla="*/ 0 h 4075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53528" h="4075643">
                <a:moveTo>
                  <a:pt x="0" y="0"/>
                </a:moveTo>
                <a:lnTo>
                  <a:pt x="9153528" y="0"/>
                </a:lnTo>
                <a:cubicBezTo>
                  <a:pt x="9150352" y="1142094"/>
                  <a:pt x="9147177" y="2284187"/>
                  <a:pt x="9144001" y="3426281"/>
                </a:cubicBezTo>
                <a:lnTo>
                  <a:pt x="4464473" y="4075643"/>
                </a:lnTo>
                <a:lnTo>
                  <a:pt x="0" y="3708636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  <p:pic>
        <p:nvPicPr>
          <p:cNvPr id="3" name="Graphique 2">
            <a:extLst>
              <a:ext uri="{FF2B5EF4-FFF2-40B4-BE49-F238E27FC236}">
                <a16:creationId xmlns:a16="http://schemas.microsoft.com/office/drawing/2014/main" id="{E7008A4A-56ED-4B79-8C76-07B31083E9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6275" y="4150109"/>
            <a:ext cx="2174263" cy="648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50507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uverture 2 - C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e libre : forme 4">
            <a:extLst>
              <a:ext uri="{FF2B5EF4-FFF2-40B4-BE49-F238E27FC236}">
                <a16:creationId xmlns:a16="http://schemas.microsoft.com/office/drawing/2014/main" id="{6BBA7953-6320-4985-B304-CAEF45B84CC1}"/>
              </a:ext>
            </a:extLst>
          </p:cNvPr>
          <p:cNvSpPr/>
          <p:nvPr userDrawn="1"/>
        </p:nvSpPr>
        <p:spPr>
          <a:xfrm rot="16200000">
            <a:off x="6276217" y="2274933"/>
            <a:ext cx="1037443" cy="4698124"/>
          </a:xfrm>
          <a:custGeom>
            <a:avLst/>
            <a:gdLst>
              <a:gd name="connsiteX0" fmla="*/ 1037443 w 1037443"/>
              <a:gd name="connsiteY0" fmla="*/ 4698124 h 4698124"/>
              <a:gd name="connsiteX1" fmla="*/ 0 w 1037443"/>
              <a:gd name="connsiteY1" fmla="*/ 4698124 h 4698124"/>
              <a:gd name="connsiteX2" fmla="*/ 386215 w 1037443"/>
              <a:gd name="connsiteY2" fmla="*/ 0 h 4698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37443" h="4698124">
                <a:moveTo>
                  <a:pt x="1037443" y="4698124"/>
                </a:moveTo>
                <a:lnTo>
                  <a:pt x="0" y="4698124"/>
                </a:lnTo>
                <a:lnTo>
                  <a:pt x="386215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48FA6A4C-949D-4D78-851A-5D85C0ACA219}"/>
              </a:ext>
            </a:extLst>
          </p:cNvPr>
          <p:cNvGrpSpPr/>
          <p:nvPr userDrawn="1"/>
        </p:nvGrpSpPr>
        <p:grpSpPr>
          <a:xfrm>
            <a:off x="4782105" y="4078441"/>
            <a:ext cx="4416497" cy="1125022"/>
            <a:chOff x="4782105" y="4078441"/>
            <a:chExt cx="4416497" cy="1125022"/>
          </a:xfrm>
          <a:solidFill>
            <a:schemeClr val="bg2">
              <a:alpha val="10000"/>
            </a:schemeClr>
          </a:solidFill>
        </p:grpSpPr>
        <p:sp>
          <p:nvSpPr>
            <p:cNvPr id="7" name="Forme libre : forme 6">
              <a:extLst>
                <a:ext uri="{FF2B5EF4-FFF2-40B4-BE49-F238E27FC236}">
                  <a16:creationId xmlns:a16="http://schemas.microsoft.com/office/drawing/2014/main" id="{791FB8C9-9221-4E4C-A4AC-2AAD9F08AE59}"/>
                </a:ext>
              </a:extLst>
            </p:cNvPr>
            <p:cNvSpPr/>
            <p:nvPr/>
          </p:nvSpPr>
          <p:spPr>
            <a:xfrm rot="8716295">
              <a:off x="8490768" y="467807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CAEA067D-BF83-4ED3-87B4-BB06FFFF2B66}"/>
                </a:ext>
              </a:extLst>
            </p:cNvPr>
            <p:cNvSpPr/>
            <p:nvPr/>
          </p:nvSpPr>
          <p:spPr>
            <a:xfrm rot="8716295">
              <a:off x="5559260" y="4523190"/>
              <a:ext cx="215177" cy="303156"/>
            </a:xfrm>
            <a:custGeom>
              <a:avLst/>
              <a:gdLst>
                <a:gd name="connsiteX0" fmla="*/ 122761 w 215177"/>
                <a:gd name="connsiteY0" fmla="*/ 256399 h 303156"/>
                <a:gd name="connsiteX1" fmla="*/ 122761 w 215177"/>
                <a:gd name="connsiteY1" fmla="*/ 105519 h 303156"/>
                <a:gd name="connsiteX2" fmla="*/ 122761 w 215177"/>
                <a:gd name="connsiteY2" fmla="*/ 99312 h 303156"/>
                <a:gd name="connsiteX3" fmla="*/ 91726 w 215177"/>
                <a:gd name="connsiteY3" fmla="*/ 75863 h 303156"/>
                <a:gd name="connsiteX4" fmla="*/ 0 w 215177"/>
                <a:gd name="connsiteY4" fmla="*/ 75863 h 303156"/>
                <a:gd name="connsiteX5" fmla="*/ 0 w 215177"/>
                <a:gd name="connsiteY5" fmla="*/ 0 h 303156"/>
                <a:gd name="connsiteX6" fmla="*/ 128968 w 215177"/>
                <a:gd name="connsiteY6" fmla="*/ 0 h 303156"/>
                <a:gd name="connsiteX7" fmla="*/ 215177 w 215177"/>
                <a:gd name="connsiteY7" fmla="*/ 75863 h 303156"/>
                <a:gd name="connsiteX8" fmla="*/ 215176 w 215177"/>
                <a:gd name="connsiteY8" fmla="*/ 303156 h 303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5177" h="303156">
                  <a:moveTo>
                    <a:pt x="122761" y="25639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0"/>
                  </a:lnTo>
                  <a:lnTo>
                    <a:pt x="128968" y="0"/>
                  </a:lnTo>
                  <a:cubicBezTo>
                    <a:pt x="184831" y="0"/>
                    <a:pt x="215176" y="24139"/>
                    <a:pt x="215177" y="75863"/>
                  </a:cubicBezTo>
                  <a:lnTo>
                    <a:pt x="215176" y="30315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ADF38186-185D-41F8-A6B1-FB10366A4CEE}"/>
                </a:ext>
              </a:extLst>
            </p:cNvPr>
            <p:cNvSpPr/>
            <p:nvPr/>
          </p:nvSpPr>
          <p:spPr>
            <a:xfrm rot="8716295">
              <a:off x="5692925" y="4561542"/>
              <a:ext cx="393603" cy="335006"/>
            </a:xfrm>
            <a:custGeom>
              <a:avLst/>
              <a:gdLst>
                <a:gd name="connsiteX0" fmla="*/ 77932 w 393603"/>
                <a:gd name="connsiteY0" fmla="*/ 299055 h 335006"/>
                <a:gd name="connsiteX1" fmla="*/ 77932 w 393603"/>
                <a:gd name="connsiteY1" fmla="*/ 66897 h 335006"/>
                <a:gd name="connsiteX2" fmla="*/ 0 w 393603"/>
                <a:gd name="connsiteY2" fmla="*/ 66898 h 335006"/>
                <a:gd name="connsiteX3" fmla="*/ 0 w 393603"/>
                <a:gd name="connsiteY3" fmla="*/ 0 h 335006"/>
                <a:gd name="connsiteX4" fmla="*/ 158623 w 393603"/>
                <a:gd name="connsiteY4" fmla="*/ 1 h 335006"/>
                <a:gd name="connsiteX5" fmla="*/ 158623 w 393603"/>
                <a:gd name="connsiteY5" fmla="*/ 111726 h 335006"/>
                <a:gd name="connsiteX6" fmla="*/ 160692 w 393603"/>
                <a:gd name="connsiteY6" fmla="*/ 111726 h 335006"/>
                <a:gd name="connsiteX7" fmla="*/ 192762 w 393603"/>
                <a:gd name="connsiteY7" fmla="*/ 39915 h 335006"/>
                <a:gd name="connsiteX8" fmla="*/ 231959 w 393603"/>
                <a:gd name="connsiteY8" fmla="*/ 7837 h 335006"/>
                <a:gd name="connsiteX9" fmla="*/ 393603 w 393603"/>
                <a:gd name="connsiteY9" fmla="*/ 140745 h 335006"/>
                <a:gd name="connsiteX10" fmla="*/ 300695 w 393603"/>
                <a:gd name="connsiteY10" fmla="*/ 146210 h 335006"/>
                <a:gd name="connsiteX11" fmla="*/ 300694 w 393603"/>
                <a:gd name="connsiteY11" fmla="*/ 121382 h 335006"/>
                <a:gd name="connsiteX12" fmla="*/ 249659 w 393603"/>
                <a:gd name="connsiteY12" fmla="*/ 58622 h 335006"/>
                <a:gd name="connsiteX13" fmla="*/ 168969 w 393603"/>
                <a:gd name="connsiteY13" fmla="*/ 191038 h 335006"/>
                <a:gd name="connsiteX14" fmla="*/ 168969 w 393603"/>
                <a:gd name="connsiteY14" fmla="*/ 321385 h 335006"/>
                <a:gd name="connsiteX15" fmla="*/ 148991 w 393603"/>
                <a:gd name="connsiteY15" fmla="*/ 335006 h 335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93603" h="335006">
                  <a:moveTo>
                    <a:pt x="77932" y="299055"/>
                  </a:moveTo>
                  <a:lnTo>
                    <a:pt x="77932" y="66897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1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71727" y="78967"/>
                    <a:pt x="181555" y="56208"/>
                    <a:pt x="192762" y="39915"/>
                  </a:cubicBezTo>
                  <a:lnTo>
                    <a:pt x="231959" y="7837"/>
                  </a:lnTo>
                  <a:lnTo>
                    <a:pt x="393603" y="140745"/>
                  </a:lnTo>
                  <a:lnTo>
                    <a:pt x="300695" y="146210"/>
                  </a:lnTo>
                  <a:lnTo>
                    <a:pt x="300694" y="121382"/>
                  </a:lnTo>
                  <a:cubicBezTo>
                    <a:pt x="300695" y="84140"/>
                    <a:pt x="279316" y="58622"/>
                    <a:pt x="249659" y="58622"/>
                  </a:cubicBezTo>
                  <a:cubicBezTo>
                    <a:pt x="205521" y="58621"/>
                    <a:pt x="168969" y="117244"/>
                    <a:pt x="168969" y="191038"/>
                  </a:cubicBezTo>
                  <a:lnTo>
                    <a:pt x="168969" y="321385"/>
                  </a:lnTo>
                  <a:lnTo>
                    <a:pt x="148991" y="33500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4B724F9D-95FF-4F02-B59A-7E5AC8B98AC8}"/>
                </a:ext>
              </a:extLst>
            </p:cNvPr>
            <p:cNvSpPr/>
            <p:nvPr/>
          </p:nvSpPr>
          <p:spPr>
            <a:xfrm rot="8716295">
              <a:off x="5659234" y="4556420"/>
              <a:ext cx="113018" cy="83608"/>
            </a:xfrm>
            <a:custGeom>
              <a:avLst/>
              <a:gdLst>
                <a:gd name="connsiteX0" fmla="*/ 0 w 113018"/>
                <a:gd name="connsiteY0" fmla="*/ 32910 h 83608"/>
                <a:gd name="connsiteX1" fmla="*/ 24482 w 113018"/>
                <a:gd name="connsiteY1" fmla="*/ 13621 h 83608"/>
                <a:gd name="connsiteX2" fmla="*/ 70259 w 113018"/>
                <a:gd name="connsiteY2" fmla="*/ 0 h 83608"/>
                <a:gd name="connsiteX3" fmla="*/ 113018 w 113018"/>
                <a:gd name="connsiteY3" fmla="*/ 51035 h 83608"/>
                <a:gd name="connsiteX4" fmla="*/ 100518 w 113018"/>
                <a:gd name="connsiteY4" fmla="*/ 83363 h 83608"/>
                <a:gd name="connsiteX5" fmla="*/ 100204 w 113018"/>
                <a:gd name="connsiteY5" fmla="*/ 83608 h 83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018" h="83608">
                  <a:moveTo>
                    <a:pt x="0" y="32910"/>
                  </a:moveTo>
                  <a:lnTo>
                    <a:pt x="24482" y="13621"/>
                  </a:lnTo>
                  <a:cubicBezTo>
                    <a:pt x="38534" y="6380"/>
                    <a:pt x="54052" y="1725"/>
                    <a:pt x="70259" y="0"/>
                  </a:cubicBezTo>
                  <a:cubicBezTo>
                    <a:pt x="103363" y="0"/>
                    <a:pt x="113018" y="28966"/>
                    <a:pt x="113018" y="51035"/>
                  </a:cubicBezTo>
                  <a:cubicBezTo>
                    <a:pt x="111984" y="63105"/>
                    <a:pt x="107501" y="74139"/>
                    <a:pt x="100518" y="83363"/>
                  </a:cubicBezTo>
                  <a:lnTo>
                    <a:pt x="100204" y="8360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D01436B5-D8EB-44DF-8B51-633BF4E9FB42}"/>
                </a:ext>
              </a:extLst>
            </p:cNvPr>
            <p:cNvSpPr/>
            <p:nvPr/>
          </p:nvSpPr>
          <p:spPr>
            <a:xfrm rot="8716295">
              <a:off x="5371633" y="4613095"/>
              <a:ext cx="88105" cy="83851"/>
            </a:xfrm>
            <a:custGeom>
              <a:avLst/>
              <a:gdLst>
                <a:gd name="connsiteX0" fmla="*/ 6112 w 88105"/>
                <a:gd name="connsiteY0" fmla="*/ 59305 h 83851"/>
                <a:gd name="connsiteX1" fmla="*/ 0 w 88105"/>
                <a:gd name="connsiteY1" fmla="*/ 44829 h 83851"/>
                <a:gd name="connsiteX2" fmla="*/ 0 w 88105"/>
                <a:gd name="connsiteY2" fmla="*/ 44139 h 83851"/>
                <a:gd name="connsiteX3" fmla="*/ 13104 w 88105"/>
                <a:gd name="connsiteY3" fmla="*/ 13104 h 83851"/>
                <a:gd name="connsiteX4" fmla="*/ 44139 w 88105"/>
                <a:gd name="connsiteY4" fmla="*/ 0 h 83851"/>
                <a:gd name="connsiteX5" fmla="*/ 75175 w 88105"/>
                <a:gd name="connsiteY5" fmla="*/ 13104 h 83851"/>
                <a:gd name="connsiteX6" fmla="*/ 75175 w 88105"/>
                <a:gd name="connsiteY6" fmla="*/ 75175 h 83851"/>
                <a:gd name="connsiteX7" fmla="*/ 54626 w 88105"/>
                <a:gd name="connsiteY7" fmla="*/ 83851 h 83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105" h="83851">
                  <a:moveTo>
                    <a:pt x="6112" y="59305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cubicBezTo>
                    <a:pt x="55864" y="0"/>
                    <a:pt x="66899" y="4828"/>
                    <a:pt x="75175" y="13104"/>
                  </a:cubicBezTo>
                  <a:cubicBezTo>
                    <a:pt x="92416" y="29657"/>
                    <a:pt x="92416" y="57933"/>
                    <a:pt x="75175" y="75175"/>
                  </a:cubicBezTo>
                  <a:lnTo>
                    <a:pt x="54626" y="8385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6F3BF20E-F037-4374-BB41-095B54D26F08}"/>
                </a:ext>
              </a:extLst>
            </p:cNvPr>
            <p:cNvSpPr/>
            <p:nvPr/>
          </p:nvSpPr>
          <p:spPr>
            <a:xfrm rot="8716295">
              <a:off x="5473646" y="4706746"/>
              <a:ext cx="91035" cy="188159"/>
            </a:xfrm>
            <a:custGeom>
              <a:avLst/>
              <a:gdLst>
                <a:gd name="connsiteX0" fmla="*/ 91035 w 91035"/>
                <a:gd name="connsiteY0" fmla="*/ 188159 h 188159"/>
                <a:gd name="connsiteX1" fmla="*/ 0 w 91035"/>
                <a:gd name="connsiteY1" fmla="*/ 100571 h 188159"/>
                <a:gd name="connsiteX2" fmla="*/ 0 w 91035"/>
                <a:gd name="connsiteY2" fmla="*/ 0 h 188159"/>
                <a:gd name="connsiteX3" fmla="*/ 91035 w 91035"/>
                <a:gd name="connsiteY3" fmla="*/ 74852 h 188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188159">
                  <a:moveTo>
                    <a:pt x="91035" y="188159"/>
                  </a:moveTo>
                  <a:lnTo>
                    <a:pt x="0" y="100571"/>
                  </a:lnTo>
                  <a:lnTo>
                    <a:pt x="0" y="0"/>
                  </a:lnTo>
                  <a:lnTo>
                    <a:pt x="91035" y="748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BBB1D061-FD31-402D-BCCB-6813149262F1}"/>
                </a:ext>
              </a:extLst>
            </p:cNvPr>
            <p:cNvSpPr/>
            <p:nvPr/>
          </p:nvSpPr>
          <p:spPr>
            <a:xfrm rot="8716295">
              <a:off x="6218962" y="4454620"/>
              <a:ext cx="171018" cy="106515"/>
            </a:xfrm>
            <a:custGeom>
              <a:avLst/>
              <a:gdLst>
                <a:gd name="connsiteX0" fmla="*/ 0 w 171018"/>
                <a:gd name="connsiteY0" fmla="*/ 19991 h 106515"/>
                <a:gd name="connsiteX1" fmla="*/ 13365 w 171018"/>
                <a:gd name="connsiteY1" fmla="*/ 9053 h 106515"/>
                <a:gd name="connsiteX2" fmla="*/ 60952 w 171018"/>
                <a:gd name="connsiteY2" fmla="*/ 87 h 106515"/>
                <a:gd name="connsiteX3" fmla="*/ 166956 w 171018"/>
                <a:gd name="connsiteY3" fmla="*/ 76705 h 106515"/>
                <a:gd name="connsiteX4" fmla="*/ 171018 w 171018"/>
                <a:gd name="connsiteY4" fmla="*/ 106515 h 106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018" h="106515">
                  <a:moveTo>
                    <a:pt x="0" y="19991"/>
                  </a:moveTo>
                  <a:lnTo>
                    <a:pt x="13365" y="9053"/>
                  </a:lnTo>
                  <a:cubicBezTo>
                    <a:pt x="28538" y="2846"/>
                    <a:pt x="44400" y="-602"/>
                    <a:pt x="60952" y="87"/>
                  </a:cubicBezTo>
                  <a:cubicBezTo>
                    <a:pt x="114229" y="-948"/>
                    <a:pt x="151600" y="26725"/>
                    <a:pt x="166956" y="76705"/>
                  </a:cubicBezTo>
                  <a:lnTo>
                    <a:pt x="171018" y="10651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B49834EB-4686-4A9A-AFBE-353B0A4BB9CC}"/>
                </a:ext>
              </a:extLst>
            </p:cNvPr>
            <p:cNvSpPr/>
            <p:nvPr/>
          </p:nvSpPr>
          <p:spPr>
            <a:xfrm rot="8716295">
              <a:off x="6005990" y="4487669"/>
              <a:ext cx="156555" cy="122067"/>
            </a:xfrm>
            <a:custGeom>
              <a:avLst/>
              <a:gdLst>
                <a:gd name="connsiteX0" fmla="*/ 65519 w 156555"/>
                <a:gd name="connsiteY0" fmla="*/ 76009 h 122067"/>
                <a:gd name="connsiteX1" fmla="*/ 65519 w 156555"/>
                <a:gd name="connsiteY1" fmla="*/ 24828 h 122067"/>
                <a:gd name="connsiteX2" fmla="*/ 0 w 156555"/>
                <a:gd name="connsiteY2" fmla="*/ 24828 h 122067"/>
                <a:gd name="connsiteX3" fmla="*/ 0 w 156555"/>
                <a:gd name="connsiteY3" fmla="*/ 3449 h 122067"/>
                <a:gd name="connsiteX4" fmla="*/ 156555 w 156555"/>
                <a:gd name="connsiteY4" fmla="*/ 0 h 122067"/>
                <a:gd name="connsiteX5" fmla="*/ 156554 w 156555"/>
                <a:gd name="connsiteY5" fmla="*/ 122067 h 122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6555" h="122067">
                  <a:moveTo>
                    <a:pt x="65519" y="76009"/>
                  </a:moveTo>
                  <a:lnTo>
                    <a:pt x="65519" y="24828"/>
                  </a:lnTo>
                  <a:lnTo>
                    <a:pt x="0" y="24828"/>
                  </a:lnTo>
                  <a:lnTo>
                    <a:pt x="0" y="3449"/>
                  </a:lnTo>
                  <a:cubicBezTo>
                    <a:pt x="49656" y="5517"/>
                    <a:pt x="101381" y="1379"/>
                    <a:pt x="156555" y="0"/>
                  </a:cubicBezTo>
                  <a:lnTo>
                    <a:pt x="156554" y="1220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676F5558-2730-4CE0-B993-EAC478371730}"/>
                </a:ext>
              </a:extLst>
            </p:cNvPr>
            <p:cNvSpPr/>
            <p:nvPr/>
          </p:nvSpPr>
          <p:spPr>
            <a:xfrm rot="7484129">
              <a:off x="6103422" y="4586563"/>
              <a:ext cx="308532" cy="296464"/>
            </a:xfrm>
            <a:custGeom>
              <a:avLst/>
              <a:gdLst>
                <a:gd name="connsiteX0" fmla="*/ 137293 w 308532"/>
                <a:gd name="connsiteY0" fmla="*/ 296464 h 296464"/>
                <a:gd name="connsiteX1" fmla="*/ 72419 w 308532"/>
                <a:gd name="connsiteY1" fmla="*/ 175766 h 296464"/>
                <a:gd name="connsiteX2" fmla="*/ 105610 w 308532"/>
                <a:gd name="connsiteY2" fmla="*/ 83734 h 296464"/>
                <a:gd name="connsiteX3" fmla="*/ 0 w 308532"/>
                <a:gd name="connsiteY3" fmla="*/ 83734 h 296464"/>
                <a:gd name="connsiteX4" fmla="*/ 0 w 308532"/>
                <a:gd name="connsiteY4" fmla="*/ 0 h 296464"/>
                <a:gd name="connsiteX5" fmla="*/ 265017 w 308532"/>
                <a:gd name="connsiteY5" fmla="*/ 0 h 296464"/>
                <a:gd name="connsiteX6" fmla="*/ 308532 w 308532"/>
                <a:gd name="connsiteY6" fmla="*/ 75260 h 296464"/>
                <a:gd name="connsiteX7" fmla="*/ 308532 w 308532"/>
                <a:gd name="connsiteY7" fmla="*/ 83734 h 296464"/>
                <a:gd name="connsiteX8" fmla="*/ 210466 w 308532"/>
                <a:gd name="connsiteY8" fmla="*/ 83734 h 296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532" h="296464">
                  <a:moveTo>
                    <a:pt x="137293" y="296464"/>
                  </a:moveTo>
                  <a:lnTo>
                    <a:pt x="72419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65017" y="0"/>
                  </a:lnTo>
                  <a:lnTo>
                    <a:pt x="308532" y="75260"/>
                  </a:lnTo>
                  <a:lnTo>
                    <a:pt x="308532" y="83734"/>
                  </a:lnTo>
                  <a:lnTo>
                    <a:pt x="210466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6446F284-DF3B-4BD3-84E9-63513197872A}"/>
                </a:ext>
              </a:extLst>
            </p:cNvPr>
            <p:cNvSpPr/>
            <p:nvPr/>
          </p:nvSpPr>
          <p:spPr>
            <a:xfrm rot="13089394">
              <a:off x="6309616" y="4543919"/>
              <a:ext cx="412568" cy="359948"/>
            </a:xfrm>
            <a:custGeom>
              <a:avLst/>
              <a:gdLst>
                <a:gd name="connsiteX0" fmla="*/ 412568 w 412568"/>
                <a:gd name="connsiteY0" fmla="*/ 252801 h 359948"/>
                <a:gd name="connsiteX1" fmla="*/ 138636 w 412568"/>
                <a:gd name="connsiteY1" fmla="*/ 359701 h 359948"/>
                <a:gd name="connsiteX2" fmla="*/ 35911 w 412568"/>
                <a:gd name="connsiteY2" fmla="*/ 317943 h 359948"/>
                <a:gd name="connsiteX3" fmla="*/ 0 w 412568"/>
                <a:gd name="connsiteY3" fmla="*/ 174296 h 359948"/>
                <a:gd name="connsiteX4" fmla="*/ 0 w 412568"/>
                <a:gd name="connsiteY4" fmla="*/ 74054 h 359948"/>
                <a:gd name="connsiteX5" fmla="*/ 112066 w 412568"/>
                <a:gd name="connsiteY5" fmla="*/ 0 h 359948"/>
                <a:gd name="connsiteX6" fmla="*/ 112747 w 412568"/>
                <a:gd name="connsiteY6" fmla="*/ 94956 h 359948"/>
                <a:gd name="connsiteX7" fmla="*/ 132789 w 412568"/>
                <a:gd name="connsiteY7" fmla="*/ 233593 h 359948"/>
                <a:gd name="connsiteX8" fmla="*/ 233008 w 412568"/>
                <a:gd name="connsiteY8" fmla="*/ 288713 h 359948"/>
                <a:gd name="connsiteX9" fmla="*/ 308172 w 412568"/>
                <a:gd name="connsiteY9" fmla="*/ 275351 h 359948"/>
                <a:gd name="connsiteX10" fmla="*/ 410898 w 412568"/>
                <a:gd name="connsiteY10" fmla="*/ 233593 h 359948"/>
                <a:gd name="connsiteX11" fmla="*/ 412568 w 412568"/>
                <a:gd name="connsiteY11" fmla="*/ 244449 h 359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2568" h="359948">
                  <a:moveTo>
                    <a:pt x="412568" y="252801"/>
                  </a:moveTo>
                  <a:cubicBezTo>
                    <a:pt x="324041" y="328800"/>
                    <a:pt x="207954" y="355526"/>
                    <a:pt x="138636" y="359701"/>
                  </a:cubicBezTo>
                  <a:cubicBezTo>
                    <a:pt x="100219" y="362207"/>
                    <a:pt x="62637" y="345504"/>
                    <a:pt x="35911" y="317943"/>
                  </a:cubicBezTo>
                  <a:cubicBezTo>
                    <a:pt x="7516" y="290383"/>
                    <a:pt x="0" y="242779"/>
                    <a:pt x="0" y="174296"/>
                  </a:cubicBezTo>
                  <a:lnTo>
                    <a:pt x="0" y="74054"/>
                  </a:lnTo>
                  <a:lnTo>
                    <a:pt x="112066" y="0"/>
                  </a:lnTo>
                  <a:lnTo>
                    <a:pt x="112747" y="94956"/>
                  </a:lnTo>
                  <a:cubicBezTo>
                    <a:pt x="110241" y="141725"/>
                    <a:pt x="117756" y="189329"/>
                    <a:pt x="132789" y="233593"/>
                  </a:cubicBezTo>
                  <a:cubicBezTo>
                    <a:pt x="146153" y="270339"/>
                    <a:pt x="180394" y="288713"/>
                    <a:pt x="233008" y="288713"/>
                  </a:cubicBezTo>
                  <a:cubicBezTo>
                    <a:pt x="258899" y="287878"/>
                    <a:pt x="283953" y="282866"/>
                    <a:pt x="308172" y="275351"/>
                  </a:cubicBezTo>
                  <a:cubicBezTo>
                    <a:pt x="343249" y="264493"/>
                    <a:pt x="377491" y="250296"/>
                    <a:pt x="410898" y="233593"/>
                  </a:cubicBezTo>
                  <a:cubicBezTo>
                    <a:pt x="411732" y="236933"/>
                    <a:pt x="412568" y="241109"/>
                    <a:pt x="412568" y="24444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88875692-D947-4058-8206-44233A06BFD3}"/>
                </a:ext>
              </a:extLst>
            </p:cNvPr>
            <p:cNvSpPr/>
            <p:nvPr/>
          </p:nvSpPr>
          <p:spPr>
            <a:xfrm rot="8716295">
              <a:off x="6597507" y="4422612"/>
              <a:ext cx="149044" cy="111064"/>
            </a:xfrm>
            <a:custGeom>
              <a:avLst/>
              <a:gdLst>
                <a:gd name="connsiteX0" fmla="*/ 0 w 149044"/>
                <a:gd name="connsiteY0" fmla="*/ 51375 h 111064"/>
                <a:gd name="connsiteX1" fmla="*/ 1002 w 149044"/>
                <a:gd name="connsiteY1" fmla="*/ 50432 h 111064"/>
                <a:gd name="connsiteX2" fmla="*/ 98612 w 149044"/>
                <a:gd name="connsiteY2" fmla="*/ 0 h 111064"/>
                <a:gd name="connsiteX3" fmla="*/ 149044 w 149044"/>
                <a:gd name="connsiteY3" fmla="*/ 60193 h 111064"/>
                <a:gd name="connsiteX4" fmla="*/ 134300 w 149044"/>
                <a:gd name="connsiteY4" fmla="*/ 98322 h 111064"/>
                <a:gd name="connsiteX5" fmla="*/ 117977 w 149044"/>
                <a:gd name="connsiteY5" fmla="*/ 111064 h 111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044" h="111064">
                  <a:moveTo>
                    <a:pt x="0" y="51375"/>
                  </a:moveTo>
                  <a:lnTo>
                    <a:pt x="1002" y="50432"/>
                  </a:lnTo>
                  <a:cubicBezTo>
                    <a:pt x="25404" y="21963"/>
                    <a:pt x="60381" y="4067"/>
                    <a:pt x="98612" y="0"/>
                  </a:cubicBezTo>
                  <a:cubicBezTo>
                    <a:pt x="137657" y="0"/>
                    <a:pt x="149044" y="34164"/>
                    <a:pt x="149044" y="60193"/>
                  </a:cubicBezTo>
                  <a:cubicBezTo>
                    <a:pt x="147824" y="74428"/>
                    <a:pt x="142536" y="87443"/>
                    <a:pt x="134300" y="98322"/>
                  </a:cubicBezTo>
                  <a:lnTo>
                    <a:pt x="117977" y="1110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371804DA-D0A5-4840-894B-07AAE1064663}"/>
                </a:ext>
              </a:extLst>
            </p:cNvPr>
            <p:cNvSpPr/>
            <p:nvPr/>
          </p:nvSpPr>
          <p:spPr>
            <a:xfrm rot="8716295">
              <a:off x="6708126" y="4876229"/>
              <a:ext cx="139286" cy="121327"/>
            </a:xfrm>
            <a:custGeom>
              <a:avLst/>
              <a:gdLst>
                <a:gd name="connsiteX0" fmla="*/ 26453 w 139286"/>
                <a:gd name="connsiteY0" fmla="*/ 96267 h 121327"/>
                <a:gd name="connsiteX1" fmla="*/ 0 w 139286"/>
                <a:gd name="connsiteY1" fmla="*/ 33618 h 121327"/>
                <a:gd name="connsiteX2" fmla="*/ 0 w 139286"/>
                <a:gd name="connsiteY2" fmla="*/ 32225 h 121327"/>
                <a:gd name="connsiteX3" fmla="*/ 13607 w 139286"/>
                <a:gd name="connsiteY3" fmla="*/ 0 h 121327"/>
                <a:gd name="connsiteX4" fmla="*/ 139286 w 139286"/>
                <a:gd name="connsiteY4" fmla="*/ 103337 h 121327"/>
                <a:gd name="connsiteX5" fmla="*/ 123037 w 139286"/>
                <a:gd name="connsiteY5" fmla="*/ 114366 h 121327"/>
                <a:gd name="connsiteX6" fmla="*/ 89101 w 139286"/>
                <a:gd name="connsiteY6" fmla="*/ 121327 h 121327"/>
                <a:gd name="connsiteX7" fmla="*/ 26453 w 139286"/>
                <a:gd name="connsiteY7" fmla="*/ 96267 h 121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9286" h="121327">
                  <a:moveTo>
                    <a:pt x="26453" y="96267"/>
                  </a:moveTo>
                  <a:cubicBezTo>
                    <a:pt x="9746" y="79561"/>
                    <a:pt x="0" y="57285"/>
                    <a:pt x="0" y="33618"/>
                  </a:cubicBezTo>
                  <a:lnTo>
                    <a:pt x="0" y="32225"/>
                  </a:lnTo>
                  <a:lnTo>
                    <a:pt x="13607" y="0"/>
                  </a:lnTo>
                  <a:lnTo>
                    <a:pt x="139286" y="103337"/>
                  </a:lnTo>
                  <a:lnTo>
                    <a:pt x="123037" y="114366"/>
                  </a:lnTo>
                  <a:cubicBezTo>
                    <a:pt x="112421" y="118890"/>
                    <a:pt x="100935" y="121327"/>
                    <a:pt x="89101" y="121327"/>
                  </a:cubicBezTo>
                  <a:cubicBezTo>
                    <a:pt x="65435" y="121327"/>
                    <a:pt x="43159" y="112973"/>
                    <a:pt x="26453" y="9626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6EEBC52A-3D14-419B-8366-97197098C604}"/>
                </a:ext>
              </a:extLst>
            </p:cNvPr>
            <p:cNvSpPr/>
            <p:nvPr/>
          </p:nvSpPr>
          <p:spPr>
            <a:xfrm rot="8716295">
              <a:off x="4782105" y="4823045"/>
              <a:ext cx="311921" cy="362797"/>
            </a:xfrm>
            <a:custGeom>
              <a:avLst/>
              <a:gdLst>
                <a:gd name="connsiteX0" fmla="*/ 311920 w 311921"/>
                <a:gd name="connsiteY0" fmla="*/ 120307 h 362797"/>
                <a:gd name="connsiteX1" fmla="*/ 138360 w 311921"/>
                <a:gd name="connsiteY1" fmla="*/ 1 h 362797"/>
                <a:gd name="connsiteX2" fmla="*/ 138360 w 311921"/>
                <a:gd name="connsiteY2" fmla="*/ 0 h 362797"/>
                <a:gd name="connsiteX3" fmla="*/ 311921 w 311921"/>
                <a:gd name="connsiteY3" fmla="*/ 120307 h 362797"/>
                <a:gd name="connsiteX4" fmla="*/ 0 w 311921"/>
                <a:gd name="connsiteY4" fmla="*/ 362797 h 362797"/>
                <a:gd name="connsiteX5" fmla="*/ 0 w 311921"/>
                <a:gd name="connsiteY5" fmla="*/ 320869 h 362797"/>
                <a:gd name="connsiteX6" fmla="*/ 27877 w 311921"/>
                <a:gd name="connsiteY6" fmla="*/ 343790 h 362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1921" h="362797">
                  <a:moveTo>
                    <a:pt x="311920" y="120307"/>
                  </a:moveTo>
                  <a:lnTo>
                    <a:pt x="138360" y="1"/>
                  </a:lnTo>
                  <a:lnTo>
                    <a:pt x="138360" y="0"/>
                  </a:lnTo>
                  <a:lnTo>
                    <a:pt x="311921" y="120307"/>
                  </a:lnTo>
                  <a:close/>
                  <a:moveTo>
                    <a:pt x="0" y="362797"/>
                  </a:moveTo>
                  <a:lnTo>
                    <a:pt x="0" y="320869"/>
                  </a:lnTo>
                  <a:lnTo>
                    <a:pt x="27877" y="34379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53F2D732-A25A-4CEE-B98E-E5DC8CC54158}"/>
                </a:ext>
              </a:extLst>
            </p:cNvPr>
            <p:cNvSpPr/>
            <p:nvPr/>
          </p:nvSpPr>
          <p:spPr>
            <a:xfrm rot="8716295">
              <a:off x="5132149" y="4738008"/>
              <a:ext cx="148614" cy="131720"/>
            </a:xfrm>
            <a:custGeom>
              <a:avLst/>
              <a:gdLst>
                <a:gd name="connsiteX0" fmla="*/ 26453 w 148614"/>
                <a:gd name="connsiteY0" fmla="*/ 106660 h 131720"/>
                <a:gd name="connsiteX1" fmla="*/ 0 w 148614"/>
                <a:gd name="connsiteY1" fmla="*/ 44011 h 131720"/>
                <a:gd name="connsiteX2" fmla="*/ 0 w 148614"/>
                <a:gd name="connsiteY2" fmla="*/ 42618 h 131720"/>
                <a:gd name="connsiteX3" fmla="*/ 17995 w 148614"/>
                <a:gd name="connsiteY3" fmla="*/ 0 h 131720"/>
                <a:gd name="connsiteX4" fmla="*/ 148614 w 148614"/>
                <a:gd name="connsiteY4" fmla="*/ 107398 h 131720"/>
                <a:gd name="connsiteX5" fmla="*/ 123037 w 148614"/>
                <a:gd name="connsiteY5" fmla="*/ 124759 h 131720"/>
                <a:gd name="connsiteX6" fmla="*/ 89101 w 148614"/>
                <a:gd name="connsiteY6" fmla="*/ 131720 h 131720"/>
                <a:gd name="connsiteX7" fmla="*/ 26453 w 148614"/>
                <a:gd name="connsiteY7" fmla="*/ 106660 h 13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8614" h="131720">
                  <a:moveTo>
                    <a:pt x="26453" y="106660"/>
                  </a:moveTo>
                  <a:cubicBezTo>
                    <a:pt x="9746" y="89954"/>
                    <a:pt x="0" y="67678"/>
                    <a:pt x="0" y="44011"/>
                  </a:cubicBezTo>
                  <a:lnTo>
                    <a:pt x="0" y="42618"/>
                  </a:lnTo>
                  <a:lnTo>
                    <a:pt x="17995" y="0"/>
                  </a:lnTo>
                  <a:lnTo>
                    <a:pt x="148614" y="107398"/>
                  </a:lnTo>
                  <a:lnTo>
                    <a:pt x="123037" y="124759"/>
                  </a:lnTo>
                  <a:cubicBezTo>
                    <a:pt x="112421" y="129283"/>
                    <a:pt x="100935" y="131720"/>
                    <a:pt x="89101" y="131720"/>
                  </a:cubicBezTo>
                  <a:cubicBezTo>
                    <a:pt x="65435" y="131720"/>
                    <a:pt x="43159" y="123366"/>
                    <a:pt x="26453" y="10666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937A52BD-510B-4C03-9C16-CD9D234ABB7D}"/>
                </a:ext>
              </a:extLst>
            </p:cNvPr>
            <p:cNvSpPr/>
            <p:nvPr/>
          </p:nvSpPr>
          <p:spPr>
            <a:xfrm rot="8716295">
              <a:off x="5043572" y="4624951"/>
              <a:ext cx="150722" cy="101024"/>
            </a:xfrm>
            <a:custGeom>
              <a:avLst/>
              <a:gdLst>
                <a:gd name="connsiteX0" fmla="*/ 0 w 150722"/>
                <a:gd name="connsiteY0" fmla="*/ 25991 h 101024"/>
                <a:gd name="connsiteX1" fmla="*/ 28034 w 150722"/>
                <a:gd name="connsiteY1" fmla="*/ 6961 h 101024"/>
                <a:gd name="connsiteX2" fmla="*/ 61968 w 150722"/>
                <a:gd name="connsiteY2" fmla="*/ 0 h 101024"/>
                <a:gd name="connsiteX3" fmla="*/ 124618 w 150722"/>
                <a:gd name="connsiteY3" fmla="*/ 26453 h 101024"/>
                <a:gd name="connsiteX4" fmla="*/ 150722 w 150722"/>
                <a:gd name="connsiteY4" fmla="*/ 88580 h 101024"/>
                <a:gd name="connsiteX5" fmla="*/ 148306 w 150722"/>
                <a:gd name="connsiteY5" fmla="*/ 101024 h 10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0722" h="101024">
                  <a:moveTo>
                    <a:pt x="0" y="25991"/>
                  </a:moveTo>
                  <a:lnTo>
                    <a:pt x="28034" y="6961"/>
                  </a:lnTo>
                  <a:cubicBezTo>
                    <a:pt x="38649" y="2437"/>
                    <a:pt x="50135" y="0"/>
                    <a:pt x="61968" y="0"/>
                  </a:cubicBezTo>
                  <a:cubicBezTo>
                    <a:pt x="85637" y="0"/>
                    <a:pt x="107912" y="9746"/>
                    <a:pt x="124618" y="26453"/>
                  </a:cubicBezTo>
                  <a:cubicBezTo>
                    <a:pt x="142021" y="43159"/>
                    <a:pt x="150722" y="65782"/>
                    <a:pt x="150722" y="88580"/>
                  </a:cubicBezTo>
                  <a:lnTo>
                    <a:pt x="148306" y="1010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C719F00E-5A8E-45CC-8F56-B823EE2F6BB7}"/>
                </a:ext>
              </a:extLst>
            </p:cNvPr>
            <p:cNvSpPr/>
            <p:nvPr/>
          </p:nvSpPr>
          <p:spPr>
            <a:xfrm rot="8716295">
              <a:off x="8546573" y="4108588"/>
              <a:ext cx="215176" cy="313567"/>
            </a:xfrm>
            <a:custGeom>
              <a:avLst/>
              <a:gdLst>
                <a:gd name="connsiteX0" fmla="*/ 122760 w 215176"/>
                <a:gd name="connsiteY0" fmla="*/ 266809 h 313567"/>
                <a:gd name="connsiteX1" fmla="*/ 122761 w 215176"/>
                <a:gd name="connsiteY1" fmla="*/ 105519 h 313567"/>
                <a:gd name="connsiteX2" fmla="*/ 122761 w 215176"/>
                <a:gd name="connsiteY2" fmla="*/ 99312 h 313567"/>
                <a:gd name="connsiteX3" fmla="*/ 91726 w 215176"/>
                <a:gd name="connsiteY3" fmla="*/ 75863 h 313567"/>
                <a:gd name="connsiteX4" fmla="*/ 0 w 215176"/>
                <a:gd name="connsiteY4" fmla="*/ 75863 h 313567"/>
                <a:gd name="connsiteX5" fmla="*/ 0 w 215176"/>
                <a:gd name="connsiteY5" fmla="*/ 0 h 313567"/>
                <a:gd name="connsiteX6" fmla="*/ 128968 w 215176"/>
                <a:gd name="connsiteY6" fmla="*/ 0 h 313567"/>
                <a:gd name="connsiteX7" fmla="*/ 215176 w 215176"/>
                <a:gd name="connsiteY7" fmla="*/ 75863 h 313567"/>
                <a:gd name="connsiteX8" fmla="*/ 215176 w 215176"/>
                <a:gd name="connsiteY8" fmla="*/ 313567 h 31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5176" h="313567">
                  <a:moveTo>
                    <a:pt x="122760" y="26680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0"/>
                  </a:lnTo>
                  <a:lnTo>
                    <a:pt x="128968" y="0"/>
                  </a:lnTo>
                  <a:cubicBezTo>
                    <a:pt x="184831" y="0"/>
                    <a:pt x="215177" y="24139"/>
                    <a:pt x="215176" y="75863"/>
                  </a:cubicBezTo>
                  <a:lnTo>
                    <a:pt x="215176" y="3135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25DD9CA0-AFE3-4B5F-B15D-E7FBAF734592}"/>
                </a:ext>
              </a:extLst>
            </p:cNvPr>
            <p:cNvSpPr/>
            <p:nvPr/>
          </p:nvSpPr>
          <p:spPr>
            <a:xfrm rot="8716295">
              <a:off x="8681306" y="4151041"/>
              <a:ext cx="394490" cy="343138"/>
            </a:xfrm>
            <a:custGeom>
              <a:avLst/>
              <a:gdLst>
                <a:gd name="connsiteX0" fmla="*/ 77932 w 394490"/>
                <a:gd name="connsiteY0" fmla="*/ 311621 h 343138"/>
                <a:gd name="connsiteX1" fmla="*/ 77932 w 394490"/>
                <a:gd name="connsiteY1" fmla="*/ 69053 h 343138"/>
                <a:gd name="connsiteX2" fmla="*/ 0 w 394490"/>
                <a:gd name="connsiteY2" fmla="*/ 69054 h 343138"/>
                <a:gd name="connsiteX3" fmla="*/ 0 w 394490"/>
                <a:gd name="connsiteY3" fmla="*/ 2156 h 343138"/>
                <a:gd name="connsiteX4" fmla="*/ 158623 w 394490"/>
                <a:gd name="connsiteY4" fmla="*/ 2157 h 343138"/>
                <a:gd name="connsiteX5" fmla="*/ 158624 w 394490"/>
                <a:gd name="connsiteY5" fmla="*/ 113882 h 343138"/>
                <a:gd name="connsiteX6" fmla="*/ 160692 w 394490"/>
                <a:gd name="connsiteY6" fmla="*/ 113882 h 343138"/>
                <a:gd name="connsiteX7" fmla="*/ 233107 w 394490"/>
                <a:gd name="connsiteY7" fmla="*/ 9053 h 343138"/>
                <a:gd name="connsiteX8" fmla="*/ 280694 w 394490"/>
                <a:gd name="connsiteY8" fmla="*/ 87 h 343138"/>
                <a:gd name="connsiteX9" fmla="*/ 394490 w 394490"/>
                <a:gd name="connsiteY9" fmla="*/ 133882 h 343138"/>
                <a:gd name="connsiteX10" fmla="*/ 394490 w 394490"/>
                <a:gd name="connsiteY10" fmla="*/ 142849 h 343138"/>
                <a:gd name="connsiteX11" fmla="*/ 300694 w 394490"/>
                <a:gd name="connsiteY11" fmla="*/ 148365 h 343138"/>
                <a:gd name="connsiteX12" fmla="*/ 300694 w 394490"/>
                <a:gd name="connsiteY12" fmla="*/ 123538 h 343138"/>
                <a:gd name="connsiteX13" fmla="*/ 249660 w 394490"/>
                <a:gd name="connsiteY13" fmla="*/ 60778 h 343138"/>
                <a:gd name="connsiteX14" fmla="*/ 168969 w 394490"/>
                <a:gd name="connsiteY14" fmla="*/ 193194 h 343138"/>
                <a:gd name="connsiteX15" fmla="*/ 168969 w 394490"/>
                <a:gd name="connsiteY15" fmla="*/ 323541 h 343138"/>
                <a:gd name="connsiteX16" fmla="*/ 140226 w 394490"/>
                <a:gd name="connsiteY16" fmla="*/ 343138 h 343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4490" h="343138">
                  <a:moveTo>
                    <a:pt x="77932" y="311621"/>
                  </a:moveTo>
                  <a:lnTo>
                    <a:pt x="77932" y="69053"/>
                  </a:lnTo>
                  <a:lnTo>
                    <a:pt x="0" y="69054"/>
                  </a:lnTo>
                  <a:lnTo>
                    <a:pt x="0" y="2156"/>
                  </a:lnTo>
                  <a:lnTo>
                    <a:pt x="158623" y="2157"/>
                  </a:lnTo>
                  <a:lnTo>
                    <a:pt x="158624" y="113882"/>
                  </a:lnTo>
                  <a:lnTo>
                    <a:pt x="160692" y="113882"/>
                  </a:lnTo>
                  <a:cubicBezTo>
                    <a:pt x="182762" y="48364"/>
                    <a:pt x="200003" y="22846"/>
                    <a:pt x="233107" y="9053"/>
                  </a:cubicBezTo>
                  <a:cubicBezTo>
                    <a:pt x="248280" y="2846"/>
                    <a:pt x="264142" y="-602"/>
                    <a:pt x="280694" y="87"/>
                  </a:cubicBezTo>
                  <a:cubicBezTo>
                    <a:pt x="351730" y="-1293"/>
                    <a:pt x="394490" y="48364"/>
                    <a:pt x="394490" y="133882"/>
                  </a:cubicBezTo>
                  <a:lnTo>
                    <a:pt x="394490" y="142849"/>
                  </a:lnTo>
                  <a:lnTo>
                    <a:pt x="300694" y="148365"/>
                  </a:lnTo>
                  <a:lnTo>
                    <a:pt x="300694" y="123538"/>
                  </a:lnTo>
                  <a:cubicBezTo>
                    <a:pt x="300695" y="86296"/>
                    <a:pt x="279316" y="60778"/>
                    <a:pt x="249660" y="60778"/>
                  </a:cubicBezTo>
                  <a:cubicBezTo>
                    <a:pt x="205521" y="60778"/>
                    <a:pt x="168968" y="119399"/>
                    <a:pt x="168969" y="193194"/>
                  </a:cubicBezTo>
                  <a:lnTo>
                    <a:pt x="168969" y="323541"/>
                  </a:lnTo>
                  <a:lnTo>
                    <a:pt x="140226" y="3431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24323A32-7D51-45A5-8D91-2223C2D14BC5}"/>
                </a:ext>
              </a:extLst>
            </p:cNvPr>
            <p:cNvSpPr/>
            <p:nvPr/>
          </p:nvSpPr>
          <p:spPr>
            <a:xfrm rot="8716295">
              <a:off x="8646997" y="4143256"/>
              <a:ext cx="121064" cy="89924"/>
            </a:xfrm>
            <a:custGeom>
              <a:avLst/>
              <a:gdLst>
                <a:gd name="connsiteX0" fmla="*/ 0 w 121064"/>
                <a:gd name="connsiteY0" fmla="*/ 39250 h 89924"/>
                <a:gd name="connsiteX1" fmla="*/ 32528 w 121064"/>
                <a:gd name="connsiteY1" fmla="*/ 13621 h 89924"/>
                <a:gd name="connsiteX2" fmla="*/ 78305 w 121064"/>
                <a:gd name="connsiteY2" fmla="*/ 0 h 89924"/>
                <a:gd name="connsiteX3" fmla="*/ 121064 w 121064"/>
                <a:gd name="connsiteY3" fmla="*/ 51035 h 89924"/>
                <a:gd name="connsiteX4" fmla="*/ 108563 w 121064"/>
                <a:gd name="connsiteY4" fmla="*/ 83363 h 89924"/>
                <a:gd name="connsiteX5" fmla="*/ 100159 w 121064"/>
                <a:gd name="connsiteY5" fmla="*/ 89924 h 89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1064" h="89924">
                  <a:moveTo>
                    <a:pt x="0" y="39250"/>
                  </a:moveTo>
                  <a:lnTo>
                    <a:pt x="32528" y="13621"/>
                  </a:lnTo>
                  <a:cubicBezTo>
                    <a:pt x="46580" y="6380"/>
                    <a:pt x="62098" y="1724"/>
                    <a:pt x="78305" y="0"/>
                  </a:cubicBezTo>
                  <a:cubicBezTo>
                    <a:pt x="111409" y="0"/>
                    <a:pt x="121065" y="28966"/>
                    <a:pt x="121064" y="51035"/>
                  </a:cubicBezTo>
                  <a:cubicBezTo>
                    <a:pt x="120030" y="63105"/>
                    <a:pt x="115546" y="74139"/>
                    <a:pt x="108563" y="83363"/>
                  </a:cubicBezTo>
                  <a:lnTo>
                    <a:pt x="100159" y="899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CF24F6A6-E56B-4B69-A6B4-F595B4AECDB5}"/>
                </a:ext>
              </a:extLst>
            </p:cNvPr>
            <p:cNvSpPr/>
            <p:nvPr/>
          </p:nvSpPr>
          <p:spPr>
            <a:xfrm rot="8716295">
              <a:off x="8360649" y="4203945"/>
              <a:ext cx="88105" cy="88278"/>
            </a:xfrm>
            <a:custGeom>
              <a:avLst/>
              <a:gdLst>
                <a:gd name="connsiteX0" fmla="*/ 11702 w 88105"/>
                <a:gd name="connsiteY0" fmla="*/ 72544 h 88278"/>
                <a:gd name="connsiteX1" fmla="*/ 0 w 88105"/>
                <a:gd name="connsiteY1" fmla="*/ 44829 h 88278"/>
                <a:gd name="connsiteX2" fmla="*/ 0 w 88105"/>
                <a:gd name="connsiteY2" fmla="*/ 44139 h 88278"/>
                <a:gd name="connsiteX3" fmla="*/ 13104 w 88105"/>
                <a:gd name="connsiteY3" fmla="*/ 13104 h 88278"/>
                <a:gd name="connsiteX4" fmla="*/ 44139 w 88105"/>
                <a:gd name="connsiteY4" fmla="*/ 0 h 88278"/>
                <a:gd name="connsiteX5" fmla="*/ 75175 w 88105"/>
                <a:gd name="connsiteY5" fmla="*/ 13104 h 88278"/>
                <a:gd name="connsiteX6" fmla="*/ 75175 w 88105"/>
                <a:gd name="connsiteY6" fmla="*/ 75175 h 88278"/>
                <a:gd name="connsiteX7" fmla="*/ 44139 w 88105"/>
                <a:gd name="connsiteY7" fmla="*/ 88278 h 88278"/>
                <a:gd name="connsiteX8" fmla="*/ 37752 w 88105"/>
                <a:gd name="connsiteY8" fmla="*/ 85724 h 88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8105" h="88278">
                  <a:moveTo>
                    <a:pt x="11702" y="72544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cubicBezTo>
                    <a:pt x="55864" y="0"/>
                    <a:pt x="66899" y="4828"/>
                    <a:pt x="75175" y="13104"/>
                  </a:cubicBezTo>
                  <a:cubicBezTo>
                    <a:pt x="92416" y="29657"/>
                    <a:pt x="92416" y="57933"/>
                    <a:pt x="75175" y="75175"/>
                  </a:cubicBezTo>
                  <a:cubicBezTo>
                    <a:pt x="66899" y="83451"/>
                    <a:pt x="55864" y="88278"/>
                    <a:pt x="44139" y="88278"/>
                  </a:cubicBezTo>
                  <a:lnTo>
                    <a:pt x="37752" y="857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823BDB41-A1E6-41AA-847A-64C2D14D0B20}"/>
                </a:ext>
              </a:extLst>
            </p:cNvPr>
            <p:cNvSpPr/>
            <p:nvPr/>
          </p:nvSpPr>
          <p:spPr>
            <a:xfrm rot="8716295">
              <a:off x="8270439" y="4208809"/>
              <a:ext cx="54467" cy="27557"/>
            </a:xfrm>
            <a:custGeom>
              <a:avLst/>
              <a:gdLst>
                <a:gd name="connsiteX0" fmla="*/ 0 w 54467"/>
                <a:gd name="connsiteY0" fmla="*/ 0 h 27557"/>
                <a:gd name="connsiteX1" fmla="*/ 54467 w 54467"/>
                <a:gd name="connsiteY1" fmla="*/ 0 h 27557"/>
                <a:gd name="connsiteX2" fmla="*/ 54467 w 54467"/>
                <a:gd name="connsiteY2" fmla="*/ 27557 h 27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467" h="27557">
                  <a:moveTo>
                    <a:pt x="0" y="0"/>
                  </a:moveTo>
                  <a:lnTo>
                    <a:pt x="54467" y="0"/>
                  </a:lnTo>
                  <a:lnTo>
                    <a:pt x="54467" y="2755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C4D7300C-5B1D-4389-9C36-32D5B08AA75A}"/>
                </a:ext>
              </a:extLst>
            </p:cNvPr>
            <p:cNvSpPr/>
            <p:nvPr/>
          </p:nvSpPr>
          <p:spPr>
            <a:xfrm rot="8716295">
              <a:off x="8503577" y="4269431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A57703A1-63B4-443D-A8D6-A43C23AB9B28}"/>
                </a:ext>
              </a:extLst>
            </p:cNvPr>
            <p:cNvSpPr/>
            <p:nvPr/>
          </p:nvSpPr>
          <p:spPr>
            <a:xfrm rot="8716295">
              <a:off x="8994983" y="4078441"/>
              <a:ext cx="137688" cy="132478"/>
            </a:xfrm>
            <a:custGeom>
              <a:avLst/>
              <a:gdLst>
                <a:gd name="connsiteX0" fmla="*/ 46653 w 137688"/>
                <a:gd name="connsiteY0" fmla="*/ 86420 h 132478"/>
                <a:gd name="connsiteX1" fmla="*/ 46653 w 137688"/>
                <a:gd name="connsiteY1" fmla="*/ 24828 h 132478"/>
                <a:gd name="connsiteX2" fmla="*/ 0 w 137688"/>
                <a:gd name="connsiteY2" fmla="*/ 24828 h 132478"/>
                <a:gd name="connsiteX3" fmla="*/ 15342 w 137688"/>
                <a:gd name="connsiteY3" fmla="*/ 2695 h 132478"/>
                <a:gd name="connsiteX4" fmla="*/ 137688 w 137688"/>
                <a:gd name="connsiteY4" fmla="*/ 0 h 132478"/>
                <a:gd name="connsiteX5" fmla="*/ 137688 w 137688"/>
                <a:gd name="connsiteY5" fmla="*/ 132478 h 132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7688" h="132478">
                  <a:moveTo>
                    <a:pt x="46653" y="86420"/>
                  </a:moveTo>
                  <a:lnTo>
                    <a:pt x="46653" y="24828"/>
                  </a:lnTo>
                  <a:lnTo>
                    <a:pt x="0" y="24828"/>
                  </a:lnTo>
                  <a:lnTo>
                    <a:pt x="15342" y="2695"/>
                  </a:lnTo>
                  <a:lnTo>
                    <a:pt x="137688" y="0"/>
                  </a:lnTo>
                  <a:lnTo>
                    <a:pt x="137688" y="13247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46727CBF-18BC-4939-8F2B-40813E13A972}"/>
                </a:ext>
              </a:extLst>
            </p:cNvPr>
            <p:cNvSpPr/>
            <p:nvPr/>
          </p:nvSpPr>
          <p:spPr>
            <a:xfrm rot="7484129">
              <a:off x="9136824" y="4228704"/>
              <a:ext cx="8392" cy="13068"/>
            </a:xfrm>
            <a:custGeom>
              <a:avLst/>
              <a:gdLst>
                <a:gd name="connsiteX0" fmla="*/ 3897 w 8392"/>
                <a:gd name="connsiteY0" fmla="*/ 13068 h 13068"/>
                <a:gd name="connsiteX1" fmla="*/ 0 w 8392"/>
                <a:gd name="connsiteY1" fmla="*/ 5818 h 13068"/>
                <a:gd name="connsiteX2" fmla="*/ 8392 w 8392"/>
                <a:gd name="connsiteY2" fmla="*/ 0 h 13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2" h="13068">
                  <a:moveTo>
                    <a:pt x="3897" y="13068"/>
                  </a:moveTo>
                  <a:lnTo>
                    <a:pt x="0" y="5818"/>
                  </a:lnTo>
                  <a:lnTo>
                    <a:pt x="839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D9037FA7-ED1D-4D57-8F2C-1298751D415A}"/>
                </a:ext>
              </a:extLst>
            </p:cNvPr>
            <p:cNvSpPr/>
            <p:nvPr/>
          </p:nvSpPr>
          <p:spPr>
            <a:xfrm rot="8716295">
              <a:off x="8839311" y="5117279"/>
              <a:ext cx="37096" cy="40385"/>
            </a:xfrm>
            <a:custGeom>
              <a:avLst/>
              <a:gdLst>
                <a:gd name="connsiteX0" fmla="*/ 37095 w 37096"/>
                <a:gd name="connsiteY0" fmla="*/ 25713 h 40385"/>
                <a:gd name="connsiteX1" fmla="*/ 0 w 37096"/>
                <a:gd name="connsiteY1" fmla="*/ 0 h 40385"/>
                <a:gd name="connsiteX2" fmla="*/ 0 w 37096"/>
                <a:gd name="connsiteY2" fmla="*/ 0 h 40385"/>
                <a:gd name="connsiteX3" fmla="*/ 37096 w 37096"/>
                <a:gd name="connsiteY3" fmla="*/ 25713 h 40385"/>
                <a:gd name="connsiteX4" fmla="*/ 0 w 37096"/>
                <a:gd name="connsiteY4" fmla="*/ 40385 h 40385"/>
                <a:gd name="connsiteX5" fmla="*/ 0 w 37096"/>
                <a:gd name="connsiteY5" fmla="*/ 28525 h 40385"/>
                <a:gd name="connsiteX6" fmla="*/ 9740 w 37096"/>
                <a:gd name="connsiteY6" fmla="*/ 36533 h 40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096" h="40385">
                  <a:moveTo>
                    <a:pt x="37095" y="25713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37096" y="25713"/>
                  </a:lnTo>
                  <a:close/>
                  <a:moveTo>
                    <a:pt x="0" y="40385"/>
                  </a:moveTo>
                  <a:lnTo>
                    <a:pt x="0" y="28525"/>
                  </a:lnTo>
                  <a:lnTo>
                    <a:pt x="9740" y="365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7762AEC2-4809-4723-B4B8-AD709205FF29}"/>
                </a:ext>
              </a:extLst>
            </p:cNvPr>
            <p:cNvSpPr/>
            <p:nvPr/>
          </p:nvSpPr>
          <p:spPr>
            <a:xfrm rot="8716295">
              <a:off x="8967255" y="4971567"/>
              <a:ext cx="231347" cy="158649"/>
            </a:xfrm>
            <a:custGeom>
              <a:avLst/>
              <a:gdLst>
                <a:gd name="connsiteX0" fmla="*/ 8965 w 231347"/>
                <a:gd name="connsiteY0" fmla="*/ 158649 h 158649"/>
                <a:gd name="connsiteX1" fmla="*/ 0 w 231347"/>
                <a:gd name="connsiteY1" fmla="*/ 146235 h 158649"/>
                <a:gd name="connsiteX2" fmla="*/ 155416 w 231347"/>
                <a:gd name="connsiteY2" fmla="*/ 0 h 158649"/>
                <a:gd name="connsiteX3" fmla="*/ 231347 w 231347"/>
                <a:gd name="connsiteY3" fmla="*/ 62433 h 158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347" h="158649">
                  <a:moveTo>
                    <a:pt x="8965" y="158649"/>
                  </a:moveTo>
                  <a:lnTo>
                    <a:pt x="0" y="146235"/>
                  </a:lnTo>
                  <a:lnTo>
                    <a:pt x="155416" y="0"/>
                  </a:lnTo>
                  <a:lnTo>
                    <a:pt x="231347" y="624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45E00815-1C71-4483-8D7E-4D817A5C21EF}"/>
                </a:ext>
              </a:extLst>
            </p:cNvPr>
            <p:cNvSpPr/>
            <p:nvPr/>
          </p:nvSpPr>
          <p:spPr>
            <a:xfrm rot="8716295">
              <a:off x="8555937" y="4871188"/>
              <a:ext cx="249519" cy="296463"/>
            </a:xfrm>
            <a:custGeom>
              <a:avLst/>
              <a:gdLst>
                <a:gd name="connsiteX0" fmla="*/ 249516 w 249519"/>
                <a:gd name="connsiteY0" fmla="*/ 83734 h 296463"/>
                <a:gd name="connsiteX1" fmla="*/ 128718 w 249519"/>
                <a:gd name="connsiteY1" fmla="*/ 0 h 296463"/>
                <a:gd name="connsiteX2" fmla="*/ 128719 w 249519"/>
                <a:gd name="connsiteY2" fmla="*/ 0 h 296463"/>
                <a:gd name="connsiteX3" fmla="*/ 249519 w 249519"/>
                <a:gd name="connsiteY3" fmla="*/ 83734 h 296463"/>
                <a:gd name="connsiteX4" fmla="*/ 137293 w 249519"/>
                <a:gd name="connsiteY4" fmla="*/ 296463 h 296463"/>
                <a:gd name="connsiteX5" fmla="*/ 72418 w 249519"/>
                <a:gd name="connsiteY5" fmla="*/ 175766 h 296463"/>
                <a:gd name="connsiteX6" fmla="*/ 105610 w 249519"/>
                <a:gd name="connsiteY6" fmla="*/ 83734 h 296463"/>
                <a:gd name="connsiteX7" fmla="*/ 0 w 249519"/>
                <a:gd name="connsiteY7" fmla="*/ 83734 h 296463"/>
                <a:gd name="connsiteX8" fmla="*/ 0 w 249519"/>
                <a:gd name="connsiteY8" fmla="*/ 0 h 296463"/>
                <a:gd name="connsiteX9" fmla="*/ 78196 w 249519"/>
                <a:gd name="connsiteY9" fmla="*/ 0 h 296463"/>
                <a:gd name="connsiteX10" fmla="*/ 203756 w 249519"/>
                <a:gd name="connsiteY10" fmla="*/ 103239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519" h="296463">
                  <a:moveTo>
                    <a:pt x="249516" y="83734"/>
                  </a:moveTo>
                  <a:lnTo>
                    <a:pt x="128718" y="0"/>
                  </a:lnTo>
                  <a:lnTo>
                    <a:pt x="128719" y="0"/>
                  </a:lnTo>
                  <a:lnTo>
                    <a:pt x="249519" y="83734"/>
                  </a:lnTo>
                  <a:close/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78196" y="0"/>
                  </a:lnTo>
                  <a:lnTo>
                    <a:pt x="203756" y="1032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58E38A6F-A61D-44CF-B900-AC3229C6053D}"/>
                </a:ext>
              </a:extLst>
            </p:cNvPr>
            <p:cNvSpPr/>
            <p:nvPr/>
          </p:nvSpPr>
          <p:spPr>
            <a:xfrm rot="8716295">
              <a:off x="9124182" y="4842281"/>
              <a:ext cx="37059" cy="48941"/>
            </a:xfrm>
            <a:custGeom>
              <a:avLst/>
              <a:gdLst>
                <a:gd name="connsiteX0" fmla="*/ 0 w 37059"/>
                <a:gd name="connsiteY0" fmla="*/ 48941 h 48941"/>
                <a:gd name="connsiteX1" fmla="*/ 33925 w 37059"/>
                <a:gd name="connsiteY1" fmla="*/ 0 h 48941"/>
                <a:gd name="connsiteX2" fmla="*/ 37059 w 37059"/>
                <a:gd name="connsiteY2" fmla="*/ 7460 h 48941"/>
                <a:gd name="connsiteX3" fmla="*/ 24128 w 37059"/>
                <a:gd name="connsiteY3" fmla="*/ 38754 h 48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059" h="48941">
                  <a:moveTo>
                    <a:pt x="0" y="48941"/>
                  </a:moveTo>
                  <a:lnTo>
                    <a:pt x="33925" y="0"/>
                  </a:lnTo>
                  <a:lnTo>
                    <a:pt x="37059" y="7460"/>
                  </a:lnTo>
                  <a:cubicBezTo>
                    <a:pt x="37059" y="18753"/>
                    <a:pt x="32749" y="30133"/>
                    <a:pt x="24128" y="3875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0438BEFE-52E9-475C-AF5B-D887CDB606B3}"/>
                </a:ext>
              </a:extLst>
            </p:cNvPr>
            <p:cNvSpPr/>
            <p:nvPr/>
          </p:nvSpPr>
          <p:spPr>
            <a:xfrm rot="8716295">
              <a:off x="8946271" y="4530250"/>
              <a:ext cx="235267" cy="296463"/>
            </a:xfrm>
            <a:custGeom>
              <a:avLst/>
              <a:gdLst>
                <a:gd name="connsiteX0" fmla="*/ 64028 w 235267"/>
                <a:gd name="connsiteY0" fmla="*/ 296463 h 296463"/>
                <a:gd name="connsiteX1" fmla="*/ 0 w 235267"/>
                <a:gd name="connsiteY1" fmla="*/ 177341 h 296463"/>
                <a:gd name="connsiteX2" fmla="*/ 122928 w 235267"/>
                <a:gd name="connsiteY2" fmla="*/ 0 h 296463"/>
                <a:gd name="connsiteX3" fmla="*/ 235266 w 235267"/>
                <a:gd name="connsiteY3" fmla="*/ 0 h 296463"/>
                <a:gd name="connsiteX4" fmla="*/ 235267 w 235267"/>
                <a:gd name="connsiteY4" fmla="*/ 83734 h 296463"/>
                <a:gd name="connsiteX5" fmla="*/ 137200 w 235267"/>
                <a:gd name="connsiteY5" fmla="*/ 83735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5267" h="296463">
                  <a:moveTo>
                    <a:pt x="64028" y="296463"/>
                  </a:moveTo>
                  <a:lnTo>
                    <a:pt x="0" y="177341"/>
                  </a:lnTo>
                  <a:lnTo>
                    <a:pt x="122928" y="0"/>
                  </a:lnTo>
                  <a:lnTo>
                    <a:pt x="235266" y="0"/>
                  </a:lnTo>
                  <a:lnTo>
                    <a:pt x="235267" y="83734"/>
                  </a:lnTo>
                  <a:lnTo>
                    <a:pt x="137200" y="837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D3F9B5D8-06D4-4B43-BC6C-7C19EABDD1C4}"/>
                </a:ext>
              </a:extLst>
            </p:cNvPr>
            <p:cNvSpPr/>
            <p:nvPr/>
          </p:nvSpPr>
          <p:spPr>
            <a:xfrm rot="8716295">
              <a:off x="8906661" y="466090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71905357-F1DF-411B-B59B-0F032583384E}"/>
                </a:ext>
              </a:extLst>
            </p:cNvPr>
            <p:cNvSpPr/>
            <p:nvPr/>
          </p:nvSpPr>
          <p:spPr>
            <a:xfrm rot="13089394">
              <a:off x="7765620" y="4253518"/>
              <a:ext cx="72828" cy="75543"/>
            </a:xfrm>
            <a:custGeom>
              <a:avLst/>
              <a:gdLst>
                <a:gd name="connsiteX0" fmla="*/ 0 w 72828"/>
                <a:gd name="connsiteY0" fmla="*/ 75543 h 75543"/>
                <a:gd name="connsiteX1" fmla="*/ 0 w 72828"/>
                <a:gd name="connsiteY1" fmla="*/ 37783 h 75543"/>
                <a:gd name="connsiteX2" fmla="*/ 72828 w 72828"/>
                <a:gd name="connsiteY2" fmla="*/ 0 h 7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828" h="75543">
                  <a:moveTo>
                    <a:pt x="0" y="75543"/>
                  </a:moveTo>
                  <a:lnTo>
                    <a:pt x="0" y="37783"/>
                  </a:lnTo>
                  <a:lnTo>
                    <a:pt x="7282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9CC70003-388A-4ED2-9C78-B5584C3B43A2}"/>
                </a:ext>
              </a:extLst>
            </p:cNvPr>
            <p:cNvSpPr/>
            <p:nvPr/>
          </p:nvSpPr>
          <p:spPr>
            <a:xfrm rot="8716295">
              <a:off x="7196646" y="4735107"/>
              <a:ext cx="215177" cy="351729"/>
            </a:xfrm>
            <a:custGeom>
              <a:avLst/>
              <a:gdLst>
                <a:gd name="connsiteX0" fmla="*/ 122761 w 215177"/>
                <a:gd name="connsiteY0" fmla="*/ 351729 h 351729"/>
                <a:gd name="connsiteX1" fmla="*/ 122761 w 215177"/>
                <a:gd name="connsiteY1" fmla="*/ 105519 h 351729"/>
                <a:gd name="connsiteX2" fmla="*/ 122761 w 215177"/>
                <a:gd name="connsiteY2" fmla="*/ 99312 h 351729"/>
                <a:gd name="connsiteX3" fmla="*/ 91726 w 215177"/>
                <a:gd name="connsiteY3" fmla="*/ 75863 h 351729"/>
                <a:gd name="connsiteX4" fmla="*/ 0 w 215177"/>
                <a:gd name="connsiteY4" fmla="*/ 75863 h 351729"/>
                <a:gd name="connsiteX5" fmla="*/ 0 w 215177"/>
                <a:gd name="connsiteY5" fmla="*/ 0 h 351729"/>
                <a:gd name="connsiteX6" fmla="*/ 20033 w 215177"/>
                <a:gd name="connsiteY6" fmla="*/ 0 h 351729"/>
                <a:gd name="connsiteX7" fmla="*/ 215177 w 215177"/>
                <a:gd name="connsiteY7" fmla="*/ 160452 h 351729"/>
                <a:gd name="connsiteX8" fmla="*/ 215176 w 215177"/>
                <a:gd name="connsiteY8" fmla="*/ 315177 h 351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5177" h="351729">
                  <a:moveTo>
                    <a:pt x="122761" y="35172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0"/>
                  </a:lnTo>
                  <a:lnTo>
                    <a:pt x="20033" y="0"/>
                  </a:lnTo>
                  <a:lnTo>
                    <a:pt x="215177" y="160452"/>
                  </a:lnTo>
                  <a:lnTo>
                    <a:pt x="215176" y="3151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E46A29A2-07B5-4D69-A57A-B7E84F78585B}"/>
                </a:ext>
              </a:extLst>
            </p:cNvPr>
            <p:cNvSpPr/>
            <p:nvPr/>
          </p:nvSpPr>
          <p:spPr>
            <a:xfrm rot="8716295">
              <a:off x="7519762" y="4714342"/>
              <a:ext cx="185667" cy="383455"/>
            </a:xfrm>
            <a:custGeom>
              <a:avLst/>
              <a:gdLst>
                <a:gd name="connsiteX0" fmla="*/ 77932 w 185667"/>
                <a:gd name="connsiteY0" fmla="*/ 383455 h 383455"/>
                <a:gd name="connsiteX1" fmla="*/ 77932 w 185667"/>
                <a:gd name="connsiteY1" fmla="*/ 66898 h 383455"/>
                <a:gd name="connsiteX2" fmla="*/ 0 w 185667"/>
                <a:gd name="connsiteY2" fmla="*/ 66898 h 383455"/>
                <a:gd name="connsiteX3" fmla="*/ 0 w 185667"/>
                <a:gd name="connsiteY3" fmla="*/ 0 h 383455"/>
                <a:gd name="connsiteX4" fmla="*/ 33456 w 185667"/>
                <a:gd name="connsiteY4" fmla="*/ 0 h 383455"/>
                <a:gd name="connsiteX5" fmla="*/ 158623 w 185667"/>
                <a:gd name="connsiteY5" fmla="*/ 102916 h 383455"/>
                <a:gd name="connsiteX6" fmla="*/ 158623 w 185667"/>
                <a:gd name="connsiteY6" fmla="*/ 111726 h 383455"/>
                <a:gd name="connsiteX7" fmla="*/ 160692 w 185667"/>
                <a:gd name="connsiteY7" fmla="*/ 111726 h 383455"/>
                <a:gd name="connsiteX8" fmla="*/ 162749 w 185667"/>
                <a:gd name="connsiteY8" fmla="*/ 106308 h 383455"/>
                <a:gd name="connsiteX9" fmla="*/ 185667 w 185667"/>
                <a:gd name="connsiteY9" fmla="*/ 125152 h 383455"/>
                <a:gd name="connsiteX10" fmla="*/ 168969 w 185667"/>
                <a:gd name="connsiteY10" fmla="*/ 191038 h 383455"/>
                <a:gd name="connsiteX11" fmla="*/ 168969 w 185667"/>
                <a:gd name="connsiteY11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5667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33456" y="0"/>
                  </a:lnTo>
                  <a:lnTo>
                    <a:pt x="158623" y="102916"/>
                  </a:lnTo>
                  <a:lnTo>
                    <a:pt x="158623" y="111726"/>
                  </a:lnTo>
                  <a:lnTo>
                    <a:pt x="160692" y="111726"/>
                  </a:lnTo>
                  <a:lnTo>
                    <a:pt x="162749" y="106308"/>
                  </a:lnTo>
                  <a:lnTo>
                    <a:pt x="185667" y="125152"/>
                  </a:lnTo>
                  <a:lnTo>
                    <a:pt x="168969" y="191038"/>
                  </a:ln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BB2B590A-BBED-49DF-BE0A-D7CDB8C7EA53}"/>
                </a:ext>
              </a:extLst>
            </p:cNvPr>
            <p:cNvSpPr/>
            <p:nvPr/>
          </p:nvSpPr>
          <p:spPr>
            <a:xfrm rot="8716295">
              <a:off x="7265319" y="4648384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7838B053-EE23-465E-B80C-0FDB953D8E9F}"/>
                </a:ext>
              </a:extLst>
            </p:cNvPr>
            <p:cNvSpPr/>
            <p:nvPr/>
          </p:nvSpPr>
          <p:spPr>
            <a:xfrm rot="8716295">
              <a:off x="7028032" y="486872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46F2EA92-FAA0-4CBD-8D20-0B7AF9B36906}"/>
                </a:ext>
              </a:extLst>
            </p:cNvPr>
            <p:cNvSpPr/>
            <p:nvPr/>
          </p:nvSpPr>
          <p:spPr>
            <a:xfrm rot="8716295">
              <a:off x="6838986" y="455289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C33E7506-2F8D-4DC7-82BD-DA6D9CD10C11}"/>
                </a:ext>
              </a:extLst>
            </p:cNvPr>
            <p:cNvSpPr/>
            <p:nvPr/>
          </p:nvSpPr>
          <p:spPr>
            <a:xfrm rot="8716295">
              <a:off x="6821466" y="4356542"/>
              <a:ext cx="439901" cy="511464"/>
            </a:xfrm>
            <a:custGeom>
              <a:avLst/>
              <a:gdLst>
                <a:gd name="connsiteX0" fmla="*/ 1873 w 439901"/>
                <a:gd name="connsiteY0" fmla="*/ 384681 h 511464"/>
                <a:gd name="connsiteX1" fmla="*/ 1725 w 439901"/>
                <a:gd name="connsiteY1" fmla="*/ 383648 h 511464"/>
                <a:gd name="connsiteX2" fmla="*/ 0 w 439901"/>
                <a:gd name="connsiteY2" fmla="*/ 333043 h 511464"/>
                <a:gd name="connsiteX3" fmla="*/ 0 w 439901"/>
                <a:gd name="connsiteY3" fmla="*/ 61444 h 511464"/>
                <a:gd name="connsiteX4" fmla="*/ 118434 w 439901"/>
                <a:gd name="connsiteY4" fmla="*/ 0 h 511464"/>
                <a:gd name="connsiteX5" fmla="*/ 120216 w 439901"/>
                <a:gd name="connsiteY5" fmla="*/ 248447 h 511464"/>
                <a:gd name="connsiteX6" fmla="*/ 141587 w 439901"/>
                <a:gd name="connsiteY6" fmla="*/ 396268 h 511464"/>
                <a:gd name="connsiteX7" fmla="*/ 248446 w 439901"/>
                <a:gd name="connsiteY7" fmla="*/ 455041 h 511464"/>
                <a:gd name="connsiteX8" fmla="*/ 328590 w 439901"/>
                <a:gd name="connsiteY8" fmla="*/ 440793 h 511464"/>
                <a:gd name="connsiteX9" fmla="*/ 438120 w 439901"/>
                <a:gd name="connsiteY9" fmla="*/ 396268 h 511464"/>
                <a:gd name="connsiteX10" fmla="*/ 439901 w 439901"/>
                <a:gd name="connsiteY10" fmla="*/ 407844 h 511464"/>
                <a:gd name="connsiteX11" fmla="*/ 439901 w 439901"/>
                <a:gd name="connsiteY11" fmla="*/ 416749 h 511464"/>
                <a:gd name="connsiteX12" fmla="*/ 286180 w 439901"/>
                <a:gd name="connsiteY12" fmla="*/ 502459 h 511464"/>
                <a:gd name="connsiteX13" fmla="*/ 252462 w 439901"/>
                <a:gd name="connsiteY13" fmla="*/ 511464 h 511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9901" h="511464">
                  <a:moveTo>
                    <a:pt x="1873" y="384681"/>
                  </a:moveTo>
                  <a:lnTo>
                    <a:pt x="1725" y="383648"/>
                  </a:lnTo>
                  <a:cubicBezTo>
                    <a:pt x="501" y="368162"/>
                    <a:pt x="0" y="351298"/>
                    <a:pt x="0" y="333043"/>
                  </a:cubicBezTo>
                  <a:lnTo>
                    <a:pt x="0" y="61444"/>
                  </a:lnTo>
                  <a:lnTo>
                    <a:pt x="118434" y="0"/>
                  </a:lnTo>
                  <a:lnTo>
                    <a:pt x="120216" y="248447"/>
                  </a:lnTo>
                  <a:cubicBezTo>
                    <a:pt x="117545" y="298315"/>
                    <a:pt x="125558" y="349072"/>
                    <a:pt x="141587" y="396268"/>
                  </a:cubicBezTo>
                  <a:cubicBezTo>
                    <a:pt x="155836" y="435450"/>
                    <a:pt x="192346" y="455041"/>
                    <a:pt x="248446" y="455041"/>
                  </a:cubicBezTo>
                  <a:cubicBezTo>
                    <a:pt x="276051" y="454150"/>
                    <a:pt x="302766" y="448807"/>
                    <a:pt x="328590" y="440793"/>
                  </a:cubicBezTo>
                  <a:cubicBezTo>
                    <a:pt x="365990" y="429216"/>
                    <a:pt x="402501" y="414078"/>
                    <a:pt x="438120" y="396268"/>
                  </a:cubicBezTo>
                  <a:cubicBezTo>
                    <a:pt x="439010" y="399830"/>
                    <a:pt x="439901" y="404282"/>
                    <a:pt x="439901" y="407844"/>
                  </a:cubicBezTo>
                  <a:lnTo>
                    <a:pt x="439901" y="416749"/>
                  </a:lnTo>
                  <a:cubicBezTo>
                    <a:pt x="392705" y="457267"/>
                    <a:pt x="338163" y="484649"/>
                    <a:pt x="286180" y="502459"/>
                  </a:cubicBezTo>
                  <a:lnTo>
                    <a:pt x="252462" y="5114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F0039EE6-19E5-4457-84A9-3D50560FF71B}"/>
                </a:ext>
              </a:extLst>
            </p:cNvPr>
            <p:cNvSpPr/>
            <p:nvPr/>
          </p:nvSpPr>
          <p:spPr>
            <a:xfrm rot="8716295">
              <a:off x="7635467" y="435609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62946C15-BE3C-45DF-BB3D-128249E4D1A5}"/>
                </a:ext>
              </a:extLst>
            </p:cNvPr>
            <p:cNvSpPr/>
            <p:nvPr/>
          </p:nvSpPr>
          <p:spPr>
            <a:xfrm rot="8716295">
              <a:off x="7770766" y="440035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3C27B629-4EE2-46C6-9535-F5382300825F}"/>
                </a:ext>
              </a:extLst>
            </p:cNvPr>
            <p:cNvSpPr/>
            <p:nvPr/>
          </p:nvSpPr>
          <p:spPr>
            <a:xfrm rot="8716295">
              <a:off x="7465596" y="44901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6592736C-E2B7-4AAA-9132-CE6867AFB7E6}"/>
                </a:ext>
              </a:extLst>
            </p:cNvPr>
            <p:cNvSpPr/>
            <p:nvPr/>
          </p:nvSpPr>
          <p:spPr>
            <a:xfrm rot="8716295">
              <a:off x="7313509" y="4314181"/>
              <a:ext cx="308532" cy="142740"/>
            </a:xfrm>
            <a:custGeom>
              <a:avLst/>
              <a:gdLst>
                <a:gd name="connsiteX0" fmla="*/ 0 w 308532"/>
                <a:gd name="connsiteY0" fmla="*/ 46525 h 142740"/>
                <a:gd name="connsiteX1" fmla="*/ 0 w 308532"/>
                <a:gd name="connsiteY1" fmla="*/ 0 h 142740"/>
                <a:gd name="connsiteX2" fmla="*/ 308532 w 308532"/>
                <a:gd name="connsiteY2" fmla="*/ 0 h 142740"/>
                <a:gd name="connsiteX3" fmla="*/ 308532 w 308532"/>
                <a:gd name="connsiteY3" fmla="*/ 83734 h 142740"/>
                <a:gd name="connsiteX4" fmla="*/ 210465 w 308532"/>
                <a:gd name="connsiteY4" fmla="*/ 83734 h 142740"/>
                <a:gd name="connsiteX5" fmla="*/ 190169 w 308532"/>
                <a:gd name="connsiteY5" fmla="*/ 142740 h 142740"/>
                <a:gd name="connsiteX6" fmla="*/ 100662 w 308532"/>
                <a:gd name="connsiteY6" fmla="*/ 97454 h 142740"/>
                <a:gd name="connsiteX7" fmla="*/ 105610 w 308532"/>
                <a:gd name="connsiteY7" fmla="*/ 83734 h 142740"/>
                <a:gd name="connsiteX8" fmla="*/ 73544 w 308532"/>
                <a:gd name="connsiteY8" fmla="*/ 83734 h 142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532" h="142740">
                  <a:moveTo>
                    <a:pt x="0" y="46525"/>
                  </a:moveTo>
                  <a:lnTo>
                    <a:pt x="0" y="0"/>
                  </a:lnTo>
                  <a:lnTo>
                    <a:pt x="308532" y="0"/>
                  </a:lnTo>
                  <a:lnTo>
                    <a:pt x="308532" y="83734"/>
                  </a:lnTo>
                  <a:lnTo>
                    <a:pt x="210465" y="83734"/>
                  </a:lnTo>
                  <a:lnTo>
                    <a:pt x="190169" y="142740"/>
                  </a:lnTo>
                  <a:lnTo>
                    <a:pt x="100662" y="97454"/>
                  </a:lnTo>
                  <a:lnTo>
                    <a:pt x="105610" y="83734"/>
                  </a:lnTo>
                  <a:lnTo>
                    <a:pt x="73544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39B2926A-51C6-4DDF-86D8-072C96B838B0}"/>
                </a:ext>
              </a:extLst>
            </p:cNvPr>
            <p:cNvSpPr/>
            <p:nvPr/>
          </p:nvSpPr>
          <p:spPr>
            <a:xfrm rot="8716295">
              <a:off x="7602084" y="4552096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A5226D1B-39C8-4DB7-A39D-DE8AE96085BA}"/>
                </a:ext>
              </a:extLst>
            </p:cNvPr>
            <p:cNvSpPr/>
            <p:nvPr/>
          </p:nvSpPr>
          <p:spPr>
            <a:xfrm rot="8716295">
              <a:off x="7233779" y="4339176"/>
              <a:ext cx="112931" cy="98229"/>
            </a:xfrm>
            <a:custGeom>
              <a:avLst/>
              <a:gdLst>
                <a:gd name="connsiteX0" fmla="*/ 0 w 112931"/>
                <a:gd name="connsiteY0" fmla="*/ 49475 h 98229"/>
                <a:gd name="connsiteX1" fmla="*/ 13559 w 112931"/>
                <a:gd name="connsiteY1" fmla="*/ 17362 h 98229"/>
                <a:gd name="connsiteX2" fmla="*/ 54678 w 112931"/>
                <a:gd name="connsiteY2" fmla="*/ 0 h 98229"/>
                <a:gd name="connsiteX3" fmla="*/ 95798 w 112931"/>
                <a:gd name="connsiteY3" fmla="*/ 17362 h 98229"/>
                <a:gd name="connsiteX4" fmla="*/ 112931 w 112931"/>
                <a:gd name="connsiteY4" fmla="*/ 58139 h 98229"/>
                <a:gd name="connsiteX5" fmla="*/ 96365 w 112931"/>
                <a:gd name="connsiteY5" fmla="*/ 98229 h 98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931" h="98229">
                  <a:moveTo>
                    <a:pt x="0" y="49475"/>
                  </a:moveTo>
                  <a:lnTo>
                    <a:pt x="13559" y="17362"/>
                  </a:lnTo>
                  <a:cubicBezTo>
                    <a:pt x="24524" y="6397"/>
                    <a:pt x="39145" y="0"/>
                    <a:pt x="54678" y="0"/>
                  </a:cubicBezTo>
                  <a:cubicBezTo>
                    <a:pt x="70213" y="0"/>
                    <a:pt x="84833" y="6397"/>
                    <a:pt x="95798" y="17362"/>
                  </a:cubicBezTo>
                  <a:cubicBezTo>
                    <a:pt x="107220" y="28327"/>
                    <a:pt x="112931" y="43176"/>
                    <a:pt x="112931" y="58139"/>
                  </a:cubicBezTo>
                  <a:lnTo>
                    <a:pt x="96365" y="9822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B8D891A1-7C58-4828-B849-358D4D72EA90}"/>
                </a:ext>
              </a:extLst>
            </p:cNvPr>
            <p:cNvSpPr/>
            <p:nvPr/>
          </p:nvSpPr>
          <p:spPr>
            <a:xfrm rot="7484129">
              <a:off x="7765134" y="4837237"/>
              <a:ext cx="295167" cy="296463"/>
            </a:xfrm>
            <a:custGeom>
              <a:avLst/>
              <a:gdLst>
                <a:gd name="connsiteX0" fmla="*/ 295165 w 295167"/>
                <a:gd name="connsiteY0" fmla="*/ 83734 h 296463"/>
                <a:gd name="connsiteX1" fmla="*/ 237109 w 295167"/>
                <a:gd name="connsiteY1" fmla="*/ 0 h 296463"/>
                <a:gd name="connsiteX2" fmla="*/ 237110 w 295167"/>
                <a:gd name="connsiteY2" fmla="*/ 0 h 296463"/>
                <a:gd name="connsiteX3" fmla="*/ 295167 w 295167"/>
                <a:gd name="connsiteY3" fmla="*/ 83734 h 296463"/>
                <a:gd name="connsiteX4" fmla="*/ 137293 w 295167"/>
                <a:gd name="connsiteY4" fmla="*/ 296463 h 296463"/>
                <a:gd name="connsiteX5" fmla="*/ 72418 w 295167"/>
                <a:gd name="connsiteY5" fmla="*/ 175766 h 296463"/>
                <a:gd name="connsiteX6" fmla="*/ 105610 w 295167"/>
                <a:gd name="connsiteY6" fmla="*/ 83734 h 296463"/>
                <a:gd name="connsiteX7" fmla="*/ 0 w 295167"/>
                <a:gd name="connsiteY7" fmla="*/ 83734 h 296463"/>
                <a:gd name="connsiteX8" fmla="*/ 0 w 295167"/>
                <a:gd name="connsiteY8" fmla="*/ 0 h 296463"/>
                <a:gd name="connsiteX9" fmla="*/ 126381 w 295167"/>
                <a:gd name="connsiteY9" fmla="*/ 0 h 296463"/>
                <a:gd name="connsiteX10" fmla="*/ 197160 w 295167"/>
                <a:gd name="connsiteY10" fmla="*/ 122416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5167" h="296463">
                  <a:moveTo>
                    <a:pt x="295165" y="83734"/>
                  </a:moveTo>
                  <a:lnTo>
                    <a:pt x="237109" y="0"/>
                  </a:lnTo>
                  <a:lnTo>
                    <a:pt x="237110" y="0"/>
                  </a:lnTo>
                  <a:lnTo>
                    <a:pt x="295167" y="83734"/>
                  </a:lnTo>
                  <a:close/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126381" y="0"/>
                  </a:lnTo>
                  <a:lnTo>
                    <a:pt x="197160" y="1224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527B4309-024C-4B07-A449-12F7536748C5}"/>
                </a:ext>
              </a:extLst>
            </p:cNvPr>
            <p:cNvSpPr/>
            <p:nvPr/>
          </p:nvSpPr>
          <p:spPr>
            <a:xfrm rot="13089394">
              <a:off x="8005038" y="4814171"/>
              <a:ext cx="409104" cy="218063"/>
            </a:xfrm>
            <a:custGeom>
              <a:avLst/>
              <a:gdLst>
                <a:gd name="connsiteX0" fmla="*/ 409104 w 409104"/>
                <a:gd name="connsiteY0" fmla="*/ 110916 h 218063"/>
                <a:gd name="connsiteX1" fmla="*/ 135172 w 409104"/>
                <a:gd name="connsiteY1" fmla="*/ 217816 h 218063"/>
                <a:gd name="connsiteX2" fmla="*/ 32447 w 409104"/>
                <a:gd name="connsiteY2" fmla="*/ 176058 h 218063"/>
                <a:gd name="connsiteX3" fmla="*/ 3843 w 409104"/>
                <a:gd name="connsiteY3" fmla="*/ 119581 h 218063"/>
                <a:gd name="connsiteX4" fmla="*/ 0 w 409104"/>
                <a:gd name="connsiteY4" fmla="*/ 73735 h 218063"/>
                <a:gd name="connsiteX5" fmla="*/ 111583 w 409104"/>
                <a:gd name="connsiteY5" fmla="*/ 0 h 218063"/>
                <a:gd name="connsiteX6" fmla="*/ 112727 w 409104"/>
                <a:gd name="connsiteY6" fmla="*/ 23329 h 218063"/>
                <a:gd name="connsiteX7" fmla="*/ 129325 w 409104"/>
                <a:gd name="connsiteY7" fmla="*/ 91708 h 218063"/>
                <a:gd name="connsiteX8" fmla="*/ 229544 w 409104"/>
                <a:gd name="connsiteY8" fmla="*/ 146828 h 218063"/>
                <a:gd name="connsiteX9" fmla="*/ 304708 w 409104"/>
                <a:gd name="connsiteY9" fmla="*/ 133466 h 218063"/>
                <a:gd name="connsiteX10" fmla="*/ 407434 w 409104"/>
                <a:gd name="connsiteY10" fmla="*/ 91708 h 218063"/>
                <a:gd name="connsiteX11" fmla="*/ 409104 w 409104"/>
                <a:gd name="connsiteY11" fmla="*/ 102564 h 218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9104" h="218063">
                  <a:moveTo>
                    <a:pt x="409104" y="110916"/>
                  </a:moveTo>
                  <a:cubicBezTo>
                    <a:pt x="320577" y="186915"/>
                    <a:pt x="204490" y="213641"/>
                    <a:pt x="135172" y="217816"/>
                  </a:cubicBezTo>
                  <a:cubicBezTo>
                    <a:pt x="96755" y="220322"/>
                    <a:pt x="59173" y="203619"/>
                    <a:pt x="32447" y="176058"/>
                  </a:cubicBezTo>
                  <a:cubicBezTo>
                    <a:pt x="18249" y="162278"/>
                    <a:pt x="9272" y="143487"/>
                    <a:pt x="3843" y="119581"/>
                  </a:cubicBezTo>
                  <a:lnTo>
                    <a:pt x="0" y="73735"/>
                  </a:lnTo>
                  <a:lnTo>
                    <a:pt x="111583" y="0"/>
                  </a:lnTo>
                  <a:lnTo>
                    <a:pt x="112727" y="23329"/>
                  </a:lnTo>
                  <a:cubicBezTo>
                    <a:pt x="116171" y="46609"/>
                    <a:pt x="121808" y="69576"/>
                    <a:pt x="129325" y="91708"/>
                  </a:cubicBezTo>
                  <a:cubicBezTo>
                    <a:pt x="142689" y="128454"/>
                    <a:pt x="176930" y="146828"/>
                    <a:pt x="229544" y="146828"/>
                  </a:cubicBezTo>
                  <a:cubicBezTo>
                    <a:pt x="255435" y="145993"/>
                    <a:pt x="280489" y="140981"/>
                    <a:pt x="304708" y="133466"/>
                  </a:cubicBezTo>
                  <a:cubicBezTo>
                    <a:pt x="339785" y="122608"/>
                    <a:pt x="374027" y="108411"/>
                    <a:pt x="407434" y="91708"/>
                  </a:cubicBezTo>
                  <a:cubicBezTo>
                    <a:pt x="408268" y="95048"/>
                    <a:pt x="409104" y="99224"/>
                    <a:pt x="409104" y="10256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A6665952-BEBA-4083-8857-192589F92F66}"/>
                </a:ext>
              </a:extLst>
            </p:cNvPr>
            <p:cNvSpPr/>
            <p:nvPr/>
          </p:nvSpPr>
          <p:spPr>
            <a:xfrm rot="8716295">
              <a:off x="8200443" y="4500944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48E8912F-96AC-4641-B68F-1FAC8423EE44}"/>
                </a:ext>
              </a:extLst>
            </p:cNvPr>
            <p:cNvSpPr/>
            <p:nvPr/>
          </p:nvSpPr>
          <p:spPr>
            <a:xfrm rot="8716295">
              <a:off x="8122034" y="434415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53758D6F-45BC-4683-9BA4-5F935E950CCD}"/>
                </a:ext>
              </a:extLst>
            </p:cNvPr>
            <p:cNvSpPr/>
            <p:nvPr/>
          </p:nvSpPr>
          <p:spPr>
            <a:xfrm rot="8716295">
              <a:off x="7753870" y="438989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3D33FD22-12AD-4D1A-88D7-5F0D534CAA44}"/>
                </a:ext>
              </a:extLst>
            </p:cNvPr>
            <p:cNvSpPr/>
            <p:nvPr/>
          </p:nvSpPr>
          <p:spPr>
            <a:xfrm rot="8716295">
              <a:off x="8030791" y="4210054"/>
              <a:ext cx="154744" cy="110503"/>
            </a:xfrm>
            <a:custGeom>
              <a:avLst/>
              <a:gdLst>
                <a:gd name="connsiteX0" fmla="*/ 0 w 154744"/>
                <a:gd name="connsiteY0" fmla="*/ 34366 h 110503"/>
                <a:gd name="connsiteX1" fmla="*/ 3342 w 154744"/>
                <a:gd name="connsiteY1" fmla="*/ 26453 h 110503"/>
                <a:gd name="connsiteX2" fmla="*/ 65990 w 154744"/>
                <a:gd name="connsiteY2" fmla="*/ 0 h 110503"/>
                <a:gd name="connsiteX3" fmla="*/ 128640 w 154744"/>
                <a:gd name="connsiteY3" fmla="*/ 26453 h 110503"/>
                <a:gd name="connsiteX4" fmla="*/ 154744 w 154744"/>
                <a:gd name="connsiteY4" fmla="*/ 88580 h 110503"/>
                <a:gd name="connsiteX5" fmla="*/ 150487 w 154744"/>
                <a:gd name="connsiteY5" fmla="*/ 110503 h 110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4744" h="110503">
                  <a:moveTo>
                    <a:pt x="0" y="34366"/>
                  </a:moveTo>
                  <a:lnTo>
                    <a:pt x="3342" y="26453"/>
                  </a:lnTo>
                  <a:cubicBezTo>
                    <a:pt x="20048" y="9746"/>
                    <a:pt x="42323" y="0"/>
                    <a:pt x="65990" y="0"/>
                  </a:cubicBezTo>
                  <a:cubicBezTo>
                    <a:pt x="89659" y="0"/>
                    <a:pt x="111934" y="9746"/>
                    <a:pt x="128640" y="26453"/>
                  </a:cubicBezTo>
                  <a:cubicBezTo>
                    <a:pt x="146043" y="43159"/>
                    <a:pt x="154744" y="65782"/>
                    <a:pt x="154744" y="88580"/>
                  </a:cubicBezTo>
                  <a:lnTo>
                    <a:pt x="150487" y="1105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55" name="Rectangle 7">
            <a:extLst>
              <a:ext uri="{FF2B5EF4-FFF2-40B4-BE49-F238E27FC236}">
                <a16:creationId xmlns:a16="http://schemas.microsoft.com/office/drawing/2014/main" id="{88941299-7323-4585-91C3-38C1B71800C4}"/>
              </a:ext>
            </a:extLst>
          </p:cNvPr>
          <p:cNvSpPr/>
          <p:nvPr userDrawn="1"/>
        </p:nvSpPr>
        <p:spPr>
          <a:xfrm>
            <a:off x="0" y="4391025"/>
            <a:ext cx="9153528" cy="752475"/>
          </a:xfrm>
          <a:custGeom>
            <a:avLst/>
            <a:gdLst>
              <a:gd name="connsiteX0" fmla="*/ 0 w 9153528"/>
              <a:gd name="connsiteY0" fmla="*/ 0 h 752475"/>
              <a:gd name="connsiteX1" fmla="*/ 9153528 w 9153528"/>
              <a:gd name="connsiteY1" fmla="*/ 0 h 752475"/>
              <a:gd name="connsiteX2" fmla="*/ 9153528 w 9153528"/>
              <a:gd name="connsiteY2" fmla="*/ 752475 h 752475"/>
              <a:gd name="connsiteX3" fmla="*/ 0 w 9153528"/>
              <a:gd name="connsiteY3" fmla="*/ 752475 h 752475"/>
              <a:gd name="connsiteX4" fmla="*/ 0 w 9153528"/>
              <a:gd name="connsiteY4" fmla="*/ 0 h 752475"/>
              <a:gd name="connsiteX0" fmla="*/ 0 w 9153528"/>
              <a:gd name="connsiteY0" fmla="*/ 0 h 752475"/>
              <a:gd name="connsiteX1" fmla="*/ 9153528 w 9153528"/>
              <a:gd name="connsiteY1" fmla="*/ 752475 h 752475"/>
              <a:gd name="connsiteX2" fmla="*/ 0 w 9153528"/>
              <a:gd name="connsiteY2" fmla="*/ 752475 h 752475"/>
              <a:gd name="connsiteX3" fmla="*/ 0 w 9153528"/>
              <a:gd name="connsiteY3" fmla="*/ 0 h 752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53528" h="752475">
                <a:moveTo>
                  <a:pt x="0" y="0"/>
                </a:moveTo>
                <a:lnTo>
                  <a:pt x="9153528" y="752475"/>
                </a:lnTo>
                <a:lnTo>
                  <a:pt x="0" y="752475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56" name="Graphique 55">
            <a:extLst>
              <a:ext uri="{FF2B5EF4-FFF2-40B4-BE49-F238E27FC236}">
                <a16:creationId xmlns:a16="http://schemas.microsoft.com/office/drawing/2014/main" id="{A88B7565-C7DC-40EA-B5DD-A4245568A9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34871" y="2053350"/>
            <a:ext cx="3474258" cy="103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900916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uverture 2 - C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e libre : forme 4">
            <a:extLst>
              <a:ext uri="{FF2B5EF4-FFF2-40B4-BE49-F238E27FC236}">
                <a16:creationId xmlns:a16="http://schemas.microsoft.com/office/drawing/2014/main" id="{6BBA7953-6320-4985-B304-CAEF45B84CC1}"/>
              </a:ext>
            </a:extLst>
          </p:cNvPr>
          <p:cNvSpPr/>
          <p:nvPr userDrawn="1"/>
        </p:nvSpPr>
        <p:spPr>
          <a:xfrm rot="16200000">
            <a:off x="6276217" y="2274933"/>
            <a:ext cx="1037443" cy="4698124"/>
          </a:xfrm>
          <a:custGeom>
            <a:avLst/>
            <a:gdLst>
              <a:gd name="connsiteX0" fmla="*/ 1037443 w 1037443"/>
              <a:gd name="connsiteY0" fmla="*/ 4698124 h 4698124"/>
              <a:gd name="connsiteX1" fmla="*/ 0 w 1037443"/>
              <a:gd name="connsiteY1" fmla="*/ 4698124 h 4698124"/>
              <a:gd name="connsiteX2" fmla="*/ 386215 w 1037443"/>
              <a:gd name="connsiteY2" fmla="*/ 0 h 4698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37443" h="4698124">
                <a:moveTo>
                  <a:pt x="1037443" y="4698124"/>
                </a:moveTo>
                <a:lnTo>
                  <a:pt x="0" y="4698124"/>
                </a:lnTo>
                <a:lnTo>
                  <a:pt x="386215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48FA6A4C-949D-4D78-851A-5D85C0ACA219}"/>
              </a:ext>
            </a:extLst>
          </p:cNvPr>
          <p:cNvGrpSpPr/>
          <p:nvPr userDrawn="1"/>
        </p:nvGrpSpPr>
        <p:grpSpPr>
          <a:xfrm>
            <a:off x="4782105" y="4078441"/>
            <a:ext cx="4416497" cy="1125022"/>
            <a:chOff x="4782105" y="4078441"/>
            <a:chExt cx="4416497" cy="1125022"/>
          </a:xfrm>
          <a:solidFill>
            <a:schemeClr val="bg2">
              <a:alpha val="10000"/>
            </a:schemeClr>
          </a:solidFill>
        </p:grpSpPr>
        <p:sp>
          <p:nvSpPr>
            <p:cNvPr id="7" name="Forme libre : forme 6">
              <a:extLst>
                <a:ext uri="{FF2B5EF4-FFF2-40B4-BE49-F238E27FC236}">
                  <a16:creationId xmlns:a16="http://schemas.microsoft.com/office/drawing/2014/main" id="{791FB8C9-9221-4E4C-A4AC-2AAD9F08AE59}"/>
                </a:ext>
              </a:extLst>
            </p:cNvPr>
            <p:cNvSpPr/>
            <p:nvPr/>
          </p:nvSpPr>
          <p:spPr>
            <a:xfrm rot="8716295">
              <a:off x="8490768" y="467807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CAEA067D-BF83-4ED3-87B4-BB06FFFF2B66}"/>
                </a:ext>
              </a:extLst>
            </p:cNvPr>
            <p:cNvSpPr/>
            <p:nvPr/>
          </p:nvSpPr>
          <p:spPr>
            <a:xfrm rot="8716295">
              <a:off x="5559260" y="4523190"/>
              <a:ext cx="215177" cy="303156"/>
            </a:xfrm>
            <a:custGeom>
              <a:avLst/>
              <a:gdLst>
                <a:gd name="connsiteX0" fmla="*/ 122761 w 215177"/>
                <a:gd name="connsiteY0" fmla="*/ 256399 h 303156"/>
                <a:gd name="connsiteX1" fmla="*/ 122761 w 215177"/>
                <a:gd name="connsiteY1" fmla="*/ 105519 h 303156"/>
                <a:gd name="connsiteX2" fmla="*/ 122761 w 215177"/>
                <a:gd name="connsiteY2" fmla="*/ 99312 h 303156"/>
                <a:gd name="connsiteX3" fmla="*/ 91726 w 215177"/>
                <a:gd name="connsiteY3" fmla="*/ 75863 h 303156"/>
                <a:gd name="connsiteX4" fmla="*/ 0 w 215177"/>
                <a:gd name="connsiteY4" fmla="*/ 75863 h 303156"/>
                <a:gd name="connsiteX5" fmla="*/ 0 w 215177"/>
                <a:gd name="connsiteY5" fmla="*/ 0 h 303156"/>
                <a:gd name="connsiteX6" fmla="*/ 128968 w 215177"/>
                <a:gd name="connsiteY6" fmla="*/ 0 h 303156"/>
                <a:gd name="connsiteX7" fmla="*/ 215177 w 215177"/>
                <a:gd name="connsiteY7" fmla="*/ 75863 h 303156"/>
                <a:gd name="connsiteX8" fmla="*/ 215176 w 215177"/>
                <a:gd name="connsiteY8" fmla="*/ 303156 h 303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5177" h="303156">
                  <a:moveTo>
                    <a:pt x="122761" y="25639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0"/>
                  </a:lnTo>
                  <a:lnTo>
                    <a:pt x="128968" y="0"/>
                  </a:lnTo>
                  <a:cubicBezTo>
                    <a:pt x="184831" y="0"/>
                    <a:pt x="215176" y="24139"/>
                    <a:pt x="215177" y="75863"/>
                  </a:cubicBezTo>
                  <a:lnTo>
                    <a:pt x="215176" y="30315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ADF38186-185D-41F8-A6B1-FB10366A4CEE}"/>
                </a:ext>
              </a:extLst>
            </p:cNvPr>
            <p:cNvSpPr/>
            <p:nvPr/>
          </p:nvSpPr>
          <p:spPr>
            <a:xfrm rot="8716295">
              <a:off x="5692925" y="4561542"/>
              <a:ext cx="393603" cy="335006"/>
            </a:xfrm>
            <a:custGeom>
              <a:avLst/>
              <a:gdLst>
                <a:gd name="connsiteX0" fmla="*/ 77932 w 393603"/>
                <a:gd name="connsiteY0" fmla="*/ 299055 h 335006"/>
                <a:gd name="connsiteX1" fmla="*/ 77932 w 393603"/>
                <a:gd name="connsiteY1" fmla="*/ 66897 h 335006"/>
                <a:gd name="connsiteX2" fmla="*/ 0 w 393603"/>
                <a:gd name="connsiteY2" fmla="*/ 66898 h 335006"/>
                <a:gd name="connsiteX3" fmla="*/ 0 w 393603"/>
                <a:gd name="connsiteY3" fmla="*/ 0 h 335006"/>
                <a:gd name="connsiteX4" fmla="*/ 158623 w 393603"/>
                <a:gd name="connsiteY4" fmla="*/ 1 h 335006"/>
                <a:gd name="connsiteX5" fmla="*/ 158623 w 393603"/>
                <a:gd name="connsiteY5" fmla="*/ 111726 h 335006"/>
                <a:gd name="connsiteX6" fmla="*/ 160692 w 393603"/>
                <a:gd name="connsiteY6" fmla="*/ 111726 h 335006"/>
                <a:gd name="connsiteX7" fmla="*/ 192762 w 393603"/>
                <a:gd name="connsiteY7" fmla="*/ 39915 h 335006"/>
                <a:gd name="connsiteX8" fmla="*/ 231959 w 393603"/>
                <a:gd name="connsiteY8" fmla="*/ 7837 h 335006"/>
                <a:gd name="connsiteX9" fmla="*/ 393603 w 393603"/>
                <a:gd name="connsiteY9" fmla="*/ 140745 h 335006"/>
                <a:gd name="connsiteX10" fmla="*/ 300695 w 393603"/>
                <a:gd name="connsiteY10" fmla="*/ 146210 h 335006"/>
                <a:gd name="connsiteX11" fmla="*/ 300694 w 393603"/>
                <a:gd name="connsiteY11" fmla="*/ 121382 h 335006"/>
                <a:gd name="connsiteX12" fmla="*/ 249659 w 393603"/>
                <a:gd name="connsiteY12" fmla="*/ 58622 h 335006"/>
                <a:gd name="connsiteX13" fmla="*/ 168969 w 393603"/>
                <a:gd name="connsiteY13" fmla="*/ 191038 h 335006"/>
                <a:gd name="connsiteX14" fmla="*/ 168969 w 393603"/>
                <a:gd name="connsiteY14" fmla="*/ 321385 h 335006"/>
                <a:gd name="connsiteX15" fmla="*/ 148991 w 393603"/>
                <a:gd name="connsiteY15" fmla="*/ 335006 h 335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93603" h="335006">
                  <a:moveTo>
                    <a:pt x="77932" y="299055"/>
                  </a:moveTo>
                  <a:lnTo>
                    <a:pt x="77932" y="66897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1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71727" y="78967"/>
                    <a:pt x="181555" y="56208"/>
                    <a:pt x="192762" y="39915"/>
                  </a:cubicBezTo>
                  <a:lnTo>
                    <a:pt x="231959" y="7837"/>
                  </a:lnTo>
                  <a:lnTo>
                    <a:pt x="393603" y="140745"/>
                  </a:lnTo>
                  <a:lnTo>
                    <a:pt x="300695" y="146210"/>
                  </a:lnTo>
                  <a:lnTo>
                    <a:pt x="300694" y="121382"/>
                  </a:lnTo>
                  <a:cubicBezTo>
                    <a:pt x="300695" y="84140"/>
                    <a:pt x="279316" y="58622"/>
                    <a:pt x="249659" y="58622"/>
                  </a:cubicBezTo>
                  <a:cubicBezTo>
                    <a:pt x="205521" y="58621"/>
                    <a:pt x="168969" y="117244"/>
                    <a:pt x="168969" y="191038"/>
                  </a:cubicBezTo>
                  <a:lnTo>
                    <a:pt x="168969" y="321385"/>
                  </a:lnTo>
                  <a:lnTo>
                    <a:pt x="148991" y="33500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4B724F9D-95FF-4F02-B59A-7E5AC8B98AC8}"/>
                </a:ext>
              </a:extLst>
            </p:cNvPr>
            <p:cNvSpPr/>
            <p:nvPr/>
          </p:nvSpPr>
          <p:spPr>
            <a:xfrm rot="8716295">
              <a:off x="5659234" y="4556420"/>
              <a:ext cx="113018" cy="83608"/>
            </a:xfrm>
            <a:custGeom>
              <a:avLst/>
              <a:gdLst>
                <a:gd name="connsiteX0" fmla="*/ 0 w 113018"/>
                <a:gd name="connsiteY0" fmla="*/ 32910 h 83608"/>
                <a:gd name="connsiteX1" fmla="*/ 24482 w 113018"/>
                <a:gd name="connsiteY1" fmla="*/ 13621 h 83608"/>
                <a:gd name="connsiteX2" fmla="*/ 70259 w 113018"/>
                <a:gd name="connsiteY2" fmla="*/ 0 h 83608"/>
                <a:gd name="connsiteX3" fmla="*/ 113018 w 113018"/>
                <a:gd name="connsiteY3" fmla="*/ 51035 h 83608"/>
                <a:gd name="connsiteX4" fmla="*/ 100518 w 113018"/>
                <a:gd name="connsiteY4" fmla="*/ 83363 h 83608"/>
                <a:gd name="connsiteX5" fmla="*/ 100204 w 113018"/>
                <a:gd name="connsiteY5" fmla="*/ 83608 h 83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018" h="83608">
                  <a:moveTo>
                    <a:pt x="0" y="32910"/>
                  </a:moveTo>
                  <a:lnTo>
                    <a:pt x="24482" y="13621"/>
                  </a:lnTo>
                  <a:cubicBezTo>
                    <a:pt x="38534" y="6380"/>
                    <a:pt x="54052" y="1725"/>
                    <a:pt x="70259" y="0"/>
                  </a:cubicBezTo>
                  <a:cubicBezTo>
                    <a:pt x="103363" y="0"/>
                    <a:pt x="113018" y="28966"/>
                    <a:pt x="113018" y="51035"/>
                  </a:cubicBezTo>
                  <a:cubicBezTo>
                    <a:pt x="111984" y="63105"/>
                    <a:pt x="107501" y="74139"/>
                    <a:pt x="100518" y="83363"/>
                  </a:cubicBezTo>
                  <a:lnTo>
                    <a:pt x="100204" y="8360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D01436B5-D8EB-44DF-8B51-633BF4E9FB42}"/>
                </a:ext>
              </a:extLst>
            </p:cNvPr>
            <p:cNvSpPr/>
            <p:nvPr/>
          </p:nvSpPr>
          <p:spPr>
            <a:xfrm rot="8716295">
              <a:off x="5371633" y="4613095"/>
              <a:ext cx="88105" cy="83851"/>
            </a:xfrm>
            <a:custGeom>
              <a:avLst/>
              <a:gdLst>
                <a:gd name="connsiteX0" fmla="*/ 6112 w 88105"/>
                <a:gd name="connsiteY0" fmla="*/ 59305 h 83851"/>
                <a:gd name="connsiteX1" fmla="*/ 0 w 88105"/>
                <a:gd name="connsiteY1" fmla="*/ 44829 h 83851"/>
                <a:gd name="connsiteX2" fmla="*/ 0 w 88105"/>
                <a:gd name="connsiteY2" fmla="*/ 44139 h 83851"/>
                <a:gd name="connsiteX3" fmla="*/ 13104 w 88105"/>
                <a:gd name="connsiteY3" fmla="*/ 13104 h 83851"/>
                <a:gd name="connsiteX4" fmla="*/ 44139 w 88105"/>
                <a:gd name="connsiteY4" fmla="*/ 0 h 83851"/>
                <a:gd name="connsiteX5" fmla="*/ 75175 w 88105"/>
                <a:gd name="connsiteY5" fmla="*/ 13104 h 83851"/>
                <a:gd name="connsiteX6" fmla="*/ 75175 w 88105"/>
                <a:gd name="connsiteY6" fmla="*/ 75175 h 83851"/>
                <a:gd name="connsiteX7" fmla="*/ 54626 w 88105"/>
                <a:gd name="connsiteY7" fmla="*/ 83851 h 83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105" h="83851">
                  <a:moveTo>
                    <a:pt x="6112" y="59305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cubicBezTo>
                    <a:pt x="55864" y="0"/>
                    <a:pt x="66899" y="4828"/>
                    <a:pt x="75175" y="13104"/>
                  </a:cubicBezTo>
                  <a:cubicBezTo>
                    <a:pt x="92416" y="29657"/>
                    <a:pt x="92416" y="57933"/>
                    <a:pt x="75175" y="75175"/>
                  </a:cubicBezTo>
                  <a:lnTo>
                    <a:pt x="54626" y="8385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6F3BF20E-F037-4374-BB41-095B54D26F08}"/>
                </a:ext>
              </a:extLst>
            </p:cNvPr>
            <p:cNvSpPr/>
            <p:nvPr/>
          </p:nvSpPr>
          <p:spPr>
            <a:xfrm rot="8716295">
              <a:off x="5473646" y="4706746"/>
              <a:ext cx="91035" cy="188159"/>
            </a:xfrm>
            <a:custGeom>
              <a:avLst/>
              <a:gdLst>
                <a:gd name="connsiteX0" fmla="*/ 91035 w 91035"/>
                <a:gd name="connsiteY0" fmla="*/ 188159 h 188159"/>
                <a:gd name="connsiteX1" fmla="*/ 0 w 91035"/>
                <a:gd name="connsiteY1" fmla="*/ 100571 h 188159"/>
                <a:gd name="connsiteX2" fmla="*/ 0 w 91035"/>
                <a:gd name="connsiteY2" fmla="*/ 0 h 188159"/>
                <a:gd name="connsiteX3" fmla="*/ 91035 w 91035"/>
                <a:gd name="connsiteY3" fmla="*/ 74852 h 188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188159">
                  <a:moveTo>
                    <a:pt x="91035" y="188159"/>
                  </a:moveTo>
                  <a:lnTo>
                    <a:pt x="0" y="100571"/>
                  </a:lnTo>
                  <a:lnTo>
                    <a:pt x="0" y="0"/>
                  </a:lnTo>
                  <a:lnTo>
                    <a:pt x="91035" y="748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BBB1D061-FD31-402D-BCCB-6813149262F1}"/>
                </a:ext>
              </a:extLst>
            </p:cNvPr>
            <p:cNvSpPr/>
            <p:nvPr/>
          </p:nvSpPr>
          <p:spPr>
            <a:xfrm rot="8716295">
              <a:off x="6218962" y="4454620"/>
              <a:ext cx="171018" cy="106515"/>
            </a:xfrm>
            <a:custGeom>
              <a:avLst/>
              <a:gdLst>
                <a:gd name="connsiteX0" fmla="*/ 0 w 171018"/>
                <a:gd name="connsiteY0" fmla="*/ 19991 h 106515"/>
                <a:gd name="connsiteX1" fmla="*/ 13365 w 171018"/>
                <a:gd name="connsiteY1" fmla="*/ 9053 h 106515"/>
                <a:gd name="connsiteX2" fmla="*/ 60952 w 171018"/>
                <a:gd name="connsiteY2" fmla="*/ 87 h 106515"/>
                <a:gd name="connsiteX3" fmla="*/ 166956 w 171018"/>
                <a:gd name="connsiteY3" fmla="*/ 76705 h 106515"/>
                <a:gd name="connsiteX4" fmla="*/ 171018 w 171018"/>
                <a:gd name="connsiteY4" fmla="*/ 106515 h 106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018" h="106515">
                  <a:moveTo>
                    <a:pt x="0" y="19991"/>
                  </a:moveTo>
                  <a:lnTo>
                    <a:pt x="13365" y="9053"/>
                  </a:lnTo>
                  <a:cubicBezTo>
                    <a:pt x="28538" y="2846"/>
                    <a:pt x="44400" y="-602"/>
                    <a:pt x="60952" y="87"/>
                  </a:cubicBezTo>
                  <a:cubicBezTo>
                    <a:pt x="114229" y="-948"/>
                    <a:pt x="151600" y="26725"/>
                    <a:pt x="166956" y="76705"/>
                  </a:cubicBezTo>
                  <a:lnTo>
                    <a:pt x="171018" y="10651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B49834EB-4686-4A9A-AFBE-353B0A4BB9CC}"/>
                </a:ext>
              </a:extLst>
            </p:cNvPr>
            <p:cNvSpPr/>
            <p:nvPr/>
          </p:nvSpPr>
          <p:spPr>
            <a:xfrm rot="8716295">
              <a:off x="6005990" y="4487669"/>
              <a:ext cx="156555" cy="122067"/>
            </a:xfrm>
            <a:custGeom>
              <a:avLst/>
              <a:gdLst>
                <a:gd name="connsiteX0" fmla="*/ 65519 w 156555"/>
                <a:gd name="connsiteY0" fmla="*/ 76009 h 122067"/>
                <a:gd name="connsiteX1" fmla="*/ 65519 w 156555"/>
                <a:gd name="connsiteY1" fmla="*/ 24828 h 122067"/>
                <a:gd name="connsiteX2" fmla="*/ 0 w 156555"/>
                <a:gd name="connsiteY2" fmla="*/ 24828 h 122067"/>
                <a:gd name="connsiteX3" fmla="*/ 0 w 156555"/>
                <a:gd name="connsiteY3" fmla="*/ 3449 h 122067"/>
                <a:gd name="connsiteX4" fmla="*/ 156555 w 156555"/>
                <a:gd name="connsiteY4" fmla="*/ 0 h 122067"/>
                <a:gd name="connsiteX5" fmla="*/ 156554 w 156555"/>
                <a:gd name="connsiteY5" fmla="*/ 122067 h 122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6555" h="122067">
                  <a:moveTo>
                    <a:pt x="65519" y="76009"/>
                  </a:moveTo>
                  <a:lnTo>
                    <a:pt x="65519" y="24828"/>
                  </a:lnTo>
                  <a:lnTo>
                    <a:pt x="0" y="24828"/>
                  </a:lnTo>
                  <a:lnTo>
                    <a:pt x="0" y="3449"/>
                  </a:lnTo>
                  <a:cubicBezTo>
                    <a:pt x="49656" y="5517"/>
                    <a:pt x="101381" y="1379"/>
                    <a:pt x="156555" y="0"/>
                  </a:cubicBezTo>
                  <a:lnTo>
                    <a:pt x="156554" y="1220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676F5558-2730-4CE0-B993-EAC478371730}"/>
                </a:ext>
              </a:extLst>
            </p:cNvPr>
            <p:cNvSpPr/>
            <p:nvPr/>
          </p:nvSpPr>
          <p:spPr>
            <a:xfrm rot="7484129">
              <a:off x="6103422" y="4586563"/>
              <a:ext cx="308532" cy="296464"/>
            </a:xfrm>
            <a:custGeom>
              <a:avLst/>
              <a:gdLst>
                <a:gd name="connsiteX0" fmla="*/ 137293 w 308532"/>
                <a:gd name="connsiteY0" fmla="*/ 296464 h 296464"/>
                <a:gd name="connsiteX1" fmla="*/ 72419 w 308532"/>
                <a:gd name="connsiteY1" fmla="*/ 175766 h 296464"/>
                <a:gd name="connsiteX2" fmla="*/ 105610 w 308532"/>
                <a:gd name="connsiteY2" fmla="*/ 83734 h 296464"/>
                <a:gd name="connsiteX3" fmla="*/ 0 w 308532"/>
                <a:gd name="connsiteY3" fmla="*/ 83734 h 296464"/>
                <a:gd name="connsiteX4" fmla="*/ 0 w 308532"/>
                <a:gd name="connsiteY4" fmla="*/ 0 h 296464"/>
                <a:gd name="connsiteX5" fmla="*/ 265017 w 308532"/>
                <a:gd name="connsiteY5" fmla="*/ 0 h 296464"/>
                <a:gd name="connsiteX6" fmla="*/ 308532 w 308532"/>
                <a:gd name="connsiteY6" fmla="*/ 75260 h 296464"/>
                <a:gd name="connsiteX7" fmla="*/ 308532 w 308532"/>
                <a:gd name="connsiteY7" fmla="*/ 83734 h 296464"/>
                <a:gd name="connsiteX8" fmla="*/ 210466 w 308532"/>
                <a:gd name="connsiteY8" fmla="*/ 83734 h 296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532" h="296464">
                  <a:moveTo>
                    <a:pt x="137293" y="296464"/>
                  </a:moveTo>
                  <a:lnTo>
                    <a:pt x="72419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65017" y="0"/>
                  </a:lnTo>
                  <a:lnTo>
                    <a:pt x="308532" y="75260"/>
                  </a:lnTo>
                  <a:lnTo>
                    <a:pt x="308532" y="83734"/>
                  </a:lnTo>
                  <a:lnTo>
                    <a:pt x="210466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6446F284-DF3B-4BD3-84E9-63513197872A}"/>
                </a:ext>
              </a:extLst>
            </p:cNvPr>
            <p:cNvSpPr/>
            <p:nvPr/>
          </p:nvSpPr>
          <p:spPr>
            <a:xfrm rot="13089394">
              <a:off x="6309616" y="4543919"/>
              <a:ext cx="412568" cy="359948"/>
            </a:xfrm>
            <a:custGeom>
              <a:avLst/>
              <a:gdLst>
                <a:gd name="connsiteX0" fmla="*/ 412568 w 412568"/>
                <a:gd name="connsiteY0" fmla="*/ 252801 h 359948"/>
                <a:gd name="connsiteX1" fmla="*/ 138636 w 412568"/>
                <a:gd name="connsiteY1" fmla="*/ 359701 h 359948"/>
                <a:gd name="connsiteX2" fmla="*/ 35911 w 412568"/>
                <a:gd name="connsiteY2" fmla="*/ 317943 h 359948"/>
                <a:gd name="connsiteX3" fmla="*/ 0 w 412568"/>
                <a:gd name="connsiteY3" fmla="*/ 174296 h 359948"/>
                <a:gd name="connsiteX4" fmla="*/ 0 w 412568"/>
                <a:gd name="connsiteY4" fmla="*/ 74054 h 359948"/>
                <a:gd name="connsiteX5" fmla="*/ 112066 w 412568"/>
                <a:gd name="connsiteY5" fmla="*/ 0 h 359948"/>
                <a:gd name="connsiteX6" fmla="*/ 112747 w 412568"/>
                <a:gd name="connsiteY6" fmla="*/ 94956 h 359948"/>
                <a:gd name="connsiteX7" fmla="*/ 132789 w 412568"/>
                <a:gd name="connsiteY7" fmla="*/ 233593 h 359948"/>
                <a:gd name="connsiteX8" fmla="*/ 233008 w 412568"/>
                <a:gd name="connsiteY8" fmla="*/ 288713 h 359948"/>
                <a:gd name="connsiteX9" fmla="*/ 308172 w 412568"/>
                <a:gd name="connsiteY9" fmla="*/ 275351 h 359948"/>
                <a:gd name="connsiteX10" fmla="*/ 410898 w 412568"/>
                <a:gd name="connsiteY10" fmla="*/ 233593 h 359948"/>
                <a:gd name="connsiteX11" fmla="*/ 412568 w 412568"/>
                <a:gd name="connsiteY11" fmla="*/ 244449 h 359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2568" h="359948">
                  <a:moveTo>
                    <a:pt x="412568" y="252801"/>
                  </a:moveTo>
                  <a:cubicBezTo>
                    <a:pt x="324041" y="328800"/>
                    <a:pt x="207954" y="355526"/>
                    <a:pt x="138636" y="359701"/>
                  </a:cubicBezTo>
                  <a:cubicBezTo>
                    <a:pt x="100219" y="362207"/>
                    <a:pt x="62637" y="345504"/>
                    <a:pt x="35911" y="317943"/>
                  </a:cubicBezTo>
                  <a:cubicBezTo>
                    <a:pt x="7516" y="290383"/>
                    <a:pt x="0" y="242779"/>
                    <a:pt x="0" y="174296"/>
                  </a:cubicBezTo>
                  <a:lnTo>
                    <a:pt x="0" y="74054"/>
                  </a:lnTo>
                  <a:lnTo>
                    <a:pt x="112066" y="0"/>
                  </a:lnTo>
                  <a:lnTo>
                    <a:pt x="112747" y="94956"/>
                  </a:lnTo>
                  <a:cubicBezTo>
                    <a:pt x="110241" y="141725"/>
                    <a:pt x="117756" y="189329"/>
                    <a:pt x="132789" y="233593"/>
                  </a:cubicBezTo>
                  <a:cubicBezTo>
                    <a:pt x="146153" y="270339"/>
                    <a:pt x="180394" y="288713"/>
                    <a:pt x="233008" y="288713"/>
                  </a:cubicBezTo>
                  <a:cubicBezTo>
                    <a:pt x="258899" y="287878"/>
                    <a:pt x="283953" y="282866"/>
                    <a:pt x="308172" y="275351"/>
                  </a:cubicBezTo>
                  <a:cubicBezTo>
                    <a:pt x="343249" y="264493"/>
                    <a:pt x="377491" y="250296"/>
                    <a:pt x="410898" y="233593"/>
                  </a:cubicBezTo>
                  <a:cubicBezTo>
                    <a:pt x="411732" y="236933"/>
                    <a:pt x="412568" y="241109"/>
                    <a:pt x="412568" y="24444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88875692-D947-4058-8206-44233A06BFD3}"/>
                </a:ext>
              </a:extLst>
            </p:cNvPr>
            <p:cNvSpPr/>
            <p:nvPr/>
          </p:nvSpPr>
          <p:spPr>
            <a:xfrm rot="8716295">
              <a:off x="6597507" y="4422612"/>
              <a:ext cx="149044" cy="111064"/>
            </a:xfrm>
            <a:custGeom>
              <a:avLst/>
              <a:gdLst>
                <a:gd name="connsiteX0" fmla="*/ 0 w 149044"/>
                <a:gd name="connsiteY0" fmla="*/ 51375 h 111064"/>
                <a:gd name="connsiteX1" fmla="*/ 1002 w 149044"/>
                <a:gd name="connsiteY1" fmla="*/ 50432 h 111064"/>
                <a:gd name="connsiteX2" fmla="*/ 98612 w 149044"/>
                <a:gd name="connsiteY2" fmla="*/ 0 h 111064"/>
                <a:gd name="connsiteX3" fmla="*/ 149044 w 149044"/>
                <a:gd name="connsiteY3" fmla="*/ 60193 h 111064"/>
                <a:gd name="connsiteX4" fmla="*/ 134300 w 149044"/>
                <a:gd name="connsiteY4" fmla="*/ 98322 h 111064"/>
                <a:gd name="connsiteX5" fmla="*/ 117977 w 149044"/>
                <a:gd name="connsiteY5" fmla="*/ 111064 h 111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044" h="111064">
                  <a:moveTo>
                    <a:pt x="0" y="51375"/>
                  </a:moveTo>
                  <a:lnTo>
                    <a:pt x="1002" y="50432"/>
                  </a:lnTo>
                  <a:cubicBezTo>
                    <a:pt x="25404" y="21963"/>
                    <a:pt x="60381" y="4067"/>
                    <a:pt x="98612" y="0"/>
                  </a:cubicBezTo>
                  <a:cubicBezTo>
                    <a:pt x="137657" y="0"/>
                    <a:pt x="149044" y="34164"/>
                    <a:pt x="149044" y="60193"/>
                  </a:cubicBezTo>
                  <a:cubicBezTo>
                    <a:pt x="147824" y="74428"/>
                    <a:pt x="142536" y="87443"/>
                    <a:pt x="134300" y="98322"/>
                  </a:cubicBezTo>
                  <a:lnTo>
                    <a:pt x="117977" y="1110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371804DA-D0A5-4840-894B-07AAE1064663}"/>
                </a:ext>
              </a:extLst>
            </p:cNvPr>
            <p:cNvSpPr/>
            <p:nvPr/>
          </p:nvSpPr>
          <p:spPr>
            <a:xfrm rot="8716295">
              <a:off x="6708126" y="4876229"/>
              <a:ext cx="139286" cy="121327"/>
            </a:xfrm>
            <a:custGeom>
              <a:avLst/>
              <a:gdLst>
                <a:gd name="connsiteX0" fmla="*/ 26453 w 139286"/>
                <a:gd name="connsiteY0" fmla="*/ 96267 h 121327"/>
                <a:gd name="connsiteX1" fmla="*/ 0 w 139286"/>
                <a:gd name="connsiteY1" fmla="*/ 33618 h 121327"/>
                <a:gd name="connsiteX2" fmla="*/ 0 w 139286"/>
                <a:gd name="connsiteY2" fmla="*/ 32225 h 121327"/>
                <a:gd name="connsiteX3" fmla="*/ 13607 w 139286"/>
                <a:gd name="connsiteY3" fmla="*/ 0 h 121327"/>
                <a:gd name="connsiteX4" fmla="*/ 139286 w 139286"/>
                <a:gd name="connsiteY4" fmla="*/ 103337 h 121327"/>
                <a:gd name="connsiteX5" fmla="*/ 123037 w 139286"/>
                <a:gd name="connsiteY5" fmla="*/ 114366 h 121327"/>
                <a:gd name="connsiteX6" fmla="*/ 89101 w 139286"/>
                <a:gd name="connsiteY6" fmla="*/ 121327 h 121327"/>
                <a:gd name="connsiteX7" fmla="*/ 26453 w 139286"/>
                <a:gd name="connsiteY7" fmla="*/ 96267 h 121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9286" h="121327">
                  <a:moveTo>
                    <a:pt x="26453" y="96267"/>
                  </a:moveTo>
                  <a:cubicBezTo>
                    <a:pt x="9746" y="79561"/>
                    <a:pt x="0" y="57285"/>
                    <a:pt x="0" y="33618"/>
                  </a:cubicBezTo>
                  <a:lnTo>
                    <a:pt x="0" y="32225"/>
                  </a:lnTo>
                  <a:lnTo>
                    <a:pt x="13607" y="0"/>
                  </a:lnTo>
                  <a:lnTo>
                    <a:pt x="139286" y="103337"/>
                  </a:lnTo>
                  <a:lnTo>
                    <a:pt x="123037" y="114366"/>
                  </a:lnTo>
                  <a:cubicBezTo>
                    <a:pt x="112421" y="118890"/>
                    <a:pt x="100935" y="121327"/>
                    <a:pt x="89101" y="121327"/>
                  </a:cubicBezTo>
                  <a:cubicBezTo>
                    <a:pt x="65435" y="121327"/>
                    <a:pt x="43159" y="112973"/>
                    <a:pt x="26453" y="9626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6EEBC52A-3D14-419B-8366-97197098C604}"/>
                </a:ext>
              </a:extLst>
            </p:cNvPr>
            <p:cNvSpPr/>
            <p:nvPr/>
          </p:nvSpPr>
          <p:spPr>
            <a:xfrm rot="8716295">
              <a:off x="4782105" y="4823045"/>
              <a:ext cx="311921" cy="362797"/>
            </a:xfrm>
            <a:custGeom>
              <a:avLst/>
              <a:gdLst>
                <a:gd name="connsiteX0" fmla="*/ 311920 w 311921"/>
                <a:gd name="connsiteY0" fmla="*/ 120307 h 362797"/>
                <a:gd name="connsiteX1" fmla="*/ 138360 w 311921"/>
                <a:gd name="connsiteY1" fmla="*/ 1 h 362797"/>
                <a:gd name="connsiteX2" fmla="*/ 138360 w 311921"/>
                <a:gd name="connsiteY2" fmla="*/ 0 h 362797"/>
                <a:gd name="connsiteX3" fmla="*/ 311921 w 311921"/>
                <a:gd name="connsiteY3" fmla="*/ 120307 h 362797"/>
                <a:gd name="connsiteX4" fmla="*/ 0 w 311921"/>
                <a:gd name="connsiteY4" fmla="*/ 362797 h 362797"/>
                <a:gd name="connsiteX5" fmla="*/ 0 w 311921"/>
                <a:gd name="connsiteY5" fmla="*/ 320869 h 362797"/>
                <a:gd name="connsiteX6" fmla="*/ 27877 w 311921"/>
                <a:gd name="connsiteY6" fmla="*/ 343790 h 362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1921" h="362797">
                  <a:moveTo>
                    <a:pt x="311920" y="120307"/>
                  </a:moveTo>
                  <a:lnTo>
                    <a:pt x="138360" y="1"/>
                  </a:lnTo>
                  <a:lnTo>
                    <a:pt x="138360" y="0"/>
                  </a:lnTo>
                  <a:lnTo>
                    <a:pt x="311921" y="120307"/>
                  </a:lnTo>
                  <a:close/>
                  <a:moveTo>
                    <a:pt x="0" y="362797"/>
                  </a:moveTo>
                  <a:lnTo>
                    <a:pt x="0" y="320869"/>
                  </a:lnTo>
                  <a:lnTo>
                    <a:pt x="27877" y="34379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53F2D732-A25A-4CEE-B98E-E5DC8CC54158}"/>
                </a:ext>
              </a:extLst>
            </p:cNvPr>
            <p:cNvSpPr/>
            <p:nvPr/>
          </p:nvSpPr>
          <p:spPr>
            <a:xfrm rot="8716295">
              <a:off x="5132149" y="4738008"/>
              <a:ext cx="148614" cy="131720"/>
            </a:xfrm>
            <a:custGeom>
              <a:avLst/>
              <a:gdLst>
                <a:gd name="connsiteX0" fmla="*/ 26453 w 148614"/>
                <a:gd name="connsiteY0" fmla="*/ 106660 h 131720"/>
                <a:gd name="connsiteX1" fmla="*/ 0 w 148614"/>
                <a:gd name="connsiteY1" fmla="*/ 44011 h 131720"/>
                <a:gd name="connsiteX2" fmla="*/ 0 w 148614"/>
                <a:gd name="connsiteY2" fmla="*/ 42618 h 131720"/>
                <a:gd name="connsiteX3" fmla="*/ 17995 w 148614"/>
                <a:gd name="connsiteY3" fmla="*/ 0 h 131720"/>
                <a:gd name="connsiteX4" fmla="*/ 148614 w 148614"/>
                <a:gd name="connsiteY4" fmla="*/ 107398 h 131720"/>
                <a:gd name="connsiteX5" fmla="*/ 123037 w 148614"/>
                <a:gd name="connsiteY5" fmla="*/ 124759 h 131720"/>
                <a:gd name="connsiteX6" fmla="*/ 89101 w 148614"/>
                <a:gd name="connsiteY6" fmla="*/ 131720 h 131720"/>
                <a:gd name="connsiteX7" fmla="*/ 26453 w 148614"/>
                <a:gd name="connsiteY7" fmla="*/ 106660 h 13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8614" h="131720">
                  <a:moveTo>
                    <a:pt x="26453" y="106660"/>
                  </a:moveTo>
                  <a:cubicBezTo>
                    <a:pt x="9746" y="89954"/>
                    <a:pt x="0" y="67678"/>
                    <a:pt x="0" y="44011"/>
                  </a:cubicBezTo>
                  <a:lnTo>
                    <a:pt x="0" y="42618"/>
                  </a:lnTo>
                  <a:lnTo>
                    <a:pt x="17995" y="0"/>
                  </a:lnTo>
                  <a:lnTo>
                    <a:pt x="148614" y="107398"/>
                  </a:lnTo>
                  <a:lnTo>
                    <a:pt x="123037" y="124759"/>
                  </a:lnTo>
                  <a:cubicBezTo>
                    <a:pt x="112421" y="129283"/>
                    <a:pt x="100935" y="131720"/>
                    <a:pt x="89101" y="131720"/>
                  </a:cubicBezTo>
                  <a:cubicBezTo>
                    <a:pt x="65435" y="131720"/>
                    <a:pt x="43159" y="123366"/>
                    <a:pt x="26453" y="10666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937A52BD-510B-4C03-9C16-CD9D234ABB7D}"/>
                </a:ext>
              </a:extLst>
            </p:cNvPr>
            <p:cNvSpPr/>
            <p:nvPr/>
          </p:nvSpPr>
          <p:spPr>
            <a:xfrm rot="8716295">
              <a:off x="5043572" y="4624951"/>
              <a:ext cx="150722" cy="101024"/>
            </a:xfrm>
            <a:custGeom>
              <a:avLst/>
              <a:gdLst>
                <a:gd name="connsiteX0" fmla="*/ 0 w 150722"/>
                <a:gd name="connsiteY0" fmla="*/ 25991 h 101024"/>
                <a:gd name="connsiteX1" fmla="*/ 28034 w 150722"/>
                <a:gd name="connsiteY1" fmla="*/ 6961 h 101024"/>
                <a:gd name="connsiteX2" fmla="*/ 61968 w 150722"/>
                <a:gd name="connsiteY2" fmla="*/ 0 h 101024"/>
                <a:gd name="connsiteX3" fmla="*/ 124618 w 150722"/>
                <a:gd name="connsiteY3" fmla="*/ 26453 h 101024"/>
                <a:gd name="connsiteX4" fmla="*/ 150722 w 150722"/>
                <a:gd name="connsiteY4" fmla="*/ 88580 h 101024"/>
                <a:gd name="connsiteX5" fmla="*/ 148306 w 150722"/>
                <a:gd name="connsiteY5" fmla="*/ 101024 h 10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0722" h="101024">
                  <a:moveTo>
                    <a:pt x="0" y="25991"/>
                  </a:moveTo>
                  <a:lnTo>
                    <a:pt x="28034" y="6961"/>
                  </a:lnTo>
                  <a:cubicBezTo>
                    <a:pt x="38649" y="2437"/>
                    <a:pt x="50135" y="0"/>
                    <a:pt x="61968" y="0"/>
                  </a:cubicBezTo>
                  <a:cubicBezTo>
                    <a:pt x="85637" y="0"/>
                    <a:pt x="107912" y="9746"/>
                    <a:pt x="124618" y="26453"/>
                  </a:cubicBezTo>
                  <a:cubicBezTo>
                    <a:pt x="142021" y="43159"/>
                    <a:pt x="150722" y="65782"/>
                    <a:pt x="150722" y="88580"/>
                  </a:cubicBezTo>
                  <a:lnTo>
                    <a:pt x="148306" y="1010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C719F00E-5A8E-45CC-8F56-B823EE2F6BB7}"/>
                </a:ext>
              </a:extLst>
            </p:cNvPr>
            <p:cNvSpPr/>
            <p:nvPr/>
          </p:nvSpPr>
          <p:spPr>
            <a:xfrm rot="8716295">
              <a:off x="8546573" y="4108588"/>
              <a:ext cx="215176" cy="313567"/>
            </a:xfrm>
            <a:custGeom>
              <a:avLst/>
              <a:gdLst>
                <a:gd name="connsiteX0" fmla="*/ 122760 w 215176"/>
                <a:gd name="connsiteY0" fmla="*/ 266809 h 313567"/>
                <a:gd name="connsiteX1" fmla="*/ 122761 w 215176"/>
                <a:gd name="connsiteY1" fmla="*/ 105519 h 313567"/>
                <a:gd name="connsiteX2" fmla="*/ 122761 w 215176"/>
                <a:gd name="connsiteY2" fmla="*/ 99312 h 313567"/>
                <a:gd name="connsiteX3" fmla="*/ 91726 w 215176"/>
                <a:gd name="connsiteY3" fmla="*/ 75863 h 313567"/>
                <a:gd name="connsiteX4" fmla="*/ 0 w 215176"/>
                <a:gd name="connsiteY4" fmla="*/ 75863 h 313567"/>
                <a:gd name="connsiteX5" fmla="*/ 0 w 215176"/>
                <a:gd name="connsiteY5" fmla="*/ 0 h 313567"/>
                <a:gd name="connsiteX6" fmla="*/ 128968 w 215176"/>
                <a:gd name="connsiteY6" fmla="*/ 0 h 313567"/>
                <a:gd name="connsiteX7" fmla="*/ 215176 w 215176"/>
                <a:gd name="connsiteY7" fmla="*/ 75863 h 313567"/>
                <a:gd name="connsiteX8" fmla="*/ 215176 w 215176"/>
                <a:gd name="connsiteY8" fmla="*/ 313567 h 31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5176" h="313567">
                  <a:moveTo>
                    <a:pt x="122760" y="26680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0"/>
                  </a:lnTo>
                  <a:lnTo>
                    <a:pt x="128968" y="0"/>
                  </a:lnTo>
                  <a:cubicBezTo>
                    <a:pt x="184831" y="0"/>
                    <a:pt x="215177" y="24139"/>
                    <a:pt x="215176" y="75863"/>
                  </a:cubicBezTo>
                  <a:lnTo>
                    <a:pt x="215176" y="3135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25DD9CA0-AFE3-4B5F-B15D-E7FBAF734592}"/>
                </a:ext>
              </a:extLst>
            </p:cNvPr>
            <p:cNvSpPr/>
            <p:nvPr/>
          </p:nvSpPr>
          <p:spPr>
            <a:xfrm rot="8716295">
              <a:off x="8681306" y="4151041"/>
              <a:ext cx="394490" cy="343138"/>
            </a:xfrm>
            <a:custGeom>
              <a:avLst/>
              <a:gdLst>
                <a:gd name="connsiteX0" fmla="*/ 77932 w 394490"/>
                <a:gd name="connsiteY0" fmla="*/ 311621 h 343138"/>
                <a:gd name="connsiteX1" fmla="*/ 77932 w 394490"/>
                <a:gd name="connsiteY1" fmla="*/ 69053 h 343138"/>
                <a:gd name="connsiteX2" fmla="*/ 0 w 394490"/>
                <a:gd name="connsiteY2" fmla="*/ 69054 h 343138"/>
                <a:gd name="connsiteX3" fmla="*/ 0 w 394490"/>
                <a:gd name="connsiteY3" fmla="*/ 2156 h 343138"/>
                <a:gd name="connsiteX4" fmla="*/ 158623 w 394490"/>
                <a:gd name="connsiteY4" fmla="*/ 2157 h 343138"/>
                <a:gd name="connsiteX5" fmla="*/ 158624 w 394490"/>
                <a:gd name="connsiteY5" fmla="*/ 113882 h 343138"/>
                <a:gd name="connsiteX6" fmla="*/ 160692 w 394490"/>
                <a:gd name="connsiteY6" fmla="*/ 113882 h 343138"/>
                <a:gd name="connsiteX7" fmla="*/ 233107 w 394490"/>
                <a:gd name="connsiteY7" fmla="*/ 9053 h 343138"/>
                <a:gd name="connsiteX8" fmla="*/ 280694 w 394490"/>
                <a:gd name="connsiteY8" fmla="*/ 87 h 343138"/>
                <a:gd name="connsiteX9" fmla="*/ 394490 w 394490"/>
                <a:gd name="connsiteY9" fmla="*/ 133882 h 343138"/>
                <a:gd name="connsiteX10" fmla="*/ 394490 w 394490"/>
                <a:gd name="connsiteY10" fmla="*/ 142849 h 343138"/>
                <a:gd name="connsiteX11" fmla="*/ 300694 w 394490"/>
                <a:gd name="connsiteY11" fmla="*/ 148365 h 343138"/>
                <a:gd name="connsiteX12" fmla="*/ 300694 w 394490"/>
                <a:gd name="connsiteY12" fmla="*/ 123538 h 343138"/>
                <a:gd name="connsiteX13" fmla="*/ 249660 w 394490"/>
                <a:gd name="connsiteY13" fmla="*/ 60778 h 343138"/>
                <a:gd name="connsiteX14" fmla="*/ 168969 w 394490"/>
                <a:gd name="connsiteY14" fmla="*/ 193194 h 343138"/>
                <a:gd name="connsiteX15" fmla="*/ 168969 w 394490"/>
                <a:gd name="connsiteY15" fmla="*/ 323541 h 343138"/>
                <a:gd name="connsiteX16" fmla="*/ 140226 w 394490"/>
                <a:gd name="connsiteY16" fmla="*/ 343138 h 343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4490" h="343138">
                  <a:moveTo>
                    <a:pt x="77932" y="311621"/>
                  </a:moveTo>
                  <a:lnTo>
                    <a:pt x="77932" y="69053"/>
                  </a:lnTo>
                  <a:lnTo>
                    <a:pt x="0" y="69054"/>
                  </a:lnTo>
                  <a:lnTo>
                    <a:pt x="0" y="2156"/>
                  </a:lnTo>
                  <a:lnTo>
                    <a:pt x="158623" y="2157"/>
                  </a:lnTo>
                  <a:lnTo>
                    <a:pt x="158624" y="113882"/>
                  </a:lnTo>
                  <a:lnTo>
                    <a:pt x="160692" y="113882"/>
                  </a:lnTo>
                  <a:cubicBezTo>
                    <a:pt x="182762" y="48364"/>
                    <a:pt x="200003" y="22846"/>
                    <a:pt x="233107" y="9053"/>
                  </a:cubicBezTo>
                  <a:cubicBezTo>
                    <a:pt x="248280" y="2846"/>
                    <a:pt x="264142" y="-602"/>
                    <a:pt x="280694" y="87"/>
                  </a:cubicBezTo>
                  <a:cubicBezTo>
                    <a:pt x="351730" y="-1293"/>
                    <a:pt x="394490" y="48364"/>
                    <a:pt x="394490" y="133882"/>
                  </a:cubicBezTo>
                  <a:lnTo>
                    <a:pt x="394490" y="142849"/>
                  </a:lnTo>
                  <a:lnTo>
                    <a:pt x="300694" y="148365"/>
                  </a:lnTo>
                  <a:lnTo>
                    <a:pt x="300694" y="123538"/>
                  </a:lnTo>
                  <a:cubicBezTo>
                    <a:pt x="300695" y="86296"/>
                    <a:pt x="279316" y="60778"/>
                    <a:pt x="249660" y="60778"/>
                  </a:cubicBezTo>
                  <a:cubicBezTo>
                    <a:pt x="205521" y="60778"/>
                    <a:pt x="168968" y="119399"/>
                    <a:pt x="168969" y="193194"/>
                  </a:cubicBezTo>
                  <a:lnTo>
                    <a:pt x="168969" y="323541"/>
                  </a:lnTo>
                  <a:lnTo>
                    <a:pt x="140226" y="3431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24323A32-7D51-45A5-8D91-2223C2D14BC5}"/>
                </a:ext>
              </a:extLst>
            </p:cNvPr>
            <p:cNvSpPr/>
            <p:nvPr/>
          </p:nvSpPr>
          <p:spPr>
            <a:xfrm rot="8716295">
              <a:off x="8646997" y="4143256"/>
              <a:ext cx="121064" cy="89924"/>
            </a:xfrm>
            <a:custGeom>
              <a:avLst/>
              <a:gdLst>
                <a:gd name="connsiteX0" fmla="*/ 0 w 121064"/>
                <a:gd name="connsiteY0" fmla="*/ 39250 h 89924"/>
                <a:gd name="connsiteX1" fmla="*/ 32528 w 121064"/>
                <a:gd name="connsiteY1" fmla="*/ 13621 h 89924"/>
                <a:gd name="connsiteX2" fmla="*/ 78305 w 121064"/>
                <a:gd name="connsiteY2" fmla="*/ 0 h 89924"/>
                <a:gd name="connsiteX3" fmla="*/ 121064 w 121064"/>
                <a:gd name="connsiteY3" fmla="*/ 51035 h 89924"/>
                <a:gd name="connsiteX4" fmla="*/ 108563 w 121064"/>
                <a:gd name="connsiteY4" fmla="*/ 83363 h 89924"/>
                <a:gd name="connsiteX5" fmla="*/ 100159 w 121064"/>
                <a:gd name="connsiteY5" fmla="*/ 89924 h 89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1064" h="89924">
                  <a:moveTo>
                    <a:pt x="0" y="39250"/>
                  </a:moveTo>
                  <a:lnTo>
                    <a:pt x="32528" y="13621"/>
                  </a:lnTo>
                  <a:cubicBezTo>
                    <a:pt x="46580" y="6380"/>
                    <a:pt x="62098" y="1724"/>
                    <a:pt x="78305" y="0"/>
                  </a:cubicBezTo>
                  <a:cubicBezTo>
                    <a:pt x="111409" y="0"/>
                    <a:pt x="121065" y="28966"/>
                    <a:pt x="121064" y="51035"/>
                  </a:cubicBezTo>
                  <a:cubicBezTo>
                    <a:pt x="120030" y="63105"/>
                    <a:pt x="115546" y="74139"/>
                    <a:pt x="108563" y="83363"/>
                  </a:cubicBezTo>
                  <a:lnTo>
                    <a:pt x="100159" y="899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CF24F6A6-E56B-4B69-A6B4-F595B4AECDB5}"/>
                </a:ext>
              </a:extLst>
            </p:cNvPr>
            <p:cNvSpPr/>
            <p:nvPr/>
          </p:nvSpPr>
          <p:spPr>
            <a:xfrm rot="8716295">
              <a:off x="8360649" y="4203945"/>
              <a:ext cx="88105" cy="88278"/>
            </a:xfrm>
            <a:custGeom>
              <a:avLst/>
              <a:gdLst>
                <a:gd name="connsiteX0" fmla="*/ 11702 w 88105"/>
                <a:gd name="connsiteY0" fmla="*/ 72544 h 88278"/>
                <a:gd name="connsiteX1" fmla="*/ 0 w 88105"/>
                <a:gd name="connsiteY1" fmla="*/ 44829 h 88278"/>
                <a:gd name="connsiteX2" fmla="*/ 0 w 88105"/>
                <a:gd name="connsiteY2" fmla="*/ 44139 h 88278"/>
                <a:gd name="connsiteX3" fmla="*/ 13104 w 88105"/>
                <a:gd name="connsiteY3" fmla="*/ 13104 h 88278"/>
                <a:gd name="connsiteX4" fmla="*/ 44139 w 88105"/>
                <a:gd name="connsiteY4" fmla="*/ 0 h 88278"/>
                <a:gd name="connsiteX5" fmla="*/ 75175 w 88105"/>
                <a:gd name="connsiteY5" fmla="*/ 13104 h 88278"/>
                <a:gd name="connsiteX6" fmla="*/ 75175 w 88105"/>
                <a:gd name="connsiteY6" fmla="*/ 75175 h 88278"/>
                <a:gd name="connsiteX7" fmla="*/ 44139 w 88105"/>
                <a:gd name="connsiteY7" fmla="*/ 88278 h 88278"/>
                <a:gd name="connsiteX8" fmla="*/ 37752 w 88105"/>
                <a:gd name="connsiteY8" fmla="*/ 85724 h 88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8105" h="88278">
                  <a:moveTo>
                    <a:pt x="11702" y="72544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cubicBezTo>
                    <a:pt x="55864" y="0"/>
                    <a:pt x="66899" y="4828"/>
                    <a:pt x="75175" y="13104"/>
                  </a:cubicBezTo>
                  <a:cubicBezTo>
                    <a:pt x="92416" y="29657"/>
                    <a:pt x="92416" y="57933"/>
                    <a:pt x="75175" y="75175"/>
                  </a:cubicBezTo>
                  <a:cubicBezTo>
                    <a:pt x="66899" y="83451"/>
                    <a:pt x="55864" y="88278"/>
                    <a:pt x="44139" y="88278"/>
                  </a:cubicBezTo>
                  <a:lnTo>
                    <a:pt x="37752" y="857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823BDB41-A1E6-41AA-847A-64C2D14D0B20}"/>
                </a:ext>
              </a:extLst>
            </p:cNvPr>
            <p:cNvSpPr/>
            <p:nvPr/>
          </p:nvSpPr>
          <p:spPr>
            <a:xfrm rot="8716295">
              <a:off x="8270439" y="4208809"/>
              <a:ext cx="54467" cy="27557"/>
            </a:xfrm>
            <a:custGeom>
              <a:avLst/>
              <a:gdLst>
                <a:gd name="connsiteX0" fmla="*/ 0 w 54467"/>
                <a:gd name="connsiteY0" fmla="*/ 0 h 27557"/>
                <a:gd name="connsiteX1" fmla="*/ 54467 w 54467"/>
                <a:gd name="connsiteY1" fmla="*/ 0 h 27557"/>
                <a:gd name="connsiteX2" fmla="*/ 54467 w 54467"/>
                <a:gd name="connsiteY2" fmla="*/ 27557 h 27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467" h="27557">
                  <a:moveTo>
                    <a:pt x="0" y="0"/>
                  </a:moveTo>
                  <a:lnTo>
                    <a:pt x="54467" y="0"/>
                  </a:lnTo>
                  <a:lnTo>
                    <a:pt x="54467" y="2755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C4D7300C-5B1D-4389-9C36-32D5B08AA75A}"/>
                </a:ext>
              </a:extLst>
            </p:cNvPr>
            <p:cNvSpPr/>
            <p:nvPr/>
          </p:nvSpPr>
          <p:spPr>
            <a:xfrm rot="8716295">
              <a:off x="8503577" y="4269431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A57703A1-63B4-443D-A8D6-A43C23AB9B28}"/>
                </a:ext>
              </a:extLst>
            </p:cNvPr>
            <p:cNvSpPr/>
            <p:nvPr/>
          </p:nvSpPr>
          <p:spPr>
            <a:xfrm rot="8716295">
              <a:off x="8994983" y="4078441"/>
              <a:ext cx="137688" cy="132478"/>
            </a:xfrm>
            <a:custGeom>
              <a:avLst/>
              <a:gdLst>
                <a:gd name="connsiteX0" fmla="*/ 46653 w 137688"/>
                <a:gd name="connsiteY0" fmla="*/ 86420 h 132478"/>
                <a:gd name="connsiteX1" fmla="*/ 46653 w 137688"/>
                <a:gd name="connsiteY1" fmla="*/ 24828 h 132478"/>
                <a:gd name="connsiteX2" fmla="*/ 0 w 137688"/>
                <a:gd name="connsiteY2" fmla="*/ 24828 h 132478"/>
                <a:gd name="connsiteX3" fmla="*/ 15342 w 137688"/>
                <a:gd name="connsiteY3" fmla="*/ 2695 h 132478"/>
                <a:gd name="connsiteX4" fmla="*/ 137688 w 137688"/>
                <a:gd name="connsiteY4" fmla="*/ 0 h 132478"/>
                <a:gd name="connsiteX5" fmla="*/ 137688 w 137688"/>
                <a:gd name="connsiteY5" fmla="*/ 132478 h 132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7688" h="132478">
                  <a:moveTo>
                    <a:pt x="46653" y="86420"/>
                  </a:moveTo>
                  <a:lnTo>
                    <a:pt x="46653" y="24828"/>
                  </a:lnTo>
                  <a:lnTo>
                    <a:pt x="0" y="24828"/>
                  </a:lnTo>
                  <a:lnTo>
                    <a:pt x="15342" y="2695"/>
                  </a:lnTo>
                  <a:lnTo>
                    <a:pt x="137688" y="0"/>
                  </a:lnTo>
                  <a:lnTo>
                    <a:pt x="137688" y="13247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46727CBF-18BC-4939-8F2B-40813E13A972}"/>
                </a:ext>
              </a:extLst>
            </p:cNvPr>
            <p:cNvSpPr/>
            <p:nvPr/>
          </p:nvSpPr>
          <p:spPr>
            <a:xfrm rot="7484129">
              <a:off x="9136824" y="4228704"/>
              <a:ext cx="8392" cy="13068"/>
            </a:xfrm>
            <a:custGeom>
              <a:avLst/>
              <a:gdLst>
                <a:gd name="connsiteX0" fmla="*/ 3897 w 8392"/>
                <a:gd name="connsiteY0" fmla="*/ 13068 h 13068"/>
                <a:gd name="connsiteX1" fmla="*/ 0 w 8392"/>
                <a:gd name="connsiteY1" fmla="*/ 5818 h 13068"/>
                <a:gd name="connsiteX2" fmla="*/ 8392 w 8392"/>
                <a:gd name="connsiteY2" fmla="*/ 0 h 13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2" h="13068">
                  <a:moveTo>
                    <a:pt x="3897" y="13068"/>
                  </a:moveTo>
                  <a:lnTo>
                    <a:pt x="0" y="5818"/>
                  </a:lnTo>
                  <a:lnTo>
                    <a:pt x="839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D9037FA7-ED1D-4D57-8F2C-1298751D415A}"/>
                </a:ext>
              </a:extLst>
            </p:cNvPr>
            <p:cNvSpPr/>
            <p:nvPr/>
          </p:nvSpPr>
          <p:spPr>
            <a:xfrm rot="8716295">
              <a:off x="8839311" y="5117279"/>
              <a:ext cx="37096" cy="40385"/>
            </a:xfrm>
            <a:custGeom>
              <a:avLst/>
              <a:gdLst>
                <a:gd name="connsiteX0" fmla="*/ 37095 w 37096"/>
                <a:gd name="connsiteY0" fmla="*/ 25713 h 40385"/>
                <a:gd name="connsiteX1" fmla="*/ 0 w 37096"/>
                <a:gd name="connsiteY1" fmla="*/ 0 h 40385"/>
                <a:gd name="connsiteX2" fmla="*/ 0 w 37096"/>
                <a:gd name="connsiteY2" fmla="*/ 0 h 40385"/>
                <a:gd name="connsiteX3" fmla="*/ 37096 w 37096"/>
                <a:gd name="connsiteY3" fmla="*/ 25713 h 40385"/>
                <a:gd name="connsiteX4" fmla="*/ 0 w 37096"/>
                <a:gd name="connsiteY4" fmla="*/ 40385 h 40385"/>
                <a:gd name="connsiteX5" fmla="*/ 0 w 37096"/>
                <a:gd name="connsiteY5" fmla="*/ 28525 h 40385"/>
                <a:gd name="connsiteX6" fmla="*/ 9740 w 37096"/>
                <a:gd name="connsiteY6" fmla="*/ 36533 h 40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096" h="40385">
                  <a:moveTo>
                    <a:pt x="37095" y="25713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37096" y="25713"/>
                  </a:lnTo>
                  <a:close/>
                  <a:moveTo>
                    <a:pt x="0" y="40385"/>
                  </a:moveTo>
                  <a:lnTo>
                    <a:pt x="0" y="28525"/>
                  </a:lnTo>
                  <a:lnTo>
                    <a:pt x="9740" y="365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7762AEC2-4809-4723-B4B8-AD709205FF29}"/>
                </a:ext>
              </a:extLst>
            </p:cNvPr>
            <p:cNvSpPr/>
            <p:nvPr/>
          </p:nvSpPr>
          <p:spPr>
            <a:xfrm rot="8716295">
              <a:off x="8967255" y="4971567"/>
              <a:ext cx="231347" cy="158649"/>
            </a:xfrm>
            <a:custGeom>
              <a:avLst/>
              <a:gdLst>
                <a:gd name="connsiteX0" fmla="*/ 8965 w 231347"/>
                <a:gd name="connsiteY0" fmla="*/ 158649 h 158649"/>
                <a:gd name="connsiteX1" fmla="*/ 0 w 231347"/>
                <a:gd name="connsiteY1" fmla="*/ 146235 h 158649"/>
                <a:gd name="connsiteX2" fmla="*/ 155416 w 231347"/>
                <a:gd name="connsiteY2" fmla="*/ 0 h 158649"/>
                <a:gd name="connsiteX3" fmla="*/ 231347 w 231347"/>
                <a:gd name="connsiteY3" fmla="*/ 62433 h 158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347" h="158649">
                  <a:moveTo>
                    <a:pt x="8965" y="158649"/>
                  </a:moveTo>
                  <a:lnTo>
                    <a:pt x="0" y="146235"/>
                  </a:lnTo>
                  <a:lnTo>
                    <a:pt x="155416" y="0"/>
                  </a:lnTo>
                  <a:lnTo>
                    <a:pt x="231347" y="624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45E00815-1C71-4483-8D7E-4D817A5C21EF}"/>
                </a:ext>
              </a:extLst>
            </p:cNvPr>
            <p:cNvSpPr/>
            <p:nvPr/>
          </p:nvSpPr>
          <p:spPr>
            <a:xfrm rot="8716295">
              <a:off x="8555937" y="4871188"/>
              <a:ext cx="249519" cy="296463"/>
            </a:xfrm>
            <a:custGeom>
              <a:avLst/>
              <a:gdLst>
                <a:gd name="connsiteX0" fmla="*/ 249516 w 249519"/>
                <a:gd name="connsiteY0" fmla="*/ 83734 h 296463"/>
                <a:gd name="connsiteX1" fmla="*/ 128718 w 249519"/>
                <a:gd name="connsiteY1" fmla="*/ 0 h 296463"/>
                <a:gd name="connsiteX2" fmla="*/ 128719 w 249519"/>
                <a:gd name="connsiteY2" fmla="*/ 0 h 296463"/>
                <a:gd name="connsiteX3" fmla="*/ 249519 w 249519"/>
                <a:gd name="connsiteY3" fmla="*/ 83734 h 296463"/>
                <a:gd name="connsiteX4" fmla="*/ 137293 w 249519"/>
                <a:gd name="connsiteY4" fmla="*/ 296463 h 296463"/>
                <a:gd name="connsiteX5" fmla="*/ 72418 w 249519"/>
                <a:gd name="connsiteY5" fmla="*/ 175766 h 296463"/>
                <a:gd name="connsiteX6" fmla="*/ 105610 w 249519"/>
                <a:gd name="connsiteY6" fmla="*/ 83734 h 296463"/>
                <a:gd name="connsiteX7" fmla="*/ 0 w 249519"/>
                <a:gd name="connsiteY7" fmla="*/ 83734 h 296463"/>
                <a:gd name="connsiteX8" fmla="*/ 0 w 249519"/>
                <a:gd name="connsiteY8" fmla="*/ 0 h 296463"/>
                <a:gd name="connsiteX9" fmla="*/ 78196 w 249519"/>
                <a:gd name="connsiteY9" fmla="*/ 0 h 296463"/>
                <a:gd name="connsiteX10" fmla="*/ 203756 w 249519"/>
                <a:gd name="connsiteY10" fmla="*/ 103239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519" h="296463">
                  <a:moveTo>
                    <a:pt x="249516" y="83734"/>
                  </a:moveTo>
                  <a:lnTo>
                    <a:pt x="128718" y="0"/>
                  </a:lnTo>
                  <a:lnTo>
                    <a:pt x="128719" y="0"/>
                  </a:lnTo>
                  <a:lnTo>
                    <a:pt x="249519" y="83734"/>
                  </a:lnTo>
                  <a:close/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78196" y="0"/>
                  </a:lnTo>
                  <a:lnTo>
                    <a:pt x="203756" y="1032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58E38A6F-A61D-44CF-B900-AC3229C6053D}"/>
                </a:ext>
              </a:extLst>
            </p:cNvPr>
            <p:cNvSpPr/>
            <p:nvPr/>
          </p:nvSpPr>
          <p:spPr>
            <a:xfrm rot="8716295">
              <a:off x="9124182" y="4842281"/>
              <a:ext cx="37059" cy="48941"/>
            </a:xfrm>
            <a:custGeom>
              <a:avLst/>
              <a:gdLst>
                <a:gd name="connsiteX0" fmla="*/ 0 w 37059"/>
                <a:gd name="connsiteY0" fmla="*/ 48941 h 48941"/>
                <a:gd name="connsiteX1" fmla="*/ 33925 w 37059"/>
                <a:gd name="connsiteY1" fmla="*/ 0 h 48941"/>
                <a:gd name="connsiteX2" fmla="*/ 37059 w 37059"/>
                <a:gd name="connsiteY2" fmla="*/ 7460 h 48941"/>
                <a:gd name="connsiteX3" fmla="*/ 24128 w 37059"/>
                <a:gd name="connsiteY3" fmla="*/ 38754 h 48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059" h="48941">
                  <a:moveTo>
                    <a:pt x="0" y="48941"/>
                  </a:moveTo>
                  <a:lnTo>
                    <a:pt x="33925" y="0"/>
                  </a:lnTo>
                  <a:lnTo>
                    <a:pt x="37059" y="7460"/>
                  </a:lnTo>
                  <a:cubicBezTo>
                    <a:pt x="37059" y="18753"/>
                    <a:pt x="32749" y="30133"/>
                    <a:pt x="24128" y="3875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0438BEFE-52E9-475C-AF5B-D887CDB606B3}"/>
                </a:ext>
              </a:extLst>
            </p:cNvPr>
            <p:cNvSpPr/>
            <p:nvPr/>
          </p:nvSpPr>
          <p:spPr>
            <a:xfrm rot="8716295">
              <a:off x="8946271" y="4530250"/>
              <a:ext cx="235267" cy="296463"/>
            </a:xfrm>
            <a:custGeom>
              <a:avLst/>
              <a:gdLst>
                <a:gd name="connsiteX0" fmla="*/ 64028 w 235267"/>
                <a:gd name="connsiteY0" fmla="*/ 296463 h 296463"/>
                <a:gd name="connsiteX1" fmla="*/ 0 w 235267"/>
                <a:gd name="connsiteY1" fmla="*/ 177341 h 296463"/>
                <a:gd name="connsiteX2" fmla="*/ 122928 w 235267"/>
                <a:gd name="connsiteY2" fmla="*/ 0 h 296463"/>
                <a:gd name="connsiteX3" fmla="*/ 235266 w 235267"/>
                <a:gd name="connsiteY3" fmla="*/ 0 h 296463"/>
                <a:gd name="connsiteX4" fmla="*/ 235267 w 235267"/>
                <a:gd name="connsiteY4" fmla="*/ 83734 h 296463"/>
                <a:gd name="connsiteX5" fmla="*/ 137200 w 235267"/>
                <a:gd name="connsiteY5" fmla="*/ 83735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5267" h="296463">
                  <a:moveTo>
                    <a:pt x="64028" y="296463"/>
                  </a:moveTo>
                  <a:lnTo>
                    <a:pt x="0" y="177341"/>
                  </a:lnTo>
                  <a:lnTo>
                    <a:pt x="122928" y="0"/>
                  </a:lnTo>
                  <a:lnTo>
                    <a:pt x="235266" y="0"/>
                  </a:lnTo>
                  <a:lnTo>
                    <a:pt x="235267" y="83734"/>
                  </a:lnTo>
                  <a:lnTo>
                    <a:pt x="137200" y="837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D3F9B5D8-06D4-4B43-BC6C-7C19EABDD1C4}"/>
                </a:ext>
              </a:extLst>
            </p:cNvPr>
            <p:cNvSpPr/>
            <p:nvPr/>
          </p:nvSpPr>
          <p:spPr>
            <a:xfrm rot="8716295">
              <a:off x="8906661" y="466090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71905357-F1DF-411B-B59B-0F032583384E}"/>
                </a:ext>
              </a:extLst>
            </p:cNvPr>
            <p:cNvSpPr/>
            <p:nvPr/>
          </p:nvSpPr>
          <p:spPr>
            <a:xfrm rot="13089394">
              <a:off x="7765620" y="4253518"/>
              <a:ext cx="72828" cy="75543"/>
            </a:xfrm>
            <a:custGeom>
              <a:avLst/>
              <a:gdLst>
                <a:gd name="connsiteX0" fmla="*/ 0 w 72828"/>
                <a:gd name="connsiteY0" fmla="*/ 75543 h 75543"/>
                <a:gd name="connsiteX1" fmla="*/ 0 w 72828"/>
                <a:gd name="connsiteY1" fmla="*/ 37783 h 75543"/>
                <a:gd name="connsiteX2" fmla="*/ 72828 w 72828"/>
                <a:gd name="connsiteY2" fmla="*/ 0 h 7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828" h="75543">
                  <a:moveTo>
                    <a:pt x="0" y="75543"/>
                  </a:moveTo>
                  <a:lnTo>
                    <a:pt x="0" y="37783"/>
                  </a:lnTo>
                  <a:lnTo>
                    <a:pt x="7282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9CC70003-388A-4ED2-9C78-B5584C3B43A2}"/>
                </a:ext>
              </a:extLst>
            </p:cNvPr>
            <p:cNvSpPr/>
            <p:nvPr/>
          </p:nvSpPr>
          <p:spPr>
            <a:xfrm rot="8716295">
              <a:off x="7196646" y="4735107"/>
              <a:ext cx="215177" cy="351729"/>
            </a:xfrm>
            <a:custGeom>
              <a:avLst/>
              <a:gdLst>
                <a:gd name="connsiteX0" fmla="*/ 122761 w 215177"/>
                <a:gd name="connsiteY0" fmla="*/ 351729 h 351729"/>
                <a:gd name="connsiteX1" fmla="*/ 122761 w 215177"/>
                <a:gd name="connsiteY1" fmla="*/ 105519 h 351729"/>
                <a:gd name="connsiteX2" fmla="*/ 122761 w 215177"/>
                <a:gd name="connsiteY2" fmla="*/ 99312 h 351729"/>
                <a:gd name="connsiteX3" fmla="*/ 91726 w 215177"/>
                <a:gd name="connsiteY3" fmla="*/ 75863 h 351729"/>
                <a:gd name="connsiteX4" fmla="*/ 0 w 215177"/>
                <a:gd name="connsiteY4" fmla="*/ 75863 h 351729"/>
                <a:gd name="connsiteX5" fmla="*/ 0 w 215177"/>
                <a:gd name="connsiteY5" fmla="*/ 0 h 351729"/>
                <a:gd name="connsiteX6" fmla="*/ 20033 w 215177"/>
                <a:gd name="connsiteY6" fmla="*/ 0 h 351729"/>
                <a:gd name="connsiteX7" fmla="*/ 215177 w 215177"/>
                <a:gd name="connsiteY7" fmla="*/ 160452 h 351729"/>
                <a:gd name="connsiteX8" fmla="*/ 215176 w 215177"/>
                <a:gd name="connsiteY8" fmla="*/ 315177 h 351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5177" h="351729">
                  <a:moveTo>
                    <a:pt x="122761" y="35172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0"/>
                  </a:lnTo>
                  <a:lnTo>
                    <a:pt x="20033" y="0"/>
                  </a:lnTo>
                  <a:lnTo>
                    <a:pt x="215177" y="160452"/>
                  </a:lnTo>
                  <a:lnTo>
                    <a:pt x="215176" y="3151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E46A29A2-07B5-4D69-A57A-B7E84F78585B}"/>
                </a:ext>
              </a:extLst>
            </p:cNvPr>
            <p:cNvSpPr/>
            <p:nvPr/>
          </p:nvSpPr>
          <p:spPr>
            <a:xfrm rot="8716295">
              <a:off x="7519762" y="4714342"/>
              <a:ext cx="185667" cy="383455"/>
            </a:xfrm>
            <a:custGeom>
              <a:avLst/>
              <a:gdLst>
                <a:gd name="connsiteX0" fmla="*/ 77932 w 185667"/>
                <a:gd name="connsiteY0" fmla="*/ 383455 h 383455"/>
                <a:gd name="connsiteX1" fmla="*/ 77932 w 185667"/>
                <a:gd name="connsiteY1" fmla="*/ 66898 h 383455"/>
                <a:gd name="connsiteX2" fmla="*/ 0 w 185667"/>
                <a:gd name="connsiteY2" fmla="*/ 66898 h 383455"/>
                <a:gd name="connsiteX3" fmla="*/ 0 w 185667"/>
                <a:gd name="connsiteY3" fmla="*/ 0 h 383455"/>
                <a:gd name="connsiteX4" fmla="*/ 33456 w 185667"/>
                <a:gd name="connsiteY4" fmla="*/ 0 h 383455"/>
                <a:gd name="connsiteX5" fmla="*/ 158623 w 185667"/>
                <a:gd name="connsiteY5" fmla="*/ 102916 h 383455"/>
                <a:gd name="connsiteX6" fmla="*/ 158623 w 185667"/>
                <a:gd name="connsiteY6" fmla="*/ 111726 h 383455"/>
                <a:gd name="connsiteX7" fmla="*/ 160692 w 185667"/>
                <a:gd name="connsiteY7" fmla="*/ 111726 h 383455"/>
                <a:gd name="connsiteX8" fmla="*/ 162749 w 185667"/>
                <a:gd name="connsiteY8" fmla="*/ 106308 h 383455"/>
                <a:gd name="connsiteX9" fmla="*/ 185667 w 185667"/>
                <a:gd name="connsiteY9" fmla="*/ 125152 h 383455"/>
                <a:gd name="connsiteX10" fmla="*/ 168969 w 185667"/>
                <a:gd name="connsiteY10" fmla="*/ 191038 h 383455"/>
                <a:gd name="connsiteX11" fmla="*/ 168969 w 185667"/>
                <a:gd name="connsiteY11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5667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33456" y="0"/>
                  </a:lnTo>
                  <a:lnTo>
                    <a:pt x="158623" y="102916"/>
                  </a:lnTo>
                  <a:lnTo>
                    <a:pt x="158623" y="111726"/>
                  </a:lnTo>
                  <a:lnTo>
                    <a:pt x="160692" y="111726"/>
                  </a:lnTo>
                  <a:lnTo>
                    <a:pt x="162749" y="106308"/>
                  </a:lnTo>
                  <a:lnTo>
                    <a:pt x="185667" y="125152"/>
                  </a:lnTo>
                  <a:lnTo>
                    <a:pt x="168969" y="191038"/>
                  </a:ln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BB2B590A-BBED-49DF-BE0A-D7CDB8C7EA53}"/>
                </a:ext>
              </a:extLst>
            </p:cNvPr>
            <p:cNvSpPr/>
            <p:nvPr/>
          </p:nvSpPr>
          <p:spPr>
            <a:xfrm rot="8716295">
              <a:off x="7265319" y="4648384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7838B053-EE23-465E-B80C-0FDB953D8E9F}"/>
                </a:ext>
              </a:extLst>
            </p:cNvPr>
            <p:cNvSpPr/>
            <p:nvPr/>
          </p:nvSpPr>
          <p:spPr>
            <a:xfrm rot="8716295">
              <a:off x="7028032" y="486872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46F2EA92-FAA0-4CBD-8D20-0B7AF9B36906}"/>
                </a:ext>
              </a:extLst>
            </p:cNvPr>
            <p:cNvSpPr/>
            <p:nvPr/>
          </p:nvSpPr>
          <p:spPr>
            <a:xfrm rot="8716295">
              <a:off x="6838986" y="455289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C33E7506-2F8D-4DC7-82BD-DA6D9CD10C11}"/>
                </a:ext>
              </a:extLst>
            </p:cNvPr>
            <p:cNvSpPr/>
            <p:nvPr/>
          </p:nvSpPr>
          <p:spPr>
            <a:xfrm rot="8716295">
              <a:off x="6821466" y="4356542"/>
              <a:ext cx="439901" cy="511464"/>
            </a:xfrm>
            <a:custGeom>
              <a:avLst/>
              <a:gdLst>
                <a:gd name="connsiteX0" fmla="*/ 1873 w 439901"/>
                <a:gd name="connsiteY0" fmla="*/ 384681 h 511464"/>
                <a:gd name="connsiteX1" fmla="*/ 1725 w 439901"/>
                <a:gd name="connsiteY1" fmla="*/ 383648 h 511464"/>
                <a:gd name="connsiteX2" fmla="*/ 0 w 439901"/>
                <a:gd name="connsiteY2" fmla="*/ 333043 h 511464"/>
                <a:gd name="connsiteX3" fmla="*/ 0 w 439901"/>
                <a:gd name="connsiteY3" fmla="*/ 61444 h 511464"/>
                <a:gd name="connsiteX4" fmla="*/ 118434 w 439901"/>
                <a:gd name="connsiteY4" fmla="*/ 0 h 511464"/>
                <a:gd name="connsiteX5" fmla="*/ 120216 w 439901"/>
                <a:gd name="connsiteY5" fmla="*/ 248447 h 511464"/>
                <a:gd name="connsiteX6" fmla="*/ 141587 w 439901"/>
                <a:gd name="connsiteY6" fmla="*/ 396268 h 511464"/>
                <a:gd name="connsiteX7" fmla="*/ 248446 w 439901"/>
                <a:gd name="connsiteY7" fmla="*/ 455041 h 511464"/>
                <a:gd name="connsiteX8" fmla="*/ 328590 w 439901"/>
                <a:gd name="connsiteY8" fmla="*/ 440793 h 511464"/>
                <a:gd name="connsiteX9" fmla="*/ 438120 w 439901"/>
                <a:gd name="connsiteY9" fmla="*/ 396268 h 511464"/>
                <a:gd name="connsiteX10" fmla="*/ 439901 w 439901"/>
                <a:gd name="connsiteY10" fmla="*/ 407844 h 511464"/>
                <a:gd name="connsiteX11" fmla="*/ 439901 w 439901"/>
                <a:gd name="connsiteY11" fmla="*/ 416749 h 511464"/>
                <a:gd name="connsiteX12" fmla="*/ 286180 w 439901"/>
                <a:gd name="connsiteY12" fmla="*/ 502459 h 511464"/>
                <a:gd name="connsiteX13" fmla="*/ 252462 w 439901"/>
                <a:gd name="connsiteY13" fmla="*/ 511464 h 511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9901" h="511464">
                  <a:moveTo>
                    <a:pt x="1873" y="384681"/>
                  </a:moveTo>
                  <a:lnTo>
                    <a:pt x="1725" y="383648"/>
                  </a:lnTo>
                  <a:cubicBezTo>
                    <a:pt x="501" y="368162"/>
                    <a:pt x="0" y="351298"/>
                    <a:pt x="0" y="333043"/>
                  </a:cubicBezTo>
                  <a:lnTo>
                    <a:pt x="0" y="61444"/>
                  </a:lnTo>
                  <a:lnTo>
                    <a:pt x="118434" y="0"/>
                  </a:lnTo>
                  <a:lnTo>
                    <a:pt x="120216" y="248447"/>
                  </a:lnTo>
                  <a:cubicBezTo>
                    <a:pt x="117545" y="298315"/>
                    <a:pt x="125558" y="349072"/>
                    <a:pt x="141587" y="396268"/>
                  </a:cubicBezTo>
                  <a:cubicBezTo>
                    <a:pt x="155836" y="435450"/>
                    <a:pt x="192346" y="455041"/>
                    <a:pt x="248446" y="455041"/>
                  </a:cubicBezTo>
                  <a:cubicBezTo>
                    <a:pt x="276051" y="454150"/>
                    <a:pt x="302766" y="448807"/>
                    <a:pt x="328590" y="440793"/>
                  </a:cubicBezTo>
                  <a:cubicBezTo>
                    <a:pt x="365990" y="429216"/>
                    <a:pt x="402501" y="414078"/>
                    <a:pt x="438120" y="396268"/>
                  </a:cubicBezTo>
                  <a:cubicBezTo>
                    <a:pt x="439010" y="399830"/>
                    <a:pt x="439901" y="404282"/>
                    <a:pt x="439901" y="407844"/>
                  </a:cubicBezTo>
                  <a:lnTo>
                    <a:pt x="439901" y="416749"/>
                  </a:lnTo>
                  <a:cubicBezTo>
                    <a:pt x="392705" y="457267"/>
                    <a:pt x="338163" y="484649"/>
                    <a:pt x="286180" y="502459"/>
                  </a:cubicBezTo>
                  <a:lnTo>
                    <a:pt x="252462" y="5114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F0039EE6-19E5-4457-84A9-3D50560FF71B}"/>
                </a:ext>
              </a:extLst>
            </p:cNvPr>
            <p:cNvSpPr/>
            <p:nvPr/>
          </p:nvSpPr>
          <p:spPr>
            <a:xfrm rot="8716295">
              <a:off x="7635467" y="435609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62946C15-BE3C-45DF-BB3D-128249E4D1A5}"/>
                </a:ext>
              </a:extLst>
            </p:cNvPr>
            <p:cNvSpPr/>
            <p:nvPr/>
          </p:nvSpPr>
          <p:spPr>
            <a:xfrm rot="8716295">
              <a:off x="7770766" y="440035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3C27B629-4EE2-46C6-9535-F5382300825F}"/>
                </a:ext>
              </a:extLst>
            </p:cNvPr>
            <p:cNvSpPr/>
            <p:nvPr/>
          </p:nvSpPr>
          <p:spPr>
            <a:xfrm rot="8716295">
              <a:off x="7465596" y="44901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6592736C-E2B7-4AAA-9132-CE6867AFB7E6}"/>
                </a:ext>
              </a:extLst>
            </p:cNvPr>
            <p:cNvSpPr/>
            <p:nvPr/>
          </p:nvSpPr>
          <p:spPr>
            <a:xfrm rot="8716295">
              <a:off x="7313509" y="4314181"/>
              <a:ext cx="308532" cy="142740"/>
            </a:xfrm>
            <a:custGeom>
              <a:avLst/>
              <a:gdLst>
                <a:gd name="connsiteX0" fmla="*/ 0 w 308532"/>
                <a:gd name="connsiteY0" fmla="*/ 46525 h 142740"/>
                <a:gd name="connsiteX1" fmla="*/ 0 w 308532"/>
                <a:gd name="connsiteY1" fmla="*/ 0 h 142740"/>
                <a:gd name="connsiteX2" fmla="*/ 308532 w 308532"/>
                <a:gd name="connsiteY2" fmla="*/ 0 h 142740"/>
                <a:gd name="connsiteX3" fmla="*/ 308532 w 308532"/>
                <a:gd name="connsiteY3" fmla="*/ 83734 h 142740"/>
                <a:gd name="connsiteX4" fmla="*/ 210465 w 308532"/>
                <a:gd name="connsiteY4" fmla="*/ 83734 h 142740"/>
                <a:gd name="connsiteX5" fmla="*/ 190169 w 308532"/>
                <a:gd name="connsiteY5" fmla="*/ 142740 h 142740"/>
                <a:gd name="connsiteX6" fmla="*/ 100662 w 308532"/>
                <a:gd name="connsiteY6" fmla="*/ 97454 h 142740"/>
                <a:gd name="connsiteX7" fmla="*/ 105610 w 308532"/>
                <a:gd name="connsiteY7" fmla="*/ 83734 h 142740"/>
                <a:gd name="connsiteX8" fmla="*/ 73544 w 308532"/>
                <a:gd name="connsiteY8" fmla="*/ 83734 h 142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532" h="142740">
                  <a:moveTo>
                    <a:pt x="0" y="46525"/>
                  </a:moveTo>
                  <a:lnTo>
                    <a:pt x="0" y="0"/>
                  </a:lnTo>
                  <a:lnTo>
                    <a:pt x="308532" y="0"/>
                  </a:lnTo>
                  <a:lnTo>
                    <a:pt x="308532" y="83734"/>
                  </a:lnTo>
                  <a:lnTo>
                    <a:pt x="210465" y="83734"/>
                  </a:lnTo>
                  <a:lnTo>
                    <a:pt x="190169" y="142740"/>
                  </a:lnTo>
                  <a:lnTo>
                    <a:pt x="100662" y="97454"/>
                  </a:lnTo>
                  <a:lnTo>
                    <a:pt x="105610" y="83734"/>
                  </a:lnTo>
                  <a:lnTo>
                    <a:pt x="73544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39B2926A-51C6-4DDF-86D8-072C96B838B0}"/>
                </a:ext>
              </a:extLst>
            </p:cNvPr>
            <p:cNvSpPr/>
            <p:nvPr/>
          </p:nvSpPr>
          <p:spPr>
            <a:xfrm rot="8716295">
              <a:off x="7602084" y="4552096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A5226D1B-39C8-4DB7-A39D-DE8AE96085BA}"/>
                </a:ext>
              </a:extLst>
            </p:cNvPr>
            <p:cNvSpPr/>
            <p:nvPr/>
          </p:nvSpPr>
          <p:spPr>
            <a:xfrm rot="8716295">
              <a:off x="7233779" y="4339176"/>
              <a:ext cx="112931" cy="98229"/>
            </a:xfrm>
            <a:custGeom>
              <a:avLst/>
              <a:gdLst>
                <a:gd name="connsiteX0" fmla="*/ 0 w 112931"/>
                <a:gd name="connsiteY0" fmla="*/ 49475 h 98229"/>
                <a:gd name="connsiteX1" fmla="*/ 13559 w 112931"/>
                <a:gd name="connsiteY1" fmla="*/ 17362 h 98229"/>
                <a:gd name="connsiteX2" fmla="*/ 54678 w 112931"/>
                <a:gd name="connsiteY2" fmla="*/ 0 h 98229"/>
                <a:gd name="connsiteX3" fmla="*/ 95798 w 112931"/>
                <a:gd name="connsiteY3" fmla="*/ 17362 h 98229"/>
                <a:gd name="connsiteX4" fmla="*/ 112931 w 112931"/>
                <a:gd name="connsiteY4" fmla="*/ 58139 h 98229"/>
                <a:gd name="connsiteX5" fmla="*/ 96365 w 112931"/>
                <a:gd name="connsiteY5" fmla="*/ 98229 h 98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931" h="98229">
                  <a:moveTo>
                    <a:pt x="0" y="49475"/>
                  </a:moveTo>
                  <a:lnTo>
                    <a:pt x="13559" y="17362"/>
                  </a:lnTo>
                  <a:cubicBezTo>
                    <a:pt x="24524" y="6397"/>
                    <a:pt x="39145" y="0"/>
                    <a:pt x="54678" y="0"/>
                  </a:cubicBezTo>
                  <a:cubicBezTo>
                    <a:pt x="70213" y="0"/>
                    <a:pt x="84833" y="6397"/>
                    <a:pt x="95798" y="17362"/>
                  </a:cubicBezTo>
                  <a:cubicBezTo>
                    <a:pt x="107220" y="28327"/>
                    <a:pt x="112931" y="43176"/>
                    <a:pt x="112931" y="58139"/>
                  </a:cubicBezTo>
                  <a:lnTo>
                    <a:pt x="96365" y="9822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B8D891A1-7C58-4828-B849-358D4D72EA90}"/>
                </a:ext>
              </a:extLst>
            </p:cNvPr>
            <p:cNvSpPr/>
            <p:nvPr/>
          </p:nvSpPr>
          <p:spPr>
            <a:xfrm rot="7484129">
              <a:off x="7765134" y="4837237"/>
              <a:ext cx="295167" cy="296463"/>
            </a:xfrm>
            <a:custGeom>
              <a:avLst/>
              <a:gdLst>
                <a:gd name="connsiteX0" fmla="*/ 295165 w 295167"/>
                <a:gd name="connsiteY0" fmla="*/ 83734 h 296463"/>
                <a:gd name="connsiteX1" fmla="*/ 237109 w 295167"/>
                <a:gd name="connsiteY1" fmla="*/ 0 h 296463"/>
                <a:gd name="connsiteX2" fmla="*/ 237110 w 295167"/>
                <a:gd name="connsiteY2" fmla="*/ 0 h 296463"/>
                <a:gd name="connsiteX3" fmla="*/ 295167 w 295167"/>
                <a:gd name="connsiteY3" fmla="*/ 83734 h 296463"/>
                <a:gd name="connsiteX4" fmla="*/ 137293 w 295167"/>
                <a:gd name="connsiteY4" fmla="*/ 296463 h 296463"/>
                <a:gd name="connsiteX5" fmla="*/ 72418 w 295167"/>
                <a:gd name="connsiteY5" fmla="*/ 175766 h 296463"/>
                <a:gd name="connsiteX6" fmla="*/ 105610 w 295167"/>
                <a:gd name="connsiteY6" fmla="*/ 83734 h 296463"/>
                <a:gd name="connsiteX7" fmla="*/ 0 w 295167"/>
                <a:gd name="connsiteY7" fmla="*/ 83734 h 296463"/>
                <a:gd name="connsiteX8" fmla="*/ 0 w 295167"/>
                <a:gd name="connsiteY8" fmla="*/ 0 h 296463"/>
                <a:gd name="connsiteX9" fmla="*/ 126381 w 295167"/>
                <a:gd name="connsiteY9" fmla="*/ 0 h 296463"/>
                <a:gd name="connsiteX10" fmla="*/ 197160 w 295167"/>
                <a:gd name="connsiteY10" fmla="*/ 122416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5167" h="296463">
                  <a:moveTo>
                    <a:pt x="295165" y="83734"/>
                  </a:moveTo>
                  <a:lnTo>
                    <a:pt x="237109" y="0"/>
                  </a:lnTo>
                  <a:lnTo>
                    <a:pt x="237110" y="0"/>
                  </a:lnTo>
                  <a:lnTo>
                    <a:pt x="295167" y="83734"/>
                  </a:lnTo>
                  <a:close/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126381" y="0"/>
                  </a:lnTo>
                  <a:lnTo>
                    <a:pt x="197160" y="1224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527B4309-024C-4B07-A449-12F7536748C5}"/>
                </a:ext>
              </a:extLst>
            </p:cNvPr>
            <p:cNvSpPr/>
            <p:nvPr/>
          </p:nvSpPr>
          <p:spPr>
            <a:xfrm rot="13089394">
              <a:off x="8005038" y="4814171"/>
              <a:ext cx="409104" cy="218063"/>
            </a:xfrm>
            <a:custGeom>
              <a:avLst/>
              <a:gdLst>
                <a:gd name="connsiteX0" fmla="*/ 409104 w 409104"/>
                <a:gd name="connsiteY0" fmla="*/ 110916 h 218063"/>
                <a:gd name="connsiteX1" fmla="*/ 135172 w 409104"/>
                <a:gd name="connsiteY1" fmla="*/ 217816 h 218063"/>
                <a:gd name="connsiteX2" fmla="*/ 32447 w 409104"/>
                <a:gd name="connsiteY2" fmla="*/ 176058 h 218063"/>
                <a:gd name="connsiteX3" fmla="*/ 3843 w 409104"/>
                <a:gd name="connsiteY3" fmla="*/ 119581 h 218063"/>
                <a:gd name="connsiteX4" fmla="*/ 0 w 409104"/>
                <a:gd name="connsiteY4" fmla="*/ 73735 h 218063"/>
                <a:gd name="connsiteX5" fmla="*/ 111583 w 409104"/>
                <a:gd name="connsiteY5" fmla="*/ 0 h 218063"/>
                <a:gd name="connsiteX6" fmla="*/ 112727 w 409104"/>
                <a:gd name="connsiteY6" fmla="*/ 23329 h 218063"/>
                <a:gd name="connsiteX7" fmla="*/ 129325 w 409104"/>
                <a:gd name="connsiteY7" fmla="*/ 91708 h 218063"/>
                <a:gd name="connsiteX8" fmla="*/ 229544 w 409104"/>
                <a:gd name="connsiteY8" fmla="*/ 146828 h 218063"/>
                <a:gd name="connsiteX9" fmla="*/ 304708 w 409104"/>
                <a:gd name="connsiteY9" fmla="*/ 133466 h 218063"/>
                <a:gd name="connsiteX10" fmla="*/ 407434 w 409104"/>
                <a:gd name="connsiteY10" fmla="*/ 91708 h 218063"/>
                <a:gd name="connsiteX11" fmla="*/ 409104 w 409104"/>
                <a:gd name="connsiteY11" fmla="*/ 102564 h 218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9104" h="218063">
                  <a:moveTo>
                    <a:pt x="409104" y="110916"/>
                  </a:moveTo>
                  <a:cubicBezTo>
                    <a:pt x="320577" y="186915"/>
                    <a:pt x="204490" y="213641"/>
                    <a:pt x="135172" y="217816"/>
                  </a:cubicBezTo>
                  <a:cubicBezTo>
                    <a:pt x="96755" y="220322"/>
                    <a:pt x="59173" y="203619"/>
                    <a:pt x="32447" y="176058"/>
                  </a:cubicBezTo>
                  <a:cubicBezTo>
                    <a:pt x="18249" y="162278"/>
                    <a:pt x="9272" y="143487"/>
                    <a:pt x="3843" y="119581"/>
                  </a:cubicBezTo>
                  <a:lnTo>
                    <a:pt x="0" y="73735"/>
                  </a:lnTo>
                  <a:lnTo>
                    <a:pt x="111583" y="0"/>
                  </a:lnTo>
                  <a:lnTo>
                    <a:pt x="112727" y="23329"/>
                  </a:lnTo>
                  <a:cubicBezTo>
                    <a:pt x="116171" y="46609"/>
                    <a:pt x="121808" y="69576"/>
                    <a:pt x="129325" y="91708"/>
                  </a:cubicBezTo>
                  <a:cubicBezTo>
                    <a:pt x="142689" y="128454"/>
                    <a:pt x="176930" y="146828"/>
                    <a:pt x="229544" y="146828"/>
                  </a:cubicBezTo>
                  <a:cubicBezTo>
                    <a:pt x="255435" y="145993"/>
                    <a:pt x="280489" y="140981"/>
                    <a:pt x="304708" y="133466"/>
                  </a:cubicBezTo>
                  <a:cubicBezTo>
                    <a:pt x="339785" y="122608"/>
                    <a:pt x="374027" y="108411"/>
                    <a:pt x="407434" y="91708"/>
                  </a:cubicBezTo>
                  <a:cubicBezTo>
                    <a:pt x="408268" y="95048"/>
                    <a:pt x="409104" y="99224"/>
                    <a:pt x="409104" y="10256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A6665952-BEBA-4083-8857-192589F92F66}"/>
                </a:ext>
              </a:extLst>
            </p:cNvPr>
            <p:cNvSpPr/>
            <p:nvPr/>
          </p:nvSpPr>
          <p:spPr>
            <a:xfrm rot="8716295">
              <a:off x="8200443" y="4500944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48E8912F-96AC-4641-B68F-1FAC8423EE44}"/>
                </a:ext>
              </a:extLst>
            </p:cNvPr>
            <p:cNvSpPr/>
            <p:nvPr/>
          </p:nvSpPr>
          <p:spPr>
            <a:xfrm rot="8716295">
              <a:off x="8122034" y="434415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53758D6F-45BC-4683-9BA4-5F935E950CCD}"/>
                </a:ext>
              </a:extLst>
            </p:cNvPr>
            <p:cNvSpPr/>
            <p:nvPr/>
          </p:nvSpPr>
          <p:spPr>
            <a:xfrm rot="8716295">
              <a:off x="7753870" y="438989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3D33FD22-12AD-4D1A-88D7-5F0D534CAA44}"/>
                </a:ext>
              </a:extLst>
            </p:cNvPr>
            <p:cNvSpPr/>
            <p:nvPr/>
          </p:nvSpPr>
          <p:spPr>
            <a:xfrm rot="8716295">
              <a:off x="8030791" y="4210054"/>
              <a:ext cx="154744" cy="110503"/>
            </a:xfrm>
            <a:custGeom>
              <a:avLst/>
              <a:gdLst>
                <a:gd name="connsiteX0" fmla="*/ 0 w 154744"/>
                <a:gd name="connsiteY0" fmla="*/ 34366 h 110503"/>
                <a:gd name="connsiteX1" fmla="*/ 3342 w 154744"/>
                <a:gd name="connsiteY1" fmla="*/ 26453 h 110503"/>
                <a:gd name="connsiteX2" fmla="*/ 65990 w 154744"/>
                <a:gd name="connsiteY2" fmla="*/ 0 h 110503"/>
                <a:gd name="connsiteX3" fmla="*/ 128640 w 154744"/>
                <a:gd name="connsiteY3" fmla="*/ 26453 h 110503"/>
                <a:gd name="connsiteX4" fmla="*/ 154744 w 154744"/>
                <a:gd name="connsiteY4" fmla="*/ 88580 h 110503"/>
                <a:gd name="connsiteX5" fmla="*/ 150487 w 154744"/>
                <a:gd name="connsiteY5" fmla="*/ 110503 h 110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4744" h="110503">
                  <a:moveTo>
                    <a:pt x="0" y="34366"/>
                  </a:moveTo>
                  <a:lnTo>
                    <a:pt x="3342" y="26453"/>
                  </a:lnTo>
                  <a:cubicBezTo>
                    <a:pt x="20048" y="9746"/>
                    <a:pt x="42323" y="0"/>
                    <a:pt x="65990" y="0"/>
                  </a:cubicBezTo>
                  <a:cubicBezTo>
                    <a:pt x="89659" y="0"/>
                    <a:pt x="111934" y="9746"/>
                    <a:pt x="128640" y="26453"/>
                  </a:cubicBezTo>
                  <a:cubicBezTo>
                    <a:pt x="146043" y="43159"/>
                    <a:pt x="154744" y="65782"/>
                    <a:pt x="154744" y="88580"/>
                  </a:cubicBezTo>
                  <a:lnTo>
                    <a:pt x="150487" y="1105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55" name="Rectangle 7">
            <a:extLst>
              <a:ext uri="{FF2B5EF4-FFF2-40B4-BE49-F238E27FC236}">
                <a16:creationId xmlns:a16="http://schemas.microsoft.com/office/drawing/2014/main" id="{88941299-7323-4585-91C3-38C1B71800C4}"/>
              </a:ext>
            </a:extLst>
          </p:cNvPr>
          <p:cNvSpPr/>
          <p:nvPr userDrawn="1"/>
        </p:nvSpPr>
        <p:spPr>
          <a:xfrm>
            <a:off x="0" y="4391025"/>
            <a:ext cx="9153528" cy="752475"/>
          </a:xfrm>
          <a:custGeom>
            <a:avLst/>
            <a:gdLst>
              <a:gd name="connsiteX0" fmla="*/ 0 w 9153528"/>
              <a:gd name="connsiteY0" fmla="*/ 0 h 752475"/>
              <a:gd name="connsiteX1" fmla="*/ 9153528 w 9153528"/>
              <a:gd name="connsiteY1" fmla="*/ 0 h 752475"/>
              <a:gd name="connsiteX2" fmla="*/ 9153528 w 9153528"/>
              <a:gd name="connsiteY2" fmla="*/ 752475 h 752475"/>
              <a:gd name="connsiteX3" fmla="*/ 0 w 9153528"/>
              <a:gd name="connsiteY3" fmla="*/ 752475 h 752475"/>
              <a:gd name="connsiteX4" fmla="*/ 0 w 9153528"/>
              <a:gd name="connsiteY4" fmla="*/ 0 h 752475"/>
              <a:gd name="connsiteX0" fmla="*/ 0 w 9153528"/>
              <a:gd name="connsiteY0" fmla="*/ 0 h 752475"/>
              <a:gd name="connsiteX1" fmla="*/ 9153528 w 9153528"/>
              <a:gd name="connsiteY1" fmla="*/ 752475 h 752475"/>
              <a:gd name="connsiteX2" fmla="*/ 0 w 9153528"/>
              <a:gd name="connsiteY2" fmla="*/ 752475 h 752475"/>
              <a:gd name="connsiteX3" fmla="*/ 0 w 9153528"/>
              <a:gd name="connsiteY3" fmla="*/ 0 h 752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53528" h="752475">
                <a:moveTo>
                  <a:pt x="0" y="0"/>
                </a:moveTo>
                <a:lnTo>
                  <a:pt x="9153528" y="752475"/>
                </a:lnTo>
                <a:lnTo>
                  <a:pt x="0" y="752475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pic>
        <p:nvPicPr>
          <p:cNvPr id="56" name="Graphique 55">
            <a:extLst>
              <a:ext uri="{FF2B5EF4-FFF2-40B4-BE49-F238E27FC236}">
                <a16:creationId xmlns:a16="http://schemas.microsoft.com/office/drawing/2014/main" id="{A88B7565-C7DC-40EA-B5DD-A4245568A9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34871" y="2053350"/>
            <a:ext cx="3474258" cy="103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936914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itre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>
            <a:extLst>
              <a:ext uri="{FF2B5EF4-FFF2-40B4-BE49-F238E27FC236}">
                <a16:creationId xmlns:a16="http://schemas.microsoft.com/office/drawing/2014/main" id="{6A348ADD-AB0E-41AD-9203-40019D501D09}"/>
              </a:ext>
            </a:extLst>
          </p:cNvPr>
          <p:cNvGrpSpPr/>
          <p:nvPr userDrawn="1"/>
        </p:nvGrpSpPr>
        <p:grpSpPr>
          <a:xfrm>
            <a:off x="-134707" y="-108618"/>
            <a:ext cx="6284502" cy="5381969"/>
            <a:chOff x="-134707" y="-108618"/>
            <a:chExt cx="6284502" cy="5381969"/>
          </a:xfrm>
          <a:solidFill>
            <a:schemeClr val="bg2">
              <a:alpha val="10000"/>
            </a:schemeClr>
          </a:solidFill>
        </p:grpSpPr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4588E603-EA6D-4A8D-ABC7-9DE29315EF7F}"/>
                </a:ext>
              </a:extLst>
            </p:cNvPr>
            <p:cNvSpPr/>
            <p:nvPr/>
          </p:nvSpPr>
          <p:spPr>
            <a:xfrm rot="8716295">
              <a:off x="1460344" y="348006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8D98135C-BBC2-4D16-96A0-7D0791CBF234}"/>
                </a:ext>
              </a:extLst>
            </p:cNvPr>
            <p:cNvSpPr/>
            <p:nvPr/>
          </p:nvSpPr>
          <p:spPr>
            <a:xfrm rot="8716295">
              <a:off x="1595642" y="352432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99CC6255-5792-4F9C-BE71-CF421386A627}"/>
                </a:ext>
              </a:extLst>
            </p:cNvPr>
            <p:cNvSpPr/>
            <p:nvPr/>
          </p:nvSpPr>
          <p:spPr>
            <a:xfrm rot="8716295">
              <a:off x="1527760" y="339373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4D44D8C2-4775-4ED6-AF57-EBCE00D0B723}"/>
                </a:ext>
              </a:extLst>
            </p:cNvPr>
            <p:cNvSpPr/>
            <p:nvPr/>
          </p:nvSpPr>
          <p:spPr>
            <a:xfrm rot="8716295">
              <a:off x="1290473" y="361408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EC13E85B-F308-4A84-A6BC-C18C71386F58}"/>
                </a:ext>
              </a:extLst>
            </p:cNvPr>
            <p:cNvSpPr/>
            <p:nvPr/>
          </p:nvSpPr>
          <p:spPr>
            <a:xfrm rot="8716295">
              <a:off x="1101427" y="329824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6E015BB2-4D35-4CF4-A5C2-59649EEBFF40}"/>
                </a:ext>
              </a:extLst>
            </p:cNvPr>
            <p:cNvSpPr/>
            <p:nvPr/>
          </p:nvSpPr>
          <p:spPr>
            <a:xfrm rot="8716295">
              <a:off x="1083185" y="3088198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9BFD4E55-95DB-4948-9F11-510807EC9D8A}"/>
                </a:ext>
              </a:extLst>
            </p:cNvPr>
            <p:cNvSpPr/>
            <p:nvPr/>
          </p:nvSpPr>
          <p:spPr>
            <a:xfrm rot="8716295">
              <a:off x="1426961" y="367606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4A110395-765E-4DD5-AC3E-A28545974AAB}"/>
                </a:ext>
              </a:extLst>
            </p:cNvPr>
            <p:cNvSpPr/>
            <p:nvPr/>
          </p:nvSpPr>
          <p:spPr>
            <a:xfrm rot="8716295">
              <a:off x="1897908" y="310145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752DD23B-ED4C-4692-9CB0-792B6E8C38E8}"/>
                </a:ext>
              </a:extLst>
            </p:cNvPr>
            <p:cNvSpPr/>
            <p:nvPr/>
          </p:nvSpPr>
          <p:spPr>
            <a:xfrm rot="8716295">
              <a:off x="2033206" y="314571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407B9478-6D17-4EBC-AE18-7FD28A2FC874}"/>
                </a:ext>
              </a:extLst>
            </p:cNvPr>
            <p:cNvSpPr/>
            <p:nvPr/>
          </p:nvSpPr>
          <p:spPr>
            <a:xfrm rot="8716295">
              <a:off x="1728037" y="323546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DDF2324E-ABD3-44DC-8D06-AD3B881C1A39}"/>
                </a:ext>
              </a:extLst>
            </p:cNvPr>
            <p:cNvSpPr/>
            <p:nvPr/>
          </p:nvSpPr>
          <p:spPr>
            <a:xfrm rot="8716295">
              <a:off x="1538992" y="291963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EF0C42E5-DDE5-4434-B96B-A910A8DADC60}"/>
                </a:ext>
              </a:extLst>
            </p:cNvPr>
            <p:cNvSpPr/>
            <p:nvPr/>
          </p:nvSpPr>
          <p:spPr>
            <a:xfrm rot="8716295">
              <a:off x="1864525" y="329745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1AF80BC5-2FE2-47AB-8E9C-E26EB916D016}"/>
                </a:ext>
              </a:extLst>
            </p:cNvPr>
            <p:cNvSpPr/>
            <p:nvPr/>
          </p:nvSpPr>
          <p:spPr>
            <a:xfrm rot="8716295">
              <a:off x="1499078" y="307102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B1E25E5F-E250-4318-97CF-E3EF2CD18D72}"/>
                </a:ext>
              </a:extLst>
            </p:cNvPr>
            <p:cNvSpPr/>
            <p:nvPr/>
          </p:nvSpPr>
          <p:spPr>
            <a:xfrm rot="7484129">
              <a:off x="2023343" y="358706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3240DB54-B585-4364-A4CC-E94E9F63B7D1}"/>
                </a:ext>
              </a:extLst>
            </p:cNvPr>
            <p:cNvSpPr/>
            <p:nvPr/>
          </p:nvSpPr>
          <p:spPr>
            <a:xfrm rot="13089394">
              <a:off x="2181992" y="353641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273F70D5-0FDD-4CE1-814B-D9312EE2ED7C}"/>
                </a:ext>
              </a:extLst>
            </p:cNvPr>
            <p:cNvSpPr/>
            <p:nvPr/>
          </p:nvSpPr>
          <p:spPr>
            <a:xfrm rot="8716295">
              <a:off x="2462883" y="3246298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C7DAFD7E-6F4A-40E6-A59C-00BDC917B87B}"/>
                </a:ext>
              </a:extLst>
            </p:cNvPr>
            <p:cNvSpPr/>
            <p:nvPr/>
          </p:nvSpPr>
          <p:spPr>
            <a:xfrm rot="8716295">
              <a:off x="2384474" y="308950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48BC9105-C681-433B-8AF1-4FE2E6AF7484}"/>
                </a:ext>
              </a:extLst>
            </p:cNvPr>
            <p:cNvSpPr/>
            <p:nvPr/>
          </p:nvSpPr>
          <p:spPr>
            <a:xfrm rot="8716295">
              <a:off x="2016311" y="313524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1A014423-3778-467F-945D-40491D2DDC50}"/>
                </a:ext>
              </a:extLst>
            </p:cNvPr>
            <p:cNvSpPr/>
            <p:nvPr/>
          </p:nvSpPr>
          <p:spPr>
            <a:xfrm rot="8716295">
              <a:off x="2284892" y="289422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754E4A02-6646-4EF0-8CC5-B9030AE2C233}"/>
                </a:ext>
              </a:extLst>
            </p:cNvPr>
            <p:cNvSpPr/>
            <p:nvPr/>
          </p:nvSpPr>
          <p:spPr>
            <a:xfrm rot="8716295">
              <a:off x="1798117" y="447855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84764706-CB95-4A07-B328-B801005B7146}"/>
                </a:ext>
              </a:extLst>
            </p:cNvPr>
            <p:cNvSpPr/>
            <p:nvPr/>
          </p:nvSpPr>
          <p:spPr>
            <a:xfrm rot="8716295">
              <a:off x="1933415" y="452281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B1C7133F-9245-4557-9366-3880E57EEB00}"/>
                </a:ext>
              </a:extLst>
            </p:cNvPr>
            <p:cNvSpPr/>
            <p:nvPr/>
          </p:nvSpPr>
          <p:spPr>
            <a:xfrm rot="8716295">
              <a:off x="1865533" y="439222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34C731BB-8709-4827-B371-DEB3D84B9346}"/>
                </a:ext>
              </a:extLst>
            </p:cNvPr>
            <p:cNvSpPr/>
            <p:nvPr/>
          </p:nvSpPr>
          <p:spPr>
            <a:xfrm rot="8716295">
              <a:off x="1628246" y="461256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800CC594-61C3-4799-9C62-0BE95617F0FD}"/>
                </a:ext>
              </a:extLst>
            </p:cNvPr>
            <p:cNvSpPr/>
            <p:nvPr/>
          </p:nvSpPr>
          <p:spPr>
            <a:xfrm rot="8716295">
              <a:off x="1439200" y="42967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6F690A0E-19E3-4512-B7F9-01EE4EBA9F6E}"/>
                </a:ext>
              </a:extLst>
            </p:cNvPr>
            <p:cNvSpPr/>
            <p:nvPr/>
          </p:nvSpPr>
          <p:spPr>
            <a:xfrm rot="8716295">
              <a:off x="1420958" y="408668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2D91E14E-69D9-458E-AA57-95A8078F1A19}"/>
                </a:ext>
              </a:extLst>
            </p:cNvPr>
            <p:cNvSpPr/>
            <p:nvPr/>
          </p:nvSpPr>
          <p:spPr>
            <a:xfrm rot="8716295">
              <a:off x="1764734" y="467454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4AA00D19-4A76-4DED-BF30-5DD56557E862}"/>
                </a:ext>
              </a:extLst>
            </p:cNvPr>
            <p:cNvSpPr/>
            <p:nvPr/>
          </p:nvSpPr>
          <p:spPr>
            <a:xfrm rot="8716295">
              <a:off x="2235681" y="409993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CBB48ABD-C4EA-4731-A8E5-5C6B6C5A0C84}"/>
                </a:ext>
              </a:extLst>
            </p:cNvPr>
            <p:cNvSpPr/>
            <p:nvPr/>
          </p:nvSpPr>
          <p:spPr>
            <a:xfrm rot="8716295">
              <a:off x="2370979" y="414419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FCD4CF90-F0E0-483F-9CE2-EAEE6404C598}"/>
                </a:ext>
              </a:extLst>
            </p:cNvPr>
            <p:cNvSpPr/>
            <p:nvPr/>
          </p:nvSpPr>
          <p:spPr>
            <a:xfrm rot="8716295">
              <a:off x="2065810" y="423395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F3A52091-BF4B-4E28-BD12-E3FE0875DBCF}"/>
                </a:ext>
              </a:extLst>
            </p:cNvPr>
            <p:cNvSpPr/>
            <p:nvPr/>
          </p:nvSpPr>
          <p:spPr>
            <a:xfrm rot="8716295">
              <a:off x="1876765" y="391811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75F64C77-DBE2-4786-9809-DB042689E4B6}"/>
                </a:ext>
              </a:extLst>
            </p:cNvPr>
            <p:cNvSpPr/>
            <p:nvPr/>
          </p:nvSpPr>
          <p:spPr>
            <a:xfrm rot="8716295">
              <a:off x="2202298" y="4295933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12F37080-96E6-4BE1-9E48-2B02CD2E20C4}"/>
                </a:ext>
              </a:extLst>
            </p:cNvPr>
            <p:cNvSpPr/>
            <p:nvPr/>
          </p:nvSpPr>
          <p:spPr>
            <a:xfrm rot="8716295">
              <a:off x="1836851" y="406950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BA151B90-2B5B-4D4D-A2AA-26322C46F857}"/>
                </a:ext>
              </a:extLst>
            </p:cNvPr>
            <p:cNvSpPr/>
            <p:nvPr/>
          </p:nvSpPr>
          <p:spPr>
            <a:xfrm rot="7484129">
              <a:off x="2361116" y="458555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0655C4A9-132B-4E8E-AB50-E63B4234234E}"/>
                </a:ext>
              </a:extLst>
            </p:cNvPr>
            <p:cNvSpPr/>
            <p:nvPr/>
          </p:nvSpPr>
          <p:spPr>
            <a:xfrm rot="13089394">
              <a:off x="2519765" y="4534899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51BD05F6-BFFD-42CC-A6C8-403F5F81023E}"/>
                </a:ext>
              </a:extLst>
            </p:cNvPr>
            <p:cNvSpPr/>
            <p:nvPr/>
          </p:nvSpPr>
          <p:spPr>
            <a:xfrm rot="8716295">
              <a:off x="2800656" y="4244781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609B85C6-C9FE-4876-9C99-F8DA190549CF}"/>
                </a:ext>
              </a:extLst>
            </p:cNvPr>
            <p:cNvSpPr/>
            <p:nvPr/>
          </p:nvSpPr>
          <p:spPr>
            <a:xfrm rot="8716295">
              <a:off x="2722247" y="4087989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AB57FACB-9405-4A22-84F1-4CDEB84773AC}"/>
                </a:ext>
              </a:extLst>
            </p:cNvPr>
            <p:cNvSpPr/>
            <p:nvPr/>
          </p:nvSpPr>
          <p:spPr>
            <a:xfrm rot="8716295">
              <a:off x="2354084" y="413373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65AC372A-885B-4835-966A-B09A3AC7B1A3}"/>
                </a:ext>
              </a:extLst>
            </p:cNvPr>
            <p:cNvSpPr/>
            <p:nvPr/>
          </p:nvSpPr>
          <p:spPr>
            <a:xfrm rot="8716295">
              <a:off x="2622665" y="389271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16EC5E3E-C2D3-4E46-B9F8-A7FD4A85025F}"/>
                </a:ext>
              </a:extLst>
            </p:cNvPr>
            <p:cNvSpPr/>
            <p:nvPr/>
          </p:nvSpPr>
          <p:spPr>
            <a:xfrm rot="8716295">
              <a:off x="1836002" y="5051565"/>
              <a:ext cx="229466" cy="172677"/>
            </a:xfrm>
            <a:custGeom>
              <a:avLst/>
              <a:gdLst>
                <a:gd name="connsiteX0" fmla="*/ 37429 w 229466"/>
                <a:gd name="connsiteY0" fmla="*/ 127889 h 172677"/>
                <a:gd name="connsiteX1" fmla="*/ 864 w 229466"/>
                <a:gd name="connsiteY1" fmla="*/ 25330 h 172677"/>
                <a:gd name="connsiteX2" fmla="*/ 0 w 229466"/>
                <a:gd name="connsiteY2" fmla="*/ 0 h 172677"/>
                <a:gd name="connsiteX3" fmla="*/ 229466 w 229466"/>
                <a:gd name="connsiteY3" fmla="*/ 159058 h 172677"/>
                <a:gd name="connsiteX4" fmla="*/ 210504 w 229466"/>
                <a:gd name="connsiteY4" fmla="*/ 164122 h 172677"/>
                <a:gd name="connsiteX5" fmla="*/ 146960 w 229466"/>
                <a:gd name="connsiteY5" fmla="*/ 172414 h 172677"/>
                <a:gd name="connsiteX6" fmla="*/ 37429 w 229466"/>
                <a:gd name="connsiteY6" fmla="*/ 127889 h 172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9466" h="172677">
                  <a:moveTo>
                    <a:pt x="37429" y="127889"/>
                  </a:moveTo>
                  <a:cubicBezTo>
                    <a:pt x="14722" y="105850"/>
                    <a:pt x="4537" y="71789"/>
                    <a:pt x="864" y="25330"/>
                  </a:cubicBezTo>
                  <a:lnTo>
                    <a:pt x="0" y="0"/>
                  </a:lnTo>
                  <a:lnTo>
                    <a:pt x="229466" y="159058"/>
                  </a:lnTo>
                  <a:lnTo>
                    <a:pt x="210504" y="164122"/>
                  </a:lnTo>
                  <a:cubicBezTo>
                    <a:pt x="187032" y="168685"/>
                    <a:pt x="165437" y="171301"/>
                    <a:pt x="146960" y="172414"/>
                  </a:cubicBezTo>
                  <a:cubicBezTo>
                    <a:pt x="105998" y="175086"/>
                    <a:pt x="65926" y="157276"/>
                    <a:pt x="37429" y="12788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F08DD499-2506-4E8C-B26B-EF1D8CEA3AA9}"/>
                </a:ext>
              </a:extLst>
            </p:cNvPr>
            <p:cNvSpPr/>
            <p:nvPr/>
          </p:nvSpPr>
          <p:spPr>
            <a:xfrm rot="8716295">
              <a:off x="2865171" y="5107739"/>
              <a:ext cx="36955" cy="50812"/>
            </a:xfrm>
            <a:custGeom>
              <a:avLst/>
              <a:gdLst>
                <a:gd name="connsiteX0" fmla="*/ 0 w 36955"/>
                <a:gd name="connsiteY0" fmla="*/ 50812 h 50812"/>
                <a:gd name="connsiteX1" fmla="*/ 0 w 36955"/>
                <a:gd name="connsiteY1" fmla="*/ 0 h 50812"/>
                <a:gd name="connsiteX2" fmla="*/ 36955 w 36955"/>
                <a:gd name="connsiteY2" fmla="*/ 25616 h 50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955" h="50812">
                  <a:moveTo>
                    <a:pt x="0" y="50812"/>
                  </a:moveTo>
                  <a:lnTo>
                    <a:pt x="0" y="0"/>
                  </a:lnTo>
                  <a:lnTo>
                    <a:pt x="36955" y="256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D6EEB4E8-6237-4C85-A670-00A3A02268AB}"/>
                </a:ext>
              </a:extLst>
            </p:cNvPr>
            <p:cNvSpPr/>
            <p:nvPr/>
          </p:nvSpPr>
          <p:spPr>
            <a:xfrm rot="8716295">
              <a:off x="2291544" y="4886156"/>
              <a:ext cx="209028" cy="296463"/>
            </a:xfrm>
            <a:custGeom>
              <a:avLst/>
              <a:gdLst>
                <a:gd name="connsiteX0" fmla="*/ 137293 w 209028"/>
                <a:gd name="connsiteY0" fmla="*/ 296463 h 296463"/>
                <a:gd name="connsiteX1" fmla="*/ 72418 w 209028"/>
                <a:gd name="connsiteY1" fmla="*/ 175766 h 296463"/>
                <a:gd name="connsiteX2" fmla="*/ 105610 w 209028"/>
                <a:gd name="connsiteY2" fmla="*/ 83734 h 296463"/>
                <a:gd name="connsiteX3" fmla="*/ 0 w 209028"/>
                <a:gd name="connsiteY3" fmla="*/ 83734 h 296463"/>
                <a:gd name="connsiteX4" fmla="*/ 0 w 209028"/>
                <a:gd name="connsiteY4" fmla="*/ 0 h 296463"/>
                <a:gd name="connsiteX5" fmla="*/ 82199 w 209028"/>
                <a:gd name="connsiteY5" fmla="*/ 0 h 296463"/>
                <a:gd name="connsiteX6" fmla="*/ 209028 w 209028"/>
                <a:gd name="connsiteY6" fmla="*/ 87913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028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82199" y="0"/>
                  </a:lnTo>
                  <a:lnTo>
                    <a:pt x="209028" y="8791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75A29BD1-A3F5-48BC-80D8-DAC3DEE5842D}"/>
                </a:ext>
              </a:extLst>
            </p:cNvPr>
            <p:cNvSpPr/>
            <p:nvPr/>
          </p:nvSpPr>
          <p:spPr>
            <a:xfrm rot="8716295">
              <a:off x="2159594" y="5061280"/>
              <a:ext cx="112869" cy="105684"/>
            </a:xfrm>
            <a:custGeom>
              <a:avLst/>
              <a:gdLst>
                <a:gd name="connsiteX0" fmla="*/ 17362 w 112869"/>
                <a:gd name="connsiteY0" fmla="*/ 89236 h 105684"/>
                <a:gd name="connsiteX1" fmla="*/ 0 w 112869"/>
                <a:gd name="connsiteY1" fmla="*/ 48117 h 105684"/>
                <a:gd name="connsiteX2" fmla="*/ 0 w 112869"/>
                <a:gd name="connsiteY2" fmla="*/ 47203 h 105684"/>
                <a:gd name="connsiteX3" fmla="*/ 17362 w 112869"/>
                <a:gd name="connsiteY3" fmla="*/ 6084 h 105684"/>
                <a:gd name="connsiteX4" fmla="*/ 31771 w 112869"/>
                <a:gd name="connsiteY4" fmla="*/ 0 h 105684"/>
                <a:gd name="connsiteX5" fmla="*/ 112869 w 112869"/>
                <a:gd name="connsiteY5" fmla="*/ 56215 h 105684"/>
                <a:gd name="connsiteX6" fmla="*/ 99601 w 112869"/>
                <a:gd name="connsiteY6" fmla="*/ 88323 h 105684"/>
                <a:gd name="connsiteX7" fmla="*/ 58481 w 112869"/>
                <a:gd name="connsiteY7" fmla="*/ 105684 h 105684"/>
                <a:gd name="connsiteX8" fmla="*/ 17362 w 112869"/>
                <a:gd name="connsiteY8" fmla="*/ 89236 h 105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869" h="105684">
                  <a:moveTo>
                    <a:pt x="17362" y="89236"/>
                  </a:moveTo>
                  <a:cubicBezTo>
                    <a:pt x="6397" y="78271"/>
                    <a:pt x="0" y="63651"/>
                    <a:pt x="0" y="48117"/>
                  </a:cubicBezTo>
                  <a:lnTo>
                    <a:pt x="0" y="47203"/>
                  </a:lnTo>
                  <a:cubicBezTo>
                    <a:pt x="0" y="31669"/>
                    <a:pt x="6397" y="17049"/>
                    <a:pt x="17362" y="6084"/>
                  </a:cubicBezTo>
                  <a:lnTo>
                    <a:pt x="31771" y="0"/>
                  </a:lnTo>
                  <a:lnTo>
                    <a:pt x="112869" y="56215"/>
                  </a:lnTo>
                  <a:lnTo>
                    <a:pt x="99601" y="88323"/>
                  </a:lnTo>
                  <a:cubicBezTo>
                    <a:pt x="88636" y="99288"/>
                    <a:pt x="74015" y="105684"/>
                    <a:pt x="58481" y="105684"/>
                  </a:cubicBezTo>
                  <a:cubicBezTo>
                    <a:pt x="42947" y="105684"/>
                    <a:pt x="28327" y="100202"/>
                    <a:pt x="17362" y="8923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758380ED-469C-45F2-855D-EE8309CFADD8}"/>
                </a:ext>
              </a:extLst>
            </p:cNvPr>
            <p:cNvSpPr/>
            <p:nvPr/>
          </p:nvSpPr>
          <p:spPr>
            <a:xfrm rot="8716295">
              <a:off x="3051941" y="5073759"/>
              <a:ext cx="145251" cy="115110"/>
            </a:xfrm>
            <a:custGeom>
              <a:avLst/>
              <a:gdLst>
                <a:gd name="connsiteX0" fmla="*/ 26453 w 145251"/>
                <a:gd name="connsiteY0" fmla="*/ 90050 h 115110"/>
                <a:gd name="connsiteX1" fmla="*/ 0 w 145251"/>
                <a:gd name="connsiteY1" fmla="*/ 27401 h 115110"/>
                <a:gd name="connsiteX2" fmla="*/ 0 w 145251"/>
                <a:gd name="connsiteY2" fmla="*/ 26008 h 115110"/>
                <a:gd name="connsiteX3" fmla="*/ 10982 w 145251"/>
                <a:gd name="connsiteY3" fmla="*/ 0 h 115110"/>
                <a:gd name="connsiteX4" fmla="*/ 145251 w 145251"/>
                <a:gd name="connsiteY4" fmla="*/ 93071 h 115110"/>
                <a:gd name="connsiteX5" fmla="*/ 123037 w 145251"/>
                <a:gd name="connsiteY5" fmla="*/ 108149 h 115110"/>
                <a:gd name="connsiteX6" fmla="*/ 89101 w 145251"/>
                <a:gd name="connsiteY6" fmla="*/ 115110 h 115110"/>
                <a:gd name="connsiteX7" fmla="*/ 26453 w 145251"/>
                <a:gd name="connsiteY7" fmla="*/ 90050 h 11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5251" h="115110">
                  <a:moveTo>
                    <a:pt x="26453" y="90050"/>
                  </a:moveTo>
                  <a:cubicBezTo>
                    <a:pt x="9746" y="73344"/>
                    <a:pt x="0" y="51068"/>
                    <a:pt x="0" y="27401"/>
                  </a:cubicBezTo>
                  <a:lnTo>
                    <a:pt x="0" y="26008"/>
                  </a:lnTo>
                  <a:lnTo>
                    <a:pt x="10982" y="0"/>
                  </a:lnTo>
                  <a:lnTo>
                    <a:pt x="145251" y="93071"/>
                  </a:lnTo>
                  <a:lnTo>
                    <a:pt x="123037" y="108149"/>
                  </a:lnTo>
                  <a:cubicBezTo>
                    <a:pt x="112421" y="112674"/>
                    <a:pt x="100936" y="115110"/>
                    <a:pt x="89101" y="115110"/>
                  </a:cubicBezTo>
                  <a:cubicBezTo>
                    <a:pt x="65434" y="115110"/>
                    <a:pt x="43159" y="106756"/>
                    <a:pt x="26453" y="900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D2FD6770-3791-4A82-87D2-F41D30AA61F3}"/>
                </a:ext>
              </a:extLst>
            </p:cNvPr>
            <p:cNvSpPr/>
            <p:nvPr/>
          </p:nvSpPr>
          <p:spPr>
            <a:xfrm rot="8716295">
              <a:off x="2953631" y="488922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109B9DB6-A180-42FF-BEBB-6114EE67841E}"/>
                </a:ext>
              </a:extLst>
            </p:cNvPr>
            <p:cNvSpPr/>
            <p:nvPr/>
          </p:nvSpPr>
          <p:spPr>
            <a:xfrm rot="8716295">
              <a:off x="1125067" y="247965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D4702D56-6C32-4790-8116-5036F59380ED}"/>
                </a:ext>
              </a:extLst>
            </p:cNvPr>
            <p:cNvSpPr/>
            <p:nvPr/>
          </p:nvSpPr>
          <p:spPr>
            <a:xfrm rot="8716295">
              <a:off x="1260365" y="252391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55878CEF-C667-4CA0-83B8-66D034466A4C}"/>
                </a:ext>
              </a:extLst>
            </p:cNvPr>
            <p:cNvSpPr/>
            <p:nvPr/>
          </p:nvSpPr>
          <p:spPr>
            <a:xfrm rot="8716295">
              <a:off x="1192483" y="2393326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E6E1C2BC-10AA-4F2A-83E2-85D799983A4B}"/>
                </a:ext>
              </a:extLst>
            </p:cNvPr>
            <p:cNvSpPr/>
            <p:nvPr/>
          </p:nvSpPr>
          <p:spPr>
            <a:xfrm rot="8716295">
              <a:off x="955196" y="261367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6DA02057-79DE-4340-93FA-D8616C8993CD}"/>
                </a:ext>
              </a:extLst>
            </p:cNvPr>
            <p:cNvSpPr/>
            <p:nvPr/>
          </p:nvSpPr>
          <p:spPr>
            <a:xfrm rot="8716295">
              <a:off x="766149" y="229783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F3D3F9A3-B786-4BB9-92E8-BAA2206B9AFB}"/>
                </a:ext>
              </a:extLst>
            </p:cNvPr>
            <p:cNvSpPr/>
            <p:nvPr/>
          </p:nvSpPr>
          <p:spPr>
            <a:xfrm rot="8716295">
              <a:off x="747908" y="2087785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777BD4C8-2DD8-47D0-9247-9DDE2E15298C}"/>
                </a:ext>
              </a:extLst>
            </p:cNvPr>
            <p:cNvSpPr/>
            <p:nvPr/>
          </p:nvSpPr>
          <p:spPr>
            <a:xfrm rot="8716295">
              <a:off x="1091684" y="2675653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orme libre : forme 58">
              <a:extLst>
                <a:ext uri="{FF2B5EF4-FFF2-40B4-BE49-F238E27FC236}">
                  <a16:creationId xmlns:a16="http://schemas.microsoft.com/office/drawing/2014/main" id="{A1948EB1-3E61-48E9-872F-CED3F8D5CC5E}"/>
                </a:ext>
              </a:extLst>
            </p:cNvPr>
            <p:cNvSpPr/>
            <p:nvPr/>
          </p:nvSpPr>
          <p:spPr>
            <a:xfrm rot="8716295">
              <a:off x="1562630" y="210103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orme libre : forme 59">
              <a:extLst>
                <a:ext uri="{FF2B5EF4-FFF2-40B4-BE49-F238E27FC236}">
                  <a16:creationId xmlns:a16="http://schemas.microsoft.com/office/drawing/2014/main" id="{AF9F2A1A-5C85-4204-9B23-373EE49CB276}"/>
                </a:ext>
              </a:extLst>
            </p:cNvPr>
            <p:cNvSpPr/>
            <p:nvPr/>
          </p:nvSpPr>
          <p:spPr>
            <a:xfrm rot="8716295">
              <a:off x="1697929" y="214529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orme libre : forme 60">
              <a:extLst>
                <a:ext uri="{FF2B5EF4-FFF2-40B4-BE49-F238E27FC236}">
                  <a16:creationId xmlns:a16="http://schemas.microsoft.com/office/drawing/2014/main" id="{4763868B-B7EF-4B8B-B818-D645A2592C05}"/>
                </a:ext>
              </a:extLst>
            </p:cNvPr>
            <p:cNvSpPr/>
            <p:nvPr/>
          </p:nvSpPr>
          <p:spPr>
            <a:xfrm rot="8716295">
              <a:off x="1392759" y="223505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orme libre : forme 61">
              <a:extLst>
                <a:ext uri="{FF2B5EF4-FFF2-40B4-BE49-F238E27FC236}">
                  <a16:creationId xmlns:a16="http://schemas.microsoft.com/office/drawing/2014/main" id="{046CA86F-6D3D-407A-B321-54764D2D59CB}"/>
                </a:ext>
              </a:extLst>
            </p:cNvPr>
            <p:cNvSpPr/>
            <p:nvPr/>
          </p:nvSpPr>
          <p:spPr>
            <a:xfrm rot="8716295">
              <a:off x="1203715" y="191921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orme libre : forme 62">
              <a:extLst>
                <a:ext uri="{FF2B5EF4-FFF2-40B4-BE49-F238E27FC236}">
                  <a16:creationId xmlns:a16="http://schemas.microsoft.com/office/drawing/2014/main" id="{AFD12AFD-CB5D-4640-9FE9-92C355A72778}"/>
                </a:ext>
              </a:extLst>
            </p:cNvPr>
            <p:cNvSpPr/>
            <p:nvPr/>
          </p:nvSpPr>
          <p:spPr>
            <a:xfrm rot="8716295">
              <a:off x="1529248" y="2297037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orme libre : forme 63">
              <a:extLst>
                <a:ext uri="{FF2B5EF4-FFF2-40B4-BE49-F238E27FC236}">
                  <a16:creationId xmlns:a16="http://schemas.microsoft.com/office/drawing/2014/main" id="{59BA9B88-1225-4DFD-8724-1F80AE18C3C2}"/>
                </a:ext>
              </a:extLst>
            </p:cNvPr>
            <p:cNvSpPr/>
            <p:nvPr/>
          </p:nvSpPr>
          <p:spPr>
            <a:xfrm rot="8716295">
              <a:off x="1163801" y="2070611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orme libre : forme 64">
              <a:extLst>
                <a:ext uri="{FF2B5EF4-FFF2-40B4-BE49-F238E27FC236}">
                  <a16:creationId xmlns:a16="http://schemas.microsoft.com/office/drawing/2014/main" id="{1F6A3148-93CD-4912-914F-8421DD424A09}"/>
                </a:ext>
              </a:extLst>
            </p:cNvPr>
            <p:cNvSpPr/>
            <p:nvPr/>
          </p:nvSpPr>
          <p:spPr>
            <a:xfrm rot="7484129">
              <a:off x="1688065" y="258665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orme libre : forme 65">
              <a:extLst>
                <a:ext uri="{FF2B5EF4-FFF2-40B4-BE49-F238E27FC236}">
                  <a16:creationId xmlns:a16="http://schemas.microsoft.com/office/drawing/2014/main" id="{0BDE36BD-7206-4F9A-9356-56E83345F790}"/>
                </a:ext>
              </a:extLst>
            </p:cNvPr>
            <p:cNvSpPr/>
            <p:nvPr/>
          </p:nvSpPr>
          <p:spPr>
            <a:xfrm rot="13089394">
              <a:off x="1846715" y="2536003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orme libre : forme 66">
              <a:extLst>
                <a:ext uri="{FF2B5EF4-FFF2-40B4-BE49-F238E27FC236}">
                  <a16:creationId xmlns:a16="http://schemas.microsoft.com/office/drawing/2014/main" id="{6239D104-F777-403D-9315-E21DA6A3EEC6}"/>
                </a:ext>
              </a:extLst>
            </p:cNvPr>
            <p:cNvSpPr/>
            <p:nvPr/>
          </p:nvSpPr>
          <p:spPr>
            <a:xfrm rot="8716295">
              <a:off x="2127606" y="2245885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7D0AE68E-C325-4D34-A9E9-2281E6887FAE}"/>
                </a:ext>
              </a:extLst>
            </p:cNvPr>
            <p:cNvSpPr/>
            <p:nvPr/>
          </p:nvSpPr>
          <p:spPr>
            <a:xfrm rot="8716295">
              <a:off x="2049197" y="208909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orme libre : forme 68">
              <a:extLst>
                <a:ext uri="{FF2B5EF4-FFF2-40B4-BE49-F238E27FC236}">
                  <a16:creationId xmlns:a16="http://schemas.microsoft.com/office/drawing/2014/main" id="{951597CD-8FD0-420C-8BE6-25D28A25DDE8}"/>
                </a:ext>
              </a:extLst>
            </p:cNvPr>
            <p:cNvSpPr/>
            <p:nvPr/>
          </p:nvSpPr>
          <p:spPr>
            <a:xfrm rot="8716295">
              <a:off x="1681033" y="21348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orme libre : forme 69">
              <a:extLst>
                <a:ext uri="{FF2B5EF4-FFF2-40B4-BE49-F238E27FC236}">
                  <a16:creationId xmlns:a16="http://schemas.microsoft.com/office/drawing/2014/main" id="{A7CD329F-8CED-4DA2-A304-EE2009E4062D}"/>
                </a:ext>
              </a:extLst>
            </p:cNvPr>
            <p:cNvSpPr/>
            <p:nvPr/>
          </p:nvSpPr>
          <p:spPr>
            <a:xfrm rot="8716295">
              <a:off x="1949615" y="189381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orme libre : forme 70">
              <a:extLst>
                <a:ext uri="{FF2B5EF4-FFF2-40B4-BE49-F238E27FC236}">
                  <a16:creationId xmlns:a16="http://schemas.microsoft.com/office/drawing/2014/main" id="{D4BADD55-B2B9-4053-A92A-A804648D0A9D}"/>
                </a:ext>
              </a:extLst>
            </p:cNvPr>
            <p:cNvSpPr/>
            <p:nvPr/>
          </p:nvSpPr>
          <p:spPr>
            <a:xfrm rot="8716295">
              <a:off x="787294" y="148117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orme libre : forme 71">
              <a:extLst>
                <a:ext uri="{FF2B5EF4-FFF2-40B4-BE49-F238E27FC236}">
                  <a16:creationId xmlns:a16="http://schemas.microsoft.com/office/drawing/2014/main" id="{313FE4B5-4E98-415B-AE99-26EEB0846C87}"/>
                </a:ext>
              </a:extLst>
            </p:cNvPr>
            <p:cNvSpPr/>
            <p:nvPr/>
          </p:nvSpPr>
          <p:spPr>
            <a:xfrm rot="8716295">
              <a:off x="922592" y="152543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orme libre : forme 72">
              <a:extLst>
                <a:ext uri="{FF2B5EF4-FFF2-40B4-BE49-F238E27FC236}">
                  <a16:creationId xmlns:a16="http://schemas.microsoft.com/office/drawing/2014/main" id="{2E069437-A0B3-49B8-BC79-1EE3FD296BEA}"/>
                </a:ext>
              </a:extLst>
            </p:cNvPr>
            <p:cNvSpPr/>
            <p:nvPr/>
          </p:nvSpPr>
          <p:spPr>
            <a:xfrm rot="8716295">
              <a:off x="854710" y="1394843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" name="Forme libre : forme 73">
              <a:extLst>
                <a:ext uri="{FF2B5EF4-FFF2-40B4-BE49-F238E27FC236}">
                  <a16:creationId xmlns:a16="http://schemas.microsoft.com/office/drawing/2014/main" id="{6B76B21D-C865-4228-A4DA-51B112FED31F}"/>
                </a:ext>
              </a:extLst>
            </p:cNvPr>
            <p:cNvSpPr/>
            <p:nvPr/>
          </p:nvSpPr>
          <p:spPr>
            <a:xfrm rot="8716295">
              <a:off x="617423" y="161518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" name="Forme libre : forme 74">
              <a:extLst>
                <a:ext uri="{FF2B5EF4-FFF2-40B4-BE49-F238E27FC236}">
                  <a16:creationId xmlns:a16="http://schemas.microsoft.com/office/drawing/2014/main" id="{9C509C7D-5C6F-42FB-9A15-E611792EFEA1}"/>
                </a:ext>
              </a:extLst>
            </p:cNvPr>
            <p:cNvSpPr/>
            <p:nvPr/>
          </p:nvSpPr>
          <p:spPr>
            <a:xfrm rot="8716295">
              <a:off x="428376" y="129935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" name="Forme libre : forme 75">
              <a:extLst>
                <a:ext uri="{FF2B5EF4-FFF2-40B4-BE49-F238E27FC236}">
                  <a16:creationId xmlns:a16="http://schemas.microsoft.com/office/drawing/2014/main" id="{25514701-F05E-45CE-9E8C-F263D950578E}"/>
                </a:ext>
              </a:extLst>
            </p:cNvPr>
            <p:cNvSpPr/>
            <p:nvPr/>
          </p:nvSpPr>
          <p:spPr>
            <a:xfrm rot="8716295">
              <a:off x="410135" y="1089302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" name="Forme libre : forme 76">
              <a:extLst>
                <a:ext uri="{FF2B5EF4-FFF2-40B4-BE49-F238E27FC236}">
                  <a16:creationId xmlns:a16="http://schemas.microsoft.com/office/drawing/2014/main" id="{4F1DD0BF-A36A-4AF7-BAF7-588D33FE30E2}"/>
                </a:ext>
              </a:extLst>
            </p:cNvPr>
            <p:cNvSpPr/>
            <p:nvPr/>
          </p:nvSpPr>
          <p:spPr>
            <a:xfrm rot="8716295">
              <a:off x="753911" y="1677170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" name="Forme libre : forme 77">
              <a:extLst>
                <a:ext uri="{FF2B5EF4-FFF2-40B4-BE49-F238E27FC236}">
                  <a16:creationId xmlns:a16="http://schemas.microsoft.com/office/drawing/2014/main" id="{86EB67B0-A057-4D07-8844-7A83556C99CC}"/>
                </a:ext>
              </a:extLst>
            </p:cNvPr>
            <p:cNvSpPr/>
            <p:nvPr/>
          </p:nvSpPr>
          <p:spPr>
            <a:xfrm rot="8716295">
              <a:off x="1224858" y="1102556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orme libre : forme 78">
              <a:extLst>
                <a:ext uri="{FF2B5EF4-FFF2-40B4-BE49-F238E27FC236}">
                  <a16:creationId xmlns:a16="http://schemas.microsoft.com/office/drawing/2014/main" id="{8B1E7611-C4A8-43A8-BF26-46C4341A14DB}"/>
                </a:ext>
              </a:extLst>
            </p:cNvPr>
            <p:cNvSpPr/>
            <p:nvPr/>
          </p:nvSpPr>
          <p:spPr>
            <a:xfrm rot="8716295">
              <a:off x="1360156" y="1146815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Forme libre : forme 79">
              <a:extLst>
                <a:ext uri="{FF2B5EF4-FFF2-40B4-BE49-F238E27FC236}">
                  <a16:creationId xmlns:a16="http://schemas.microsoft.com/office/drawing/2014/main" id="{BEBD671E-1FA5-4603-8F2B-FA9516AF8638}"/>
                </a:ext>
              </a:extLst>
            </p:cNvPr>
            <p:cNvSpPr/>
            <p:nvPr/>
          </p:nvSpPr>
          <p:spPr>
            <a:xfrm rot="8716295">
              <a:off x="1054986" y="123657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" name="Forme libre : forme 80">
              <a:extLst>
                <a:ext uri="{FF2B5EF4-FFF2-40B4-BE49-F238E27FC236}">
                  <a16:creationId xmlns:a16="http://schemas.microsoft.com/office/drawing/2014/main" id="{F6AD6C56-BF4C-4518-8F9A-D5095F4E40C8}"/>
                </a:ext>
              </a:extLst>
            </p:cNvPr>
            <p:cNvSpPr/>
            <p:nvPr/>
          </p:nvSpPr>
          <p:spPr>
            <a:xfrm rot="8716295">
              <a:off x="865942" y="92073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orme libre : forme 81">
              <a:extLst>
                <a:ext uri="{FF2B5EF4-FFF2-40B4-BE49-F238E27FC236}">
                  <a16:creationId xmlns:a16="http://schemas.microsoft.com/office/drawing/2014/main" id="{4181F286-2CA0-4AF5-9316-EE2B4FDBB08E}"/>
                </a:ext>
              </a:extLst>
            </p:cNvPr>
            <p:cNvSpPr/>
            <p:nvPr/>
          </p:nvSpPr>
          <p:spPr>
            <a:xfrm rot="8716295">
              <a:off x="1191475" y="1298554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Forme libre : forme 82">
              <a:extLst>
                <a:ext uri="{FF2B5EF4-FFF2-40B4-BE49-F238E27FC236}">
                  <a16:creationId xmlns:a16="http://schemas.microsoft.com/office/drawing/2014/main" id="{6E154404-167F-4146-9BEC-311C41267A4F}"/>
                </a:ext>
              </a:extLst>
            </p:cNvPr>
            <p:cNvSpPr/>
            <p:nvPr/>
          </p:nvSpPr>
          <p:spPr>
            <a:xfrm rot="8716295">
              <a:off x="826028" y="1072128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4" name="Forme libre : forme 83">
              <a:extLst>
                <a:ext uri="{FF2B5EF4-FFF2-40B4-BE49-F238E27FC236}">
                  <a16:creationId xmlns:a16="http://schemas.microsoft.com/office/drawing/2014/main" id="{E6806809-8D8F-4EE1-BB26-3F2C826B2E90}"/>
                </a:ext>
              </a:extLst>
            </p:cNvPr>
            <p:cNvSpPr/>
            <p:nvPr/>
          </p:nvSpPr>
          <p:spPr>
            <a:xfrm rot="7484129">
              <a:off x="1350292" y="158817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5" name="Forme libre : forme 84">
              <a:extLst>
                <a:ext uri="{FF2B5EF4-FFF2-40B4-BE49-F238E27FC236}">
                  <a16:creationId xmlns:a16="http://schemas.microsoft.com/office/drawing/2014/main" id="{8AA32DBC-713F-46C2-9609-C454BB2EBAAE}"/>
                </a:ext>
              </a:extLst>
            </p:cNvPr>
            <p:cNvSpPr/>
            <p:nvPr/>
          </p:nvSpPr>
          <p:spPr>
            <a:xfrm rot="13089394">
              <a:off x="1508942" y="1537520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6" name="Forme libre : forme 85">
              <a:extLst>
                <a:ext uri="{FF2B5EF4-FFF2-40B4-BE49-F238E27FC236}">
                  <a16:creationId xmlns:a16="http://schemas.microsoft.com/office/drawing/2014/main" id="{51EBFD3A-7611-46FF-AE7D-0AC9AF9511B5}"/>
                </a:ext>
              </a:extLst>
            </p:cNvPr>
            <p:cNvSpPr/>
            <p:nvPr/>
          </p:nvSpPr>
          <p:spPr>
            <a:xfrm rot="8716295">
              <a:off x="1789833" y="1247402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7" name="Forme libre : forme 86">
              <a:extLst>
                <a:ext uri="{FF2B5EF4-FFF2-40B4-BE49-F238E27FC236}">
                  <a16:creationId xmlns:a16="http://schemas.microsoft.com/office/drawing/2014/main" id="{7BC619E6-2AA2-4557-84AC-D6D182B996C5}"/>
                </a:ext>
              </a:extLst>
            </p:cNvPr>
            <p:cNvSpPr/>
            <p:nvPr/>
          </p:nvSpPr>
          <p:spPr>
            <a:xfrm rot="8716295">
              <a:off x="1711424" y="109061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8" name="Forme libre : forme 87">
              <a:extLst>
                <a:ext uri="{FF2B5EF4-FFF2-40B4-BE49-F238E27FC236}">
                  <a16:creationId xmlns:a16="http://schemas.microsoft.com/office/drawing/2014/main" id="{F81A7437-8336-4876-95A7-BD572FAED152}"/>
                </a:ext>
              </a:extLst>
            </p:cNvPr>
            <p:cNvSpPr/>
            <p:nvPr/>
          </p:nvSpPr>
          <p:spPr>
            <a:xfrm rot="8716295">
              <a:off x="1343261" y="113635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9" name="Forme libre : forme 88">
              <a:extLst>
                <a:ext uri="{FF2B5EF4-FFF2-40B4-BE49-F238E27FC236}">
                  <a16:creationId xmlns:a16="http://schemas.microsoft.com/office/drawing/2014/main" id="{B70DD9BD-1FC9-4B98-8769-B37CAAFCEC17}"/>
                </a:ext>
              </a:extLst>
            </p:cNvPr>
            <p:cNvSpPr/>
            <p:nvPr/>
          </p:nvSpPr>
          <p:spPr>
            <a:xfrm rot="8716295">
              <a:off x="1611842" y="89533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" name="Forme libre : forme 89">
              <a:extLst>
                <a:ext uri="{FF2B5EF4-FFF2-40B4-BE49-F238E27FC236}">
                  <a16:creationId xmlns:a16="http://schemas.microsoft.com/office/drawing/2014/main" id="{DC2940E5-7415-40BB-B706-4016B27C3DB2}"/>
                </a:ext>
              </a:extLst>
            </p:cNvPr>
            <p:cNvSpPr/>
            <p:nvPr/>
          </p:nvSpPr>
          <p:spPr>
            <a:xfrm rot="8716295">
              <a:off x="455920" y="47911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" name="Forme libre : forme 90">
              <a:extLst>
                <a:ext uri="{FF2B5EF4-FFF2-40B4-BE49-F238E27FC236}">
                  <a16:creationId xmlns:a16="http://schemas.microsoft.com/office/drawing/2014/main" id="{52585AAE-B2D0-438C-BC9F-C750F15F890C}"/>
                </a:ext>
              </a:extLst>
            </p:cNvPr>
            <p:cNvSpPr/>
            <p:nvPr/>
          </p:nvSpPr>
          <p:spPr>
            <a:xfrm rot="8716295">
              <a:off x="591219" y="52337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" name="Forme libre : forme 91">
              <a:extLst>
                <a:ext uri="{FF2B5EF4-FFF2-40B4-BE49-F238E27FC236}">
                  <a16:creationId xmlns:a16="http://schemas.microsoft.com/office/drawing/2014/main" id="{E63C71D8-D175-46A8-AA42-AB77BF57CFF3}"/>
                </a:ext>
              </a:extLst>
            </p:cNvPr>
            <p:cNvSpPr/>
            <p:nvPr/>
          </p:nvSpPr>
          <p:spPr>
            <a:xfrm rot="8716295">
              <a:off x="523336" y="39278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" name="Forme libre : forme 92">
              <a:extLst>
                <a:ext uri="{FF2B5EF4-FFF2-40B4-BE49-F238E27FC236}">
                  <a16:creationId xmlns:a16="http://schemas.microsoft.com/office/drawing/2014/main" id="{C200F3C8-A4FA-4E06-9F43-7329A49AF0A1}"/>
                </a:ext>
              </a:extLst>
            </p:cNvPr>
            <p:cNvSpPr/>
            <p:nvPr/>
          </p:nvSpPr>
          <p:spPr>
            <a:xfrm rot="8716295">
              <a:off x="286049" y="6131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" name="Forme libre : forme 93">
              <a:extLst>
                <a:ext uri="{FF2B5EF4-FFF2-40B4-BE49-F238E27FC236}">
                  <a16:creationId xmlns:a16="http://schemas.microsoft.com/office/drawing/2014/main" id="{154A22C5-EC1E-43BA-ACAF-79BC6F3D576D}"/>
                </a:ext>
              </a:extLst>
            </p:cNvPr>
            <p:cNvSpPr/>
            <p:nvPr/>
          </p:nvSpPr>
          <p:spPr>
            <a:xfrm rot="8716295">
              <a:off x="97003" y="2972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orme libre : forme 94">
              <a:extLst>
                <a:ext uri="{FF2B5EF4-FFF2-40B4-BE49-F238E27FC236}">
                  <a16:creationId xmlns:a16="http://schemas.microsoft.com/office/drawing/2014/main" id="{046AC798-93FA-43CE-B018-2724737AFAB7}"/>
                </a:ext>
              </a:extLst>
            </p:cNvPr>
            <p:cNvSpPr/>
            <p:nvPr/>
          </p:nvSpPr>
          <p:spPr>
            <a:xfrm rot="8716295">
              <a:off x="78761" y="87249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Forme libre : forme 95">
              <a:extLst>
                <a:ext uri="{FF2B5EF4-FFF2-40B4-BE49-F238E27FC236}">
                  <a16:creationId xmlns:a16="http://schemas.microsoft.com/office/drawing/2014/main" id="{7EB63D12-C97A-4806-9B7E-492DAF5A8D97}"/>
                </a:ext>
              </a:extLst>
            </p:cNvPr>
            <p:cNvSpPr/>
            <p:nvPr/>
          </p:nvSpPr>
          <p:spPr>
            <a:xfrm rot="8716295">
              <a:off x="422537" y="67511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" name="Forme libre : forme 96">
              <a:extLst>
                <a:ext uri="{FF2B5EF4-FFF2-40B4-BE49-F238E27FC236}">
                  <a16:creationId xmlns:a16="http://schemas.microsoft.com/office/drawing/2014/main" id="{1806B75B-8705-4074-AEFF-3715A3B4A58C}"/>
                </a:ext>
              </a:extLst>
            </p:cNvPr>
            <p:cNvSpPr/>
            <p:nvPr/>
          </p:nvSpPr>
          <p:spPr>
            <a:xfrm rot="8716295">
              <a:off x="893484" y="10050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" name="Forme libre : forme 97">
              <a:extLst>
                <a:ext uri="{FF2B5EF4-FFF2-40B4-BE49-F238E27FC236}">
                  <a16:creationId xmlns:a16="http://schemas.microsoft.com/office/drawing/2014/main" id="{AB690B93-68A6-412B-BE9D-7BF4A62DFBAE}"/>
                </a:ext>
              </a:extLst>
            </p:cNvPr>
            <p:cNvSpPr/>
            <p:nvPr/>
          </p:nvSpPr>
          <p:spPr>
            <a:xfrm rot="8716295">
              <a:off x="1028783" y="14476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" name="Forme libre : forme 98">
              <a:extLst>
                <a:ext uri="{FF2B5EF4-FFF2-40B4-BE49-F238E27FC236}">
                  <a16:creationId xmlns:a16="http://schemas.microsoft.com/office/drawing/2014/main" id="{CF4399C2-6A4B-4B09-A803-90528B9B6BB5}"/>
                </a:ext>
              </a:extLst>
            </p:cNvPr>
            <p:cNvSpPr/>
            <p:nvPr/>
          </p:nvSpPr>
          <p:spPr>
            <a:xfrm rot="8716295">
              <a:off x="723613" y="23451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orme libre : forme 99">
              <a:extLst>
                <a:ext uri="{FF2B5EF4-FFF2-40B4-BE49-F238E27FC236}">
                  <a16:creationId xmlns:a16="http://schemas.microsoft.com/office/drawing/2014/main" id="{244D8443-8208-40F5-B1CF-110ABB79D7E7}"/>
                </a:ext>
              </a:extLst>
            </p:cNvPr>
            <p:cNvSpPr/>
            <p:nvPr/>
          </p:nvSpPr>
          <p:spPr>
            <a:xfrm rot="8716295">
              <a:off x="547803" y="-17289"/>
              <a:ext cx="308531" cy="226033"/>
            </a:xfrm>
            <a:custGeom>
              <a:avLst/>
              <a:gdLst>
                <a:gd name="connsiteX0" fmla="*/ 106716 w 203847"/>
                <a:gd name="connsiteY0" fmla="*/ 149340 h 149340"/>
                <a:gd name="connsiteX1" fmla="*/ 50038 w 203847"/>
                <a:gd name="connsiteY1" fmla="*/ 110053 h 149340"/>
                <a:gd name="connsiteX2" fmla="*/ 69777 w 203847"/>
                <a:gd name="connsiteY2" fmla="*/ 55323 h 149340"/>
                <a:gd name="connsiteX3" fmla="*/ 0 w 203847"/>
                <a:gd name="connsiteY3" fmla="*/ 55323 h 149340"/>
                <a:gd name="connsiteX4" fmla="*/ 0 w 203847"/>
                <a:gd name="connsiteY4" fmla="*/ 0 h 149340"/>
                <a:gd name="connsiteX5" fmla="*/ 203847 w 203847"/>
                <a:gd name="connsiteY5" fmla="*/ 0 h 149340"/>
                <a:gd name="connsiteX6" fmla="*/ 203847 w 203847"/>
                <a:gd name="connsiteY6" fmla="*/ 55323 h 149340"/>
                <a:gd name="connsiteX7" fmla="*/ 139055 w 203847"/>
                <a:gd name="connsiteY7" fmla="*/ 55323 h 14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49340">
                  <a:moveTo>
                    <a:pt x="106716" y="149340"/>
                  </a:moveTo>
                  <a:lnTo>
                    <a:pt x="50038" y="110053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Forme libre : forme 100">
              <a:extLst>
                <a:ext uri="{FF2B5EF4-FFF2-40B4-BE49-F238E27FC236}">
                  <a16:creationId xmlns:a16="http://schemas.microsoft.com/office/drawing/2014/main" id="{1DC1AB77-DFBD-48D5-BA47-D445EDCA0CEF}"/>
                </a:ext>
              </a:extLst>
            </p:cNvPr>
            <p:cNvSpPr/>
            <p:nvPr/>
          </p:nvSpPr>
          <p:spPr>
            <a:xfrm rot="8716295">
              <a:off x="860101" y="29650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" name="Forme libre : forme 101">
              <a:extLst>
                <a:ext uri="{FF2B5EF4-FFF2-40B4-BE49-F238E27FC236}">
                  <a16:creationId xmlns:a16="http://schemas.microsoft.com/office/drawing/2014/main" id="{F59B8FC1-4AE7-4990-AF75-539F5B58458B}"/>
                </a:ext>
              </a:extLst>
            </p:cNvPr>
            <p:cNvSpPr/>
            <p:nvPr/>
          </p:nvSpPr>
          <p:spPr>
            <a:xfrm rot="8716295">
              <a:off x="494655" y="7007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" name="Forme libre : forme 102">
              <a:extLst>
                <a:ext uri="{FF2B5EF4-FFF2-40B4-BE49-F238E27FC236}">
                  <a16:creationId xmlns:a16="http://schemas.microsoft.com/office/drawing/2014/main" id="{868AEFC4-250F-471C-A43A-28F6923BB61D}"/>
                </a:ext>
              </a:extLst>
            </p:cNvPr>
            <p:cNvSpPr/>
            <p:nvPr/>
          </p:nvSpPr>
          <p:spPr>
            <a:xfrm rot="7484129">
              <a:off x="1018919" y="58611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" name="Forme libre : forme 103">
              <a:extLst>
                <a:ext uri="{FF2B5EF4-FFF2-40B4-BE49-F238E27FC236}">
                  <a16:creationId xmlns:a16="http://schemas.microsoft.com/office/drawing/2014/main" id="{7720FECD-8541-443F-AFBA-99868EB29B55}"/>
                </a:ext>
              </a:extLst>
            </p:cNvPr>
            <p:cNvSpPr/>
            <p:nvPr/>
          </p:nvSpPr>
          <p:spPr>
            <a:xfrm rot="13089394">
              <a:off x="1177568" y="53546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" name="Forme libre : forme 104">
              <a:extLst>
                <a:ext uri="{FF2B5EF4-FFF2-40B4-BE49-F238E27FC236}">
                  <a16:creationId xmlns:a16="http://schemas.microsoft.com/office/drawing/2014/main" id="{EC21D4C1-E07B-4E45-A18C-FDC88EB32F75}"/>
                </a:ext>
              </a:extLst>
            </p:cNvPr>
            <p:cNvSpPr/>
            <p:nvPr/>
          </p:nvSpPr>
          <p:spPr>
            <a:xfrm rot="8716295">
              <a:off x="1458459" y="24534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" name="Forme libre : forme 105">
              <a:extLst>
                <a:ext uri="{FF2B5EF4-FFF2-40B4-BE49-F238E27FC236}">
                  <a16:creationId xmlns:a16="http://schemas.microsoft.com/office/drawing/2014/main" id="{F27332C2-A714-4595-B5C0-9F2B9BA6FD2B}"/>
                </a:ext>
              </a:extLst>
            </p:cNvPr>
            <p:cNvSpPr/>
            <p:nvPr/>
          </p:nvSpPr>
          <p:spPr>
            <a:xfrm rot="8716295">
              <a:off x="1380050" y="8855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" name="Forme libre : forme 106">
              <a:extLst>
                <a:ext uri="{FF2B5EF4-FFF2-40B4-BE49-F238E27FC236}">
                  <a16:creationId xmlns:a16="http://schemas.microsoft.com/office/drawing/2014/main" id="{674A78BA-4944-4138-B4F5-A2FBC8048D50}"/>
                </a:ext>
              </a:extLst>
            </p:cNvPr>
            <p:cNvSpPr/>
            <p:nvPr/>
          </p:nvSpPr>
          <p:spPr>
            <a:xfrm rot="8716295">
              <a:off x="1011887" y="13429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" name="Forme libre : forme 107">
              <a:extLst>
                <a:ext uri="{FF2B5EF4-FFF2-40B4-BE49-F238E27FC236}">
                  <a16:creationId xmlns:a16="http://schemas.microsoft.com/office/drawing/2014/main" id="{7D76DD03-F270-4ACF-B774-06410BC28EE6}"/>
                </a:ext>
              </a:extLst>
            </p:cNvPr>
            <p:cNvSpPr/>
            <p:nvPr/>
          </p:nvSpPr>
          <p:spPr>
            <a:xfrm rot="8716295">
              <a:off x="1291652" y="-36449"/>
              <a:ext cx="134197" cy="106947"/>
            </a:xfrm>
            <a:custGeom>
              <a:avLst/>
              <a:gdLst>
                <a:gd name="connsiteX0" fmla="*/ 83649 w 88664"/>
                <a:gd name="connsiteY0" fmla="*/ 70660 h 70660"/>
                <a:gd name="connsiteX1" fmla="*/ 0 w 88664"/>
                <a:gd name="connsiteY1" fmla="*/ 12677 h 70660"/>
                <a:gd name="connsiteX2" fmla="*/ 30024 w 88664"/>
                <a:gd name="connsiteY2" fmla="*/ 0 h 70660"/>
                <a:gd name="connsiteX3" fmla="*/ 71417 w 88664"/>
                <a:gd name="connsiteY3" fmla="*/ 17477 h 70660"/>
                <a:gd name="connsiteX4" fmla="*/ 88664 w 88664"/>
                <a:gd name="connsiteY4" fmla="*/ 58525 h 70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664" h="70660">
                  <a:moveTo>
                    <a:pt x="83649" y="70660"/>
                  </a:moveTo>
                  <a:lnTo>
                    <a:pt x="0" y="12677"/>
                  </a:lnTo>
                  <a:lnTo>
                    <a:pt x="30024" y="0"/>
                  </a:lnTo>
                  <a:cubicBezTo>
                    <a:pt x="45662" y="0"/>
                    <a:pt x="60379" y="6439"/>
                    <a:pt x="71417" y="17477"/>
                  </a:cubicBezTo>
                  <a:cubicBezTo>
                    <a:pt x="82915" y="28515"/>
                    <a:pt x="88664" y="43462"/>
                    <a:pt x="88664" y="58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" name="Forme libre : forme 108">
              <a:extLst>
                <a:ext uri="{FF2B5EF4-FFF2-40B4-BE49-F238E27FC236}">
                  <a16:creationId xmlns:a16="http://schemas.microsoft.com/office/drawing/2014/main" id="{3E28A378-29F9-4E63-8D2F-7910EE2CA370}"/>
                </a:ext>
              </a:extLst>
            </p:cNvPr>
            <p:cNvSpPr/>
            <p:nvPr/>
          </p:nvSpPr>
          <p:spPr>
            <a:xfrm rot="13089394">
              <a:off x="990163" y="-39748"/>
              <a:ext cx="111277" cy="115595"/>
            </a:xfrm>
            <a:custGeom>
              <a:avLst/>
              <a:gdLst>
                <a:gd name="connsiteX0" fmla="*/ 73521 w 73521"/>
                <a:gd name="connsiteY0" fmla="*/ 18609 h 76374"/>
                <a:gd name="connsiteX1" fmla="*/ 0 w 73521"/>
                <a:gd name="connsiteY1" fmla="*/ 76374 h 76374"/>
                <a:gd name="connsiteX2" fmla="*/ 0 w 73521"/>
                <a:gd name="connsiteY2" fmla="*/ 38074 h 76374"/>
                <a:gd name="connsiteX3" fmla="*/ 73388 w 73521"/>
                <a:gd name="connsiteY3" fmla="*/ 0 h 7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521" h="76374">
                  <a:moveTo>
                    <a:pt x="73521" y="18609"/>
                  </a:moveTo>
                  <a:lnTo>
                    <a:pt x="0" y="76374"/>
                  </a:lnTo>
                  <a:lnTo>
                    <a:pt x="0" y="38074"/>
                  </a:lnTo>
                  <a:lnTo>
                    <a:pt x="7338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" name="Forme libre : forme 109">
              <a:extLst>
                <a:ext uri="{FF2B5EF4-FFF2-40B4-BE49-F238E27FC236}">
                  <a16:creationId xmlns:a16="http://schemas.microsoft.com/office/drawing/2014/main" id="{F1CC83E5-A4EB-42DD-9A17-370BFA21AAE9}"/>
                </a:ext>
              </a:extLst>
            </p:cNvPr>
            <p:cNvSpPr/>
            <p:nvPr/>
          </p:nvSpPr>
          <p:spPr>
            <a:xfrm rot="8716295">
              <a:off x="121288" y="414134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" name="Forme libre : forme 110">
              <a:extLst>
                <a:ext uri="{FF2B5EF4-FFF2-40B4-BE49-F238E27FC236}">
                  <a16:creationId xmlns:a16="http://schemas.microsoft.com/office/drawing/2014/main" id="{9526DB8B-159A-416E-9CE4-0D6F2D18F32F}"/>
                </a:ext>
              </a:extLst>
            </p:cNvPr>
            <p:cNvSpPr/>
            <p:nvPr/>
          </p:nvSpPr>
          <p:spPr>
            <a:xfrm rot="8716295">
              <a:off x="256586" y="418560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" name="Forme libre : forme 111">
              <a:extLst>
                <a:ext uri="{FF2B5EF4-FFF2-40B4-BE49-F238E27FC236}">
                  <a16:creationId xmlns:a16="http://schemas.microsoft.com/office/drawing/2014/main" id="{8B12B296-AAE6-463A-B5CB-324F979AE957}"/>
                </a:ext>
              </a:extLst>
            </p:cNvPr>
            <p:cNvSpPr/>
            <p:nvPr/>
          </p:nvSpPr>
          <p:spPr>
            <a:xfrm rot="8716295">
              <a:off x="188704" y="405501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" name="Forme libre : forme 112">
              <a:extLst>
                <a:ext uri="{FF2B5EF4-FFF2-40B4-BE49-F238E27FC236}">
                  <a16:creationId xmlns:a16="http://schemas.microsoft.com/office/drawing/2014/main" id="{9A3F4C45-E84E-45F4-A1D8-E67A24057076}"/>
                </a:ext>
              </a:extLst>
            </p:cNvPr>
            <p:cNvSpPr/>
            <p:nvPr/>
          </p:nvSpPr>
          <p:spPr>
            <a:xfrm rot="8716295">
              <a:off x="-22408" y="4278013"/>
              <a:ext cx="57413" cy="71926"/>
            </a:xfrm>
            <a:custGeom>
              <a:avLst/>
              <a:gdLst>
                <a:gd name="connsiteX0" fmla="*/ 11441 w 57413"/>
                <a:gd name="connsiteY0" fmla="*/ 71926 h 71926"/>
                <a:gd name="connsiteX1" fmla="*/ 0 w 57413"/>
                <a:gd name="connsiteY1" fmla="*/ 44829 h 71926"/>
                <a:gd name="connsiteX2" fmla="*/ 0 w 57413"/>
                <a:gd name="connsiteY2" fmla="*/ 44139 h 71926"/>
                <a:gd name="connsiteX3" fmla="*/ 13104 w 57413"/>
                <a:gd name="connsiteY3" fmla="*/ 13104 h 71926"/>
                <a:gd name="connsiteX4" fmla="*/ 44139 w 57413"/>
                <a:gd name="connsiteY4" fmla="*/ 0 h 71926"/>
                <a:gd name="connsiteX5" fmla="*/ 57413 w 57413"/>
                <a:gd name="connsiteY5" fmla="*/ 5605 h 71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413" h="71926">
                  <a:moveTo>
                    <a:pt x="11441" y="71926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lnTo>
                    <a:pt x="57413" y="5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" name="Forme libre : forme 113">
              <a:extLst>
                <a:ext uri="{FF2B5EF4-FFF2-40B4-BE49-F238E27FC236}">
                  <a16:creationId xmlns:a16="http://schemas.microsoft.com/office/drawing/2014/main" id="{9EDF78AD-4158-4BDF-B490-2317803ACA6E}"/>
                </a:ext>
              </a:extLst>
            </p:cNvPr>
            <p:cNvSpPr/>
            <p:nvPr/>
          </p:nvSpPr>
          <p:spPr>
            <a:xfrm rot="8716295">
              <a:off x="-36969" y="4107248"/>
              <a:ext cx="147272" cy="83734"/>
            </a:xfrm>
            <a:custGeom>
              <a:avLst/>
              <a:gdLst>
                <a:gd name="connsiteX0" fmla="*/ 0 w 147272"/>
                <a:gd name="connsiteY0" fmla="*/ 83734 h 83734"/>
                <a:gd name="connsiteX1" fmla="*/ 0 w 147272"/>
                <a:gd name="connsiteY1" fmla="*/ 0 h 83734"/>
                <a:gd name="connsiteX2" fmla="*/ 147272 w 147272"/>
                <a:gd name="connsiteY2" fmla="*/ 0 h 83734"/>
                <a:gd name="connsiteX3" fmla="*/ 89230 w 147272"/>
                <a:gd name="connsiteY3" fmla="*/ 83734 h 83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272" h="83734">
                  <a:moveTo>
                    <a:pt x="0" y="83734"/>
                  </a:moveTo>
                  <a:lnTo>
                    <a:pt x="0" y="0"/>
                  </a:lnTo>
                  <a:lnTo>
                    <a:pt x="147272" y="0"/>
                  </a:lnTo>
                  <a:lnTo>
                    <a:pt x="89230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" name="Forme libre : forme 114">
              <a:extLst>
                <a:ext uri="{FF2B5EF4-FFF2-40B4-BE49-F238E27FC236}">
                  <a16:creationId xmlns:a16="http://schemas.microsoft.com/office/drawing/2014/main" id="{18A6ED0C-2A06-421B-B360-5120C1917E60}"/>
                </a:ext>
              </a:extLst>
            </p:cNvPr>
            <p:cNvSpPr/>
            <p:nvPr/>
          </p:nvSpPr>
          <p:spPr>
            <a:xfrm rot="8716295">
              <a:off x="43378" y="3712531"/>
              <a:ext cx="125537" cy="468763"/>
            </a:xfrm>
            <a:custGeom>
              <a:avLst/>
              <a:gdLst>
                <a:gd name="connsiteX0" fmla="*/ 29455 w 125537"/>
                <a:gd name="connsiteY0" fmla="*/ 468763 h 468763"/>
                <a:gd name="connsiteX1" fmla="*/ 7792 w 125537"/>
                <a:gd name="connsiteY1" fmla="*/ 425988 h 468763"/>
                <a:gd name="connsiteX2" fmla="*/ 0 w 125537"/>
                <a:gd name="connsiteY2" fmla="*/ 333043 h 468763"/>
                <a:gd name="connsiteX3" fmla="*/ 0 w 125537"/>
                <a:gd name="connsiteY3" fmla="*/ 61444 h 468763"/>
                <a:gd name="connsiteX4" fmla="*/ 118434 w 125537"/>
                <a:gd name="connsiteY4" fmla="*/ 0 h 468763"/>
                <a:gd name="connsiteX5" fmla="*/ 120216 w 125537"/>
                <a:gd name="connsiteY5" fmla="*/ 248447 h 468763"/>
                <a:gd name="connsiteX6" fmla="*/ 123889 w 125537"/>
                <a:gd name="connsiteY6" fmla="*/ 323359 h 468763"/>
                <a:gd name="connsiteX7" fmla="*/ 125537 w 125537"/>
                <a:gd name="connsiteY7" fmla="*/ 330150 h 468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537" h="468763">
                  <a:moveTo>
                    <a:pt x="29455" y="468763"/>
                  </a:moveTo>
                  <a:lnTo>
                    <a:pt x="7792" y="425988"/>
                  </a:lnTo>
                  <a:cubicBezTo>
                    <a:pt x="2003" y="400498"/>
                    <a:pt x="0" y="369553"/>
                    <a:pt x="0" y="333043"/>
                  </a:cubicBezTo>
                  <a:lnTo>
                    <a:pt x="0" y="61444"/>
                  </a:lnTo>
                  <a:lnTo>
                    <a:pt x="118434" y="0"/>
                  </a:lnTo>
                  <a:lnTo>
                    <a:pt x="120216" y="248447"/>
                  </a:lnTo>
                  <a:cubicBezTo>
                    <a:pt x="118880" y="273381"/>
                    <a:pt x="120216" y="298537"/>
                    <a:pt x="123889" y="323359"/>
                  </a:cubicBezTo>
                  <a:lnTo>
                    <a:pt x="125537" y="3301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" name="Forme libre : forme 115">
              <a:extLst>
                <a:ext uri="{FF2B5EF4-FFF2-40B4-BE49-F238E27FC236}">
                  <a16:creationId xmlns:a16="http://schemas.microsoft.com/office/drawing/2014/main" id="{E0FDC8EF-8848-4C0A-9102-11E05499477A}"/>
                </a:ext>
              </a:extLst>
            </p:cNvPr>
            <p:cNvSpPr/>
            <p:nvPr/>
          </p:nvSpPr>
          <p:spPr>
            <a:xfrm rot="8716295">
              <a:off x="87905" y="4337347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" name="Forme libre : forme 116">
              <a:extLst>
                <a:ext uri="{FF2B5EF4-FFF2-40B4-BE49-F238E27FC236}">
                  <a16:creationId xmlns:a16="http://schemas.microsoft.com/office/drawing/2014/main" id="{5A06B087-2ED7-4364-B770-117460F6509C}"/>
                </a:ext>
              </a:extLst>
            </p:cNvPr>
            <p:cNvSpPr/>
            <p:nvPr/>
          </p:nvSpPr>
          <p:spPr>
            <a:xfrm rot="8716295">
              <a:off x="558851" y="376273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" name="Forme libre : forme 117">
              <a:extLst>
                <a:ext uri="{FF2B5EF4-FFF2-40B4-BE49-F238E27FC236}">
                  <a16:creationId xmlns:a16="http://schemas.microsoft.com/office/drawing/2014/main" id="{A9CE4EB9-9050-492E-8BE3-E347F06FFDC2}"/>
                </a:ext>
              </a:extLst>
            </p:cNvPr>
            <p:cNvSpPr/>
            <p:nvPr/>
          </p:nvSpPr>
          <p:spPr>
            <a:xfrm rot="8716295">
              <a:off x="694150" y="380699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" name="Forme libre : forme 118">
              <a:extLst>
                <a:ext uri="{FF2B5EF4-FFF2-40B4-BE49-F238E27FC236}">
                  <a16:creationId xmlns:a16="http://schemas.microsoft.com/office/drawing/2014/main" id="{760AB253-194C-499B-8D42-794DA9755956}"/>
                </a:ext>
              </a:extLst>
            </p:cNvPr>
            <p:cNvSpPr/>
            <p:nvPr/>
          </p:nvSpPr>
          <p:spPr>
            <a:xfrm rot="8716295">
              <a:off x="388980" y="389674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" name="Forme libre : forme 119">
              <a:extLst>
                <a:ext uri="{FF2B5EF4-FFF2-40B4-BE49-F238E27FC236}">
                  <a16:creationId xmlns:a16="http://schemas.microsoft.com/office/drawing/2014/main" id="{40898D3E-1FCF-4F50-8E01-1AFEA6AF3C33}"/>
                </a:ext>
              </a:extLst>
            </p:cNvPr>
            <p:cNvSpPr/>
            <p:nvPr/>
          </p:nvSpPr>
          <p:spPr>
            <a:xfrm rot="8716295">
              <a:off x="199936" y="358091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" name="Forme libre : forme 120">
              <a:extLst>
                <a:ext uri="{FF2B5EF4-FFF2-40B4-BE49-F238E27FC236}">
                  <a16:creationId xmlns:a16="http://schemas.microsoft.com/office/drawing/2014/main" id="{D3FAD429-F566-4023-B7BD-D5217FAA5D96}"/>
                </a:ext>
              </a:extLst>
            </p:cNvPr>
            <p:cNvSpPr/>
            <p:nvPr/>
          </p:nvSpPr>
          <p:spPr>
            <a:xfrm rot="8716295">
              <a:off x="525469" y="3958731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" name="Forme libre : forme 121">
              <a:extLst>
                <a:ext uri="{FF2B5EF4-FFF2-40B4-BE49-F238E27FC236}">
                  <a16:creationId xmlns:a16="http://schemas.microsoft.com/office/drawing/2014/main" id="{D20A67B5-6AA2-4AB0-B207-C07057BDE093}"/>
                </a:ext>
              </a:extLst>
            </p:cNvPr>
            <p:cNvSpPr/>
            <p:nvPr/>
          </p:nvSpPr>
          <p:spPr>
            <a:xfrm rot="8716295">
              <a:off x="160022" y="3732305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" name="Forme libre : forme 122">
              <a:extLst>
                <a:ext uri="{FF2B5EF4-FFF2-40B4-BE49-F238E27FC236}">
                  <a16:creationId xmlns:a16="http://schemas.microsoft.com/office/drawing/2014/main" id="{91FEBD80-6813-4F8F-ACF7-9087BB051204}"/>
                </a:ext>
              </a:extLst>
            </p:cNvPr>
            <p:cNvSpPr/>
            <p:nvPr/>
          </p:nvSpPr>
          <p:spPr>
            <a:xfrm rot="7484129">
              <a:off x="684286" y="424834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" name="Forme libre : forme 123">
              <a:extLst>
                <a:ext uri="{FF2B5EF4-FFF2-40B4-BE49-F238E27FC236}">
                  <a16:creationId xmlns:a16="http://schemas.microsoft.com/office/drawing/2014/main" id="{4CAAD98F-1BEB-4716-B4A0-F4F1C4393647}"/>
                </a:ext>
              </a:extLst>
            </p:cNvPr>
            <p:cNvSpPr/>
            <p:nvPr/>
          </p:nvSpPr>
          <p:spPr>
            <a:xfrm rot="13089394">
              <a:off x="842936" y="4197697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" name="Forme libre : forme 124">
              <a:extLst>
                <a:ext uri="{FF2B5EF4-FFF2-40B4-BE49-F238E27FC236}">
                  <a16:creationId xmlns:a16="http://schemas.microsoft.com/office/drawing/2014/main" id="{B934D86F-56B5-4940-9189-1F845F67AF3D}"/>
                </a:ext>
              </a:extLst>
            </p:cNvPr>
            <p:cNvSpPr/>
            <p:nvPr/>
          </p:nvSpPr>
          <p:spPr>
            <a:xfrm rot="8716295">
              <a:off x="1123827" y="390757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" name="Forme libre : forme 125">
              <a:extLst>
                <a:ext uri="{FF2B5EF4-FFF2-40B4-BE49-F238E27FC236}">
                  <a16:creationId xmlns:a16="http://schemas.microsoft.com/office/drawing/2014/main" id="{0BB740E0-5261-47F5-A043-EC9887338951}"/>
                </a:ext>
              </a:extLst>
            </p:cNvPr>
            <p:cNvSpPr/>
            <p:nvPr/>
          </p:nvSpPr>
          <p:spPr>
            <a:xfrm rot="8716295">
              <a:off x="1045418" y="375078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" name="Forme libre : forme 126">
              <a:extLst>
                <a:ext uri="{FF2B5EF4-FFF2-40B4-BE49-F238E27FC236}">
                  <a16:creationId xmlns:a16="http://schemas.microsoft.com/office/drawing/2014/main" id="{07B02AA0-438E-4A9F-9E86-C7798EAE77E1}"/>
                </a:ext>
              </a:extLst>
            </p:cNvPr>
            <p:cNvSpPr/>
            <p:nvPr/>
          </p:nvSpPr>
          <p:spPr>
            <a:xfrm rot="8716295">
              <a:off x="677254" y="379652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" name="Forme libre : forme 127">
              <a:extLst>
                <a:ext uri="{FF2B5EF4-FFF2-40B4-BE49-F238E27FC236}">
                  <a16:creationId xmlns:a16="http://schemas.microsoft.com/office/drawing/2014/main" id="{500903EF-2A49-42E8-AD78-049F43A296FF}"/>
                </a:ext>
              </a:extLst>
            </p:cNvPr>
            <p:cNvSpPr/>
            <p:nvPr/>
          </p:nvSpPr>
          <p:spPr>
            <a:xfrm rot="8716295">
              <a:off x="945836" y="355550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" name="Forme libre : forme 128">
              <a:extLst>
                <a:ext uri="{FF2B5EF4-FFF2-40B4-BE49-F238E27FC236}">
                  <a16:creationId xmlns:a16="http://schemas.microsoft.com/office/drawing/2014/main" id="{480AF78A-BA1A-4D97-9E00-1B9DCCFB07D3}"/>
                </a:ext>
              </a:extLst>
            </p:cNvPr>
            <p:cNvSpPr/>
            <p:nvPr/>
          </p:nvSpPr>
          <p:spPr>
            <a:xfrm rot="8716295">
              <a:off x="601570" y="5027951"/>
              <a:ext cx="169680" cy="113030"/>
            </a:xfrm>
            <a:custGeom>
              <a:avLst/>
              <a:gdLst>
                <a:gd name="connsiteX0" fmla="*/ 8965 w 169680"/>
                <a:gd name="connsiteY0" fmla="*/ 113030 h 113030"/>
                <a:gd name="connsiteX1" fmla="*/ 0 w 169680"/>
                <a:gd name="connsiteY1" fmla="*/ 100616 h 113030"/>
                <a:gd name="connsiteX2" fmla="*/ 106933 w 169680"/>
                <a:gd name="connsiteY2" fmla="*/ 0 h 113030"/>
                <a:gd name="connsiteX3" fmla="*/ 169680 w 169680"/>
                <a:gd name="connsiteY3" fmla="*/ 43494 h 113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680" h="113030">
                  <a:moveTo>
                    <a:pt x="8965" y="113030"/>
                  </a:moveTo>
                  <a:lnTo>
                    <a:pt x="0" y="100616"/>
                  </a:lnTo>
                  <a:lnTo>
                    <a:pt x="106933" y="0"/>
                  </a:lnTo>
                  <a:lnTo>
                    <a:pt x="169680" y="434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" name="Forme libre : forme 129">
              <a:extLst>
                <a:ext uri="{FF2B5EF4-FFF2-40B4-BE49-F238E27FC236}">
                  <a16:creationId xmlns:a16="http://schemas.microsoft.com/office/drawing/2014/main" id="{EE8617F6-3CC3-49C7-A836-7CB9E4E540AD}"/>
                </a:ext>
              </a:extLst>
            </p:cNvPr>
            <p:cNvSpPr/>
            <p:nvPr/>
          </p:nvSpPr>
          <p:spPr>
            <a:xfrm rot="8716295">
              <a:off x="197311" y="4925365"/>
              <a:ext cx="194366" cy="296463"/>
            </a:xfrm>
            <a:custGeom>
              <a:avLst/>
              <a:gdLst>
                <a:gd name="connsiteX0" fmla="*/ 137293 w 194366"/>
                <a:gd name="connsiteY0" fmla="*/ 296463 h 296463"/>
                <a:gd name="connsiteX1" fmla="*/ 72418 w 194366"/>
                <a:gd name="connsiteY1" fmla="*/ 175766 h 296463"/>
                <a:gd name="connsiteX2" fmla="*/ 105610 w 194366"/>
                <a:gd name="connsiteY2" fmla="*/ 83734 h 296463"/>
                <a:gd name="connsiteX3" fmla="*/ 0 w 194366"/>
                <a:gd name="connsiteY3" fmla="*/ 83734 h 296463"/>
                <a:gd name="connsiteX4" fmla="*/ 0 w 194366"/>
                <a:gd name="connsiteY4" fmla="*/ 0 h 296463"/>
                <a:gd name="connsiteX5" fmla="*/ 6043 w 194366"/>
                <a:gd name="connsiteY5" fmla="*/ 0 h 296463"/>
                <a:gd name="connsiteX6" fmla="*/ 194366 w 194366"/>
                <a:gd name="connsiteY6" fmla="*/ 130539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4366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6043" y="0"/>
                  </a:lnTo>
                  <a:lnTo>
                    <a:pt x="194366" y="1305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" name="Forme libre : forme 130">
              <a:extLst>
                <a:ext uri="{FF2B5EF4-FFF2-40B4-BE49-F238E27FC236}">
                  <a16:creationId xmlns:a16="http://schemas.microsoft.com/office/drawing/2014/main" id="{7A3770F8-0F14-4D5B-BC93-8BDF0237ED5F}"/>
                </a:ext>
              </a:extLst>
            </p:cNvPr>
            <p:cNvSpPr/>
            <p:nvPr/>
          </p:nvSpPr>
          <p:spPr>
            <a:xfrm rot="8716295">
              <a:off x="81902" y="4747962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" name="Forme libre : forme 131">
              <a:extLst>
                <a:ext uri="{FF2B5EF4-FFF2-40B4-BE49-F238E27FC236}">
                  <a16:creationId xmlns:a16="http://schemas.microsoft.com/office/drawing/2014/main" id="{6F3531E0-325E-4C4E-9F22-978D3BA0B1C2}"/>
                </a:ext>
              </a:extLst>
            </p:cNvPr>
            <p:cNvSpPr/>
            <p:nvPr/>
          </p:nvSpPr>
          <p:spPr>
            <a:xfrm rot="8716295">
              <a:off x="896624" y="4761216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" name="Forme libre : forme 132">
              <a:extLst>
                <a:ext uri="{FF2B5EF4-FFF2-40B4-BE49-F238E27FC236}">
                  <a16:creationId xmlns:a16="http://schemas.microsoft.com/office/drawing/2014/main" id="{0B981DC2-26C2-44B6-A24A-4014CF42843D}"/>
                </a:ext>
              </a:extLst>
            </p:cNvPr>
            <p:cNvSpPr/>
            <p:nvPr/>
          </p:nvSpPr>
          <p:spPr>
            <a:xfrm rot="8716295">
              <a:off x="1032483" y="4799006"/>
              <a:ext cx="389853" cy="383455"/>
            </a:xfrm>
            <a:custGeom>
              <a:avLst/>
              <a:gdLst>
                <a:gd name="connsiteX0" fmla="*/ 77932 w 389853"/>
                <a:gd name="connsiteY0" fmla="*/ 383455 h 383455"/>
                <a:gd name="connsiteX1" fmla="*/ 77932 w 389853"/>
                <a:gd name="connsiteY1" fmla="*/ 66898 h 383455"/>
                <a:gd name="connsiteX2" fmla="*/ 0 w 389853"/>
                <a:gd name="connsiteY2" fmla="*/ 66898 h 383455"/>
                <a:gd name="connsiteX3" fmla="*/ 0 w 389853"/>
                <a:gd name="connsiteY3" fmla="*/ 0 h 383455"/>
                <a:gd name="connsiteX4" fmla="*/ 158623 w 389853"/>
                <a:gd name="connsiteY4" fmla="*/ 0 h 383455"/>
                <a:gd name="connsiteX5" fmla="*/ 158623 w 389853"/>
                <a:gd name="connsiteY5" fmla="*/ 111726 h 383455"/>
                <a:gd name="connsiteX6" fmla="*/ 160692 w 389853"/>
                <a:gd name="connsiteY6" fmla="*/ 111726 h 383455"/>
                <a:gd name="connsiteX7" fmla="*/ 192762 w 389853"/>
                <a:gd name="connsiteY7" fmla="*/ 39914 h 383455"/>
                <a:gd name="connsiteX8" fmla="*/ 216292 w 389853"/>
                <a:gd name="connsiteY8" fmla="*/ 20658 h 383455"/>
                <a:gd name="connsiteX9" fmla="*/ 389853 w 389853"/>
                <a:gd name="connsiteY9" fmla="*/ 140965 h 383455"/>
                <a:gd name="connsiteX10" fmla="*/ 300695 w 389853"/>
                <a:gd name="connsiteY10" fmla="*/ 146210 h 383455"/>
                <a:gd name="connsiteX11" fmla="*/ 300694 w 389853"/>
                <a:gd name="connsiteY11" fmla="*/ 121382 h 383455"/>
                <a:gd name="connsiteX12" fmla="*/ 249659 w 389853"/>
                <a:gd name="connsiteY12" fmla="*/ 58622 h 383455"/>
                <a:gd name="connsiteX13" fmla="*/ 168969 w 389853"/>
                <a:gd name="connsiteY13" fmla="*/ 191038 h 383455"/>
                <a:gd name="connsiteX14" fmla="*/ 168969 w 389853"/>
                <a:gd name="connsiteY14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9853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71727" y="78967"/>
                    <a:pt x="181555" y="56208"/>
                    <a:pt x="192762" y="39914"/>
                  </a:cubicBezTo>
                  <a:lnTo>
                    <a:pt x="216292" y="20658"/>
                  </a:lnTo>
                  <a:lnTo>
                    <a:pt x="389853" y="140965"/>
                  </a:lnTo>
                  <a:lnTo>
                    <a:pt x="300695" y="146210"/>
                  </a:lnTo>
                  <a:lnTo>
                    <a:pt x="300694" y="121382"/>
                  </a:lnTo>
                  <a:cubicBezTo>
                    <a:pt x="300695" y="84140"/>
                    <a:pt x="279315" y="58621"/>
                    <a:pt x="249659" y="58622"/>
                  </a:cubicBezTo>
                  <a:cubicBezTo>
                    <a:pt x="205521" y="58621"/>
                    <a:pt x="168969" y="117244"/>
                    <a:pt x="168969" y="191038"/>
                  </a:cubicBez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" name="Forme libre : forme 133">
              <a:extLst>
                <a:ext uri="{FF2B5EF4-FFF2-40B4-BE49-F238E27FC236}">
                  <a16:creationId xmlns:a16="http://schemas.microsoft.com/office/drawing/2014/main" id="{A3972FDD-BF94-4723-9E5F-9672CBFB9038}"/>
                </a:ext>
              </a:extLst>
            </p:cNvPr>
            <p:cNvSpPr/>
            <p:nvPr/>
          </p:nvSpPr>
          <p:spPr>
            <a:xfrm rot="8716295">
              <a:off x="726753" y="489523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" name="Forme libre : forme 134">
              <a:extLst>
                <a:ext uri="{FF2B5EF4-FFF2-40B4-BE49-F238E27FC236}">
                  <a16:creationId xmlns:a16="http://schemas.microsoft.com/office/drawing/2014/main" id="{53E7288B-8855-433D-88B5-BB9A05F8E9B6}"/>
                </a:ext>
              </a:extLst>
            </p:cNvPr>
            <p:cNvSpPr/>
            <p:nvPr/>
          </p:nvSpPr>
          <p:spPr>
            <a:xfrm rot="8716295">
              <a:off x="537709" y="457939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" name="Forme libre : forme 135">
              <a:extLst>
                <a:ext uri="{FF2B5EF4-FFF2-40B4-BE49-F238E27FC236}">
                  <a16:creationId xmlns:a16="http://schemas.microsoft.com/office/drawing/2014/main" id="{6D0BADDB-ADF9-4A5A-9268-3F374A71F372}"/>
                </a:ext>
              </a:extLst>
            </p:cNvPr>
            <p:cNvSpPr/>
            <p:nvPr/>
          </p:nvSpPr>
          <p:spPr>
            <a:xfrm rot="8716295">
              <a:off x="826576" y="4988476"/>
              <a:ext cx="91035" cy="198648"/>
            </a:xfrm>
            <a:custGeom>
              <a:avLst/>
              <a:gdLst>
                <a:gd name="connsiteX0" fmla="*/ 91035 w 91035"/>
                <a:gd name="connsiteY0" fmla="*/ 198648 h 198648"/>
                <a:gd name="connsiteX1" fmla="*/ 0 w 91035"/>
                <a:gd name="connsiteY1" fmla="*/ 111060 h 198648"/>
                <a:gd name="connsiteX2" fmla="*/ 0 w 91035"/>
                <a:gd name="connsiteY2" fmla="*/ 0 h 198648"/>
                <a:gd name="connsiteX3" fmla="*/ 91035 w 91035"/>
                <a:gd name="connsiteY3" fmla="*/ 63103 h 198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198648">
                  <a:moveTo>
                    <a:pt x="91035" y="198648"/>
                  </a:moveTo>
                  <a:lnTo>
                    <a:pt x="0" y="111060"/>
                  </a:lnTo>
                  <a:lnTo>
                    <a:pt x="0" y="0"/>
                  </a:lnTo>
                  <a:lnTo>
                    <a:pt x="91035" y="631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" name="Forme libre : forme 136">
              <a:extLst>
                <a:ext uri="{FF2B5EF4-FFF2-40B4-BE49-F238E27FC236}">
                  <a16:creationId xmlns:a16="http://schemas.microsoft.com/office/drawing/2014/main" id="{7A0A28EA-B520-49BA-800F-B4282BF0ECB8}"/>
                </a:ext>
              </a:extLst>
            </p:cNvPr>
            <p:cNvSpPr/>
            <p:nvPr/>
          </p:nvSpPr>
          <p:spPr>
            <a:xfrm rot="8716295">
              <a:off x="497795" y="4730788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" name="Forme libre : forme 137">
              <a:extLst>
                <a:ext uri="{FF2B5EF4-FFF2-40B4-BE49-F238E27FC236}">
                  <a16:creationId xmlns:a16="http://schemas.microsoft.com/office/drawing/2014/main" id="{8781DCBF-8301-4C81-B93D-E186016AF47F}"/>
                </a:ext>
              </a:extLst>
            </p:cNvPr>
            <p:cNvSpPr/>
            <p:nvPr/>
          </p:nvSpPr>
          <p:spPr>
            <a:xfrm rot="8716295">
              <a:off x="1459248" y="4904357"/>
              <a:ext cx="328004" cy="223069"/>
            </a:xfrm>
            <a:custGeom>
              <a:avLst/>
              <a:gdLst>
                <a:gd name="connsiteX0" fmla="*/ 10574 w 328004"/>
                <a:gd name="connsiteY0" fmla="*/ 223069 h 223069"/>
                <a:gd name="connsiteX1" fmla="*/ 0 w 328004"/>
                <a:gd name="connsiteY1" fmla="*/ 208428 h 223069"/>
                <a:gd name="connsiteX2" fmla="*/ 192781 w 328004"/>
                <a:gd name="connsiteY2" fmla="*/ 27035 h 223069"/>
                <a:gd name="connsiteX3" fmla="*/ 227094 w 328004"/>
                <a:gd name="connsiteY3" fmla="*/ 0 h 223069"/>
                <a:gd name="connsiteX4" fmla="*/ 328004 w 328004"/>
                <a:gd name="connsiteY4" fmla="*/ 69948 h 223069"/>
                <a:gd name="connsiteX5" fmla="*/ 326080 w 328004"/>
                <a:gd name="connsiteY5" fmla="*/ 74925 h 223069"/>
                <a:gd name="connsiteX6" fmla="*/ 293645 w 328004"/>
                <a:gd name="connsiteY6" fmla="*/ 100243 h 223069"/>
                <a:gd name="connsiteX7" fmla="*/ 294458 w 328004"/>
                <a:gd name="connsiteY7" fmla="*/ 100243 h 223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8004" h="223069">
                  <a:moveTo>
                    <a:pt x="10574" y="223069"/>
                  </a:moveTo>
                  <a:lnTo>
                    <a:pt x="0" y="208428"/>
                  </a:lnTo>
                  <a:lnTo>
                    <a:pt x="192781" y="27035"/>
                  </a:lnTo>
                  <a:lnTo>
                    <a:pt x="227094" y="0"/>
                  </a:lnTo>
                  <a:lnTo>
                    <a:pt x="328004" y="69948"/>
                  </a:lnTo>
                  <a:lnTo>
                    <a:pt x="326080" y="74925"/>
                  </a:lnTo>
                  <a:cubicBezTo>
                    <a:pt x="317843" y="85805"/>
                    <a:pt x="306659" y="94549"/>
                    <a:pt x="293645" y="100243"/>
                  </a:cubicBezTo>
                  <a:lnTo>
                    <a:pt x="294458" y="10024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" name="Forme libre : forme 138">
              <a:extLst>
                <a:ext uri="{FF2B5EF4-FFF2-40B4-BE49-F238E27FC236}">
                  <a16:creationId xmlns:a16="http://schemas.microsoft.com/office/drawing/2014/main" id="{3ED78FC6-709C-4AA3-BB63-2CC979D6E8FB}"/>
                </a:ext>
              </a:extLst>
            </p:cNvPr>
            <p:cNvSpPr/>
            <p:nvPr/>
          </p:nvSpPr>
          <p:spPr>
            <a:xfrm rot="8716295">
              <a:off x="1383191" y="474927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" name="Forme libre : forme 139">
              <a:extLst>
                <a:ext uri="{FF2B5EF4-FFF2-40B4-BE49-F238E27FC236}">
                  <a16:creationId xmlns:a16="http://schemas.microsoft.com/office/drawing/2014/main" id="{AC25FEFC-06C2-45EF-9330-9EAB676F1680}"/>
                </a:ext>
              </a:extLst>
            </p:cNvPr>
            <p:cNvSpPr/>
            <p:nvPr/>
          </p:nvSpPr>
          <p:spPr>
            <a:xfrm rot="8716295">
              <a:off x="1015027" y="479501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" name="Forme libre : forme 140">
              <a:extLst>
                <a:ext uri="{FF2B5EF4-FFF2-40B4-BE49-F238E27FC236}">
                  <a16:creationId xmlns:a16="http://schemas.microsoft.com/office/drawing/2014/main" id="{6FCEE809-B78B-468F-8A4F-11AD6B5B5DFE}"/>
                </a:ext>
              </a:extLst>
            </p:cNvPr>
            <p:cNvSpPr/>
            <p:nvPr/>
          </p:nvSpPr>
          <p:spPr>
            <a:xfrm rot="8716295">
              <a:off x="1283609" y="455399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" name="Forme libre : forme 141">
              <a:extLst>
                <a:ext uri="{FF2B5EF4-FFF2-40B4-BE49-F238E27FC236}">
                  <a16:creationId xmlns:a16="http://schemas.microsoft.com/office/drawing/2014/main" id="{4D7B8EF3-5C2F-4403-A58E-C6455E9DC2F8}"/>
                </a:ext>
              </a:extLst>
            </p:cNvPr>
            <p:cNvSpPr/>
            <p:nvPr/>
          </p:nvSpPr>
          <p:spPr>
            <a:xfrm rot="8716295">
              <a:off x="-30381" y="3359388"/>
              <a:ext cx="98497" cy="75863"/>
            </a:xfrm>
            <a:custGeom>
              <a:avLst/>
              <a:gdLst>
                <a:gd name="connsiteX0" fmla="*/ 0 w 98497"/>
                <a:gd name="connsiteY0" fmla="*/ 75863 h 75863"/>
                <a:gd name="connsiteX1" fmla="*/ 0 w 98497"/>
                <a:gd name="connsiteY1" fmla="*/ 0 h 75863"/>
                <a:gd name="connsiteX2" fmla="*/ 98497 w 98497"/>
                <a:gd name="connsiteY2" fmla="*/ 0 h 75863"/>
                <a:gd name="connsiteX3" fmla="*/ 45911 w 98497"/>
                <a:gd name="connsiteY3" fmla="*/ 75863 h 75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497" h="75863">
                  <a:moveTo>
                    <a:pt x="0" y="75863"/>
                  </a:moveTo>
                  <a:lnTo>
                    <a:pt x="0" y="0"/>
                  </a:lnTo>
                  <a:lnTo>
                    <a:pt x="98497" y="0"/>
                  </a:lnTo>
                  <a:lnTo>
                    <a:pt x="45911" y="758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" name="Forme libre : forme 142">
              <a:extLst>
                <a:ext uri="{FF2B5EF4-FFF2-40B4-BE49-F238E27FC236}">
                  <a16:creationId xmlns:a16="http://schemas.microsoft.com/office/drawing/2014/main" id="{E1CB3E01-5CB9-4779-88E3-4FF297370B3E}"/>
                </a:ext>
              </a:extLst>
            </p:cNvPr>
            <p:cNvSpPr/>
            <p:nvPr/>
          </p:nvSpPr>
          <p:spPr>
            <a:xfrm rot="8716295">
              <a:off x="-77334" y="3178477"/>
              <a:ext cx="389652" cy="385611"/>
            </a:xfrm>
            <a:custGeom>
              <a:avLst/>
              <a:gdLst>
                <a:gd name="connsiteX0" fmla="*/ 77932 w 389652"/>
                <a:gd name="connsiteY0" fmla="*/ 385611 h 385611"/>
                <a:gd name="connsiteX1" fmla="*/ 77932 w 389652"/>
                <a:gd name="connsiteY1" fmla="*/ 69054 h 385611"/>
                <a:gd name="connsiteX2" fmla="*/ 0 w 389652"/>
                <a:gd name="connsiteY2" fmla="*/ 69054 h 385611"/>
                <a:gd name="connsiteX3" fmla="*/ 0 w 389652"/>
                <a:gd name="connsiteY3" fmla="*/ 2156 h 385611"/>
                <a:gd name="connsiteX4" fmla="*/ 158623 w 389652"/>
                <a:gd name="connsiteY4" fmla="*/ 2156 h 385611"/>
                <a:gd name="connsiteX5" fmla="*/ 158623 w 389652"/>
                <a:gd name="connsiteY5" fmla="*/ 113882 h 385611"/>
                <a:gd name="connsiteX6" fmla="*/ 160692 w 389652"/>
                <a:gd name="connsiteY6" fmla="*/ 113882 h 385611"/>
                <a:gd name="connsiteX7" fmla="*/ 233107 w 389652"/>
                <a:gd name="connsiteY7" fmla="*/ 9053 h 385611"/>
                <a:gd name="connsiteX8" fmla="*/ 280694 w 389652"/>
                <a:gd name="connsiteY8" fmla="*/ 87 h 385611"/>
                <a:gd name="connsiteX9" fmla="*/ 364230 w 389652"/>
                <a:gd name="connsiteY9" fmla="*/ 34398 h 385611"/>
                <a:gd name="connsiteX10" fmla="*/ 389652 w 389652"/>
                <a:gd name="connsiteY10" fmla="*/ 117977 h 385611"/>
                <a:gd name="connsiteX11" fmla="*/ 371473 w 389652"/>
                <a:gd name="connsiteY11" fmla="*/ 144202 h 385611"/>
                <a:gd name="connsiteX12" fmla="*/ 300695 w 389652"/>
                <a:gd name="connsiteY12" fmla="*/ 148366 h 385611"/>
                <a:gd name="connsiteX13" fmla="*/ 300695 w 389652"/>
                <a:gd name="connsiteY13" fmla="*/ 123538 h 385611"/>
                <a:gd name="connsiteX14" fmla="*/ 249659 w 389652"/>
                <a:gd name="connsiteY14" fmla="*/ 60778 h 385611"/>
                <a:gd name="connsiteX15" fmla="*/ 168969 w 389652"/>
                <a:gd name="connsiteY15" fmla="*/ 193194 h 385611"/>
                <a:gd name="connsiteX16" fmla="*/ 168969 w 389652"/>
                <a:gd name="connsiteY16" fmla="*/ 323541 h 385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89652" h="385611">
                  <a:moveTo>
                    <a:pt x="77932" y="385611"/>
                  </a:moveTo>
                  <a:lnTo>
                    <a:pt x="77932" y="69054"/>
                  </a:lnTo>
                  <a:lnTo>
                    <a:pt x="0" y="69054"/>
                  </a:lnTo>
                  <a:lnTo>
                    <a:pt x="0" y="2156"/>
                  </a:lnTo>
                  <a:lnTo>
                    <a:pt x="158623" y="2156"/>
                  </a:lnTo>
                  <a:lnTo>
                    <a:pt x="158623" y="113882"/>
                  </a:lnTo>
                  <a:lnTo>
                    <a:pt x="160692" y="113882"/>
                  </a:lnTo>
                  <a:cubicBezTo>
                    <a:pt x="182762" y="48364"/>
                    <a:pt x="200003" y="22846"/>
                    <a:pt x="233107" y="9053"/>
                  </a:cubicBezTo>
                  <a:cubicBezTo>
                    <a:pt x="248280" y="2846"/>
                    <a:pt x="264142" y="-602"/>
                    <a:pt x="280694" y="87"/>
                  </a:cubicBezTo>
                  <a:cubicBezTo>
                    <a:pt x="316212" y="-603"/>
                    <a:pt x="344661" y="11466"/>
                    <a:pt x="364230" y="34398"/>
                  </a:cubicBezTo>
                  <a:lnTo>
                    <a:pt x="389652" y="117977"/>
                  </a:lnTo>
                  <a:lnTo>
                    <a:pt x="371473" y="144202"/>
                  </a:lnTo>
                  <a:lnTo>
                    <a:pt x="300695" y="148366"/>
                  </a:lnTo>
                  <a:lnTo>
                    <a:pt x="300695" y="123538"/>
                  </a:lnTo>
                  <a:cubicBezTo>
                    <a:pt x="300695" y="86296"/>
                    <a:pt x="279315" y="60778"/>
                    <a:pt x="249659" y="60778"/>
                  </a:cubicBezTo>
                  <a:cubicBezTo>
                    <a:pt x="205521" y="60778"/>
                    <a:pt x="168969" y="119400"/>
                    <a:pt x="168969" y="193194"/>
                  </a:cubicBezTo>
                  <a:lnTo>
                    <a:pt x="168969" y="3235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4" name="Forme libre : forme 143">
              <a:extLst>
                <a:ext uri="{FF2B5EF4-FFF2-40B4-BE49-F238E27FC236}">
                  <a16:creationId xmlns:a16="http://schemas.microsoft.com/office/drawing/2014/main" id="{693C3616-465F-40B5-99BD-A4355895EC1C}"/>
                </a:ext>
              </a:extLst>
            </p:cNvPr>
            <p:cNvSpPr/>
            <p:nvPr/>
          </p:nvSpPr>
          <p:spPr>
            <a:xfrm rot="8716295">
              <a:off x="-71352" y="3029015"/>
              <a:ext cx="193594" cy="189959"/>
            </a:xfrm>
            <a:custGeom>
              <a:avLst/>
              <a:gdLst>
                <a:gd name="connsiteX0" fmla="*/ 8965 w 193594"/>
                <a:gd name="connsiteY0" fmla="*/ 189959 h 189959"/>
                <a:gd name="connsiteX1" fmla="*/ 0 w 193594"/>
                <a:gd name="connsiteY1" fmla="*/ 177545 h 189959"/>
                <a:gd name="connsiteX2" fmla="*/ 163451 w 193594"/>
                <a:gd name="connsiteY2" fmla="*/ 23749 h 189959"/>
                <a:gd name="connsiteX3" fmla="*/ 193594 w 193594"/>
                <a:gd name="connsiteY3" fmla="*/ 0 h 189959"/>
                <a:gd name="connsiteX4" fmla="*/ 84606 w 193594"/>
                <a:gd name="connsiteY4" fmla="*/ 157232 h 189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594" h="189959">
                  <a:moveTo>
                    <a:pt x="8965" y="189959"/>
                  </a:moveTo>
                  <a:lnTo>
                    <a:pt x="0" y="177545"/>
                  </a:lnTo>
                  <a:lnTo>
                    <a:pt x="163451" y="23749"/>
                  </a:lnTo>
                  <a:lnTo>
                    <a:pt x="193594" y="0"/>
                  </a:lnTo>
                  <a:lnTo>
                    <a:pt x="84606" y="15723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5" name="Forme libre : forme 144">
              <a:extLst>
                <a:ext uri="{FF2B5EF4-FFF2-40B4-BE49-F238E27FC236}">
                  <a16:creationId xmlns:a16="http://schemas.microsoft.com/office/drawing/2014/main" id="{24B29AA9-322C-494E-97CF-CB28B697D24F}"/>
                </a:ext>
              </a:extLst>
            </p:cNvPr>
            <p:cNvSpPr/>
            <p:nvPr/>
          </p:nvSpPr>
          <p:spPr>
            <a:xfrm rot="8716295">
              <a:off x="223574" y="276232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6" name="Forme libre : forme 145">
              <a:extLst>
                <a:ext uri="{FF2B5EF4-FFF2-40B4-BE49-F238E27FC236}">
                  <a16:creationId xmlns:a16="http://schemas.microsoft.com/office/drawing/2014/main" id="{F8DE088E-7554-4812-9E9E-4D30E041F578}"/>
                </a:ext>
              </a:extLst>
            </p:cNvPr>
            <p:cNvSpPr/>
            <p:nvPr/>
          </p:nvSpPr>
          <p:spPr>
            <a:xfrm rot="8716295">
              <a:off x="358873" y="2806579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7" name="Forme libre : forme 146">
              <a:extLst>
                <a:ext uri="{FF2B5EF4-FFF2-40B4-BE49-F238E27FC236}">
                  <a16:creationId xmlns:a16="http://schemas.microsoft.com/office/drawing/2014/main" id="{B9E26502-E7AD-4DA1-9955-0A4E18FDB87E}"/>
                </a:ext>
              </a:extLst>
            </p:cNvPr>
            <p:cNvSpPr/>
            <p:nvPr/>
          </p:nvSpPr>
          <p:spPr>
            <a:xfrm rot="8716295">
              <a:off x="53703" y="2896335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8" name="Forme libre : forme 147">
              <a:extLst>
                <a:ext uri="{FF2B5EF4-FFF2-40B4-BE49-F238E27FC236}">
                  <a16:creationId xmlns:a16="http://schemas.microsoft.com/office/drawing/2014/main" id="{916CFE5B-3405-43DB-8C30-699019D1BD67}"/>
                </a:ext>
              </a:extLst>
            </p:cNvPr>
            <p:cNvSpPr/>
            <p:nvPr/>
          </p:nvSpPr>
          <p:spPr>
            <a:xfrm rot="8716295">
              <a:off x="-92201" y="2622488"/>
              <a:ext cx="271732" cy="238722"/>
            </a:xfrm>
            <a:custGeom>
              <a:avLst/>
              <a:gdLst>
                <a:gd name="connsiteX0" fmla="*/ 106257 w 271732"/>
                <a:gd name="connsiteY0" fmla="*/ 238722 h 238722"/>
                <a:gd name="connsiteX1" fmla="*/ 72418 w 271732"/>
                <a:gd name="connsiteY1" fmla="*/ 175766 h 238722"/>
                <a:gd name="connsiteX2" fmla="*/ 105610 w 271732"/>
                <a:gd name="connsiteY2" fmla="*/ 83734 h 238722"/>
                <a:gd name="connsiteX3" fmla="*/ 0 w 271732"/>
                <a:gd name="connsiteY3" fmla="*/ 83734 h 238722"/>
                <a:gd name="connsiteX4" fmla="*/ 0 w 271732"/>
                <a:gd name="connsiteY4" fmla="*/ 0 h 238722"/>
                <a:gd name="connsiteX5" fmla="*/ 271732 w 271732"/>
                <a:gd name="connsiteY5" fmla="*/ 0 h 238722"/>
                <a:gd name="connsiteX6" fmla="*/ 213690 w 271732"/>
                <a:gd name="connsiteY6" fmla="*/ 83734 h 238722"/>
                <a:gd name="connsiteX7" fmla="*/ 210465 w 271732"/>
                <a:gd name="connsiteY7" fmla="*/ 83734 h 238722"/>
                <a:gd name="connsiteX8" fmla="*/ 207289 w 271732"/>
                <a:gd name="connsiteY8" fmla="*/ 92969 h 238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1732" h="238722">
                  <a:moveTo>
                    <a:pt x="106257" y="238722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71732" y="0"/>
                  </a:lnTo>
                  <a:lnTo>
                    <a:pt x="213690" y="83734"/>
                  </a:lnTo>
                  <a:lnTo>
                    <a:pt x="210465" y="83734"/>
                  </a:lnTo>
                  <a:lnTo>
                    <a:pt x="207289" y="929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9" name="Forme libre : forme 148">
              <a:extLst>
                <a:ext uri="{FF2B5EF4-FFF2-40B4-BE49-F238E27FC236}">
                  <a16:creationId xmlns:a16="http://schemas.microsoft.com/office/drawing/2014/main" id="{D3C330C6-8ED8-4019-9D23-534F7E32B7C3}"/>
                </a:ext>
              </a:extLst>
            </p:cNvPr>
            <p:cNvSpPr/>
            <p:nvPr/>
          </p:nvSpPr>
          <p:spPr>
            <a:xfrm rot="8716295">
              <a:off x="190192" y="2958318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0" name="Forme libre : forme 149">
              <a:extLst>
                <a:ext uri="{FF2B5EF4-FFF2-40B4-BE49-F238E27FC236}">
                  <a16:creationId xmlns:a16="http://schemas.microsoft.com/office/drawing/2014/main" id="{7556479F-3BE7-4641-97C7-A31999C980CD}"/>
                </a:ext>
              </a:extLst>
            </p:cNvPr>
            <p:cNvSpPr/>
            <p:nvPr/>
          </p:nvSpPr>
          <p:spPr>
            <a:xfrm rot="7484129">
              <a:off x="349009" y="324793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1" name="Forme libre : forme 150">
              <a:extLst>
                <a:ext uri="{FF2B5EF4-FFF2-40B4-BE49-F238E27FC236}">
                  <a16:creationId xmlns:a16="http://schemas.microsoft.com/office/drawing/2014/main" id="{C9126667-6906-4254-B833-2535AC138F99}"/>
                </a:ext>
              </a:extLst>
            </p:cNvPr>
            <p:cNvSpPr/>
            <p:nvPr/>
          </p:nvSpPr>
          <p:spPr>
            <a:xfrm rot="13089394">
              <a:off x="507659" y="3197284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2" name="Forme libre : forme 151">
              <a:extLst>
                <a:ext uri="{FF2B5EF4-FFF2-40B4-BE49-F238E27FC236}">
                  <a16:creationId xmlns:a16="http://schemas.microsoft.com/office/drawing/2014/main" id="{EB63A53B-C558-41C6-87D3-6E3EEB414D38}"/>
                </a:ext>
              </a:extLst>
            </p:cNvPr>
            <p:cNvSpPr/>
            <p:nvPr/>
          </p:nvSpPr>
          <p:spPr>
            <a:xfrm rot="8716295">
              <a:off x="788550" y="2907166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3" name="Forme libre : forme 152">
              <a:extLst>
                <a:ext uri="{FF2B5EF4-FFF2-40B4-BE49-F238E27FC236}">
                  <a16:creationId xmlns:a16="http://schemas.microsoft.com/office/drawing/2014/main" id="{EBE3A45E-76C2-41F7-84F5-A2A181D50E91}"/>
                </a:ext>
              </a:extLst>
            </p:cNvPr>
            <p:cNvSpPr/>
            <p:nvPr/>
          </p:nvSpPr>
          <p:spPr>
            <a:xfrm rot="8716295">
              <a:off x="710141" y="275037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4" name="Forme libre : forme 153">
              <a:extLst>
                <a:ext uri="{FF2B5EF4-FFF2-40B4-BE49-F238E27FC236}">
                  <a16:creationId xmlns:a16="http://schemas.microsoft.com/office/drawing/2014/main" id="{871F770F-4D72-4427-86D1-F18744993E05}"/>
                </a:ext>
              </a:extLst>
            </p:cNvPr>
            <p:cNvSpPr/>
            <p:nvPr/>
          </p:nvSpPr>
          <p:spPr>
            <a:xfrm rot="8716295">
              <a:off x="341977" y="279611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5" name="Forme libre : forme 154">
              <a:extLst>
                <a:ext uri="{FF2B5EF4-FFF2-40B4-BE49-F238E27FC236}">
                  <a16:creationId xmlns:a16="http://schemas.microsoft.com/office/drawing/2014/main" id="{CBA9ADD5-0B79-42BB-A803-7DD5C3582812}"/>
                </a:ext>
              </a:extLst>
            </p:cNvPr>
            <p:cNvSpPr/>
            <p:nvPr/>
          </p:nvSpPr>
          <p:spPr>
            <a:xfrm rot="8716295">
              <a:off x="610559" y="2555095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6" name="Forme libre : forme 155">
              <a:extLst>
                <a:ext uri="{FF2B5EF4-FFF2-40B4-BE49-F238E27FC236}">
                  <a16:creationId xmlns:a16="http://schemas.microsoft.com/office/drawing/2014/main" id="{7B5F712C-46C4-40C0-B35F-823DEC5DC95D}"/>
                </a:ext>
              </a:extLst>
            </p:cNvPr>
            <p:cNvSpPr/>
            <p:nvPr/>
          </p:nvSpPr>
          <p:spPr>
            <a:xfrm rot="8716295">
              <a:off x="-24305" y="2374348"/>
              <a:ext cx="58950" cy="66898"/>
            </a:xfrm>
            <a:custGeom>
              <a:avLst/>
              <a:gdLst>
                <a:gd name="connsiteX0" fmla="*/ 0 w 58950"/>
                <a:gd name="connsiteY0" fmla="*/ 66898 h 66898"/>
                <a:gd name="connsiteX1" fmla="*/ 0 w 58950"/>
                <a:gd name="connsiteY1" fmla="*/ 0 h 66898"/>
                <a:gd name="connsiteX2" fmla="*/ 58950 w 58950"/>
                <a:gd name="connsiteY2" fmla="*/ 0 h 66898"/>
                <a:gd name="connsiteX3" fmla="*/ 12579 w 58950"/>
                <a:gd name="connsiteY3" fmla="*/ 66898 h 6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950" h="66898">
                  <a:moveTo>
                    <a:pt x="0" y="66898"/>
                  </a:moveTo>
                  <a:lnTo>
                    <a:pt x="0" y="0"/>
                  </a:lnTo>
                  <a:lnTo>
                    <a:pt x="58950" y="0"/>
                  </a:lnTo>
                  <a:lnTo>
                    <a:pt x="12579" y="668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7" name="Forme libre : forme 156">
              <a:extLst>
                <a:ext uri="{FF2B5EF4-FFF2-40B4-BE49-F238E27FC236}">
                  <a16:creationId xmlns:a16="http://schemas.microsoft.com/office/drawing/2014/main" id="{7F46186A-3310-4CD5-864B-686D76F3E8C2}"/>
                </a:ext>
              </a:extLst>
            </p:cNvPr>
            <p:cNvSpPr/>
            <p:nvPr/>
          </p:nvSpPr>
          <p:spPr>
            <a:xfrm rot="8716295">
              <a:off x="-39593" y="1952072"/>
              <a:ext cx="198050" cy="140164"/>
            </a:xfrm>
            <a:custGeom>
              <a:avLst/>
              <a:gdLst>
                <a:gd name="connsiteX0" fmla="*/ 0 w 198050"/>
                <a:gd name="connsiteY0" fmla="*/ 75863 h 140164"/>
                <a:gd name="connsiteX1" fmla="*/ 0 w 198050"/>
                <a:gd name="connsiteY1" fmla="*/ 0 h 140164"/>
                <a:gd name="connsiteX2" fmla="*/ 128968 w 198050"/>
                <a:gd name="connsiteY2" fmla="*/ 0 h 140164"/>
                <a:gd name="connsiteX3" fmla="*/ 193021 w 198050"/>
                <a:gd name="connsiteY3" fmla="*/ 18535 h 140164"/>
                <a:gd name="connsiteX4" fmla="*/ 198050 w 198050"/>
                <a:gd name="connsiteY4" fmla="*/ 31548 h 140164"/>
                <a:gd name="connsiteX5" fmla="*/ 122761 w 198050"/>
                <a:gd name="connsiteY5" fmla="*/ 140164 h 140164"/>
                <a:gd name="connsiteX6" fmla="*/ 122761 w 198050"/>
                <a:gd name="connsiteY6" fmla="*/ 105519 h 140164"/>
                <a:gd name="connsiteX7" fmla="*/ 122761 w 198050"/>
                <a:gd name="connsiteY7" fmla="*/ 99312 h 140164"/>
                <a:gd name="connsiteX8" fmla="*/ 91726 w 198050"/>
                <a:gd name="connsiteY8" fmla="*/ 75863 h 140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8050" h="140164">
                  <a:moveTo>
                    <a:pt x="0" y="75863"/>
                  </a:moveTo>
                  <a:lnTo>
                    <a:pt x="0" y="0"/>
                  </a:lnTo>
                  <a:lnTo>
                    <a:pt x="128968" y="0"/>
                  </a:lnTo>
                  <a:cubicBezTo>
                    <a:pt x="156900" y="0"/>
                    <a:pt x="178452" y="6034"/>
                    <a:pt x="193021" y="18535"/>
                  </a:cubicBezTo>
                  <a:lnTo>
                    <a:pt x="198050" y="31548"/>
                  </a:lnTo>
                  <a:lnTo>
                    <a:pt x="122761" y="140164"/>
                  </a:ln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4"/>
                    <a:pt x="91726" y="758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8" name="Forme libre : forme 157">
              <a:extLst>
                <a:ext uri="{FF2B5EF4-FFF2-40B4-BE49-F238E27FC236}">
                  <a16:creationId xmlns:a16="http://schemas.microsoft.com/office/drawing/2014/main" id="{A7D40018-F0E5-4DC0-8F24-CC5DD724ED71}"/>
                </a:ext>
              </a:extLst>
            </p:cNvPr>
            <p:cNvSpPr/>
            <p:nvPr/>
          </p:nvSpPr>
          <p:spPr>
            <a:xfrm rot="8716295">
              <a:off x="21100" y="1808096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9" name="Forme libre : forme 158">
              <a:extLst>
                <a:ext uri="{FF2B5EF4-FFF2-40B4-BE49-F238E27FC236}">
                  <a16:creationId xmlns:a16="http://schemas.microsoft.com/office/drawing/2014/main" id="{DE6A0D39-0B43-4DC3-9F56-137223FC9AF7}"/>
                </a:ext>
              </a:extLst>
            </p:cNvPr>
            <p:cNvSpPr/>
            <p:nvPr/>
          </p:nvSpPr>
          <p:spPr>
            <a:xfrm rot="8716295">
              <a:off x="-24330" y="2197782"/>
              <a:ext cx="102508" cy="53362"/>
            </a:xfrm>
            <a:custGeom>
              <a:avLst/>
              <a:gdLst>
                <a:gd name="connsiteX0" fmla="*/ 0 w 102508"/>
                <a:gd name="connsiteY0" fmla="*/ 23637 h 53362"/>
                <a:gd name="connsiteX1" fmla="*/ 0 w 102508"/>
                <a:gd name="connsiteY1" fmla="*/ 2258 h 53362"/>
                <a:gd name="connsiteX2" fmla="*/ 102508 w 102508"/>
                <a:gd name="connsiteY2" fmla="*/ 0 h 53362"/>
                <a:gd name="connsiteX3" fmla="*/ 65519 w 102508"/>
                <a:gd name="connsiteY3" fmla="*/ 53362 h 53362"/>
                <a:gd name="connsiteX4" fmla="*/ 65519 w 102508"/>
                <a:gd name="connsiteY4" fmla="*/ 23637 h 5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508" h="53362">
                  <a:moveTo>
                    <a:pt x="0" y="23637"/>
                  </a:moveTo>
                  <a:lnTo>
                    <a:pt x="0" y="2258"/>
                  </a:lnTo>
                  <a:lnTo>
                    <a:pt x="102508" y="0"/>
                  </a:lnTo>
                  <a:lnTo>
                    <a:pt x="65519" y="53362"/>
                  </a:lnTo>
                  <a:lnTo>
                    <a:pt x="65519" y="2363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0" name="Forme libre : forme 159">
              <a:extLst>
                <a:ext uri="{FF2B5EF4-FFF2-40B4-BE49-F238E27FC236}">
                  <a16:creationId xmlns:a16="http://schemas.microsoft.com/office/drawing/2014/main" id="{53869A83-F18C-41C3-A8D6-8AA2F169F6A9}"/>
                </a:ext>
              </a:extLst>
            </p:cNvPr>
            <p:cNvSpPr/>
            <p:nvPr/>
          </p:nvSpPr>
          <p:spPr>
            <a:xfrm rot="7484129">
              <a:off x="11236" y="224945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1" name="Forme libre : forme 160">
              <a:extLst>
                <a:ext uri="{FF2B5EF4-FFF2-40B4-BE49-F238E27FC236}">
                  <a16:creationId xmlns:a16="http://schemas.microsoft.com/office/drawing/2014/main" id="{47FF6EA9-61FE-4C53-86BC-F03ADA0CF577}"/>
                </a:ext>
              </a:extLst>
            </p:cNvPr>
            <p:cNvSpPr/>
            <p:nvPr/>
          </p:nvSpPr>
          <p:spPr>
            <a:xfrm rot="13089394">
              <a:off x="169886" y="2198801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2" name="Forme libre : forme 161">
              <a:extLst>
                <a:ext uri="{FF2B5EF4-FFF2-40B4-BE49-F238E27FC236}">
                  <a16:creationId xmlns:a16="http://schemas.microsoft.com/office/drawing/2014/main" id="{6ED294D2-DD3A-4323-ADB4-4D2A485D31FA}"/>
                </a:ext>
              </a:extLst>
            </p:cNvPr>
            <p:cNvSpPr/>
            <p:nvPr/>
          </p:nvSpPr>
          <p:spPr>
            <a:xfrm rot="8716295">
              <a:off x="450777" y="1908683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3" name="Forme libre : forme 162">
              <a:extLst>
                <a:ext uri="{FF2B5EF4-FFF2-40B4-BE49-F238E27FC236}">
                  <a16:creationId xmlns:a16="http://schemas.microsoft.com/office/drawing/2014/main" id="{4D7140F9-06B5-4BA8-BEAB-23BD75B9DD53}"/>
                </a:ext>
              </a:extLst>
            </p:cNvPr>
            <p:cNvSpPr/>
            <p:nvPr/>
          </p:nvSpPr>
          <p:spPr>
            <a:xfrm rot="8716295">
              <a:off x="372368" y="175189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4" name="Forme libre : forme 163">
              <a:extLst>
                <a:ext uri="{FF2B5EF4-FFF2-40B4-BE49-F238E27FC236}">
                  <a16:creationId xmlns:a16="http://schemas.microsoft.com/office/drawing/2014/main" id="{068812F1-37A6-4A0A-A392-F4B3E8D2782D}"/>
                </a:ext>
              </a:extLst>
            </p:cNvPr>
            <p:cNvSpPr/>
            <p:nvPr/>
          </p:nvSpPr>
          <p:spPr>
            <a:xfrm rot="8716295">
              <a:off x="4204" y="179763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5" name="Forme libre : forme 164">
              <a:extLst>
                <a:ext uri="{FF2B5EF4-FFF2-40B4-BE49-F238E27FC236}">
                  <a16:creationId xmlns:a16="http://schemas.microsoft.com/office/drawing/2014/main" id="{B62F2753-FDB5-4835-8322-FC678E060DC4}"/>
                </a:ext>
              </a:extLst>
            </p:cNvPr>
            <p:cNvSpPr/>
            <p:nvPr/>
          </p:nvSpPr>
          <p:spPr>
            <a:xfrm rot="8716295">
              <a:off x="272786" y="155661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6" name="Forme libre : forme 165">
              <a:extLst>
                <a:ext uri="{FF2B5EF4-FFF2-40B4-BE49-F238E27FC236}">
                  <a16:creationId xmlns:a16="http://schemas.microsoft.com/office/drawing/2014/main" id="{16BB8F81-6062-4A6D-AD9A-0C3CC09E65D3}"/>
                </a:ext>
              </a:extLst>
            </p:cNvPr>
            <p:cNvSpPr/>
            <p:nvPr/>
          </p:nvSpPr>
          <p:spPr>
            <a:xfrm rot="8716295">
              <a:off x="-35149" y="938156"/>
              <a:ext cx="158623" cy="159016"/>
            </a:xfrm>
            <a:custGeom>
              <a:avLst/>
              <a:gdLst>
                <a:gd name="connsiteX0" fmla="*/ 77932 w 158623"/>
                <a:gd name="connsiteY0" fmla="*/ 159016 h 159016"/>
                <a:gd name="connsiteX1" fmla="*/ 77932 w 158623"/>
                <a:gd name="connsiteY1" fmla="*/ 66898 h 159016"/>
                <a:gd name="connsiteX2" fmla="*/ 0 w 158623"/>
                <a:gd name="connsiteY2" fmla="*/ 66898 h 159016"/>
                <a:gd name="connsiteX3" fmla="*/ 0 w 158623"/>
                <a:gd name="connsiteY3" fmla="*/ 0 h 159016"/>
                <a:gd name="connsiteX4" fmla="*/ 158623 w 158623"/>
                <a:gd name="connsiteY4" fmla="*/ 0 h 159016"/>
                <a:gd name="connsiteX5" fmla="*/ 158623 w 158623"/>
                <a:gd name="connsiteY5" fmla="*/ 42606 h 15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8623" h="159016">
                  <a:moveTo>
                    <a:pt x="77932" y="159016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4260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7" name="Forme libre : forme 166">
              <a:extLst>
                <a:ext uri="{FF2B5EF4-FFF2-40B4-BE49-F238E27FC236}">
                  <a16:creationId xmlns:a16="http://schemas.microsoft.com/office/drawing/2014/main" id="{102294D5-AEAF-4B56-AF06-6647D3303B85}"/>
                </a:ext>
              </a:extLst>
            </p:cNvPr>
            <p:cNvSpPr/>
            <p:nvPr/>
          </p:nvSpPr>
          <p:spPr>
            <a:xfrm rot="7484129">
              <a:off x="-32979" y="1345537"/>
              <a:ext cx="65961" cy="45734"/>
            </a:xfrm>
            <a:custGeom>
              <a:avLst/>
              <a:gdLst>
                <a:gd name="connsiteX0" fmla="*/ 0 w 65961"/>
                <a:gd name="connsiteY0" fmla="*/ 45734 h 45734"/>
                <a:gd name="connsiteX1" fmla="*/ 0 w 65961"/>
                <a:gd name="connsiteY1" fmla="*/ 0 h 45734"/>
                <a:gd name="connsiteX2" fmla="*/ 65961 w 65961"/>
                <a:gd name="connsiteY2" fmla="*/ 0 h 45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5961" h="45734">
                  <a:moveTo>
                    <a:pt x="0" y="45734"/>
                  </a:moveTo>
                  <a:lnTo>
                    <a:pt x="0" y="0"/>
                  </a:lnTo>
                  <a:lnTo>
                    <a:pt x="6596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8" name="Forme libre : forme 167">
              <a:extLst>
                <a:ext uri="{FF2B5EF4-FFF2-40B4-BE49-F238E27FC236}">
                  <a16:creationId xmlns:a16="http://schemas.microsoft.com/office/drawing/2014/main" id="{6A1A2358-10CF-4FD5-A4AA-FC64164263AF}"/>
                </a:ext>
              </a:extLst>
            </p:cNvPr>
            <p:cNvSpPr/>
            <p:nvPr/>
          </p:nvSpPr>
          <p:spPr>
            <a:xfrm rot="13089394">
              <a:off x="-134707" y="1200752"/>
              <a:ext cx="386820" cy="481345"/>
            </a:xfrm>
            <a:custGeom>
              <a:avLst/>
              <a:gdLst>
                <a:gd name="connsiteX0" fmla="*/ 386820 w 386820"/>
                <a:gd name="connsiteY0" fmla="*/ 391818 h 481345"/>
                <a:gd name="connsiteX1" fmla="*/ 342166 w 386820"/>
                <a:gd name="connsiteY1" fmla="*/ 422376 h 481345"/>
                <a:gd name="connsiteX2" fmla="*/ 138636 w 386820"/>
                <a:gd name="connsiteY2" fmla="*/ 481098 h 481345"/>
                <a:gd name="connsiteX3" fmla="*/ 35911 w 386820"/>
                <a:gd name="connsiteY3" fmla="*/ 439340 h 481345"/>
                <a:gd name="connsiteX4" fmla="*/ 0 w 386820"/>
                <a:gd name="connsiteY4" fmla="*/ 295693 h 481345"/>
                <a:gd name="connsiteX5" fmla="*/ 0 w 386820"/>
                <a:gd name="connsiteY5" fmla="*/ 40970 h 481345"/>
                <a:gd name="connsiteX6" fmla="*/ 78970 w 386820"/>
                <a:gd name="connsiteY6" fmla="*/ 0 h 481345"/>
                <a:gd name="connsiteX7" fmla="*/ 111492 w 386820"/>
                <a:gd name="connsiteY7" fmla="*/ 41392 h 481345"/>
                <a:gd name="connsiteX8" fmla="*/ 112747 w 386820"/>
                <a:gd name="connsiteY8" fmla="*/ 216353 h 481345"/>
                <a:gd name="connsiteX9" fmla="*/ 132789 w 386820"/>
                <a:gd name="connsiteY9" fmla="*/ 354990 h 481345"/>
                <a:gd name="connsiteX10" fmla="*/ 233008 w 386820"/>
                <a:gd name="connsiteY10" fmla="*/ 410110 h 481345"/>
                <a:gd name="connsiteX11" fmla="*/ 308173 w 386820"/>
                <a:gd name="connsiteY11" fmla="*/ 396747 h 481345"/>
                <a:gd name="connsiteX12" fmla="*/ 370717 w 386820"/>
                <a:gd name="connsiteY12" fmla="*/ 371323 h 481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6820" h="481345">
                  <a:moveTo>
                    <a:pt x="386820" y="391818"/>
                  </a:moveTo>
                  <a:lnTo>
                    <a:pt x="342166" y="422376"/>
                  </a:lnTo>
                  <a:cubicBezTo>
                    <a:pt x="268920" y="462151"/>
                    <a:pt x="190624" y="477966"/>
                    <a:pt x="138636" y="481098"/>
                  </a:cubicBezTo>
                  <a:cubicBezTo>
                    <a:pt x="100219" y="483604"/>
                    <a:pt x="62637" y="466901"/>
                    <a:pt x="35911" y="439340"/>
                  </a:cubicBezTo>
                  <a:cubicBezTo>
                    <a:pt x="7516" y="411780"/>
                    <a:pt x="0" y="364176"/>
                    <a:pt x="0" y="295693"/>
                  </a:cubicBezTo>
                  <a:lnTo>
                    <a:pt x="0" y="40970"/>
                  </a:lnTo>
                  <a:lnTo>
                    <a:pt x="78970" y="0"/>
                  </a:lnTo>
                  <a:lnTo>
                    <a:pt x="111492" y="41392"/>
                  </a:lnTo>
                  <a:lnTo>
                    <a:pt x="112747" y="216353"/>
                  </a:lnTo>
                  <a:cubicBezTo>
                    <a:pt x="110241" y="263122"/>
                    <a:pt x="117757" y="310726"/>
                    <a:pt x="132789" y="354990"/>
                  </a:cubicBezTo>
                  <a:cubicBezTo>
                    <a:pt x="146153" y="391736"/>
                    <a:pt x="180394" y="410110"/>
                    <a:pt x="233008" y="410110"/>
                  </a:cubicBezTo>
                  <a:cubicBezTo>
                    <a:pt x="258899" y="409274"/>
                    <a:pt x="283953" y="404263"/>
                    <a:pt x="308173" y="396747"/>
                  </a:cubicBezTo>
                  <a:lnTo>
                    <a:pt x="370717" y="371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9" name="Forme libre : forme 168">
              <a:extLst>
                <a:ext uri="{FF2B5EF4-FFF2-40B4-BE49-F238E27FC236}">
                  <a16:creationId xmlns:a16="http://schemas.microsoft.com/office/drawing/2014/main" id="{EA80D635-6F53-4857-9F50-4111495DC12C}"/>
                </a:ext>
              </a:extLst>
            </p:cNvPr>
            <p:cNvSpPr/>
            <p:nvPr/>
          </p:nvSpPr>
          <p:spPr>
            <a:xfrm rot="8716295">
              <a:off x="119403" y="90662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0" name="Forme libre : forme 169">
              <a:extLst>
                <a:ext uri="{FF2B5EF4-FFF2-40B4-BE49-F238E27FC236}">
                  <a16:creationId xmlns:a16="http://schemas.microsoft.com/office/drawing/2014/main" id="{40670C43-A49A-4C3B-A39B-628E23BE1E4B}"/>
                </a:ext>
              </a:extLst>
            </p:cNvPr>
            <p:cNvSpPr/>
            <p:nvPr/>
          </p:nvSpPr>
          <p:spPr>
            <a:xfrm rot="8716295">
              <a:off x="40994" y="74983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1" name="Forme libre : forme 170">
              <a:extLst>
                <a:ext uri="{FF2B5EF4-FFF2-40B4-BE49-F238E27FC236}">
                  <a16:creationId xmlns:a16="http://schemas.microsoft.com/office/drawing/2014/main" id="{A1E0B69E-7457-4A6E-B80C-0CDACC682BEC}"/>
                </a:ext>
              </a:extLst>
            </p:cNvPr>
            <p:cNvSpPr/>
            <p:nvPr/>
          </p:nvSpPr>
          <p:spPr>
            <a:xfrm rot="8716295">
              <a:off x="-44934" y="551941"/>
              <a:ext cx="152592" cy="165412"/>
            </a:xfrm>
            <a:custGeom>
              <a:avLst/>
              <a:gdLst>
                <a:gd name="connsiteX0" fmla="*/ 26453 w 152592"/>
                <a:gd name="connsiteY0" fmla="*/ 153143 h 165412"/>
                <a:gd name="connsiteX1" fmla="*/ 0 w 152592"/>
                <a:gd name="connsiteY1" fmla="*/ 90494 h 165412"/>
                <a:gd name="connsiteX2" fmla="*/ 0 w 152592"/>
                <a:gd name="connsiteY2" fmla="*/ 89101 h 165412"/>
                <a:gd name="connsiteX3" fmla="*/ 26453 w 152592"/>
                <a:gd name="connsiteY3" fmla="*/ 26453 h 165412"/>
                <a:gd name="connsiteX4" fmla="*/ 89101 w 152592"/>
                <a:gd name="connsiteY4" fmla="*/ 0 h 165412"/>
                <a:gd name="connsiteX5" fmla="*/ 151752 w 152592"/>
                <a:gd name="connsiteY5" fmla="*/ 26453 h 165412"/>
                <a:gd name="connsiteX6" fmla="*/ 152592 w 152592"/>
                <a:gd name="connsiteY6" fmla="*/ 27688 h 165412"/>
                <a:gd name="connsiteX7" fmla="*/ 57126 w 152592"/>
                <a:gd name="connsiteY7" fmla="*/ 165412 h 165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592" h="165412">
                  <a:moveTo>
                    <a:pt x="26453" y="153143"/>
                  </a:moveTo>
                  <a:cubicBezTo>
                    <a:pt x="9746" y="136436"/>
                    <a:pt x="0" y="114161"/>
                    <a:pt x="0" y="90494"/>
                  </a:cubicBezTo>
                  <a:lnTo>
                    <a:pt x="0" y="89101"/>
                  </a:lnTo>
                  <a:cubicBezTo>
                    <a:pt x="0" y="65434"/>
                    <a:pt x="9746" y="43159"/>
                    <a:pt x="26453" y="26453"/>
                  </a:cubicBezTo>
                  <a:cubicBezTo>
                    <a:pt x="43159" y="9746"/>
                    <a:pt x="65435" y="0"/>
                    <a:pt x="89101" y="0"/>
                  </a:cubicBezTo>
                  <a:cubicBezTo>
                    <a:pt x="112770" y="0"/>
                    <a:pt x="135045" y="9746"/>
                    <a:pt x="151752" y="26453"/>
                  </a:cubicBezTo>
                  <a:lnTo>
                    <a:pt x="152592" y="27688"/>
                  </a:lnTo>
                  <a:lnTo>
                    <a:pt x="57126" y="1654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2" name="Forme libre : forme 171">
              <a:extLst>
                <a:ext uri="{FF2B5EF4-FFF2-40B4-BE49-F238E27FC236}">
                  <a16:creationId xmlns:a16="http://schemas.microsoft.com/office/drawing/2014/main" id="{8305DDDC-A62B-4F5B-99D8-968A303BB880}"/>
                </a:ext>
              </a:extLst>
            </p:cNvPr>
            <p:cNvSpPr/>
            <p:nvPr/>
          </p:nvSpPr>
          <p:spPr>
            <a:xfrm rot="8716295">
              <a:off x="-69806" y="4587027"/>
              <a:ext cx="183810" cy="187594"/>
            </a:xfrm>
            <a:custGeom>
              <a:avLst/>
              <a:gdLst>
                <a:gd name="connsiteX0" fmla="*/ 10574 w 183810"/>
                <a:gd name="connsiteY0" fmla="*/ 187594 h 187594"/>
                <a:gd name="connsiteX1" fmla="*/ 0 w 183810"/>
                <a:gd name="connsiteY1" fmla="*/ 172952 h 187594"/>
                <a:gd name="connsiteX2" fmla="*/ 183810 w 183810"/>
                <a:gd name="connsiteY2" fmla="*/ 0 h 187594"/>
                <a:gd name="connsiteX3" fmla="*/ 72284 w 183810"/>
                <a:gd name="connsiteY3" fmla="*/ 160894 h 187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810" h="187594">
                  <a:moveTo>
                    <a:pt x="10574" y="187594"/>
                  </a:moveTo>
                  <a:lnTo>
                    <a:pt x="0" y="172952"/>
                  </a:lnTo>
                  <a:lnTo>
                    <a:pt x="183810" y="0"/>
                  </a:lnTo>
                  <a:lnTo>
                    <a:pt x="72284" y="1608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3" name="Forme libre : forme 172">
              <a:extLst>
                <a:ext uri="{FF2B5EF4-FFF2-40B4-BE49-F238E27FC236}">
                  <a16:creationId xmlns:a16="http://schemas.microsoft.com/office/drawing/2014/main" id="{1A0E6ECB-8294-4BA3-8422-8334524ECB58}"/>
                </a:ext>
              </a:extLst>
            </p:cNvPr>
            <p:cNvSpPr/>
            <p:nvPr/>
          </p:nvSpPr>
          <p:spPr>
            <a:xfrm rot="8716295">
              <a:off x="4450621" y="307495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4" name="Forme libre : forme 173">
              <a:extLst>
                <a:ext uri="{FF2B5EF4-FFF2-40B4-BE49-F238E27FC236}">
                  <a16:creationId xmlns:a16="http://schemas.microsoft.com/office/drawing/2014/main" id="{01833036-FD07-46D7-82C2-88C1FC05C85F}"/>
                </a:ext>
              </a:extLst>
            </p:cNvPr>
            <p:cNvSpPr/>
            <p:nvPr/>
          </p:nvSpPr>
          <p:spPr>
            <a:xfrm rot="8716295">
              <a:off x="4585920" y="3119209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5" name="Forme libre : forme 174">
              <a:extLst>
                <a:ext uri="{FF2B5EF4-FFF2-40B4-BE49-F238E27FC236}">
                  <a16:creationId xmlns:a16="http://schemas.microsoft.com/office/drawing/2014/main" id="{B278615F-BCB7-43C6-82A0-33FD907351F5}"/>
                </a:ext>
              </a:extLst>
            </p:cNvPr>
            <p:cNvSpPr/>
            <p:nvPr/>
          </p:nvSpPr>
          <p:spPr>
            <a:xfrm rot="8716295">
              <a:off x="4518038" y="2988621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6" name="Forme libre : forme 175">
              <a:extLst>
                <a:ext uri="{FF2B5EF4-FFF2-40B4-BE49-F238E27FC236}">
                  <a16:creationId xmlns:a16="http://schemas.microsoft.com/office/drawing/2014/main" id="{A4CB9629-4E70-40F0-ADB7-98AF33E8FA82}"/>
                </a:ext>
              </a:extLst>
            </p:cNvPr>
            <p:cNvSpPr/>
            <p:nvPr/>
          </p:nvSpPr>
          <p:spPr>
            <a:xfrm rot="8716295">
              <a:off x="4280750" y="3208965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7" name="Forme libre : forme 176">
              <a:extLst>
                <a:ext uri="{FF2B5EF4-FFF2-40B4-BE49-F238E27FC236}">
                  <a16:creationId xmlns:a16="http://schemas.microsoft.com/office/drawing/2014/main" id="{DCB1DF66-902F-43AF-B912-90C47BAC4CD5}"/>
                </a:ext>
              </a:extLst>
            </p:cNvPr>
            <p:cNvSpPr/>
            <p:nvPr/>
          </p:nvSpPr>
          <p:spPr>
            <a:xfrm rot="8716295">
              <a:off x="4091704" y="289313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8" name="Forme libre : forme 177">
              <a:extLst>
                <a:ext uri="{FF2B5EF4-FFF2-40B4-BE49-F238E27FC236}">
                  <a16:creationId xmlns:a16="http://schemas.microsoft.com/office/drawing/2014/main" id="{206347F6-E053-48F4-AFC6-9C0856F4BFCC}"/>
                </a:ext>
              </a:extLst>
            </p:cNvPr>
            <p:cNvSpPr/>
            <p:nvPr/>
          </p:nvSpPr>
          <p:spPr>
            <a:xfrm rot="8716295">
              <a:off x="4073463" y="2683080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9" name="Forme libre : forme 178">
              <a:extLst>
                <a:ext uri="{FF2B5EF4-FFF2-40B4-BE49-F238E27FC236}">
                  <a16:creationId xmlns:a16="http://schemas.microsoft.com/office/drawing/2014/main" id="{8D2A26C7-C64C-4331-AB8E-BC64F42E6746}"/>
                </a:ext>
              </a:extLst>
            </p:cNvPr>
            <p:cNvSpPr/>
            <p:nvPr/>
          </p:nvSpPr>
          <p:spPr>
            <a:xfrm rot="8716295">
              <a:off x="4417239" y="327094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0" name="Forme libre : forme 179">
              <a:extLst>
                <a:ext uri="{FF2B5EF4-FFF2-40B4-BE49-F238E27FC236}">
                  <a16:creationId xmlns:a16="http://schemas.microsoft.com/office/drawing/2014/main" id="{71D50DC1-7D15-42D6-980A-E78799DC451B}"/>
                </a:ext>
              </a:extLst>
            </p:cNvPr>
            <p:cNvSpPr/>
            <p:nvPr/>
          </p:nvSpPr>
          <p:spPr>
            <a:xfrm rot="8716295">
              <a:off x="4888185" y="2696334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" name="Forme libre : forme 180">
              <a:extLst>
                <a:ext uri="{FF2B5EF4-FFF2-40B4-BE49-F238E27FC236}">
                  <a16:creationId xmlns:a16="http://schemas.microsoft.com/office/drawing/2014/main" id="{EB82C4E3-BE8E-4F27-B36D-E48F91D55981}"/>
                </a:ext>
              </a:extLst>
            </p:cNvPr>
            <p:cNvSpPr/>
            <p:nvPr/>
          </p:nvSpPr>
          <p:spPr>
            <a:xfrm rot="8716295">
              <a:off x="5023484" y="2740593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" name="Forme libre : forme 181">
              <a:extLst>
                <a:ext uri="{FF2B5EF4-FFF2-40B4-BE49-F238E27FC236}">
                  <a16:creationId xmlns:a16="http://schemas.microsoft.com/office/drawing/2014/main" id="{8CF0FAB3-0C6A-450B-9525-29BB7A59C040}"/>
                </a:ext>
              </a:extLst>
            </p:cNvPr>
            <p:cNvSpPr/>
            <p:nvPr/>
          </p:nvSpPr>
          <p:spPr>
            <a:xfrm rot="8716295">
              <a:off x="4718314" y="283034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" name="Forme libre : forme 182">
              <a:extLst>
                <a:ext uri="{FF2B5EF4-FFF2-40B4-BE49-F238E27FC236}">
                  <a16:creationId xmlns:a16="http://schemas.microsoft.com/office/drawing/2014/main" id="{10FB87B4-C488-45C6-AE08-E0AAB6025014}"/>
                </a:ext>
              </a:extLst>
            </p:cNvPr>
            <p:cNvSpPr/>
            <p:nvPr/>
          </p:nvSpPr>
          <p:spPr>
            <a:xfrm rot="8716295">
              <a:off x="4529270" y="251451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" name="Forme libre : forme 183">
              <a:extLst>
                <a:ext uri="{FF2B5EF4-FFF2-40B4-BE49-F238E27FC236}">
                  <a16:creationId xmlns:a16="http://schemas.microsoft.com/office/drawing/2014/main" id="{780E062E-8239-40E1-A336-E5540670A1BD}"/>
                </a:ext>
              </a:extLst>
            </p:cNvPr>
            <p:cNvSpPr/>
            <p:nvPr/>
          </p:nvSpPr>
          <p:spPr>
            <a:xfrm rot="8716295">
              <a:off x="4854803" y="2892332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" name="Forme libre : forme 184">
              <a:extLst>
                <a:ext uri="{FF2B5EF4-FFF2-40B4-BE49-F238E27FC236}">
                  <a16:creationId xmlns:a16="http://schemas.microsoft.com/office/drawing/2014/main" id="{DF4CDF9E-3E83-42B9-8060-460760813751}"/>
                </a:ext>
              </a:extLst>
            </p:cNvPr>
            <p:cNvSpPr/>
            <p:nvPr/>
          </p:nvSpPr>
          <p:spPr>
            <a:xfrm rot="8716295">
              <a:off x="4489356" y="2665906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" name="Forme libre : forme 185">
              <a:extLst>
                <a:ext uri="{FF2B5EF4-FFF2-40B4-BE49-F238E27FC236}">
                  <a16:creationId xmlns:a16="http://schemas.microsoft.com/office/drawing/2014/main" id="{0A35FA8D-2DA5-4890-87D4-1B3451916FA9}"/>
                </a:ext>
              </a:extLst>
            </p:cNvPr>
            <p:cNvSpPr/>
            <p:nvPr/>
          </p:nvSpPr>
          <p:spPr>
            <a:xfrm rot="7484129">
              <a:off x="5013620" y="318195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" name="Forme libre : forme 186">
              <a:extLst>
                <a:ext uri="{FF2B5EF4-FFF2-40B4-BE49-F238E27FC236}">
                  <a16:creationId xmlns:a16="http://schemas.microsoft.com/office/drawing/2014/main" id="{E6A0D96F-008F-4023-A0B6-38102FB3F884}"/>
                </a:ext>
              </a:extLst>
            </p:cNvPr>
            <p:cNvSpPr/>
            <p:nvPr/>
          </p:nvSpPr>
          <p:spPr>
            <a:xfrm rot="13089394">
              <a:off x="5172270" y="3131298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" name="Forme libre : forme 187">
              <a:extLst>
                <a:ext uri="{FF2B5EF4-FFF2-40B4-BE49-F238E27FC236}">
                  <a16:creationId xmlns:a16="http://schemas.microsoft.com/office/drawing/2014/main" id="{34516B6B-1C6B-4061-A441-0A96C5F85F2D}"/>
                </a:ext>
              </a:extLst>
            </p:cNvPr>
            <p:cNvSpPr/>
            <p:nvPr/>
          </p:nvSpPr>
          <p:spPr>
            <a:xfrm rot="8716295">
              <a:off x="5453161" y="2841180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" name="Forme libre : forme 188">
              <a:extLst>
                <a:ext uri="{FF2B5EF4-FFF2-40B4-BE49-F238E27FC236}">
                  <a16:creationId xmlns:a16="http://schemas.microsoft.com/office/drawing/2014/main" id="{25C5FA48-0926-4D19-8036-167D5A8A0B0F}"/>
                </a:ext>
              </a:extLst>
            </p:cNvPr>
            <p:cNvSpPr/>
            <p:nvPr/>
          </p:nvSpPr>
          <p:spPr>
            <a:xfrm rot="8716295">
              <a:off x="5374752" y="268438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" name="Forme libre : forme 189">
              <a:extLst>
                <a:ext uri="{FF2B5EF4-FFF2-40B4-BE49-F238E27FC236}">
                  <a16:creationId xmlns:a16="http://schemas.microsoft.com/office/drawing/2014/main" id="{DAF894AD-B4B7-410F-8EC1-02725EF382CF}"/>
                </a:ext>
              </a:extLst>
            </p:cNvPr>
            <p:cNvSpPr/>
            <p:nvPr/>
          </p:nvSpPr>
          <p:spPr>
            <a:xfrm rot="8716295">
              <a:off x="5006588" y="273012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" name="Forme libre : forme 190">
              <a:extLst>
                <a:ext uri="{FF2B5EF4-FFF2-40B4-BE49-F238E27FC236}">
                  <a16:creationId xmlns:a16="http://schemas.microsoft.com/office/drawing/2014/main" id="{050039E8-AFBF-4BD9-96DB-778F55B5F2C4}"/>
                </a:ext>
              </a:extLst>
            </p:cNvPr>
            <p:cNvSpPr/>
            <p:nvPr/>
          </p:nvSpPr>
          <p:spPr>
            <a:xfrm rot="8716295">
              <a:off x="5275170" y="2489109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" name="Forme libre : forme 191">
              <a:extLst>
                <a:ext uri="{FF2B5EF4-FFF2-40B4-BE49-F238E27FC236}">
                  <a16:creationId xmlns:a16="http://schemas.microsoft.com/office/drawing/2014/main" id="{BAF5AA66-DC18-43A5-AAAE-6EB312E4E790}"/>
                </a:ext>
              </a:extLst>
            </p:cNvPr>
            <p:cNvSpPr/>
            <p:nvPr/>
          </p:nvSpPr>
          <p:spPr>
            <a:xfrm rot="8716295">
              <a:off x="4788394" y="407343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" name="Forme libre : forme 192">
              <a:extLst>
                <a:ext uri="{FF2B5EF4-FFF2-40B4-BE49-F238E27FC236}">
                  <a16:creationId xmlns:a16="http://schemas.microsoft.com/office/drawing/2014/main" id="{780EC621-519F-489B-BFBA-B49F228A0641}"/>
                </a:ext>
              </a:extLst>
            </p:cNvPr>
            <p:cNvSpPr/>
            <p:nvPr/>
          </p:nvSpPr>
          <p:spPr>
            <a:xfrm rot="8716295">
              <a:off x="4923693" y="411769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" name="Forme libre : forme 193">
              <a:extLst>
                <a:ext uri="{FF2B5EF4-FFF2-40B4-BE49-F238E27FC236}">
                  <a16:creationId xmlns:a16="http://schemas.microsoft.com/office/drawing/2014/main" id="{56C02974-8A88-4B14-998C-3296551B1E9D}"/>
                </a:ext>
              </a:extLst>
            </p:cNvPr>
            <p:cNvSpPr/>
            <p:nvPr/>
          </p:nvSpPr>
          <p:spPr>
            <a:xfrm rot="8716295">
              <a:off x="4855811" y="3987104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" name="Forme libre : forme 194">
              <a:extLst>
                <a:ext uri="{FF2B5EF4-FFF2-40B4-BE49-F238E27FC236}">
                  <a16:creationId xmlns:a16="http://schemas.microsoft.com/office/drawing/2014/main" id="{1315A3F8-95CA-4F67-BF42-435167A25A7A}"/>
                </a:ext>
              </a:extLst>
            </p:cNvPr>
            <p:cNvSpPr/>
            <p:nvPr/>
          </p:nvSpPr>
          <p:spPr>
            <a:xfrm rot="8716295">
              <a:off x="4618523" y="420744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" name="Forme libre : forme 195">
              <a:extLst>
                <a:ext uri="{FF2B5EF4-FFF2-40B4-BE49-F238E27FC236}">
                  <a16:creationId xmlns:a16="http://schemas.microsoft.com/office/drawing/2014/main" id="{5FBA9E77-EEAF-4196-9EB3-AAB7591C02B4}"/>
                </a:ext>
              </a:extLst>
            </p:cNvPr>
            <p:cNvSpPr/>
            <p:nvPr/>
          </p:nvSpPr>
          <p:spPr>
            <a:xfrm rot="8716295">
              <a:off x="4429477" y="389161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" name="Forme libre : forme 196">
              <a:extLst>
                <a:ext uri="{FF2B5EF4-FFF2-40B4-BE49-F238E27FC236}">
                  <a16:creationId xmlns:a16="http://schemas.microsoft.com/office/drawing/2014/main" id="{9640743B-2A63-41D0-B596-466D8A1999D1}"/>
                </a:ext>
              </a:extLst>
            </p:cNvPr>
            <p:cNvSpPr/>
            <p:nvPr/>
          </p:nvSpPr>
          <p:spPr>
            <a:xfrm rot="8716295">
              <a:off x="4411236" y="3681563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" name="Forme libre : forme 197">
              <a:extLst>
                <a:ext uri="{FF2B5EF4-FFF2-40B4-BE49-F238E27FC236}">
                  <a16:creationId xmlns:a16="http://schemas.microsoft.com/office/drawing/2014/main" id="{58E0BAB6-4A71-4FD6-9833-700BF9E78B7C}"/>
                </a:ext>
              </a:extLst>
            </p:cNvPr>
            <p:cNvSpPr/>
            <p:nvPr/>
          </p:nvSpPr>
          <p:spPr>
            <a:xfrm rot="8716295">
              <a:off x="4755012" y="4269431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" name="Forme libre : forme 198">
              <a:extLst>
                <a:ext uri="{FF2B5EF4-FFF2-40B4-BE49-F238E27FC236}">
                  <a16:creationId xmlns:a16="http://schemas.microsoft.com/office/drawing/2014/main" id="{75BB7597-AEE7-44BA-A895-6BF134870ADB}"/>
                </a:ext>
              </a:extLst>
            </p:cNvPr>
            <p:cNvSpPr/>
            <p:nvPr/>
          </p:nvSpPr>
          <p:spPr>
            <a:xfrm rot="8716295">
              <a:off x="5225958" y="3694817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" name="Forme libre : forme 199">
              <a:extLst>
                <a:ext uri="{FF2B5EF4-FFF2-40B4-BE49-F238E27FC236}">
                  <a16:creationId xmlns:a16="http://schemas.microsoft.com/office/drawing/2014/main" id="{EEB3834C-1DBD-4E8A-80F2-2243D4B0C7C6}"/>
                </a:ext>
              </a:extLst>
            </p:cNvPr>
            <p:cNvSpPr/>
            <p:nvPr/>
          </p:nvSpPr>
          <p:spPr>
            <a:xfrm rot="8716295">
              <a:off x="5364349" y="3753375"/>
              <a:ext cx="325540" cy="385611"/>
            </a:xfrm>
            <a:custGeom>
              <a:avLst/>
              <a:gdLst>
                <a:gd name="connsiteX0" fmla="*/ 8983 w 325540"/>
                <a:gd name="connsiteY0" fmla="*/ 385611 h 385611"/>
                <a:gd name="connsiteX1" fmla="*/ 8983 w 325540"/>
                <a:gd name="connsiteY1" fmla="*/ 69053 h 385611"/>
                <a:gd name="connsiteX2" fmla="*/ 0 w 325540"/>
                <a:gd name="connsiteY2" fmla="*/ 69053 h 385611"/>
                <a:gd name="connsiteX3" fmla="*/ 55019 w 325540"/>
                <a:gd name="connsiteY3" fmla="*/ 2157 h 385611"/>
                <a:gd name="connsiteX4" fmla="*/ 89675 w 325540"/>
                <a:gd name="connsiteY4" fmla="*/ 2156 h 385611"/>
                <a:gd name="connsiteX5" fmla="*/ 89674 w 325540"/>
                <a:gd name="connsiteY5" fmla="*/ 113882 h 385611"/>
                <a:gd name="connsiteX6" fmla="*/ 91743 w 325540"/>
                <a:gd name="connsiteY6" fmla="*/ 113882 h 385611"/>
                <a:gd name="connsiteX7" fmla="*/ 164159 w 325540"/>
                <a:gd name="connsiteY7" fmla="*/ 9053 h 385611"/>
                <a:gd name="connsiteX8" fmla="*/ 211745 w 325540"/>
                <a:gd name="connsiteY8" fmla="*/ 87 h 385611"/>
                <a:gd name="connsiteX9" fmla="*/ 325540 w 325540"/>
                <a:gd name="connsiteY9" fmla="*/ 133882 h 385611"/>
                <a:gd name="connsiteX10" fmla="*/ 325540 w 325540"/>
                <a:gd name="connsiteY10" fmla="*/ 142848 h 385611"/>
                <a:gd name="connsiteX11" fmla="*/ 231746 w 325540"/>
                <a:gd name="connsiteY11" fmla="*/ 148366 h 385611"/>
                <a:gd name="connsiteX12" fmla="*/ 231746 w 325540"/>
                <a:gd name="connsiteY12" fmla="*/ 123538 h 385611"/>
                <a:gd name="connsiteX13" fmla="*/ 180710 w 325540"/>
                <a:gd name="connsiteY13" fmla="*/ 60778 h 385611"/>
                <a:gd name="connsiteX14" fmla="*/ 100020 w 325540"/>
                <a:gd name="connsiteY14" fmla="*/ 193194 h 385611"/>
                <a:gd name="connsiteX15" fmla="*/ 100020 w 325540"/>
                <a:gd name="connsiteY15" fmla="*/ 323541 h 385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5540" h="385611">
                  <a:moveTo>
                    <a:pt x="8983" y="385611"/>
                  </a:moveTo>
                  <a:lnTo>
                    <a:pt x="8983" y="69053"/>
                  </a:lnTo>
                  <a:lnTo>
                    <a:pt x="0" y="69053"/>
                  </a:lnTo>
                  <a:lnTo>
                    <a:pt x="55019" y="2157"/>
                  </a:lnTo>
                  <a:lnTo>
                    <a:pt x="89675" y="2156"/>
                  </a:lnTo>
                  <a:lnTo>
                    <a:pt x="89674" y="113882"/>
                  </a:lnTo>
                  <a:lnTo>
                    <a:pt x="91743" y="113882"/>
                  </a:lnTo>
                  <a:cubicBezTo>
                    <a:pt x="113813" y="48363"/>
                    <a:pt x="131055" y="22846"/>
                    <a:pt x="164159" y="9053"/>
                  </a:cubicBezTo>
                  <a:cubicBezTo>
                    <a:pt x="179331" y="2846"/>
                    <a:pt x="195193" y="-602"/>
                    <a:pt x="211745" y="87"/>
                  </a:cubicBezTo>
                  <a:cubicBezTo>
                    <a:pt x="282781" y="-1293"/>
                    <a:pt x="325540" y="48363"/>
                    <a:pt x="325540" y="133882"/>
                  </a:cubicBezTo>
                  <a:lnTo>
                    <a:pt x="325540" y="142848"/>
                  </a:lnTo>
                  <a:lnTo>
                    <a:pt x="231746" y="148366"/>
                  </a:lnTo>
                  <a:lnTo>
                    <a:pt x="231746" y="123538"/>
                  </a:lnTo>
                  <a:cubicBezTo>
                    <a:pt x="231746" y="86296"/>
                    <a:pt x="210367" y="60778"/>
                    <a:pt x="180710" y="60778"/>
                  </a:cubicBezTo>
                  <a:cubicBezTo>
                    <a:pt x="136572" y="60777"/>
                    <a:pt x="100020" y="119400"/>
                    <a:pt x="100020" y="193194"/>
                  </a:cubicBezTo>
                  <a:lnTo>
                    <a:pt x="100020" y="3235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" name="Forme libre : forme 200">
              <a:extLst>
                <a:ext uri="{FF2B5EF4-FFF2-40B4-BE49-F238E27FC236}">
                  <a16:creationId xmlns:a16="http://schemas.microsoft.com/office/drawing/2014/main" id="{372D1467-D2E3-4216-9E90-20982CF5734F}"/>
                </a:ext>
              </a:extLst>
            </p:cNvPr>
            <p:cNvSpPr/>
            <p:nvPr/>
          </p:nvSpPr>
          <p:spPr>
            <a:xfrm rot="8716295">
              <a:off x="5056087" y="382883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" name="Forme libre : forme 201">
              <a:extLst>
                <a:ext uri="{FF2B5EF4-FFF2-40B4-BE49-F238E27FC236}">
                  <a16:creationId xmlns:a16="http://schemas.microsoft.com/office/drawing/2014/main" id="{B604E5DA-CBD2-466D-A47E-4EAA9B5B7623}"/>
                </a:ext>
              </a:extLst>
            </p:cNvPr>
            <p:cNvSpPr/>
            <p:nvPr/>
          </p:nvSpPr>
          <p:spPr>
            <a:xfrm rot="8716295">
              <a:off x="4867043" y="351299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" name="Forme libre : forme 202">
              <a:extLst>
                <a:ext uri="{FF2B5EF4-FFF2-40B4-BE49-F238E27FC236}">
                  <a16:creationId xmlns:a16="http://schemas.microsoft.com/office/drawing/2014/main" id="{E20F76FB-79A8-44FD-A97E-07BAE8CB93F0}"/>
                </a:ext>
              </a:extLst>
            </p:cNvPr>
            <p:cNvSpPr/>
            <p:nvPr/>
          </p:nvSpPr>
          <p:spPr>
            <a:xfrm rot="8716295">
              <a:off x="5192576" y="3890815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" name="Forme libre : forme 203">
              <a:extLst>
                <a:ext uri="{FF2B5EF4-FFF2-40B4-BE49-F238E27FC236}">
                  <a16:creationId xmlns:a16="http://schemas.microsoft.com/office/drawing/2014/main" id="{07DA70CF-480A-435C-9C90-6F5E70E02F28}"/>
                </a:ext>
              </a:extLst>
            </p:cNvPr>
            <p:cNvSpPr/>
            <p:nvPr/>
          </p:nvSpPr>
          <p:spPr>
            <a:xfrm rot="8716295">
              <a:off x="4827129" y="3664389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" name="Forme libre : forme 204">
              <a:extLst>
                <a:ext uri="{FF2B5EF4-FFF2-40B4-BE49-F238E27FC236}">
                  <a16:creationId xmlns:a16="http://schemas.microsoft.com/office/drawing/2014/main" id="{EFCDF1BC-CE63-46A7-BBB7-A0FD6C01682D}"/>
                </a:ext>
              </a:extLst>
            </p:cNvPr>
            <p:cNvSpPr/>
            <p:nvPr/>
          </p:nvSpPr>
          <p:spPr>
            <a:xfrm rot="7484129">
              <a:off x="5351393" y="418043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" name="Forme libre : forme 205">
              <a:extLst>
                <a:ext uri="{FF2B5EF4-FFF2-40B4-BE49-F238E27FC236}">
                  <a16:creationId xmlns:a16="http://schemas.microsoft.com/office/drawing/2014/main" id="{DC92A656-7063-4EB8-9B18-5A621F03BDBB}"/>
                </a:ext>
              </a:extLst>
            </p:cNvPr>
            <p:cNvSpPr/>
            <p:nvPr/>
          </p:nvSpPr>
          <p:spPr>
            <a:xfrm rot="13089394">
              <a:off x="5497067" y="4157639"/>
              <a:ext cx="336155" cy="433969"/>
            </a:xfrm>
            <a:custGeom>
              <a:avLst/>
              <a:gdLst>
                <a:gd name="connsiteX0" fmla="*/ 23241 w 222098"/>
                <a:gd name="connsiteY0" fmla="*/ 47275 h 286724"/>
                <a:gd name="connsiteX1" fmla="*/ 0 w 222098"/>
                <a:gd name="connsiteY1" fmla="*/ 11882 h 286724"/>
                <a:gd name="connsiteX2" fmla="*/ 22902 w 222098"/>
                <a:gd name="connsiteY2" fmla="*/ 0 h 286724"/>
                <a:gd name="connsiteX3" fmla="*/ 222098 w 222098"/>
                <a:gd name="connsiteY3" fmla="*/ 258238 h 286724"/>
                <a:gd name="connsiteX4" fmla="*/ 180472 w 222098"/>
                <a:gd name="connsiteY4" fmla="*/ 286724 h 286724"/>
                <a:gd name="connsiteX5" fmla="*/ 167667 w 222098"/>
                <a:gd name="connsiteY5" fmla="*/ 267224 h 286724"/>
                <a:gd name="connsiteX6" fmla="*/ 220995 w 222098"/>
                <a:gd name="connsiteY6" fmla="*/ 245547 h 286724"/>
                <a:gd name="connsiteX7" fmla="*/ 222098 w 222098"/>
                <a:gd name="connsiteY7" fmla="*/ 252720 h 286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2098" h="286724">
                  <a:moveTo>
                    <a:pt x="23241" y="47275"/>
                  </a:moveTo>
                  <a:lnTo>
                    <a:pt x="0" y="11882"/>
                  </a:lnTo>
                  <a:lnTo>
                    <a:pt x="22902" y="0"/>
                  </a:lnTo>
                  <a:close/>
                  <a:moveTo>
                    <a:pt x="222098" y="258238"/>
                  </a:moveTo>
                  <a:lnTo>
                    <a:pt x="180472" y="286724"/>
                  </a:lnTo>
                  <a:lnTo>
                    <a:pt x="167667" y="267224"/>
                  </a:lnTo>
                  <a:lnTo>
                    <a:pt x="220995" y="245547"/>
                  </a:lnTo>
                  <a:cubicBezTo>
                    <a:pt x="221546" y="247754"/>
                    <a:pt x="222098" y="250513"/>
                    <a:pt x="222098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" name="Forme libre : forme 206">
              <a:extLst>
                <a:ext uri="{FF2B5EF4-FFF2-40B4-BE49-F238E27FC236}">
                  <a16:creationId xmlns:a16="http://schemas.microsoft.com/office/drawing/2014/main" id="{5B6131FF-A409-4EA9-81CC-0C3D2782942F}"/>
                </a:ext>
              </a:extLst>
            </p:cNvPr>
            <p:cNvSpPr/>
            <p:nvPr/>
          </p:nvSpPr>
          <p:spPr>
            <a:xfrm rot="8716295">
              <a:off x="5689139" y="3701707"/>
              <a:ext cx="105382" cy="119090"/>
            </a:xfrm>
            <a:custGeom>
              <a:avLst/>
              <a:gdLst>
                <a:gd name="connsiteX0" fmla="*/ 0 w 69626"/>
                <a:gd name="connsiteY0" fmla="*/ 74288 h 78683"/>
                <a:gd name="connsiteX1" fmla="*/ 61446 w 69626"/>
                <a:gd name="connsiteY1" fmla="*/ 0 h 78683"/>
                <a:gd name="connsiteX2" fmla="*/ 69626 w 69626"/>
                <a:gd name="connsiteY2" fmla="*/ 19468 h 78683"/>
                <a:gd name="connsiteX3" fmla="*/ 52380 w 69626"/>
                <a:gd name="connsiteY3" fmla="*/ 61206 h 78683"/>
                <a:gd name="connsiteX4" fmla="*/ 10986 w 69626"/>
                <a:gd name="connsiteY4" fmla="*/ 78683 h 78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626" h="78683">
                  <a:moveTo>
                    <a:pt x="0" y="74288"/>
                  </a:moveTo>
                  <a:lnTo>
                    <a:pt x="61446" y="0"/>
                  </a:lnTo>
                  <a:lnTo>
                    <a:pt x="69626" y="19468"/>
                  </a:lnTo>
                  <a:cubicBezTo>
                    <a:pt x="69626" y="34531"/>
                    <a:pt x="63877" y="49708"/>
                    <a:pt x="52380" y="61206"/>
                  </a:cubicBezTo>
                  <a:cubicBezTo>
                    <a:pt x="41341" y="72244"/>
                    <a:pt x="26624" y="78683"/>
                    <a:pt x="10986" y="786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" name="Forme libre : forme 207">
              <a:extLst>
                <a:ext uri="{FF2B5EF4-FFF2-40B4-BE49-F238E27FC236}">
                  <a16:creationId xmlns:a16="http://schemas.microsoft.com/office/drawing/2014/main" id="{F418276D-8E57-4C97-A0E3-69608568D520}"/>
                </a:ext>
              </a:extLst>
            </p:cNvPr>
            <p:cNvSpPr/>
            <p:nvPr/>
          </p:nvSpPr>
          <p:spPr>
            <a:xfrm rot="8716295">
              <a:off x="5344361" y="372861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" name="Forme libre : forme 208">
              <a:extLst>
                <a:ext uri="{FF2B5EF4-FFF2-40B4-BE49-F238E27FC236}">
                  <a16:creationId xmlns:a16="http://schemas.microsoft.com/office/drawing/2014/main" id="{18CB7434-4843-4498-9ECE-196E31359917}"/>
                </a:ext>
              </a:extLst>
            </p:cNvPr>
            <p:cNvSpPr/>
            <p:nvPr/>
          </p:nvSpPr>
          <p:spPr>
            <a:xfrm rot="8716295">
              <a:off x="5599943" y="3480521"/>
              <a:ext cx="177855" cy="178203"/>
            </a:xfrm>
            <a:custGeom>
              <a:avLst/>
              <a:gdLst>
                <a:gd name="connsiteX0" fmla="*/ 17477 w 117509"/>
                <a:gd name="connsiteY0" fmla="*/ 101182 h 117739"/>
                <a:gd name="connsiteX1" fmla="*/ 0 w 117509"/>
                <a:gd name="connsiteY1" fmla="*/ 59790 h 117739"/>
                <a:gd name="connsiteX2" fmla="*/ 0 w 117509"/>
                <a:gd name="connsiteY2" fmla="*/ 58869 h 117739"/>
                <a:gd name="connsiteX3" fmla="*/ 2091 w 117509"/>
                <a:gd name="connsiteY3" fmla="*/ 48678 h 117739"/>
                <a:gd name="connsiteX4" fmla="*/ 38978 w 117509"/>
                <a:gd name="connsiteY4" fmla="*/ 4080 h 117739"/>
                <a:gd name="connsiteX5" fmla="*/ 58869 w 117509"/>
                <a:gd name="connsiteY5" fmla="*/ 0 h 117739"/>
                <a:gd name="connsiteX6" fmla="*/ 100263 w 117509"/>
                <a:gd name="connsiteY6" fmla="*/ 17477 h 117739"/>
                <a:gd name="connsiteX7" fmla="*/ 100263 w 117509"/>
                <a:gd name="connsiteY7" fmla="*/ 100262 h 117739"/>
                <a:gd name="connsiteX8" fmla="*/ 58869 w 117509"/>
                <a:gd name="connsiteY8" fmla="*/ 117739 h 117739"/>
                <a:gd name="connsiteX9" fmla="*/ 17477 w 117509"/>
                <a:gd name="connsiteY9" fmla="*/ 101182 h 117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09" h="117739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lnTo>
                    <a:pt x="2091" y="48678"/>
                  </a:lnTo>
                  <a:lnTo>
                    <a:pt x="38978" y="4080"/>
                  </a:lnTo>
                  <a:lnTo>
                    <a:pt x="58869" y="0"/>
                  </a:lnTo>
                  <a:cubicBezTo>
                    <a:pt x="74507" y="0"/>
                    <a:pt x="89224" y="6439"/>
                    <a:pt x="100263" y="17477"/>
                  </a:cubicBezTo>
                  <a:cubicBezTo>
                    <a:pt x="123258" y="39553"/>
                    <a:pt x="123258" y="77266"/>
                    <a:pt x="100263" y="100262"/>
                  </a:cubicBezTo>
                  <a:cubicBezTo>
                    <a:pt x="89224" y="111300"/>
                    <a:pt x="74507" y="117739"/>
                    <a:pt x="58869" y="117739"/>
                  </a:cubicBezTo>
                  <a:cubicBezTo>
                    <a:pt x="43233" y="117739"/>
                    <a:pt x="28515" y="112220"/>
                    <a:pt x="17477" y="10118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" name="Forme libre : forme 209">
              <a:extLst>
                <a:ext uri="{FF2B5EF4-FFF2-40B4-BE49-F238E27FC236}">
                  <a16:creationId xmlns:a16="http://schemas.microsoft.com/office/drawing/2014/main" id="{80007C47-775F-43EE-9BFF-1043A7C3649A}"/>
                </a:ext>
              </a:extLst>
            </p:cNvPr>
            <p:cNvSpPr/>
            <p:nvPr/>
          </p:nvSpPr>
          <p:spPr>
            <a:xfrm rot="8716295">
              <a:off x="5090746" y="5117279"/>
              <a:ext cx="37096" cy="40385"/>
            </a:xfrm>
            <a:custGeom>
              <a:avLst/>
              <a:gdLst>
                <a:gd name="connsiteX0" fmla="*/ 0 w 37096"/>
                <a:gd name="connsiteY0" fmla="*/ 40385 h 40385"/>
                <a:gd name="connsiteX1" fmla="*/ 0 w 37096"/>
                <a:gd name="connsiteY1" fmla="*/ 0 h 40385"/>
                <a:gd name="connsiteX2" fmla="*/ 37096 w 37096"/>
                <a:gd name="connsiteY2" fmla="*/ 25713 h 40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096" h="40385">
                  <a:moveTo>
                    <a:pt x="0" y="40385"/>
                  </a:moveTo>
                  <a:lnTo>
                    <a:pt x="0" y="0"/>
                  </a:lnTo>
                  <a:lnTo>
                    <a:pt x="37096" y="2571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" name="Forme libre : forme 210">
              <a:extLst>
                <a:ext uri="{FF2B5EF4-FFF2-40B4-BE49-F238E27FC236}">
                  <a16:creationId xmlns:a16="http://schemas.microsoft.com/office/drawing/2014/main" id="{5820CA8C-9225-440D-B86D-A9CE799D1C39}"/>
                </a:ext>
              </a:extLst>
            </p:cNvPr>
            <p:cNvSpPr/>
            <p:nvPr/>
          </p:nvSpPr>
          <p:spPr>
            <a:xfrm rot="8716295">
              <a:off x="5405706" y="5085046"/>
              <a:ext cx="60406" cy="83058"/>
            </a:xfrm>
            <a:custGeom>
              <a:avLst/>
              <a:gdLst>
                <a:gd name="connsiteX0" fmla="*/ 0 w 60406"/>
                <a:gd name="connsiteY0" fmla="*/ 83058 h 83058"/>
                <a:gd name="connsiteX1" fmla="*/ 0 w 60406"/>
                <a:gd name="connsiteY1" fmla="*/ 0 h 83058"/>
                <a:gd name="connsiteX2" fmla="*/ 60406 w 60406"/>
                <a:gd name="connsiteY2" fmla="*/ 41872 h 83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406" h="83058">
                  <a:moveTo>
                    <a:pt x="0" y="83058"/>
                  </a:moveTo>
                  <a:lnTo>
                    <a:pt x="0" y="0"/>
                  </a:lnTo>
                  <a:lnTo>
                    <a:pt x="60406" y="4187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" name="Forme libre : forme 211">
              <a:extLst>
                <a:ext uri="{FF2B5EF4-FFF2-40B4-BE49-F238E27FC236}">
                  <a16:creationId xmlns:a16="http://schemas.microsoft.com/office/drawing/2014/main" id="{14119B8B-36AC-4498-96E0-570BA8C54C01}"/>
                </a:ext>
              </a:extLst>
            </p:cNvPr>
            <p:cNvSpPr/>
            <p:nvPr/>
          </p:nvSpPr>
          <p:spPr>
            <a:xfrm rot="8716295">
              <a:off x="5207014" y="4975218"/>
              <a:ext cx="245211" cy="161994"/>
            </a:xfrm>
            <a:custGeom>
              <a:avLst/>
              <a:gdLst>
                <a:gd name="connsiteX0" fmla="*/ 8965 w 245211"/>
                <a:gd name="connsiteY0" fmla="*/ 161994 h 161994"/>
                <a:gd name="connsiteX1" fmla="*/ 0 w 245211"/>
                <a:gd name="connsiteY1" fmla="*/ 149580 h 161994"/>
                <a:gd name="connsiteX2" fmla="*/ 158971 w 245211"/>
                <a:gd name="connsiteY2" fmla="*/ 0 h 161994"/>
                <a:gd name="connsiteX3" fmla="*/ 245211 w 245211"/>
                <a:gd name="connsiteY3" fmla="*/ 59779 h 161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211" h="161994">
                  <a:moveTo>
                    <a:pt x="8965" y="161994"/>
                  </a:moveTo>
                  <a:lnTo>
                    <a:pt x="0" y="149580"/>
                  </a:lnTo>
                  <a:lnTo>
                    <a:pt x="158971" y="0"/>
                  </a:lnTo>
                  <a:lnTo>
                    <a:pt x="245211" y="5977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" name="Forme libre : forme 212">
              <a:extLst>
                <a:ext uri="{FF2B5EF4-FFF2-40B4-BE49-F238E27FC236}">
                  <a16:creationId xmlns:a16="http://schemas.microsoft.com/office/drawing/2014/main" id="{4FCFFEE2-AEF7-46AC-BCAB-E4AB6356A9CD}"/>
                </a:ext>
              </a:extLst>
            </p:cNvPr>
            <p:cNvSpPr/>
            <p:nvPr/>
          </p:nvSpPr>
          <p:spPr>
            <a:xfrm rot="8716295">
              <a:off x="4807372" y="4871188"/>
              <a:ext cx="249519" cy="296463"/>
            </a:xfrm>
            <a:custGeom>
              <a:avLst/>
              <a:gdLst>
                <a:gd name="connsiteX0" fmla="*/ 137293 w 249519"/>
                <a:gd name="connsiteY0" fmla="*/ 296463 h 296463"/>
                <a:gd name="connsiteX1" fmla="*/ 72418 w 249519"/>
                <a:gd name="connsiteY1" fmla="*/ 175766 h 296463"/>
                <a:gd name="connsiteX2" fmla="*/ 105610 w 249519"/>
                <a:gd name="connsiteY2" fmla="*/ 83734 h 296463"/>
                <a:gd name="connsiteX3" fmla="*/ 0 w 249519"/>
                <a:gd name="connsiteY3" fmla="*/ 83734 h 296463"/>
                <a:gd name="connsiteX4" fmla="*/ 0 w 249519"/>
                <a:gd name="connsiteY4" fmla="*/ 0 h 296463"/>
                <a:gd name="connsiteX5" fmla="*/ 128719 w 249519"/>
                <a:gd name="connsiteY5" fmla="*/ 0 h 296463"/>
                <a:gd name="connsiteX6" fmla="*/ 249519 w 249519"/>
                <a:gd name="connsiteY6" fmla="*/ 83734 h 296463"/>
                <a:gd name="connsiteX7" fmla="*/ 210465 w 249519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9519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128719" y="0"/>
                  </a:lnTo>
                  <a:lnTo>
                    <a:pt x="249519" y="83734"/>
                  </a:lnTo>
                  <a:lnTo>
                    <a:pt x="210465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" name="Forme libre : forme 213">
              <a:extLst>
                <a:ext uri="{FF2B5EF4-FFF2-40B4-BE49-F238E27FC236}">
                  <a16:creationId xmlns:a16="http://schemas.microsoft.com/office/drawing/2014/main" id="{1B41E071-0693-46BD-92E2-292036356EEC}"/>
                </a:ext>
              </a:extLst>
            </p:cNvPr>
            <p:cNvSpPr/>
            <p:nvPr/>
          </p:nvSpPr>
          <p:spPr>
            <a:xfrm rot="8716295">
              <a:off x="4742203" y="467807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" name="Forme libre : forme 214">
              <a:extLst>
                <a:ext uri="{FF2B5EF4-FFF2-40B4-BE49-F238E27FC236}">
                  <a16:creationId xmlns:a16="http://schemas.microsoft.com/office/drawing/2014/main" id="{3D04A71D-E109-4B4F-89C3-FA4AB19F4E1D}"/>
                </a:ext>
              </a:extLst>
            </p:cNvPr>
            <p:cNvSpPr/>
            <p:nvPr/>
          </p:nvSpPr>
          <p:spPr>
            <a:xfrm rot="8716295">
              <a:off x="5548192" y="4732447"/>
              <a:ext cx="92415" cy="287093"/>
            </a:xfrm>
            <a:custGeom>
              <a:avLst/>
              <a:gdLst>
                <a:gd name="connsiteX0" fmla="*/ 0 w 61059"/>
                <a:gd name="connsiteY0" fmla="*/ 189683 h 189683"/>
                <a:gd name="connsiteX1" fmla="*/ 1 w 61059"/>
                <a:gd name="connsiteY1" fmla="*/ 70355 h 189683"/>
                <a:gd name="connsiteX2" fmla="*/ 58192 w 61059"/>
                <a:gd name="connsiteY2" fmla="*/ 0 h 189683"/>
                <a:gd name="connsiteX3" fmla="*/ 61059 w 61059"/>
                <a:gd name="connsiteY3" fmla="*/ 7418 h 189683"/>
                <a:gd name="connsiteX4" fmla="*/ 61059 w 61059"/>
                <a:gd name="connsiteY4" fmla="*/ 165533 h 189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59" h="189683">
                  <a:moveTo>
                    <a:pt x="0" y="189683"/>
                  </a:moveTo>
                  <a:lnTo>
                    <a:pt x="1" y="70355"/>
                  </a:lnTo>
                  <a:lnTo>
                    <a:pt x="58192" y="0"/>
                  </a:lnTo>
                  <a:lnTo>
                    <a:pt x="61059" y="7418"/>
                  </a:lnTo>
                  <a:lnTo>
                    <a:pt x="61059" y="1655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" name="Forme libre : forme 215">
              <a:extLst>
                <a:ext uri="{FF2B5EF4-FFF2-40B4-BE49-F238E27FC236}">
                  <a16:creationId xmlns:a16="http://schemas.microsoft.com/office/drawing/2014/main" id="{AAC7FAB2-F735-42A2-BE55-7C8B153DECE5}"/>
                </a:ext>
              </a:extLst>
            </p:cNvPr>
            <p:cNvSpPr/>
            <p:nvPr/>
          </p:nvSpPr>
          <p:spPr>
            <a:xfrm rot="8716295">
              <a:off x="5387054" y="482534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" name="Forme libre : forme 216">
              <a:extLst>
                <a:ext uri="{FF2B5EF4-FFF2-40B4-BE49-F238E27FC236}">
                  <a16:creationId xmlns:a16="http://schemas.microsoft.com/office/drawing/2014/main" id="{4B03EBBE-E237-4565-BE6F-56E70942310E}"/>
                </a:ext>
              </a:extLst>
            </p:cNvPr>
            <p:cNvSpPr/>
            <p:nvPr/>
          </p:nvSpPr>
          <p:spPr>
            <a:xfrm rot="8716295">
              <a:off x="5198009" y="450950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" name="Forme libre : forme 217">
              <a:extLst>
                <a:ext uri="{FF2B5EF4-FFF2-40B4-BE49-F238E27FC236}">
                  <a16:creationId xmlns:a16="http://schemas.microsoft.com/office/drawing/2014/main" id="{230714BC-B4D4-483B-9F0B-D1990593F59D}"/>
                </a:ext>
              </a:extLst>
            </p:cNvPr>
            <p:cNvSpPr/>
            <p:nvPr/>
          </p:nvSpPr>
          <p:spPr>
            <a:xfrm rot="8716295">
              <a:off x="5503997" y="4913234"/>
              <a:ext cx="91035" cy="258752"/>
            </a:xfrm>
            <a:custGeom>
              <a:avLst/>
              <a:gdLst>
                <a:gd name="connsiteX0" fmla="*/ 91035 w 91035"/>
                <a:gd name="connsiteY0" fmla="*/ 258752 h 258752"/>
                <a:gd name="connsiteX1" fmla="*/ 0 w 91035"/>
                <a:gd name="connsiteY1" fmla="*/ 171163 h 258752"/>
                <a:gd name="connsiteX2" fmla="*/ 0 w 91035"/>
                <a:gd name="connsiteY2" fmla="*/ 43487 h 258752"/>
                <a:gd name="connsiteX3" fmla="*/ 35968 w 91035"/>
                <a:gd name="connsiteY3" fmla="*/ 0 h 258752"/>
                <a:gd name="connsiteX4" fmla="*/ 91035 w 91035"/>
                <a:gd name="connsiteY4" fmla="*/ 38170 h 258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035" h="258752">
                  <a:moveTo>
                    <a:pt x="91035" y="258752"/>
                  </a:moveTo>
                  <a:lnTo>
                    <a:pt x="0" y="171163"/>
                  </a:lnTo>
                  <a:lnTo>
                    <a:pt x="0" y="43487"/>
                  </a:lnTo>
                  <a:lnTo>
                    <a:pt x="35968" y="0"/>
                  </a:lnTo>
                  <a:lnTo>
                    <a:pt x="91035" y="3817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" name="Forme libre : forme 218">
              <a:extLst>
                <a:ext uri="{FF2B5EF4-FFF2-40B4-BE49-F238E27FC236}">
                  <a16:creationId xmlns:a16="http://schemas.microsoft.com/office/drawing/2014/main" id="{14A36AFC-3634-423C-BC16-BDB2283C28B3}"/>
                </a:ext>
              </a:extLst>
            </p:cNvPr>
            <p:cNvSpPr/>
            <p:nvPr/>
          </p:nvSpPr>
          <p:spPr>
            <a:xfrm rot="8716295">
              <a:off x="5158096" y="466090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" name="Forme libre : forme 219">
              <a:extLst>
                <a:ext uri="{FF2B5EF4-FFF2-40B4-BE49-F238E27FC236}">
                  <a16:creationId xmlns:a16="http://schemas.microsoft.com/office/drawing/2014/main" id="{BC237E43-FDD5-4FDC-8C88-3D3E992DDCCE}"/>
                </a:ext>
              </a:extLst>
            </p:cNvPr>
            <p:cNvSpPr/>
            <p:nvPr/>
          </p:nvSpPr>
          <p:spPr>
            <a:xfrm rot="8716295">
              <a:off x="4115344" y="2074537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" name="Forme libre : forme 220">
              <a:extLst>
                <a:ext uri="{FF2B5EF4-FFF2-40B4-BE49-F238E27FC236}">
                  <a16:creationId xmlns:a16="http://schemas.microsoft.com/office/drawing/2014/main" id="{74F2CD5F-27E1-4B05-BDE3-F9CAEE63E34B}"/>
                </a:ext>
              </a:extLst>
            </p:cNvPr>
            <p:cNvSpPr/>
            <p:nvPr/>
          </p:nvSpPr>
          <p:spPr>
            <a:xfrm rot="8716295">
              <a:off x="4250643" y="2118796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" name="Forme libre : forme 221">
              <a:extLst>
                <a:ext uri="{FF2B5EF4-FFF2-40B4-BE49-F238E27FC236}">
                  <a16:creationId xmlns:a16="http://schemas.microsoft.com/office/drawing/2014/main" id="{3D2EAE98-2CEC-4E31-BF79-1D13D51EDB3B}"/>
                </a:ext>
              </a:extLst>
            </p:cNvPr>
            <p:cNvSpPr/>
            <p:nvPr/>
          </p:nvSpPr>
          <p:spPr>
            <a:xfrm rot="8716295">
              <a:off x="4182761" y="1988208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" name="Forme libre : forme 222">
              <a:extLst>
                <a:ext uri="{FF2B5EF4-FFF2-40B4-BE49-F238E27FC236}">
                  <a16:creationId xmlns:a16="http://schemas.microsoft.com/office/drawing/2014/main" id="{F7C21745-E98A-49A1-BB89-EF4C58D2B535}"/>
                </a:ext>
              </a:extLst>
            </p:cNvPr>
            <p:cNvSpPr/>
            <p:nvPr/>
          </p:nvSpPr>
          <p:spPr>
            <a:xfrm rot="8716295">
              <a:off x="3945473" y="220855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" name="Forme libre : forme 223">
              <a:extLst>
                <a:ext uri="{FF2B5EF4-FFF2-40B4-BE49-F238E27FC236}">
                  <a16:creationId xmlns:a16="http://schemas.microsoft.com/office/drawing/2014/main" id="{3C933A0E-48CB-40A4-AD69-869889C9C116}"/>
                </a:ext>
              </a:extLst>
            </p:cNvPr>
            <p:cNvSpPr/>
            <p:nvPr/>
          </p:nvSpPr>
          <p:spPr>
            <a:xfrm rot="8716295">
              <a:off x="3756427" y="189271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" name="Forme libre : forme 224">
              <a:extLst>
                <a:ext uri="{FF2B5EF4-FFF2-40B4-BE49-F238E27FC236}">
                  <a16:creationId xmlns:a16="http://schemas.microsoft.com/office/drawing/2014/main" id="{A02DB2FC-04B5-4966-BEE6-FB30AD9722F6}"/>
                </a:ext>
              </a:extLst>
            </p:cNvPr>
            <p:cNvSpPr/>
            <p:nvPr/>
          </p:nvSpPr>
          <p:spPr>
            <a:xfrm rot="8716295">
              <a:off x="3738186" y="1682667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" name="Forme libre : forme 225">
              <a:extLst>
                <a:ext uri="{FF2B5EF4-FFF2-40B4-BE49-F238E27FC236}">
                  <a16:creationId xmlns:a16="http://schemas.microsoft.com/office/drawing/2014/main" id="{F8510F0D-1176-4749-A0F4-7938F16AABD4}"/>
                </a:ext>
              </a:extLst>
            </p:cNvPr>
            <p:cNvSpPr/>
            <p:nvPr/>
          </p:nvSpPr>
          <p:spPr>
            <a:xfrm rot="8716295">
              <a:off x="4081962" y="2270535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" name="Forme libre : forme 226">
              <a:extLst>
                <a:ext uri="{FF2B5EF4-FFF2-40B4-BE49-F238E27FC236}">
                  <a16:creationId xmlns:a16="http://schemas.microsoft.com/office/drawing/2014/main" id="{7359A2E2-1A1C-4AB5-9888-9A67C8F381ED}"/>
                </a:ext>
              </a:extLst>
            </p:cNvPr>
            <p:cNvSpPr/>
            <p:nvPr/>
          </p:nvSpPr>
          <p:spPr>
            <a:xfrm rot="8716295">
              <a:off x="4552908" y="169592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" name="Forme libre : forme 227">
              <a:extLst>
                <a:ext uri="{FF2B5EF4-FFF2-40B4-BE49-F238E27FC236}">
                  <a16:creationId xmlns:a16="http://schemas.microsoft.com/office/drawing/2014/main" id="{F162CF17-3696-46D1-BBA9-E595114BD290}"/>
                </a:ext>
              </a:extLst>
            </p:cNvPr>
            <p:cNvSpPr/>
            <p:nvPr/>
          </p:nvSpPr>
          <p:spPr>
            <a:xfrm rot="8716295">
              <a:off x="4688207" y="174018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" name="Forme libre : forme 228">
              <a:extLst>
                <a:ext uri="{FF2B5EF4-FFF2-40B4-BE49-F238E27FC236}">
                  <a16:creationId xmlns:a16="http://schemas.microsoft.com/office/drawing/2014/main" id="{CB7640C0-A77D-4C20-99F3-99AC8C5EA399}"/>
                </a:ext>
              </a:extLst>
            </p:cNvPr>
            <p:cNvSpPr/>
            <p:nvPr/>
          </p:nvSpPr>
          <p:spPr>
            <a:xfrm rot="8716295">
              <a:off x="4383037" y="182993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" name="Forme libre : forme 229">
              <a:extLst>
                <a:ext uri="{FF2B5EF4-FFF2-40B4-BE49-F238E27FC236}">
                  <a16:creationId xmlns:a16="http://schemas.microsoft.com/office/drawing/2014/main" id="{7221721D-60FE-4C4C-9396-20240CB24747}"/>
                </a:ext>
              </a:extLst>
            </p:cNvPr>
            <p:cNvSpPr/>
            <p:nvPr/>
          </p:nvSpPr>
          <p:spPr>
            <a:xfrm rot="8716295">
              <a:off x="4193993" y="151410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" name="Forme libre : forme 230">
              <a:extLst>
                <a:ext uri="{FF2B5EF4-FFF2-40B4-BE49-F238E27FC236}">
                  <a16:creationId xmlns:a16="http://schemas.microsoft.com/office/drawing/2014/main" id="{72815BA9-45F4-424C-8C61-85FB1E0CD670}"/>
                </a:ext>
              </a:extLst>
            </p:cNvPr>
            <p:cNvSpPr/>
            <p:nvPr/>
          </p:nvSpPr>
          <p:spPr>
            <a:xfrm rot="8716295">
              <a:off x="4519525" y="1891919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" name="Forme libre : forme 231">
              <a:extLst>
                <a:ext uri="{FF2B5EF4-FFF2-40B4-BE49-F238E27FC236}">
                  <a16:creationId xmlns:a16="http://schemas.microsoft.com/office/drawing/2014/main" id="{2386F46E-7D0B-4733-83CE-A3BA85A841D0}"/>
                </a:ext>
              </a:extLst>
            </p:cNvPr>
            <p:cNvSpPr/>
            <p:nvPr/>
          </p:nvSpPr>
          <p:spPr>
            <a:xfrm rot="8716295">
              <a:off x="4154079" y="1665493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" name="Forme libre : forme 232">
              <a:extLst>
                <a:ext uri="{FF2B5EF4-FFF2-40B4-BE49-F238E27FC236}">
                  <a16:creationId xmlns:a16="http://schemas.microsoft.com/office/drawing/2014/main" id="{7C49EAA5-EA80-4FD2-B8EE-8A5326A137F1}"/>
                </a:ext>
              </a:extLst>
            </p:cNvPr>
            <p:cNvSpPr/>
            <p:nvPr/>
          </p:nvSpPr>
          <p:spPr>
            <a:xfrm rot="7484129">
              <a:off x="4678343" y="218153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" name="Forme libre : forme 233">
              <a:extLst>
                <a:ext uri="{FF2B5EF4-FFF2-40B4-BE49-F238E27FC236}">
                  <a16:creationId xmlns:a16="http://schemas.microsoft.com/office/drawing/2014/main" id="{E5F42144-89A8-465A-AA8E-5830C7BF1E60}"/>
                </a:ext>
              </a:extLst>
            </p:cNvPr>
            <p:cNvSpPr/>
            <p:nvPr/>
          </p:nvSpPr>
          <p:spPr>
            <a:xfrm rot="13089394">
              <a:off x="4836993" y="2130885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" name="Forme libre : forme 234">
              <a:extLst>
                <a:ext uri="{FF2B5EF4-FFF2-40B4-BE49-F238E27FC236}">
                  <a16:creationId xmlns:a16="http://schemas.microsoft.com/office/drawing/2014/main" id="{4B643A7D-0F4D-44EF-8082-E475252D919E}"/>
                </a:ext>
              </a:extLst>
            </p:cNvPr>
            <p:cNvSpPr/>
            <p:nvPr/>
          </p:nvSpPr>
          <p:spPr>
            <a:xfrm rot="8716295">
              <a:off x="5117884" y="1840767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" name="Forme libre : forme 235">
              <a:extLst>
                <a:ext uri="{FF2B5EF4-FFF2-40B4-BE49-F238E27FC236}">
                  <a16:creationId xmlns:a16="http://schemas.microsoft.com/office/drawing/2014/main" id="{A286EB77-2A92-49EB-B662-F67A780E72C3}"/>
                </a:ext>
              </a:extLst>
            </p:cNvPr>
            <p:cNvSpPr/>
            <p:nvPr/>
          </p:nvSpPr>
          <p:spPr>
            <a:xfrm rot="8716295">
              <a:off x="5039475" y="1683975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" name="Forme libre : forme 236">
              <a:extLst>
                <a:ext uri="{FF2B5EF4-FFF2-40B4-BE49-F238E27FC236}">
                  <a16:creationId xmlns:a16="http://schemas.microsoft.com/office/drawing/2014/main" id="{D76415DF-3D0E-46A1-A992-CAEF6C90F935}"/>
                </a:ext>
              </a:extLst>
            </p:cNvPr>
            <p:cNvSpPr/>
            <p:nvPr/>
          </p:nvSpPr>
          <p:spPr>
            <a:xfrm rot="8716295">
              <a:off x="4671311" y="172971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" name="Forme libre : forme 237">
              <a:extLst>
                <a:ext uri="{FF2B5EF4-FFF2-40B4-BE49-F238E27FC236}">
                  <a16:creationId xmlns:a16="http://schemas.microsoft.com/office/drawing/2014/main" id="{22B5BB48-3533-4C75-B095-5C6392290E1E}"/>
                </a:ext>
              </a:extLst>
            </p:cNvPr>
            <p:cNvSpPr/>
            <p:nvPr/>
          </p:nvSpPr>
          <p:spPr>
            <a:xfrm rot="8716295">
              <a:off x="4939893" y="148869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" name="Forme libre : forme 238">
              <a:extLst>
                <a:ext uri="{FF2B5EF4-FFF2-40B4-BE49-F238E27FC236}">
                  <a16:creationId xmlns:a16="http://schemas.microsoft.com/office/drawing/2014/main" id="{D4F7953A-EB21-471D-9CE6-DFD037BB3D9B}"/>
                </a:ext>
              </a:extLst>
            </p:cNvPr>
            <p:cNvSpPr/>
            <p:nvPr/>
          </p:nvSpPr>
          <p:spPr>
            <a:xfrm rot="8716295">
              <a:off x="3777571" y="1076054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" name="Forme libre : forme 239">
              <a:extLst>
                <a:ext uri="{FF2B5EF4-FFF2-40B4-BE49-F238E27FC236}">
                  <a16:creationId xmlns:a16="http://schemas.microsoft.com/office/drawing/2014/main" id="{B31F3CAF-6E5C-4883-9D56-37A77E8E54A5}"/>
                </a:ext>
              </a:extLst>
            </p:cNvPr>
            <p:cNvSpPr/>
            <p:nvPr/>
          </p:nvSpPr>
          <p:spPr>
            <a:xfrm rot="8716295">
              <a:off x="3912870" y="1120313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" name="Forme libre : forme 240">
              <a:extLst>
                <a:ext uri="{FF2B5EF4-FFF2-40B4-BE49-F238E27FC236}">
                  <a16:creationId xmlns:a16="http://schemas.microsoft.com/office/drawing/2014/main" id="{C147FD5B-3693-4B4F-88B4-175EF4DCAB5D}"/>
                </a:ext>
              </a:extLst>
            </p:cNvPr>
            <p:cNvSpPr/>
            <p:nvPr/>
          </p:nvSpPr>
          <p:spPr>
            <a:xfrm rot="8716295">
              <a:off x="3844988" y="989725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" name="Forme libre : forme 241">
              <a:extLst>
                <a:ext uri="{FF2B5EF4-FFF2-40B4-BE49-F238E27FC236}">
                  <a16:creationId xmlns:a16="http://schemas.microsoft.com/office/drawing/2014/main" id="{ADDA2175-F82B-4C1C-A775-DCF7ED389EE1}"/>
                </a:ext>
              </a:extLst>
            </p:cNvPr>
            <p:cNvSpPr/>
            <p:nvPr/>
          </p:nvSpPr>
          <p:spPr>
            <a:xfrm rot="8716295">
              <a:off x="3607700" y="121006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" name="Forme libre : forme 242">
              <a:extLst>
                <a:ext uri="{FF2B5EF4-FFF2-40B4-BE49-F238E27FC236}">
                  <a16:creationId xmlns:a16="http://schemas.microsoft.com/office/drawing/2014/main" id="{3DA66E2A-B271-4CA4-B9FF-6AFE032DC966}"/>
                </a:ext>
              </a:extLst>
            </p:cNvPr>
            <p:cNvSpPr/>
            <p:nvPr/>
          </p:nvSpPr>
          <p:spPr>
            <a:xfrm rot="8716295">
              <a:off x="3418654" y="89423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" name="Forme libre : forme 243">
              <a:extLst>
                <a:ext uri="{FF2B5EF4-FFF2-40B4-BE49-F238E27FC236}">
                  <a16:creationId xmlns:a16="http://schemas.microsoft.com/office/drawing/2014/main" id="{5F0B065E-4F1B-43F1-9813-90200634675E}"/>
                </a:ext>
              </a:extLst>
            </p:cNvPr>
            <p:cNvSpPr/>
            <p:nvPr/>
          </p:nvSpPr>
          <p:spPr>
            <a:xfrm rot="8716295">
              <a:off x="3400413" y="68418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" name="Forme libre : forme 244">
              <a:extLst>
                <a:ext uri="{FF2B5EF4-FFF2-40B4-BE49-F238E27FC236}">
                  <a16:creationId xmlns:a16="http://schemas.microsoft.com/office/drawing/2014/main" id="{20854BC4-5849-4EDA-A9AD-8A9CB02779EC}"/>
                </a:ext>
              </a:extLst>
            </p:cNvPr>
            <p:cNvSpPr/>
            <p:nvPr/>
          </p:nvSpPr>
          <p:spPr>
            <a:xfrm rot="8716295">
              <a:off x="3744189" y="1272052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" name="Forme libre : forme 245">
              <a:extLst>
                <a:ext uri="{FF2B5EF4-FFF2-40B4-BE49-F238E27FC236}">
                  <a16:creationId xmlns:a16="http://schemas.microsoft.com/office/drawing/2014/main" id="{7833AF6E-AF2A-42B3-84D3-9F8F342AAC2A}"/>
                </a:ext>
              </a:extLst>
            </p:cNvPr>
            <p:cNvSpPr/>
            <p:nvPr/>
          </p:nvSpPr>
          <p:spPr>
            <a:xfrm rot="8716295">
              <a:off x="4215135" y="69743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" name="Forme libre : forme 246">
              <a:extLst>
                <a:ext uri="{FF2B5EF4-FFF2-40B4-BE49-F238E27FC236}">
                  <a16:creationId xmlns:a16="http://schemas.microsoft.com/office/drawing/2014/main" id="{5CCDB5E7-FFA9-4665-85A4-71445280D93D}"/>
                </a:ext>
              </a:extLst>
            </p:cNvPr>
            <p:cNvSpPr/>
            <p:nvPr/>
          </p:nvSpPr>
          <p:spPr>
            <a:xfrm rot="8716295">
              <a:off x="4350434" y="74169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" name="Forme libre : forme 247">
              <a:extLst>
                <a:ext uri="{FF2B5EF4-FFF2-40B4-BE49-F238E27FC236}">
                  <a16:creationId xmlns:a16="http://schemas.microsoft.com/office/drawing/2014/main" id="{2DD39E77-D511-475C-B9A4-1F96A0A8FEEA}"/>
                </a:ext>
              </a:extLst>
            </p:cNvPr>
            <p:cNvSpPr/>
            <p:nvPr/>
          </p:nvSpPr>
          <p:spPr>
            <a:xfrm rot="8716295">
              <a:off x="4045264" y="83145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" name="Forme libre : forme 248">
              <a:extLst>
                <a:ext uri="{FF2B5EF4-FFF2-40B4-BE49-F238E27FC236}">
                  <a16:creationId xmlns:a16="http://schemas.microsoft.com/office/drawing/2014/main" id="{37119436-3DF5-44F0-88C8-59BCDF9BA3E8}"/>
                </a:ext>
              </a:extLst>
            </p:cNvPr>
            <p:cNvSpPr/>
            <p:nvPr/>
          </p:nvSpPr>
          <p:spPr>
            <a:xfrm rot="8716295">
              <a:off x="3856220" y="51561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" name="Forme libre : forme 249">
              <a:extLst>
                <a:ext uri="{FF2B5EF4-FFF2-40B4-BE49-F238E27FC236}">
                  <a16:creationId xmlns:a16="http://schemas.microsoft.com/office/drawing/2014/main" id="{5EFF1AF7-D116-4A78-8A60-0881E3BE9924}"/>
                </a:ext>
              </a:extLst>
            </p:cNvPr>
            <p:cNvSpPr/>
            <p:nvPr/>
          </p:nvSpPr>
          <p:spPr>
            <a:xfrm rot="8716295">
              <a:off x="4181753" y="893436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" name="Forme libre : forme 250">
              <a:extLst>
                <a:ext uri="{FF2B5EF4-FFF2-40B4-BE49-F238E27FC236}">
                  <a16:creationId xmlns:a16="http://schemas.microsoft.com/office/drawing/2014/main" id="{C38BBAB8-EA94-46A9-B44D-F77A303742D6}"/>
                </a:ext>
              </a:extLst>
            </p:cNvPr>
            <p:cNvSpPr/>
            <p:nvPr/>
          </p:nvSpPr>
          <p:spPr>
            <a:xfrm rot="8716295">
              <a:off x="3816306" y="66701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" name="Forme libre : forme 251">
              <a:extLst>
                <a:ext uri="{FF2B5EF4-FFF2-40B4-BE49-F238E27FC236}">
                  <a16:creationId xmlns:a16="http://schemas.microsoft.com/office/drawing/2014/main" id="{726FB4EE-DE4A-475E-B9CA-BDA728B96056}"/>
                </a:ext>
              </a:extLst>
            </p:cNvPr>
            <p:cNvSpPr/>
            <p:nvPr/>
          </p:nvSpPr>
          <p:spPr>
            <a:xfrm rot="7484129">
              <a:off x="4340570" y="118305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" name="Forme libre : forme 252">
              <a:extLst>
                <a:ext uri="{FF2B5EF4-FFF2-40B4-BE49-F238E27FC236}">
                  <a16:creationId xmlns:a16="http://schemas.microsoft.com/office/drawing/2014/main" id="{3778C4A8-DD8F-40FB-BF36-85A62335E025}"/>
                </a:ext>
              </a:extLst>
            </p:cNvPr>
            <p:cNvSpPr/>
            <p:nvPr/>
          </p:nvSpPr>
          <p:spPr>
            <a:xfrm rot="13089394">
              <a:off x="4499220" y="1132402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" name="Forme libre : forme 253">
              <a:extLst>
                <a:ext uri="{FF2B5EF4-FFF2-40B4-BE49-F238E27FC236}">
                  <a16:creationId xmlns:a16="http://schemas.microsoft.com/office/drawing/2014/main" id="{E67B04C4-DF6C-4AF3-A306-EC57702A7EA7}"/>
                </a:ext>
              </a:extLst>
            </p:cNvPr>
            <p:cNvSpPr/>
            <p:nvPr/>
          </p:nvSpPr>
          <p:spPr>
            <a:xfrm rot="8716295">
              <a:off x="4780111" y="842284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" name="Forme libre : forme 254">
              <a:extLst>
                <a:ext uri="{FF2B5EF4-FFF2-40B4-BE49-F238E27FC236}">
                  <a16:creationId xmlns:a16="http://schemas.microsoft.com/office/drawing/2014/main" id="{0C3B947F-A89B-45FB-9A8F-3A9BCC6CD484}"/>
                </a:ext>
              </a:extLst>
            </p:cNvPr>
            <p:cNvSpPr/>
            <p:nvPr/>
          </p:nvSpPr>
          <p:spPr>
            <a:xfrm rot="8716295">
              <a:off x="4701702" y="68549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" name="Forme libre : forme 255">
              <a:extLst>
                <a:ext uri="{FF2B5EF4-FFF2-40B4-BE49-F238E27FC236}">
                  <a16:creationId xmlns:a16="http://schemas.microsoft.com/office/drawing/2014/main" id="{65FF4858-B1A0-42D2-ADCA-DB484EB1FE6D}"/>
                </a:ext>
              </a:extLst>
            </p:cNvPr>
            <p:cNvSpPr/>
            <p:nvPr/>
          </p:nvSpPr>
          <p:spPr>
            <a:xfrm rot="8716295">
              <a:off x="4333538" y="73123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" name="Forme libre : forme 256">
              <a:extLst>
                <a:ext uri="{FF2B5EF4-FFF2-40B4-BE49-F238E27FC236}">
                  <a16:creationId xmlns:a16="http://schemas.microsoft.com/office/drawing/2014/main" id="{28C1BE2D-A511-4E2F-AC16-ED6DA95D0016}"/>
                </a:ext>
              </a:extLst>
            </p:cNvPr>
            <p:cNvSpPr/>
            <p:nvPr/>
          </p:nvSpPr>
          <p:spPr>
            <a:xfrm rot="8716295">
              <a:off x="4602120" y="49021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" name="Forme libre : forme 257">
              <a:extLst>
                <a:ext uri="{FF2B5EF4-FFF2-40B4-BE49-F238E27FC236}">
                  <a16:creationId xmlns:a16="http://schemas.microsoft.com/office/drawing/2014/main" id="{414A6022-94D3-4CA0-800F-BAEAE0FC105C}"/>
                </a:ext>
              </a:extLst>
            </p:cNvPr>
            <p:cNvSpPr/>
            <p:nvPr/>
          </p:nvSpPr>
          <p:spPr>
            <a:xfrm rot="8716295">
              <a:off x="3446198" y="7400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" name="Forme libre : forme 258">
              <a:extLst>
                <a:ext uri="{FF2B5EF4-FFF2-40B4-BE49-F238E27FC236}">
                  <a16:creationId xmlns:a16="http://schemas.microsoft.com/office/drawing/2014/main" id="{2CDD9144-31FA-487A-AF8B-34A135FB089A}"/>
                </a:ext>
              </a:extLst>
            </p:cNvPr>
            <p:cNvSpPr/>
            <p:nvPr/>
          </p:nvSpPr>
          <p:spPr>
            <a:xfrm rot="8716295">
              <a:off x="3581496" y="11826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" name="Forme libre : forme 259">
              <a:extLst>
                <a:ext uri="{FF2B5EF4-FFF2-40B4-BE49-F238E27FC236}">
                  <a16:creationId xmlns:a16="http://schemas.microsoft.com/office/drawing/2014/main" id="{7FE16051-BF2A-4B51-837A-7B2C211B57E4}"/>
                </a:ext>
              </a:extLst>
            </p:cNvPr>
            <p:cNvSpPr/>
            <p:nvPr/>
          </p:nvSpPr>
          <p:spPr>
            <a:xfrm rot="8716295">
              <a:off x="3522597" y="36248"/>
              <a:ext cx="234675" cy="172489"/>
            </a:xfrm>
            <a:custGeom>
              <a:avLst/>
              <a:gdLst>
                <a:gd name="connsiteX0" fmla="*/ 25756 w 155050"/>
                <a:gd name="connsiteY0" fmla="*/ 113964 h 113964"/>
                <a:gd name="connsiteX1" fmla="*/ 0 w 155050"/>
                <a:gd name="connsiteY1" fmla="*/ 96110 h 113964"/>
                <a:gd name="connsiteX2" fmla="*/ 72120 w 155050"/>
                <a:gd name="connsiteY2" fmla="*/ 28251 h 113964"/>
                <a:gd name="connsiteX3" fmla="*/ 126799 w 155050"/>
                <a:gd name="connsiteY3" fmla="*/ 0 h 113964"/>
                <a:gd name="connsiteX4" fmla="*/ 155050 w 155050"/>
                <a:gd name="connsiteY4" fmla="*/ 33719 h 113964"/>
                <a:gd name="connsiteX5" fmla="*/ 128622 w 155050"/>
                <a:gd name="connsiteY5" fmla="*/ 69261 h 113964"/>
                <a:gd name="connsiteX6" fmla="*/ 129077 w 155050"/>
                <a:gd name="connsiteY6" fmla="*/ 69261 h 113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5050" h="113964">
                  <a:moveTo>
                    <a:pt x="25756" y="113964"/>
                  </a:moveTo>
                  <a:lnTo>
                    <a:pt x="0" y="96110"/>
                  </a:lnTo>
                  <a:lnTo>
                    <a:pt x="72120" y="28251"/>
                  </a:lnTo>
                  <a:cubicBezTo>
                    <a:pt x="85790" y="12303"/>
                    <a:pt x="105383" y="2279"/>
                    <a:pt x="126799" y="0"/>
                  </a:cubicBezTo>
                  <a:cubicBezTo>
                    <a:pt x="148671" y="0"/>
                    <a:pt x="155050" y="19138"/>
                    <a:pt x="155050" y="33719"/>
                  </a:cubicBezTo>
                  <a:cubicBezTo>
                    <a:pt x="153683" y="49668"/>
                    <a:pt x="143203" y="62882"/>
                    <a:pt x="128622" y="69261"/>
                  </a:cubicBezTo>
                  <a:lnTo>
                    <a:pt x="129077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" name="Forme libre : forme 260">
              <a:extLst>
                <a:ext uri="{FF2B5EF4-FFF2-40B4-BE49-F238E27FC236}">
                  <a16:creationId xmlns:a16="http://schemas.microsoft.com/office/drawing/2014/main" id="{FB6AA26B-D49A-416A-8CAC-16E489B31447}"/>
                </a:ext>
              </a:extLst>
            </p:cNvPr>
            <p:cNvSpPr/>
            <p:nvPr/>
          </p:nvSpPr>
          <p:spPr>
            <a:xfrm rot="8716295">
              <a:off x="3276327" y="20801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" name="Forme libre : forme 261">
              <a:extLst>
                <a:ext uri="{FF2B5EF4-FFF2-40B4-BE49-F238E27FC236}">
                  <a16:creationId xmlns:a16="http://schemas.microsoft.com/office/drawing/2014/main" id="{28AC6B7B-6FBF-49BE-A75A-A0128A514084}"/>
                </a:ext>
              </a:extLst>
            </p:cNvPr>
            <p:cNvSpPr/>
            <p:nvPr/>
          </p:nvSpPr>
          <p:spPr>
            <a:xfrm rot="8716295">
              <a:off x="3107933" y="-20072"/>
              <a:ext cx="308531" cy="199994"/>
            </a:xfrm>
            <a:custGeom>
              <a:avLst/>
              <a:gdLst>
                <a:gd name="connsiteX0" fmla="*/ 112633 w 203847"/>
                <a:gd name="connsiteY0" fmla="*/ 132136 h 132136"/>
                <a:gd name="connsiteX1" fmla="*/ 56185 w 203847"/>
                <a:gd name="connsiteY1" fmla="*/ 93008 h 132136"/>
                <a:gd name="connsiteX2" fmla="*/ 69777 w 203847"/>
                <a:gd name="connsiteY2" fmla="*/ 55323 h 132136"/>
                <a:gd name="connsiteX3" fmla="*/ 1818 w 203847"/>
                <a:gd name="connsiteY3" fmla="*/ 55323 h 132136"/>
                <a:gd name="connsiteX4" fmla="*/ 0 w 203847"/>
                <a:gd name="connsiteY4" fmla="*/ 54062 h 132136"/>
                <a:gd name="connsiteX5" fmla="*/ 0 w 203847"/>
                <a:gd name="connsiteY5" fmla="*/ 0 h 132136"/>
                <a:gd name="connsiteX6" fmla="*/ 203847 w 203847"/>
                <a:gd name="connsiteY6" fmla="*/ 0 h 132136"/>
                <a:gd name="connsiteX7" fmla="*/ 203847 w 203847"/>
                <a:gd name="connsiteY7" fmla="*/ 55323 h 132136"/>
                <a:gd name="connsiteX8" fmla="*/ 139055 w 203847"/>
                <a:gd name="connsiteY8" fmla="*/ 55323 h 132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32136">
                  <a:moveTo>
                    <a:pt x="112633" y="132136"/>
                  </a:moveTo>
                  <a:lnTo>
                    <a:pt x="56185" y="93008"/>
                  </a:lnTo>
                  <a:lnTo>
                    <a:pt x="69777" y="55323"/>
                  </a:lnTo>
                  <a:lnTo>
                    <a:pt x="1818" y="55323"/>
                  </a:lnTo>
                  <a:lnTo>
                    <a:pt x="0" y="54062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" name="Forme libre : forme 262">
              <a:extLst>
                <a:ext uri="{FF2B5EF4-FFF2-40B4-BE49-F238E27FC236}">
                  <a16:creationId xmlns:a16="http://schemas.microsoft.com/office/drawing/2014/main" id="{CE04BDAF-0764-44CB-B173-496F062D8434}"/>
                </a:ext>
              </a:extLst>
            </p:cNvPr>
            <p:cNvSpPr/>
            <p:nvPr/>
          </p:nvSpPr>
          <p:spPr>
            <a:xfrm rot="8716295">
              <a:off x="3475628" y="-31540"/>
              <a:ext cx="98161" cy="118527"/>
            </a:xfrm>
            <a:custGeom>
              <a:avLst/>
              <a:gdLst>
                <a:gd name="connsiteX0" fmla="*/ 64855 w 64855"/>
                <a:gd name="connsiteY0" fmla="*/ 78311 h 78311"/>
                <a:gd name="connsiteX1" fmla="*/ 0 w 64855"/>
                <a:gd name="connsiteY1" fmla="*/ 33356 h 78311"/>
                <a:gd name="connsiteX2" fmla="*/ 64294 w 64855"/>
                <a:gd name="connsiteY2" fmla="*/ 0 h 78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855" h="78311">
                  <a:moveTo>
                    <a:pt x="64855" y="78311"/>
                  </a:moveTo>
                  <a:lnTo>
                    <a:pt x="0" y="33356"/>
                  </a:lnTo>
                  <a:lnTo>
                    <a:pt x="64294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" name="Forme libre : forme 263">
              <a:extLst>
                <a:ext uri="{FF2B5EF4-FFF2-40B4-BE49-F238E27FC236}">
                  <a16:creationId xmlns:a16="http://schemas.microsoft.com/office/drawing/2014/main" id="{79FA5AFC-AB70-4D92-BC44-1181877F58C8}"/>
                </a:ext>
              </a:extLst>
            </p:cNvPr>
            <p:cNvSpPr/>
            <p:nvPr/>
          </p:nvSpPr>
          <p:spPr>
            <a:xfrm rot="8716295">
              <a:off x="3412815" y="26999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" name="Forme libre : forme 264">
              <a:extLst>
                <a:ext uri="{FF2B5EF4-FFF2-40B4-BE49-F238E27FC236}">
                  <a16:creationId xmlns:a16="http://schemas.microsoft.com/office/drawing/2014/main" id="{3C1D95D8-2F29-45A0-9BA8-42D88BD37B32}"/>
                </a:ext>
              </a:extLst>
            </p:cNvPr>
            <p:cNvSpPr/>
            <p:nvPr/>
          </p:nvSpPr>
          <p:spPr>
            <a:xfrm rot="8716295">
              <a:off x="3966406" y="-35912"/>
              <a:ext cx="123741" cy="85774"/>
            </a:xfrm>
            <a:custGeom>
              <a:avLst/>
              <a:gdLst>
                <a:gd name="connsiteX0" fmla="*/ 81756 w 81756"/>
                <a:gd name="connsiteY0" fmla="*/ 56671 h 56671"/>
                <a:gd name="connsiteX1" fmla="*/ 0 w 81756"/>
                <a:gd name="connsiteY1" fmla="*/ 0 h 56671"/>
                <a:gd name="connsiteX2" fmla="*/ 24798 w 81756"/>
                <a:gd name="connsiteY2" fmla="*/ 0 h 56671"/>
                <a:gd name="connsiteX3" fmla="*/ 81756 w 81756"/>
                <a:gd name="connsiteY3" fmla="*/ 50123 h 56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1756" h="56671">
                  <a:moveTo>
                    <a:pt x="81756" y="56671"/>
                  </a:moveTo>
                  <a:lnTo>
                    <a:pt x="0" y="0"/>
                  </a:lnTo>
                  <a:lnTo>
                    <a:pt x="24798" y="0"/>
                  </a:lnTo>
                  <a:cubicBezTo>
                    <a:pt x="61707" y="0"/>
                    <a:pt x="81756" y="15949"/>
                    <a:pt x="81756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" name="Forme libre : forme 265">
              <a:extLst>
                <a:ext uri="{FF2B5EF4-FFF2-40B4-BE49-F238E27FC236}">
                  <a16:creationId xmlns:a16="http://schemas.microsoft.com/office/drawing/2014/main" id="{58EB0588-BD8B-459E-AF8B-F1A7C9A84E72}"/>
                </a:ext>
              </a:extLst>
            </p:cNvPr>
            <p:cNvSpPr/>
            <p:nvPr/>
          </p:nvSpPr>
          <p:spPr>
            <a:xfrm rot="8716295">
              <a:off x="4089146" y="-31808"/>
              <a:ext cx="332088" cy="148365"/>
            </a:xfrm>
            <a:custGeom>
              <a:avLst/>
              <a:gdLst>
                <a:gd name="connsiteX0" fmla="*/ 63575 w 219411"/>
                <a:gd name="connsiteY0" fmla="*/ 45493 h 98025"/>
                <a:gd name="connsiteX1" fmla="*/ 0 w 219411"/>
                <a:gd name="connsiteY1" fmla="*/ 1425 h 98025"/>
                <a:gd name="connsiteX2" fmla="*/ 63575 w 219411"/>
                <a:gd name="connsiteY2" fmla="*/ 1425 h 98025"/>
                <a:gd name="connsiteX3" fmla="*/ 88634 w 219411"/>
                <a:gd name="connsiteY3" fmla="*/ 62863 h 98025"/>
                <a:gd name="connsiteX4" fmla="*/ 73596 w 219411"/>
                <a:gd name="connsiteY4" fmla="*/ 52439 h 98025"/>
                <a:gd name="connsiteX5" fmla="*/ 75493 w 219411"/>
                <a:gd name="connsiteY5" fmla="*/ 47439 h 98025"/>
                <a:gd name="connsiteX6" fmla="*/ 112786 w 219411"/>
                <a:gd name="connsiteY6" fmla="*/ 5981 h 98025"/>
                <a:gd name="connsiteX7" fmla="*/ 144227 w 219411"/>
                <a:gd name="connsiteY7" fmla="*/ 57 h 98025"/>
                <a:gd name="connsiteX8" fmla="*/ 219411 w 219411"/>
                <a:gd name="connsiteY8" fmla="*/ 88456 h 98025"/>
                <a:gd name="connsiteX9" fmla="*/ 219411 w 219411"/>
                <a:gd name="connsiteY9" fmla="*/ 94380 h 98025"/>
                <a:gd name="connsiteX10" fmla="*/ 157441 w 219411"/>
                <a:gd name="connsiteY10" fmla="*/ 98025 h 98025"/>
                <a:gd name="connsiteX11" fmla="*/ 157441 w 219411"/>
                <a:gd name="connsiteY11" fmla="*/ 81621 h 98025"/>
                <a:gd name="connsiteX12" fmla="*/ 123722 w 219411"/>
                <a:gd name="connsiteY12" fmla="*/ 40156 h 98025"/>
                <a:gd name="connsiteX13" fmla="*/ 103089 w 219411"/>
                <a:gd name="connsiteY13" fmla="*/ 46969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9411" h="98025">
                  <a:moveTo>
                    <a:pt x="63575" y="45493"/>
                  </a:moveTo>
                  <a:lnTo>
                    <a:pt x="0" y="1425"/>
                  </a:lnTo>
                  <a:lnTo>
                    <a:pt x="63575" y="1425"/>
                  </a:lnTo>
                  <a:close/>
                  <a:moveTo>
                    <a:pt x="88634" y="62863"/>
                  </a:moveTo>
                  <a:lnTo>
                    <a:pt x="73596" y="52439"/>
                  </a:lnTo>
                  <a:lnTo>
                    <a:pt x="75493" y="47439"/>
                  </a:lnTo>
                  <a:cubicBezTo>
                    <a:pt x="85874" y="24008"/>
                    <a:pt x="96382" y="12816"/>
                    <a:pt x="112786" y="5981"/>
                  </a:cubicBezTo>
                  <a:cubicBezTo>
                    <a:pt x="122811" y="1880"/>
                    <a:pt x="133291" y="-398"/>
                    <a:pt x="144227" y="57"/>
                  </a:cubicBezTo>
                  <a:cubicBezTo>
                    <a:pt x="191160" y="-854"/>
                    <a:pt x="219411" y="31954"/>
                    <a:pt x="219411" y="88456"/>
                  </a:cubicBezTo>
                  <a:lnTo>
                    <a:pt x="219411" y="94380"/>
                  </a:lnTo>
                  <a:lnTo>
                    <a:pt x="157441" y="98025"/>
                  </a:lnTo>
                  <a:lnTo>
                    <a:pt x="157441" y="81621"/>
                  </a:lnTo>
                  <a:cubicBezTo>
                    <a:pt x="157441" y="57016"/>
                    <a:pt x="143316" y="40156"/>
                    <a:pt x="123722" y="40156"/>
                  </a:cubicBezTo>
                  <a:cubicBezTo>
                    <a:pt x="116431" y="40156"/>
                    <a:pt x="109454" y="42577"/>
                    <a:pt x="103089" y="4696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" name="Forme libre : forme 266">
              <a:extLst>
                <a:ext uri="{FF2B5EF4-FFF2-40B4-BE49-F238E27FC236}">
                  <a16:creationId xmlns:a16="http://schemas.microsoft.com/office/drawing/2014/main" id="{8BF71B65-6E28-4BBD-90CF-EB6990FA2B3D}"/>
                </a:ext>
              </a:extLst>
            </p:cNvPr>
            <p:cNvSpPr/>
            <p:nvPr/>
          </p:nvSpPr>
          <p:spPr>
            <a:xfrm rot="8716295">
              <a:off x="3850379" y="-108618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" name="Forme libre : forme 267">
              <a:extLst>
                <a:ext uri="{FF2B5EF4-FFF2-40B4-BE49-F238E27FC236}">
                  <a16:creationId xmlns:a16="http://schemas.microsoft.com/office/drawing/2014/main" id="{C234B460-A852-4BC6-9223-625373ACE475}"/>
                </a:ext>
              </a:extLst>
            </p:cNvPr>
            <p:cNvSpPr/>
            <p:nvPr/>
          </p:nvSpPr>
          <p:spPr>
            <a:xfrm rot="7484129">
              <a:off x="4009196" y="18100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" name="Forme libre : forme 268">
              <a:extLst>
                <a:ext uri="{FF2B5EF4-FFF2-40B4-BE49-F238E27FC236}">
                  <a16:creationId xmlns:a16="http://schemas.microsoft.com/office/drawing/2014/main" id="{ED1521F3-7A8A-439A-8C00-B7EE31751298}"/>
                </a:ext>
              </a:extLst>
            </p:cNvPr>
            <p:cNvSpPr/>
            <p:nvPr/>
          </p:nvSpPr>
          <p:spPr>
            <a:xfrm rot="13089394">
              <a:off x="4167846" y="130348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0" name="Forme libre : forme 269">
              <a:extLst>
                <a:ext uri="{FF2B5EF4-FFF2-40B4-BE49-F238E27FC236}">
                  <a16:creationId xmlns:a16="http://schemas.microsoft.com/office/drawing/2014/main" id="{33189A82-B861-4219-AF6A-9F08FA6A03EE}"/>
                </a:ext>
              </a:extLst>
            </p:cNvPr>
            <p:cNvSpPr/>
            <p:nvPr/>
          </p:nvSpPr>
          <p:spPr>
            <a:xfrm rot="8716295">
              <a:off x="4488057" y="-10608"/>
              <a:ext cx="169580" cy="136116"/>
            </a:xfrm>
            <a:custGeom>
              <a:avLst/>
              <a:gdLst>
                <a:gd name="connsiteX0" fmla="*/ 62355 w 112042"/>
                <a:gd name="connsiteY0" fmla="*/ 89932 h 89932"/>
                <a:gd name="connsiteX1" fmla="*/ 0 w 112042"/>
                <a:gd name="connsiteY1" fmla="*/ 46710 h 89932"/>
                <a:gd name="connsiteX2" fmla="*/ 14231 w 112042"/>
                <a:gd name="connsiteY2" fmla="*/ 33321 h 89932"/>
                <a:gd name="connsiteX3" fmla="*/ 78722 w 112042"/>
                <a:gd name="connsiteY3" fmla="*/ 0 h 89932"/>
                <a:gd name="connsiteX4" fmla="*/ 112042 w 112042"/>
                <a:gd name="connsiteY4" fmla="*/ 39770 h 89932"/>
                <a:gd name="connsiteX5" fmla="*/ 80872 w 112042"/>
                <a:gd name="connsiteY5" fmla="*/ 81689 h 89932"/>
                <a:gd name="connsiteX6" fmla="*/ 81408 w 112042"/>
                <a:gd name="connsiteY6" fmla="*/ 81689 h 89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2042" h="89932">
                  <a:moveTo>
                    <a:pt x="62355" y="89932"/>
                  </a:moveTo>
                  <a:lnTo>
                    <a:pt x="0" y="46710"/>
                  </a:lnTo>
                  <a:lnTo>
                    <a:pt x="14231" y="33321"/>
                  </a:lnTo>
                  <a:cubicBezTo>
                    <a:pt x="30353" y="14511"/>
                    <a:pt x="53462" y="2687"/>
                    <a:pt x="78722" y="0"/>
                  </a:cubicBezTo>
                  <a:cubicBezTo>
                    <a:pt x="104518" y="0"/>
                    <a:pt x="112042" y="22572"/>
                    <a:pt x="112042" y="39770"/>
                  </a:cubicBezTo>
                  <a:cubicBezTo>
                    <a:pt x="110429" y="58580"/>
                    <a:pt x="98068" y="74165"/>
                    <a:pt x="80872" y="81689"/>
                  </a:cubicBezTo>
                  <a:lnTo>
                    <a:pt x="81408" y="816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1" name="Forme libre : forme 270">
              <a:extLst>
                <a:ext uri="{FF2B5EF4-FFF2-40B4-BE49-F238E27FC236}">
                  <a16:creationId xmlns:a16="http://schemas.microsoft.com/office/drawing/2014/main" id="{1EF7387F-9F93-4D5B-AD0B-A9B5B150D750}"/>
                </a:ext>
              </a:extLst>
            </p:cNvPr>
            <p:cNvSpPr/>
            <p:nvPr/>
          </p:nvSpPr>
          <p:spPr>
            <a:xfrm rot="8716295">
              <a:off x="3111565" y="373623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2" name="Forme libre : forme 271">
              <a:extLst>
                <a:ext uri="{FF2B5EF4-FFF2-40B4-BE49-F238E27FC236}">
                  <a16:creationId xmlns:a16="http://schemas.microsoft.com/office/drawing/2014/main" id="{B4768996-8D29-4ED8-9892-576EE6810B22}"/>
                </a:ext>
              </a:extLst>
            </p:cNvPr>
            <p:cNvSpPr/>
            <p:nvPr/>
          </p:nvSpPr>
          <p:spPr>
            <a:xfrm rot="8716295">
              <a:off x="3246864" y="378049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3" name="Forme libre : forme 272">
              <a:extLst>
                <a:ext uri="{FF2B5EF4-FFF2-40B4-BE49-F238E27FC236}">
                  <a16:creationId xmlns:a16="http://schemas.microsoft.com/office/drawing/2014/main" id="{303FB1DD-DCD5-4C62-8A14-00277F3DAA40}"/>
                </a:ext>
              </a:extLst>
            </p:cNvPr>
            <p:cNvSpPr/>
            <p:nvPr/>
          </p:nvSpPr>
          <p:spPr>
            <a:xfrm rot="8716295">
              <a:off x="3178981" y="3649901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4" name="Forme libre : forme 273">
              <a:extLst>
                <a:ext uri="{FF2B5EF4-FFF2-40B4-BE49-F238E27FC236}">
                  <a16:creationId xmlns:a16="http://schemas.microsoft.com/office/drawing/2014/main" id="{FE02E440-C3F4-4D87-B8DD-6EFE0A4EF84D}"/>
                </a:ext>
              </a:extLst>
            </p:cNvPr>
            <p:cNvSpPr/>
            <p:nvPr/>
          </p:nvSpPr>
          <p:spPr>
            <a:xfrm rot="8716295">
              <a:off x="2941694" y="387024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5" name="Forme libre : forme 274">
              <a:extLst>
                <a:ext uri="{FF2B5EF4-FFF2-40B4-BE49-F238E27FC236}">
                  <a16:creationId xmlns:a16="http://schemas.microsoft.com/office/drawing/2014/main" id="{79A8277D-0F31-4A40-BC3D-FDA2697AD79E}"/>
                </a:ext>
              </a:extLst>
            </p:cNvPr>
            <p:cNvSpPr/>
            <p:nvPr/>
          </p:nvSpPr>
          <p:spPr>
            <a:xfrm rot="8716295">
              <a:off x="2752648" y="355441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6" name="Forme libre : forme 275">
              <a:extLst>
                <a:ext uri="{FF2B5EF4-FFF2-40B4-BE49-F238E27FC236}">
                  <a16:creationId xmlns:a16="http://schemas.microsoft.com/office/drawing/2014/main" id="{FDF6C6F6-1950-4480-853C-710CE9CA14A1}"/>
                </a:ext>
              </a:extLst>
            </p:cNvPr>
            <p:cNvSpPr/>
            <p:nvPr/>
          </p:nvSpPr>
          <p:spPr>
            <a:xfrm rot="8716295">
              <a:off x="2734407" y="334436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7" name="Forme libre : forme 276">
              <a:extLst>
                <a:ext uri="{FF2B5EF4-FFF2-40B4-BE49-F238E27FC236}">
                  <a16:creationId xmlns:a16="http://schemas.microsoft.com/office/drawing/2014/main" id="{F7DE91C7-8472-4B32-8DA3-B40AD12704F7}"/>
                </a:ext>
              </a:extLst>
            </p:cNvPr>
            <p:cNvSpPr/>
            <p:nvPr/>
          </p:nvSpPr>
          <p:spPr>
            <a:xfrm rot="8716295">
              <a:off x="3078183" y="393222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8" name="Forme libre : forme 277">
              <a:extLst>
                <a:ext uri="{FF2B5EF4-FFF2-40B4-BE49-F238E27FC236}">
                  <a16:creationId xmlns:a16="http://schemas.microsoft.com/office/drawing/2014/main" id="{56FC047B-D272-4172-A288-45148C4BFE0D}"/>
                </a:ext>
              </a:extLst>
            </p:cNvPr>
            <p:cNvSpPr/>
            <p:nvPr/>
          </p:nvSpPr>
          <p:spPr>
            <a:xfrm rot="8716295">
              <a:off x="3549129" y="335761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9" name="Forme libre : forme 278">
              <a:extLst>
                <a:ext uri="{FF2B5EF4-FFF2-40B4-BE49-F238E27FC236}">
                  <a16:creationId xmlns:a16="http://schemas.microsoft.com/office/drawing/2014/main" id="{B13EC7A5-2676-4C63-B64E-8B2F38021996}"/>
                </a:ext>
              </a:extLst>
            </p:cNvPr>
            <p:cNvSpPr/>
            <p:nvPr/>
          </p:nvSpPr>
          <p:spPr>
            <a:xfrm rot="8716295">
              <a:off x="3684428" y="340187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0" name="Forme libre : forme 279">
              <a:extLst>
                <a:ext uri="{FF2B5EF4-FFF2-40B4-BE49-F238E27FC236}">
                  <a16:creationId xmlns:a16="http://schemas.microsoft.com/office/drawing/2014/main" id="{6ECF7C58-1973-4F69-8DD3-556AA77C8D04}"/>
                </a:ext>
              </a:extLst>
            </p:cNvPr>
            <p:cNvSpPr/>
            <p:nvPr/>
          </p:nvSpPr>
          <p:spPr>
            <a:xfrm rot="8716295">
              <a:off x="3379258" y="349163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1" name="Forme libre : forme 280">
              <a:extLst>
                <a:ext uri="{FF2B5EF4-FFF2-40B4-BE49-F238E27FC236}">
                  <a16:creationId xmlns:a16="http://schemas.microsoft.com/office/drawing/2014/main" id="{2B29EFE5-ACFF-4048-807E-18A0A68A503E}"/>
                </a:ext>
              </a:extLst>
            </p:cNvPr>
            <p:cNvSpPr/>
            <p:nvPr/>
          </p:nvSpPr>
          <p:spPr>
            <a:xfrm rot="8716295">
              <a:off x="3190213" y="317579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2" name="Forme libre : forme 281">
              <a:extLst>
                <a:ext uri="{FF2B5EF4-FFF2-40B4-BE49-F238E27FC236}">
                  <a16:creationId xmlns:a16="http://schemas.microsoft.com/office/drawing/2014/main" id="{09E572E1-09FC-45A6-A1BF-D06157BE552F}"/>
                </a:ext>
              </a:extLst>
            </p:cNvPr>
            <p:cNvSpPr/>
            <p:nvPr/>
          </p:nvSpPr>
          <p:spPr>
            <a:xfrm rot="8716295">
              <a:off x="3515746" y="3553613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3" name="Forme libre : forme 282">
              <a:extLst>
                <a:ext uri="{FF2B5EF4-FFF2-40B4-BE49-F238E27FC236}">
                  <a16:creationId xmlns:a16="http://schemas.microsoft.com/office/drawing/2014/main" id="{85DB8E68-2D02-4177-B998-21F4EDDAA547}"/>
                </a:ext>
              </a:extLst>
            </p:cNvPr>
            <p:cNvSpPr/>
            <p:nvPr/>
          </p:nvSpPr>
          <p:spPr>
            <a:xfrm rot="8716295">
              <a:off x="3150300" y="332718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4" name="Forme libre : forme 283">
              <a:extLst>
                <a:ext uri="{FF2B5EF4-FFF2-40B4-BE49-F238E27FC236}">
                  <a16:creationId xmlns:a16="http://schemas.microsoft.com/office/drawing/2014/main" id="{833C9746-3293-4FB8-8420-FBDB2ADD8FDE}"/>
                </a:ext>
              </a:extLst>
            </p:cNvPr>
            <p:cNvSpPr/>
            <p:nvPr/>
          </p:nvSpPr>
          <p:spPr>
            <a:xfrm rot="7484129">
              <a:off x="3674564" y="38432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5" name="Forme libre : forme 284">
              <a:extLst>
                <a:ext uri="{FF2B5EF4-FFF2-40B4-BE49-F238E27FC236}">
                  <a16:creationId xmlns:a16="http://schemas.microsoft.com/office/drawing/2014/main" id="{F36C90B8-C19D-40C0-9F6E-8BC40DAF6680}"/>
                </a:ext>
              </a:extLst>
            </p:cNvPr>
            <p:cNvSpPr/>
            <p:nvPr/>
          </p:nvSpPr>
          <p:spPr>
            <a:xfrm rot="13089394">
              <a:off x="3833214" y="3792578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6" name="Forme libre : forme 285">
              <a:extLst>
                <a:ext uri="{FF2B5EF4-FFF2-40B4-BE49-F238E27FC236}">
                  <a16:creationId xmlns:a16="http://schemas.microsoft.com/office/drawing/2014/main" id="{25D579E4-7F89-49C7-A73E-844BD68A125D}"/>
                </a:ext>
              </a:extLst>
            </p:cNvPr>
            <p:cNvSpPr/>
            <p:nvPr/>
          </p:nvSpPr>
          <p:spPr>
            <a:xfrm rot="8716295">
              <a:off x="4114105" y="3502461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7" name="Forme libre : forme 286">
              <a:extLst>
                <a:ext uri="{FF2B5EF4-FFF2-40B4-BE49-F238E27FC236}">
                  <a16:creationId xmlns:a16="http://schemas.microsoft.com/office/drawing/2014/main" id="{3F032AF9-E492-4124-9A15-3F5109B4E944}"/>
                </a:ext>
              </a:extLst>
            </p:cNvPr>
            <p:cNvSpPr/>
            <p:nvPr/>
          </p:nvSpPr>
          <p:spPr>
            <a:xfrm rot="8716295">
              <a:off x="4035696" y="334566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8" name="Forme libre : forme 287">
              <a:extLst>
                <a:ext uri="{FF2B5EF4-FFF2-40B4-BE49-F238E27FC236}">
                  <a16:creationId xmlns:a16="http://schemas.microsoft.com/office/drawing/2014/main" id="{AB866341-425E-43E2-A992-45F1B8F969FA}"/>
                </a:ext>
              </a:extLst>
            </p:cNvPr>
            <p:cNvSpPr/>
            <p:nvPr/>
          </p:nvSpPr>
          <p:spPr>
            <a:xfrm rot="8716295">
              <a:off x="3667532" y="339140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9" name="Forme libre : forme 288">
              <a:extLst>
                <a:ext uri="{FF2B5EF4-FFF2-40B4-BE49-F238E27FC236}">
                  <a16:creationId xmlns:a16="http://schemas.microsoft.com/office/drawing/2014/main" id="{6CDA98C5-481F-4686-9DE1-F1AA20FC6223}"/>
                </a:ext>
              </a:extLst>
            </p:cNvPr>
            <p:cNvSpPr/>
            <p:nvPr/>
          </p:nvSpPr>
          <p:spPr>
            <a:xfrm rot="8716295">
              <a:off x="3936113" y="315039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0" name="Forme libre : forme 289">
              <a:extLst>
                <a:ext uri="{FF2B5EF4-FFF2-40B4-BE49-F238E27FC236}">
                  <a16:creationId xmlns:a16="http://schemas.microsoft.com/office/drawing/2014/main" id="{13373414-24F1-4D1B-ADBB-1E220625DF7D}"/>
                </a:ext>
              </a:extLst>
            </p:cNvPr>
            <p:cNvSpPr/>
            <p:nvPr/>
          </p:nvSpPr>
          <p:spPr>
            <a:xfrm rot="8716295">
              <a:off x="3449338" y="4734714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1" name="Forme libre : forme 290">
              <a:extLst>
                <a:ext uri="{FF2B5EF4-FFF2-40B4-BE49-F238E27FC236}">
                  <a16:creationId xmlns:a16="http://schemas.microsoft.com/office/drawing/2014/main" id="{B70E33AD-70BB-4576-ADCA-5363A243B741}"/>
                </a:ext>
              </a:extLst>
            </p:cNvPr>
            <p:cNvSpPr/>
            <p:nvPr/>
          </p:nvSpPr>
          <p:spPr>
            <a:xfrm rot="8716295">
              <a:off x="3580975" y="4773824"/>
              <a:ext cx="394489" cy="383455"/>
            </a:xfrm>
            <a:custGeom>
              <a:avLst/>
              <a:gdLst>
                <a:gd name="connsiteX0" fmla="*/ 77932 w 394489"/>
                <a:gd name="connsiteY0" fmla="*/ 383455 h 383455"/>
                <a:gd name="connsiteX1" fmla="*/ 77932 w 394489"/>
                <a:gd name="connsiteY1" fmla="*/ 66898 h 383455"/>
                <a:gd name="connsiteX2" fmla="*/ 0 w 394489"/>
                <a:gd name="connsiteY2" fmla="*/ 66898 h 383455"/>
                <a:gd name="connsiteX3" fmla="*/ 0 w 394489"/>
                <a:gd name="connsiteY3" fmla="*/ 0 h 383455"/>
                <a:gd name="connsiteX4" fmla="*/ 158623 w 394489"/>
                <a:gd name="connsiteY4" fmla="*/ 0 h 383455"/>
                <a:gd name="connsiteX5" fmla="*/ 158623 w 394489"/>
                <a:gd name="connsiteY5" fmla="*/ 111726 h 383455"/>
                <a:gd name="connsiteX6" fmla="*/ 160692 w 394489"/>
                <a:gd name="connsiteY6" fmla="*/ 111726 h 383455"/>
                <a:gd name="connsiteX7" fmla="*/ 233107 w 394489"/>
                <a:gd name="connsiteY7" fmla="*/ 6897 h 383455"/>
                <a:gd name="connsiteX8" fmla="*/ 240854 w 394489"/>
                <a:gd name="connsiteY8" fmla="*/ 5438 h 383455"/>
                <a:gd name="connsiteX9" fmla="*/ 391511 w 394489"/>
                <a:gd name="connsiteY9" fmla="*/ 109868 h 383455"/>
                <a:gd name="connsiteX10" fmla="*/ 394489 w 394489"/>
                <a:gd name="connsiteY10" fmla="*/ 131726 h 383455"/>
                <a:gd name="connsiteX11" fmla="*/ 394489 w 394489"/>
                <a:gd name="connsiteY11" fmla="*/ 140692 h 383455"/>
                <a:gd name="connsiteX12" fmla="*/ 300695 w 394489"/>
                <a:gd name="connsiteY12" fmla="*/ 146210 h 383455"/>
                <a:gd name="connsiteX13" fmla="*/ 300695 w 394489"/>
                <a:gd name="connsiteY13" fmla="*/ 121382 h 383455"/>
                <a:gd name="connsiteX14" fmla="*/ 249659 w 394489"/>
                <a:gd name="connsiteY14" fmla="*/ 58622 h 383455"/>
                <a:gd name="connsiteX15" fmla="*/ 168969 w 394489"/>
                <a:gd name="connsiteY15" fmla="*/ 191038 h 383455"/>
                <a:gd name="connsiteX16" fmla="*/ 168969 w 394489"/>
                <a:gd name="connsiteY16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4489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82762" y="46208"/>
                    <a:pt x="200003" y="20690"/>
                    <a:pt x="233107" y="6897"/>
                  </a:cubicBezTo>
                  <a:lnTo>
                    <a:pt x="240854" y="5438"/>
                  </a:lnTo>
                  <a:lnTo>
                    <a:pt x="391511" y="109868"/>
                  </a:lnTo>
                  <a:lnTo>
                    <a:pt x="394489" y="131726"/>
                  </a:lnTo>
                  <a:lnTo>
                    <a:pt x="394489" y="140692"/>
                  </a:lnTo>
                  <a:lnTo>
                    <a:pt x="300695" y="146210"/>
                  </a:lnTo>
                  <a:lnTo>
                    <a:pt x="300695" y="121382"/>
                  </a:lnTo>
                  <a:cubicBezTo>
                    <a:pt x="300695" y="84140"/>
                    <a:pt x="279315" y="58621"/>
                    <a:pt x="249659" y="58622"/>
                  </a:cubicBezTo>
                  <a:cubicBezTo>
                    <a:pt x="205521" y="58622"/>
                    <a:pt x="168969" y="117244"/>
                    <a:pt x="168969" y="191038"/>
                  </a:cubicBez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2" name="Forme libre : forme 291">
              <a:extLst>
                <a:ext uri="{FF2B5EF4-FFF2-40B4-BE49-F238E27FC236}">
                  <a16:creationId xmlns:a16="http://schemas.microsoft.com/office/drawing/2014/main" id="{00B826E8-9537-4128-8AFA-9DB695ED94E7}"/>
                </a:ext>
              </a:extLst>
            </p:cNvPr>
            <p:cNvSpPr/>
            <p:nvPr/>
          </p:nvSpPr>
          <p:spPr>
            <a:xfrm rot="8716295">
              <a:off x="3516754" y="4648384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3" name="Forme libre : forme 292">
              <a:extLst>
                <a:ext uri="{FF2B5EF4-FFF2-40B4-BE49-F238E27FC236}">
                  <a16:creationId xmlns:a16="http://schemas.microsoft.com/office/drawing/2014/main" id="{FFE48F5E-5149-4118-92C8-4116821F574B}"/>
                </a:ext>
              </a:extLst>
            </p:cNvPr>
            <p:cNvSpPr/>
            <p:nvPr/>
          </p:nvSpPr>
          <p:spPr>
            <a:xfrm rot="8716295">
              <a:off x="3279467" y="486872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4" name="Forme libre : forme 293">
              <a:extLst>
                <a:ext uri="{FF2B5EF4-FFF2-40B4-BE49-F238E27FC236}">
                  <a16:creationId xmlns:a16="http://schemas.microsoft.com/office/drawing/2014/main" id="{890C4AC4-E0F9-4914-B99E-81FA866D2C0A}"/>
                </a:ext>
              </a:extLst>
            </p:cNvPr>
            <p:cNvSpPr/>
            <p:nvPr/>
          </p:nvSpPr>
          <p:spPr>
            <a:xfrm rot="8716295">
              <a:off x="3090421" y="455289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5" name="Forme libre : forme 294">
              <a:extLst>
                <a:ext uri="{FF2B5EF4-FFF2-40B4-BE49-F238E27FC236}">
                  <a16:creationId xmlns:a16="http://schemas.microsoft.com/office/drawing/2014/main" id="{9E7C0995-D53C-4E22-B438-2332B5C132C7}"/>
                </a:ext>
              </a:extLst>
            </p:cNvPr>
            <p:cNvSpPr/>
            <p:nvPr/>
          </p:nvSpPr>
          <p:spPr>
            <a:xfrm rot="8716295">
              <a:off x="3072180" y="434284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6" name="Forme libre : forme 295">
              <a:extLst>
                <a:ext uri="{FF2B5EF4-FFF2-40B4-BE49-F238E27FC236}">
                  <a16:creationId xmlns:a16="http://schemas.microsoft.com/office/drawing/2014/main" id="{B2DA7643-AE8F-4F78-929C-4968C3EC4902}"/>
                </a:ext>
              </a:extLst>
            </p:cNvPr>
            <p:cNvSpPr/>
            <p:nvPr/>
          </p:nvSpPr>
          <p:spPr>
            <a:xfrm rot="8716295">
              <a:off x="3388475" y="4959102"/>
              <a:ext cx="91035" cy="230894"/>
            </a:xfrm>
            <a:custGeom>
              <a:avLst/>
              <a:gdLst>
                <a:gd name="connsiteX0" fmla="*/ 91035 w 91035"/>
                <a:gd name="connsiteY0" fmla="*/ 230894 h 230894"/>
                <a:gd name="connsiteX1" fmla="*/ 0 w 91035"/>
                <a:gd name="connsiteY1" fmla="*/ 143306 h 230894"/>
                <a:gd name="connsiteX2" fmla="*/ 0 w 91035"/>
                <a:gd name="connsiteY2" fmla="*/ 0 h 230894"/>
                <a:gd name="connsiteX3" fmla="*/ 91035 w 91035"/>
                <a:gd name="connsiteY3" fmla="*/ 63103 h 230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230894">
                  <a:moveTo>
                    <a:pt x="91035" y="230894"/>
                  </a:moveTo>
                  <a:lnTo>
                    <a:pt x="0" y="143306"/>
                  </a:lnTo>
                  <a:lnTo>
                    <a:pt x="0" y="0"/>
                  </a:lnTo>
                  <a:lnTo>
                    <a:pt x="91035" y="631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7" name="Forme libre : forme 296">
              <a:extLst>
                <a:ext uri="{FF2B5EF4-FFF2-40B4-BE49-F238E27FC236}">
                  <a16:creationId xmlns:a16="http://schemas.microsoft.com/office/drawing/2014/main" id="{93603EC3-AC55-411D-BFDF-9FDB7506B4C7}"/>
                </a:ext>
              </a:extLst>
            </p:cNvPr>
            <p:cNvSpPr/>
            <p:nvPr/>
          </p:nvSpPr>
          <p:spPr>
            <a:xfrm rot="8716295">
              <a:off x="3886902" y="435609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8" name="Forme libre : forme 297">
              <a:extLst>
                <a:ext uri="{FF2B5EF4-FFF2-40B4-BE49-F238E27FC236}">
                  <a16:creationId xmlns:a16="http://schemas.microsoft.com/office/drawing/2014/main" id="{08CBBA4D-FF43-40D2-8BFA-84CB4DCCF31B}"/>
                </a:ext>
              </a:extLst>
            </p:cNvPr>
            <p:cNvSpPr/>
            <p:nvPr/>
          </p:nvSpPr>
          <p:spPr>
            <a:xfrm rot="8716295">
              <a:off x="4022201" y="440035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9" name="Forme libre : forme 298">
              <a:extLst>
                <a:ext uri="{FF2B5EF4-FFF2-40B4-BE49-F238E27FC236}">
                  <a16:creationId xmlns:a16="http://schemas.microsoft.com/office/drawing/2014/main" id="{835E253D-33C4-431B-B8C8-357E6AAC9C52}"/>
                </a:ext>
              </a:extLst>
            </p:cNvPr>
            <p:cNvSpPr/>
            <p:nvPr/>
          </p:nvSpPr>
          <p:spPr>
            <a:xfrm rot="8716295">
              <a:off x="3717031" y="44901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0" name="Forme libre : forme 299">
              <a:extLst>
                <a:ext uri="{FF2B5EF4-FFF2-40B4-BE49-F238E27FC236}">
                  <a16:creationId xmlns:a16="http://schemas.microsoft.com/office/drawing/2014/main" id="{22AF57EC-DC68-40A4-9C71-BCBD0C50FBE3}"/>
                </a:ext>
              </a:extLst>
            </p:cNvPr>
            <p:cNvSpPr/>
            <p:nvPr/>
          </p:nvSpPr>
          <p:spPr>
            <a:xfrm rot="8716295">
              <a:off x="3527986" y="417427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1" name="Forme libre : forme 300">
              <a:extLst>
                <a:ext uri="{FF2B5EF4-FFF2-40B4-BE49-F238E27FC236}">
                  <a16:creationId xmlns:a16="http://schemas.microsoft.com/office/drawing/2014/main" id="{7AC81511-7180-4392-A0BB-C0785E6FFDB2}"/>
                </a:ext>
              </a:extLst>
            </p:cNvPr>
            <p:cNvSpPr/>
            <p:nvPr/>
          </p:nvSpPr>
          <p:spPr>
            <a:xfrm rot="8716295">
              <a:off x="3853519" y="4552096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2" name="Forme libre : forme 301">
              <a:extLst>
                <a:ext uri="{FF2B5EF4-FFF2-40B4-BE49-F238E27FC236}">
                  <a16:creationId xmlns:a16="http://schemas.microsoft.com/office/drawing/2014/main" id="{1EACC1C7-884B-4139-9EC6-9BA9AA34D223}"/>
                </a:ext>
              </a:extLst>
            </p:cNvPr>
            <p:cNvSpPr/>
            <p:nvPr/>
          </p:nvSpPr>
          <p:spPr>
            <a:xfrm rot="8716295">
              <a:off x="3488073" y="432567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3" name="Forme libre : forme 302">
              <a:extLst>
                <a:ext uri="{FF2B5EF4-FFF2-40B4-BE49-F238E27FC236}">
                  <a16:creationId xmlns:a16="http://schemas.microsoft.com/office/drawing/2014/main" id="{8A54AD41-7272-4697-A5DB-CEFCE19789FC}"/>
                </a:ext>
              </a:extLst>
            </p:cNvPr>
            <p:cNvSpPr/>
            <p:nvPr/>
          </p:nvSpPr>
          <p:spPr>
            <a:xfrm rot="7484129">
              <a:off x="4016569" y="4837237"/>
              <a:ext cx="295167" cy="296463"/>
            </a:xfrm>
            <a:custGeom>
              <a:avLst/>
              <a:gdLst>
                <a:gd name="connsiteX0" fmla="*/ 137293 w 295167"/>
                <a:gd name="connsiteY0" fmla="*/ 296463 h 296463"/>
                <a:gd name="connsiteX1" fmla="*/ 72418 w 295167"/>
                <a:gd name="connsiteY1" fmla="*/ 175766 h 296463"/>
                <a:gd name="connsiteX2" fmla="*/ 105610 w 295167"/>
                <a:gd name="connsiteY2" fmla="*/ 83734 h 296463"/>
                <a:gd name="connsiteX3" fmla="*/ 0 w 295167"/>
                <a:gd name="connsiteY3" fmla="*/ 83734 h 296463"/>
                <a:gd name="connsiteX4" fmla="*/ 0 w 295167"/>
                <a:gd name="connsiteY4" fmla="*/ 0 h 296463"/>
                <a:gd name="connsiteX5" fmla="*/ 237110 w 295167"/>
                <a:gd name="connsiteY5" fmla="*/ 0 h 296463"/>
                <a:gd name="connsiteX6" fmla="*/ 295167 w 295167"/>
                <a:gd name="connsiteY6" fmla="*/ 83734 h 296463"/>
                <a:gd name="connsiteX7" fmla="*/ 210466 w 295167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5167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37110" y="0"/>
                  </a:lnTo>
                  <a:lnTo>
                    <a:pt x="295167" y="83734"/>
                  </a:lnTo>
                  <a:lnTo>
                    <a:pt x="210466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4" name="Forme libre : forme 303">
              <a:extLst>
                <a:ext uri="{FF2B5EF4-FFF2-40B4-BE49-F238E27FC236}">
                  <a16:creationId xmlns:a16="http://schemas.microsoft.com/office/drawing/2014/main" id="{B0BB4A2B-6236-4AB8-8AEF-499FEFD9934C}"/>
                </a:ext>
              </a:extLst>
            </p:cNvPr>
            <p:cNvSpPr/>
            <p:nvPr/>
          </p:nvSpPr>
          <p:spPr>
            <a:xfrm rot="13089394">
              <a:off x="4226447" y="4804985"/>
              <a:ext cx="412568" cy="314062"/>
            </a:xfrm>
            <a:custGeom>
              <a:avLst/>
              <a:gdLst>
                <a:gd name="connsiteX0" fmla="*/ 412568 w 412568"/>
                <a:gd name="connsiteY0" fmla="*/ 206915 h 314062"/>
                <a:gd name="connsiteX1" fmla="*/ 138636 w 412568"/>
                <a:gd name="connsiteY1" fmla="*/ 313815 h 314062"/>
                <a:gd name="connsiteX2" fmla="*/ 35911 w 412568"/>
                <a:gd name="connsiteY2" fmla="*/ 272057 h 314062"/>
                <a:gd name="connsiteX3" fmla="*/ 0 w 412568"/>
                <a:gd name="connsiteY3" fmla="*/ 128410 h 314062"/>
                <a:gd name="connsiteX4" fmla="*/ 0 w 412568"/>
                <a:gd name="connsiteY4" fmla="*/ 88308 h 314062"/>
                <a:gd name="connsiteX5" fmla="*/ 112395 w 412568"/>
                <a:gd name="connsiteY5" fmla="*/ 0 h 314062"/>
                <a:gd name="connsiteX6" fmla="*/ 112747 w 412568"/>
                <a:gd name="connsiteY6" fmla="*/ 49070 h 314062"/>
                <a:gd name="connsiteX7" fmla="*/ 132789 w 412568"/>
                <a:gd name="connsiteY7" fmla="*/ 187707 h 314062"/>
                <a:gd name="connsiteX8" fmla="*/ 233008 w 412568"/>
                <a:gd name="connsiteY8" fmla="*/ 242827 h 314062"/>
                <a:gd name="connsiteX9" fmla="*/ 308172 w 412568"/>
                <a:gd name="connsiteY9" fmla="*/ 229465 h 314062"/>
                <a:gd name="connsiteX10" fmla="*/ 410898 w 412568"/>
                <a:gd name="connsiteY10" fmla="*/ 187707 h 314062"/>
                <a:gd name="connsiteX11" fmla="*/ 412568 w 412568"/>
                <a:gd name="connsiteY11" fmla="*/ 198563 h 314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2568" h="314062">
                  <a:moveTo>
                    <a:pt x="412568" y="206915"/>
                  </a:moveTo>
                  <a:cubicBezTo>
                    <a:pt x="324041" y="282914"/>
                    <a:pt x="207954" y="309640"/>
                    <a:pt x="138636" y="313815"/>
                  </a:cubicBezTo>
                  <a:cubicBezTo>
                    <a:pt x="100219" y="316321"/>
                    <a:pt x="62637" y="299618"/>
                    <a:pt x="35911" y="272057"/>
                  </a:cubicBezTo>
                  <a:cubicBezTo>
                    <a:pt x="7516" y="244497"/>
                    <a:pt x="0" y="196893"/>
                    <a:pt x="0" y="128410"/>
                  </a:cubicBezTo>
                  <a:lnTo>
                    <a:pt x="0" y="88308"/>
                  </a:lnTo>
                  <a:lnTo>
                    <a:pt x="112395" y="0"/>
                  </a:lnTo>
                  <a:lnTo>
                    <a:pt x="112747" y="49070"/>
                  </a:lnTo>
                  <a:cubicBezTo>
                    <a:pt x="110241" y="95839"/>
                    <a:pt x="117756" y="143443"/>
                    <a:pt x="132789" y="187707"/>
                  </a:cubicBezTo>
                  <a:cubicBezTo>
                    <a:pt x="146153" y="224453"/>
                    <a:pt x="180394" y="242827"/>
                    <a:pt x="233008" y="242827"/>
                  </a:cubicBezTo>
                  <a:cubicBezTo>
                    <a:pt x="258899" y="241992"/>
                    <a:pt x="283953" y="236980"/>
                    <a:pt x="308172" y="229465"/>
                  </a:cubicBezTo>
                  <a:cubicBezTo>
                    <a:pt x="343249" y="218607"/>
                    <a:pt x="377491" y="204410"/>
                    <a:pt x="410898" y="187707"/>
                  </a:cubicBezTo>
                  <a:cubicBezTo>
                    <a:pt x="411732" y="191047"/>
                    <a:pt x="412568" y="195223"/>
                    <a:pt x="412568" y="1985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5" name="Forme libre : forme 304">
              <a:extLst>
                <a:ext uri="{FF2B5EF4-FFF2-40B4-BE49-F238E27FC236}">
                  <a16:creationId xmlns:a16="http://schemas.microsoft.com/office/drawing/2014/main" id="{41417B88-C9BD-4BA9-91EE-73AA587DB73F}"/>
                </a:ext>
              </a:extLst>
            </p:cNvPr>
            <p:cNvSpPr/>
            <p:nvPr/>
          </p:nvSpPr>
          <p:spPr>
            <a:xfrm rot="8716295">
              <a:off x="4451878" y="4500944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6" name="Forme libre : forme 305">
              <a:extLst>
                <a:ext uri="{FF2B5EF4-FFF2-40B4-BE49-F238E27FC236}">
                  <a16:creationId xmlns:a16="http://schemas.microsoft.com/office/drawing/2014/main" id="{BE88A8B4-3593-449C-B0AC-26CECAA3950B}"/>
                </a:ext>
              </a:extLst>
            </p:cNvPr>
            <p:cNvSpPr/>
            <p:nvPr/>
          </p:nvSpPr>
          <p:spPr>
            <a:xfrm rot="8716295">
              <a:off x="4373469" y="434415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7" name="Forme libre : forme 306">
              <a:extLst>
                <a:ext uri="{FF2B5EF4-FFF2-40B4-BE49-F238E27FC236}">
                  <a16:creationId xmlns:a16="http://schemas.microsoft.com/office/drawing/2014/main" id="{3E1F62FF-668F-4B24-81E3-7F413DC37761}"/>
                </a:ext>
              </a:extLst>
            </p:cNvPr>
            <p:cNvSpPr/>
            <p:nvPr/>
          </p:nvSpPr>
          <p:spPr>
            <a:xfrm rot="8716295">
              <a:off x="4005305" y="438989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8" name="Forme libre : forme 307">
              <a:extLst>
                <a:ext uri="{FF2B5EF4-FFF2-40B4-BE49-F238E27FC236}">
                  <a16:creationId xmlns:a16="http://schemas.microsoft.com/office/drawing/2014/main" id="{271936E6-CFC4-4CBF-80D3-0DD03A6DA43A}"/>
                </a:ext>
              </a:extLst>
            </p:cNvPr>
            <p:cNvSpPr/>
            <p:nvPr/>
          </p:nvSpPr>
          <p:spPr>
            <a:xfrm rot="8716295">
              <a:off x="4273886" y="414887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9" name="Forme libre : forme 308">
              <a:extLst>
                <a:ext uri="{FF2B5EF4-FFF2-40B4-BE49-F238E27FC236}">
                  <a16:creationId xmlns:a16="http://schemas.microsoft.com/office/drawing/2014/main" id="{BA906EC6-3DC5-4DE2-8F95-209D99503493}"/>
                </a:ext>
              </a:extLst>
            </p:cNvPr>
            <p:cNvSpPr/>
            <p:nvPr/>
          </p:nvSpPr>
          <p:spPr>
            <a:xfrm rot="8716295">
              <a:off x="2776288" y="273581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0" name="Forme libre : forme 309">
              <a:extLst>
                <a:ext uri="{FF2B5EF4-FFF2-40B4-BE49-F238E27FC236}">
                  <a16:creationId xmlns:a16="http://schemas.microsoft.com/office/drawing/2014/main" id="{86353AD3-86B9-454E-8316-ED48EDD5C43A}"/>
                </a:ext>
              </a:extLst>
            </p:cNvPr>
            <p:cNvSpPr/>
            <p:nvPr/>
          </p:nvSpPr>
          <p:spPr>
            <a:xfrm rot="8716295">
              <a:off x="2911587" y="278007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1" name="Forme libre : forme 310">
              <a:extLst>
                <a:ext uri="{FF2B5EF4-FFF2-40B4-BE49-F238E27FC236}">
                  <a16:creationId xmlns:a16="http://schemas.microsoft.com/office/drawing/2014/main" id="{0B2A58FB-010E-417B-8E1C-9997876763AE}"/>
                </a:ext>
              </a:extLst>
            </p:cNvPr>
            <p:cNvSpPr/>
            <p:nvPr/>
          </p:nvSpPr>
          <p:spPr>
            <a:xfrm rot="8716295">
              <a:off x="2843704" y="2649488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2" name="Forme libre : forme 311">
              <a:extLst>
                <a:ext uri="{FF2B5EF4-FFF2-40B4-BE49-F238E27FC236}">
                  <a16:creationId xmlns:a16="http://schemas.microsoft.com/office/drawing/2014/main" id="{487219BD-DC26-4E15-BDA1-CA5CCE916C41}"/>
                </a:ext>
              </a:extLst>
            </p:cNvPr>
            <p:cNvSpPr/>
            <p:nvPr/>
          </p:nvSpPr>
          <p:spPr>
            <a:xfrm rot="8716295">
              <a:off x="2606417" y="286983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3" name="Forme libre : forme 312">
              <a:extLst>
                <a:ext uri="{FF2B5EF4-FFF2-40B4-BE49-F238E27FC236}">
                  <a16:creationId xmlns:a16="http://schemas.microsoft.com/office/drawing/2014/main" id="{E49C695E-663D-4558-8A6D-FAB5771CCDF7}"/>
                </a:ext>
              </a:extLst>
            </p:cNvPr>
            <p:cNvSpPr/>
            <p:nvPr/>
          </p:nvSpPr>
          <p:spPr>
            <a:xfrm rot="8716295">
              <a:off x="2417371" y="255399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4" name="Forme libre : forme 313">
              <a:extLst>
                <a:ext uri="{FF2B5EF4-FFF2-40B4-BE49-F238E27FC236}">
                  <a16:creationId xmlns:a16="http://schemas.microsoft.com/office/drawing/2014/main" id="{33F36FCD-6977-4A63-8D14-D1E1625E9D31}"/>
                </a:ext>
              </a:extLst>
            </p:cNvPr>
            <p:cNvSpPr/>
            <p:nvPr/>
          </p:nvSpPr>
          <p:spPr>
            <a:xfrm rot="8716295">
              <a:off x="2399130" y="2343948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5" name="Forme libre : forme 314">
              <a:extLst>
                <a:ext uri="{FF2B5EF4-FFF2-40B4-BE49-F238E27FC236}">
                  <a16:creationId xmlns:a16="http://schemas.microsoft.com/office/drawing/2014/main" id="{B3474DC3-02FE-406E-A9DB-66680A910D3C}"/>
                </a:ext>
              </a:extLst>
            </p:cNvPr>
            <p:cNvSpPr/>
            <p:nvPr/>
          </p:nvSpPr>
          <p:spPr>
            <a:xfrm rot="8716295">
              <a:off x="2742905" y="293181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6" name="Forme libre : forme 315">
              <a:extLst>
                <a:ext uri="{FF2B5EF4-FFF2-40B4-BE49-F238E27FC236}">
                  <a16:creationId xmlns:a16="http://schemas.microsoft.com/office/drawing/2014/main" id="{A49C2E0F-EE8D-44EF-9BA8-BEBCE07245A7}"/>
                </a:ext>
              </a:extLst>
            </p:cNvPr>
            <p:cNvSpPr/>
            <p:nvPr/>
          </p:nvSpPr>
          <p:spPr>
            <a:xfrm rot="8716295">
              <a:off x="3213852" y="235720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7" name="Forme libre : forme 316">
              <a:extLst>
                <a:ext uri="{FF2B5EF4-FFF2-40B4-BE49-F238E27FC236}">
                  <a16:creationId xmlns:a16="http://schemas.microsoft.com/office/drawing/2014/main" id="{F24F931D-D0BA-4754-8EFA-1E41547520B4}"/>
                </a:ext>
              </a:extLst>
            </p:cNvPr>
            <p:cNvSpPr/>
            <p:nvPr/>
          </p:nvSpPr>
          <p:spPr>
            <a:xfrm rot="8716295">
              <a:off x="3349151" y="240146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8" name="Forme libre : forme 317">
              <a:extLst>
                <a:ext uri="{FF2B5EF4-FFF2-40B4-BE49-F238E27FC236}">
                  <a16:creationId xmlns:a16="http://schemas.microsoft.com/office/drawing/2014/main" id="{77E8D478-ED04-4063-AB60-82AA395CE7E1}"/>
                </a:ext>
              </a:extLst>
            </p:cNvPr>
            <p:cNvSpPr/>
            <p:nvPr/>
          </p:nvSpPr>
          <p:spPr>
            <a:xfrm rot="8716295">
              <a:off x="3043981" y="249121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9" name="Forme libre : forme 318">
              <a:extLst>
                <a:ext uri="{FF2B5EF4-FFF2-40B4-BE49-F238E27FC236}">
                  <a16:creationId xmlns:a16="http://schemas.microsoft.com/office/drawing/2014/main" id="{D68F4A66-E6DC-4D6F-A05F-B0ED1AAF9752}"/>
                </a:ext>
              </a:extLst>
            </p:cNvPr>
            <p:cNvSpPr/>
            <p:nvPr/>
          </p:nvSpPr>
          <p:spPr>
            <a:xfrm rot="8716295">
              <a:off x="2854936" y="217538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0" name="Forme libre : forme 319">
              <a:extLst>
                <a:ext uri="{FF2B5EF4-FFF2-40B4-BE49-F238E27FC236}">
                  <a16:creationId xmlns:a16="http://schemas.microsoft.com/office/drawing/2014/main" id="{2E7E02DC-19A7-4427-8DD0-9CBD70741C55}"/>
                </a:ext>
              </a:extLst>
            </p:cNvPr>
            <p:cNvSpPr/>
            <p:nvPr/>
          </p:nvSpPr>
          <p:spPr>
            <a:xfrm rot="8716295">
              <a:off x="3180469" y="255320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1" name="Forme libre : forme 320">
              <a:extLst>
                <a:ext uri="{FF2B5EF4-FFF2-40B4-BE49-F238E27FC236}">
                  <a16:creationId xmlns:a16="http://schemas.microsoft.com/office/drawing/2014/main" id="{5F22C34B-662E-4288-A98A-07600645D826}"/>
                </a:ext>
              </a:extLst>
            </p:cNvPr>
            <p:cNvSpPr/>
            <p:nvPr/>
          </p:nvSpPr>
          <p:spPr>
            <a:xfrm rot="8716295">
              <a:off x="2815023" y="232677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2" name="Forme libre : forme 321">
              <a:extLst>
                <a:ext uri="{FF2B5EF4-FFF2-40B4-BE49-F238E27FC236}">
                  <a16:creationId xmlns:a16="http://schemas.microsoft.com/office/drawing/2014/main" id="{F9C4954F-8E31-441D-8E0D-8B0514C0CCEA}"/>
                </a:ext>
              </a:extLst>
            </p:cNvPr>
            <p:cNvSpPr/>
            <p:nvPr/>
          </p:nvSpPr>
          <p:spPr>
            <a:xfrm rot="7484129">
              <a:off x="3339287" y="284281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3" name="Forme libre : forme 322">
              <a:extLst>
                <a:ext uri="{FF2B5EF4-FFF2-40B4-BE49-F238E27FC236}">
                  <a16:creationId xmlns:a16="http://schemas.microsoft.com/office/drawing/2014/main" id="{96BDAC49-7C90-455C-A6A8-F21767004646}"/>
                </a:ext>
              </a:extLst>
            </p:cNvPr>
            <p:cNvSpPr/>
            <p:nvPr/>
          </p:nvSpPr>
          <p:spPr>
            <a:xfrm rot="13089394">
              <a:off x="3497937" y="279216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4" name="Forme libre : forme 323">
              <a:extLst>
                <a:ext uri="{FF2B5EF4-FFF2-40B4-BE49-F238E27FC236}">
                  <a16:creationId xmlns:a16="http://schemas.microsoft.com/office/drawing/2014/main" id="{EE32A375-D70E-46A2-83EF-D2C25C11FC27}"/>
                </a:ext>
              </a:extLst>
            </p:cNvPr>
            <p:cNvSpPr/>
            <p:nvPr/>
          </p:nvSpPr>
          <p:spPr>
            <a:xfrm rot="8716295">
              <a:off x="3778828" y="2502048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5" name="Forme libre : forme 324">
              <a:extLst>
                <a:ext uri="{FF2B5EF4-FFF2-40B4-BE49-F238E27FC236}">
                  <a16:creationId xmlns:a16="http://schemas.microsoft.com/office/drawing/2014/main" id="{1FF92686-85A8-4017-922B-2458FE401EB8}"/>
                </a:ext>
              </a:extLst>
            </p:cNvPr>
            <p:cNvSpPr/>
            <p:nvPr/>
          </p:nvSpPr>
          <p:spPr>
            <a:xfrm rot="8716295">
              <a:off x="3700418" y="234525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6" name="Forme libre : forme 325">
              <a:extLst>
                <a:ext uri="{FF2B5EF4-FFF2-40B4-BE49-F238E27FC236}">
                  <a16:creationId xmlns:a16="http://schemas.microsoft.com/office/drawing/2014/main" id="{D45E52B0-C4FD-4155-A0DD-45195433970C}"/>
                </a:ext>
              </a:extLst>
            </p:cNvPr>
            <p:cNvSpPr/>
            <p:nvPr/>
          </p:nvSpPr>
          <p:spPr>
            <a:xfrm rot="8716295">
              <a:off x="3332255" y="239099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7" name="Forme libre : forme 326">
              <a:extLst>
                <a:ext uri="{FF2B5EF4-FFF2-40B4-BE49-F238E27FC236}">
                  <a16:creationId xmlns:a16="http://schemas.microsoft.com/office/drawing/2014/main" id="{F21AB6E7-AC7E-4350-A5BF-CDF7EE2573C5}"/>
                </a:ext>
              </a:extLst>
            </p:cNvPr>
            <p:cNvSpPr/>
            <p:nvPr/>
          </p:nvSpPr>
          <p:spPr>
            <a:xfrm rot="8716295">
              <a:off x="3600836" y="214997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8" name="Forme libre : forme 327">
              <a:extLst>
                <a:ext uri="{FF2B5EF4-FFF2-40B4-BE49-F238E27FC236}">
                  <a16:creationId xmlns:a16="http://schemas.microsoft.com/office/drawing/2014/main" id="{81ADFF02-63EB-4A30-B800-167FCE598798}"/>
                </a:ext>
              </a:extLst>
            </p:cNvPr>
            <p:cNvSpPr/>
            <p:nvPr/>
          </p:nvSpPr>
          <p:spPr>
            <a:xfrm rot="8716295">
              <a:off x="2438515" y="173733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9" name="Forme libre : forme 328">
              <a:extLst>
                <a:ext uri="{FF2B5EF4-FFF2-40B4-BE49-F238E27FC236}">
                  <a16:creationId xmlns:a16="http://schemas.microsoft.com/office/drawing/2014/main" id="{FEEE40D0-1ED4-4D89-A553-8246351195B7}"/>
                </a:ext>
              </a:extLst>
            </p:cNvPr>
            <p:cNvSpPr/>
            <p:nvPr/>
          </p:nvSpPr>
          <p:spPr>
            <a:xfrm rot="8716295">
              <a:off x="2573814" y="178159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0" name="Forme libre : forme 329">
              <a:extLst>
                <a:ext uri="{FF2B5EF4-FFF2-40B4-BE49-F238E27FC236}">
                  <a16:creationId xmlns:a16="http://schemas.microsoft.com/office/drawing/2014/main" id="{AA5B5D88-69C3-43FC-A9FF-1BC20CA01055}"/>
                </a:ext>
              </a:extLst>
            </p:cNvPr>
            <p:cNvSpPr/>
            <p:nvPr/>
          </p:nvSpPr>
          <p:spPr>
            <a:xfrm rot="8716295">
              <a:off x="2505931" y="1651005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1" name="Forme libre : forme 330">
              <a:extLst>
                <a:ext uri="{FF2B5EF4-FFF2-40B4-BE49-F238E27FC236}">
                  <a16:creationId xmlns:a16="http://schemas.microsoft.com/office/drawing/2014/main" id="{3433A715-4852-4C6F-BD57-E5BFC48256EE}"/>
                </a:ext>
              </a:extLst>
            </p:cNvPr>
            <p:cNvSpPr/>
            <p:nvPr/>
          </p:nvSpPr>
          <p:spPr>
            <a:xfrm rot="8716295">
              <a:off x="2268644" y="187135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2" name="Forme libre : forme 331">
              <a:extLst>
                <a:ext uri="{FF2B5EF4-FFF2-40B4-BE49-F238E27FC236}">
                  <a16:creationId xmlns:a16="http://schemas.microsoft.com/office/drawing/2014/main" id="{AA3826BF-36B5-4F42-9A9C-0857F8AFC9E9}"/>
                </a:ext>
              </a:extLst>
            </p:cNvPr>
            <p:cNvSpPr/>
            <p:nvPr/>
          </p:nvSpPr>
          <p:spPr>
            <a:xfrm rot="8716295">
              <a:off x="2079598" y="155551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3" name="Forme libre : forme 332">
              <a:extLst>
                <a:ext uri="{FF2B5EF4-FFF2-40B4-BE49-F238E27FC236}">
                  <a16:creationId xmlns:a16="http://schemas.microsoft.com/office/drawing/2014/main" id="{6B18E7D7-D7AA-4E20-850E-3799436161FA}"/>
                </a:ext>
              </a:extLst>
            </p:cNvPr>
            <p:cNvSpPr/>
            <p:nvPr/>
          </p:nvSpPr>
          <p:spPr>
            <a:xfrm rot="8716295">
              <a:off x="2061357" y="1345465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4" name="Forme libre : forme 333">
              <a:extLst>
                <a:ext uri="{FF2B5EF4-FFF2-40B4-BE49-F238E27FC236}">
                  <a16:creationId xmlns:a16="http://schemas.microsoft.com/office/drawing/2014/main" id="{43032E37-9C7A-492A-8A2C-109CA7245F5F}"/>
                </a:ext>
              </a:extLst>
            </p:cNvPr>
            <p:cNvSpPr/>
            <p:nvPr/>
          </p:nvSpPr>
          <p:spPr>
            <a:xfrm rot="8716295">
              <a:off x="2405132" y="1933333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5" name="Forme libre : forme 334">
              <a:extLst>
                <a:ext uri="{FF2B5EF4-FFF2-40B4-BE49-F238E27FC236}">
                  <a16:creationId xmlns:a16="http://schemas.microsoft.com/office/drawing/2014/main" id="{17B53965-E3A1-4010-BB29-B66E80C0AA24}"/>
                </a:ext>
              </a:extLst>
            </p:cNvPr>
            <p:cNvSpPr/>
            <p:nvPr/>
          </p:nvSpPr>
          <p:spPr>
            <a:xfrm rot="8716295">
              <a:off x="2876079" y="135871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6" name="Forme libre : forme 335">
              <a:extLst>
                <a:ext uri="{FF2B5EF4-FFF2-40B4-BE49-F238E27FC236}">
                  <a16:creationId xmlns:a16="http://schemas.microsoft.com/office/drawing/2014/main" id="{5A10F28E-8329-4CB2-9E8E-AF5ADC5D984D}"/>
                </a:ext>
              </a:extLst>
            </p:cNvPr>
            <p:cNvSpPr/>
            <p:nvPr/>
          </p:nvSpPr>
          <p:spPr>
            <a:xfrm rot="8716295">
              <a:off x="3011378" y="140297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7" name="Forme libre : forme 336">
              <a:extLst>
                <a:ext uri="{FF2B5EF4-FFF2-40B4-BE49-F238E27FC236}">
                  <a16:creationId xmlns:a16="http://schemas.microsoft.com/office/drawing/2014/main" id="{A3E6B7D3-30F0-4F00-9AE4-FB7C5336C17B}"/>
                </a:ext>
              </a:extLst>
            </p:cNvPr>
            <p:cNvSpPr/>
            <p:nvPr/>
          </p:nvSpPr>
          <p:spPr>
            <a:xfrm rot="8716295">
              <a:off x="2706208" y="14927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8" name="Forme libre : forme 337">
              <a:extLst>
                <a:ext uri="{FF2B5EF4-FFF2-40B4-BE49-F238E27FC236}">
                  <a16:creationId xmlns:a16="http://schemas.microsoft.com/office/drawing/2014/main" id="{632D1FEF-F08F-4C8C-8E0E-3985E6CFB126}"/>
                </a:ext>
              </a:extLst>
            </p:cNvPr>
            <p:cNvSpPr/>
            <p:nvPr/>
          </p:nvSpPr>
          <p:spPr>
            <a:xfrm rot="8716295">
              <a:off x="2517163" y="11768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9" name="Forme libre : forme 338">
              <a:extLst>
                <a:ext uri="{FF2B5EF4-FFF2-40B4-BE49-F238E27FC236}">
                  <a16:creationId xmlns:a16="http://schemas.microsoft.com/office/drawing/2014/main" id="{12813E1E-715D-4101-9BCD-409373887F04}"/>
                </a:ext>
              </a:extLst>
            </p:cNvPr>
            <p:cNvSpPr/>
            <p:nvPr/>
          </p:nvSpPr>
          <p:spPr>
            <a:xfrm rot="8716295">
              <a:off x="2842696" y="1554717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0" name="Forme libre : forme 339">
              <a:extLst>
                <a:ext uri="{FF2B5EF4-FFF2-40B4-BE49-F238E27FC236}">
                  <a16:creationId xmlns:a16="http://schemas.microsoft.com/office/drawing/2014/main" id="{AA2FCEEA-252F-42A1-A6F0-2BDC14E98266}"/>
                </a:ext>
              </a:extLst>
            </p:cNvPr>
            <p:cNvSpPr/>
            <p:nvPr/>
          </p:nvSpPr>
          <p:spPr>
            <a:xfrm rot="8716295">
              <a:off x="2477250" y="1328291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1" name="Forme libre : forme 340">
              <a:extLst>
                <a:ext uri="{FF2B5EF4-FFF2-40B4-BE49-F238E27FC236}">
                  <a16:creationId xmlns:a16="http://schemas.microsoft.com/office/drawing/2014/main" id="{884AD109-F04C-43C6-A88C-32CD36BAA4FA}"/>
                </a:ext>
              </a:extLst>
            </p:cNvPr>
            <p:cNvSpPr/>
            <p:nvPr/>
          </p:nvSpPr>
          <p:spPr>
            <a:xfrm rot="7484129">
              <a:off x="3001514" y="184433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2" name="Forme libre : forme 341">
              <a:extLst>
                <a:ext uri="{FF2B5EF4-FFF2-40B4-BE49-F238E27FC236}">
                  <a16:creationId xmlns:a16="http://schemas.microsoft.com/office/drawing/2014/main" id="{E48D40E2-82AD-4B99-AF4E-871FA4B10FDC}"/>
                </a:ext>
              </a:extLst>
            </p:cNvPr>
            <p:cNvSpPr/>
            <p:nvPr/>
          </p:nvSpPr>
          <p:spPr>
            <a:xfrm rot="13089394">
              <a:off x="3160164" y="1793683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3" name="Forme libre : forme 342">
              <a:extLst>
                <a:ext uri="{FF2B5EF4-FFF2-40B4-BE49-F238E27FC236}">
                  <a16:creationId xmlns:a16="http://schemas.microsoft.com/office/drawing/2014/main" id="{5110A4C9-803C-4F01-A8FB-E8911DB784FA}"/>
                </a:ext>
              </a:extLst>
            </p:cNvPr>
            <p:cNvSpPr/>
            <p:nvPr/>
          </p:nvSpPr>
          <p:spPr>
            <a:xfrm rot="8716295">
              <a:off x="3441055" y="1503565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4" name="Forme libre : forme 343">
              <a:extLst>
                <a:ext uri="{FF2B5EF4-FFF2-40B4-BE49-F238E27FC236}">
                  <a16:creationId xmlns:a16="http://schemas.microsoft.com/office/drawing/2014/main" id="{4B71D1CA-954E-40F5-BAE1-391BC7E00EAC}"/>
                </a:ext>
              </a:extLst>
            </p:cNvPr>
            <p:cNvSpPr/>
            <p:nvPr/>
          </p:nvSpPr>
          <p:spPr>
            <a:xfrm rot="8716295">
              <a:off x="3362645" y="134677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5" name="Forme libre : forme 344">
              <a:extLst>
                <a:ext uri="{FF2B5EF4-FFF2-40B4-BE49-F238E27FC236}">
                  <a16:creationId xmlns:a16="http://schemas.microsoft.com/office/drawing/2014/main" id="{778C13D4-A0D9-47A6-97AC-A7265054F880}"/>
                </a:ext>
              </a:extLst>
            </p:cNvPr>
            <p:cNvSpPr/>
            <p:nvPr/>
          </p:nvSpPr>
          <p:spPr>
            <a:xfrm rot="8716295">
              <a:off x="2994482" y="13925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6" name="Forme libre : forme 345">
              <a:extLst>
                <a:ext uri="{FF2B5EF4-FFF2-40B4-BE49-F238E27FC236}">
                  <a16:creationId xmlns:a16="http://schemas.microsoft.com/office/drawing/2014/main" id="{018BC788-46BE-420C-AA9D-351862A75FA9}"/>
                </a:ext>
              </a:extLst>
            </p:cNvPr>
            <p:cNvSpPr/>
            <p:nvPr/>
          </p:nvSpPr>
          <p:spPr>
            <a:xfrm rot="8716295">
              <a:off x="3263063" y="115149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7" name="Forme libre : forme 346">
              <a:extLst>
                <a:ext uri="{FF2B5EF4-FFF2-40B4-BE49-F238E27FC236}">
                  <a16:creationId xmlns:a16="http://schemas.microsoft.com/office/drawing/2014/main" id="{0E9463B7-1F06-4DEB-A058-446E8844EA8B}"/>
                </a:ext>
              </a:extLst>
            </p:cNvPr>
            <p:cNvSpPr/>
            <p:nvPr/>
          </p:nvSpPr>
          <p:spPr>
            <a:xfrm rot="8716295">
              <a:off x="2107141" y="73528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8" name="Forme libre : forme 347">
              <a:extLst>
                <a:ext uri="{FF2B5EF4-FFF2-40B4-BE49-F238E27FC236}">
                  <a16:creationId xmlns:a16="http://schemas.microsoft.com/office/drawing/2014/main" id="{73CCCCE8-C732-40A3-953D-8C4E26ECE894}"/>
                </a:ext>
              </a:extLst>
            </p:cNvPr>
            <p:cNvSpPr/>
            <p:nvPr/>
          </p:nvSpPr>
          <p:spPr>
            <a:xfrm rot="8716295">
              <a:off x="2242440" y="77954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9" name="Forme libre : forme 348">
              <a:extLst>
                <a:ext uri="{FF2B5EF4-FFF2-40B4-BE49-F238E27FC236}">
                  <a16:creationId xmlns:a16="http://schemas.microsoft.com/office/drawing/2014/main" id="{46418248-47C2-468E-8F48-18C4C7CDB219}"/>
                </a:ext>
              </a:extLst>
            </p:cNvPr>
            <p:cNvSpPr/>
            <p:nvPr/>
          </p:nvSpPr>
          <p:spPr>
            <a:xfrm rot="8716295">
              <a:off x="2174558" y="64895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0" name="Forme libre : forme 349">
              <a:extLst>
                <a:ext uri="{FF2B5EF4-FFF2-40B4-BE49-F238E27FC236}">
                  <a16:creationId xmlns:a16="http://schemas.microsoft.com/office/drawing/2014/main" id="{CF6485DD-C84B-431E-B394-8EC27CA6D055}"/>
                </a:ext>
              </a:extLst>
            </p:cNvPr>
            <p:cNvSpPr/>
            <p:nvPr/>
          </p:nvSpPr>
          <p:spPr>
            <a:xfrm rot="8716295">
              <a:off x="1937270" y="86929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1" name="Forme libre : forme 350">
              <a:extLst>
                <a:ext uri="{FF2B5EF4-FFF2-40B4-BE49-F238E27FC236}">
                  <a16:creationId xmlns:a16="http://schemas.microsoft.com/office/drawing/2014/main" id="{C462C7C6-AFD1-4D6E-868F-DFD5908371AE}"/>
                </a:ext>
              </a:extLst>
            </p:cNvPr>
            <p:cNvSpPr/>
            <p:nvPr/>
          </p:nvSpPr>
          <p:spPr>
            <a:xfrm rot="8716295">
              <a:off x="1748224" y="55346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2" name="Forme libre : forme 351">
              <a:extLst>
                <a:ext uri="{FF2B5EF4-FFF2-40B4-BE49-F238E27FC236}">
                  <a16:creationId xmlns:a16="http://schemas.microsoft.com/office/drawing/2014/main" id="{3BF602CB-BB96-4BFD-9890-5020E5C70107}"/>
                </a:ext>
              </a:extLst>
            </p:cNvPr>
            <p:cNvSpPr/>
            <p:nvPr/>
          </p:nvSpPr>
          <p:spPr>
            <a:xfrm rot="8716295">
              <a:off x="1729983" y="34341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3" name="Forme libre : forme 352">
              <a:extLst>
                <a:ext uri="{FF2B5EF4-FFF2-40B4-BE49-F238E27FC236}">
                  <a16:creationId xmlns:a16="http://schemas.microsoft.com/office/drawing/2014/main" id="{D123FE48-43A2-4EF2-A75E-82641468BE05}"/>
                </a:ext>
              </a:extLst>
            </p:cNvPr>
            <p:cNvSpPr/>
            <p:nvPr/>
          </p:nvSpPr>
          <p:spPr>
            <a:xfrm rot="8716295">
              <a:off x="2073759" y="93127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4" name="Forme libre : forme 353">
              <a:extLst>
                <a:ext uri="{FF2B5EF4-FFF2-40B4-BE49-F238E27FC236}">
                  <a16:creationId xmlns:a16="http://schemas.microsoft.com/office/drawing/2014/main" id="{9368862D-396D-4FD2-B4BF-9090111F2572}"/>
                </a:ext>
              </a:extLst>
            </p:cNvPr>
            <p:cNvSpPr/>
            <p:nvPr/>
          </p:nvSpPr>
          <p:spPr>
            <a:xfrm rot="8716295">
              <a:off x="2544705" y="35666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5" name="Forme libre : forme 354">
              <a:extLst>
                <a:ext uri="{FF2B5EF4-FFF2-40B4-BE49-F238E27FC236}">
                  <a16:creationId xmlns:a16="http://schemas.microsoft.com/office/drawing/2014/main" id="{08DA4440-5C40-4A9D-A195-E7F5A36FB8E5}"/>
                </a:ext>
              </a:extLst>
            </p:cNvPr>
            <p:cNvSpPr/>
            <p:nvPr/>
          </p:nvSpPr>
          <p:spPr>
            <a:xfrm rot="8716295">
              <a:off x="2680004" y="40092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6" name="Forme libre : forme 355">
              <a:extLst>
                <a:ext uri="{FF2B5EF4-FFF2-40B4-BE49-F238E27FC236}">
                  <a16:creationId xmlns:a16="http://schemas.microsoft.com/office/drawing/2014/main" id="{499C4215-CE78-4D06-B1F1-0EFC66D2B8A8}"/>
                </a:ext>
              </a:extLst>
            </p:cNvPr>
            <p:cNvSpPr/>
            <p:nvPr/>
          </p:nvSpPr>
          <p:spPr>
            <a:xfrm rot="8716295">
              <a:off x="2374834" y="49068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7" name="Forme libre : forme 356">
              <a:extLst>
                <a:ext uri="{FF2B5EF4-FFF2-40B4-BE49-F238E27FC236}">
                  <a16:creationId xmlns:a16="http://schemas.microsoft.com/office/drawing/2014/main" id="{0DF46042-A994-48E9-AACA-0079FAE5D34F}"/>
                </a:ext>
              </a:extLst>
            </p:cNvPr>
            <p:cNvSpPr/>
            <p:nvPr/>
          </p:nvSpPr>
          <p:spPr>
            <a:xfrm rot="8716295">
              <a:off x="2185790" y="17484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8" name="Forme libre : forme 357">
              <a:extLst>
                <a:ext uri="{FF2B5EF4-FFF2-40B4-BE49-F238E27FC236}">
                  <a16:creationId xmlns:a16="http://schemas.microsoft.com/office/drawing/2014/main" id="{C56CBFD7-CE58-4F68-AE5F-EEAC0B0B2F26}"/>
                </a:ext>
              </a:extLst>
            </p:cNvPr>
            <p:cNvSpPr/>
            <p:nvPr/>
          </p:nvSpPr>
          <p:spPr>
            <a:xfrm rot="8716295">
              <a:off x="2511323" y="552663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9" name="Forme libre : forme 358">
              <a:extLst>
                <a:ext uri="{FF2B5EF4-FFF2-40B4-BE49-F238E27FC236}">
                  <a16:creationId xmlns:a16="http://schemas.microsoft.com/office/drawing/2014/main" id="{5026E243-7CAA-469D-B3FD-2DEEF3B52A6D}"/>
                </a:ext>
              </a:extLst>
            </p:cNvPr>
            <p:cNvSpPr/>
            <p:nvPr/>
          </p:nvSpPr>
          <p:spPr>
            <a:xfrm rot="8716295">
              <a:off x="2145876" y="32623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0" name="Forme libre : forme 359">
              <a:extLst>
                <a:ext uri="{FF2B5EF4-FFF2-40B4-BE49-F238E27FC236}">
                  <a16:creationId xmlns:a16="http://schemas.microsoft.com/office/drawing/2014/main" id="{69635373-7069-4076-9294-1FD2A4827397}"/>
                </a:ext>
              </a:extLst>
            </p:cNvPr>
            <p:cNvSpPr/>
            <p:nvPr/>
          </p:nvSpPr>
          <p:spPr>
            <a:xfrm rot="7484129">
              <a:off x="2670140" y="84228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1" name="Forme libre : forme 360">
              <a:extLst>
                <a:ext uri="{FF2B5EF4-FFF2-40B4-BE49-F238E27FC236}">
                  <a16:creationId xmlns:a16="http://schemas.microsoft.com/office/drawing/2014/main" id="{65F0089C-08D4-41A5-B19D-05C5D2A763BC}"/>
                </a:ext>
              </a:extLst>
            </p:cNvPr>
            <p:cNvSpPr/>
            <p:nvPr/>
          </p:nvSpPr>
          <p:spPr>
            <a:xfrm rot="13089394">
              <a:off x="2828790" y="791629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2" name="Forme libre : forme 361">
              <a:extLst>
                <a:ext uri="{FF2B5EF4-FFF2-40B4-BE49-F238E27FC236}">
                  <a16:creationId xmlns:a16="http://schemas.microsoft.com/office/drawing/2014/main" id="{10F0587B-FBC8-4526-B416-2C74092E74E3}"/>
                </a:ext>
              </a:extLst>
            </p:cNvPr>
            <p:cNvSpPr/>
            <p:nvPr/>
          </p:nvSpPr>
          <p:spPr>
            <a:xfrm rot="8716295">
              <a:off x="3109681" y="501511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3" name="Forme libre : forme 362">
              <a:extLst>
                <a:ext uri="{FF2B5EF4-FFF2-40B4-BE49-F238E27FC236}">
                  <a16:creationId xmlns:a16="http://schemas.microsoft.com/office/drawing/2014/main" id="{2065DAB7-B994-4ECC-90EA-43FF767C9150}"/>
                </a:ext>
              </a:extLst>
            </p:cNvPr>
            <p:cNvSpPr/>
            <p:nvPr/>
          </p:nvSpPr>
          <p:spPr>
            <a:xfrm rot="8716295">
              <a:off x="3031272" y="344719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4" name="Forme libre : forme 363">
              <a:extLst>
                <a:ext uri="{FF2B5EF4-FFF2-40B4-BE49-F238E27FC236}">
                  <a16:creationId xmlns:a16="http://schemas.microsoft.com/office/drawing/2014/main" id="{06C29BA8-D38F-498C-9EF2-99B1FD452BF5}"/>
                </a:ext>
              </a:extLst>
            </p:cNvPr>
            <p:cNvSpPr/>
            <p:nvPr/>
          </p:nvSpPr>
          <p:spPr>
            <a:xfrm rot="8716295">
              <a:off x="2663108" y="39046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5" name="Forme libre : forme 364">
              <a:extLst>
                <a:ext uri="{FF2B5EF4-FFF2-40B4-BE49-F238E27FC236}">
                  <a16:creationId xmlns:a16="http://schemas.microsoft.com/office/drawing/2014/main" id="{19957925-F105-47F6-A52F-63EE7BCADA72}"/>
                </a:ext>
              </a:extLst>
            </p:cNvPr>
            <p:cNvSpPr/>
            <p:nvPr/>
          </p:nvSpPr>
          <p:spPr>
            <a:xfrm rot="8716295">
              <a:off x="2931690" y="14944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6" name="Forme libre : forme 365">
              <a:extLst>
                <a:ext uri="{FF2B5EF4-FFF2-40B4-BE49-F238E27FC236}">
                  <a16:creationId xmlns:a16="http://schemas.microsoft.com/office/drawing/2014/main" id="{E0E33F2F-8222-4600-9D1F-1A85DBD9DDB6}"/>
                </a:ext>
              </a:extLst>
            </p:cNvPr>
            <p:cNvSpPr/>
            <p:nvPr/>
          </p:nvSpPr>
          <p:spPr>
            <a:xfrm rot="8716295">
              <a:off x="1834766" y="-57684"/>
              <a:ext cx="186564" cy="129320"/>
            </a:xfrm>
            <a:custGeom>
              <a:avLst/>
              <a:gdLst>
                <a:gd name="connsiteX0" fmla="*/ 123263 w 123263"/>
                <a:gd name="connsiteY0" fmla="*/ 85442 h 85442"/>
                <a:gd name="connsiteX1" fmla="*/ 0 w 123263"/>
                <a:gd name="connsiteY1" fmla="*/ 0 h 85442"/>
                <a:gd name="connsiteX2" fmla="*/ 66305 w 123263"/>
                <a:gd name="connsiteY2" fmla="*/ 0 h 85442"/>
                <a:gd name="connsiteX3" fmla="*/ 123263 w 123263"/>
                <a:gd name="connsiteY3" fmla="*/ 50123 h 85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63" h="85442">
                  <a:moveTo>
                    <a:pt x="123263" y="85442"/>
                  </a:moveTo>
                  <a:lnTo>
                    <a:pt x="0" y="0"/>
                  </a:lnTo>
                  <a:lnTo>
                    <a:pt x="66305" y="0"/>
                  </a:lnTo>
                  <a:cubicBezTo>
                    <a:pt x="103214" y="0"/>
                    <a:pt x="123263" y="15948"/>
                    <a:pt x="123263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7" name="Forme libre : forme 366">
              <a:extLst>
                <a:ext uri="{FF2B5EF4-FFF2-40B4-BE49-F238E27FC236}">
                  <a16:creationId xmlns:a16="http://schemas.microsoft.com/office/drawing/2014/main" id="{85E9DB2D-8095-4090-AC49-070A81C428A4}"/>
                </a:ext>
              </a:extLst>
            </p:cNvPr>
            <p:cNvSpPr/>
            <p:nvPr/>
          </p:nvSpPr>
          <p:spPr>
            <a:xfrm rot="8716295">
              <a:off x="1969949" y="-13794"/>
              <a:ext cx="394488" cy="148365"/>
            </a:xfrm>
            <a:custGeom>
              <a:avLst/>
              <a:gdLst>
                <a:gd name="connsiteX0" fmla="*/ 104802 w 260639"/>
                <a:gd name="connsiteY0" fmla="*/ 74264 h 98025"/>
                <a:gd name="connsiteX1" fmla="*/ 0 w 260639"/>
                <a:gd name="connsiteY1" fmla="*/ 1618 h 98025"/>
                <a:gd name="connsiteX2" fmla="*/ 0 w 260639"/>
                <a:gd name="connsiteY2" fmla="*/ 1425 h 98025"/>
                <a:gd name="connsiteX3" fmla="*/ 104803 w 260639"/>
                <a:gd name="connsiteY3" fmla="*/ 1425 h 98025"/>
                <a:gd name="connsiteX4" fmla="*/ 122123 w 260639"/>
                <a:gd name="connsiteY4" fmla="*/ 86270 h 98025"/>
                <a:gd name="connsiteX5" fmla="*/ 106178 w 260639"/>
                <a:gd name="connsiteY5" fmla="*/ 75218 h 98025"/>
                <a:gd name="connsiteX6" fmla="*/ 116721 w 260639"/>
                <a:gd name="connsiteY6" fmla="*/ 47439 h 98025"/>
                <a:gd name="connsiteX7" fmla="*/ 154014 w 260639"/>
                <a:gd name="connsiteY7" fmla="*/ 5981 h 98025"/>
                <a:gd name="connsiteX8" fmla="*/ 185455 w 260639"/>
                <a:gd name="connsiteY8" fmla="*/ 57 h 98025"/>
                <a:gd name="connsiteX9" fmla="*/ 260639 w 260639"/>
                <a:gd name="connsiteY9" fmla="*/ 88456 h 98025"/>
                <a:gd name="connsiteX10" fmla="*/ 260639 w 260639"/>
                <a:gd name="connsiteY10" fmla="*/ 94380 h 98025"/>
                <a:gd name="connsiteX11" fmla="*/ 198669 w 260639"/>
                <a:gd name="connsiteY11" fmla="*/ 98025 h 98025"/>
                <a:gd name="connsiteX12" fmla="*/ 198669 w 260639"/>
                <a:gd name="connsiteY12" fmla="*/ 81621 h 98025"/>
                <a:gd name="connsiteX13" fmla="*/ 164950 w 260639"/>
                <a:gd name="connsiteY13" fmla="*/ 40156 h 98025"/>
                <a:gd name="connsiteX14" fmla="*/ 127358 w 260639"/>
                <a:gd name="connsiteY14" fmla="*/ 65616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60639" h="98025">
                  <a:moveTo>
                    <a:pt x="104802" y="74264"/>
                  </a:moveTo>
                  <a:lnTo>
                    <a:pt x="0" y="1618"/>
                  </a:lnTo>
                  <a:lnTo>
                    <a:pt x="0" y="1425"/>
                  </a:lnTo>
                  <a:lnTo>
                    <a:pt x="104803" y="1425"/>
                  </a:lnTo>
                  <a:close/>
                  <a:moveTo>
                    <a:pt x="122123" y="86270"/>
                  </a:moveTo>
                  <a:lnTo>
                    <a:pt x="106178" y="75218"/>
                  </a:lnTo>
                  <a:lnTo>
                    <a:pt x="116721" y="47439"/>
                  </a:lnTo>
                  <a:cubicBezTo>
                    <a:pt x="127102" y="24008"/>
                    <a:pt x="137610" y="12816"/>
                    <a:pt x="154014" y="5981"/>
                  </a:cubicBezTo>
                  <a:cubicBezTo>
                    <a:pt x="164038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50369" y="40156"/>
                    <a:pt x="137041" y="49839"/>
                    <a:pt x="127358" y="656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8" name="Forme libre : forme 367">
              <a:extLst>
                <a:ext uri="{FF2B5EF4-FFF2-40B4-BE49-F238E27FC236}">
                  <a16:creationId xmlns:a16="http://schemas.microsoft.com/office/drawing/2014/main" id="{2112AB6E-ECBC-48CC-8F85-503CE29BF697}"/>
                </a:ext>
              </a:extLst>
            </p:cNvPr>
            <p:cNvSpPr/>
            <p:nvPr/>
          </p:nvSpPr>
          <p:spPr>
            <a:xfrm rot="8716295">
              <a:off x="1736738" y="-7282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9" name="Forme libre : forme 368">
              <a:extLst>
                <a:ext uri="{FF2B5EF4-FFF2-40B4-BE49-F238E27FC236}">
                  <a16:creationId xmlns:a16="http://schemas.microsoft.com/office/drawing/2014/main" id="{0CED55EE-2402-40E1-B7FC-4C64963DE5BE}"/>
                </a:ext>
              </a:extLst>
            </p:cNvPr>
            <p:cNvSpPr/>
            <p:nvPr/>
          </p:nvSpPr>
          <p:spPr>
            <a:xfrm rot="7484129">
              <a:off x="2399917" y="-21262"/>
              <a:ext cx="233243" cy="158079"/>
            </a:xfrm>
            <a:custGeom>
              <a:avLst/>
              <a:gdLst>
                <a:gd name="connsiteX0" fmla="*/ 72416 w 154104"/>
                <a:gd name="connsiteY0" fmla="*/ 104443 h 104443"/>
                <a:gd name="connsiteX1" fmla="*/ 0 w 154104"/>
                <a:gd name="connsiteY1" fmla="*/ 0 h 104443"/>
                <a:gd name="connsiteX2" fmla="*/ 154104 w 154104"/>
                <a:gd name="connsiteY2" fmla="*/ 0 h 104443"/>
                <a:gd name="connsiteX3" fmla="*/ 154104 w 154104"/>
                <a:gd name="connsiteY3" fmla="*/ 55323 h 104443"/>
                <a:gd name="connsiteX4" fmla="*/ 89312 w 154104"/>
                <a:gd name="connsiteY4" fmla="*/ 55323 h 104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4104" h="104443">
                  <a:moveTo>
                    <a:pt x="72416" y="104443"/>
                  </a:moveTo>
                  <a:lnTo>
                    <a:pt x="0" y="0"/>
                  </a:lnTo>
                  <a:lnTo>
                    <a:pt x="154104" y="0"/>
                  </a:lnTo>
                  <a:lnTo>
                    <a:pt x="154104" y="55323"/>
                  </a:lnTo>
                  <a:lnTo>
                    <a:pt x="89312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0" name="Forme libre : forme 369">
              <a:extLst>
                <a:ext uri="{FF2B5EF4-FFF2-40B4-BE49-F238E27FC236}">
                  <a16:creationId xmlns:a16="http://schemas.microsoft.com/office/drawing/2014/main" id="{2AB77741-1425-4B03-9370-5D34269ACC61}"/>
                </a:ext>
              </a:extLst>
            </p:cNvPr>
            <p:cNvSpPr/>
            <p:nvPr/>
          </p:nvSpPr>
          <p:spPr>
            <a:xfrm rot="13089394">
              <a:off x="2721869" y="-65503"/>
              <a:ext cx="128296" cy="425348"/>
            </a:xfrm>
            <a:custGeom>
              <a:avLst/>
              <a:gdLst>
                <a:gd name="connsiteX0" fmla="*/ 84765 w 84765"/>
                <a:gd name="connsiteY0" fmla="*/ 225012 h 281028"/>
                <a:gd name="connsiteX1" fmla="*/ 13471 w 84765"/>
                <a:gd name="connsiteY1" fmla="*/ 281028 h 281028"/>
                <a:gd name="connsiteX2" fmla="*/ 4828 w 84765"/>
                <a:gd name="connsiteY2" fmla="*/ 263963 h 281028"/>
                <a:gd name="connsiteX3" fmla="*/ 0 w 84765"/>
                <a:gd name="connsiteY3" fmla="*/ 206370 h 281028"/>
                <a:gd name="connsiteX4" fmla="*/ 0 w 84765"/>
                <a:gd name="connsiteY4" fmla="*/ 38074 h 281028"/>
                <a:gd name="connsiteX5" fmla="*/ 73388 w 84765"/>
                <a:gd name="connsiteY5" fmla="*/ 0 h 281028"/>
                <a:gd name="connsiteX6" fmla="*/ 74492 w 84765"/>
                <a:gd name="connsiteY6" fmla="*/ 153950 h 281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4765" h="281028">
                  <a:moveTo>
                    <a:pt x="84765" y="225012"/>
                  </a:moveTo>
                  <a:lnTo>
                    <a:pt x="13471" y="281028"/>
                  </a:lnTo>
                  <a:lnTo>
                    <a:pt x="4828" y="263963"/>
                  </a:lnTo>
                  <a:cubicBezTo>
                    <a:pt x="1241" y="248168"/>
                    <a:pt x="0" y="228993"/>
                    <a:pt x="0" y="206370"/>
                  </a:cubicBez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1" name="Forme libre : forme 370">
              <a:extLst>
                <a:ext uri="{FF2B5EF4-FFF2-40B4-BE49-F238E27FC236}">
                  <a16:creationId xmlns:a16="http://schemas.microsoft.com/office/drawing/2014/main" id="{FAA815E1-BD11-411E-A301-A66D6E5B5B5D}"/>
                </a:ext>
              </a:extLst>
            </p:cNvPr>
            <p:cNvSpPr/>
            <p:nvPr/>
          </p:nvSpPr>
          <p:spPr>
            <a:xfrm rot="8716295">
              <a:off x="5604774" y="3024342"/>
              <a:ext cx="274455" cy="132163"/>
            </a:xfrm>
            <a:custGeom>
              <a:avLst/>
              <a:gdLst>
                <a:gd name="connsiteX0" fmla="*/ 0 w 181333"/>
                <a:gd name="connsiteY0" fmla="*/ 87320 h 87320"/>
                <a:gd name="connsiteX1" fmla="*/ 42309 w 181333"/>
                <a:gd name="connsiteY1" fmla="*/ 36168 h 87320"/>
                <a:gd name="connsiteX2" fmla="*/ 54839 w 181333"/>
                <a:gd name="connsiteY2" fmla="*/ 38831 h 87320"/>
                <a:gd name="connsiteX3" fmla="*/ 107790 w 181333"/>
                <a:gd name="connsiteY3" fmla="*/ 29417 h 87320"/>
                <a:gd name="connsiteX4" fmla="*/ 180157 w 181333"/>
                <a:gd name="connsiteY4" fmla="*/ 0 h 87320"/>
                <a:gd name="connsiteX5" fmla="*/ 181333 w 181333"/>
                <a:gd name="connsiteY5" fmla="*/ 7648 h 87320"/>
                <a:gd name="connsiteX6" fmla="*/ 181333 w 181333"/>
                <a:gd name="connsiteY6" fmla="*/ 13532 h 87320"/>
                <a:gd name="connsiteX7" fmla="*/ 30340 w 181333"/>
                <a:gd name="connsiteY7" fmla="*/ 83361 h 87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333" h="87320">
                  <a:moveTo>
                    <a:pt x="0" y="87320"/>
                  </a:moveTo>
                  <a:lnTo>
                    <a:pt x="42309" y="36168"/>
                  </a:lnTo>
                  <a:lnTo>
                    <a:pt x="54839" y="38831"/>
                  </a:lnTo>
                  <a:cubicBezTo>
                    <a:pt x="73078" y="38242"/>
                    <a:pt x="90728" y="34712"/>
                    <a:pt x="107790" y="29417"/>
                  </a:cubicBezTo>
                  <a:cubicBezTo>
                    <a:pt x="132500" y="21768"/>
                    <a:pt x="156623" y="11767"/>
                    <a:pt x="180157" y="0"/>
                  </a:cubicBezTo>
                  <a:cubicBezTo>
                    <a:pt x="180745" y="2353"/>
                    <a:pt x="181333" y="5295"/>
                    <a:pt x="181333" y="7648"/>
                  </a:cubicBezTo>
                  <a:lnTo>
                    <a:pt x="181333" y="13532"/>
                  </a:lnTo>
                  <a:cubicBezTo>
                    <a:pt x="134560" y="53687"/>
                    <a:pt x="76865" y="74315"/>
                    <a:pt x="30340" y="833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2" name="Forme libre : forme 371">
              <a:extLst>
                <a:ext uri="{FF2B5EF4-FFF2-40B4-BE49-F238E27FC236}">
                  <a16:creationId xmlns:a16="http://schemas.microsoft.com/office/drawing/2014/main" id="{0B206B84-4FE5-4D53-9D1E-DD02DB41D254}"/>
                </a:ext>
              </a:extLst>
            </p:cNvPr>
            <p:cNvSpPr/>
            <p:nvPr/>
          </p:nvSpPr>
          <p:spPr>
            <a:xfrm rot="8716295">
              <a:off x="5742786" y="2375436"/>
              <a:ext cx="92417" cy="296278"/>
            </a:xfrm>
            <a:custGeom>
              <a:avLst/>
              <a:gdLst>
                <a:gd name="connsiteX0" fmla="*/ 0 w 61060"/>
                <a:gd name="connsiteY0" fmla="*/ 195751 h 195751"/>
                <a:gd name="connsiteX1" fmla="*/ 0 w 61060"/>
                <a:gd name="connsiteY1" fmla="*/ 67520 h 195751"/>
                <a:gd name="connsiteX2" fmla="*/ 55847 w 61060"/>
                <a:gd name="connsiteY2" fmla="*/ 0 h 195751"/>
                <a:gd name="connsiteX3" fmla="*/ 61059 w 61060"/>
                <a:gd name="connsiteY3" fmla="*/ 13486 h 195751"/>
                <a:gd name="connsiteX4" fmla="*/ 61060 w 61060"/>
                <a:gd name="connsiteY4" fmla="*/ 171601 h 195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60" h="195751">
                  <a:moveTo>
                    <a:pt x="0" y="195751"/>
                  </a:moveTo>
                  <a:lnTo>
                    <a:pt x="0" y="67520"/>
                  </a:lnTo>
                  <a:lnTo>
                    <a:pt x="55847" y="0"/>
                  </a:lnTo>
                  <a:lnTo>
                    <a:pt x="61059" y="13486"/>
                  </a:lnTo>
                  <a:lnTo>
                    <a:pt x="61060" y="17160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3" name="Forme libre : forme 372">
              <a:extLst>
                <a:ext uri="{FF2B5EF4-FFF2-40B4-BE49-F238E27FC236}">
                  <a16:creationId xmlns:a16="http://schemas.microsoft.com/office/drawing/2014/main" id="{77194E30-CE70-4AEC-BB0F-106D75678D26}"/>
                </a:ext>
              </a:extLst>
            </p:cNvPr>
            <p:cNvSpPr/>
            <p:nvPr/>
          </p:nvSpPr>
          <p:spPr>
            <a:xfrm rot="8716295">
              <a:off x="5579033" y="246915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4" name="Forme libre : forme 373">
              <a:extLst>
                <a:ext uri="{FF2B5EF4-FFF2-40B4-BE49-F238E27FC236}">
                  <a16:creationId xmlns:a16="http://schemas.microsoft.com/office/drawing/2014/main" id="{F8F32B20-B35C-4702-8768-E6EC077080C3}"/>
                </a:ext>
              </a:extLst>
            </p:cNvPr>
            <p:cNvSpPr/>
            <p:nvPr/>
          </p:nvSpPr>
          <p:spPr>
            <a:xfrm rot="8716295">
              <a:off x="5389987" y="215331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5" name="Forme libre : forme 374">
              <a:extLst>
                <a:ext uri="{FF2B5EF4-FFF2-40B4-BE49-F238E27FC236}">
                  <a16:creationId xmlns:a16="http://schemas.microsoft.com/office/drawing/2014/main" id="{03FB5FAB-F686-40AC-9940-1E92242C962D}"/>
                </a:ext>
              </a:extLst>
            </p:cNvPr>
            <p:cNvSpPr/>
            <p:nvPr/>
          </p:nvSpPr>
          <p:spPr>
            <a:xfrm rot="8716295">
              <a:off x="5371746" y="194326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6" name="Forme libre : forme 375">
              <a:extLst>
                <a:ext uri="{FF2B5EF4-FFF2-40B4-BE49-F238E27FC236}">
                  <a16:creationId xmlns:a16="http://schemas.microsoft.com/office/drawing/2014/main" id="{7697AE3D-D280-4B41-97E4-E67BBE2838D4}"/>
                </a:ext>
              </a:extLst>
            </p:cNvPr>
            <p:cNvSpPr/>
            <p:nvPr/>
          </p:nvSpPr>
          <p:spPr>
            <a:xfrm rot="8716295">
              <a:off x="5716764" y="2550542"/>
              <a:ext cx="91035" cy="331729"/>
            </a:xfrm>
            <a:custGeom>
              <a:avLst/>
              <a:gdLst>
                <a:gd name="connsiteX0" fmla="*/ 60147 w 60147"/>
                <a:gd name="connsiteY0" fmla="*/ 219174 h 219174"/>
                <a:gd name="connsiteX1" fmla="*/ 0 w 60147"/>
                <a:gd name="connsiteY1" fmla="*/ 161304 h 219174"/>
                <a:gd name="connsiteX2" fmla="*/ 0 w 60147"/>
                <a:gd name="connsiteY2" fmla="*/ 68045 h 219174"/>
                <a:gd name="connsiteX3" fmla="*/ 56210 w 60147"/>
                <a:gd name="connsiteY3" fmla="*/ 87 h 219174"/>
                <a:gd name="connsiteX4" fmla="*/ 60147 w 60147"/>
                <a:gd name="connsiteY4" fmla="*/ 0 h 219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47" h="219174">
                  <a:moveTo>
                    <a:pt x="60147" y="219174"/>
                  </a:moveTo>
                  <a:lnTo>
                    <a:pt x="0" y="161304"/>
                  </a:lnTo>
                  <a:lnTo>
                    <a:pt x="0" y="68045"/>
                  </a:lnTo>
                  <a:lnTo>
                    <a:pt x="56210" y="87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7" name="Forme libre : forme 376">
              <a:extLst>
                <a:ext uri="{FF2B5EF4-FFF2-40B4-BE49-F238E27FC236}">
                  <a16:creationId xmlns:a16="http://schemas.microsoft.com/office/drawing/2014/main" id="{46E8B4E6-46F9-4CF4-A6B7-A87039F21F77}"/>
                </a:ext>
              </a:extLst>
            </p:cNvPr>
            <p:cNvSpPr/>
            <p:nvPr/>
          </p:nvSpPr>
          <p:spPr>
            <a:xfrm rot="8716295">
              <a:off x="5787639" y="192609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8" name="Forme libre : forme 377">
              <a:extLst>
                <a:ext uri="{FF2B5EF4-FFF2-40B4-BE49-F238E27FC236}">
                  <a16:creationId xmlns:a16="http://schemas.microsoft.com/office/drawing/2014/main" id="{CE3A86F3-9EF3-4CAC-BAE7-301BACB20DC2}"/>
                </a:ext>
              </a:extLst>
            </p:cNvPr>
            <p:cNvSpPr/>
            <p:nvPr/>
          </p:nvSpPr>
          <p:spPr>
            <a:xfrm rot="8716295">
              <a:off x="5411131" y="133665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9" name="Forme libre : forme 378">
              <a:extLst>
                <a:ext uri="{FF2B5EF4-FFF2-40B4-BE49-F238E27FC236}">
                  <a16:creationId xmlns:a16="http://schemas.microsoft.com/office/drawing/2014/main" id="{5ADA9701-4026-4003-B92A-BE45A4B58CA1}"/>
                </a:ext>
              </a:extLst>
            </p:cNvPr>
            <p:cNvSpPr/>
            <p:nvPr/>
          </p:nvSpPr>
          <p:spPr>
            <a:xfrm rot="8716295">
              <a:off x="5547629" y="1389153"/>
              <a:ext cx="346795" cy="385612"/>
            </a:xfrm>
            <a:custGeom>
              <a:avLst/>
              <a:gdLst>
                <a:gd name="connsiteX0" fmla="*/ 19979 w 229128"/>
                <a:gd name="connsiteY0" fmla="*/ 254774 h 254774"/>
                <a:gd name="connsiteX1" fmla="*/ 19979 w 229128"/>
                <a:gd name="connsiteY1" fmla="*/ 45624 h 254774"/>
                <a:gd name="connsiteX2" fmla="*/ 0 w 229128"/>
                <a:gd name="connsiteY2" fmla="*/ 45624 h 254774"/>
                <a:gd name="connsiteX3" fmla="*/ 36558 w 229128"/>
                <a:gd name="connsiteY3" fmla="*/ 1425 h 254774"/>
                <a:gd name="connsiteX4" fmla="*/ 73292 w 229128"/>
                <a:gd name="connsiteY4" fmla="*/ 1425 h 254774"/>
                <a:gd name="connsiteX5" fmla="*/ 73292 w 229128"/>
                <a:gd name="connsiteY5" fmla="*/ 75242 h 254774"/>
                <a:gd name="connsiteX6" fmla="*/ 74658 w 229128"/>
                <a:gd name="connsiteY6" fmla="*/ 75242 h 254774"/>
                <a:gd name="connsiteX7" fmla="*/ 122503 w 229128"/>
                <a:gd name="connsiteY7" fmla="*/ 5981 h 254774"/>
                <a:gd name="connsiteX8" fmla="*/ 153944 w 229128"/>
                <a:gd name="connsiteY8" fmla="*/ 57 h 254774"/>
                <a:gd name="connsiteX9" fmla="*/ 229128 w 229128"/>
                <a:gd name="connsiteY9" fmla="*/ 88456 h 254774"/>
                <a:gd name="connsiteX10" fmla="*/ 229128 w 229128"/>
                <a:gd name="connsiteY10" fmla="*/ 94380 h 254774"/>
                <a:gd name="connsiteX11" fmla="*/ 167158 w 229128"/>
                <a:gd name="connsiteY11" fmla="*/ 98025 h 254774"/>
                <a:gd name="connsiteX12" fmla="*/ 167158 w 229128"/>
                <a:gd name="connsiteY12" fmla="*/ 81621 h 254774"/>
                <a:gd name="connsiteX13" fmla="*/ 133439 w 229128"/>
                <a:gd name="connsiteY13" fmla="*/ 40156 h 254774"/>
                <a:gd name="connsiteX14" fmla="*/ 80127 w 229128"/>
                <a:gd name="connsiteY14" fmla="*/ 127643 h 254774"/>
                <a:gd name="connsiteX15" fmla="*/ 80127 w 229128"/>
                <a:gd name="connsiteY15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29128" h="254774">
                  <a:moveTo>
                    <a:pt x="19979" y="254774"/>
                  </a:moveTo>
                  <a:lnTo>
                    <a:pt x="19979" y="45624"/>
                  </a:lnTo>
                  <a:lnTo>
                    <a:pt x="0" y="45624"/>
                  </a:lnTo>
                  <a:lnTo>
                    <a:pt x="36558" y="1425"/>
                  </a:lnTo>
                  <a:lnTo>
                    <a:pt x="73292" y="1425"/>
                  </a:lnTo>
                  <a:lnTo>
                    <a:pt x="73292" y="75242"/>
                  </a:lnTo>
                  <a:lnTo>
                    <a:pt x="74658" y="75242"/>
                  </a:lnTo>
                  <a:cubicBezTo>
                    <a:pt x="89240" y="31954"/>
                    <a:pt x="100631" y="15094"/>
                    <a:pt x="122503" y="5981"/>
                  </a:cubicBezTo>
                  <a:cubicBezTo>
                    <a:pt x="132528" y="1880"/>
                    <a:pt x="143008" y="-398"/>
                    <a:pt x="153944" y="57"/>
                  </a:cubicBezTo>
                  <a:cubicBezTo>
                    <a:pt x="200877" y="-854"/>
                    <a:pt x="229128" y="31954"/>
                    <a:pt x="229128" y="88456"/>
                  </a:cubicBezTo>
                  <a:lnTo>
                    <a:pt x="229128" y="94380"/>
                  </a:lnTo>
                  <a:lnTo>
                    <a:pt x="167158" y="98025"/>
                  </a:lnTo>
                  <a:lnTo>
                    <a:pt x="167158" y="81621"/>
                  </a:lnTo>
                  <a:cubicBezTo>
                    <a:pt x="167158" y="57016"/>
                    <a:pt x="153033" y="40156"/>
                    <a:pt x="133439" y="40156"/>
                  </a:cubicBezTo>
                  <a:cubicBezTo>
                    <a:pt x="104277" y="40156"/>
                    <a:pt x="80127" y="78887"/>
                    <a:pt x="80127" y="127643"/>
                  </a:cubicBezTo>
                  <a:lnTo>
                    <a:pt x="80127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0" name="Forme libre : forme 379">
              <a:extLst>
                <a:ext uri="{FF2B5EF4-FFF2-40B4-BE49-F238E27FC236}">
                  <a16:creationId xmlns:a16="http://schemas.microsoft.com/office/drawing/2014/main" id="{3801A8FD-71D9-43D4-9A13-F62B93652117}"/>
                </a:ext>
              </a:extLst>
            </p:cNvPr>
            <p:cNvSpPr/>
            <p:nvPr/>
          </p:nvSpPr>
          <p:spPr>
            <a:xfrm rot="8716295">
              <a:off x="5478548" y="125032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1" name="Forme libre : forme 380">
              <a:extLst>
                <a:ext uri="{FF2B5EF4-FFF2-40B4-BE49-F238E27FC236}">
                  <a16:creationId xmlns:a16="http://schemas.microsoft.com/office/drawing/2014/main" id="{4CC9B929-E3B4-4677-AB6A-C1B0E025204C}"/>
                </a:ext>
              </a:extLst>
            </p:cNvPr>
            <p:cNvSpPr/>
            <p:nvPr/>
          </p:nvSpPr>
          <p:spPr>
            <a:xfrm rot="8716295">
              <a:off x="5241260" y="147066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2" name="Forme libre : forme 381">
              <a:extLst>
                <a:ext uri="{FF2B5EF4-FFF2-40B4-BE49-F238E27FC236}">
                  <a16:creationId xmlns:a16="http://schemas.microsoft.com/office/drawing/2014/main" id="{43D5D927-BA42-496D-BC4E-8674E3CE6A51}"/>
                </a:ext>
              </a:extLst>
            </p:cNvPr>
            <p:cNvSpPr/>
            <p:nvPr/>
          </p:nvSpPr>
          <p:spPr>
            <a:xfrm rot="8716295">
              <a:off x="5052214" y="11548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3" name="Forme libre : forme 382">
              <a:extLst>
                <a:ext uri="{FF2B5EF4-FFF2-40B4-BE49-F238E27FC236}">
                  <a16:creationId xmlns:a16="http://schemas.microsoft.com/office/drawing/2014/main" id="{A9CA7264-4BDA-4273-8C76-8511057A1B85}"/>
                </a:ext>
              </a:extLst>
            </p:cNvPr>
            <p:cNvSpPr/>
            <p:nvPr/>
          </p:nvSpPr>
          <p:spPr>
            <a:xfrm rot="8716295">
              <a:off x="5033973" y="94478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4" name="Forme libre : forme 383">
              <a:extLst>
                <a:ext uri="{FF2B5EF4-FFF2-40B4-BE49-F238E27FC236}">
                  <a16:creationId xmlns:a16="http://schemas.microsoft.com/office/drawing/2014/main" id="{5E95C0C0-B211-4D78-A1DF-BE4FC385DAC5}"/>
                </a:ext>
              </a:extLst>
            </p:cNvPr>
            <p:cNvSpPr/>
            <p:nvPr/>
          </p:nvSpPr>
          <p:spPr>
            <a:xfrm rot="8716295">
              <a:off x="5377749" y="153264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5" name="Forme libre : forme 384">
              <a:extLst>
                <a:ext uri="{FF2B5EF4-FFF2-40B4-BE49-F238E27FC236}">
                  <a16:creationId xmlns:a16="http://schemas.microsoft.com/office/drawing/2014/main" id="{299B9701-5011-4B98-BC25-888CE3D4A261}"/>
                </a:ext>
              </a:extLst>
            </p:cNvPr>
            <p:cNvSpPr/>
            <p:nvPr/>
          </p:nvSpPr>
          <p:spPr>
            <a:xfrm rot="8716295">
              <a:off x="5847873" y="996679"/>
              <a:ext cx="92417" cy="314872"/>
            </a:xfrm>
            <a:custGeom>
              <a:avLst/>
              <a:gdLst>
                <a:gd name="connsiteX0" fmla="*/ 0 w 61060"/>
                <a:gd name="connsiteY0" fmla="*/ 208036 h 208036"/>
                <a:gd name="connsiteX1" fmla="*/ 1 w 61060"/>
                <a:gd name="connsiteY1" fmla="*/ 61780 h 208036"/>
                <a:gd name="connsiteX2" fmla="*/ 51100 w 61060"/>
                <a:gd name="connsiteY2" fmla="*/ 0 h 208036"/>
                <a:gd name="connsiteX3" fmla="*/ 61059 w 61060"/>
                <a:gd name="connsiteY3" fmla="*/ 25771 h 208036"/>
                <a:gd name="connsiteX4" fmla="*/ 61060 w 61060"/>
                <a:gd name="connsiteY4" fmla="*/ 183886 h 208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60" h="208036">
                  <a:moveTo>
                    <a:pt x="0" y="208036"/>
                  </a:moveTo>
                  <a:lnTo>
                    <a:pt x="1" y="61780"/>
                  </a:lnTo>
                  <a:lnTo>
                    <a:pt x="51100" y="0"/>
                  </a:lnTo>
                  <a:lnTo>
                    <a:pt x="61059" y="25771"/>
                  </a:lnTo>
                  <a:lnTo>
                    <a:pt x="61060" y="18388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6" name="Forme libre : forme 385">
              <a:extLst>
                <a:ext uri="{FF2B5EF4-FFF2-40B4-BE49-F238E27FC236}">
                  <a16:creationId xmlns:a16="http://schemas.microsoft.com/office/drawing/2014/main" id="{D1B55AC6-0E14-4AD6-A463-2BC5AB8BBB90}"/>
                </a:ext>
              </a:extLst>
            </p:cNvPr>
            <p:cNvSpPr/>
            <p:nvPr/>
          </p:nvSpPr>
          <p:spPr>
            <a:xfrm rot="8716295">
              <a:off x="5678824" y="109205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7" name="Forme libre : forme 386">
              <a:extLst>
                <a:ext uri="{FF2B5EF4-FFF2-40B4-BE49-F238E27FC236}">
                  <a16:creationId xmlns:a16="http://schemas.microsoft.com/office/drawing/2014/main" id="{35C0CB49-4515-4D6B-805D-6EE1D83F55CD}"/>
                </a:ext>
              </a:extLst>
            </p:cNvPr>
            <p:cNvSpPr/>
            <p:nvPr/>
          </p:nvSpPr>
          <p:spPr>
            <a:xfrm rot="8716295">
              <a:off x="5489780" y="77621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8" name="Forme libre : forme 387">
              <a:extLst>
                <a:ext uri="{FF2B5EF4-FFF2-40B4-BE49-F238E27FC236}">
                  <a16:creationId xmlns:a16="http://schemas.microsoft.com/office/drawing/2014/main" id="{393CE68B-9315-410C-84F0-0D845DB03A75}"/>
                </a:ext>
              </a:extLst>
            </p:cNvPr>
            <p:cNvSpPr/>
            <p:nvPr/>
          </p:nvSpPr>
          <p:spPr>
            <a:xfrm rot="8716295">
              <a:off x="5816554" y="1173443"/>
              <a:ext cx="91037" cy="331731"/>
            </a:xfrm>
            <a:custGeom>
              <a:avLst/>
              <a:gdLst>
                <a:gd name="connsiteX0" fmla="*/ 60148 w 60148"/>
                <a:gd name="connsiteY0" fmla="*/ 219175 h 219175"/>
                <a:gd name="connsiteX1" fmla="*/ 0 w 60148"/>
                <a:gd name="connsiteY1" fmla="*/ 161305 h 219175"/>
                <a:gd name="connsiteX2" fmla="*/ 0 w 60148"/>
                <a:gd name="connsiteY2" fmla="*/ 50021 h 219175"/>
                <a:gd name="connsiteX3" fmla="*/ 41025 w 60148"/>
                <a:gd name="connsiteY3" fmla="*/ 421 h 219175"/>
                <a:gd name="connsiteX4" fmla="*/ 60147 w 60148"/>
                <a:gd name="connsiteY4" fmla="*/ 0 h 219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48" h="219175">
                  <a:moveTo>
                    <a:pt x="60148" y="219175"/>
                  </a:moveTo>
                  <a:lnTo>
                    <a:pt x="0" y="161305"/>
                  </a:lnTo>
                  <a:lnTo>
                    <a:pt x="0" y="50021"/>
                  </a:lnTo>
                  <a:lnTo>
                    <a:pt x="41025" y="421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9" name="Forme libre : forme 388">
              <a:extLst>
                <a:ext uri="{FF2B5EF4-FFF2-40B4-BE49-F238E27FC236}">
                  <a16:creationId xmlns:a16="http://schemas.microsoft.com/office/drawing/2014/main" id="{B917A23A-4403-425A-9C2A-27DE35CB443E}"/>
                </a:ext>
              </a:extLst>
            </p:cNvPr>
            <p:cNvSpPr/>
            <p:nvPr/>
          </p:nvSpPr>
          <p:spPr>
            <a:xfrm rot="8716295">
              <a:off x="5449866" y="92760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0" name="Forme libre : forme 389">
              <a:extLst>
                <a:ext uri="{FF2B5EF4-FFF2-40B4-BE49-F238E27FC236}">
                  <a16:creationId xmlns:a16="http://schemas.microsoft.com/office/drawing/2014/main" id="{8689535D-A8DA-4F0E-9DBC-CBAFC078B2CB}"/>
                </a:ext>
              </a:extLst>
            </p:cNvPr>
            <p:cNvSpPr/>
            <p:nvPr/>
          </p:nvSpPr>
          <p:spPr>
            <a:xfrm rot="8716295">
              <a:off x="5954717" y="1002572"/>
              <a:ext cx="48491" cy="55034"/>
            </a:xfrm>
            <a:custGeom>
              <a:avLst/>
              <a:gdLst>
                <a:gd name="connsiteX0" fmla="*/ 0 w 32038"/>
                <a:gd name="connsiteY0" fmla="*/ 35166 h 36361"/>
                <a:gd name="connsiteX1" fmla="*/ 29086 w 32038"/>
                <a:gd name="connsiteY1" fmla="*/ 0 h 36361"/>
                <a:gd name="connsiteX2" fmla="*/ 32038 w 32038"/>
                <a:gd name="connsiteY2" fmla="*/ 7028 h 36361"/>
                <a:gd name="connsiteX3" fmla="*/ 23495 w 32038"/>
                <a:gd name="connsiteY3" fmla="*/ 27704 h 36361"/>
                <a:gd name="connsiteX4" fmla="*/ 2990 w 32038"/>
                <a:gd name="connsiteY4" fmla="*/ 36361 h 36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038" h="36361">
                  <a:moveTo>
                    <a:pt x="0" y="35166"/>
                  </a:moveTo>
                  <a:lnTo>
                    <a:pt x="29086" y="0"/>
                  </a:lnTo>
                  <a:lnTo>
                    <a:pt x="32038" y="7028"/>
                  </a:lnTo>
                  <a:cubicBezTo>
                    <a:pt x="32039" y="14489"/>
                    <a:pt x="29191" y="22008"/>
                    <a:pt x="23495" y="27704"/>
                  </a:cubicBezTo>
                  <a:cubicBezTo>
                    <a:pt x="18027" y="33172"/>
                    <a:pt x="10736" y="36361"/>
                    <a:pt x="2990" y="363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1" name="Forme libre : forme 390">
              <a:extLst>
                <a:ext uri="{FF2B5EF4-FFF2-40B4-BE49-F238E27FC236}">
                  <a16:creationId xmlns:a16="http://schemas.microsoft.com/office/drawing/2014/main" id="{4277FFB2-58A8-4A02-AADF-E018D5998562}"/>
                </a:ext>
              </a:extLst>
            </p:cNvPr>
            <p:cNvSpPr/>
            <p:nvPr/>
          </p:nvSpPr>
          <p:spPr>
            <a:xfrm rot="8716295">
              <a:off x="5079758" y="33459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2" name="Forme libre : forme 391">
              <a:extLst>
                <a:ext uri="{FF2B5EF4-FFF2-40B4-BE49-F238E27FC236}">
                  <a16:creationId xmlns:a16="http://schemas.microsoft.com/office/drawing/2014/main" id="{EA35B526-89AB-4A06-AA35-B12BC8F0AB1F}"/>
                </a:ext>
              </a:extLst>
            </p:cNvPr>
            <p:cNvSpPr/>
            <p:nvPr/>
          </p:nvSpPr>
          <p:spPr>
            <a:xfrm rot="8716295">
              <a:off x="5215056" y="37885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3" name="Forme libre : forme 392">
              <a:extLst>
                <a:ext uri="{FF2B5EF4-FFF2-40B4-BE49-F238E27FC236}">
                  <a16:creationId xmlns:a16="http://schemas.microsoft.com/office/drawing/2014/main" id="{0E946C4C-ED44-46D8-8F43-896DC93007DB}"/>
                </a:ext>
              </a:extLst>
            </p:cNvPr>
            <p:cNvSpPr/>
            <p:nvPr/>
          </p:nvSpPr>
          <p:spPr>
            <a:xfrm rot="8716295">
              <a:off x="5147174" y="248268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4" name="Forme libre : forme 393">
              <a:extLst>
                <a:ext uri="{FF2B5EF4-FFF2-40B4-BE49-F238E27FC236}">
                  <a16:creationId xmlns:a16="http://schemas.microsoft.com/office/drawing/2014/main" id="{8B9BAAAD-4871-45E0-9808-B6AF30F7C6CF}"/>
                </a:ext>
              </a:extLst>
            </p:cNvPr>
            <p:cNvSpPr/>
            <p:nvPr/>
          </p:nvSpPr>
          <p:spPr>
            <a:xfrm rot="8716295">
              <a:off x="4909887" y="4686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5" name="Forme libre : forme 394">
              <a:extLst>
                <a:ext uri="{FF2B5EF4-FFF2-40B4-BE49-F238E27FC236}">
                  <a16:creationId xmlns:a16="http://schemas.microsoft.com/office/drawing/2014/main" id="{7D346B9D-669B-40E6-8A36-5A7046F06D7F}"/>
                </a:ext>
              </a:extLst>
            </p:cNvPr>
            <p:cNvSpPr/>
            <p:nvPr/>
          </p:nvSpPr>
          <p:spPr>
            <a:xfrm rot="8716295">
              <a:off x="4720840" y="15277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6" name="Forme libre : forme 395">
              <a:extLst>
                <a:ext uri="{FF2B5EF4-FFF2-40B4-BE49-F238E27FC236}">
                  <a16:creationId xmlns:a16="http://schemas.microsoft.com/office/drawing/2014/main" id="{66103F96-93DC-4231-9A89-20615F9DAE20}"/>
                </a:ext>
              </a:extLst>
            </p:cNvPr>
            <p:cNvSpPr/>
            <p:nvPr/>
          </p:nvSpPr>
          <p:spPr>
            <a:xfrm rot="8716295">
              <a:off x="4702019" y="-47743"/>
              <a:ext cx="439901" cy="516041"/>
            </a:xfrm>
            <a:custGeom>
              <a:avLst/>
              <a:gdLst>
                <a:gd name="connsiteX0" fmla="*/ 155476 w 290643"/>
                <a:gd name="connsiteY0" fmla="*/ 340949 h 340949"/>
                <a:gd name="connsiteX1" fmla="*/ 1169 w 290643"/>
                <a:gd name="connsiteY1" fmla="*/ 233989 h 340949"/>
                <a:gd name="connsiteX2" fmla="*/ 0 w 290643"/>
                <a:gd name="connsiteY2" fmla="*/ 220042 h 340949"/>
                <a:gd name="connsiteX3" fmla="*/ 0 w 290643"/>
                <a:gd name="connsiteY3" fmla="*/ 40596 h 340949"/>
                <a:gd name="connsiteX4" fmla="*/ 78250 w 290643"/>
                <a:gd name="connsiteY4" fmla="*/ 0 h 340949"/>
                <a:gd name="connsiteX5" fmla="*/ 79427 w 290643"/>
                <a:gd name="connsiteY5" fmla="*/ 164149 h 340949"/>
                <a:gd name="connsiteX6" fmla="*/ 93547 w 290643"/>
                <a:gd name="connsiteY6" fmla="*/ 261815 h 340949"/>
                <a:gd name="connsiteX7" fmla="*/ 164149 w 290643"/>
                <a:gd name="connsiteY7" fmla="*/ 300646 h 340949"/>
                <a:gd name="connsiteX8" fmla="*/ 217100 w 290643"/>
                <a:gd name="connsiteY8" fmla="*/ 291232 h 340949"/>
                <a:gd name="connsiteX9" fmla="*/ 289467 w 290643"/>
                <a:gd name="connsiteY9" fmla="*/ 261815 h 340949"/>
                <a:gd name="connsiteX10" fmla="*/ 290643 w 290643"/>
                <a:gd name="connsiteY10" fmla="*/ 269463 h 340949"/>
                <a:gd name="connsiteX11" fmla="*/ 290643 w 290643"/>
                <a:gd name="connsiteY11" fmla="*/ 275347 h 340949"/>
                <a:gd name="connsiteX12" fmla="*/ 189080 w 290643"/>
                <a:gd name="connsiteY12" fmla="*/ 331975 h 340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0643" h="340949">
                  <a:moveTo>
                    <a:pt x="155476" y="340949"/>
                  </a:moveTo>
                  <a:lnTo>
                    <a:pt x="1169" y="233989"/>
                  </a:lnTo>
                  <a:lnTo>
                    <a:pt x="0" y="220042"/>
                  </a:ln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9" y="300646"/>
                  </a:cubicBezTo>
                  <a:cubicBezTo>
                    <a:pt x="182388" y="300057"/>
                    <a:pt x="200038" y="296527"/>
                    <a:pt x="217100" y="291232"/>
                  </a:cubicBezTo>
                  <a:cubicBezTo>
                    <a:pt x="241810" y="283584"/>
                    <a:pt x="265933" y="273582"/>
                    <a:pt x="289467" y="261815"/>
                  </a:cubicBezTo>
                  <a:cubicBezTo>
                    <a:pt x="290055" y="264168"/>
                    <a:pt x="290643" y="267110"/>
                    <a:pt x="290643" y="269463"/>
                  </a:cubicBezTo>
                  <a:lnTo>
                    <a:pt x="290643" y="275347"/>
                  </a:lnTo>
                  <a:cubicBezTo>
                    <a:pt x="259461" y="302117"/>
                    <a:pt x="223425" y="320208"/>
                    <a:pt x="189080" y="3319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7" name="Forme libre : forme 396">
              <a:extLst>
                <a:ext uri="{FF2B5EF4-FFF2-40B4-BE49-F238E27FC236}">
                  <a16:creationId xmlns:a16="http://schemas.microsoft.com/office/drawing/2014/main" id="{E7200A70-679E-46A4-89BB-E2CFE2F1D7AE}"/>
                </a:ext>
              </a:extLst>
            </p:cNvPr>
            <p:cNvSpPr/>
            <p:nvPr/>
          </p:nvSpPr>
          <p:spPr>
            <a:xfrm rot="8716295">
              <a:off x="5046375" y="53059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8" name="Forme libre : forme 397">
              <a:extLst>
                <a:ext uri="{FF2B5EF4-FFF2-40B4-BE49-F238E27FC236}">
                  <a16:creationId xmlns:a16="http://schemas.microsoft.com/office/drawing/2014/main" id="{5D528D3B-7826-4D4D-96B5-43ADE18F1EA6}"/>
                </a:ext>
              </a:extLst>
            </p:cNvPr>
            <p:cNvSpPr/>
            <p:nvPr/>
          </p:nvSpPr>
          <p:spPr>
            <a:xfrm rot="8716295">
              <a:off x="5517321" y="-4401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9" name="Forme libre : forme 398">
              <a:extLst>
                <a:ext uri="{FF2B5EF4-FFF2-40B4-BE49-F238E27FC236}">
                  <a16:creationId xmlns:a16="http://schemas.microsoft.com/office/drawing/2014/main" id="{2614F3E9-F724-4FC2-90FF-F1B58DCC0522}"/>
                </a:ext>
              </a:extLst>
            </p:cNvPr>
            <p:cNvSpPr/>
            <p:nvPr/>
          </p:nvSpPr>
          <p:spPr>
            <a:xfrm rot="8716295">
              <a:off x="5660365" y="29418"/>
              <a:ext cx="361480" cy="358038"/>
            </a:xfrm>
            <a:custGeom>
              <a:avLst/>
              <a:gdLst>
                <a:gd name="connsiteX0" fmla="*/ 56401 w 238830"/>
                <a:gd name="connsiteY0" fmla="*/ 236556 h 236556"/>
                <a:gd name="connsiteX1" fmla="*/ 29681 w 238830"/>
                <a:gd name="connsiteY1" fmla="*/ 218034 h 236556"/>
                <a:gd name="connsiteX2" fmla="*/ 29681 w 238830"/>
                <a:gd name="connsiteY2" fmla="*/ 45624 h 236556"/>
                <a:gd name="connsiteX3" fmla="*/ 0 w 238830"/>
                <a:gd name="connsiteY3" fmla="*/ 45624 h 236556"/>
                <a:gd name="connsiteX4" fmla="*/ 36558 w 238830"/>
                <a:gd name="connsiteY4" fmla="*/ 1425 h 236556"/>
                <a:gd name="connsiteX5" fmla="*/ 82994 w 238830"/>
                <a:gd name="connsiteY5" fmla="*/ 1425 h 236556"/>
                <a:gd name="connsiteX6" fmla="*/ 82994 w 238830"/>
                <a:gd name="connsiteY6" fmla="*/ 75242 h 236556"/>
                <a:gd name="connsiteX7" fmla="*/ 84360 w 238830"/>
                <a:gd name="connsiteY7" fmla="*/ 75242 h 236556"/>
                <a:gd name="connsiteX8" fmla="*/ 132205 w 238830"/>
                <a:gd name="connsiteY8" fmla="*/ 5981 h 236556"/>
                <a:gd name="connsiteX9" fmla="*/ 163646 w 238830"/>
                <a:gd name="connsiteY9" fmla="*/ 57 h 236556"/>
                <a:gd name="connsiteX10" fmla="*/ 238830 w 238830"/>
                <a:gd name="connsiteY10" fmla="*/ 88456 h 236556"/>
                <a:gd name="connsiteX11" fmla="*/ 238830 w 238830"/>
                <a:gd name="connsiteY11" fmla="*/ 94380 h 236556"/>
                <a:gd name="connsiteX12" fmla="*/ 176860 w 238830"/>
                <a:gd name="connsiteY12" fmla="*/ 98025 h 236556"/>
                <a:gd name="connsiteX13" fmla="*/ 176860 w 238830"/>
                <a:gd name="connsiteY13" fmla="*/ 81621 h 236556"/>
                <a:gd name="connsiteX14" fmla="*/ 143141 w 238830"/>
                <a:gd name="connsiteY14" fmla="*/ 40156 h 236556"/>
                <a:gd name="connsiteX15" fmla="*/ 89829 w 238830"/>
                <a:gd name="connsiteY15" fmla="*/ 127643 h 236556"/>
                <a:gd name="connsiteX16" fmla="*/ 89829 w 238830"/>
                <a:gd name="connsiteY16" fmla="*/ 213764 h 236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8830" h="236556">
                  <a:moveTo>
                    <a:pt x="56401" y="236556"/>
                  </a:moveTo>
                  <a:lnTo>
                    <a:pt x="29681" y="218034"/>
                  </a:lnTo>
                  <a:lnTo>
                    <a:pt x="29681" y="45624"/>
                  </a:lnTo>
                  <a:lnTo>
                    <a:pt x="0" y="45624"/>
                  </a:lnTo>
                  <a:lnTo>
                    <a:pt x="36558" y="1425"/>
                  </a:lnTo>
                  <a:lnTo>
                    <a:pt x="82994" y="1425"/>
                  </a:lnTo>
                  <a:lnTo>
                    <a:pt x="82994" y="75242"/>
                  </a:lnTo>
                  <a:lnTo>
                    <a:pt x="84360" y="75242"/>
                  </a:lnTo>
                  <a:cubicBezTo>
                    <a:pt x="98942" y="31954"/>
                    <a:pt x="110333" y="15095"/>
                    <a:pt x="132205" y="5981"/>
                  </a:cubicBezTo>
                  <a:cubicBezTo>
                    <a:pt x="142230" y="1880"/>
                    <a:pt x="152710" y="-398"/>
                    <a:pt x="163646" y="57"/>
                  </a:cubicBezTo>
                  <a:cubicBezTo>
                    <a:pt x="210579" y="-854"/>
                    <a:pt x="238830" y="31954"/>
                    <a:pt x="238830" y="88456"/>
                  </a:cubicBezTo>
                  <a:lnTo>
                    <a:pt x="238830" y="94380"/>
                  </a:lnTo>
                  <a:lnTo>
                    <a:pt x="176860" y="98025"/>
                  </a:lnTo>
                  <a:lnTo>
                    <a:pt x="176860" y="81621"/>
                  </a:lnTo>
                  <a:cubicBezTo>
                    <a:pt x="176860" y="57016"/>
                    <a:pt x="162735" y="40156"/>
                    <a:pt x="143141" y="40156"/>
                  </a:cubicBezTo>
                  <a:cubicBezTo>
                    <a:pt x="113979" y="40156"/>
                    <a:pt x="89829" y="78887"/>
                    <a:pt x="89829" y="127643"/>
                  </a:cubicBezTo>
                  <a:lnTo>
                    <a:pt x="89829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0" name="Forme libre : forme 399">
              <a:extLst>
                <a:ext uri="{FF2B5EF4-FFF2-40B4-BE49-F238E27FC236}">
                  <a16:creationId xmlns:a16="http://schemas.microsoft.com/office/drawing/2014/main" id="{30961414-E4AD-4BB3-9FB3-626F7F1FE23D}"/>
                </a:ext>
              </a:extLst>
            </p:cNvPr>
            <p:cNvSpPr/>
            <p:nvPr/>
          </p:nvSpPr>
          <p:spPr>
            <a:xfrm rot="8716295">
              <a:off x="5347450" y="8999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1" name="Forme libre : forme 400">
              <a:extLst>
                <a:ext uri="{FF2B5EF4-FFF2-40B4-BE49-F238E27FC236}">
                  <a16:creationId xmlns:a16="http://schemas.microsoft.com/office/drawing/2014/main" id="{30769E12-B50E-4874-9A5A-F158D8D6A603}"/>
                </a:ext>
              </a:extLst>
            </p:cNvPr>
            <p:cNvSpPr/>
            <p:nvPr/>
          </p:nvSpPr>
          <p:spPr>
            <a:xfrm rot="8716295">
              <a:off x="5220022" y="-7080"/>
              <a:ext cx="219414" cy="84041"/>
            </a:xfrm>
            <a:custGeom>
              <a:avLst/>
              <a:gdLst>
                <a:gd name="connsiteX0" fmla="*/ 80105 w 144967"/>
                <a:gd name="connsiteY0" fmla="*/ 55526 h 55526"/>
                <a:gd name="connsiteX1" fmla="*/ 0 w 144967"/>
                <a:gd name="connsiteY1" fmla="*/ 0 h 55526"/>
                <a:gd name="connsiteX2" fmla="*/ 144967 w 144967"/>
                <a:gd name="connsiteY2" fmla="*/ 0 h 55526"/>
                <a:gd name="connsiteX3" fmla="*/ 144967 w 144967"/>
                <a:gd name="connsiteY3" fmla="*/ 55323 h 55526"/>
                <a:gd name="connsiteX4" fmla="*/ 80175 w 144967"/>
                <a:gd name="connsiteY4" fmla="*/ 55323 h 55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967" h="55526">
                  <a:moveTo>
                    <a:pt x="80105" y="55526"/>
                  </a:moveTo>
                  <a:lnTo>
                    <a:pt x="0" y="0"/>
                  </a:lnTo>
                  <a:lnTo>
                    <a:pt x="144967" y="0"/>
                  </a:lnTo>
                  <a:lnTo>
                    <a:pt x="144967" y="55323"/>
                  </a:lnTo>
                  <a:lnTo>
                    <a:pt x="8017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2" name="Forme libre : forme 401">
              <a:extLst>
                <a:ext uri="{FF2B5EF4-FFF2-40B4-BE49-F238E27FC236}">
                  <a16:creationId xmlns:a16="http://schemas.microsoft.com/office/drawing/2014/main" id="{DED468EA-B834-46DE-9EEF-86FA34FB4D87}"/>
                </a:ext>
              </a:extLst>
            </p:cNvPr>
            <p:cNvSpPr/>
            <p:nvPr/>
          </p:nvSpPr>
          <p:spPr>
            <a:xfrm rot="8716295">
              <a:off x="5483939" y="15198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3" name="Forme libre : forme 402">
              <a:extLst>
                <a:ext uri="{FF2B5EF4-FFF2-40B4-BE49-F238E27FC236}">
                  <a16:creationId xmlns:a16="http://schemas.microsoft.com/office/drawing/2014/main" id="{3C1561C2-2060-4974-8514-2DC34975F6D4}"/>
                </a:ext>
              </a:extLst>
            </p:cNvPr>
            <p:cNvSpPr/>
            <p:nvPr/>
          </p:nvSpPr>
          <p:spPr>
            <a:xfrm rot="8716295">
              <a:off x="5128323" y="-20358"/>
              <a:ext cx="80664" cy="63766"/>
            </a:xfrm>
            <a:custGeom>
              <a:avLst/>
              <a:gdLst>
                <a:gd name="connsiteX0" fmla="*/ 51759 w 53295"/>
                <a:gd name="connsiteY0" fmla="*/ 42130 h 42130"/>
                <a:gd name="connsiteX1" fmla="*/ 0 w 53295"/>
                <a:gd name="connsiteY1" fmla="*/ 6252 h 42130"/>
                <a:gd name="connsiteX2" fmla="*/ 14807 w 53295"/>
                <a:gd name="connsiteY2" fmla="*/ 0 h 42130"/>
                <a:gd name="connsiteX3" fmla="*/ 41975 w 53295"/>
                <a:gd name="connsiteY3" fmla="*/ 11471 h 42130"/>
                <a:gd name="connsiteX4" fmla="*/ 53295 w 53295"/>
                <a:gd name="connsiteY4" fmla="*/ 38412 h 42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295" h="42130">
                  <a:moveTo>
                    <a:pt x="51759" y="42130"/>
                  </a:moveTo>
                  <a:lnTo>
                    <a:pt x="0" y="6252"/>
                  </a:lnTo>
                  <a:lnTo>
                    <a:pt x="14807" y="0"/>
                  </a:lnTo>
                  <a:cubicBezTo>
                    <a:pt x="25071" y="0"/>
                    <a:pt x="34731" y="4226"/>
                    <a:pt x="41975" y="11471"/>
                  </a:cubicBezTo>
                  <a:cubicBezTo>
                    <a:pt x="49522" y="18716"/>
                    <a:pt x="53295" y="28526"/>
                    <a:pt x="53295" y="3841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4" name="Forme libre : forme 403">
              <a:extLst>
                <a:ext uri="{FF2B5EF4-FFF2-40B4-BE49-F238E27FC236}">
                  <a16:creationId xmlns:a16="http://schemas.microsoft.com/office/drawing/2014/main" id="{BE3C9C9C-FBEC-4353-AF9E-1F8508D75B04}"/>
                </a:ext>
              </a:extLst>
            </p:cNvPr>
            <p:cNvSpPr/>
            <p:nvPr/>
          </p:nvSpPr>
          <p:spPr>
            <a:xfrm rot="7484129">
              <a:off x="5642756" y="4415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5" name="Forme libre : forme 404">
              <a:extLst>
                <a:ext uri="{FF2B5EF4-FFF2-40B4-BE49-F238E27FC236}">
                  <a16:creationId xmlns:a16="http://schemas.microsoft.com/office/drawing/2014/main" id="{8A4BC53C-40CB-4B8B-A2E3-E4599AA1DEB7}"/>
                </a:ext>
              </a:extLst>
            </p:cNvPr>
            <p:cNvSpPr/>
            <p:nvPr/>
          </p:nvSpPr>
          <p:spPr>
            <a:xfrm rot="13089394">
              <a:off x="5789679" y="415199"/>
              <a:ext cx="360116" cy="446294"/>
            </a:xfrm>
            <a:custGeom>
              <a:avLst/>
              <a:gdLst>
                <a:gd name="connsiteX0" fmla="*/ 39306 w 237929"/>
                <a:gd name="connsiteY0" fmla="*/ 79955 h 294867"/>
                <a:gd name="connsiteX1" fmla="*/ 0 w 237929"/>
                <a:gd name="connsiteY1" fmla="*/ 20095 h 294867"/>
                <a:gd name="connsiteX2" fmla="*/ 38733 w 237929"/>
                <a:gd name="connsiteY2" fmla="*/ 0 h 294867"/>
                <a:gd name="connsiteX3" fmla="*/ 237929 w 237929"/>
                <a:gd name="connsiteY3" fmla="*/ 258238 h 294867"/>
                <a:gd name="connsiteX4" fmla="*/ 191415 w 237929"/>
                <a:gd name="connsiteY4" fmla="*/ 290069 h 294867"/>
                <a:gd name="connsiteX5" fmla="*/ 180425 w 237929"/>
                <a:gd name="connsiteY5" fmla="*/ 294867 h 294867"/>
                <a:gd name="connsiteX6" fmla="*/ 166448 w 237929"/>
                <a:gd name="connsiteY6" fmla="*/ 273582 h 294867"/>
                <a:gd name="connsiteX7" fmla="*/ 168955 w 237929"/>
                <a:gd name="connsiteY7" fmla="*/ 273136 h 294867"/>
                <a:gd name="connsiteX8" fmla="*/ 236826 w 237929"/>
                <a:gd name="connsiteY8" fmla="*/ 245547 h 294867"/>
                <a:gd name="connsiteX9" fmla="*/ 237929 w 237929"/>
                <a:gd name="connsiteY9" fmla="*/ 252720 h 294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7929" h="294867">
                  <a:moveTo>
                    <a:pt x="39306" y="79955"/>
                  </a:moveTo>
                  <a:lnTo>
                    <a:pt x="0" y="20095"/>
                  </a:lnTo>
                  <a:lnTo>
                    <a:pt x="38733" y="0"/>
                  </a:lnTo>
                  <a:close/>
                  <a:moveTo>
                    <a:pt x="237929" y="258238"/>
                  </a:moveTo>
                  <a:cubicBezTo>
                    <a:pt x="223307" y="270791"/>
                    <a:pt x="207546" y="281309"/>
                    <a:pt x="191415" y="290069"/>
                  </a:cubicBezTo>
                  <a:lnTo>
                    <a:pt x="180425" y="294867"/>
                  </a:lnTo>
                  <a:lnTo>
                    <a:pt x="166448" y="273582"/>
                  </a:lnTo>
                  <a:lnTo>
                    <a:pt x="168955" y="273136"/>
                  </a:lnTo>
                  <a:cubicBezTo>
                    <a:pt x="192130" y="265963"/>
                    <a:pt x="214754" y="256582"/>
                    <a:pt x="236826" y="245547"/>
                  </a:cubicBezTo>
                  <a:cubicBezTo>
                    <a:pt x="237377" y="247754"/>
                    <a:pt x="237929" y="250513"/>
                    <a:pt x="237929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6" name="Forme libre : forme 405">
              <a:extLst>
                <a:ext uri="{FF2B5EF4-FFF2-40B4-BE49-F238E27FC236}">
                  <a16:creationId xmlns:a16="http://schemas.microsoft.com/office/drawing/2014/main" id="{800D034F-ECF4-4F0F-8FF6-C97DAD2143D3}"/>
                </a:ext>
              </a:extLst>
            </p:cNvPr>
            <p:cNvSpPr/>
            <p:nvPr/>
          </p:nvSpPr>
          <p:spPr>
            <a:xfrm rot="8716295">
              <a:off x="5996886" y="-12676"/>
              <a:ext cx="90399" cy="122140"/>
            </a:xfrm>
            <a:custGeom>
              <a:avLst/>
              <a:gdLst>
                <a:gd name="connsiteX0" fmla="*/ 0 w 59727"/>
                <a:gd name="connsiteY0" fmla="*/ 52945 h 80698"/>
                <a:gd name="connsiteX1" fmla="*/ 43791 w 59727"/>
                <a:gd name="connsiteY1" fmla="*/ 0 h 80698"/>
                <a:gd name="connsiteX2" fmla="*/ 59727 w 59727"/>
                <a:gd name="connsiteY2" fmla="*/ 37928 h 80698"/>
                <a:gd name="connsiteX3" fmla="*/ 42480 w 59727"/>
                <a:gd name="connsiteY3" fmla="*/ 79666 h 80698"/>
                <a:gd name="connsiteX4" fmla="*/ 40038 w 59727"/>
                <a:gd name="connsiteY4" fmla="*/ 80698 h 80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727" h="80698">
                  <a:moveTo>
                    <a:pt x="0" y="52945"/>
                  </a:moveTo>
                  <a:lnTo>
                    <a:pt x="43791" y="0"/>
                  </a:lnTo>
                  <a:lnTo>
                    <a:pt x="59727" y="37928"/>
                  </a:lnTo>
                  <a:cubicBezTo>
                    <a:pt x="59727" y="52991"/>
                    <a:pt x="53978" y="68168"/>
                    <a:pt x="42480" y="79666"/>
                  </a:cubicBezTo>
                  <a:lnTo>
                    <a:pt x="40038" y="806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7" name="Forme libre : forme 406">
              <a:extLst>
                <a:ext uri="{FF2B5EF4-FFF2-40B4-BE49-F238E27FC236}">
                  <a16:creationId xmlns:a16="http://schemas.microsoft.com/office/drawing/2014/main" id="{3B32A0F8-96EA-444F-A5F3-4315A6F0F2B6}"/>
                </a:ext>
              </a:extLst>
            </p:cNvPr>
            <p:cNvSpPr/>
            <p:nvPr/>
          </p:nvSpPr>
          <p:spPr>
            <a:xfrm rot="8716295">
              <a:off x="5631023" y="-8174"/>
              <a:ext cx="87445" cy="82387"/>
            </a:xfrm>
            <a:custGeom>
              <a:avLst/>
              <a:gdLst>
                <a:gd name="connsiteX0" fmla="*/ 37946 w 57775"/>
                <a:gd name="connsiteY0" fmla="*/ 54433 h 54433"/>
                <a:gd name="connsiteX1" fmla="*/ 0 w 57775"/>
                <a:gd name="connsiteY1" fmla="*/ 28130 h 54433"/>
                <a:gd name="connsiteX2" fmla="*/ 8222 w 57775"/>
                <a:gd name="connsiteY2" fmla="*/ 8658 h 54433"/>
                <a:gd name="connsiteX3" fmla="*/ 28726 w 57775"/>
                <a:gd name="connsiteY3" fmla="*/ 0 h 54433"/>
                <a:gd name="connsiteX4" fmla="*/ 49232 w 57775"/>
                <a:gd name="connsiteY4" fmla="*/ 8658 h 54433"/>
                <a:gd name="connsiteX5" fmla="*/ 49232 w 57775"/>
                <a:gd name="connsiteY5" fmla="*/ 49668 h 54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775" h="54433">
                  <a:moveTo>
                    <a:pt x="37946" y="54433"/>
                  </a:moveTo>
                  <a:lnTo>
                    <a:pt x="0" y="28130"/>
                  </a:lnTo>
                  <a:lnTo>
                    <a:pt x="8222" y="8658"/>
                  </a:lnTo>
                  <a:cubicBezTo>
                    <a:pt x="13690" y="3190"/>
                    <a:pt x="20981" y="0"/>
                    <a:pt x="28726" y="0"/>
                  </a:cubicBezTo>
                  <a:cubicBezTo>
                    <a:pt x="36473" y="0"/>
                    <a:pt x="43764" y="3190"/>
                    <a:pt x="49232" y="8658"/>
                  </a:cubicBezTo>
                  <a:cubicBezTo>
                    <a:pt x="60624" y="19594"/>
                    <a:pt x="60623" y="38276"/>
                    <a:pt x="49232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pic>
        <p:nvPicPr>
          <p:cNvPr id="408" name="Graphique 407">
            <a:extLst>
              <a:ext uri="{FF2B5EF4-FFF2-40B4-BE49-F238E27FC236}">
                <a16:creationId xmlns:a16="http://schemas.microsoft.com/office/drawing/2014/main" id="{448F94F4-8E31-46DD-9D3E-E96498FF82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97194" y="3988359"/>
            <a:ext cx="2255854" cy="673200"/>
          </a:xfrm>
          <a:prstGeom prst="rect">
            <a:avLst/>
          </a:prstGeom>
        </p:spPr>
      </p:pic>
      <p:sp>
        <p:nvSpPr>
          <p:cNvPr id="411" name="Espace réservé du texte 410">
            <a:extLst>
              <a:ext uri="{FF2B5EF4-FFF2-40B4-BE49-F238E27FC236}">
                <a16:creationId xmlns:a16="http://schemas.microsoft.com/office/drawing/2014/main" id="{E014E6DC-AD19-40E5-A2B7-DF68385EE1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3141" y="526470"/>
            <a:ext cx="7379432" cy="29918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1pPr>
            <a:lvl2pPr marL="0" indent="0" algn="r">
              <a:buNone/>
              <a:defRPr sz="5400" b="1" cap="all" normalizeH="0" baseline="0">
                <a:solidFill>
                  <a:srgbClr val="009FE3"/>
                </a:solidFill>
              </a:defRPr>
            </a:lvl2pPr>
          </a:lstStyle>
          <a:p>
            <a:pPr lvl="0"/>
            <a:r>
              <a:rPr lang="fr-FR" dirty="0"/>
              <a:t>Titre de la présentation</a:t>
            </a:r>
          </a:p>
          <a:p>
            <a:pPr lvl="1"/>
            <a:r>
              <a:rPr lang="fr-FR" dirty="0"/>
              <a:t>exergue</a:t>
            </a:r>
          </a:p>
        </p:txBody>
      </p:sp>
    </p:spTree>
    <p:extLst>
      <p:ext uri="{BB962C8B-B14F-4D97-AF65-F5344CB8AC3E}">
        <p14:creationId xmlns:p14="http://schemas.microsoft.com/office/powerpoint/2010/main" val="113039933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itr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4" name="Groupe 413">
            <a:extLst>
              <a:ext uri="{FF2B5EF4-FFF2-40B4-BE49-F238E27FC236}">
                <a16:creationId xmlns:a16="http://schemas.microsoft.com/office/drawing/2014/main" id="{2644C3EB-70A8-4825-90FB-0BA5647C44C3}"/>
              </a:ext>
            </a:extLst>
          </p:cNvPr>
          <p:cNvGrpSpPr/>
          <p:nvPr userDrawn="1"/>
        </p:nvGrpSpPr>
        <p:grpSpPr>
          <a:xfrm>
            <a:off x="-134707" y="-108618"/>
            <a:ext cx="6284502" cy="5381969"/>
            <a:chOff x="-134707" y="-108618"/>
            <a:chExt cx="6284502" cy="5381969"/>
          </a:xfrm>
          <a:solidFill>
            <a:schemeClr val="bg2">
              <a:alpha val="10000"/>
            </a:schemeClr>
          </a:solidFill>
        </p:grpSpPr>
        <p:sp>
          <p:nvSpPr>
            <p:cNvPr id="415" name="Forme libre : forme 414">
              <a:extLst>
                <a:ext uri="{FF2B5EF4-FFF2-40B4-BE49-F238E27FC236}">
                  <a16:creationId xmlns:a16="http://schemas.microsoft.com/office/drawing/2014/main" id="{26D76879-6717-4423-9F18-EA639E20D75F}"/>
                </a:ext>
              </a:extLst>
            </p:cNvPr>
            <p:cNvSpPr/>
            <p:nvPr/>
          </p:nvSpPr>
          <p:spPr>
            <a:xfrm rot="8716295">
              <a:off x="1460344" y="348006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6" name="Forme libre : forme 415">
              <a:extLst>
                <a:ext uri="{FF2B5EF4-FFF2-40B4-BE49-F238E27FC236}">
                  <a16:creationId xmlns:a16="http://schemas.microsoft.com/office/drawing/2014/main" id="{6F6CD235-6DDC-4933-9FDE-9403C4655E9F}"/>
                </a:ext>
              </a:extLst>
            </p:cNvPr>
            <p:cNvSpPr/>
            <p:nvPr/>
          </p:nvSpPr>
          <p:spPr>
            <a:xfrm rot="8716295">
              <a:off x="1595642" y="352432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7" name="Forme libre : forme 416">
              <a:extLst>
                <a:ext uri="{FF2B5EF4-FFF2-40B4-BE49-F238E27FC236}">
                  <a16:creationId xmlns:a16="http://schemas.microsoft.com/office/drawing/2014/main" id="{1DE6B810-CC68-4D75-A0DA-3AB15B93C310}"/>
                </a:ext>
              </a:extLst>
            </p:cNvPr>
            <p:cNvSpPr/>
            <p:nvPr/>
          </p:nvSpPr>
          <p:spPr>
            <a:xfrm rot="8716295">
              <a:off x="1527760" y="339373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8" name="Forme libre : forme 417">
              <a:extLst>
                <a:ext uri="{FF2B5EF4-FFF2-40B4-BE49-F238E27FC236}">
                  <a16:creationId xmlns:a16="http://schemas.microsoft.com/office/drawing/2014/main" id="{B2F3E872-B9FB-4C1E-8FFB-A353888D6487}"/>
                </a:ext>
              </a:extLst>
            </p:cNvPr>
            <p:cNvSpPr/>
            <p:nvPr/>
          </p:nvSpPr>
          <p:spPr>
            <a:xfrm rot="8716295">
              <a:off x="1290473" y="361408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9" name="Forme libre : forme 418">
              <a:extLst>
                <a:ext uri="{FF2B5EF4-FFF2-40B4-BE49-F238E27FC236}">
                  <a16:creationId xmlns:a16="http://schemas.microsoft.com/office/drawing/2014/main" id="{58C1A8CA-96AF-45F6-BEF0-2F79DFAA8D08}"/>
                </a:ext>
              </a:extLst>
            </p:cNvPr>
            <p:cNvSpPr/>
            <p:nvPr/>
          </p:nvSpPr>
          <p:spPr>
            <a:xfrm rot="8716295">
              <a:off x="1101427" y="329824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0" name="Forme libre : forme 419">
              <a:extLst>
                <a:ext uri="{FF2B5EF4-FFF2-40B4-BE49-F238E27FC236}">
                  <a16:creationId xmlns:a16="http://schemas.microsoft.com/office/drawing/2014/main" id="{E4D6370E-93EF-40F5-A0C4-77E41F8C5928}"/>
                </a:ext>
              </a:extLst>
            </p:cNvPr>
            <p:cNvSpPr/>
            <p:nvPr/>
          </p:nvSpPr>
          <p:spPr>
            <a:xfrm rot="8716295">
              <a:off x="1083185" y="3088198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1" name="Forme libre : forme 420">
              <a:extLst>
                <a:ext uri="{FF2B5EF4-FFF2-40B4-BE49-F238E27FC236}">
                  <a16:creationId xmlns:a16="http://schemas.microsoft.com/office/drawing/2014/main" id="{75EE660D-490C-4E91-B35C-9971F1A8A457}"/>
                </a:ext>
              </a:extLst>
            </p:cNvPr>
            <p:cNvSpPr/>
            <p:nvPr/>
          </p:nvSpPr>
          <p:spPr>
            <a:xfrm rot="8716295">
              <a:off x="1426961" y="367606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2" name="Forme libre : forme 421">
              <a:extLst>
                <a:ext uri="{FF2B5EF4-FFF2-40B4-BE49-F238E27FC236}">
                  <a16:creationId xmlns:a16="http://schemas.microsoft.com/office/drawing/2014/main" id="{D1E2AD0B-852D-4FB3-B735-8BDD01079661}"/>
                </a:ext>
              </a:extLst>
            </p:cNvPr>
            <p:cNvSpPr/>
            <p:nvPr/>
          </p:nvSpPr>
          <p:spPr>
            <a:xfrm rot="8716295">
              <a:off x="1897908" y="310145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3" name="Forme libre : forme 422">
              <a:extLst>
                <a:ext uri="{FF2B5EF4-FFF2-40B4-BE49-F238E27FC236}">
                  <a16:creationId xmlns:a16="http://schemas.microsoft.com/office/drawing/2014/main" id="{429C4CB7-99F5-4D34-89E6-B179CBB2792F}"/>
                </a:ext>
              </a:extLst>
            </p:cNvPr>
            <p:cNvSpPr/>
            <p:nvPr/>
          </p:nvSpPr>
          <p:spPr>
            <a:xfrm rot="8716295">
              <a:off x="2033206" y="314571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4" name="Forme libre : forme 423">
              <a:extLst>
                <a:ext uri="{FF2B5EF4-FFF2-40B4-BE49-F238E27FC236}">
                  <a16:creationId xmlns:a16="http://schemas.microsoft.com/office/drawing/2014/main" id="{33EC79B0-46E8-4552-B0C2-EA4BA94B076A}"/>
                </a:ext>
              </a:extLst>
            </p:cNvPr>
            <p:cNvSpPr/>
            <p:nvPr/>
          </p:nvSpPr>
          <p:spPr>
            <a:xfrm rot="8716295">
              <a:off x="1728037" y="323546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5" name="Forme libre : forme 424">
              <a:extLst>
                <a:ext uri="{FF2B5EF4-FFF2-40B4-BE49-F238E27FC236}">
                  <a16:creationId xmlns:a16="http://schemas.microsoft.com/office/drawing/2014/main" id="{F11F5A76-7590-43AE-A2CA-DBD4FA198BE7}"/>
                </a:ext>
              </a:extLst>
            </p:cNvPr>
            <p:cNvSpPr/>
            <p:nvPr/>
          </p:nvSpPr>
          <p:spPr>
            <a:xfrm rot="8716295">
              <a:off x="1538992" y="291963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6" name="Forme libre : forme 425">
              <a:extLst>
                <a:ext uri="{FF2B5EF4-FFF2-40B4-BE49-F238E27FC236}">
                  <a16:creationId xmlns:a16="http://schemas.microsoft.com/office/drawing/2014/main" id="{4B4E85B8-2719-4100-97B6-FA850AC933E3}"/>
                </a:ext>
              </a:extLst>
            </p:cNvPr>
            <p:cNvSpPr/>
            <p:nvPr/>
          </p:nvSpPr>
          <p:spPr>
            <a:xfrm rot="8716295">
              <a:off x="1864525" y="329745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7" name="Forme libre : forme 426">
              <a:extLst>
                <a:ext uri="{FF2B5EF4-FFF2-40B4-BE49-F238E27FC236}">
                  <a16:creationId xmlns:a16="http://schemas.microsoft.com/office/drawing/2014/main" id="{A27E076C-BF8A-4B98-AA33-E1406E0774AD}"/>
                </a:ext>
              </a:extLst>
            </p:cNvPr>
            <p:cNvSpPr/>
            <p:nvPr/>
          </p:nvSpPr>
          <p:spPr>
            <a:xfrm rot="8716295">
              <a:off x="1499078" y="307102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8" name="Forme libre : forme 427">
              <a:extLst>
                <a:ext uri="{FF2B5EF4-FFF2-40B4-BE49-F238E27FC236}">
                  <a16:creationId xmlns:a16="http://schemas.microsoft.com/office/drawing/2014/main" id="{D95DFA88-032A-4498-8D4C-A6BC58A967C4}"/>
                </a:ext>
              </a:extLst>
            </p:cNvPr>
            <p:cNvSpPr/>
            <p:nvPr/>
          </p:nvSpPr>
          <p:spPr>
            <a:xfrm rot="7484129">
              <a:off x="2023343" y="358706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9" name="Forme libre : forme 428">
              <a:extLst>
                <a:ext uri="{FF2B5EF4-FFF2-40B4-BE49-F238E27FC236}">
                  <a16:creationId xmlns:a16="http://schemas.microsoft.com/office/drawing/2014/main" id="{2D20AB0B-B576-4C51-BD2C-ADE38038FD4A}"/>
                </a:ext>
              </a:extLst>
            </p:cNvPr>
            <p:cNvSpPr/>
            <p:nvPr/>
          </p:nvSpPr>
          <p:spPr>
            <a:xfrm rot="13089394">
              <a:off x="2181992" y="353641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0" name="Forme libre : forme 429">
              <a:extLst>
                <a:ext uri="{FF2B5EF4-FFF2-40B4-BE49-F238E27FC236}">
                  <a16:creationId xmlns:a16="http://schemas.microsoft.com/office/drawing/2014/main" id="{9F954357-46D8-4091-9893-D6D2863074FC}"/>
                </a:ext>
              </a:extLst>
            </p:cNvPr>
            <p:cNvSpPr/>
            <p:nvPr/>
          </p:nvSpPr>
          <p:spPr>
            <a:xfrm rot="8716295">
              <a:off x="2462883" y="3246298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1" name="Forme libre : forme 430">
              <a:extLst>
                <a:ext uri="{FF2B5EF4-FFF2-40B4-BE49-F238E27FC236}">
                  <a16:creationId xmlns:a16="http://schemas.microsoft.com/office/drawing/2014/main" id="{6CD2C382-A770-4048-AFF9-571A0AF515B2}"/>
                </a:ext>
              </a:extLst>
            </p:cNvPr>
            <p:cNvSpPr/>
            <p:nvPr/>
          </p:nvSpPr>
          <p:spPr>
            <a:xfrm rot="8716295">
              <a:off x="2384474" y="308950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2" name="Forme libre : forme 431">
              <a:extLst>
                <a:ext uri="{FF2B5EF4-FFF2-40B4-BE49-F238E27FC236}">
                  <a16:creationId xmlns:a16="http://schemas.microsoft.com/office/drawing/2014/main" id="{43A496C9-D536-4357-8044-8DE46896BD6D}"/>
                </a:ext>
              </a:extLst>
            </p:cNvPr>
            <p:cNvSpPr/>
            <p:nvPr/>
          </p:nvSpPr>
          <p:spPr>
            <a:xfrm rot="8716295">
              <a:off x="2016311" y="313524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3" name="Forme libre : forme 432">
              <a:extLst>
                <a:ext uri="{FF2B5EF4-FFF2-40B4-BE49-F238E27FC236}">
                  <a16:creationId xmlns:a16="http://schemas.microsoft.com/office/drawing/2014/main" id="{F97B172E-F70A-4826-9B46-D11622283D88}"/>
                </a:ext>
              </a:extLst>
            </p:cNvPr>
            <p:cNvSpPr/>
            <p:nvPr/>
          </p:nvSpPr>
          <p:spPr>
            <a:xfrm rot="8716295">
              <a:off x="2284892" y="289422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4" name="Forme libre : forme 433">
              <a:extLst>
                <a:ext uri="{FF2B5EF4-FFF2-40B4-BE49-F238E27FC236}">
                  <a16:creationId xmlns:a16="http://schemas.microsoft.com/office/drawing/2014/main" id="{DBE1C2D7-8DEA-409D-8977-EC4395FEE5AE}"/>
                </a:ext>
              </a:extLst>
            </p:cNvPr>
            <p:cNvSpPr/>
            <p:nvPr/>
          </p:nvSpPr>
          <p:spPr>
            <a:xfrm rot="8716295">
              <a:off x="1798117" y="447855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5" name="Forme libre : forme 434">
              <a:extLst>
                <a:ext uri="{FF2B5EF4-FFF2-40B4-BE49-F238E27FC236}">
                  <a16:creationId xmlns:a16="http://schemas.microsoft.com/office/drawing/2014/main" id="{6CCD94BF-3540-4400-ADAD-029941EA6E42}"/>
                </a:ext>
              </a:extLst>
            </p:cNvPr>
            <p:cNvSpPr/>
            <p:nvPr/>
          </p:nvSpPr>
          <p:spPr>
            <a:xfrm rot="8716295">
              <a:off x="1933415" y="452281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6" name="Forme libre : forme 435">
              <a:extLst>
                <a:ext uri="{FF2B5EF4-FFF2-40B4-BE49-F238E27FC236}">
                  <a16:creationId xmlns:a16="http://schemas.microsoft.com/office/drawing/2014/main" id="{6A711F46-BB76-441D-BBB2-E8BB742A8FA0}"/>
                </a:ext>
              </a:extLst>
            </p:cNvPr>
            <p:cNvSpPr/>
            <p:nvPr/>
          </p:nvSpPr>
          <p:spPr>
            <a:xfrm rot="8716295">
              <a:off x="1865533" y="439222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7" name="Forme libre : forme 436">
              <a:extLst>
                <a:ext uri="{FF2B5EF4-FFF2-40B4-BE49-F238E27FC236}">
                  <a16:creationId xmlns:a16="http://schemas.microsoft.com/office/drawing/2014/main" id="{080AD499-612A-4324-9D7F-432F8DA35F24}"/>
                </a:ext>
              </a:extLst>
            </p:cNvPr>
            <p:cNvSpPr/>
            <p:nvPr/>
          </p:nvSpPr>
          <p:spPr>
            <a:xfrm rot="8716295">
              <a:off x="1628246" y="461256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8" name="Forme libre : forme 437">
              <a:extLst>
                <a:ext uri="{FF2B5EF4-FFF2-40B4-BE49-F238E27FC236}">
                  <a16:creationId xmlns:a16="http://schemas.microsoft.com/office/drawing/2014/main" id="{F65DE21A-C7F5-490D-803A-5E27AE79387F}"/>
                </a:ext>
              </a:extLst>
            </p:cNvPr>
            <p:cNvSpPr/>
            <p:nvPr/>
          </p:nvSpPr>
          <p:spPr>
            <a:xfrm rot="8716295">
              <a:off x="1439200" y="42967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9" name="Forme libre : forme 438">
              <a:extLst>
                <a:ext uri="{FF2B5EF4-FFF2-40B4-BE49-F238E27FC236}">
                  <a16:creationId xmlns:a16="http://schemas.microsoft.com/office/drawing/2014/main" id="{4870EC0D-8313-4FB2-9F0D-D062D3F8FE46}"/>
                </a:ext>
              </a:extLst>
            </p:cNvPr>
            <p:cNvSpPr/>
            <p:nvPr/>
          </p:nvSpPr>
          <p:spPr>
            <a:xfrm rot="8716295">
              <a:off x="1420958" y="408668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0" name="Forme libre : forme 439">
              <a:extLst>
                <a:ext uri="{FF2B5EF4-FFF2-40B4-BE49-F238E27FC236}">
                  <a16:creationId xmlns:a16="http://schemas.microsoft.com/office/drawing/2014/main" id="{1C3E68D2-805A-4614-B9F0-EF8296EB21E7}"/>
                </a:ext>
              </a:extLst>
            </p:cNvPr>
            <p:cNvSpPr/>
            <p:nvPr/>
          </p:nvSpPr>
          <p:spPr>
            <a:xfrm rot="8716295">
              <a:off x="1764734" y="467454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1" name="Forme libre : forme 440">
              <a:extLst>
                <a:ext uri="{FF2B5EF4-FFF2-40B4-BE49-F238E27FC236}">
                  <a16:creationId xmlns:a16="http://schemas.microsoft.com/office/drawing/2014/main" id="{7D006425-5A7F-45EC-8C07-6540BE529EFF}"/>
                </a:ext>
              </a:extLst>
            </p:cNvPr>
            <p:cNvSpPr/>
            <p:nvPr/>
          </p:nvSpPr>
          <p:spPr>
            <a:xfrm rot="8716295">
              <a:off x="2235681" y="409993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2" name="Forme libre : forme 441">
              <a:extLst>
                <a:ext uri="{FF2B5EF4-FFF2-40B4-BE49-F238E27FC236}">
                  <a16:creationId xmlns:a16="http://schemas.microsoft.com/office/drawing/2014/main" id="{EEBCE819-4C86-43C8-A8FD-538E58BE173E}"/>
                </a:ext>
              </a:extLst>
            </p:cNvPr>
            <p:cNvSpPr/>
            <p:nvPr/>
          </p:nvSpPr>
          <p:spPr>
            <a:xfrm rot="8716295">
              <a:off x="2370979" y="414419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3" name="Forme libre : forme 442">
              <a:extLst>
                <a:ext uri="{FF2B5EF4-FFF2-40B4-BE49-F238E27FC236}">
                  <a16:creationId xmlns:a16="http://schemas.microsoft.com/office/drawing/2014/main" id="{5925BB99-2A21-4A4D-AEE9-C74CAEFFF456}"/>
                </a:ext>
              </a:extLst>
            </p:cNvPr>
            <p:cNvSpPr/>
            <p:nvPr/>
          </p:nvSpPr>
          <p:spPr>
            <a:xfrm rot="8716295">
              <a:off x="2065810" y="423395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4" name="Forme libre : forme 443">
              <a:extLst>
                <a:ext uri="{FF2B5EF4-FFF2-40B4-BE49-F238E27FC236}">
                  <a16:creationId xmlns:a16="http://schemas.microsoft.com/office/drawing/2014/main" id="{D90AB38E-9535-4B07-A3B0-C983BFD87309}"/>
                </a:ext>
              </a:extLst>
            </p:cNvPr>
            <p:cNvSpPr/>
            <p:nvPr/>
          </p:nvSpPr>
          <p:spPr>
            <a:xfrm rot="8716295">
              <a:off x="1876765" y="391811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5" name="Forme libre : forme 444">
              <a:extLst>
                <a:ext uri="{FF2B5EF4-FFF2-40B4-BE49-F238E27FC236}">
                  <a16:creationId xmlns:a16="http://schemas.microsoft.com/office/drawing/2014/main" id="{C3701EF3-1A02-4242-AC07-BCBDBF764E8D}"/>
                </a:ext>
              </a:extLst>
            </p:cNvPr>
            <p:cNvSpPr/>
            <p:nvPr/>
          </p:nvSpPr>
          <p:spPr>
            <a:xfrm rot="8716295">
              <a:off x="2202298" y="4295933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6" name="Forme libre : forme 445">
              <a:extLst>
                <a:ext uri="{FF2B5EF4-FFF2-40B4-BE49-F238E27FC236}">
                  <a16:creationId xmlns:a16="http://schemas.microsoft.com/office/drawing/2014/main" id="{AF59F773-3F62-40D5-B816-693C7D75563E}"/>
                </a:ext>
              </a:extLst>
            </p:cNvPr>
            <p:cNvSpPr/>
            <p:nvPr/>
          </p:nvSpPr>
          <p:spPr>
            <a:xfrm rot="8716295">
              <a:off x="1836851" y="406950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7" name="Forme libre : forme 446">
              <a:extLst>
                <a:ext uri="{FF2B5EF4-FFF2-40B4-BE49-F238E27FC236}">
                  <a16:creationId xmlns:a16="http://schemas.microsoft.com/office/drawing/2014/main" id="{FE3D7341-86E2-4F15-99E5-17E65F18A557}"/>
                </a:ext>
              </a:extLst>
            </p:cNvPr>
            <p:cNvSpPr/>
            <p:nvPr/>
          </p:nvSpPr>
          <p:spPr>
            <a:xfrm rot="7484129">
              <a:off x="2361116" y="458555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8" name="Forme libre : forme 447">
              <a:extLst>
                <a:ext uri="{FF2B5EF4-FFF2-40B4-BE49-F238E27FC236}">
                  <a16:creationId xmlns:a16="http://schemas.microsoft.com/office/drawing/2014/main" id="{5C1D71A6-936B-459D-9722-F2C5B66EA99D}"/>
                </a:ext>
              </a:extLst>
            </p:cNvPr>
            <p:cNvSpPr/>
            <p:nvPr/>
          </p:nvSpPr>
          <p:spPr>
            <a:xfrm rot="13089394">
              <a:off x="2519765" y="4534899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9" name="Forme libre : forme 448">
              <a:extLst>
                <a:ext uri="{FF2B5EF4-FFF2-40B4-BE49-F238E27FC236}">
                  <a16:creationId xmlns:a16="http://schemas.microsoft.com/office/drawing/2014/main" id="{239A055E-FAA5-4946-B5AA-160CD0F24098}"/>
                </a:ext>
              </a:extLst>
            </p:cNvPr>
            <p:cNvSpPr/>
            <p:nvPr/>
          </p:nvSpPr>
          <p:spPr>
            <a:xfrm rot="8716295">
              <a:off x="2800656" y="4244781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0" name="Forme libre : forme 449">
              <a:extLst>
                <a:ext uri="{FF2B5EF4-FFF2-40B4-BE49-F238E27FC236}">
                  <a16:creationId xmlns:a16="http://schemas.microsoft.com/office/drawing/2014/main" id="{C61941C7-A0C9-4F01-BFEB-50DC9178AB17}"/>
                </a:ext>
              </a:extLst>
            </p:cNvPr>
            <p:cNvSpPr/>
            <p:nvPr/>
          </p:nvSpPr>
          <p:spPr>
            <a:xfrm rot="8716295">
              <a:off x="2722247" y="4087989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1" name="Forme libre : forme 450">
              <a:extLst>
                <a:ext uri="{FF2B5EF4-FFF2-40B4-BE49-F238E27FC236}">
                  <a16:creationId xmlns:a16="http://schemas.microsoft.com/office/drawing/2014/main" id="{1C15DEFB-74F4-471B-9873-5AB46E67254D}"/>
                </a:ext>
              </a:extLst>
            </p:cNvPr>
            <p:cNvSpPr/>
            <p:nvPr/>
          </p:nvSpPr>
          <p:spPr>
            <a:xfrm rot="8716295">
              <a:off x="2354084" y="413373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2" name="Forme libre : forme 451">
              <a:extLst>
                <a:ext uri="{FF2B5EF4-FFF2-40B4-BE49-F238E27FC236}">
                  <a16:creationId xmlns:a16="http://schemas.microsoft.com/office/drawing/2014/main" id="{9F9771F8-06F4-4F00-A689-90F319B4F22E}"/>
                </a:ext>
              </a:extLst>
            </p:cNvPr>
            <p:cNvSpPr/>
            <p:nvPr/>
          </p:nvSpPr>
          <p:spPr>
            <a:xfrm rot="8716295">
              <a:off x="2622665" y="389271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3" name="Forme libre : forme 452">
              <a:extLst>
                <a:ext uri="{FF2B5EF4-FFF2-40B4-BE49-F238E27FC236}">
                  <a16:creationId xmlns:a16="http://schemas.microsoft.com/office/drawing/2014/main" id="{F08877F6-FFCF-44A0-9498-6A62589B37A0}"/>
                </a:ext>
              </a:extLst>
            </p:cNvPr>
            <p:cNvSpPr/>
            <p:nvPr/>
          </p:nvSpPr>
          <p:spPr>
            <a:xfrm rot="8716295">
              <a:off x="1836002" y="5051565"/>
              <a:ext cx="229466" cy="172677"/>
            </a:xfrm>
            <a:custGeom>
              <a:avLst/>
              <a:gdLst>
                <a:gd name="connsiteX0" fmla="*/ 37429 w 229466"/>
                <a:gd name="connsiteY0" fmla="*/ 127889 h 172677"/>
                <a:gd name="connsiteX1" fmla="*/ 864 w 229466"/>
                <a:gd name="connsiteY1" fmla="*/ 25330 h 172677"/>
                <a:gd name="connsiteX2" fmla="*/ 0 w 229466"/>
                <a:gd name="connsiteY2" fmla="*/ 0 h 172677"/>
                <a:gd name="connsiteX3" fmla="*/ 229466 w 229466"/>
                <a:gd name="connsiteY3" fmla="*/ 159058 h 172677"/>
                <a:gd name="connsiteX4" fmla="*/ 210504 w 229466"/>
                <a:gd name="connsiteY4" fmla="*/ 164122 h 172677"/>
                <a:gd name="connsiteX5" fmla="*/ 146960 w 229466"/>
                <a:gd name="connsiteY5" fmla="*/ 172414 h 172677"/>
                <a:gd name="connsiteX6" fmla="*/ 37429 w 229466"/>
                <a:gd name="connsiteY6" fmla="*/ 127889 h 172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9466" h="172677">
                  <a:moveTo>
                    <a:pt x="37429" y="127889"/>
                  </a:moveTo>
                  <a:cubicBezTo>
                    <a:pt x="14722" y="105850"/>
                    <a:pt x="4537" y="71789"/>
                    <a:pt x="864" y="25330"/>
                  </a:cubicBezTo>
                  <a:lnTo>
                    <a:pt x="0" y="0"/>
                  </a:lnTo>
                  <a:lnTo>
                    <a:pt x="229466" y="159058"/>
                  </a:lnTo>
                  <a:lnTo>
                    <a:pt x="210504" y="164122"/>
                  </a:lnTo>
                  <a:cubicBezTo>
                    <a:pt x="187032" y="168685"/>
                    <a:pt x="165437" y="171301"/>
                    <a:pt x="146960" y="172414"/>
                  </a:cubicBezTo>
                  <a:cubicBezTo>
                    <a:pt x="105998" y="175086"/>
                    <a:pt x="65926" y="157276"/>
                    <a:pt x="37429" y="12788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4" name="Forme libre : forme 453">
              <a:extLst>
                <a:ext uri="{FF2B5EF4-FFF2-40B4-BE49-F238E27FC236}">
                  <a16:creationId xmlns:a16="http://schemas.microsoft.com/office/drawing/2014/main" id="{2206BB34-A379-4319-86EE-02F9BAF96CEF}"/>
                </a:ext>
              </a:extLst>
            </p:cNvPr>
            <p:cNvSpPr/>
            <p:nvPr/>
          </p:nvSpPr>
          <p:spPr>
            <a:xfrm rot="8716295">
              <a:off x="2865171" y="5107739"/>
              <a:ext cx="36955" cy="50812"/>
            </a:xfrm>
            <a:custGeom>
              <a:avLst/>
              <a:gdLst>
                <a:gd name="connsiteX0" fmla="*/ 0 w 36955"/>
                <a:gd name="connsiteY0" fmla="*/ 50812 h 50812"/>
                <a:gd name="connsiteX1" fmla="*/ 0 w 36955"/>
                <a:gd name="connsiteY1" fmla="*/ 0 h 50812"/>
                <a:gd name="connsiteX2" fmla="*/ 36955 w 36955"/>
                <a:gd name="connsiteY2" fmla="*/ 25616 h 50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955" h="50812">
                  <a:moveTo>
                    <a:pt x="0" y="50812"/>
                  </a:moveTo>
                  <a:lnTo>
                    <a:pt x="0" y="0"/>
                  </a:lnTo>
                  <a:lnTo>
                    <a:pt x="36955" y="256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5" name="Forme libre : forme 454">
              <a:extLst>
                <a:ext uri="{FF2B5EF4-FFF2-40B4-BE49-F238E27FC236}">
                  <a16:creationId xmlns:a16="http://schemas.microsoft.com/office/drawing/2014/main" id="{90C6BA39-5B60-4C98-B3CF-8834D6D8FD79}"/>
                </a:ext>
              </a:extLst>
            </p:cNvPr>
            <p:cNvSpPr/>
            <p:nvPr/>
          </p:nvSpPr>
          <p:spPr>
            <a:xfrm rot="8716295">
              <a:off x="2291544" y="4886156"/>
              <a:ext cx="209028" cy="296463"/>
            </a:xfrm>
            <a:custGeom>
              <a:avLst/>
              <a:gdLst>
                <a:gd name="connsiteX0" fmla="*/ 137293 w 209028"/>
                <a:gd name="connsiteY0" fmla="*/ 296463 h 296463"/>
                <a:gd name="connsiteX1" fmla="*/ 72418 w 209028"/>
                <a:gd name="connsiteY1" fmla="*/ 175766 h 296463"/>
                <a:gd name="connsiteX2" fmla="*/ 105610 w 209028"/>
                <a:gd name="connsiteY2" fmla="*/ 83734 h 296463"/>
                <a:gd name="connsiteX3" fmla="*/ 0 w 209028"/>
                <a:gd name="connsiteY3" fmla="*/ 83734 h 296463"/>
                <a:gd name="connsiteX4" fmla="*/ 0 w 209028"/>
                <a:gd name="connsiteY4" fmla="*/ 0 h 296463"/>
                <a:gd name="connsiteX5" fmla="*/ 82199 w 209028"/>
                <a:gd name="connsiteY5" fmla="*/ 0 h 296463"/>
                <a:gd name="connsiteX6" fmla="*/ 209028 w 209028"/>
                <a:gd name="connsiteY6" fmla="*/ 87913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028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82199" y="0"/>
                  </a:lnTo>
                  <a:lnTo>
                    <a:pt x="209028" y="8791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6" name="Forme libre : forme 455">
              <a:extLst>
                <a:ext uri="{FF2B5EF4-FFF2-40B4-BE49-F238E27FC236}">
                  <a16:creationId xmlns:a16="http://schemas.microsoft.com/office/drawing/2014/main" id="{AAE782AF-C820-4904-B08F-997B904CDC4A}"/>
                </a:ext>
              </a:extLst>
            </p:cNvPr>
            <p:cNvSpPr/>
            <p:nvPr/>
          </p:nvSpPr>
          <p:spPr>
            <a:xfrm rot="8716295">
              <a:off x="2159594" y="5061280"/>
              <a:ext cx="112869" cy="105684"/>
            </a:xfrm>
            <a:custGeom>
              <a:avLst/>
              <a:gdLst>
                <a:gd name="connsiteX0" fmla="*/ 17362 w 112869"/>
                <a:gd name="connsiteY0" fmla="*/ 89236 h 105684"/>
                <a:gd name="connsiteX1" fmla="*/ 0 w 112869"/>
                <a:gd name="connsiteY1" fmla="*/ 48117 h 105684"/>
                <a:gd name="connsiteX2" fmla="*/ 0 w 112869"/>
                <a:gd name="connsiteY2" fmla="*/ 47203 h 105684"/>
                <a:gd name="connsiteX3" fmla="*/ 17362 w 112869"/>
                <a:gd name="connsiteY3" fmla="*/ 6084 h 105684"/>
                <a:gd name="connsiteX4" fmla="*/ 31771 w 112869"/>
                <a:gd name="connsiteY4" fmla="*/ 0 h 105684"/>
                <a:gd name="connsiteX5" fmla="*/ 112869 w 112869"/>
                <a:gd name="connsiteY5" fmla="*/ 56215 h 105684"/>
                <a:gd name="connsiteX6" fmla="*/ 99601 w 112869"/>
                <a:gd name="connsiteY6" fmla="*/ 88323 h 105684"/>
                <a:gd name="connsiteX7" fmla="*/ 58481 w 112869"/>
                <a:gd name="connsiteY7" fmla="*/ 105684 h 105684"/>
                <a:gd name="connsiteX8" fmla="*/ 17362 w 112869"/>
                <a:gd name="connsiteY8" fmla="*/ 89236 h 105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869" h="105684">
                  <a:moveTo>
                    <a:pt x="17362" y="89236"/>
                  </a:moveTo>
                  <a:cubicBezTo>
                    <a:pt x="6397" y="78271"/>
                    <a:pt x="0" y="63651"/>
                    <a:pt x="0" y="48117"/>
                  </a:cubicBezTo>
                  <a:lnTo>
                    <a:pt x="0" y="47203"/>
                  </a:lnTo>
                  <a:cubicBezTo>
                    <a:pt x="0" y="31669"/>
                    <a:pt x="6397" y="17049"/>
                    <a:pt x="17362" y="6084"/>
                  </a:cubicBezTo>
                  <a:lnTo>
                    <a:pt x="31771" y="0"/>
                  </a:lnTo>
                  <a:lnTo>
                    <a:pt x="112869" y="56215"/>
                  </a:lnTo>
                  <a:lnTo>
                    <a:pt x="99601" y="88323"/>
                  </a:lnTo>
                  <a:cubicBezTo>
                    <a:pt x="88636" y="99288"/>
                    <a:pt x="74015" y="105684"/>
                    <a:pt x="58481" y="105684"/>
                  </a:cubicBezTo>
                  <a:cubicBezTo>
                    <a:pt x="42947" y="105684"/>
                    <a:pt x="28327" y="100202"/>
                    <a:pt x="17362" y="8923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7" name="Forme libre : forme 456">
              <a:extLst>
                <a:ext uri="{FF2B5EF4-FFF2-40B4-BE49-F238E27FC236}">
                  <a16:creationId xmlns:a16="http://schemas.microsoft.com/office/drawing/2014/main" id="{DEEDD910-88E0-46A6-9511-30F91F188D7C}"/>
                </a:ext>
              </a:extLst>
            </p:cNvPr>
            <p:cNvSpPr/>
            <p:nvPr/>
          </p:nvSpPr>
          <p:spPr>
            <a:xfrm rot="8716295">
              <a:off x="3051941" y="5073759"/>
              <a:ext cx="145251" cy="115110"/>
            </a:xfrm>
            <a:custGeom>
              <a:avLst/>
              <a:gdLst>
                <a:gd name="connsiteX0" fmla="*/ 26453 w 145251"/>
                <a:gd name="connsiteY0" fmla="*/ 90050 h 115110"/>
                <a:gd name="connsiteX1" fmla="*/ 0 w 145251"/>
                <a:gd name="connsiteY1" fmla="*/ 27401 h 115110"/>
                <a:gd name="connsiteX2" fmla="*/ 0 w 145251"/>
                <a:gd name="connsiteY2" fmla="*/ 26008 h 115110"/>
                <a:gd name="connsiteX3" fmla="*/ 10982 w 145251"/>
                <a:gd name="connsiteY3" fmla="*/ 0 h 115110"/>
                <a:gd name="connsiteX4" fmla="*/ 145251 w 145251"/>
                <a:gd name="connsiteY4" fmla="*/ 93071 h 115110"/>
                <a:gd name="connsiteX5" fmla="*/ 123037 w 145251"/>
                <a:gd name="connsiteY5" fmla="*/ 108149 h 115110"/>
                <a:gd name="connsiteX6" fmla="*/ 89101 w 145251"/>
                <a:gd name="connsiteY6" fmla="*/ 115110 h 115110"/>
                <a:gd name="connsiteX7" fmla="*/ 26453 w 145251"/>
                <a:gd name="connsiteY7" fmla="*/ 90050 h 11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5251" h="115110">
                  <a:moveTo>
                    <a:pt x="26453" y="90050"/>
                  </a:moveTo>
                  <a:cubicBezTo>
                    <a:pt x="9746" y="73344"/>
                    <a:pt x="0" y="51068"/>
                    <a:pt x="0" y="27401"/>
                  </a:cubicBezTo>
                  <a:lnTo>
                    <a:pt x="0" y="26008"/>
                  </a:lnTo>
                  <a:lnTo>
                    <a:pt x="10982" y="0"/>
                  </a:lnTo>
                  <a:lnTo>
                    <a:pt x="145251" y="93071"/>
                  </a:lnTo>
                  <a:lnTo>
                    <a:pt x="123037" y="108149"/>
                  </a:lnTo>
                  <a:cubicBezTo>
                    <a:pt x="112421" y="112674"/>
                    <a:pt x="100936" y="115110"/>
                    <a:pt x="89101" y="115110"/>
                  </a:cubicBezTo>
                  <a:cubicBezTo>
                    <a:pt x="65434" y="115110"/>
                    <a:pt x="43159" y="106756"/>
                    <a:pt x="26453" y="900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8" name="Forme libre : forme 457">
              <a:extLst>
                <a:ext uri="{FF2B5EF4-FFF2-40B4-BE49-F238E27FC236}">
                  <a16:creationId xmlns:a16="http://schemas.microsoft.com/office/drawing/2014/main" id="{43CB19E1-F549-45B3-BD6D-2F3BBB712FCF}"/>
                </a:ext>
              </a:extLst>
            </p:cNvPr>
            <p:cNvSpPr/>
            <p:nvPr/>
          </p:nvSpPr>
          <p:spPr>
            <a:xfrm rot="8716295">
              <a:off x="2953631" y="488922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9" name="Forme libre : forme 458">
              <a:extLst>
                <a:ext uri="{FF2B5EF4-FFF2-40B4-BE49-F238E27FC236}">
                  <a16:creationId xmlns:a16="http://schemas.microsoft.com/office/drawing/2014/main" id="{62ED84A3-6167-4C83-A181-D227CFE89DEE}"/>
                </a:ext>
              </a:extLst>
            </p:cNvPr>
            <p:cNvSpPr/>
            <p:nvPr/>
          </p:nvSpPr>
          <p:spPr>
            <a:xfrm rot="8716295">
              <a:off x="1125067" y="247965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0" name="Forme libre : forme 459">
              <a:extLst>
                <a:ext uri="{FF2B5EF4-FFF2-40B4-BE49-F238E27FC236}">
                  <a16:creationId xmlns:a16="http://schemas.microsoft.com/office/drawing/2014/main" id="{6629C390-204C-4458-B724-2A6C51816D1A}"/>
                </a:ext>
              </a:extLst>
            </p:cNvPr>
            <p:cNvSpPr/>
            <p:nvPr/>
          </p:nvSpPr>
          <p:spPr>
            <a:xfrm rot="8716295">
              <a:off x="1260365" y="252391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1" name="Forme libre : forme 460">
              <a:extLst>
                <a:ext uri="{FF2B5EF4-FFF2-40B4-BE49-F238E27FC236}">
                  <a16:creationId xmlns:a16="http://schemas.microsoft.com/office/drawing/2014/main" id="{97B7B890-581D-4115-8816-FCD753CF66AD}"/>
                </a:ext>
              </a:extLst>
            </p:cNvPr>
            <p:cNvSpPr/>
            <p:nvPr/>
          </p:nvSpPr>
          <p:spPr>
            <a:xfrm rot="8716295">
              <a:off x="1192483" y="2393326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2" name="Forme libre : forme 461">
              <a:extLst>
                <a:ext uri="{FF2B5EF4-FFF2-40B4-BE49-F238E27FC236}">
                  <a16:creationId xmlns:a16="http://schemas.microsoft.com/office/drawing/2014/main" id="{BD8D3F38-EB27-45DE-9B7A-0BBD45B7402D}"/>
                </a:ext>
              </a:extLst>
            </p:cNvPr>
            <p:cNvSpPr/>
            <p:nvPr/>
          </p:nvSpPr>
          <p:spPr>
            <a:xfrm rot="8716295">
              <a:off x="955196" y="261367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3" name="Forme libre : forme 462">
              <a:extLst>
                <a:ext uri="{FF2B5EF4-FFF2-40B4-BE49-F238E27FC236}">
                  <a16:creationId xmlns:a16="http://schemas.microsoft.com/office/drawing/2014/main" id="{5B75726D-49A3-4FF8-933B-6C7B899241CE}"/>
                </a:ext>
              </a:extLst>
            </p:cNvPr>
            <p:cNvSpPr/>
            <p:nvPr/>
          </p:nvSpPr>
          <p:spPr>
            <a:xfrm rot="8716295">
              <a:off x="766149" y="229783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4" name="Forme libre : forme 463">
              <a:extLst>
                <a:ext uri="{FF2B5EF4-FFF2-40B4-BE49-F238E27FC236}">
                  <a16:creationId xmlns:a16="http://schemas.microsoft.com/office/drawing/2014/main" id="{E24EBA4F-EA30-42CA-AE82-25AD970D7646}"/>
                </a:ext>
              </a:extLst>
            </p:cNvPr>
            <p:cNvSpPr/>
            <p:nvPr/>
          </p:nvSpPr>
          <p:spPr>
            <a:xfrm rot="8716295">
              <a:off x="747908" y="2087785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5" name="Forme libre : forme 464">
              <a:extLst>
                <a:ext uri="{FF2B5EF4-FFF2-40B4-BE49-F238E27FC236}">
                  <a16:creationId xmlns:a16="http://schemas.microsoft.com/office/drawing/2014/main" id="{E2A695D6-7168-4A61-BBE4-65A85205EC8D}"/>
                </a:ext>
              </a:extLst>
            </p:cNvPr>
            <p:cNvSpPr/>
            <p:nvPr/>
          </p:nvSpPr>
          <p:spPr>
            <a:xfrm rot="8716295">
              <a:off x="1091684" y="2675653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6" name="Forme libre : forme 465">
              <a:extLst>
                <a:ext uri="{FF2B5EF4-FFF2-40B4-BE49-F238E27FC236}">
                  <a16:creationId xmlns:a16="http://schemas.microsoft.com/office/drawing/2014/main" id="{E30794E6-5983-41A0-85F7-1177811DAA69}"/>
                </a:ext>
              </a:extLst>
            </p:cNvPr>
            <p:cNvSpPr/>
            <p:nvPr/>
          </p:nvSpPr>
          <p:spPr>
            <a:xfrm rot="8716295">
              <a:off x="1562630" y="210103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7" name="Forme libre : forme 466">
              <a:extLst>
                <a:ext uri="{FF2B5EF4-FFF2-40B4-BE49-F238E27FC236}">
                  <a16:creationId xmlns:a16="http://schemas.microsoft.com/office/drawing/2014/main" id="{AB100FB8-5A47-45FF-A736-AC13181C693F}"/>
                </a:ext>
              </a:extLst>
            </p:cNvPr>
            <p:cNvSpPr/>
            <p:nvPr/>
          </p:nvSpPr>
          <p:spPr>
            <a:xfrm rot="8716295">
              <a:off x="1697929" y="214529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8" name="Forme libre : forme 467">
              <a:extLst>
                <a:ext uri="{FF2B5EF4-FFF2-40B4-BE49-F238E27FC236}">
                  <a16:creationId xmlns:a16="http://schemas.microsoft.com/office/drawing/2014/main" id="{81FCAA69-A703-43D5-90B2-A5FE09CDC15A}"/>
                </a:ext>
              </a:extLst>
            </p:cNvPr>
            <p:cNvSpPr/>
            <p:nvPr/>
          </p:nvSpPr>
          <p:spPr>
            <a:xfrm rot="8716295">
              <a:off x="1392759" y="223505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9" name="Forme libre : forme 468">
              <a:extLst>
                <a:ext uri="{FF2B5EF4-FFF2-40B4-BE49-F238E27FC236}">
                  <a16:creationId xmlns:a16="http://schemas.microsoft.com/office/drawing/2014/main" id="{F72C6E00-EB30-4F27-B358-913C2822A889}"/>
                </a:ext>
              </a:extLst>
            </p:cNvPr>
            <p:cNvSpPr/>
            <p:nvPr/>
          </p:nvSpPr>
          <p:spPr>
            <a:xfrm rot="8716295">
              <a:off x="1203715" y="191921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0" name="Forme libre : forme 469">
              <a:extLst>
                <a:ext uri="{FF2B5EF4-FFF2-40B4-BE49-F238E27FC236}">
                  <a16:creationId xmlns:a16="http://schemas.microsoft.com/office/drawing/2014/main" id="{361BE4A3-8069-446D-90C4-26FC3152CCE0}"/>
                </a:ext>
              </a:extLst>
            </p:cNvPr>
            <p:cNvSpPr/>
            <p:nvPr/>
          </p:nvSpPr>
          <p:spPr>
            <a:xfrm rot="8716295">
              <a:off x="1529248" y="2297037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1" name="Forme libre : forme 470">
              <a:extLst>
                <a:ext uri="{FF2B5EF4-FFF2-40B4-BE49-F238E27FC236}">
                  <a16:creationId xmlns:a16="http://schemas.microsoft.com/office/drawing/2014/main" id="{A6315079-AF63-4B06-AD9B-40EEFE3B3E8B}"/>
                </a:ext>
              </a:extLst>
            </p:cNvPr>
            <p:cNvSpPr/>
            <p:nvPr/>
          </p:nvSpPr>
          <p:spPr>
            <a:xfrm rot="8716295">
              <a:off x="1163801" y="2070611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2" name="Forme libre : forme 471">
              <a:extLst>
                <a:ext uri="{FF2B5EF4-FFF2-40B4-BE49-F238E27FC236}">
                  <a16:creationId xmlns:a16="http://schemas.microsoft.com/office/drawing/2014/main" id="{2C75BE5F-5979-4F78-A59E-3840B80E9CA3}"/>
                </a:ext>
              </a:extLst>
            </p:cNvPr>
            <p:cNvSpPr/>
            <p:nvPr/>
          </p:nvSpPr>
          <p:spPr>
            <a:xfrm rot="7484129">
              <a:off x="1688065" y="258665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3" name="Forme libre : forme 472">
              <a:extLst>
                <a:ext uri="{FF2B5EF4-FFF2-40B4-BE49-F238E27FC236}">
                  <a16:creationId xmlns:a16="http://schemas.microsoft.com/office/drawing/2014/main" id="{F508FCB0-FB88-480F-9341-2213C529AF00}"/>
                </a:ext>
              </a:extLst>
            </p:cNvPr>
            <p:cNvSpPr/>
            <p:nvPr/>
          </p:nvSpPr>
          <p:spPr>
            <a:xfrm rot="13089394">
              <a:off x="1846715" y="2536003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4" name="Forme libre : forme 473">
              <a:extLst>
                <a:ext uri="{FF2B5EF4-FFF2-40B4-BE49-F238E27FC236}">
                  <a16:creationId xmlns:a16="http://schemas.microsoft.com/office/drawing/2014/main" id="{B959FEB1-DFD0-4DE6-B296-0E35D4323808}"/>
                </a:ext>
              </a:extLst>
            </p:cNvPr>
            <p:cNvSpPr/>
            <p:nvPr/>
          </p:nvSpPr>
          <p:spPr>
            <a:xfrm rot="8716295">
              <a:off x="2127606" y="2245885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5" name="Forme libre : forme 474">
              <a:extLst>
                <a:ext uri="{FF2B5EF4-FFF2-40B4-BE49-F238E27FC236}">
                  <a16:creationId xmlns:a16="http://schemas.microsoft.com/office/drawing/2014/main" id="{67FA008A-954F-42E5-B276-F1C227A67F8E}"/>
                </a:ext>
              </a:extLst>
            </p:cNvPr>
            <p:cNvSpPr/>
            <p:nvPr/>
          </p:nvSpPr>
          <p:spPr>
            <a:xfrm rot="8716295">
              <a:off x="2049197" y="208909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6" name="Forme libre : forme 475">
              <a:extLst>
                <a:ext uri="{FF2B5EF4-FFF2-40B4-BE49-F238E27FC236}">
                  <a16:creationId xmlns:a16="http://schemas.microsoft.com/office/drawing/2014/main" id="{F2F193F6-2E0D-41E8-95C5-8F1192FDE740}"/>
                </a:ext>
              </a:extLst>
            </p:cNvPr>
            <p:cNvSpPr/>
            <p:nvPr/>
          </p:nvSpPr>
          <p:spPr>
            <a:xfrm rot="8716295">
              <a:off x="1681033" y="21348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7" name="Forme libre : forme 476">
              <a:extLst>
                <a:ext uri="{FF2B5EF4-FFF2-40B4-BE49-F238E27FC236}">
                  <a16:creationId xmlns:a16="http://schemas.microsoft.com/office/drawing/2014/main" id="{A96550A6-B207-45AD-A7BA-4B8953554164}"/>
                </a:ext>
              </a:extLst>
            </p:cNvPr>
            <p:cNvSpPr/>
            <p:nvPr/>
          </p:nvSpPr>
          <p:spPr>
            <a:xfrm rot="8716295">
              <a:off x="1949615" y="189381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8" name="Forme libre : forme 477">
              <a:extLst>
                <a:ext uri="{FF2B5EF4-FFF2-40B4-BE49-F238E27FC236}">
                  <a16:creationId xmlns:a16="http://schemas.microsoft.com/office/drawing/2014/main" id="{6F37CD06-4319-4DC6-9617-4E1A5DB80D5C}"/>
                </a:ext>
              </a:extLst>
            </p:cNvPr>
            <p:cNvSpPr/>
            <p:nvPr/>
          </p:nvSpPr>
          <p:spPr>
            <a:xfrm rot="8716295">
              <a:off x="787294" y="148117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9" name="Forme libre : forme 478">
              <a:extLst>
                <a:ext uri="{FF2B5EF4-FFF2-40B4-BE49-F238E27FC236}">
                  <a16:creationId xmlns:a16="http://schemas.microsoft.com/office/drawing/2014/main" id="{1D10C06F-21E5-4932-8315-49C11C1DF8B1}"/>
                </a:ext>
              </a:extLst>
            </p:cNvPr>
            <p:cNvSpPr/>
            <p:nvPr/>
          </p:nvSpPr>
          <p:spPr>
            <a:xfrm rot="8716295">
              <a:off x="922592" y="152543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0" name="Forme libre : forme 479">
              <a:extLst>
                <a:ext uri="{FF2B5EF4-FFF2-40B4-BE49-F238E27FC236}">
                  <a16:creationId xmlns:a16="http://schemas.microsoft.com/office/drawing/2014/main" id="{38C358EC-E58C-4C5E-9C0A-AF30964E5E3F}"/>
                </a:ext>
              </a:extLst>
            </p:cNvPr>
            <p:cNvSpPr/>
            <p:nvPr/>
          </p:nvSpPr>
          <p:spPr>
            <a:xfrm rot="8716295">
              <a:off x="854710" y="1394843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1" name="Forme libre : forme 480">
              <a:extLst>
                <a:ext uri="{FF2B5EF4-FFF2-40B4-BE49-F238E27FC236}">
                  <a16:creationId xmlns:a16="http://schemas.microsoft.com/office/drawing/2014/main" id="{67BF3E00-6BD7-4B0A-BB51-FD922EDEE623}"/>
                </a:ext>
              </a:extLst>
            </p:cNvPr>
            <p:cNvSpPr/>
            <p:nvPr/>
          </p:nvSpPr>
          <p:spPr>
            <a:xfrm rot="8716295">
              <a:off x="617423" y="161518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2" name="Forme libre : forme 481">
              <a:extLst>
                <a:ext uri="{FF2B5EF4-FFF2-40B4-BE49-F238E27FC236}">
                  <a16:creationId xmlns:a16="http://schemas.microsoft.com/office/drawing/2014/main" id="{E3A6DB3D-9EF4-4413-8FD5-EEC3980C3376}"/>
                </a:ext>
              </a:extLst>
            </p:cNvPr>
            <p:cNvSpPr/>
            <p:nvPr/>
          </p:nvSpPr>
          <p:spPr>
            <a:xfrm rot="8716295">
              <a:off x="428376" y="129935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3" name="Forme libre : forme 482">
              <a:extLst>
                <a:ext uri="{FF2B5EF4-FFF2-40B4-BE49-F238E27FC236}">
                  <a16:creationId xmlns:a16="http://schemas.microsoft.com/office/drawing/2014/main" id="{6D423D62-7B8A-436E-AD6C-850B60BB03AE}"/>
                </a:ext>
              </a:extLst>
            </p:cNvPr>
            <p:cNvSpPr/>
            <p:nvPr/>
          </p:nvSpPr>
          <p:spPr>
            <a:xfrm rot="8716295">
              <a:off x="410135" y="1089302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4" name="Forme libre : forme 483">
              <a:extLst>
                <a:ext uri="{FF2B5EF4-FFF2-40B4-BE49-F238E27FC236}">
                  <a16:creationId xmlns:a16="http://schemas.microsoft.com/office/drawing/2014/main" id="{D0C637D4-3E92-4154-B446-44CE8B7CE721}"/>
                </a:ext>
              </a:extLst>
            </p:cNvPr>
            <p:cNvSpPr/>
            <p:nvPr/>
          </p:nvSpPr>
          <p:spPr>
            <a:xfrm rot="8716295">
              <a:off x="753911" y="1677170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5" name="Forme libre : forme 484">
              <a:extLst>
                <a:ext uri="{FF2B5EF4-FFF2-40B4-BE49-F238E27FC236}">
                  <a16:creationId xmlns:a16="http://schemas.microsoft.com/office/drawing/2014/main" id="{84081F2F-BF8F-4E91-A344-93A6DA6FC1E0}"/>
                </a:ext>
              </a:extLst>
            </p:cNvPr>
            <p:cNvSpPr/>
            <p:nvPr/>
          </p:nvSpPr>
          <p:spPr>
            <a:xfrm rot="8716295">
              <a:off x="1224858" y="1102556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6" name="Forme libre : forme 485">
              <a:extLst>
                <a:ext uri="{FF2B5EF4-FFF2-40B4-BE49-F238E27FC236}">
                  <a16:creationId xmlns:a16="http://schemas.microsoft.com/office/drawing/2014/main" id="{7C9184F4-BF5B-4DA9-A062-83FD3655E3F6}"/>
                </a:ext>
              </a:extLst>
            </p:cNvPr>
            <p:cNvSpPr/>
            <p:nvPr/>
          </p:nvSpPr>
          <p:spPr>
            <a:xfrm rot="8716295">
              <a:off x="1360156" y="1146815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7" name="Forme libre : forme 486">
              <a:extLst>
                <a:ext uri="{FF2B5EF4-FFF2-40B4-BE49-F238E27FC236}">
                  <a16:creationId xmlns:a16="http://schemas.microsoft.com/office/drawing/2014/main" id="{B8ECE7A3-302A-4D3D-9B90-035B6382DA0C}"/>
                </a:ext>
              </a:extLst>
            </p:cNvPr>
            <p:cNvSpPr/>
            <p:nvPr/>
          </p:nvSpPr>
          <p:spPr>
            <a:xfrm rot="8716295">
              <a:off x="1054986" y="123657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8" name="Forme libre : forme 487">
              <a:extLst>
                <a:ext uri="{FF2B5EF4-FFF2-40B4-BE49-F238E27FC236}">
                  <a16:creationId xmlns:a16="http://schemas.microsoft.com/office/drawing/2014/main" id="{E0DF77FC-C3A0-462E-8020-761B7D4843AA}"/>
                </a:ext>
              </a:extLst>
            </p:cNvPr>
            <p:cNvSpPr/>
            <p:nvPr/>
          </p:nvSpPr>
          <p:spPr>
            <a:xfrm rot="8716295">
              <a:off x="865942" y="92073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9" name="Forme libre : forme 488">
              <a:extLst>
                <a:ext uri="{FF2B5EF4-FFF2-40B4-BE49-F238E27FC236}">
                  <a16:creationId xmlns:a16="http://schemas.microsoft.com/office/drawing/2014/main" id="{52D29D01-2445-47B5-91EF-D02F08E5948B}"/>
                </a:ext>
              </a:extLst>
            </p:cNvPr>
            <p:cNvSpPr/>
            <p:nvPr/>
          </p:nvSpPr>
          <p:spPr>
            <a:xfrm rot="8716295">
              <a:off x="1191475" y="1298554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0" name="Forme libre : forme 489">
              <a:extLst>
                <a:ext uri="{FF2B5EF4-FFF2-40B4-BE49-F238E27FC236}">
                  <a16:creationId xmlns:a16="http://schemas.microsoft.com/office/drawing/2014/main" id="{31533B8B-357B-4036-93FD-FF1E10E0FE0E}"/>
                </a:ext>
              </a:extLst>
            </p:cNvPr>
            <p:cNvSpPr/>
            <p:nvPr/>
          </p:nvSpPr>
          <p:spPr>
            <a:xfrm rot="8716295">
              <a:off x="826028" y="1072128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1" name="Forme libre : forme 490">
              <a:extLst>
                <a:ext uri="{FF2B5EF4-FFF2-40B4-BE49-F238E27FC236}">
                  <a16:creationId xmlns:a16="http://schemas.microsoft.com/office/drawing/2014/main" id="{0319CBD7-2844-4889-A47B-BEF0E4A2AACF}"/>
                </a:ext>
              </a:extLst>
            </p:cNvPr>
            <p:cNvSpPr/>
            <p:nvPr/>
          </p:nvSpPr>
          <p:spPr>
            <a:xfrm rot="7484129">
              <a:off x="1350292" y="158817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2" name="Forme libre : forme 491">
              <a:extLst>
                <a:ext uri="{FF2B5EF4-FFF2-40B4-BE49-F238E27FC236}">
                  <a16:creationId xmlns:a16="http://schemas.microsoft.com/office/drawing/2014/main" id="{537AE2C1-B9DD-443D-860F-907323537C0F}"/>
                </a:ext>
              </a:extLst>
            </p:cNvPr>
            <p:cNvSpPr/>
            <p:nvPr/>
          </p:nvSpPr>
          <p:spPr>
            <a:xfrm rot="13089394">
              <a:off x="1508942" y="1537520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3" name="Forme libre : forme 492">
              <a:extLst>
                <a:ext uri="{FF2B5EF4-FFF2-40B4-BE49-F238E27FC236}">
                  <a16:creationId xmlns:a16="http://schemas.microsoft.com/office/drawing/2014/main" id="{62070BB3-5EB6-454F-8436-ED4636F6C6C0}"/>
                </a:ext>
              </a:extLst>
            </p:cNvPr>
            <p:cNvSpPr/>
            <p:nvPr/>
          </p:nvSpPr>
          <p:spPr>
            <a:xfrm rot="8716295">
              <a:off x="1789833" y="1247402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4" name="Forme libre : forme 493">
              <a:extLst>
                <a:ext uri="{FF2B5EF4-FFF2-40B4-BE49-F238E27FC236}">
                  <a16:creationId xmlns:a16="http://schemas.microsoft.com/office/drawing/2014/main" id="{63D06019-DB35-49E7-9B75-C5C677486C47}"/>
                </a:ext>
              </a:extLst>
            </p:cNvPr>
            <p:cNvSpPr/>
            <p:nvPr/>
          </p:nvSpPr>
          <p:spPr>
            <a:xfrm rot="8716295">
              <a:off x="1711424" y="109061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5" name="Forme libre : forme 494">
              <a:extLst>
                <a:ext uri="{FF2B5EF4-FFF2-40B4-BE49-F238E27FC236}">
                  <a16:creationId xmlns:a16="http://schemas.microsoft.com/office/drawing/2014/main" id="{AC35D58D-6BCA-422D-A84A-C08AE882F755}"/>
                </a:ext>
              </a:extLst>
            </p:cNvPr>
            <p:cNvSpPr/>
            <p:nvPr/>
          </p:nvSpPr>
          <p:spPr>
            <a:xfrm rot="8716295">
              <a:off x="1343261" y="113635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6" name="Forme libre : forme 495">
              <a:extLst>
                <a:ext uri="{FF2B5EF4-FFF2-40B4-BE49-F238E27FC236}">
                  <a16:creationId xmlns:a16="http://schemas.microsoft.com/office/drawing/2014/main" id="{C3F0E063-06D9-403B-99E6-BB3237996E1B}"/>
                </a:ext>
              </a:extLst>
            </p:cNvPr>
            <p:cNvSpPr/>
            <p:nvPr/>
          </p:nvSpPr>
          <p:spPr>
            <a:xfrm rot="8716295">
              <a:off x="1611842" y="89533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7" name="Forme libre : forme 496">
              <a:extLst>
                <a:ext uri="{FF2B5EF4-FFF2-40B4-BE49-F238E27FC236}">
                  <a16:creationId xmlns:a16="http://schemas.microsoft.com/office/drawing/2014/main" id="{83B9BD85-375F-4AB1-BC95-AAD81C50A908}"/>
                </a:ext>
              </a:extLst>
            </p:cNvPr>
            <p:cNvSpPr/>
            <p:nvPr/>
          </p:nvSpPr>
          <p:spPr>
            <a:xfrm rot="8716295">
              <a:off x="455920" y="47911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8" name="Forme libre : forme 497">
              <a:extLst>
                <a:ext uri="{FF2B5EF4-FFF2-40B4-BE49-F238E27FC236}">
                  <a16:creationId xmlns:a16="http://schemas.microsoft.com/office/drawing/2014/main" id="{FC92AE50-339F-438A-B507-6C2370C5AFF3}"/>
                </a:ext>
              </a:extLst>
            </p:cNvPr>
            <p:cNvSpPr/>
            <p:nvPr/>
          </p:nvSpPr>
          <p:spPr>
            <a:xfrm rot="8716295">
              <a:off x="591219" y="52337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9" name="Forme libre : forme 498">
              <a:extLst>
                <a:ext uri="{FF2B5EF4-FFF2-40B4-BE49-F238E27FC236}">
                  <a16:creationId xmlns:a16="http://schemas.microsoft.com/office/drawing/2014/main" id="{54C59C12-6A91-48F2-87DB-0682382DD09D}"/>
                </a:ext>
              </a:extLst>
            </p:cNvPr>
            <p:cNvSpPr/>
            <p:nvPr/>
          </p:nvSpPr>
          <p:spPr>
            <a:xfrm rot="8716295">
              <a:off x="523336" y="39278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0" name="Forme libre : forme 499">
              <a:extLst>
                <a:ext uri="{FF2B5EF4-FFF2-40B4-BE49-F238E27FC236}">
                  <a16:creationId xmlns:a16="http://schemas.microsoft.com/office/drawing/2014/main" id="{F0F22371-A174-4D4A-8A0A-5D19546D786C}"/>
                </a:ext>
              </a:extLst>
            </p:cNvPr>
            <p:cNvSpPr/>
            <p:nvPr/>
          </p:nvSpPr>
          <p:spPr>
            <a:xfrm rot="8716295">
              <a:off x="286049" y="6131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1" name="Forme libre : forme 500">
              <a:extLst>
                <a:ext uri="{FF2B5EF4-FFF2-40B4-BE49-F238E27FC236}">
                  <a16:creationId xmlns:a16="http://schemas.microsoft.com/office/drawing/2014/main" id="{D0BB4669-780F-4E5E-B642-FB1F4E6F67B9}"/>
                </a:ext>
              </a:extLst>
            </p:cNvPr>
            <p:cNvSpPr/>
            <p:nvPr/>
          </p:nvSpPr>
          <p:spPr>
            <a:xfrm rot="8716295">
              <a:off x="97003" y="2972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2" name="Forme libre : forme 501">
              <a:extLst>
                <a:ext uri="{FF2B5EF4-FFF2-40B4-BE49-F238E27FC236}">
                  <a16:creationId xmlns:a16="http://schemas.microsoft.com/office/drawing/2014/main" id="{78FC04FC-3C5A-4110-BA92-C74135DB8751}"/>
                </a:ext>
              </a:extLst>
            </p:cNvPr>
            <p:cNvSpPr/>
            <p:nvPr/>
          </p:nvSpPr>
          <p:spPr>
            <a:xfrm rot="8716295">
              <a:off x="78761" y="87249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3" name="Forme libre : forme 502">
              <a:extLst>
                <a:ext uri="{FF2B5EF4-FFF2-40B4-BE49-F238E27FC236}">
                  <a16:creationId xmlns:a16="http://schemas.microsoft.com/office/drawing/2014/main" id="{C2E6CE4F-5F3A-4543-9D9D-2001E6575F77}"/>
                </a:ext>
              </a:extLst>
            </p:cNvPr>
            <p:cNvSpPr/>
            <p:nvPr/>
          </p:nvSpPr>
          <p:spPr>
            <a:xfrm rot="8716295">
              <a:off x="422537" y="67511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4" name="Forme libre : forme 503">
              <a:extLst>
                <a:ext uri="{FF2B5EF4-FFF2-40B4-BE49-F238E27FC236}">
                  <a16:creationId xmlns:a16="http://schemas.microsoft.com/office/drawing/2014/main" id="{19E20CB2-4A2B-49CF-9B17-B00F225DAA21}"/>
                </a:ext>
              </a:extLst>
            </p:cNvPr>
            <p:cNvSpPr/>
            <p:nvPr/>
          </p:nvSpPr>
          <p:spPr>
            <a:xfrm rot="8716295">
              <a:off x="893484" y="10050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5" name="Forme libre : forme 504">
              <a:extLst>
                <a:ext uri="{FF2B5EF4-FFF2-40B4-BE49-F238E27FC236}">
                  <a16:creationId xmlns:a16="http://schemas.microsoft.com/office/drawing/2014/main" id="{7B6646AF-3F73-4CC0-A23D-AB23A3A10661}"/>
                </a:ext>
              </a:extLst>
            </p:cNvPr>
            <p:cNvSpPr/>
            <p:nvPr/>
          </p:nvSpPr>
          <p:spPr>
            <a:xfrm rot="8716295">
              <a:off x="1028783" y="14476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6" name="Forme libre : forme 505">
              <a:extLst>
                <a:ext uri="{FF2B5EF4-FFF2-40B4-BE49-F238E27FC236}">
                  <a16:creationId xmlns:a16="http://schemas.microsoft.com/office/drawing/2014/main" id="{73DB9AE6-8F32-4BD7-8EF8-F9845AE6D585}"/>
                </a:ext>
              </a:extLst>
            </p:cNvPr>
            <p:cNvSpPr/>
            <p:nvPr/>
          </p:nvSpPr>
          <p:spPr>
            <a:xfrm rot="8716295">
              <a:off x="723613" y="23451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7" name="Forme libre : forme 506">
              <a:extLst>
                <a:ext uri="{FF2B5EF4-FFF2-40B4-BE49-F238E27FC236}">
                  <a16:creationId xmlns:a16="http://schemas.microsoft.com/office/drawing/2014/main" id="{8B1BC984-37F5-4C1C-AA88-33F4EF21408C}"/>
                </a:ext>
              </a:extLst>
            </p:cNvPr>
            <p:cNvSpPr/>
            <p:nvPr/>
          </p:nvSpPr>
          <p:spPr>
            <a:xfrm rot="8716295">
              <a:off x="547803" y="-17289"/>
              <a:ext cx="308531" cy="226033"/>
            </a:xfrm>
            <a:custGeom>
              <a:avLst/>
              <a:gdLst>
                <a:gd name="connsiteX0" fmla="*/ 106716 w 203847"/>
                <a:gd name="connsiteY0" fmla="*/ 149340 h 149340"/>
                <a:gd name="connsiteX1" fmla="*/ 50038 w 203847"/>
                <a:gd name="connsiteY1" fmla="*/ 110053 h 149340"/>
                <a:gd name="connsiteX2" fmla="*/ 69777 w 203847"/>
                <a:gd name="connsiteY2" fmla="*/ 55323 h 149340"/>
                <a:gd name="connsiteX3" fmla="*/ 0 w 203847"/>
                <a:gd name="connsiteY3" fmla="*/ 55323 h 149340"/>
                <a:gd name="connsiteX4" fmla="*/ 0 w 203847"/>
                <a:gd name="connsiteY4" fmla="*/ 0 h 149340"/>
                <a:gd name="connsiteX5" fmla="*/ 203847 w 203847"/>
                <a:gd name="connsiteY5" fmla="*/ 0 h 149340"/>
                <a:gd name="connsiteX6" fmla="*/ 203847 w 203847"/>
                <a:gd name="connsiteY6" fmla="*/ 55323 h 149340"/>
                <a:gd name="connsiteX7" fmla="*/ 139055 w 203847"/>
                <a:gd name="connsiteY7" fmla="*/ 55323 h 14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49340">
                  <a:moveTo>
                    <a:pt x="106716" y="149340"/>
                  </a:moveTo>
                  <a:lnTo>
                    <a:pt x="50038" y="110053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8" name="Forme libre : forme 507">
              <a:extLst>
                <a:ext uri="{FF2B5EF4-FFF2-40B4-BE49-F238E27FC236}">
                  <a16:creationId xmlns:a16="http://schemas.microsoft.com/office/drawing/2014/main" id="{AA6E9B9A-88DC-4BB7-810B-97399B40FACE}"/>
                </a:ext>
              </a:extLst>
            </p:cNvPr>
            <p:cNvSpPr/>
            <p:nvPr/>
          </p:nvSpPr>
          <p:spPr>
            <a:xfrm rot="8716295">
              <a:off x="860101" y="29650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9" name="Forme libre : forme 508">
              <a:extLst>
                <a:ext uri="{FF2B5EF4-FFF2-40B4-BE49-F238E27FC236}">
                  <a16:creationId xmlns:a16="http://schemas.microsoft.com/office/drawing/2014/main" id="{C2E3FBE5-FDDF-4B02-AD4F-2ADFB2584906}"/>
                </a:ext>
              </a:extLst>
            </p:cNvPr>
            <p:cNvSpPr/>
            <p:nvPr/>
          </p:nvSpPr>
          <p:spPr>
            <a:xfrm rot="8716295">
              <a:off x="494655" y="7007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0" name="Forme libre : forme 509">
              <a:extLst>
                <a:ext uri="{FF2B5EF4-FFF2-40B4-BE49-F238E27FC236}">
                  <a16:creationId xmlns:a16="http://schemas.microsoft.com/office/drawing/2014/main" id="{8D7DCA7A-0D6F-4030-B7E0-0EA6D8ACDAA6}"/>
                </a:ext>
              </a:extLst>
            </p:cNvPr>
            <p:cNvSpPr/>
            <p:nvPr/>
          </p:nvSpPr>
          <p:spPr>
            <a:xfrm rot="7484129">
              <a:off x="1018919" y="58611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1" name="Forme libre : forme 510">
              <a:extLst>
                <a:ext uri="{FF2B5EF4-FFF2-40B4-BE49-F238E27FC236}">
                  <a16:creationId xmlns:a16="http://schemas.microsoft.com/office/drawing/2014/main" id="{6D4EAF04-5D5F-44DD-A3E0-0E1DDC2042FF}"/>
                </a:ext>
              </a:extLst>
            </p:cNvPr>
            <p:cNvSpPr/>
            <p:nvPr/>
          </p:nvSpPr>
          <p:spPr>
            <a:xfrm rot="13089394">
              <a:off x="1177568" y="53546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2" name="Forme libre : forme 511">
              <a:extLst>
                <a:ext uri="{FF2B5EF4-FFF2-40B4-BE49-F238E27FC236}">
                  <a16:creationId xmlns:a16="http://schemas.microsoft.com/office/drawing/2014/main" id="{200143E0-7D80-44AE-AF14-B3CC222BC375}"/>
                </a:ext>
              </a:extLst>
            </p:cNvPr>
            <p:cNvSpPr/>
            <p:nvPr/>
          </p:nvSpPr>
          <p:spPr>
            <a:xfrm rot="8716295">
              <a:off x="1458459" y="24534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3" name="Forme libre : forme 512">
              <a:extLst>
                <a:ext uri="{FF2B5EF4-FFF2-40B4-BE49-F238E27FC236}">
                  <a16:creationId xmlns:a16="http://schemas.microsoft.com/office/drawing/2014/main" id="{9CE5AF88-C20D-48EF-AF58-A03290B7BA4C}"/>
                </a:ext>
              </a:extLst>
            </p:cNvPr>
            <p:cNvSpPr/>
            <p:nvPr/>
          </p:nvSpPr>
          <p:spPr>
            <a:xfrm rot="8716295">
              <a:off x="1380050" y="8855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4" name="Forme libre : forme 513">
              <a:extLst>
                <a:ext uri="{FF2B5EF4-FFF2-40B4-BE49-F238E27FC236}">
                  <a16:creationId xmlns:a16="http://schemas.microsoft.com/office/drawing/2014/main" id="{99B484F1-3CA8-4FD2-BC39-A8183120B894}"/>
                </a:ext>
              </a:extLst>
            </p:cNvPr>
            <p:cNvSpPr/>
            <p:nvPr/>
          </p:nvSpPr>
          <p:spPr>
            <a:xfrm rot="8716295">
              <a:off x="1011887" y="13429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5" name="Forme libre : forme 514">
              <a:extLst>
                <a:ext uri="{FF2B5EF4-FFF2-40B4-BE49-F238E27FC236}">
                  <a16:creationId xmlns:a16="http://schemas.microsoft.com/office/drawing/2014/main" id="{1253AC62-0DE9-44F9-9AB2-21C92FCEF50A}"/>
                </a:ext>
              </a:extLst>
            </p:cNvPr>
            <p:cNvSpPr/>
            <p:nvPr/>
          </p:nvSpPr>
          <p:spPr>
            <a:xfrm rot="8716295">
              <a:off x="1291652" y="-36449"/>
              <a:ext cx="134197" cy="106947"/>
            </a:xfrm>
            <a:custGeom>
              <a:avLst/>
              <a:gdLst>
                <a:gd name="connsiteX0" fmla="*/ 83649 w 88664"/>
                <a:gd name="connsiteY0" fmla="*/ 70660 h 70660"/>
                <a:gd name="connsiteX1" fmla="*/ 0 w 88664"/>
                <a:gd name="connsiteY1" fmla="*/ 12677 h 70660"/>
                <a:gd name="connsiteX2" fmla="*/ 30024 w 88664"/>
                <a:gd name="connsiteY2" fmla="*/ 0 h 70660"/>
                <a:gd name="connsiteX3" fmla="*/ 71417 w 88664"/>
                <a:gd name="connsiteY3" fmla="*/ 17477 h 70660"/>
                <a:gd name="connsiteX4" fmla="*/ 88664 w 88664"/>
                <a:gd name="connsiteY4" fmla="*/ 58525 h 70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664" h="70660">
                  <a:moveTo>
                    <a:pt x="83649" y="70660"/>
                  </a:moveTo>
                  <a:lnTo>
                    <a:pt x="0" y="12677"/>
                  </a:lnTo>
                  <a:lnTo>
                    <a:pt x="30024" y="0"/>
                  </a:lnTo>
                  <a:cubicBezTo>
                    <a:pt x="45662" y="0"/>
                    <a:pt x="60379" y="6439"/>
                    <a:pt x="71417" y="17477"/>
                  </a:cubicBezTo>
                  <a:cubicBezTo>
                    <a:pt x="82915" y="28515"/>
                    <a:pt x="88664" y="43462"/>
                    <a:pt x="88664" y="58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6" name="Forme libre : forme 515">
              <a:extLst>
                <a:ext uri="{FF2B5EF4-FFF2-40B4-BE49-F238E27FC236}">
                  <a16:creationId xmlns:a16="http://schemas.microsoft.com/office/drawing/2014/main" id="{73FDFCAD-75A6-474E-8BA1-4C60FF021A16}"/>
                </a:ext>
              </a:extLst>
            </p:cNvPr>
            <p:cNvSpPr/>
            <p:nvPr/>
          </p:nvSpPr>
          <p:spPr>
            <a:xfrm rot="13089394">
              <a:off x="990163" y="-39748"/>
              <a:ext cx="111277" cy="115595"/>
            </a:xfrm>
            <a:custGeom>
              <a:avLst/>
              <a:gdLst>
                <a:gd name="connsiteX0" fmla="*/ 73521 w 73521"/>
                <a:gd name="connsiteY0" fmla="*/ 18609 h 76374"/>
                <a:gd name="connsiteX1" fmla="*/ 0 w 73521"/>
                <a:gd name="connsiteY1" fmla="*/ 76374 h 76374"/>
                <a:gd name="connsiteX2" fmla="*/ 0 w 73521"/>
                <a:gd name="connsiteY2" fmla="*/ 38074 h 76374"/>
                <a:gd name="connsiteX3" fmla="*/ 73388 w 73521"/>
                <a:gd name="connsiteY3" fmla="*/ 0 h 7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521" h="76374">
                  <a:moveTo>
                    <a:pt x="73521" y="18609"/>
                  </a:moveTo>
                  <a:lnTo>
                    <a:pt x="0" y="76374"/>
                  </a:lnTo>
                  <a:lnTo>
                    <a:pt x="0" y="38074"/>
                  </a:lnTo>
                  <a:lnTo>
                    <a:pt x="7338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7" name="Forme libre : forme 516">
              <a:extLst>
                <a:ext uri="{FF2B5EF4-FFF2-40B4-BE49-F238E27FC236}">
                  <a16:creationId xmlns:a16="http://schemas.microsoft.com/office/drawing/2014/main" id="{BE611C7D-8BA6-43CB-A58B-F8EA1A27689B}"/>
                </a:ext>
              </a:extLst>
            </p:cNvPr>
            <p:cNvSpPr/>
            <p:nvPr/>
          </p:nvSpPr>
          <p:spPr>
            <a:xfrm rot="8716295">
              <a:off x="121288" y="414134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8" name="Forme libre : forme 517">
              <a:extLst>
                <a:ext uri="{FF2B5EF4-FFF2-40B4-BE49-F238E27FC236}">
                  <a16:creationId xmlns:a16="http://schemas.microsoft.com/office/drawing/2014/main" id="{537B7576-15D7-45FC-9504-149B076B9937}"/>
                </a:ext>
              </a:extLst>
            </p:cNvPr>
            <p:cNvSpPr/>
            <p:nvPr/>
          </p:nvSpPr>
          <p:spPr>
            <a:xfrm rot="8716295">
              <a:off x="256586" y="418560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9" name="Forme libre : forme 518">
              <a:extLst>
                <a:ext uri="{FF2B5EF4-FFF2-40B4-BE49-F238E27FC236}">
                  <a16:creationId xmlns:a16="http://schemas.microsoft.com/office/drawing/2014/main" id="{0A1143F2-3F82-47D4-91E8-F0134D901FA7}"/>
                </a:ext>
              </a:extLst>
            </p:cNvPr>
            <p:cNvSpPr/>
            <p:nvPr/>
          </p:nvSpPr>
          <p:spPr>
            <a:xfrm rot="8716295">
              <a:off x="188704" y="405501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0" name="Forme libre : forme 519">
              <a:extLst>
                <a:ext uri="{FF2B5EF4-FFF2-40B4-BE49-F238E27FC236}">
                  <a16:creationId xmlns:a16="http://schemas.microsoft.com/office/drawing/2014/main" id="{B5D55B28-879B-49A7-B221-37C39BC82601}"/>
                </a:ext>
              </a:extLst>
            </p:cNvPr>
            <p:cNvSpPr/>
            <p:nvPr/>
          </p:nvSpPr>
          <p:spPr>
            <a:xfrm rot="8716295">
              <a:off x="-22408" y="4278013"/>
              <a:ext cx="57413" cy="71926"/>
            </a:xfrm>
            <a:custGeom>
              <a:avLst/>
              <a:gdLst>
                <a:gd name="connsiteX0" fmla="*/ 11441 w 57413"/>
                <a:gd name="connsiteY0" fmla="*/ 71926 h 71926"/>
                <a:gd name="connsiteX1" fmla="*/ 0 w 57413"/>
                <a:gd name="connsiteY1" fmla="*/ 44829 h 71926"/>
                <a:gd name="connsiteX2" fmla="*/ 0 w 57413"/>
                <a:gd name="connsiteY2" fmla="*/ 44139 h 71926"/>
                <a:gd name="connsiteX3" fmla="*/ 13104 w 57413"/>
                <a:gd name="connsiteY3" fmla="*/ 13104 h 71926"/>
                <a:gd name="connsiteX4" fmla="*/ 44139 w 57413"/>
                <a:gd name="connsiteY4" fmla="*/ 0 h 71926"/>
                <a:gd name="connsiteX5" fmla="*/ 57413 w 57413"/>
                <a:gd name="connsiteY5" fmla="*/ 5605 h 71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413" h="71926">
                  <a:moveTo>
                    <a:pt x="11441" y="71926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lnTo>
                    <a:pt x="57413" y="5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1" name="Forme libre : forme 520">
              <a:extLst>
                <a:ext uri="{FF2B5EF4-FFF2-40B4-BE49-F238E27FC236}">
                  <a16:creationId xmlns:a16="http://schemas.microsoft.com/office/drawing/2014/main" id="{7E605206-C485-4E6D-8FEE-341C14E73705}"/>
                </a:ext>
              </a:extLst>
            </p:cNvPr>
            <p:cNvSpPr/>
            <p:nvPr/>
          </p:nvSpPr>
          <p:spPr>
            <a:xfrm rot="8716295">
              <a:off x="-36969" y="4107248"/>
              <a:ext cx="147272" cy="83734"/>
            </a:xfrm>
            <a:custGeom>
              <a:avLst/>
              <a:gdLst>
                <a:gd name="connsiteX0" fmla="*/ 0 w 147272"/>
                <a:gd name="connsiteY0" fmla="*/ 83734 h 83734"/>
                <a:gd name="connsiteX1" fmla="*/ 0 w 147272"/>
                <a:gd name="connsiteY1" fmla="*/ 0 h 83734"/>
                <a:gd name="connsiteX2" fmla="*/ 147272 w 147272"/>
                <a:gd name="connsiteY2" fmla="*/ 0 h 83734"/>
                <a:gd name="connsiteX3" fmla="*/ 89230 w 147272"/>
                <a:gd name="connsiteY3" fmla="*/ 83734 h 83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272" h="83734">
                  <a:moveTo>
                    <a:pt x="0" y="83734"/>
                  </a:moveTo>
                  <a:lnTo>
                    <a:pt x="0" y="0"/>
                  </a:lnTo>
                  <a:lnTo>
                    <a:pt x="147272" y="0"/>
                  </a:lnTo>
                  <a:lnTo>
                    <a:pt x="89230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2" name="Forme libre : forme 521">
              <a:extLst>
                <a:ext uri="{FF2B5EF4-FFF2-40B4-BE49-F238E27FC236}">
                  <a16:creationId xmlns:a16="http://schemas.microsoft.com/office/drawing/2014/main" id="{9262118B-C43E-403C-A844-12CE419F6DFC}"/>
                </a:ext>
              </a:extLst>
            </p:cNvPr>
            <p:cNvSpPr/>
            <p:nvPr/>
          </p:nvSpPr>
          <p:spPr>
            <a:xfrm rot="8716295">
              <a:off x="43378" y="3712531"/>
              <a:ext cx="125537" cy="468763"/>
            </a:xfrm>
            <a:custGeom>
              <a:avLst/>
              <a:gdLst>
                <a:gd name="connsiteX0" fmla="*/ 29455 w 125537"/>
                <a:gd name="connsiteY0" fmla="*/ 468763 h 468763"/>
                <a:gd name="connsiteX1" fmla="*/ 7792 w 125537"/>
                <a:gd name="connsiteY1" fmla="*/ 425988 h 468763"/>
                <a:gd name="connsiteX2" fmla="*/ 0 w 125537"/>
                <a:gd name="connsiteY2" fmla="*/ 333043 h 468763"/>
                <a:gd name="connsiteX3" fmla="*/ 0 w 125537"/>
                <a:gd name="connsiteY3" fmla="*/ 61444 h 468763"/>
                <a:gd name="connsiteX4" fmla="*/ 118434 w 125537"/>
                <a:gd name="connsiteY4" fmla="*/ 0 h 468763"/>
                <a:gd name="connsiteX5" fmla="*/ 120216 w 125537"/>
                <a:gd name="connsiteY5" fmla="*/ 248447 h 468763"/>
                <a:gd name="connsiteX6" fmla="*/ 123889 w 125537"/>
                <a:gd name="connsiteY6" fmla="*/ 323359 h 468763"/>
                <a:gd name="connsiteX7" fmla="*/ 125537 w 125537"/>
                <a:gd name="connsiteY7" fmla="*/ 330150 h 468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537" h="468763">
                  <a:moveTo>
                    <a:pt x="29455" y="468763"/>
                  </a:moveTo>
                  <a:lnTo>
                    <a:pt x="7792" y="425988"/>
                  </a:lnTo>
                  <a:cubicBezTo>
                    <a:pt x="2003" y="400498"/>
                    <a:pt x="0" y="369553"/>
                    <a:pt x="0" y="333043"/>
                  </a:cubicBezTo>
                  <a:lnTo>
                    <a:pt x="0" y="61444"/>
                  </a:lnTo>
                  <a:lnTo>
                    <a:pt x="118434" y="0"/>
                  </a:lnTo>
                  <a:lnTo>
                    <a:pt x="120216" y="248447"/>
                  </a:lnTo>
                  <a:cubicBezTo>
                    <a:pt x="118880" y="273381"/>
                    <a:pt x="120216" y="298537"/>
                    <a:pt x="123889" y="323359"/>
                  </a:cubicBezTo>
                  <a:lnTo>
                    <a:pt x="125537" y="3301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3" name="Forme libre : forme 522">
              <a:extLst>
                <a:ext uri="{FF2B5EF4-FFF2-40B4-BE49-F238E27FC236}">
                  <a16:creationId xmlns:a16="http://schemas.microsoft.com/office/drawing/2014/main" id="{4BDDBD24-F9E2-4370-BF1B-2A9C91E4A4FF}"/>
                </a:ext>
              </a:extLst>
            </p:cNvPr>
            <p:cNvSpPr/>
            <p:nvPr/>
          </p:nvSpPr>
          <p:spPr>
            <a:xfrm rot="8716295">
              <a:off x="87905" y="4337347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4" name="Forme libre : forme 523">
              <a:extLst>
                <a:ext uri="{FF2B5EF4-FFF2-40B4-BE49-F238E27FC236}">
                  <a16:creationId xmlns:a16="http://schemas.microsoft.com/office/drawing/2014/main" id="{E770B9C9-EE23-473B-B01E-6BB3712BE82B}"/>
                </a:ext>
              </a:extLst>
            </p:cNvPr>
            <p:cNvSpPr/>
            <p:nvPr/>
          </p:nvSpPr>
          <p:spPr>
            <a:xfrm rot="8716295">
              <a:off x="558851" y="376273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5" name="Forme libre : forme 524">
              <a:extLst>
                <a:ext uri="{FF2B5EF4-FFF2-40B4-BE49-F238E27FC236}">
                  <a16:creationId xmlns:a16="http://schemas.microsoft.com/office/drawing/2014/main" id="{69CD1B6A-90CE-49F4-8CA4-B80659E38C5D}"/>
                </a:ext>
              </a:extLst>
            </p:cNvPr>
            <p:cNvSpPr/>
            <p:nvPr/>
          </p:nvSpPr>
          <p:spPr>
            <a:xfrm rot="8716295">
              <a:off x="694150" y="380699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6" name="Forme libre : forme 525">
              <a:extLst>
                <a:ext uri="{FF2B5EF4-FFF2-40B4-BE49-F238E27FC236}">
                  <a16:creationId xmlns:a16="http://schemas.microsoft.com/office/drawing/2014/main" id="{354B8CCD-805B-4819-BC93-507146A6D2AC}"/>
                </a:ext>
              </a:extLst>
            </p:cNvPr>
            <p:cNvSpPr/>
            <p:nvPr/>
          </p:nvSpPr>
          <p:spPr>
            <a:xfrm rot="8716295">
              <a:off x="388980" y="389674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7" name="Forme libre : forme 526">
              <a:extLst>
                <a:ext uri="{FF2B5EF4-FFF2-40B4-BE49-F238E27FC236}">
                  <a16:creationId xmlns:a16="http://schemas.microsoft.com/office/drawing/2014/main" id="{FCD4B19E-37FF-4C42-AA11-3F7471268AD4}"/>
                </a:ext>
              </a:extLst>
            </p:cNvPr>
            <p:cNvSpPr/>
            <p:nvPr/>
          </p:nvSpPr>
          <p:spPr>
            <a:xfrm rot="8716295">
              <a:off x="199936" y="358091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8" name="Forme libre : forme 527">
              <a:extLst>
                <a:ext uri="{FF2B5EF4-FFF2-40B4-BE49-F238E27FC236}">
                  <a16:creationId xmlns:a16="http://schemas.microsoft.com/office/drawing/2014/main" id="{7B22B143-3C4D-4536-9820-8662B8F3F3CC}"/>
                </a:ext>
              </a:extLst>
            </p:cNvPr>
            <p:cNvSpPr/>
            <p:nvPr/>
          </p:nvSpPr>
          <p:spPr>
            <a:xfrm rot="8716295">
              <a:off x="525469" y="3958731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9" name="Forme libre : forme 528">
              <a:extLst>
                <a:ext uri="{FF2B5EF4-FFF2-40B4-BE49-F238E27FC236}">
                  <a16:creationId xmlns:a16="http://schemas.microsoft.com/office/drawing/2014/main" id="{3BFA5721-0E15-4A36-915F-A957BACB9B6B}"/>
                </a:ext>
              </a:extLst>
            </p:cNvPr>
            <p:cNvSpPr/>
            <p:nvPr/>
          </p:nvSpPr>
          <p:spPr>
            <a:xfrm rot="8716295">
              <a:off x="160022" y="3732305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0" name="Forme libre : forme 529">
              <a:extLst>
                <a:ext uri="{FF2B5EF4-FFF2-40B4-BE49-F238E27FC236}">
                  <a16:creationId xmlns:a16="http://schemas.microsoft.com/office/drawing/2014/main" id="{350A0875-8913-4861-A26B-5026CC870AB7}"/>
                </a:ext>
              </a:extLst>
            </p:cNvPr>
            <p:cNvSpPr/>
            <p:nvPr/>
          </p:nvSpPr>
          <p:spPr>
            <a:xfrm rot="7484129">
              <a:off x="684286" y="424834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1" name="Forme libre : forme 530">
              <a:extLst>
                <a:ext uri="{FF2B5EF4-FFF2-40B4-BE49-F238E27FC236}">
                  <a16:creationId xmlns:a16="http://schemas.microsoft.com/office/drawing/2014/main" id="{180B0A13-53B0-43A7-9AB8-C87CD24102F1}"/>
                </a:ext>
              </a:extLst>
            </p:cNvPr>
            <p:cNvSpPr/>
            <p:nvPr/>
          </p:nvSpPr>
          <p:spPr>
            <a:xfrm rot="13089394">
              <a:off x="842936" y="4197697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2" name="Forme libre : forme 531">
              <a:extLst>
                <a:ext uri="{FF2B5EF4-FFF2-40B4-BE49-F238E27FC236}">
                  <a16:creationId xmlns:a16="http://schemas.microsoft.com/office/drawing/2014/main" id="{977134C1-FB1A-4DF1-BB49-2753CD9EFE64}"/>
                </a:ext>
              </a:extLst>
            </p:cNvPr>
            <p:cNvSpPr/>
            <p:nvPr/>
          </p:nvSpPr>
          <p:spPr>
            <a:xfrm rot="8716295">
              <a:off x="1123827" y="390757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3" name="Forme libre : forme 532">
              <a:extLst>
                <a:ext uri="{FF2B5EF4-FFF2-40B4-BE49-F238E27FC236}">
                  <a16:creationId xmlns:a16="http://schemas.microsoft.com/office/drawing/2014/main" id="{995F6F00-62E2-46A6-B6D6-2E24CC951A9A}"/>
                </a:ext>
              </a:extLst>
            </p:cNvPr>
            <p:cNvSpPr/>
            <p:nvPr/>
          </p:nvSpPr>
          <p:spPr>
            <a:xfrm rot="8716295">
              <a:off x="1045418" y="375078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4" name="Forme libre : forme 533">
              <a:extLst>
                <a:ext uri="{FF2B5EF4-FFF2-40B4-BE49-F238E27FC236}">
                  <a16:creationId xmlns:a16="http://schemas.microsoft.com/office/drawing/2014/main" id="{A3F1DE5A-4286-4044-969C-2885B786F6A8}"/>
                </a:ext>
              </a:extLst>
            </p:cNvPr>
            <p:cNvSpPr/>
            <p:nvPr/>
          </p:nvSpPr>
          <p:spPr>
            <a:xfrm rot="8716295">
              <a:off x="677254" y="379652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5" name="Forme libre : forme 534">
              <a:extLst>
                <a:ext uri="{FF2B5EF4-FFF2-40B4-BE49-F238E27FC236}">
                  <a16:creationId xmlns:a16="http://schemas.microsoft.com/office/drawing/2014/main" id="{94E18040-33C6-4F17-A913-2CCF3B22084B}"/>
                </a:ext>
              </a:extLst>
            </p:cNvPr>
            <p:cNvSpPr/>
            <p:nvPr/>
          </p:nvSpPr>
          <p:spPr>
            <a:xfrm rot="8716295">
              <a:off x="945836" y="355550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6" name="Forme libre : forme 535">
              <a:extLst>
                <a:ext uri="{FF2B5EF4-FFF2-40B4-BE49-F238E27FC236}">
                  <a16:creationId xmlns:a16="http://schemas.microsoft.com/office/drawing/2014/main" id="{A9C222B1-4EB2-4073-B2D7-C74FB6F4EB84}"/>
                </a:ext>
              </a:extLst>
            </p:cNvPr>
            <p:cNvSpPr/>
            <p:nvPr/>
          </p:nvSpPr>
          <p:spPr>
            <a:xfrm rot="8716295">
              <a:off x="601570" y="5027951"/>
              <a:ext cx="169680" cy="113030"/>
            </a:xfrm>
            <a:custGeom>
              <a:avLst/>
              <a:gdLst>
                <a:gd name="connsiteX0" fmla="*/ 8965 w 169680"/>
                <a:gd name="connsiteY0" fmla="*/ 113030 h 113030"/>
                <a:gd name="connsiteX1" fmla="*/ 0 w 169680"/>
                <a:gd name="connsiteY1" fmla="*/ 100616 h 113030"/>
                <a:gd name="connsiteX2" fmla="*/ 106933 w 169680"/>
                <a:gd name="connsiteY2" fmla="*/ 0 h 113030"/>
                <a:gd name="connsiteX3" fmla="*/ 169680 w 169680"/>
                <a:gd name="connsiteY3" fmla="*/ 43494 h 113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680" h="113030">
                  <a:moveTo>
                    <a:pt x="8965" y="113030"/>
                  </a:moveTo>
                  <a:lnTo>
                    <a:pt x="0" y="100616"/>
                  </a:lnTo>
                  <a:lnTo>
                    <a:pt x="106933" y="0"/>
                  </a:lnTo>
                  <a:lnTo>
                    <a:pt x="169680" y="434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7" name="Forme libre : forme 536">
              <a:extLst>
                <a:ext uri="{FF2B5EF4-FFF2-40B4-BE49-F238E27FC236}">
                  <a16:creationId xmlns:a16="http://schemas.microsoft.com/office/drawing/2014/main" id="{44BF5385-3A6A-43AF-83DC-C028C02E5E2C}"/>
                </a:ext>
              </a:extLst>
            </p:cNvPr>
            <p:cNvSpPr/>
            <p:nvPr/>
          </p:nvSpPr>
          <p:spPr>
            <a:xfrm rot="8716295">
              <a:off x="197311" y="4925365"/>
              <a:ext cx="194366" cy="296463"/>
            </a:xfrm>
            <a:custGeom>
              <a:avLst/>
              <a:gdLst>
                <a:gd name="connsiteX0" fmla="*/ 137293 w 194366"/>
                <a:gd name="connsiteY0" fmla="*/ 296463 h 296463"/>
                <a:gd name="connsiteX1" fmla="*/ 72418 w 194366"/>
                <a:gd name="connsiteY1" fmla="*/ 175766 h 296463"/>
                <a:gd name="connsiteX2" fmla="*/ 105610 w 194366"/>
                <a:gd name="connsiteY2" fmla="*/ 83734 h 296463"/>
                <a:gd name="connsiteX3" fmla="*/ 0 w 194366"/>
                <a:gd name="connsiteY3" fmla="*/ 83734 h 296463"/>
                <a:gd name="connsiteX4" fmla="*/ 0 w 194366"/>
                <a:gd name="connsiteY4" fmla="*/ 0 h 296463"/>
                <a:gd name="connsiteX5" fmla="*/ 6043 w 194366"/>
                <a:gd name="connsiteY5" fmla="*/ 0 h 296463"/>
                <a:gd name="connsiteX6" fmla="*/ 194366 w 194366"/>
                <a:gd name="connsiteY6" fmla="*/ 130539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4366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6043" y="0"/>
                  </a:lnTo>
                  <a:lnTo>
                    <a:pt x="194366" y="1305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8" name="Forme libre : forme 537">
              <a:extLst>
                <a:ext uri="{FF2B5EF4-FFF2-40B4-BE49-F238E27FC236}">
                  <a16:creationId xmlns:a16="http://schemas.microsoft.com/office/drawing/2014/main" id="{5CF1CD9D-552A-4CCB-B9A3-0F1972CF10E7}"/>
                </a:ext>
              </a:extLst>
            </p:cNvPr>
            <p:cNvSpPr/>
            <p:nvPr/>
          </p:nvSpPr>
          <p:spPr>
            <a:xfrm rot="8716295">
              <a:off x="81902" y="4747962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9" name="Forme libre : forme 538">
              <a:extLst>
                <a:ext uri="{FF2B5EF4-FFF2-40B4-BE49-F238E27FC236}">
                  <a16:creationId xmlns:a16="http://schemas.microsoft.com/office/drawing/2014/main" id="{89D63773-02CD-4D03-8182-ECDC8799BAA4}"/>
                </a:ext>
              </a:extLst>
            </p:cNvPr>
            <p:cNvSpPr/>
            <p:nvPr/>
          </p:nvSpPr>
          <p:spPr>
            <a:xfrm rot="8716295">
              <a:off x="896624" y="4761216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0" name="Forme libre : forme 539">
              <a:extLst>
                <a:ext uri="{FF2B5EF4-FFF2-40B4-BE49-F238E27FC236}">
                  <a16:creationId xmlns:a16="http://schemas.microsoft.com/office/drawing/2014/main" id="{33BF861B-C1D8-40D6-A4A6-F4A4F57DC0A7}"/>
                </a:ext>
              </a:extLst>
            </p:cNvPr>
            <p:cNvSpPr/>
            <p:nvPr/>
          </p:nvSpPr>
          <p:spPr>
            <a:xfrm rot="8716295">
              <a:off x="1032483" y="4799006"/>
              <a:ext cx="389853" cy="383455"/>
            </a:xfrm>
            <a:custGeom>
              <a:avLst/>
              <a:gdLst>
                <a:gd name="connsiteX0" fmla="*/ 77932 w 389853"/>
                <a:gd name="connsiteY0" fmla="*/ 383455 h 383455"/>
                <a:gd name="connsiteX1" fmla="*/ 77932 w 389853"/>
                <a:gd name="connsiteY1" fmla="*/ 66898 h 383455"/>
                <a:gd name="connsiteX2" fmla="*/ 0 w 389853"/>
                <a:gd name="connsiteY2" fmla="*/ 66898 h 383455"/>
                <a:gd name="connsiteX3" fmla="*/ 0 w 389853"/>
                <a:gd name="connsiteY3" fmla="*/ 0 h 383455"/>
                <a:gd name="connsiteX4" fmla="*/ 158623 w 389853"/>
                <a:gd name="connsiteY4" fmla="*/ 0 h 383455"/>
                <a:gd name="connsiteX5" fmla="*/ 158623 w 389853"/>
                <a:gd name="connsiteY5" fmla="*/ 111726 h 383455"/>
                <a:gd name="connsiteX6" fmla="*/ 160692 w 389853"/>
                <a:gd name="connsiteY6" fmla="*/ 111726 h 383455"/>
                <a:gd name="connsiteX7" fmla="*/ 192762 w 389853"/>
                <a:gd name="connsiteY7" fmla="*/ 39914 h 383455"/>
                <a:gd name="connsiteX8" fmla="*/ 216292 w 389853"/>
                <a:gd name="connsiteY8" fmla="*/ 20658 h 383455"/>
                <a:gd name="connsiteX9" fmla="*/ 389853 w 389853"/>
                <a:gd name="connsiteY9" fmla="*/ 140965 h 383455"/>
                <a:gd name="connsiteX10" fmla="*/ 300695 w 389853"/>
                <a:gd name="connsiteY10" fmla="*/ 146210 h 383455"/>
                <a:gd name="connsiteX11" fmla="*/ 300694 w 389853"/>
                <a:gd name="connsiteY11" fmla="*/ 121382 h 383455"/>
                <a:gd name="connsiteX12" fmla="*/ 249659 w 389853"/>
                <a:gd name="connsiteY12" fmla="*/ 58622 h 383455"/>
                <a:gd name="connsiteX13" fmla="*/ 168969 w 389853"/>
                <a:gd name="connsiteY13" fmla="*/ 191038 h 383455"/>
                <a:gd name="connsiteX14" fmla="*/ 168969 w 389853"/>
                <a:gd name="connsiteY14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9853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71727" y="78967"/>
                    <a:pt x="181555" y="56208"/>
                    <a:pt x="192762" y="39914"/>
                  </a:cubicBezTo>
                  <a:lnTo>
                    <a:pt x="216292" y="20658"/>
                  </a:lnTo>
                  <a:lnTo>
                    <a:pt x="389853" y="140965"/>
                  </a:lnTo>
                  <a:lnTo>
                    <a:pt x="300695" y="146210"/>
                  </a:lnTo>
                  <a:lnTo>
                    <a:pt x="300694" y="121382"/>
                  </a:lnTo>
                  <a:cubicBezTo>
                    <a:pt x="300695" y="84140"/>
                    <a:pt x="279315" y="58621"/>
                    <a:pt x="249659" y="58622"/>
                  </a:cubicBezTo>
                  <a:cubicBezTo>
                    <a:pt x="205521" y="58621"/>
                    <a:pt x="168969" y="117244"/>
                    <a:pt x="168969" y="191038"/>
                  </a:cubicBez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1" name="Forme libre : forme 540">
              <a:extLst>
                <a:ext uri="{FF2B5EF4-FFF2-40B4-BE49-F238E27FC236}">
                  <a16:creationId xmlns:a16="http://schemas.microsoft.com/office/drawing/2014/main" id="{C420EFCB-7AD0-4F78-ABFA-EF93E239A8B5}"/>
                </a:ext>
              </a:extLst>
            </p:cNvPr>
            <p:cNvSpPr/>
            <p:nvPr/>
          </p:nvSpPr>
          <p:spPr>
            <a:xfrm rot="8716295">
              <a:off x="726753" y="489523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2" name="Forme libre : forme 541">
              <a:extLst>
                <a:ext uri="{FF2B5EF4-FFF2-40B4-BE49-F238E27FC236}">
                  <a16:creationId xmlns:a16="http://schemas.microsoft.com/office/drawing/2014/main" id="{0A5B3530-D6C0-4EE2-8CA9-FA8536749993}"/>
                </a:ext>
              </a:extLst>
            </p:cNvPr>
            <p:cNvSpPr/>
            <p:nvPr/>
          </p:nvSpPr>
          <p:spPr>
            <a:xfrm rot="8716295">
              <a:off x="537709" y="457939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3" name="Forme libre : forme 542">
              <a:extLst>
                <a:ext uri="{FF2B5EF4-FFF2-40B4-BE49-F238E27FC236}">
                  <a16:creationId xmlns:a16="http://schemas.microsoft.com/office/drawing/2014/main" id="{4CBF89FF-5526-4991-BDD9-741DD1ACD91A}"/>
                </a:ext>
              </a:extLst>
            </p:cNvPr>
            <p:cNvSpPr/>
            <p:nvPr/>
          </p:nvSpPr>
          <p:spPr>
            <a:xfrm rot="8716295">
              <a:off x="826576" y="4988476"/>
              <a:ext cx="91035" cy="198648"/>
            </a:xfrm>
            <a:custGeom>
              <a:avLst/>
              <a:gdLst>
                <a:gd name="connsiteX0" fmla="*/ 91035 w 91035"/>
                <a:gd name="connsiteY0" fmla="*/ 198648 h 198648"/>
                <a:gd name="connsiteX1" fmla="*/ 0 w 91035"/>
                <a:gd name="connsiteY1" fmla="*/ 111060 h 198648"/>
                <a:gd name="connsiteX2" fmla="*/ 0 w 91035"/>
                <a:gd name="connsiteY2" fmla="*/ 0 h 198648"/>
                <a:gd name="connsiteX3" fmla="*/ 91035 w 91035"/>
                <a:gd name="connsiteY3" fmla="*/ 63103 h 198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198648">
                  <a:moveTo>
                    <a:pt x="91035" y="198648"/>
                  </a:moveTo>
                  <a:lnTo>
                    <a:pt x="0" y="111060"/>
                  </a:lnTo>
                  <a:lnTo>
                    <a:pt x="0" y="0"/>
                  </a:lnTo>
                  <a:lnTo>
                    <a:pt x="91035" y="631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4" name="Forme libre : forme 543">
              <a:extLst>
                <a:ext uri="{FF2B5EF4-FFF2-40B4-BE49-F238E27FC236}">
                  <a16:creationId xmlns:a16="http://schemas.microsoft.com/office/drawing/2014/main" id="{2B19B256-A6B8-458D-8003-2780D79D3EB3}"/>
                </a:ext>
              </a:extLst>
            </p:cNvPr>
            <p:cNvSpPr/>
            <p:nvPr/>
          </p:nvSpPr>
          <p:spPr>
            <a:xfrm rot="8716295">
              <a:off x="497795" y="4730788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5" name="Forme libre : forme 544">
              <a:extLst>
                <a:ext uri="{FF2B5EF4-FFF2-40B4-BE49-F238E27FC236}">
                  <a16:creationId xmlns:a16="http://schemas.microsoft.com/office/drawing/2014/main" id="{38C331B5-12FF-441E-AFC8-4295F59727BE}"/>
                </a:ext>
              </a:extLst>
            </p:cNvPr>
            <p:cNvSpPr/>
            <p:nvPr/>
          </p:nvSpPr>
          <p:spPr>
            <a:xfrm rot="8716295">
              <a:off x="1459248" y="4904357"/>
              <a:ext cx="328004" cy="223069"/>
            </a:xfrm>
            <a:custGeom>
              <a:avLst/>
              <a:gdLst>
                <a:gd name="connsiteX0" fmla="*/ 10574 w 328004"/>
                <a:gd name="connsiteY0" fmla="*/ 223069 h 223069"/>
                <a:gd name="connsiteX1" fmla="*/ 0 w 328004"/>
                <a:gd name="connsiteY1" fmla="*/ 208428 h 223069"/>
                <a:gd name="connsiteX2" fmla="*/ 192781 w 328004"/>
                <a:gd name="connsiteY2" fmla="*/ 27035 h 223069"/>
                <a:gd name="connsiteX3" fmla="*/ 227094 w 328004"/>
                <a:gd name="connsiteY3" fmla="*/ 0 h 223069"/>
                <a:gd name="connsiteX4" fmla="*/ 328004 w 328004"/>
                <a:gd name="connsiteY4" fmla="*/ 69948 h 223069"/>
                <a:gd name="connsiteX5" fmla="*/ 326080 w 328004"/>
                <a:gd name="connsiteY5" fmla="*/ 74925 h 223069"/>
                <a:gd name="connsiteX6" fmla="*/ 293645 w 328004"/>
                <a:gd name="connsiteY6" fmla="*/ 100243 h 223069"/>
                <a:gd name="connsiteX7" fmla="*/ 294458 w 328004"/>
                <a:gd name="connsiteY7" fmla="*/ 100243 h 223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8004" h="223069">
                  <a:moveTo>
                    <a:pt x="10574" y="223069"/>
                  </a:moveTo>
                  <a:lnTo>
                    <a:pt x="0" y="208428"/>
                  </a:lnTo>
                  <a:lnTo>
                    <a:pt x="192781" y="27035"/>
                  </a:lnTo>
                  <a:lnTo>
                    <a:pt x="227094" y="0"/>
                  </a:lnTo>
                  <a:lnTo>
                    <a:pt x="328004" y="69948"/>
                  </a:lnTo>
                  <a:lnTo>
                    <a:pt x="326080" y="74925"/>
                  </a:lnTo>
                  <a:cubicBezTo>
                    <a:pt x="317843" y="85805"/>
                    <a:pt x="306659" y="94549"/>
                    <a:pt x="293645" y="100243"/>
                  </a:cubicBezTo>
                  <a:lnTo>
                    <a:pt x="294458" y="10024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6" name="Forme libre : forme 545">
              <a:extLst>
                <a:ext uri="{FF2B5EF4-FFF2-40B4-BE49-F238E27FC236}">
                  <a16:creationId xmlns:a16="http://schemas.microsoft.com/office/drawing/2014/main" id="{2EF13EE3-4590-46FE-815C-89B113D51647}"/>
                </a:ext>
              </a:extLst>
            </p:cNvPr>
            <p:cNvSpPr/>
            <p:nvPr/>
          </p:nvSpPr>
          <p:spPr>
            <a:xfrm rot="8716295">
              <a:off x="1383191" y="474927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7" name="Forme libre : forme 546">
              <a:extLst>
                <a:ext uri="{FF2B5EF4-FFF2-40B4-BE49-F238E27FC236}">
                  <a16:creationId xmlns:a16="http://schemas.microsoft.com/office/drawing/2014/main" id="{ACF317BC-C487-48DA-AAF1-A734E1B80AFC}"/>
                </a:ext>
              </a:extLst>
            </p:cNvPr>
            <p:cNvSpPr/>
            <p:nvPr/>
          </p:nvSpPr>
          <p:spPr>
            <a:xfrm rot="8716295">
              <a:off x="1015027" y="479501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8" name="Forme libre : forme 547">
              <a:extLst>
                <a:ext uri="{FF2B5EF4-FFF2-40B4-BE49-F238E27FC236}">
                  <a16:creationId xmlns:a16="http://schemas.microsoft.com/office/drawing/2014/main" id="{B791FEAA-DC33-4F32-8880-340A058FD832}"/>
                </a:ext>
              </a:extLst>
            </p:cNvPr>
            <p:cNvSpPr/>
            <p:nvPr/>
          </p:nvSpPr>
          <p:spPr>
            <a:xfrm rot="8716295">
              <a:off x="1283609" y="455399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9" name="Forme libre : forme 548">
              <a:extLst>
                <a:ext uri="{FF2B5EF4-FFF2-40B4-BE49-F238E27FC236}">
                  <a16:creationId xmlns:a16="http://schemas.microsoft.com/office/drawing/2014/main" id="{E17616AF-8BAE-4050-B11F-682C7E2BF991}"/>
                </a:ext>
              </a:extLst>
            </p:cNvPr>
            <p:cNvSpPr/>
            <p:nvPr/>
          </p:nvSpPr>
          <p:spPr>
            <a:xfrm rot="8716295">
              <a:off x="-30381" y="3359388"/>
              <a:ext cx="98497" cy="75863"/>
            </a:xfrm>
            <a:custGeom>
              <a:avLst/>
              <a:gdLst>
                <a:gd name="connsiteX0" fmla="*/ 0 w 98497"/>
                <a:gd name="connsiteY0" fmla="*/ 75863 h 75863"/>
                <a:gd name="connsiteX1" fmla="*/ 0 w 98497"/>
                <a:gd name="connsiteY1" fmla="*/ 0 h 75863"/>
                <a:gd name="connsiteX2" fmla="*/ 98497 w 98497"/>
                <a:gd name="connsiteY2" fmla="*/ 0 h 75863"/>
                <a:gd name="connsiteX3" fmla="*/ 45911 w 98497"/>
                <a:gd name="connsiteY3" fmla="*/ 75863 h 75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497" h="75863">
                  <a:moveTo>
                    <a:pt x="0" y="75863"/>
                  </a:moveTo>
                  <a:lnTo>
                    <a:pt x="0" y="0"/>
                  </a:lnTo>
                  <a:lnTo>
                    <a:pt x="98497" y="0"/>
                  </a:lnTo>
                  <a:lnTo>
                    <a:pt x="45911" y="758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0" name="Forme libre : forme 549">
              <a:extLst>
                <a:ext uri="{FF2B5EF4-FFF2-40B4-BE49-F238E27FC236}">
                  <a16:creationId xmlns:a16="http://schemas.microsoft.com/office/drawing/2014/main" id="{F7A06632-7A82-4771-B4F7-5A48BC7BBB8C}"/>
                </a:ext>
              </a:extLst>
            </p:cNvPr>
            <p:cNvSpPr/>
            <p:nvPr/>
          </p:nvSpPr>
          <p:spPr>
            <a:xfrm rot="8716295">
              <a:off x="-77334" y="3178477"/>
              <a:ext cx="389652" cy="385611"/>
            </a:xfrm>
            <a:custGeom>
              <a:avLst/>
              <a:gdLst>
                <a:gd name="connsiteX0" fmla="*/ 77932 w 389652"/>
                <a:gd name="connsiteY0" fmla="*/ 385611 h 385611"/>
                <a:gd name="connsiteX1" fmla="*/ 77932 w 389652"/>
                <a:gd name="connsiteY1" fmla="*/ 69054 h 385611"/>
                <a:gd name="connsiteX2" fmla="*/ 0 w 389652"/>
                <a:gd name="connsiteY2" fmla="*/ 69054 h 385611"/>
                <a:gd name="connsiteX3" fmla="*/ 0 w 389652"/>
                <a:gd name="connsiteY3" fmla="*/ 2156 h 385611"/>
                <a:gd name="connsiteX4" fmla="*/ 158623 w 389652"/>
                <a:gd name="connsiteY4" fmla="*/ 2156 h 385611"/>
                <a:gd name="connsiteX5" fmla="*/ 158623 w 389652"/>
                <a:gd name="connsiteY5" fmla="*/ 113882 h 385611"/>
                <a:gd name="connsiteX6" fmla="*/ 160692 w 389652"/>
                <a:gd name="connsiteY6" fmla="*/ 113882 h 385611"/>
                <a:gd name="connsiteX7" fmla="*/ 233107 w 389652"/>
                <a:gd name="connsiteY7" fmla="*/ 9053 h 385611"/>
                <a:gd name="connsiteX8" fmla="*/ 280694 w 389652"/>
                <a:gd name="connsiteY8" fmla="*/ 87 h 385611"/>
                <a:gd name="connsiteX9" fmla="*/ 364230 w 389652"/>
                <a:gd name="connsiteY9" fmla="*/ 34398 h 385611"/>
                <a:gd name="connsiteX10" fmla="*/ 389652 w 389652"/>
                <a:gd name="connsiteY10" fmla="*/ 117977 h 385611"/>
                <a:gd name="connsiteX11" fmla="*/ 371473 w 389652"/>
                <a:gd name="connsiteY11" fmla="*/ 144202 h 385611"/>
                <a:gd name="connsiteX12" fmla="*/ 300695 w 389652"/>
                <a:gd name="connsiteY12" fmla="*/ 148366 h 385611"/>
                <a:gd name="connsiteX13" fmla="*/ 300695 w 389652"/>
                <a:gd name="connsiteY13" fmla="*/ 123538 h 385611"/>
                <a:gd name="connsiteX14" fmla="*/ 249659 w 389652"/>
                <a:gd name="connsiteY14" fmla="*/ 60778 h 385611"/>
                <a:gd name="connsiteX15" fmla="*/ 168969 w 389652"/>
                <a:gd name="connsiteY15" fmla="*/ 193194 h 385611"/>
                <a:gd name="connsiteX16" fmla="*/ 168969 w 389652"/>
                <a:gd name="connsiteY16" fmla="*/ 323541 h 385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89652" h="385611">
                  <a:moveTo>
                    <a:pt x="77932" y="385611"/>
                  </a:moveTo>
                  <a:lnTo>
                    <a:pt x="77932" y="69054"/>
                  </a:lnTo>
                  <a:lnTo>
                    <a:pt x="0" y="69054"/>
                  </a:lnTo>
                  <a:lnTo>
                    <a:pt x="0" y="2156"/>
                  </a:lnTo>
                  <a:lnTo>
                    <a:pt x="158623" y="2156"/>
                  </a:lnTo>
                  <a:lnTo>
                    <a:pt x="158623" y="113882"/>
                  </a:lnTo>
                  <a:lnTo>
                    <a:pt x="160692" y="113882"/>
                  </a:lnTo>
                  <a:cubicBezTo>
                    <a:pt x="182762" y="48364"/>
                    <a:pt x="200003" y="22846"/>
                    <a:pt x="233107" y="9053"/>
                  </a:cubicBezTo>
                  <a:cubicBezTo>
                    <a:pt x="248280" y="2846"/>
                    <a:pt x="264142" y="-602"/>
                    <a:pt x="280694" y="87"/>
                  </a:cubicBezTo>
                  <a:cubicBezTo>
                    <a:pt x="316212" y="-603"/>
                    <a:pt x="344661" y="11466"/>
                    <a:pt x="364230" y="34398"/>
                  </a:cubicBezTo>
                  <a:lnTo>
                    <a:pt x="389652" y="117977"/>
                  </a:lnTo>
                  <a:lnTo>
                    <a:pt x="371473" y="144202"/>
                  </a:lnTo>
                  <a:lnTo>
                    <a:pt x="300695" y="148366"/>
                  </a:lnTo>
                  <a:lnTo>
                    <a:pt x="300695" y="123538"/>
                  </a:lnTo>
                  <a:cubicBezTo>
                    <a:pt x="300695" y="86296"/>
                    <a:pt x="279315" y="60778"/>
                    <a:pt x="249659" y="60778"/>
                  </a:cubicBezTo>
                  <a:cubicBezTo>
                    <a:pt x="205521" y="60778"/>
                    <a:pt x="168969" y="119400"/>
                    <a:pt x="168969" y="193194"/>
                  </a:cubicBezTo>
                  <a:lnTo>
                    <a:pt x="168969" y="3235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1" name="Forme libre : forme 550">
              <a:extLst>
                <a:ext uri="{FF2B5EF4-FFF2-40B4-BE49-F238E27FC236}">
                  <a16:creationId xmlns:a16="http://schemas.microsoft.com/office/drawing/2014/main" id="{497925DD-6E6C-4259-BA1E-97C604ADFD78}"/>
                </a:ext>
              </a:extLst>
            </p:cNvPr>
            <p:cNvSpPr/>
            <p:nvPr/>
          </p:nvSpPr>
          <p:spPr>
            <a:xfrm rot="8716295">
              <a:off x="-71352" y="3029015"/>
              <a:ext cx="193594" cy="189959"/>
            </a:xfrm>
            <a:custGeom>
              <a:avLst/>
              <a:gdLst>
                <a:gd name="connsiteX0" fmla="*/ 8965 w 193594"/>
                <a:gd name="connsiteY0" fmla="*/ 189959 h 189959"/>
                <a:gd name="connsiteX1" fmla="*/ 0 w 193594"/>
                <a:gd name="connsiteY1" fmla="*/ 177545 h 189959"/>
                <a:gd name="connsiteX2" fmla="*/ 163451 w 193594"/>
                <a:gd name="connsiteY2" fmla="*/ 23749 h 189959"/>
                <a:gd name="connsiteX3" fmla="*/ 193594 w 193594"/>
                <a:gd name="connsiteY3" fmla="*/ 0 h 189959"/>
                <a:gd name="connsiteX4" fmla="*/ 84606 w 193594"/>
                <a:gd name="connsiteY4" fmla="*/ 157232 h 189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594" h="189959">
                  <a:moveTo>
                    <a:pt x="8965" y="189959"/>
                  </a:moveTo>
                  <a:lnTo>
                    <a:pt x="0" y="177545"/>
                  </a:lnTo>
                  <a:lnTo>
                    <a:pt x="163451" y="23749"/>
                  </a:lnTo>
                  <a:lnTo>
                    <a:pt x="193594" y="0"/>
                  </a:lnTo>
                  <a:lnTo>
                    <a:pt x="84606" y="15723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2" name="Forme libre : forme 551">
              <a:extLst>
                <a:ext uri="{FF2B5EF4-FFF2-40B4-BE49-F238E27FC236}">
                  <a16:creationId xmlns:a16="http://schemas.microsoft.com/office/drawing/2014/main" id="{E29BD41D-2F5C-497A-8BF9-AF2F5B2427C3}"/>
                </a:ext>
              </a:extLst>
            </p:cNvPr>
            <p:cNvSpPr/>
            <p:nvPr/>
          </p:nvSpPr>
          <p:spPr>
            <a:xfrm rot="8716295">
              <a:off x="223574" y="276232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3" name="Forme libre : forme 552">
              <a:extLst>
                <a:ext uri="{FF2B5EF4-FFF2-40B4-BE49-F238E27FC236}">
                  <a16:creationId xmlns:a16="http://schemas.microsoft.com/office/drawing/2014/main" id="{6A4C14F3-A2C0-4F87-AC82-3B459E04B788}"/>
                </a:ext>
              </a:extLst>
            </p:cNvPr>
            <p:cNvSpPr/>
            <p:nvPr/>
          </p:nvSpPr>
          <p:spPr>
            <a:xfrm rot="8716295">
              <a:off x="358873" y="2806579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4" name="Forme libre : forme 553">
              <a:extLst>
                <a:ext uri="{FF2B5EF4-FFF2-40B4-BE49-F238E27FC236}">
                  <a16:creationId xmlns:a16="http://schemas.microsoft.com/office/drawing/2014/main" id="{935BD79C-492F-44F8-B4F1-B103EB9A56A0}"/>
                </a:ext>
              </a:extLst>
            </p:cNvPr>
            <p:cNvSpPr/>
            <p:nvPr/>
          </p:nvSpPr>
          <p:spPr>
            <a:xfrm rot="8716295">
              <a:off x="53703" y="2896335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5" name="Forme libre : forme 554">
              <a:extLst>
                <a:ext uri="{FF2B5EF4-FFF2-40B4-BE49-F238E27FC236}">
                  <a16:creationId xmlns:a16="http://schemas.microsoft.com/office/drawing/2014/main" id="{20269E7A-5297-42E3-A791-BAD958B2ADF9}"/>
                </a:ext>
              </a:extLst>
            </p:cNvPr>
            <p:cNvSpPr/>
            <p:nvPr/>
          </p:nvSpPr>
          <p:spPr>
            <a:xfrm rot="8716295">
              <a:off x="-92201" y="2622488"/>
              <a:ext cx="271732" cy="238722"/>
            </a:xfrm>
            <a:custGeom>
              <a:avLst/>
              <a:gdLst>
                <a:gd name="connsiteX0" fmla="*/ 106257 w 271732"/>
                <a:gd name="connsiteY0" fmla="*/ 238722 h 238722"/>
                <a:gd name="connsiteX1" fmla="*/ 72418 w 271732"/>
                <a:gd name="connsiteY1" fmla="*/ 175766 h 238722"/>
                <a:gd name="connsiteX2" fmla="*/ 105610 w 271732"/>
                <a:gd name="connsiteY2" fmla="*/ 83734 h 238722"/>
                <a:gd name="connsiteX3" fmla="*/ 0 w 271732"/>
                <a:gd name="connsiteY3" fmla="*/ 83734 h 238722"/>
                <a:gd name="connsiteX4" fmla="*/ 0 w 271732"/>
                <a:gd name="connsiteY4" fmla="*/ 0 h 238722"/>
                <a:gd name="connsiteX5" fmla="*/ 271732 w 271732"/>
                <a:gd name="connsiteY5" fmla="*/ 0 h 238722"/>
                <a:gd name="connsiteX6" fmla="*/ 213690 w 271732"/>
                <a:gd name="connsiteY6" fmla="*/ 83734 h 238722"/>
                <a:gd name="connsiteX7" fmla="*/ 210465 w 271732"/>
                <a:gd name="connsiteY7" fmla="*/ 83734 h 238722"/>
                <a:gd name="connsiteX8" fmla="*/ 207289 w 271732"/>
                <a:gd name="connsiteY8" fmla="*/ 92969 h 238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1732" h="238722">
                  <a:moveTo>
                    <a:pt x="106257" y="238722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71732" y="0"/>
                  </a:lnTo>
                  <a:lnTo>
                    <a:pt x="213690" y="83734"/>
                  </a:lnTo>
                  <a:lnTo>
                    <a:pt x="210465" y="83734"/>
                  </a:lnTo>
                  <a:lnTo>
                    <a:pt x="207289" y="929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6" name="Forme libre : forme 555">
              <a:extLst>
                <a:ext uri="{FF2B5EF4-FFF2-40B4-BE49-F238E27FC236}">
                  <a16:creationId xmlns:a16="http://schemas.microsoft.com/office/drawing/2014/main" id="{F59E69C4-B8C8-4B2C-9ACE-4F40F98BFC84}"/>
                </a:ext>
              </a:extLst>
            </p:cNvPr>
            <p:cNvSpPr/>
            <p:nvPr/>
          </p:nvSpPr>
          <p:spPr>
            <a:xfrm rot="8716295">
              <a:off x="190192" y="2958318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7" name="Forme libre : forme 556">
              <a:extLst>
                <a:ext uri="{FF2B5EF4-FFF2-40B4-BE49-F238E27FC236}">
                  <a16:creationId xmlns:a16="http://schemas.microsoft.com/office/drawing/2014/main" id="{60A06DA4-F392-4C9B-B810-DC33F0E06EF7}"/>
                </a:ext>
              </a:extLst>
            </p:cNvPr>
            <p:cNvSpPr/>
            <p:nvPr/>
          </p:nvSpPr>
          <p:spPr>
            <a:xfrm rot="7484129">
              <a:off x="349009" y="324793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8" name="Forme libre : forme 557">
              <a:extLst>
                <a:ext uri="{FF2B5EF4-FFF2-40B4-BE49-F238E27FC236}">
                  <a16:creationId xmlns:a16="http://schemas.microsoft.com/office/drawing/2014/main" id="{AB6A2932-14BD-4774-A352-7D5D644B3B5A}"/>
                </a:ext>
              </a:extLst>
            </p:cNvPr>
            <p:cNvSpPr/>
            <p:nvPr/>
          </p:nvSpPr>
          <p:spPr>
            <a:xfrm rot="13089394">
              <a:off x="507659" y="3197284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9" name="Forme libre : forme 558">
              <a:extLst>
                <a:ext uri="{FF2B5EF4-FFF2-40B4-BE49-F238E27FC236}">
                  <a16:creationId xmlns:a16="http://schemas.microsoft.com/office/drawing/2014/main" id="{B0C0F300-8F87-4878-A242-83480CD0F594}"/>
                </a:ext>
              </a:extLst>
            </p:cNvPr>
            <p:cNvSpPr/>
            <p:nvPr/>
          </p:nvSpPr>
          <p:spPr>
            <a:xfrm rot="8716295">
              <a:off x="788550" y="2907166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0" name="Forme libre : forme 559">
              <a:extLst>
                <a:ext uri="{FF2B5EF4-FFF2-40B4-BE49-F238E27FC236}">
                  <a16:creationId xmlns:a16="http://schemas.microsoft.com/office/drawing/2014/main" id="{51D26EC8-7FBF-4DE9-AD62-79231B0281F0}"/>
                </a:ext>
              </a:extLst>
            </p:cNvPr>
            <p:cNvSpPr/>
            <p:nvPr/>
          </p:nvSpPr>
          <p:spPr>
            <a:xfrm rot="8716295">
              <a:off x="710141" y="275037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1" name="Forme libre : forme 560">
              <a:extLst>
                <a:ext uri="{FF2B5EF4-FFF2-40B4-BE49-F238E27FC236}">
                  <a16:creationId xmlns:a16="http://schemas.microsoft.com/office/drawing/2014/main" id="{DED5A4F2-08F4-473E-85B0-2FEDFE194CE3}"/>
                </a:ext>
              </a:extLst>
            </p:cNvPr>
            <p:cNvSpPr/>
            <p:nvPr/>
          </p:nvSpPr>
          <p:spPr>
            <a:xfrm rot="8716295">
              <a:off x="341977" y="279611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2" name="Forme libre : forme 561">
              <a:extLst>
                <a:ext uri="{FF2B5EF4-FFF2-40B4-BE49-F238E27FC236}">
                  <a16:creationId xmlns:a16="http://schemas.microsoft.com/office/drawing/2014/main" id="{8A2A6A83-C634-477C-AA7B-D4BF2D37CB9F}"/>
                </a:ext>
              </a:extLst>
            </p:cNvPr>
            <p:cNvSpPr/>
            <p:nvPr/>
          </p:nvSpPr>
          <p:spPr>
            <a:xfrm rot="8716295">
              <a:off x="610559" y="2555095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3" name="Forme libre : forme 562">
              <a:extLst>
                <a:ext uri="{FF2B5EF4-FFF2-40B4-BE49-F238E27FC236}">
                  <a16:creationId xmlns:a16="http://schemas.microsoft.com/office/drawing/2014/main" id="{C7E28CB5-C215-4110-A37F-DBD52F99C5AA}"/>
                </a:ext>
              </a:extLst>
            </p:cNvPr>
            <p:cNvSpPr/>
            <p:nvPr/>
          </p:nvSpPr>
          <p:spPr>
            <a:xfrm rot="8716295">
              <a:off x="-24305" y="2374348"/>
              <a:ext cx="58950" cy="66898"/>
            </a:xfrm>
            <a:custGeom>
              <a:avLst/>
              <a:gdLst>
                <a:gd name="connsiteX0" fmla="*/ 0 w 58950"/>
                <a:gd name="connsiteY0" fmla="*/ 66898 h 66898"/>
                <a:gd name="connsiteX1" fmla="*/ 0 w 58950"/>
                <a:gd name="connsiteY1" fmla="*/ 0 h 66898"/>
                <a:gd name="connsiteX2" fmla="*/ 58950 w 58950"/>
                <a:gd name="connsiteY2" fmla="*/ 0 h 66898"/>
                <a:gd name="connsiteX3" fmla="*/ 12579 w 58950"/>
                <a:gd name="connsiteY3" fmla="*/ 66898 h 6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950" h="66898">
                  <a:moveTo>
                    <a:pt x="0" y="66898"/>
                  </a:moveTo>
                  <a:lnTo>
                    <a:pt x="0" y="0"/>
                  </a:lnTo>
                  <a:lnTo>
                    <a:pt x="58950" y="0"/>
                  </a:lnTo>
                  <a:lnTo>
                    <a:pt x="12579" y="668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4" name="Forme libre : forme 563">
              <a:extLst>
                <a:ext uri="{FF2B5EF4-FFF2-40B4-BE49-F238E27FC236}">
                  <a16:creationId xmlns:a16="http://schemas.microsoft.com/office/drawing/2014/main" id="{446F17DC-5A7F-43EF-8C54-EB403552B710}"/>
                </a:ext>
              </a:extLst>
            </p:cNvPr>
            <p:cNvSpPr/>
            <p:nvPr/>
          </p:nvSpPr>
          <p:spPr>
            <a:xfrm rot="8716295">
              <a:off x="-39593" y="1952072"/>
              <a:ext cx="198050" cy="140164"/>
            </a:xfrm>
            <a:custGeom>
              <a:avLst/>
              <a:gdLst>
                <a:gd name="connsiteX0" fmla="*/ 0 w 198050"/>
                <a:gd name="connsiteY0" fmla="*/ 75863 h 140164"/>
                <a:gd name="connsiteX1" fmla="*/ 0 w 198050"/>
                <a:gd name="connsiteY1" fmla="*/ 0 h 140164"/>
                <a:gd name="connsiteX2" fmla="*/ 128968 w 198050"/>
                <a:gd name="connsiteY2" fmla="*/ 0 h 140164"/>
                <a:gd name="connsiteX3" fmla="*/ 193021 w 198050"/>
                <a:gd name="connsiteY3" fmla="*/ 18535 h 140164"/>
                <a:gd name="connsiteX4" fmla="*/ 198050 w 198050"/>
                <a:gd name="connsiteY4" fmla="*/ 31548 h 140164"/>
                <a:gd name="connsiteX5" fmla="*/ 122761 w 198050"/>
                <a:gd name="connsiteY5" fmla="*/ 140164 h 140164"/>
                <a:gd name="connsiteX6" fmla="*/ 122761 w 198050"/>
                <a:gd name="connsiteY6" fmla="*/ 105519 h 140164"/>
                <a:gd name="connsiteX7" fmla="*/ 122761 w 198050"/>
                <a:gd name="connsiteY7" fmla="*/ 99312 h 140164"/>
                <a:gd name="connsiteX8" fmla="*/ 91726 w 198050"/>
                <a:gd name="connsiteY8" fmla="*/ 75863 h 140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8050" h="140164">
                  <a:moveTo>
                    <a:pt x="0" y="75863"/>
                  </a:moveTo>
                  <a:lnTo>
                    <a:pt x="0" y="0"/>
                  </a:lnTo>
                  <a:lnTo>
                    <a:pt x="128968" y="0"/>
                  </a:lnTo>
                  <a:cubicBezTo>
                    <a:pt x="156900" y="0"/>
                    <a:pt x="178452" y="6034"/>
                    <a:pt x="193021" y="18535"/>
                  </a:cubicBezTo>
                  <a:lnTo>
                    <a:pt x="198050" y="31548"/>
                  </a:lnTo>
                  <a:lnTo>
                    <a:pt x="122761" y="140164"/>
                  </a:ln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4"/>
                    <a:pt x="91726" y="758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5" name="Forme libre : forme 564">
              <a:extLst>
                <a:ext uri="{FF2B5EF4-FFF2-40B4-BE49-F238E27FC236}">
                  <a16:creationId xmlns:a16="http://schemas.microsoft.com/office/drawing/2014/main" id="{CE6D21DD-4C35-491F-883F-DFE604B382BF}"/>
                </a:ext>
              </a:extLst>
            </p:cNvPr>
            <p:cNvSpPr/>
            <p:nvPr/>
          </p:nvSpPr>
          <p:spPr>
            <a:xfrm rot="8716295">
              <a:off x="21100" y="1808096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6" name="Forme libre : forme 565">
              <a:extLst>
                <a:ext uri="{FF2B5EF4-FFF2-40B4-BE49-F238E27FC236}">
                  <a16:creationId xmlns:a16="http://schemas.microsoft.com/office/drawing/2014/main" id="{162C0E93-A925-40E7-B101-4C145B43E018}"/>
                </a:ext>
              </a:extLst>
            </p:cNvPr>
            <p:cNvSpPr/>
            <p:nvPr/>
          </p:nvSpPr>
          <p:spPr>
            <a:xfrm rot="8716295">
              <a:off x="-24330" y="2197782"/>
              <a:ext cx="102508" cy="53362"/>
            </a:xfrm>
            <a:custGeom>
              <a:avLst/>
              <a:gdLst>
                <a:gd name="connsiteX0" fmla="*/ 0 w 102508"/>
                <a:gd name="connsiteY0" fmla="*/ 23637 h 53362"/>
                <a:gd name="connsiteX1" fmla="*/ 0 w 102508"/>
                <a:gd name="connsiteY1" fmla="*/ 2258 h 53362"/>
                <a:gd name="connsiteX2" fmla="*/ 102508 w 102508"/>
                <a:gd name="connsiteY2" fmla="*/ 0 h 53362"/>
                <a:gd name="connsiteX3" fmla="*/ 65519 w 102508"/>
                <a:gd name="connsiteY3" fmla="*/ 53362 h 53362"/>
                <a:gd name="connsiteX4" fmla="*/ 65519 w 102508"/>
                <a:gd name="connsiteY4" fmla="*/ 23637 h 5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508" h="53362">
                  <a:moveTo>
                    <a:pt x="0" y="23637"/>
                  </a:moveTo>
                  <a:lnTo>
                    <a:pt x="0" y="2258"/>
                  </a:lnTo>
                  <a:lnTo>
                    <a:pt x="102508" y="0"/>
                  </a:lnTo>
                  <a:lnTo>
                    <a:pt x="65519" y="53362"/>
                  </a:lnTo>
                  <a:lnTo>
                    <a:pt x="65519" y="2363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7" name="Forme libre : forme 566">
              <a:extLst>
                <a:ext uri="{FF2B5EF4-FFF2-40B4-BE49-F238E27FC236}">
                  <a16:creationId xmlns:a16="http://schemas.microsoft.com/office/drawing/2014/main" id="{39C657D0-D62F-4F7C-A612-53DB4B79E5E3}"/>
                </a:ext>
              </a:extLst>
            </p:cNvPr>
            <p:cNvSpPr/>
            <p:nvPr/>
          </p:nvSpPr>
          <p:spPr>
            <a:xfrm rot="7484129">
              <a:off x="11236" y="224945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8" name="Forme libre : forme 567">
              <a:extLst>
                <a:ext uri="{FF2B5EF4-FFF2-40B4-BE49-F238E27FC236}">
                  <a16:creationId xmlns:a16="http://schemas.microsoft.com/office/drawing/2014/main" id="{23C2327F-1812-4891-A555-8CFAF24BC9F9}"/>
                </a:ext>
              </a:extLst>
            </p:cNvPr>
            <p:cNvSpPr/>
            <p:nvPr/>
          </p:nvSpPr>
          <p:spPr>
            <a:xfrm rot="13089394">
              <a:off x="169886" y="2198801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9" name="Forme libre : forme 568">
              <a:extLst>
                <a:ext uri="{FF2B5EF4-FFF2-40B4-BE49-F238E27FC236}">
                  <a16:creationId xmlns:a16="http://schemas.microsoft.com/office/drawing/2014/main" id="{E72BEF7B-6435-411F-BE32-BB8EAB9D905E}"/>
                </a:ext>
              </a:extLst>
            </p:cNvPr>
            <p:cNvSpPr/>
            <p:nvPr/>
          </p:nvSpPr>
          <p:spPr>
            <a:xfrm rot="8716295">
              <a:off x="450777" y="1908683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0" name="Forme libre : forme 569">
              <a:extLst>
                <a:ext uri="{FF2B5EF4-FFF2-40B4-BE49-F238E27FC236}">
                  <a16:creationId xmlns:a16="http://schemas.microsoft.com/office/drawing/2014/main" id="{DE1DA05C-2419-4744-8AE0-392B948F57E7}"/>
                </a:ext>
              </a:extLst>
            </p:cNvPr>
            <p:cNvSpPr/>
            <p:nvPr/>
          </p:nvSpPr>
          <p:spPr>
            <a:xfrm rot="8716295">
              <a:off x="372368" y="175189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1" name="Forme libre : forme 570">
              <a:extLst>
                <a:ext uri="{FF2B5EF4-FFF2-40B4-BE49-F238E27FC236}">
                  <a16:creationId xmlns:a16="http://schemas.microsoft.com/office/drawing/2014/main" id="{337322B4-128F-4422-98A6-2E33A9550E4C}"/>
                </a:ext>
              </a:extLst>
            </p:cNvPr>
            <p:cNvSpPr/>
            <p:nvPr/>
          </p:nvSpPr>
          <p:spPr>
            <a:xfrm rot="8716295">
              <a:off x="4204" y="179763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2" name="Forme libre : forme 571">
              <a:extLst>
                <a:ext uri="{FF2B5EF4-FFF2-40B4-BE49-F238E27FC236}">
                  <a16:creationId xmlns:a16="http://schemas.microsoft.com/office/drawing/2014/main" id="{595DF5B3-B2D1-4308-B916-9800ADEDFEAC}"/>
                </a:ext>
              </a:extLst>
            </p:cNvPr>
            <p:cNvSpPr/>
            <p:nvPr/>
          </p:nvSpPr>
          <p:spPr>
            <a:xfrm rot="8716295">
              <a:off x="272786" y="155661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3" name="Forme libre : forme 572">
              <a:extLst>
                <a:ext uri="{FF2B5EF4-FFF2-40B4-BE49-F238E27FC236}">
                  <a16:creationId xmlns:a16="http://schemas.microsoft.com/office/drawing/2014/main" id="{93A9ECEA-4D95-4585-ACB4-69C0DE623EDA}"/>
                </a:ext>
              </a:extLst>
            </p:cNvPr>
            <p:cNvSpPr/>
            <p:nvPr/>
          </p:nvSpPr>
          <p:spPr>
            <a:xfrm rot="8716295">
              <a:off x="-35149" y="938156"/>
              <a:ext cx="158623" cy="159016"/>
            </a:xfrm>
            <a:custGeom>
              <a:avLst/>
              <a:gdLst>
                <a:gd name="connsiteX0" fmla="*/ 77932 w 158623"/>
                <a:gd name="connsiteY0" fmla="*/ 159016 h 159016"/>
                <a:gd name="connsiteX1" fmla="*/ 77932 w 158623"/>
                <a:gd name="connsiteY1" fmla="*/ 66898 h 159016"/>
                <a:gd name="connsiteX2" fmla="*/ 0 w 158623"/>
                <a:gd name="connsiteY2" fmla="*/ 66898 h 159016"/>
                <a:gd name="connsiteX3" fmla="*/ 0 w 158623"/>
                <a:gd name="connsiteY3" fmla="*/ 0 h 159016"/>
                <a:gd name="connsiteX4" fmla="*/ 158623 w 158623"/>
                <a:gd name="connsiteY4" fmla="*/ 0 h 159016"/>
                <a:gd name="connsiteX5" fmla="*/ 158623 w 158623"/>
                <a:gd name="connsiteY5" fmla="*/ 42606 h 15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8623" h="159016">
                  <a:moveTo>
                    <a:pt x="77932" y="159016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4260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4" name="Forme libre : forme 573">
              <a:extLst>
                <a:ext uri="{FF2B5EF4-FFF2-40B4-BE49-F238E27FC236}">
                  <a16:creationId xmlns:a16="http://schemas.microsoft.com/office/drawing/2014/main" id="{8B3F0D63-11FD-4E8B-94AA-29A3E1B840B5}"/>
                </a:ext>
              </a:extLst>
            </p:cNvPr>
            <p:cNvSpPr/>
            <p:nvPr/>
          </p:nvSpPr>
          <p:spPr>
            <a:xfrm rot="7484129">
              <a:off x="-32979" y="1345537"/>
              <a:ext cx="65961" cy="45734"/>
            </a:xfrm>
            <a:custGeom>
              <a:avLst/>
              <a:gdLst>
                <a:gd name="connsiteX0" fmla="*/ 0 w 65961"/>
                <a:gd name="connsiteY0" fmla="*/ 45734 h 45734"/>
                <a:gd name="connsiteX1" fmla="*/ 0 w 65961"/>
                <a:gd name="connsiteY1" fmla="*/ 0 h 45734"/>
                <a:gd name="connsiteX2" fmla="*/ 65961 w 65961"/>
                <a:gd name="connsiteY2" fmla="*/ 0 h 45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5961" h="45734">
                  <a:moveTo>
                    <a:pt x="0" y="45734"/>
                  </a:moveTo>
                  <a:lnTo>
                    <a:pt x="0" y="0"/>
                  </a:lnTo>
                  <a:lnTo>
                    <a:pt x="6596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5" name="Forme libre : forme 574">
              <a:extLst>
                <a:ext uri="{FF2B5EF4-FFF2-40B4-BE49-F238E27FC236}">
                  <a16:creationId xmlns:a16="http://schemas.microsoft.com/office/drawing/2014/main" id="{3995846C-C66B-490D-8C5F-179A05C89C6A}"/>
                </a:ext>
              </a:extLst>
            </p:cNvPr>
            <p:cNvSpPr/>
            <p:nvPr/>
          </p:nvSpPr>
          <p:spPr>
            <a:xfrm rot="13089394">
              <a:off x="-134707" y="1200752"/>
              <a:ext cx="386820" cy="481345"/>
            </a:xfrm>
            <a:custGeom>
              <a:avLst/>
              <a:gdLst>
                <a:gd name="connsiteX0" fmla="*/ 386820 w 386820"/>
                <a:gd name="connsiteY0" fmla="*/ 391818 h 481345"/>
                <a:gd name="connsiteX1" fmla="*/ 342166 w 386820"/>
                <a:gd name="connsiteY1" fmla="*/ 422376 h 481345"/>
                <a:gd name="connsiteX2" fmla="*/ 138636 w 386820"/>
                <a:gd name="connsiteY2" fmla="*/ 481098 h 481345"/>
                <a:gd name="connsiteX3" fmla="*/ 35911 w 386820"/>
                <a:gd name="connsiteY3" fmla="*/ 439340 h 481345"/>
                <a:gd name="connsiteX4" fmla="*/ 0 w 386820"/>
                <a:gd name="connsiteY4" fmla="*/ 295693 h 481345"/>
                <a:gd name="connsiteX5" fmla="*/ 0 w 386820"/>
                <a:gd name="connsiteY5" fmla="*/ 40970 h 481345"/>
                <a:gd name="connsiteX6" fmla="*/ 78970 w 386820"/>
                <a:gd name="connsiteY6" fmla="*/ 0 h 481345"/>
                <a:gd name="connsiteX7" fmla="*/ 111492 w 386820"/>
                <a:gd name="connsiteY7" fmla="*/ 41392 h 481345"/>
                <a:gd name="connsiteX8" fmla="*/ 112747 w 386820"/>
                <a:gd name="connsiteY8" fmla="*/ 216353 h 481345"/>
                <a:gd name="connsiteX9" fmla="*/ 132789 w 386820"/>
                <a:gd name="connsiteY9" fmla="*/ 354990 h 481345"/>
                <a:gd name="connsiteX10" fmla="*/ 233008 w 386820"/>
                <a:gd name="connsiteY10" fmla="*/ 410110 h 481345"/>
                <a:gd name="connsiteX11" fmla="*/ 308173 w 386820"/>
                <a:gd name="connsiteY11" fmla="*/ 396747 h 481345"/>
                <a:gd name="connsiteX12" fmla="*/ 370717 w 386820"/>
                <a:gd name="connsiteY12" fmla="*/ 371323 h 481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6820" h="481345">
                  <a:moveTo>
                    <a:pt x="386820" y="391818"/>
                  </a:moveTo>
                  <a:lnTo>
                    <a:pt x="342166" y="422376"/>
                  </a:lnTo>
                  <a:cubicBezTo>
                    <a:pt x="268920" y="462151"/>
                    <a:pt x="190624" y="477966"/>
                    <a:pt x="138636" y="481098"/>
                  </a:cubicBezTo>
                  <a:cubicBezTo>
                    <a:pt x="100219" y="483604"/>
                    <a:pt x="62637" y="466901"/>
                    <a:pt x="35911" y="439340"/>
                  </a:cubicBezTo>
                  <a:cubicBezTo>
                    <a:pt x="7516" y="411780"/>
                    <a:pt x="0" y="364176"/>
                    <a:pt x="0" y="295693"/>
                  </a:cubicBezTo>
                  <a:lnTo>
                    <a:pt x="0" y="40970"/>
                  </a:lnTo>
                  <a:lnTo>
                    <a:pt x="78970" y="0"/>
                  </a:lnTo>
                  <a:lnTo>
                    <a:pt x="111492" y="41392"/>
                  </a:lnTo>
                  <a:lnTo>
                    <a:pt x="112747" y="216353"/>
                  </a:lnTo>
                  <a:cubicBezTo>
                    <a:pt x="110241" y="263122"/>
                    <a:pt x="117757" y="310726"/>
                    <a:pt x="132789" y="354990"/>
                  </a:cubicBezTo>
                  <a:cubicBezTo>
                    <a:pt x="146153" y="391736"/>
                    <a:pt x="180394" y="410110"/>
                    <a:pt x="233008" y="410110"/>
                  </a:cubicBezTo>
                  <a:cubicBezTo>
                    <a:pt x="258899" y="409274"/>
                    <a:pt x="283953" y="404263"/>
                    <a:pt x="308173" y="396747"/>
                  </a:cubicBezTo>
                  <a:lnTo>
                    <a:pt x="370717" y="371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6" name="Forme libre : forme 575">
              <a:extLst>
                <a:ext uri="{FF2B5EF4-FFF2-40B4-BE49-F238E27FC236}">
                  <a16:creationId xmlns:a16="http://schemas.microsoft.com/office/drawing/2014/main" id="{526F0D4E-209F-45B7-8D0B-5F52AEBBFFB5}"/>
                </a:ext>
              </a:extLst>
            </p:cNvPr>
            <p:cNvSpPr/>
            <p:nvPr/>
          </p:nvSpPr>
          <p:spPr>
            <a:xfrm rot="8716295">
              <a:off x="119403" y="90662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7" name="Forme libre : forme 576">
              <a:extLst>
                <a:ext uri="{FF2B5EF4-FFF2-40B4-BE49-F238E27FC236}">
                  <a16:creationId xmlns:a16="http://schemas.microsoft.com/office/drawing/2014/main" id="{E4487EF6-2C0D-4ADC-9B8D-2F6D6193CD68}"/>
                </a:ext>
              </a:extLst>
            </p:cNvPr>
            <p:cNvSpPr/>
            <p:nvPr/>
          </p:nvSpPr>
          <p:spPr>
            <a:xfrm rot="8716295">
              <a:off x="40994" y="74983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8" name="Forme libre : forme 577">
              <a:extLst>
                <a:ext uri="{FF2B5EF4-FFF2-40B4-BE49-F238E27FC236}">
                  <a16:creationId xmlns:a16="http://schemas.microsoft.com/office/drawing/2014/main" id="{7C0A915F-CAC9-450A-B192-FAACB7FBD55B}"/>
                </a:ext>
              </a:extLst>
            </p:cNvPr>
            <p:cNvSpPr/>
            <p:nvPr/>
          </p:nvSpPr>
          <p:spPr>
            <a:xfrm rot="8716295">
              <a:off x="-44934" y="551941"/>
              <a:ext cx="152592" cy="165412"/>
            </a:xfrm>
            <a:custGeom>
              <a:avLst/>
              <a:gdLst>
                <a:gd name="connsiteX0" fmla="*/ 26453 w 152592"/>
                <a:gd name="connsiteY0" fmla="*/ 153143 h 165412"/>
                <a:gd name="connsiteX1" fmla="*/ 0 w 152592"/>
                <a:gd name="connsiteY1" fmla="*/ 90494 h 165412"/>
                <a:gd name="connsiteX2" fmla="*/ 0 w 152592"/>
                <a:gd name="connsiteY2" fmla="*/ 89101 h 165412"/>
                <a:gd name="connsiteX3" fmla="*/ 26453 w 152592"/>
                <a:gd name="connsiteY3" fmla="*/ 26453 h 165412"/>
                <a:gd name="connsiteX4" fmla="*/ 89101 w 152592"/>
                <a:gd name="connsiteY4" fmla="*/ 0 h 165412"/>
                <a:gd name="connsiteX5" fmla="*/ 151752 w 152592"/>
                <a:gd name="connsiteY5" fmla="*/ 26453 h 165412"/>
                <a:gd name="connsiteX6" fmla="*/ 152592 w 152592"/>
                <a:gd name="connsiteY6" fmla="*/ 27688 h 165412"/>
                <a:gd name="connsiteX7" fmla="*/ 57126 w 152592"/>
                <a:gd name="connsiteY7" fmla="*/ 165412 h 165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592" h="165412">
                  <a:moveTo>
                    <a:pt x="26453" y="153143"/>
                  </a:moveTo>
                  <a:cubicBezTo>
                    <a:pt x="9746" y="136436"/>
                    <a:pt x="0" y="114161"/>
                    <a:pt x="0" y="90494"/>
                  </a:cubicBezTo>
                  <a:lnTo>
                    <a:pt x="0" y="89101"/>
                  </a:lnTo>
                  <a:cubicBezTo>
                    <a:pt x="0" y="65434"/>
                    <a:pt x="9746" y="43159"/>
                    <a:pt x="26453" y="26453"/>
                  </a:cubicBezTo>
                  <a:cubicBezTo>
                    <a:pt x="43159" y="9746"/>
                    <a:pt x="65435" y="0"/>
                    <a:pt x="89101" y="0"/>
                  </a:cubicBezTo>
                  <a:cubicBezTo>
                    <a:pt x="112770" y="0"/>
                    <a:pt x="135045" y="9746"/>
                    <a:pt x="151752" y="26453"/>
                  </a:cubicBezTo>
                  <a:lnTo>
                    <a:pt x="152592" y="27688"/>
                  </a:lnTo>
                  <a:lnTo>
                    <a:pt x="57126" y="1654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9" name="Forme libre : forme 578">
              <a:extLst>
                <a:ext uri="{FF2B5EF4-FFF2-40B4-BE49-F238E27FC236}">
                  <a16:creationId xmlns:a16="http://schemas.microsoft.com/office/drawing/2014/main" id="{F58403BF-2302-4726-985B-EDA0C69E1FA1}"/>
                </a:ext>
              </a:extLst>
            </p:cNvPr>
            <p:cNvSpPr/>
            <p:nvPr/>
          </p:nvSpPr>
          <p:spPr>
            <a:xfrm rot="8716295">
              <a:off x="-69806" y="4587027"/>
              <a:ext cx="183810" cy="187594"/>
            </a:xfrm>
            <a:custGeom>
              <a:avLst/>
              <a:gdLst>
                <a:gd name="connsiteX0" fmla="*/ 10574 w 183810"/>
                <a:gd name="connsiteY0" fmla="*/ 187594 h 187594"/>
                <a:gd name="connsiteX1" fmla="*/ 0 w 183810"/>
                <a:gd name="connsiteY1" fmla="*/ 172952 h 187594"/>
                <a:gd name="connsiteX2" fmla="*/ 183810 w 183810"/>
                <a:gd name="connsiteY2" fmla="*/ 0 h 187594"/>
                <a:gd name="connsiteX3" fmla="*/ 72284 w 183810"/>
                <a:gd name="connsiteY3" fmla="*/ 160894 h 187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810" h="187594">
                  <a:moveTo>
                    <a:pt x="10574" y="187594"/>
                  </a:moveTo>
                  <a:lnTo>
                    <a:pt x="0" y="172952"/>
                  </a:lnTo>
                  <a:lnTo>
                    <a:pt x="183810" y="0"/>
                  </a:lnTo>
                  <a:lnTo>
                    <a:pt x="72284" y="1608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0" name="Forme libre : forme 579">
              <a:extLst>
                <a:ext uri="{FF2B5EF4-FFF2-40B4-BE49-F238E27FC236}">
                  <a16:creationId xmlns:a16="http://schemas.microsoft.com/office/drawing/2014/main" id="{BDEDB1D6-CD3F-4286-9F37-FC31932639CB}"/>
                </a:ext>
              </a:extLst>
            </p:cNvPr>
            <p:cNvSpPr/>
            <p:nvPr/>
          </p:nvSpPr>
          <p:spPr>
            <a:xfrm rot="8716295">
              <a:off x="4450621" y="307495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1" name="Forme libre : forme 580">
              <a:extLst>
                <a:ext uri="{FF2B5EF4-FFF2-40B4-BE49-F238E27FC236}">
                  <a16:creationId xmlns:a16="http://schemas.microsoft.com/office/drawing/2014/main" id="{4AAFF489-2EF8-4A1D-A5BE-9FFA1F256B78}"/>
                </a:ext>
              </a:extLst>
            </p:cNvPr>
            <p:cNvSpPr/>
            <p:nvPr/>
          </p:nvSpPr>
          <p:spPr>
            <a:xfrm rot="8716295">
              <a:off x="4585920" y="3119209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2" name="Forme libre : forme 581">
              <a:extLst>
                <a:ext uri="{FF2B5EF4-FFF2-40B4-BE49-F238E27FC236}">
                  <a16:creationId xmlns:a16="http://schemas.microsoft.com/office/drawing/2014/main" id="{08C5AAF3-2EAB-4F45-9664-88E9C0000541}"/>
                </a:ext>
              </a:extLst>
            </p:cNvPr>
            <p:cNvSpPr/>
            <p:nvPr/>
          </p:nvSpPr>
          <p:spPr>
            <a:xfrm rot="8716295">
              <a:off x="4518038" y="2988621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3" name="Forme libre : forme 582">
              <a:extLst>
                <a:ext uri="{FF2B5EF4-FFF2-40B4-BE49-F238E27FC236}">
                  <a16:creationId xmlns:a16="http://schemas.microsoft.com/office/drawing/2014/main" id="{638603A9-A80C-466B-8956-7709A279FB5A}"/>
                </a:ext>
              </a:extLst>
            </p:cNvPr>
            <p:cNvSpPr/>
            <p:nvPr/>
          </p:nvSpPr>
          <p:spPr>
            <a:xfrm rot="8716295">
              <a:off x="4280750" y="3208965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4" name="Forme libre : forme 583">
              <a:extLst>
                <a:ext uri="{FF2B5EF4-FFF2-40B4-BE49-F238E27FC236}">
                  <a16:creationId xmlns:a16="http://schemas.microsoft.com/office/drawing/2014/main" id="{A8E33E04-89D6-4F98-BAEF-EDE8630206B1}"/>
                </a:ext>
              </a:extLst>
            </p:cNvPr>
            <p:cNvSpPr/>
            <p:nvPr/>
          </p:nvSpPr>
          <p:spPr>
            <a:xfrm rot="8716295">
              <a:off x="4091704" y="289313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5" name="Forme libre : forme 584">
              <a:extLst>
                <a:ext uri="{FF2B5EF4-FFF2-40B4-BE49-F238E27FC236}">
                  <a16:creationId xmlns:a16="http://schemas.microsoft.com/office/drawing/2014/main" id="{A7666627-38C9-4B80-8E99-5407F0D530DB}"/>
                </a:ext>
              </a:extLst>
            </p:cNvPr>
            <p:cNvSpPr/>
            <p:nvPr/>
          </p:nvSpPr>
          <p:spPr>
            <a:xfrm rot="8716295">
              <a:off x="4073463" y="2683080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6" name="Forme libre : forme 585">
              <a:extLst>
                <a:ext uri="{FF2B5EF4-FFF2-40B4-BE49-F238E27FC236}">
                  <a16:creationId xmlns:a16="http://schemas.microsoft.com/office/drawing/2014/main" id="{898A3276-9FA7-4E65-A5A0-224B87B17902}"/>
                </a:ext>
              </a:extLst>
            </p:cNvPr>
            <p:cNvSpPr/>
            <p:nvPr/>
          </p:nvSpPr>
          <p:spPr>
            <a:xfrm rot="8716295">
              <a:off x="4417239" y="327094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7" name="Forme libre : forme 586">
              <a:extLst>
                <a:ext uri="{FF2B5EF4-FFF2-40B4-BE49-F238E27FC236}">
                  <a16:creationId xmlns:a16="http://schemas.microsoft.com/office/drawing/2014/main" id="{CF0A1147-FB9D-46F4-871B-248D48678B41}"/>
                </a:ext>
              </a:extLst>
            </p:cNvPr>
            <p:cNvSpPr/>
            <p:nvPr/>
          </p:nvSpPr>
          <p:spPr>
            <a:xfrm rot="8716295">
              <a:off x="4888185" y="2696334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8" name="Forme libre : forme 587">
              <a:extLst>
                <a:ext uri="{FF2B5EF4-FFF2-40B4-BE49-F238E27FC236}">
                  <a16:creationId xmlns:a16="http://schemas.microsoft.com/office/drawing/2014/main" id="{6D3AA320-C4A1-450B-B139-FAA6B857C782}"/>
                </a:ext>
              </a:extLst>
            </p:cNvPr>
            <p:cNvSpPr/>
            <p:nvPr/>
          </p:nvSpPr>
          <p:spPr>
            <a:xfrm rot="8716295">
              <a:off x="5023484" y="2740593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9" name="Forme libre : forme 588">
              <a:extLst>
                <a:ext uri="{FF2B5EF4-FFF2-40B4-BE49-F238E27FC236}">
                  <a16:creationId xmlns:a16="http://schemas.microsoft.com/office/drawing/2014/main" id="{2F150BFB-64B1-4976-855B-5F1B82B29D1E}"/>
                </a:ext>
              </a:extLst>
            </p:cNvPr>
            <p:cNvSpPr/>
            <p:nvPr/>
          </p:nvSpPr>
          <p:spPr>
            <a:xfrm rot="8716295">
              <a:off x="4718314" y="283034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0" name="Forme libre : forme 589">
              <a:extLst>
                <a:ext uri="{FF2B5EF4-FFF2-40B4-BE49-F238E27FC236}">
                  <a16:creationId xmlns:a16="http://schemas.microsoft.com/office/drawing/2014/main" id="{8612B4F0-1F44-4CE1-88B9-E057888AB1EF}"/>
                </a:ext>
              </a:extLst>
            </p:cNvPr>
            <p:cNvSpPr/>
            <p:nvPr/>
          </p:nvSpPr>
          <p:spPr>
            <a:xfrm rot="8716295">
              <a:off x="4529270" y="251451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1" name="Forme libre : forme 590">
              <a:extLst>
                <a:ext uri="{FF2B5EF4-FFF2-40B4-BE49-F238E27FC236}">
                  <a16:creationId xmlns:a16="http://schemas.microsoft.com/office/drawing/2014/main" id="{AEBD3D06-0DA7-425C-875C-E411E70FF11D}"/>
                </a:ext>
              </a:extLst>
            </p:cNvPr>
            <p:cNvSpPr/>
            <p:nvPr/>
          </p:nvSpPr>
          <p:spPr>
            <a:xfrm rot="8716295">
              <a:off x="4854803" y="2892332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2" name="Forme libre : forme 591">
              <a:extLst>
                <a:ext uri="{FF2B5EF4-FFF2-40B4-BE49-F238E27FC236}">
                  <a16:creationId xmlns:a16="http://schemas.microsoft.com/office/drawing/2014/main" id="{9199237A-0E56-4FAF-BB9D-EF00685C58E3}"/>
                </a:ext>
              </a:extLst>
            </p:cNvPr>
            <p:cNvSpPr/>
            <p:nvPr/>
          </p:nvSpPr>
          <p:spPr>
            <a:xfrm rot="8716295">
              <a:off x="4489356" y="2665906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3" name="Forme libre : forme 592">
              <a:extLst>
                <a:ext uri="{FF2B5EF4-FFF2-40B4-BE49-F238E27FC236}">
                  <a16:creationId xmlns:a16="http://schemas.microsoft.com/office/drawing/2014/main" id="{E963605C-F6B8-4C5B-92E3-0FAFE8235053}"/>
                </a:ext>
              </a:extLst>
            </p:cNvPr>
            <p:cNvSpPr/>
            <p:nvPr/>
          </p:nvSpPr>
          <p:spPr>
            <a:xfrm rot="7484129">
              <a:off x="5013620" y="318195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4" name="Forme libre : forme 593">
              <a:extLst>
                <a:ext uri="{FF2B5EF4-FFF2-40B4-BE49-F238E27FC236}">
                  <a16:creationId xmlns:a16="http://schemas.microsoft.com/office/drawing/2014/main" id="{1392E43B-D559-4A8D-AB98-72C488E4E1E8}"/>
                </a:ext>
              </a:extLst>
            </p:cNvPr>
            <p:cNvSpPr/>
            <p:nvPr/>
          </p:nvSpPr>
          <p:spPr>
            <a:xfrm rot="13089394">
              <a:off x="5172270" y="3131298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5" name="Forme libre : forme 594">
              <a:extLst>
                <a:ext uri="{FF2B5EF4-FFF2-40B4-BE49-F238E27FC236}">
                  <a16:creationId xmlns:a16="http://schemas.microsoft.com/office/drawing/2014/main" id="{EB748E85-117E-4407-87DE-3644DEF09573}"/>
                </a:ext>
              </a:extLst>
            </p:cNvPr>
            <p:cNvSpPr/>
            <p:nvPr/>
          </p:nvSpPr>
          <p:spPr>
            <a:xfrm rot="8716295">
              <a:off x="5453161" y="2841180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6" name="Forme libre : forme 595">
              <a:extLst>
                <a:ext uri="{FF2B5EF4-FFF2-40B4-BE49-F238E27FC236}">
                  <a16:creationId xmlns:a16="http://schemas.microsoft.com/office/drawing/2014/main" id="{22573B7D-D596-4F8E-9E39-A045BCC2CF63}"/>
                </a:ext>
              </a:extLst>
            </p:cNvPr>
            <p:cNvSpPr/>
            <p:nvPr/>
          </p:nvSpPr>
          <p:spPr>
            <a:xfrm rot="8716295">
              <a:off x="5374752" y="268438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7" name="Forme libre : forme 596">
              <a:extLst>
                <a:ext uri="{FF2B5EF4-FFF2-40B4-BE49-F238E27FC236}">
                  <a16:creationId xmlns:a16="http://schemas.microsoft.com/office/drawing/2014/main" id="{4677ED04-0D7E-49F5-B71E-0D622A62ADD4}"/>
                </a:ext>
              </a:extLst>
            </p:cNvPr>
            <p:cNvSpPr/>
            <p:nvPr/>
          </p:nvSpPr>
          <p:spPr>
            <a:xfrm rot="8716295">
              <a:off x="5006588" y="273012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8" name="Forme libre : forme 597">
              <a:extLst>
                <a:ext uri="{FF2B5EF4-FFF2-40B4-BE49-F238E27FC236}">
                  <a16:creationId xmlns:a16="http://schemas.microsoft.com/office/drawing/2014/main" id="{D2F582D4-EF44-4379-A334-2FAC2AC458E7}"/>
                </a:ext>
              </a:extLst>
            </p:cNvPr>
            <p:cNvSpPr/>
            <p:nvPr/>
          </p:nvSpPr>
          <p:spPr>
            <a:xfrm rot="8716295">
              <a:off x="5275170" y="2489109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9" name="Forme libre : forme 598">
              <a:extLst>
                <a:ext uri="{FF2B5EF4-FFF2-40B4-BE49-F238E27FC236}">
                  <a16:creationId xmlns:a16="http://schemas.microsoft.com/office/drawing/2014/main" id="{84900379-879C-4E94-8EC3-3B7984623CAD}"/>
                </a:ext>
              </a:extLst>
            </p:cNvPr>
            <p:cNvSpPr/>
            <p:nvPr/>
          </p:nvSpPr>
          <p:spPr>
            <a:xfrm rot="8716295">
              <a:off x="4788394" y="407343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0" name="Forme libre : forme 599">
              <a:extLst>
                <a:ext uri="{FF2B5EF4-FFF2-40B4-BE49-F238E27FC236}">
                  <a16:creationId xmlns:a16="http://schemas.microsoft.com/office/drawing/2014/main" id="{4DC88A19-D799-4F8F-A66E-7F483954A8CF}"/>
                </a:ext>
              </a:extLst>
            </p:cNvPr>
            <p:cNvSpPr/>
            <p:nvPr/>
          </p:nvSpPr>
          <p:spPr>
            <a:xfrm rot="8716295">
              <a:off x="4923693" y="411769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1" name="Forme libre : forme 600">
              <a:extLst>
                <a:ext uri="{FF2B5EF4-FFF2-40B4-BE49-F238E27FC236}">
                  <a16:creationId xmlns:a16="http://schemas.microsoft.com/office/drawing/2014/main" id="{CC17534A-6773-4440-8E50-D7605DA4316B}"/>
                </a:ext>
              </a:extLst>
            </p:cNvPr>
            <p:cNvSpPr/>
            <p:nvPr/>
          </p:nvSpPr>
          <p:spPr>
            <a:xfrm rot="8716295">
              <a:off x="4855811" y="3987104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2" name="Forme libre : forme 601">
              <a:extLst>
                <a:ext uri="{FF2B5EF4-FFF2-40B4-BE49-F238E27FC236}">
                  <a16:creationId xmlns:a16="http://schemas.microsoft.com/office/drawing/2014/main" id="{72B2A07E-B506-443A-AB4D-FF9B71599735}"/>
                </a:ext>
              </a:extLst>
            </p:cNvPr>
            <p:cNvSpPr/>
            <p:nvPr/>
          </p:nvSpPr>
          <p:spPr>
            <a:xfrm rot="8716295">
              <a:off x="4618523" y="420744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3" name="Forme libre : forme 602">
              <a:extLst>
                <a:ext uri="{FF2B5EF4-FFF2-40B4-BE49-F238E27FC236}">
                  <a16:creationId xmlns:a16="http://schemas.microsoft.com/office/drawing/2014/main" id="{D19F9C0D-4352-499E-998A-34B9B0D7C7E9}"/>
                </a:ext>
              </a:extLst>
            </p:cNvPr>
            <p:cNvSpPr/>
            <p:nvPr/>
          </p:nvSpPr>
          <p:spPr>
            <a:xfrm rot="8716295">
              <a:off x="4429477" y="389161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4" name="Forme libre : forme 603">
              <a:extLst>
                <a:ext uri="{FF2B5EF4-FFF2-40B4-BE49-F238E27FC236}">
                  <a16:creationId xmlns:a16="http://schemas.microsoft.com/office/drawing/2014/main" id="{9C16ADD0-4CDE-43CE-BCE7-346E01482261}"/>
                </a:ext>
              </a:extLst>
            </p:cNvPr>
            <p:cNvSpPr/>
            <p:nvPr/>
          </p:nvSpPr>
          <p:spPr>
            <a:xfrm rot="8716295">
              <a:off x="4411236" y="3681563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5" name="Forme libre : forme 604">
              <a:extLst>
                <a:ext uri="{FF2B5EF4-FFF2-40B4-BE49-F238E27FC236}">
                  <a16:creationId xmlns:a16="http://schemas.microsoft.com/office/drawing/2014/main" id="{DF85051C-5928-4ACB-ABB6-0438F99C942D}"/>
                </a:ext>
              </a:extLst>
            </p:cNvPr>
            <p:cNvSpPr/>
            <p:nvPr/>
          </p:nvSpPr>
          <p:spPr>
            <a:xfrm rot="8716295">
              <a:off x="4755012" y="4269431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6" name="Forme libre : forme 605">
              <a:extLst>
                <a:ext uri="{FF2B5EF4-FFF2-40B4-BE49-F238E27FC236}">
                  <a16:creationId xmlns:a16="http://schemas.microsoft.com/office/drawing/2014/main" id="{8C93F37A-4AE0-46A6-B51D-241F87B310EC}"/>
                </a:ext>
              </a:extLst>
            </p:cNvPr>
            <p:cNvSpPr/>
            <p:nvPr/>
          </p:nvSpPr>
          <p:spPr>
            <a:xfrm rot="8716295">
              <a:off x="5225958" y="3694817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7" name="Forme libre : forme 606">
              <a:extLst>
                <a:ext uri="{FF2B5EF4-FFF2-40B4-BE49-F238E27FC236}">
                  <a16:creationId xmlns:a16="http://schemas.microsoft.com/office/drawing/2014/main" id="{D8EF92CC-16CE-4344-A7B3-112501178C1C}"/>
                </a:ext>
              </a:extLst>
            </p:cNvPr>
            <p:cNvSpPr/>
            <p:nvPr/>
          </p:nvSpPr>
          <p:spPr>
            <a:xfrm rot="8716295">
              <a:off x="5364349" y="3753375"/>
              <a:ext cx="325540" cy="385611"/>
            </a:xfrm>
            <a:custGeom>
              <a:avLst/>
              <a:gdLst>
                <a:gd name="connsiteX0" fmla="*/ 8983 w 325540"/>
                <a:gd name="connsiteY0" fmla="*/ 385611 h 385611"/>
                <a:gd name="connsiteX1" fmla="*/ 8983 w 325540"/>
                <a:gd name="connsiteY1" fmla="*/ 69053 h 385611"/>
                <a:gd name="connsiteX2" fmla="*/ 0 w 325540"/>
                <a:gd name="connsiteY2" fmla="*/ 69053 h 385611"/>
                <a:gd name="connsiteX3" fmla="*/ 55019 w 325540"/>
                <a:gd name="connsiteY3" fmla="*/ 2157 h 385611"/>
                <a:gd name="connsiteX4" fmla="*/ 89675 w 325540"/>
                <a:gd name="connsiteY4" fmla="*/ 2156 h 385611"/>
                <a:gd name="connsiteX5" fmla="*/ 89674 w 325540"/>
                <a:gd name="connsiteY5" fmla="*/ 113882 h 385611"/>
                <a:gd name="connsiteX6" fmla="*/ 91743 w 325540"/>
                <a:gd name="connsiteY6" fmla="*/ 113882 h 385611"/>
                <a:gd name="connsiteX7" fmla="*/ 164159 w 325540"/>
                <a:gd name="connsiteY7" fmla="*/ 9053 h 385611"/>
                <a:gd name="connsiteX8" fmla="*/ 211745 w 325540"/>
                <a:gd name="connsiteY8" fmla="*/ 87 h 385611"/>
                <a:gd name="connsiteX9" fmla="*/ 325540 w 325540"/>
                <a:gd name="connsiteY9" fmla="*/ 133882 h 385611"/>
                <a:gd name="connsiteX10" fmla="*/ 325540 w 325540"/>
                <a:gd name="connsiteY10" fmla="*/ 142848 h 385611"/>
                <a:gd name="connsiteX11" fmla="*/ 231746 w 325540"/>
                <a:gd name="connsiteY11" fmla="*/ 148366 h 385611"/>
                <a:gd name="connsiteX12" fmla="*/ 231746 w 325540"/>
                <a:gd name="connsiteY12" fmla="*/ 123538 h 385611"/>
                <a:gd name="connsiteX13" fmla="*/ 180710 w 325540"/>
                <a:gd name="connsiteY13" fmla="*/ 60778 h 385611"/>
                <a:gd name="connsiteX14" fmla="*/ 100020 w 325540"/>
                <a:gd name="connsiteY14" fmla="*/ 193194 h 385611"/>
                <a:gd name="connsiteX15" fmla="*/ 100020 w 325540"/>
                <a:gd name="connsiteY15" fmla="*/ 323541 h 385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5540" h="385611">
                  <a:moveTo>
                    <a:pt x="8983" y="385611"/>
                  </a:moveTo>
                  <a:lnTo>
                    <a:pt x="8983" y="69053"/>
                  </a:lnTo>
                  <a:lnTo>
                    <a:pt x="0" y="69053"/>
                  </a:lnTo>
                  <a:lnTo>
                    <a:pt x="55019" y="2157"/>
                  </a:lnTo>
                  <a:lnTo>
                    <a:pt x="89675" y="2156"/>
                  </a:lnTo>
                  <a:lnTo>
                    <a:pt x="89674" y="113882"/>
                  </a:lnTo>
                  <a:lnTo>
                    <a:pt x="91743" y="113882"/>
                  </a:lnTo>
                  <a:cubicBezTo>
                    <a:pt x="113813" y="48363"/>
                    <a:pt x="131055" y="22846"/>
                    <a:pt x="164159" y="9053"/>
                  </a:cubicBezTo>
                  <a:cubicBezTo>
                    <a:pt x="179331" y="2846"/>
                    <a:pt x="195193" y="-602"/>
                    <a:pt x="211745" y="87"/>
                  </a:cubicBezTo>
                  <a:cubicBezTo>
                    <a:pt x="282781" y="-1293"/>
                    <a:pt x="325540" y="48363"/>
                    <a:pt x="325540" y="133882"/>
                  </a:cubicBezTo>
                  <a:lnTo>
                    <a:pt x="325540" y="142848"/>
                  </a:lnTo>
                  <a:lnTo>
                    <a:pt x="231746" y="148366"/>
                  </a:lnTo>
                  <a:lnTo>
                    <a:pt x="231746" y="123538"/>
                  </a:lnTo>
                  <a:cubicBezTo>
                    <a:pt x="231746" y="86296"/>
                    <a:pt x="210367" y="60778"/>
                    <a:pt x="180710" y="60778"/>
                  </a:cubicBezTo>
                  <a:cubicBezTo>
                    <a:pt x="136572" y="60777"/>
                    <a:pt x="100020" y="119400"/>
                    <a:pt x="100020" y="193194"/>
                  </a:cubicBezTo>
                  <a:lnTo>
                    <a:pt x="100020" y="3235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8" name="Forme libre : forme 607">
              <a:extLst>
                <a:ext uri="{FF2B5EF4-FFF2-40B4-BE49-F238E27FC236}">
                  <a16:creationId xmlns:a16="http://schemas.microsoft.com/office/drawing/2014/main" id="{18839B14-F1F7-42D0-B065-28068F2B762B}"/>
                </a:ext>
              </a:extLst>
            </p:cNvPr>
            <p:cNvSpPr/>
            <p:nvPr/>
          </p:nvSpPr>
          <p:spPr>
            <a:xfrm rot="8716295">
              <a:off x="5056087" y="382883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9" name="Forme libre : forme 608">
              <a:extLst>
                <a:ext uri="{FF2B5EF4-FFF2-40B4-BE49-F238E27FC236}">
                  <a16:creationId xmlns:a16="http://schemas.microsoft.com/office/drawing/2014/main" id="{CCDA1945-4FFF-4C89-8478-EEDA05E07334}"/>
                </a:ext>
              </a:extLst>
            </p:cNvPr>
            <p:cNvSpPr/>
            <p:nvPr/>
          </p:nvSpPr>
          <p:spPr>
            <a:xfrm rot="8716295">
              <a:off x="4867043" y="351299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0" name="Forme libre : forme 609">
              <a:extLst>
                <a:ext uri="{FF2B5EF4-FFF2-40B4-BE49-F238E27FC236}">
                  <a16:creationId xmlns:a16="http://schemas.microsoft.com/office/drawing/2014/main" id="{62D52373-0C12-4466-A8A9-9FB4F9E50F37}"/>
                </a:ext>
              </a:extLst>
            </p:cNvPr>
            <p:cNvSpPr/>
            <p:nvPr/>
          </p:nvSpPr>
          <p:spPr>
            <a:xfrm rot="8716295">
              <a:off x="5192576" y="3890815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1" name="Forme libre : forme 610">
              <a:extLst>
                <a:ext uri="{FF2B5EF4-FFF2-40B4-BE49-F238E27FC236}">
                  <a16:creationId xmlns:a16="http://schemas.microsoft.com/office/drawing/2014/main" id="{9271E668-535D-45B8-BD34-6BB53627D632}"/>
                </a:ext>
              </a:extLst>
            </p:cNvPr>
            <p:cNvSpPr/>
            <p:nvPr/>
          </p:nvSpPr>
          <p:spPr>
            <a:xfrm rot="8716295">
              <a:off x="4827129" y="3664389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2" name="Forme libre : forme 611">
              <a:extLst>
                <a:ext uri="{FF2B5EF4-FFF2-40B4-BE49-F238E27FC236}">
                  <a16:creationId xmlns:a16="http://schemas.microsoft.com/office/drawing/2014/main" id="{68DD2D01-279E-4C98-9559-7C375E83C268}"/>
                </a:ext>
              </a:extLst>
            </p:cNvPr>
            <p:cNvSpPr/>
            <p:nvPr/>
          </p:nvSpPr>
          <p:spPr>
            <a:xfrm rot="7484129">
              <a:off x="5351393" y="418043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3" name="Forme libre : forme 612">
              <a:extLst>
                <a:ext uri="{FF2B5EF4-FFF2-40B4-BE49-F238E27FC236}">
                  <a16:creationId xmlns:a16="http://schemas.microsoft.com/office/drawing/2014/main" id="{4FF8E845-ABCD-4D75-BF78-6E50EC36768A}"/>
                </a:ext>
              </a:extLst>
            </p:cNvPr>
            <p:cNvSpPr/>
            <p:nvPr/>
          </p:nvSpPr>
          <p:spPr>
            <a:xfrm rot="13089394">
              <a:off x="5497067" y="4157639"/>
              <a:ext cx="336155" cy="433969"/>
            </a:xfrm>
            <a:custGeom>
              <a:avLst/>
              <a:gdLst>
                <a:gd name="connsiteX0" fmla="*/ 23241 w 222098"/>
                <a:gd name="connsiteY0" fmla="*/ 47275 h 286724"/>
                <a:gd name="connsiteX1" fmla="*/ 0 w 222098"/>
                <a:gd name="connsiteY1" fmla="*/ 11882 h 286724"/>
                <a:gd name="connsiteX2" fmla="*/ 22902 w 222098"/>
                <a:gd name="connsiteY2" fmla="*/ 0 h 286724"/>
                <a:gd name="connsiteX3" fmla="*/ 222098 w 222098"/>
                <a:gd name="connsiteY3" fmla="*/ 258238 h 286724"/>
                <a:gd name="connsiteX4" fmla="*/ 180472 w 222098"/>
                <a:gd name="connsiteY4" fmla="*/ 286724 h 286724"/>
                <a:gd name="connsiteX5" fmla="*/ 167667 w 222098"/>
                <a:gd name="connsiteY5" fmla="*/ 267224 h 286724"/>
                <a:gd name="connsiteX6" fmla="*/ 220995 w 222098"/>
                <a:gd name="connsiteY6" fmla="*/ 245547 h 286724"/>
                <a:gd name="connsiteX7" fmla="*/ 222098 w 222098"/>
                <a:gd name="connsiteY7" fmla="*/ 252720 h 286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2098" h="286724">
                  <a:moveTo>
                    <a:pt x="23241" y="47275"/>
                  </a:moveTo>
                  <a:lnTo>
                    <a:pt x="0" y="11882"/>
                  </a:lnTo>
                  <a:lnTo>
                    <a:pt x="22902" y="0"/>
                  </a:lnTo>
                  <a:close/>
                  <a:moveTo>
                    <a:pt x="222098" y="258238"/>
                  </a:moveTo>
                  <a:lnTo>
                    <a:pt x="180472" y="286724"/>
                  </a:lnTo>
                  <a:lnTo>
                    <a:pt x="167667" y="267224"/>
                  </a:lnTo>
                  <a:lnTo>
                    <a:pt x="220995" y="245547"/>
                  </a:lnTo>
                  <a:cubicBezTo>
                    <a:pt x="221546" y="247754"/>
                    <a:pt x="222098" y="250513"/>
                    <a:pt x="222098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4" name="Forme libre : forme 613">
              <a:extLst>
                <a:ext uri="{FF2B5EF4-FFF2-40B4-BE49-F238E27FC236}">
                  <a16:creationId xmlns:a16="http://schemas.microsoft.com/office/drawing/2014/main" id="{F78027CB-C390-4FC7-AC35-674EC7B9F409}"/>
                </a:ext>
              </a:extLst>
            </p:cNvPr>
            <p:cNvSpPr/>
            <p:nvPr/>
          </p:nvSpPr>
          <p:spPr>
            <a:xfrm rot="8716295">
              <a:off x="5689139" y="3701707"/>
              <a:ext cx="105382" cy="119090"/>
            </a:xfrm>
            <a:custGeom>
              <a:avLst/>
              <a:gdLst>
                <a:gd name="connsiteX0" fmla="*/ 0 w 69626"/>
                <a:gd name="connsiteY0" fmla="*/ 74288 h 78683"/>
                <a:gd name="connsiteX1" fmla="*/ 61446 w 69626"/>
                <a:gd name="connsiteY1" fmla="*/ 0 h 78683"/>
                <a:gd name="connsiteX2" fmla="*/ 69626 w 69626"/>
                <a:gd name="connsiteY2" fmla="*/ 19468 h 78683"/>
                <a:gd name="connsiteX3" fmla="*/ 52380 w 69626"/>
                <a:gd name="connsiteY3" fmla="*/ 61206 h 78683"/>
                <a:gd name="connsiteX4" fmla="*/ 10986 w 69626"/>
                <a:gd name="connsiteY4" fmla="*/ 78683 h 78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626" h="78683">
                  <a:moveTo>
                    <a:pt x="0" y="74288"/>
                  </a:moveTo>
                  <a:lnTo>
                    <a:pt x="61446" y="0"/>
                  </a:lnTo>
                  <a:lnTo>
                    <a:pt x="69626" y="19468"/>
                  </a:lnTo>
                  <a:cubicBezTo>
                    <a:pt x="69626" y="34531"/>
                    <a:pt x="63877" y="49708"/>
                    <a:pt x="52380" y="61206"/>
                  </a:cubicBezTo>
                  <a:cubicBezTo>
                    <a:pt x="41341" y="72244"/>
                    <a:pt x="26624" y="78683"/>
                    <a:pt x="10986" y="786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5" name="Forme libre : forme 614">
              <a:extLst>
                <a:ext uri="{FF2B5EF4-FFF2-40B4-BE49-F238E27FC236}">
                  <a16:creationId xmlns:a16="http://schemas.microsoft.com/office/drawing/2014/main" id="{CDCDCD36-D509-4E07-A579-1A4701D840AC}"/>
                </a:ext>
              </a:extLst>
            </p:cNvPr>
            <p:cNvSpPr/>
            <p:nvPr/>
          </p:nvSpPr>
          <p:spPr>
            <a:xfrm rot="8716295">
              <a:off x="5344361" y="372861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6" name="Forme libre : forme 615">
              <a:extLst>
                <a:ext uri="{FF2B5EF4-FFF2-40B4-BE49-F238E27FC236}">
                  <a16:creationId xmlns:a16="http://schemas.microsoft.com/office/drawing/2014/main" id="{8F810203-59B0-4DA5-A5DC-8690A9A9B005}"/>
                </a:ext>
              </a:extLst>
            </p:cNvPr>
            <p:cNvSpPr/>
            <p:nvPr/>
          </p:nvSpPr>
          <p:spPr>
            <a:xfrm rot="8716295">
              <a:off x="5599943" y="3480521"/>
              <a:ext cx="177855" cy="178203"/>
            </a:xfrm>
            <a:custGeom>
              <a:avLst/>
              <a:gdLst>
                <a:gd name="connsiteX0" fmla="*/ 17477 w 117509"/>
                <a:gd name="connsiteY0" fmla="*/ 101182 h 117739"/>
                <a:gd name="connsiteX1" fmla="*/ 0 w 117509"/>
                <a:gd name="connsiteY1" fmla="*/ 59790 h 117739"/>
                <a:gd name="connsiteX2" fmla="*/ 0 w 117509"/>
                <a:gd name="connsiteY2" fmla="*/ 58869 h 117739"/>
                <a:gd name="connsiteX3" fmla="*/ 2091 w 117509"/>
                <a:gd name="connsiteY3" fmla="*/ 48678 h 117739"/>
                <a:gd name="connsiteX4" fmla="*/ 38978 w 117509"/>
                <a:gd name="connsiteY4" fmla="*/ 4080 h 117739"/>
                <a:gd name="connsiteX5" fmla="*/ 58869 w 117509"/>
                <a:gd name="connsiteY5" fmla="*/ 0 h 117739"/>
                <a:gd name="connsiteX6" fmla="*/ 100263 w 117509"/>
                <a:gd name="connsiteY6" fmla="*/ 17477 h 117739"/>
                <a:gd name="connsiteX7" fmla="*/ 100263 w 117509"/>
                <a:gd name="connsiteY7" fmla="*/ 100262 h 117739"/>
                <a:gd name="connsiteX8" fmla="*/ 58869 w 117509"/>
                <a:gd name="connsiteY8" fmla="*/ 117739 h 117739"/>
                <a:gd name="connsiteX9" fmla="*/ 17477 w 117509"/>
                <a:gd name="connsiteY9" fmla="*/ 101182 h 117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09" h="117739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lnTo>
                    <a:pt x="2091" y="48678"/>
                  </a:lnTo>
                  <a:lnTo>
                    <a:pt x="38978" y="4080"/>
                  </a:lnTo>
                  <a:lnTo>
                    <a:pt x="58869" y="0"/>
                  </a:lnTo>
                  <a:cubicBezTo>
                    <a:pt x="74507" y="0"/>
                    <a:pt x="89224" y="6439"/>
                    <a:pt x="100263" y="17477"/>
                  </a:cubicBezTo>
                  <a:cubicBezTo>
                    <a:pt x="123258" y="39553"/>
                    <a:pt x="123258" y="77266"/>
                    <a:pt x="100263" y="100262"/>
                  </a:cubicBezTo>
                  <a:cubicBezTo>
                    <a:pt x="89224" y="111300"/>
                    <a:pt x="74507" y="117739"/>
                    <a:pt x="58869" y="117739"/>
                  </a:cubicBezTo>
                  <a:cubicBezTo>
                    <a:pt x="43233" y="117739"/>
                    <a:pt x="28515" y="112220"/>
                    <a:pt x="17477" y="10118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7" name="Forme libre : forme 616">
              <a:extLst>
                <a:ext uri="{FF2B5EF4-FFF2-40B4-BE49-F238E27FC236}">
                  <a16:creationId xmlns:a16="http://schemas.microsoft.com/office/drawing/2014/main" id="{B4D6BED0-10F3-4D86-8E3C-AFD0F7AE9965}"/>
                </a:ext>
              </a:extLst>
            </p:cNvPr>
            <p:cNvSpPr/>
            <p:nvPr/>
          </p:nvSpPr>
          <p:spPr>
            <a:xfrm rot="8716295">
              <a:off x="5090746" y="5117279"/>
              <a:ext cx="37096" cy="40385"/>
            </a:xfrm>
            <a:custGeom>
              <a:avLst/>
              <a:gdLst>
                <a:gd name="connsiteX0" fmla="*/ 0 w 37096"/>
                <a:gd name="connsiteY0" fmla="*/ 40385 h 40385"/>
                <a:gd name="connsiteX1" fmla="*/ 0 w 37096"/>
                <a:gd name="connsiteY1" fmla="*/ 0 h 40385"/>
                <a:gd name="connsiteX2" fmla="*/ 37096 w 37096"/>
                <a:gd name="connsiteY2" fmla="*/ 25713 h 40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096" h="40385">
                  <a:moveTo>
                    <a:pt x="0" y="40385"/>
                  </a:moveTo>
                  <a:lnTo>
                    <a:pt x="0" y="0"/>
                  </a:lnTo>
                  <a:lnTo>
                    <a:pt x="37096" y="2571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8" name="Forme libre : forme 617">
              <a:extLst>
                <a:ext uri="{FF2B5EF4-FFF2-40B4-BE49-F238E27FC236}">
                  <a16:creationId xmlns:a16="http://schemas.microsoft.com/office/drawing/2014/main" id="{0465DE69-E687-46E9-B069-E127CC514DB0}"/>
                </a:ext>
              </a:extLst>
            </p:cNvPr>
            <p:cNvSpPr/>
            <p:nvPr/>
          </p:nvSpPr>
          <p:spPr>
            <a:xfrm rot="8716295">
              <a:off x="5405706" y="5085046"/>
              <a:ext cx="60406" cy="83058"/>
            </a:xfrm>
            <a:custGeom>
              <a:avLst/>
              <a:gdLst>
                <a:gd name="connsiteX0" fmla="*/ 0 w 60406"/>
                <a:gd name="connsiteY0" fmla="*/ 83058 h 83058"/>
                <a:gd name="connsiteX1" fmla="*/ 0 w 60406"/>
                <a:gd name="connsiteY1" fmla="*/ 0 h 83058"/>
                <a:gd name="connsiteX2" fmla="*/ 60406 w 60406"/>
                <a:gd name="connsiteY2" fmla="*/ 41872 h 83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406" h="83058">
                  <a:moveTo>
                    <a:pt x="0" y="83058"/>
                  </a:moveTo>
                  <a:lnTo>
                    <a:pt x="0" y="0"/>
                  </a:lnTo>
                  <a:lnTo>
                    <a:pt x="60406" y="4187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9" name="Forme libre : forme 618">
              <a:extLst>
                <a:ext uri="{FF2B5EF4-FFF2-40B4-BE49-F238E27FC236}">
                  <a16:creationId xmlns:a16="http://schemas.microsoft.com/office/drawing/2014/main" id="{1225017D-5B5E-4D56-9AE0-45594E8EF6FF}"/>
                </a:ext>
              </a:extLst>
            </p:cNvPr>
            <p:cNvSpPr/>
            <p:nvPr/>
          </p:nvSpPr>
          <p:spPr>
            <a:xfrm rot="8716295">
              <a:off x="5207014" y="4975218"/>
              <a:ext cx="245211" cy="161994"/>
            </a:xfrm>
            <a:custGeom>
              <a:avLst/>
              <a:gdLst>
                <a:gd name="connsiteX0" fmla="*/ 8965 w 245211"/>
                <a:gd name="connsiteY0" fmla="*/ 161994 h 161994"/>
                <a:gd name="connsiteX1" fmla="*/ 0 w 245211"/>
                <a:gd name="connsiteY1" fmla="*/ 149580 h 161994"/>
                <a:gd name="connsiteX2" fmla="*/ 158971 w 245211"/>
                <a:gd name="connsiteY2" fmla="*/ 0 h 161994"/>
                <a:gd name="connsiteX3" fmla="*/ 245211 w 245211"/>
                <a:gd name="connsiteY3" fmla="*/ 59779 h 161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211" h="161994">
                  <a:moveTo>
                    <a:pt x="8965" y="161994"/>
                  </a:moveTo>
                  <a:lnTo>
                    <a:pt x="0" y="149580"/>
                  </a:lnTo>
                  <a:lnTo>
                    <a:pt x="158971" y="0"/>
                  </a:lnTo>
                  <a:lnTo>
                    <a:pt x="245211" y="5977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0" name="Forme libre : forme 619">
              <a:extLst>
                <a:ext uri="{FF2B5EF4-FFF2-40B4-BE49-F238E27FC236}">
                  <a16:creationId xmlns:a16="http://schemas.microsoft.com/office/drawing/2014/main" id="{AD260E0B-5D9F-4830-8DFF-9C5C4BD9CAC9}"/>
                </a:ext>
              </a:extLst>
            </p:cNvPr>
            <p:cNvSpPr/>
            <p:nvPr/>
          </p:nvSpPr>
          <p:spPr>
            <a:xfrm rot="8716295">
              <a:off x="4807372" y="4871188"/>
              <a:ext cx="249519" cy="296463"/>
            </a:xfrm>
            <a:custGeom>
              <a:avLst/>
              <a:gdLst>
                <a:gd name="connsiteX0" fmla="*/ 137293 w 249519"/>
                <a:gd name="connsiteY0" fmla="*/ 296463 h 296463"/>
                <a:gd name="connsiteX1" fmla="*/ 72418 w 249519"/>
                <a:gd name="connsiteY1" fmla="*/ 175766 h 296463"/>
                <a:gd name="connsiteX2" fmla="*/ 105610 w 249519"/>
                <a:gd name="connsiteY2" fmla="*/ 83734 h 296463"/>
                <a:gd name="connsiteX3" fmla="*/ 0 w 249519"/>
                <a:gd name="connsiteY3" fmla="*/ 83734 h 296463"/>
                <a:gd name="connsiteX4" fmla="*/ 0 w 249519"/>
                <a:gd name="connsiteY4" fmla="*/ 0 h 296463"/>
                <a:gd name="connsiteX5" fmla="*/ 128719 w 249519"/>
                <a:gd name="connsiteY5" fmla="*/ 0 h 296463"/>
                <a:gd name="connsiteX6" fmla="*/ 249519 w 249519"/>
                <a:gd name="connsiteY6" fmla="*/ 83734 h 296463"/>
                <a:gd name="connsiteX7" fmla="*/ 210465 w 249519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9519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128719" y="0"/>
                  </a:lnTo>
                  <a:lnTo>
                    <a:pt x="249519" y="83734"/>
                  </a:lnTo>
                  <a:lnTo>
                    <a:pt x="210465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1" name="Forme libre : forme 620">
              <a:extLst>
                <a:ext uri="{FF2B5EF4-FFF2-40B4-BE49-F238E27FC236}">
                  <a16:creationId xmlns:a16="http://schemas.microsoft.com/office/drawing/2014/main" id="{09F80257-FE3C-4D05-BA6D-6880C235959D}"/>
                </a:ext>
              </a:extLst>
            </p:cNvPr>
            <p:cNvSpPr/>
            <p:nvPr/>
          </p:nvSpPr>
          <p:spPr>
            <a:xfrm rot="8716295">
              <a:off x="4742203" y="467807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2" name="Forme libre : forme 621">
              <a:extLst>
                <a:ext uri="{FF2B5EF4-FFF2-40B4-BE49-F238E27FC236}">
                  <a16:creationId xmlns:a16="http://schemas.microsoft.com/office/drawing/2014/main" id="{3B04E0F0-2B8C-4F06-AF5E-7DEBDFF41168}"/>
                </a:ext>
              </a:extLst>
            </p:cNvPr>
            <p:cNvSpPr/>
            <p:nvPr/>
          </p:nvSpPr>
          <p:spPr>
            <a:xfrm rot="8716295">
              <a:off x="5548192" y="4732447"/>
              <a:ext cx="92415" cy="287093"/>
            </a:xfrm>
            <a:custGeom>
              <a:avLst/>
              <a:gdLst>
                <a:gd name="connsiteX0" fmla="*/ 0 w 61059"/>
                <a:gd name="connsiteY0" fmla="*/ 189683 h 189683"/>
                <a:gd name="connsiteX1" fmla="*/ 1 w 61059"/>
                <a:gd name="connsiteY1" fmla="*/ 70355 h 189683"/>
                <a:gd name="connsiteX2" fmla="*/ 58192 w 61059"/>
                <a:gd name="connsiteY2" fmla="*/ 0 h 189683"/>
                <a:gd name="connsiteX3" fmla="*/ 61059 w 61059"/>
                <a:gd name="connsiteY3" fmla="*/ 7418 h 189683"/>
                <a:gd name="connsiteX4" fmla="*/ 61059 w 61059"/>
                <a:gd name="connsiteY4" fmla="*/ 165533 h 189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59" h="189683">
                  <a:moveTo>
                    <a:pt x="0" y="189683"/>
                  </a:moveTo>
                  <a:lnTo>
                    <a:pt x="1" y="70355"/>
                  </a:lnTo>
                  <a:lnTo>
                    <a:pt x="58192" y="0"/>
                  </a:lnTo>
                  <a:lnTo>
                    <a:pt x="61059" y="7418"/>
                  </a:lnTo>
                  <a:lnTo>
                    <a:pt x="61059" y="1655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3" name="Forme libre : forme 622">
              <a:extLst>
                <a:ext uri="{FF2B5EF4-FFF2-40B4-BE49-F238E27FC236}">
                  <a16:creationId xmlns:a16="http://schemas.microsoft.com/office/drawing/2014/main" id="{E573200C-FAAB-40A5-A9EF-BD61E3F76A6C}"/>
                </a:ext>
              </a:extLst>
            </p:cNvPr>
            <p:cNvSpPr/>
            <p:nvPr/>
          </p:nvSpPr>
          <p:spPr>
            <a:xfrm rot="8716295">
              <a:off x="5387054" y="482534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4" name="Forme libre : forme 623">
              <a:extLst>
                <a:ext uri="{FF2B5EF4-FFF2-40B4-BE49-F238E27FC236}">
                  <a16:creationId xmlns:a16="http://schemas.microsoft.com/office/drawing/2014/main" id="{19C3230C-28AF-420E-9755-6F859DFAE8B6}"/>
                </a:ext>
              </a:extLst>
            </p:cNvPr>
            <p:cNvSpPr/>
            <p:nvPr/>
          </p:nvSpPr>
          <p:spPr>
            <a:xfrm rot="8716295">
              <a:off x="5198009" y="450950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5" name="Forme libre : forme 624">
              <a:extLst>
                <a:ext uri="{FF2B5EF4-FFF2-40B4-BE49-F238E27FC236}">
                  <a16:creationId xmlns:a16="http://schemas.microsoft.com/office/drawing/2014/main" id="{2E8CBA65-23E2-44CB-B992-A6497F02B6BB}"/>
                </a:ext>
              </a:extLst>
            </p:cNvPr>
            <p:cNvSpPr/>
            <p:nvPr/>
          </p:nvSpPr>
          <p:spPr>
            <a:xfrm rot="8716295">
              <a:off x="5503997" y="4913234"/>
              <a:ext cx="91035" cy="258752"/>
            </a:xfrm>
            <a:custGeom>
              <a:avLst/>
              <a:gdLst>
                <a:gd name="connsiteX0" fmla="*/ 91035 w 91035"/>
                <a:gd name="connsiteY0" fmla="*/ 258752 h 258752"/>
                <a:gd name="connsiteX1" fmla="*/ 0 w 91035"/>
                <a:gd name="connsiteY1" fmla="*/ 171163 h 258752"/>
                <a:gd name="connsiteX2" fmla="*/ 0 w 91035"/>
                <a:gd name="connsiteY2" fmla="*/ 43487 h 258752"/>
                <a:gd name="connsiteX3" fmla="*/ 35968 w 91035"/>
                <a:gd name="connsiteY3" fmla="*/ 0 h 258752"/>
                <a:gd name="connsiteX4" fmla="*/ 91035 w 91035"/>
                <a:gd name="connsiteY4" fmla="*/ 38170 h 258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035" h="258752">
                  <a:moveTo>
                    <a:pt x="91035" y="258752"/>
                  </a:moveTo>
                  <a:lnTo>
                    <a:pt x="0" y="171163"/>
                  </a:lnTo>
                  <a:lnTo>
                    <a:pt x="0" y="43487"/>
                  </a:lnTo>
                  <a:lnTo>
                    <a:pt x="35968" y="0"/>
                  </a:lnTo>
                  <a:lnTo>
                    <a:pt x="91035" y="3817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6" name="Forme libre : forme 625">
              <a:extLst>
                <a:ext uri="{FF2B5EF4-FFF2-40B4-BE49-F238E27FC236}">
                  <a16:creationId xmlns:a16="http://schemas.microsoft.com/office/drawing/2014/main" id="{B26AA3BD-AADA-4372-BD8D-21473C57A651}"/>
                </a:ext>
              </a:extLst>
            </p:cNvPr>
            <p:cNvSpPr/>
            <p:nvPr/>
          </p:nvSpPr>
          <p:spPr>
            <a:xfrm rot="8716295">
              <a:off x="5158096" y="466090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7" name="Forme libre : forme 626">
              <a:extLst>
                <a:ext uri="{FF2B5EF4-FFF2-40B4-BE49-F238E27FC236}">
                  <a16:creationId xmlns:a16="http://schemas.microsoft.com/office/drawing/2014/main" id="{547464F3-A56B-40EE-B7D7-F8D6AA7FE193}"/>
                </a:ext>
              </a:extLst>
            </p:cNvPr>
            <p:cNvSpPr/>
            <p:nvPr/>
          </p:nvSpPr>
          <p:spPr>
            <a:xfrm rot="8716295">
              <a:off x="4115344" y="2074537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8" name="Forme libre : forme 627">
              <a:extLst>
                <a:ext uri="{FF2B5EF4-FFF2-40B4-BE49-F238E27FC236}">
                  <a16:creationId xmlns:a16="http://schemas.microsoft.com/office/drawing/2014/main" id="{7B5D832C-BA75-4D29-B114-1E47C4BAE490}"/>
                </a:ext>
              </a:extLst>
            </p:cNvPr>
            <p:cNvSpPr/>
            <p:nvPr/>
          </p:nvSpPr>
          <p:spPr>
            <a:xfrm rot="8716295">
              <a:off x="4250643" y="2118796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9" name="Forme libre : forme 628">
              <a:extLst>
                <a:ext uri="{FF2B5EF4-FFF2-40B4-BE49-F238E27FC236}">
                  <a16:creationId xmlns:a16="http://schemas.microsoft.com/office/drawing/2014/main" id="{C64AC295-E4CE-44EE-A106-33EFFB41DEBE}"/>
                </a:ext>
              </a:extLst>
            </p:cNvPr>
            <p:cNvSpPr/>
            <p:nvPr/>
          </p:nvSpPr>
          <p:spPr>
            <a:xfrm rot="8716295">
              <a:off x="4182761" y="1988208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0" name="Forme libre : forme 629">
              <a:extLst>
                <a:ext uri="{FF2B5EF4-FFF2-40B4-BE49-F238E27FC236}">
                  <a16:creationId xmlns:a16="http://schemas.microsoft.com/office/drawing/2014/main" id="{FFA3ED08-9210-45D6-AA19-AFF70332BF0D}"/>
                </a:ext>
              </a:extLst>
            </p:cNvPr>
            <p:cNvSpPr/>
            <p:nvPr/>
          </p:nvSpPr>
          <p:spPr>
            <a:xfrm rot="8716295">
              <a:off x="3945473" y="220855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1" name="Forme libre : forme 630">
              <a:extLst>
                <a:ext uri="{FF2B5EF4-FFF2-40B4-BE49-F238E27FC236}">
                  <a16:creationId xmlns:a16="http://schemas.microsoft.com/office/drawing/2014/main" id="{211D7FA1-7CF8-4A2C-9624-5DB5F1253CA9}"/>
                </a:ext>
              </a:extLst>
            </p:cNvPr>
            <p:cNvSpPr/>
            <p:nvPr/>
          </p:nvSpPr>
          <p:spPr>
            <a:xfrm rot="8716295">
              <a:off x="3756427" y="189271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2" name="Forme libre : forme 631">
              <a:extLst>
                <a:ext uri="{FF2B5EF4-FFF2-40B4-BE49-F238E27FC236}">
                  <a16:creationId xmlns:a16="http://schemas.microsoft.com/office/drawing/2014/main" id="{ED1DCF33-40C8-4AEE-A0EE-4E241ABFAA91}"/>
                </a:ext>
              </a:extLst>
            </p:cNvPr>
            <p:cNvSpPr/>
            <p:nvPr/>
          </p:nvSpPr>
          <p:spPr>
            <a:xfrm rot="8716295">
              <a:off x="3738186" y="1682667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3" name="Forme libre : forme 632">
              <a:extLst>
                <a:ext uri="{FF2B5EF4-FFF2-40B4-BE49-F238E27FC236}">
                  <a16:creationId xmlns:a16="http://schemas.microsoft.com/office/drawing/2014/main" id="{1ED8E02A-9662-4C77-9CF8-F0AAAEDA7BF2}"/>
                </a:ext>
              </a:extLst>
            </p:cNvPr>
            <p:cNvSpPr/>
            <p:nvPr/>
          </p:nvSpPr>
          <p:spPr>
            <a:xfrm rot="8716295">
              <a:off x="4081962" y="2270535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4" name="Forme libre : forme 633">
              <a:extLst>
                <a:ext uri="{FF2B5EF4-FFF2-40B4-BE49-F238E27FC236}">
                  <a16:creationId xmlns:a16="http://schemas.microsoft.com/office/drawing/2014/main" id="{A5843512-5A07-4D47-96C0-9232DD1F4BAB}"/>
                </a:ext>
              </a:extLst>
            </p:cNvPr>
            <p:cNvSpPr/>
            <p:nvPr/>
          </p:nvSpPr>
          <p:spPr>
            <a:xfrm rot="8716295">
              <a:off x="4552908" y="169592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5" name="Forme libre : forme 634">
              <a:extLst>
                <a:ext uri="{FF2B5EF4-FFF2-40B4-BE49-F238E27FC236}">
                  <a16:creationId xmlns:a16="http://schemas.microsoft.com/office/drawing/2014/main" id="{4BB8EB0B-0F5A-4424-9318-733305CE126F}"/>
                </a:ext>
              </a:extLst>
            </p:cNvPr>
            <p:cNvSpPr/>
            <p:nvPr/>
          </p:nvSpPr>
          <p:spPr>
            <a:xfrm rot="8716295">
              <a:off x="4688207" y="174018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6" name="Forme libre : forme 635">
              <a:extLst>
                <a:ext uri="{FF2B5EF4-FFF2-40B4-BE49-F238E27FC236}">
                  <a16:creationId xmlns:a16="http://schemas.microsoft.com/office/drawing/2014/main" id="{EA2371B2-61DB-41BD-8EEA-A15B3FCB5FA9}"/>
                </a:ext>
              </a:extLst>
            </p:cNvPr>
            <p:cNvSpPr/>
            <p:nvPr/>
          </p:nvSpPr>
          <p:spPr>
            <a:xfrm rot="8716295">
              <a:off x="4383037" y="182993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7" name="Forme libre : forme 636">
              <a:extLst>
                <a:ext uri="{FF2B5EF4-FFF2-40B4-BE49-F238E27FC236}">
                  <a16:creationId xmlns:a16="http://schemas.microsoft.com/office/drawing/2014/main" id="{DA3AACAC-02B1-4FFC-A740-5475BDA0481C}"/>
                </a:ext>
              </a:extLst>
            </p:cNvPr>
            <p:cNvSpPr/>
            <p:nvPr/>
          </p:nvSpPr>
          <p:spPr>
            <a:xfrm rot="8716295">
              <a:off x="4193993" y="151410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8" name="Forme libre : forme 637">
              <a:extLst>
                <a:ext uri="{FF2B5EF4-FFF2-40B4-BE49-F238E27FC236}">
                  <a16:creationId xmlns:a16="http://schemas.microsoft.com/office/drawing/2014/main" id="{6A599191-FCF8-4596-88EE-55466D58320A}"/>
                </a:ext>
              </a:extLst>
            </p:cNvPr>
            <p:cNvSpPr/>
            <p:nvPr/>
          </p:nvSpPr>
          <p:spPr>
            <a:xfrm rot="8716295">
              <a:off x="4519525" y="1891919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9" name="Forme libre : forme 638">
              <a:extLst>
                <a:ext uri="{FF2B5EF4-FFF2-40B4-BE49-F238E27FC236}">
                  <a16:creationId xmlns:a16="http://schemas.microsoft.com/office/drawing/2014/main" id="{C2F74711-1315-40B4-BC17-926C1214DB54}"/>
                </a:ext>
              </a:extLst>
            </p:cNvPr>
            <p:cNvSpPr/>
            <p:nvPr/>
          </p:nvSpPr>
          <p:spPr>
            <a:xfrm rot="8716295">
              <a:off x="4154079" y="1665493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0" name="Forme libre : forme 639">
              <a:extLst>
                <a:ext uri="{FF2B5EF4-FFF2-40B4-BE49-F238E27FC236}">
                  <a16:creationId xmlns:a16="http://schemas.microsoft.com/office/drawing/2014/main" id="{D2AC2D0A-CAB8-4F27-AF57-67EBA74287A6}"/>
                </a:ext>
              </a:extLst>
            </p:cNvPr>
            <p:cNvSpPr/>
            <p:nvPr/>
          </p:nvSpPr>
          <p:spPr>
            <a:xfrm rot="7484129">
              <a:off x="4678343" y="218153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1" name="Forme libre : forme 640">
              <a:extLst>
                <a:ext uri="{FF2B5EF4-FFF2-40B4-BE49-F238E27FC236}">
                  <a16:creationId xmlns:a16="http://schemas.microsoft.com/office/drawing/2014/main" id="{E725B9A6-4A92-4445-9859-68BC43835400}"/>
                </a:ext>
              </a:extLst>
            </p:cNvPr>
            <p:cNvSpPr/>
            <p:nvPr/>
          </p:nvSpPr>
          <p:spPr>
            <a:xfrm rot="13089394">
              <a:off x="4836993" y="2130885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2" name="Forme libre : forme 641">
              <a:extLst>
                <a:ext uri="{FF2B5EF4-FFF2-40B4-BE49-F238E27FC236}">
                  <a16:creationId xmlns:a16="http://schemas.microsoft.com/office/drawing/2014/main" id="{7C076520-7FB2-4FC1-9D9B-18E7CCBFD41C}"/>
                </a:ext>
              </a:extLst>
            </p:cNvPr>
            <p:cNvSpPr/>
            <p:nvPr/>
          </p:nvSpPr>
          <p:spPr>
            <a:xfrm rot="8716295">
              <a:off x="5117884" y="1840767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3" name="Forme libre : forme 642">
              <a:extLst>
                <a:ext uri="{FF2B5EF4-FFF2-40B4-BE49-F238E27FC236}">
                  <a16:creationId xmlns:a16="http://schemas.microsoft.com/office/drawing/2014/main" id="{43D28BDB-F985-40C3-8623-0F5EBBCEA04D}"/>
                </a:ext>
              </a:extLst>
            </p:cNvPr>
            <p:cNvSpPr/>
            <p:nvPr/>
          </p:nvSpPr>
          <p:spPr>
            <a:xfrm rot="8716295">
              <a:off x="5039475" y="1683975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4" name="Forme libre : forme 643">
              <a:extLst>
                <a:ext uri="{FF2B5EF4-FFF2-40B4-BE49-F238E27FC236}">
                  <a16:creationId xmlns:a16="http://schemas.microsoft.com/office/drawing/2014/main" id="{94CC3131-BEE6-4558-87A2-311D6D4A02F7}"/>
                </a:ext>
              </a:extLst>
            </p:cNvPr>
            <p:cNvSpPr/>
            <p:nvPr/>
          </p:nvSpPr>
          <p:spPr>
            <a:xfrm rot="8716295">
              <a:off x="4671311" y="172971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5" name="Forme libre : forme 644">
              <a:extLst>
                <a:ext uri="{FF2B5EF4-FFF2-40B4-BE49-F238E27FC236}">
                  <a16:creationId xmlns:a16="http://schemas.microsoft.com/office/drawing/2014/main" id="{4E2DFEBE-3426-4677-92D1-1024B4DE927D}"/>
                </a:ext>
              </a:extLst>
            </p:cNvPr>
            <p:cNvSpPr/>
            <p:nvPr/>
          </p:nvSpPr>
          <p:spPr>
            <a:xfrm rot="8716295">
              <a:off x="4939893" y="148869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6" name="Forme libre : forme 645">
              <a:extLst>
                <a:ext uri="{FF2B5EF4-FFF2-40B4-BE49-F238E27FC236}">
                  <a16:creationId xmlns:a16="http://schemas.microsoft.com/office/drawing/2014/main" id="{4081BB24-256C-4F4B-9A6F-DFCDC854E455}"/>
                </a:ext>
              </a:extLst>
            </p:cNvPr>
            <p:cNvSpPr/>
            <p:nvPr/>
          </p:nvSpPr>
          <p:spPr>
            <a:xfrm rot="8716295">
              <a:off x="3777571" y="1076054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7" name="Forme libre : forme 646">
              <a:extLst>
                <a:ext uri="{FF2B5EF4-FFF2-40B4-BE49-F238E27FC236}">
                  <a16:creationId xmlns:a16="http://schemas.microsoft.com/office/drawing/2014/main" id="{AC1A7255-5142-49FD-A5EF-06FB37B43ABB}"/>
                </a:ext>
              </a:extLst>
            </p:cNvPr>
            <p:cNvSpPr/>
            <p:nvPr/>
          </p:nvSpPr>
          <p:spPr>
            <a:xfrm rot="8716295">
              <a:off x="3912870" y="1120313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8" name="Forme libre : forme 647">
              <a:extLst>
                <a:ext uri="{FF2B5EF4-FFF2-40B4-BE49-F238E27FC236}">
                  <a16:creationId xmlns:a16="http://schemas.microsoft.com/office/drawing/2014/main" id="{919DC854-1FBE-4BD6-B8D9-CFB434F98A7C}"/>
                </a:ext>
              </a:extLst>
            </p:cNvPr>
            <p:cNvSpPr/>
            <p:nvPr/>
          </p:nvSpPr>
          <p:spPr>
            <a:xfrm rot="8716295">
              <a:off x="3844988" y="989725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9" name="Forme libre : forme 648">
              <a:extLst>
                <a:ext uri="{FF2B5EF4-FFF2-40B4-BE49-F238E27FC236}">
                  <a16:creationId xmlns:a16="http://schemas.microsoft.com/office/drawing/2014/main" id="{49BA536C-15FC-4479-BC63-4330EBFC747C}"/>
                </a:ext>
              </a:extLst>
            </p:cNvPr>
            <p:cNvSpPr/>
            <p:nvPr/>
          </p:nvSpPr>
          <p:spPr>
            <a:xfrm rot="8716295">
              <a:off x="3607700" y="121006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0" name="Forme libre : forme 649">
              <a:extLst>
                <a:ext uri="{FF2B5EF4-FFF2-40B4-BE49-F238E27FC236}">
                  <a16:creationId xmlns:a16="http://schemas.microsoft.com/office/drawing/2014/main" id="{1EA376EA-CA36-4368-817C-E5E9817AD15D}"/>
                </a:ext>
              </a:extLst>
            </p:cNvPr>
            <p:cNvSpPr/>
            <p:nvPr/>
          </p:nvSpPr>
          <p:spPr>
            <a:xfrm rot="8716295">
              <a:off x="3418654" y="89423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1" name="Forme libre : forme 650">
              <a:extLst>
                <a:ext uri="{FF2B5EF4-FFF2-40B4-BE49-F238E27FC236}">
                  <a16:creationId xmlns:a16="http://schemas.microsoft.com/office/drawing/2014/main" id="{5E0794DE-9E5D-40F3-81B1-459355C8C354}"/>
                </a:ext>
              </a:extLst>
            </p:cNvPr>
            <p:cNvSpPr/>
            <p:nvPr/>
          </p:nvSpPr>
          <p:spPr>
            <a:xfrm rot="8716295">
              <a:off x="3400413" y="68418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2" name="Forme libre : forme 651">
              <a:extLst>
                <a:ext uri="{FF2B5EF4-FFF2-40B4-BE49-F238E27FC236}">
                  <a16:creationId xmlns:a16="http://schemas.microsoft.com/office/drawing/2014/main" id="{4B1EE519-963B-4DDE-8BB5-AFD17A3ACDDB}"/>
                </a:ext>
              </a:extLst>
            </p:cNvPr>
            <p:cNvSpPr/>
            <p:nvPr/>
          </p:nvSpPr>
          <p:spPr>
            <a:xfrm rot="8716295">
              <a:off x="3744189" y="1272052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3" name="Forme libre : forme 652">
              <a:extLst>
                <a:ext uri="{FF2B5EF4-FFF2-40B4-BE49-F238E27FC236}">
                  <a16:creationId xmlns:a16="http://schemas.microsoft.com/office/drawing/2014/main" id="{843B2CBD-6604-4C65-9A88-6BD15A621379}"/>
                </a:ext>
              </a:extLst>
            </p:cNvPr>
            <p:cNvSpPr/>
            <p:nvPr/>
          </p:nvSpPr>
          <p:spPr>
            <a:xfrm rot="8716295">
              <a:off x="4215135" y="69743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4" name="Forme libre : forme 653">
              <a:extLst>
                <a:ext uri="{FF2B5EF4-FFF2-40B4-BE49-F238E27FC236}">
                  <a16:creationId xmlns:a16="http://schemas.microsoft.com/office/drawing/2014/main" id="{04086C4C-0CCF-4C9C-8E36-431E5C44E1D5}"/>
                </a:ext>
              </a:extLst>
            </p:cNvPr>
            <p:cNvSpPr/>
            <p:nvPr/>
          </p:nvSpPr>
          <p:spPr>
            <a:xfrm rot="8716295">
              <a:off x="4350434" y="74169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5" name="Forme libre : forme 654">
              <a:extLst>
                <a:ext uri="{FF2B5EF4-FFF2-40B4-BE49-F238E27FC236}">
                  <a16:creationId xmlns:a16="http://schemas.microsoft.com/office/drawing/2014/main" id="{F3DB09AD-8322-4A1E-B882-3AB7A06EFC3E}"/>
                </a:ext>
              </a:extLst>
            </p:cNvPr>
            <p:cNvSpPr/>
            <p:nvPr/>
          </p:nvSpPr>
          <p:spPr>
            <a:xfrm rot="8716295">
              <a:off x="4045264" y="83145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6" name="Forme libre : forme 655">
              <a:extLst>
                <a:ext uri="{FF2B5EF4-FFF2-40B4-BE49-F238E27FC236}">
                  <a16:creationId xmlns:a16="http://schemas.microsoft.com/office/drawing/2014/main" id="{F3E1347F-AB08-4E88-8553-2C3259820F53}"/>
                </a:ext>
              </a:extLst>
            </p:cNvPr>
            <p:cNvSpPr/>
            <p:nvPr/>
          </p:nvSpPr>
          <p:spPr>
            <a:xfrm rot="8716295">
              <a:off x="3856220" y="51561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7" name="Forme libre : forme 656">
              <a:extLst>
                <a:ext uri="{FF2B5EF4-FFF2-40B4-BE49-F238E27FC236}">
                  <a16:creationId xmlns:a16="http://schemas.microsoft.com/office/drawing/2014/main" id="{37C0E351-F531-4AFA-9B5B-9FA1F4DA382D}"/>
                </a:ext>
              </a:extLst>
            </p:cNvPr>
            <p:cNvSpPr/>
            <p:nvPr/>
          </p:nvSpPr>
          <p:spPr>
            <a:xfrm rot="8716295">
              <a:off x="4181753" y="893436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8" name="Forme libre : forme 657">
              <a:extLst>
                <a:ext uri="{FF2B5EF4-FFF2-40B4-BE49-F238E27FC236}">
                  <a16:creationId xmlns:a16="http://schemas.microsoft.com/office/drawing/2014/main" id="{EAD233D4-FAEF-4359-9D80-A0C4EA0721BB}"/>
                </a:ext>
              </a:extLst>
            </p:cNvPr>
            <p:cNvSpPr/>
            <p:nvPr/>
          </p:nvSpPr>
          <p:spPr>
            <a:xfrm rot="8716295">
              <a:off x="3816306" y="66701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9" name="Forme libre : forme 658">
              <a:extLst>
                <a:ext uri="{FF2B5EF4-FFF2-40B4-BE49-F238E27FC236}">
                  <a16:creationId xmlns:a16="http://schemas.microsoft.com/office/drawing/2014/main" id="{4935AFB8-12C9-437A-A5F0-16D910596549}"/>
                </a:ext>
              </a:extLst>
            </p:cNvPr>
            <p:cNvSpPr/>
            <p:nvPr/>
          </p:nvSpPr>
          <p:spPr>
            <a:xfrm rot="7484129">
              <a:off x="4340570" y="118305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0" name="Forme libre : forme 659">
              <a:extLst>
                <a:ext uri="{FF2B5EF4-FFF2-40B4-BE49-F238E27FC236}">
                  <a16:creationId xmlns:a16="http://schemas.microsoft.com/office/drawing/2014/main" id="{60120E9A-5AF3-48E4-8013-AFB2DF22E98E}"/>
                </a:ext>
              </a:extLst>
            </p:cNvPr>
            <p:cNvSpPr/>
            <p:nvPr/>
          </p:nvSpPr>
          <p:spPr>
            <a:xfrm rot="13089394">
              <a:off x="4499220" y="1132402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1" name="Forme libre : forme 660">
              <a:extLst>
                <a:ext uri="{FF2B5EF4-FFF2-40B4-BE49-F238E27FC236}">
                  <a16:creationId xmlns:a16="http://schemas.microsoft.com/office/drawing/2014/main" id="{FADC80EF-D490-4090-83FB-CC043913DFB7}"/>
                </a:ext>
              </a:extLst>
            </p:cNvPr>
            <p:cNvSpPr/>
            <p:nvPr/>
          </p:nvSpPr>
          <p:spPr>
            <a:xfrm rot="8716295">
              <a:off x="4780111" y="842284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2" name="Forme libre : forme 661">
              <a:extLst>
                <a:ext uri="{FF2B5EF4-FFF2-40B4-BE49-F238E27FC236}">
                  <a16:creationId xmlns:a16="http://schemas.microsoft.com/office/drawing/2014/main" id="{54E99E4D-E8AE-4B8D-BD60-290E9CE34806}"/>
                </a:ext>
              </a:extLst>
            </p:cNvPr>
            <p:cNvSpPr/>
            <p:nvPr/>
          </p:nvSpPr>
          <p:spPr>
            <a:xfrm rot="8716295">
              <a:off x="4701702" y="68549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3" name="Forme libre : forme 662">
              <a:extLst>
                <a:ext uri="{FF2B5EF4-FFF2-40B4-BE49-F238E27FC236}">
                  <a16:creationId xmlns:a16="http://schemas.microsoft.com/office/drawing/2014/main" id="{0576F78A-7E96-4491-9B0E-F11A7E2D4FE9}"/>
                </a:ext>
              </a:extLst>
            </p:cNvPr>
            <p:cNvSpPr/>
            <p:nvPr/>
          </p:nvSpPr>
          <p:spPr>
            <a:xfrm rot="8716295">
              <a:off x="4333538" y="73123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4" name="Forme libre : forme 663">
              <a:extLst>
                <a:ext uri="{FF2B5EF4-FFF2-40B4-BE49-F238E27FC236}">
                  <a16:creationId xmlns:a16="http://schemas.microsoft.com/office/drawing/2014/main" id="{0C2E4D36-6AB6-46E1-94C2-74D996114D27}"/>
                </a:ext>
              </a:extLst>
            </p:cNvPr>
            <p:cNvSpPr/>
            <p:nvPr/>
          </p:nvSpPr>
          <p:spPr>
            <a:xfrm rot="8716295">
              <a:off x="4602120" y="49021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5" name="Forme libre : forme 664">
              <a:extLst>
                <a:ext uri="{FF2B5EF4-FFF2-40B4-BE49-F238E27FC236}">
                  <a16:creationId xmlns:a16="http://schemas.microsoft.com/office/drawing/2014/main" id="{F078AC73-930A-464F-BC7C-4B2C44A99116}"/>
                </a:ext>
              </a:extLst>
            </p:cNvPr>
            <p:cNvSpPr/>
            <p:nvPr/>
          </p:nvSpPr>
          <p:spPr>
            <a:xfrm rot="8716295">
              <a:off x="3446198" y="7400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6" name="Forme libre : forme 665">
              <a:extLst>
                <a:ext uri="{FF2B5EF4-FFF2-40B4-BE49-F238E27FC236}">
                  <a16:creationId xmlns:a16="http://schemas.microsoft.com/office/drawing/2014/main" id="{A5F5E230-97AC-427D-B3BD-EE358DADE21E}"/>
                </a:ext>
              </a:extLst>
            </p:cNvPr>
            <p:cNvSpPr/>
            <p:nvPr/>
          </p:nvSpPr>
          <p:spPr>
            <a:xfrm rot="8716295">
              <a:off x="3581496" y="11826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7" name="Forme libre : forme 666">
              <a:extLst>
                <a:ext uri="{FF2B5EF4-FFF2-40B4-BE49-F238E27FC236}">
                  <a16:creationId xmlns:a16="http://schemas.microsoft.com/office/drawing/2014/main" id="{91294318-E81E-4D53-9C61-072AF08CC387}"/>
                </a:ext>
              </a:extLst>
            </p:cNvPr>
            <p:cNvSpPr/>
            <p:nvPr/>
          </p:nvSpPr>
          <p:spPr>
            <a:xfrm rot="8716295">
              <a:off x="3522597" y="36248"/>
              <a:ext cx="234675" cy="172489"/>
            </a:xfrm>
            <a:custGeom>
              <a:avLst/>
              <a:gdLst>
                <a:gd name="connsiteX0" fmla="*/ 25756 w 155050"/>
                <a:gd name="connsiteY0" fmla="*/ 113964 h 113964"/>
                <a:gd name="connsiteX1" fmla="*/ 0 w 155050"/>
                <a:gd name="connsiteY1" fmla="*/ 96110 h 113964"/>
                <a:gd name="connsiteX2" fmla="*/ 72120 w 155050"/>
                <a:gd name="connsiteY2" fmla="*/ 28251 h 113964"/>
                <a:gd name="connsiteX3" fmla="*/ 126799 w 155050"/>
                <a:gd name="connsiteY3" fmla="*/ 0 h 113964"/>
                <a:gd name="connsiteX4" fmla="*/ 155050 w 155050"/>
                <a:gd name="connsiteY4" fmla="*/ 33719 h 113964"/>
                <a:gd name="connsiteX5" fmla="*/ 128622 w 155050"/>
                <a:gd name="connsiteY5" fmla="*/ 69261 h 113964"/>
                <a:gd name="connsiteX6" fmla="*/ 129077 w 155050"/>
                <a:gd name="connsiteY6" fmla="*/ 69261 h 113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5050" h="113964">
                  <a:moveTo>
                    <a:pt x="25756" y="113964"/>
                  </a:moveTo>
                  <a:lnTo>
                    <a:pt x="0" y="96110"/>
                  </a:lnTo>
                  <a:lnTo>
                    <a:pt x="72120" y="28251"/>
                  </a:lnTo>
                  <a:cubicBezTo>
                    <a:pt x="85790" y="12303"/>
                    <a:pt x="105383" y="2279"/>
                    <a:pt x="126799" y="0"/>
                  </a:cubicBezTo>
                  <a:cubicBezTo>
                    <a:pt x="148671" y="0"/>
                    <a:pt x="155050" y="19138"/>
                    <a:pt x="155050" y="33719"/>
                  </a:cubicBezTo>
                  <a:cubicBezTo>
                    <a:pt x="153683" y="49668"/>
                    <a:pt x="143203" y="62882"/>
                    <a:pt x="128622" y="69261"/>
                  </a:cubicBezTo>
                  <a:lnTo>
                    <a:pt x="129077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8" name="Forme libre : forme 667">
              <a:extLst>
                <a:ext uri="{FF2B5EF4-FFF2-40B4-BE49-F238E27FC236}">
                  <a16:creationId xmlns:a16="http://schemas.microsoft.com/office/drawing/2014/main" id="{4DD6A7C5-87D0-4D46-A46A-2254EFCA82E0}"/>
                </a:ext>
              </a:extLst>
            </p:cNvPr>
            <p:cNvSpPr/>
            <p:nvPr/>
          </p:nvSpPr>
          <p:spPr>
            <a:xfrm rot="8716295">
              <a:off x="3276327" y="20801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9" name="Forme libre : forme 668">
              <a:extLst>
                <a:ext uri="{FF2B5EF4-FFF2-40B4-BE49-F238E27FC236}">
                  <a16:creationId xmlns:a16="http://schemas.microsoft.com/office/drawing/2014/main" id="{043EBFB6-F58E-491F-85EF-3F196F60359F}"/>
                </a:ext>
              </a:extLst>
            </p:cNvPr>
            <p:cNvSpPr/>
            <p:nvPr/>
          </p:nvSpPr>
          <p:spPr>
            <a:xfrm rot="8716295">
              <a:off x="3107933" y="-20072"/>
              <a:ext cx="308531" cy="199994"/>
            </a:xfrm>
            <a:custGeom>
              <a:avLst/>
              <a:gdLst>
                <a:gd name="connsiteX0" fmla="*/ 112633 w 203847"/>
                <a:gd name="connsiteY0" fmla="*/ 132136 h 132136"/>
                <a:gd name="connsiteX1" fmla="*/ 56185 w 203847"/>
                <a:gd name="connsiteY1" fmla="*/ 93008 h 132136"/>
                <a:gd name="connsiteX2" fmla="*/ 69777 w 203847"/>
                <a:gd name="connsiteY2" fmla="*/ 55323 h 132136"/>
                <a:gd name="connsiteX3" fmla="*/ 1818 w 203847"/>
                <a:gd name="connsiteY3" fmla="*/ 55323 h 132136"/>
                <a:gd name="connsiteX4" fmla="*/ 0 w 203847"/>
                <a:gd name="connsiteY4" fmla="*/ 54062 h 132136"/>
                <a:gd name="connsiteX5" fmla="*/ 0 w 203847"/>
                <a:gd name="connsiteY5" fmla="*/ 0 h 132136"/>
                <a:gd name="connsiteX6" fmla="*/ 203847 w 203847"/>
                <a:gd name="connsiteY6" fmla="*/ 0 h 132136"/>
                <a:gd name="connsiteX7" fmla="*/ 203847 w 203847"/>
                <a:gd name="connsiteY7" fmla="*/ 55323 h 132136"/>
                <a:gd name="connsiteX8" fmla="*/ 139055 w 203847"/>
                <a:gd name="connsiteY8" fmla="*/ 55323 h 132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32136">
                  <a:moveTo>
                    <a:pt x="112633" y="132136"/>
                  </a:moveTo>
                  <a:lnTo>
                    <a:pt x="56185" y="93008"/>
                  </a:lnTo>
                  <a:lnTo>
                    <a:pt x="69777" y="55323"/>
                  </a:lnTo>
                  <a:lnTo>
                    <a:pt x="1818" y="55323"/>
                  </a:lnTo>
                  <a:lnTo>
                    <a:pt x="0" y="54062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0" name="Forme libre : forme 669">
              <a:extLst>
                <a:ext uri="{FF2B5EF4-FFF2-40B4-BE49-F238E27FC236}">
                  <a16:creationId xmlns:a16="http://schemas.microsoft.com/office/drawing/2014/main" id="{794489F5-14EC-448F-A5B0-DA1D69E37C43}"/>
                </a:ext>
              </a:extLst>
            </p:cNvPr>
            <p:cNvSpPr/>
            <p:nvPr/>
          </p:nvSpPr>
          <p:spPr>
            <a:xfrm rot="8716295">
              <a:off x="3475628" y="-31540"/>
              <a:ext cx="98161" cy="118527"/>
            </a:xfrm>
            <a:custGeom>
              <a:avLst/>
              <a:gdLst>
                <a:gd name="connsiteX0" fmla="*/ 64855 w 64855"/>
                <a:gd name="connsiteY0" fmla="*/ 78311 h 78311"/>
                <a:gd name="connsiteX1" fmla="*/ 0 w 64855"/>
                <a:gd name="connsiteY1" fmla="*/ 33356 h 78311"/>
                <a:gd name="connsiteX2" fmla="*/ 64294 w 64855"/>
                <a:gd name="connsiteY2" fmla="*/ 0 h 78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855" h="78311">
                  <a:moveTo>
                    <a:pt x="64855" y="78311"/>
                  </a:moveTo>
                  <a:lnTo>
                    <a:pt x="0" y="33356"/>
                  </a:lnTo>
                  <a:lnTo>
                    <a:pt x="64294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1" name="Forme libre : forme 670">
              <a:extLst>
                <a:ext uri="{FF2B5EF4-FFF2-40B4-BE49-F238E27FC236}">
                  <a16:creationId xmlns:a16="http://schemas.microsoft.com/office/drawing/2014/main" id="{59D78A42-B1E7-4E9A-BC44-71C049BD09F4}"/>
                </a:ext>
              </a:extLst>
            </p:cNvPr>
            <p:cNvSpPr/>
            <p:nvPr/>
          </p:nvSpPr>
          <p:spPr>
            <a:xfrm rot="8716295">
              <a:off x="3412815" y="26999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2" name="Forme libre : forme 671">
              <a:extLst>
                <a:ext uri="{FF2B5EF4-FFF2-40B4-BE49-F238E27FC236}">
                  <a16:creationId xmlns:a16="http://schemas.microsoft.com/office/drawing/2014/main" id="{6913FE15-3938-4556-BC90-F97E03344291}"/>
                </a:ext>
              </a:extLst>
            </p:cNvPr>
            <p:cNvSpPr/>
            <p:nvPr/>
          </p:nvSpPr>
          <p:spPr>
            <a:xfrm rot="8716295">
              <a:off x="3966406" y="-35912"/>
              <a:ext cx="123741" cy="85774"/>
            </a:xfrm>
            <a:custGeom>
              <a:avLst/>
              <a:gdLst>
                <a:gd name="connsiteX0" fmla="*/ 81756 w 81756"/>
                <a:gd name="connsiteY0" fmla="*/ 56671 h 56671"/>
                <a:gd name="connsiteX1" fmla="*/ 0 w 81756"/>
                <a:gd name="connsiteY1" fmla="*/ 0 h 56671"/>
                <a:gd name="connsiteX2" fmla="*/ 24798 w 81756"/>
                <a:gd name="connsiteY2" fmla="*/ 0 h 56671"/>
                <a:gd name="connsiteX3" fmla="*/ 81756 w 81756"/>
                <a:gd name="connsiteY3" fmla="*/ 50123 h 56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1756" h="56671">
                  <a:moveTo>
                    <a:pt x="81756" y="56671"/>
                  </a:moveTo>
                  <a:lnTo>
                    <a:pt x="0" y="0"/>
                  </a:lnTo>
                  <a:lnTo>
                    <a:pt x="24798" y="0"/>
                  </a:lnTo>
                  <a:cubicBezTo>
                    <a:pt x="61707" y="0"/>
                    <a:pt x="81756" y="15949"/>
                    <a:pt x="81756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3" name="Forme libre : forme 672">
              <a:extLst>
                <a:ext uri="{FF2B5EF4-FFF2-40B4-BE49-F238E27FC236}">
                  <a16:creationId xmlns:a16="http://schemas.microsoft.com/office/drawing/2014/main" id="{5D62EEDF-CAA6-4BE4-A77A-50FBAB69143C}"/>
                </a:ext>
              </a:extLst>
            </p:cNvPr>
            <p:cNvSpPr/>
            <p:nvPr/>
          </p:nvSpPr>
          <p:spPr>
            <a:xfrm rot="8716295">
              <a:off x="4089146" y="-31808"/>
              <a:ext cx="332088" cy="148365"/>
            </a:xfrm>
            <a:custGeom>
              <a:avLst/>
              <a:gdLst>
                <a:gd name="connsiteX0" fmla="*/ 63575 w 219411"/>
                <a:gd name="connsiteY0" fmla="*/ 45493 h 98025"/>
                <a:gd name="connsiteX1" fmla="*/ 0 w 219411"/>
                <a:gd name="connsiteY1" fmla="*/ 1425 h 98025"/>
                <a:gd name="connsiteX2" fmla="*/ 63575 w 219411"/>
                <a:gd name="connsiteY2" fmla="*/ 1425 h 98025"/>
                <a:gd name="connsiteX3" fmla="*/ 88634 w 219411"/>
                <a:gd name="connsiteY3" fmla="*/ 62863 h 98025"/>
                <a:gd name="connsiteX4" fmla="*/ 73596 w 219411"/>
                <a:gd name="connsiteY4" fmla="*/ 52439 h 98025"/>
                <a:gd name="connsiteX5" fmla="*/ 75493 w 219411"/>
                <a:gd name="connsiteY5" fmla="*/ 47439 h 98025"/>
                <a:gd name="connsiteX6" fmla="*/ 112786 w 219411"/>
                <a:gd name="connsiteY6" fmla="*/ 5981 h 98025"/>
                <a:gd name="connsiteX7" fmla="*/ 144227 w 219411"/>
                <a:gd name="connsiteY7" fmla="*/ 57 h 98025"/>
                <a:gd name="connsiteX8" fmla="*/ 219411 w 219411"/>
                <a:gd name="connsiteY8" fmla="*/ 88456 h 98025"/>
                <a:gd name="connsiteX9" fmla="*/ 219411 w 219411"/>
                <a:gd name="connsiteY9" fmla="*/ 94380 h 98025"/>
                <a:gd name="connsiteX10" fmla="*/ 157441 w 219411"/>
                <a:gd name="connsiteY10" fmla="*/ 98025 h 98025"/>
                <a:gd name="connsiteX11" fmla="*/ 157441 w 219411"/>
                <a:gd name="connsiteY11" fmla="*/ 81621 h 98025"/>
                <a:gd name="connsiteX12" fmla="*/ 123722 w 219411"/>
                <a:gd name="connsiteY12" fmla="*/ 40156 h 98025"/>
                <a:gd name="connsiteX13" fmla="*/ 103089 w 219411"/>
                <a:gd name="connsiteY13" fmla="*/ 46969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9411" h="98025">
                  <a:moveTo>
                    <a:pt x="63575" y="45493"/>
                  </a:moveTo>
                  <a:lnTo>
                    <a:pt x="0" y="1425"/>
                  </a:lnTo>
                  <a:lnTo>
                    <a:pt x="63575" y="1425"/>
                  </a:lnTo>
                  <a:close/>
                  <a:moveTo>
                    <a:pt x="88634" y="62863"/>
                  </a:moveTo>
                  <a:lnTo>
                    <a:pt x="73596" y="52439"/>
                  </a:lnTo>
                  <a:lnTo>
                    <a:pt x="75493" y="47439"/>
                  </a:lnTo>
                  <a:cubicBezTo>
                    <a:pt x="85874" y="24008"/>
                    <a:pt x="96382" y="12816"/>
                    <a:pt x="112786" y="5981"/>
                  </a:cubicBezTo>
                  <a:cubicBezTo>
                    <a:pt x="122811" y="1880"/>
                    <a:pt x="133291" y="-398"/>
                    <a:pt x="144227" y="57"/>
                  </a:cubicBezTo>
                  <a:cubicBezTo>
                    <a:pt x="191160" y="-854"/>
                    <a:pt x="219411" y="31954"/>
                    <a:pt x="219411" y="88456"/>
                  </a:cubicBezTo>
                  <a:lnTo>
                    <a:pt x="219411" y="94380"/>
                  </a:lnTo>
                  <a:lnTo>
                    <a:pt x="157441" y="98025"/>
                  </a:lnTo>
                  <a:lnTo>
                    <a:pt x="157441" y="81621"/>
                  </a:lnTo>
                  <a:cubicBezTo>
                    <a:pt x="157441" y="57016"/>
                    <a:pt x="143316" y="40156"/>
                    <a:pt x="123722" y="40156"/>
                  </a:cubicBezTo>
                  <a:cubicBezTo>
                    <a:pt x="116431" y="40156"/>
                    <a:pt x="109454" y="42577"/>
                    <a:pt x="103089" y="4696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4" name="Forme libre : forme 673">
              <a:extLst>
                <a:ext uri="{FF2B5EF4-FFF2-40B4-BE49-F238E27FC236}">
                  <a16:creationId xmlns:a16="http://schemas.microsoft.com/office/drawing/2014/main" id="{204312F2-EA49-4439-8CE2-22C6633888E5}"/>
                </a:ext>
              </a:extLst>
            </p:cNvPr>
            <p:cNvSpPr/>
            <p:nvPr/>
          </p:nvSpPr>
          <p:spPr>
            <a:xfrm rot="8716295">
              <a:off x="3850379" y="-108618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5" name="Forme libre : forme 674">
              <a:extLst>
                <a:ext uri="{FF2B5EF4-FFF2-40B4-BE49-F238E27FC236}">
                  <a16:creationId xmlns:a16="http://schemas.microsoft.com/office/drawing/2014/main" id="{AE25CBF0-6DB2-42A0-99B2-802E91B6C3FD}"/>
                </a:ext>
              </a:extLst>
            </p:cNvPr>
            <p:cNvSpPr/>
            <p:nvPr/>
          </p:nvSpPr>
          <p:spPr>
            <a:xfrm rot="7484129">
              <a:off x="4009196" y="18100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6" name="Forme libre : forme 675">
              <a:extLst>
                <a:ext uri="{FF2B5EF4-FFF2-40B4-BE49-F238E27FC236}">
                  <a16:creationId xmlns:a16="http://schemas.microsoft.com/office/drawing/2014/main" id="{B5E963F4-D065-4C0F-BC9C-E6E170542019}"/>
                </a:ext>
              </a:extLst>
            </p:cNvPr>
            <p:cNvSpPr/>
            <p:nvPr/>
          </p:nvSpPr>
          <p:spPr>
            <a:xfrm rot="13089394">
              <a:off x="4167846" y="130348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7" name="Forme libre : forme 676">
              <a:extLst>
                <a:ext uri="{FF2B5EF4-FFF2-40B4-BE49-F238E27FC236}">
                  <a16:creationId xmlns:a16="http://schemas.microsoft.com/office/drawing/2014/main" id="{76D605A8-75FB-413E-9850-E731D16B25B6}"/>
                </a:ext>
              </a:extLst>
            </p:cNvPr>
            <p:cNvSpPr/>
            <p:nvPr/>
          </p:nvSpPr>
          <p:spPr>
            <a:xfrm rot="8716295">
              <a:off x="4488057" y="-10608"/>
              <a:ext cx="169580" cy="136116"/>
            </a:xfrm>
            <a:custGeom>
              <a:avLst/>
              <a:gdLst>
                <a:gd name="connsiteX0" fmla="*/ 62355 w 112042"/>
                <a:gd name="connsiteY0" fmla="*/ 89932 h 89932"/>
                <a:gd name="connsiteX1" fmla="*/ 0 w 112042"/>
                <a:gd name="connsiteY1" fmla="*/ 46710 h 89932"/>
                <a:gd name="connsiteX2" fmla="*/ 14231 w 112042"/>
                <a:gd name="connsiteY2" fmla="*/ 33321 h 89932"/>
                <a:gd name="connsiteX3" fmla="*/ 78722 w 112042"/>
                <a:gd name="connsiteY3" fmla="*/ 0 h 89932"/>
                <a:gd name="connsiteX4" fmla="*/ 112042 w 112042"/>
                <a:gd name="connsiteY4" fmla="*/ 39770 h 89932"/>
                <a:gd name="connsiteX5" fmla="*/ 80872 w 112042"/>
                <a:gd name="connsiteY5" fmla="*/ 81689 h 89932"/>
                <a:gd name="connsiteX6" fmla="*/ 81408 w 112042"/>
                <a:gd name="connsiteY6" fmla="*/ 81689 h 89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2042" h="89932">
                  <a:moveTo>
                    <a:pt x="62355" y="89932"/>
                  </a:moveTo>
                  <a:lnTo>
                    <a:pt x="0" y="46710"/>
                  </a:lnTo>
                  <a:lnTo>
                    <a:pt x="14231" y="33321"/>
                  </a:lnTo>
                  <a:cubicBezTo>
                    <a:pt x="30353" y="14511"/>
                    <a:pt x="53462" y="2687"/>
                    <a:pt x="78722" y="0"/>
                  </a:cubicBezTo>
                  <a:cubicBezTo>
                    <a:pt x="104518" y="0"/>
                    <a:pt x="112042" y="22572"/>
                    <a:pt x="112042" y="39770"/>
                  </a:cubicBezTo>
                  <a:cubicBezTo>
                    <a:pt x="110429" y="58580"/>
                    <a:pt x="98068" y="74165"/>
                    <a:pt x="80872" y="81689"/>
                  </a:cubicBezTo>
                  <a:lnTo>
                    <a:pt x="81408" y="816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8" name="Forme libre : forme 677">
              <a:extLst>
                <a:ext uri="{FF2B5EF4-FFF2-40B4-BE49-F238E27FC236}">
                  <a16:creationId xmlns:a16="http://schemas.microsoft.com/office/drawing/2014/main" id="{4F3B7A35-9F70-4C60-A362-537BA842EBF8}"/>
                </a:ext>
              </a:extLst>
            </p:cNvPr>
            <p:cNvSpPr/>
            <p:nvPr/>
          </p:nvSpPr>
          <p:spPr>
            <a:xfrm rot="8716295">
              <a:off x="3111565" y="373623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9" name="Forme libre : forme 678">
              <a:extLst>
                <a:ext uri="{FF2B5EF4-FFF2-40B4-BE49-F238E27FC236}">
                  <a16:creationId xmlns:a16="http://schemas.microsoft.com/office/drawing/2014/main" id="{84E0A451-4FD1-411C-AC65-26E7DCFC5AE7}"/>
                </a:ext>
              </a:extLst>
            </p:cNvPr>
            <p:cNvSpPr/>
            <p:nvPr/>
          </p:nvSpPr>
          <p:spPr>
            <a:xfrm rot="8716295">
              <a:off x="3246864" y="378049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0" name="Forme libre : forme 679">
              <a:extLst>
                <a:ext uri="{FF2B5EF4-FFF2-40B4-BE49-F238E27FC236}">
                  <a16:creationId xmlns:a16="http://schemas.microsoft.com/office/drawing/2014/main" id="{ED63A363-D142-4852-ADC9-3EB78E55F392}"/>
                </a:ext>
              </a:extLst>
            </p:cNvPr>
            <p:cNvSpPr/>
            <p:nvPr/>
          </p:nvSpPr>
          <p:spPr>
            <a:xfrm rot="8716295">
              <a:off x="3178981" y="3649901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1" name="Forme libre : forme 680">
              <a:extLst>
                <a:ext uri="{FF2B5EF4-FFF2-40B4-BE49-F238E27FC236}">
                  <a16:creationId xmlns:a16="http://schemas.microsoft.com/office/drawing/2014/main" id="{F107AA4D-9993-4946-BCBA-1D03F3965881}"/>
                </a:ext>
              </a:extLst>
            </p:cNvPr>
            <p:cNvSpPr/>
            <p:nvPr/>
          </p:nvSpPr>
          <p:spPr>
            <a:xfrm rot="8716295">
              <a:off x="2941694" y="387024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2" name="Forme libre : forme 681">
              <a:extLst>
                <a:ext uri="{FF2B5EF4-FFF2-40B4-BE49-F238E27FC236}">
                  <a16:creationId xmlns:a16="http://schemas.microsoft.com/office/drawing/2014/main" id="{65B10BB0-E676-4F90-9054-FB79523A1724}"/>
                </a:ext>
              </a:extLst>
            </p:cNvPr>
            <p:cNvSpPr/>
            <p:nvPr/>
          </p:nvSpPr>
          <p:spPr>
            <a:xfrm rot="8716295">
              <a:off x="2752648" y="355441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3" name="Forme libre : forme 682">
              <a:extLst>
                <a:ext uri="{FF2B5EF4-FFF2-40B4-BE49-F238E27FC236}">
                  <a16:creationId xmlns:a16="http://schemas.microsoft.com/office/drawing/2014/main" id="{DCBB16BD-D124-496F-BCB6-D9884BAFBA8A}"/>
                </a:ext>
              </a:extLst>
            </p:cNvPr>
            <p:cNvSpPr/>
            <p:nvPr/>
          </p:nvSpPr>
          <p:spPr>
            <a:xfrm rot="8716295">
              <a:off x="2734407" y="334436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4" name="Forme libre : forme 683">
              <a:extLst>
                <a:ext uri="{FF2B5EF4-FFF2-40B4-BE49-F238E27FC236}">
                  <a16:creationId xmlns:a16="http://schemas.microsoft.com/office/drawing/2014/main" id="{BA7B781B-C49E-49C3-853F-E110F097EADD}"/>
                </a:ext>
              </a:extLst>
            </p:cNvPr>
            <p:cNvSpPr/>
            <p:nvPr/>
          </p:nvSpPr>
          <p:spPr>
            <a:xfrm rot="8716295">
              <a:off x="3078183" y="393222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5" name="Forme libre : forme 684">
              <a:extLst>
                <a:ext uri="{FF2B5EF4-FFF2-40B4-BE49-F238E27FC236}">
                  <a16:creationId xmlns:a16="http://schemas.microsoft.com/office/drawing/2014/main" id="{1E08FA39-4108-445F-B2C5-D79E17CF02D4}"/>
                </a:ext>
              </a:extLst>
            </p:cNvPr>
            <p:cNvSpPr/>
            <p:nvPr/>
          </p:nvSpPr>
          <p:spPr>
            <a:xfrm rot="8716295">
              <a:off x="3549129" y="335761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6" name="Forme libre : forme 685">
              <a:extLst>
                <a:ext uri="{FF2B5EF4-FFF2-40B4-BE49-F238E27FC236}">
                  <a16:creationId xmlns:a16="http://schemas.microsoft.com/office/drawing/2014/main" id="{2DFB8EEE-C6EB-4042-B3C7-6D64C618E03F}"/>
                </a:ext>
              </a:extLst>
            </p:cNvPr>
            <p:cNvSpPr/>
            <p:nvPr/>
          </p:nvSpPr>
          <p:spPr>
            <a:xfrm rot="8716295">
              <a:off x="3684428" y="340187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7" name="Forme libre : forme 686">
              <a:extLst>
                <a:ext uri="{FF2B5EF4-FFF2-40B4-BE49-F238E27FC236}">
                  <a16:creationId xmlns:a16="http://schemas.microsoft.com/office/drawing/2014/main" id="{0F7B5112-37C8-4C58-BE24-BE46857F1D99}"/>
                </a:ext>
              </a:extLst>
            </p:cNvPr>
            <p:cNvSpPr/>
            <p:nvPr/>
          </p:nvSpPr>
          <p:spPr>
            <a:xfrm rot="8716295">
              <a:off x="3379258" y="349163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8" name="Forme libre : forme 687">
              <a:extLst>
                <a:ext uri="{FF2B5EF4-FFF2-40B4-BE49-F238E27FC236}">
                  <a16:creationId xmlns:a16="http://schemas.microsoft.com/office/drawing/2014/main" id="{0562A8EB-34BD-4915-997B-9EADBCB5D5E2}"/>
                </a:ext>
              </a:extLst>
            </p:cNvPr>
            <p:cNvSpPr/>
            <p:nvPr/>
          </p:nvSpPr>
          <p:spPr>
            <a:xfrm rot="8716295">
              <a:off x="3190213" y="317579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9" name="Forme libre : forme 688">
              <a:extLst>
                <a:ext uri="{FF2B5EF4-FFF2-40B4-BE49-F238E27FC236}">
                  <a16:creationId xmlns:a16="http://schemas.microsoft.com/office/drawing/2014/main" id="{FD5490B4-5CA1-4323-8DA1-3A8268719143}"/>
                </a:ext>
              </a:extLst>
            </p:cNvPr>
            <p:cNvSpPr/>
            <p:nvPr/>
          </p:nvSpPr>
          <p:spPr>
            <a:xfrm rot="8716295">
              <a:off x="3515746" y="3553613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0" name="Forme libre : forme 689">
              <a:extLst>
                <a:ext uri="{FF2B5EF4-FFF2-40B4-BE49-F238E27FC236}">
                  <a16:creationId xmlns:a16="http://schemas.microsoft.com/office/drawing/2014/main" id="{8D9B2EB7-9E8D-4A25-8D7C-BFC302DA6A1B}"/>
                </a:ext>
              </a:extLst>
            </p:cNvPr>
            <p:cNvSpPr/>
            <p:nvPr/>
          </p:nvSpPr>
          <p:spPr>
            <a:xfrm rot="8716295">
              <a:off x="3150300" y="332718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1" name="Forme libre : forme 690">
              <a:extLst>
                <a:ext uri="{FF2B5EF4-FFF2-40B4-BE49-F238E27FC236}">
                  <a16:creationId xmlns:a16="http://schemas.microsoft.com/office/drawing/2014/main" id="{3E0E55FC-47BD-40C5-B922-D3702F12DF26}"/>
                </a:ext>
              </a:extLst>
            </p:cNvPr>
            <p:cNvSpPr/>
            <p:nvPr/>
          </p:nvSpPr>
          <p:spPr>
            <a:xfrm rot="7484129">
              <a:off x="3674564" y="38432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2" name="Forme libre : forme 691">
              <a:extLst>
                <a:ext uri="{FF2B5EF4-FFF2-40B4-BE49-F238E27FC236}">
                  <a16:creationId xmlns:a16="http://schemas.microsoft.com/office/drawing/2014/main" id="{04819A13-0F26-4906-BEC9-BFAA857FEB52}"/>
                </a:ext>
              </a:extLst>
            </p:cNvPr>
            <p:cNvSpPr/>
            <p:nvPr/>
          </p:nvSpPr>
          <p:spPr>
            <a:xfrm rot="13089394">
              <a:off x="3833214" y="3792578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3" name="Forme libre : forme 692">
              <a:extLst>
                <a:ext uri="{FF2B5EF4-FFF2-40B4-BE49-F238E27FC236}">
                  <a16:creationId xmlns:a16="http://schemas.microsoft.com/office/drawing/2014/main" id="{7099CE46-9678-40AB-BC7E-D4C599B2EC77}"/>
                </a:ext>
              </a:extLst>
            </p:cNvPr>
            <p:cNvSpPr/>
            <p:nvPr/>
          </p:nvSpPr>
          <p:spPr>
            <a:xfrm rot="8716295">
              <a:off x="4114105" y="3502461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4" name="Forme libre : forme 693">
              <a:extLst>
                <a:ext uri="{FF2B5EF4-FFF2-40B4-BE49-F238E27FC236}">
                  <a16:creationId xmlns:a16="http://schemas.microsoft.com/office/drawing/2014/main" id="{930FE6A8-BA84-4D85-9462-1369A3BC2987}"/>
                </a:ext>
              </a:extLst>
            </p:cNvPr>
            <p:cNvSpPr/>
            <p:nvPr/>
          </p:nvSpPr>
          <p:spPr>
            <a:xfrm rot="8716295">
              <a:off x="4035696" y="334566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5" name="Forme libre : forme 694">
              <a:extLst>
                <a:ext uri="{FF2B5EF4-FFF2-40B4-BE49-F238E27FC236}">
                  <a16:creationId xmlns:a16="http://schemas.microsoft.com/office/drawing/2014/main" id="{6925581E-98AA-485C-AF67-05ACEFEFDF13}"/>
                </a:ext>
              </a:extLst>
            </p:cNvPr>
            <p:cNvSpPr/>
            <p:nvPr/>
          </p:nvSpPr>
          <p:spPr>
            <a:xfrm rot="8716295">
              <a:off x="3667532" y="339140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6" name="Forme libre : forme 695">
              <a:extLst>
                <a:ext uri="{FF2B5EF4-FFF2-40B4-BE49-F238E27FC236}">
                  <a16:creationId xmlns:a16="http://schemas.microsoft.com/office/drawing/2014/main" id="{59299429-87C0-470E-94D0-1EBBBD875A42}"/>
                </a:ext>
              </a:extLst>
            </p:cNvPr>
            <p:cNvSpPr/>
            <p:nvPr/>
          </p:nvSpPr>
          <p:spPr>
            <a:xfrm rot="8716295">
              <a:off x="3936113" y="315039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7" name="Forme libre : forme 696">
              <a:extLst>
                <a:ext uri="{FF2B5EF4-FFF2-40B4-BE49-F238E27FC236}">
                  <a16:creationId xmlns:a16="http://schemas.microsoft.com/office/drawing/2014/main" id="{20993448-B66A-4395-B0A3-8C600524A87B}"/>
                </a:ext>
              </a:extLst>
            </p:cNvPr>
            <p:cNvSpPr/>
            <p:nvPr/>
          </p:nvSpPr>
          <p:spPr>
            <a:xfrm rot="8716295">
              <a:off x="3449338" y="4734714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8" name="Forme libre : forme 697">
              <a:extLst>
                <a:ext uri="{FF2B5EF4-FFF2-40B4-BE49-F238E27FC236}">
                  <a16:creationId xmlns:a16="http://schemas.microsoft.com/office/drawing/2014/main" id="{5F68C16D-85E0-48B4-ABCD-457241BCE8FC}"/>
                </a:ext>
              </a:extLst>
            </p:cNvPr>
            <p:cNvSpPr/>
            <p:nvPr/>
          </p:nvSpPr>
          <p:spPr>
            <a:xfrm rot="8716295">
              <a:off x="3580975" y="4773824"/>
              <a:ext cx="394489" cy="383455"/>
            </a:xfrm>
            <a:custGeom>
              <a:avLst/>
              <a:gdLst>
                <a:gd name="connsiteX0" fmla="*/ 77932 w 394489"/>
                <a:gd name="connsiteY0" fmla="*/ 383455 h 383455"/>
                <a:gd name="connsiteX1" fmla="*/ 77932 w 394489"/>
                <a:gd name="connsiteY1" fmla="*/ 66898 h 383455"/>
                <a:gd name="connsiteX2" fmla="*/ 0 w 394489"/>
                <a:gd name="connsiteY2" fmla="*/ 66898 h 383455"/>
                <a:gd name="connsiteX3" fmla="*/ 0 w 394489"/>
                <a:gd name="connsiteY3" fmla="*/ 0 h 383455"/>
                <a:gd name="connsiteX4" fmla="*/ 158623 w 394489"/>
                <a:gd name="connsiteY4" fmla="*/ 0 h 383455"/>
                <a:gd name="connsiteX5" fmla="*/ 158623 w 394489"/>
                <a:gd name="connsiteY5" fmla="*/ 111726 h 383455"/>
                <a:gd name="connsiteX6" fmla="*/ 160692 w 394489"/>
                <a:gd name="connsiteY6" fmla="*/ 111726 h 383455"/>
                <a:gd name="connsiteX7" fmla="*/ 233107 w 394489"/>
                <a:gd name="connsiteY7" fmla="*/ 6897 h 383455"/>
                <a:gd name="connsiteX8" fmla="*/ 240854 w 394489"/>
                <a:gd name="connsiteY8" fmla="*/ 5438 h 383455"/>
                <a:gd name="connsiteX9" fmla="*/ 391511 w 394489"/>
                <a:gd name="connsiteY9" fmla="*/ 109868 h 383455"/>
                <a:gd name="connsiteX10" fmla="*/ 394489 w 394489"/>
                <a:gd name="connsiteY10" fmla="*/ 131726 h 383455"/>
                <a:gd name="connsiteX11" fmla="*/ 394489 w 394489"/>
                <a:gd name="connsiteY11" fmla="*/ 140692 h 383455"/>
                <a:gd name="connsiteX12" fmla="*/ 300695 w 394489"/>
                <a:gd name="connsiteY12" fmla="*/ 146210 h 383455"/>
                <a:gd name="connsiteX13" fmla="*/ 300695 w 394489"/>
                <a:gd name="connsiteY13" fmla="*/ 121382 h 383455"/>
                <a:gd name="connsiteX14" fmla="*/ 249659 w 394489"/>
                <a:gd name="connsiteY14" fmla="*/ 58622 h 383455"/>
                <a:gd name="connsiteX15" fmla="*/ 168969 w 394489"/>
                <a:gd name="connsiteY15" fmla="*/ 191038 h 383455"/>
                <a:gd name="connsiteX16" fmla="*/ 168969 w 394489"/>
                <a:gd name="connsiteY16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4489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82762" y="46208"/>
                    <a:pt x="200003" y="20690"/>
                    <a:pt x="233107" y="6897"/>
                  </a:cubicBezTo>
                  <a:lnTo>
                    <a:pt x="240854" y="5438"/>
                  </a:lnTo>
                  <a:lnTo>
                    <a:pt x="391511" y="109868"/>
                  </a:lnTo>
                  <a:lnTo>
                    <a:pt x="394489" y="131726"/>
                  </a:lnTo>
                  <a:lnTo>
                    <a:pt x="394489" y="140692"/>
                  </a:lnTo>
                  <a:lnTo>
                    <a:pt x="300695" y="146210"/>
                  </a:lnTo>
                  <a:lnTo>
                    <a:pt x="300695" y="121382"/>
                  </a:lnTo>
                  <a:cubicBezTo>
                    <a:pt x="300695" y="84140"/>
                    <a:pt x="279315" y="58621"/>
                    <a:pt x="249659" y="58622"/>
                  </a:cubicBezTo>
                  <a:cubicBezTo>
                    <a:pt x="205521" y="58622"/>
                    <a:pt x="168969" y="117244"/>
                    <a:pt x="168969" y="191038"/>
                  </a:cubicBez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9" name="Forme libre : forme 698">
              <a:extLst>
                <a:ext uri="{FF2B5EF4-FFF2-40B4-BE49-F238E27FC236}">
                  <a16:creationId xmlns:a16="http://schemas.microsoft.com/office/drawing/2014/main" id="{DDFDC7AC-7825-4F2D-8BC2-D122551871CE}"/>
                </a:ext>
              </a:extLst>
            </p:cNvPr>
            <p:cNvSpPr/>
            <p:nvPr/>
          </p:nvSpPr>
          <p:spPr>
            <a:xfrm rot="8716295">
              <a:off x="3516754" y="4648384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0" name="Forme libre : forme 699">
              <a:extLst>
                <a:ext uri="{FF2B5EF4-FFF2-40B4-BE49-F238E27FC236}">
                  <a16:creationId xmlns:a16="http://schemas.microsoft.com/office/drawing/2014/main" id="{9E124BC4-0A34-43AF-B268-C015D1E183F5}"/>
                </a:ext>
              </a:extLst>
            </p:cNvPr>
            <p:cNvSpPr/>
            <p:nvPr/>
          </p:nvSpPr>
          <p:spPr>
            <a:xfrm rot="8716295">
              <a:off x="3279467" y="486872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1" name="Forme libre : forme 700">
              <a:extLst>
                <a:ext uri="{FF2B5EF4-FFF2-40B4-BE49-F238E27FC236}">
                  <a16:creationId xmlns:a16="http://schemas.microsoft.com/office/drawing/2014/main" id="{BD9217FD-3B70-4A3D-8050-FAE9AD88FA69}"/>
                </a:ext>
              </a:extLst>
            </p:cNvPr>
            <p:cNvSpPr/>
            <p:nvPr/>
          </p:nvSpPr>
          <p:spPr>
            <a:xfrm rot="8716295">
              <a:off x="3090421" y="455289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2" name="Forme libre : forme 701">
              <a:extLst>
                <a:ext uri="{FF2B5EF4-FFF2-40B4-BE49-F238E27FC236}">
                  <a16:creationId xmlns:a16="http://schemas.microsoft.com/office/drawing/2014/main" id="{82574961-DC75-453C-B1E8-53CAF357269C}"/>
                </a:ext>
              </a:extLst>
            </p:cNvPr>
            <p:cNvSpPr/>
            <p:nvPr/>
          </p:nvSpPr>
          <p:spPr>
            <a:xfrm rot="8716295">
              <a:off x="3072180" y="434284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3" name="Forme libre : forme 702">
              <a:extLst>
                <a:ext uri="{FF2B5EF4-FFF2-40B4-BE49-F238E27FC236}">
                  <a16:creationId xmlns:a16="http://schemas.microsoft.com/office/drawing/2014/main" id="{F9FF2627-55AC-40EC-B2C7-E4BB0FC2841E}"/>
                </a:ext>
              </a:extLst>
            </p:cNvPr>
            <p:cNvSpPr/>
            <p:nvPr/>
          </p:nvSpPr>
          <p:spPr>
            <a:xfrm rot="8716295">
              <a:off x="3388475" y="4959102"/>
              <a:ext cx="91035" cy="230894"/>
            </a:xfrm>
            <a:custGeom>
              <a:avLst/>
              <a:gdLst>
                <a:gd name="connsiteX0" fmla="*/ 91035 w 91035"/>
                <a:gd name="connsiteY0" fmla="*/ 230894 h 230894"/>
                <a:gd name="connsiteX1" fmla="*/ 0 w 91035"/>
                <a:gd name="connsiteY1" fmla="*/ 143306 h 230894"/>
                <a:gd name="connsiteX2" fmla="*/ 0 w 91035"/>
                <a:gd name="connsiteY2" fmla="*/ 0 h 230894"/>
                <a:gd name="connsiteX3" fmla="*/ 91035 w 91035"/>
                <a:gd name="connsiteY3" fmla="*/ 63103 h 230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230894">
                  <a:moveTo>
                    <a:pt x="91035" y="230894"/>
                  </a:moveTo>
                  <a:lnTo>
                    <a:pt x="0" y="143306"/>
                  </a:lnTo>
                  <a:lnTo>
                    <a:pt x="0" y="0"/>
                  </a:lnTo>
                  <a:lnTo>
                    <a:pt x="91035" y="631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4" name="Forme libre : forme 703">
              <a:extLst>
                <a:ext uri="{FF2B5EF4-FFF2-40B4-BE49-F238E27FC236}">
                  <a16:creationId xmlns:a16="http://schemas.microsoft.com/office/drawing/2014/main" id="{E8EDEFFE-1CCB-4594-BF4D-83E9CF1C96A7}"/>
                </a:ext>
              </a:extLst>
            </p:cNvPr>
            <p:cNvSpPr/>
            <p:nvPr/>
          </p:nvSpPr>
          <p:spPr>
            <a:xfrm rot="8716295">
              <a:off x="3886902" y="435609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5" name="Forme libre : forme 704">
              <a:extLst>
                <a:ext uri="{FF2B5EF4-FFF2-40B4-BE49-F238E27FC236}">
                  <a16:creationId xmlns:a16="http://schemas.microsoft.com/office/drawing/2014/main" id="{55A94951-8E4E-4CA9-96D6-1FE7A4C337C6}"/>
                </a:ext>
              </a:extLst>
            </p:cNvPr>
            <p:cNvSpPr/>
            <p:nvPr/>
          </p:nvSpPr>
          <p:spPr>
            <a:xfrm rot="8716295">
              <a:off x="4022201" y="440035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6" name="Forme libre : forme 705">
              <a:extLst>
                <a:ext uri="{FF2B5EF4-FFF2-40B4-BE49-F238E27FC236}">
                  <a16:creationId xmlns:a16="http://schemas.microsoft.com/office/drawing/2014/main" id="{0D6FF806-864D-4C38-93A0-F9147C634CAC}"/>
                </a:ext>
              </a:extLst>
            </p:cNvPr>
            <p:cNvSpPr/>
            <p:nvPr/>
          </p:nvSpPr>
          <p:spPr>
            <a:xfrm rot="8716295">
              <a:off x="3717031" y="44901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7" name="Forme libre : forme 706">
              <a:extLst>
                <a:ext uri="{FF2B5EF4-FFF2-40B4-BE49-F238E27FC236}">
                  <a16:creationId xmlns:a16="http://schemas.microsoft.com/office/drawing/2014/main" id="{FBC6206E-0C5C-4787-A24D-53111B4AE1BD}"/>
                </a:ext>
              </a:extLst>
            </p:cNvPr>
            <p:cNvSpPr/>
            <p:nvPr/>
          </p:nvSpPr>
          <p:spPr>
            <a:xfrm rot="8716295">
              <a:off x="3527986" y="417427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8" name="Forme libre : forme 707">
              <a:extLst>
                <a:ext uri="{FF2B5EF4-FFF2-40B4-BE49-F238E27FC236}">
                  <a16:creationId xmlns:a16="http://schemas.microsoft.com/office/drawing/2014/main" id="{98187825-2EC9-4F80-8FFB-DB7FF0C2F09C}"/>
                </a:ext>
              </a:extLst>
            </p:cNvPr>
            <p:cNvSpPr/>
            <p:nvPr/>
          </p:nvSpPr>
          <p:spPr>
            <a:xfrm rot="8716295">
              <a:off x="3853519" y="4552096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9" name="Forme libre : forme 708">
              <a:extLst>
                <a:ext uri="{FF2B5EF4-FFF2-40B4-BE49-F238E27FC236}">
                  <a16:creationId xmlns:a16="http://schemas.microsoft.com/office/drawing/2014/main" id="{AAB4B000-0E9F-461C-AFEB-00262B0F810F}"/>
                </a:ext>
              </a:extLst>
            </p:cNvPr>
            <p:cNvSpPr/>
            <p:nvPr/>
          </p:nvSpPr>
          <p:spPr>
            <a:xfrm rot="8716295">
              <a:off x="3488073" y="432567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0" name="Forme libre : forme 709">
              <a:extLst>
                <a:ext uri="{FF2B5EF4-FFF2-40B4-BE49-F238E27FC236}">
                  <a16:creationId xmlns:a16="http://schemas.microsoft.com/office/drawing/2014/main" id="{9A1C13DA-0F62-4833-98DE-AA495BB59885}"/>
                </a:ext>
              </a:extLst>
            </p:cNvPr>
            <p:cNvSpPr/>
            <p:nvPr/>
          </p:nvSpPr>
          <p:spPr>
            <a:xfrm rot="7484129">
              <a:off x="4016569" y="4837237"/>
              <a:ext cx="295167" cy="296463"/>
            </a:xfrm>
            <a:custGeom>
              <a:avLst/>
              <a:gdLst>
                <a:gd name="connsiteX0" fmla="*/ 137293 w 295167"/>
                <a:gd name="connsiteY0" fmla="*/ 296463 h 296463"/>
                <a:gd name="connsiteX1" fmla="*/ 72418 w 295167"/>
                <a:gd name="connsiteY1" fmla="*/ 175766 h 296463"/>
                <a:gd name="connsiteX2" fmla="*/ 105610 w 295167"/>
                <a:gd name="connsiteY2" fmla="*/ 83734 h 296463"/>
                <a:gd name="connsiteX3" fmla="*/ 0 w 295167"/>
                <a:gd name="connsiteY3" fmla="*/ 83734 h 296463"/>
                <a:gd name="connsiteX4" fmla="*/ 0 w 295167"/>
                <a:gd name="connsiteY4" fmla="*/ 0 h 296463"/>
                <a:gd name="connsiteX5" fmla="*/ 237110 w 295167"/>
                <a:gd name="connsiteY5" fmla="*/ 0 h 296463"/>
                <a:gd name="connsiteX6" fmla="*/ 295167 w 295167"/>
                <a:gd name="connsiteY6" fmla="*/ 83734 h 296463"/>
                <a:gd name="connsiteX7" fmla="*/ 210466 w 295167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5167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37110" y="0"/>
                  </a:lnTo>
                  <a:lnTo>
                    <a:pt x="295167" y="83734"/>
                  </a:lnTo>
                  <a:lnTo>
                    <a:pt x="210466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1" name="Forme libre : forme 710">
              <a:extLst>
                <a:ext uri="{FF2B5EF4-FFF2-40B4-BE49-F238E27FC236}">
                  <a16:creationId xmlns:a16="http://schemas.microsoft.com/office/drawing/2014/main" id="{69127492-EB65-429C-9E8A-EB2855F4256A}"/>
                </a:ext>
              </a:extLst>
            </p:cNvPr>
            <p:cNvSpPr/>
            <p:nvPr/>
          </p:nvSpPr>
          <p:spPr>
            <a:xfrm rot="13089394">
              <a:off x="4226447" y="4804985"/>
              <a:ext cx="412568" cy="314062"/>
            </a:xfrm>
            <a:custGeom>
              <a:avLst/>
              <a:gdLst>
                <a:gd name="connsiteX0" fmla="*/ 412568 w 412568"/>
                <a:gd name="connsiteY0" fmla="*/ 206915 h 314062"/>
                <a:gd name="connsiteX1" fmla="*/ 138636 w 412568"/>
                <a:gd name="connsiteY1" fmla="*/ 313815 h 314062"/>
                <a:gd name="connsiteX2" fmla="*/ 35911 w 412568"/>
                <a:gd name="connsiteY2" fmla="*/ 272057 h 314062"/>
                <a:gd name="connsiteX3" fmla="*/ 0 w 412568"/>
                <a:gd name="connsiteY3" fmla="*/ 128410 h 314062"/>
                <a:gd name="connsiteX4" fmla="*/ 0 w 412568"/>
                <a:gd name="connsiteY4" fmla="*/ 88308 h 314062"/>
                <a:gd name="connsiteX5" fmla="*/ 112395 w 412568"/>
                <a:gd name="connsiteY5" fmla="*/ 0 h 314062"/>
                <a:gd name="connsiteX6" fmla="*/ 112747 w 412568"/>
                <a:gd name="connsiteY6" fmla="*/ 49070 h 314062"/>
                <a:gd name="connsiteX7" fmla="*/ 132789 w 412568"/>
                <a:gd name="connsiteY7" fmla="*/ 187707 h 314062"/>
                <a:gd name="connsiteX8" fmla="*/ 233008 w 412568"/>
                <a:gd name="connsiteY8" fmla="*/ 242827 h 314062"/>
                <a:gd name="connsiteX9" fmla="*/ 308172 w 412568"/>
                <a:gd name="connsiteY9" fmla="*/ 229465 h 314062"/>
                <a:gd name="connsiteX10" fmla="*/ 410898 w 412568"/>
                <a:gd name="connsiteY10" fmla="*/ 187707 h 314062"/>
                <a:gd name="connsiteX11" fmla="*/ 412568 w 412568"/>
                <a:gd name="connsiteY11" fmla="*/ 198563 h 314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2568" h="314062">
                  <a:moveTo>
                    <a:pt x="412568" y="206915"/>
                  </a:moveTo>
                  <a:cubicBezTo>
                    <a:pt x="324041" y="282914"/>
                    <a:pt x="207954" y="309640"/>
                    <a:pt x="138636" y="313815"/>
                  </a:cubicBezTo>
                  <a:cubicBezTo>
                    <a:pt x="100219" y="316321"/>
                    <a:pt x="62637" y="299618"/>
                    <a:pt x="35911" y="272057"/>
                  </a:cubicBezTo>
                  <a:cubicBezTo>
                    <a:pt x="7516" y="244497"/>
                    <a:pt x="0" y="196893"/>
                    <a:pt x="0" y="128410"/>
                  </a:cubicBezTo>
                  <a:lnTo>
                    <a:pt x="0" y="88308"/>
                  </a:lnTo>
                  <a:lnTo>
                    <a:pt x="112395" y="0"/>
                  </a:lnTo>
                  <a:lnTo>
                    <a:pt x="112747" y="49070"/>
                  </a:lnTo>
                  <a:cubicBezTo>
                    <a:pt x="110241" y="95839"/>
                    <a:pt x="117756" y="143443"/>
                    <a:pt x="132789" y="187707"/>
                  </a:cubicBezTo>
                  <a:cubicBezTo>
                    <a:pt x="146153" y="224453"/>
                    <a:pt x="180394" y="242827"/>
                    <a:pt x="233008" y="242827"/>
                  </a:cubicBezTo>
                  <a:cubicBezTo>
                    <a:pt x="258899" y="241992"/>
                    <a:pt x="283953" y="236980"/>
                    <a:pt x="308172" y="229465"/>
                  </a:cubicBezTo>
                  <a:cubicBezTo>
                    <a:pt x="343249" y="218607"/>
                    <a:pt x="377491" y="204410"/>
                    <a:pt x="410898" y="187707"/>
                  </a:cubicBezTo>
                  <a:cubicBezTo>
                    <a:pt x="411732" y="191047"/>
                    <a:pt x="412568" y="195223"/>
                    <a:pt x="412568" y="1985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2" name="Forme libre : forme 711">
              <a:extLst>
                <a:ext uri="{FF2B5EF4-FFF2-40B4-BE49-F238E27FC236}">
                  <a16:creationId xmlns:a16="http://schemas.microsoft.com/office/drawing/2014/main" id="{A9287E0A-DFD9-4AA6-8680-00180265377A}"/>
                </a:ext>
              </a:extLst>
            </p:cNvPr>
            <p:cNvSpPr/>
            <p:nvPr/>
          </p:nvSpPr>
          <p:spPr>
            <a:xfrm rot="8716295">
              <a:off x="4451878" y="4500944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3" name="Forme libre : forme 712">
              <a:extLst>
                <a:ext uri="{FF2B5EF4-FFF2-40B4-BE49-F238E27FC236}">
                  <a16:creationId xmlns:a16="http://schemas.microsoft.com/office/drawing/2014/main" id="{09BFE1EA-6A4F-4D09-B373-5566A2FCD583}"/>
                </a:ext>
              </a:extLst>
            </p:cNvPr>
            <p:cNvSpPr/>
            <p:nvPr/>
          </p:nvSpPr>
          <p:spPr>
            <a:xfrm rot="8716295">
              <a:off x="4373469" y="434415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4" name="Forme libre : forme 713">
              <a:extLst>
                <a:ext uri="{FF2B5EF4-FFF2-40B4-BE49-F238E27FC236}">
                  <a16:creationId xmlns:a16="http://schemas.microsoft.com/office/drawing/2014/main" id="{CC70F404-444F-494A-8724-6872C726683C}"/>
                </a:ext>
              </a:extLst>
            </p:cNvPr>
            <p:cNvSpPr/>
            <p:nvPr/>
          </p:nvSpPr>
          <p:spPr>
            <a:xfrm rot="8716295">
              <a:off x="4005305" y="438989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5" name="Forme libre : forme 714">
              <a:extLst>
                <a:ext uri="{FF2B5EF4-FFF2-40B4-BE49-F238E27FC236}">
                  <a16:creationId xmlns:a16="http://schemas.microsoft.com/office/drawing/2014/main" id="{C68DC1E1-E9D4-49BF-9F20-12E6BA298FAB}"/>
                </a:ext>
              </a:extLst>
            </p:cNvPr>
            <p:cNvSpPr/>
            <p:nvPr/>
          </p:nvSpPr>
          <p:spPr>
            <a:xfrm rot="8716295">
              <a:off x="4273886" y="414887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6" name="Forme libre : forme 715">
              <a:extLst>
                <a:ext uri="{FF2B5EF4-FFF2-40B4-BE49-F238E27FC236}">
                  <a16:creationId xmlns:a16="http://schemas.microsoft.com/office/drawing/2014/main" id="{298BA06B-FD3E-484C-A9BF-444E13BFC20E}"/>
                </a:ext>
              </a:extLst>
            </p:cNvPr>
            <p:cNvSpPr/>
            <p:nvPr/>
          </p:nvSpPr>
          <p:spPr>
            <a:xfrm rot="8716295">
              <a:off x="2776288" y="273581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7" name="Forme libre : forme 716">
              <a:extLst>
                <a:ext uri="{FF2B5EF4-FFF2-40B4-BE49-F238E27FC236}">
                  <a16:creationId xmlns:a16="http://schemas.microsoft.com/office/drawing/2014/main" id="{577CA89A-0469-4E44-B3B7-615251B777E0}"/>
                </a:ext>
              </a:extLst>
            </p:cNvPr>
            <p:cNvSpPr/>
            <p:nvPr/>
          </p:nvSpPr>
          <p:spPr>
            <a:xfrm rot="8716295">
              <a:off x="2911587" y="278007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8" name="Forme libre : forme 717">
              <a:extLst>
                <a:ext uri="{FF2B5EF4-FFF2-40B4-BE49-F238E27FC236}">
                  <a16:creationId xmlns:a16="http://schemas.microsoft.com/office/drawing/2014/main" id="{9749DAD3-E0F7-4F67-A9A9-D46BE20CA2A5}"/>
                </a:ext>
              </a:extLst>
            </p:cNvPr>
            <p:cNvSpPr/>
            <p:nvPr/>
          </p:nvSpPr>
          <p:spPr>
            <a:xfrm rot="8716295">
              <a:off x="2843704" y="2649488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9" name="Forme libre : forme 718">
              <a:extLst>
                <a:ext uri="{FF2B5EF4-FFF2-40B4-BE49-F238E27FC236}">
                  <a16:creationId xmlns:a16="http://schemas.microsoft.com/office/drawing/2014/main" id="{CC1D1038-8879-442B-B224-29424F89407C}"/>
                </a:ext>
              </a:extLst>
            </p:cNvPr>
            <p:cNvSpPr/>
            <p:nvPr/>
          </p:nvSpPr>
          <p:spPr>
            <a:xfrm rot="8716295">
              <a:off x="2606417" y="286983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0" name="Forme libre : forme 719">
              <a:extLst>
                <a:ext uri="{FF2B5EF4-FFF2-40B4-BE49-F238E27FC236}">
                  <a16:creationId xmlns:a16="http://schemas.microsoft.com/office/drawing/2014/main" id="{7C27CA1B-5474-4334-B2BC-5D5F6D801B37}"/>
                </a:ext>
              </a:extLst>
            </p:cNvPr>
            <p:cNvSpPr/>
            <p:nvPr/>
          </p:nvSpPr>
          <p:spPr>
            <a:xfrm rot="8716295">
              <a:off x="2417371" y="255399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1" name="Forme libre : forme 720">
              <a:extLst>
                <a:ext uri="{FF2B5EF4-FFF2-40B4-BE49-F238E27FC236}">
                  <a16:creationId xmlns:a16="http://schemas.microsoft.com/office/drawing/2014/main" id="{1789A997-6AF9-488A-BF6F-ED804306AC57}"/>
                </a:ext>
              </a:extLst>
            </p:cNvPr>
            <p:cNvSpPr/>
            <p:nvPr/>
          </p:nvSpPr>
          <p:spPr>
            <a:xfrm rot="8716295">
              <a:off x="2399130" y="2343948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2" name="Forme libre : forme 721">
              <a:extLst>
                <a:ext uri="{FF2B5EF4-FFF2-40B4-BE49-F238E27FC236}">
                  <a16:creationId xmlns:a16="http://schemas.microsoft.com/office/drawing/2014/main" id="{FDF8E98E-E1F4-4CD9-8714-50552C557374}"/>
                </a:ext>
              </a:extLst>
            </p:cNvPr>
            <p:cNvSpPr/>
            <p:nvPr/>
          </p:nvSpPr>
          <p:spPr>
            <a:xfrm rot="8716295">
              <a:off x="2742905" y="293181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3" name="Forme libre : forme 722">
              <a:extLst>
                <a:ext uri="{FF2B5EF4-FFF2-40B4-BE49-F238E27FC236}">
                  <a16:creationId xmlns:a16="http://schemas.microsoft.com/office/drawing/2014/main" id="{540D8D51-C0CC-45F4-A59F-CAB41A6564F1}"/>
                </a:ext>
              </a:extLst>
            </p:cNvPr>
            <p:cNvSpPr/>
            <p:nvPr/>
          </p:nvSpPr>
          <p:spPr>
            <a:xfrm rot="8716295">
              <a:off x="3213852" y="235720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4" name="Forme libre : forme 723">
              <a:extLst>
                <a:ext uri="{FF2B5EF4-FFF2-40B4-BE49-F238E27FC236}">
                  <a16:creationId xmlns:a16="http://schemas.microsoft.com/office/drawing/2014/main" id="{BA2BD7E8-A818-4C94-80AE-9E437B07AD6D}"/>
                </a:ext>
              </a:extLst>
            </p:cNvPr>
            <p:cNvSpPr/>
            <p:nvPr/>
          </p:nvSpPr>
          <p:spPr>
            <a:xfrm rot="8716295">
              <a:off x="3349151" y="240146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5" name="Forme libre : forme 724">
              <a:extLst>
                <a:ext uri="{FF2B5EF4-FFF2-40B4-BE49-F238E27FC236}">
                  <a16:creationId xmlns:a16="http://schemas.microsoft.com/office/drawing/2014/main" id="{BC52E005-0165-4382-BA93-B99E2F033DF8}"/>
                </a:ext>
              </a:extLst>
            </p:cNvPr>
            <p:cNvSpPr/>
            <p:nvPr/>
          </p:nvSpPr>
          <p:spPr>
            <a:xfrm rot="8716295">
              <a:off x="3043981" y="249121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6" name="Forme libre : forme 725">
              <a:extLst>
                <a:ext uri="{FF2B5EF4-FFF2-40B4-BE49-F238E27FC236}">
                  <a16:creationId xmlns:a16="http://schemas.microsoft.com/office/drawing/2014/main" id="{1EFDB2CB-3D68-4219-904B-16E2BB8FC2A1}"/>
                </a:ext>
              </a:extLst>
            </p:cNvPr>
            <p:cNvSpPr/>
            <p:nvPr/>
          </p:nvSpPr>
          <p:spPr>
            <a:xfrm rot="8716295">
              <a:off x="2854936" y="217538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7" name="Forme libre : forme 726">
              <a:extLst>
                <a:ext uri="{FF2B5EF4-FFF2-40B4-BE49-F238E27FC236}">
                  <a16:creationId xmlns:a16="http://schemas.microsoft.com/office/drawing/2014/main" id="{0453BE2C-684C-42DC-9D76-B653DD2CA6D7}"/>
                </a:ext>
              </a:extLst>
            </p:cNvPr>
            <p:cNvSpPr/>
            <p:nvPr/>
          </p:nvSpPr>
          <p:spPr>
            <a:xfrm rot="8716295">
              <a:off x="3180469" y="255320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8" name="Forme libre : forme 727">
              <a:extLst>
                <a:ext uri="{FF2B5EF4-FFF2-40B4-BE49-F238E27FC236}">
                  <a16:creationId xmlns:a16="http://schemas.microsoft.com/office/drawing/2014/main" id="{AB96B288-5418-4DF4-9F46-9CC63BBD2345}"/>
                </a:ext>
              </a:extLst>
            </p:cNvPr>
            <p:cNvSpPr/>
            <p:nvPr/>
          </p:nvSpPr>
          <p:spPr>
            <a:xfrm rot="8716295">
              <a:off x="2815023" y="232677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9" name="Forme libre : forme 728">
              <a:extLst>
                <a:ext uri="{FF2B5EF4-FFF2-40B4-BE49-F238E27FC236}">
                  <a16:creationId xmlns:a16="http://schemas.microsoft.com/office/drawing/2014/main" id="{219BA0B1-2BDE-4311-A560-60C891B83CA0}"/>
                </a:ext>
              </a:extLst>
            </p:cNvPr>
            <p:cNvSpPr/>
            <p:nvPr/>
          </p:nvSpPr>
          <p:spPr>
            <a:xfrm rot="7484129">
              <a:off x="3339287" y="284281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0" name="Forme libre : forme 729">
              <a:extLst>
                <a:ext uri="{FF2B5EF4-FFF2-40B4-BE49-F238E27FC236}">
                  <a16:creationId xmlns:a16="http://schemas.microsoft.com/office/drawing/2014/main" id="{73441630-8A4E-4926-A949-79FBC53AB30A}"/>
                </a:ext>
              </a:extLst>
            </p:cNvPr>
            <p:cNvSpPr/>
            <p:nvPr/>
          </p:nvSpPr>
          <p:spPr>
            <a:xfrm rot="13089394">
              <a:off x="3497937" y="279216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1" name="Forme libre : forme 730">
              <a:extLst>
                <a:ext uri="{FF2B5EF4-FFF2-40B4-BE49-F238E27FC236}">
                  <a16:creationId xmlns:a16="http://schemas.microsoft.com/office/drawing/2014/main" id="{6718FCAC-EC9F-4D5D-A7BA-5D07B614DD91}"/>
                </a:ext>
              </a:extLst>
            </p:cNvPr>
            <p:cNvSpPr/>
            <p:nvPr/>
          </p:nvSpPr>
          <p:spPr>
            <a:xfrm rot="8716295">
              <a:off x="3778828" y="2502048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2" name="Forme libre : forme 731">
              <a:extLst>
                <a:ext uri="{FF2B5EF4-FFF2-40B4-BE49-F238E27FC236}">
                  <a16:creationId xmlns:a16="http://schemas.microsoft.com/office/drawing/2014/main" id="{C6B6BF34-8D01-4B90-A150-1A215193326B}"/>
                </a:ext>
              </a:extLst>
            </p:cNvPr>
            <p:cNvSpPr/>
            <p:nvPr/>
          </p:nvSpPr>
          <p:spPr>
            <a:xfrm rot="8716295">
              <a:off x="3700418" y="234525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3" name="Forme libre : forme 732">
              <a:extLst>
                <a:ext uri="{FF2B5EF4-FFF2-40B4-BE49-F238E27FC236}">
                  <a16:creationId xmlns:a16="http://schemas.microsoft.com/office/drawing/2014/main" id="{46601907-3441-4476-B018-C88CFDF3BCEE}"/>
                </a:ext>
              </a:extLst>
            </p:cNvPr>
            <p:cNvSpPr/>
            <p:nvPr/>
          </p:nvSpPr>
          <p:spPr>
            <a:xfrm rot="8716295">
              <a:off x="3332255" y="239099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4" name="Forme libre : forme 733">
              <a:extLst>
                <a:ext uri="{FF2B5EF4-FFF2-40B4-BE49-F238E27FC236}">
                  <a16:creationId xmlns:a16="http://schemas.microsoft.com/office/drawing/2014/main" id="{7101F228-FC4A-45AF-B301-D6AE8B2C4CB0}"/>
                </a:ext>
              </a:extLst>
            </p:cNvPr>
            <p:cNvSpPr/>
            <p:nvPr/>
          </p:nvSpPr>
          <p:spPr>
            <a:xfrm rot="8716295">
              <a:off x="3600836" y="214997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5" name="Forme libre : forme 734">
              <a:extLst>
                <a:ext uri="{FF2B5EF4-FFF2-40B4-BE49-F238E27FC236}">
                  <a16:creationId xmlns:a16="http://schemas.microsoft.com/office/drawing/2014/main" id="{5EBBC394-2EF2-49FF-9DD5-B3DBEC059683}"/>
                </a:ext>
              </a:extLst>
            </p:cNvPr>
            <p:cNvSpPr/>
            <p:nvPr/>
          </p:nvSpPr>
          <p:spPr>
            <a:xfrm rot="8716295">
              <a:off x="2438515" y="173733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6" name="Forme libre : forme 735">
              <a:extLst>
                <a:ext uri="{FF2B5EF4-FFF2-40B4-BE49-F238E27FC236}">
                  <a16:creationId xmlns:a16="http://schemas.microsoft.com/office/drawing/2014/main" id="{9E64E25E-5581-4C5A-8FFA-6FA4EC36C5FC}"/>
                </a:ext>
              </a:extLst>
            </p:cNvPr>
            <p:cNvSpPr/>
            <p:nvPr/>
          </p:nvSpPr>
          <p:spPr>
            <a:xfrm rot="8716295">
              <a:off x="2573814" y="178159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7" name="Forme libre : forme 736">
              <a:extLst>
                <a:ext uri="{FF2B5EF4-FFF2-40B4-BE49-F238E27FC236}">
                  <a16:creationId xmlns:a16="http://schemas.microsoft.com/office/drawing/2014/main" id="{3EEB2466-11BF-47A2-B0A2-3EC6461F6092}"/>
                </a:ext>
              </a:extLst>
            </p:cNvPr>
            <p:cNvSpPr/>
            <p:nvPr/>
          </p:nvSpPr>
          <p:spPr>
            <a:xfrm rot="8716295">
              <a:off x="2505931" y="1651005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8" name="Forme libre : forme 737">
              <a:extLst>
                <a:ext uri="{FF2B5EF4-FFF2-40B4-BE49-F238E27FC236}">
                  <a16:creationId xmlns:a16="http://schemas.microsoft.com/office/drawing/2014/main" id="{E5AEA02F-88F3-46C9-8F84-C3EEF35923D9}"/>
                </a:ext>
              </a:extLst>
            </p:cNvPr>
            <p:cNvSpPr/>
            <p:nvPr/>
          </p:nvSpPr>
          <p:spPr>
            <a:xfrm rot="8716295">
              <a:off x="2268644" y="187135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9" name="Forme libre : forme 738">
              <a:extLst>
                <a:ext uri="{FF2B5EF4-FFF2-40B4-BE49-F238E27FC236}">
                  <a16:creationId xmlns:a16="http://schemas.microsoft.com/office/drawing/2014/main" id="{F1E768B8-3CD2-494D-853A-78A7274AEC37}"/>
                </a:ext>
              </a:extLst>
            </p:cNvPr>
            <p:cNvSpPr/>
            <p:nvPr/>
          </p:nvSpPr>
          <p:spPr>
            <a:xfrm rot="8716295">
              <a:off x="2079598" y="155551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0" name="Forme libre : forme 739">
              <a:extLst>
                <a:ext uri="{FF2B5EF4-FFF2-40B4-BE49-F238E27FC236}">
                  <a16:creationId xmlns:a16="http://schemas.microsoft.com/office/drawing/2014/main" id="{262ED69B-72FE-45DC-B072-76F3A4FAF2D5}"/>
                </a:ext>
              </a:extLst>
            </p:cNvPr>
            <p:cNvSpPr/>
            <p:nvPr/>
          </p:nvSpPr>
          <p:spPr>
            <a:xfrm rot="8716295">
              <a:off x="2061357" y="1345465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1" name="Forme libre : forme 740">
              <a:extLst>
                <a:ext uri="{FF2B5EF4-FFF2-40B4-BE49-F238E27FC236}">
                  <a16:creationId xmlns:a16="http://schemas.microsoft.com/office/drawing/2014/main" id="{0C3B92CD-7E55-4069-8C6E-6C53FF103262}"/>
                </a:ext>
              </a:extLst>
            </p:cNvPr>
            <p:cNvSpPr/>
            <p:nvPr/>
          </p:nvSpPr>
          <p:spPr>
            <a:xfrm rot="8716295">
              <a:off x="2405132" y="1933333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2" name="Forme libre : forme 741">
              <a:extLst>
                <a:ext uri="{FF2B5EF4-FFF2-40B4-BE49-F238E27FC236}">
                  <a16:creationId xmlns:a16="http://schemas.microsoft.com/office/drawing/2014/main" id="{12042862-BD55-4332-A928-2CD906AA369E}"/>
                </a:ext>
              </a:extLst>
            </p:cNvPr>
            <p:cNvSpPr/>
            <p:nvPr/>
          </p:nvSpPr>
          <p:spPr>
            <a:xfrm rot="8716295">
              <a:off x="2876079" y="135871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3" name="Forme libre : forme 742">
              <a:extLst>
                <a:ext uri="{FF2B5EF4-FFF2-40B4-BE49-F238E27FC236}">
                  <a16:creationId xmlns:a16="http://schemas.microsoft.com/office/drawing/2014/main" id="{6200C6E7-66CB-4309-B7D9-EFB7EDC24787}"/>
                </a:ext>
              </a:extLst>
            </p:cNvPr>
            <p:cNvSpPr/>
            <p:nvPr/>
          </p:nvSpPr>
          <p:spPr>
            <a:xfrm rot="8716295">
              <a:off x="3011378" y="140297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4" name="Forme libre : forme 743">
              <a:extLst>
                <a:ext uri="{FF2B5EF4-FFF2-40B4-BE49-F238E27FC236}">
                  <a16:creationId xmlns:a16="http://schemas.microsoft.com/office/drawing/2014/main" id="{AB122FD1-795D-425A-8721-EBB048E97CAB}"/>
                </a:ext>
              </a:extLst>
            </p:cNvPr>
            <p:cNvSpPr/>
            <p:nvPr/>
          </p:nvSpPr>
          <p:spPr>
            <a:xfrm rot="8716295">
              <a:off x="2706208" y="14927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5" name="Forme libre : forme 744">
              <a:extLst>
                <a:ext uri="{FF2B5EF4-FFF2-40B4-BE49-F238E27FC236}">
                  <a16:creationId xmlns:a16="http://schemas.microsoft.com/office/drawing/2014/main" id="{A1E137E0-6CF8-46C5-92D9-A51059448C1A}"/>
                </a:ext>
              </a:extLst>
            </p:cNvPr>
            <p:cNvSpPr/>
            <p:nvPr/>
          </p:nvSpPr>
          <p:spPr>
            <a:xfrm rot="8716295">
              <a:off x="2517163" y="11768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6" name="Forme libre : forme 745">
              <a:extLst>
                <a:ext uri="{FF2B5EF4-FFF2-40B4-BE49-F238E27FC236}">
                  <a16:creationId xmlns:a16="http://schemas.microsoft.com/office/drawing/2014/main" id="{7C3852D8-DFED-42E7-A4AD-A39FE8954AC8}"/>
                </a:ext>
              </a:extLst>
            </p:cNvPr>
            <p:cNvSpPr/>
            <p:nvPr/>
          </p:nvSpPr>
          <p:spPr>
            <a:xfrm rot="8716295">
              <a:off x="2842696" y="1554717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7" name="Forme libre : forme 746">
              <a:extLst>
                <a:ext uri="{FF2B5EF4-FFF2-40B4-BE49-F238E27FC236}">
                  <a16:creationId xmlns:a16="http://schemas.microsoft.com/office/drawing/2014/main" id="{62C60140-F01F-4488-BD03-9C9619AC1EB0}"/>
                </a:ext>
              </a:extLst>
            </p:cNvPr>
            <p:cNvSpPr/>
            <p:nvPr/>
          </p:nvSpPr>
          <p:spPr>
            <a:xfrm rot="8716295">
              <a:off x="2477250" y="1328291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8" name="Forme libre : forme 747">
              <a:extLst>
                <a:ext uri="{FF2B5EF4-FFF2-40B4-BE49-F238E27FC236}">
                  <a16:creationId xmlns:a16="http://schemas.microsoft.com/office/drawing/2014/main" id="{DBD569FB-C0A0-4F7B-87D2-0E26460F3557}"/>
                </a:ext>
              </a:extLst>
            </p:cNvPr>
            <p:cNvSpPr/>
            <p:nvPr/>
          </p:nvSpPr>
          <p:spPr>
            <a:xfrm rot="7484129">
              <a:off x="3001514" y="184433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9" name="Forme libre : forme 748">
              <a:extLst>
                <a:ext uri="{FF2B5EF4-FFF2-40B4-BE49-F238E27FC236}">
                  <a16:creationId xmlns:a16="http://schemas.microsoft.com/office/drawing/2014/main" id="{ABE42921-5DDC-4180-B584-E88059248493}"/>
                </a:ext>
              </a:extLst>
            </p:cNvPr>
            <p:cNvSpPr/>
            <p:nvPr/>
          </p:nvSpPr>
          <p:spPr>
            <a:xfrm rot="13089394">
              <a:off x="3160164" y="1793683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0" name="Forme libre : forme 749">
              <a:extLst>
                <a:ext uri="{FF2B5EF4-FFF2-40B4-BE49-F238E27FC236}">
                  <a16:creationId xmlns:a16="http://schemas.microsoft.com/office/drawing/2014/main" id="{88F98A94-8006-4488-8030-242FB6A3DA5A}"/>
                </a:ext>
              </a:extLst>
            </p:cNvPr>
            <p:cNvSpPr/>
            <p:nvPr/>
          </p:nvSpPr>
          <p:spPr>
            <a:xfrm rot="8716295">
              <a:off x="3441055" y="1503565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1" name="Forme libre : forme 750">
              <a:extLst>
                <a:ext uri="{FF2B5EF4-FFF2-40B4-BE49-F238E27FC236}">
                  <a16:creationId xmlns:a16="http://schemas.microsoft.com/office/drawing/2014/main" id="{A5A850AA-45A2-4846-8949-3857C38E889C}"/>
                </a:ext>
              </a:extLst>
            </p:cNvPr>
            <p:cNvSpPr/>
            <p:nvPr/>
          </p:nvSpPr>
          <p:spPr>
            <a:xfrm rot="8716295">
              <a:off x="3362645" y="134677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2" name="Forme libre : forme 751">
              <a:extLst>
                <a:ext uri="{FF2B5EF4-FFF2-40B4-BE49-F238E27FC236}">
                  <a16:creationId xmlns:a16="http://schemas.microsoft.com/office/drawing/2014/main" id="{5A64EB05-BC9D-42E7-8426-0CAB9C6910F8}"/>
                </a:ext>
              </a:extLst>
            </p:cNvPr>
            <p:cNvSpPr/>
            <p:nvPr/>
          </p:nvSpPr>
          <p:spPr>
            <a:xfrm rot="8716295">
              <a:off x="2994482" y="13925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3" name="Forme libre : forme 752">
              <a:extLst>
                <a:ext uri="{FF2B5EF4-FFF2-40B4-BE49-F238E27FC236}">
                  <a16:creationId xmlns:a16="http://schemas.microsoft.com/office/drawing/2014/main" id="{95781397-8B1D-423E-A53F-48B75A5D7E91}"/>
                </a:ext>
              </a:extLst>
            </p:cNvPr>
            <p:cNvSpPr/>
            <p:nvPr/>
          </p:nvSpPr>
          <p:spPr>
            <a:xfrm rot="8716295">
              <a:off x="3263063" y="115149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4" name="Forme libre : forme 753">
              <a:extLst>
                <a:ext uri="{FF2B5EF4-FFF2-40B4-BE49-F238E27FC236}">
                  <a16:creationId xmlns:a16="http://schemas.microsoft.com/office/drawing/2014/main" id="{BF63C671-ADC0-4488-BE74-E17F46742365}"/>
                </a:ext>
              </a:extLst>
            </p:cNvPr>
            <p:cNvSpPr/>
            <p:nvPr/>
          </p:nvSpPr>
          <p:spPr>
            <a:xfrm rot="8716295">
              <a:off x="2107141" y="73528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5" name="Forme libre : forme 754">
              <a:extLst>
                <a:ext uri="{FF2B5EF4-FFF2-40B4-BE49-F238E27FC236}">
                  <a16:creationId xmlns:a16="http://schemas.microsoft.com/office/drawing/2014/main" id="{5BC60D3E-6680-4205-9719-A6BFD5B4CA74}"/>
                </a:ext>
              </a:extLst>
            </p:cNvPr>
            <p:cNvSpPr/>
            <p:nvPr/>
          </p:nvSpPr>
          <p:spPr>
            <a:xfrm rot="8716295">
              <a:off x="2242440" y="77954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6" name="Forme libre : forme 755">
              <a:extLst>
                <a:ext uri="{FF2B5EF4-FFF2-40B4-BE49-F238E27FC236}">
                  <a16:creationId xmlns:a16="http://schemas.microsoft.com/office/drawing/2014/main" id="{B24E0A86-3E95-492C-8ED3-DB42420B5F2B}"/>
                </a:ext>
              </a:extLst>
            </p:cNvPr>
            <p:cNvSpPr/>
            <p:nvPr/>
          </p:nvSpPr>
          <p:spPr>
            <a:xfrm rot="8716295">
              <a:off x="2174558" y="64895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7" name="Forme libre : forme 756">
              <a:extLst>
                <a:ext uri="{FF2B5EF4-FFF2-40B4-BE49-F238E27FC236}">
                  <a16:creationId xmlns:a16="http://schemas.microsoft.com/office/drawing/2014/main" id="{5279EA4A-802F-4479-832C-B17D45EE4AD8}"/>
                </a:ext>
              </a:extLst>
            </p:cNvPr>
            <p:cNvSpPr/>
            <p:nvPr/>
          </p:nvSpPr>
          <p:spPr>
            <a:xfrm rot="8716295">
              <a:off x="1937270" y="86929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8" name="Forme libre : forme 757">
              <a:extLst>
                <a:ext uri="{FF2B5EF4-FFF2-40B4-BE49-F238E27FC236}">
                  <a16:creationId xmlns:a16="http://schemas.microsoft.com/office/drawing/2014/main" id="{943A13E3-FDDC-4FFC-86C5-237B81D039F9}"/>
                </a:ext>
              </a:extLst>
            </p:cNvPr>
            <p:cNvSpPr/>
            <p:nvPr/>
          </p:nvSpPr>
          <p:spPr>
            <a:xfrm rot="8716295">
              <a:off x="1748224" y="55346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9" name="Forme libre : forme 758">
              <a:extLst>
                <a:ext uri="{FF2B5EF4-FFF2-40B4-BE49-F238E27FC236}">
                  <a16:creationId xmlns:a16="http://schemas.microsoft.com/office/drawing/2014/main" id="{9A27531B-9027-43C6-B072-6C625D2EAEE5}"/>
                </a:ext>
              </a:extLst>
            </p:cNvPr>
            <p:cNvSpPr/>
            <p:nvPr/>
          </p:nvSpPr>
          <p:spPr>
            <a:xfrm rot="8716295">
              <a:off x="1729983" y="34341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0" name="Forme libre : forme 759">
              <a:extLst>
                <a:ext uri="{FF2B5EF4-FFF2-40B4-BE49-F238E27FC236}">
                  <a16:creationId xmlns:a16="http://schemas.microsoft.com/office/drawing/2014/main" id="{8C15947E-E7FF-4002-9209-9AF916BECF4E}"/>
                </a:ext>
              </a:extLst>
            </p:cNvPr>
            <p:cNvSpPr/>
            <p:nvPr/>
          </p:nvSpPr>
          <p:spPr>
            <a:xfrm rot="8716295">
              <a:off x="2073759" y="93127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1" name="Forme libre : forme 760">
              <a:extLst>
                <a:ext uri="{FF2B5EF4-FFF2-40B4-BE49-F238E27FC236}">
                  <a16:creationId xmlns:a16="http://schemas.microsoft.com/office/drawing/2014/main" id="{ED09FFD5-E403-40C0-982A-82CB1DFAD2FA}"/>
                </a:ext>
              </a:extLst>
            </p:cNvPr>
            <p:cNvSpPr/>
            <p:nvPr/>
          </p:nvSpPr>
          <p:spPr>
            <a:xfrm rot="8716295">
              <a:off x="2544705" y="35666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2" name="Forme libre : forme 761">
              <a:extLst>
                <a:ext uri="{FF2B5EF4-FFF2-40B4-BE49-F238E27FC236}">
                  <a16:creationId xmlns:a16="http://schemas.microsoft.com/office/drawing/2014/main" id="{6A20B064-35E9-40B2-8DEC-7F7E78DD5E29}"/>
                </a:ext>
              </a:extLst>
            </p:cNvPr>
            <p:cNvSpPr/>
            <p:nvPr/>
          </p:nvSpPr>
          <p:spPr>
            <a:xfrm rot="8716295">
              <a:off x="2680004" y="40092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3" name="Forme libre : forme 762">
              <a:extLst>
                <a:ext uri="{FF2B5EF4-FFF2-40B4-BE49-F238E27FC236}">
                  <a16:creationId xmlns:a16="http://schemas.microsoft.com/office/drawing/2014/main" id="{95066C84-9BA0-40F5-8ABE-4330ED4CAA56}"/>
                </a:ext>
              </a:extLst>
            </p:cNvPr>
            <p:cNvSpPr/>
            <p:nvPr/>
          </p:nvSpPr>
          <p:spPr>
            <a:xfrm rot="8716295">
              <a:off x="2374834" y="49068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4" name="Forme libre : forme 763">
              <a:extLst>
                <a:ext uri="{FF2B5EF4-FFF2-40B4-BE49-F238E27FC236}">
                  <a16:creationId xmlns:a16="http://schemas.microsoft.com/office/drawing/2014/main" id="{813C7B43-B2B3-4F1D-9157-BDC0F9C5A32B}"/>
                </a:ext>
              </a:extLst>
            </p:cNvPr>
            <p:cNvSpPr/>
            <p:nvPr/>
          </p:nvSpPr>
          <p:spPr>
            <a:xfrm rot="8716295">
              <a:off x="2185790" y="17484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5" name="Forme libre : forme 764">
              <a:extLst>
                <a:ext uri="{FF2B5EF4-FFF2-40B4-BE49-F238E27FC236}">
                  <a16:creationId xmlns:a16="http://schemas.microsoft.com/office/drawing/2014/main" id="{7B9B20DE-10B5-415B-AF37-1A858BED9045}"/>
                </a:ext>
              </a:extLst>
            </p:cNvPr>
            <p:cNvSpPr/>
            <p:nvPr/>
          </p:nvSpPr>
          <p:spPr>
            <a:xfrm rot="8716295">
              <a:off x="2511323" y="552663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6" name="Forme libre : forme 765">
              <a:extLst>
                <a:ext uri="{FF2B5EF4-FFF2-40B4-BE49-F238E27FC236}">
                  <a16:creationId xmlns:a16="http://schemas.microsoft.com/office/drawing/2014/main" id="{C142A28D-5F4A-435F-8A0C-3EE1232B3316}"/>
                </a:ext>
              </a:extLst>
            </p:cNvPr>
            <p:cNvSpPr/>
            <p:nvPr/>
          </p:nvSpPr>
          <p:spPr>
            <a:xfrm rot="8716295">
              <a:off x="2145876" y="32623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7" name="Forme libre : forme 766">
              <a:extLst>
                <a:ext uri="{FF2B5EF4-FFF2-40B4-BE49-F238E27FC236}">
                  <a16:creationId xmlns:a16="http://schemas.microsoft.com/office/drawing/2014/main" id="{53A62157-BB8A-476A-AC97-60C47D01F065}"/>
                </a:ext>
              </a:extLst>
            </p:cNvPr>
            <p:cNvSpPr/>
            <p:nvPr/>
          </p:nvSpPr>
          <p:spPr>
            <a:xfrm rot="7484129">
              <a:off x="2670140" y="84228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8" name="Forme libre : forme 767">
              <a:extLst>
                <a:ext uri="{FF2B5EF4-FFF2-40B4-BE49-F238E27FC236}">
                  <a16:creationId xmlns:a16="http://schemas.microsoft.com/office/drawing/2014/main" id="{4DFDA964-86BB-4756-BFFD-A4BB45FDCCFC}"/>
                </a:ext>
              </a:extLst>
            </p:cNvPr>
            <p:cNvSpPr/>
            <p:nvPr/>
          </p:nvSpPr>
          <p:spPr>
            <a:xfrm rot="13089394">
              <a:off x="2828790" y="791629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9" name="Forme libre : forme 768">
              <a:extLst>
                <a:ext uri="{FF2B5EF4-FFF2-40B4-BE49-F238E27FC236}">
                  <a16:creationId xmlns:a16="http://schemas.microsoft.com/office/drawing/2014/main" id="{F236D03A-C489-49B6-877B-67DCE2BF8270}"/>
                </a:ext>
              </a:extLst>
            </p:cNvPr>
            <p:cNvSpPr/>
            <p:nvPr/>
          </p:nvSpPr>
          <p:spPr>
            <a:xfrm rot="8716295">
              <a:off x="3109681" y="501511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0" name="Forme libre : forme 769">
              <a:extLst>
                <a:ext uri="{FF2B5EF4-FFF2-40B4-BE49-F238E27FC236}">
                  <a16:creationId xmlns:a16="http://schemas.microsoft.com/office/drawing/2014/main" id="{EBC623F4-7089-4B8F-B837-05F42B99914B}"/>
                </a:ext>
              </a:extLst>
            </p:cNvPr>
            <p:cNvSpPr/>
            <p:nvPr/>
          </p:nvSpPr>
          <p:spPr>
            <a:xfrm rot="8716295">
              <a:off x="3031272" y="344719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1" name="Forme libre : forme 770">
              <a:extLst>
                <a:ext uri="{FF2B5EF4-FFF2-40B4-BE49-F238E27FC236}">
                  <a16:creationId xmlns:a16="http://schemas.microsoft.com/office/drawing/2014/main" id="{1655DDF2-D4FC-4FBB-BBB8-910D2AC4BA5B}"/>
                </a:ext>
              </a:extLst>
            </p:cNvPr>
            <p:cNvSpPr/>
            <p:nvPr/>
          </p:nvSpPr>
          <p:spPr>
            <a:xfrm rot="8716295">
              <a:off x="2663108" y="39046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2" name="Forme libre : forme 771">
              <a:extLst>
                <a:ext uri="{FF2B5EF4-FFF2-40B4-BE49-F238E27FC236}">
                  <a16:creationId xmlns:a16="http://schemas.microsoft.com/office/drawing/2014/main" id="{542FABCE-557E-498E-A52F-DA91EDA52BBF}"/>
                </a:ext>
              </a:extLst>
            </p:cNvPr>
            <p:cNvSpPr/>
            <p:nvPr/>
          </p:nvSpPr>
          <p:spPr>
            <a:xfrm rot="8716295">
              <a:off x="2931690" y="14944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3" name="Forme libre : forme 772">
              <a:extLst>
                <a:ext uri="{FF2B5EF4-FFF2-40B4-BE49-F238E27FC236}">
                  <a16:creationId xmlns:a16="http://schemas.microsoft.com/office/drawing/2014/main" id="{1D6DD177-B2DC-4E34-A45B-89523B9B78BB}"/>
                </a:ext>
              </a:extLst>
            </p:cNvPr>
            <p:cNvSpPr/>
            <p:nvPr/>
          </p:nvSpPr>
          <p:spPr>
            <a:xfrm rot="8716295">
              <a:off x="1834766" y="-57684"/>
              <a:ext cx="186564" cy="129320"/>
            </a:xfrm>
            <a:custGeom>
              <a:avLst/>
              <a:gdLst>
                <a:gd name="connsiteX0" fmla="*/ 123263 w 123263"/>
                <a:gd name="connsiteY0" fmla="*/ 85442 h 85442"/>
                <a:gd name="connsiteX1" fmla="*/ 0 w 123263"/>
                <a:gd name="connsiteY1" fmla="*/ 0 h 85442"/>
                <a:gd name="connsiteX2" fmla="*/ 66305 w 123263"/>
                <a:gd name="connsiteY2" fmla="*/ 0 h 85442"/>
                <a:gd name="connsiteX3" fmla="*/ 123263 w 123263"/>
                <a:gd name="connsiteY3" fmla="*/ 50123 h 85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63" h="85442">
                  <a:moveTo>
                    <a:pt x="123263" y="85442"/>
                  </a:moveTo>
                  <a:lnTo>
                    <a:pt x="0" y="0"/>
                  </a:lnTo>
                  <a:lnTo>
                    <a:pt x="66305" y="0"/>
                  </a:lnTo>
                  <a:cubicBezTo>
                    <a:pt x="103214" y="0"/>
                    <a:pt x="123263" y="15948"/>
                    <a:pt x="123263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4" name="Forme libre : forme 773">
              <a:extLst>
                <a:ext uri="{FF2B5EF4-FFF2-40B4-BE49-F238E27FC236}">
                  <a16:creationId xmlns:a16="http://schemas.microsoft.com/office/drawing/2014/main" id="{4B325E05-93D6-4729-AC8E-3EF546AA40C7}"/>
                </a:ext>
              </a:extLst>
            </p:cNvPr>
            <p:cNvSpPr/>
            <p:nvPr/>
          </p:nvSpPr>
          <p:spPr>
            <a:xfrm rot="8716295">
              <a:off x="1969949" y="-13794"/>
              <a:ext cx="394488" cy="148365"/>
            </a:xfrm>
            <a:custGeom>
              <a:avLst/>
              <a:gdLst>
                <a:gd name="connsiteX0" fmla="*/ 104802 w 260639"/>
                <a:gd name="connsiteY0" fmla="*/ 74264 h 98025"/>
                <a:gd name="connsiteX1" fmla="*/ 0 w 260639"/>
                <a:gd name="connsiteY1" fmla="*/ 1618 h 98025"/>
                <a:gd name="connsiteX2" fmla="*/ 0 w 260639"/>
                <a:gd name="connsiteY2" fmla="*/ 1425 h 98025"/>
                <a:gd name="connsiteX3" fmla="*/ 104803 w 260639"/>
                <a:gd name="connsiteY3" fmla="*/ 1425 h 98025"/>
                <a:gd name="connsiteX4" fmla="*/ 122123 w 260639"/>
                <a:gd name="connsiteY4" fmla="*/ 86270 h 98025"/>
                <a:gd name="connsiteX5" fmla="*/ 106178 w 260639"/>
                <a:gd name="connsiteY5" fmla="*/ 75218 h 98025"/>
                <a:gd name="connsiteX6" fmla="*/ 116721 w 260639"/>
                <a:gd name="connsiteY6" fmla="*/ 47439 h 98025"/>
                <a:gd name="connsiteX7" fmla="*/ 154014 w 260639"/>
                <a:gd name="connsiteY7" fmla="*/ 5981 h 98025"/>
                <a:gd name="connsiteX8" fmla="*/ 185455 w 260639"/>
                <a:gd name="connsiteY8" fmla="*/ 57 h 98025"/>
                <a:gd name="connsiteX9" fmla="*/ 260639 w 260639"/>
                <a:gd name="connsiteY9" fmla="*/ 88456 h 98025"/>
                <a:gd name="connsiteX10" fmla="*/ 260639 w 260639"/>
                <a:gd name="connsiteY10" fmla="*/ 94380 h 98025"/>
                <a:gd name="connsiteX11" fmla="*/ 198669 w 260639"/>
                <a:gd name="connsiteY11" fmla="*/ 98025 h 98025"/>
                <a:gd name="connsiteX12" fmla="*/ 198669 w 260639"/>
                <a:gd name="connsiteY12" fmla="*/ 81621 h 98025"/>
                <a:gd name="connsiteX13" fmla="*/ 164950 w 260639"/>
                <a:gd name="connsiteY13" fmla="*/ 40156 h 98025"/>
                <a:gd name="connsiteX14" fmla="*/ 127358 w 260639"/>
                <a:gd name="connsiteY14" fmla="*/ 65616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60639" h="98025">
                  <a:moveTo>
                    <a:pt x="104802" y="74264"/>
                  </a:moveTo>
                  <a:lnTo>
                    <a:pt x="0" y="1618"/>
                  </a:lnTo>
                  <a:lnTo>
                    <a:pt x="0" y="1425"/>
                  </a:lnTo>
                  <a:lnTo>
                    <a:pt x="104803" y="1425"/>
                  </a:lnTo>
                  <a:close/>
                  <a:moveTo>
                    <a:pt x="122123" y="86270"/>
                  </a:moveTo>
                  <a:lnTo>
                    <a:pt x="106178" y="75218"/>
                  </a:lnTo>
                  <a:lnTo>
                    <a:pt x="116721" y="47439"/>
                  </a:lnTo>
                  <a:cubicBezTo>
                    <a:pt x="127102" y="24008"/>
                    <a:pt x="137610" y="12816"/>
                    <a:pt x="154014" y="5981"/>
                  </a:cubicBezTo>
                  <a:cubicBezTo>
                    <a:pt x="164038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50369" y="40156"/>
                    <a:pt x="137041" y="49839"/>
                    <a:pt x="127358" y="656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5" name="Forme libre : forme 774">
              <a:extLst>
                <a:ext uri="{FF2B5EF4-FFF2-40B4-BE49-F238E27FC236}">
                  <a16:creationId xmlns:a16="http://schemas.microsoft.com/office/drawing/2014/main" id="{1BED4C30-FCEC-4C8C-BB61-556D9D937503}"/>
                </a:ext>
              </a:extLst>
            </p:cNvPr>
            <p:cNvSpPr/>
            <p:nvPr/>
          </p:nvSpPr>
          <p:spPr>
            <a:xfrm rot="8716295">
              <a:off x="1736738" y="-7282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6" name="Forme libre : forme 775">
              <a:extLst>
                <a:ext uri="{FF2B5EF4-FFF2-40B4-BE49-F238E27FC236}">
                  <a16:creationId xmlns:a16="http://schemas.microsoft.com/office/drawing/2014/main" id="{9B4BC923-2016-4764-92A0-F47B951B54C3}"/>
                </a:ext>
              </a:extLst>
            </p:cNvPr>
            <p:cNvSpPr/>
            <p:nvPr/>
          </p:nvSpPr>
          <p:spPr>
            <a:xfrm rot="7484129">
              <a:off x="2399917" y="-21262"/>
              <a:ext cx="233243" cy="158079"/>
            </a:xfrm>
            <a:custGeom>
              <a:avLst/>
              <a:gdLst>
                <a:gd name="connsiteX0" fmla="*/ 72416 w 154104"/>
                <a:gd name="connsiteY0" fmla="*/ 104443 h 104443"/>
                <a:gd name="connsiteX1" fmla="*/ 0 w 154104"/>
                <a:gd name="connsiteY1" fmla="*/ 0 h 104443"/>
                <a:gd name="connsiteX2" fmla="*/ 154104 w 154104"/>
                <a:gd name="connsiteY2" fmla="*/ 0 h 104443"/>
                <a:gd name="connsiteX3" fmla="*/ 154104 w 154104"/>
                <a:gd name="connsiteY3" fmla="*/ 55323 h 104443"/>
                <a:gd name="connsiteX4" fmla="*/ 89312 w 154104"/>
                <a:gd name="connsiteY4" fmla="*/ 55323 h 104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4104" h="104443">
                  <a:moveTo>
                    <a:pt x="72416" y="104443"/>
                  </a:moveTo>
                  <a:lnTo>
                    <a:pt x="0" y="0"/>
                  </a:lnTo>
                  <a:lnTo>
                    <a:pt x="154104" y="0"/>
                  </a:lnTo>
                  <a:lnTo>
                    <a:pt x="154104" y="55323"/>
                  </a:lnTo>
                  <a:lnTo>
                    <a:pt x="89312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7" name="Forme libre : forme 776">
              <a:extLst>
                <a:ext uri="{FF2B5EF4-FFF2-40B4-BE49-F238E27FC236}">
                  <a16:creationId xmlns:a16="http://schemas.microsoft.com/office/drawing/2014/main" id="{E4F090A8-4655-44B0-9665-4E91BC39D1A8}"/>
                </a:ext>
              </a:extLst>
            </p:cNvPr>
            <p:cNvSpPr/>
            <p:nvPr/>
          </p:nvSpPr>
          <p:spPr>
            <a:xfrm rot="13089394">
              <a:off x="2721869" y="-65503"/>
              <a:ext cx="128296" cy="425348"/>
            </a:xfrm>
            <a:custGeom>
              <a:avLst/>
              <a:gdLst>
                <a:gd name="connsiteX0" fmla="*/ 84765 w 84765"/>
                <a:gd name="connsiteY0" fmla="*/ 225012 h 281028"/>
                <a:gd name="connsiteX1" fmla="*/ 13471 w 84765"/>
                <a:gd name="connsiteY1" fmla="*/ 281028 h 281028"/>
                <a:gd name="connsiteX2" fmla="*/ 4828 w 84765"/>
                <a:gd name="connsiteY2" fmla="*/ 263963 h 281028"/>
                <a:gd name="connsiteX3" fmla="*/ 0 w 84765"/>
                <a:gd name="connsiteY3" fmla="*/ 206370 h 281028"/>
                <a:gd name="connsiteX4" fmla="*/ 0 w 84765"/>
                <a:gd name="connsiteY4" fmla="*/ 38074 h 281028"/>
                <a:gd name="connsiteX5" fmla="*/ 73388 w 84765"/>
                <a:gd name="connsiteY5" fmla="*/ 0 h 281028"/>
                <a:gd name="connsiteX6" fmla="*/ 74492 w 84765"/>
                <a:gd name="connsiteY6" fmla="*/ 153950 h 281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4765" h="281028">
                  <a:moveTo>
                    <a:pt x="84765" y="225012"/>
                  </a:moveTo>
                  <a:lnTo>
                    <a:pt x="13471" y="281028"/>
                  </a:lnTo>
                  <a:lnTo>
                    <a:pt x="4828" y="263963"/>
                  </a:lnTo>
                  <a:cubicBezTo>
                    <a:pt x="1241" y="248168"/>
                    <a:pt x="0" y="228993"/>
                    <a:pt x="0" y="206370"/>
                  </a:cubicBez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8" name="Forme libre : forme 777">
              <a:extLst>
                <a:ext uri="{FF2B5EF4-FFF2-40B4-BE49-F238E27FC236}">
                  <a16:creationId xmlns:a16="http://schemas.microsoft.com/office/drawing/2014/main" id="{9DB33CAA-5433-47BF-989E-F22200A2870C}"/>
                </a:ext>
              </a:extLst>
            </p:cNvPr>
            <p:cNvSpPr/>
            <p:nvPr/>
          </p:nvSpPr>
          <p:spPr>
            <a:xfrm rot="8716295">
              <a:off x="5604774" y="3024342"/>
              <a:ext cx="274455" cy="132163"/>
            </a:xfrm>
            <a:custGeom>
              <a:avLst/>
              <a:gdLst>
                <a:gd name="connsiteX0" fmla="*/ 0 w 181333"/>
                <a:gd name="connsiteY0" fmla="*/ 87320 h 87320"/>
                <a:gd name="connsiteX1" fmla="*/ 42309 w 181333"/>
                <a:gd name="connsiteY1" fmla="*/ 36168 h 87320"/>
                <a:gd name="connsiteX2" fmla="*/ 54839 w 181333"/>
                <a:gd name="connsiteY2" fmla="*/ 38831 h 87320"/>
                <a:gd name="connsiteX3" fmla="*/ 107790 w 181333"/>
                <a:gd name="connsiteY3" fmla="*/ 29417 h 87320"/>
                <a:gd name="connsiteX4" fmla="*/ 180157 w 181333"/>
                <a:gd name="connsiteY4" fmla="*/ 0 h 87320"/>
                <a:gd name="connsiteX5" fmla="*/ 181333 w 181333"/>
                <a:gd name="connsiteY5" fmla="*/ 7648 h 87320"/>
                <a:gd name="connsiteX6" fmla="*/ 181333 w 181333"/>
                <a:gd name="connsiteY6" fmla="*/ 13532 h 87320"/>
                <a:gd name="connsiteX7" fmla="*/ 30340 w 181333"/>
                <a:gd name="connsiteY7" fmla="*/ 83361 h 87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333" h="87320">
                  <a:moveTo>
                    <a:pt x="0" y="87320"/>
                  </a:moveTo>
                  <a:lnTo>
                    <a:pt x="42309" y="36168"/>
                  </a:lnTo>
                  <a:lnTo>
                    <a:pt x="54839" y="38831"/>
                  </a:lnTo>
                  <a:cubicBezTo>
                    <a:pt x="73078" y="38242"/>
                    <a:pt x="90728" y="34712"/>
                    <a:pt x="107790" y="29417"/>
                  </a:cubicBezTo>
                  <a:cubicBezTo>
                    <a:pt x="132500" y="21768"/>
                    <a:pt x="156623" y="11767"/>
                    <a:pt x="180157" y="0"/>
                  </a:cubicBezTo>
                  <a:cubicBezTo>
                    <a:pt x="180745" y="2353"/>
                    <a:pt x="181333" y="5295"/>
                    <a:pt x="181333" y="7648"/>
                  </a:cubicBezTo>
                  <a:lnTo>
                    <a:pt x="181333" y="13532"/>
                  </a:lnTo>
                  <a:cubicBezTo>
                    <a:pt x="134560" y="53687"/>
                    <a:pt x="76865" y="74315"/>
                    <a:pt x="30340" y="833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9" name="Forme libre : forme 778">
              <a:extLst>
                <a:ext uri="{FF2B5EF4-FFF2-40B4-BE49-F238E27FC236}">
                  <a16:creationId xmlns:a16="http://schemas.microsoft.com/office/drawing/2014/main" id="{B43CFDC2-082C-4907-9138-CE468CF9D156}"/>
                </a:ext>
              </a:extLst>
            </p:cNvPr>
            <p:cNvSpPr/>
            <p:nvPr/>
          </p:nvSpPr>
          <p:spPr>
            <a:xfrm rot="8716295">
              <a:off x="5742786" y="2375436"/>
              <a:ext cx="92417" cy="296278"/>
            </a:xfrm>
            <a:custGeom>
              <a:avLst/>
              <a:gdLst>
                <a:gd name="connsiteX0" fmla="*/ 0 w 61060"/>
                <a:gd name="connsiteY0" fmla="*/ 195751 h 195751"/>
                <a:gd name="connsiteX1" fmla="*/ 0 w 61060"/>
                <a:gd name="connsiteY1" fmla="*/ 67520 h 195751"/>
                <a:gd name="connsiteX2" fmla="*/ 55847 w 61060"/>
                <a:gd name="connsiteY2" fmla="*/ 0 h 195751"/>
                <a:gd name="connsiteX3" fmla="*/ 61059 w 61060"/>
                <a:gd name="connsiteY3" fmla="*/ 13486 h 195751"/>
                <a:gd name="connsiteX4" fmla="*/ 61060 w 61060"/>
                <a:gd name="connsiteY4" fmla="*/ 171601 h 195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60" h="195751">
                  <a:moveTo>
                    <a:pt x="0" y="195751"/>
                  </a:moveTo>
                  <a:lnTo>
                    <a:pt x="0" y="67520"/>
                  </a:lnTo>
                  <a:lnTo>
                    <a:pt x="55847" y="0"/>
                  </a:lnTo>
                  <a:lnTo>
                    <a:pt x="61059" y="13486"/>
                  </a:lnTo>
                  <a:lnTo>
                    <a:pt x="61060" y="17160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0" name="Forme libre : forme 779">
              <a:extLst>
                <a:ext uri="{FF2B5EF4-FFF2-40B4-BE49-F238E27FC236}">
                  <a16:creationId xmlns:a16="http://schemas.microsoft.com/office/drawing/2014/main" id="{4D4A1F5E-B4EB-4CD4-BAB2-B2936E3BA1CA}"/>
                </a:ext>
              </a:extLst>
            </p:cNvPr>
            <p:cNvSpPr/>
            <p:nvPr/>
          </p:nvSpPr>
          <p:spPr>
            <a:xfrm rot="8716295">
              <a:off x="5579033" y="246915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1" name="Forme libre : forme 780">
              <a:extLst>
                <a:ext uri="{FF2B5EF4-FFF2-40B4-BE49-F238E27FC236}">
                  <a16:creationId xmlns:a16="http://schemas.microsoft.com/office/drawing/2014/main" id="{CE5CAFE6-1524-41DE-89BB-16FAB9036D83}"/>
                </a:ext>
              </a:extLst>
            </p:cNvPr>
            <p:cNvSpPr/>
            <p:nvPr/>
          </p:nvSpPr>
          <p:spPr>
            <a:xfrm rot="8716295">
              <a:off x="5389987" y="215331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2" name="Forme libre : forme 781">
              <a:extLst>
                <a:ext uri="{FF2B5EF4-FFF2-40B4-BE49-F238E27FC236}">
                  <a16:creationId xmlns:a16="http://schemas.microsoft.com/office/drawing/2014/main" id="{1078570C-FF38-413A-82DE-E38EF08EE2A9}"/>
                </a:ext>
              </a:extLst>
            </p:cNvPr>
            <p:cNvSpPr/>
            <p:nvPr/>
          </p:nvSpPr>
          <p:spPr>
            <a:xfrm rot="8716295">
              <a:off x="5371746" y="194326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3" name="Forme libre : forme 782">
              <a:extLst>
                <a:ext uri="{FF2B5EF4-FFF2-40B4-BE49-F238E27FC236}">
                  <a16:creationId xmlns:a16="http://schemas.microsoft.com/office/drawing/2014/main" id="{2DFDB502-0D6C-4245-AA56-DE338A411DD1}"/>
                </a:ext>
              </a:extLst>
            </p:cNvPr>
            <p:cNvSpPr/>
            <p:nvPr/>
          </p:nvSpPr>
          <p:spPr>
            <a:xfrm rot="8716295">
              <a:off x="5716764" y="2550542"/>
              <a:ext cx="91035" cy="331729"/>
            </a:xfrm>
            <a:custGeom>
              <a:avLst/>
              <a:gdLst>
                <a:gd name="connsiteX0" fmla="*/ 60147 w 60147"/>
                <a:gd name="connsiteY0" fmla="*/ 219174 h 219174"/>
                <a:gd name="connsiteX1" fmla="*/ 0 w 60147"/>
                <a:gd name="connsiteY1" fmla="*/ 161304 h 219174"/>
                <a:gd name="connsiteX2" fmla="*/ 0 w 60147"/>
                <a:gd name="connsiteY2" fmla="*/ 68045 h 219174"/>
                <a:gd name="connsiteX3" fmla="*/ 56210 w 60147"/>
                <a:gd name="connsiteY3" fmla="*/ 87 h 219174"/>
                <a:gd name="connsiteX4" fmla="*/ 60147 w 60147"/>
                <a:gd name="connsiteY4" fmla="*/ 0 h 219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47" h="219174">
                  <a:moveTo>
                    <a:pt x="60147" y="219174"/>
                  </a:moveTo>
                  <a:lnTo>
                    <a:pt x="0" y="161304"/>
                  </a:lnTo>
                  <a:lnTo>
                    <a:pt x="0" y="68045"/>
                  </a:lnTo>
                  <a:lnTo>
                    <a:pt x="56210" y="87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4" name="Forme libre : forme 783">
              <a:extLst>
                <a:ext uri="{FF2B5EF4-FFF2-40B4-BE49-F238E27FC236}">
                  <a16:creationId xmlns:a16="http://schemas.microsoft.com/office/drawing/2014/main" id="{D6EF1E2E-EA70-4C26-808A-AA6B7CC8B41E}"/>
                </a:ext>
              </a:extLst>
            </p:cNvPr>
            <p:cNvSpPr/>
            <p:nvPr/>
          </p:nvSpPr>
          <p:spPr>
            <a:xfrm rot="8716295">
              <a:off x="5787639" y="192609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5" name="Forme libre : forme 784">
              <a:extLst>
                <a:ext uri="{FF2B5EF4-FFF2-40B4-BE49-F238E27FC236}">
                  <a16:creationId xmlns:a16="http://schemas.microsoft.com/office/drawing/2014/main" id="{A2961F2A-DE92-482C-A65E-A4071D364F5E}"/>
                </a:ext>
              </a:extLst>
            </p:cNvPr>
            <p:cNvSpPr/>
            <p:nvPr/>
          </p:nvSpPr>
          <p:spPr>
            <a:xfrm rot="8716295">
              <a:off x="5411131" y="133665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6" name="Forme libre : forme 785">
              <a:extLst>
                <a:ext uri="{FF2B5EF4-FFF2-40B4-BE49-F238E27FC236}">
                  <a16:creationId xmlns:a16="http://schemas.microsoft.com/office/drawing/2014/main" id="{F345DFE8-8A89-4353-9132-2A3DD36A84F9}"/>
                </a:ext>
              </a:extLst>
            </p:cNvPr>
            <p:cNvSpPr/>
            <p:nvPr/>
          </p:nvSpPr>
          <p:spPr>
            <a:xfrm rot="8716295">
              <a:off x="5547629" y="1389153"/>
              <a:ext cx="346795" cy="385612"/>
            </a:xfrm>
            <a:custGeom>
              <a:avLst/>
              <a:gdLst>
                <a:gd name="connsiteX0" fmla="*/ 19979 w 229128"/>
                <a:gd name="connsiteY0" fmla="*/ 254774 h 254774"/>
                <a:gd name="connsiteX1" fmla="*/ 19979 w 229128"/>
                <a:gd name="connsiteY1" fmla="*/ 45624 h 254774"/>
                <a:gd name="connsiteX2" fmla="*/ 0 w 229128"/>
                <a:gd name="connsiteY2" fmla="*/ 45624 h 254774"/>
                <a:gd name="connsiteX3" fmla="*/ 36558 w 229128"/>
                <a:gd name="connsiteY3" fmla="*/ 1425 h 254774"/>
                <a:gd name="connsiteX4" fmla="*/ 73292 w 229128"/>
                <a:gd name="connsiteY4" fmla="*/ 1425 h 254774"/>
                <a:gd name="connsiteX5" fmla="*/ 73292 w 229128"/>
                <a:gd name="connsiteY5" fmla="*/ 75242 h 254774"/>
                <a:gd name="connsiteX6" fmla="*/ 74658 w 229128"/>
                <a:gd name="connsiteY6" fmla="*/ 75242 h 254774"/>
                <a:gd name="connsiteX7" fmla="*/ 122503 w 229128"/>
                <a:gd name="connsiteY7" fmla="*/ 5981 h 254774"/>
                <a:gd name="connsiteX8" fmla="*/ 153944 w 229128"/>
                <a:gd name="connsiteY8" fmla="*/ 57 h 254774"/>
                <a:gd name="connsiteX9" fmla="*/ 229128 w 229128"/>
                <a:gd name="connsiteY9" fmla="*/ 88456 h 254774"/>
                <a:gd name="connsiteX10" fmla="*/ 229128 w 229128"/>
                <a:gd name="connsiteY10" fmla="*/ 94380 h 254774"/>
                <a:gd name="connsiteX11" fmla="*/ 167158 w 229128"/>
                <a:gd name="connsiteY11" fmla="*/ 98025 h 254774"/>
                <a:gd name="connsiteX12" fmla="*/ 167158 w 229128"/>
                <a:gd name="connsiteY12" fmla="*/ 81621 h 254774"/>
                <a:gd name="connsiteX13" fmla="*/ 133439 w 229128"/>
                <a:gd name="connsiteY13" fmla="*/ 40156 h 254774"/>
                <a:gd name="connsiteX14" fmla="*/ 80127 w 229128"/>
                <a:gd name="connsiteY14" fmla="*/ 127643 h 254774"/>
                <a:gd name="connsiteX15" fmla="*/ 80127 w 229128"/>
                <a:gd name="connsiteY15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29128" h="254774">
                  <a:moveTo>
                    <a:pt x="19979" y="254774"/>
                  </a:moveTo>
                  <a:lnTo>
                    <a:pt x="19979" y="45624"/>
                  </a:lnTo>
                  <a:lnTo>
                    <a:pt x="0" y="45624"/>
                  </a:lnTo>
                  <a:lnTo>
                    <a:pt x="36558" y="1425"/>
                  </a:lnTo>
                  <a:lnTo>
                    <a:pt x="73292" y="1425"/>
                  </a:lnTo>
                  <a:lnTo>
                    <a:pt x="73292" y="75242"/>
                  </a:lnTo>
                  <a:lnTo>
                    <a:pt x="74658" y="75242"/>
                  </a:lnTo>
                  <a:cubicBezTo>
                    <a:pt x="89240" y="31954"/>
                    <a:pt x="100631" y="15094"/>
                    <a:pt x="122503" y="5981"/>
                  </a:cubicBezTo>
                  <a:cubicBezTo>
                    <a:pt x="132528" y="1880"/>
                    <a:pt x="143008" y="-398"/>
                    <a:pt x="153944" y="57"/>
                  </a:cubicBezTo>
                  <a:cubicBezTo>
                    <a:pt x="200877" y="-854"/>
                    <a:pt x="229128" y="31954"/>
                    <a:pt x="229128" y="88456"/>
                  </a:cubicBezTo>
                  <a:lnTo>
                    <a:pt x="229128" y="94380"/>
                  </a:lnTo>
                  <a:lnTo>
                    <a:pt x="167158" y="98025"/>
                  </a:lnTo>
                  <a:lnTo>
                    <a:pt x="167158" y="81621"/>
                  </a:lnTo>
                  <a:cubicBezTo>
                    <a:pt x="167158" y="57016"/>
                    <a:pt x="153033" y="40156"/>
                    <a:pt x="133439" y="40156"/>
                  </a:cubicBezTo>
                  <a:cubicBezTo>
                    <a:pt x="104277" y="40156"/>
                    <a:pt x="80127" y="78887"/>
                    <a:pt x="80127" y="127643"/>
                  </a:cubicBezTo>
                  <a:lnTo>
                    <a:pt x="80127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7" name="Forme libre : forme 786">
              <a:extLst>
                <a:ext uri="{FF2B5EF4-FFF2-40B4-BE49-F238E27FC236}">
                  <a16:creationId xmlns:a16="http://schemas.microsoft.com/office/drawing/2014/main" id="{5895E6F0-4399-4D04-958F-F7C3F4A74E7E}"/>
                </a:ext>
              </a:extLst>
            </p:cNvPr>
            <p:cNvSpPr/>
            <p:nvPr/>
          </p:nvSpPr>
          <p:spPr>
            <a:xfrm rot="8716295">
              <a:off x="5478548" y="125032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8" name="Forme libre : forme 787">
              <a:extLst>
                <a:ext uri="{FF2B5EF4-FFF2-40B4-BE49-F238E27FC236}">
                  <a16:creationId xmlns:a16="http://schemas.microsoft.com/office/drawing/2014/main" id="{793334F9-FA14-4BBF-95F9-C3325CD14C1E}"/>
                </a:ext>
              </a:extLst>
            </p:cNvPr>
            <p:cNvSpPr/>
            <p:nvPr/>
          </p:nvSpPr>
          <p:spPr>
            <a:xfrm rot="8716295">
              <a:off x="5241260" y="147066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9" name="Forme libre : forme 788">
              <a:extLst>
                <a:ext uri="{FF2B5EF4-FFF2-40B4-BE49-F238E27FC236}">
                  <a16:creationId xmlns:a16="http://schemas.microsoft.com/office/drawing/2014/main" id="{27BEE6E8-B5E4-4A65-91F8-0AE242F08908}"/>
                </a:ext>
              </a:extLst>
            </p:cNvPr>
            <p:cNvSpPr/>
            <p:nvPr/>
          </p:nvSpPr>
          <p:spPr>
            <a:xfrm rot="8716295">
              <a:off x="5052214" y="11548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0" name="Forme libre : forme 789">
              <a:extLst>
                <a:ext uri="{FF2B5EF4-FFF2-40B4-BE49-F238E27FC236}">
                  <a16:creationId xmlns:a16="http://schemas.microsoft.com/office/drawing/2014/main" id="{A3F0A921-0C90-45C3-AD51-00D52D70CCCC}"/>
                </a:ext>
              </a:extLst>
            </p:cNvPr>
            <p:cNvSpPr/>
            <p:nvPr/>
          </p:nvSpPr>
          <p:spPr>
            <a:xfrm rot="8716295">
              <a:off x="5033973" y="94478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1" name="Forme libre : forme 790">
              <a:extLst>
                <a:ext uri="{FF2B5EF4-FFF2-40B4-BE49-F238E27FC236}">
                  <a16:creationId xmlns:a16="http://schemas.microsoft.com/office/drawing/2014/main" id="{4F886E26-FD4E-485C-BE50-E0DBCD541B71}"/>
                </a:ext>
              </a:extLst>
            </p:cNvPr>
            <p:cNvSpPr/>
            <p:nvPr/>
          </p:nvSpPr>
          <p:spPr>
            <a:xfrm rot="8716295">
              <a:off x="5377749" y="153264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2" name="Forme libre : forme 791">
              <a:extLst>
                <a:ext uri="{FF2B5EF4-FFF2-40B4-BE49-F238E27FC236}">
                  <a16:creationId xmlns:a16="http://schemas.microsoft.com/office/drawing/2014/main" id="{04C1E3D7-9A53-4350-93B5-3A078BC5B4EB}"/>
                </a:ext>
              </a:extLst>
            </p:cNvPr>
            <p:cNvSpPr/>
            <p:nvPr/>
          </p:nvSpPr>
          <p:spPr>
            <a:xfrm rot="8716295">
              <a:off x="5847873" y="996679"/>
              <a:ext cx="92417" cy="314872"/>
            </a:xfrm>
            <a:custGeom>
              <a:avLst/>
              <a:gdLst>
                <a:gd name="connsiteX0" fmla="*/ 0 w 61060"/>
                <a:gd name="connsiteY0" fmla="*/ 208036 h 208036"/>
                <a:gd name="connsiteX1" fmla="*/ 1 w 61060"/>
                <a:gd name="connsiteY1" fmla="*/ 61780 h 208036"/>
                <a:gd name="connsiteX2" fmla="*/ 51100 w 61060"/>
                <a:gd name="connsiteY2" fmla="*/ 0 h 208036"/>
                <a:gd name="connsiteX3" fmla="*/ 61059 w 61060"/>
                <a:gd name="connsiteY3" fmla="*/ 25771 h 208036"/>
                <a:gd name="connsiteX4" fmla="*/ 61060 w 61060"/>
                <a:gd name="connsiteY4" fmla="*/ 183886 h 208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60" h="208036">
                  <a:moveTo>
                    <a:pt x="0" y="208036"/>
                  </a:moveTo>
                  <a:lnTo>
                    <a:pt x="1" y="61780"/>
                  </a:lnTo>
                  <a:lnTo>
                    <a:pt x="51100" y="0"/>
                  </a:lnTo>
                  <a:lnTo>
                    <a:pt x="61059" y="25771"/>
                  </a:lnTo>
                  <a:lnTo>
                    <a:pt x="61060" y="18388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3" name="Forme libre : forme 792">
              <a:extLst>
                <a:ext uri="{FF2B5EF4-FFF2-40B4-BE49-F238E27FC236}">
                  <a16:creationId xmlns:a16="http://schemas.microsoft.com/office/drawing/2014/main" id="{2A3AE8A9-4B1B-420D-8356-BE83AA6C92DA}"/>
                </a:ext>
              </a:extLst>
            </p:cNvPr>
            <p:cNvSpPr/>
            <p:nvPr/>
          </p:nvSpPr>
          <p:spPr>
            <a:xfrm rot="8716295">
              <a:off x="5678824" y="109205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4" name="Forme libre : forme 793">
              <a:extLst>
                <a:ext uri="{FF2B5EF4-FFF2-40B4-BE49-F238E27FC236}">
                  <a16:creationId xmlns:a16="http://schemas.microsoft.com/office/drawing/2014/main" id="{387B3690-57AF-4CCF-B9A7-55CB534D22BD}"/>
                </a:ext>
              </a:extLst>
            </p:cNvPr>
            <p:cNvSpPr/>
            <p:nvPr/>
          </p:nvSpPr>
          <p:spPr>
            <a:xfrm rot="8716295">
              <a:off x="5489780" y="77621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5" name="Forme libre : forme 794">
              <a:extLst>
                <a:ext uri="{FF2B5EF4-FFF2-40B4-BE49-F238E27FC236}">
                  <a16:creationId xmlns:a16="http://schemas.microsoft.com/office/drawing/2014/main" id="{F07D311E-335E-4C7D-82A0-742BBF375A4B}"/>
                </a:ext>
              </a:extLst>
            </p:cNvPr>
            <p:cNvSpPr/>
            <p:nvPr/>
          </p:nvSpPr>
          <p:spPr>
            <a:xfrm rot="8716295">
              <a:off x="5816554" y="1173443"/>
              <a:ext cx="91037" cy="331731"/>
            </a:xfrm>
            <a:custGeom>
              <a:avLst/>
              <a:gdLst>
                <a:gd name="connsiteX0" fmla="*/ 60148 w 60148"/>
                <a:gd name="connsiteY0" fmla="*/ 219175 h 219175"/>
                <a:gd name="connsiteX1" fmla="*/ 0 w 60148"/>
                <a:gd name="connsiteY1" fmla="*/ 161305 h 219175"/>
                <a:gd name="connsiteX2" fmla="*/ 0 w 60148"/>
                <a:gd name="connsiteY2" fmla="*/ 50021 h 219175"/>
                <a:gd name="connsiteX3" fmla="*/ 41025 w 60148"/>
                <a:gd name="connsiteY3" fmla="*/ 421 h 219175"/>
                <a:gd name="connsiteX4" fmla="*/ 60147 w 60148"/>
                <a:gd name="connsiteY4" fmla="*/ 0 h 219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48" h="219175">
                  <a:moveTo>
                    <a:pt x="60148" y="219175"/>
                  </a:moveTo>
                  <a:lnTo>
                    <a:pt x="0" y="161305"/>
                  </a:lnTo>
                  <a:lnTo>
                    <a:pt x="0" y="50021"/>
                  </a:lnTo>
                  <a:lnTo>
                    <a:pt x="41025" y="421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6" name="Forme libre : forme 795">
              <a:extLst>
                <a:ext uri="{FF2B5EF4-FFF2-40B4-BE49-F238E27FC236}">
                  <a16:creationId xmlns:a16="http://schemas.microsoft.com/office/drawing/2014/main" id="{66CDEC38-7CA1-4527-B6C7-5DCAC2442F65}"/>
                </a:ext>
              </a:extLst>
            </p:cNvPr>
            <p:cNvSpPr/>
            <p:nvPr/>
          </p:nvSpPr>
          <p:spPr>
            <a:xfrm rot="8716295">
              <a:off x="5449866" y="92760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7" name="Forme libre : forme 796">
              <a:extLst>
                <a:ext uri="{FF2B5EF4-FFF2-40B4-BE49-F238E27FC236}">
                  <a16:creationId xmlns:a16="http://schemas.microsoft.com/office/drawing/2014/main" id="{D2CA5B22-3CB9-4D61-9713-ECDE1E76381D}"/>
                </a:ext>
              </a:extLst>
            </p:cNvPr>
            <p:cNvSpPr/>
            <p:nvPr/>
          </p:nvSpPr>
          <p:spPr>
            <a:xfrm rot="8716295">
              <a:off x="5954717" y="1002572"/>
              <a:ext cx="48491" cy="55034"/>
            </a:xfrm>
            <a:custGeom>
              <a:avLst/>
              <a:gdLst>
                <a:gd name="connsiteX0" fmla="*/ 0 w 32038"/>
                <a:gd name="connsiteY0" fmla="*/ 35166 h 36361"/>
                <a:gd name="connsiteX1" fmla="*/ 29086 w 32038"/>
                <a:gd name="connsiteY1" fmla="*/ 0 h 36361"/>
                <a:gd name="connsiteX2" fmla="*/ 32038 w 32038"/>
                <a:gd name="connsiteY2" fmla="*/ 7028 h 36361"/>
                <a:gd name="connsiteX3" fmla="*/ 23495 w 32038"/>
                <a:gd name="connsiteY3" fmla="*/ 27704 h 36361"/>
                <a:gd name="connsiteX4" fmla="*/ 2990 w 32038"/>
                <a:gd name="connsiteY4" fmla="*/ 36361 h 36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038" h="36361">
                  <a:moveTo>
                    <a:pt x="0" y="35166"/>
                  </a:moveTo>
                  <a:lnTo>
                    <a:pt x="29086" y="0"/>
                  </a:lnTo>
                  <a:lnTo>
                    <a:pt x="32038" y="7028"/>
                  </a:lnTo>
                  <a:cubicBezTo>
                    <a:pt x="32039" y="14489"/>
                    <a:pt x="29191" y="22008"/>
                    <a:pt x="23495" y="27704"/>
                  </a:cubicBezTo>
                  <a:cubicBezTo>
                    <a:pt x="18027" y="33172"/>
                    <a:pt x="10736" y="36361"/>
                    <a:pt x="2990" y="363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8" name="Forme libre : forme 797">
              <a:extLst>
                <a:ext uri="{FF2B5EF4-FFF2-40B4-BE49-F238E27FC236}">
                  <a16:creationId xmlns:a16="http://schemas.microsoft.com/office/drawing/2014/main" id="{2C1218F4-7DC2-4ED8-8247-5696545760E1}"/>
                </a:ext>
              </a:extLst>
            </p:cNvPr>
            <p:cNvSpPr/>
            <p:nvPr/>
          </p:nvSpPr>
          <p:spPr>
            <a:xfrm rot="8716295">
              <a:off x="5079758" y="33459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9" name="Forme libre : forme 798">
              <a:extLst>
                <a:ext uri="{FF2B5EF4-FFF2-40B4-BE49-F238E27FC236}">
                  <a16:creationId xmlns:a16="http://schemas.microsoft.com/office/drawing/2014/main" id="{D0306570-766D-490D-9EC2-A97AB1BAB4C6}"/>
                </a:ext>
              </a:extLst>
            </p:cNvPr>
            <p:cNvSpPr/>
            <p:nvPr/>
          </p:nvSpPr>
          <p:spPr>
            <a:xfrm rot="8716295">
              <a:off x="5215056" y="37885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0" name="Forme libre : forme 799">
              <a:extLst>
                <a:ext uri="{FF2B5EF4-FFF2-40B4-BE49-F238E27FC236}">
                  <a16:creationId xmlns:a16="http://schemas.microsoft.com/office/drawing/2014/main" id="{77292053-0143-4408-B999-537084FF4DF1}"/>
                </a:ext>
              </a:extLst>
            </p:cNvPr>
            <p:cNvSpPr/>
            <p:nvPr/>
          </p:nvSpPr>
          <p:spPr>
            <a:xfrm rot="8716295">
              <a:off x="5147174" y="248268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1" name="Forme libre : forme 800">
              <a:extLst>
                <a:ext uri="{FF2B5EF4-FFF2-40B4-BE49-F238E27FC236}">
                  <a16:creationId xmlns:a16="http://schemas.microsoft.com/office/drawing/2014/main" id="{841FE04C-5195-472E-8787-746E4A4E8D7E}"/>
                </a:ext>
              </a:extLst>
            </p:cNvPr>
            <p:cNvSpPr/>
            <p:nvPr/>
          </p:nvSpPr>
          <p:spPr>
            <a:xfrm rot="8716295">
              <a:off x="4909887" y="4686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2" name="Forme libre : forme 801">
              <a:extLst>
                <a:ext uri="{FF2B5EF4-FFF2-40B4-BE49-F238E27FC236}">
                  <a16:creationId xmlns:a16="http://schemas.microsoft.com/office/drawing/2014/main" id="{F7B1085B-4858-4D70-A004-8B8F25F247C5}"/>
                </a:ext>
              </a:extLst>
            </p:cNvPr>
            <p:cNvSpPr/>
            <p:nvPr/>
          </p:nvSpPr>
          <p:spPr>
            <a:xfrm rot="8716295">
              <a:off x="4720840" y="15277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3" name="Forme libre : forme 802">
              <a:extLst>
                <a:ext uri="{FF2B5EF4-FFF2-40B4-BE49-F238E27FC236}">
                  <a16:creationId xmlns:a16="http://schemas.microsoft.com/office/drawing/2014/main" id="{B81144B8-8745-4F32-B198-B5E7831F9FA1}"/>
                </a:ext>
              </a:extLst>
            </p:cNvPr>
            <p:cNvSpPr/>
            <p:nvPr/>
          </p:nvSpPr>
          <p:spPr>
            <a:xfrm rot="8716295">
              <a:off x="4702019" y="-47743"/>
              <a:ext cx="439901" cy="516041"/>
            </a:xfrm>
            <a:custGeom>
              <a:avLst/>
              <a:gdLst>
                <a:gd name="connsiteX0" fmla="*/ 155476 w 290643"/>
                <a:gd name="connsiteY0" fmla="*/ 340949 h 340949"/>
                <a:gd name="connsiteX1" fmla="*/ 1169 w 290643"/>
                <a:gd name="connsiteY1" fmla="*/ 233989 h 340949"/>
                <a:gd name="connsiteX2" fmla="*/ 0 w 290643"/>
                <a:gd name="connsiteY2" fmla="*/ 220042 h 340949"/>
                <a:gd name="connsiteX3" fmla="*/ 0 w 290643"/>
                <a:gd name="connsiteY3" fmla="*/ 40596 h 340949"/>
                <a:gd name="connsiteX4" fmla="*/ 78250 w 290643"/>
                <a:gd name="connsiteY4" fmla="*/ 0 h 340949"/>
                <a:gd name="connsiteX5" fmla="*/ 79427 w 290643"/>
                <a:gd name="connsiteY5" fmla="*/ 164149 h 340949"/>
                <a:gd name="connsiteX6" fmla="*/ 93547 w 290643"/>
                <a:gd name="connsiteY6" fmla="*/ 261815 h 340949"/>
                <a:gd name="connsiteX7" fmla="*/ 164149 w 290643"/>
                <a:gd name="connsiteY7" fmla="*/ 300646 h 340949"/>
                <a:gd name="connsiteX8" fmla="*/ 217100 w 290643"/>
                <a:gd name="connsiteY8" fmla="*/ 291232 h 340949"/>
                <a:gd name="connsiteX9" fmla="*/ 289467 w 290643"/>
                <a:gd name="connsiteY9" fmla="*/ 261815 h 340949"/>
                <a:gd name="connsiteX10" fmla="*/ 290643 w 290643"/>
                <a:gd name="connsiteY10" fmla="*/ 269463 h 340949"/>
                <a:gd name="connsiteX11" fmla="*/ 290643 w 290643"/>
                <a:gd name="connsiteY11" fmla="*/ 275347 h 340949"/>
                <a:gd name="connsiteX12" fmla="*/ 189080 w 290643"/>
                <a:gd name="connsiteY12" fmla="*/ 331975 h 340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0643" h="340949">
                  <a:moveTo>
                    <a:pt x="155476" y="340949"/>
                  </a:moveTo>
                  <a:lnTo>
                    <a:pt x="1169" y="233989"/>
                  </a:lnTo>
                  <a:lnTo>
                    <a:pt x="0" y="220042"/>
                  </a:ln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9" y="300646"/>
                  </a:cubicBezTo>
                  <a:cubicBezTo>
                    <a:pt x="182388" y="300057"/>
                    <a:pt x="200038" y="296527"/>
                    <a:pt x="217100" y="291232"/>
                  </a:cubicBezTo>
                  <a:cubicBezTo>
                    <a:pt x="241810" y="283584"/>
                    <a:pt x="265933" y="273582"/>
                    <a:pt x="289467" y="261815"/>
                  </a:cubicBezTo>
                  <a:cubicBezTo>
                    <a:pt x="290055" y="264168"/>
                    <a:pt x="290643" y="267110"/>
                    <a:pt x="290643" y="269463"/>
                  </a:cubicBezTo>
                  <a:lnTo>
                    <a:pt x="290643" y="275347"/>
                  </a:lnTo>
                  <a:cubicBezTo>
                    <a:pt x="259461" y="302117"/>
                    <a:pt x="223425" y="320208"/>
                    <a:pt x="189080" y="3319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4" name="Forme libre : forme 803">
              <a:extLst>
                <a:ext uri="{FF2B5EF4-FFF2-40B4-BE49-F238E27FC236}">
                  <a16:creationId xmlns:a16="http://schemas.microsoft.com/office/drawing/2014/main" id="{97BB5D8E-77DF-4379-8FB9-C73059373491}"/>
                </a:ext>
              </a:extLst>
            </p:cNvPr>
            <p:cNvSpPr/>
            <p:nvPr/>
          </p:nvSpPr>
          <p:spPr>
            <a:xfrm rot="8716295">
              <a:off x="5046375" y="53059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5" name="Forme libre : forme 804">
              <a:extLst>
                <a:ext uri="{FF2B5EF4-FFF2-40B4-BE49-F238E27FC236}">
                  <a16:creationId xmlns:a16="http://schemas.microsoft.com/office/drawing/2014/main" id="{0E56D396-C685-4453-B6D5-C901E9191392}"/>
                </a:ext>
              </a:extLst>
            </p:cNvPr>
            <p:cNvSpPr/>
            <p:nvPr/>
          </p:nvSpPr>
          <p:spPr>
            <a:xfrm rot="8716295">
              <a:off x="5517321" y="-4401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6" name="Forme libre : forme 805">
              <a:extLst>
                <a:ext uri="{FF2B5EF4-FFF2-40B4-BE49-F238E27FC236}">
                  <a16:creationId xmlns:a16="http://schemas.microsoft.com/office/drawing/2014/main" id="{FDD18870-B961-4BA7-957F-21B8886A0CDC}"/>
                </a:ext>
              </a:extLst>
            </p:cNvPr>
            <p:cNvSpPr/>
            <p:nvPr/>
          </p:nvSpPr>
          <p:spPr>
            <a:xfrm rot="8716295">
              <a:off x="5660365" y="29418"/>
              <a:ext cx="361480" cy="358038"/>
            </a:xfrm>
            <a:custGeom>
              <a:avLst/>
              <a:gdLst>
                <a:gd name="connsiteX0" fmla="*/ 56401 w 238830"/>
                <a:gd name="connsiteY0" fmla="*/ 236556 h 236556"/>
                <a:gd name="connsiteX1" fmla="*/ 29681 w 238830"/>
                <a:gd name="connsiteY1" fmla="*/ 218034 h 236556"/>
                <a:gd name="connsiteX2" fmla="*/ 29681 w 238830"/>
                <a:gd name="connsiteY2" fmla="*/ 45624 h 236556"/>
                <a:gd name="connsiteX3" fmla="*/ 0 w 238830"/>
                <a:gd name="connsiteY3" fmla="*/ 45624 h 236556"/>
                <a:gd name="connsiteX4" fmla="*/ 36558 w 238830"/>
                <a:gd name="connsiteY4" fmla="*/ 1425 h 236556"/>
                <a:gd name="connsiteX5" fmla="*/ 82994 w 238830"/>
                <a:gd name="connsiteY5" fmla="*/ 1425 h 236556"/>
                <a:gd name="connsiteX6" fmla="*/ 82994 w 238830"/>
                <a:gd name="connsiteY6" fmla="*/ 75242 h 236556"/>
                <a:gd name="connsiteX7" fmla="*/ 84360 w 238830"/>
                <a:gd name="connsiteY7" fmla="*/ 75242 h 236556"/>
                <a:gd name="connsiteX8" fmla="*/ 132205 w 238830"/>
                <a:gd name="connsiteY8" fmla="*/ 5981 h 236556"/>
                <a:gd name="connsiteX9" fmla="*/ 163646 w 238830"/>
                <a:gd name="connsiteY9" fmla="*/ 57 h 236556"/>
                <a:gd name="connsiteX10" fmla="*/ 238830 w 238830"/>
                <a:gd name="connsiteY10" fmla="*/ 88456 h 236556"/>
                <a:gd name="connsiteX11" fmla="*/ 238830 w 238830"/>
                <a:gd name="connsiteY11" fmla="*/ 94380 h 236556"/>
                <a:gd name="connsiteX12" fmla="*/ 176860 w 238830"/>
                <a:gd name="connsiteY12" fmla="*/ 98025 h 236556"/>
                <a:gd name="connsiteX13" fmla="*/ 176860 w 238830"/>
                <a:gd name="connsiteY13" fmla="*/ 81621 h 236556"/>
                <a:gd name="connsiteX14" fmla="*/ 143141 w 238830"/>
                <a:gd name="connsiteY14" fmla="*/ 40156 h 236556"/>
                <a:gd name="connsiteX15" fmla="*/ 89829 w 238830"/>
                <a:gd name="connsiteY15" fmla="*/ 127643 h 236556"/>
                <a:gd name="connsiteX16" fmla="*/ 89829 w 238830"/>
                <a:gd name="connsiteY16" fmla="*/ 213764 h 236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8830" h="236556">
                  <a:moveTo>
                    <a:pt x="56401" y="236556"/>
                  </a:moveTo>
                  <a:lnTo>
                    <a:pt x="29681" y="218034"/>
                  </a:lnTo>
                  <a:lnTo>
                    <a:pt x="29681" y="45624"/>
                  </a:lnTo>
                  <a:lnTo>
                    <a:pt x="0" y="45624"/>
                  </a:lnTo>
                  <a:lnTo>
                    <a:pt x="36558" y="1425"/>
                  </a:lnTo>
                  <a:lnTo>
                    <a:pt x="82994" y="1425"/>
                  </a:lnTo>
                  <a:lnTo>
                    <a:pt x="82994" y="75242"/>
                  </a:lnTo>
                  <a:lnTo>
                    <a:pt x="84360" y="75242"/>
                  </a:lnTo>
                  <a:cubicBezTo>
                    <a:pt x="98942" y="31954"/>
                    <a:pt x="110333" y="15095"/>
                    <a:pt x="132205" y="5981"/>
                  </a:cubicBezTo>
                  <a:cubicBezTo>
                    <a:pt x="142230" y="1880"/>
                    <a:pt x="152710" y="-398"/>
                    <a:pt x="163646" y="57"/>
                  </a:cubicBezTo>
                  <a:cubicBezTo>
                    <a:pt x="210579" y="-854"/>
                    <a:pt x="238830" y="31954"/>
                    <a:pt x="238830" y="88456"/>
                  </a:cubicBezTo>
                  <a:lnTo>
                    <a:pt x="238830" y="94380"/>
                  </a:lnTo>
                  <a:lnTo>
                    <a:pt x="176860" y="98025"/>
                  </a:lnTo>
                  <a:lnTo>
                    <a:pt x="176860" y="81621"/>
                  </a:lnTo>
                  <a:cubicBezTo>
                    <a:pt x="176860" y="57016"/>
                    <a:pt x="162735" y="40156"/>
                    <a:pt x="143141" y="40156"/>
                  </a:cubicBezTo>
                  <a:cubicBezTo>
                    <a:pt x="113979" y="40156"/>
                    <a:pt x="89829" y="78887"/>
                    <a:pt x="89829" y="127643"/>
                  </a:cubicBezTo>
                  <a:lnTo>
                    <a:pt x="89829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7" name="Forme libre : forme 806">
              <a:extLst>
                <a:ext uri="{FF2B5EF4-FFF2-40B4-BE49-F238E27FC236}">
                  <a16:creationId xmlns:a16="http://schemas.microsoft.com/office/drawing/2014/main" id="{D0E1C294-DAF5-41B6-B115-06272F5F9B10}"/>
                </a:ext>
              </a:extLst>
            </p:cNvPr>
            <p:cNvSpPr/>
            <p:nvPr/>
          </p:nvSpPr>
          <p:spPr>
            <a:xfrm rot="8716295">
              <a:off x="5347450" y="8999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8" name="Forme libre : forme 807">
              <a:extLst>
                <a:ext uri="{FF2B5EF4-FFF2-40B4-BE49-F238E27FC236}">
                  <a16:creationId xmlns:a16="http://schemas.microsoft.com/office/drawing/2014/main" id="{74F1E207-7916-4202-A641-550B15EFECC8}"/>
                </a:ext>
              </a:extLst>
            </p:cNvPr>
            <p:cNvSpPr/>
            <p:nvPr/>
          </p:nvSpPr>
          <p:spPr>
            <a:xfrm rot="8716295">
              <a:off x="5220022" y="-7080"/>
              <a:ext cx="219414" cy="84041"/>
            </a:xfrm>
            <a:custGeom>
              <a:avLst/>
              <a:gdLst>
                <a:gd name="connsiteX0" fmla="*/ 80105 w 144967"/>
                <a:gd name="connsiteY0" fmla="*/ 55526 h 55526"/>
                <a:gd name="connsiteX1" fmla="*/ 0 w 144967"/>
                <a:gd name="connsiteY1" fmla="*/ 0 h 55526"/>
                <a:gd name="connsiteX2" fmla="*/ 144967 w 144967"/>
                <a:gd name="connsiteY2" fmla="*/ 0 h 55526"/>
                <a:gd name="connsiteX3" fmla="*/ 144967 w 144967"/>
                <a:gd name="connsiteY3" fmla="*/ 55323 h 55526"/>
                <a:gd name="connsiteX4" fmla="*/ 80175 w 144967"/>
                <a:gd name="connsiteY4" fmla="*/ 55323 h 55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967" h="55526">
                  <a:moveTo>
                    <a:pt x="80105" y="55526"/>
                  </a:moveTo>
                  <a:lnTo>
                    <a:pt x="0" y="0"/>
                  </a:lnTo>
                  <a:lnTo>
                    <a:pt x="144967" y="0"/>
                  </a:lnTo>
                  <a:lnTo>
                    <a:pt x="144967" y="55323"/>
                  </a:lnTo>
                  <a:lnTo>
                    <a:pt x="8017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9" name="Forme libre : forme 808">
              <a:extLst>
                <a:ext uri="{FF2B5EF4-FFF2-40B4-BE49-F238E27FC236}">
                  <a16:creationId xmlns:a16="http://schemas.microsoft.com/office/drawing/2014/main" id="{FFFA1363-71F4-445A-B608-E607D2E33C24}"/>
                </a:ext>
              </a:extLst>
            </p:cNvPr>
            <p:cNvSpPr/>
            <p:nvPr/>
          </p:nvSpPr>
          <p:spPr>
            <a:xfrm rot="8716295">
              <a:off x="5483939" y="15198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0" name="Forme libre : forme 809">
              <a:extLst>
                <a:ext uri="{FF2B5EF4-FFF2-40B4-BE49-F238E27FC236}">
                  <a16:creationId xmlns:a16="http://schemas.microsoft.com/office/drawing/2014/main" id="{F26EC522-D5AA-44BE-B119-A69633A6A7B7}"/>
                </a:ext>
              </a:extLst>
            </p:cNvPr>
            <p:cNvSpPr/>
            <p:nvPr/>
          </p:nvSpPr>
          <p:spPr>
            <a:xfrm rot="8716295">
              <a:off x="5128323" y="-20358"/>
              <a:ext cx="80664" cy="63766"/>
            </a:xfrm>
            <a:custGeom>
              <a:avLst/>
              <a:gdLst>
                <a:gd name="connsiteX0" fmla="*/ 51759 w 53295"/>
                <a:gd name="connsiteY0" fmla="*/ 42130 h 42130"/>
                <a:gd name="connsiteX1" fmla="*/ 0 w 53295"/>
                <a:gd name="connsiteY1" fmla="*/ 6252 h 42130"/>
                <a:gd name="connsiteX2" fmla="*/ 14807 w 53295"/>
                <a:gd name="connsiteY2" fmla="*/ 0 h 42130"/>
                <a:gd name="connsiteX3" fmla="*/ 41975 w 53295"/>
                <a:gd name="connsiteY3" fmla="*/ 11471 h 42130"/>
                <a:gd name="connsiteX4" fmla="*/ 53295 w 53295"/>
                <a:gd name="connsiteY4" fmla="*/ 38412 h 42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295" h="42130">
                  <a:moveTo>
                    <a:pt x="51759" y="42130"/>
                  </a:moveTo>
                  <a:lnTo>
                    <a:pt x="0" y="6252"/>
                  </a:lnTo>
                  <a:lnTo>
                    <a:pt x="14807" y="0"/>
                  </a:lnTo>
                  <a:cubicBezTo>
                    <a:pt x="25071" y="0"/>
                    <a:pt x="34731" y="4226"/>
                    <a:pt x="41975" y="11471"/>
                  </a:cubicBezTo>
                  <a:cubicBezTo>
                    <a:pt x="49522" y="18716"/>
                    <a:pt x="53295" y="28526"/>
                    <a:pt x="53295" y="3841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1" name="Forme libre : forme 810">
              <a:extLst>
                <a:ext uri="{FF2B5EF4-FFF2-40B4-BE49-F238E27FC236}">
                  <a16:creationId xmlns:a16="http://schemas.microsoft.com/office/drawing/2014/main" id="{FD43579C-B307-44A1-9A8C-8DE6E00BA9DE}"/>
                </a:ext>
              </a:extLst>
            </p:cNvPr>
            <p:cNvSpPr/>
            <p:nvPr/>
          </p:nvSpPr>
          <p:spPr>
            <a:xfrm rot="7484129">
              <a:off x="5642756" y="4415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2" name="Forme libre : forme 811">
              <a:extLst>
                <a:ext uri="{FF2B5EF4-FFF2-40B4-BE49-F238E27FC236}">
                  <a16:creationId xmlns:a16="http://schemas.microsoft.com/office/drawing/2014/main" id="{32F15E24-4369-4C59-AD66-4B724D73D54B}"/>
                </a:ext>
              </a:extLst>
            </p:cNvPr>
            <p:cNvSpPr/>
            <p:nvPr/>
          </p:nvSpPr>
          <p:spPr>
            <a:xfrm rot="13089394">
              <a:off x="5789679" y="415199"/>
              <a:ext cx="360116" cy="446294"/>
            </a:xfrm>
            <a:custGeom>
              <a:avLst/>
              <a:gdLst>
                <a:gd name="connsiteX0" fmla="*/ 39306 w 237929"/>
                <a:gd name="connsiteY0" fmla="*/ 79955 h 294867"/>
                <a:gd name="connsiteX1" fmla="*/ 0 w 237929"/>
                <a:gd name="connsiteY1" fmla="*/ 20095 h 294867"/>
                <a:gd name="connsiteX2" fmla="*/ 38733 w 237929"/>
                <a:gd name="connsiteY2" fmla="*/ 0 h 294867"/>
                <a:gd name="connsiteX3" fmla="*/ 237929 w 237929"/>
                <a:gd name="connsiteY3" fmla="*/ 258238 h 294867"/>
                <a:gd name="connsiteX4" fmla="*/ 191415 w 237929"/>
                <a:gd name="connsiteY4" fmla="*/ 290069 h 294867"/>
                <a:gd name="connsiteX5" fmla="*/ 180425 w 237929"/>
                <a:gd name="connsiteY5" fmla="*/ 294867 h 294867"/>
                <a:gd name="connsiteX6" fmla="*/ 166448 w 237929"/>
                <a:gd name="connsiteY6" fmla="*/ 273582 h 294867"/>
                <a:gd name="connsiteX7" fmla="*/ 168955 w 237929"/>
                <a:gd name="connsiteY7" fmla="*/ 273136 h 294867"/>
                <a:gd name="connsiteX8" fmla="*/ 236826 w 237929"/>
                <a:gd name="connsiteY8" fmla="*/ 245547 h 294867"/>
                <a:gd name="connsiteX9" fmla="*/ 237929 w 237929"/>
                <a:gd name="connsiteY9" fmla="*/ 252720 h 294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7929" h="294867">
                  <a:moveTo>
                    <a:pt x="39306" y="79955"/>
                  </a:moveTo>
                  <a:lnTo>
                    <a:pt x="0" y="20095"/>
                  </a:lnTo>
                  <a:lnTo>
                    <a:pt x="38733" y="0"/>
                  </a:lnTo>
                  <a:close/>
                  <a:moveTo>
                    <a:pt x="237929" y="258238"/>
                  </a:moveTo>
                  <a:cubicBezTo>
                    <a:pt x="223307" y="270791"/>
                    <a:pt x="207546" y="281309"/>
                    <a:pt x="191415" y="290069"/>
                  </a:cubicBezTo>
                  <a:lnTo>
                    <a:pt x="180425" y="294867"/>
                  </a:lnTo>
                  <a:lnTo>
                    <a:pt x="166448" y="273582"/>
                  </a:lnTo>
                  <a:lnTo>
                    <a:pt x="168955" y="273136"/>
                  </a:lnTo>
                  <a:cubicBezTo>
                    <a:pt x="192130" y="265963"/>
                    <a:pt x="214754" y="256582"/>
                    <a:pt x="236826" y="245547"/>
                  </a:cubicBezTo>
                  <a:cubicBezTo>
                    <a:pt x="237377" y="247754"/>
                    <a:pt x="237929" y="250513"/>
                    <a:pt x="237929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3" name="Forme libre : forme 812">
              <a:extLst>
                <a:ext uri="{FF2B5EF4-FFF2-40B4-BE49-F238E27FC236}">
                  <a16:creationId xmlns:a16="http://schemas.microsoft.com/office/drawing/2014/main" id="{4456445D-FEFF-4497-984E-23E7AE4DB2E6}"/>
                </a:ext>
              </a:extLst>
            </p:cNvPr>
            <p:cNvSpPr/>
            <p:nvPr/>
          </p:nvSpPr>
          <p:spPr>
            <a:xfrm rot="8716295">
              <a:off x="5996886" y="-12676"/>
              <a:ext cx="90399" cy="122140"/>
            </a:xfrm>
            <a:custGeom>
              <a:avLst/>
              <a:gdLst>
                <a:gd name="connsiteX0" fmla="*/ 0 w 59727"/>
                <a:gd name="connsiteY0" fmla="*/ 52945 h 80698"/>
                <a:gd name="connsiteX1" fmla="*/ 43791 w 59727"/>
                <a:gd name="connsiteY1" fmla="*/ 0 h 80698"/>
                <a:gd name="connsiteX2" fmla="*/ 59727 w 59727"/>
                <a:gd name="connsiteY2" fmla="*/ 37928 h 80698"/>
                <a:gd name="connsiteX3" fmla="*/ 42480 w 59727"/>
                <a:gd name="connsiteY3" fmla="*/ 79666 h 80698"/>
                <a:gd name="connsiteX4" fmla="*/ 40038 w 59727"/>
                <a:gd name="connsiteY4" fmla="*/ 80698 h 80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727" h="80698">
                  <a:moveTo>
                    <a:pt x="0" y="52945"/>
                  </a:moveTo>
                  <a:lnTo>
                    <a:pt x="43791" y="0"/>
                  </a:lnTo>
                  <a:lnTo>
                    <a:pt x="59727" y="37928"/>
                  </a:lnTo>
                  <a:cubicBezTo>
                    <a:pt x="59727" y="52991"/>
                    <a:pt x="53978" y="68168"/>
                    <a:pt x="42480" y="79666"/>
                  </a:cubicBezTo>
                  <a:lnTo>
                    <a:pt x="40038" y="806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4" name="Forme libre : forme 813">
              <a:extLst>
                <a:ext uri="{FF2B5EF4-FFF2-40B4-BE49-F238E27FC236}">
                  <a16:creationId xmlns:a16="http://schemas.microsoft.com/office/drawing/2014/main" id="{8608BF4F-989C-471C-8F7D-609DB58E76BD}"/>
                </a:ext>
              </a:extLst>
            </p:cNvPr>
            <p:cNvSpPr/>
            <p:nvPr/>
          </p:nvSpPr>
          <p:spPr>
            <a:xfrm rot="8716295">
              <a:off x="5631023" y="-8174"/>
              <a:ext cx="87445" cy="82387"/>
            </a:xfrm>
            <a:custGeom>
              <a:avLst/>
              <a:gdLst>
                <a:gd name="connsiteX0" fmla="*/ 37946 w 57775"/>
                <a:gd name="connsiteY0" fmla="*/ 54433 h 54433"/>
                <a:gd name="connsiteX1" fmla="*/ 0 w 57775"/>
                <a:gd name="connsiteY1" fmla="*/ 28130 h 54433"/>
                <a:gd name="connsiteX2" fmla="*/ 8222 w 57775"/>
                <a:gd name="connsiteY2" fmla="*/ 8658 h 54433"/>
                <a:gd name="connsiteX3" fmla="*/ 28726 w 57775"/>
                <a:gd name="connsiteY3" fmla="*/ 0 h 54433"/>
                <a:gd name="connsiteX4" fmla="*/ 49232 w 57775"/>
                <a:gd name="connsiteY4" fmla="*/ 8658 h 54433"/>
                <a:gd name="connsiteX5" fmla="*/ 49232 w 57775"/>
                <a:gd name="connsiteY5" fmla="*/ 49668 h 54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775" h="54433">
                  <a:moveTo>
                    <a:pt x="37946" y="54433"/>
                  </a:moveTo>
                  <a:lnTo>
                    <a:pt x="0" y="28130"/>
                  </a:lnTo>
                  <a:lnTo>
                    <a:pt x="8222" y="8658"/>
                  </a:lnTo>
                  <a:cubicBezTo>
                    <a:pt x="13690" y="3190"/>
                    <a:pt x="20981" y="0"/>
                    <a:pt x="28726" y="0"/>
                  </a:cubicBezTo>
                  <a:cubicBezTo>
                    <a:pt x="36473" y="0"/>
                    <a:pt x="43764" y="3190"/>
                    <a:pt x="49232" y="8658"/>
                  </a:cubicBezTo>
                  <a:cubicBezTo>
                    <a:pt x="60624" y="19594"/>
                    <a:pt x="60623" y="38276"/>
                    <a:pt x="49232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411" name="Espace réservé du texte 410">
            <a:extLst>
              <a:ext uri="{FF2B5EF4-FFF2-40B4-BE49-F238E27FC236}">
                <a16:creationId xmlns:a16="http://schemas.microsoft.com/office/drawing/2014/main" id="{E014E6DC-AD19-40E5-A2B7-DF68385EE1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3541" y="526470"/>
            <a:ext cx="7379432" cy="29918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1pPr>
            <a:lvl2pPr marL="0" indent="0">
              <a:buNone/>
              <a:defRPr sz="5400" b="1" cap="all" baseline="0">
                <a:solidFill>
                  <a:srgbClr val="009FE3"/>
                </a:solidFill>
              </a:defRPr>
            </a:lvl2pPr>
          </a:lstStyle>
          <a:p>
            <a:pPr lvl="0"/>
            <a:r>
              <a:rPr lang="fr-FR" dirty="0"/>
              <a:t>Titre de la présentation</a:t>
            </a:r>
          </a:p>
          <a:p>
            <a:pPr lvl="1"/>
            <a:r>
              <a:rPr lang="fr-FR" dirty="0"/>
              <a:t>exergue</a:t>
            </a:r>
          </a:p>
        </p:txBody>
      </p:sp>
      <p:pic>
        <p:nvPicPr>
          <p:cNvPr id="408" name="Graphique 407">
            <a:extLst>
              <a:ext uri="{FF2B5EF4-FFF2-40B4-BE49-F238E27FC236}">
                <a16:creationId xmlns:a16="http://schemas.microsoft.com/office/drawing/2014/main" id="{448F94F4-8E31-46DD-9D3E-E96498FF82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97194" y="3988359"/>
            <a:ext cx="2255854" cy="67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040008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itr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>
            <a:extLst>
              <a:ext uri="{FF2B5EF4-FFF2-40B4-BE49-F238E27FC236}">
                <a16:creationId xmlns:a16="http://schemas.microsoft.com/office/drawing/2014/main" id="{6A348ADD-AB0E-41AD-9203-40019D501D09}"/>
              </a:ext>
            </a:extLst>
          </p:cNvPr>
          <p:cNvGrpSpPr/>
          <p:nvPr userDrawn="1"/>
        </p:nvGrpSpPr>
        <p:grpSpPr>
          <a:xfrm>
            <a:off x="-134707" y="-108618"/>
            <a:ext cx="6284502" cy="5381969"/>
            <a:chOff x="-134707" y="-108618"/>
            <a:chExt cx="6284502" cy="5381969"/>
          </a:xfrm>
          <a:solidFill>
            <a:schemeClr val="bg2">
              <a:alpha val="10000"/>
            </a:schemeClr>
          </a:solidFill>
        </p:grpSpPr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4588E603-EA6D-4A8D-ABC7-9DE29315EF7F}"/>
                </a:ext>
              </a:extLst>
            </p:cNvPr>
            <p:cNvSpPr/>
            <p:nvPr/>
          </p:nvSpPr>
          <p:spPr>
            <a:xfrm rot="8716295">
              <a:off x="1460344" y="348006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8D98135C-BBC2-4D16-96A0-7D0791CBF234}"/>
                </a:ext>
              </a:extLst>
            </p:cNvPr>
            <p:cNvSpPr/>
            <p:nvPr/>
          </p:nvSpPr>
          <p:spPr>
            <a:xfrm rot="8716295">
              <a:off x="1595642" y="352432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99CC6255-5792-4F9C-BE71-CF421386A627}"/>
                </a:ext>
              </a:extLst>
            </p:cNvPr>
            <p:cNvSpPr/>
            <p:nvPr/>
          </p:nvSpPr>
          <p:spPr>
            <a:xfrm rot="8716295">
              <a:off x="1527760" y="339373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4D44D8C2-4775-4ED6-AF57-EBCE00D0B723}"/>
                </a:ext>
              </a:extLst>
            </p:cNvPr>
            <p:cNvSpPr/>
            <p:nvPr/>
          </p:nvSpPr>
          <p:spPr>
            <a:xfrm rot="8716295">
              <a:off x="1290473" y="361408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EC13E85B-F308-4A84-A6BC-C18C71386F58}"/>
                </a:ext>
              </a:extLst>
            </p:cNvPr>
            <p:cNvSpPr/>
            <p:nvPr/>
          </p:nvSpPr>
          <p:spPr>
            <a:xfrm rot="8716295">
              <a:off x="1101427" y="329824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6E015BB2-4D35-4CF4-A5C2-59649EEBFF40}"/>
                </a:ext>
              </a:extLst>
            </p:cNvPr>
            <p:cNvSpPr/>
            <p:nvPr/>
          </p:nvSpPr>
          <p:spPr>
            <a:xfrm rot="8716295">
              <a:off x="1083185" y="3088198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9BFD4E55-95DB-4948-9F11-510807EC9D8A}"/>
                </a:ext>
              </a:extLst>
            </p:cNvPr>
            <p:cNvSpPr/>
            <p:nvPr/>
          </p:nvSpPr>
          <p:spPr>
            <a:xfrm rot="8716295">
              <a:off x="1426961" y="367606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4A110395-765E-4DD5-AC3E-A28545974AAB}"/>
                </a:ext>
              </a:extLst>
            </p:cNvPr>
            <p:cNvSpPr/>
            <p:nvPr/>
          </p:nvSpPr>
          <p:spPr>
            <a:xfrm rot="8716295">
              <a:off x="1897908" y="310145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752DD23B-ED4C-4692-9CB0-792B6E8C38E8}"/>
                </a:ext>
              </a:extLst>
            </p:cNvPr>
            <p:cNvSpPr/>
            <p:nvPr/>
          </p:nvSpPr>
          <p:spPr>
            <a:xfrm rot="8716295">
              <a:off x="2033206" y="314571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407B9478-6D17-4EBC-AE18-7FD28A2FC874}"/>
                </a:ext>
              </a:extLst>
            </p:cNvPr>
            <p:cNvSpPr/>
            <p:nvPr/>
          </p:nvSpPr>
          <p:spPr>
            <a:xfrm rot="8716295">
              <a:off x="1728037" y="323546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DDF2324E-ABD3-44DC-8D06-AD3B881C1A39}"/>
                </a:ext>
              </a:extLst>
            </p:cNvPr>
            <p:cNvSpPr/>
            <p:nvPr/>
          </p:nvSpPr>
          <p:spPr>
            <a:xfrm rot="8716295">
              <a:off x="1538992" y="291963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EF0C42E5-DDE5-4434-B96B-A910A8DADC60}"/>
                </a:ext>
              </a:extLst>
            </p:cNvPr>
            <p:cNvSpPr/>
            <p:nvPr/>
          </p:nvSpPr>
          <p:spPr>
            <a:xfrm rot="8716295">
              <a:off x="1864525" y="329745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1AF80BC5-2FE2-47AB-8E9C-E26EB916D016}"/>
                </a:ext>
              </a:extLst>
            </p:cNvPr>
            <p:cNvSpPr/>
            <p:nvPr/>
          </p:nvSpPr>
          <p:spPr>
            <a:xfrm rot="8716295">
              <a:off x="1499078" y="307102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B1E25E5F-E250-4318-97CF-E3EF2CD18D72}"/>
                </a:ext>
              </a:extLst>
            </p:cNvPr>
            <p:cNvSpPr/>
            <p:nvPr/>
          </p:nvSpPr>
          <p:spPr>
            <a:xfrm rot="7484129">
              <a:off x="2023343" y="358706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3240DB54-B585-4364-A4CC-E94E9F63B7D1}"/>
                </a:ext>
              </a:extLst>
            </p:cNvPr>
            <p:cNvSpPr/>
            <p:nvPr/>
          </p:nvSpPr>
          <p:spPr>
            <a:xfrm rot="13089394">
              <a:off x="2181992" y="353641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273F70D5-0FDD-4CE1-814B-D9312EE2ED7C}"/>
                </a:ext>
              </a:extLst>
            </p:cNvPr>
            <p:cNvSpPr/>
            <p:nvPr/>
          </p:nvSpPr>
          <p:spPr>
            <a:xfrm rot="8716295">
              <a:off x="2462883" y="3246298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C7DAFD7E-6F4A-40E6-A59C-00BDC917B87B}"/>
                </a:ext>
              </a:extLst>
            </p:cNvPr>
            <p:cNvSpPr/>
            <p:nvPr/>
          </p:nvSpPr>
          <p:spPr>
            <a:xfrm rot="8716295">
              <a:off x="2384474" y="308950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48BC9105-C681-433B-8AF1-4FE2E6AF7484}"/>
                </a:ext>
              </a:extLst>
            </p:cNvPr>
            <p:cNvSpPr/>
            <p:nvPr/>
          </p:nvSpPr>
          <p:spPr>
            <a:xfrm rot="8716295">
              <a:off x="2016311" y="313524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1A014423-3778-467F-945D-40491D2DDC50}"/>
                </a:ext>
              </a:extLst>
            </p:cNvPr>
            <p:cNvSpPr/>
            <p:nvPr/>
          </p:nvSpPr>
          <p:spPr>
            <a:xfrm rot="8716295">
              <a:off x="2284892" y="289422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754E4A02-6646-4EF0-8CC5-B9030AE2C233}"/>
                </a:ext>
              </a:extLst>
            </p:cNvPr>
            <p:cNvSpPr/>
            <p:nvPr/>
          </p:nvSpPr>
          <p:spPr>
            <a:xfrm rot="8716295">
              <a:off x="1798117" y="447855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84764706-CB95-4A07-B328-B801005B7146}"/>
                </a:ext>
              </a:extLst>
            </p:cNvPr>
            <p:cNvSpPr/>
            <p:nvPr/>
          </p:nvSpPr>
          <p:spPr>
            <a:xfrm rot="8716295">
              <a:off x="1933415" y="452281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B1C7133F-9245-4557-9366-3880E57EEB00}"/>
                </a:ext>
              </a:extLst>
            </p:cNvPr>
            <p:cNvSpPr/>
            <p:nvPr/>
          </p:nvSpPr>
          <p:spPr>
            <a:xfrm rot="8716295">
              <a:off x="1865533" y="439222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34C731BB-8709-4827-B371-DEB3D84B9346}"/>
                </a:ext>
              </a:extLst>
            </p:cNvPr>
            <p:cNvSpPr/>
            <p:nvPr/>
          </p:nvSpPr>
          <p:spPr>
            <a:xfrm rot="8716295">
              <a:off x="1628246" y="461256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800CC594-61C3-4799-9C62-0BE95617F0FD}"/>
                </a:ext>
              </a:extLst>
            </p:cNvPr>
            <p:cNvSpPr/>
            <p:nvPr/>
          </p:nvSpPr>
          <p:spPr>
            <a:xfrm rot="8716295">
              <a:off x="1439200" y="42967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6F690A0E-19E3-4512-B7F9-01EE4EBA9F6E}"/>
                </a:ext>
              </a:extLst>
            </p:cNvPr>
            <p:cNvSpPr/>
            <p:nvPr/>
          </p:nvSpPr>
          <p:spPr>
            <a:xfrm rot="8716295">
              <a:off x="1420958" y="408668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2D91E14E-69D9-458E-AA57-95A8078F1A19}"/>
                </a:ext>
              </a:extLst>
            </p:cNvPr>
            <p:cNvSpPr/>
            <p:nvPr/>
          </p:nvSpPr>
          <p:spPr>
            <a:xfrm rot="8716295">
              <a:off x="1764734" y="467454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4AA00D19-4A76-4DED-BF30-5DD56557E862}"/>
                </a:ext>
              </a:extLst>
            </p:cNvPr>
            <p:cNvSpPr/>
            <p:nvPr/>
          </p:nvSpPr>
          <p:spPr>
            <a:xfrm rot="8716295">
              <a:off x="2235681" y="409993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CBB48ABD-C4EA-4731-A8E5-5C6B6C5A0C84}"/>
                </a:ext>
              </a:extLst>
            </p:cNvPr>
            <p:cNvSpPr/>
            <p:nvPr/>
          </p:nvSpPr>
          <p:spPr>
            <a:xfrm rot="8716295">
              <a:off x="2370979" y="414419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FCD4CF90-F0E0-483F-9CE2-EAEE6404C598}"/>
                </a:ext>
              </a:extLst>
            </p:cNvPr>
            <p:cNvSpPr/>
            <p:nvPr/>
          </p:nvSpPr>
          <p:spPr>
            <a:xfrm rot="8716295">
              <a:off x="2065810" y="423395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F3A52091-BF4B-4E28-BD12-E3FE0875DBCF}"/>
                </a:ext>
              </a:extLst>
            </p:cNvPr>
            <p:cNvSpPr/>
            <p:nvPr/>
          </p:nvSpPr>
          <p:spPr>
            <a:xfrm rot="8716295">
              <a:off x="1876765" y="391811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75F64C77-DBE2-4786-9809-DB042689E4B6}"/>
                </a:ext>
              </a:extLst>
            </p:cNvPr>
            <p:cNvSpPr/>
            <p:nvPr/>
          </p:nvSpPr>
          <p:spPr>
            <a:xfrm rot="8716295">
              <a:off x="2202298" y="4295933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12F37080-96E6-4BE1-9E48-2B02CD2E20C4}"/>
                </a:ext>
              </a:extLst>
            </p:cNvPr>
            <p:cNvSpPr/>
            <p:nvPr/>
          </p:nvSpPr>
          <p:spPr>
            <a:xfrm rot="8716295">
              <a:off x="1836851" y="406950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BA151B90-2B5B-4D4D-A2AA-26322C46F857}"/>
                </a:ext>
              </a:extLst>
            </p:cNvPr>
            <p:cNvSpPr/>
            <p:nvPr/>
          </p:nvSpPr>
          <p:spPr>
            <a:xfrm rot="7484129">
              <a:off x="2361116" y="458555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0655C4A9-132B-4E8E-AB50-E63B4234234E}"/>
                </a:ext>
              </a:extLst>
            </p:cNvPr>
            <p:cNvSpPr/>
            <p:nvPr/>
          </p:nvSpPr>
          <p:spPr>
            <a:xfrm rot="13089394">
              <a:off x="2519765" y="4534899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51BD05F6-BFFD-42CC-A6C8-403F5F81023E}"/>
                </a:ext>
              </a:extLst>
            </p:cNvPr>
            <p:cNvSpPr/>
            <p:nvPr/>
          </p:nvSpPr>
          <p:spPr>
            <a:xfrm rot="8716295">
              <a:off x="2800656" y="4244781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609B85C6-C9FE-4876-9C99-F8DA190549CF}"/>
                </a:ext>
              </a:extLst>
            </p:cNvPr>
            <p:cNvSpPr/>
            <p:nvPr/>
          </p:nvSpPr>
          <p:spPr>
            <a:xfrm rot="8716295">
              <a:off x="2722247" y="4087989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AB57FACB-9405-4A22-84F1-4CDEB84773AC}"/>
                </a:ext>
              </a:extLst>
            </p:cNvPr>
            <p:cNvSpPr/>
            <p:nvPr/>
          </p:nvSpPr>
          <p:spPr>
            <a:xfrm rot="8716295">
              <a:off x="2354084" y="413373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65AC372A-885B-4835-966A-B09A3AC7B1A3}"/>
                </a:ext>
              </a:extLst>
            </p:cNvPr>
            <p:cNvSpPr/>
            <p:nvPr/>
          </p:nvSpPr>
          <p:spPr>
            <a:xfrm rot="8716295">
              <a:off x="2622665" y="389271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16EC5E3E-C2D3-4E46-B9F8-A7FD4A85025F}"/>
                </a:ext>
              </a:extLst>
            </p:cNvPr>
            <p:cNvSpPr/>
            <p:nvPr/>
          </p:nvSpPr>
          <p:spPr>
            <a:xfrm rot="8716295">
              <a:off x="1836002" y="5051565"/>
              <a:ext cx="229466" cy="172677"/>
            </a:xfrm>
            <a:custGeom>
              <a:avLst/>
              <a:gdLst>
                <a:gd name="connsiteX0" fmla="*/ 37429 w 229466"/>
                <a:gd name="connsiteY0" fmla="*/ 127889 h 172677"/>
                <a:gd name="connsiteX1" fmla="*/ 864 w 229466"/>
                <a:gd name="connsiteY1" fmla="*/ 25330 h 172677"/>
                <a:gd name="connsiteX2" fmla="*/ 0 w 229466"/>
                <a:gd name="connsiteY2" fmla="*/ 0 h 172677"/>
                <a:gd name="connsiteX3" fmla="*/ 229466 w 229466"/>
                <a:gd name="connsiteY3" fmla="*/ 159058 h 172677"/>
                <a:gd name="connsiteX4" fmla="*/ 210504 w 229466"/>
                <a:gd name="connsiteY4" fmla="*/ 164122 h 172677"/>
                <a:gd name="connsiteX5" fmla="*/ 146960 w 229466"/>
                <a:gd name="connsiteY5" fmla="*/ 172414 h 172677"/>
                <a:gd name="connsiteX6" fmla="*/ 37429 w 229466"/>
                <a:gd name="connsiteY6" fmla="*/ 127889 h 172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9466" h="172677">
                  <a:moveTo>
                    <a:pt x="37429" y="127889"/>
                  </a:moveTo>
                  <a:cubicBezTo>
                    <a:pt x="14722" y="105850"/>
                    <a:pt x="4537" y="71789"/>
                    <a:pt x="864" y="25330"/>
                  </a:cubicBezTo>
                  <a:lnTo>
                    <a:pt x="0" y="0"/>
                  </a:lnTo>
                  <a:lnTo>
                    <a:pt x="229466" y="159058"/>
                  </a:lnTo>
                  <a:lnTo>
                    <a:pt x="210504" y="164122"/>
                  </a:lnTo>
                  <a:cubicBezTo>
                    <a:pt x="187032" y="168685"/>
                    <a:pt x="165437" y="171301"/>
                    <a:pt x="146960" y="172414"/>
                  </a:cubicBezTo>
                  <a:cubicBezTo>
                    <a:pt x="105998" y="175086"/>
                    <a:pt x="65926" y="157276"/>
                    <a:pt x="37429" y="12788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F08DD499-2506-4E8C-B26B-EF1D8CEA3AA9}"/>
                </a:ext>
              </a:extLst>
            </p:cNvPr>
            <p:cNvSpPr/>
            <p:nvPr/>
          </p:nvSpPr>
          <p:spPr>
            <a:xfrm rot="8716295">
              <a:off x="2865171" y="5107739"/>
              <a:ext cx="36955" cy="50812"/>
            </a:xfrm>
            <a:custGeom>
              <a:avLst/>
              <a:gdLst>
                <a:gd name="connsiteX0" fmla="*/ 0 w 36955"/>
                <a:gd name="connsiteY0" fmla="*/ 50812 h 50812"/>
                <a:gd name="connsiteX1" fmla="*/ 0 w 36955"/>
                <a:gd name="connsiteY1" fmla="*/ 0 h 50812"/>
                <a:gd name="connsiteX2" fmla="*/ 36955 w 36955"/>
                <a:gd name="connsiteY2" fmla="*/ 25616 h 50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955" h="50812">
                  <a:moveTo>
                    <a:pt x="0" y="50812"/>
                  </a:moveTo>
                  <a:lnTo>
                    <a:pt x="0" y="0"/>
                  </a:lnTo>
                  <a:lnTo>
                    <a:pt x="36955" y="256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D6EEB4E8-6237-4C85-A670-00A3A02268AB}"/>
                </a:ext>
              </a:extLst>
            </p:cNvPr>
            <p:cNvSpPr/>
            <p:nvPr/>
          </p:nvSpPr>
          <p:spPr>
            <a:xfrm rot="8716295">
              <a:off x="2291544" y="4886156"/>
              <a:ext cx="209028" cy="296463"/>
            </a:xfrm>
            <a:custGeom>
              <a:avLst/>
              <a:gdLst>
                <a:gd name="connsiteX0" fmla="*/ 137293 w 209028"/>
                <a:gd name="connsiteY0" fmla="*/ 296463 h 296463"/>
                <a:gd name="connsiteX1" fmla="*/ 72418 w 209028"/>
                <a:gd name="connsiteY1" fmla="*/ 175766 h 296463"/>
                <a:gd name="connsiteX2" fmla="*/ 105610 w 209028"/>
                <a:gd name="connsiteY2" fmla="*/ 83734 h 296463"/>
                <a:gd name="connsiteX3" fmla="*/ 0 w 209028"/>
                <a:gd name="connsiteY3" fmla="*/ 83734 h 296463"/>
                <a:gd name="connsiteX4" fmla="*/ 0 w 209028"/>
                <a:gd name="connsiteY4" fmla="*/ 0 h 296463"/>
                <a:gd name="connsiteX5" fmla="*/ 82199 w 209028"/>
                <a:gd name="connsiteY5" fmla="*/ 0 h 296463"/>
                <a:gd name="connsiteX6" fmla="*/ 209028 w 209028"/>
                <a:gd name="connsiteY6" fmla="*/ 87913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028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82199" y="0"/>
                  </a:lnTo>
                  <a:lnTo>
                    <a:pt x="209028" y="8791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75A29BD1-A3F5-48BC-80D8-DAC3DEE5842D}"/>
                </a:ext>
              </a:extLst>
            </p:cNvPr>
            <p:cNvSpPr/>
            <p:nvPr/>
          </p:nvSpPr>
          <p:spPr>
            <a:xfrm rot="8716295">
              <a:off x="2159594" y="5061280"/>
              <a:ext cx="112869" cy="105684"/>
            </a:xfrm>
            <a:custGeom>
              <a:avLst/>
              <a:gdLst>
                <a:gd name="connsiteX0" fmla="*/ 17362 w 112869"/>
                <a:gd name="connsiteY0" fmla="*/ 89236 h 105684"/>
                <a:gd name="connsiteX1" fmla="*/ 0 w 112869"/>
                <a:gd name="connsiteY1" fmla="*/ 48117 h 105684"/>
                <a:gd name="connsiteX2" fmla="*/ 0 w 112869"/>
                <a:gd name="connsiteY2" fmla="*/ 47203 h 105684"/>
                <a:gd name="connsiteX3" fmla="*/ 17362 w 112869"/>
                <a:gd name="connsiteY3" fmla="*/ 6084 h 105684"/>
                <a:gd name="connsiteX4" fmla="*/ 31771 w 112869"/>
                <a:gd name="connsiteY4" fmla="*/ 0 h 105684"/>
                <a:gd name="connsiteX5" fmla="*/ 112869 w 112869"/>
                <a:gd name="connsiteY5" fmla="*/ 56215 h 105684"/>
                <a:gd name="connsiteX6" fmla="*/ 99601 w 112869"/>
                <a:gd name="connsiteY6" fmla="*/ 88323 h 105684"/>
                <a:gd name="connsiteX7" fmla="*/ 58481 w 112869"/>
                <a:gd name="connsiteY7" fmla="*/ 105684 h 105684"/>
                <a:gd name="connsiteX8" fmla="*/ 17362 w 112869"/>
                <a:gd name="connsiteY8" fmla="*/ 89236 h 105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869" h="105684">
                  <a:moveTo>
                    <a:pt x="17362" y="89236"/>
                  </a:moveTo>
                  <a:cubicBezTo>
                    <a:pt x="6397" y="78271"/>
                    <a:pt x="0" y="63651"/>
                    <a:pt x="0" y="48117"/>
                  </a:cubicBezTo>
                  <a:lnTo>
                    <a:pt x="0" y="47203"/>
                  </a:lnTo>
                  <a:cubicBezTo>
                    <a:pt x="0" y="31669"/>
                    <a:pt x="6397" y="17049"/>
                    <a:pt x="17362" y="6084"/>
                  </a:cubicBezTo>
                  <a:lnTo>
                    <a:pt x="31771" y="0"/>
                  </a:lnTo>
                  <a:lnTo>
                    <a:pt x="112869" y="56215"/>
                  </a:lnTo>
                  <a:lnTo>
                    <a:pt x="99601" y="88323"/>
                  </a:lnTo>
                  <a:cubicBezTo>
                    <a:pt x="88636" y="99288"/>
                    <a:pt x="74015" y="105684"/>
                    <a:pt x="58481" y="105684"/>
                  </a:cubicBezTo>
                  <a:cubicBezTo>
                    <a:pt x="42947" y="105684"/>
                    <a:pt x="28327" y="100202"/>
                    <a:pt x="17362" y="8923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758380ED-469C-45F2-855D-EE8309CFADD8}"/>
                </a:ext>
              </a:extLst>
            </p:cNvPr>
            <p:cNvSpPr/>
            <p:nvPr/>
          </p:nvSpPr>
          <p:spPr>
            <a:xfrm rot="8716295">
              <a:off x="3051941" y="5073759"/>
              <a:ext cx="145251" cy="115110"/>
            </a:xfrm>
            <a:custGeom>
              <a:avLst/>
              <a:gdLst>
                <a:gd name="connsiteX0" fmla="*/ 26453 w 145251"/>
                <a:gd name="connsiteY0" fmla="*/ 90050 h 115110"/>
                <a:gd name="connsiteX1" fmla="*/ 0 w 145251"/>
                <a:gd name="connsiteY1" fmla="*/ 27401 h 115110"/>
                <a:gd name="connsiteX2" fmla="*/ 0 w 145251"/>
                <a:gd name="connsiteY2" fmla="*/ 26008 h 115110"/>
                <a:gd name="connsiteX3" fmla="*/ 10982 w 145251"/>
                <a:gd name="connsiteY3" fmla="*/ 0 h 115110"/>
                <a:gd name="connsiteX4" fmla="*/ 145251 w 145251"/>
                <a:gd name="connsiteY4" fmla="*/ 93071 h 115110"/>
                <a:gd name="connsiteX5" fmla="*/ 123037 w 145251"/>
                <a:gd name="connsiteY5" fmla="*/ 108149 h 115110"/>
                <a:gd name="connsiteX6" fmla="*/ 89101 w 145251"/>
                <a:gd name="connsiteY6" fmla="*/ 115110 h 115110"/>
                <a:gd name="connsiteX7" fmla="*/ 26453 w 145251"/>
                <a:gd name="connsiteY7" fmla="*/ 90050 h 11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5251" h="115110">
                  <a:moveTo>
                    <a:pt x="26453" y="90050"/>
                  </a:moveTo>
                  <a:cubicBezTo>
                    <a:pt x="9746" y="73344"/>
                    <a:pt x="0" y="51068"/>
                    <a:pt x="0" y="27401"/>
                  </a:cubicBezTo>
                  <a:lnTo>
                    <a:pt x="0" y="26008"/>
                  </a:lnTo>
                  <a:lnTo>
                    <a:pt x="10982" y="0"/>
                  </a:lnTo>
                  <a:lnTo>
                    <a:pt x="145251" y="93071"/>
                  </a:lnTo>
                  <a:lnTo>
                    <a:pt x="123037" y="108149"/>
                  </a:lnTo>
                  <a:cubicBezTo>
                    <a:pt x="112421" y="112674"/>
                    <a:pt x="100936" y="115110"/>
                    <a:pt x="89101" y="115110"/>
                  </a:cubicBezTo>
                  <a:cubicBezTo>
                    <a:pt x="65434" y="115110"/>
                    <a:pt x="43159" y="106756"/>
                    <a:pt x="26453" y="900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D2FD6770-3791-4A82-87D2-F41D30AA61F3}"/>
                </a:ext>
              </a:extLst>
            </p:cNvPr>
            <p:cNvSpPr/>
            <p:nvPr/>
          </p:nvSpPr>
          <p:spPr>
            <a:xfrm rot="8716295">
              <a:off x="2953631" y="488922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109B9DB6-A180-42FF-BEBB-6114EE67841E}"/>
                </a:ext>
              </a:extLst>
            </p:cNvPr>
            <p:cNvSpPr/>
            <p:nvPr/>
          </p:nvSpPr>
          <p:spPr>
            <a:xfrm rot="8716295">
              <a:off x="1125067" y="247965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D4702D56-6C32-4790-8116-5036F59380ED}"/>
                </a:ext>
              </a:extLst>
            </p:cNvPr>
            <p:cNvSpPr/>
            <p:nvPr/>
          </p:nvSpPr>
          <p:spPr>
            <a:xfrm rot="8716295">
              <a:off x="1260365" y="252391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55878CEF-C667-4CA0-83B8-66D034466A4C}"/>
                </a:ext>
              </a:extLst>
            </p:cNvPr>
            <p:cNvSpPr/>
            <p:nvPr/>
          </p:nvSpPr>
          <p:spPr>
            <a:xfrm rot="8716295">
              <a:off x="1192483" y="2393326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E6E1C2BC-10AA-4F2A-83E2-85D799983A4B}"/>
                </a:ext>
              </a:extLst>
            </p:cNvPr>
            <p:cNvSpPr/>
            <p:nvPr/>
          </p:nvSpPr>
          <p:spPr>
            <a:xfrm rot="8716295">
              <a:off x="955196" y="261367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6DA02057-79DE-4340-93FA-D8616C8993CD}"/>
                </a:ext>
              </a:extLst>
            </p:cNvPr>
            <p:cNvSpPr/>
            <p:nvPr/>
          </p:nvSpPr>
          <p:spPr>
            <a:xfrm rot="8716295">
              <a:off x="766149" y="229783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F3D3F9A3-B786-4BB9-92E8-BAA2206B9AFB}"/>
                </a:ext>
              </a:extLst>
            </p:cNvPr>
            <p:cNvSpPr/>
            <p:nvPr/>
          </p:nvSpPr>
          <p:spPr>
            <a:xfrm rot="8716295">
              <a:off x="747908" y="2087785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777BD4C8-2DD8-47D0-9247-9DDE2E15298C}"/>
                </a:ext>
              </a:extLst>
            </p:cNvPr>
            <p:cNvSpPr/>
            <p:nvPr/>
          </p:nvSpPr>
          <p:spPr>
            <a:xfrm rot="8716295">
              <a:off x="1091684" y="2675653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orme libre : forme 58">
              <a:extLst>
                <a:ext uri="{FF2B5EF4-FFF2-40B4-BE49-F238E27FC236}">
                  <a16:creationId xmlns:a16="http://schemas.microsoft.com/office/drawing/2014/main" id="{A1948EB1-3E61-48E9-872F-CED3F8D5CC5E}"/>
                </a:ext>
              </a:extLst>
            </p:cNvPr>
            <p:cNvSpPr/>
            <p:nvPr/>
          </p:nvSpPr>
          <p:spPr>
            <a:xfrm rot="8716295">
              <a:off x="1562630" y="210103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orme libre : forme 59">
              <a:extLst>
                <a:ext uri="{FF2B5EF4-FFF2-40B4-BE49-F238E27FC236}">
                  <a16:creationId xmlns:a16="http://schemas.microsoft.com/office/drawing/2014/main" id="{AF9F2A1A-5C85-4204-9B23-373EE49CB276}"/>
                </a:ext>
              </a:extLst>
            </p:cNvPr>
            <p:cNvSpPr/>
            <p:nvPr/>
          </p:nvSpPr>
          <p:spPr>
            <a:xfrm rot="8716295">
              <a:off x="1697929" y="214529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orme libre : forme 60">
              <a:extLst>
                <a:ext uri="{FF2B5EF4-FFF2-40B4-BE49-F238E27FC236}">
                  <a16:creationId xmlns:a16="http://schemas.microsoft.com/office/drawing/2014/main" id="{4763868B-B7EF-4B8B-B818-D645A2592C05}"/>
                </a:ext>
              </a:extLst>
            </p:cNvPr>
            <p:cNvSpPr/>
            <p:nvPr/>
          </p:nvSpPr>
          <p:spPr>
            <a:xfrm rot="8716295">
              <a:off x="1392759" y="223505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orme libre : forme 61">
              <a:extLst>
                <a:ext uri="{FF2B5EF4-FFF2-40B4-BE49-F238E27FC236}">
                  <a16:creationId xmlns:a16="http://schemas.microsoft.com/office/drawing/2014/main" id="{046CA86F-6D3D-407A-B321-54764D2D59CB}"/>
                </a:ext>
              </a:extLst>
            </p:cNvPr>
            <p:cNvSpPr/>
            <p:nvPr/>
          </p:nvSpPr>
          <p:spPr>
            <a:xfrm rot="8716295">
              <a:off x="1203715" y="191921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orme libre : forme 62">
              <a:extLst>
                <a:ext uri="{FF2B5EF4-FFF2-40B4-BE49-F238E27FC236}">
                  <a16:creationId xmlns:a16="http://schemas.microsoft.com/office/drawing/2014/main" id="{AFD12AFD-CB5D-4640-9FE9-92C355A72778}"/>
                </a:ext>
              </a:extLst>
            </p:cNvPr>
            <p:cNvSpPr/>
            <p:nvPr/>
          </p:nvSpPr>
          <p:spPr>
            <a:xfrm rot="8716295">
              <a:off x="1529248" y="2297037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orme libre : forme 63">
              <a:extLst>
                <a:ext uri="{FF2B5EF4-FFF2-40B4-BE49-F238E27FC236}">
                  <a16:creationId xmlns:a16="http://schemas.microsoft.com/office/drawing/2014/main" id="{59BA9B88-1225-4DFD-8724-1F80AE18C3C2}"/>
                </a:ext>
              </a:extLst>
            </p:cNvPr>
            <p:cNvSpPr/>
            <p:nvPr/>
          </p:nvSpPr>
          <p:spPr>
            <a:xfrm rot="8716295">
              <a:off x="1163801" y="2070611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orme libre : forme 64">
              <a:extLst>
                <a:ext uri="{FF2B5EF4-FFF2-40B4-BE49-F238E27FC236}">
                  <a16:creationId xmlns:a16="http://schemas.microsoft.com/office/drawing/2014/main" id="{1F6A3148-93CD-4912-914F-8421DD424A09}"/>
                </a:ext>
              </a:extLst>
            </p:cNvPr>
            <p:cNvSpPr/>
            <p:nvPr/>
          </p:nvSpPr>
          <p:spPr>
            <a:xfrm rot="7484129">
              <a:off x="1688065" y="258665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orme libre : forme 65">
              <a:extLst>
                <a:ext uri="{FF2B5EF4-FFF2-40B4-BE49-F238E27FC236}">
                  <a16:creationId xmlns:a16="http://schemas.microsoft.com/office/drawing/2014/main" id="{0BDE36BD-7206-4F9A-9356-56E83345F790}"/>
                </a:ext>
              </a:extLst>
            </p:cNvPr>
            <p:cNvSpPr/>
            <p:nvPr/>
          </p:nvSpPr>
          <p:spPr>
            <a:xfrm rot="13089394">
              <a:off x="1846715" y="2536003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orme libre : forme 66">
              <a:extLst>
                <a:ext uri="{FF2B5EF4-FFF2-40B4-BE49-F238E27FC236}">
                  <a16:creationId xmlns:a16="http://schemas.microsoft.com/office/drawing/2014/main" id="{6239D104-F777-403D-9315-E21DA6A3EEC6}"/>
                </a:ext>
              </a:extLst>
            </p:cNvPr>
            <p:cNvSpPr/>
            <p:nvPr/>
          </p:nvSpPr>
          <p:spPr>
            <a:xfrm rot="8716295">
              <a:off x="2127606" y="2245885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7D0AE68E-C325-4D34-A9E9-2281E6887FAE}"/>
                </a:ext>
              </a:extLst>
            </p:cNvPr>
            <p:cNvSpPr/>
            <p:nvPr/>
          </p:nvSpPr>
          <p:spPr>
            <a:xfrm rot="8716295">
              <a:off x="2049197" y="208909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orme libre : forme 68">
              <a:extLst>
                <a:ext uri="{FF2B5EF4-FFF2-40B4-BE49-F238E27FC236}">
                  <a16:creationId xmlns:a16="http://schemas.microsoft.com/office/drawing/2014/main" id="{951597CD-8FD0-420C-8BE6-25D28A25DDE8}"/>
                </a:ext>
              </a:extLst>
            </p:cNvPr>
            <p:cNvSpPr/>
            <p:nvPr/>
          </p:nvSpPr>
          <p:spPr>
            <a:xfrm rot="8716295">
              <a:off x="1681033" y="21348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orme libre : forme 69">
              <a:extLst>
                <a:ext uri="{FF2B5EF4-FFF2-40B4-BE49-F238E27FC236}">
                  <a16:creationId xmlns:a16="http://schemas.microsoft.com/office/drawing/2014/main" id="{A7CD329F-8CED-4DA2-A304-EE2009E4062D}"/>
                </a:ext>
              </a:extLst>
            </p:cNvPr>
            <p:cNvSpPr/>
            <p:nvPr/>
          </p:nvSpPr>
          <p:spPr>
            <a:xfrm rot="8716295">
              <a:off x="1949615" y="189381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orme libre : forme 70">
              <a:extLst>
                <a:ext uri="{FF2B5EF4-FFF2-40B4-BE49-F238E27FC236}">
                  <a16:creationId xmlns:a16="http://schemas.microsoft.com/office/drawing/2014/main" id="{D4BADD55-B2B9-4053-A92A-A804648D0A9D}"/>
                </a:ext>
              </a:extLst>
            </p:cNvPr>
            <p:cNvSpPr/>
            <p:nvPr/>
          </p:nvSpPr>
          <p:spPr>
            <a:xfrm rot="8716295">
              <a:off x="787294" y="148117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orme libre : forme 71">
              <a:extLst>
                <a:ext uri="{FF2B5EF4-FFF2-40B4-BE49-F238E27FC236}">
                  <a16:creationId xmlns:a16="http://schemas.microsoft.com/office/drawing/2014/main" id="{313FE4B5-4E98-415B-AE99-26EEB0846C87}"/>
                </a:ext>
              </a:extLst>
            </p:cNvPr>
            <p:cNvSpPr/>
            <p:nvPr/>
          </p:nvSpPr>
          <p:spPr>
            <a:xfrm rot="8716295">
              <a:off x="922592" y="152543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orme libre : forme 72">
              <a:extLst>
                <a:ext uri="{FF2B5EF4-FFF2-40B4-BE49-F238E27FC236}">
                  <a16:creationId xmlns:a16="http://schemas.microsoft.com/office/drawing/2014/main" id="{2E069437-A0B3-49B8-BC79-1EE3FD296BEA}"/>
                </a:ext>
              </a:extLst>
            </p:cNvPr>
            <p:cNvSpPr/>
            <p:nvPr/>
          </p:nvSpPr>
          <p:spPr>
            <a:xfrm rot="8716295">
              <a:off x="854710" y="1394843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" name="Forme libre : forme 73">
              <a:extLst>
                <a:ext uri="{FF2B5EF4-FFF2-40B4-BE49-F238E27FC236}">
                  <a16:creationId xmlns:a16="http://schemas.microsoft.com/office/drawing/2014/main" id="{6B76B21D-C865-4228-A4DA-51B112FED31F}"/>
                </a:ext>
              </a:extLst>
            </p:cNvPr>
            <p:cNvSpPr/>
            <p:nvPr/>
          </p:nvSpPr>
          <p:spPr>
            <a:xfrm rot="8716295">
              <a:off x="617423" y="161518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" name="Forme libre : forme 74">
              <a:extLst>
                <a:ext uri="{FF2B5EF4-FFF2-40B4-BE49-F238E27FC236}">
                  <a16:creationId xmlns:a16="http://schemas.microsoft.com/office/drawing/2014/main" id="{9C509C7D-5C6F-42FB-9A15-E611792EFEA1}"/>
                </a:ext>
              </a:extLst>
            </p:cNvPr>
            <p:cNvSpPr/>
            <p:nvPr/>
          </p:nvSpPr>
          <p:spPr>
            <a:xfrm rot="8716295">
              <a:off x="428376" y="129935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" name="Forme libre : forme 75">
              <a:extLst>
                <a:ext uri="{FF2B5EF4-FFF2-40B4-BE49-F238E27FC236}">
                  <a16:creationId xmlns:a16="http://schemas.microsoft.com/office/drawing/2014/main" id="{25514701-F05E-45CE-9E8C-F263D950578E}"/>
                </a:ext>
              </a:extLst>
            </p:cNvPr>
            <p:cNvSpPr/>
            <p:nvPr/>
          </p:nvSpPr>
          <p:spPr>
            <a:xfrm rot="8716295">
              <a:off x="410135" y="1089302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" name="Forme libre : forme 76">
              <a:extLst>
                <a:ext uri="{FF2B5EF4-FFF2-40B4-BE49-F238E27FC236}">
                  <a16:creationId xmlns:a16="http://schemas.microsoft.com/office/drawing/2014/main" id="{4F1DD0BF-A36A-4AF7-BAF7-588D33FE30E2}"/>
                </a:ext>
              </a:extLst>
            </p:cNvPr>
            <p:cNvSpPr/>
            <p:nvPr/>
          </p:nvSpPr>
          <p:spPr>
            <a:xfrm rot="8716295">
              <a:off x="753911" y="1677170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" name="Forme libre : forme 77">
              <a:extLst>
                <a:ext uri="{FF2B5EF4-FFF2-40B4-BE49-F238E27FC236}">
                  <a16:creationId xmlns:a16="http://schemas.microsoft.com/office/drawing/2014/main" id="{86EB67B0-A057-4D07-8844-7A83556C99CC}"/>
                </a:ext>
              </a:extLst>
            </p:cNvPr>
            <p:cNvSpPr/>
            <p:nvPr/>
          </p:nvSpPr>
          <p:spPr>
            <a:xfrm rot="8716295">
              <a:off x="1224858" y="1102556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orme libre : forme 78">
              <a:extLst>
                <a:ext uri="{FF2B5EF4-FFF2-40B4-BE49-F238E27FC236}">
                  <a16:creationId xmlns:a16="http://schemas.microsoft.com/office/drawing/2014/main" id="{8B1E7611-C4A8-43A8-BF26-46C4341A14DB}"/>
                </a:ext>
              </a:extLst>
            </p:cNvPr>
            <p:cNvSpPr/>
            <p:nvPr/>
          </p:nvSpPr>
          <p:spPr>
            <a:xfrm rot="8716295">
              <a:off x="1360156" y="1146815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Forme libre : forme 79">
              <a:extLst>
                <a:ext uri="{FF2B5EF4-FFF2-40B4-BE49-F238E27FC236}">
                  <a16:creationId xmlns:a16="http://schemas.microsoft.com/office/drawing/2014/main" id="{BEBD671E-1FA5-4603-8F2B-FA9516AF8638}"/>
                </a:ext>
              </a:extLst>
            </p:cNvPr>
            <p:cNvSpPr/>
            <p:nvPr/>
          </p:nvSpPr>
          <p:spPr>
            <a:xfrm rot="8716295">
              <a:off x="1054986" y="123657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" name="Forme libre : forme 80">
              <a:extLst>
                <a:ext uri="{FF2B5EF4-FFF2-40B4-BE49-F238E27FC236}">
                  <a16:creationId xmlns:a16="http://schemas.microsoft.com/office/drawing/2014/main" id="{F6AD6C56-BF4C-4518-8F9A-D5095F4E40C8}"/>
                </a:ext>
              </a:extLst>
            </p:cNvPr>
            <p:cNvSpPr/>
            <p:nvPr/>
          </p:nvSpPr>
          <p:spPr>
            <a:xfrm rot="8716295">
              <a:off x="865942" y="92073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orme libre : forme 81">
              <a:extLst>
                <a:ext uri="{FF2B5EF4-FFF2-40B4-BE49-F238E27FC236}">
                  <a16:creationId xmlns:a16="http://schemas.microsoft.com/office/drawing/2014/main" id="{4181F286-2CA0-4AF5-9316-EE2B4FDBB08E}"/>
                </a:ext>
              </a:extLst>
            </p:cNvPr>
            <p:cNvSpPr/>
            <p:nvPr/>
          </p:nvSpPr>
          <p:spPr>
            <a:xfrm rot="8716295">
              <a:off x="1191475" y="1298554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Forme libre : forme 82">
              <a:extLst>
                <a:ext uri="{FF2B5EF4-FFF2-40B4-BE49-F238E27FC236}">
                  <a16:creationId xmlns:a16="http://schemas.microsoft.com/office/drawing/2014/main" id="{6E154404-167F-4146-9BEC-311C41267A4F}"/>
                </a:ext>
              </a:extLst>
            </p:cNvPr>
            <p:cNvSpPr/>
            <p:nvPr/>
          </p:nvSpPr>
          <p:spPr>
            <a:xfrm rot="8716295">
              <a:off x="826028" y="1072128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4" name="Forme libre : forme 83">
              <a:extLst>
                <a:ext uri="{FF2B5EF4-FFF2-40B4-BE49-F238E27FC236}">
                  <a16:creationId xmlns:a16="http://schemas.microsoft.com/office/drawing/2014/main" id="{E6806809-8D8F-4EE1-BB26-3F2C826B2E90}"/>
                </a:ext>
              </a:extLst>
            </p:cNvPr>
            <p:cNvSpPr/>
            <p:nvPr/>
          </p:nvSpPr>
          <p:spPr>
            <a:xfrm rot="7484129">
              <a:off x="1350292" y="158817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5" name="Forme libre : forme 84">
              <a:extLst>
                <a:ext uri="{FF2B5EF4-FFF2-40B4-BE49-F238E27FC236}">
                  <a16:creationId xmlns:a16="http://schemas.microsoft.com/office/drawing/2014/main" id="{8AA32DBC-713F-46C2-9609-C454BB2EBAAE}"/>
                </a:ext>
              </a:extLst>
            </p:cNvPr>
            <p:cNvSpPr/>
            <p:nvPr/>
          </p:nvSpPr>
          <p:spPr>
            <a:xfrm rot="13089394">
              <a:off x="1508942" y="1537520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6" name="Forme libre : forme 85">
              <a:extLst>
                <a:ext uri="{FF2B5EF4-FFF2-40B4-BE49-F238E27FC236}">
                  <a16:creationId xmlns:a16="http://schemas.microsoft.com/office/drawing/2014/main" id="{51EBFD3A-7611-46FF-AE7D-0AC9AF9511B5}"/>
                </a:ext>
              </a:extLst>
            </p:cNvPr>
            <p:cNvSpPr/>
            <p:nvPr/>
          </p:nvSpPr>
          <p:spPr>
            <a:xfrm rot="8716295">
              <a:off x="1789833" y="1247402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7" name="Forme libre : forme 86">
              <a:extLst>
                <a:ext uri="{FF2B5EF4-FFF2-40B4-BE49-F238E27FC236}">
                  <a16:creationId xmlns:a16="http://schemas.microsoft.com/office/drawing/2014/main" id="{7BC619E6-2AA2-4557-84AC-D6D182B996C5}"/>
                </a:ext>
              </a:extLst>
            </p:cNvPr>
            <p:cNvSpPr/>
            <p:nvPr/>
          </p:nvSpPr>
          <p:spPr>
            <a:xfrm rot="8716295">
              <a:off x="1711424" y="109061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8" name="Forme libre : forme 87">
              <a:extLst>
                <a:ext uri="{FF2B5EF4-FFF2-40B4-BE49-F238E27FC236}">
                  <a16:creationId xmlns:a16="http://schemas.microsoft.com/office/drawing/2014/main" id="{F81A7437-8336-4876-95A7-BD572FAED152}"/>
                </a:ext>
              </a:extLst>
            </p:cNvPr>
            <p:cNvSpPr/>
            <p:nvPr/>
          </p:nvSpPr>
          <p:spPr>
            <a:xfrm rot="8716295">
              <a:off x="1343261" y="113635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9" name="Forme libre : forme 88">
              <a:extLst>
                <a:ext uri="{FF2B5EF4-FFF2-40B4-BE49-F238E27FC236}">
                  <a16:creationId xmlns:a16="http://schemas.microsoft.com/office/drawing/2014/main" id="{B70DD9BD-1FC9-4B98-8769-B37CAAFCEC17}"/>
                </a:ext>
              </a:extLst>
            </p:cNvPr>
            <p:cNvSpPr/>
            <p:nvPr/>
          </p:nvSpPr>
          <p:spPr>
            <a:xfrm rot="8716295">
              <a:off x="1611842" y="89533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" name="Forme libre : forme 89">
              <a:extLst>
                <a:ext uri="{FF2B5EF4-FFF2-40B4-BE49-F238E27FC236}">
                  <a16:creationId xmlns:a16="http://schemas.microsoft.com/office/drawing/2014/main" id="{DC2940E5-7415-40BB-B706-4016B27C3DB2}"/>
                </a:ext>
              </a:extLst>
            </p:cNvPr>
            <p:cNvSpPr/>
            <p:nvPr/>
          </p:nvSpPr>
          <p:spPr>
            <a:xfrm rot="8716295">
              <a:off x="455920" y="47911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" name="Forme libre : forme 90">
              <a:extLst>
                <a:ext uri="{FF2B5EF4-FFF2-40B4-BE49-F238E27FC236}">
                  <a16:creationId xmlns:a16="http://schemas.microsoft.com/office/drawing/2014/main" id="{52585AAE-B2D0-438C-BC9F-C750F15F890C}"/>
                </a:ext>
              </a:extLst>
            </p:cNvPr>
            <p:cNvSpPr/>
            <p:nvPr/>
          </p:nvSpPr>
          <p:spPr>
            <a:xfrm rot="8716295">
              <a:off x="591219" y="52337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" name="Forme libre : forme 91">
              <a:extLst>
                <a:ext uri="{FF2B5EF4-FFF2-40B4-BE49-F238E27FC236}">
                  <a16:creationId xmlns:a16="http://schemas.microsoft.com/office/drawing/2014/main" id="{E63C71D8-D175-46A8-AA42-AB77BF57CFF3}"/>
                </a:ext>
              </a:extLst>
            </p:cNvPr>
            <p:cNvSpPr/>
            <p:nvPr/>
          </p:nvSpPr>
          <p:spPr>
            <a:xfrm rot="8716295">
              <a:off x="523336" y="39278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" name="Forme libre : forme 92">
              <a:extLst>
                <a:ext uri="{FF2B5EF4-FFF2-40B4-BE49-F238E27FC236}">
                  <a16:creationId xmlns:a16="http://schemas.microsoft.com/office/drawing/2014/main" id="{C200F3C8-A4FA-4E06-9F43-7329A49AF0A1}"/>
                </a:ext>
              </a:extLst>
            </p:cNvPr>
            <p:cNvSpPr/>
            <p:nvPr/>
          </p:nvSpPr>
          <p:spPr>
            <a:xfrm rot="8716295">
              <a:off x="286049" y="6131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" name="Forme libre : forme 93">
              <a:extLst>
                <a:ext uri="{FF2B5EF4-FFF2-40B4-BE49-F238E27FC236}">
                  <a16:creationId xmlns:a16="http://schemas.microsoft.com/office/drawing/2014/main" id="{154A22C5-EC1E-43BA-ACAF-79BC6F3D576D}"/>
                </a:ext>
              </a:extLst>
            </p:cNvPr>
            <p:cNvSpPr/>
            <p:nvPr/>
          </p:nvSpPr>
          <p:spPr>
            <a:xfrm rot="8716295">
              <a:off x="97003" y="2972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orme libre : forme 94">
              <a:extLst>
                <a:ext uri="{FF2B5EF4-FFF2-40B4-BE49-F238E27FC236}">
                  <a16:creationId xmlns:a16="http://schemas.microsoft.com/office/drawing/2014/main" id="{046AC798-93FA-43CE-B018-2724737AFAB7}"/>
                </a:ext>
              </a:extLst>
            </p:cNvPr>
            <p:cNvSpPr/>
            <p:nvPr/>
          </p:nvSpPr>
          <p:spPr>
            <a:xfrm rot="8716295">
              <a:off x="78761" y="87249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Forme libre : forme 95">
              <a:extLst>
                <a:ext uri="{FF2B5EF4-FFF2-40B4-BE49-F238E27FC236}">
                  <a16:creationId xmlns:a16="http://schemas.microsoft.com/office/drawing/2014/main" id="{7EB63D12-C97A-4806-9B7E-492DAF5A8D97}"/>
                </a:ext>
              </a:extLst>
            </p:cNvPr>
            <p:cNvSpPr/>
            <p:nvPr/>
          </p:nvSpPr>
          <p:spPr>
            <a:xfrm rot="8716295">
              <a:off x="422537" y="67511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" name="Forme libre : forme 96">
              <a:extLst>
                <a:ext uri="{FF2B5EF4-FFF2-40B4-BE49-F238E27FC236}">
                  <a16:creationId xmlns:a16="http://schemas.microsoft.com/office/drawing/2014/main" id="{1806B75B-8705-4074-AEFF-3715A3B4A58C}"/>
                </a:ext>
              </a:extLst>
            </p:cNvPr>
            <p:cNvSpPr/>
            <p:nvPr/>
          </p:nvSpPr>
          <p:spPr>
            <a:xfrm rot="8716295">
              <a:off x="893484" y="10050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" name="Forme libre : forme 97">
              <a:extLst>
                <a:ext uri="{FF2B5EF4-FFF2-40B4-BE49-F238E27FC236}">
                  <a16:creationId xmlns:a16="http://schemas.microsoft.com/office/drawing/2014/main" id="{AB690B93-68A6-412B-BE9D-7BF4A62DFBAE}"/>
                </a:ext>
              </a:extLst>
            </p:cNvPr>
            <p:cNvSpPr/>
            <p:nvPr/>
          </p:nvSpPr>
          <p:spPr>
            <a:xfrm rot="8716295">
              <a:off x="1028783" y="14476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" name="Forme libre : forme 98">
              <a:extLst>
                <a:ext uri="{FF2B5EF4-FFF2-40B4-BE49-F238E27FC236}">
                  <a16:creationId xmlns:a16="http://schemas.microsoft.com/office/drawing/2014/main" id="{CF4399C2-6A4B-4B09-A803-90528B9B6BB5}"/>
                </a:ext>
              </a:extLst>
            </p:cNvPr>
            <p:cNvSpPr/>
            <p:nvPr/>
          </p:nvSpPr>
          <p:spPr>
            <a:xfrm rot="8716295">
              <a:off x="723613" y="23451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orme libre : forme 99">
              <a:extLst>
                <a:ext uri="{FF2B5EF4-FFF2-40B4-BE49-F238E27FC236}">
                  <a16:creationId xmlns:a16="http://schemas.microsoft.com/office/drawing/2014/main" id="{244D8443-8208-40F5-B1CF-110ABB79D7E7}"/>
                </a:ext>
              </a:extLst>
            </p:cNvPr>
            <p:cNvSpPr/>
            <p:nvPr/>
          </p:nvSpPr>
          <p:spPr>
            <a:xfrm rot="8716295">
              <a:off x="547803" y="-17289"/>
              <a:ext cx="308531" cy="226033"/>
            </a:xfrm>
            <a:custGeom>
              <a:avLst/>
              <a:gdLst>
                <a:gd name="connsiteX0" fmla="*/ 106716 w 203847"/>
                <a:gd name="connsiteY0" fmla="*/ 149340 h 149340"/>
                <a:gd name="connsiteX1" fmla="*/ 50038 w 203847"/>
                <a:gd name="connsiteY1" fmla="*/ 110053 h 149340"/>
                <a:gd name="connsiteX2" fmla="*/ 69777 w 203847"/>
                <a:gd name="connsiteY2" fmla="*/ 55323 h 149340"/>
                <a:gd name="connsiteX3" fmla="*/ 0 w 203847"/>
                <a:gd name="connsiteY3" fmla="*/ 55323 h 149340"/>
                <a:gd name="connsiteX4" fmla="*/ 0 w 203847"/>
                <a:gd name="connsiteY4" fmla="*/ 0 h 149340"/>
                <a:gd name="connsiteX5" fmla="*/ 203847 w 203847"/>
                <a:gd name="connsiteY5" fmla="*/ 0 h 149340"/>
                <a:gd name="connsiteX6" fmla="*/ 203847 w 203847"/>
                <a:gd name="connsiteY6" fmla="*/ 55323 h 149340"/>
                <a:gd name="connsiteX7" fmla="*/ 139055 w 203847"/>
                <a:gd name="connsiteY7" fmla="*/ 55323 h 14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49340">
                  <a:moveTo>
                    <a:pt x="106716" y="149340"/>
                  </a:moveTo>
                  <a:lnTo>
                    <a:pt x="50038" y="110053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Forme libre : forme 100">
              <a:extLst>
                <a:ext uri="{FF2B5EF4-FFF2-40B4-BE49-F238E27FC236}">
                  <a16:creationId xmlns:a16="http://schemas.microsoft.com/office/drawing/2014/main" id="{1DC1AB77-DFBD-48D5-BA47-D445EDCA0CEF}"/>
                </a:ext>
              </a:extLst>
            </p:cNvPr>
            <p:cNvSpPr/>
            <p:nvPr/>
          </p:nvSpPr>
          <p:spPr>
            <a:xfrm rot="8716295">
              <a:off x="860101" y="29650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" name="Forme libre : forme 101">
              <a:extLst>
                <a:ext uri="{FF2B5EF4-FFF2-40B4-BE49-F238E27FC236}">
                  <a16:creationId xmlns:a16="http://schemas.microsoft.com/office/drawing/2014/main" id="{F59B8FC1-4AE7-4990-AF75-539F5B58458B}"/>
                </a:ext>
              </a:extLst>
            </p:cNvPr>
            <p:cNvSpPr/>
            <p:nvPr/>
          </p:nvSpPr>
          <p:spPr>
            <a:xfrm rot="8716295">
              <a:off x="494655" y="7007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" name="Forme libre : forme 102">
              <a:extLst>
                <a:ext uri="{FF2B5EF4-FFF2-40B4-BE49-F238E27FC236}">
                  <a16:creationId xmlns:a16="http://schemas.microsoft.com/office/drawing/2014/main" id="{868AEFC4-250F-471C-A43A-28F6923BB61D}"/>
                </a:ext>
              </a:extLst>
            </p:cNvPr>
            <p:cNvSpPr/>
            <p:nvPr/>
          </p:nvSpPr>
          <p:spPr>
            <a:xfrm rot="7484129">
              <a:off x="1018919" y="58611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" name="Forme libre : forme 103">
              <a:extLst>
                <a:ext uri="{FF2B5EF4-FFF2-40B4-BE49-F238E27FC236}">
                  <a16:creationId xmlns:a16="http://schemas.microsoft.com/office/drawing/2014/main" id="{7720FECD-8541-443F-AFBA-99868EB29B55}"/>
                </a:ext>
              </a:extLst>
            </p:cNvPr>
            <p:cNvSpPr/>
            <p:nvPr/>
          </p:nvSpPr>
          <p:spPr>
            <a:xfrm rot="13089394">
              <a:off x="1177568" y="53546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" name="Forme libre : forme 104">
              <a:extLst>
                <a:ext uri="{FF2B5EF4-FFF2-40B4-BE49-F238E27FC236}">
                  <a16:creationId xmlns:a16="http://schemas.microsoft.com/office/drawing/2014/main" id="{EC21D4C1-E07B-4E45-A18C-FDC88EB32F75}"/>
                </a:ext>
              </a:extLst>
            </p:cNvPr>
            <p:cNvSpPr/>
            <p:nvPr/>
          </p:nvSpPr>
          <p:spPr>
            <a:xfrm rot="8716295">
              <a:off x="1458459" y="24534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" name="Forme libre : forme 105">
              <a:extLst>
                <a:ext uri="{FF2B5EF4-FFF2-40B4-BE49-F238E27FC236}">
                  <a16:creationId xmlns:a16="http://schemas.microsoft.com/office/drawing/2014/main" id="{F27332C2-A714-4595-B5C0-9F2B9BA6FD2B}"/>
                </a:ext>
              </a:extLst>
            </p:cNvPr>
            <p:cNvSpPr/>
            <p:nvPr/>
          </p:nvSpPr>
          <p:spPr>
            <a:xfrm rot="8716295">
              <a:off x="1380050" y="8855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" name="Forme libre : forme 106">
              <a:extLst>
                <a:ext uri="{FF2B5EF4-FFF2-40B4-BE49-F238E27FC236}">
                  <a16:creationId xmlns:a16="http://schemas.microsoft.com/office/drawing/2014/main" id="{674A78BA-4944-4138-B4F5-A2FBC8048D50}"/>
                </a:ext>
              </a:extLst>
            </p:cNvPr>
            <p:cNvSpPr/>
            <p:nvPr/>
          </p:nvSpPr>
          <p:spPr>
            <a:xfrm rot="8716295">
              <a:off x="1011887" y="13429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" name="Forme libre : forme 107">
              <a:extLst>
                <a:ext uri="{FF2B5EF4-FFF2-40B4-BE49-F238E27FC236}">
                  <a16:creationId xmlns:a16="http://schemas.microsoft.com/office/drawing/2014/main" id="{7D76DD03-F270-4ACF-B774-06410BC28EE6}"/>
                </a:ext>
              </a:extLst>
            </p:cNvPr>
            <p:cNvSpPr/>
            <p:nvPr/>
          </p:nvSpPr>
          <p:spPr>
            <a:xfrm rot="8716295">
              <a:off x="1291652" y="-36449"/>
              <a:ext cx="134197" cy="106947"/>
            </a:xfrm>
            <a:custGeom>
              <a:avLst/>
              <a:gdLst>
                <a:gd name="connsiteX0" fmla="*/ 83649 w 88664"/>
                <a:gd name="connsiteY0" fmla="*/ 70660 h 70660"/>
                <a:gd name="connsiteX1" fmla="*/ 0 w 88664"/>
                <a:gd name="connsiteY1" fmla="*/ 12677 h 70660"/>
                <a:gd name="connsiteX2" fmla="*/ 30024 w 88664"/>
                <a:gd name="connsiteY2" fmla="*/ 0 h 70660"/>
                <a:gd name="connsiteX3" fmla="*/ 71417 w 88664"/>
                <a:gd name="connsiteY3" fmla="*/ 17477 h 70660"/>
                <a:gd name="connsiteX4" fmla="*/ 88664 w 88664"/>
                <a:gd name="connsiteY4" fmla="*/ 58525 h 70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664" h="70660">
                  <a:moveTo>
                    <a:pt x="83649" y="70660"/>
                  </a:moveTo>
                  <a:lnTo>
                    <a:pt x="0" y="12677"/>
                  </a:lnTo>
                  <a:lnTo>
                    <a:pt x="30024" y="0"/>
                  </a:lnTo>
                  <a:cubicBezTo>
                    <a:pt x="45662" y="0"/>
                    <a:pt x="60379" y="6439"/>
                    <a:pt x="71417" y="17477"/>
                  </a:cubicBezTo>
                  <a:cubicBezTo>
                    <a:pt x="82915" y="28515"/>
                    <a:pt x="88664" y="43462"/>
                    <a:pt x="88664" y="58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" name="Forme libre : forme 108">
              <a:extLst>
                <a:ext uri="{FF2B5EF4-FFF2-40B4-BE49-F238E27FC236}">
                  <a16:creationId xmlns:a16="http://schemas.microsoft.com/office/drawing/2014/main" id="{3E28A378-29F9-4E63-8D2F-7910EE2CA370}"/>
                </a:ext>
              </a:extLst>
            </p:cNvPr>
            <p:cNvSpPr/>
            <p:nvPr/>
          </p:nvSpPr>
          <p:spPr>
            <a:xfrm rot="13089394">
              <a:off x="990163" y="-39748"/>
              <a:ext cx="111277" cy="115595"/>
            </a:xfrm>
            <a:custGeom>
              <a:avLst/>
              <a:gdLst>
                <a:gd name="connsiteX0" fmla="*/ 73521 w 73521"/>
                <a:gd name="connsiteY0" fmla="*/ 18609 h 76374"/>
                <a:gd name="connsiteX1" fmla="*/ 0 w 73521"/>
                <a:gd name="connsiteY1" fmla="*/ 76374 h 76374"/>
                <a:gd name="connsiteX2" fmla="*/ 0 w 73521"/>
                <a:gd name="connsiteY2" fmla="*/ 38074 h 76374"/>
                <a:gd name="connsiteX3" fmla="*/ 73388 w 73521"/>
                <a:gd name="connsiteY3" fmla="*/ 0 h 7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521" h="76374">
                  <a:moveTo>
                    <a:pt x="73521" y="18609"/>
                  </a:moveTo>
                  <a:lnTo>
                    <a:pt x="0" y="76374"/>
                  </a:lnTo>
                  <a:lnTo>
                    <a:pt x="0" y="38074"/>
                  </a:lnTo>
                  <a:lnTo>
                    <a:pt x="7338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" name="Forme libre : forme 109">
              <a:extLst>
                <a:ext uri="{FF2B5EF4-FFF2-40B4-BE49-F238E27FC236}">
                  <a16:creationId xmlns:a16="http://schemas.microsoft.com/office/drawing/2014/main" id="{F1CC83E5-A4EB-42DD-9A17-370BFA21AAE9}"/>
                </a:ext>
              </a:extLst>
            </p:cNvPr>
            <p:cNvSpPr/>
            <p:nvPr/>
          </p:nvSpPr>
          <p:spPr>
            <a:xfrm rot="8716295">
              <a:off x="121288" y="414134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" name="Forme libre : forme 110">
              <a:extLst>
                <a:ext uri="{FF2B5EF4-FFF2-40B4-BE49-F238E27FC236}">
                  <a16:creationId xmlns:a16="http://schemas.microsoft.com/office/drawing/2014/main" id="{9526DB8B-159A-416E-9CE4-0D6F2D18F32F}"/>
                </a:ext>
              </a:extLst>
            </p:cNvPr>
            <p:cNvSpPr/>
            <p:nvPr/>
          </p:nvSpPr>
          <p:spPr>
            <a:xfrm rot="8716295">
              <a:off x="256586" y="418560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" name="Forme libre : forme 111">
              <a:extLst>
                <a:ext uri="{FF2B5EF4-FFF2-40B4-BE49-F238E27FC236}">
                  <a16:creationId xmlns:a16="http://schemas.microsoft.com/office/drawing/2014/main" id="{8B12B296-AAE6-463A-B5CB-324F979AE957}"/>
                </a:ext>
              </a:extLst>
            </p:cNvPr>
            <p:cNvSpPr/>
            <p:nvPr/>
          </p:nvSpPr>
          <p:spPr>
            <a:xfrm rot="8716295">
              <a:off x="188704" y="405501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" name="Forme libre : forme 112">
              <a:extLst>
                <a:ext uri="{FF2B5EF4-FFF2-40B4-BE49-F238E27FC236}">
                  <a16:creationId xmlns:a16="http://schemas.microsoft.com/office/drawing/2014/main" id="{9A3F4C45-E84E-45F4-A1D8-E67A24057076}"/>
                </a:ext>
              </a:extLst>
            </p:cNvPr>
            <p:cNvSpPr/>
            <p:nvPr/>
          </p:nvSpPr>
          <p:spPr>
            <a:xfrm rot="8716295">
              <a:off x="-22408" y="4278013"/>
              <a:ext cx="57413" cy="71926"/>
            </a:xfrm>
            <a:custGeom>
              <a:avLst/>
              <a:gdLst>
                <a:gd name="connsiteX0" fmla="*/ 11441 w 57413"/>
                <a:gd name="connsiteY0" fmla="*/ 71926 h 71926"/>
                <a:gd name="connsiteX1" fmla="*/ 0 w 57413"/>
                <a:gd name="connsiteY1" fmla="*/ 44829 h 71926"/>
                <a:gd name="connsiteX2" fmla="*/ 0 w 57413"/>
                <a:gd name="connsiteY2" fmla="*/ 44139 h 71926"/>
                <a:gd name="connsiteX3" fmla="*/ 13104 w 57413"/>
                <a:gd name="connsiteY3" fmla="*/ 13104 h 71926"/>
                <a:gd name="connsiteX4" fmla="*/ 44139 w 57413"/>
                <a:gd name="connsiteY4" fmla="*/ 0 h 71926"/>
                <a:gd name="connsiteX5" fmla="*/ 57413 w 57413"/>
                <a:gd name="connsiteY5" fmla="*/ 5605 h 71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413" h="71926">
                  <a:moveTo>
                    <a:pt x="11441" y="71926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lnTo>
                    <a:pt x="57413" y="5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" name="Forme libre : forme 113">
              <a:extLst>
                <a:ext uri="{FF2B5EF4-FFF2-40B4-BE49-F238E27FC236}">
                  <a16:creationId xmlns:a16="http://schemas.microsoft.com/office/drawing/2014/main" id="{9EDF78AD-4158-4BDF-B490-2317803ACA6E}"/>
                </a:ext>
              </a:extLst>
            </p:cNvPr>
            <p:cNvSpPr/>
            <p:nvPr/>
          </p:nvSpPr>
          <p:spPr>
            <a:xfrm rot="8716295">
              <a:off x="-36969" y="4107248"/>
              <a:ext cx="147272" cy="83734"/>
            </a:xfrm>
            <a:custGeom>
              <a:avLst/>
              <a:gdLst>
                <a:gd name="connsiteX0" fmla="*/ 0 w 147272"/>
                <a:gd name="connsiteY0" fmla="*/ 83734 h 83734"/>
                <a:gd name="connsiteX1" fmla="*/ 0 w 147272"/>
                <a:gd name="connsiteY1" fmla="*/ 0 h 83734"/>
                <a:gd name="connsiteX2" fmla="*/ 147272 w 147272"/>
                <a:gd name="connsiteY2" fmla="*/ 0 h 83734"/>
                <a:gd name="connsiteX3" fmla="*/ 89230 w 147272"/>
                <a:gd name="connsiteY3" fmla="*/ 83734 h 83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272" h="83734">
                  <a:moveTo>
                    <a:pt x="0" y="83734"/>
                  </a:moveTo>
                  <a:lnTo>
                    <a:pt x="0" y="0"/>
                  </a:lnTo>
                  <a:lnTo>
                    <a:pt x="147272" y="0"/>
                  </a:lnTo>
                  <a:lnTo>
                    <a:pt x="89230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" name="Forme libre : forme 114">
              <a:extLst>
                <a:ext uri="{FF2B5EF4-FFF2-40B4-BE49-F238E27FC236}">
                  <a16:creationId xmlns:a16="http://schemas.microsoft.com/office/drawing/2014/main" id="{18A6ED0C-2A06-421B-B360-5120C1917E60}"/>
                </a:ext>
              </a:extLst>
            </p:cNvPr>
            <p:cNvSpPr/>
            <p:nvPr/>
          </p:nvSpPr>
          <p:spPr>
            <a:xfrm rot="8716295">
              <a:off x="43378" y="3712531"/>
              <a:ext cx="125537" cy="468763"/>
            </a:xfrm>
            <a:custGeom>
              <a:avLst/>
              <a:gdLst>
                <a:gd name="connsiteX0" fmla="*/ 29455 w 125537"/>
                <a:gd name="connsiteY0" fmla="*/ 468763 h 468763"/>
                <a:gd name="connsiteX1" fmla="*/ 7792 w 125537"/>
                <a:gd name="connsiteY1" fmla="*/ 425988 h 468763"/>
                <a:gd name="connsiteX2" fmla="*/ 0 w 125537"/>
                <a:gd name="connsiteY2" fmla="*/ 333043 h 468763"/>
                <a:gd name="connsiteX3" fmla="*/ 0 w 125537"/>
                <a:gd name="connsiteY3" fmla="*/ 61444 h 468763"/>
                <a:gd name="connsiteX4" fmla="*/ 118434 w 125537"/>
                <a:gd name="connsiteY4" fmla="*/ 0 h 468763"/>
                <a:gd name="connsiteX5" fmla="*/ 120216 w 125537"/>
                <a:gd name="connsiteY5" fmla="*/ 248447 h 468763"/>
                <a:gd name="connsiteX6" fmla="*/ 123889 w 125537"/>
                <a:gd name="connsiteY6" fmla="*/ 323359 h 468763"/>
                <a:gd name="connsiteX7" fmla="*/ 125537 w 125537"/>
                <a:gd name="connsiteY7" fmla="*/ 330150 h 468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537" h="468763">
                  <a:moveTo>
                    <a:pt x="29455" y="468763"/>
                  </a:moveTo>
                  <a:lnTo>
                    <a:pt x="7792" y="425988"/>
                  </a:lnTo>
                  <a:cubicBezTo>
                    <a:pt x="2003" y="400498"/>
                    <a:pt x="0" y="369553"/>
                    <a:pt x="0" y="333043"/>
                  </a:cubicBezTo>
                  <a:lnTo>
                    <a:pt x="0" y="61444"/>
                  </a:lnTo>
                  <a:lnTo>
                    <a:pt x="118434" y="0"/>
                  </a:lnTo>
                  <a:lnTo>
                    <a:pt x="120216" y="248447"/>
                  </a:lnTo>
                  <a:cubicBezTo>
                    <a:pt x="118880" y="273381"/>
                    <a:pt x="120216" y="298537"/>
                    <a:pt x="123889" y="323359"/>
                  </a:cubicBezTo>
                  <a:lnTo>
                    <a:pt x="125537" y="3301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" name="Forme libre : forme 115">
              <a:extLst>
                <a:ext uri="{FF2B5EF4-FFF2-40B4-BE49-F238E27FC236}">
                  <a16:creationId xmlns:a16="http://schemas.microsoft.com/office/drawing/2014/main" id="{E0FDC8EF-8848-4C0A-9102-11E05499477A}"/>
                </a:ext>
              </a:extLst>
            </p:cNvPr>
            <p:cNvSpPr/>
            <p:nvPr/>
          </p:nvSpPr>
          <p:spPr>
            <a:xfrm rot="8716295">
              <a:off x="87905" y="4337347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" name="Forme libre : forme 116">
              <a:extLst>
                <a:ext uri="{FF2B5EF4-FFF2-40B4-BE49-F238E27FC236}">
                  <a16:creationId xmlns:a16="http://schemas.microsoft.com/office/drawing/2014/main" id="{5A06B087-2ED7-4364-B770-117460F6509C}"/>
                </a:ext>
              </a:extLst>
            </p:cNvPr>
            <p:cNvSpPr/>
            <p:nvPr/>
          </p:nvSpPr>
          <p:spPr>
            <a:xfrm rot="8716295">
              <a:off x="558851" y="376273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" name="Forme libre : forme 117">
              <a:extLst>
                <a:ext uri="{FF2B5EF4-FFF2-40B4-BE49-F238E27FC236}">
                  <a16:creationId xmlns:a16="http://schemas.microsoft.com/office/drawing/2014/main" id="{A9CE4EB9-9050-492E-8BE3-E347F06FFDC2}"/>
                </a:ext>
              </a:extLst>
            </p:cNvPr>
            <p:cNvSpPr/>
            <p:nvPr/>
          </p:nvSpPr>
          <p:spPr>
            <a:xfrm rot="8716295">
              <a:off x="694150" y="380699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" name="Forme libre : forme 118">
              <a:extLst>
                <a:ext uri="{FF2B5EF4-FFF2-40B4-BE49-F238E27FC236}">
                  <a16:creationId xmlns:a16="http://schemas.microsoft.com/office/drawing/2014/main" id="{760AB253-194C-499B-8D42-794DA9755956}"/>
                </a:ext>
              </a:extLst>
            </p:cNvPr>
            <p:cNvSpPr/>
            <p:nvPr/>
          </p:nvSpPr>
          <p:spPr>
            <a:xfrm rot="8716295">
              <a:off x="388980" y="389674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" name="Forme libre : forme 119">
              <a:extLst>
                <a:ext uri="{FF2B5EF4-FFF2-40B4-BE49-F238E27FC236}">
                  <a16:creationId xmlns:a16="http://schemas.microsoft.com/office/drawing/2014/main" id="{40898D3E-1FCF-4F50-8E01-1AFEA6AF3C33}"/>
                </a:ext>
              </a:extLst>
            </p:cNvPr>
            <p:cNvSpPr/>
            <p:nvPr/>
          </p:nvSpPr>
          <p:spPr>
            <a:xfrm rot="8716295">
              <a:off x="199936" y="358091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" name="Forme libre : forme 120">
              <a:extLst>
                <a:ext uri="{FF2B5EF4-FFF2-40B4-BE49-F238E27FC236}">
                  <a16:creationId xmlns:a16="http://schemas.microsoft.com/office/drawing/2014/main" id="{D3FAD429-F566-4023-B7BD-D5217FAA5D96}"/>
                </a:ext>
              </a:extLst>
            </p:cNvPr>
            <p:cNvSpPr/>
            <p:nvPr/>
          </p:nvSpPr>
          <p:spPr>
            <a:xfrm rot="8716295">
              <a:off x="525469" y="3958731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" name="Forme libre : forme 121">
              <a:extLst>
                <a:ext uri="{FF2B5EF4-FFF2-40B4-BE49-F238E27FC236}">
                  <a16:creationId xmlns:a16="http://schemas.microsoft.com/office/drawing/2014/main" id="{D20A67B5-6AA2-4AB0-B207-C07057BDE093}"/>
                </a:ext>
              </a:extLst>
            </p:cNvPr>
            <p:cNvSpPr/>
            <p:nvPr/>
          </p:nvSpPr>
          <p:spPr>
            <a:xfrm rot="8716295">
              <a:off x="160022" y="3732305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" name="Forme libre : forme 122">
              <a:extLst>
                <a:ext uri="{FF2B5EF4-FFF2-40B4-BE49-F238E27FC236}">
                  <a16:creationId xmlns:a16="http://schemas.microsoft.com/office/drawing/2014/main" id="{91FEBD80-6813-4F8F-ACF7-9087BB051204}"/>
                </a:ext>
              </a:extLst>
            </p:cNvPr>
            <p:cNvSpPr/>
            <p:nvPr/>
          </p:nvSpPr>
          <p:spPr>
            <a:xfrm rot="7484129">
              <a:off x="684286" y="424834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" name="Forme libre : forme 123">
              <a:extLst>
                <a:ext uri="{FF2B5EF4-FFF2-40B4-BE49-F238E27FC236}">
                  <a16:creationId xmlns:a16="http://schemas.microsoft.com/office/drawing/2014/main" id="{4CAAD98F-1BEB-4716-B4A0-F4F1C4393647}"/>
                </a:ext>
              </a:extLst>
            </p:cNvPr>
            <p:cNvSpPr/>
            <p:nvPr/>
          </p:nvSpPr>
          <p:spPr>
            <a:xfrm rot="13089394">
              <a:off x="842936" y="4197697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" name="Forme libre : forme 124">
              <a:extLst>
                <a:ext uri="{FF2B5EF4-FFF2-40B4-BE49-F238E27FC236}">
                  <a16:creationId xmlns:a16="http://schemas.microsoft.com/office/drawing/2014/main" id="{B934D86F-56B5-4940-9189-1F845F67AF3D}"/>
                </a:ext>
              </a:extLst>
            </p:cNvPr>
            <p:cNvSpPr/>
            <p:nvPr/>
          </p:nvSpPr>
          <p:spPr>
            <a:xfrm rot="8716295">
              <a:off x="1123827" y="390757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" name="Forme libre : forme 125">
              <a:extLst>
                <a:ext uri="{FF2B5EF4-FFF2-40B4-BE49-F238E27FC236}">
                  <a16:creationId xmlns:a16="http://schemas.microsoft.com/office/drawing/2014/main" id="{0BB740E0-5261-47F5-A043-EC9887338951}"/>
                </a:ext>
              </a:extLst>
            </p:cNvPr>
            <p:cNvSpPr/>
            <p:nvPr/>
          </p:nvSpPr>
          <p:spPr>
            <a:xfrm rot="8716295">
              <a:off x="1045418" y="375078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" name="Forme libre : forme 126">
              <a:extLst>
                <a:ext uri="{FF2B5EF4-FFF2-40B4-BE49-F238E27FC236}">
                  <a16:creationId xmlns:a16="http://schemas.microsoft.com/office/drawing/2014/main" id="{07B02AA0-438E-4A9F-9E86-C7798EAE77E1}"/>
                </a:ext>
              </a:extLst>
            </p:cNvPr>
            <p:cNvSpPr/>
            <p:nvPr/>
          </p:nvSpPr>
          <p:spPr>
            <a:xfrm rot="8716295">
              <a:off x="677254" y="379652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" name="Forme libre : forme 127">
              <a:extLst>
                <a:ext uri="{FF2B5EF4-FFF2-40B4-BE49-F238E27FC236}">
                  <a16:creationId xmlns:a16="http://schemas.microsoft.com/office/drawing/2014/main" id="{500903EF-2A49-42E8-AD78-049F43A296FF}"/>
                </a:ext>
              </a:extLst>
            </p:cNvPr>
            <p:cNvSpPr/>
            <p:nvPr/>
          </p:nvSpPr>
          <p:spPr>
            <a:xfrm rot="8716295">
              <a:off x="945836" y="355550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" name="Forme libre : forme 128">
              <a:extLst>
                <a:ext uri="{FF2B5EF4-FFF2-40B4-BE49-F238E27FC236}">
                  <a16:creationId xmlns:a16="http://schemas.microsoft.com/office/drawing/2014/main" id="{480AF78A-BA1A-4D97-9E00-1B9DCCFB07D3}"/>
                </a:ext>
              </a:extLst>
            </p:cNvPr>
            <p:cNvSpPr/>
            <p:nvPr/>
          </p:nvSpPr>
          <p:spPr>
            <a:xfrm rot="8716295">
              <a:off x="601570" y="5027951"/>
              <a:ext cx="169680" cy="113030"/>
            </a:xfrm>
            <a:custGeom>
              <a:avLst/>
              <a:gdLst>
                <a:gd name="connsiteX0" fmla="*/ 8965 w 169680"/>
                <a:gd name="connsiteY0" fmla="*/ 113030 h 113030"/>
                <a:gd name="connsiteX1" fmla="*/ 0 w 169680"/>
                <a:gd name="connsiteY1" fmla="*/ 100616 h 113030"/>
                <a:gd name="connsiteX2" fmla="*/ 106933 w 169680"/>
                <a:gd name="connsiteY2" fmla="*/ 0 h 113030"/>
                <a:gd name="connsiteX3" fmla="*/ 169680 w 169680"/>
                <a:gd name="connsiteY3" fmla="*/ 43494 h 113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680" h="113030">
                  <a:moveTo>
                    <a:pt x="8965" y="113030"/>
                  </a:moveTo>
                  <a:lnTo>
                    <a:pt x="0" y="100616"/>
                  </a:lnTo>
                  <a:lnTo>
                    <a:pt x="106933" y="0"/>
                  </a:lnTo>
                  <a:lnTo>
                    <a:pt x="169680" y="434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" name="Forme libre : forme 129">
              <a:extLst>
                <a:ext uri="{FF2B5EF4-FFF2-40B4-BE49-F238E27FC236}">
                  <a16:creationId xmlns:a16="http://schemas.microsoft.com/office/drawing/2014/main" id="{EE8617F6-3CC3-49C7-A836-7CB9E4E540AD}"/>
                </a:ext>
              </a:extLst>
            </p:cNvPr>
            <p:cNvSpPr/>
            <p:nvPr/>
          </p:nvSpPr>
          <p:spPr>
            <a:xfrm rot="8716295">
              <a:off x="197311" y="4925365"/>
              <a:ext cx="194366" cy="296463"/>
            </a:xfrm>
            <a:custGeom>
              <a:avLst/>
              <a:gdLst>
                <a:gd name="connsiteX0" fmla="*/ 137293 w 194366"/>
                <a:gd name="connsiteY0" fmla="*/ 296463 h 296463"/>
                <a:gd name="connsiteX1" fmla="*/ 72418 w 194366"/>
                <a:gd name="connsiteY1" fmla="*/ 175766 h 296463"/>
                <a:gd name="connsiteX2" fmla="*/ 105610 w 194366"/>
                <a:gd name="connsiteY2" fmla="*/ 83734 h 296463"/>
                <a:gd name="connsiteX3" fmla="*/ 0 w 194366"/>
                <a:gd name="connsiteY3" fmla="*/ 83734 h 296463"/>
                <a:gd name="connsiteX4" fmla="*/ 0 w 194366"/>
                <a:gd name="connsiteY4" fmla="*/ 0 h 296463"/>
                <a:gd name="connsiteX5" fmla="*/ 6043 w 194366"/>
                <a:gd name="connsiteY5" fmla="*/ 0 h 296463"/>
                <a:gd name="connsiteX6" fmla="*/ 194366 w 194366"/>
                <a:gd name="connsiteY6" fmla="*/ 130539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4366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6043" y="0"/>
                  </a:lnTo>
                  <a:lnTo>
                    <a:pt x="194366" y="1305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" name="Forme libre : forme 130">
              <a:extLst>
                <a:ext uri="{FF2B5EF4-FFF2-40B4-BE49-F238E27FC236}">
                  <a16:creationId xmlns:a16="http://schemas.microsoft.com/office/drawing/2014/main" id="{7A3770F8-0F14-4D5B-BC93-8BDF0237ED5F}"/>
                </a:ext>
              </a:extLst>
            </p:cNvPr>
            <p:cNvSpPr/>
            <p:nvPr/>
          </p:nvSpPr>
          <p:spPr>
            <a:xfrm rot="8716295">
              <a:off x="81902" y="4747962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" name="Forme libre : forme 131">
              <a:extLst>
                <a:ext uri="{FF2B5EF4-FFF2-40B4-BE49-F238E27FC236}">
                  <a16:creationId xmlns:a16="http://schemas.microsoft.com/office/drawing/2014/main" id="{6F3531E0-325E-4C4E-9F22-978D3BA0B1C2}"/>
                </a:ext>
              </a:extLst>
            </p:cNvPr>
            <p:cNvSpPr/>
            <p:nvPr/>
          </p:nvSpPr>
          <p:spPr>
            <a:xfrm rot="8716295">
              <a:off x="896624" y="4761216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" name="Forme libre : forme 132">
              <a:extLst>
                <a:ext uri="{FF2B5EF4-FFF2-40B4-BE49-F238E27FC236}">
                  <a16:creationId xmlns:a16="http://schemas.microsoft.com/office/drawing/2014/main" id="{0B981DC2-26C2-44B6-A24A-4014CF42843D}"/>
                </a:ext>
              </a:extLst>
            </p:cNvPr>
            <p:cNvSpPr/>
            <p:nvPr/>
          </p:nvSpPr>
          <p:spPr>
            <a:xfrm rot="8716295">
              <a:off x="1032483" y="4799006"/>
              <a:ext cx="389853" cy="383455"/>
            </a:xfrm>
            <a:custGeom>
              <a:avLst/>
              <a:gdLst>
                <a:gd name="connsiteX0" fmla="*/ 77932 w 389853"/>
                <a:gd name="connsiteY0" fmla="*/ 383455 h 383455"/>
                <a:gd name="connsiteX1" fmla="*/ 77932 w 389853"/>
                <a:gd name="connsiteY1" fmla="*/ 66898 h 383455"/>
                <a:gd name="connsiteX2" fmla="*/ 0 w 389853"/>
                <a:gd name="connsiteY2" fmla="*/ 66898 h 383455"/>
                <a:gd name="connsiteX3" fmla="*/ 0 w 389853"/>
                <a:gd name="connsiteY3" fmla="*/ 0 h 383455"/>
                <a:gd name="connsiteX4" fmla="*/ 158623 w 389853"/>
                <a:gd name="connsiteY4" fmla="*/ 0 h 383455"/>
                <a:gd name="connsiteX5" fmla="*/ 158623 w 389853"/>
                <a:gd name="connsiteY5" fmla="*/ 111726 h 383455"/>
                <a:gd name="connsiteX6" fmla="*/ 160692 w 389853"/>
                <a:gd name="connsiteY6" fmla="*/ 111726 h 383455"/>
                <a:gd name="connsiteX7" fmla="*/ 192762 w 389853"/>
                <a:gd name="connsiteY7" fmla="*/ 39914 h 383455"/>
                <a:gd name="connsiteX8" fmla="*/ 216292 w 389853"/>
                <a:gd name="connsiteY8" fmla="*/ 20658 h 383455"/>
                <a:gd name="connsiteX9" fmla="*/ 389853 w 389853"/>
                <a:gd name="connsiteY9" fmla="*/ 140965 h 383455"/>
                <a:gd name="connsiteX10" fmla="*/ 300695 w 389853"/>
                <a:gd name="connsiteY10" fmla="*/ 146210 h 383455"/>
                <a:gd name="connsiteX11" fmla="*/ 300694 w 389853"/>
                <a:gd name="connsiteY11" fmla="*/ 121382 h 383455"/>
                <a:gd name="connsiteX12" fmla="*/ 249659 w 389853"/>
                <a:gd name="connsiteY12" fmla="*/ 58622 h 383455"/>
                <a:gd name="connsiteX13" fmla="*/ 168969 w 389853"/>
                <a:gd name="connsiteY13" fmla="*/ 191038 h 383455"/>
                <a:gd name="connsiteX14" fmla="*/ 168969 w 389853"/>
                <a:gd name="connsiteY14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9853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71727" y="78967"/>
                    <a:pt x="181555" y="56208"/>
                    <a:pt x="192762" y="39914"/>
                  </a:cubicBezTo>
                  <a:lnTo>
                    <a:pt x="216292" y="20658"/>
                  </a:lnTo>
                  <a:lnTo>
                    <a:pt x="389853" y="140965"/>
                  </a:lnTo>
                  <a:lnTo>
                    <a:pt x="300695" y="146210"/>
                  </a:lnTo>
                  <a:lnTo>
                    <a:pt x="300694" y="121382"/>
                  </a:lnTo>
                  <a:cubicBezTo>
                    <a:pt x="300695" y="84140"/>
                    <a:pt x="279315" y="58621"/>
                    <a:pt x="249659" y="58622"/>
                  </a:cubicBezTo>
                  <a:cubicBezTo>
                    <a:pt x="205521" y="58621"/>
                    <a:pt x="168969" y="117244"/>
                    <a:pt x="168969" y="191038"/>
                  </a:cubicBez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" name="Forme libre : forme 133">
              <a:extLst>
                <a:ext uri="{FF2B5EF4-FFF2-40B4-BE49-F238E27FC236}">
                  <a16:creationId xmlns:a16="http://schemas.microsoft.com/office/drawing/2014/main" id="{A3972FDD-BF94-4723-9E5F-9672CBFB9038}"/>
                </a:ext>
              </a:extLst>
            </p:cNvPr>
            <p:cNvSpPr/>
            <p:nvPr/>
          </p:nvSpPr>
          <p:spPr>
            <a:xfrm rot="8716295">
              <a:off x="726753" y="489523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" name="Forme libre : forme 134">
              <a:extLst>
                <a:ext uri="{FF2B5EF4-FFF2-40B4-BE49-F238E27FC236}">
                  <a16:creationId xmlns:a16="http://schemas.microsoft.com/office/drawing/2014/main" id="{53E7288B-8855-433D-88B5-BB9A05F8E9B6}"/>
                </a:ext>
              </a:extLst>
            </p:cNvPr>
            <p:cNvSpPr/>
            <p:nvPr/>
          </p:nvSpPr>
          <p:spPr>
            <a:xfrm rot="8716295">
              <a:off x="537709" y="457939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" name="Forme libre : forme 135">
              <a:extLst>
                <a:ext uri="{FF2B5EF4-FFF2-40B4-BE49-F238E27FC236}">
                  <a16:creationId xmlns:a16="http://schemas.microsoft.com/office/drawing/2014/main" id="{6D0BADDB-ADF9-4A5A-9268-3F374A71F372}"/>
                </a:ext>
              </a:extLst>
            </p:cNvPr>
            <p:cNvSpPr/>
            <p:nvPr/>
          </p:nvSpPr>
          <p:spPr>
            <a:xfrm rot="8716295">
              <a:off x="826576" y="4988476"/>
              <a:ext cx="91035" cy="198648"/>
            </a:xfrm>
            <a:custGeom>
              <a:avLst/>
              <a:gdLst>
                <a:gd name="connsiteX0" fmla="*/ 91035 w 91035"/>
                <a:gd name="connsiteY0" fmla="*/ 198648 h 198648"/>
                <a:gd name="connsiteX1" fmla="*/ 0 w 91035"/>
                <a:gd name="connsiteY1" fmla="*/ 111060 h 198648"/>
                <a:gd name="connsiteX2" fmla="*/ 0 w 91035"/>
                <a:gd name="connsiteY2" fmla="*/ 0 h 198648"/>
                <a:gd name="connsiteX3" fmla="*/ 91035 w 91035"/>
                <a:gd name="connsiteY3" fmla="*/ 63103 h 198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198648">
                  <a:moveTo>
                    <a:pt x="91035" y="198648"/>
                  </a:moveTo>
                  <a:lnTo>
                    <a:pt x="0" y="111060"/>
                  </a:lnTo>
                  <a:lnTo>
                    <a:pt x="0" y="0"/>
                  </a:lnTo>
                  <a:lnTo>
                    <a:pt x="91035" y="631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" name="Forme libre : forme 136">
              <a:extLst>
                <a:ext uri="{FF2B5EF4-FFF2-40B4-BE49-F238E27FC236}">
                  <a16:creationId xmlns:a16="http://schemas.microsoft.com/office/drawing/2014/main" id="{7A0A28EA-B520-49BA-800F-B4282BF0ECB8}"/>
                </a:ext>
              </a:extLst>
            </p:cNvPr>
            <p:cNvSpPr/>
            <p:nvPr/>
          </p:nvSpPr>
          <p:spPr>
            <a:xfrm rot="8716295">
              <a:off x="497795" y="4730788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" name="Forme libre : forme 137">
              <a:extLst>
                <a:ext uri="{FF2B5EF4-FFF2-40B4-BE49-F238E27FC236}">
                  <a16:creationId xmlns:a16="http://schemas.microsoft.com/office/drawing/2014/main" id="{8781DCBF-8301-4C81-B93D-E186016AF47F}"/>
                </a:ext>
              </a:extLst>
            </p:cNvPr>
            <p:cNvSpPr/>
            <p:nvPr/>
          </p:nvSpPr>
          <p:spPr>
            <a:xfrm rot="8716295">
              <a:off x="1459248" y="4904357"/>
              <a:ext cx="328004" cy="223069"/>
            </a:xfrm>
            <a:custGeom>
              <a:avLst/>
              <a:gdLst>
                <a:gd name="connsiteX0" fmla="*/ 10574 w 328004"/>
                <a:gd name="connsiteY0" fmla="*/ 223069 h 223069"/>
                <a:gd name="connsiteX1" fmla="*/ 0 w 328004"/>
                <a:gd name="connsiteY1" fmla="*/ 208428 h 223069"/>
                <a:gd name="connsiteX2" fmla="*/ 192781 w 328004"/>
                <a:gd name="connsiteY2" fmla="*/ 27035 h 223069"/>
                <a:gd name="connsiteX3" fmla="*/ 227094 w 328004"/>
                <a:gd name="connsiteY3" fmla="*/ 0 h 223069"/>
                <a:gd name="connsiteX4" fmla="*/ 328004 w 328004"/>
                <a:gd name="connsiteY4" fmla="*/ 69948 h 223069"/>
                <a:gd name="connsiteX5" fmla="*/ 326080 w 328004"/>
                <a:gd name="connsiteY5" fmla="*/ 74925 h 223069"/>
                <a:gd name="connsiteX6" fmla="*/ 293645 w 328004"/>
                <a:gd name="connsiteY6" fmla="*/ 100243 h 223069"/>
                <a:gd name="connsiteX7" fmla="*/ 294458 w 328004"/>
                <a:gd name="connsiteY7" fmla="*/ 100243 h 223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8004" h="223069">
                  <a:moveTo>
                    <a:pt x="10574" y="223069"/>
                  </a:moveTo>
                  <a:lnTo>
                    <a:pt x="0" y="208428"/>
                  </a:lnTo>
                  <a:lnTo>
                    <a:pt x="192781" y="27035"/>
                  </a:lnTo>
                  <a:lnTo>
                    <a:pt x="227094" y="0"/>
                  </a:lnTo>
                  <a:lnTo>
                    <a:pt x="328004" y="69948"/>
                  </a:lnTo>
                  <a:lnTo>
                    <a:pt x="326080" y="74925"/>
                  </a:lnTo>
                  <a:cubicBezTo>
                    <a:pt x="317843" y="85805"/>
                    <a:pt x="306659" y="94549"/>
                    <a:pt x="293645" y="100243"/>
                  </a:cubicBezTo>
                  <a:lnTo>
                    <a:pt x="294458" y="10024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" name="Forme libre : forme 138">
              <a:extLst>
                <a:ext uri="{FF2B5EF4-FFF2-40B4-BE49-F238E27FC236}">
                  <a16:creationId xmlns:a16="http://schemas.microsoft.com/office/drawing/2014/main" id="{3ED78FC6-709C-4AA3-BB63-2CC979D6E8FB}"/>
                </a:ext>
              </a:extLst>
            </p:cNvPr>
            <p:cNvSpPr/>
            <p:nvPr/>
          </p:nvSpPr>
          <p:spPr>
            <a:xfrm rot="8716295">
              <a:off x="1383191" y="474927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" name="Forme libre : forme 139">
              <a:extLst>
                <a:ext uri="{FF2B5EF4-FFF2-40B4-BE49-F238E27FC236}">
                  <a16:creationId xmlns:a16="http://schemas.microsoft.com/office/drawing/2014/main" id="{AC25FEFC-06C2-45EF-9330-9EAB676F1680}"/>
                </a:ext>
              </a:extLst>
            </p:cNvPr>
            <p:cNvSpPr/>
            <p:nvPr/>
          </p:nvSpPr>
          <p:spPr>
            <a:xfrm rot="8716295">
              <a:off x="1015027" y="479501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" name="Forme libre : forme 140">
              <a:extLst>
                <a:ext uri="{FF2B5EF4-FFF2-40B4-BE49-F238E27FC236}">
                  <a16:creationId xmlns:a16="http://schemas.microsoft.com/office/drawing/2014/main" id="{6FCEE809-B78B-468F-8A4F-11AD6B5B5DFE}"/>
                </a:ext>
              </a:extLst>
            </p:cNvPr>
            <p:cNvSpPr/>
            <p:nvPr/>
          </p:nvSpPr>
          <p:spPr>
            <a:xfrm rot="8716295">
              <a:off x="1283609" y="455399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" name="Forme libre : forme 141">
              <a:extLst>
                <a:ext uri="{FF2B5EF4-FFF2-40B4-BE49-F238E27FC236}">
                  <a16:creationId xmlns:a16="http://schemas.microsoft.com/office/drawing/2014/main" id="{4D7B8EF3-5C2F-4403-A58E-C6455E9DC2F8}"/>
                </a:ext>
              </a:extLst>
            </p:cNvPr>
            <p:cNvSpPr/>
            <p:nvPr/>
          </p:nvSpPr>
          <p:spPr>
            <a:xfrm rot="8716295">
              <a:off x="-30381" y="3359388"/>
              <a:ext cx="98497" cy="75863"/>
            </a:xfrm>
            <a:custGeom>
              <a:avLst/>
              <a:gdLst>
                <a:gd name="connsiteX0" fmla="*/ 0 w 98497"/>
                <a:gd name="connsiteY0" fmla="*/ 75863 h 75863"/>
                <a:gd name="connsiteX1" fmla="*/ 0 w 98497"/>
                <a:gd name="connsiteY1" fmla="*/ 0 h 75863"/>
                <a:gd name="connsiteX2" fmla="*/ 98497 w 98497"/>
                <a:gd name="connsiteY2" fmla="*/ 0 h 75863"/>
                <a:gd name="connsiteX3" fmla="*/ 45911 w 98497"/>
                <a:gd name="connsiteY3" fmla="*/ 75863 h 75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497" h="75863">
                  <a:moveTo>
                    <a:pt x="0" y="75863"/>
                  </a:moveTo>
                  <a:lnTo>
                    <a:pt x="0" y="0"/>
                  </a:lnTo>
                  <a:lnTo>
                    <a:pt x="98497" y="0"/>
                  </a:lnTo>
                  <a:lnTo>
                    <a:pt x="45911" y="758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" name="Forme libre : forme 142">
              <a:extLst>
                <a:ext uri="{FF2B5EF4-FFF2-40B4-BE49-F238E27FC236}">
                  <a16:creationId xmlns:a16="http://schemas.microsoft.com/office/drawing/2014/main" id="{E1CB3E01-5CB9-4779-88E3-4FF297370B3E}"/>
                </a:ext>
              </a:extLst>
            </p:cNvPr>
            <p:cNvSpPr/>
            <p:nvPr/>
          </p:nvSpPr>
          <p:spPr>
            <a:xfrm rot="8716295">
              <a:off x="-77334" y="3178477"/>
              <a:ext cx="389652" cy="385611"/>
            </a:xfrm>
            <a:custGeom>
              <a:avLst/>
              <a:gdLst>
                <a:gd name="connsiteX0" fmla="*/ 77932 w 389652"/>
                <a:gd name="connsiteY0" fmla="*/ 385611 h 385611"/>
                <a:gd name="connsiteX1" fmla="*/ 77932 w 389652"/>
                <a:gd name="connsiteY1" fmla="*/ 69054 h 385611"/>
                <a:gd name="connsiteX2" fmla="*/ 0 w 389652"/>
                <a:gd name="connsiteY2" fmla="*/ 69054 h 385611"/>
                <a:gd name="connsiteX3" fmla="*/ 0 w 389652"/>
                <a:gd name="connsiteY3" fmla="*/ 2156 h 385611"/>
                <a:gd name="connsiteX4" fmla="*/ 158623 w 389652"/>
                <a:gd name="connsiteY4" fmla="*/ 2156 h 385611"/>
                <a:gd name="connsiteX5" fmla="*/ 158623 w 389652"/>
                <a:gd name="connsiteY5" fmla="*/ 113882 h 385611"/>
                <a:gd name="connsiteX6" fmla="*/ 160692 w 389652"/>
                <a:gd name="connsiteY6" fmla="*/ 113882 h 385611"/>
                <a:gd name="connsiteX7" fmla="*/ 233107 w 389652"/>
                <a:gd name="connsiteY7" fmla="*/ 9053 h 385611"/>
                <a:gd name="connsiteX8" fmla="*/ 280694 w 389652"/>
                <a:gd name="connsiteY8" fmla="*/ 87 h 385611"/>
                <a:gd name="connsiteX9" fmla="*/ 364230 w 389652"/>
                <a:gd name="connsiteY9" fmla="*/ 34398 h 385611"/>
                <a:gd name="connsiteX10" fmla="*/ 389652 w 389652"/>
                <a:gd name="connsiteY10" fmla="*/ 117977 h 385611"/>
                <a:gd name="connsiteX11" fmla="*/ 371473 w 389652"/>
                <a:gd name="connsiteY11" fmla="*/ 144202 h 385611"/>
                <a:gd name="connsiteX12" fmla="*/ 300695 w 389652"/>
                <a:gd name="connsiteY12" fmla="*/ 148366 h 385611"/>
                <a:gd name="connsiteX13" fmla="*/ 300695 w 389652"/>
                <a:gd name="connsiteY13" fmla="*/ 123538 h 385611"/>
                <a:gd name="connsiteX14" fmla="*/ 249659 w 389652"/>
                <a:gd name="connsiteY14" fmla="*/ 60778 h 385611"/>
                <a:gd name="connsiteX15" fmla="*/ 168969 w 389652"/>
                <a:gd name="connsiteY15" fmla="*/ 193194 h 385611"/>
                <a:gd name="connsiteX16" fmla="*/ 168969 w 389652"/>
                <a:gd name="connsiteY16" fmla="*/ 323541 h 385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89652" h="385611">
                  <a:moveTo>
                    <a:pt x="77932" y="385611"/>
                  </a:moveTo>
                  <a:lnTo>
                    <a:pt x="77932" y="69054"/>
                  </a:lnTo>
                  <a:lnTo>
                    <a:pt x="0" y="69054"/>
                  </a:lnTo>
                  <a:lnTo>
                    <a:pt x="0" y="2156"/>
                  </a:lnTo>
                  <a:lnTo>
                    <a:pt x="158623" y="2156"/>
                  </a:lnTo>
                  <a:lnTo>
                    <a:pt x="158623" y="113882"/>
                  </a:lnTo>
                  <a:lnTo>
                    <a:pt x="160692" y="113882"/>
                  </a:lnTo>
                  <a:cubicBezTo>
                    <a:pt x="182762" y="48364"/>
                    <a:pt x="200003" y="22846"/>
                    <a:pt x="233107" y="9053"/>
                  </a:cubicBezTo>
                  <a:cubicBezTo>
                    <a:pt x="248280" y="2846"/>
                    <a:pt x="264142" y="-602"/>
                    <a:pt x="280694" y="87"/>
                  </a:cubicBezTo>
                  <a:cubicBezTo>
                    <a:pt x="316212" y="-603"/>
                    <a:pt x="344661" y="11466"/>
                    <a:pt x="364230" y="34398"/>
                  </a:cubicBezTo>
                  <a:lnTo>
                    <a:pt x="389652" y="117977"/>
                  </a:lnTo>
                  <a:lnTo>
                    <a:pt x="371473" y="144202"/>
                  </a:lnTo>
                  <a:lnTo>
                    <a:pt x="300695" y="148366"/>
                  </a:lnTo>
                  <a:lnTo>
                    <a:pt x="300695" y="123538"/>
                  </a:lnTo>
                  <a:cubicBezTo>
                    <a:pt x="300695" y="86296"/>
                    <a:pt x="279315" y="60778"/>
                    <a:pt x="249659" y="60778"/>
                  </a:cubicBezTo>
                  <a:cubicBezTo>
                    <a:pt x="205521" y="60778"/>
                    <a:pt x="168969" y="119400"/>
                    <a:pt x="168969" y="193194"/>
                  </a:cubicBezTo>
                  <a:lnTo>
                    <a:pt x="168969" y="3235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4" name="Forme libre : forme 143">
              <a:extLst>
                <a:ext uri="{FF2B5EF4-FFF2-40B4-BE49-F238E27FC236}">
                  <a16:creationId xmlns:a16="http://schemas.microsoft.com/office/drawing/2014/main" id="{693C3616-465F-40B5-99BD-A4355895EC1C}"/>
                </a:ext>
              </a:extLst>
            </p:cNvPr>
            <p:cNvSpPr/>
            <p:nvPr/>
          </p:nvSpPr>
          <p:spPr>
            <a:xfrm rot="8716295">
              <a:off x="-71352" y="3029015"/>
              <a:ext cx="193594" cy="189959"/>
            </a:xfrm>
            <a:custGeom>
              <a:avLst/>
              <a:gdLst>
                <a:gd name="connsiteX0" fmla="*/ 8965 w 193594"/>
                <a:gd name="connsiteY0" fmla="*/ 189959 h 189959"/>
                <a:gd name="connsiteX1" fmla="*/ 0 w 193594"/>
                <a:gd name="connsiteY1" fmla="*/ 177545 h 189959"/>
                <a:gd name="connsiteX2" fmla="*/ 163451 w 193594"/>
                <a:gd name="connsiteY2" fmla="*/ 23749 h 189959"/>
                <a:gd name="connsiteX3" fmla="*/ 193594 w 193594"/>
                <a:gd name="connsiteY3" fmla="*/ 0 h 189959"/>
                <a:gd name="connsiteX4" fmla="*/ 84606 w 193594"/>
                <a:gd name="connsiteY4" fmla="*/ 157232 h 189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594" h="189959">
                  <a:moveTo>
                    <a:pt x="8965" y="189959"/>
                  </a:moveTo>
                  <a:lnTo>
                    <a:pt x="0" y="177545"/>
                  </a:lnTo>
                  <a:lnTo>
                    <a:pt x="163451" y="23749"/>
                  </a:lnTo>
                  <a:lnTo>
                    <a:pt x="193594" y="0"/>
                  </a:lnTo>
                  <a:lnTo>
                    <a:pt x="84606" y="15723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5" name="Forme libre : forme 144">
              <a:extLst>
                <a:ext uri="{FF2B5EF4-FFF2-40B4-BE49-F238E27FC236}">
                  <a16:creationId xmlns:a16="http://schemas.microsoft.com/office/drawing/2014/main" id="{24B29AA9-322C-494E-97CF-CB28B697D24F}"/>
                </a:ext>
              </a:extLst>
            </p:cNvPr>
            <p:cNvSpPr/>
            <p:nvPr/>
          </p:nvSpPr>
          <p:spPr>
            <a:xfrm rot="8716295">
              <a:off x="223574" y="276232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6" name="Forme libre : forme 145">
              <a:extLst>
                <a:ext uri="{FF2B5EF4-FFF2-40B4-BE49-F238E27FC236}">
                  <a16:creationId xmlns:a16="http://schemas.microsoft.com/office/drawing/2014/main" id="{F8DE088E-7554-4812-9E9E-4D30E041F578}"/>
                </a:ext>
              </a:extLst>
            </p:cNvPr>
            <p:cNvSpPr/>
            <p:nvPr/>
          </p:nvSpPr>
          <p:spPr>
            <a:xfrm rot="8716295">
              <a:off x="358873" y="2806579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7" name="Forme libre : forme 146">
              <a:extLst>
                <a:ext uri="{FF2B5EF4-FFF2-40B4-BE49-F238E27FC236}">
                  <a16:creationId xmlns:a16="http://schemas.microsoft.com/office/drawing/2014/main" id="{B9E26502-E7AD-4DA1-9955-0A4E18FDB87E}"/>
                </a:ext>
              </a:extLst>
            </p:cNvPr>
            <p:cNvSpPr/>
            <p:nvPr/>
          </p:nvSpPr>
          <p:spPr>
            <a:xfrm rot="8716295">
              <a:off x="53703" y="2896335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8" name="Forme libre : forme 147">
              <a:extLst>
                <a:ext uri="{FF2B5EF4-FFF2-40B4-BE49-F238E27FC236}">
                  <a16:creationId xmlns:a16="http://schemas.microsoft.com/office/drawing/2014/main" id="{916CFE5B-3405-43DB-8C30-699019D1BD67}"/>
                </a:ext>
              </a:extLst>
            </p:cNvPr>
            <p:cNvSpPr/>
            <p:nvPr/>
          </p:nvSpPr>
          <p:spPr>
            <a:xfrm rot="8716295">
              <a:off x="-92201" y="2622488"/>
              <a:ext cx="271732" cy="238722"/>
            </a:xfrm>
            <a:custGeom>
              <a:avLst/>
              <a:gdLst>
                <a:gd name="connsiteX0" fmla="*/ 106257 w 271732"/>
                <a:gd name="connsiteY0" fmla="*/ 238722 h 238722"/>
                <a:gd name="connsiteX1" fmla="*/ 72418 w 271732"/>
                <a:gd name="connsiteY1" fmla="*/ 175766 h 238722"/>
                <a:gd name="connsiteX2" fmla="*/ 105610 w 271732"/>
                <a:gd name="connsiteY2" fmla="*/ 83734 h 238722"/>
                <a:gd name="connsiteX3" fmla="*/ 0 w 271732"/>
                <a:gd name="connsiteY3" fmla="*/ 83734 h 238722"/>
                <a:gd name="connsiteX4" fmla="*/ 0 w 271732"/>
                <a:gd name="connsiteY4" fmla="*/ 0 h 238722"/>
                <a:gd name="connsiteX5" fmla="*/ 271732 w 271732"/>
                <a:gd name="connsiteY5" fmla="*/ 0 h 238722"/>
                <a:gd name="connsiteX6" fmla="*/ 213690 w 271732"/>
                <a:gd name="connsiteY6" fmla="*/ 83734 h 238722"/>
                <a:gd name="connsiteX7" fmla="*/ 210465 w 271732"/>
                <a:gd name="connsiteY7" fmla="*/ 83734 h 238722"/>
                <a:gd name="connsiteX8" fmla="*/ 207289 w 271732"/>
                <a:gd name="connsiteY8" fmla="*/ 92969 h 238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1732" h="238722">
                  <a:moveTo>
                    <a:pt x="106257" y="238722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71732" y="0"/>
                  </a:lnTo>
                  <a:lnTo>
                    <a:pt x="213690" y="83734"/>
                  </a:lnTo>
                  <a:lnTo>
                    <a:pt x="210465" y="83734"/>
                  </a:lnTo>
                  <a:lnTo>
                    <a:pt x="207289" y="929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9" name="Forme libre : forme 148">
              <a:extLst>
                <a:ext uri="{FF2B5EF4-FFF2-40B4-BE49-F238E27FC236}">
                  <a16:creationId xmlns:a16="http://schemas.microsoft.com/office/drawing/2014/main" id="{D3C330C6-8ED8-4019-9D23-534F7E32B7C3}"/>
                </a:ext>
              </a:extLst>
            </p:cNvPr>
            <p:cNvSpPr/>
            <p:nvPr/>
          </p:nvSpPr>
          <p:spPr>
            <a:xfrm rot="8716295">
              <a:off x="190192" y="2958318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0" name="Forme libre : forme 149">
              <a:extLst>
                <a:ext uri="{FF2B5EF4-FFF2-40B4-BE49-F238E27FC236}">
                  <a16:creationId xmlns:a16="http://schemas.microsoft.com/office/drawing/2014/main" id="{7556479F-3BE7-4641-97C7-A31999C980CD}"/>
                </a:ext>
              </a:extLst>
            </p:cNvPr>
            <p:cNvSpPr/>
            <p:nvPr/>
          </p:nvSpPr>
          <p:spPr>
            <a:xfrm rot="7484129">
              <a:off x="349009" y="324793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1" name="Forme libre : forme 150">
              <a:extLst>
                <a:ext uri="{FF2B5EF4-FFF2-40B4-BE49-F238E27FC236}">
                  <a16:creationId xmlns:a16="http://schemas.microsoft.com/office/drawing/2014/main" id="{C9126667-6906-4254-B833-2535AC138F99}"/>
                </a:ext>
              </a:extLst>
            </p:cNvPr>
            <p:cNvSpPr/>
            <p:nvPr/>
          </p:nvSpPr>
          <p:spPr>
            <a:xfrm rot="13089394">
              <a:off x="507659" y="3197284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2" name="Forme libre : forme 151">
              <a:extLst>
                <a:ext uri="{FF2B5EF4-FFF2-40B4-BE49-F238E27FC236}">
                  <a16:creationId xmlns:a16="http://schemas.microsoft.com/office/drawing/2014/main" id="{EB63A53B-C558-41C6-87D3-6E3EEB414D38}"/>
                </a:ext>
              </a:extLst>
            </p:cNvPr>
            <p:cNvSpPr/>
            <p:nvPr/>
          </p:nvSpPr>
          <p:spPr>
            <a:xfrm rot="8716295">
              <a:off x="788550" y="2907166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3" name="Forme libre : forme 152">
              <a:extLst>
                <a:ext uri="{FF2B5EF4-FFF2-40B4-BE49-F238E27FC236}">
                  <a16:creationId xmlns:a16="http://schemas.microsoft.com/office/drawing/2014/main" id="{EBE3A45E-76C2-41F7-84F5-A2A181D50E91}"/>
                </a:ext>
              </a:extLst>
            </p:cNvPr>
            <p:cNvSpPr/>
            <p:nvPr/>
          </p:nvSpPr>
          <p:spPr>
            <a:xfrm rot="8716295">
              <a:off x="710141" y="275037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4" name="Forme libre : forme 153">
              <a:extLst>
                <a:ext uri="{FF2B5EF4-FFF2-40B4-BE49-F238E27FC236}">
                  <a16:creationId xmlns:a16="http://schemas.microsoft.com/office/drawing/2014/main" id="{871F770F-4D72-4427-86D1-F18744993E05}"/>
                </a:ext>
              </a:extLst>
            </p:cNvPr>
            <p:cNvSpPr/>
            <p:nvPr/>
          </p:nvSpPr>
          <p:spPr>
            <a:xfrm rot="8716295">
              <a:off x="341977" y="279611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5" name="Forme libre : forme 154">
              <a:extLst>
                <a:ext uri="{FF2B5EF4-FFF2-40B4-BE49-F238E27FC236}">
                  <a16:creationId xmlns:a16="http://schemas.microsoft.com/office/drawing/2014/main" id="{CBA9ADD5-0B79-42BB-A803-7DD5C3582812}"/>
                </a:ext>
              </a:extLst>
            </p:cNvPr>
            <p:cNvSpPr/>
            <p:nvPr/>
          </p:nvSpPr>
          <p:spPr>
            <a:xfrm rot="8716295">
              <a:off x="610559" y="2555095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6" name="Forme libre : forme 155">
              <a:extLst>
                <a:ext uri="{FF2B5EF4-FFF2-40B4-BE49-F238E27FC236}">
                  <a16:creationId xmlns:a16="http://schemas.microsoft.com/office/drawing/2014/main" id="{7B5F712C-46C4-40C0-B35F-823DEC5DC95D}"/>
                </a:ext>
              </a:extLst>
            </p:cNvPr>
            <p:cNvSpPr/>
            <p:nvPr/>
          </p:nvSpPr>
          <p:spPr>
            <a:xfrm rot="8716295">
              <a:off x="-24305" y="2374348"/>
              <a:ext cx="58950" cy="66898"/>
            </a:xfrm>
            <a:custGeom>
              <a:avLst/>
              <a:gdLst>
                <a:gd name="connsiteX0" fmla="*/ 0 w 58950"/>
                <a:gd name="connsiteY0" fmla="*/ 66898 h 66898"/>
                <a:gd name="connsiteX1" fmla="*/ 0 w 58950"/>
                <a:gd name="connsiteY1" fmla="*/ 0 h 66898"/>
                <a:gd name="connsiteX2" fmla="*/ 58950 w 58950"/>
                <a:gd name="connsiteY2" fmla="*/ 0 h 66898"/>
                <a:gd name="connsiteX3" fmla="*/ 12579 w 58950"/>
                <a:gd name="connsiteY3" fmla="*/ 66898 h 6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950" h="66898">
                  <a:moveTo>
                    <a:pt x="0" y="66898"/>
                  </a:moveTo>
                  <a:lnTo>
                    <a:pt x="0" y="0"/>
                  </a:lnTo>
                  <a:lnTo>
                    <a:pt x="58950" y="0"/>
                  </a:lnTo>
                  <a:lnTo>
                    <a:pt x="12579" y="668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7" name="Forme libre : forme 156">
              <a:extLst>
                <a:ext uri="{FF2B5EF4-FFF2-40B4-BE49-F238E27FC236}">
                  <a16:creationId xmlns:a16="http://schemas.microsoft.com/office/drawing/2014/main" id="{7F46186A-3310-4CD5-864B-686D76F3E8C2}"/>
                </a:ext>
              </a:extLst>
            </p:cNvPr>
            <p:cNvSpPr/>
            <p:nvPr/>
          </p:nvSpPr>
          <p:spPr>
            <a:xfrm rot="8716295">
              <a:off x="-39593" y="1952072"/>
              <a:ext cx="198050" cy="140164"/>
            </a:xfrm>
            <a:custGeom>
              <a:avLst/>
              <a:gdLst>
                <a:gd name="connsiteX0" fmla="*/ 0 w 198050"/>
                <a:gd name="connsiteY0" fmla="*/ 75863 h 140164"/>
                <a:gd name="connsiteX1" fmla="*/ 0 w 198050"/>
                <a:gd name="connsiteY1" fmla="*/ 0 h 140164"/>
                <a:gd name="connsiteX2" fmla="*/ 128968 w 198050"/>
                <a:gd name="connsiteY2" fmla="*/ 0 h 140164"/>
                <a:gd name="connsiteX3" fmla="*/ 193021 w 198050"/>
                <a:gd name="connsiteY3" fmla="*/ 18535 h 140164"/>
                <a:gd name="connsiteX4" fmla="*/ 198050 w 198050"/>
                <a:gd name="connsiteY4" fmla="*/ 31548 h 140164"/>
                <a:gd name="connsiteX5" fmla="*/ 122761 w 198050"/>
                <a:gd name="connsiteY5" fmla="*/ 140164 h 140164"/>
                <a:gd name="connsiteX6" fmla="*/ 122761 w 198050"/>
                <a:gd name="connsiteY6" fmla="*/ 105519 h 140164"/>
                <a:gd name="connsiteX7" fmla="*/ 122761 w 198050"/>
                <a:gd name="connsiteY7" fmla="*/ 99312 h 140164"/>
                <a:gd name="connsiteX8" fmla="*/ 91726 w 198050"/>
                <a:gd name="connsiteY8" fmla="*/ 75863 h 140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8050" h="140164">
                  <a:moveTo>
                    <a:pt x="0" y="75863"/>
                  </a:moveTo>
                  <a:lnTo>
                    <a:pt x="0" y="0"/>
                  </a:lnTo>
                  <a:lnTo>
                    <a:pt x="128968" y="0"/>
                  </a:lnTo>
                  <a:cubicBezTo>
                    <a:pt x="156900" y="0"/>
                    <a:pt x="178452" y="6034"/>
                    <a:pt x="193021" y="18535"/>
                  </a:cubicBezTo>
                  <a:lnTo>
                    <a:pt x="198050" y="31548"/>
                  </a:lnTo>
                  <a:lnTo>
                    <a:pt x="122761" y="140164"/>
                  </a:ln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4"/>
                    <a:pt x="91726" y="758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8" name="Forme libre : forme 157">
              <a:extLst>
                <a:ext uri="{FF2B5EF4-FFF2-40B4-BE49-F238E27FC236}">
                  <a16:creationId xmlns:a16="http://schemas.microsoft.com/office/drawing/2014/main" id="{A7D40018-F0E5-4DC0-8F24-CC5DD724ED71}"/>
                </a:ext>
              </a:extLst>
            </p:cNvPr>
            <p:cNvSpPr/>
            <p:nvPr/>
          </p:nvSpPr>
          <p:spPr>
            <a:xfrm rot="8716295">
              <a:off x="21100" y="1808096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9" name="Forme libre : forme 158">
              <a:extLst>
                <a:ext uri="{FF2B5EF4-FFF2-40B4-BE49-F238E27FC236}">
                  <a16:creationId xmlns:a16="http://schemas.microsoft.com/office/drawing/2014/main" id="{DE6A0D39-0B43-4DC3-9F56-137223FC9AF7}"/>
                </a:ext>
              </a:extLst>
            </p:cNvPr>
            <p:cNvSpPr/>
            <p:nvPr/>
          </p:nvSpPr>
          <p:spPr>
            <a:xfrm rot="8716295">
              <a:off x="-24330" y="2197782"/>
              <a:ext cx="102508" cy="53362"/>
            </a:xfrm>
            <a:custGeom>
              <a:avLst/>
              <a:gdLst>
                <a:gd name="connsiteX0" fmla="*/ 0 w 102508"/>
                <a:gd name="connsiteY0" fmla="*/ 23637 h 53362"/>
                <a:gd name="connsiteX1" fmla="*/ 0 w 102508"/>
                <a:gd name="connsiteY1" fmla="*/ 2258 h 53362"/>
                <a:gd name="connsiteX2" fmla="*/ 102508 w 102508"/>
                <a:gd name="connsiteY2" fmla="*/ 0 h 53362"/>
                <a:gd name="connsiteX3" fmla="*/ 65519 w 102508"/>
                <a:gd name="connsiteY3" fmla="*/ 53362 h 53362"/>
                <a:gd name="connsiteX4" fmla="*/ 65519 w 102508"/>
                <a:gd name="connsiteY4" fmla="*/ 23637 h 5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508" h="53362">
                  <a:moveTo>
                    <a:pt x="0" y="23637"/>
                  </a:moveTo>
                  <a:lnTo>
                    <a:pt x="0" y="2258"/>
                  </a:lnTo>
                  <a:lnTo>
                    <a:pt x="102508" y="0"/>
                  </a:lnTo>
                  <a:lnTo>
                    <a:pt x="65519" y="53362"/>
                  </a:lnTo>
                  <a:lnTo>
                    <a:pt x="65519" y="2363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0" name="Forme libre : forme 159">
              <a:extLst>
                <a:ext uri="{FF2B5EF4-FFF2-40B4-BE49-F238E27FC236}">
                  <a16:creationId xmlns:a16="http://schemas.microsoft.com/office/drawing/2014/main" id="{53869A83-F18C-41C3-A8D6-8AA2F169F6A9}"/>
                </a:ext>
              </a:extLst>
            </p:cNvPr>
            <p:cNvSpPr/>
            <p:nvPr/>
          </p:nvSpPr>
          <p:spPr>
            <a:xfrm rot="7484129">
              <a:off x="11236" y="224945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1" name="Forme libre : forme 160">
              <a:extLst>
                <a:ext uri="{FF2B5EF4-FFF2-40B4-BE49-F238E27FC236}">
                  <a16:creationId xmlns:a16="http://schemas.microsoft.com/office/drawing/2014/main" id="{47FF6EA9-61FE-4C53-86BC-F03ADA0CF577}"/>
                </a:ext>
              </a:extLst>
            </p:cNvPr>
            <p:cNvSpPr/>
            <p:nvPr/>
          </p:nvSpPr>
          <p:spPr>
            <a:xfrm rot="13089394">
              <a:off x="169886" y="2198801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2" name="Forme libre : forme 161">
              <a:extLst>
                <a:ext uri="{FF2B5EF4-FFF2-40B4-BE49-F238E27FC236}">
                  <a16:creationId xmlns:a16="http://schemas.microsoft.com/office/drawing/2014/main" id="{6ED294D2-DD3A-4323-ADB4-4D2A485D31FA}"/>
                </a:ext>
              </a:extLst>
            </p:cNvPr>
            <p:cNvSpPr/>
            <p:nvPr/>
          </p:nvSpPr>
          <p:spPr>
            <a:xfrm rot="8716295">
              <a:off x="450777" y="1908683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3" name="Forme libre : forme 162">
              <a:extLst>
                <a:ext uri="{FF2B5EF4-FFF2-40B4-BE49-F238E27FC236}">
                  <a16:creationId xmlns:a16="http://schemas.microsoft.com/office/drawing/2014/main" id="{4D7140F9-06B5-4BA8-BEAB-23BD75B9DD53}"/>
                </a:ext>
              </a:extLst>
            </p:cNvPr>
            <p:cNvSpPr/>
            <p:nvPr/>
          </p:nvSpPr>
          <p:spPr>
            <a:xfrm rot="8716295">
              <a:off x="372368" y="175189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4" name="Forme libre : forme 163">
              <a:extLst>
                <a:ext uri="{FF2B5EF4-FFF2-40B4-BE49-F238E27FC236}">
                  <a16:creationId xmlns:a16="http://schemas.microsoft.com/office/drawing/2014/main" id="{068812F1-37A6-4A0A-A392-F4B3E8D2782D}"/>
                </a:ext>
              </a:extLst>
            </p:cNvPr>
            <p:cNvSpPr/>
            <p:nvPr/>
          </p:nvSpPr>
          <p:spPr>
            <a:xfrm rot="8716295">
              <a:off x="4204" y="179763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5" name="Forme libre : forme 164">
              <a:extLst>
                <a:ext uri="{FF2B5EF4-FFF2-40B4-BE49-F238E27FC236}">
                  <a16:creationId xmlns:a16="http://schemas.microsoft.com/office/drawing/2014/main" id="{B62F2753-FDB5-4835-8322-FC678E060DC4}"/>
                </a:ext>
              </a:extLst>
            </p:cNvPr>
            <p:cNvSpPr/>
            <p:nvPr/>
          </p:nvSpPr>
          <p:spPr>
            <a:xfrm rot="8716295">
              <a:off x="272786" y="155661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6" name="Forme libre : forme 165">
              <a:extLst>
                <a:ext uri="{FF2B5EF4-FFF2-40B4-BE49-F238E27FC236}">
                  <a16:creationId xmlns:a16="http://schemas.microsoft.com/office/drawing/2014/main" id="{16BB8F81-6062-4A6D-AD9A-0C3CC09E65D3}"/>
                </a:ext>
              </a:extLst>
            </p:cNvPr>
            <p:cNvSpPr/>
            <p:nvPr/>
          </p:nvSpPr>
          <p:spPr>
            <a:xfrm rot="8716295">
              <a:off x="-35149" y="938156"/>
              <a:ext cx="158623" cy="159016"/>
            </a:xfrm>
            <a:custGeom>
              <a:avLst/>
              <a:gdLst>
                <a:gd name="connsiteX0" fmla="*/ 77932 w 158623"/>
                <a:gd name="connsiteY0" fmla="*/ 159016 h 159016"/>
                <a:gd name="connsiteX1" fmla="*/ 77932 w 158623"/>
                <a:gd name="connsiteY1" fmla="*/ 66898 h 159016"/>
                <a:gd name="connsiteX2" fmla="*/ 0 w 158623"/>
                <a:gd name="connsiteY2" fmla="*/ 66898 h 159016"/>
                <a:gd name="connsiteX3" fmla="*/ 0 w 158623"/>
                <a:gd name="connsiteY3" fmla="*/ 0 h 159016"/>
                <a:gd name="connsiteX4" fmla="*/ 158623 w 158623"/>
                <a:gd name="connsiteY4" fmla="*/ 0 h 159016"/>
                <a:gd name="connsiteX5" fmla="*/ 158623 w 158623"/>
                <a:gd name="connsiteY5" fmla="*/ 42606 h 15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8623" h="159016">
                  <a:moveTo>
                    <a:pt x="77932" y="159016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4260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7" name="Forme libre : forme 166">
              <a:extLst>
                <a:ext uri="{FF2B5EF4-FFF2-40B4-BE49-F238E27FC236}">
                  <a16:creationId xmlns:a16="http://schemas.microsoft.com/office/drawing/2014/main" id="{102294D5-AEAF-4B56-AF06-6647D3303B85}"/>
                </a:ext>
              </a:extLst>
            </p:cNvPr>
            <p:cNvSpPr/>
            <p:nvPr/>
          </p:nvSpPr>
          <p:spPr>
            <a:xfrm rot="7484129">
              <a:off x="-32979" y="1345537"/>
              <a:ext cx="65961" cy="45734"/>
            </a:xfrm>
            <a:custGeom>
              <a:avLst/>
              <a:gdLst>
                <a:gd name="connsiteX0" fmla="*/ 0 w 65961"/>
                <a:gd name="connsiteY0" fmla="*/ 45734 h 45734"/>
                <a:gd name="connsiteX1" fmla="*/ 0 w 65961"/>
                <a:gd name="connsiteY1" fmla="*/ 0 h 45734"/>
                <a:gd name="connsiteX2" fmla="*/ 65961 w 65961"/>
                <a:gd name="connsiteY2" fmla="*/ 0 h 45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5961" h="45734">
                  <a:moveTo>
                    <a:pt x="0" y="45734"/>
                  </a:moveTo>
                  <a:lnTo>
                    <a:pt x="0" y="0"/>
                  </a:lnTo>
                  <a:lnTo>
                    <a:pt x="6596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8" name="Forme libre : forme 167">
              <a:extLst>
                <a:ext uri="{FF2B5EF4-FFF2-40B4-BE49-F238E27FC236}">
                  <a16:creationId xmlns:a16="http://schemas.microsoft.com/office/drawing/2014/main" id="{6A1A2358-10CF-4FD5-A4AA-FC64164263AF}"/>
                </a:ext>
              </a:extLst>
            </p:cNvPr>
            <p:cNvSpPr/>
            <p:nvPr/>
          </p:nvSpPr>
          <p:spPr>
            <a:xfrm rot="13089394">
              <a:off x="-134707" y="1200752"/>
              <a:ext cx="386820" cy="481345"/>
            </a:xfrm>
            <a:custGeom>
              <a:avLst/>
              <a:gdLst>
                <a:gd name="connsiteX0" fmla="*/ 386820 w 386820"/>
                <a:gd name="connsiteY0" fmla="*/ 391818 h 481345"/>
                <a:gd name="connsiteX1" fmla="*/ 342166 w 386820"/>
                <a:gd name="connsiteY1" fmla="*/ 422376 h 481345"/>
                <a:gd name="connsiteX2" fmla="*/ 138636 w 386820"/>
                <a:gd name="connsiteY2" fmla="*/ 481098 h 481345"/>
                <a:gd name="connsiteX3" fmla="*/ 35911 w 386820"/>
                <a:gd name="connsiteY3" fmla="*/ 439340 h 481345"/>
                <a:gd name="connsiteX4" fmla="*/ 0 w 386820"/>
                <a:gd name="connsiteY4" fmla="*/ 295693 h 481345"/>
                <a:gd name="connsiteX5" fmla="*/ 0 w 386820"/>
                <a:gd name="connsiteY5" fmla="*/ 40970 h 481345"/>
                <a:gd name="connsiteX6" fmla="*/ 78970 w 386820"/>
                <a:gd name="connsiteY6" fmla="*/ 0 h 481345"/>
                <a:gd name="connsiteX7" fmla="*/ 111492 w 386820"/>
                <a:gd name="connsiteY7" fmla="*/ 41392 h 481345"/>
                <a:gd name="connsiteX8" fmla="*/ 112747 w 386820"/>
                <a:gd name="connsiteY8" fmla="*/ 216353 h 481345"/>
                <a:gd name="connsiteX9" fmla="*/ 132789 w 386820"/>
                <a:gd name="connsiteY9" fmla="*/ 354990 h 481345"/>
                <a:gd name="connsiteX10" fmla="*/ 233008 w 386820"/>
                <a:gd name="connsiteY10" fmla="*/ 410110 h 481345"/>
                <a:gd name="connsiteX11" fmla="*/ 308173 w 386820"/>
                <a:gd name="connsiteY11" fmla="*/ 396747 h 481345"/>
                <a:gd name="connsiteX12" fmla="*/ 370717 w 386820"/>
                <a:gd name="connsiteY12" fmla="*/ 371323 h 481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6820" h="481345">
                  <a:moveTo>
                    <a:pt x="386820" y="391818"/>
                  </a:moveTo>
                  <a:lnTo>
                    <a:pt x="342166" y="422376"/>
                  </a:lnTo>
                  <a:cubicBezTo>
                    <a:pt x="268920" y="462151"/>
                    <a:pt x="190624" y="477966"/>
                    <a:pt x="138636" y="481098"/>
                  </a:cubicBezTo>
                  <a:cubicBezTo>
                    <a:pt x="100219" y="483604"/>
                    <a:pt x="62637" y="466901"/>
                    <a:pt x="35911" y="439340"/>
                  </a:cubicBezTo>
                  <a:cubicBezTo>
                    <a:pt x="7516" y="411780"/>
                    <a:pt x="0" y="364176"/>
                    <a:pt x="0" y="295693"/>
                  </a:cubicBezTo>
                  <a:lnTo>
                    <a:pt x="0" y="40970"/>
                  </a:lnTo>
                  <a:lnTo>
                    <a:pt x="78970" y="0"/>
                  </a:lnTo>
                  <a:lnTo>
                    <a:pt x="111492" y="41392"/>
                  </a:lnTo>
                  <a:lnTo>
                    <a:pt x="112747" y="216353"/>
                  </a:lnTo>
                  <a:cubicBezTo>
                    <a:pt x="110241" y="263122"/>
                    <a:pt x="117757" y="310726"/>
                    <a:pt x="132789" y="354990"/>
                  </a:cubicBezTo>
                  <a:cubicBezTo>
                    <a:pt x="146153" y="391736"/>
                    <a:pt x="180394" y="410110"/>
                    <a:pt x="233008" y="410110"/>
                  </a:cubicBezTo>
                  <a:cubicBezTo>
                    <a:pt x="258899" y="409274"/>
                    <a:pt x="283953" y="404263"/>
                    <a:pt x="308173" y="396747"/>
                  </a:cubicBezTo>
                  <a:lnTo>
                    <a:pt x="370717" y="371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9" name="Forme libre : forme 168">
              <a:extLst>
                <a:ext uri="{FF2B5EF4-FFF2-40B4-BE49-F238E27FC236}">
                  <a16:creationId xmlns:a16="http://schemas.microsoft.com/office/drawing/2014/main" id="{EA80D635-6F53-4857-9F50-4111495DC12C}"/>
                </a:ext>
              </a:extLst>
            </p:cNvPr>
            <p:cNvSpPr/>
            <p:nvPr/>
          </p:nvSpPr>
          <p:spPr>
            <a:xfrm rot="8716295">
              <a:off x="119403" y="90662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0" name="Forme libre : forme 169">
              <a:extLst>
                <a:ext uri="{FF2B5EF4-FFF2-40B4-BE49-F238E27FC236}">
                  <a16:creationId xmlns:a16="http://schemas.microsoft.com/office/drawing/2014/main" id="{40670C43-A49A-4C3B-A39B-628E23BE1E4B}"/>
                </a:ext>
              </a:extLst>
            </p:cNvPr>
            <p:cNvSpPr/>
            <p:nvPr/>
          </p:nvSpPr>
          <p:spPr>
            <a:xfrm rot="8716295">
              <a:off x="40994" y="74983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1" name="Forme libre : forme 170">
              <a:extLst>
                <a:ext uri="{FF2B5EF4-FFF2-40B4-BE49-F238E27FC236}">
                  <a16:creationId xmlns:a16="http://schemas.microsoft.com/office/drawing/2014/main" id="{A1E0B69E-7457-4A6E-B80C-0CDACC682BEC}"/>
                </a:ext>
              </a:extLst>
            </p:cNvPr>
            <p:cNvSpPr/>
            <p:nvPr/>
          </p:nvSpPr>
          <p:spPr>
            <a:xfrm rot="8716295">
              <a:off x="-44934" y="551941"/>
              <a:ext cx="152592" cy="165412"/>
            </a:xfrm>
            <a:custGeom>
              <a:avLst/>
              <a:gdLst>
                <a:gd name="connsiteX0" fmla="*/ 26453 w 152592"/>
                <a:gd name="connsiteY0" fmla="*/ 153143 h 165412"/>
                <a:gd name="connsiteX1" fmla="*/ 0 w 152592"/>
                <a:gd name="connsiteY1" fmla="*/ 90494 h 165412"/>
                <a:gd name="connsiteX2" fmla="*/ 0 w 152592"/>
                <a:gd name="connsiteY2" fmla="*/ 89101 h 165412"/>
                <a:gd name="connsiteX3" fmla="*/ 26453 w 152592"/>
                <a:gd name="connsiteY3" fmla="*/ 26453 h 165412"/>
                <a:gd name="connsiteX4" fmla="*/ 89101 w 152592"/>
                <a:gd name="connsiteY4" fmla="*/ 0 h 165412"/>
                <a:gd name="connsiteX5" fmla="*/ 151752 w 152592"/>
                <a:gd name="connsiteY5" fmla="*/ 26453 h 165412"/>
                <a:gd name="connsiteX6" fmla="*/ 152592 w 152592"/>
                <a:gd name="connsiteY6" fmla="*/ 27688 h 165412"/>
                <a:gd name="connsiteX7" fmla="*/ 57126 w 152592"/>
                <a:gd name="connsiteY7" fmla="*/ 165412 h 165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592" h="165412">
                  <a:moveTo>
                    <a:pt x="26453" y="153143"/>
                  </a:moveTo>
                  <a:cubicBezTo>
                    <a:pt x="9746" y="136436"/>
                    <a:pt x="0" y="114161"/>
                    <a:pt x="0" y="90494"/>
                  </a:cubicBezTo>
                  <a:lnTo>
                    <a:pt x="0" y="89101"/>
                  </a:lnTo>
                  <a:cubicBezTo>
                    <a:pt x="0" y="65434"/>
                    <a:pt x="9746" y="43159"/>
                    <a:pt x="26453" y="26453"/>
                  </a:cubicBezTo>
                  <a:cubicBezTo>
                    <a:pt x="43159" y="9746"/>
                    <a:pt x="65435" y="0"/>
                    <a:pt x="89101" y="0"/>
                  </a:cubicBezTo>
                  <a:cubicBezTo>
                    <a:pt x="112770" y="0"/>
                    <a:pt x="135045" y="9746"/>
                    <a:pt x="151752" y="26453"/>
                  </a:cubicBezTo>
                  <a:lnTo>
                    <a:pt x="152592" y="27688"/>
                  </a:lnTo>
                  <a:lnTo>
                    <a:pt x="57126" y="1654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2" name="Forme libre : forme 171">
              <a:extLst>
                <a:ext uri="{FF2B5EF4-FFF2-40B4-BE49-F238E27FC236}">
                  <a16:creationId xmlns:a16="http://schemas.microsoft.com/office/drawing/2014/main" id="{8305DDDC-A62B-4F5B-99D8-968A303BB880}"/>
                </a:ext>
              </a:extLst>
            </p:cNvPr>
            <p:cNvSpPr/>
            <p:nvPr/>
          </p:nvSpPr>
          <p:spPr>
            <a:xfrm rot="8716295">
              <a:off x="-69806" y="4587027"/>
              <a:ext cx="183810" cy="187594"/>
            </a:xfrm>
            <a:custGeom>
              <a:avLst/>
              <a:gdLst>
                <a:gd name="connsiteX0" fmla="*/ 10574 w 183810"/>
                <a:gd name="connsiteY0" fmla="*/ 187594 h 187594"/>
                <a:gd name="connsiteX1" fmla="*/ 0 w 183810"/>
                <a:gd name="connsiteY1" fmla="*/ 172952 h 187594"/>
                <a:gd name="connsiteX2" fmla="*/ 183810 w 183810"/>
                <a:gd name="connsiteY2" fmla="*/ 0 h 187594"/>
                <a:gd name="connsiteX3" fmla="*/ 72284 w 183810"/>
                <a:gd name="connsiteY3" fmla="*/ 160894 h 187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810" h="187594">
                  <a:moveTo>
                    <a:pt x="10574" y="187594"/>
                  </a:moveTo>
                  <a:lnTo>
                    <a:pt x="0" y="172952"/>
                  </a:lnTo>
                  <a:lnTo>
                    <a:pt x="183810" y="0"/>
                  </a:lnTo>
                  <a:lnTo>
                    <a:pt x="72284" y="1608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3" name="Forme libre : forme 172">
              <a:extLst>
                <a:ext uri="{FF2B5EF4-FFF2-40B4-BE49-F238E27FC236}">
                  <a16:creationId xmlns:a16="http://schemas.microsoft.com/office/drawing/2014/main" id="{1A0E6ECB-8294-4BA3-8422-8334524ECB58}"/>
                </a:ext>
              </a:extLst>
            </p:cNvPr>
            <p:cNvSpPr/>
            <p:nvPr/>
          </p:nvSpPr>
          <p:spPr>
            <a:xfrm rot="8716295">
              <a:off x="4450621" y="307495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4" name="Forme libre : forme 173">
              <a:extLst>
                <a:ext uri="{FF2B5EF4-FFF2-40B4-BE49-F238E27FC236}">
                  <a16:creationId xmlns:a16="http://schemas.microsoft.com/office/drawing/2014/main" id="{01833036-FD07-46D7-82C2-88C1FC05C85F}"/>
                </a:ext>
              </a:extLst>
            </p:cNvPr>
            <p:cNvSpPr/>
            <p:nvPr/>
          </p:nvSpPr>
          <p:spPr>
            <a:xfrm rot="8716295">
              <a:off x="4585920" y="3119209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5" name="Forme libre : forme 174">
              <a:extLst>
                <a:ext uri="{FF2B5EF4-FFF2-40B4-BE49-F238E27FC236}">
                  <a16:creationId xmlns:a16="http://schemas.microsoft.com/office/drawing/2014/main" id="{B278615F-BCB7-43C6-82A0-33FD907351F5}"/>
                </a:ext>
              </a:extLst>
            </p:cNvPr>
            <p:cNvSpPr/>
            <p:nvPr/>
          </p:nvSpPr>
          <p:spPr>
            <a:xfrm rot="8716295">
              <a:off x="4518038" y="2988621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6" name="Forme libre : forme 175">
              <a:extLst>
                <a:ext uri="{FF2B5EF4-FFF2-40B4-BE49-F238E27FC236}">
                  <a16:creationId xmlns:a16="http://schemas.microsoft.com/office/drawing/2014/main" id="{A4CB9629-4E70-40F0-ADB7-98AF33E8FA82}"/>
                </a:ext>
              </a:extLst>
            </p:cNvPr>
            <p:cNvSpPr/>
            <p:nvPr/>
          </p:nvSpPr>
          <p:spPr>
            <a:xfrm rot="8716295">
              <a:off x="4280750" y="3208965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7" name="Forme libre : forme 176">
              <a:extLst>
                <a:ext uri="{FF2B5EF4-FFF2-40B4-BE49-F238E27FC236}">
                  <a16:creationId xmlns:a16="http://schemas.microsoft.com/office/drawing/2014/main" id="{DCB1DF66-902F-43AF-B912-90C47BAC4CD5}"/>
                </a:ext>
              </a:extLst>
            </p:cNvPr>
            <p:cNvSpPr/>
            <p:nvPr/>
          </p:nvSpPr>
          <p:spPr>
            <a:xfrm rot="8716295">
              <a:off x="4091704" y="289313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8" name="Forme libre : forme 177">
              <a:extLst>
                <a:ext uri="{FF2B5EF4-FFF2-40B4-BE49-F238E27FC236}">
                  <a16:creationId xmlns:a16="http://schemas.microsoft.com/office/drawing/2014/main" id="{206347F6-E053-48F4-AFC6-9C0856F4BFCC}"/>
                </a:ext>
              </a:extLst>
            </p:cNvPr>
            <p:cNvSpPr/>
            <p:nvPr/>
          </p:nvSpPr>
          <p:spPr>
            <a:xfrm rot="8716295">
              <a:off x="4073463" y="2683080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9" name="Forme libre : forme 178">
              <a:extLst>
                <a:ext uri="{FF2B5EF4-FFF2-40B4-BE49-F238E27FC236}">
                  <a16:creationId xmlns:a16="http://schemas.microsoft.com/office/drawing/2014/main" id="{8D2A26C7-C64C-4331-AB8E-BC64F42E6746}"/>
                </a:ext>
              </a:extLst>
            </p:cNvPr>
            <p:cNvSpPr/>
            <p:nvPr/>
          </p:nvSpPr>
          <p:spPr>
            <a:xfrm rot="8716295">
              <a:off x="4417239" y="327094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0" name="Forme libre : forme 179">
              <a:extLst>
                <a:ext uri="{FF2B5EF4-FFF2-40B4-BE49-F238E27FC236}">
                  <a16:creationId xmlns:a16="http://schemas.microsoft.com/office/drawing/2014/main" id="{71D50DC1-7D15-42D6-980A-E78799DC451B}"/>
                </a:ext>
              </a:extLst>
            </p:cNvPr>
            <p:cNvSpPr/>
            <p:nvPr/>
          </p:nvSpPr>
          <p:spPr>
            <a:xfrm rot="8716295">
              <a:off x="4888185" y="2696334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" name="Forme libre : forme 180">
              <a:extLst>
                <a:ext uri="{FF2B5EF4-FFF2-40B4-BE49-F238E27FC236}">
                  <a16:creationId xmlns:a16="http://schemas.microsoft.com/office/drawing/2014/main" id="{EB82C4E3-BE8E-4F27-B36D-E48F91D55981}"/>
                </a:ext>
              </a:extLst>
            </p:cNvPr>
            <p:cNvSpPr/>
            <p:nvPr/>
          </p:nvSpPr>
          <p:spPr>
            <a:xfrm rot="8716295">
              <a:off x="5023484" y="2740593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" name="Forme libre : forme 181">
              <a:extLst>
                <a:ext uri="{FF2B5EF4-FFF2-40B4-BE49-F238E27FC236}">
                  <a16:creationId xmlns:a16="http://schemas.microsoft.com/office/drawing/2014/main" id="{8CF0FAB3-0C6A-450B-9525-29BB7A59C040}"/>
                </a:ext>
              </a:extLst>
            </p:cNvPr>
            <p:cNvSpPr/>
            <p:nvPr/>
          </p:nvSpPr>
          <p:spPr>
            <a:xfrm rot="8716295">
              <a:off x="4718314" y="283034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" name="Forme libre : forme 182">
              <a:extLst>
                <a:ext uri="{FF2B5EF4-FFF2-40B4-BE49-F238E27FC236}">
                  <a16:creationId xmlns:a16="http://schemas.microsoft.com/office/drawing/2014/main" id="{10FB87B4-C488-45C6-AE08-E0AAB6025014}"/>
                </a:ext>
              </a:extLst>
            </p:cNvPr>
            <p:cNvSpPr/>
            <p:nvPr/>
          </p:nvSpPr>
          <p:spPr>
            <a:xfrm rot="8716295">
              <a:off x="4529270" y="251451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" name="Forme libre : forme 183">
              <a:extLst>
                <a:ext uri="{FF2B5EF4-FFF2-40B4-BE49-F238E27FC236}">
                  <a16:creationId xmlns:a16="http://schemas.microsoft.com/office/drawing/2014/main" id="{780E062E-8239-40E1-A336-E5540670A1BD}"/>
                </a:ext>
              </a:extLst>
            </p:cNvPr>
            <p:cNvSpPr/>
            <p:nvPr/>
          </p:nvSpPr>
          <p:spPr>
            <a:xfrm rot="8716295">
              <a:off x="4854803" y="2892332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" name="Forme libre : forme 184">
              <a:extLst>
                <a:ext uri="{FF2B5EF4-FFF2-40B4-BE49-F238E27FC236}">
                  <a16:creationId xmlns:a16="http://schemas.microsoft.com/office/drawing/2014/main" id="{DF4CDF9E-3E83-42B9-8060-460760813751}"/>
                </a:ext>
              </a:extLst>
            </p:cNvPr>
            <p:cNvSpPr/>
            <p:nvPr/>
          </p:nvSpPr>
          <p:spPr>
            <a:xfrm rot="8716295">
              <a:off x="4489356" y="2665906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" name="Forme libre : forme 185">
              <a:extLst>
                <a:ext uri="{FF2B5EF4-FFF2-40B4-BE49-F238E27FC236}">
                  <a16:creationId xmlns:a16="http://schemas.microsoft.com/office/drawing/2014/main" id="{0A35FA8D-2DA5-4890-87D4-1B3451916FA9}"/>
                </a:ext>
              </a:extLst>
            </p:cNvPr>
            <p:cNvSpPr/>
            <p:nvPr/>
          </p:nvSpPr>
          <p:spPr>
            <a:xfrm rot="7484129">
              <a:off x="5013620" y="318195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" name="Forme libre : forme 186">
              <a:extLst>
                <a:ext uri="{FF2B5EF4-FFF2-40B4-BE49-F238E27FC236}">
                  <a16:creationId xmlns:a16="http://schemas.microsoft.com/office/drawing/2014/main" id="{E6A0D96F-008F-4023-A0B6-38102FB3F884}"/>
                </a:ext>
              </a:extLst>
            </p:cNvPr>
            <p:cNvSpPr/>
            <p:nvPr/>
          </p:nvSpPr>
          <p:spPr>
            <a:xfrm rot="13089394">
              <a:off x="5172270" y="3131298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" name="Forme libre : forme 187">
              <a:extLst>
                <a:ext uri="{FF2B5EF4-FFF2-40B4-BE49-F238E27FC236}">
                  <a16:creationId xmlns:a16="http://schemas.microsoft.com/office/drawing/2014/main" id="{34516B6B-1C6B-4061-A441-0A96C5F85F2D}"/>
                </a:ext>
              </a:extLst>
            </p:cNvPr>
            <p:cNvSpPr/>
            <p:nvPr/>
          </p:nvSpPr>
          <p:spPr>
            <a:xfrm rot="8716295">
              <a:off x="5453161" y="2841180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" name="Forme libre : forme 188">
              <a:extLst>
                <a:ext uri="{FF2B5EF4-FFF2-40B4-BE49-F238E27FC236}">
                  <a16:creationId xmlns:a16="http://schemas.microsoft.com/office/drawing/2014/main" id="{25C5FA48-0926-4D19-8036-167D5A8A0B0F}"/>
                </a:ext>
              </a:extLst>
            </p:cNvPr>
            <p:cNvSpPr/>
            <p:nvPr/>
          </p:nvSpPr>
          <p:spPr>
            <a:xfrm rot="8716295">
              <a:off x="5374752" y="268438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" name="Forme libre : forme 189">
              <a:extLst>
                <a:ext uri="{FF2B5EF4-FFF2-40B4-BE49-F238E27FC236}">
                  <a16:creationId xmlns:a16="http://schemas.microsoft.com/office/drawing/2014/main" id="{DAF894AD-B4B7-410F-8EC1-02725EF382CF}"/>
                </a:ext>
              </a:extLst>
            </p:cNvPr>
            <p:cNvSpPr/>
            <p:nvPr/>
          </p:nvSpPr>
          <p:spPr>
            <a:xfrm rot="8716295">
              <a:off x="5006588" y="273012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" name="Forme libre : forme 190">
              <a:extLst>
                <a:ext uri="{FF2B5EF4-FFF2-40B4-BE49-F238E27FC236}">
                  <a16:creationId xmlns:a16="http://schemas.microsoft.com/office/drawing/2014/main" id="{050039E8-AFBF-4BD9-96DB-778F55B5F2C4}"/>
                </a:ext>
              </a:extLst>
            </p:cNvPr>
            <p:cNvSpPr/>
            <p:nvPr/>
          </p:nvSpPr>
          <p:spPr>
            <a:xfrm rot="8716295">
              <a:off x="5275170" y="2489109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" name="Forme libre : forme 191">
              <a:extLst>
                <a:ext uri="{FF2B5EF4-FFF2-40B4-BE49-F238E27FC236}">
                  <a16:creationId xmlns:a16="http://schemas.microsoft.com/office/drawing/2014/main" id="{BAF5AA66-DC18-43A5-AAAE-6EB312E4E790}"/>
                </a:ext>
              </a:extLst>
            </p:cNvPr>
            <p:cNvSpPr/>
            <p:nvPr/>
          </p:nvSpPr>
          <p:spPr>
            <a:xfrm rot="8716295">
              <a:off x="4788394" y="407343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" name="Forme libre : forme 192">
              <a:extLst>
                <a:ext uri="{FF2B5EF4-FFF2-40B4-BE49-F238E27FC236}">
                  <a16:creationId xmlns:a16="http://schemas.microsoft.com/office/drawing/2014/main" id="{780EC621-519F-489B-BFBA-B49F228A0641}"/>
                </a:ext>
              </a:extLst>
            </p:cNvPr>
            <p:cNvSpPr/>
            <p:nvPr/>
          </p:nvSpPr>
          <p:spPr>
            <a:xfrm rot="8716295">
              <a:off x="4923693" y="411769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" name="Forme libre : forme 193">
              <a:extLst>
                <a:ext uri="{FF2B5EF4-FFF2-40B4-BE49-F238E27FC236}">
                  <a16:creationId xmlns:a16="http://schemas.microsoft.com/office/drawing/2014/main" id="{56C02974-8A88-4B14-998C-3296551B1E9D}"/>
                </a:ext>
              </a:extLst>
            </p:cNvPr>
            <p:cNvSpPr/>
            <p:nvPr/>
          </p:nvSpPr>
          <p:spPr>
            <a:xfrm rot="8716295">
              <a:off x="4855811" y="3987104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" name="Forme libre : forme 194">
              <a:extLst>
                <a:ext uri="{FF2B5EF4-FFF2-40B4-BE49-F238E27FC236}">
                  <a16:creationId xmlns:a16="http://schemas.microsoft.com/office/drawing/2014/main" id="{1315A3F8-95CA-4F67-BF42-435167A25A7A}"/>
                </a:ext>
              </a:extLst>
            </p:cNvPr>
            <p:cNvSpPr/>
            <p:nvPr/>
          </p:nvSpPr>
          <p:spPr>
            <a:xfrm rot="8716295">
              <a:off x="4618523" y="420744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" name="Forme libre : forme 195">
              <a:extLst>
                <a:ext uri="{FF2B5EF4-FFF2-40B4-BE49-F238E27FC236}">
                  <a16:creationId xmlns:a16="http://schemas.microsoft.com/office/drawing/2014/main" id="{5FBA9E77-EEAF-4196-9EB3-AAB7591C02B4}"/>
                </a:ext>
              </a:extLst>
            </p:cNvPr>
            <p:cNvSpPr/>
            <p:nvPr/>
          </p:nvSpPr>
          <p:spPr>
            <a:xfrm rot="8716295">
              <a:off x="4429477" y="389161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" name="Forme libre : forme 196">
              <a:extLst>
                <a:ext uri="{FF2B5EF4-FFF2-40B4-BE49-F238E27FC236}">
                  <a16:creationId xmlns:a16="http://schemas.microsoft.com/office/drawing/2014/main" id="{9640743B-2A63-41D0-B596-466D8A1999D1}"/>
                </a:ext>
              </a:extLst>
            </p:cNvPr>
            <p:cNvSpPr/>
            <p:nvPr/>
          </p:nvSpPr>
          <p:spPr>
            <a:xfrm rot="8716295">
              <a:off x="4411236" y="3681563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" name="Forme libre : forme 197">
              <a:extLst>
                <a:ext uri="{FF2B5EF4-FFF2-40B4-BE49-F238E27FC236}">
                  <a16:creationId xmlns:a16="http://schemas.microsoft.com/office/drawing/2014/main" id="{58E0BAB6-4A71-4FD6-9833-700BF9E78B7C}"/>
                </a:ext>
              </a:extLst>
            </p:cNvPr>
            <p:cNvSpPr/>
            <p:nvPr/>
          </p:nvSpPr>
          <p:spPr>
            <a:xfrm rot="8716295">
              <a:off x="4755012" y="4269431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" name="Forme libre : forme 198">
              <a:extLst>
                <a:ext uri="{FF2B5EF4-FFF2-40B4-BE49-F238E27FC236}">
                  <a16:creationId xmlns:a16="http://schemas.microsoft.com/office/drawing/2014/main" id="{75BB7597-AEE7-44BA-A895-6BF134870ADB}"/>
                </a:ext>
              </a:extLst>
            </p:cNvPr>
            <p:cNvSpPr/>
            <p:nvPr/>
          </p:nvSpPr>
          <p:spPr>
            <a:xfrm rot="8716295">
              <a:off x="5225958" y="3694817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" name="Forme libre : forme 199">
              <a:extLst>
                <a:ext uri="{FF2B5EF4-FFF2-40B4-BE49-F238E27FC236}">
                  <a16:creationId xmlns:a16="http://schemas.microsoft.com/office/drawing/2014/main" id="{EEB3834C-1DBD-4E8A-80F2-2243D4B0C7C6}"/>
                </a:ext>
              </a:extLst>
            </p:cNvPr>
            <p:cNvSpPr/>
            <p:nvPr/>
          </p:nvSpPr>
          <p:spPr>
            <a:xfrm rot="8716295">
              <a:off x="5364349" y="3753375"/>
              <a:ext cx="325540" cy="385611"/>
            </a:xfrm>
            <a:custGeom>
              <a:avLst/>
              <a:gdLst>
                <a:gd name="connsiteX0" fmla="*/ 8983 w 325540"/>
                <a:gd name="connsiteY0" fmla="*/ 385611 h 385611"/>
                <a:gd name="connsiteX1" fmla="*/ 8983 w 325540"/>
                <a:gd name="connsiteY1" fmla="*/ 69053 h 385611"/>
                <a:gd name="connsiteX2" fmla="*/ 0 w 325540"/>
                <a:gd name="connsiteY2" fmla="*/ 69053 h 385611"/>
                <a:gd name="connsiteX3" fmla="*/ 55019 w 325540"/>
                <a:gd name="connsiteY3" fmla="*/ 2157 h 385611"/>
                <a:gd name="connsiteX4" fmla="*/ 89675 w 325540"/>
                <a:gd name="connsiteY4" fmla="*/ 2156 h 385611"/>
                <a:gd name="connsiteX5" fmla="*/ 89674 w 325540"/>
                <a:gd name="connsiteY5" fmla="*/ 113882 h 385611"/>
                <a:gd name="connsiteX6" fmla="*/ 91743 w 325540"/>
                <a:gd name="connsiteY6" fmla="*/ 113882 h 385611"/>
                <a:gd name="connsiteX7" fmla="*/ 164159 w 325540"/>
                <a:gd name="connsiteY7" fmla="*/ 9053 h 385611"/>
                <a:gd name="connsiteX8" fmla="*/ 211745 w 325540"/>
                <a:gd name="connsiteY8" fmla="*/ 87 h 385611"/>
                <a:gd name="connsiteX9" fmla="*/ 325540 w 325540"/>
                <a:gd name="connsiteY9" fmla="*/ 133882 h 385611"/>
                <a:gd name="connsiteX10" fmla="*/ 325540 w 325540"/>
                <a:gd name="connsiteY10" fmla="*/ 142848 h 385611"/>
                <a:gd name="connsiteX11" fmla="*/ 231746 w 325540"/>
                <a:gd name="connsiteY11" fmla="*/ 148366 h 385611"/>
                <a:gd name="connsiteX12" fmla="*/ 231746 w 325540"/>
                <a:gd name="connsiteY12" fmla="*/ 123538 h 385611"/>
                <a:gd name="connsiteX13" fmla="*/ 180710 w 325540"/>
                <a:gd name="connsiteY13" fmla="*/ 60778 h 385611"/>
                <a:gd name="connsiteX14" fmla="*/ 100020 w 325540"/>
                <a:gd name="connsiteY14" fmla="*/ 193194 h 385611"/>
                <a:gd name="connsiteX15" fmla="*/ 100020 w 325540"/>
                <a:gd name="connsiteY15" fmla="*/ 323541 h 385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5540" h="385611">
                  <a:moveTo>
                    <a:pt x="8983" y="385611"/>
                  </a:moveTo>
                  <a:lnTo>
                    <a:pt x="8983" y="69053"/>
                  </a:lnTo>
                  <a:lnTo>
                    <a:pt x="0" y="69053"/>
                  </a:lnTo>
                  <a:lnTo>
                    <a:pt x="55019" y="2157"/>
                  </a:lnTo>
                  <a:lnTo>
                    <a:pt x="89675" y="2156"/>
                  </a:lnTo>
                  <a:lnTo>
                    <a:pt x="89674" y="113882"/>
                  </a:lnTo>
                  <a:lnTo>
                    <a:pt x="91743" y="113882"/>
                  </a:lnTo>
                  <a:cubicBezTo>
                    <a:pt x="113813" y="48363"/>
                    <a:pt x="131055" y="22846"/>
                    <a:pt x="164159" y="9053"/>
                  </a:cubicBezTo>
                  <a:cubicBezTo>
                    <a:pt x="179331" y="2846"/>
                    <a:pt x="195193" y="-602"/>
                    <a:pt x="211745" y="87"/>
                  </a:cubicBezTo>
                  <a:cubicBezTo>
                    <a:pt x="282781" y="-1293"/>
                    <a:pt x="325540" y="48363"/>
                    <a:pt x="325540" y="133882"/>
                  </a:cubicBezTo>
                  <a:lnTo>
                    <a:pt x="325540" y="142848"/>
                  </a:lnTo>
                  <a:lnTo>
                    <a:pt x="231746" y="148366"/>
                  </a:lnTo>
                  <a:lnTo>
                    <a:pt x="231746" y="123538"/>
                  </a:lnTo>
                  <a:cubicBezTo>
                    <a:pt x="231746" y="86296"/>
                    <a:pt x="210367" y="60778"/>
                    <a:pt x="180710" y="60778"/>
                  </a:cubicBezTo>
                  <a:cubicBezTo>
                    <a:pt x="136572" y="60777"/>
                    <a:pt x="100020" y="119400"/>
                    <a:pt x="100020" y="193194"/>
                  </a:cubicBezTo>
                  <a:lnTo>
                    <a:pt x="100020" y="3235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" name="Forme libre : forme 200">
              <a:extLst>
                <a:ext uri="{FF2B5EF4-FFF2-40B4-BE49-F238E27FC236}">
                  <a16:creationId xmlns:a16="http://schemas.microsoft.com/office/drawing/2014/main" id="{372D1467-D2E3-4216-9E90-20982CF5734F}"/>
                </a:ext>
              </a:extLst>
            </p:cNvPr>
            <p:cNvSpPr/>
            <p:nvPr/>
          </p:nvSpPr>
          <p:spPr>
            <a:xfrm rot="8716295">
              <a:off x="5056087" y="382883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" name="Forme libre : forme 201">
              <a:extLst>
                <a:ext uri="{FF2B5EF4-FFF2-40B4-BE49-F238E27FC236}">
                  <a16:creationId xmlns:a16="http://schemas.microsoft.com/office/drawing/2014/main" id="{B604E5DA-CBD2-466D-A47E-4EAA9B5B7623}"/>
                </a:ext>
              </a:extLst>
            </p:cNvPr>
            <p:cNvSpPr/>
            <p:nvPr/>
          </p:nvSpPr>
          <p:spPr>
            <a:xfrm rot="8716295">
              <a:off x="4867043" y="351299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" name="Forme libre : forme 202">
              <a:extLst>
                <a:ext uri="{FF2B5EF4-FFF2-40B4-BE49-F238E27FC236}">
                  <a16:creationId xmlns:a16="http://schemas.microsoft.com/office/drawing/2014/main" id="{E20F76FB-79A8-44FD-A97E-07BAE8CB93F0}"/>
                </a:ext>
              </a:extLst>
            </p:cNvPr>
            <p:cNvSpPr/>
            <p:nvPr/>
          </p:nvSpPr>
          <p:spPr>
            <a:xfrm rot="8716295">
              <a:off x="5192576" y="3890815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" name="Forme libre : forme 203">
              <a:extLst>
                <a:ext uri="{FF2B5EF4-FFF2-40B4-BE49-F238E27FC236}">
                  <a16:creationId xmlns:a16="http://schemas.microsoft.com/office/drawing/2014/main" id="{07DA70CF-480A-435C-9C90-6F5E70E02F28}"/>
                </a:ext>
              </a:extLst>
            </p:cNvPr>
            <p:cNvSpPr/>
            <p:nvPr/>
          </p:nvSpPr>
          <p:spPr>
            <a:xfrm rot="8716295">
              <a:off x="4827129" y="3664389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" name="Forme libre : forme 204">
              <a:extLst>
                <a:ext uri="{FF2B5EF4-FFF2-40B4-BE49-F238E27FC236}">
                  <a16:creationId xmlns:a16="http://schemas.microsoft.com/office/drawing/2014/main" id="{EFCDF1BC-CE63-46A7-BBB7-A0FD6C01682D}"/>
                </a:ext>
              </a:extLst>
            </p:cNvPr>
            <p:cNvSpPr/>
            <p:nvPr/>
          </p:nvSpPr>
          <p:spPr>
            <a:xfrm rot="7484129">
              <a:off x="5351393" y="418043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" name="Forme libre : forme 205">
              <a:extLst>
                <a:ext uri="{FF2B5EF4-FFF2-40B4-BE49-F238E27FC236}">
                  <a16:creationId xmlns:a16="http://schemas.microsoft.com/office/drawing/2014/main" id="{DC92A656-7063-4EB8-9B18-5A621F03BDBB}"/>
                </a:ext>
              </a:extLst>
            </p:cNvPr>
            <p:cNvSpPr/>
            <p:nvPr/>
          </p:nvSpPr>
          <p:spPr>
            <a:xfrm rot="13089394">
              <a:off x="5497067" y="4157639"/>
              <a:ext cx="336155" cy="433969"/>
            </a:xfrm>
            <a:custGeom>
              <a:avLst/>
              <a:gdLst>
                <a:gd name="connsiteX0" fmla="*/ 23241 w 222098"/>
                <a:gd name="connsiteY0" fmla="*/ 47275 h 286724"/>
                <a:gd name="connsiteX1" fmla="*/ 0 w 222098"/>
                <a:gd name="connsiteY1" fmla="*/ 11882 h 286724"/>
                <a:gd name="connsiteX2" fmla="*/ 22902 w 222098"/>
                <a:gd name="connsiteY2" fmla="*/ 0 h 286724"/>
                <a:gd name="connsiteX3" fmla="*/ 222098 w 222098"/>
                <a:gd name="connsiteY3" fmla="*/ 258238 h 286724"/>
                <a:gd name="connsiteX4" fmla="*/ 180472 w 222098"/>
                <a:gd name="connsiteY4" fmla="*/ 286724 h 286724"/>
                <a:gd name="connsiteX5" fmla="*/ 167667 w 222098"/>
                <a:gd name="connsiteY5" fmla="*/ 267224 h 286724"/>
                <a:gd name="connsiteX6" fmla="*/ 220995 w 222098"/>
                <a:gd name="connsiteY6" fmla="*/ 245547 h 286724"/>
                <a:gd name="connsiteX7" fmla="*/ 222098 w 222098"/>
                <a:gd name="connsiteY7" fmla="*/ 252720 h 286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2098" h="286724">
                  <a:moveTo>
                    <a:pt x="23241" y="47275"/>
                  </a:moveTo>
                  <a:lnTo>
                    <a:pt x="0" y="11882"/>
                  </a:lnTo>
                  <a:lnTo>
                    <a:pt x="22902" y="0"/>
                  </a:lnTo>
                  <a:close/>
                  <a:moveTo>
                    <a:pt x="222098" y="258238"/>
                  </a:moveTo>
                  <a:lnTo>
                    <a:pt x="180472" y="286724"/>
                  </a:lnTo>
                  <a:lnTo>
                    <a:pt x="167667" y="267224"/>
                  </a:lnTo>
                  <a:lnTo>
                    <a:pt x="220995" y="245547"/>
                  </a:lnTo>
                  <a:cubicBezTo>
                    <a:pt x="221546" y="247754"/>
                    <a:pt x="222098" y="250513"/>
                    <a:pt x="222098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" name="Forme libre : forme 206">
              <a:extLst>
                <a:ext uri="{FF2B5EF4-FFF2-40B4-BE49-F238E27FC236}">
                  <a16:creationId xmlns:a16="http://schemas.microsoft.com/office/drawing/2014/main" id="{5B6131FF-A409-4EA9-81CC-0C3D2782942F}"/>
                </a:ext>
              </a:extLst>
            </p:cNvPr>
            <p:cNvSpPr/>
            <p:nvPr/>
          </p:nvSpPr>
          <p:spPr>
            <a:xfrm rot="8716295">
              <a:off x="5689139" y="3701707"/>
              <a:ext cx="105382" cy="119090"/>
            </a:xfrm>
            <a:custGeom>
              <a:avLst/>
              <a:gdLst>
                <a:gd name="connsiteX0" fmla="*/ 0 w 69626"/>
                <a:gd name="connsiteY0" fmla="*/ 74288 h 78683"/>
                <a:gd name="connsiteX1" fmla="*/ 61446 w 69626"/>
                <a:gd name="connsiteY1" fmla="*/ 0 h 78683"/>
                <a:gd name="connsiteX2" fmla="*/ 69626 w 69626"/>
                <a:gd name="connsiteY2" fmla="*/ 19468 h 78683"/>
                <a:gd name="connsiteX3" fmla="*/ 52380 w 69626"/>
                <a:gd name="connsiteY3" fmla="*/ 61206 h 78683"/>
                <a:gd name="connsiteX4" fmla="*/ 10986 w 69626"/>
                <a:gd name="connsiteY4" fmla="*/ 78683 h 78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626" h="78683">
                  <a:moveTo>
                    <a:pt x="0" y="74288"/>
                  </a:moveTo>
                  <a:lnTo>
                    <a:pt x="61446" y="0"/>
                  </a:lnTo>
                  <a:lnTo>
                    <a:pt x="69626" y="19468"/>
                  </a:lnTo>
                  <a:cubicBezTo>
                    <a:pt x="69626" y="34531"/>
                    <a:pt x="63877" y="49708"/>
                    <a:pt x="52380" y="61206"/>
                  </a:cubicBezTo>
                  <a:cubicBezTo>
                    <a:pt x="41341" y="72244"/>
                    <a:pt x="26624" y="78683"/>
                    <a:pt x="10986" y="786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" name="Forme libre : forme 207">
              <a:extLst>
                <a:ext uri="{FF2B5EF4-FFF2-40B4-BE49-F238E27FC236}">
                  <a16:creationId xmlns:a16="http://schemas.microsoft.com/office/drawing/2014/main" id="{F418276D-8E57-4C97-A0E3-69608568D520}"/>
                </a:ext>
              </a:extLst>
            </p:cNvPr>
            <p:cNvSpPr/>
            <p:nvPr/>
          </p:nvSpPr>
          <p:spPr>
            <a:xfrm rot="8716295">
              <a:off x="5344361" y="372861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" name="Forme libre : forme 208">
              <a:extLst>
                <a:ext uri="{FF2B5EF4-FFF2-40B4-BE49-F238E27FC236}">
                  <a16:creationId xmlns:a16="http://schemas.microsoft.com/office/drawing/2014/main" id="{18CB7434-4843-4498-9ECE-196E31359917}"/>
                </a:ext>
              </a:extLst>
            </p:cNvPr>
            <p:cNvSpPr/>
            <p:nvPr/>
          </p:nvSpPr>
          <p:spPr>
            <a:xfrm rot="8716295">
              <a:off x="5599943" y="3480521"/>
              <a:ext cx="177855" cy="178203"/>
            </a:xfrm>
            <a:custGeom>
              <a:avLst/>
              <a:gdLst>
                <a:gd name="connsiteX0" fmla="*/ 17477 w 117509"/>
                <a:gd name="connsiteY0" fmla="*/ 101182 h 117739"/>
                <a:gd name="connsiteX1" fmla="*/ 0 w 117509"/>
                <a:gd name="connsiteY1" fmla="*/ 59790 h 117739"/>
                <a:gd name="connsiteX2" fmla="*/ 0 w 117509"/>
                <a:gd name="connsiteY2" fmla="*/ 58869 h 117739"/>
                <a:gd name="connsiteX3" fmla="*/ 2091 w 117509"/>
                <a:gd name="connsiteY3" fmla="*/ 48678 h 117739"/>
                <a:gd name="connsiteX4" fmla="*/ 38978 w 117509"/>
                <a:gd name="connsiteY4" fmla="*/ 4080 h 117739"/>
                <a:gd name="connsiteX5" fmla="*/ 58869 w 117509"/>
                <a:gd name="connsiteY5" fmla="*/ 0 h 117739"/>
                <a:gd name="connsiteX6" fmla="*/ 100263 w 117509"/>
                <a:gd name="connsiteY6" fmla="*/ 17477 h 117739"/>
                <a:gd name="connsiteX7" fmla="*/ 100263 w 117509"/>
                <a:gd name="connsiteY7" fmla="*/ 100262 h 117739"/>
                <a:gd name="connsiteX8" fmla="*/ 58869 w 117509"/>
                <a:gd name="connsiteY8" fmla="*/ 117739 h 117739"/>
                <a:gd name="connsiteX9" fmla="*/ 17477 w 117509"/>
                <a:gd name="connsiteY9" fmla="*/ 101182 h 117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09" h="117739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lnTo>
                    <a:pt x="2091" y="48678"/>
                  </a:lnTo>
                  <a:lnTo>
                    <a:pt x="38978" y="4080"/>
                  </a:lnTo>
                  <a:lnTo>
                    <a:pt x="58869" y="0"/>
                  </a:lnTo>
                  <a:cubicBezTo>
                    <a:pt x="74507" y="0"/>
                    <a:pt x="89224" y="6439"/>
                    <a:pt x="100263" y="17477"/>
                  </a:cubicBezTo>
                  <a:cubicBezTo>
                    <a:pt x="123258" y="39553"/>
                    <a:pt x="123258" y="77266"/>
                    <a:pt x="100263" y="100262"/>
                  </a:cubicBezTo>
                  <a:cubicBezTo>
                    <a:pt x="89224" y="111300"/>
                    <a:pt x="74507" y="117739"/>
                    <a:pt x="58869" y="117739"/>
                  </a:cubicBezTo>
                  <a:cubicBezTo>
                    <a:pt x="43233" y="117739"/>
                    <a:pt x="28515" y="112220"/>
                    <a:pt x="17477" y="10118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" name="Forme libre : forme 209">
              <a:extLst>
                <a:ext uri="{FF2B5EF4-FFF2-40B4-BE49-F238E27FC236}">
                  <a16:creationId xmlns:a16="http://schemas.microsoft.com/office/drawing/2014/main" id="{80007C47-775F-43EE-9BFF-1043A7C3649A}"/>
                </a:ext>
              </a:extLst>
            </p:cNvPr>
            <p:cNvSpPr/>
            <p:nvPr/>
          </p:nvSpPr>
          <p:spPr>
            <a:xfrm rot="8716295">
              <a:off x="5090746" y="5117279"/>
              <a:ext cx="37096" cy="40385"/>
            </a:xfrm>
            <a:custGeom>
              <a:avLst/>
              <a:gdLst>
                <a:gd name="connsiteX0" fmla="*/ 0 w 37096"/>
                <a:gd name="connsiteY0" fmla="*/ 40385 h 40385"/>
                <a:gd name="connsiteX1" fmla="*/ 0 w 37096"/>
                <a:gd name="connsiteY1" fmla="*/ 0 h 40385"/>
                <a:gd name="connsiteX2" fmla="*/ 37096 w 37096"/>
                <a:gd name="connsiteY2" fmla="*/ 25713 h 40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096" h="40385">
                  <a:moveTo>
                    <a:pt x="0" y="40385"/>
                  </a:moveTo>
                  <a:lnTo>
                    <a:pt x="0" y="0"/>
                  </a:lnTo>
                  <a:lnTo>
                    <a:pt x="37096" y="2571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" name="Forme libre : forme 210">
              <a:extLst>
                <a:ext uri="{FF2B5EF4-FFF2-40B4-BE49-F238E27FC236}">
                  <a16:creationId xmlns:a16="http://schemas.microsoft.com/office/drawing/2014/main" id="{5820CA8C-9225-440D-B86D-A9CE799D1C39}"/>
                </a:ext>
              </a:extLst>
            </p:cNvPr>
            <p:cNvSpPr/>
            <p:nvPr/>
          </p:nvSpPr>
          <p:spPr>
            <a:xfrm rot="8716295">
              <a:off x="5405706" y="5085046"/>
              <a:ext cx="60406" cy="83058"/>
            </a:xfrm>
            <a:custGeom>
              <a:avLst/>
              <a:gdLst>
                <a:gd name="connsiteX0" fmla="*/ 0 w 60406"/>
                <a:gd name="connsiteY0" fmla="*/ 83058 h 83058"/>
                <a:gd name="connsiteX1" fmla="*/ 0 w 60406"/>
                <a:gd name="connsiteY1" fmla="*/ 0 h 83058"/>
                <a:gd name="connsiteX2" fmla="*/ 60406 w 60406"/>
                <a:gd name="connsiteY2" fmla="*/ 41872 h 83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406" h="83058">
                  <a:moveTo>
                    <a:pt x="0" y="83058"/>
                  </a:moveTo>
                  <a:lnTo>
                    <a:pt x="0" y="0"/>
                  </a:lnTo>
                  <a:lnTo>
                    <a:pt x="60406" y="4187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" name="Forme libre : forme 211">
              <a:extLst>
                <a:ext uri="{FF2B5EF4-FFF2-40B4-BE49-F238E27FC236}">
                  <a16:creationId xmlns:a16="http://schemas.microsoft.com/office/drawing/2014/main" id="{14119B8B-36AC-4498-96E0-570BA8C54C01}"/>
                </a:ext>
              </a:extLst>
            </p:cNvPr>
            <p:cNvSpPr/>
            <p:nvPr/>
          </p:nvSpPr>
          <p:spPr>
            <a:xfrm rot="8716295">
              <a:off x="5207014" y="4975218"/>
              <a:ext cx="245211" cy="161994"/>
            </a:xfrm>
            <a:custGeom>
              <a:avLst/>
              <a:gdLst>
                <a:gd name="connsiteX0" fmla="*/ 8965 w 245211"/>
                <a:gd name="connsiteY0" fmla="*/ 161994 h 161994"/>
                <a:gd name="connsiteX1" fmla="*/ 0 w 245211"/>
                <a:gd name="connsiteY1" fmla="*/ 149580 h 161994"/>
                <a:gd name="connsiteX2" fmla="*/ 158971 w 245211"/>
                <a:gd name="connsiteY2" fmla="*/ 0 h 161994"/>
                <a:gd name="connsiteX3" fmla="*/ 245211 w 245211"/>
                <a:gd name="connsiteY3" fmla="*/ 59779 h 161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211" h="161994">
                  <a:moveTo>
                    <a:pt x="8965" y="161994"/>
                  </a:moveTo>
                  <a:lnTo>
                    <a:pt x="0" y="149580"/>
                  </a:lnTo>
                  <a:lnTo>
                    <a:pt x="158971" y="0"/>
                  </a:lnTo>
                  <a:lnTo>
                    <a:pt x="245211" y="5977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" name="Forme libre : forme 212">
              <a:extLst>
                <a:ext uri="{FF2B5EF4-FFF2-40B4-BE49-F238E27FC236}">
                  <a16:creationId xmlns:a16="http://schemas.microsoft.com/office/drawing/2014/main" id="{4FCFFEE2-AEF7-46AC-BCAB-E4AB6356A9CD}"/>
                </a:ext>
              </a:extLst>
            </p:cNvPr>
            <p:cNvSpPr/>
            <p:nvPr/>
          </p:nvSpPr>
          <p:spPr>
            <a:xfrm rot="8716295">
              <a:off x="4807372" y="4871188"/>
              <a:ext cx="249519" cy="296463"/>
            </a:xfrm>
            <a:custGeom>
              <a:avLst/>
              <a:gdLst>
                <a:gd name="connsiteX0" fmla="*/ 137293 w 249519"/>
                <a:gd name="connsiteY0" fmla="*/ 296463 h 296463"/>
                <a:gd name="connsiteX1" fmla="*/ 72418 w 249519"/>
                <a:gd name="connsiteY1" fmla="*/ 175766 h 296463"/>
                <a:gd name="connsiteX2" fmla="*/ 105610 w 249519"/>
                <a:gd name="connsiteY2" fmla="*/ 83734 h 296463"/>
                <a:gd name="connsiteX3" fmla="*/ 0 w 249519"/>
                <a:gd name="connsiteY3" fmla="*/ 83734 h 296463"/>
                <a:gd name="connsiteX4" fmla="*/ 0 w 249519"/>
                <a:gd name="connsiteY4" fmla="*/ 0 h 296463"/>
                <a:gd name="connsiteX5" fmla="*/ 128719 w 249519"/>
                <a:gd name="connsiteY5" fmla="*/ 0 h 296463"/>
                <a:gd name="connsiteX6" fmla="*/ 249519 w 249519"/>
                <a:gd name="connsiteY6" fmla="*/ 83734 h 296463"/>
                <a:gd name="connsiteX7" fmla="*/ 210465 w 249519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9519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128719" y="0"/>
                  </a:lnTo>
                  <a:lnTo>
                    <a:pt x="249519" y="83734"/>
                  </a:lnTo>
                  <a:lnTo>
                    <a:pt x="210465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" name="Forme libre : forme 213">
              <a:extLst>
                <a:ext uri="{FF2B5EF4-FFF2-40B4-BE49-F238E27FC236}">
                  <a16:creationId xmlns:a16="http://schemas.microsoft.com/office/drawing/2014/main" id="{1B41E071-0693-46BD-92E2-292036356EEC}"/>
                </a:ext>
              </a:extLst>
            </p:cNvPr>
            <p:cNvSpPr/>
            <p:nvPr/>
          </p:nvSpPr>
          <p:spPr>
            <a:xfrm rot="8716295">
              <a:off x="4742203" y="467807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" name="Forme libre : forme 214">
              <a:extLst>
                <a:ext uri="{FF2B5EF4-FFF2-40B4-BE49-F238E27FC236}">
                  <a16:creationId xmlns:a16="http://schemas.microsoft.com/office/drawing/2014/main" id="{3D04A71D-E109-4B4F-89C3-FA4AB19F4E1D}"/>
                </a:ext>
              </a:extLst>
            </p:cNvPr>
            <p:cNvSpPr/>
            <p:nvPr/>
          </p:nvSpPr>
          <p:spPr>
            <a:xfrm rot="8716295">
              <a:off x="5548192" y="4732447"/>
              <a:ext cx="92415" cy="287093"/>
            </a:xfrm>
            <a:custGeom>
              <a:avLst/>
              <a:gdLst>
                <a:gd name="connsiteX0" fmla="*/ 0 w 61059"/>
                <a:gd name="connsiteY0" fmla="*/ 189683 h 189683"/>
                <a:gd name="connsiteX1" fmla="*/ 1 w 61059"/>
                <a:gd name="connsiteY1" fmla="*/ 70355 h 189683"/>
                <a:gd name="connsiteX2" fmla="*/ 58192 w 61059"/>
                <a:gd name="connsiteY2" fmla="*/ 0 h 189683"/>
                <a:gd name="connsiteX3" fmla="*/ 61059 w 61059"/>
                <a:gd name="connsiteY3" fmla="*/ 7418 h 189683"/>
                <a:gd name="connsiteX4" fmla="*/ 61059 w 61059"/>
                <a:gd name="connsiteY4" fmla="*/ 165533 h 189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59" h="189683">
                  <a:moveTo>
                    <a:pt x="0" y="189683"/>
                  </a:moveTo>
                  <a:lnTo>
                    <a:pt x="1" y="70355"/>
                  </a:lnTo>
                  <a:lnTo>
                    <a:pt x="58192" y="0"/>
                  </a:lnTo>
                  <a:lnTo>
                    <a:pt x="61059" y="7418"/>
                  </a:lnTo>
                  <a:lnTo>
                    <a:pt x="61059" y="1655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" name="Forme libre : forme 215">
              <a:extLst>
                <a:ext uri="{FF2B5EF4-FFF2-40B4-BE49-F238E27FC236}">
                  <a16:creationId xmlns:a16="http://schemas.microsoft.com/office/drawing/2014/main" id="{AAC7FAB2-F735-42A2-BE55-7C8B153DECE5}"/>
                </a:ext>
              </a:extLst>
            </p:cNvPr>
            <p:cNvSpPr/>
            <p:nvPr/>
          </p:nvSpPr>
          <p:spPr>
            <a:xfrm rot="8716295">
              <a:off x="5387054" y="482534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" name="Forme libre : forme 216">
              <a:extLst>
                <a:ext uri="{FF2B5EF4-FFF2-40B4-BE49-F238E27FC236}">
                  <a16:creationId xmlns:a16="http://schemas.microsoft.com/office/drawing/2014/main" id="{4B03EBBE-E237-4565-BE6F-56E70942310E}"/>
                </a:ext>
              </a:extLst>
            </p:cNvPr>
            <p:cNvSpPr/>
            <p:nvPr/>
          </p:nvSpPr>
          <p:spPr>
            <a:xfrm rot="8716295">
              <a:off x="5198009" y="450950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" name="Forme libre : forme 217">
              <a:extLst>
                <a:ext uri="{FF2B5EF4-FFF2-40B4-BE49-F238E27FC236}">
                  <a16:creationId xmlns:a16="http://schemas.microsoft.com/office/drawing/2014/main" id="{230714BC-B4D4-483B-9F0B-D1990593F59D}"/>
                </a:ext>
              </a:extLst>
            </p:cNvPr>
            <p:cNvSpPr/>
            <p:nvPr/>
          </p:nvSpPr>
          <p:spPr>
            <a:xfrm rot="8716295">
              <a:off x="5503997" y="4913234"/>
              <a:ext cx="91035" cy="258752"/>
            </a:xfrm>
            <a:custGeom>
              <a:avLst/>
              <a:gdLst>
                <a:gd name="connsiteX0" fmla="*/ 91035 w 91035"/>
                <a:gd name="connsiteY0" fmla="*/ 258752 h 258752"/>
                <a:gd name="connsiteX1" fmla="*/ 0 w 91035"/>
                <a:gd name="connsiteY1" fmla="*/ 171163 h 258752"/>
                <a:gd name="connsiteX2" fmla="*/ 0 w 91035"/>
                <a:gd name="connsiteY2" fmla="*/ 43487 h 258752"/>
                <a:gd name="connsiteX3" fmla="*/ 35968 w 91035"/>
                <a:gd name="connsiteY3" fmla="*/ 0 h 258752"/>
                <a:gd name="connsiteX4" fmla="*/ 91035 w 91035"/>
                <a:gd name="connsiteY4" fmla="*/ 38170 h 258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035" h="258752">
                  <a:moveTo>
                    <a:pt x="91035" y="258752"/>
                  </a:moveTo>
                  <a:lnTo>
                    <a:pt x="0" y="171163"/>
                  </a:lnTo>
                  <a:lnTo>
                    <a:pt x="0" y="43487"/>
                  </a:lnTo>
                  <a:lnTo>
                    <a:pt x="35968" y="0"/>
                  </a:lnTo>
                  <a:lnTo>
                    <a:pt x="91035" y="3817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" name="Forme libre : forme 218">
              <a:extLst>
                <a:ext uri="{FF2B5EF4-FFF2-40B4-BE49-F238E27FC236}">
                  <a16:creationId xmlns:a16="http://schemas.microsoft.com/office/drawing/2014/main" id="{14A36AFC-3634-423C-BC16-BDB2283C28B3}"/>
                </a:ext>
              </a:extLst>
            </p:cNvPr>
            <p:cNvSpPr/>
            <p:nvPr/>
          </p:nvSpPr>
          <p:spPr>
            <a:xfrm rot="8716295">
              <a:off x="5158096" y="466090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" name="Forme libre : forme 219">
              <a:extLst>
                <a:ext uri="{FF2B5EF4-FFF2-40B4-BE49-F238E27FC236}">
                  <a16:creationId xmlns:a16="http://schemas.microsoft.com/office/drawing/2014/main" id="{BC237E43-FDD5-4FDC-8C88-3D3E992DDCCE}"/>
                </a:ext>
              </a:extLst>
            </p:cNvPr>
            <p:cNvSpPr/>
            <p:nvPr/>
          </p:nvSpPr>
          <p:spPr>
            <a:xfrm rot="8716295">
              <a:off x="4115344" y="2074537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" name="Forme libre : forme 220">
              <a:extLst>
                <a:ext uri="{FF2B5EF4-FFF2-40B4-BE49-F238E27FC236}">
                  <a16:creationId xmlns:a16="http://schemas.microsoft.com/office/drawing/2014/main" id="{74F2CD5F-27E1-4B05-BDE3-F9CAEE63E34B}"/>
                </a:ext>
              </a:extLst>
            </p:cNvPr>
            <p:cNvSpPr/>
            <p:nvPr/>
          </p:nvSpPr>
          <p:spPr>
            <a:xfrm rot="8716295">
              <a:off x="4250643" y="2118796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" name="Forme libre : forme 221">
              <a:extLst>
                <a:ext uri="{FF2B5EF4-FFF2-40B4-BE49-F238E27FC236}">
                  <a16:creationId xmlns:a16="http://schemas.microsoft.com/office/drawing/2014/main" id="{3D2EAE98-2CEC-4E31-BF79-1D13D51EDB3B}"/>
                </a:ext>
              </a:extLst>
            </p:cNvPr>
            <p:cNvSpPr/>
            <p:nvPr/>
          </p:nvSpPr>
          <p:spPr>
            <a:xfrm rot="8716295">
              <a:off x="4182761" y="1988208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" name="Forme libre : forme 222">
              <a:extLst>
                <a:ext uri="{FF2B5EF4-FFF2-40B4-BE49-F238E27FC236}">
                  <a16:creationId xmlns:a16="http://schemas.microsoft.com/office/drawing/2014/main" id="{F7C21745-E98A-49A1-BB89-EF4C58D2B535}"/>
                </a:ext>
              </a:extLst>
            </p:cNvPr>
            <p:cNvSpPr/>
            <p:nvPr/>
          </p:nvSpPr>
          <p:spPr>
            <a:xfrm rot="8716295">
              <a:off x="3945473" y="220855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" name="Forme libre : forme 223">
              <a:extLst>
                <a:ext uri="{FF2B5EF4-FFF2-40B4-BE49-F238E27FC236}">
                  <a16:creationId xmlns:a16="http://schemas.microsoft.com/office/drawing/2014/main" id="{3C933A0E-48CB-40A4-AD69-869889C9C116}"/>
                </a:ext>
              </a:extLst>
            </p:cNvPr>
            <p:cNvSpPr/>
            <p:nvPr/>
          </p:nvSpPr>
          <p:spPr>
            <a:xfrm rot="8716295">
              <a:off x="3756427" y="189271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" name="Forme libre : forme 224">
              <a:extLst>
                <a:ext uri="{FF2B5EF4-FFF2-40B4-BE49-F238E27FC236}">
                  <a16:creationId xmlns:a16="http://schemas.microsoft.com/office/drawing/2014/main" id="{A02DB2FC-04B5-4966-BEE6-FB30AD9722F6}"/>
                </a:ext>
              </a:extLst>
            </p:cNvPr>
            <p:cNvSpPr/>
            <p:nvPr/>
          </p:nvSpPr>
          <p:spPr>
            <a:xfrm rot="8716295">
              <a:off x="3738186" y="1682667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" name="Forme libre : forme 225">
              <a:extLst>
                <a:ext uri="{FF2B5EF4-FFF2-40B4-BE49-F238E27FC236}">
                  <a16:creationId xmlns:a16="http://schemas.microsoft.com/office/drawing/2014/main" id="{F8510F0D-1176-4749-A0F4-7938F16AABD4}"/>
                </a:ext>
              </a:extLst>
            </p:cNvPr>
            <p:cNvSpPr/>
            <p:nvPr/>
          </p:nvSpPr>
          <p:spPr>
            <a:xfrm rot="8716295">
              <a:off x="4081962" y="2270535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" name="Forme libre : forme 226">
              <a:extLst>
                <a:ext uri="{FF2B5EF4-FFF2-40B4-BE49-F238E27FC236}">
                  <a16:creationId xmlns:a16="http://schemas.microsoft.com/office/drawing/2014/main" id="{7359A2E2-1A1C-4AB5-9888-9A67C8F381ED}"/>
                </a:ext>
              </a:extLst>
            </p:cNvPr>
            <p:cNvSpPr/>
            <p:nvPr/>
          </p:nvSpPr>
          <p:spPr>
            <a:xfrm rot="8716295">
              <a:off x="4552908" y="169592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" name="Forme libre : forme 227">
              <a:extLst>
                <a:ext uri="{FF2B5EF4-FFF2-40B4-BE49-F238E27FC236}">
                  <a16:creationId xmlns:a16="http://schemas.microsoft.com/office/drawing/2014/main" id="{F162CF17-3696-46D1-BBA9-E595114BD290}"/>
                </a:ext>
              </a:extLst>
            </p:cNvPr>
            <p:cNvSpPr/>
            <p:nvPr/>
          </p:nvSpPr>
          <p:spPr>
            <a:xfrm rot="8716295">
              <a:off x="4688207" y="174018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" name="Forme libre : forme 228">
              <a:extLst>
                <a:ext uri="{FF2B5EF4-FFF2-40B4-BE49-F238E27FC236}">
                  <a16:creationId xmlns:a16="http://schemas.microsoft.com/office/drawing/2014/main" id="{CB7640C0-A77D-4C20-99F3-99AC8C5EA399}"/>
                </a:ext>
              </a:extLst>
            </p:cNvPr>
            <p:cNvSpPr/>
            <p:nvPr/>
          </p:nvSpPr>
          <p:spPr>
            <a:xfrm rot="8716295">
              <a:off x="4383037" y="182993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" name="Forme libre : forme 229">
              <a:extLst>
                <a:ext uri="{FF2B5EF4-FFF2-40B4-BE49-F238E27FC236}">
                  <a16:creationId xmlns:a16="http://schemas.microsoft.com/office/drawing/2014/main" id="{7221721D-60FE-4C4C-9396-20240CB24747}"/>
                </a:ext>
              </a:extLst>
            </p:cNvPr>
            <p:cNvSpPr/>
            <p:nvPr/>
          </p:nvSpPr>
          <p:spPr>
            <a:xfrm rot="8716295">
              <a:off x="4193993" y="151410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" name="Forme libre : forme 230">
              <a:extLst>
                <a:ext uri="{FF2B5EF4-FFF2-40B4-BE49-F238E27FC236}">
                  <a16:creationId xmlns:a16="http://schemas.microsoft.com/office/drawing/2014/main" id="{72815BA9-45F4-424C-8C61-85FB1E0CD670}"/>
                </a:ext>
              </a:extLst>
            </p:cNvPr>
            <p:cNvSpPr/>
            <p:nvPr/>
          </p:nvSpPr>
          <p:spPr>
            <a:xfrm rot="8716295">
              <a:off x="4519525" y="1891919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" name="Forme libre : forme 231">
              <a:extLst>
                <a:ext uri="{FF2B5EF4-FFF2-40B4-BE49-F238E27FC236}">
                  <a16:creationId xmlns:a16="http://schemas.microsoft.com/office/drawing/2014/main" id="{2386F46E-7D0B-4733-83CE-A3BA85A841D0}"/>
                </a:ext>
              </a:extLst>
            </p:cNvPr>
            <p:cNvSpPr/>
            <p:nvPr/>
          </p:nvSpPr>
          <p:spPr>
            <a:xfrm rot="8716295">
              <a:off x="4154079" y="1665493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" name="Forme libre : forme 232">
              <a:extLst>
                <a:ext uri="{FF2B5EF4-FFF2-40B4-BE49-F238E27FC236}">
                  <a16:creationId xmlns:a16="http://schemas.microsoft.com/office/drawing/2014/main" id="{7C49EAA5-EA80-4FD2-B8EE-8A5326A137F1}"/>
                </a:ext>
              </a:extLst>
            </p:cNvPr>
            <p:cNvSpPr/>
            <p:nvPr/>
          </p:nvSpPr>
          <p:spPr>
            <a:xfrm rot="7484129">
              <a:off x="4678343" y="218153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" name="Forme libre : forme 233">
              <a:extLst>
                <a:ext uri="{FF2B5EF4-FFF2-40B4-BE49-F238E27FC236}">
                  <a16:creationId xmlns:a16="http://schemas.microsoft.com/office/drawing/2014/main" id="{E5F42144-89A8-465A-AA8E-5830C7BF1E60}"/>
                </a:ext>
              </a:extLst>
            </p:cNvPr>
            <p:cNvSpPr/>
            <p:nvPr/>
          </p:nvSpPr>
          <p:spPr>
            <a:xfrm rot="13089394">
              <a:off x="4836993" y="2130885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" name="Forme libre : forme 234">
              <a:extLst>
                <a:ext uri="{FF2B5EF4-FFF2-40B4-BE49-F238E27FC236}">
                  <a16:creationId xmlns:a16="http://schemas.microsoft.com/office/drawing/2014/main" id="{4B643A7D-0F4D-44EF-8082-E475252D919E}"/>
                </a:ext>
              </a:extLst>
            </p:cNvPr>
            <p:cNvSpPr/>
            <p:nvPr/>
          </p:nvSpPr>
          <p:spPr>
            <a:xfrm rot="8716295">
              <a:off x="5117884" y="1840767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" name="Forme libre : forme 235">
              <a:extLst>
                <a:ext uri="{FF2B5EF4-FFF2-40B4-BE49-F238E27FC236}">
                  <a16:creationId xmlns:a16="http://schemas.microsoft.com/office/drawing/2014/main" id="{A286EB77-2A92-49EB-B662-F67A780E72C3}"/>
                </a:ext>
              </a:extLst>
            </p:cNvPr>
            <p:cNvSpPr/>
            <p:nvPr/>
          </p:nvSpPr>
          <p:spPr>
            <a:xfrm rot="8716295">
              <a:off x="5039475" y="1683975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" name="Forme libre : forme 236">
              <a:extLst>
                <a:ext uri="{FF2B5EF4-FFF2-40B4-BE49-F238E27FC236}">
                  <a16:creationId xmlns:a16="http://schemas.microsoft.com/office/drawing/2014/main" id="{D76415DF-3D0E-46A1-A992-CAEF6C90F935}"/>
                </a:ext>
              </a:extLst>
            </p:cNvPr>
            <p:cNvSpPr/>
            <p:nvPr/>
          </p:nvSpPr>
          <p:spPr>
            <a:xfrm rot="8716295">
              <a:off x="4671311" y="172971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" name="Forme libre : forme 237">
              <a:extLst>
                <a:ext uri="{FF2B5EF4-FFF2-40B4-BE49-F238E27FC236}">
                  <a16:creationId xmlns:a16="http://schemas.microsoft.com/office/drawing/2014/main" id="{22B5BB48-3533-4C75-B095-5C6392290E1E}"/>
                </a:ext>
              </a:extLst>
            </p:cNvPr>
            <p:cNvSpPr/>
            <p:nvPr/>
          </p:nvSpPr>
          <p:spPr>
            <a:xfrm rot="8716295">
              <a:off x="4939893" y="148869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" name="Forme libre : forme 238">
              <a:extLst>
                <a:ext uri="{FF2B5EF4-FFF2-40B4-BE49-F238E27FC236}">
                  <a16:creationId xmlns:a16="http://schemas.microsoft.com/office/drawing/2014/main" id="{D4F7953A-EB21-471D-9CE6-DFD037BB3D9B}"/>
                </a:ext>
              </a:extLst>
            </p:cNvPr>
            <p:cNvSpPr/>
            <p:nvPr/>
          </p:nvSpPr>
          <p:spPr>
            <a:xfrm rot="8716295">
              <a:off x="3777571" y="1076054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" name="Forme libre : forme 239">
              <a:extLst>
                <a:ext uri="{FF2B5EF4-FFF2-40B4-BE49-F238E27FC236}">
                  <a16:creationId xmlns:a16="http://schemas.microsoft.com/office/drawing/2014/main" id="{B31F3CAF-6E5C-4883-9D56-37A77E8E54A5}"/>
                </a:ext>
              </a:extLst>
            </p:cNvPr>
            <p:cNvSpPr/>
            <p:nvPr/>
          </p:nvSpPr>
          <p:spPr>
            <a:xfrm rot="8716295">
              <a:off x="3912870" y="1120313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" name="Forme libre : forme 240">
              <a:extLst>
                <a:ext uri="{FF2B5EF4-FFF2-40B4-BE49-F238E27FC236}">
                  <a16:creationId xmlns:a16="http://schemas.microsoft.com/office/drawing/2014/main" id="{C147FD5B-3693-4B4F-88B4-175EF4DCAB5D}"/>
                </a:ext>
              </a:extLst>
            </p:cNvPr>
            <p:cNvSpPr/>
            <p:nvPr/>
          </p:nvSpPr>
          <p:spPr>
            <a:xfrm rot="8716295">
              <a:off x="3844988" y="989725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" name="Forme libre : forme 241">
              <a:extLst>
                <a:ext uri="{FF2B5EF4-FFF2-40B4-BE49-F238E27FC236}">
                  <a16:creationId xmlns:a16="http://schemas.microsoft.com/office/drawing/2014/main" id="{ADDA2175-F82B-4C1C-A775-DCF7ED389EE1}"/>
                </a:ext>
              </a:extLst>
            </p:cNvPr>
            <p:cNvSpPr/>
            <p:nvPr/>
          </p:nvSpPr>
          <p:spPr>
            <a:xfrm rot="8716295">
              <a:off x="3607700" y="121006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" name="Forme libre : forme 242">
              <a:extLst>
                <a:ext uri="{FF2B5EF4-FFF2-40B4-BE49-F238E27FC236}">
                  <a16:creationId xmlns:a16="http://schemas.microsoft.com/office/drawing/2014/main" id="{3DA66E2A-B271-4CA4-B9FF-6AFE032DC966}"/>
                </a:ext>
              </a:extLst>
            </p:cNvPr>
            <p:cNvSpPr/>
            <p:nvPr/>
          </p:nvSpPr>
          <p:spPr>
            <a:xfrm rot="8716295">
              <a:off x="3418654" y="89423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" name="Forme libre : forme 243">
              <a:extLst>
                <a:ext uri="{FF2B5EF4-FFF2-40B4-BE49-F238E27FC236}">
                  <a16:creationId xmlns:a16="http://schemas.microsoft.com/office/drawing/2014/main" id="{5F0B065E-4F1B-43F1-9813-90200634675E}"/>
                </a:ext>
              </a:extLst>
            </p:cNvPr>
            <p:cNvSpPr/>
            <p:nvPr/>
          </p:nvSpPr>
          <p:spPr>
            <a:xfrm rot="8716295">
              <a:off x="3400413" y="68418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" name="Forme libre : forme 244">
              <a:extLst>
                <a:ext uri="{FF2B5EF4-FFF2-40B4-BE49-F238E27FC236}">
                  <a16:creationId xmlns:a16="http://schemas.microsoft.com/office/drawing/2014/main" id="{20854BC4-5849-4EDA-A9AD-8A9CB02779EC}"/>
                </a:ext>
              </a:extLst>
            </p:cNvPr>
            <p:cNvSpPr/>
            <p:nvPr/>
          </p:nvSpPr>
          <p:spPr>
            <a:xfrm rot="8716295">
              <a:off x="3744189" y="1272052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" name="Forme libre : forme 245">
              <a:extLst>
                <a:ext uri="{FF2B5EF4-FFF2-40B4-BE49-F238E27FC236}">
                  <a16:creationId xmlns:a16="http://schemas.microsoft.com/office/drawing/2014/main" id="{7833AF6E-AF2A-42B3-84D3-9F8F342AAC2A}"/>
                </a:ext>
              </a:extLst>
            </p:cNvPr>
            <p:cNvSpPr/>
            <p:nvPr/>
          </p:nvSpPr>
          <p:spPr>
            <a:xfrm rot="8716295">
              <a:off x="4215135" y="69743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" name="Forme libre : forme 246">
              <a:extLst>
                <a:ext uri="{FF2B5EF4-FFF2-40B4-BE49-F238E27FC236}">
                  <a16:creationId xmlns:a16="http://schemas.microsoft.com/office/drawing/2014/main" id="{5CCDB5E7-FFA9-4665-85A4-71445280D93D}"/>
                </a:ext>
              </a:extLst>
            </p:cNvPr>
            <p:cNvSpPr/>
            <p:nvPr/>
          </p:nvSpPr>
          <p:spPr>
            <a:xfrm rot="8716295">
              <a:off x="4350434" y="74169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" name="Forme libre : forme 247">
              <a:extLst>
                <a:ext uri="{FF2B5EF4-FFF2-40B4-BE49-F238E27FC236}">
                  <a16:creationId xmlns:a16="http://schemas.microsoft.com/office/drawing/2014/main" id="{2DD39E77-D511-475C-B9A4-1F96A0A8FEEA}"/>
                </a:ext>
              </a:extLst>
            </p:cNvPr>
            <p:cNvSpPr/>
            <p:nvPr/>
          </p:nvSpPr>
          <p:spPr>
            <a:xfrm rot="8716295">
              <a:off x="4045264" y="83145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" name="Forme libre : forme 248">
              <a:extLst>
                <a:ext uri="{FF2B5EF4-FFF2-40B4-BE49-F238E27FC236}">
                  <a16:creationId xmlns:a16="http://schemas.microsoft.com/office/drawing/2014/main" id="{37119436-3DF5-44F0-88C8-59BCDF9BA3E8}"/>
                </a:ext>
              </a:extLst>
            </p:cNvPr>
            <p:cNvSpPr/>
            <p:nvPr/>
          </p:nvSpPr>
          <p:spPr>
            <a:xfrm rot="8716295">
              <a:off x="3856220" y="51561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" name="Forme libre : forme 249">
              <a:extLst>
                <a:ext uri="{FF2B5EF4-FFF2-40B4-BE49-F238E27FC236}">
                  <a16:creationId xmlns:a16="http://schemas.microsoft.com/office/drawing/2014/main" id="{5EFF1AF7-D116-4A78-8A60-0881E3BE9924}"/>
                </a:ext>
              </a:extLst>
            </p:cNvPr>
            <p:cNvSpPr/>
            <p:nvPr/>
          </p:nvSpPr>
          <p:spPr>
            <a:xfrm rot="8716295">
              <a:off x="4181753" y="893436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" name="Forme libre : forme 250">
              <a:extLst>
                <a:ext uri="{FF2B5EF4-FFF2-40B4-BE49-F238E27FC236}">
                  <a16:creationId xmlns:a16="http://schemas.microsoft.com/office/drawing/2014/main" id="{C38BBAB8-EA94-46A9-B44D-F77A303742D6}"/>
                </a:ext>
              </a:extLst>
            </p:cNvPr>
            <p:cNvSpPr/>
            <p:nvPr/>
          </p:nvSpPr>
          <p:spPr>
            <a:xfrm rot="8716295">
              <a:off x="3816306" y="66701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" name="Forme libre : forme 251">
              <a:extLst>
                <a:ext uri="{FF2B5EF4-FFF2-40B4-BE49-F238E27FC236}">
                  <a16:creationId xmlns:a16="http://schemas.microsoft.com/office/drawing/2014/main" id="{726FB4EE-DE4A-475E-B9CA-BDA728B96056}"/>
                </a:ext>
              </a:extLst>
            </p:cNvPr>
            <p:cNvSpPr/>
            <p:nvPr/>
          </p:nvSpPr>
          <p:spPr>
            <a:xfrm rot="7484129">
              <a:off x="4340570" y="118305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" name="Forme libre : forme 252">
              <a:extLst>
                <a:ext uri="{FF2B5EF4-FFF2-40B4-BE49-F238E27FC236}">
                  <a16:creationId xmlns:a16="http://schemas.microsoft.com/office/drawing/2014/main" id="{3778C4A8-DD8F-40FB-BF36-85A62335E025}"/>
                </a:ext>
              </a:extLst>
            </p:cNvPr>
            <p:cNvSpPr/>
            <p:nvPr/>
          </p:nvSpPr>
          <p:spPr>
            <a:xfrm rot="13089394">
              <a:off x="4499220" y="1132402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" name="Forme libre : forme 253">
              <a:extLst>
                <a:ext uri="{FF2B5EF4-FFF2-40B4-BE49-F238E27FC236}">
                  <a16:creationId xmlns:a16="http://schemas.microsoft.com/office/drawing/2014/main" id="{E67B04C4-DF6C-4AF3-A306-EC57702A7EA7}"/>
                </a:ext>
              </a:extLst>
            </p:cNvPr>
            <p:cNvSpPr/>
            <p:nvPr/>
          </p:nvSpPr>
          <p:spPr>
            <a:xfrm rot="8716295">
              <a:off x="4780111" y="842284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" name="Forme libre : forme 254">
              <a:extLst>
                <a:ext uri="{FF2B5EF4-FFF2-40B4-BE49-F238E27FC236}">
                  <a16:creationId xmlns:a16="http://schemas.microsoft.com/office/drawing/2014/main" id="{0C3B947F-A89B-45FB-9A8F-3A9BCC6CD484}"/>
                </a:ext>
              </a:extLst>
            </p:cNvPr>
            <p:cNvSpPr/>
            <p:nvPr/>
          </p:nvSpPr>
          <p:spPr>
            <a:xfrm rot="8716295">
              <a:off x="4701702" y="68549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" name="Forme libre : forme 255">
              <a:extLst>
                <a:ext uri="{FF2B5EF4-FFF2-40B4-BE49-F238E27FC236}">
                  <a16:creationId xmlns:a16="http://schemas.microsoft.com/office/drawing/2014/main" id="{65FF4858-B1A0-42D2-ADCA-DB484EB1FE6D}"/>
                </a:ext>
              </a:extLst>
            </p:cNvPr>
            <p:cNvSpPr/>
            <p:nvPr/>
          </p:nvSpPr>
          <p:spPr>
            <a:xfrm rot="8716295">
              <a:off x="4333538" y="73123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" name="Forme libre : forme 256">
              <a:extLst>
                <a:ext uri="{FF2B5EF4-FFF2-40B4-BE49-F238E27FC236}">
                  <a16:creationId xmlns:a16="http://schemas.microsoft.com/office/drawing/2014/main" id="{28C1BE2D-A511-4E2F-AC16-ED6DA95D0016}"/>
                </a:ext>
              </a:extLst>
            </p:cNvPr>
            <p:cNvSpPr/>
            <p:nvPr/>
          </p:nvSpPr>
          <p:spPr>
            <a:xfrm rot="8716295">
              <a:off x="4602120" y="49021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" name="Forme libre : forme 257">
              <a:extLst>
                <a:ext uri="{FF2B5EF4-FFF2-40B4-BE49-F238E27FC236}">
                  <a16:creationId xmlns:a16="http://schemas.microsoft.com/office/drawing/2014/main" id="{414A6022-94D3-4CA0-800F-BAEAE0FC105C}"/>
                </a:ext>
              </a:extLst>
            </p:cNvPr>
            <p:cNvSpPr/>
            <p:nvPr/>
          </p:nvSpPr>
          <p:spPr>
            <a:xfrm rot="8716295">
              <a:off x="3446198" y="7400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" name="Forme libre : forme 258">
              <a:extLst>
                <a:ext uri="{FF2B5EF4-FFF2-40B4-BE49-F238E27FC236}">
                  <a16:creationId xmlns:a16="http://schemas.microsoft.com/office/drawing/2014/main" id="{2CDD9144-31FA-487A-AF8B-34A135FB089A}"/>
                </a:ext>
              </a:extLst>
            </p:cNvPr>
            <p:cNvSpPr/>
            <p:nvPr/>
          </p:nvSpPr>
          <p:spPr>
            <a:xfrm rot="8716295">
              <a:off x="3581496" y="11826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" name="Forme libre : forme 259">
              <a:extLst>
                <a:ext uri="{FF2B5EF4-FFF2-40B4-BE49-F238E27FC236}">
                  <a16:creationId xmlns:a16="http://schemas.microsoft.com/office/drawing/2014/main" id="{7FE16051-BF2A-4B51-837A-7B2C211B57E4}"/>
                </a:ext>
              </a:extLst>
            </p:cNvPr>
            <p:cNvSpPr/>
            <p:nvPr/>
          </p:nvSpPr>
          <p:spPr>
            <a:xfrm rot="8716295">
              <a:off x="3522597" y="36248"/>
              <a:ext cx="234675" cy="172489"/>
            </a:xfrm>
            <a:custGeom>
              <a:avLst/>
              <a:gdLst>
                <a:gd name="connsiteX0" fmla="*/ 25756 w 155050"/>
                <a:gd name="connsiteY0" fmla="*/ 113964 h 113964"/>
                <a:gd name="connsiteX1" fmla="*/ 0 w 155050"/>
                <a:gd name="connsiteY1" fmla="*/ 96110 h 113964"/>
                <a:gd name="connsiteX2" fmla="*/ 72120 w 155050"/>
                <a:gd name="connsiteY2" fmla="*/ 28251 h 113964"/>
                <a:gd name="connsiteX3" fmla="*/ 126799 w 155050"/>
                <a:gd name="connsiteY3" fmla="*/ 0 h 113964"/>
                <a:gd name="connsiteX4" fmla="*/ 155050 w 155050"/>
                <a:gd name="connsiteY4" fmla="*/ 33719 h 113964"/>
                <a:gd name="connsiteX5" fmla="*/ 128622 w 155050"/>
                <a:gd name="connsiteY5" fmla="*/ 69261 h 113964"/>
                <a:gd name="connsiteX6" fmla="*/ 129077 w 155050"/>
                <a:gd name="connsiteY6" fmla="*/ 69261 h 113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5050" h="113964">
                  <a:moveTo>
                    <a:pt x="25756" y="113964"/>
                  </a:moveTo>
                  <a:lnTo>
                    <a:pt x="0" y="96110"/>
                  </a:lnTo>
                  <a:lnTo>
                    <a:pt x="72120" y="28251"/>
                  </a:lnTo>
                  <a:cubicBezTo>
                    <a:pt x="85790" y="12303"/>
                    <a:pt x="105383" y="2279"/>
                    <a:pt x="126799" y="0"/>
                  </a:cubicBezTo>
                  <a:cubicBezTo>
                    <a:pt x="148671" y="0"/>
                    <a:pt x="155050" y="19138"/>
                    <a:pt x="155050" y="33719"/>
                  </a:cubicBezTo>
                  <a:cubicBezTo>
                    <a:pt x="153683" y="49668"/>
                    <a:pt x="143203" y="62882"/>
                    <a:pt x="128622" y="69261"/>
                  </a:cubicBezTo>
                  <a:lnTo>
                    <a:pt x="129077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" name="Forme libre : forme 260">
              <a:extLst>
                <a:ext uri="{FF2B5EF4-FFF2-40B4-BE49-F238E27FC236}">
                  <a16:creationId xmlns:a16="http://schemas.microsoft.com/office/drawing/2014/main" id="{FB6AA26B-D49A-416A-8CAC-16E489B31447}"/>
                </a:ext>
              </a:extLst>
            </p:cNvPr>
            <p:cNvSpPr/>
            <p:nvPr/>
          </p:nvSpPr>
          <p:spPr>
            <a:xfrm rot="8716295">
              <a:off x="3276327" y="20801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" name="Forme libre : forme 261">
              <a:extLst>
                <a:ext uri="{FF2B5EF4-FFF2-40B4-BE49-F238E27FC236}">
                  <a16:creationId xmlns:a16="http://schemas.microsoft.com/office/drawing/2014/main" id="{28AC6B7B-6FBF-49BE-A75A-A0128A514084}"/>
                </a:ext>
              </a:extLst>
            </p:cNvPr>
            <p:cNvSpPr/>
            <p:nvPr/>
          </p:nvSpPr>
          <p:spPr>
            <a:xfrm rot="8716295">
              <a:off x="3107933" y="-20072"/>
              <a:ext cx="308531" cy="199994"/>
            </a:xfrm>
            <a:custGeom>
              <a:avLst/>
              <a:gdLst>
                <a:gd name="connsiteX0" fmla="*/ 112633 w 203847"/>
                <a:gd name="connsiteY0" fmla="*/ 132136 h 132136"/>
                <a:gd name="connsiteX1" fmla="*/ 56185 w 203847"/>
                <a:gd name="connsiteY1" fmla="*/ 93008 h 132136"/>
                <a:gd name="connsiteX2" fmla="*/ 69777 w 203847"/>
                <a:gd name="connsiteY2" fmla="*/ 55323 h 132136"/>
                <a:gd name="connsiteX3" fmla="*/ 1818 w 203847"/>
                <a:gd name="connsiteY3" fmla="*/ 55323 h 132136"/>
                <a:gd name="connsiteX4" fmla="*/ 0 w 203847"/>
                <a:gd name="connsiteY4" fmla="*/ 54062 h 132136"/>
                <a:gd name="connsiteX5" fmla="*/ 0 w 203847"/>
                <a:gd name="connsiteY5" fmla="*/ 0 h 132136"/>
                <a:gd name="connsiteX6" fmla="*/ 203847 w 203847"/>
                <a:gd name="connsiteY6" fmla="*/ 0 h 132136"/>
                <a:gd name="connsiteX7" fmla="*/ 203847 w 203847"/>
                <a:gd name="connsiteY7" fmla="*/ 55323 h 132136"/>
                <a:gd name="connsiteX8" fmla="*/ 139055 w 203847"/>
                <a:gd name="connsiteY8" fmla="*/ 55323 h 132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32136">
                  <a:moveTo>
                    <a:pt x="112633" y="132136"/>
                  </a:moveTo>
                  <a:lnTo>
                    <a:pt x="56185" y="93008"/>
                  </a:lnTo>
                  <a:lnTo>
                    <a:pt x="69777" y="55323"/>
                  </a:lnTo>
                  <a:lnTo>
                    <a:pt x="1818" y="55323"/>
                  </a:lnTo>
                  <a:lnTo>
                    <a:pt x="0" y="54062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" name="Forme libre : forme 262">
              <a:extLst>
                <a:ext uri="{FF2B5EF4-FFF2-40B4-BE49-F238E27FC236}">
                  <a16:creationId xmlns:a16="http://schemas.microsoft.com/office/drawing/2014/main" id="{CE04BDAF-0764-44CB-B173-496F062D8434}"/>
                </a:ext>
              </a:extLst>
            </p:cNvPr>
            <p:cNvSpPr/>
            <p:nvPr/>
          </p:nvSpPr>
          <p:spPr>
            <a:xfrm rot="8716295">
              <a:off x="3475628" y="-31540"/>
              <a:ext cx="98161" cy="118527"/>
            </a:xfrm>
            <a:custGeom>
              <a:avLst/>
              <a:gdLst>
                <a:gd name="connsiteX0" fmla="*/ 64855 w 64855"/>
                <a:gd name="connsiteY0" fmla="*/ 78311 h 78311"/>
                <a:gd name="connsiteX1" fmla="*/ 0 w 64855"/>
                <a:gd name="connsiteY1" fmla="*/ 33356 h 78311"/>
                <a:gd name="connsiteX2" fmla="*/ 64294 w 64855"/>
                <a:gd name="connsiteY2" fmla="*/ 0 h 78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855" h="78311">
                  <a:moveTo>
                    <a:pt x="64855" y="78311"/>
                  </a:moveTo>
                  <a:lnTo>
                    <a:pt x="0" y="33356"/>
                  </a:lnTo>
                  <a:lnTo>
                    <a:pt x="64294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" name="Forme libre : forme 263">
              <a:extLst>
                <a:ext uri="{FF2B5EF4-FFF2-40B4-BE49-F238E27FC236}">
                  <a16:creationId xmlns:a16="http://schemas.microsoft.com/office/drawing/2014/main" id="{79FA5AFC-AB70-4D92-BC44-1181877F58C8}"/>
                </a:ext>
              </a:extLst>
            </p:cNvPr>
            <p:cNvSpPr/>
            <p:nvPr/>
          </p:nvSpPr>
          <p:spPr>
            <a:xfrm rot="8716295">
              <a:off x="3412815" y="26999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" name="Forme libre : forme 264">
              <a:extLst>
                <a:ext uri="{FF2B5EF4-FFF2-40B4-BE49-F238E27FC236}">
                  <a16:creationId xmlns:a16="http://schemas.microsoft.com/office/drawing/2014/main" id="{3C1D95D8-2F29-45A0-9BA8-42D88BD37B32}"/>
                </a:ext>
              </a:extLst>
            </p:cNvPr>
            <p:cNvSpPr/>
            <p:nvPr/>
          </p:nvSpPr>
          <p:spPr>
            <a:xfrm rot="8716295">
              <a:off x="3966406" y="-35912"/>
              <a:ext cx="123741" cy="85774"/>
            </a:xfrm>
            <a:custGeom>
              <a:avLst/>
              <a:gdLst>
                <a:gd name="connsiteX0" fmla="*/ 81756 w 81756"/>
                <a:gd name="connsiteY0" fmla="*/ 56671 h 56671"/>
                <a:gd name="connsiteX1" fmla="*/ 0 w 81756"/>
                <a:gd name="connsiteY1" fmla="*/ 0 h 56671"/>
                <a:gd name="connsiteX2" fmla="*/ 24798 w 81756"/>
                <a:gd name="connsiteY2" fmla="*/ 0 h 56671"/>
                <a:gd name="connsiteX3" fmla="*/ 81756 w 81756"/>
                <a:gd name="connsiteY3" fmla="*/ 50123 h 56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1756" h="56671">
                  <a:moveTo>
                    <a:pt x="81756" y="56671"/>
                  </a:moveTo>
                  <a:lnTo>
                    <a:pt x="0" y="0"/>
                  </a:lnTo>
                  <a:lnTo>
                    <a:pt x="24798" y="0"/>
                  </a:lnTo>
                  <a:cubicBezTo>
                    <a:pt x="61707" y="0"/>
                    <a:pt x="81756" y="15949"/>
                    <a:pt x="81756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" name="Forme libre : forme 265">
              <a:extLst>
                <a:ext uri="{FF2B5EF4-FFF2-40B4-BE49-F238E27FC236}">
                  <a16:creationId xmlns:a16="http://schemas.microsoft.com/office/drawing/2014/main" id="{58EB0588-BD8B-459E-AF8B-F1A7C9A84E72}"/>
                </a:ext>
              </a:extLst>
            </p:cNvPr>
            <p:cNvSpPr/>
            <p:nvPr/>
          </p:nvSpPr>
          <p:spPr>
            <a:xfrm rot="8716295">
              <a:off x="4089146" y="-31808"/>
              <a:ext cx="332088" cy="148365"/>
            </a:xfrm>
            <a:custGeom>
              <a:avLst/>
              <a:gdLst>
                <a:gd name="connsiteX0" fmla="*/ 63575 w 219411"/>
                <a:gd name="connsiteY0" fmla="*/ 45493 h 98025"/>
                <a:gd name="connsiteX1" fmla="*/ 0 w 219411"/>
                <a:gd name="connsiteY1" fmla="*/ 1425 h 98025"/>
                <a:gd name="connsiteX2" fmla="*/ 63575 w 219411"/>
                <a:gd name="connsiteY2" fmla="*/ 1425 h 98025"/>
                <a:gd name="connsiteX3" fmla="*/ 88634 w 219411"/>
                <a:gd name="connsiteY3" fmla="*/ 62863 h 98025"/>
                <a:gd name="connsiteX4" fmla="*/ 73596 w 219411"/>
                <a:gd name="connsiteY4" fmla="*/ 52439 h 98025"/>
                <a:gd name="connsiteX5" fmla="*/ 75493 w 219411"/>
                <a:gd name="connsiteY5" fmla="*/ 47439 h 98025"/>
                <a:gd name="connsiteX6" fmla="*/ 112786 w 219411"/>
                <a:gd name="connsiteY6" fmla="*/ 5981 h 98025"/>
                <a:gd name="connsiteX7" fmla="*/ 144227 w 219411"/>
                <a:gd name="connsiteY7" fmla="*/ 57 h 98025"/>
                <a:gd name="connsiteX8" fmla="*/ 219411 w 219411"/>
                <a:gd name="connsiteY8" fmla="*/ 88456 h 98025"/>
                <a:gd name="connsiteX9" fmla="*/ 219411 w 219411"/>
                <a:gd name="connsiteY9" fmla="*/ 94380 h 98025"/>
                <a:gd name="connsiteX10" fmla="*/ 157441 w 219411"/>
                <a:gd name="connsiteY10" fmla="*/ 98025 h 98025"/>
                <a:gd name="connsiteX11" fmla="*/ 157441 w 219411"/>
                <a:gd name="connsiteY11" fmla="*/ 81621 h 98025"/>
                <a:gd name="connsiteX12" fmla="*/ 123722 w 219411"/>
                <a:gd name="connsiteY12" fmla="*/ 40156 h 98025"/>
                <a:gd name="connsiteX13" fmla="*/ 103089 w 219411"/>
                <a:gd name="connsiteY13" fmla="*/ 46969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9411" h="98025">
                  <a:moveTo>
                    <a:pt x="63575" y="45493"/>
                  </a:moveTo>
                  <a:lnTo>
                    <a:pt x="0" y="1425"/>
                  </a:lnTo>
                  <a:lnTo>
                    <a:pt x="63575" y="1425"/>
                  </a:lnTo>
                  <a:close/>
                  <a:moveTo>
                    <a:pt x="88634" y="62863"/>
                  </a:moveTo>
                  <a:lnTo>
                    <a:pt x="73596" y="52439"/>
                  </a:lnTo>
                  <a:lnTo>
                    <a:pt x="75493" y="47439"/>
                  </a:lnTo>
                  <a:cubicBezTo>
                    <a:pt x="85874" y="24008"/>
                    <a:pt x="96382" y="12816"/>
                    <a:pt x="112786" y="5981"/>
                  </a:cubicBezTo>
                  <a:cubicBezTo>
                    <a:pt x="122811" y="1880"/>
                    <a:pt x="133291" y="-398"/>
                    <a:pt x="144227" y="57"/>
                  </a:cubicBezTo>
                  <a:cubicBezTo>
                    <a:pt x="191160" y="-854"/>
                    <a:pt x="219411" y="31954"/>
                    <a:pt x="219411" y="88456"/>
                  </a:cubicBezTo>
                  <a:lnTo>
                    <a:pt x="219411" y="94380"/>
                  </a:lnTo>
                  <a:lnTo>
                    <a:pt x="157441" y="98025"/>
                  </a:lnTo>
                  <a:lnTo>
                    <a:pt x="157441" y="81621"/>
                  </a:lnTo>
                  <a:cubicBezTo>
                    <a:pt x="157441" y="57016"/>
                    <a:pt x="143316" y="40156"/>
                    <a:pt x="123722" y="40156"/>
                  </a:cubicBezTo>
                  <a:cubicBezTo>
                    <a:pt x="116431" y="40156"/>
                    <a:pt x="109454" y="42577"/>
                    <a:pt x="103089" y="4696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" name="Forme libre : forme 266">
              <a:extLst>
                <a:ext uri="{FF2B5EF4-FFF2-40B4-BE49-F238E27FC236}">
                  <a16:creationId xmlns:a16="http://schemas.microsoft.com/office/drawing/2014/main" id="{8BF71B65-6E28-4BBD-90CF-EB6990FA2B3D}"/>
                </a:ext>
              </a:extLst>
            </p:cNvPr>
            <p:cNvSpPr/>
            <p:nvPr/>
          </p:nvSpPr>
          <p:spPr>
            <a:xfrm rot="8716295">
              <a:off x="3850379" y="-108618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" name="Forme libre : forme 267">
              <a:extLst>
                <a:ext uri="{FF2B5EF4-FFF2-40B4-BE49-F238E27FC236}">
                  <a16:creationId xmlns:a16="http://schemas.microsoft.com/office/drawing/2014/main" id="{C234B460-A852-4BC6-9223-625373ACE475}"/>
                </a:ext>
              </a:extLst>
            </p:cNvPr>
            <p:cNvSpPr/>
            <p:nvPr/>
          </p:nvSpPr>
          <p:spPr>
            <a:xfrm rot="7484129">
              <a:off x="4009196" y="18100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" name="Forme libre : forme 268">
              <a:extLst>
                <a:ext uri="{FF2B5EF4-FFF2-40B4-BE49-F238E27FC236}">
                  <a16:creationId xmlns:a16="http://schemas.microsoft.com/office/drawing/2014/main" id="{ED1521F3-7A8A-439A-8C00-B7EE31751298}"/>
                </a:ext>
              </a:extLst>
            </p:cNvPr>
            <p:cNvSpPr/>
            <p:nvPr/>
          </p:nvSpPr>
          <p:spPr>
            <a:xfrm rot="13089394">
              <a:off x="4167846" y="130348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0" name="Forme libre : forme 269">
              <a:extLst>
                <a:ext uri="{FF2B5EF4-FFF2-40B4-BE49-F238E27FC236}">
                  <a16:creationId xmlns:a16="http://schemas.microsoft.com/office/drawing/2014/main" id="{33189A82-B861-4219-AF6A-9F08FA6A03EE}"/>
                </a:ext>
              </a:extLst>
            </p:cNvPr>
            <p:cNvSpPr/>
            <p:nvPr/>
          </p:nvSpPr>
          <p:spPr>
            <a:xfrm rot="8716295">
              <a:off x="4488057" y="-10608"/>
              <a:ext cx="169580" cy="136116"/>
            </a:xfrm>
            <a:custGeom>
              <a:avLst/>
              <a:gdLst>
                <a:gd name="connsiteX0" fmla="*/ 62355 w 112042"/>
                <a:gd name="connsiteY0" fmla="*/ 89932 h 89932"/>
                <a:gd name="connsiteX1" fmla="*/ 0 w 112042"/>
                <a:gd name="connsiteY1" fmla="*/ 46710 h 89932"/>
                <a:gd name="connsiteX2" fmla="*/ 14231 w 112042"/>
                <a:gd name="connsiteY2" fmla="*/ 33321 h 89932"/>
                <a:gd name="connsiteX3" fmla="*/ 78722 w 112042"/>
                <a:gd name="connsiteY3" fmla="*/ 0 h 89932"/>
                <a:gd name="connsiteX4" fmla="*/ 112042 w 112042"/>
                <a:gd name="connsiteY4" fmla="*/ 39770 h 89932"/>
                <a:gd name="connsiteX5" fmla="*/ 80872 w 112042"/>
                <a:gd name="connsiteY5" fmla="*/ 81689 h 89932"/>
                <a:gd name="connsiteX6" fmla="*/ 81408 w 112042"/>
                <a:gd name="connsiteY6" fmla="*/ 81689 h 89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2042" h="89932">
                  <a:moveTo>
                    <a:pt x="62355" y="89932"/>
                  </a:moveTo>
                  <a:lnTo>
                    <a:pt x="0" y="46710"/>
                  </a:lnTo>
                  <a:lnTo>
                    <a:pt x="14231" y="33321"/>
                  </a:lnTo>
                  <a:cubicBezTo>
                    <a:pt x="30353" y="14511"/>
                    <a:pt x="53462" y="2687"/>
                    <a:pt x="78722" y="0"/>
                  </a:cubicBezTo>
                  <a:cubicBezTo>
                    <a:pt x="104518" y="0"/>
                    <a:pt x="112042" y="22572"/>
                    <a:pt x="112042" y="39770"/>
                  </a:cubicBezTo>
                  <a:cubicBezTo>
                    <a:pt x="110429" y="58580"/>
                    <a:pt x="98068" y="74165"/>
                    <a:pt x="80872" y="81689"/>
                  </a:cubicBezTo>
                  <a:lnTo>
                    <a:pt x="81408" y="816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1" name="Forme libre : forme 270">
              <a:extLst>
                <a:ext uri="{FF2B5EF4-FFF2-40B4-BE49-F238E27FC236}">
                  <a16:creationId xmlns:a16="http://schemas.microsoft.com/office/drawing/2014/main" id="{1EF7387F-9F93-4D5B-AD0B-A9B5B150D750}"/>
                </a:ext>
              </a:extLst>
            </p:cNvPr>
            <p:cNvSpPr/>
            <p:nvPr/>
          </p:nvSpPr>
          <p:spPr>
            <a:xfrm rot="8716295">
              <a:off x="3111565" y="373623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2" name="Forme libre : forme 271">
              <a:extLst>
                <a:ext uri="{FF2B5EF4-FFF2-40B4-BE49-F238E27FC236}">
                  <a16:creationId xmlns:a16="http://schemas.microsoft.com/office/drawing/2014/main" id="{B4768996-8D29-4ED8-9892-576EE6810B22}"/>
                </a:ext>
              </a:extLst>
            </p:cNvPr>
            <p:cNvSpPr/>
            <p:nvPr/>
          </p:nvSpPr>
          <p:spPr>
            <a:xfrm rot="8716295">
              <a:off x="3246864" y="378049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3" name="Forme libre : forme 272">
              <a:extLst>
                <a:ext uri="{FF2B5EF4-FFF2-40B4-BE49-F238E27FC236}">
                  <a16:creationId xmlns:a16="http://schemas.microsoft.com/office/drawing/2014/main" id="{303FB1DD-DCD5-4C62-8A14-00277F3DAA40}"/>
                </a:ext>
              </a:extLst>
            </p:cNvPr>
            <p:cNvSpPr/>
            <p:nvPr/>
          </p:nvSpPr>
          <p:spPr>
            <a:xfrm rot="8716295">
              <a:off x="3178981" y="3649901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4" name="Forme libre : forme 273">
              <a:extLst>
                <a:ext uri="{FF2B5EF4-FFF2-40B4-BE49-F238E27FC236}">
                  <a16:creationId xmlns:a16="http://schemas.microsoft.com/office/drawing/2014/main" id="{FE02E440-C3F4-4D87-B8DD-6EFE0A4EF84D}"/>
                </a:ext>
              </a:extLst>
            </p:cNvPr>
            <p:cNvSpPr/>
            <p:nvPr/>
          </p:nvSpPr>
          <p:spPr>
            <a:xfrm rot="8716295">
              <a:off x="2941694" y="387024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5" name="Forme libre : forme 274">
              <a:extLst>
                <a:ext uri="{FF2B5EF4-FFF2-40B4-BE49-F238E27FC236}">
                  <a16:creationId xmlns:a16="http://schemas.microsoft.com/office/drawing/2014/main" id="{79A8277D-0F31-4A40-BC3D-FDA2697AD79E}"/>
                </a:ext>
              </a:extLst>
            </p:cNvPr>
            <p:cNvSpPr/>
            <p:nvPr/>
          </p:nvSpPr>
          <p:spPr>
            <a:xfrm rot="8716295">
              <a:off x="2752648" y="355441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6" name="Forme libre : forme 275">
              <a:extLst>
                <a:ext uri="{FF2B5EF4-FFF2-40B4-BE49-F238E27FC236}">
                  <a16:creationId xmlns:a16="http://schemas.microsoft.com/office/drawing/2014/main" id="{FDF6C6F6-1950-4480-853C-710CE9CA14A1}"/>
                </a:ext>
              </a:extLst>
            </p:cNvPr>
            <p:cNvSpPr/>
            <p:nvPr/>
          </p:nvSpPr>
          <p:spPr>
            <a:xfrm rot="8716295">
              <a:off x="2734407" y="334436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7" name="Forme libre : forme 276">
              <a:extLst>
                <a:ext uri="{FF2B5EF4-FFF2-40B4-BE49-F238E27FC236}">
                  <a16:creationId xmlns:a16="http://schemas.microsoft.com/office/drawing/2014/main" id="{F7DE91C7-8472-4B32-8DA3-B40AD12704F7}"/>
                </a:ext>
              </a:extLst>
            </p:cNvPr>
            <p:cNvSpPr/>
            <p:nvPr/>
          </p:nvSpPr>
          <p:spPr>
            <a:xfrm rot="8716295">
              <a:off x="3078183" y="393222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8" name="Forme libre : forme 277">
              <a:extLst>
                <a:ext uri="{FF2B5EF4-FFF2-40B4-BE49-F238E27FC236}">
                  <a16:creationId xmlns:a16="http://schemas.microsoft.com/office/drawing/2014/main" id="{56FC047B-D272-4172-A288-45148C4BFE0D}"/>
                </a:ext>
              </a:extLst>
            </p:cNvPr>
            <p:cNvSpPr/>
            <p:nvPr/>
          </p:nvSpPr>
          <p:spPr>
            <a:xfrm rot="8716295">
              <a:off x="3549129" y="335761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9" name="Forme libre : forme 278">
              <a:extLst>
                <a:ext uri="{FF2B5EF4-FFF2-40B4-BE49-F238E27FC236}">
                  <a16:creationId xmlns:a16="http://schemas.microsoft.com/office/drawing/2014/main" id="{B13EC7A5-2676-4C63-B64E-8B2F38021996}"/>
                </a:ext>
              </a:extLst>
            </p:cNvPr>
            <p:cNvSpPr/>
            <p:nvPr/>
          </p:nvSpPr>
          <p:spPr>
            <a:xfrm rot="8716295">
              <a:off x="3684428" y="340187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0" name="Forme libre : forme 279">
              <a:extLst>
                <a:ext uri="{FF2B5EF4-FFF2-40B4-BE49-F238E27FC236}">
                  <a16:creationId xmlns:a16="http://schemas.microsoft.com/office/drawing/2014/main" id="{6ECF7C58-1973-4F69-8DD3-556AA77C8D04}"/>
                </a:ext>
              </a:extLst>
            </p:cNvPr>
            <p:cNvSpPr/>
            <p:nvPr/>
          </p:nvSpPr>
          <p:spPr>
            <a:xfrm rot="8716295">
              <a:off x="3379258" y="349163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1" name="Forme libre : forme 280">
              <a:extLst>
                <a:ext uri="{FF2B5EF4-FFF2-40B4-BE49-F238E27FC236}">
                  <a16:creationId xmlns:a16="http://schemas.microsoft.com/office/drawing/2014/main" id="{2B29EFE5-ACFF-4048-807E-18A0A68A503E}"/>
                </a:ext>
              </a:extLst>
            </p:cNvPr>
            <p:cNvSpPr/>
            <p:nvPr/>
          </p:nvSpPr>
          <p:spPr>
            <a:xfrm rot="8716295">
              <a:off x="3190213" y="317579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2" name="Forme libre : forme 281">
              <a:extLst>
                <a:ext uri="{FF2B5EF4-FFF2-40B4-BE49-F238E27FC236}">
                  <a16:creationId xmlns:a16="http://schemas.microsoft.com/office/drawing/2014/main" id="{09E572E1-09FC-45A6-A1BF-D06157BE552F}"/>
                </a:ext>
              </a:extLst>
            </p:cNvPr>
            <p:cNvSpPr/>
            <p:nvPr/>
          </p:nvSpPr>
          <p:spPr>
            <a:xfrm rot="8716295">
              <a:off x="3515746" y="3553613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3" name="Forme libre : forme 282">
              <a:extLst>
                <a:ext uri="{FF2B5EF4-FFF2-40B4-BE49-F238E27FC236}">
                  <a16:creationId xmlns:a16="http://schemas.microsoft.com/office/drawing/2014/main" id="{85DB8E68-2D02-4177-B998-21F4EDDAA547}"/>
                </a:ext>
              </a:extLst>
            </p:cNvPr>
            <p:cNvSpPr/>
            <p:nvPr/>
          </p:nvSpPr>
          <p:spPr>
            <a:xfrm rot="8716295">
              <a:off x="3150300" y="332718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4" name="Forme libre : forme 283">
              <a:extLst>
                <a:ext uri="{FF2B5EF4-FFF2-40B4-BE49-F238E27FC236}">
                  <a16:creationId xmlns:a16="http://schemas.microsoft.com/office/drawing/2014/main" id="{833C9746-3293-4FB8-8420-FBDB2ADD8FDE}"/>
                </a:ext>
              </a:extLst>
            </p:cNvPr>
            <p:cNvSpPr/>
            <p:nvPr/>
          </p:nvSpPr>
          <p:spPr>
            <a:xfrm rot="7484129">
              <a:off x="3674564" y="38432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5" name="Forme libre : forme 284">
              <a:extLst>
                <a:ext uri="{FF2B5EF4-FFF2-40B4-BE49-F238E27FC236}">
                  <a16:creationId xmlns:a16="http://schemas.microsoft.com/office/drawing/2014/main" id="{F36C90B8-C19D-40C0-9F6E-8BC40DAF6680}"/>
                </a:ext>
              </a:extLst>
            </p:cNvPr>
            <p:cNvSpPr/>
            <p:nvPr/>
          </p:nvSpPr>
          <p:spPr>
            <a:xfrm rot="13089394">
              <a:off x="3833214" y="3792578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6" name="Forme libre : forme 285">
              <a:extLst>
                <a:ext uri="{FF2B5EF4-FFF2-40B4-BE49-F238E27FC236}">
                  <a16:creationId xmlns:a16="http://schemas.microsoft.com/office/drawing/2014/main" id="{25D579E4-7F89-49C7-A73E-844BD68A125D}"/>
                </a:ext>
              </a:extLst>
            </p:cNvPr>
            <p:cNvSpPr/>
            <p:nvPr/>
          </p:nvSpPr>
          <p:spPr>
            <a:xfrm rot="8716295">
              <a:off x="4114105" y="3502461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7" name="Forme libre : forme 286">
              <a:extLst>
                <a:ext uri="{FF2B5EF4-FFF2-40B4-BE49-F238E27FC236}">
                  <a16:creationId xmlns:a16="http://schemas.microsoft.com/office/drawing/2014/main" id="{3F032AF9-E492-4124-9A15-3F5109B4E944}"/>
                </a:ext>
              </a:extLst>
            </p:cNvPr>
            <p:cNvSpPr/>
            <p:nvPr/>
          </p:nvSpPr>
          <p:spPr>
            <a:xfrm rot="8716295">
              <a:off x="4035696" y="334566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8" name="Forme libre : forme 287">
              <a:extLst>
                <a:ext uri="{FF2B5EF4-FFF2-40B4-BE49-F238E27FC236}">
                  <a16:creationId xmlns:a16="http://schemas.microsoft.com/office/drawing/2014/main" id="{AB866341-425E-43E2-A992-45F1B8F969FA}"/>
                </a:ext>
              </a:extLst>
            </p:cNvPr>
            <p:cNvSpPr/>
            <p:nvPr/>
          </p:nvSpPr>
          <p:spPr>
            <a:xfrm rot="8716295">
              <a:off x="3667532" y="339140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9" name="Forme libre : forme 288">
              <a:extLst>
                <a:ext uri="{FF2B5EF4-FFF2-40B4-BE49-F238E27FC236}">
                  <a16:creationId xmlns:a16="http://schemas.microsoft.com/office/drawing/2014/main" id="{6CDA98C5-481F-4686-9DE1-F1AA20FC6223}"/>
                </a:ext>
              </a:extLst>
            </p:cNvPr>
            <p:cNvSpPr/>
            <p:nvPr/>
          </p:nvSpPr>
          <p:spPr>
            <a:xfrm rot="8716295">
              <a:off x="3936113" y="315039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0" name="Forme libre : forme 289">
              <a:extLst>
                <a:ext uri="{FF2B5EF4-FFF2-40B4-BE49-F238E27FC236}">
                  <a16:creationId xmlns:a16="http://schemas.microsoft.com/office/drawing/2014/main" id="{13373414-24F1-4D1B-ADBB-1E220625DF7D}"/>
                </a:ext>
              </a:extLst>
            </p:cNvPr>
            <p:cNvSpPr/>
            <p:nvPr/>
          </p:nvSpPr>
          <p:spPr>
            <a:xfrm rot="8716295">
              <a:off x="3449338" y="4734714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1" name="Forme libre : forme 290">
              <a:extLst>
                <a:ext uri="{FF2B5EF4-FFF2-40B4-BE49-F238E27FC236}">
                  <a16:creationId xmlns:a16="http://schemas.microsoft.com/office/drawing/2014/main" id="{B70E33AD-70BB-4576-ADCA-5363A243B741}"/>
                </a:ext>
              </a:extLst>
            </p:cNvPr>
            <p:cNvSpPr/>
            <p:nvPr/>
          </p:nvSpPr>
          <p:spPr>
            <a:xfrm rot="8716295">
              <a:off x="3580975" y="4773824"/>
              <a:ext cx="394489" cy="383455"/>
            </a:xfrm>
            <a:custGeom>
              <a:avLst/>
              <a:gdLst>
                <a:gd name="connsiteX0" fmla="*/ 77932 w 394489"/>
                <a:gd name="connsiteY0" fmla="*/ 383455 h 383455"/>
                <a:gd name="connsiteX1" fmla="*/ 77932 w 394489"/>
                <a:gd name="connsiteY1" fmla="*/ 66898 h 383455"/>
                <a:gd name="connsiteX2" fmla="*/ 0 w 394489"/>
                <a:gd name="connsiteY2" fmla="*/ 66898 h 383455"/>
                <a:gd name="connsiteX3" fmla="*/ 0 w 394489"/>
                <a:gd name="connsiteY3" fmla="*/ 0 h 383455"/>
                <a:gd name="connsiteX4" fmla="*/ 158623 w 394489"/>
                <a:gd name="connsiteY4" fmla="*/ 0 h 383455"/>
                <a:gd name="connsiteX5" fmla="*/ 158623 w 394489"/>
                <a:gd name="connsiteY5" fmla="*/ 111726 h 383455"/>
                <a:gd name="connsiteX6" fmla="*/ 160692 w 394489"/>
                <a:gd name="connsiteY6" fmla="*/ 111726 h 383455"/>
                <a:gd name="connsiteX7" fmla="*/ 233107 w 394489"/>
                <a:gd name="connsiteY7" fmla="*/ 6897 h 383455"/>
                <a:gd name="connsiteX8" fmla="*/ 240854 w 394489"/>
                <a:gd name="connsiteY8" fmla="*/ 5438 h 383455"/>
                <a:gd name="connsiteX9" fmla="*/ 391511 w 394489"/>
                <a:gd name="connsiteY9" fmla="*/ 109868 h 383455"/>
                <a:gd name="connsiteX10" fmla="*/ 394489 w 394489"/>
                <a:gd name="connsiteY10" fmla="*/ 131726 h 383455"/>
                <a:gd name="connsiteX11" fmla="*/ 394489 w 394489"/>
                <a:gd name="connsiteY11" fmla="*/ 140692 h 383455"/>
                <a:gd name="connsiteX12" fmla="*/ 300695 w 394489"/>
                <a:gd name="connsiteY12" fmla="*/ 146210 h 383455"/>
                <a:gd name="connsiteX13" fmla="*/ 300695 w 394489"/>
                <a:gd name="connsiteY13" fmla="*/ 121382 h 383455"/>
                <a:gd name="connsiteX14" fmla="*/ 249659 w 394489"/>
                <a:gd name="connsiteY14" fmla="*/ 58622 h 383455"/>
                <a:gd name="connsiteX15" fmla="*/ 168969 w 394489"/>
                <a:gd name="connsiteY15" fmla="*/ 191038 h 383455"/>
                <a:gd name="connsiteX16" fmla="*/ 168969 w 394489"/>
                <a:gd name="connsiteY16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4489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82762" y="46208"/>
                    <a:pt x="200003" y="20690"/>
                    <a:pt x="233107" y="6897"/>
                  </a:cubicBezTo>
                  <a:lnTo>
                    <a:pt x="240854" y="5438"/>
                  </a:lnTo>
                  <a:lnTo>
                    <a:pt x="391511" y="109868"/>
                  </a:lnTo>
                  <a:lnTo>
                    <a:pt x="394489" y="131726"/>
                  </a:lnTo>
                  <a:lnTo>
                    <a:pt x="394489" y="140692"/>
                  </a:lnTo>
                  <a:lnTo>
                    <a:pt x="300695" y="146210"/>
                  </a:lnTo>
                  <a:lnTo>
                    <a:pt x="300695" y="121382"/>
                  </a:lnTo>
                  <a:cubicBezTo>
                    <a:pt x="300695" y="84140"/>
                    <a:pt x="279315" y="58621"/>
                    <a:pt x="249659" y="58622"/>
                  </a:cubicBezTo>
                  <a:cubicBezTo>
                    <a:pt x="205521" y="58622"/>
                    <a:pt x="168969" y="117244"/>
                    <a:pt x="168969" y="191038"/>
                  </a:cubicBez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2" name="Forme libre : forme 291">
              <a:extLst>
                <a:ext uri="{FF2B5EF4-FFF2-40B4-BE49-F238E27FC236}">
                  <a16:creationId xmlns:a16="http://schemas.microsoft.com/office/drawing/2014/main" id="{00B826E8-9537-4128-8AFA-9DB695ED94E7}"/>
                </a:ext>
              </a:extLst>
            </p:cNvPr>
            <p:cNvSpPr/>
            <p:nvPr/>
          </p:nvSpPr>
          <p:spPr>
            <a:xfrm rot="8716295">
              <a:off x="3516754" y="4648384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3" name="Forme libre : forme 292">
              <a:extLst>
                <a:ext uri="{FF2B5EF4-FFF2-40B4-BE49-F238E27FC236}">
                  <a16:creationId xmlns:a16="http://schemas.microsoft.com/office/drawing/2014/main" id="{FFE48F5E-5149-4118-92C8-4116821F574B}"/>
                </a:ext>
              </a:extLst>
            </p:cNvPr>
            <p:cNvSpPr/>
            <p:nvPr/>
          </p:nvSpPr>
          <p:spPr>
            <a:xfrm rot="8716295">
              <a:off x="3279467" y="486872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4" name="Forme libre : forme 293">
              <a:extLst>
                <a:ext uri="{FF2B5EF4-FFF2-40B4-BE49-F238E27FC236}">
                  <a16:creationId xmlns:a16="http://schemas.microsoft.com/office/drawing/2014/main" id="{890C4AC4-E0F9-4914-B99E-81FA866D2C0A}"/>
                </a:ext>
              </a:extLst>
            </p:cNvPr>
            <p:cNvSpPr/>
            <p:nvPr/>
          </p:nvSpPr>
          <p:spPr>
            <a:xfrm rot="8716295">
              <a:off x="3090421" y="455289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5" name="Forme libre : forme 294">
              <a:extLst>
                <a:ext uri="{FF2B5EF4-FFF2-40B4-BE49-F238E27FC236}">
                  <a16:creationId xmlns:a16="http://schemas.microsoft.com/office/drawing/2014/main" id="{9E7C0995-D53C-4E22-B438-2332B5C132C7}"/>
                </a:ext>
              </a:extLst>
            </p:cNvPr>
            <p:cNvSpPr/>
            <p:nvPr/>
          </p:nvSpPr>
          <p:spPr>
            <a:xfrm rot="8716295">
              <a:off x="3072180" y="434284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6" name="Forme libre : forme 295">
              <a:extLst>
                <a:ext uri="{FF2B5EF4-FFF2-40B4-BE49-F238E27FC236}">
                  <a16:creationId xmlns:a16="http://schemas.microsoft.com/office/drawing/2014/main" id="{B2DA7643-AE8F-4F78-929C-4968C3EC4902}"/>
                </a:ext>
              </a:extLst>
            </p:cNvPr>
            <p:cNvSpPr/>
            <p:nvPr/>
          </p:nvSpPr>
          <p:spPr>
            <a:xfrm rot="8716295">
              <a:off x="3388475" y="4959102"/>
              <a:ext cx="91035" cy="230894"/>
            </a:xfrm>
            <a:custGeom>
              <a:avLst/>
              <a:gdLst>
                <a:gd name="connsiteX0" fmla="*/ 91035 w 91035"/>
                <a:gd name="connsiteY0" fmla="*/ 230894 h 230894"/>
                <a:gd name="connsiteX1" fmla="*/ 0 w 91035"/>
                <a:gd name="connsiteY1" fmla="*/ 143306 h 230894"/>
                <a:gd name="connsiteX2" fmla="*/ 0 w 91035"/>
                <a:gd name="connsiteY2" fmla="*/ 0 h 230894"/>
                <a:gd name="connsiteX3" fmla="*/ 91035 w 91035"/>
                <a:gd name="connsiteY3" fmla="*/ 63103 h 230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230894">
                  <a:moveTo>
                    <a:pt x="91035" y="230894"/>
                  </a:moveTo>
                  <a:lnTo>
                    <a:pt x="0" y="143306"/>
                  </a:lnTo>
                  <a:lnTo>
                    <a:pt x="0" y="0"/>
                  </a:lnTo>
                  <a:lnTo>
                    <a:pt x="91035" y="631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7" name="Forme libre : forme 296">
              <a:extLst>
                <a:ext uri="{FF2B5EF4-FFF2-40B4-BE49-F238E27FC236}">
                  <a16:creationId xmlns:a16="http://schemas.microsoft.com/office/drawing/2014/main" id="{93603EC3-AC55-411D-BFDF-9FDB7506B4C7}"/>
                </a:ext>
              </a:extLst>
            </p:cNvPr>
            <p:cNvSpPr/>
            <p:nvPr/>
          </p:nvSpPr>
          <p:spPr>
            <a:xfrm rot="8716295">
              <a:off x="3886902" y="435609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8" name="Forme libre : forme 297">
              <a:extLst>
                <a:ext uri="{FF2B5EF4-FFF2-40B4-BE49-F238E27FC236}">
                  <a16:creationId xmlns:a16="http://schemas.microsoft.com/office/drawing/2014/main" id="{08CBBA4D-FF43-40D2-8BFA-84CB4DCCF31B}"/>
                </a:ext>
              </a:extLst>
            </p:cNvPr>
            <p:cNvSpPr/>
            <p:nvPr/>
          </p:nvSpPr>
          <p:spPr>
            <a:xfrm rot="8716295">
              <a:off x="4022201" y="440035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9" name="Forme libre : forme 298">
              <a:extLst>
                <a:ext uri="{FF2B5EF4-FFF2-40B4-BE49-F238E27FC236}">
                  <a16:creationId xmlns:a16="http://schemas.microsoft.com/office/drawing/2014/main" id="{835E253D-33C4-431B-B8C8-357E6AAC9C52}"/>
                </a:ext>
              </a:extLst>
            </p:cNvPr>
            <p:cNvSpPr/>
            <p:nvPr/>
          </p:nvSpPr>
          <p:spPr>
            <a:xfrm rot="8716295">
              <a:off x="3717031" y="44901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0" name="Forme libre : forme 299">
              <a:extLst>
                <a:ext uri="{FF2B5EF4-FFF2-40B4-BE49-F238E27FC236}">
                  <a16:creationId xmlns:a16="http://schemas.microsoft.com/office/drawing/2014/main" id="{22AF57EC-DC68-40A4-9C71-BCBD0C50FBE3}"/>
                </a:ext>
              </a:extLst>
            </p:cNvPr>
            <p:cNvSpPr/>
            <p:nvPr/>
          </p:nvSpPr>
          <p:spPr>
            <a:xfrm rot="8716295">
              <a:off x="3527986" y="417427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1" name="Forme libre : forme 300">
              <a:extLst>
                <a:ext uri="{FF2B5EF4-FFF2-40B4-BE49-F238E27FC236}">
                  <a16:creationId xmlns:a16="http://schemas.microsoft.com/office/drawing/2014/main" id="{7AC81511-7180-4392-A0BB-C0785E6FFDB2}"/>
                </a:ext>
              </a:extLst>
            </p:cNvPr>
            <p:cNvSpPr/>
            <p:nvPr/>
          </p:nvSpPr>
          <p:spPr>
            <a:xfrm rot="8716295">
              <a:off x="3853519" y="4552096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2" name="Forme libre : forme 301">
              <a:extLst>
                <a:ext uri="{FF2B5EF4-FFF2-40B4-BE49-F238E27FC236}">
                  <a16:creationId xmlns:a16="http://schemas.microsoft.com/office/drawing/2014/main" id="{1EACC1C7-884B-4139-9EC6-9BA9AA34D223}"/>
                </a:ext>
              </a:extLst>
            </p:cNvPr>
            <p:cNvSpPr/>
            <p:nvPr/>
          </p:nvSpPr>
          <p:spPr>
            <a:xfrm rot="8716295">
              <a:off x="3488073" y="432567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3" name="Forme libre : forme 302">
              <a:extLst>
                <a:ext uri="{FF2B5EF4-FFF2-40B4-BE49-F238E27FC236}">
                  <a16:creationId xmlns:a16="http://schemas.microsoft.com/office/drawing/2014/main" id="{8A54AD41-7272-4697-A5DB-CEFCE19789FC}"/>
                </a:ext>
              </a:extLst>
            </p:cNvPr>
            <p:cNvSpPr/>
            <p:nvPr/>
          </p:nvSpPr>
          <p:spPr>
            <a:xfrm rot="7484129">
              <a:off x="4016569" y="4837237"/>
              <a:ext cx="295167" cy="296463"/>
            </a:xfrm>
            <a:custGeom>
              <a:avLst/>
              <a:gdLst>
                <a:gd name="connsiteX0" fmla="*/ 137293 w 295167"/>
                <a:gd name="connsiteY0" fmla="*/ 296463 h 296463"/>
                <a:gd name="connsiteX1" fmla="*/ 72418 w 295167"/>
                <a:gd name="connsiteY1" fmla="*/ 175766 h 296463"/>
                <a:gd name="connsiteX2" fmla="*/ 105610 w 295167"/>
                <a:gd name="connsiteY2" fmla="*/ 83734 h 296463"/>
                <a:gd name="connsiteX3" fmla="*/ 0 w 295167"/>
                <a:gd name="connsiteY3" fmla="*/ 83734 h 296463"/>
                <a:gd name="connsiteX4" fmla="*/ 0 w 295167"/>
                <a:gd name="connsiteY4" fmla="*/ 0 h 296463"/>
                <a:gd name="connsiteX5" fmla="*/ 237110 w 295167"/>
                <a:gd name="connsiteY5" fmla="*/ 0 h 296463"/>
                <a:gd name="connsiteX6" fmla="*/ 295167 w 295167"/>
                <a:gd name="connsiteY6" fmla="*/ 83734 h 296463"/>
                <a:gd name="connsiteX7" fmla="*/ 210466 w 295167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5167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37110" y="0"/>
                  </a:lnTo>
                  <a:lnTo>
                    <a:pt x="295167" y="83734"/>
                  </a:lnTo>
                  <a:lnTo>
                    <a:pt x="210466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4" name="Forme libre : forme 303">
              <a:extLst>
                <a:ext uri="{FF2B5EF4-FFF2-40B4-BE49-F238E27FC236}">
                  <a16:creationId xmlns:a16="http://schemas.microsoft.com/office/drawing/2014/main" id="{B0BB4A2B-6236-4AB8-8AEF-499FEFD9934C}"/>
                </a:ext>
              </a:extLst>
            </p:cNvPr>
            <p:cNvSpPr/>
            <p:nvPr/>
          </p:nvSpPr>
          <p:spPr>
            <a:xfrm rot="13089394">
              <a:off x="4226447" y="4804985"/>
              <a:ext cx="412568" cy="314062"/>
            </a:xfrm>
            <a:custGeom>
              <a:avLst/>
              <a:gdLst>
                <a:gd name="connsiteX0" fmla="*/ 412568 w 412568"/>
                <a:gd name="connsiteY0" fmla="*/ 206915 h 314062"/>
                <a:gd name="connsiteX1" fmla="*/ 138636 w 412568"/>
                <a:gd name="connsiteY1" fmla="*/ 313815 h 314062"/>
                <a:gd name="connsiteX2" fmla="*/ 35911 w 412568"/>
                <a:gd name="connsiteY2" fmla="*/ 272057 h 314062"/>
                <a:gd name="connsiteX3" fmla="*/ 0 w 412568"/>
                <a:gd name="connsiteY3" fmla="*/ 128410 h 314062"/>
                <a:gd name="connsiteX4" fmla="*/ 0 w 412568"/>
                <a:gd name="connsiteY4" fmla="*/ 88308 h 314062"/>
                <a:gd name="connsiteX5" fmla="*/ 112395 w 412568"/>
                <a:gd name="connsiteY5" fmla="*/ 0 h 314062"/>
                <a:gd name="connsiteX6" fmla="*/ 112747 w 412568"/>
                <a:gd name="connsiteY6" fmla="*/ 49070 h 314062"/>
                <a:gd name="connsiteX7" fmla="*/ 132789 w 412568"/>
                <a:gd name="connsiteY7" fmla="*/ 187707 h 314062"/>
                <a:gd name="connsiteX8" fmla="*/ 233008 w 412568"/>
                <a:gd name="connsiteY8" fmla="*/ 242827 h 314062"/>
                <a:gd name="connsiteX9" fmla="*/ 308172 w 412568"/>
                <a:gd name="connsiteY9" fmla="*/ 229465 h 314062"/>
                <a:gd name="connsiteX10" fmla="*/ 410898 w 412568"/>
                <a:gd name="connsiteY10" fmla="*/ 187707 h 314062"/>
                <a:gd name="connsiteX11" fmla="*/ 412568 w 412568"/>
                <a:gd name="connsiteY11" fmla="*/ 198563 h 314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2568" h="314062">
                  <a:moveTo>
                    <a:pt x="412568" y="206915"/>
                  </a:moveTo>
                  <a:cubicBezTo>
                    <a:pt x="324041" y="282914"/>
                    <a:pt x="207954" y="309640"/>
                    <a:pt x="138636" y="313815"/>
                  </a:cubicBezTo>
                  <a:cubicBezTo>
                    <a:pt x="100219" y="316321"/>
                    <a:pt x="62637" y="299618"/>
                    <a:pt x="35911" y="272057"/>
                  </a:cubicBezTo>
                  <a:cubicBezTo>
                    <a:pt x="7516" y="244497"/>
                    <a:pt x="0" y="196893"/>
                    <a:pt x="0" y="128410"/>
                  </a:cubicBezTo>
                  <a:lnTo>
                    <a:pt x="0" y="88308"/>
                  </a:lnTo>
                  <a:lnTo>
                    <a:pt x="112395" y="0"/>
                  </a:lnTo>
                  <a:lnTo>
                    <a:pt x="112747" y="49070"/>
                  </a:lnTo>
                  <a:cubicBezTo>
                    <a:pt x="110241" y="95839"/>
                    <a:pt x="117756" y="143443"/>
                    <a:pt x="132789" y="187707"/>
                  </a:cubicBezTo>
                  <a:cubicBezTo>
                    <a:pt x="146153" y="224453"/>
                    <a:pt x="180394" y="242827"/>
                    <a:pt x="233008" y="242827"/>
                  </a:cubicBezTo>
                  <a:cubicBezTo>
                    <a:pt x="258899" y="241992"/>
                    <a:pt x="283953" y="236980"/>
                    <a:pt x="308172" y="229465"/>
                  </a:cubicBezTo>
                  <a:cubicBezTo>
                    <a:pt x="343249" y="218607"/>
                    <a:pt x="377491" y="204410"/>
                    <a:pt x="410898" y="187707"/>
                  </a:cubicBezTo>
                  <a:cubicBezTo>
                    <a:pt x="411732" y="191047"/>
                    <a:pt x="412568" y="195223"/>
                    <a:pt x="412568" y="1985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5" name="Forme libre : forme 304">
              <a:extLst>
                <a:ext uri="{FF2B5EF4-FFF2-40B4-BE49-F238E27FC236}">
                  <a16:creationId xmlns:a16="http://schemas.microsoft.com/office/drawing/2014/main" id="{41417B88-C9BD-4BA9-91EE-73AA587DB73F}"/>
                </a:ext>
              </a:extLst>
            </p:cNvPr>
            <p:cNvSpPr/>
            <p:nvPr/>
          </p:nvSpPr>
          <p:spPr>
            <a:xfrm rot="8716295">
              <a:off x="4451878" y="4500944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6" name="Forme libre : forme 305">
              <a:extLst>
                <a:ext uri="{FF2B5EF4-FFF2-40B4-BE49-F238E27FC236}">
                  <a16:creationId xmlns:a16="http://schemas.microsoft.com/office/drawing/2014/main" id="{BE88A8B4-3593-449C-B0AC-26CECAA3950B}"/>
                </a:ext>
              </a:extLst>
            </p:cNvPr>
            <p:cNvSpPr/>
            <p:nvPr/>
          </p:nvSpPr>
          <p:spPr>
            <a:xfrm rot="8716295">
              <a:off x="4373469" y="434415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7" name="Forme libre : forme 306">
              <a:extLst>
                <a:ext uri="{FF2B5EF4-FFF2-40B4-BE49-F238E27FC236}">
                  <a16:creationId xmlns:a16="http://schemas.microsoft.com/office/drawing/2014/main" id="{3E1F62FF-668F-4B24-81E3-7F413DC37761}"/>
                </a:ext>
              </a:extLst>
            </p:cNvPr>
            <p:cNvSpPr/>
            <p:nvPr/>
          </p:nvSpPr>
          <p:spPr>
            <a:xfrm rot="8716295">
              <a:off x="4005305" y="438989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8" name="Forme libre : forme 307">
              <a:extLst>
                <a:ext uri="{FF2B5EF4-FFF2-40B4-BE49-F238E27FC236}">
                  <a16:creationId xmlns:a16="http://schemas.microsoft.com/office/drawing/2014/main" id="{271936E6-CFC4-4CBF-80D3-0DD03A6DA43A}"/>
                </a:ext>
              </a:extLst>
            </p:cNvPr>
            <p:cNvSpPr/>
            <p:nvPr/>
          </p:nvSpPr>
          <p:spPr>
            <a:xfrm rot="8716295">
              <a:off x="4273886" y="414887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9" name="Forme libre : forme 308">
              <a:extLst>
                <a:ext uri="{FF2B5EF4-FFF2-40B4-BE49-F238E27FC236}">
                  <a16:creationId xmlns:a16="http://schemas.microsoft.com/office/drawing/2014/main" id="{BA906EC6-3DC5-4DE2-8F95-209D99503493}"/>
                </a:ext>
              </a:extLst>
            </p:cNvPr>
            <p:cNvSpPr/>
            <p:nvPr/>
          </p:nvSpPr>
          <p:spPr>
            <a:xfrm rot="8716295">
              <a:off x="2776288" y="273581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0" name="Forme libre : forme 309">
              <a:extLst>
                <a:ext uri="{FF2B5EF4-FFF2-40B4-BE49-F238E27FC236}">
                  <a16:creationId xmlns:a16="http://schemas.microsoft.com/office/drawing/2014/main" id="{86353AD3-86B9-454E-8316-ED48EDD5C43A}"/>
                </a:ext>
              </a:extLst>
            </p:cNvPr>
            <p:cNvSpPr/>
            <p:nvPr/>
          </p:nvSpPr>
          <p:spPr>
            <a:xfrm rot="8716295">
              <a:off x="2911587" y="278007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1" name="Forme libre : forme 310">
              <a:extLst>
                <a:ext uri="{FF2B5EF4-FFF2-40B4-BE49-F238E27FC236}">
                  <a16:creationId xmlns:a16="http://schemas.microsoft.com/office/drawing/2014/main" id="{0B2A58FB-010E-417B-8E1C-9997876763AE}"/>
                </a:ext>
              </a:extLst>
            </p:cNvPr>
            <p:cNvSpPr/>
            <p:nvPr/>
          </p:nvSpPr>
          <p:spPr>
            <a:xfrm rot="8716295">
              <a:off x="2843704" y="2649488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2" name="Forme libre : forme 311">
              <a:extLst>
                <a:ext uri="{FF2B5EF4-FFF2-40B4-BE49-F238E27FC236}">
                  <a16:creationId xmlns:a16="http://schemas.microsoft.com/office/drawing/2014/main" id="{487219BD-DC26-4E15-BDA1-CA5CCE916C41}"/>
                </a:ext>
              </a:extLst>
            </p:cNvPr>
            <p:cNvSpPr/>
            <p:nvPr/>
          </p:nvSpPr>
          <p:spPr>
            <a:xfrm rot="8716295">
              <a:off x="2606417" y="286983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3" name="Forme libre : forme 312">
              <a:extLst>
                <a:ext uri="{FF2B5EF4-FFF2-40B4-BE49-F238E27FC236}">
                  <a16:creationId xmlns:a16="http://schemas.microsoft.com/office/drawing/2014/main" id="{E49C695E-663D-4558-8A6D-FAB5771CCDF7}"/>
                </a:ext>
              </a:extLst>
            </p:cNvPr>
            <p:cNvSpPr/>
            <p:nvPr/>
          </p:nvSpPr>
          <p:spPr>
            <a:xfrm rot="8716295">
              <a:off x="2417371" y="255399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4" name="Forme libre : forme 313">
              <a:extLst>
                <a:ext uri="{FF2B5EF4-FFF2-40B4-BE49-F238E27FC236}">
                  <a16:creationId xmlns:a16="http://schemas.microsoft.com/office/drawing/2014/main" id="{33F36FCD-6977-4A63-8D14-D1E1625E9D31}"/>
                </a:ext>
              </a:extLst>
            </p:cNvPr>
            <p:cNvSpPr/>
            <p:nvPr/>
          </p:nvSpPr>
          <p:spPr>
            <a:xfrm rot="8716295">
              <a:off x="2399130" y="2343948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5" name="Forme libre : forme 314">
              <a:extLst>
                <a:ext uri="{FF2B5EF4-FFF2-40B4-BE49-F238E27FC236}">
                  <a16:creationId xmlns:a16="http://schemas.microsoft.com/office/drawing/2014/main" id="{B3474DC3-02FE-406E-A9DB-66680A910D3C}"/>
                </a:ext>
              </a:extLst>
            </p:cNvPr>
            <p:cNvSpPr/>
            <p:nvPr/>
          </p:nvSpPr>
          <p:spPr>
            <a:xfrm rot="8716295">
              <a:off x="2742905" y="293181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6" name="Forme libre : forme 315">
              <a:extLst>
                <a:ext uri="{FF2B5EF4-FFF2-40B4-BE49-F238E27FC236}">
                  <a16:creationId xmlns:a16="http://schemas.microsoft.com/office/drawing/2014/main" id="{A49C2E0F-EE8D-44EF-9BA8-BEBCE07245A7}"/>
                </a:ext>
              </a:extLst>
            </p:cNvPr>
            <p:cNvSpPr/>
            <p:nvPr/>
          </p:nvSpPr>
          <p:spPr>
            <a:xfrm rot="8716295">
              <a:off x="3213852" y="235720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7" name="Forme libre : forme 316">
              <a:extLst>
                <a:ext uri="{FF2B5EF4-FFF2-40B4-BE49-F238E27FC236}">
                  <a16:creationId xmlns:a16="http://schemas.microsoft.com/office/drawing/2014/main" id="{F24F931D-D0BA-4754-8EFA-1E41547520B4}"/>
                </a:ext>
              </a:extLst>
            </p:cNvPr>
            <p:cNvSpPr/>
            <p:nvPr/>
          </p:nvSpPr>
          <p:spPr>
            <a:xfrm rot="8716295">
              <a:off x="3349151" y="240146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8" name="Forme libre : forme 317">
              <a:extLst>
                <a:ext uri="{FF2B5EF4-FFF2-40B4-BE49-F238E27FC236}">
                  <a16:creationId xmlns:a16="http://schemas.microsoft.com/office/drawing/2014/main" id="{77E8D478-ED04-4063-AB60-82AA395CE7E1}"/>
                </a:ext>
              </a:extLst>
            </p:cNvPr>
            <p:cNvSpPr/>
            <p:nvPr/>
          </p:nvSpPr>
          <p:spPr>
            <a:xfrm rot="8716295">
              <a:off x="3043981" y="249121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9" name="Forme libre : forme 318">
              <a:extLst>
                <a:ext uri="{FF2B5EF4-FFF2-40B4-BE49-F238E27FC236}">
                  <a16:creationId xmlns:a16="http://schemas.microsoft.com/office/drawing/2014/main" id="{D68F4A66-E6DC-4D6F-A05F-B0ED1AAF9752}"/>
                </a:ext>
              </a:extLst>
            </p:cNvPr>
            <p:cNvSpPr/>
            <p:nvPr/>
          </p:nvSpPr>
          <p:spPr>
            <a:xfrm rot="8716295">
              <a:off x="2854936" y="217538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0" name="Forme libre : forme 319">
              <a:extLst>
                <a:ext uri="{FF2B5EF4-FFF2-40B4-BE49-F238E27FC236}">
                  <a16:creationId xmlns:a16="http://schemas.microsoft.com/office/drawing/2014/main" id="{2E7E02DC-19A7-4427-8DD0-9CBD70741C55}"/>
                </a:ext>
              </a:extLst>
            </p:cNvPr>
            <p:cNvSpPr/>
            <p:nvPr/>
          </p:nvSpPr>
          <p:spPr>
            <a:xfrm rot="8716295">
              <a:off x="3180469" y="255320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1" name="Forme libre : forme 320">
              <a:extLst>
                <a:ext uri="{FF2B5EF4-FFF2-40B4-BE49-F238E27FC236}">
                  <a16:creationId xmlns:a16="http://schemas.microsoft.com/office/drawing/2014/main" id="{5F22C34B-662E-4288-A98A-07600645D826}"/>
                </a:ext>
              </a:extLst>
            </p:cNvPr>
            <p:cNvSpPr/>
            <p:nvPr/>
          </p:nvSpPr>
          <p:spPr>
            <a:xfrm rot="8716295">
              <a:off x="2815023" y="232677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2" name="Forme libre : forme 321">
              <a:extLst>
                <a:ext uri="{FF2B5EF4-FFF2-40B4-BE49-F238E27FC236}">
                  <a16:creationId xmlns:a16="http://schemas.microsoft.com/office/drawing/2014/main" id="{F9C4954F-8E31-441D-8E0D-8B0514C0CCEA}"/>
                </a:ext>
              </a:extLst>
            </p:cNvPr>
            <p:cNvSpPr/>
            <p:nvPr/>
          </p:nvSpPr>
          <p:spPr>
            <a:xfrm rot="7484129">
              <a:off x="3339287" y="284281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3" name="Forme libre : forme 322">
              <a:extLst>
                <a:ext uri="{FF2B5EF4-FFF2-40B4-BE49-F238E27FC236}">
                  <a16:creationId xmlns:a16="http://schemas.microsoft.com/office/drawing/2014/main" id="{96BDAC49-7C90-455C-A6A8-F21767004646}"/>
                </a:ext>
              </a:extLst>
            </p:cNvPr>
            <p:cNvSpPr/>
            <p:nvPr/>
          </p:nvSpPr>
          <p:spPr>
            <a:xfrm rot="13089394">
              <a:off x="3497937" y="279216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4" name="Forme libre : forme 323">
              <a:extLst>
                <a:ext uri="{FF2B5EF4-FFF2-40B4-BE49-F238E27FC236}">
                  <a16:creationId xmlns:a16="http://schemas.microsoft.com/office/drawing/2014/main" id="{EE32A375-D70E-46A2-83EF-D2C25C11FC27}"/>
                </a:ext>
              </a:extLst>
            </p:cNvPr>
            <p:cNvSpPr/>
            <p:nvPr/>
          </p:nvSpPr>
          <p:spPr>
            <a:xfrm rot="8716295">
              <a:off x="3778828" y="2502048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5" name="Forme libre : forme 324">
              <a:extLst>
                <a:ext uri="{FF2B5EF4-FFF2-40B4-BE49-F238E27FC236}">
                  <a16:creationId xmlns:a16="http://schemas.microsoft.com/office/drawing/2014/main" id="{1FF92686-85A8-4017-922B-2458FE401EB8}"/>
                </a:ext>
              </a:extLst>
            </p:cNvPr>
            <p:cNvSpPr/>
            <p:nvPr/>
          </p:nvSpPr>
          <p:spPr>
            <a:xfrm rot="8716295">
              <a:off x="3700418" y="234525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6" name="Forme libre : forme 325">
              <a:extLst>
                <a:ext uri="{FF2B5EF4-FFF2-40B4-BE49-F238E27FC236}">
                  <a16:creationId xmlns:a16="http://schemas.microsoft.com/office/drawing/2014/main" id="{D45E52B0-C4FD-4155-A0DD-45195433970C}"/>
                </a:ext>
              </a:extLst>
            </p:cNvPr>
            <p:cNvSpPr/>
            <p:nvPr/>
          </p:nvSpPr>
          <p:spPr>
            <a:xfrm rot="8716295">
              <a:off x="3332255" y="239099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7" name="Forme libre : forme 326">
              <a:extLst>
                <a:ext uri="{FF2B5EF4-FFF2-40B4-BE49-F238E27FC236}">
                  <a16:creationId xmlns:a16="http://schemas.microsoft.com/office/drawing/2014/main" id="{F21AB6E7-AC7E-4350-A5BF-CDF7EE2573C5}"/>
                </a:ext>
              </a:extLst>
            </p:cNvPr>
            <p:cNvSpPr/>
            <p:nvPr/>
          </p:nvSpPr>
          <p:spPr>
            <a:xfrm rot="8716295">
              <a:off x="3600836" y="214997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8" name="Forme libre : forme 327">
              <a:extLst>
                <a:ext uri="{FF2B5EF4-FFF2-40B4-BE49-F238E27FC236}">
                  <a16:creationId xmlns:a16="http://schemas.microsoft.com/office/drawing/2014/main" id="{81ADFF02-63EB-4A30-B800-167FCE598798}"/>
                </a:ext>
              </a:extLst>
            </p:cNvPr>
            <p:cNvSpPr/>
            <p:nvPr/>
          </p:nvSpPr>
          <p:spPr>
            <a:xfrm rot="8716295">
              <a:off x="2438515" y="173733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9" name="Forme libre : forme 328">
              <a:extLst>
                <a:ext uri="{FF2B5EF4-FFF2-40B4-BE49-F238E27FC236}">
                  <a16:creationId xmlns:a16="http://schemas.microsoft.com/office/drawing/2014/main" id="{FEEE40D0-1ED4-4D89-A553-8246351195B7}"/>
                </a:ext>
              </a:extLst>
            </p:cNvPr>
            <p:cNvSpPr/>
            <p:nvPr/>
          </p:nvSpPr>
          <p:spPr>
            <a:xfrm rot="8716295">
              <a:off x="2573814" y="178159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0" name="Forme libre : forme 329">
              <a:extLst>
                <a:ext uri="{FF2B5EF4-FFF2-40B4-BE49-F238E27FC236}">
                  <a16:creationId xmlns:a16="http://schemas.microsoft.com/office/drawing/2014/main" id="{AA5B5D88-69C3-43FC-A9FF-1BC20CA01055}"/>
                </a:ext>
              </a:extLst>
            </p:cNvPr>
            <p:cNvSpPr/>
            <p:nvPr/>
          </p:nvSpPr>
          <p:spPr>
            <a:xfrm rot="8716295">
              <a:off x="2505931" y="1651005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1" name="Forme libre : forme 330">
              <a:extLst>
                <a:ext uri="{FF2B5EF4-FFF2-40B4-BE49-F238E27FC236}">
                  <a16:creationId xmlns:a16="http://schemas.microsoft.com/office/drawing/2014/main" id="{3433A715-4852-4C6F-BD57-E5BFC48256EE}"/>
                </a:ext>
              </a:extLst>
            </p:cNvPr>
            <p:cNvSpPr/>
            <p:nvPr/>
          </p:nvSpPr>
          <p:spPr>
            <a:xfrm rot="8716295">
              <a:off x="2268644" y="187135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2" name="Forme libre : forme 331">
              <a:extLst>
                <a:ext uri="{FF2B5EF4-FFF2-40B4-BE49-F238E27FC236}">
                  <a16:creationId xmlns:a16="http://schemas.microsoft.com/office/drawing/2014/main" id="{AA3826BF-36B5-4F42-9A9C-0857F8AFC9E9}"/>
                </a:ext>
              </a:extLst>
            </p:cNvPr>
            <p:cNvSpPr/>
            <p:nvPr/>
          </p:nvSpPr>
          <p:spPr>
            <a:xfrm rot="8716295">
              <a:off x="2079598" y="155551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3" name="Forme libre : forme 332">
              <a:extLst>
                <a:ext uri="{FF2B5EF4-FFF2-40B4-BE49-F238E27FC236}">
                  <a16:creationId xmlns:a16="http://schemas.microsoft.com/office/drawing/2014/main" id="{6B18E7D7-D7AA-4E20-850E-3799436161FA}"/>
                </a:ext>
              </a:extLst>
            </p:cNvPr>
            <p:cNvSpPr/>
            <p:nvPr/>
          </p:nvSpPr>
          <p:spPr>
            <a:xfrm rot="8716295">
              <a:off x="2061357" y="1345465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4" name="Forme libre : forme 333">
              <a:extLst>
                <a:ext uri="{FF2B5EF4-FFF2-40B4-BE49-F238E27FC236}">
                  <a16:creationId xmlns:a16="http://schemas.microsoft.com/office/drawing/2014/main" id="{43032E37-9C7A-492A-8A2C-109CA7245F5F}"/>
                </a:ext>
              </a:extLst>
            </p:cNvPr>
            <p:cNvSpPr/>
            <p:nvPr/>
          </p:nvSpPr>
          <p:spPr>
            <a:xfrm rot="8716295">
              <a:off x="2405132" y="1933333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5" name="Forme libre : forme 334">
              <a:extLst>
                <a:ext uri="{FF2B5EF4-FFF2-40B4-BE49-F238E27FC236}">
                  <a16:creationId xmlns:a16="http://schemas.microsoft.com/office/drawing/2014/main" id="{17B53965-E3A1-4010-BB29-B66E80C0AA24}"/>
                </a:ext>
              </a:extLst>
            </p:cNvPr>
            <p:cNvSpPr/>
            <p:nvPr/>
          </p:nvSpPr>
          <p:spPr>
            <a:xfrm rot="8716295">
              <a:off x="2876079" y="135871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6" name="Forme libre : forme 335">
              <a:extLst>
                <a:ext uri="{FF2B5EF4-FFF2-40B4-BE49-F238E27FC236}">
                  <a16:creationId xmlns:a16="http://schemas.microsoft.com/office/drawing/2014/main" id="{5A10F28E-8329-4CB2-9E8E-AF5ADC5D984D}"/>
                </a:ext>
              </a:extLst>
            </p:cNvPr>
            <p:cNvSpPr/>
            <p:nvPr/>
          </p:nvSpPr>
          <p:spPr>
            <a:xfrm rot="8716295">
              <a:off x="3011378" y="140297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7" name="Forme libre : forme 336">
              <a:extLst>
                <a:ext uri="{FF2B5EF4-FFF2-40B4-BE49-F238E27FC236}">
                  <a16:creationId xmlns:a16="http://schemas.microsoft.com/office/drawing/2014/main" id="{A3E6B7D3-30F0-4F00-9AE4-FB7C5336C17B}"/>
                </a:ext>
              </a:extLst>
            </p:cNvPr>
            <p:cNvSpPr/>
            <p:nvPr/>
          </p:nvSpPr>
          <p:spPr>
            <a:xfrm rot="8716295">
              <a:off x="2706208" y="14927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8" name="Forme libre : forme 337">
              <a:extLst>
                <a:ext uri="{FF2B5EF4-FFF2-40B4-BE49-F238E27FC236}">
                  <a16:creationId xmlns:a16="http://schemas.microsoft.com/office/drawing/2014/main" id="{632D1FEF-F08F-4C8C-8E0E-3985E6CFB126}"/>
                </a:ext>
              </a:extLst>
            </p:cNvPr>
            <p:cNvSpPr/>
            <p:nvPr/>
          </p:nvSpPr>
          <p:spPr>
            <a:xfrm rot="8716295">
              <a:off x="2517163" y="11768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9" name="Forme libre : forme 338">
              <a:extLst>
                <a:ext uri="{FF2B5EF4-FFF2-40B4-BE49-F238E27FC236}">
                  <a16:creationId xmlns:a16="http://schemas.microsoft.com/office/drawing/2014/main" id="{12813E1E-715D-4101-9BCD-409373887F04}"/>
                </a:ext>
              </a:extLst>
            </p:cNvPr>
            <p:cNvSpPr/>
            <p:nvPr/>
          </p:nvSpPr>
          <p:spPr>
            <a:xfrm rot="8716295">
              <a:off x="2842696" y="1554717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0" name="Forme libre : forme 339">
              <a:extLst>
                <a:ext uri="{FF2B5EF4-FFF2-40B4-BE49-F238E27FC236}">
                  <a16:creationId xmlns:a16="http://schemas.microsoft.com/office/drawing/2014/main" id="{AA2FCEEA-252F-42A1-A6F0-2BDC14E98266}"/>
                </a:ext>
              </a:extLst>
            </p:cNvPr>
            <p:cNvSpPr/>
            <p:nvPr/>
          </p:nvSpPr>
          <p:spPr>
            <a:xfrm rot="8716295">
              <a:off x="2477250" y="1328291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1" name="Forme libre : forme 340">
              <a:extLst>
                <a:ext uri="{FF2B5EF4-FFF2-40B4-BE49-F238E27FC236}">
                  <a16:creationId xmlns:a16="http://schemas.microsoft.com/office/drawing/2014/main" id="{884AD109-F04C-43C6-A88C-32CD36BAA4FA}"/>
                </a:ext>
              </a:extLst>
            </p:cNvPr>
            <p:cNvSpPr/>
            <p:nvPr/>
          </p:nvSpPr>
          <p:spPr>
            <a:xfrm rot="7484129">
              <a:off x="3001514" y="184433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2" name="Forme libre : forme 341">
              <a:extLst>
                <a:ext uri="{FF2B5EF4-FFF2-40B4-BE49-F238E27FC236}">
                  <a16:creationId xmlns:a16="http://schemas.microsoft.com/office/drawing/2014/main" id="{E48D40E2-82AD-4B99-AF4E-871FA4B10FDC}"/>
                </a:ext>
              </a:extLst>
            </p:cNvPr>
            <p:cNvSpPr/>
            <p:nvPr/>
          </p:nvSpPr>
          <p:spPr>
            <a:xfrm rot="13089394">
              <a:off x="3160164" y="1793683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3" name="Forme libre : forme 342">
              <a:extLst>
                <a:ext uri="{FF2B5EF4-FFF2-40B4-BE49-F238E27FC236}">
                  <a16:creationId xmlns:a16="http://schemas.microsoft.com/office/drawing/2014/main" id="{5110A4C9-803C-4F01-A8FB-E8911DB784FA}"/>
                </a:ext>
              </a:extLst>
            </p:cNvPr>
            <p:cNvSpPr/>
            <p:nvPr/>
          </p:nvSpPr>
          <p:spPr>
            <a:xfrm rot="8716295">
              <a:off x="3441055" y="1503565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4" name="Forme libre : forme 343">
              <a:extLst>
                <a:ext uri="{FF2B5EF4-FFF2-40B4-BE49-F238E27FC236}">
                  <a16:creationId xmlns:a16="http://schemas.microsoft.com/office/drawing/2014/main" id="{4B71D1CA-954E-40F5-BAE1-391BC7E00EAC}"/>
                </a:ext>
              </a:extLst>
            </p:cNvPr>
            <p:cNvSpPr/>
            <p:nvPr/>
          </p:nvSpPr>
          <p:spPr>
            <a:xfrm rot="8716295">
              <a:off x="3362645" y="134677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5" name="Forme libre : forme 344">
              <a:extLst>
                <a:ext uri="{FF2B5EF4-FFF2-40B4-BE49-F238E27FC236}">
                  <a16:creationId xmlns:a16="http://schemas.microsoft.com/office/drawing/2014/main" id="{778C13D4-A0D9-47A6-97AC-A7265054F880}"/>
                </a:ext>
              </a:extLst>
            </p:cNvPr>
            <p:cNvSpPr/>
            <p:nvPr/>
          </p:nvSpPr>
          <p:spPr>
            <a:xfrm rot="8716295">
              <a:off x="2994482" y="13925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6" name="Forme libre : forme 345">
              <a:extLst>
                <a:ext uri="{FF2B5EF4-FFF2-40B4-BE49-F238E27FC236}">
                  <a16:creationId xmlns:a16="http://schemas.microsoft.com/office/drawing/2014/main" id="{018BC788-46BE-420C-AA9D-351862A75FA9}"/>
                </a:ext>
              </a:extLst>
            </p:cNvPr>
            <p:cNvSpPr/>
            <p:nvPr/>
          </p:nvSpPr>
          <p:spPr>
            <a:xfrm rot="8716295">
              <a:off x="3263063" y="115149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7" name="Forme libre : forme 346">
              <a:extLst>
                <a:ext uri="{FF2B5EF4-FFF2-40B4-BE49-F238E27FC236}">
                  <a16:creationId xmlns:a16="http://schemas.microsoft.com/office/drawing/2014/main" id="{0E9463B7-1F06-4DEB-A058-446E8844EA8B}"/>
                </a:ext>
              </a:extLst>
            </p:cNvPr>
            <p:cNvSpPr/>
            <p:nvPr/>
          </p:nvSpPr>
          <p:spPr>
            <a:xfrm rot="8716295">
              <a:off x="2107141" y="73528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8" name="Forme libre : forme 347">
              <a:extLst>
                <a:ext uri="{FF2B5EF4-FFF2-40B4-BE49-F238E27FC236}">
                  <a16:creationId xmlns:a16="http://schemas.microsoft.com/office/drawing/2014/main" id="{73CCCCE8-C732-40A3-953D-8C4E26ECE894}"/>
                </a:ext>
              </a:extLst>
            </p:cNvPr>
            <p:cNvSpPr/>
            <p:nvPr/>
          </p:nvSpPr>
          <p:spPr>
            <a:xfrm rot="8716295">
              <a:off x="2242440" y="77954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9" name="Forme libre : forme 348">
              <a:extLst>
                <a:ext uri="{FF2B5EF4-FFF2-40B4-BE49-F238E27FC236}">
                  <a16:creationId xmlns:a16="http://schemas.microsoft.com/office/drawing/2014/main" id="{46418248-47C2-468E-8F48-18C4C7CDB219}"/>
                </a:ext>
              </a:extLst>
            </p:cNvPr>
            <p:cNvSpPr/>
            <p:nvPr/>
          </p:nvSpPr>
          <p:spPr>
            <a:xfrm rot="8716295">
              <a:off x="2174558" y="64895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0" name="Forme libre : forme 349">
              <a:extLst>
                <a:ext uri="{FF2B5EF4-FFF2-40B4-BE49-F238E27FC236}">
                  <a16:creationId xmlns:a16="http://schemas.microsoft.com/office/drawing/2014/main" id="{CF6485DD-C84B-431E-B394-8EC27CA6D055}"/>
                </a:ext>
              </a:extLst>
            </p:cNvPr>
            <p:cNvSpPr/>
            <p:nvPr/>
          </p:nvSpPr>
          <p:spPr>
            <a:xfrm rot="8716295">
              <a:off x="1937270" y="86929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1" name="Forme libre : forme 350">
              <a:extLst>
                <a:ext uri="{FF2B5EF4-FFF2-40B4-BE49-F238E27FC236}">
                  <a16:creationId xmlns:a16="http://schemas.microsoft.com/office/drawing/2014/main" id="{C462C7C6-AFD1-4D6E-868F-DFD5908371AE}"/>
                </a:ext>
              </a:extLst>
            </p:cNvPr>
            <p:cNvSpPr/>
            <p:nvPr/>
          </p:nvSpPr>
          <p:spPr>
            <a:xfrm rot="8716295">
              <a:off x="1748224" y="55346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2" name="Forme libre : forme 351">
              <a:extLst>
                <a:ext uri="{FF2B5EF4-FFF2-40B4-BE49-F238E27FC236}">
                  <a16:creationId xmlns:a16="http://schemas.microsoft.com/office/drawing/2014/main" id="{3BF602CB-BB96-4BFD-9890-5020E5C70107}"/>
                </a:ext>
              </a:extLst>
            </p:cNvPr>
            <p:cNvSpPr/>
            <p:nvPr/>
          </p:nvSpPr>
          <p:spPr>
            <a:xfrm rot="8716295">
              <a:off x="1729983" y="34341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3" name="Forme libre : forme 352">
              <a:extLst>
                <a:ext uri="{FF2B5EF4-FFF2-40B4-BE49-F238E27FC236}">
                  <a16:creationId xmlns:a16="http://schemas.microsoft.com/office/drawing/2014/main" id="{D123FE48-43A2-4EF2-A75E-82641468BE05}"/>
                </a:ext>
              </a:extLst>
            </p:cNvPr>
            <p:cNvSpPr/>
            <p:nvPr/>
          </p:nvSpPr>
          <p:spPr>
            <a:xfrm rot="8716295">
              <a:off x="2073759" y="93127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4" name="Forme libre : forme 353">
              <a:extLst>
                <a:ext uri="{FF2B5EF4-FFF2-40B4-BE49-F238E27FC236}">
                  <a16:creationId xmlns:a16="http://schemas.microsoft.com/office/drawing/2014/main" id="{9368862D-396D-4FD2-B4BF-9090111F2572}"/>
                </a:ext>
              </a:extLst>
            </p:cNvPr>
            <p:cNvSpPr/>
            <p:nvPr/>
          </p:nvSpPr>
          <p:spPr>
            <a:xfrm rot="8716295">
              <a:off x="2544705" y="35666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5" name="Forme libre : forme 354">
              <a:extLst>
                <a:ext uri="{FF2B5EF4-FFF2-40B4-BE49-F238E27FC236}">
                  <a16:creationId xmlns:a16="http://schemas.microsoft.com/office/drawing/2014/main" id="{08DA4440-5C40-4A9D-A195-E7F5A36FB8E5}"/>
                </a:ext>
              </a:extLst>
            </p:cNvPr>
            <p:cNvSpPr/>
            <p:nvPr/>
          </p:nvSpPr>
          <p:spPr>
            <a:xfrm rot="8716295">
              <a:off x="2680004" y="40092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6" name="Forme libre : forme 355">
              <a:extLst>
                <a:ext uri="{FF2B5EF4-FFF2-40B4-BE49-F238E27FC236}">
                  <a16:creationId xmlns:a16="http://schemas.microsoft.com/office/drawing/2014/main" id="{499C4215-CE78-4D06-B1F1-0EFC66D2B8A8}"/>
                </a:ext>
              </a:extLst>
            </p:cNvPr>
            <p:cNvSpPr/>
            <p:nvPr/>
          </p:nvSpPr>
          <p:spPr>
            <a:xfrm rot="8716295">
              <a:off x="2374834" y="49068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7" name="Forme libre : forme 356">
              <a:extLst>
                <a:ext uri="{FF2B5EF4-FFF2-40B4-BE49-F238E27FC236}">
                  <a16:creationId xmlns:a16="http://schemas.microsoft.com/office/drawing/2014/main" id="{0DF46042-A994-48E9-AACA-0079FAE5D34F}"/>
                </a:ext>
              </a:extLst>
            </p:cNvPr>
            <p:cNvSpPr/>
            <p:nvPr/>
          </p:nvSpPr>
          <p:spPr>
            <a:xfrm rot="8716295">
              <a:off x="2185790" y="17484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8" name="Forme libre : forme 357">
              <a:extLst>
                <a:ext uri="{FF2B5EF4-FFF2-40B4-BE49-F238E27FC236}">
                  <a16:creationId xmlns:a16="http://schemas.microsoft.com/office/drawing/2014/main" id="{C56CBFD7-CE58-4F68-AE5F-EEAC0B0B2F26}"/>
                </a:ext>
              </a:extLst>
            </p:cNvPr>
            <p:cNvSpPr/>
            <p:nvPr/>
          </p:nvSpPr>
          <p:spPr>
            <a:xfrm rot="8716295">
              <a:off x="2511323" y="552663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9" name="Forme libre : forme 358">
              <a:extLst>
                <a:ext uri="{FF2B5EF4-FFF2-40B4-BE49-F238E27FC236}">
                  <a16:creationId xmlns:a16="http://schemas.microsoft.com/office/drawing/2014/main" id="{5026E243-7CAA-469D-B3FD-2DEEF3B52A6D}"/>
                </a:ext>
              </a:extLst>
            </p:cNvPr>
            <p:cNvSpPr/>
            <p:nvPr/>
          </p:nvSpPr>
          <p:spPr>
            <a:xfrm rot="8716295">
              <a:off x="2145876" y="32623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0" name="Forme libre : forme 359">
              <a:extLst>
                <a:ext uri="{FF2B5EF4-FFF2-40B4-BE49-F238E27FC236}">
                  <a16:creationId xmlns:a16="http://schemas.microsoft.com/office/drawing/2014/main" id="{69635373-7069-4076-9294-1FD2A4827397}"/>
                </a:ext>
              </a:extLst>
            </p:cNvPr>
            <p:cNvSpPr/>
            <p:nvPr/>
          </p:nvSpPr>
          <p:spPr>
            <a:xfrm rot="7484129">
              <a:off x="2670140" y="84228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1" name="Forme libre : forme 360">
              <a:extLst>
                <a:ext uri="{FF2B5EF4-FFF2-40B4-BE49-F238E27FC236}">
                  <a16:creationId xmlns:a16="http://schemas.microsoft.com/office/drawing/2014/main" id="{65F0089C-08D4-41A5-B19D-05C5D2A763BC}"/>
                </a:ext>
              </a:extLst>
            </p:cNvPr>
            <p:cNvSpPr/>
            <p:nvPr/>
          </p:nvSpPr>
          <p:spPr>
            <a:xfrm rot="13089394">
              <a:off x="2828790" y="791629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2" name="Forme libre : forme 361">
              <a:extLst>
                <a:ext uri="{FF2B5EF4-FFF2-40B4-BE49-F238E27FC236}">
                  <a16:creationId xmlns:a16="http://schemas.microsoft.com/office/drawing/2014/main" id="{10F0587B-FBC8-4526-B416-2C74092E74E3}"/>
                </a:ext>
              </a:extLst>
            </p:cNvPr>
            <p:cNvSpPr/>
            <p:nvPr/>
          </p:nvSpPr>
          <p:spPr>
            <a:xfrm rot="8716295">
              <a:off x="3109681" y="501511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3" name="Forme libre : forme 362">
              <a:extLst>
                <a:ext uri="{FF2B5EF4-FFF2-40B4-BE49-F238E27FC236}">
                  <a16:creationId xmlns:a16="http://schemas.microsoft.com/office/drawing/2014/main" id="{2065DAB7-B994-4ECC-90EA-43FF767C9150}"/>
                </a:ext>
              </a:extLst>
            </p:cNvPr>
            <p:cNvSpPr/>
            <p:nvPr/>
          </p:nvSpPr>
          <p:spPr>
            <a:xfrm rot="8716295">
              <a:off x="3031272" y="344719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4" name="Forme libre : forme 363">
              <a:extLst>
                <a:ext uri="{FF2B5EF4-FFF2-40B4-BE49-F238E27FC236}">
                  <a16:creationId xmlns:a16="http://schemas.microsoft.com/office/drawing/2014/main" id="{06C29BA8-D38F-498C-9EF2-99B1FD452BF5}"/>
                </a:ext>
              </a:extLst>
            </p:cNvPr>
            <p:cNvSpPr/>
            <p:nvPr/>
          </p:nvSpPr>
          <p:spPr>
            <a:xfrm rot="8716295">
              <a:off x="2663108" y="39046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5" name="Forme libre : forme 364">
              <a:extLst>
                <a:ext uri="{FF2B5EF4-FFF2-40B4-BE49-F238E27FC236}">
                  <a16:creationId xmlns:a16="http://schemas.microsoft.com/office/drawing/2014/main" id="{19957925-F105-47F6-A52F-63EE7BCADA72}"/>
                </a:ext>
              </a:extLst>
            </p:cNvPr>
            <p:cNvSpPr/>
            <p:nvPr/>
          </p:nvSpPr>
          <p:spPr>
            <a:xfrm rot="8716295">
              <a:off x="2931690" y="14944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6" name="Forme libre : forme 365">
              <a:extLst>
                <a:ext uri="{FF2B5EF4-FFF2-40B4-BE49-F238E27FC236}">
                  <a16:creationId xmlns:a16="http://schemas.microsoft.com/office/drawing/2014/main" id="{E0E33F2F-8222-4600-9D1F-1A85DBD9DDB6}"/>
                </a:ext>
              </a:extLst>
            </p:cNvPr>
            <p:cNvSpPr/>
            <p:nvPr/>
          </p:nvSpPr>
          <p:spPr>
            <a:xfrm rot="8716295">
              <a:off x="1834766" y="-57684"/>
              <a:ext cx="186564" cy="129320"/>
            </a:xfrm>
            <a:custGeom>
              <a:avLst/>
              <a:gdLst>
                <a:gd name="connsiteX0" fmla="*/ 123263 w 123263"/>
                <a:gd name="connsiteY0" fmla="*/ 85442 h 85442"/>
                <a:gd name="connsiteX1" fmla="*/ 0 w 123263"/>
                <a:gd name="connsiteY1" fmla="*/ 0 h 85442"/>
                <a:gd name="connsiteX2" fmla="*/ 66305 w 123263"/>
                <a:gd name="connsiteY2" fmla="*/ 0 h 85442"/>
                <a:gd name="connsiteX3" fmla="*/ 123263 w 123263"/>
                <a:gd name="connsiteY3" fmla="*/ 50123 h 85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63" h="85442">
                  <a:moveTo>
                    <a:pt x="123263" y="85442"/>
                  </a:moveTo>
                  <a:lnTo>
                    <a:pt x="0" y="0"/>
                  </a:lnTo>
                  <a:lnTo>
                    <a:pt x="66305" y="0"/>
                  </a:lnTo>
                  <a:cubicBezTo>
                    <a:pt x="103214" y="0"/>
                    <a:pt x="123263" y="15948"/>
                    <a:pt x="123263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7" name="Forme libre : forme 366">
              <a:extLst>
                <a:ext uri="{FF2B5EF4-FFF2-40B4-BE49-F238E27FC236}">
                  <a16:creationId xmlns:a16="http://schemas.microsoft.com/office/drawing/2014/main" id="{85E9DB2D-8095-4090-AC49-070A81C428A4}"/>
                </a:ext>
              </a:extLst>
            </p:cNvPr>
            <p:cNvSpPr/>
            <p:nvPr/>
          </p:nvSpPr>
          <p:spPr>
            <a:xfrm rot="8716295">
              <a:off x="1969949" y="-13794"/>
              <a:ext cx="394488" cy="148365"/>
            </a:xfrm>
            <a:custGeom>
              <a:avLst/>
              <a:gdLst>
                <a:gd name="connsiteX0" fmla="*/ 104802 w 260639"/>
                <a:gd name="connsiteY0" fmla="*/ 74264 h 98025"/>
                <a:gd name="connsiteX1" fmla="*/ 0 w 260639"/>
                <a:gd name="connsiteY1" fmla="*/ 1618 h 98025"/>
                <a:gd name="connsiteX2" fmla="*/ 0 w 260639"/>
                <a:gd name="connsiteY2" fmla="*/ 1425 h 98025"/>
                <a:gd name="connsiteX3" fmla="*/ 104803 w 260639"/>
                <a:gd name="connsiteY3" fmla="*/ 1425 h 98025"/>
                <a:gd name="connsiteX4" fmla="*/ 122123 w 260639"/>
                <a:gd name="connsiteY4" fmla="*/ 86270 h 98025"/>
                <a:gd name="connsiteX5" fmla="*/ 106178 w 260639"/>
                <a:gd name="connsiteY5" fmla="*/ 75218 h 98025"/>
                <a:gd name="connsiteX6" fmla="*/ 116721 w 260639"/>
                <a:gd name="connsiteY6" fmla="*/ 47439 h 98025"/>
                <a:gd name="connsiteX7" fmla="*/ 154014 w 260639"/>
                <a:gd name="connsiteY7" fmla="*/ 5981 h 98025"/>
                <a:gd name="connsiteX8" fmla="*/ 185455 w 260639"/>
                <a:gd name="connsiteY8" fmla="*/ 57 h 98025"/>
                <a:gd name="connsiteX9" fmla="*/ 260639 w 260639"/>
                <a:gd name="connsiteY9" fmla="*/ 88456 h 98025"/>
                <a:gd name="connsiteX10" fmla="*/ 260639 w 260639"/>
                <a:gd name="connsiteY10" fmla="*/ 94380 h 98025"/>
                <a:gd name="connsiteX11" fmla="*/ 198669 w 260639"/>
                <a:gd name="connsiteY11" fmla="*/ 98025 h 98025"/>
                <a:gd name="connsiteX12" fmla="*/ 198669 w 260639"/>
                <a:gd name="connsiteY12" fmla="*/ 81621 h 98025"/>
                <a:gd name="connsiteX13" fmla="*/ 164950 w 260639"/>
                <a:gd name="connsiteY13" fmla="*/ 40156 h 98025"/>
                <a:gd name="connsiteX14" fmla="*/ 127358 w 260639"/>
                <a:gd name="connsiteY14" fmla="*/ 65616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60639" h="98025">
                  <a:moveTo>
                    <a:pt x="104802" y="74264"/>
                  </a:moveTo>
                  <a:lnTo>
                    <a:pt x="0" y="1618"/>
                  </a:lnTo>
                  <a:lnTo>
                    <a:pt x="0" y="1425"/>
                  </a:lnTo>
                  <a:lnTo>
                    <a:pt x="104803" y="1425"/>
                  </a:lnTo>
                  <a:close/>
                  <a:moveTo>
                    <a:pt x="122123" y="86270"/>
                  </a:moveTo>
                  <a:lnTo>
                    <a:pt x="106178" y="75218"/>
                  </a:lnTo>
                  <a:lnTo>
                    <a:pt x="116721" y="47439"/>
                  </a:lnTo>
                  <a:cubicBezTo>
                    <a:pt x="127102" y="24008"/>
                    <a:pt x="137610" y="12816"/>
                    <a:pt x="154014" y="5981"/>
                  </a:cubicBezTo>
                  <a:cubicBezTo>
                    <a:pt x="164038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50369" y="40156"/>
                    <a:pt x="137041" y="49839"/>
                    <a:pt x="127358" y="656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8" name="Forme libre : forme 367">
              <a:extLst>
                <a:ext uri="{FF2B5EF4-FFF2-40B4-BE49-F238E27FC236}">
                  <a16:creationId xmlns:a16="http://schemas.microsoft.com/office/drawing/2014/main" id="{2112AB6E-ECBC-48CC-8F85-503CE29BF697}"/>
                </a:ext>
              </a:extLst>
            </p:cNvPr>
            <p:cNvSpPr/>
            <p:nvPr/>
          </p:nvSpPr>
          <p:spPr>
            <a:xfrm rot="8716295">
              <a:off x="1736738" y="-7282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9" name="Forme libre : forme 368">
              <a:extLst>
                <a:ext uri="{FF2B5EF4-FFF2-40B4-BE49-F238E27FC236}">
                  <a16:creationId xmlns:a16="http://schemas.microsoft.com/office/drawing/2014/main" id="{0CED55EE-2402-40E1-B7FC-4C64963DE5BE}"/>
                </a:ext>
              </a:extLst>
            </p:cNvPr>
            <p:cNvSpPr/>
            <p:nvPr/>
          </p:nvSpPr>
          <p:spPr>
            <a:xfrm rot="7484129">
              <a:off x="2399917" y="-21262"/>
              <a:ext cx="233243" cy="158079"/>
            </a:xfrm>
            <a:custGeom>
              <a:avLst/>
              <a:gdLst>
                <a:gd name="connsiteX0" fmla="*/ 72416 w 154104"/>
                <a:gd name="connsiteY0" fmla="*/ 104443 h 104443"/>
                <a:gd name="connsiteX1" fmla="*/ 0 w 154104"/>
                <a:gd name="connsiteY1" fmla="*/ 0 h 104443"/>
                <a:gd name="connsiteX2" fmla="*/ 154104 w 154104"/>
                <a:gd name="connsiteY2" fmla="*/ 0 h 104443"/>
                <a:gd name="connsiteX3" fmla="*/ 154104 w 154104"/>
                <a:gd name="connsiteY3" fmla="*/ 55323 h 104443"/>
                <a:gd name="connsiteX4" fmla="*/ 89312 w 154104"/>
                <a:gd name="connsiteY4" fmla="*/ 55323 h 104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4104" h="104443">
                  <a:moveTo>
                    <a:pt x="72416" y="104443"/>
                  </a:moveTo>
                  <a:lnTo>
                    <a:pt x="0" y="0"/>
                  </a:lnTo>
                  <a:lnTo>
                    <a:pt x="154104" y="0"/>
                  </a:lnTo>
                  <a:lnTo>
                    <a:pt x="154104" y="55323"/>
                  </a:lnTo>
                  <a:lnTo>
                    <a:pt x="89312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0" name="Forme libre : forme 369">
              <a:extLst>
                <a:ext uri="{FF2B5EF4-FFF2-40B4-BE49-F238E27FC236}">
                  <a16:creationId xmlns:a16="http://schemas.microsoft.com/office/drawing/2014/main" id="{2AB77741-1425-4B03-9370-5D34269ACC61}"/>
                </a:ext>
              </a:extLst>
            </p:cNvPr>
            <p:cNvSpPr/>
            <p:nvPr/>
          </p:nvSpPr>
          <p:spPr>
            <a:xfrm rot="13089394">
              <a:off x="2721869" y="-65503"/>
              <a:ext cx="128296" cy="425348"/>
            </a:xfrm>
            <a:custGeom>
              <a:avLst/>
              <a:gdLst>
                <a:gd name="connsiteX0" fmla="*/ 84765 w 84765"/>
                <a:gd name="connsiteY0" fmla="*/ 225012 h 281028"/>
                <a:gd name="connsiteX1" fmla="*/ 13471 w 84765"/>
                <a:gd name="connsiteY1" fmla="*/ 281028 h 281028"/>
                <a:gd name="connsiteX2" fmla="*/ 4828 w 84765"/>
                <a:gd name="connsiteY2" fmla="*/ 263963 h 281028"/>
                <a:gd name="connsiteX3" fmla="*/ 0 w 84765"/>
                <a:gd name="connsiteY3" fmla="*/ 206370 h 281028"/>
                <a:gd name="connsiteX4" fmla="*/ 0 w 84765"/>
                <a:gd name="connsiteY4" fmla="*/ 38074 h 281028"/>
                <a:gd name="connsiteX5" fmla="*/ 73388 w 84765"/>
                <a:gd name="connsiteY5" fmla="*/ 0 h 281028"/>
                <a:gd name="connsiteX6" fmla="*/ 74492 w 84765"/>
                <a:gd name="connsiteY6" fmla="*/ 153950 h 281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4765" h="281028">
                  <a:moveTo>
                    <a:pt x="84765" y="225012"/>
                  </a:moveTo>
                  <a:lnTo>
                    <a:pt x="13471" y="281028"/>
                  </a:lnTo>
                  <a:lnTo>
                    <a:pt x="4828" y="263963"/>
                  </a:lnTo>
                  <a:cubicBezTo>
                    <a:pt x="1241" y="248168"/>
                    <a:pt x="0" y="228993"/>
                    <a:pt x="0" y="206370"/>
                  </a:cubicBez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1" name="Forme libre : forme 370">
              <a:extLst>
                <a:ext uri="{FF2B5EF4-FFF2-40B4-BE49-F238E27FC236}">
                  <a16:creationId xmlns:a16="http://schemas.microsoft.com/office/drawing/2014/main" id="{FAA815E1-BD11-411E-A301-A66D6E5B5B5D}"/>
                </a:ext>
              </a:extLst>
            </p:cNvPr>
            <p:cNvSpPr/>
            <p:nvPr/>
          </p:nvSpPr>
          <p:spPr>
            <a:xfrm rot="8716295">
              <a:off x="5604774" y="3024342"/>
              <a:ext cx="274455" cy="132163"/>
            </a:xfrm>
            <a:custGeom>
              <a:avLst/>
              <a:gdLst>
                <a:gd name="connsiteX0" fmla="*/ 0 w 181333"/>
                <a:gd name="connsiteY0" fmla="*/ 87320 h 87320"/>
                <a:gd name="connsiteX1" fmla="*/ 42309 w 181333"/>
                <a:gd name="connsiteY1" fmla="*/ 36168 h 87320"/>
                <a:gd name="connsiteX2" fmla="*/ 54839 w 181333"/>
                <a:gd name="connsiteY2" fmla="*/ 38831 h 87320"/>
                <a:gd name="connsiteX3" fmla="*/ 107790 w 181333"/>
                <a:gd name="connsiteY3" fmla="*/ 29417 h 87320"/>
                <a:gd name="connsiteX4" fmla="*/ 180157 w 181333"/>
                <a:gd name="connsiteY4" fmla="*/ 0 h 87320"/>
                <a:gd name="connsiteX5" fmla="*/ 181333 w 181333"/>
                <a:gd name="connsiteY5" fmla="*/ 7648 h 87320"/>
                <a:gd name="connsiteX6" fmla="*/ 181333 w 181333"/>
                <a:gd name="connsiteY6" fmla="*/ 13532 h 87320"/>
                <a:gd name="connsiteX7" fmla="*/ 30340 w 181333"/>
                <a:gd name="connsiteY7" fmla="*/ 83361 h 87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333" h="87320">
                  <a:moveTo>
                    <a:pt x="0" y="87320"/>
                  </a:moveTo>
                  <a:lnTo>
                    <a:pt x="42309" y="36168"/>
                  </a:lnTo>
                  <a:lnTo>
                    <a:pt x="54839" y="38831"/>
                  </a:lnTo>
                  <a:cubicBezTo>
                    <a:pt x="73078" y="38242"/>
                    <a:pt x="90728" y="34712"/>
                    <a:pt x="107790" y="29417"/>
                  </a:cubicBezTo>
                  <a:cubicBezTo>
                    <a:pt x="132500" y="21768"/>
                    <a:pt x="156623" y="11767"/>
                    <a:pt x="180157" y="0"/>
                  </a:cubicBezTo>
                  <a:cubicBezTo>
                    <a:pt x="180745" y="2353"/>
                    <a:pt x="181333" y="5295"/>
                    <a:pt x="181333" y="7648"/>
                  </a:cubicBezTo>
                  <a:lnTo>
                    <a:pt x="181333" y="13532"/>
                  </a:lnTo>
                  <a:cubicBezTo>
                    <a:pt x="134560" y="53687"/>
                    <a:pt x="76865" y="74315"/>
                    <a:pt x="30340" y="833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2" name="Forme libre : forme 371">
              <a:extLst>
                <a:ext uri="{FF2B5EF4-FFF2-40B4-BE49-F238E27FC236}">
                  <a16:creationId xmlns:a16="http://schemas.microsoft.com/office/drawing/2014/main" id="{0B206B84-4FE5-4D53-9D1E-DD02DB41D254}"/>
                </a:ext>
              </a:extLst>
            </p:cNvPr>
            <p:cNvSpPr/>
            <p:nvPr/>
          </p:nvSpPr>
          <p:spPr>
            <a:xfrm rot="8716295">
              <a:off x="5742786" y="2375436"/>
              <a:ext cx="92417" cy="296278"/>
            </a:xfrm>
            <a:custGeom>
              <a:avLst/>
              <a:gdLst>
                <a:gd name="connsiteX0" fmla="*/ 0 w 61060"/>
                <a:gd name="connsiteY0" fmla="*/ 195751 h 195751"/>
                <a:gd name="connsiteX1" fmla="*/ 0 w 61060"/>
                <a:gd name="connsiteY1" fmla="*/ 67520 h 195751"/>
                <a:gd name="connsiteX2" fmla="*/ 55847 w 61060"/>
                <a:gd name="connsiteY2" fmla="*/ 0 h 195751"/>
                <a:gd name="connsiteX3" fmla="*/ 61059 w 61060"/>
                <a:gd name="connsiteY3" fmla="*/ 13486 h 195751"/>
                <a:gd name="connsiteX4" fmla="*/ 61060 w 61060"/>
                <a:gd name="connsiteY4" fmla="*/ 171601 h 195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60" h="195751">
                  <a:moveTo>
                    <a:pt x="0" y="195751"/>
                  </a:moveTo>
                  <a:lnTo>
                    <a:pt x="0" y="67520"/>
                  </a:lnTo>
                  <a:lnTo>
                    <a:pt x="55847" y="0"/>
                  </a:lnTo>
                  <a:lnTo>
                    <a:pt x="61059" y="13486"/>
                  </a:lnTo>
                  <a:lnTo>
                    <a:pt x="61060" y="17160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3" name="Forme libre : forme 372">
              <a:extLst>
                <a:ext uri="{FF2B5EF4-FFF2-40B4-BE49-F238E27FC236}">
                  <a16:creationId xmlns:a16="http://schemas.microsoft.com/office/drawing/2014/main" id="{77194E30-CE70-4AEC-BB0F-106D75678D26}"/>
                </a:ext>
              </a:extLst>
            </p:cNvPr>
            <p:cNvSpPr/>
            <p:nvPr/>
          </p:nvSpPr>
          <p:spPr>
            <a:xfrm rot="8716295">
              <a:off x="5579033" y="246915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4" name="Forme libre : forme 373">
              <a:extLst>
                <a:ext uri="{FF2B5EF4-FFF2-40B4-BE49-F238E27FC236}">
                  <a16:creationId xmlns:a16="http://schemas.microsoft.com/office/drawing/2014/main" id="{F8F32B20-B35C-4702-8768-E6EC077080C3}"/>
                </a:ext>
              </a:extLst>
            </p:cNvPr>
            <p:cNvSpPr/>
            <p:nvPr/>
          </p:nvSpPr>
          <p:spPr>
            <a:xfrm rot="8716295">
              <a:off x="5389987" y="215331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5" name="Forme libre : forme 374">
              <a:extLst>
                <a:ext uri="{FF2B5EF4-FFF2-40B4-BE49-F238E27FC236}">
                  <a16:creationId xmlns:a16="http://schemas.microsoft.com/office/drawing/2014/main" id="{03FB5FAB-F686-40AC-9940-1E92242C962D}"/>
                </a:ext>
              </a:extLst>
            </p:cNvPr>
            <p:cNvSpPr/>
            <p:nvPr/>
          </p:nvSpPr>
          <p:spPr>
            <a:xfrm rot="8716295">
              <a:off x="5371746" y="194326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6" name="Forme libre : forme 375">
              <a:extLst>
                <a:ext uri="{FF2B5EF4-FFF2-40B4-BE49-F238E27FC236}">
                  <a16:creationId xmlns:a16="http://schemas.microsoft.com/office/drawing/2014/main" id="{7697AE3D-D280-4B41-97E4-E67BBE2838D4}"/>
                </a:ext>
              </a:extLst>
            </p:cNvPr>
            <p:cNvSpPr/>
            <p:nvPr/>
          </p:nvSpPr>
          <p:spPr>
            <a:xfrm rot="8716295">
              <a:off x="5716764" y="2550542"/>
              <a:ext cx="91035" cy="331729"/>
            </a:xfrm>
            <a:custGeom>
              <a:avLst/>
              <a:gdLst>
                <a:gd name="connsiteX0" fmla="*/ 60147 w 60147"/>
                <a:gd name="connsiteY0" fmla="*/ 219174 h 219174"/>
                <a:gd name="connsiteX1" fmla="*/ 0 w 60147"/>
                <a:gd name="connsiteY1" fmla="*/ 161304 h 219174"/>
                <a:gd name="connsiteX2" fmla="*/ 0 w 60147"/>
                <a:gd name="connsiteY2" fmla="*/ 68045 h 219174"/>
                <a:gd name="connsiteX3" fmla="*/ 56210 w 60147"/>
                <a:gd name="connsiteY3" fmla="*/ 87 h 219174"/>
                <a:gd name="connsiteX4" fmla="*/ 60147 w 60147"/>
                <a:gd name="connsiteY4" fmla="*/ 0 h 219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47" h="219174">
                  <a:moveTo>
                    <a:pt x="60147" y="219174"/>
                  </a:moveTo>
                  <a:lnTo>
                    <a:pt x="0" y="161304"/>
                  </a:lnTo>
                  <a:lnTo>
                    <a:pt x="0" y="68045"/>
                  </a:lnTo>
                  <a:lnTo>
                    <a:pt x="56210" y="87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7" name="Forme libre : forme 376">
              <a:extLst>
                <a:ext uri="{FF2B5EF4-FFF2-40B4-BE49-F238E27FC236}">
                  <a16:creationId xmlns:a16="http://schemas.microsoft.com/office/drawing/2014/main" id="{46E8B4E6-46F9-4CF4-A6B7-A87039F21F77}"/>
                </a:ext>
              </a:extLst>
            </p:cNvPr>
            <p:cNvSpPr/>
            <p:nvPr/>
          </p:nvSpPr>
          <p:spPr>
            <a:xfrm rot="8716295">
              <a:off x="5787639" y="192609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8" name="Forme libre : forme 377">
              <a:extLst>
                <a:ext uri="{FF2B5EF4-FFF2-40B4-BE49-F238E27FC236}">
                  <a16:creationId xmlns:a16="http://schemas.microsoft.com/office/drawing/2014/main" id="{CE3A86F3-9EF3-4CAC-BAE7-301BACB20DC2}"/>
                </a:ext>
              </a:extLst>
            </p:cNvPr>
            <p:cNvSpPr/>
            <p:nvPr/>
          </p:nvSpPr>
          <p:spPr>
            <a:xfrm rot="8716295">
              <a:off x="5411131" y="133665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9" name="Forme libre : forme 378">
              <a:extLst>
                <a:ext uri="{FF2B5EF4-FFF2-40B4-BE49-F238E27FC236}">
                  <a16:creationId xmlns:a16="http://schemas.microsoft.com/office/drawing/2014/main" id="{5ADA9701-4026-4003-B92A-BE45A4B58CA1}"/>
                </a:ext>
              </a:extLst>
            </p:cNvPr>
            <p:cNvSpPr/>
            <p:nvPr/>
          </p:nvSpPr>
          <p:spPr>
            <a:xfrm rot="8716295">
              <a:off x="5547629" y="1389153"/>
              <a:ext cx="346795" cy="385612"/>
            </a:xfrm>
            <a:custGeom>
              <a:avLst/>
              <a:gdLst>
                <a:gd name="connsiteX0" fmla="*/ 19979 w 229128"/>
                <a:gd name="connsiteY0" fmla="*/ 254774 h 254774"/>
                <a:gd name="connsiteX1" fmla="*/ 19979 w 229128"/>
                <a:gd name="connsiteY1" fmla="*/ 45624 h 254774"/>
                <a:gd name="connsiteX2" fmla="*/ 0 w 229128"/>
                <a:gd name="connsiteY2" fmla="*/ 45624 h 254774"/>
                <a:gd name="connsiteX3" fmla="*/ 36558 w 229128"/>
                <a:gd name="connsiteY3" fmla="*/ 1425 h 254774"/>
                <a:gd name="connsiteX4" fmla="*/ 73292 w 229128"/>
                <a:gd name="connsiteY4" fmla="*/ 1425 h 254774"/>
                <a:gd name="connsiteX5" fmla="*/ 73292 w 229128"/>
                <a:gd name="connsiteY5" fmla="*/ 75242 h 254774"/>
                <a:gd name="connsiteX6" fmla="*/ 74658 w 229128"/>
                <a:gd name="connsiteY6" fmla="*/ 75242 h 254774"/>
                <a:gd name="connsiteX7" fmla="*/ 122503 w 229128"/>
                <a:gd name="connsiteY7" fmla="*/ 5981 h 254774"/>
                <a:gd name="connsiteX8" fmla="*/ 153944 w 229128"/>
                <a:gd name="connsiteY8" fmla="*/ 57 h 254774"/>
                <a:gd name="connsiteX9" fmla="*/ 229128 w 229128"/>
                <a:gd name="connsiteY9" fmla="*/ 88456 h 254774"/>
                <a:gd name="connsiteX10" fmla="*/ 229128 w 229128"/>
                <a:gd name="connsiteY10" fmla="*/ 94380 h 254774"/>
                <a:gd name="connsiteX11" fmla="*/ 167158 w 229128"/>
                <a:gd name="connsiteY11" fmla="*/ 98025 h 254774"/>
                <a:gd name="connsiteX12" fmla="*/ 167158 w 229128"/>
                <a:gd name="connsiteY12" fmla="*/ 81621 h 254774"/>
                <a:gd name="connsiteX13" fmla="*/ 133439 w 229128"/>
                <a:gd name="connsiteY13" fmla="*/ 40156 h 254774"/>
                <a:gd name="connsiteX14" fmla="*/ 80127 w 229128"/>
                <a:gd name="connsiteY14" fmla="*/ 127643 h 254774"/>
                <a:gd name="connsiteX15" fmla="*/ 80127 w 229128"/>
                <a:gd name="connsiteY15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29128" h="254774">
                  <a:moveTo>
                    <a:pt x="19979" y="254774"/>
                  </a:moveTo>
                  <a:lnTo>
                    <a:pt x="19979" y="45624"/>
                  </a:lnTo>
                  <a:lnTo>
                    <a:pt x="0" y="45624"/>
                  </a:lnTo>
                  <a:lnTo>
                    <a:pt x="36558" y="1425"/>
                  </a:lnTo>
                  <a:lnTo>
                    <a:pt x="73292" y="1425"/>
                  </a:lnTo>
                  <a:lnTo>
                    <a:pt x="73292" y="75242"/>
                  </a:lnTo>
                  <a:lnTo>
                    <a:pt x="74658" y="75242"/>
                  </a:lnTo>
                  <a:cubicBezTo>
                    <a:pt x="89240" y="31954"/>
                    <a:pt x="100631" y="15094"/>
                    <a:pt x="122503" y="5981"/>
                  </a:cubicBezTo>
                  <a:cubicBezTo>
                    <a:pt x="132528" y="1880"/>
                    <a:pt x="143008" y="-398"/>
                    <a:pt x="153944" y="57"/>
                  </a:cubicBezTo>
                  <a:cubicBezTo>
                    <a:pt x="200877" y="-854"/>
                    <a:pt x="229128" y="31954"/>
                    <a:pt x="229128" y="88456"/>
                  </a:cubicBezTo>
                  <a:lnTo>
                    <a:pt x="229128" y="94380"/>
                  </a:lnTo>
                  <a:lnTo>
                    <a:pt x="167158" y="98025"/>
                  </a:lnTo>
                  <a:lnTo>
                    <a:pt x="167158" y="81621"/>
                  </a:lnTo>
                  <a:cubicBezTo>
                    <a:pt x="167158" y="57016"/>
                    <a:pt x="153033" y="40156"/>
                    <a:pt x="133439" y="40156"/>
                  </a:cubicBezTo>
                  <a:cubicBezTo>
                    <a:pt x="104277" y="40156"/>
                    <a:pt x="80127" y="78887"/>
                    <a:pt x="80127" y="127643"/>
                  </a:cubicBezTo>
                  <a:lnTo>
                    <a:pt x="80127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0" name="Forme libre : forme 379">
              <a:extLst>
                <a:ext uri="{FF2B5EF4-FFF2-40B4-BE49-F238E27FC236}">
                  <a16:creationId xmlns:a16="http://schemas.microsoft.com/office/drawing/2014/main" id="{3801A8FD-71D9-43D4-9A13-F62B93652117}"/>
                </a:ext>
              </a:extLst>
            </p:cNvPr>
            <p:cNvSpPr/>
            <p:nvPr/>
          </p:nvSpPr>
          <p:spPr>
            <a:xfrm rot="8716295">
              <a:off x="5478548" y="125032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1" name="Forme libre : forme 380">
              <a:extLst>
                <a:ext uri="{FF2B5EF4-FFF2-40B4-BE49-F238E27FC236}">
                  <a16:creationId xmlns:a16="http://schemas.microsoft.com/office/drawing/2014/main" id="{4CC9B929-E3B4-4677-AB6A-C1B0E025204C}"/>
                </a:ext>
              </a:extLst>
            </p:cNvPr>
            <p:cNvSpPr/>
            <p:nvPr/>
          </p:nvSpPr>
          <p:spPr>
            <a:xfrm rot="8716295">
              <a:off x="5241260" y="147066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2" name="Forme libre : forme 381">
              <a:extLst>
                <a:ext uri="{FF2B5EF4-FFF2-40B4-BE49-F238E27FC236}">
                  <a16:creationId xmlns:a16="http://schemas.microsoft.com/office/drawing/2014/main" id="{43D5D927-BA42-496D-BC4E-8674E3CE6A51}"/>
                </a:ext>
              </a:extLst>
            </p:cNvPr>
            <p:cNvSpPr/>
            <p:nvPr/>
          </p:nvSpPr>
          <p:spPr>
            <a:xfrm rot="8716295">
              <a:off x="5052214" y="11548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3" name="Forme libre : forme 382">
              <a:extLst>
                <a:ext uri="{FF2B5EF4-FFF2-40B4-BE49-F238E27FC236}">
                  <a16:creationId xmlns:a16="http://schemas.microsoft.com/office/drawing/2014/main" id="{A9CA7264-4BDA-4273-8C76-8511057A1B85}"/>
                </a:ext>
              </a:extLst>
            </p:cNvPr>
            <p:cNvSpPr/>
            <p:nvPr/>
          </p:nvSpPr>
          <p:spPr>
            <a:xfrm rot="8716295">
              <a:off x="5033973" y="94478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4" name="Forme libre : forme 383">
              <a:extLst>
                <a:ext uri="{FF2B5EF4-FFF2-40B4-BE49-F238E27FC236}">
                  <a16:creationId xmlns:a16="http://schemas.microsoft.com/office/drawing/2014/main" id="{5E95C0C0-B211-4D78-A1DF-BE4FC385DAC5}"/>
                </a:ext>
              </a:extLst>
            </p:cNvPr>
            <p:cNvSpPr/>
            <p:nvPr/>
          </p:nvSpPr>
          <p:spPr>
            <a:xfrm rot="8716295">
              <a:off x="5377749" y="153264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5" name="Forme libre : forme 384">
              <a:extLst>
                <a:ext uri="{FF2B5EF4-FFF2-40B4-BE49-F238E27FC236}">
                  <a16:creationId xmlns:a16="http://schemas.microsoft.com/office/drawing/2014/main" id="{299B9701-5011-4B98-BC25-888CE3D4A261}"/>
                </a:ext>
              </a:extLst>
            </p:cNvPr>
            <p:cNvSpPr/>
            <p:nvPr/>
          </p:nvSpPr>
          <p:spPr>
            <a:xfrm rot="8716295">
              <a:off x="5847873" y="996679"/>
              <a:ext cx="92417" cy="314872"/>
            </a:xfrm>
            <a:custGeom>
              <a:avLst/>
              <a:gdLst>
                <a:gd name="connsiteX0" fmla="*/ 0 w 61060"/>
                <a:gd name="connsiteY0" fmla="*/ 208036 h 208036"/>
                <a:gd name="connsiteX1" fmla="*/ 1 w 61060"/>
                <a:gd name="connsiteY1" fmla="*/ 61780 h 208036"/>
                <a:gd name="connsiteX2" fmla="*/ 51100 w 61060"/>
                <a:gd name="connsiteY2" fmla="*/ 0 h 208036"/>
                <a:gd name="connsiteX3" fmla="*/ 61059 w 61060"/>
                <a:gd name="connsiteY3" fmla="*/ 25771 h 208036"/>
                <a:gd name="connsiteX4" fmla="*/ 61060 w 61060"/>
                <a:gd name="connsiteY4" fmla="*/ 183886 h 208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60" h="208036">
                  <a:moveTo>
                    <a:pt x="0" y="208036"/>
                  </a:moveTo>
                  <a:lnTo>
                    <a:pt x="1" y="61780"/>
                  </a:lnTo>
                  <a:lnTo>
                    <a:pt x="51100" y="0"/>
                  </a:lnTo>
                  <a:lnTo>
                    <a:pt x="61059" y="25771"/>
                  </a:lnTo>
                  <a:lnTo>
                    <a:pt x="61060" y="18388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6" name="Forme libre : forme 385">
              <a:extLst>
                <a:ext uri="{FF2B5EF4-FFF2-40B4-BE49-F238E27FC236}">
                  <a16:creationId xmlns:a16="http://schemas.microsoft.com/office/drawing/2014/main" id="{D1B55AC6-0E14-4AD6-A463-2BC5AB8BBB90}"/>
                </a:ext>
              </a:extLst>
            </p:cNvPr>
            <p:cNvSpPr/>
            <p:nvPr/>
          </p:nvSpPr>
          <p:spPr>
            <a:xfrm rot="8716295">
              <a:off x="5678824" y="109205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7" name="Forme libre : forme 386">
              <a:extLst>
                <a:ext uri="{FF2B5EF4-FFF2-40B4-BE49-F238E27FC236}">
                  <a16:creationId xmlns:a16="http://schemas.microsoft.com/office/drawing/2014/main" id="{35C0CB49-4515-4D6B-805D-6EE1D83F55CD}"/>
                </a:ext>
              </a:extLst>
            </p:cNvPr>
            <p:cNvSpPr/>
            <p:nvPr/>
          </p:nvSpPr>
          <p:spPr>
            <a:xfrm rot="8716295">
              <a:off x="5489780" y="77621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8" name="Forme libre : forme 387">
              <a:extLst>
                <a:ext uri="{FF2B5EF4-FFF2-40B4-BE49-F238E27FC236}">
                  <a16:creationId xmlns:a16="http://schemas.microsoft.com/office/drawing/2014/main" id="{393CE68B-9315-410C-84F0-0D845DB03A75}"/>
                </a:ext>
              </a:extLst>
            </p:cNvPr>
            <p:cNvSpPr/>
            <p:nvPr/>
          </p:nvSpPr>
          <p:spPr>
            <a:xfrm rot="8716295">
              <a:off x="5816554" y="1173443"/>
              <a:ext cx="91037" cy="331731"/>
            </a:xfrm>
            <a:custGeom>
              <a:avLst/>
              <a:gdLst>
                <a:gd name="connsiteX0" fmla="*/ 60148 w 60148"/>
                <a:gd name="connsiteY0" fmla="*/ 219175 h 219175"/>
                <a:gd name="connsiteX1" fmla="*/ 0 w 60148"/>
                <a:gd name="connsiteY1" fmla="*/ 161305 h 219175"/>
                <a:gd name="connsiteX2" fmla="*/ 0 w 60148"/>
                <a:gd name="connsiteY2" fmla="*/ 50021 h 219175"/>
                <a:gd name="connsiteX3" fmla="*/ 41025 w 60148"/>
                <a:gd name="connsiteY3" fmla="*/ 421 h 219175"/>
                <a:gd name="connsiteX4" fmla="*/ 60147 w 60148"/>
                <a:gd name="connsiteY4" fmla="*/ 0 h 219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48" h="219175">
                  <a:moveTo>
                    <a:pt x="60148" y="219175"/>
                  </a:moveTo>
                  <a:lnTo>
                    <a:pt x="0" y="161305"/>
                  </a:lnTo>
                  <a:lnTo>
                    <a:pt x="0" y="50021"/>
                  </a:lnTo>
                  <a:lnTo>
                    <a:pt x="41025" y="421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9" name="Forme libre : forme 388">
              <a:extLst>
                <a:ext uri="{FF2B5EF4-FFF2-40B4-BE49-F238E27FC236}">
                  <a16:creationId xmlns:a16="http://schemas.microsoft.com/office/drawing/2014/main" id="{B917A23A-4403-425A-9C2A-27DE35CB443E}"/>
                </a:ext>
              </a:extLst>
            </p:cNvPr>
            <p:cNvSpPr/>
            <p:nvPr/>
          </p:nvSpPr>
          <p:spPr>
            <a:xfrm rot="8716295">
              <a:off x="5449866" y="92760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0" name="Forme libre : forme 389">
              <a:extLst>
                <a:ext uri="{FF2B5EF4-FFF2-40B4-BE49-F238E27FC236}">
                  <a16:creationId xmlns:a16="http://schemas.microsoft.com/office/drawing/2014/main" id="{8689535D-A8DA-4F0E-9DBC-CBAFC078B2CB}"/>
                </a:ext>
              </a:extLst>
            </p:cNvPr>
            <p:cNvSpPr/>
            <p:nvPr/>
          </p:nvSpPr>
          <p:spPr>
            <a:xfrm rot="8716295">
              <a:off x="5954717" y="1002572"/>
              <a:ext cx="48491" cy="55034"/>
            </a:xfrm>
            <a:custGeom>
              <a:avLst/>
              <a:gdLst>
                <a:gd name="connsiteX0" fmla="*/ 0 w 32038"/>
                <a:gd name="connsiteY0" fmla="*/ 35166 h 36361"/>
                <a:gd name="connsiteX1" fmla="*/ 29086 w 32038"/>
                <a:gd name="connsiteY1" fmla="*/ 0 h 36361"/>
                <a:gd name="connsiteX2" fmla="*/ 32038 w 32038"/>
                <a:gd name="connsiteY2" fmla="*/ 7028 h 36361"/>
                <a:gd name="connsiteX3" fmla="*/ 23495 w 32038"/>
                <a:gd name="connsiteY3" fmla="*/ 27704 h 36361"/>
                <a:gd name="connsiteX4" fmla="*/ 2990 w 32038"/>
                <a:gd name="connsiteY4" fmla="*/ 36361 h 36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038" h="36361">
                  <a:moveTo>
                    <a:pt x="0" y="35166"/>
                  </a:moveTo>
                  <a:lnTo>
                    <a:pt x="29086" y="0"/>
                  </a:lnTo>
                  <a:lnTo>
                    <a:pt x="32038" y="7028"/>
                  </a:lnTo>
                  <a:cubicBezTo>
                    <a:pt x="32039" y="14489"/>
                    <a:pt x="29191" y="22008"/>
                    <a:pt x="23495" y="27704"/>
                  </a:cubicBezTo>
                  <a:cubicBezTo>
                    <a:pt x="18027" y="33172"/>
                    <a:pt x="10736" y="36361"/>
                    <a:pt x="2990" y="363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1" name="Forme libre : forme 390">
              <a:extLst>
                <a:ext uri="{FF2B5EF4-FFF2-40B4-BE49-F238E27FC236}">
                  <a16:creationId xmlns:a16="http://schemas.microsoft.com/office/drawing/2014/main" id="{4277FFB2-58A8-4A02-AADF-E018D5998562}"/>
                </a:ext>
              </a:extLst>
            </p:cNvPr>
            <p:cNvSpPr/>
            <p:nvPr/>
          </p:nvSpPr>
          <p:spPr>
            <a:xfrm rot="8716295">
              <a:off x="5079758" y="33459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2" name="Forme libre : forme 391">
              <a:extLst>
                <a:ext uri="{FF2B5EF4-FFF2-40B4-BE49-F238E27FC236}">
                  <a16:creationId xmlns:a16="http://schemas.microsoft.com/office/drawing/2014/main" id="{EA35B526-89AB-4A06-AA35-B12BC8F0AB1F}"/>
                </a:ext>
              </a:extLst>
            </p:cNvPr>
            <p:cNvSpPr/>
            <p:nvPr/>
          </p:nvSpPr>
          <p:spPr>
            <a:xfrm rot="8716295">
              <a:off x="5215056" y="37885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3" name="Forme libre : forme 392">
              <a:extLst>
                <a:ext uri="{FF2B5EF4-FFF2-40B4-BE49-F238E27FC236}">
                  <a16:creationId xmlns:a16="http://schemas.microsoft.com/office/drawing/2014/main" id="{0E946C4C-ED44-46D8-8F43-896DC93007DB}"/>
                </a:ext>
              </a:extLst>
            </p:cNvPr>
            <p:cNvSpPr/>
            <p:nvPr/>
          </p:nvSpPr>
          <p:spPr>
            <a:xfrm rot="8716295">
              <a:off x="5147174" y="248268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4" name="Forme libre : forme 393">
              <a:extLst>
                <a:ext uri="{FF2B5EF4-FFF2-40B4-BE49-F238E27FC236}">
                  <a16:creationId xmlns:a16="http://schemas.microsoft.com/office/drawing/2014/main" id="{8B9BAAAD-4871-45E0-9808-B6AF30F7C6CF}"/>
                </a:ext>
              </a:extLst>
            </p:cNvPr>
            <p:cNvSpPr/>
            <p:nvPr/>
          </p:nvSpPr>
          <p:spPr>
            <a:xfrm rot="8716295">
              <a:off x="4909887" y="4686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5" name="Forme libre : forme 394">
              <a:extLst>
                <a:ext uri="{FF2B5EF4-FFF2-40B4-BE49-F238E27FC236}">
                  <a16:creationId xmlns:a16="http://schemas.microsoft.com/office/drawing/2014/main" id="{7D346B9D-669B-40E6-8A36-5A7046F06D7F}"/>
                </a:ext>
              </a:extLst>
            </p:cNvPr>
            <p:cNvSpPr/>
            <p:nvPr/>
          </p:nvSpPr>
          <p:spPr>
            <a:xfrm rot="8716295">
              <a:off x="4720840" y="15277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6" name="Forme libre : forme 395">
              <a:extLst>
                <a:ext uri="{FF2B5EF4-FFF2-40B4-BE49-F238E27FC236}">
                  <a16:creationId xmlns:a16="http://schemas.microsoft.com/office/drawing/2014/main" id="{66103F96-93DC-4231-9A89-20615F9DAE20}"/>
                </a:ext>
              </a:extLst>
            </p:cNvPr>
            <p:cNvSpPr/>
            <p:nvPr/>
          </p:nvSpPr>
          <p:spPr>
            <a:xfrm rot="8716295">
              <a:off x="4702019" y="-47743"/>
              <a:ext cx="439901" cy="516041"/>
            </a:xfrm>
            <a:custGeom>
              <a:avLst/>
              <a:gdLst>
                <a:gd name="connsiteX0" fmla="*/ 155476 w 290643"/>
                <a:gd name="connsiteY0" fmla="*/ 340949 h 340949"/>
                <a:gd name="connsiteX1" fmla="*/ 1169 w 290643"/>
                <a:gd name="connsiteY1" fmla="*/ 233989 h 340949"/>
                <a:gd name="connsiteX2" fmla="*/ 0 w 290643"/>
                <a:gd name="connsiteY2" fmla="*/ 220042 h 340949"/>
                <a:gd name="connsiteX3" fmla="*/ 0 w 290643"/>
                <a:gd name="connsiteY3" fmla="*/ 40596 h 340949"/>
                <a:gd name="connsiteX4" fmla="*/ 78250 w 290643"/>
                <a:gd name="connsiteY4" fmla="*/ 0 h 340949"/>
                <a:gd name="connsiteX5" fmla="*/ 79427 w 290643"/>
                <a:gd name="connsiteY5" fmla="*/ 164149 h 340949"/>
                <a:gd name="connsiteX6" fmla="*/ 93547 w 290643"/>
                <a:gd name="connsiteY6" fmla="*/ 261815 h 340949"/>
                <a:gd name="connsiteX7" fmla="*/ 164149 w 290643"/>
                <a:gd name="connsiteY7" fmla="*/ 300646 h 340949"/>
                <a:gd name="connsiteX8" fmla="*/ 217100 w 290643"/>
                <a:gd name="connsiteY8" fmla="*/ 291232 h 340949"/>
                <a:gd name="connsiteX9" fmla="*/ 289467 w 290643"/>
                <a:gd name="connsiteY9" fmla="*/ 261815 h 340949"/>
                <a:gd name="connsiteX10" fmla="*/ 290643 w 290643"/>
                <a:gd name="connsiteY10" fmla="*/ 269463 h 340949"/>
                <a:gd name="connsiteX11" fmla="*/ 290643 w 290643"/>
                <a:gd name="connsiteY11" fmla="*/ 275347 h 340949"/>
                <a:gd name="connsiteX12" fmla="*/ 189080 w 290643"/>
                <a:gd name="connsiteY12" fmla="*/ 331975 h 340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0643" h="340949">
                  <a:moveTo>
                    <a:pt x="155476" y="340949"/>
                  </a:moveTo>
                  <a:lnTo>
                    <a:pt x="1169" y="233989"/>
                  </a:lnTo>
                  <a:lnTo>
                    <a:pt x="0" y="220042"/>
                  </a:ln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9" y="300646"/>
                  </a:cubicBezTo>
                  <a:cubicBezTo>
                    <a:pt x="182388" y="300057"/>
                    <a:pt x="200038" y="296527"/>
                    <a:pt x="217100" y="291232"/>
                  </a:cubicBezTo>
                  <a:cubicBezTo>
                    <a:pt x="241810" y="283584"/>
                    <a:pt x="265933" y="273582"/>
                    <a:pt x="289467" y="261815"/>
                  </a:cubicBezTo>
                  <a:cubicBezTo>
                    <a:pt x="290055" y="264168"/>
                    <a:pt x="290643" y="267110"/>
                    <a:pt x="290643" y="269463"/>
                  </a:cubicBezTo>
                  <a:lnTo>
                    <a:pt x="290643" y="275347"/>
                  </a:lnTo>
                  <a:cubicBezTo>
                    <a:pt x="259461" y="302117"/>
                    <a:pt x="223425" y="320208"/>
                    <a:pt x="189080" y="3319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7" name="Forme libre : forme 396">
              <a:extLst>
                <a:ext uri="{FF2B5EF4-FFF2-40B4-BE49-F238E27FC236}">
                  <a16:creationId xmlns:a16="http://schemas.microsoft.com/office/drawing/2014/main" id="{E7200A70-679E-46A4-89BB-E2CFE2F1D7AE}"/>
                </a:ext>
              </a:extLst>
            </p:cNvPr>
            <p:cNvSpPr/>
            <p:nvPr/>
          </p:nvSpPr>
          <p:spPr>
            <a:xfrm rot="8716295">
              <a:off x="5046375" y="53059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8" name="Forme libre : forme 397">
              <a:extLst>
                <a:ext uri="{FF2B5EF4-FFF2-40B4-BE49-F238E27FC236}">
                  <a16:creationId xmlns:a16="http://schemas.microsoft.com/office/drawing/2014/main" id="{5D528D3B-7826-4D4D-96B5-43ADE18F1EA6}"/>
                </a:ext>
              </a:extLst>
            </p:cNvPr>
            <p:cNvSpPr/>
            <p:nvPr/>
          </p:nvSpPr>
          <p:spPr>
            <a:xfrm rot="8716295">
              <a:off x="5517321" y="-4401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9" name="Forme libre : forme 398">
              <a:extLst>
                <a:ext uri="{FF2B5EF4-FFF2-40B4-BE49-F238E27FC236}">
                  <a16:creationId xmlns:a16="http://schemas.microsoft.com/office/drawing/2014/main" id="{2614F3E9-F724-4FC2-90FF-F1B58DCC0522}"/>
                </a:ext>
              </a:extLst>
            </p:cNvPr>
            <p:cNvSpPr/>
            <p:nvPr/>
          </p:nvSpPr>
          <p:spPr>
            <a:xfrm rot="8716295">
              <a:off x="5660365" y="29418"/>
              <a:ext cx="361480" cy="358038"/>
            </a:xfrm>
            <a:custGeom>
              <a:avLst/>
              <a:gdLst>
                <a:gd name="connsiteX0" fmla="*/ 56401 w 238830"/>
                <a:gd name="connsiteY0" fmla="*/ 236556 h 236556"/>
                <a:gd name="connsiteX1" fmla="*/ 29681 w 238830"/>
                <a:gd name="connsiteY1" fmla="*/ 218034 h 236556"/>
                <a:gd name="connsiteX2" fmla="*/ 29681 w 238830"/>
                <a:gd name="connsiteY2" fmla="*/ 45624 h 236556"/>
                <a:gd name="connsiteX3" fmla="*/ 0 w 238830"/>
                <a:gd name="connsiteY3" fmla="*/ 45624 h 236556"/>
                <a:gd name="connsiteX4" fmla="*/ 36558 w 238830"/>
                <a:gd name="connsiteY4" fmla="*/ 1425 h 236556"/>
                <a:gd name="connsiteX5" fmla="*/ 82994 w 238830"/>
                <a:gd name="connsiteY5" fmla="*/ 1425 h 236556"/>
                <a:gd name="connsiteX6" fmla="*/ 82994 w 238830"/>
                <a:gd name="connsiteY6" fmla="*/ 75242 h 236556"/>
                <a:gd name="connsiteX7" fmla="*/ 84360 w 238830"/>
                <a:gd name="connsiteY7" fmla="*/ 75242 h 236556"/>
                <a:gd name="connsiteX8" fmla="*/ 132205 w 238830"/>
                <a:gd name="connsiteY8" fmla="*/ 5981 h 236556"/>
                <a:gd name="connsiteX9" fmla="*/ 163646 w 238830"/>
                <a:gd name="connsiteY9" fmla="*/ 57 h 236556"/>
                <a:gd name="connsiteX10" fmla="*/ 238830 w 238830"/>
                <a:gd name="connsiteY10" fmla="*/ 88456 h 236556"/>
                <a:gd name="connsiteX11" fmla="*/ 238830 w 238830"/>
                <a:gd name="connsiteY11" fmla="*/ 94380 h 236556"/>
                <a:gd name="connsiteX12" fmla="*/ 176860 w 238830"/>
                <a:gd name="connsiteY12" fmla="*/ 98025 h 236556"/>
                <a:gd name="connsiteX13" fmla="*/ 176860 w 238830"/>
                <a:gd name="connsiteY13" fmla="*/ 81621 h 236556"/>
                <a:gd name="connsiteX14" fmla="*/ 143141 w 238830"/>
                <a:gd name="connsiteY14" fmla="*/ 40156 h 236556"/>
                <a:gd name="connsiteX15" fmla="*/ 89829 w 238830"/>
                <a:gd name="connsiteY15" fmla="*/ 127643 h 236556"/>
                <a:gd name="connsiteX16" fmla="*/ 89829 w 238830"/>
                <a:gd name="connsiteY16" fmla="*/ 213764 h 236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8830" h="236556">
                  <a:moveTo>
                    <a:pt x="56401" y="236556"/>
                  </a:moveTo>
                  <a:lnTo>
                    <a:pt x="29681" y="218034"/>
                  </a:lnTo>
                  <a:lnTo>
                    <a:pt x="29681" y="45624"/>
                  </a:lnTo>
                  <a:lnTo>
                    <a:pt x="0" y="45624"/>
                  </a:lnTo>
                  <a:lnTo>
                    <a:pt x="36558" y="1425"/>
                  </a:lnTo>
                  <a:lnTo>
                    <a:pt x="82994" y="1425"/>
                  </a:lnTo>
                  <a:lnTo>
                    <a:pt x="82994" y="75242"/>
                  </a:lnTo>
                  <a:lnTo>
                    <a:pt x="84360" y="75242"/>
                  </a:lnTo>
                  <a:cubicBezTo>
                    <a:pt x="98942" y="31954"/>
                    <a:pt x="110333" y="15095"/>
                    <a:pt x="132205" y="5981"/>
                  </a:cubicBezTo>
                  <a:cubicBezTo>
                    <a:pt x="142230" y="1880"/>
                    <a:pt x="152710" y="-398"/>
                    <a:pt x="163646" y="57"/>
                  </a:cubicBezTo>
                  <a:cubicBezTo>
                    <a:pt x="210579" y="-854"/>
                    <a:pt x="238830" y="31954"/>
                    <a:pt x="238830" y="88456"/>
                  </a:cubicBezTo>
                  <a:lnTo>
                    <a:pt x="238830" y="94380"/>
                  </a:lnTo>
                  <a:lnTo>
                    <a:pt x="176860" y="98025"/>
                  </a:lnTo>
                  <a:lnTo>
                    <a:pt x="176860" y="81621"/>
                  </a:lnTo>
                  <a:cubicBezTo>
                    <a:pt x="176860" y="57016"/>
                    <a:pt x="162735" y="40156"/>
                    <a:pt x="143141" y="40156"/>
                  </a:cubicBezTo>
                  <a:cubicBezTo>
                    <a:pt x="113979" y="40156"/>
                    <a:pt x="89829" y="78887"/>
                    <a:pt x="89829" y="127643"/>
                  </a:cubicBezTo>
                  <a:lnTo>
                    <a:pt x="89829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0" name="Forme libre : forme 399">
              <a:extLst>
                <a:ext uri="{FF2B5EF4-FFF2-40B4-BE49-F238E27FC236}">
                  <a16:creationId xmlns:a16="http://schemas.microsoft.com/office/drawing/2014/main" id="{30961414-E4AD-4BB3-9FB3-626F7F1FE23D}"/>
                </a:ext>
              </a:extLst>
            </p:cNvPr>
            <p:cNvSpPr/>
            <p:nvPr/>
          </p:nvSpPr>
          <p:spPr>
            <a:xfrm rot="8716295">
              <a:off x="5347450" y="8999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1" name="Forme libre : forme 400">
              <a:extLst>
                <a:ext uri="{FF2B5EF4-FFF2-40B4-BE49-F238E27FC236}">
                  <a16:creationId xmlns:a16="http://schemas.microsoft.com/office/drawing/2014/main" id="{30769E12-B50E-4874-9A5A-F158D8D6A603}"/>
                </a:ext>
              </a:extLst>
            </p:cNvPr>
            <p:cNvSpPr/>
            <p:nvPr/>
          </p:nvSpPr>
          <p:spPr>
            <a:xfrm rot="8716295">
              <a:off x="5220022" y="-7080"/>
              <a:ext cx="219414" cy="84041"/>
            </a:xfrm>
            <a:custGeom>
              <a:avLst/>
              <a:gdLst>
                <a:gd name="connsiteX0" fmla="*/ 80105 w 144967"/>
                <a:gd name="connsiteY0" fmla="*/ 55526 h 55526"/>
                <a:gd name="connsiteX1" fmla="*/ 0 w 144967"/>
                <a:gd name="connsiteY1" fmla="*/ 0 h 55526"/>
                <a:gd name="connsiteX2" fmla="*/ 144967 w 144967"/>
                <a:gd name="connsiteY2" fmla="*/ 0 h 55526"/>
                <a:gd name="connsiteX3" fmla="*/ 144967 w 144967"/>
                <a:gd name="connsiteY3" fmla="*/ 55323 h 55526"/>
                <a:gd name="connsiteX4" fmla="*/ 80175 w 144967"/>
                <a:gd name="connsiteY4" fmla="*/ 55323 h 55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967" h="55526">
                  <a:moveTo>
                    <a:pt x="80105" y="55526"/>
                  </a:moveTo>
                  <a:lnTo>
                    <a:pt x="0" y="0"/>
                  </a:lnTo>
                  <a:lnTo>
                    <a:pt x="144967" y="0"/>
                  </a:lnTo>
                  <a:lnTo>
                    <a:pt x="144967" y="55323"/>
                  </a:lnTo>
                  <a:lnTo>
                    <a:pt x="8017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2" name="Forme libre : forme 401">
              <a:extLst>
                <a:ext uri="{FF2B5EF4-FFF2-40B4-BE49-F238E27FC236}">
                  <a16:creationId xmlns:a16="http://schemas.microsoft.com/office/drawing/2014/main" id="{DED468EA-B834-46DE-9EEF-86FA34FB4D87}"/>
                </a:ext>
              </a:extLst>
            </p:cNvPr>
            <p:cNvSpPr/>
            <p:nvPr/>
          </p:nvSpPr>
          <p:spPr>
            <a:xfrm rot="8716295">
              <a:off x="5483939" y="15198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3" name="Forme libre : forme 402">
              <a:extLst>
                <a:ext uri="{FF2B5EF4-FFF2-40B4-BE49-F238E27FC236}">
                  <a16:creationId xmlns:a16="http://schemas.microsoft.com/office/drawing/2014/main" id="{3C1561C2-2060-4974-8514-2DC34975F6D4}"/>
                </a:ext>
              </a:extLst>
            </p:cNvPr>
            <p:cNvSpPr/>
            <p:nvPr/>
          </p:nvSpPr>
          <p:spPr>
            <a:xfrm rot="8716295">
              <a:off x="5128323" y="-20358"/>
              <a:ext cx="80664" cy="63766"/>
            </a:xfrm>
            <a:custGeom>
              <a:avLst/>
              <a:gdLst>
                <a:gd name="connsiteX0" fmla="*/ 51759 w 53295"/>
                <a:gd name="connsiteY0" fmla="*/ 42130 h 42130"/>
                <a:gd name="connsiteX1" fmla="*/ 0 w 53295"/>
                <a:gd name="connsiteY1" fmla="*/ 6252 h 42130"/>
                <a:gd name="connsiteX2" fmla="*/ 14807 w 53295"/>
                <a:gd name="connsiteY2" fmla="*/ 0 h 42130"/>
                <a:gd name="connsiteX3" fmla="*/ 41975 w 53295"/>
                <a:gd name="connsiteY3" fmla="*/ 11471 h 42130"/>
                <a:gd name="connsiteX4" fmla="*/ 53295 w 53295"/>
                <a:gd name="connsiteY4" fmla="*/ 38412 h 42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295" h="42130">
                  <a:moveTo>
                    <a:pt x="51759" y="42130"/>
                  </a:moveTo>
                  <a:lnTo>
                    <a:pt x="0" y="6252"/>
                  </a:lnTo>
                  <a:lnTo>
                    <a:pt x="14807" y="0"/>
                  </a:lnTo>
                  <a:cubicBezTo>
                    <a:pt x="25071" y="0"/>
                    <a:pt x="34731" y="4226"/>
                    <a:pt x="41975" y="11471"/>
                  </a:cubicBezTo>
                  <a:cubicBezTo>
                    <a:pt x="49522" y="18716"/>
                    <a:pt x="53295" y="28526"/>
                    <a:pt x="53295" y="3841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4" name="Forme libre : forme 403">
              <a:extLst>
                <a:ext uri="{FF2B5EF4-FFF2-40B4-BE49-F238E27FC236}">
                  <a16:creationId xmlns:a16="http://schemas.microsoft.com/office/drawing/2014/main" id="{BE3C9C9C-FBEC-4353-AF9E-1F8508D75B04}"/>
                </a:ext>
              </a:extLst>
            </p:cNvPr>
            <p:cNvSpPr/>
            <p:nvPr/>
          </p:nvSpPr>
          <p:spPr>
            <a:xfrm rot="7484129">
              <a:off x="5642756" y="4415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5" name="Forme libre : forme 404">
              <a:extLst>
                <a:ext uri="{FF2B5EF4-FFF2-40B4-BE49-F238E27FC236}">
                  <a16:creationId xmlns:a16="http://schemas.microsoft.com/office/drawing/2014/main" id="{8A4BC53C-40CB-4B8B-A2E3-E4599AA1DEB7}"/>
                </a:ext>
              </a:extLst>
            </p:cNvPr>
            <p:cNvSpPr/>
            <p:nvPr/>
          </p:nvSpPr>
          <p:spPr>
            <a:xfrm rot="13089394">
              <a:off x="5789679" y="415199"/>
              <a:ext cx="360116" cy="446294"/>
            </a:xfrm>
            <a:custGeom>
              <a:avLst/>
              <a:gdLst>
                <a:gd name="connsiteX0" fmla="*/ 39306 w 237929"/>
                <a:gd name="connsiteY0" fmla="*/ 79955 h 294867"/>
                <a:gd name="connsiteX1" fmla="*/ 0 w 237929"/>
                <a:gd name="connsiteY1" fmla="*/ 20095 h 294867"/>
                <a:gd name="connsiteX2" fmla="*/ 38733 w 237929"/>
                <a:gd name="connsiteY2" fmla="*/ 0 h 294867"/>
                <a:gd name="connsiteX3" fmla="*/ 237929 w 237929"/>
                <a:gd name="connsiteY3" fmla="*/ 258238 h 294867"/>
                <a:gd name="connsiteX4" fmla="*/ 191415 w 237929"/>
                <a:gd name="connsiteY4" fmla="*/ 290069 h 294867"/>
                <a:gd name="connsiteX5" fmla="*/ 180425 w 237929"/>
                <a:gd name="connsiteY5" fmla="*/ 294867 h 294867"/>
                <a:gd name="connsiteX6" fmla="*/ 166448 w 237929"/>
                <a:gd name="connsiteY6" fmla="*/ 273582 h 294867"/>
                <a:gd name="connsiteX7" fmla="*/ 168955 w 237929"/>
                <a:gd name="connsiteY7" fmla="*/ 273136 h 294867"/>
                <a:gd name="connsiteX8" fmla="*/ 236826 w 237929"/>
                <a:gd name="connsiteY8" fmla="*/ 245547 h 294867"/>
                <a:gd name="connsiteX9" fmla="*/ 237929 w 237929"/>
                <a:gd name="connsiteY9" fmla="*/ 252720 h 294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7929" h="294867">
                  <a:moveTo>
                    <a:pt x="39306" y="79955"/>
                  </a:moveTo>
                  <a:lnTo>
                    <a:pt x="0" y="20095"/>
                  </a:lnTo>
                  <a:lnTo>
                    <a:pt x="38733" y="0"/>
                  </a:lnTo>
                  <a:close/>
                  <a:moveTo>
                    <a:pt x="237929" y="258238"/>
                  </a:moveTo>
                  <a:cubicBezTo>
                    <a:pt x="223307" y="270791"/>
                    <a:pt x="207546" y="281309"/>
                    <a:pt x="191415" y="290069"/>
                  </a:cubicBezTo>
                  <a:lnTo>
                    <a:pt x="180425" y="294867"/>
                  </a:lnTo>
                  <a:lnTo>
                    <a:pt x="166448" y="273582"/>
                  </a:lnTo>
                  <a:lnTo>
                    <a:pt x="168955" y="273136"/>
                  </a:lnTo>
                  <a:cubicBezTo>
                    <a:pt x="192130" y="265963"/>
                    <a:pt x="214754" y="256582"/>
                    <a:pt x="236826" y="245547"/>
                  </a:cubicBezTo>
                  <a:cubicBezTo>
                    <a:pt x="237377" y="247754"/>
                    <a:pt x="237929" y="250513"/>
                    <a:pt x="237929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6" name="Forme libre : forme 405">
              <a:extLst>
                <a:ext uri="{FF2B5EF4-FFF2-40B4-BE49-F238E27FC236}">
                  <a16:creationId xmlns:a16="http://schemas.microsoft.com/office/drawing/2014/main" id="{800D034F-ECF4-4F0F-8FF6-C97DAD2143D3}"/>
                </a:ext>
              </a:extLst>
            </p:cNvPr>
            <p:cNvSpPr/>
            <p:nvPr/>
          </p:nvSpPr>
          <p:spPr>
            <a:xfrm rot="8716295">
              <a:off x="5996886" y="-12676"/>
              <a:ext cx="90399" cy="122140"/>
            </a:xfrm>
            <a:custGeom>
              <a:avLst/>
              <a:gdLst>
                <a:gd name="connsiteX0" fmla="*/ 0 w 59727"/>
                <a:gd name="connsiteY0" fmla="*/ 52945 h 80698"/>
                <a:gd name="connsiteX1" fmla="*/ 43791 w 59727"/>
                <a:gd name="connsiteY1" fmla="*/ 0 h 80698"/>
                <a:gd name="connsiteX2" fmla="*/ 59727 w 59727"/>
                <a:gd name="connsiteY2" fmla="*/ 37928 h 80698"/>
                <a:gd name="connsiteX3" fmla="*/ 42480 w 59727"/>
                <a:gd name="connsiteY3" fmla="*/ 79666 h 80698"/>
                <a:gd name="connsiteX4" fmla="*/ 40038 w 59727"/>
                <a:gd name="connsiteY4" fmla="*/ 80698 h 80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727" h="80698">
                  <a:moveTo>
                    <a:pt x="0" y="52945"/>
                  </a:moveTo>
                  <a:lnTo>
                    <a:pt x="43791" y="0"/>
                  </a:lnTo>
                  <a:lnTo>
                    <a:pt x="59727" y="37928"/>
                  </a:lnTo>
                  <a:cubicBezTo>
                    <a:pt x="59727" y="52991"/>
                    <a:pt x="53978" y="68168"/>
                    <a:pt x="42480" y="79666"/>
                  </a:cubicBezTo>
                  <a:lnTo>
                    <a:pt x="40038" y="806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7" name="Forme libre : forme 406">
              <a:extLst>
                <a:ext uri="{FF2B5EF4-FFF2-40B4-BE49-F238E27FC236}">
                  <a16:creationId xmlns:a16="http://schemas.microsoft.com/office/drawing/2014/main" id="{3B32A0F8-96EA-444F-A5F3-4315A6F0F2B6}"/>
                </a:ext>
              </a:extLst>
            </p:cNvPr>
            <p:cNvSpPr/>
            <p:nvPr/>
          </p:nvSpPr>
          <p:spPr>
            <a:xfrm rot="8716295">
              <a:off x="5631023" y="-8174"/>
              <a:ext cx="87445" cy="82387"/>
            </a:xfrm>
            <a:custGeom>
              <a:avLst/>
              <a:gdLst>
                <a:gd name="connsiteX0" fmla="*/ 37946 w 57775"/>
                <a:gd name="connsiteY0" fmla="*/ 54433 h 54433"/>
                <a:gd name="connsiteX1" fmla="*/ 0 w 57775"/>
                <a:gd name="connsiteY1" fmla="*/ 28130 h 54433"/>
                <a:gd name="connsiteX2" fmla="*/ 8222 w 57775"/>
                <a:gd name="connsiteY2" fmla="*/ 8658 h 54433"/>
                <a:gd name="connsiteX3" fmla="*/ 28726 w 57775"/>
                <a:gd name="connsiteY3" fmla="*/ 0 h 54433"/>
                <a:gd name="connsiteX4" fmla="*/ 49232 w 57775"/>
                <a:gd name="connsiteY4" fmla="*/ 8658 h 54433"/>
                <a:gd name="connsiteX5" fmla="*/ 49232 w 57775"/>
                <a:gd name="connsiteY5" fmla="*/ 49668 h 54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775" h="54433">
                  <a:moveTo>
                    <a:pt x="37946" y="54433"/>
                  </a:moveTo>
                  <a:lnTo>
                    <a:pt x="0" y="28130"/>
                  </a:lnTo>
                  <a:lnTo>
                    <a:pt x="8222" y="8658"/>
                  </a:lnTo>
                  <a:cubicBezTo>
                    <a:pt x="13690" y="3190"/>
                    <a:pt x="20981" y="0"/>
                    <a:pt x="28726" y="0"/>
                  </a:cubicBezTo>
                  <a:cubicBezTo>
                    <a:pt x="36473" y="0"/>
                    <a:pt x="43764" y="3190"/>
                    <a:pt x="49232" y="8658"/>
                  </a:cubicBezTo>
                  <a:cubicBezTo>
                    <a:pt x="60624" y="19594"/>
                    <a:pt x="60623" y="38276"/>
                    <a:pt x="49232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pic>
        <p:nvPicPr>
          <p:cNvPr id="409" name="Graphique 408">
            <a:extLst>
              <a:ext uri="{FF2B5EF4-FFF2-40B4-BE49-F238E27FC236}">
                <a16:creationId xmlns:a16="http://schemas.microsoft.com/office/drawing/2014/main" id="{F10A60C0-CBC0-4A34-A118-4449B251E1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97194" y="513241"/>
            <a:ext cx="2255854" cy="673200"/>
          </a:xfrm>
          <a:prstGeom prst="rect">
            <a:avLst/>
          </a:prstGeom>
        </p:spPr>
      </p:pic>
      <p:sp>
        <p:nvSpPr>
          <p:cNvPr id="411" name="Espace réservé du texte 410">
            <a:extLst>
              <a:ext uri="{FF2B5EF4-FFF2-40B4-BE49-F238E27FC236}">
                <a16:creationId xmlns:a16="http://schemas.microsoft.com/office/drawing/2014/main" id="{E014E6DC-AD19-40E5-A2B7-DF68385EE1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3141" y="1755675"/>
            <a:ext cx="7379432" cy="299187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lang="fr-FR" sz="4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r">
              <a:buNone/>
              <a:defRPr sz="5400" b="1" cap="all" baseline="0">
                <a:solidFill>
                  <a:srgbClr val="009FE3"/>
                </a:solidFill>
              </a:defRPr>
            </a:lvl2pPr>
          </a:lstStyle>
          <a:p>
            <a:pPr lvl="0"/>
            <a:r>
              <a:rPr lang="fr-FR" dirty="0"/>
              <a:t>Titre de la </a:t>
            </a:r>
            <a:br>
              <a:rPr lang="fr-FR" dirty="0"/>
            </a:br>
            <a:r>
              <a:rPr lang="fr-FR" dirty="0"/>
              <a:t>présentation</a:t>
            </a:r>
          </a:p>
          <a:p>
            <a:pPr lvl="1"/>
            <a:r>
              <a:rPr lang="fr-FR" dirty="0"/>
              <a:t>exergue</a:t>
            </a:r>
          </a:p>
        </p:txBody>
      </p:sp>
    </p:spTree>
    <p:extLst>
      <p:ext uri="{BB962C8B-B14F-4D97-AF65-F5344CB8AC3E}">
        <p14:creationId xmlns:p14="http://schemas.microsoft.com/office/powerpoint/2010/main" val="188930692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sur motif + Texte">
    <p:bg>
      <p:bgPr>
        <a:solidFill>
          <a:srgbClr val="009F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10" name="Groupe 1809">
            <a:extLst>
              <a:ext uri="{FF2B5EF4-FFF2-40B4-BE49-F238E27FC236}">
                <a16:creationId xmlns:a16="http://schemas.microsoft.com/office/drawing/2014/main" id="{D5E52DBD-0A92-4197-896E-BCC6716DD6DA}"/>
              </a:ext>
            </a:extLst>
          </p:cNvPr>
          <p:cNvGrpSpPr/>
          <p:nvPr userDrawn="1"/>
        </p:nvGrpSpPr>
        <p:grpSpPr>
          <a:xfrm>
            <a:off x="-91485" y="-107301"/>
            <a:ext cx="6241280" cy="5352842"/>
            <a:chOff x="-91485" y="-107301"/>
            <a:chExt cx="6241280" cy="5352842"/>
          </a:xfrm>
          <a:solidFill>
            <a:schemeClr val="bg2">
              <a:alpha val="5000"/>
            </a:schemeClr>
          </a:solidFill>
        </p:grpSpPr>
        <p:sp>
          <p:nvSpPr>
            <p:cNvPr id="1811" name="Forme libre : forme 1810">
              <a:extLst>
                <a:ext uri="{FF2B5EF4-FFF2-40B4-BE49-F238E27FC236}">
                  <a16:creationId xmlns:a16="http://schemas.microsoft.com/office/drawing/2014/main" id="{356DB458-2C6D-4A95-879D-F8AE824F08BD}"/>
                </a:ext>
              </a:extLst>
            </p:cNvPr>
            <p:cNvSpPr/>
            <p:nvPr/>
          </p:nvSpPr>
          <p:spPr>
            <a:xfrm rot="8716295">
              <a:off x="3051469" y="229467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2" name="Forme libre : forme 1811">
              <a:extLst>
                <a:ext uri="{FF2B5EF4-FFF2-40B4-BE49-F238E27FC236}">
                  <a16:creationId xmlns:a16="http://schemas.microsoft.com/office/drawing/2014/main" id="{D0305DE6-6073-4DA8-862F-147A02C05ABF}"/>
                </a:ext>
              </a:extLst>
            </p:cNvPr>
            <p:cNvSpPr/>
            <p:nvPr/>
          </p:nvSpPr>
          <p:spPr>
            <a:xfrm rot="8716295">
              <a:off x="3140861" y="232391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3" name="Forme libre : forme 1812">
              <a:extLst>
                <a:ext uri="{FF2B5EF4-FFF2-40B4-BE49-F238E27FC236}">
                  <a16:creationId xmlns:a16="http://schemas.microsoft.com/office/drawing/2014/main" id="{D227984A-879C-4B8E-95D0-FFA8AD953D5C}"/>
                </a:ext>
              </a:extLst>
            </p:cNvPr>
            <p:cNvSpPr/>
            <p:nvPr/>
          </p:nvSpPr>
          <p:spPr>
            <a:xfrm rot="8716295">
              <a:off x="3096011" y="2237639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4" name="Forme libre : forme 1813">
              <a:extLst>
                <a:ext uri="{FF2B5EF4-FFF2-40B4-BE49-F238E27FC236}">
                  <a16:creationId xmlns:a16="http://schemas.microsoft.com/office/drawing/2014/main" id="{2C608E55-0CAE-4732-A11A-F0F39D2AEFD9}"/>
                </a:ext>
              </a:extLst>
            </p:cNvPr>
            <p:cNvSpPr/>
            <p:nvPr/>
          </p:nvSpPr>
          <p:spPr>
            <a:xfrm rot="8716295">
              <a:off x="2939235" y="238322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5" name="Forme libre : forme 1814">
              <a:extLst>
                <a:ext uri="{FF2B5EF4-FFF2-40B4-BE49-F238E27FC236}">
                  <a16:creationId xmlns:a16="http://schemas.microsoft.com/office/drawing/2014/main" id="{E8BA7359-7258-4AE0-83CA-5DD072306BDB}"/>
                </a:ext>
              </a:extLst>
            </p:cNvPr>
            <p:cNvSpPr/>
            <p:nvPr/>
          </p:nvSpPr>
          <p:spPr>
            <a:xfrm rot="8716295">
              <a:off x="2814332" y="217454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6" name="Forme libre : forme 1815">
              <a:extLst>
                <a:ext uri="{FF2B5EF4-FFF2-40B4-BE49-F238E27FC236}">
                  <a16:creationId xmlns:a16="http://schemas.microsoft.com/office/drawing/2014/main" id="{C4F787ED-8136-4000-BB29-ED55AC1B93E4}"/>
                </a:ext>
              </a:extLst>
            </p:cNvPr>
            <p:cNvSpPr/>
            <p:nvPr/>
          </p:nvSpPr>
          <p:spPr>
            <a:xfrm rot="8716295">
              <a:off x="2802280" y="203576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7" name="Forme libre : forme 1816">
              <a:extLst>
                <a:ext uri="{FF2B5EF4-FFF2-40B4-BE49-F238E27FC236}">
                  <a16:creationId xmlns:a16="http://schemas.microsoft.com/office/drawing/2014/main" id="{7A005167-A9EB-451A-912F-F0D5BCE01993}"/>
                </a:ext>
              </a:extLst>
            </p:cNvPr>
            <p:cNvSpPr/>
            <p:nvPr/>
          </p:nvSpPr>
          <p:spPr>
            <a:xfrm rot="8716295">
              <a:off x="3029413" y="2424173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8" name="Forme libre : forme 1817">
              <a:extLst>
                <a:ext uri="{FF2B5EF4-FFF2-40B4-BE49-F238E27FC236}">
                  <a16:creationId xmlns:a16="http://schemas.microsoft.com/office/drawing/2014/main" id="{1E844DF7-3B47-43F4-A15C-58025D0149C0}"/>
                </a:ext>
              </a:extLst>
            </p:cNvPr>
            <p:cNvSpPr/>
            <p:nvPr/>
          </p:nvSpPr>
          <p:spPr>
            <a:xfrm rot="8716295">
              <a:off x="3340568" y="204452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9" name="Forme libre : forme 1818">
              <a:extLst>
                <a:ext uri="{FF2B5EF4-FFF2-40B4-BE49-F238E27FC236}">
                  <a16:creationId xmlns:a16="http://schemas.microsoft.com/office/drawing/2014/main" id="{B996BBF0-6994-43D3-9BE9-386DA607C947}"/>
                </a:ext>
              </a:extLst>
            </p:cNvPr>
            <p:cNvSpPr/>
            <p:nvPr/>
          </p:nvSpPr>
          <p:spPr>
            <a:xfrm rot="8716295">
              <a:off x="3429960" y="207376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0" name="Forme libre : forme 1819">
              <a:extLst>
                <a:ext uri="{FF2B5EF4-FFF2-40B4-BE49-F238E27FC236}">
                  <a16:creationId xmlns:a16="http://schemas.microsoft.com/office/drawing/2014/main" id="{65E70179-AEDC-493A-B137-D76EB54F2A95}"/>
                </a:ext>
              </a:extLst>
            </p:cNvPr>
            <p:cNvSpPr/>
            <p:nvPr/>
          </p:nvSpPr>
          <p:spPr>
            <a:xfrm rot="8716295">
              <a:off x="3228334" y="213306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1" name="Forme libre : forme 1820">
              <a:extLst>
                <a:ext uri="{FF2B5EF4-FFF2-40B4-BE49-F238E27FC236}">
                  <a16:creationId xmlns:a16="http://schemas.microsoft.com/office/drawing/2014/main" id="{15E43ACE-5A35-4065-8BA0-05B9E4F3E2DD}"/>
                </a:ext>
              </a:extLst>
            </p:cNvPr>
            <p:cNvSpPr/>
            <p:nvPr/>
          </p:nvSpPr>
          <p:spPr>
            <a:xfrm rot="8716295">
              <a:off x="3103432" y="192439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2" name="Forme libre : forme 1821">
              <a:extLst>
                <a:ext uri="{FF2B5EF4-FFF2-40B4-BE49-F238E27FC236}">
                  <a16:creationId xmlns:a16="http://schemas.microsoft.com/office/drawing/2014/main" id="{2A0C81CE-D249-4CA0-8A47-1AAEA8CB9533}"/>
                </a:ext>
              </a:extLst>
            </p:cNvPr>
            <p:cNvSpPr/>
            <p:nvPr/>
          </p:nvSpPr>
          <p:spPr>
            <a:xfrm rot="8716295">
              <a:off x="3318512" y="2174021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3" name="Forme libre : forme 1822">
              <a:extLst>
                <a:ext uri="{FF2B5EF4-FFF2-40B4-BE49-F238E27FC236}">
                  <a16:creationId xmlns:a16="http://schemas.microsoft.com/office/drawing/2014/main" id="{0EEC3B89-6CB0-495F-A11A-4B49BC16C2B1}"/>
                </a:ext>
              </a:extLst>
            </p:cNvPr>
            <p:cNvSpPr/>
            <p:nvPr/>
          </p:nvSpPr>
          <p:spPr>
            <a:xfrm rot="8716295">
              <a:off x="3077061" y="202442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4" name="Forme libre : forme 1823">
              <a:extLst>
                <a:ext uri="{FF2B5EF4-FFF2-40B4-BE49-F238E27FC236}">
                  <a16:creationId xmlns:a16="http://schemas.microsoft.com/office/drawing/2014/main" id="{65DB1D59-7D7C-4965-B3DC-B73DA9D278B7}"/>
                </a:ext>
              </a:extLst>
            </p:cNvPr>
            <p:cNvSpPr/>
            <p:nvPr/>
          </p:nvSpPr>
          <p:spPr>
            <a:xfrm rot="7484129">
              <a:off x="3423443" y="236537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5" name="Forme libre : forme 1824">
              <a:extLst>
                <a:ext uri="{FF2B5EF4-FFF2-40B4-BE49-F238E27FC236}">
                  <a16:creationId xmlns:a16="http://schemas.microsoft.com/office/drawing/2014/main" id="{AC9D40C9-BBC1-4F0D-B0BB-6E893395B20A}"/>
                </a:ext>
              </a:extLst>
            </p:cNvPr>
            <p:cNvSpPr/>
            <p:nvPr/>
          </p:nvSpPr>
          <p:spPr>
            <a:xfrm rot="13089394">
              <a:off x="3528263" y="233190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6" name="Forme libre : forme 1825">
              <a:extLst>
                <a:ext uri="{FF2B5EF4-FFF2-40B4-BE49-F238E27FC236}">
                  <a16:creationId xmlns:a16="http://schemas.microsoft.com/office/drawing/2014/main" id="{66690AAC-D0B3-493E-A085-78B2DC0C4ADB}"/>
                </a:ext>
              </a:extLst>
            </p:cNvPr>
            <p:cNvSpPr/>
            <p:nvPr/>
          </p:nvSpPr>
          <p:spPr>
            <a:xfrm rot="8716295">
              <a:off x="3713848" y="214022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7" name="Forme libre : forme 1826">
              <a:extLst>
                <a:ext uri="{FF2B5EF4-FFF2-40B4-BE49-F238E27FC236}">
                  <a16:creationId xmlns:a16="http://schemas.microsoft.com/office/drawing/2014/main" id="{E1D008C3-7DA7-4156-9341-879792E727A4}"/>
                </a:ext>
              </a:extLst>
            </p:cNvPr>
            <p:cNvSpPr/>
            <p:nvPr/>
          </p:nvSpPr>
          <p:spPr>
            <a:xfrm rot="8716295">
              <a:off x="3662043" y="203663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8" name="Forme libre : forme 1827">
              <a:extLst>
                <a:ext uri="{FF2B5EF4-FFF2-40B4-BE49-F238E27FC236}">
                  <a16:creationId xmlns:a16="http://schemas.microsoft.com/office/drawing/2014/main" id="{B1942048-207E-4193-8388-B1BA4B510158}"/>
                </a:ext>
              </a:extLst>
            </p:cNvPr>
            <p:cNvSpPr/>
            <p:nvPr/>
          </p:nvSpPr>
          <p:spPr>
            <a:xfrm rot="8716295">
              <a:off x="3418797" y="206685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9" name="Forme libre : forme 1828">
              <a:extLst>
                <a:ext uri="{FF2B5EF4-FFF2-40B4-BE49-F238E27FC236}">
                  <a16:creationId xmlns:a16="http://schemas.microsoft.com/office/drawing/2014/main" id="{BA4761C7-6BBA-45FB-B8B6-2CD746953A11}"/>
                </a:ext>
              </a:extLst>
            </p:cNvPr>
            <p:cNvSpPr/>
            <p:nvPr/>
          </p:nvSpPr>
          <p:spPr>
            <a:xfrm rot="8716295">
              <a:off x="3596249" y="190761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0" name="Forme libre : forme 1829">
              <a:extLst>
                <a:ext uri="{FF2B5EF4-FFF2-40B4-BE49-F238E27FC236}">
                  <a16:creationId xmlns:a16="http://schemas.microsoft.com/office/drawing/2014/main" id="{93D0BE11-A1A3-453C-8F4F-F64994477961}"/>
                </a:ext>
              </a:extLst>
            </p:cNvPr>
            <p:cNvSpPr/>
            <p:nvPr/>
          </p:nvSpPr>
          <p:spPr>
            <a:xfrm rot="8716295">
              <a:off x="3274636" y="295437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1" name="Forme libre : forme 1830">
              <a:extLst>
                <a:ext uri="{FF2B5EF4-FFF2-40B4-BE49-F238E27FC236}">
                  <a16:creationId xmlns:a16="http://schemas.microsoft.com/office/drawing/2014/main" id="{BD00B47F-E8C8-4049-8B8C-1F2C9E0DDCF5}"/>
                </a:ext>
              </a:extLst>
            </p:cNvPr>
            <p:cNvSpPr/>
            <p:nvPr/>
          </p:nvSpPr>
          <p:spPr>
            <a:xfrm rot="8716295">
              <a:off x="3364028" y="298361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2" name="Forme libre : forme 1831">
              <a:extLst>
                <a:ext uri="{FF2B5EF4-FFF2-40B4-BE49-F238E27FC236}">
                  <a16:creationId xmlns:a16="http://schemas.microsoft.com/office/drawing/2014/main" id="{6639A803-0A9B-4CA8-84CA-CB6864EB9F13}"/>
                </a:ext>
              </a:extLst>
            </p:cNvPr>
            <p:cNvSpPr/>
            <p:nvPr/>
          </p:nvSpPr>
          <p:spPr>
            <a:xfrm rot="8716295">
              <a:off x="3319178" y="2897338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3" name="Forme libre : forme 1832">
              <a:extLst>
                <a:ext uri="{FF2B5EF4-FFF2-40B4-BE49-F238E27FC236}">
                  <a16:creationId xmlns:a16="http://schemas.microsoft.com/office/drawing/2014/main" id="{468DF1AB-9662-4891-A3B7-DA79E7EBC16D}"/>
                </a:ext>
              </a:extLst>
            </p:cNvPr>
            <p:cNvSpPr/>
            <p:nvPr/>
          </p:nvSpPr>
          <p:spPr>
            <a:xfrm rot="8716295">
              <a:off x="3162402" y="30429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4" name="Forme libre : forme 1833">
              <a:extLst>
                <a:ext uri="{FF2B5EF4-FFF2-40B4-BE49-F238E27FC236}">
                  <a16:creationId xmlns:a16="http://schemas.microsoft.com/office/drawing/2014/main" id="{CF86FB68-15B4-4493-8EE0-3E896CB0C5D8}"/>
                </a:ext>
              </a:extLst>
            </p:cNvPr>
            <p:cNvSpPr/>
            <p:nvPr/>
          </p:nvSpPr>
          <p:spPr>
            <a:xfrm rot="8716295">
              <a:off x="3037499" y="283424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5" name="Forme libre : forme 1834">
              <a:extLst>
                <a:ext uri="{FF2B5EF4-FFF2-40B4-BE49-F238E27FC236}">
                  <a16:creationId xmlns:a16="http://schemas.microsoft.com/office/drawing/2014/main" id="{7CF69A1A-5F78-4F60-B5D6-FD6A138299EC}"/>
                </a:ext>
              </a:extLst>
            </p:cNvPr>
            <p:cNvSpPr/>
            <p:nvPr/>
          </p:nvSpPr>
          <p:spPr>
            <a:xfrm rot="8716295">
              <a:off x="3025447" y="2695467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6" name="Forme libre : forme 1835">
              <a:extLst>
                <a:ext uri="{FF2B5EF4-FFF2-40B4-BE49-F238E27FC236}">
                  <a16:creationId xmlns:a16="http://schemas.microsoft.com/office/drawing/2014/main" id="{3B31C2F5-6F64-4719-BBC9-BBCB1658D3DD}"/>
                </a:ext>
              </a:extLst>
            </p:cNvPr>
            <p:cNvSpPr/>
            <p:nvPr/>
          </p:nvSpPr>
          <p:spPr>
            <a:xfrm rot="8716295">
              <a:off x="3252580" y="3083872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7" name="Forme libre : forme 1836">
              <a:extLst>
                <a:ext uri="{FF2B5EF4-FFF2-40B4-BE49-F238E27FC236}">
                  <a16:creationId xmlns:a16="http://schemas.microsoft.com/office/drawing/2014/main" id="{1C35BBFA-EBF1-47A8-9F9F-F1DAD54084FC}"/>
                </a:ext>
              </a:extLst>
            </p:cNvPr>
            <p:cNvSpPr/>
            <p:nvPr/>
          </p:nvSpPr>
          <p:spPr>
            <a:xfrm rot="8716295">
              <a:off x="3563735" y="270422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8" name="Forme libre : forme 1837">
              <a:extLst>
                <a:ext uri="{FF2B5EF4-FFF2-40B4-BE49-F238E27FC236}">
                  <a16:creationId xmlns:a16="http://schemas.microsoft.com/office/drawing/2014/main" id="{1667D8E4-CA56-4D24-AAA2-647FC814F7B1}"/>
                </a:ext>
              </a:extLst>
            </p:cNvPr>
            <p:cNvSpPr/>
            <p:nvPr/>
          </p:nvSpPr>
          <p:spPr>
            <a:xfrm rot="8716295">
              <a:off x="3653127" y="273346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9" name="Forme libre : forme 1838">
              <a:extLst>
                <a:ext uri="{FF2B5EF4-FFF2-40B4-BE49-F238E27FC236}">
                  <a16:creationId xmlns:a16="http://schemas.microsoft.com/office/drawing/2014/main" id="{2D247664-9D05-4DE9-828A-8EEEB6D62362}"/>
                </a:ext>
              </a:extLst>
            </p:cNvPr>
            <p:cNvSpPr/>
            <p:nvPr/>
          </p:nvSpPr>
          <p:spPr>
            <a:xfrm rot="8716295">
              <a:off x="3451501" y="279276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0" name="Forme libre : forme 1839">
              <a:extLst>
                <a:ext uri="{FF2B5EF4-FFF2-40B4-BE49-F238E27FC236}">
                  <a16:creationId xmlns:a16="http://schemas.microsoft.com/office/drawing/2014/main" id="{25BA7781-6373-48E8-B517-D547E35D3442}"/>
                </a:ext>
              </a:extLst>
            </p:cNvPr>
            <p:cNvSpPr/>
            <p:nvPr/>
          </p:nvSpPr>
          <p:spPr>
            <a:xfrm rot="8716295">
              <a:off x="3326599" y="258409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1" name="Forme libre : forme 1840">
              <a:extLst>
                <a:ext uri="{FF2B5EF4-FFF2-40B4-BE49-F238E27FC236}">
                  <a16:creationId xmlns:a16="http://schemas.microsoft.com/office/drawing/2014/main" id="{23C0E36B-602D-442F-AF28-AF8930D84F3F}"/>
                </a:ext>
              </a:extLst>
            </p:cNvPr>
            <p:cNvSpPr/>
            <p:nvPr/>
          </p:nvSpPr>
          <p:spPr>
            <a:xfrm rot="8716295">
              <a:off x="3541679" y="2833720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2" name="Forme libre : forme 1841">
              <a:extLst>
                <a:ext uri="{FF2B5EF4-FFF2-40B4-BE49-F238E27FC236}">
                  <a16:creationId xmlns:a16="http://schemas.microsoft.com/office/drawing/2014/main" id="{199731DF-620C-4C6A-9AB8-42BC4BA7117A}"/>
                </a:ext>
              </a:extLst>
            </p:cNvPr>
            <p:cNvSpPr/>
            <p:nvPr/>
          </p:nvSpPr>
          <p:spPr>
            <a:xfrm rot="8716295">
              <a:off x="3300228" y="2684120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3" name="Forme libre : forme 1842">
              <a:extLst>
                <a:ext uri="{FF2B5EF4-FFF2-40B4-BE49-F238E27FC236}">
                  <a16:creationId xmlns:a16="http://schemas.microsoft.com/office/drawing/2014/main" id="{1B76A93B-820C-4C9C-8469-1A8F9E93159B}"/>
                </a:ext>
              </a:extLst>
            </p:cNvPr>
            <p:cNvSpPr/>
            <p:nvPr/>
          </p:nvSpPr>
          <p:spPr>
            <a:xfrm rot="7484129">
              <a:off x="3646610" y="302507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4" name="Forme libre : forme 1843">
              <a:extLst>
                <a:ext uri="{FF2B5EF4-FFF2-40B4-BE49-F238E27FC236}">
                  <a16:creationId xmlns:a16="http://schemas.microsoft.com/office/drawing/2014/main" id="{66DC52E6-1456-43FD-A3BE-2B872731E4E9}"/>
                </a:ext>
              </a:extLst>
            </p:cNvPr>
            <p:cNvSpPr/>
            <p:nvPr/>
          </p:nvSpPr>
          <p:spPr>
            <a:xfrm rot="13089394">
              <a:off x="3751430" y="2991605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5" name="Forme libre : forme 1844">
              <a:extLst>
                <a:ext uri="{FF2B5EF4-FFF2-40B4-BE49-F238E27FC236}">
                  <a16:creationId xmlns:a16="http://schemas.microsoft.com/office/drawing/2014/main" id="{DCDD2A3A-9ABC-40A8-BFA8-585EA2B24085}"/>
                </a:ext>
              </a:extLst>
            </p:cNvPr>
            <p:cNvSpPr/>
            <p:nvPr/>
          </p:nvSpPr>
          <p:spPr>
            <a:xfrm rot="8716295">
              <a:off x="3937015" y="2799924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6" name="Forme libre : forme 1845">
              <a:extLst>
                <a:ext uri="{FF2B5EF4-FFF2-40B4-BE49-F238E27FC236}">
                  <a16:creationId xmlns:a16="http://schemas.microsoft.com/office/drawing/2014/main" id="{E6972E8A-A6BD-4AB3-983F-0AB52C36F84A}"/>
                </a:ext>
              </a:extLst>
            </p:cNvPr>
            <p:cNvSpPr/>
            <p:nvPr/>
          </p:nvSpPr>
          <p:spPr>
            <a:xfrm rot="8716295">
              <a:off x="3885210" y="269633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7" name="Forme libre : forme 1846">
              <a:extLst>
                <a:ext uri="{FF2B5EF4-FFF2-40B4-BE49-F238E27FC236}">
                  <a16:creationId xmlns:a16="http://schemas.microsoft.com/office/drawing/2014/main" id="{0AB9B5DA-5EA1-4202-AD13-C56E27F57ED7}"/>
                </a:ext>
              </a:extLst>
            </p:cNvPr>
            <p:cNvSpPr/>
            <p:nvPr/>
          </p:nvSpPr>
          <p:spPr>
            <a:xfrm rot="8716295">
              <a:off x="3641964" y="272655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8" name="Forme libre : forme 1847">
              <a:extLst>
                <a:ext uri="{FF2B5EF4-FFF2-40B4-BE49-F238E27FC236}">
                  <a16:creationId xmlns:a16="http://schemas.microsoft.com/office/drawing/2014/main" id="{B297F0D1-8FCF-41A6-B10A-B9F1B0A91232}"/>
                </a:ext>
              </a:extLst>
            </p:cNvPr>
            <p:cNvSpPr/>
            <p:nvPr/>
          </p:nvSpPr>
          <p:spPr>
            <a:xfrm rot="8716295">
              <a:off x="3819416" y="25673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9" name="Forme libre : forme 1848">
              <a:extLst>
                <a:ext uri="{FF2B5EF4-FFF2-40B4-BE49-F238E27FC236}">
                  <a16:creationId xmlns:a16="http://schemas.microsoft.com/office/drawing/2014/main" id="{CDECF82E-73B3-468F-A90B-A85D37A91C27}"/>
                </a:ext>
              </a:extLst>
            </p:cNvPr>
            <p:cNvSpPr/>
            <p:nvPr/>
          </p:nvSpPr>
          <p:spPr>
            <a:xfrm rot="8716295">
              <a:off x="3937162" y="4933704"/>
              <a:ext cx="142167" cy="232388"/>
            </a:xfrm>
            <a:custGeom>
              <a:avLst/>
              <a:gdLst>
                <a:gd name="connsiteX0" fmla="*/ 81108 w 142167"/>
                <a:gd name="connsiteY0" fmla="*/ 232388 h 232388"/>
                <a:gd name="connsiteX1" fmla="*/ 81108 w 142167"/>
                <a:gd name="connsiteY1" fmla="*/ 69717 h 232388"/>
                <a:gd name="connsiteX2" fmla="*/ 81108 w 142167"/>
                <a:gd name="connsiteY2" fmla="*/ 65615 h 232388"/>
                <a:gd name="connsiteX3" fmla="*/ 60604 w 142167"/>
                <a:gd name="connsiteY3" fmla="*/ 50123 h 232388"/>
                <a:gd name="connsiteX4" fmla="*/ 0 w 142167"/>
                <a:gd name="connsiteY4" fmla="*/ 50123 h 232388"/>
                <a:gd name="connsiteX5" fmla="*/ 0 w 142167"/>
                <a:gd name="connsiteY5" fmla="*/ 0 h 232388"/>
                <a:gd name="connsiteX6" fmla="*/ 67757 w 142167"/>
                <a:gd name="connsiteY6" fmla="*/ 0 h 232388"/>
                <a:gd name="connsiteX7" fmla="*/ 142167 w 142167"/>
                <a:gd name="connsiteY7" fmla="*/ 51579 h 232388"/>
                <a:gd name="connsiteX8" fmla="*/ 142167 w 142167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32388">
                  <a:moveTo>
                    <a:pt x="81108" y="232388"/>
                  </a:moveTo>
                  <a:lnTo>
                    <a:pt x="81108" y="69717"/>
                  </a:lnTo>
                  <a:cubicBezTo>
                    <a:pt x="81108" y="68350"/>
                    <a:pt x="81108" y="66982"/>
                    <a:pt x="81108" y="65615"/>
                  </a:cubicBezTo>
                  <a:cubicBezTo>
                    <a:pt x="79741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67757" y="0"/>
                  </a:lnTo>
                  <a:lnTo>
                    <a:pt x="142167" y="51579"/>
                  </a:lnTo>
                  <a:lnTo>
                    <a:pt x="142167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0" name="Forme libre : forme 1849">
              <a:extLst>
                <a:ext uri="{FF2B5EF4-FFF2-40B4-BE49-F238E27FC236}">
                  <a16:creationId xmlns:a16="http://schemas.microsoft.com/office/drawing/2014/main" id="{2520359B-6D7C-4A10-8B0B-4B8A9E745FD9}"/>
                </a:ext>
              </a:extLst>
            </p:cNvPr>
            <p:cNvSpPr/>
            <p:nvPr/>
          </p:nvSpPr>
          <p:spPr>
            <a:xfrm rot="8716295">
              <a:off x="4141505" y="4922844"/>
              <a:ext cx="132702" cy="253348"/>
            </a:xfrm>
            <a:custGeom>
              <a:avLst/>
              <a:gdLst>
                <a:gd name="connsiteX0" fmla="*/ 51489 w 132702"/>
                <a:gd name="connsiteY0" fmla="*/ 253348 h 253348"/>
                <a:gd name="connsiteX1" fmla="*/ 51490 w 132702"/>
                <a:gd name="connsiteY1" fmla="*/ 44199 h 253348"/>
                <a:gd name="connsiteX2" fmla="*/ 0 w 132702"/>
                <a:gd name="connsiteY2" fmla="*/ 44199 h 253348"/>
                <a:gd name="connsiteX3" fmla="*/ 0 w 132702"/>
                <a:gd name="connsiteY3" fmla="*/ 0 h 253348"/>
                <a:gd name="connsiteX4" fmla="*/ 48574 w 132702"/>
                <a:gd name="connsiteY4" fmla="*/ 0 h 253348"/>
                <a:gd name="connsiteX5" fmla="*/ 104802 w 132702"/>
                <a:gd name="connsiteY5" fmla="*/ 38976 h 253348"/>
                <a:gd name="connsiteX6" fmla="*/ 104803 w 132702"/>
                <a:gd name="connsiteY6" fmla="*/ 73817 h 253348"/>
                <a:gd name="connsiteX7" fmla="*/ 106169 w 132702"/>
                <a:gd name="connsiteY7" fmla="*/ 73817 h 253348"/>
                <a:gd name="connsiteX8" fmla="*/ 116353 w 132702"/>
                <a:gd name="connsiteY8" fmla="*/ 46982 h 253348"/>
                <a:gd name="connsiteX9" fmla="*/ 132702 w 132702"/>
                <a:gd name="connsiteY9" fmla="*/ 58315 h 253348"/>
                <a:gd name="connsiteX10" fmla="*/ 127358 w 132702"/>
                <a:gd name="connsiteY10" fmla="*/ 64191 h 253348"/>
                <a:gd name="connsiteX11" fmla="*/ 111638 w 132702"/>
                <a:gd name="connsiteY11" fmla="*/ 126218 h 253348"/>
                <a:gd name="connsiteX12" fmla="*/ 111638 w 132702"/>
                <a:gd name="connsiteY12" fmla="*/ 212339 h 253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702" h="253348">
                  <a:moveTo>
                    <a:pt x="51489" y="253348"/>
                  </a:moveTo>
                  <a:lnTo>
                    <a:pt x="51490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48574" y="0"/>
                  </a:lnTo>
                  <a:lnTo>
                    <a:pt x="104802" y="38976"/>
                  </a:lnTo>
                  <a:lnTo>
                    <a:pt x="104803" y="73817"/>
                  </a:lnTo>
                  <a:lnTo>
                    <a:pt x="106169" y="73817"/>
                  </a:lnTo>
                  <a:lnTo>
                    <a:pt x="116353" y="46982"/>
                  </a:lnTo>
                  <a:lnTo>
                    <a:pt x="132702" y="58315"/>
                  </a:lnTo>
                  <a:lnTo>
                    <a:pt x="127358" y="64191"/>
                  </a:lnTo>
                  <a:cubicBezTo>
                    <a:pt x="117675" y="79968"/>
                    <a:pt x="111638" y="101840"/>
                    <a:pt x="111638" y="126218"/>
                  </a:cubicBezTo>
                  <a:lnTo>
                    <a:pt x="111638" y="2123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1" name="Forme libre : forme 1850">
              <a:extLst>
                <a:ext uri="{FF2B5EF4-FFF2-40B4-BE49-F238E27FC236}">
                  <a16:creationId xmlns:a16="http://schemas.microsoft.com/office/drawing/2014/main" id="{DBA92024-335D-4ECC-9724-60843B062DA7}"/>
                </a:ext>
              </a:extLst>
            </p:cNvPr>
            <p:cNvSpPr/>
            <p:nvPr/>
          </p:nvSpPr>
          <p:spPr>
            <a:xfrm rot="8716295">
              <a:off x="3982533" y="487640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2" name="Forme libre : forme 1851">
              <a:extLst>
                <a:ext uri="{FF2B5EF4-FFF2-40B4-BE49-F238E27FC236}">
                  <a16:creationId xmlns:a16="http://schemas.microsoft.com/office/drawing/2014/main" id="{8321C7CB-2F29-4F82-9BEA-4F30324C6FCA}"/>
                </a:ext>
              </a:extLst>
            </p:cNvPr>
            <p:cNvSpPr/>
            <p:nvPr/>
          </p:nvSpPr>
          <p:spPr>
            <a:xfrm rot="8716295">
              <a:off x="3825757" y="502198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3" name="Forme libre : forme 1852">
              <a:extLst>
                <a:ext uri="{FF2B5EF4-FFF2-40B4-BE49-F238E27FC236}">
                  <a16:creationId xmlns:a16="http://schemas.microsoft.com/office/drawing/2014/main" id="{982C4E17-FE31-45D0-8ADA-BC82CBF632F8}"/>
                </a:ext>
              </a:extLst>
            </p:cNvPr>
            <p:cNvSpPr/>
            <p:nvPr/>
          </p:nvSpPr>
          <p:spPr>
            <a:xfrm rot="8716295">
              <a:off x="3700854" y="481331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4" name="Forme libre : forme 1853">
              <a:extLst>
                <a:ext uri="{FF2B5EF4-FFF2-40B4-BE49-F238E27FC236}">
                  <a16:creationId xmlns:a16="http://schemas.microsoft.com/office/drawing/2014/main" id="{B5AC4F8C-F097-4771-B364-40F9E5307B62}"/>
                </a:ext>
              </a:extLst>
            </p:cNvPr>
            <p:cNvSpPr/>
            <p:nvPr/>
          </p:nvSpPr>
          <p:spPr>
            <a:xfrm rot="8716295">
              <a:off x="3688802" y="467453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5" name="Forme libre : forme 1854">
              <a:extLst>
                <a:ext uri="{FF2B5EF4-FFF2-40B4-BE49-F238E27FC236}">
                  <a16:creationId xmlns:a16="http://schemas.microsoft.com/office/drawing/2014/main" id="{837371BC-426A-4492-B28F-56A8F67313D2}"/>
                </a:ext>
              </a:extLst>
            </p:cNvPr>
            <p:cNvSpPr/>
            <p:nvPr/>
          </p:nvSpPr>
          <p:spPr>
            <a:xfrm rot="8716295">
              <a:off x="3876973" y="5088204"/>
              <a:ext cx="60147" cy="79509"/>
            </a:xfrm>
            <a:custGeom>
              <a:avLst/>
              <a:gdLst>
                <a:gd name="connsiteX0" fmla="*/ 60147 w 60147"/>
                <a:gd name="connsiteY0" fmla="*/ 79509 h 79509"/>
                <a:gd name="connsiteX1" fmla="*/ 0 w 60147"/>
                <a:gd name="connsiteY1" fmla="*/ 21639 h 79509"/>
                <a:gd name="connsiteX2" fmla="*/ 0 w 60147"/>
                <a:gd name="connsiteY2" fmla="*/ 0 h 79509"/>
                <a:gd name="connsiteX3" fmla="*/ 60147 w 60147"/>
                <a:gd name="connsiteY3" fmla="*/ 41692 h 79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7" h="79509">
                  <a:moveTo>
                    <a:pt x="60147" y="79509"/>
                  </a:moveTo>
                  <a:lnTo>
                    <a:pt x="0" y="21639"/>
                  </a:lnTo>
                  <a:lnTo>
                    <a:pt x="0" y="0"/>
                  </a:lnTo>
                  <a:lnTo>
                    <a:pt x="60147" y="416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6" name="Forme libre : forme 1855">
              <a:extLst>
                <a:ext uri="{FF2B5EF4-FFF2-40B4-BE49-F238E27FC236}">
                  <a16:creationId xmlns:a16="http://schemas.microsoft.com/office/drawing/2014/main" id="{A36E7789-9970-4096-85C1-38733446BEBF}"/>
                </a:ext>
              </a:extLst>
            </p:cNvPr>
            <p:cNvSpPr/>
            <p:nvPr/>
          </p:nvSpPr>
          <p:spPr>
            <a:xfrm rot="8716295">
              <a:off x="4227090" y="468329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7" name="Forme libre : forme 1856">
              <a:extLst>
                <a:ext uri="{FF2B5EF4-FFF2-40B4-BE49-F238E27FC236}">
                  <a16:creationId xmlns:a16="http://schemas.microsoft.com/office/drawing/2014/main" id="{F11CC023-68EC-4D20-9D98-B45CEA43861F}"/>
                </a:ext>
              </a:extLst>
            </p:cNvPr>
            <p:cNvSpPr/>
            <p:nvPr/>
          </p:nvSpPr>
          <p:spPr>
            <a:xfrm rot="8716295">
              <a:off x="4316482" y="471253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8" name="Forme libre : forme 1857">
              <a:extLst>
                <a:ext uri="{FF2B5EF4-FFF2-40B4-BE49-F238E27FC236}">
                  <a16:creationId xmlns:a16="http://schemas.microsoft.com/office/drawing/2014/main" id="{D80DAB58-50D4-4440-9D89-04E62F60DD75}"/>
                </a:ext>
              </a:extLst>
            </p:cNvPr>
            <p:cNvSpPr/>
            <p:nvPr/>
          </p:nvSpPr>
          <p:spPr>
            <a:xfrm rot="8716295">
              <a:off x="4114856" y="477183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9" name="Forme libre : forme 1858">
              <a:extLst>
                <a:ext uri="{FF2B5EF4-FFF2-40B4-BE49-F238E27FC236}">
                  <a16:creationId xmlns:a16="http://schemas.microsoft.com/office/drawing/2014/main" id="{EFB2F06B-FB46-414B-A768-00A51103B9CB}"/>
                </a:ext>
              </a:extLst>
            </p:cNvPr>
            <p:cNvSpPr/>
            <p:nvPr/>
          </p:nvSpPr>
          <p:spPr>
            <a:xfrm rot="8716295">
              <a:off x="3989954" y="456316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0" name="Forme libre : forme 1859">
              <a:extLst>
                <a:ext uri="{FF2B5EF4-FFF2-40B4-BE49-F238E27FC236}">
                  <a16:creationId xmlns:a16="http://schemas.microsoft.com/office/drawing/2014/main" id="{6FFBD477-C0D0-41B1-BEDB-29E08A67B891}"/>
                </a:ext>
              </a:extLst>
            </p:cNvPr>
            <p:cNvSpPr/>
            <p:nvPr/>
          </p:nvSpPr>
          <p:spPr>
            <a:xfrm rot="8716295">
              <a:off x="4205034" y="481278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1" name="Forme libre : forme 1860">
              <a:extLst>
                <a:ext uri="{FF2B5EF4-FFF2-40B4-BE49-F238E27FC236}">
                  <a16:creationId xmlns:a16="http://schemas.microsoft.com/office/drawing/2014/main" id="{C6CF2AAF-5A81-4477-800F-2852F998EC43}"/>
                </a:ext>
              </a:extLst>
            </p:cNvPr>
            <p:cNvSpPr/>
            <p:nvPr/>
          </p:nvSpPr>
          <p:spPr>
            <a:xfrm rot="8716295">
              <a:off x="3963583" y="466318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2" name="Forme libre : forme 1861">
              <a:extLst>
                <a:ext uri="{FF2B5EF4-FFF2-40B4-BE49-F238E27FC236}">
                  <a16:creationId xmlns:a16="http://schemas.microsoft.com/office/drawing/2014/main" id="{30B95C1E-E1F2-447E-B82B-71DEEFEF0B51}"/>
                </a:ext>
              </a:extLst>
            </p:cNvPr>
            <p:cNvSpPr/>
            <p:nvPr/>
          </p:nvSpPr>
          <p:spPr>
            <a:xfrm rot="7484129">
              <a:off x="4361132" y="4975858"/>
              <a:ext cx="133389" cy="195874"/>
            </a:xfrm>
            <a:custGeom>
              <a:avLst/>
              <a:gdLst>
                <a:gd name="connsiteX0" fmla="*/ 90710 w 133389"/>
                <a:gd name="connsiteY0" fmla="*/ 195874 h 195874"/>
                <a:gd name="connsiteX1" fmla="*/ 47847 w 133389"/>
                <a:gd name="connsiteY1" fmla="*/ 116129 h 195874"/>
                <a:gd name="connsiteX2" fmla="*/ 69777 w 133389"/>
                <a:gd name="connsiteY2" fmla="*/ 55323 h 195874"/>
                <a:gd name="connsiteX3" fmla="*/ 0 w 133389"/>
                <a:gd name="connsiteY3" fmla="*/ 55323 h 195874"/>
                <a:gd name="connsiteX4" fmla="*/ 0 w 133389"/>
                <a:gd name="connsiteY4" fmla="*/ 0 h 195874"/>
                <a:gd name="connsiteX5" fmla="*/ 83610 w 133389"/>
                <a:gd name="connsiteY5" fmla="*/ 0 h 195874"/>
                <a:gd name="connsiteX6" fmla="*/ 133389 w 133389"/>
                <a:gd name="connsiteY6" fmla="*/ 71795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3389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83610" y="0"/>
                  </a:lnTo>
                  <a:lnTo>
                    <a:pt x="133389" y="7179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3" name="Forme libre : forme 1862">
              <a:extLst>
                <a:ext uri="{FF2B5EF4-FFF2-40B4-BE49-F238E27FC236}">
                  <a16:creationId xmlns:a16="http://schemas.microsoft.com/office/drawing/2014/main" id="{AAB34FE5-9F09-4958-9EE5-25175A1C7094}"/>
                </a:ext>
              </a:extLst>
            </p:cNvPr>
            <p:cNvSpPr/>
            <p:nvPr/>
          </p:nvSpPr>
          <p:spPr>
            <a:xfrm rot="13089394">
              <a:off x="4473995" y="4986322"/>
              <a:ext cx="268663" cy="135802"/>
            </a:xfrm>
            <a:custGeom>
              <a:avLst/>
              <a:gdLst>
                <a:gd name="connsiteX0" fmla="*/ 268663 w 268663"/>
                <a:gd name="connsiteY0" fmla="*/ 65010 h 135802"/>
                <a:gd name="connsiteX1" fmla="*/ 87676 w 268663"/>
                <a:gd name="connsiteY1" fmla="*/ 135639 h 135802"/>
                <a:gd name="connsiteX2" fmla="*/ 19806 w 268663"/>
                <a:gd name="connsiteY2" fmla="*/ 108049 h 135802"/>
                <a:gd name="connsiteX3" fmla="*/ 907 w 268663"/>
                <a:gd name="connsiteY3" fmla="*/ 70735 h 135802"/>
                <a:gd name="connsiteX4" fmla="*/ 0 w 268663"/>
                <a:gd name="connsiteY4" fmla="*/ 59909 h 135802"/>
                <a:gd name="connsiteX5" fmla="*/ 76250 w 268663"/>
                <a:gd name="connsiteY5" fmla="*/ 0 h 135802"/>
                <a:gd name="connsiteX6" fmla="*/ 83813 w 268663"/>
                <a:gd name="connsiteY6" fmla="*/ 52319 h 135802"/>
                <a:gd name="connsiteX7" fmla="*/ 150028 w 268663"/>
                <a:gd name="connsiteY7" fmla="*/ 88737 h 135802"/>
                <a:gd name="connsiteX8" fmla="*/ 199689 w 268663"/>
                <a:gd name="connsiteY8" fmla="*/ 79908 h 135802"/>
                <a:gd name="connsiteX9" fmla="*/ 267560 w 268663"/>
                <a:gd name="connsiteY9" fmla="*/ 52319 h 135802"/>
                <a:gd name="connsiteX10" fmla="*/ 268663 w 268663"/>
                <a:gd name="connsiteY10" fmla="*/ 59492 h 135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68663" h="135802">
                  <a:moveTo>
                    <a:pt x="268663" y="65010"/>
                  </a:moveTo>
                  <a:cubicBezTo>
                    <a:pt x="210174" y="115223"/>
                    <a:pt x="133474" y="132880"/>
                    <a:pt x="87676" y="135639"/>
                  </a:cubicBezTo>
                  <a:cubicBezTo>
                    <a:pt x="62294" y="137295"/>
                    <a:pt x="37463" y="126258"/>
                    <a:pt x="19806" y="108049"/>
                  </a:cubicBezTo>
                  <a:cubicBezTo>
                    <a:pt x="10425" y="98945"/>
                    <a:pt x="4494" y="86530"/>
                    <a:pt x="907" y="70735"/>
                  </a:cubicBezTo>
                  <a:lnTo>
                    <a:pt x="0" y="59909"/>
                  </a:lnTo>
                  <a:lnTo>
                    <a:pt x="76250" y="0"/>
                  </a:lnTo>
                  <a:lnTo>
                    <a:pt x="83813" y="52319"/>
                  </a:lnTo>
                  <a:cubicBezTo>
                    <a:pt x="92642" y="76597"/>
                    <a:pt x="115265" y="88737"/>
                    <a:pt x="150028" y="88737"/>
                  </a:cubicBezTo>
                  <a:cubicBezTo>
                    <a:pt x="167134" y="88185"/>
                    <a:pt x="183687" y="84874"/>
                    <a:pt x="199689" y="79908"/>
                  </a:cubicBezTo>
                  <a:cubicBezTo>
                    <a:pt x="222864" y="72735"/>
                    <a:pt x="245488" y="63355"/>
                    <a:pt x="267560" y="52319"/>
                  </a:cubicBezTo>
                  <a:cubicBezTo>
                    <a:pt x="268111" y="54526"/>
                    <a:pt x="268663" y="57285"/>
                    <a:pt x="268663" y="594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4" name="Forme libre : forme 1863">
              <a:extLst>
                <a:ext uri="{FF2B5EF4-FFF2-40B4-BE49-F238E27FC236}">
                  <a16:creationId xmlns:a16="http://schemas.microsoft.com/office/drawing/2014/main" id="{BFA338AE-EF63-4AB6-BC1C-378FF001F19F}"/>
                </a:ext>
              </a:extLst>
            </p:cNvPr>
            <p:cNvSpPr/>
            <p:nvPr/>
          </p:nvSpPr>
          <p:spPr>
            <a:xfrm rot="8716295">
              <a:off x="4600370" y="477899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5" name="Forme libre : forme 1864">
              <a:extLst>
                <a:ext uri="{FF2B5EF4-FFF2-40B4-BE49-F238E27FC236}">
                  <a16:creationId xmlns:a16="http://schemas.microsoft.com/office/drawing/2014/main" id="{56C71A74-F098-45BA-8E7C-541E50C5E524}"/>
                </a:ext>
              </a:extLst>
            </p:cNvPr>
            <p:cNvSpPr/>
            <p:nvPr/>
          </p:nvSpPr>
          <p:spPr>
            <a:xfrm rot="8716295">
              <a:off x="4548565" y="467540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6" name="Forme libre : forme 1865">
              <a:extLst>
                <a:ext uri="{FF2B5EF4-FFF2-40B4-BE49-F238E27FC236}">
                  <a16:creationId xmlns:a16="http://schemas.microsoft.com/office/drawing/2014/main" id="{57E68179-DB06-48AC-AB78-29CE460072C9}"/>
                </a:ext>
              </a:extLst>
            </p:cNvPr>
            <p:cNvSpPr/>
            <p:nvPr/>
          </p:nvSpPr>
          <p:spPr>
            <a:xfrm rot="8716295">
              <a:off x="4305319" y="470562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7" name="Forme libre : forme 1866">
              <a:extLst>
                <a:ext uri="{FF2B5EF4-FFF2-40B4-BE49-F238E27FC236}">
                  <a16:creationId xmlns:a16="http://schemas.microsoft.com/office/drawing/2014/main" id="{9687578B-24F6-40EC-9EEA-8E74CB9DE266}"/>
                </a:ext>
              </a:extLst>
            </p:cNvPr>
            <p:cNvSpPr/>
            <p:nvPr/>
          </p:nvSpPr>
          <p:spPr>
            <a:xfrm rot="8716295">
              <a:off x="4482771" y="454637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8" name="Forme libre : forme 1867">
              <a:extLst>
                <a:ext uri="{FF2B5EF4-FFF2-40B4-BE49-F238E27FC236}">
                  <a16:creationId xmlns:a16="http://schemas.microsoft.com/office/drawing/2014/main" id="{852310CF-EB75-42C2-8448-A4B1380C1DD6}"/>
                </a:ext>
              </a:extLst>
            </p:cNvPr>
            <p:cNvSpPr/>
            <p:nvPr/>
          </p:nvSpPr>
          <p:spPr>
            <a:xfrm rot="8716295">
              <a:off x="3493306" y="361277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9" name="Forme libre : forme 1868">
              <a:extLst>
                <a:ext uri="{FF2B5EF4-FFF2-40B4-BE49-F238E27FC236}">
                  <a16:creationId xmlns:a16="http://schemas.microsoft.com/office/drawing/2014/main" id="{C56D3DFB-4ADD-42C5-ADB3-D372BC8CB5D1}"/>
                </a:ext>
              </a:extLst>
            </p:cNvPr>
            <p:cNvSpPr/>
            <p:nvPr/>
          </p:nvSpPr>
          <p:spPr>
            <a:xfrm rot="8716295">
              <a:off x="3582698" y="364201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0" name="Forme libre : forme 1869">
              <a:extLst>
                <a:ext uri="{FF2B5EF4-FFF2-40B4-BE49-F238E27FC236}">
                  <a16:creationId xmlns:a16="http://schemas.microsoft.com/office/drawing/2014/main" id="{7EB9283E-F038-412D-910E-5F6D2CF93911}"/>
                </a:ext>
              </a:extLst>
            </p:cNvPr>
            <p:cNvSpPr/>
            <p:nvPr/>
          </p:nvSpPr>
          <p:spPr>
            <a:xfrm rot="8716295">
              <a:off x="3537848" y="355573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1" name="Forme libre : forme 1870">
              <a:extLst>
                <a:ext uri="{FF2B5EF4-FFF2-40B4-BE49-F238E27FC236}">
                  <a16:creationId xmlns:a16="http://schemas.microsoft.com/office/drawing/2014/main" id="{C7DB5BA1-1045-46F6-9B11-2D2ECC466F8F}"/>
                </a:ext>
              </a:extLst>
            </p:cNvPr>
            <p:cNvSpPr/>
            <p:nvPr/>
          </p:nvSpPr>
          <p:spPr>
            <a:xfrm rot="8716295">
              <a:off x="3381072" y="370131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2" name="Forme libre : forme 1871">
              <a:extLst>
                <a:ext uri="{FF2B5EF4-FFF2-40B4-BE49-F238E27FC236}">
                  <a16:creationId xmlns:a16="http://schemas.microsoft.com/office/drawing/2014/main" id="{785B42B0-8546-46CF-95AC-2265ECC426DA}"/>
                </a:ext>
              </a:extLst>
            </p:cNvPr>
            <p:cNvSpPr/>
            <p:nvPr/>
          </p:nvSpPr>
          <p:spPr>
            <a:xfrm rot="8716295">
              <a:off x="3256169" y="349264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3" name="Forme libre : forme 1872">
              <a:extLst>
                <a:ext uri="{FF2B5EF4-FFF2-40B4-BE49-F238E27FC236}">
                  <a16:creationId xmlns:a16="http://schemas.microsoft.com/office/drawing/2014/main" id="{DB664A17-E39F-486C-9B3A-684F36E1F01E}"/>
                </a:ext>
              </a:extLst>
            </p:cNvPr>
            <p:cNvSpPr/>
            <p:nvPr/>
          </p:nvSpPr>
          <p:spPr>
            <a:xfrm rot="8716295">
              <a:off x="3244117" y="335386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4" name="Forme libre : forme 1873">
              <a:extLst>
                <a:ext uri="{FF2B5EF4-FFF2-40B4-BE49-F238E27FC236}">
                  <a16:creationId xmlns:a16="http://schemas.microsoft.com/office/drawing/2014/main" id="{38162E40-8BC8-4F1D-B61A-45383ED5BD99}"/>
                </a:ext>
              </a:extLst>
            </p:cNvPr>
            <p:cNvSpPr/>
            <p:nvPr/>
          </p:nvSpPr>
          <p:spPr>
            <a:xfrm rot="8716295">
              <a:off x="3471250" y="374226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5" name="Forme libre : forme 1874">
              <a:extLst>
                <a:ext uri="{FF2B5EF4-FFF2-40B4-BE49-F238E27FC236}">
                  <a16:creationId xmlns:a16="http://schemas.microsoft.com/office/drawing/2014/main" id="{9D95EC53-44A9-4A48-9623-E8433EF20024}"/>
                </a:ext>
              </a:extLst>
            </p:cNvPr>
            <p:cNvSpPr/>
            <p:nvPr/>
          </p:nvSpPr>
          <p:spPr>
            <a:xfrm rot="8716295">
              <a:off x="3782405" y="336262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6" name="Forme libre : forme 1875">
              <a:extLst>
                <a:ext uri="{FF2B5EF4-FFF2-40B4-BE49-F238E27FC236}">
                  <a16:creationId xmlns:a16="http://schemas.microsoft.com/office/drawing/2014/main" id="{DE73101B-A287-46DC-B722-1DF973F5378F}"/>
                </a:ext>
              </a:extLst>
            </p:cNvPr>
            <p:cNvSpPr/>
            <p:nvPr/>
          </p:nvSpPr>
          <p:spPr>
            <a:xfrm rot="8716295">
              <a:off x="3871797" y="339186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7" name="Forme libre : forme 1876">
              <a:extLst>
                <a:ext uri="{FF2B5EF4-FFF2-40B4-BE49-F238E27FC236}">
                  <a16:creationId xmlns:a16="http://schemas.microsoft.com/office/drawing/2014/main" id="{403F95A4-D93C-4733-A72E-00929B0412AE}"/>
                </a:ext>
              </a:extLst>
            </p:cNvPr>
            <p:cNvSpPr/>
            <p:nvPr/>
          </p:nvSpPr>
          <p:spPr>
            <a:xfrm rot="8716295">
              <a:off x="3670171" y="345116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8" name="Forme libre : forme 1877">
              <a:extLst>
                <a:ext uri="{FF2B5EF4-FFF2-40B4-BE49-F238E27FC236}">
                  <a16:creationId xmlns:a16="http://schemas.microsoft.com/office/drawing/2014/main" id="{D559D9C1-3D5D-4DBD-BFA3-AAD9D4AFFCCB}"/>
                </a:ext>
              </a:extLst>
            </p:cNvPr>
            <p:cNvSpPr/>
            <p:nvPr/>
          </p:nvSpPr>
          <p:spPr>
            <a:xfrm rot="8716295">
              <a:off x="3545269" y="324249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9" name="Forme libre : forme 1878">
              <a:extLst>
                <a:ext uri="{FF2B5EF4-FFF2-40B4-BE49-F238E27FC236}">
                  <a16:creationId xmlns:a16="http://schemas.microsoft.com/office/drawing/2014/main" id="{8A56FFF9-A364-438B-BFFB-50F55DD2F66A}"/>
                </a:ext>
              </a:extLst>
            </p:cNvPr>
            <p:cNvSpPr/>
            <p:nvPr/>
          </p:nvSpPr>
          <p:spPr>
            <a:xfrm rot="8716295">
              <a:off x="3760349" y="349211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0" name="Forme libre : forme 1879">
              <a:extLst>
                <a:ext uri="{FF2B5EF4-FFF2-40B4-BE49-F238E27FC236}">
                  <a16:creationId xmlns:a16="http://schemas.microsoft.com/office/drawing/2014/main" id="{CB8A82E4-1430-4165-8829-ED95E59C13E3}"/>
                </a:ext>
              </a:extLst>
            </p:cNvPr>
            <p:cNvSpPr/>
            <p:nvPr/>
          </p:nvSpPr>
          <p:spPr>
            <a:xfrm rot="8716295">
              <a:off x="3518898" y="334251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1" name="Forme libre : forme 1880">
              <a:extLst>
                <a:ext uri="{FF2B5EF4-FFF2-40B4-BE49-F238E27FC236}">
                  <a16:creationId xmlns:a16="http://schemas.microsoft.com/office/drawing/2014/main" id="{0F27C68F-724E-46E3-B6BD-E473DC4E02B5}"/>
                </a:ext>
              </a:extLst>
            </p:cNvPr>
            <p:cNvSpPr/>
            <p:nvPr/>
          </p:nvSpPr>
          <p:spPr>
            <a:xfrm rot="7484129">
              <a:off x="3865280" y="368346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2" name="Forme libre : forme 1881">
              <a:extLst>
                <a:ext uri="{FF2B5EF4-FFF2-40B4-BE49-F238E27FC236}">
                  <a16:creationId xmlns:a16="http://schemas.microsoft.com/office/drawing/2014/main" id="{9D6723C5-6F5F-4F89-B9AB-0482F7E87BA5}"/>
                </a:ext>
              </a:extLst>
            </p:cNvPr>
            <p:cNvSpPr/>
            <p:nvPr/>
          </p:nvSpPr>
          <p:spPr>
            <a:xfrm rot="13089394">
              <a:off x="3970100" y="3650001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3" name="Forme libre : forme 1882">
              <a:extLst>
                <a:ext uri="{FF2B5EF4-FFF2-40B4-BE49-F238E27FC236}">
                  <a16:creationId xmlns:a16="http://schemas.microsoft.com/office/drawing/2014/main" id="{5CA64B36-E17C-4D54-A079-BC8C4193970C}"/>
                </a:ext>
              </a:extLst>
            </p:cNvPr>
            <p:cNvSpPr/>
            <p:nvPr/>
          </p:nvSpPr>
          <p:spPr>
            <a:xfrm rot="8716295">
              <a:off x="4155685" y="345832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4" name="Forme libre : forme 1883">
              <a:extLst>
                <a:ext uri="{FF2B5EF4-FFF2-40B4-BE49-F238E27FC236}">
                  <a16:creationId xmlns:a16="http://schemas.microsoft.com/office/drawing/2014/main" id="{A9377FF8-AE27-4510-A065-1305095C5BE9}"/>
                </a:ext>
              </a:extLst>
            </p:cNvPr>
            <p:cNvSpPr/>
            <p:nvPr/>
          </p:nvSpPr>
          <p:spPr>
            <a:xfrm rot="8716295">
              <a:off x="4103880" y="335472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5" name="Forme libre : forme 1884">
              <a:extLst>
                <a:ext uri="{FF2B5EF4-FFF2-40B4-BE49-F238E27FC236}">
                  <a16:creationId xmlns:a16="http://schemas.microsoft.com/office/drawing/2014/main" id="{5048E4A2-C470-4460-BF36-DE7683DD5ECF}"/>
                </a:ext>
              </a:extLst>
            </p:cNvPr>
            <p:cNvSpPr/>
            <p:nvPr/>
          </p:nvSpPr>
          <p:spPr>
            <a:xfrm rot="8716295">
              <a:off x="3860634" y="338494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6" name="Forme libre : forme 1885">
              <a:extLst>
                <a:ext uri="{FF2B5EF4-FFF2-40B4-BE49-F238E27FC236}">
                  <a16:creationId xmlns:a16="http://schemas.microsoft.com/office/drawing/2014/main" id="{5A4E5709-8FAD-4E4D-B5A6-C738DB0B147E}"/>
                </a:ext>
              </a:extLst>
            </p:cNvPr>
            <p:cNvSpPr/>
            <p:nvPr/>
          </p:nvSpPr>
          <p:spPr>
            <a:xfrm rot="8716295">
              <a:off x="4038086" y="322570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7" name="Forme libre : forme 1886">
              <a:extLst>
                <a:ext uri="{FF2B5EF4-FFF2-40B4-BE49-F238E27FC236}">
                  <a16:creationId xmlns:a16="http://schemas.microsoft.com/office/drawing/2014/main" id="{FFCF139E-7AE6-4DB8-9213-9A2CF3DE475A}"/>
                </a:ext>
              </a:extLst>
            </p:cNvPr>
            <p:cNvSpPr/>
            <p:nvPr/>
          </p:nvSpPr>
          <p:spPr>
            <a:xfrm rot="8716295">
              <a:off x="3716473" y="427247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8" name="Forme libre : forme 1887">
              <a:extLst>
                <a:ext uri="{FF2B5EF4-FFF2-40B4-BE49-F238E27FC236}">
                  <a16:creationId xmlns:a16="http://schemas.microsoft.com/office/drawing/2014/main" id="{230DFA0D-667C-4BA9-A9B4-3B9C5608513B}"/>
                </a:ext>
              </a:extLst>
            </p:cNvPr>
            <p:cNvSpPr/>
            <p:nvPr/>
          </p:nvSpPr>
          <p:spPr>
            <a:xfrm rot="8716295">
              <a:off x="3805865" y="430171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9" name="Forme libre : forme 1888">
              <a:extLst>
                <a:ext uri="{FF2B5EF4-FFF2-40B4-BE49-F238E27FC236}">
                  <a16:creationId xmlns:a16="http://schemas.microsoft.com/office/drawing/2014/main" id="{1955ED9A-4577-4156-B67C-D520CAA9BDEE}"/>
                </a:ext>
              </a:extLst>
            </p:cNvPr>
            <p:cNvSpPr/>
            <p:nvPr/>
          </p:nvSpPr>
          <p:spPr>
            <a:xfrm rot="8716295">
              <a:off x="3761015" y="421543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0" name="Forme libre : forme 1889">
              <a:extLst>
                <a:ext uri="{FF2B5EF4-FFF2-40B4-BE49-F238E27FC236}">
                  <a16:creationId xmlns:a16="http://schemas.microsoft.com/office/drawing/2014/main" id="{0CFE087C-15FC-4B0E-8C68-44FA23BE6627}"/>
                </a:ext>
              </a:extLst>
            </p:cNvPr>
            <p:cNvSpPr/>
            <p:nvPr/>
          </p:nvSpPr>
          <p:spPr>
            <a:xfrm rot="8716295">
              <a:off x="3604239" y="436101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1" name="Forme libre : forme 1890">
              <a:extLst>
                <a:ext uri="{FF2B5EF4-FFF2-40B4-BE49-F238E27FC236}">
                  <a16:creationId xmlns:a16="http://schemas.microsoft.com/office/drawing/2014/main" id="{F80539C5-90A6-4C9B-BB82-F1B574372789}"/>
                </a:ext>
              </a:extLst>
            </p:cNvPr>
            <p:cNvSpPr/>
            <p:nvPr/>
          </p:nvSpPr>
          <p:spPr>
            <a:xfrm rot="8716295">
              <a:off x="3479336" y="415234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2" name="Forme libre : forme 1891">
              <a:extLst>
                <a:ext uri="{FF2B5EF4-FFF2-40B4-BE49-F238E27FC236}">
                  <a16:creationId xmlns:a16="http://schemas.microsoft.com/office/drawing/2014/main" id="{DCD13A54-B7CF-4322-96F8-124875408DCF}"/>
                </a:ext>
              </a:extLst>
            </p:cNvPr>
            <p:cNvSpPr/>
            <p:nvPr/>
          </p:nvSpPr>
          <p:spPr>
            <a:xfrm rot="8716295">
              <a:off x="3467284" y="401356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3" name="Forme libre : forme 1892">
              <a:extLst>
                <a:ext uri="{FF2B5EF4-FFF2-40B4-BE49-F238E27FC236}">
                  <a16:creationId xmlns:a16="http://schemas.microsoft.com/office/drawing/2014/main" id="{CC738393-0663-4C9A-8E67-8C5FF5B2E7F4}"/>
                </a:ext>
              </a:extLst>
            </p:cNvPr>
            <p:cNvSpPr/>
            <p:nvPr/>
          </p:nvSpPr>
          <p:spPr>
            <a:xfrm rot="8716295">
              <a:off x="3694417" y="440196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4" name="Forme libre : forme 1893">
              <a:extLst>
                <a:ext uri="{FF2B5EF4-FFF2-40B4-BE49-F238E27FC236}">
                  <a16:creationId xmlns:a16="http://schemas.microsoft.com/office/drawing/2014/main" id="{B72A2B4A-ADAE-4727-B8C5-5E9FA88D437E}"/>
                </a:ext>
              </a:extLst>
            </p:cNvPr>
            <p:cNvSpPr/>
            <p:nvPr/>
          </p:nvSpPr>
          <p:spPr>
            <a:xfrm rot="8716295">
              <a:off x="4005572" y="402231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5" name="Forme libre : forme 1894">
              <a:extLst>
                <a:ext uri="{FF2B5EF4-FFF2-40B4-BE49-F238E27FC236}">
                  <a16:creationId xmlns:a16="http://schemas.microsoft.com/office/drawing/2014/main" id="{6A3D9198-4FC9-4484-8F80-AE0FF47F424A}"/>
                </a:ext>
              </a:extLst>
            </p:cNvPr>
            <p:cNvSpPr/>
            <p:nvPr/>
          </p:nvSpPr>
          <p:spPr>
            <a:xfrm rot="8716295">
              <a:off x="4094964" y="405156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6" name="Forme libre : forme 1895">
              <a:extLst>
                <a:ext uri="{FF2B5EF4-FFF2-40B4-BE49-F238E27FC236}">
                  <a16:creationId xmlns:a16="http://schemas.microsoft.com/office/drawing/2014/main" id="{771BA887-62A8-49EE-AD77-E1907D3D0281}"/>
                </a:ext>
              </a:extLst>
            </p:cNvPr>
            <p:cNvSpPr/>
            <p:nvPr/>
          </p:nvSpPr>
          <p:spPr>
            <a:xfrm rot="8716295">
              <a:off x="3893338" y="411086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7" name="Forme libre : forme 1896">
              <a:extLst>
                <a:ext uri="{FF2B5EF4-FFF2-40B4-BE49-F238E27FC236}">
                  <a16:creationId xmlns:a16="http://schemas.microsoft.com/office/drawing/2014/main" id="{7673BD76-CF77-4492-9C8C-2DB043745962}"/>
                </a:ext>
              </a:extLst>
            </p:cNvPr>
            <p:cNvSpPr/>
            <p:nvPr/>
          </p:nvSpPr>
          <p:spPr>
            <a:xfrm rot="8716295">
              <a:off x="3768436" y="390219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8" name="Forme libre : forme 1897">
              <a:extLst>
                <a:ext uri="{FF2B5EF4-FFF2-40B4-BE49-F238E27FC236}">
                  <a16:creationId xmlns:a16="http://schemas.microsoft.com/office/drawing/2014/main" id="{406877CF-38F4-42B3-8783-66A178259365}"/>
                </a:ext>
              </a:extLst>
            </p:cNvPr>
            <p:cNvSpPr/>
            <p:nvPr/>
          </p:nvSpPr>
          <p:spPr>
            <a:xfrm rot="8716295">
              <a:off x="3983516" y="415181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9" name="Forme libre : forme 1898">
              <a:extLst>
                <a:ext uri="{FF2B5EF4-FFF2-40B4-BE49-F238E27FC236}">
                  <a16:creationId xmlns:a16="http://schemas.microsoft.com/office/drawing/2014/main" id="{BA7D2770-CC88-4E1F-B285-451E2DAAC768}"/>
                </a:ext>
              </a:extLst>
            </p:cNvPr>
            <p:cNvSpPr/>
            <p:nvPr/>
          </p:nvSpPr>
          <p:spPr>
            <a:xfrm rot="8716295">
              <a:off x="3742065" y="400221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0" name="Forme libre : forme 1899">
              <a:extLst>
                <a:ext uri="{FF2B5EF4-FFF2-40B4-BE49-F238E27FC236}">
                  <a16:creationId xmlns:a16="http://schemas.microsoft.com/office/drawing/2014/main" id="{EAC640B6-AF2B-4FEF-A8F3-C6B4513FB3E0}"/>
                </a:ext>
              </a:extLst>
            </p:cNvPr>
            <p:cNvSpPr/>
            <p:nvPr/>
          </p:nvSpPr>
          <p:spPr>
            <a:xfrm rot="7484129">
              <a:off x="4088447" y="434316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1" name="Forme libre : forme 1900">
              <a:extLst>
                <a:ext uri="{FF2B5EF4-FFF2-40B4-BE49-F238E27FC236}">
                  <a16:creationId xmlns:a16="http://schemas.microsoft.com/office/drawing/2014/main" id="{839B2912-6F31-401A-9D54-A922E1F6052E}"/>
                </a:ext>
              </a:extLst>
            </p:cNvPr>
            <p:cNvSpPr/>
            <p:nvPr/>
          </p:nvSpPr>
          <p:spPr>
            <a:xfrm rot="13089394">
              <a:off x="4193267" y="430970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2" name="Forme libre : forme 1901">
              <a:extLst>
                <a:ext uri="{FF2B5EF4-FFF2-40B4-BE49-F238E27FC236}">
                  <a16:creationId xmlns:a16="http://schemas.microsoft.com/office/drawing/2014/main" id="{B855D3C7-2AEB-4AEB-9B99-0A553DF889E3}"/>
                </a:ext>
              </a:extLst>
            </p:cNvPr>
            <p:cNvSpPr/>
            <p:nvPr/>
          </p:nvSpPr>
          <p:spPr>
            <a:xfrm rot="8716295">
              <a:off x="4378852" y="411801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3" name="Forme libre : forme 1902">
              <a:extLst>
                <a:ext uri="{FF2B5EF4-FFF2-40B4-BE49-F238E27FC236}">
                  <a16:creationId xmlns:a16="http://schemas.microsoft.com/office/drawing/2014/main" id="{F8E6C03D-07F9-4499-A5CB-F23EEDC93586}"/>
                </a:ext>
              </a:extLst>
            </p:cNvPr>
            <p:cNvSpPr/>
            <p:nvPr/>
          </p:nvSpPr>
          <p:spPr>
            <a:xfrm rot="8716295">
              <a:off x="4327047" y="40144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4" name="Forme libre : forme 1903">
              <a:extLst>
                <a:ext uri="{FF2B5EF4-FFF2-40B4-BE49-F238E27FC236}">
                  <a16:creationId xmlns:a16="http://schemas.microsoft.com/office/drawing/2014/main" id="{15861924-FD77-4126-B239-3A1808ABEE41}"/>
                </a:ext>
              </a:extLst>
            </p:cNvPr>
            <p:cNvSpPr/>
            <p:nvPr/>
          </p:nvSpPr>
          <p:spPr>
            <a:xfrm rot="8716295">
              <a:off x="4083801" y="404464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5" name="Forme libre : forme 1904">
              <a:extLst>
                <a:ext uri="{FF2B5EF4-FFF2-40B4-BE49-F238E27FC236}">
                  <a16:creationId xmlns:a16="http://schemas.microsoft.com/office/drawing/2014/main" id="{87418738-E3EE-4DAB-8079-A0004EDDF675}"/>
                </a:ext>
              </a:extLst>
            </p:cNvPr>
            <p:cNvSpPr/>
            <p:nvPr/>
          </p:nvSpPr>
          <p:spPr>
            <a:xfrm rot="8716295">
              <a:off x="4261253" y="388540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6" name="Forme libre : forme 1905">
              <a:extLst>
                <a:ext uri="{FF2B5EF4-FFF2-40B4-BE49-F238E27FC236}">
                  <a16:creationId xmlns:a16="http://schemas.microsoft.com/office/drawing/2014/main" id="{C2E68F41-3C22-4FA3-BA7F-F2489DB7BEFB}"/>
                </a:ext>
              </a:extLst>
            </p:cNvPr>
            <p:cNvSpPr/>
            <p:nvPr/>
          </p:nvSpPr>
          <p:spPr>
            <a:xfrm rot="8716295">
              <a:off x="2829951" y="16337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7" name="Forme libre : forme 1906">
              <a:extLst>
                <a:ext uri="{FF2B5EF4-FFF2-40B4-BE49-F238E27FC236}">
                  <a16:creationId xmlns:a16="http://schemas.microsoft.com/office/drawing/2014/main" id="{5610FD5B-1A47-4408-BF18-F5DDA40BC7AD}"/>
                </a:ext>
              </a:extLst>
            </p:cNvPr>
            <p:cNvSpPr/>
            <p:nvPr/>
          </p:nvSpPr>
          <p:spPr>
            <a:xfrm rot="8716295">
              <a:off x="2919343" y="16629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8" name="Forme libre : forme 1907">
              <a:extLst>
                <a:ext uri="{FF2B5EF4-FFF2-40B4-BE49-F238E27FC236}">
                  <a16:creationId xmlns:a16="http://schemas.microsoft.com/office/drawing/2014/main" id="{36BBEE27-EBB3-477B-A0AE-E315B781DD23}"/>
                </a:ext>
              </a:extLst>
            </p:cNvPr>
            <p:cNvSpPr/>
            <p:nvPr/>
          </p:nvSpPr>
          <p:spPr>
            <a:xfrm rot="8716295">
              <a:off x="2874493" y="157666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9" name="Forme libre : forme 1908">
              <a:extLst>
                <a:ext uri="{FF2B5EF4-FFF2-40B4-BE49-F238E27FC236}">
                  <a16:creationId xmlns:a16="http://schemas.microsoft.com/office/drawing/2014/main" id="{44946E61-8E74-4140-AB3F-1CBA55C2D182}"/>
                </a:ext>
              </a:extLst>
            </p:cNvPr>
            <p:cNvSpPr/>
            <p:nvPr/>
          </p:nvSpPr>
          <p:spPr>
            <a:xfrm rot="8716295">
              <a:off x="2717717" y="172224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0" name="Forme libre : forme 1909">
              <a:extLst>
                <a:ext uri="{FF2B5EF4-FFF2-40B4-BE49-F238E27FC236}">
                  <a16:creationId xmlns:a16="http://schemas.microsoft.com/office/drawing/2014/main" id="{AC19D586-AE43-44FB-A485-219AF7044431}"/>
                </a:ext>
              </a:extLst>
            </p:cNvPr>
            <p:cNvSpPr/>
            <p:nvPr/>
          </p:nvSpPr>
          <p:spPr>
            <a:xfrm rot="8716295">
              <a:off x="2592814" y="151357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1" name="Forme libre : forme 1910">
              <a:extLst>
                <a:ext uri="{FF2B5EF4-FFF2-40B4-BE49-F238E27FC236}">
                  <a16:creationId xmlns:a16="http://schemas.microsoft.com/office/drawing/2014/main" id="{F936F991-07FC-4A51-8BFD-AC196B8791FD}"/>
                </a:ext>
              </a:extLst>
            </p:cNvPr>
            <p:cNvSpPr/>
            <p:nvPr/>
          </p:nvSpPr>
          <p:spPr>
            <a:xfrm rot="8716295">
              <a:off x="2580762" y="137479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2" name="Forme libre : forme 1911">
              <a:extLst>
                <a:ext uri="{FF2B5EF4-FFF2-40B4-BE49-F238E27FC236}">
                  <a16:creationId xmlns:a16="http://schemas.microsoft.com/office/drawing/2014/main" id="{0A5508B7-A76E-46D7-AE04-EED0D91559D3}"/>
                </a:ext>
              </a:extLst>
            </p:cNvPr>
            <p:cNvSpPr/>
            <p:nvPr/>
          </p:nvSpPr>
          <p:spPr>
            <a:xfrm rot="8716295">
              <a:off x="2807895" y="176319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3" name="Forme libre : forme 1912">
              <a:extLst>
                <a:ext uri="{FF2B5EF4-FFF2-40B4-BE49-F238E27FC236}">
                  <a16:creationId xmlns:a16="http://schemas.microsoft.com/office/drawing/2014/main" id="{30C37794-B7C5-448D-B623-8258E94CA5D6}"/>
                </a:ext>
              </a:extLst>
            </p:cNvPr>
            <p:cNvSpPr/>
            <p:nvPr/>
          </p:nvSpPr>
          <p:spPr>
            <a:xfrm rot="8716295">
              <a:off x="3119050" y="138355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4" name="Forme libre : forme 1913">
              <a:extLst>
                <a:ext uri="{FF2B5EF4-FFF2-40B4-BE49-F238E27FC236}">
                  <a16:creationId xmlns:a16="http://schemas.microsoft.com/office/drawing/2014/main" id="{E00FB22D-2457-4063-9459-8433540C0A77}"/>
                </a:ext>
              </a:extLst>
            </p:cNvPr>
            <p:cNvSpPr/>
            <p:nvPr/>
          </p:nvSpPr>
          <p:spPr>
            <a:xfrm rot="8716295">
              <a:off x="3208442" y="141279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5" name="Forme libre : forme 1914">
              <a:extLst>
                <a:ext uri="{FF2B5EF4-FFF2-40B4-BE49-F238E27FC236}">
                  <a16:creationId xmlns:a16="http://schemas.microsoft.com/office/drawing/2014/main" id="{40BF3ADC-1D1C-47B2-A5B1-9307F3A8DB5D}"/>
                </a:ext>
              </a:extLst>
            </p:cNvPr>
            <p:cNvSpPr/>
            <p:nvPr/>
          </p:nvSpPr>
          <p:spPr>
            <a:xfrm rot="8716295">
              <a:off x="3006816" y="147209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6" name="Forme libre : forme 1915">
              <a:extLst>
                <a:ext uri="{FF2B5EF4-FFF2-40B4-BE49-F238E27FC236}">
                  <a16:creationId xmlns:a16="http://schemas.microsoft.com/office/drawing/2014/main" id="{DF4ED72B-FC46-44BB-B438-16FEB0943FB2}"/>
                </a:ext>
              </a:extLst>
            </p:cNvPr>
            <p:cNvSpPr/>
            <p:nvPr/>
          </p:nvSpPr>
          <p:spPr>
            <a:xfrm rot="8716295">
              <a:off x="2881914" y="126342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7" name="Forme libre : forme 1916">
              <a:extLst>
                <a:ext uri="{FF2B5EF4-FFF2-40B4-BE49-F238E27FC236}">
                  <a16:creationId xmlns:a16="http://schemas.microsoft.com/office/drawing/2014/main" id="{B676BBE0-B162-4287-9303-C170CDD71537}"/>
                </a:ext>
              </a:extLst>
            </p:cNvPr>
            <p:cNvSpPr/>
            <p:nvPr/>
          </p:nvSpPr>
          <p:spPr>
            <a:xfrm rot="8716295">
              <a:off x="3096994" y="151304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8" name="Forme libre : forme 1917">
              <a:extLst>
                <a:ext uri="{FF2B5EF4-FFF2-40B4-BE49-F238E27FC236}">
                  <a16:creationId xmlns:a16="http://schemas.microsoft.com/office/drawing/2014/main" id="{E7EB3253-D700-49B8-AEB9-BB6E68032A95}"/>
                </a:ext>
              </a:extLst>
            </p:cNvPr>
            <p:cNvSpPr/>
            <p:nvPr/>
          </p:nvSpPr>
          <p:spPr>
            <a:xfrm rot="8716295">
              <a:off x="2855543" y="136344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9" name="Forme libre : forme 1918">
              <a:extLst>
                <a:ext uri="{FF2B5EF4-FFF2-40B4-BE49-F238E27FC236}">
                  <a16:creationId xmlns:a16="http://schemas.microsoft.com/office/drawing/2014/main" id="{56230BF6-AC9B-4902-AEE1-4B728E72D178}"/>
                </a:ext>
              </a:extLst>
            </p:cNvPr>
            <p:cNvSpPr/>
            <p:nvPr/>
          </p:nvSpPr>
          <p:spPr>
            <a:xfrm rot="7484129">
              <a:off x="3201925" y="170439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0" name="Forme libre : forme 1919">
              <a:extLst>
                <a:ext uri="{FF2B5EF4-FFF2-40B4-BE49-F238E27FC236}">
                  <a16:creationId xmlns:a16="http://schemas.microsoft.com/office/drawing/2014/main" id="{4B208DB0-A987-423B-A14C-FCBA1EF67B74}"/>
                </a:ext>
              </a:extLst>
            </p:cNvPr>
            <p:cNvSpPr/>
            <p:nvPr/>
          </p:nvSpPr>
          <p:spPr>
            <a:xfrm rot="13089394">
              <a:off x="3306745" y="167093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1" name="Forme libre : forme 1920">
              <a:extLst>
                <a:ext uri="{FF2B5EF4-FFF2-40B4-BE49-F238E27FC236}">
                  <a16:creationId xmlns:a16="http://schemas.microsoft.com/office/drawing/2014/main" id="{EF8A434D-15D0-4B82-9592-BF92E7D73B50}"/>
                </a:ext>
              </a:extLst>
            </p:cNvPr>
            <p:cNvSpPr/>
            <p:nvPr/>
          </p:nvSpPr>
          <p:spPr>
            <a:xfrm rot="8716295">
              <a:off x="3492330" y="147925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2" name="Forme libre : forme 1921">
              <a:extLst>
                <a:ext uri="{FF2B5EF4-FFF2-40B4-BE49-F238E27FC236}">
                  <a16:creationId xmlns:a16="http://schemas.microsoft.com/office/drawing/2014/main" id="{496643F6-EF29-4934-B60A-8D83073F0AE6}"/>
                </a:ext>
              </a:extLst>
            </p:cNvPr>
            <p:cNvSpPr/>
            <p:nvPr/>
          </p:nvSpPr>
          <p:spPr>
            <a:xfrm rot="8716295">
              <a:off x="3440525" y="137565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3" name="Forme libre : forme 1922">
              <a:extLst>
                <a:ext uri="{FF2B5EF4-FFF2-40B4-BE49-F238E27FC236}">
                  <a16:creationId xmlns:a16="http://schemas.microsoft.com/office/drawing/2014/main" id="{74F44434-50F9-4D75-99AD-08CE7DC14350}"/>
                </a:ext>
              </a:extLst>
            </p:cNvPr>
            <p:cNvSpPr/>
            <p:nvPr/>
          </p:nvSpPr>
          <p:spPr>
            <a:xfrm rot="8716295">
              <a:off x="3197279" y="140587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4" name="Forme libre : forme 1923">
              <a:extLst>
                <a:ext uri="{FF2B5EF4-FFF2-40B4-BE49-F238E27FC236}">
                  <a16:creationId xmlns:a16="http://schemas.microsoft.com/office/drawing/2014/main" id="{605F5CA4-BD4B-45C5-9BA8-28F63A326D37}"/>
                </a:ext>
              </a:extLst>
            </p:cNvPr>
            <p:cNvSpPr/>
            <p:nvPr/>
          </p:nvSpPr>
          <p:spPr>
            <a:xfrm rot="8716295">
              <a:off x="3374731" y="124663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5" name="Forme libre : forme 1924">
              <a:extLst>
                <a:ext uri="{FF2B5EF4-FFF2-40B4-BE49-F238E27FC236}">
                  <a16:creationId xmlns:a16="http://schemas.microsoft.com/office/drawing/2014/main" id="{D508E9B3-20C5-4879-9125-85F01ACBE5CA}"/>
                </a:ext>
              </a:extLst>
            </p:cNvPr>
            <p:cNvSpPr/>
            <p:nvPr/>
          </p:nvSpPr>
          <p:spPr>
            <a:xfrm rot="8716295">
              <a:off x="2606784" y="97400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6" name="Forme libre : forme 1925">
              <a:extLst>
                <a:ext uri="{FF2B5EF4-FFF2-40B4-BE49-F238E27FC236}">
                  <a16:creationId xmlns:a16="http://schemas.microsoft.com/office/drawing/2014/main" id="{01908F6A-77D5-41C0-A094-8B88D20850B5}"/>
                </a:ext>
              </a:extLst>
            </p:cNvPr>
            <p:cNvSpPr/>
            <p:nvPr/>
          </p:nvSpPr>
          <p:spPr>
            <a:xfrm rot="8716295">
              <a:off x="2696176" y="100324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7" name="Forme libre : forme 1926">
              <a:extLst>
                <a:ext uri="{FF2B5EF4-FFF2-40B4-BE49-F238E27FC236}">
                  <a16:creationId xmlns:a16="http://schemas.microsoft.com/office/drawing/2014/main" id="{529064A2-8EBE-4BBB-A56D-AF594A3CAC45}"/>
                </a:ext>
              </a:extLst>
            </p:cNvPr>
            <p:cNvSpPr/>
            <p:nvPr/>
          </p:nvSpPr>
          <p:spPr>
            <a:xfrm rot="8716295">
              <a:off x="2651326" y="91696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8" name="Forme libre : forme 1927">
              <a:extLst>
                <a:ext uri="{FF2B5EF4-FFF2-40B4-BE49-F238E27FC236}">
                  <a16:creationId xmlns:a16="http://schemas.microsoft.com/office/drawing/2014/main" id="{F7D12C08-407F-4632-A96C-CB1D241C9AF9}"/>
                </a:ext>
              </a:extLst>
            </p:cNvPr>
            <p:cNvSpPr/>
            <p:nvPr/>
          </p:nvSpPr>
          <p:spPr>
            <a:xfrm rot="8716295">
              <a:off x="2494550" y="106254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9" name="Forme libre : forme 1928">
              <a:extLst>
                <a:ext uri="{FF2B5EF4-FFF2-40B4-BE49-F238E27FC236}">
                  <a16:creationId xmlns:a16="http://schemas.microsoft.com/office/drawing/2014/main" id="{F9E3718B-9D4E-40C9-996E-B44032CD1443}"/>
                </a:ext>
              </a:extLst>
            </p:cNvPr>
            <p:cNvSpPr/>
            <p:nvPr/>
          </p:nvSpPr>
          <p:spPr>
            <a:xfrm rot="8716295">
              <a:off x="2369647" y="85387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0" name="Forme libre : forme 1929">
              <a:extLst>
                <a:ext uri="{FF2B5EF4-FFF2-40B4-BE49-F238E27FC236}">
                  <a16:creationId xmlns:a16="http://schemas.microsoft.com/office/drawing/2014/main" id="{062FDFA4-05F1-4BC4-841F-FD9779B36394}"/>
                </a:ext>
              </a:extLst>
            </p:cNvPr>
            <p:cNvSpPr/>
            <p:nvPr/>
          </p:nvSpPr>
          <p:spPr>
            <a:xfrm rot="8716295">
              <a:off x="2357595" y="71509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1" name="Forme libre : forme 1930">
              <a:extLst>
                <a:ext uri="{FF2B5EF4-FFF2-40B4-BE49-F238E27FC236}">
                  <a16:creationId xmlns:a16="http://schemas.microsoft.com/office/drawing/2014/main" id="{D98BE722-2724-4873-90DA-3EE10C00B3F9}"/>
                </a:ext>
              </a:extLst>
            </p:cNvPr>
            <p:cNvSpPr/>
            <p:nvPr/>
          </p:nvSpPr>
          <p:spPr>
            <a:xfrm rot="8716295">
              <a:off x="2584728" y="110350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2" name="Forme libre : forme 1931">
              <a:extLst>
                <a:ext uri="{FF2B5EF4-FFF2-40B4-BE49-F238E27FC236}">
                  <a16:creationId xmlns:a16="http://schemas.microsoft.com/office/drawing/2014/main" id="{73A5D009-4136-4E73-AA3F-5CD072165E84}"/>
                </a:ext>
              </a:extLst>
            </p:cNvPr>
            <p:cNvSpPr/>
            <p:nvPr/>
          </p:nvSpPr>
          <p:spPr>
            <a:xfrm rot="8716295">
              <a:off x="2895883" y="72385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3" name="Forme libre : forme 1932">
              <a:extLst>
                <a:ext uri="{FF2B5EF4-FFF2-40B4-BE49-F238E27FC236}">
                  <a16:creationId xmlns:a16="http://schemas.microsoft.com/office/drawing/2014/main" id="{BB1CB211-5C77-4CA8-93CB-FB2E5FEC73EA}"/>
                </a:ext>
              </a:extLst>
            </p:cNvPr>
            <p:cNvSpPr/>
            <p:nvPr/>
          </p:nvSpPr>
          <p:spPr>
            <a:xfrm rot="8716295">
              <a:off x="2985275" y="75309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4" name="Forme libre : forme 1933">
              <a:extLst>
                <a:ext uri="{FF2B5EF4-FFF2-40B4-BE49-F238E27FC236}">
                  <a16:creationId xmlns:a16="http://schemas.microsoft.com/office/drawing/2014/main" id="{39202ABD-E53C-410F-9F80-3647BABB1BE8}"/>
                </a:ext>
              </a:extLst>
            </p:cNvPr>
            <p:cNvSpPr/>
            <p:nvPr/>
          </p:nvSpPr>
          <p:spPr>
            <a:xfrm rot="8716295">
              <a:off x="2783649" y="81239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5" name="Forme libre : forme 1934">
              <a:extLst>
                <a:ext uri="{FF2B5EF4-FFF2-40B4-BE49-F238E27FC236}">
                  <a16:creationId xmlns:a16="http://schemas.microsoft.com/office/drawing/2014/main" id="{DEF0F507-9FA5-4F8E-81F0-A3FF660AD478}"/>
                </a:ext>
              </a:extLst>
            </p:cNvPr>
            <p:cNvSpPr/>
            <p:nvPr/>
          </p:nvSpPr>
          <p:spPr>
            <a:xfrm rot="8716295">
              <a:off x="2658747" y="60372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6" name="Forme libre : forme 1935">
              <a:extLst>
                <a:ext uri="{FF2B5EF4-FFF2-40B4-BE49-F238E27FC236}">
                  <a16:creationId xmlns:a16="http://schemas.microsoft.com/office/drawing/2014/main" id="{3339A037-0390-4725-BCA0-FCB6267328E9}"/>
                </a:ext>
              </a:extLst>
            </p:cNvPr>
            <p:cNvSpPr/>
            <p:nvPr/>
          </p:nvSpPr>
          <p:spPr>
            <a:xfrm rot="8716295">
              <a:off x="2873827" y="85334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7" name="Forme libre : forme 1936">
              <a:extLst>
                <a:ext uri="{FF2B5EF4-FFF2-40B4-BE49-F238E27FC236}">
                  <a16:creationId xmlns:a16="http://schemas.microsoft.com/office/drawing/2014/main" id="{3D48FF6C-A7BD-4D40-8659-3742A120114C}"/>
                </a:ext>
              </a:extLst>
            </p:cNvPr>
            <p:cNvSpPr/>
            <p:nvPr/>
          </p:nvSpPr>
          <p:spPr>
            <a:xfrm rot="8716295">
              <a:off x="2632376" y="70374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8" name="Forme libre : forme 1937">
              <a:extLst>
                <a:ext uri="{FF2B5EF4-FFF2-40B4-BE49-F238E27FC236}">
                  <a16:creationId xmlns:a16="http://schemas.microsoft.com/office/drawing/2014/main" id="{640E20D5-9C65-40F7-88F5-B81FDBFD2525}"/>
                </a:ext>
              </a:extLst>
            </p:cNvPr>
            <p:cNvSpPr/>
            <p:nvPr/>
          </p:nvSpPr>
          <p:spPr>
            <a:xfrm rot="7484129">
              <a:off x="2978758" y="10446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9" name="Forme libre : forme 1938">
              <a:extLst>
                <a:ext uri="{FF2B5EF4-FFF2-40B4-BE49-F238E27FC236}">
                  <a16:creationId xmlns:a16="http://schemas.microsoft.com/office/drawing/2014/main" id="{A664525B-8E8A-4BEC-B691-10AA51B87D5A}"/>
                </a:ext>
              </a:extLst>
            </p:cNvPr>
            <p:cNvSpPr/>
            <p:nvPr/>
          </p:nvSpPr>
          <p:spPr>
            <a:xfrm rot="13089394">
              <a:off x="3083578" y="101123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0" name="Forme libre : forme 1939">
              <a:extLst>
                <a:ext uri="{FF2B5EF4-FFF2-40B4-BE49-F238E27FC236}">
                  <a16:creationId xmlns:a16="http://schemas.microsoft.com/office/drawing/2014/main" id="{5287290B-5120-4CE9-A2E9-80563E2C3748}"/>
                </a:ext>
              </a:extLst>
            </p:cNvPr>
            <p:cNvSpPr/>
            <p:nvPr/>
          </p:nvSpPr>
          <p:spPr>
            <a:xfrm rot="8716295">
              <a:off x="3269163" y="81955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1" name="Forme libre : forme 1940">
              <a:extLst>
                <a:ext uri="{FF2B5EF4-FFF2-40B4-BE49-F238E27FC236}">
                  <a16:creationId xmlns:a16="http://schemas.microsoft.com/office/drawing/2014/main" id="{3C0B667A-18F0-4E79-9549-1CF9F021884A}"/>
                </a:ext>
              </a:extLst>
            </p:cNvPr>
            <p:cNvSpPr/>
            <p:nvPr/>
          </p:nvSpPr>
          <p:spPr>
            <a:xfrm rot="8716295">
              <a:off x="3217358" y="71595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2" name="Forme libre : forme 1941">
              <a:extLst>
                <a:ext uri="{FF2B5EF4-FFF2-40B4-BE49-F238E27FC236}">
                  <a16:creationId xmlns:a16="http://schemas.microsoft.com/office/drawing/2014/main" id="{B0DED242-BC4E-4AF1-BAE0-7624C0344F25}"/>
                </a:ext>
              </a:extLst>
            </p:cNvPr>
            <p:cNvSpPr/>
            <p:nvPr/>
          </p:nvSpPr>
          <p:spPr>
            <a:xfrm rot="8716295">
              <a:off x="2974112" y="74618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3" name="Forme libre : forme 1942">
              <a:extLst>
                <a:ext uri="{FF2B5EF4-FFF2-40B4-BE49-F238E27FC236}">
                  <a16:creationId xmlns:a16="http://schemas.microsoft.com/office/drawing/2014/main" id="{9B427F4D-0061-471B-99D7-9ACBD334EA67}"/>
                </a:ext>
              </a:extLst>
            </p:cNvPr>
            <p:cNvSpPr/>
            <p:nvPr/>
          </p:nvSpPr>
          <p:spPr>
            <a:xfrm rot="8716295">
              <a:off x="3151564" y="58693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4" name="Forme libre : forme 1943">
              <a:extLst>
                <a:ext uri="{FF2B5EF4-FFF2-40B4-BE49-F238E27FC236}">
                  <a16:creationId xmlns:a16="http://schemas.microsoft.com/office/drawing/2014/main" id="{9646A09C-91CC-4D8D-8FCA-9CC186FCDAC2}"/>
                </a:ext>
              </a:extLst>
            </p:cNvPr>
            <p:cNvSpPr/>
            <p:nvPr/>
          </p:nvSpPr>
          <p:spPr>
            <a:xfrm rot="8716295">
              <a:off x="2387845" y="31194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5" name="Forme libre : forme 1944">
              <a:extLst>
                <a:ext uri="{FF2B5EF4-FFF2-40B4-BE49-F238E27FC236}">
                  <a16:creationId xmlns:a16="http://schemas.microsoft.com/office/drawing/2014/main" id="{7EFC061B-413D-4C95-B443-9F3F27FBE816}"/>
                </a:ext>
              </a:extLst>
            </p:cNvPr>
            <p:cNvSpPr/>
            <p:nvPr/>
          </p:nvSpPr>
          <p:spPr>
            <a:xfrm rot="8716295">
              <a:off x="2477237" y="34118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6" name="Forme libre : forme 1945">
              <a:extLst>
                <a:ext uri="{FF2B5EF4-FFF2-40B4-BE49-F238E27FC236}">
                  <a16:creationId xmlns:a16="http://schemas.microsoft.com/office/drawing/2014/main" id="{050B80C6-7110-45B3-B5D3-3D4418DC6D2D}"/>
                </a:ext>
              </a:extLst>
            </p:cNvPr>
            <p:cNvSpPr/>
            <p:nvPr/>
          </p:nvSpPr>
          <p:spPr>
            <a:xfrm rot="8716295">
              <a:off x="2432387" y="254908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7" name="Forme libre : forme 1946">
              <a:extLst>
                <a:ext uri="{FF2B5EF4-FFF2-40B4-BE49-F238E27FC236}">
                  <a16:creationId xmlns:a16="http://schemas.microsoft.com/office/drawing/2014/main" id="{16C54A5F-832E-4682-9A28-7BEEB48EF225}"/>
                </a:ext>
              </a:extLst>
            </p:cNvPr>
            <p:cNvSpPr/>
            <p:nvPr/>
          </p:nvSpPr>
          <p:spPr>
            <a:xfrm rot="8716295">
              <a:off x="2275611" y="40049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8" name="Forme libre : forme 1947">
              <a:extLst>
                <a:ext uri="{FF2B5EF4-FFF2-40B4-BE49-F238E27FC236}">
                  <a16:creationId xmlns:a16="http://schemas.microsoft.com/office/drawing/2014/main" id="{9182BB74-8CDE-456E-9B19-EB6A2BC862BF}"/>
                </a:ext>
              </a:extLst>
            </p:cNvPr>
            <p:cNvSpPr/>
            <p:nvPr/>
          </p:nvSpPr>
          <p:spPr>
            <a:xfrm rot="8716295">
              <a:off x="2150708" y="19181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9" name="Forme libre : forme 1948">
              <a:extLst>
                <a:ext uri="{FF2B5EF4-FFF2-40B4-BE49-F238E27FC236}">
                  <a16:creationId xmlns:a16="http://schemas.microsoft.com/office/drawing/2014/main" id="{8B7E3CE6-4BE3-4C9E-A239-D8D1203FC60A}"/>
                </a:ext>
              </a:extLst>
            </p:cNvPr>
            <p:cNvSpPr/>
            <p:nvPr/>
          </p:nvSpPr>
          <p:spPr>
            <a:xfrm rot="8716295">
              <a:off x="2138656" y="53037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0" name="Forme libre : forme 1949">
              <a:extLst>
                <a:ext uri="{FF2B5EF4-FFF2-40B4-BE49-F238E27FC236}">
                  <a16:creationId xmlns:a16="http://schemas.microsoft.com/office/drawing/2014/main" id="{3F6771EB-9647-44FF-992B-BFDD8921D128}"/>
                </a:ext>
              </a:extLst>
            </p:cNvPr>
            <p:cNvSpPr/>
            <p:nvPr/>
          </p:nvSpPr>
          <p:spPr>
            <a:xfrm rot="8716295">
              <a:off x="2365789" y="441442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1" name="Forme libre : forme 1950">
              <a:extLst>
                <a:ext uri="{FF2B5EF4-FFF2-40B4-BE49-F238E27FC236}">
                  <a16:creationId xmlns:a16="http://schemas.microsoft.com/office/drawing/2014/main" id="{EE97D450-BD29-4CDD-BFC8-817BD4470CBA}"/>
                </a:ext>
              </a:extLst>
            </p:cNvPr>
            <p:cNvSpPr/>
            <p:nvPr/>
          </p:nvSpPr>
          <p:spPr>
            <a:xfrm rot="8716295">
              <a:off x="2676944" y="6179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2" name="Forme libre : forme 1951">
              <a:extLst>
                <a:ext uri="{FF2B5EF4-FFF2-40B4-BE49-F238E27FC236}">
                  <a16:creationId xmlns:a16="http://schemas.microsoft.com/office/drawing/2014/main" id="{8EFD00D1-610B-479F-906F-15BAF79DD95F}"/>
                </a:ext>
              </a:extLst>
            </p:cNvPr>
            <p:cNvSpPr/>
            <p:nvPr/>
          </p:nvSpPr>
          <p:spPr>
            <a:xfrm rot="8716295">
              <a:off x="2766336" y="9103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3" name="Forme libre : forme 1952">
              <a:extLst>
                <a:ext uri="{FF2B5EF4-FFF2-40B4-BE49-F238E27FC236}">
                  <a16:creationId xmlns:a16="http://schemas.microsoft.com/office/drawing/2014/main" id="{61A26481-3D0A-4F35-81C4-E66E5F2DC440}"/>
                </a:ext>
              </a:extLst>
            </p:cNvPr>
            <p:cNvSpPr/>
            <p:nvPr/>
          </p:nvSpPr>
          <p:spPr>
            <a:xfrm rot="8716295">
              <a:off x="2564710" y="15033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4" name="Forme libre : forme 1953">
              <a:extLst>
                <a:ext uri="{FF2B5EF4-FFF2-40B4-BE49-F238E27FC236}">
                  <a16:creationId xmlns:a16="http://schemas.microsoft.com/office/drawing/2014/main" id="{83459BF4-9B6D-4560-BF8C-1B7247F9F85E}"/>
                </a:ext>
              </a:extLst>
            </p:cNvPr>
            <p:cNvSpPr/>
            <p:nvPr/>
          </p:nvSpPr>
          <p:spPr>
            <a:xfrm rot="8716295">
              <a:off x="2448552" y="-16031"/>
              <a:ext cx="203847" cy="149340"/>
            </a:xfrm>
            <a:custGeom>
              <a:avLst/>
              <a:gdLst>
                <a:gd name="connsiteX0" fmla="*/ 106716 w 203847"/>
                <a:gd name="connsiteY0" fmla="*/ 149340 h 149340"/>
                <a:gd name="connsiteX1" fmla="*/ 50038 w 203847"/>
                <a:gd name="connsiteY1" fmla="*/ 110053 h 149340"/>
                <a:gd name="connsiteX2" fmla="*/ 69777 w 203847"/>
                <a:gd name="connsiteY2" fmla="*/ 55323 h 149340"/>
                <a:gd name="connsiteX3" fmla="*/ 0 w 203847"/>
                <a:gd name="connsiteY3" fmla="*/ 55323 h 149340"/>
                <a:gd name="connsiteX4" fmla="*/ 0 w 203847"/>
                <a:gd name="connsiteY4" fmla="*/ 0 h 149340"/>
                <a:gd name="connsiteX5" fmla="*/ 203847 w 203847"/>
                <a:gd name="connsiteY5" fmla="*/ 0 h 149340"/>
                <a:gd name="connsiteX6" fmla="*/ 203847 w 203847"/>
                <a:gd name="connsiteY6" fmla="*/ 55323 h 149340"/>
                <a:gd name="connsiteX7" fmla="*/ 139055 w 203847"/>
                <a:gd name="connsiteY7" fmla="*/ 55323 h 14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49340">
                  <a:moveTo>
                    <a:pt x="106716" y="149340"/>
                  </a:moveTo>
                  <a:lnTo>
                    <a:pt x="50038" y="110053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5" name="Forme libre : forme 1954">
              <a:extLst>
                <a:ext uri="{FF2B5EF4-FFF2-40B4-BE49-F238E27FC236}">
                  <a16:creationId xmlns:a16="http://schemas.microsoft.com/office/drawing/2014/main" id="{08C5FD8C-89B2-49FC-84D0-17F41609A333}"/>
                </a:ext>
              </a:extLst>
            </p:cNvPr>
            <p:cNvSpPr/>
            <p:nvPr/>
          </p:nvSpPr>
          <p:spPr>
            <a:xfrm rot="8716295">
              <a:off x="2654888" y="191290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6" name="Forme libre : forme 1955">
              <a:extLst>
                <a:ext uri="{FF2B5EF4-FFF2-40B4-BE49-F238E27FC236}">
                  <a16:creationId xmlns:a16="http://schemas.microsoft.com/office/drawing/2014/main" id="{6BFD8684-31CE-4791-ABB1-43076B0A7845}"/>
                </a:ext>
              </a:extLst>
            </p:cNvPr>
            <p:cNvSpPr/>
            <p:nvPr/>
          </p:nvSpPr>
          <p:spPr>
            <a:xfrm rot="8716295">
              <a:off x="2413437" y="41690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7" name="Forme libre : forme 1956">
              <a:extLst>
                <a:ext uri="{FF2B5EF4-FFF2-40B4-BE49-F238E27FC236}">
                  <a16:creationId xmlns:a16="http://schemas.microsoft.com/office/drawing/2014/main" id="{C161F571-B0D5-4B28-BE2F-078F2E50988C}"/>
                </a:ext>
              </a:extLst>
            </p:cNvPr>
            <p:cNvSpPr/>
            <p:nvPr/>
          </p:nvSpPr>
          <p:spPr>
            <a:xfrm rot="7484129">
              <a:off x="2759819" y="38264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8" name="Forme libre : forme 1957">
              <a:extLst>
                <a:ext uri="{FF2B5EF4-FFF2-40B4-BE49-F238E27FC236}">
                  <a16:creationId xmlns:a16="http://schemas.microsoft.com/office/drawing/2014/main" id="{B184E69F-BDC0-4CD6-B4AA-C0EA481AE5EE}"/>
                </a:ext>
              </a:extLst>
            </p:cNvPr>
            <p:cNvSpPr/>
            <p:nvPr/>
          </p:nvSpPr>
          <p:spPr>
            <a:xfrm rot="13089394">
              <a:off x="2864639" y="349175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9" name="Forme libre : forme 1958">
              <a:extLst>
                <a:ext uri="{FF2B5EF4-FFF2-40B4-BE49-F238E27FC236}">
                  <a16:creationId xmlns:a16="http://schemas.microsoft.com/office/drawing/2014/main" id="{9B2080A5-8C36-42CE-9405-38C37EFEE848}"/>
                </a:ext>
              </a:extLst>
            </p:cNvPr>
            <p:cNvSpPr/>
            <p:nvPr/>
          </p:nvSpPr>
          <p:spPr>
            <a:xfrm rot="8716295">
              <a:off x="3050224" y="157494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0" name="Forme libre : forme 1959">
              <a:extLst>
                <a:ext uri="{FF2B5EF4-FFF2-40B4-BE49-F238E27FC236}">
                  <a16:creationId xmlns:a16="http://schemas.microsoft.com/office/drawing/2014/main" id="{C29B37FA-C9D3-4881-A9EF-CB70017820D1}"/>
                </a:ext>
              </a:extLst>
            </p:cNvPr>
            <p:cNvSpPr/>
            <p:nvPr/>
          </p:nvSpPr>
          <p:spPr>
            <a:xfrm rot="8716295">
              <a:off x="2998419" y="5390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1" name="Forme libre : forme 1960">
              <a:extLst>
                <a:ext uri="{FF2B5EF4-FFF2-40B4-BE49-F238E27FC236}">
                  <a16:creationId xmlns:a16="http://schemas.microsoft.com/office/drawing/2014/main" id="{CD43208D-F797-4F3A-8F0E-C454996D1C94}"/>
                </a:ext>
              </a:extLst>
            </p:cNvPr>
            <p:cNvSpPr/>
            <p:nvPr/>
          </p:nvSpPr>
          <p:spPr>
            <a:xfrm rot="8716295">
              <a:off x="2755173" y="8412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2" name="Forme libre : forme 1961">
              <a:extLst>
                <a:ext uri="{FF2B5EF4-FFF2-40B4-BE49-F238E27FC236}">
                  <a16:creationId xmlns:a16="http://schemas.microsoft.com/office/drawing/2014/main" id="{54F15BE2-E27F-44E5-B93A-67906E77A622}"/>
                </a:ext>
              </a:extLst>
            </p:cNvPr>
            <p:cNvSpPr/>
            <p:nvPr/>
          </p:nvSpPr>
          <p:spPr>
            <a:xfrm rot="8716295">
              <a:off x="2940014" y="-28690"/>
              <a:ext cx="88664" cy="70660"/>
            </a:xfrm>
            <a:custGeom>
              <a:avLst/>
              <a:gdLst>
                <a:gd name="connsiteX0" fmla="*/ 83649 w 88664"/>
                <a:gd name="connsiteY0" fmla="*/ 70660 h 70660"/>
                <a:gd name="connsiteX1" fmla="*/ 0 w 88664"/>
                <a:gd name="connsiteY1" fmla="*/ 12677 h 70660"/>
                <a:gd name="connsiteX2" fmla="*/ 30024 w 88664"/>
                <a:gd name="connsiteY2" fmla="*/ 0 h 70660"/>
                <a:gd name="connsiteX3" fmla="*/ 71417 w 88664"/>
                <a:gd name="connsiteY3" fmla="*/ 17477 h 70660"/>
                <a:gd name="connsiteX4" fmla="*/ 88664 w 88664"/>
                <a:gd name="connsiteY4" fmla="*/ 58525 h 70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664" h="70660">
                  <a:moveTo>
                    <a:pt x="83649" y="70660"/>
                  </a:moveTo>
                  <a:lnTo>
                    <a:pt x="0" y="12677"/>
                  </a:lnTo>
                  <a:lnTo>
                    <a:pt x="30024" y="0"/>
                  </a:lnTo>
                  <a:cubicBezTo>
                    <a:pt x="45662" y="0"/>
                    <a:pt x="60379" y="6439"/>
                    <a:pt x="71417" y="17477"/>
                  </a:cubicBezTo>
                  <a:cubicBezTo>
                    <a:pt x="82915" y="28515"/>
                    <a:pt x="88664" y="43462"/>
                    <a:pt x="88664" y="58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3" name="Forme libre : forme 1962">
              <a:extLst>
                <a:ext uri="{FF2B5EF4-FFF2-40B4-BE49-F238E27FC236}">
                  <a16:creationId xmlns:a16="http://schemas.microsoft.com/office/drawing/2014/main" id="{A96E0022-A9CF-4F9C-9D74-6AF826262D3D}"/>
                </a:ext>
              </a:extLst>
            </p:cNvPr>
            <p:cNvSpPr/>
            <p:nvPr/>
          </p:nvSpPr>
          <p:spPr>
            <a:xfrm rot="13089394">
              <a:off x="2740820" y="-30870"/>
              <a:ext cx="73521" cy="76374"/>
            </a:xfrm>
            <a:custGeom>
              <a:avLst/>
              <a:gdLst>
                <a:gd name="connsiteX0" fmla="*/ 73521 w 73521"/>
                <a:gd name="connsiteY0" fmla="*/ 18609 h 76374"/>
                <a:gd name="connsiteX1" fmla="*/ 0 w 73521"/>
                <a:gd name="connsiteY1" fmla="*/ 76374 h 76374"/>
                <a:gd name="connsiteX2" fmla="*/ 0 w 73521"/>
                <a:gd name="connsiteY2" fmla="*/ 38074 h 76374"/>
                <a:gd name="connsiteX3" fmla="*/ 73388 w 73521"/>
                <a:gd name="connsiteY3" fmla="*/ 0 h 7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521" h="76374">
                  <a:moveTo>
                    <a:pt x="73521" y="18609"/>
                  </a:moveTo>
                  <a:lnTo>
                    <a:pt x="0" y="76374"/>
                  </a:lnTo>
                  <a:lnTo>
                    <a:pt x="0" y="38074"/>
                  </a:lnTo>
                  <a:lnTo>
                    <a:pt x="7338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4" name="Forme libre : forme 1963">
              <a:extLst>
                <a:ext uri="{FF2B5EF4-FFF2-40B4-BE49-F238E27FC236}">
                  <a16:creationId xmlns:a16="http://schemas.microsoft.com/office/drawing/2014/main" id="{6538AA74-15CD-43BC-8F1C-18881AB7F0C7}"/>
                </a:ext>
              </a:extLst>
            </p:cNvPr>
            <p:cNvSpPr/>
            <p:nvPr/>
          </p:nvSpPr>
          <p:spPr>
            <a:xfrm rot="8716295">
              <a:off x="2166753" y="273158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5" name="Forme libre : forme 1964">
              <a:extLst>
                <a:ext uri="{FF2B5EF4-FFF2-40B4-BE49-F238E27FC236}">
                  <a16:creationId xmlns:a16="http://schemas.microsoft.com/office/drawing/2014/main" id="{CD1BD058-8224-4BD3-B8B9-AEF4E4524A8C}"/>
                </a:ext>
              </a:extLst>
            </p:cNvPr>
            <p:cNvSpPr/>
            <p:nvPr/>
          </p:nvSpPr>
          <p:spPr>
            <a:xfrm rot="8716295">
              <a:off x="2256145" y="276082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6" name="Forme libre : forme 1965">
              <a:extLst>
                <a:ext uri="{FF2B5EF4-FFF2-40B4-BE49-F238E27FC236}">
                  <a16:creationId xmlns:a16="http://schemas.microsoft.com/office/drawing/2014/main" id="{71B92AA0-8C88-4128-864F-918A8A4225F3}"/>
                </a:ext>
              </a:extLst>
            </p:cNvPr>
            <p:cNvSpPr/>
            <p:nvPr/>
          </p:nvSpPr>
          <p:spPr>
            <a:xfrm rot="8716295">
              <a:off x="2211295" y="2674548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7" name="Forme libre : forme 1966">
              <a:extLst>
                <a:ext uri="{FF2B5EF4-FFF2-40B4-BE49-F238E27FC236}">
                  <a16:creationId xmlns:a16="http://schemas.microsoft.com/office/drawing/2014/main" id="{AFBC597A-A976-45D6-A00D-85892928DFA5}"/>
                </a:ext>
              </a:extLst>
            </p:cNvPr>
            <p:cNvSpPr/>
            <p:nvPr/>
          </p:nvSpPr>
          <p:spPr>
            <a:xfrm rot="8716295">
              <a:off x="2054519" y="28201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8" name="Forme libre : forme 1967">
              <a:extLst>
                <a:ext uri="{FF2B5EF4-FFF2-40B4-BE49-F238E27FC236}">
                  <a16:creationId xmlns:a16="http://schemas.microsoft.com/office/drawing/2014/main" id="{4ECD9B70-E8DE-4630-8659-622A12EC3C29}"/>
                </a:ext>
              </a:extLst>
            </p:cNvPr>
            <p:cNvSpPr/>
            <p:nvPr/>
          </p:nvSpPr>
          <p:spPr>
            <a:xfrm rot="8716295">
              <a:off x="1929616" y="261145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9" name="Forme libre : forme 1968">
              <a:extLst>
                <a:ext uri="{FF2B5EF4-FFF2-40B4-BE49-F238E27FC236}">
                  <a16:creationId xmlns:a16="http://schemas.microsoft.com/office/drawing/2014/main" id="{8DC6A858-FC43-49E0-8CDD-7C48F1A15095}"/>
                </a:ext>
              </a:extLst>
            </p:cNvPr>
            <p:cNvSpPr/>
            <p:nvPr/>
          </p:nvSpPr>
          <p:spPr>
            <a:xfrm rot="8716295">
              <a:off x="1917564" y="2472677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0" name="Forme libre : forme 1969">
              <a:extLst>
                <a:ext uri="{FF2B5EF4-FFF2-40B4-BE49-F238E27FC236}">
                  <a16:creationId xmlns:a16="http://schemas.microsoft.com/office/drawing/2014/main" id="{D72AFDB1-B1E3-4297-8283-8D4E9CD1E2D9}"/>
                </a:ext>
              </a:extLst>
            </p:cNvPr>
            <p:cNvSpPr/>
            <p:nvPr/>
          </p:nvSpPr>
          <p:spPr>
            <a:xfrm rot="8716295">
              <a:off x="2144697" y="2861082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1" name="Forme libre : forme 1970">
              <a:extLst>
                <a:ext uri="{FF2B5EF4-FFF2-40B4-BE49-F238E27FC236}">
                  <a16:creationId xmlns:a16="http://schemas.microsoft.com/office/drawing/2014/main" id="{505B528E-46CB-4331-B3F1-621BFE8D2CF5}"/>
                </a:ext>
              </a:extLst>
            </p:cNvPr>
            <p:cNvSpPr/>
            <p:nvPr/>
          </p:nvSpPr>
          <p:spPr>
            <a:xfrm rot="8716295">
              <a:off x="2455852" y="248143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2" name="Forme libre : forme 1971">
              <a:extLst>
                <a:ext uri="{FF2B5EF4-FFF2-40B4-BE49-F238E27FC236}">
                  <a16:creationId xmlns:a16="http://schemas.microsoft.com/office/drawing/2014/main" id="{F6731AFD-9029-4A47-8A04-F3D470338302}"/>
                </a:ext>
              </a:extLst>
            </p:cNvPr>
            <p:cNvSpPr/>
            <p:nvPr/>
          </p:nvSpPr>
          <p:spPr>
            <a:xfrm rot="8716295">
              <a:off x="2545244" y="251067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3" name="Forme libre : forme 1972">
              <a:extLst>
                <a:ext uri="{FF2B5EF4-FFF2-40B4-BE49-F238E27FC236}">
                  <a16:creationId xmlns:a16="http://schemas.microsoft.com/office/drawing/2014/main" id="{3EABB06A-3009-47CC-BE66-961590C5E393}"/>
                </a:ext>
              </a:extLst>
            </p:cNvPr>
            <p:cNvSpPr/>
            <p:nvPr/>
          </p:nvSpPr>
          <p:spPr>
            <a:xfrm rot="8716295">
              <a:off x="2343618" y="256997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4" name="Forme libre : forme 1973">
              <a:extLst>
                <a:ext uri="{FF2B5EF4-FFF2-40B4-BE49-F238E27FC236}">
                  <a16:creationId xmlns:a16="http://schemas.microsoft.com/office/drawing/2014/main" id="{BF54C594-EF8A-46E9-84BB-8BE19279F834}"/>
                </a:ext>
              </a:extLst>
            </p:cNvPr>
            <p:cNvSpPr/>
            <p:nvPr/>
          </p:nvSpPr>
          <p:spPr>
            <a:xfrm rot="8716295">
              <a:off x="2218716" y="236130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5" name="Forme libre : forme 1974">
              <a:extLst>
                <a:ext uri="{FF2B5EF4-FFF2-40B4-BE49-F238E27FC236}">
                  <a16:creationId xmlns:a16="http://schemas.microsoft.com/office/drawing/2014/main" id="{5380C4F6-A63E-4D68-92F1-66B1BF7EBE8E}"/>
                </a:ext>
              </a:extLst>
            </p:cNvPr>
            <p:cNvSpPr/>
            <p:nvPr/>
          </p:nvSpPr>
          <p:spPr>
            <a:xfrm rot="8716295">
              <a:off x="2433796" y="2610930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6" name="Forme libre : forme 1975">
              <a:extLst>
                <a:ext uri="{FF2B5EF4-FFF2-40B4-BE49-F238E27FC236}">
                  <a16:creationId xmlns:a16="http://schemas.microsoft.com/office/drawing/2014/main" id="{49BE900B-BC94-49D1-B693-560BFF27480F}"/>
                </a:ext>
              </a:extLst>
            </p:cNvPr>
            <p:cNvSpPr/>
            <p:nvPr/>
          </p:nvSpPr>
          <p:spPr>
            <a:xfrm rot="8716295">
              <a:off x="2192345" y="2461330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7" name="Forme libre : forme 1976">
              <a:extLst>
                <a:ext uri="{FF2B5EF4-FFF2-40B4-BE49-F238E27FC236}">
                  <a16:creationId xmlns:a16="http://schemas.microsoft.com/office/drawing/2014/main" id="{262BF73E-61CD-473B-BB9A-69825B24DD0D}"/>
                </a:ext>
              </a:extLst>
            </p:cNvPr>
            <p:cNvSpPr/>
            <p:nvPr/>
          </p:nvSpPr>
          <p:spPr>
            <a:xfrm rot="7484129">
              <a:off x="2538727" y="280228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8" name="Forme libre : forme 1977">
              <a:extLst>
                <a:ext uri="{FF2B5EF4-FFF2-40B4-BE49-F238E27FC236}">
                  <a16:creationId xmlns:a16="http://schemas.microsoft.com/office/drawing/2014/main" id="{CCF245C0-F7BF-4D01-8D8F-EAE62FF31873}"/>
                </a:ext>
              </a:extLst>
            </p:cNvPr>
            <p:cNvSpPr/>
            <p:nvPr/>
          </p:nvSpPr>
          <p:spPr>
            <a:xfrm rot="13089394">
              <a:off x="2643547" y="2768815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9" name="Forme libre : forme 1978">
              <a:extLst>
                <a:ext uri="{FF2B5EF4-FFF2-40B4-BE49-F238E27FC236}">
                  <a16:creationId xmlns:a16="http://schemas.microsoft.com/office/drawing/2014/main" id="{4AFE70E3-9BF6-4E6F-AFD4-7B005F059737}"/>
                </a:ext>
              </a:extLst>
            </p:cNvPr>
            <p:cNvSpPr/>
            <p:nvPr/>
          </p:nvSpPr>
          <p:spPr>
            <a:xfrm rot="8716295">
              <a:off x="2829132" y="2577134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0" name="Forme libre : forme 1979">
              <a:extLst>
                <a:ext uri="{FF2B5EF4-FFF2-40B4-BE49-F238E27FC236}">
                  <a16:creationId xmlns:a16="http://schemas.microsoft.com/office/drawing/2014/main" id="{690B1DAA-4E18-495A-9F96-0ECAB197F10A}"/>
                </a:ext>
              </a:extLst>
            </p:cNvPr>
            <p:cNvSpPr/>
            <p:nvPr/>
          </p:nvSpPr>
          <p:spPr>
            <a:xfrm rot="8716295">
              <a:off x="2777327" y="247354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1" name="Forme libre : forme 1980">
              <a:extLst>
                <a:ext uri="{FF2B5EF4-FFF2-40B4-BE49-F238E27FC236}">
                  <a16:creationId xmlns:a16="http://schemas.microsoft.com/office/drawing/2014/main" id="{695EC0C0-C4AF-4594-95DE-46C3AB675826}"/>
                </a:ext>
              </a:extLst>
            </p:cNvPr>
            <p:cNvSpPr/>
            <p:nvPr/>
          </p:nvSpPr>
          <p:spPr>
            <a:xfrm rot="8716295">
              <a:off x="2534081" y="250376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2" name="Forme libre : forme 1981">
              <a:extLst>
                <a:ext uri="{FF2B5EF4-FFF2-40B4-BE49-F238E27FC236}">
                  <a16:creationId xmlns:a16="http://schemas.microsoft.com/office/drawing/2014/main" id="{F97B452C-1EC8-451F-A07D-6DDB8CECEB39}"/>
                </a:ext>
              </a:extLst>
            </p:cNvPr>
            <p:cNvSpPr/>
            <p:nvPr/>
          </p:nvSpPr>
          <p:spPr>
            <a:xfrm rot="8716295">
              <a:off x="2711533" y="234452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3" name="Forme libre : forme 1982">
              <a:extLst>
                <a:ext uri="{FF2B5EF4-FFF2-40B4-BE49-F238E27FC236}">
                  <a16:creationId xmlns:a16="http://schemas.microsoft.com/office/drawing/2014/main" id="{7DE13715-75C0-4A68-AFA3-7EF2AC26078A}"/>
                </a:ext>
              </a:extLst>
            </p:cNvPr>
            <p:cNvSpPr/>
            <p:nvPr/>
          </p:nvSpPr>
          <p:spPr>
            <a:xfrm rot="8716295">
              <a:off x="2389920" y="339128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4" name="Forme libre : forme 1983">
              <a:extLst>
                <a:ext uri="{FF2B5EF4-FFF2-40B4-BE49-F238E27FC236}">
                  <a16:creationId xmlns:a16="http://schemas.microsoft.com/office/drawing/2014/main" id="{BF89118D-2CBC-4115-AC55-B8972D0566E5}"/>
                </a:ext>
              </a:extLst>
            </p:cNvPr>
            <p:cNvSpPr/>
            <p:nvPr/>
          </p:nvSpPr>
          <p:spPr>
            <a:xfrm rot="8716295">
              <a:off x="2479312" y="342052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5" name="Forme libre : forme 1984">
              <a:extLst>
                <a:ext uri="{FF2B5EF4-FFF2-40B4-BE49-F238E27FC236}">
                  <a16:creationId xmlns:a16="http://schemas.microsoft.com/office/drawing/2014/main" id="{1C6B7E42-8529-4CE4-9AD7-D33B3648E154}"/>
                </a:ext>
              </a:extLst>
            </p:cNvPr>
            <p:cNvSpPr/>
            <p:nvPr/>
          </p:nvSpPr>
          <p:spPr>
            <a:xfrm rot="8716295">
              <a:off x="2434462" y="333424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6" name="Forme libre : forme 1985">
              <a:extLst>
                <a:ext uri="{FF2B5EF4-FFF2-40B4-BE49-F238E27FC236}">
                  <a16:creationId xmlns:a16="http://schemas.microsoft.com/office/drawing/2014/main" id="{627E7B88-7C72-442E-8BF5-D4EBDCCB1792}"/>
                </a:ext>
              </a:extLst>
            </p:cNvPr>
            <p:cNvSpPr/>
            <p:nvPr/>
          </p:nvSpPr>
          <p:spPr>
            <a:xfrm rot="8716295">
              <a:off x="2277686" y="347982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7" name="Forme libre : forme 1986">
              <a:extLst>
                <a:ext uri="{FF2B5EF4-FFF2-40B4-BE49-F238E27FC236}">
                  <a16:creationId xmlns:a16="http://schemas.microsoft.com/office/drawing/2014/main" id="{23C30735-EB82-41C0-BEBF-A1C50DE34299}"/>
                </a:ext>
              </a:extLst>
            </p:cNvPr>
            <p:cNvSpPr/>
            <p:nvPr/>
          </p:nvSpPr>
          <p:spPr>
            <a:xfrm rot="8716295">
              <a:off x="2152783" y="327115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8" name="Forme libre : forme 1987">
              <a:extLst>
                <a:ext uri="{FF2B5EF4-FFF2-40B4-BE49-F238E27FC236}">
                  <a16:creationId xmlns:a16="http://schemas.microsoft.com/office/drawing/2014/main" id="{7FF5D6D5-D7D9-4064-AA83-8FB4E8FC29EF}"/>
                </a:ext>
              </a:extLst>
            </p:cNvPr>
            <p:cNvSpPr/>
            <p:nvPr/>
          </p:nvSpPr>
          <p:spPr>
            <a:xfrm rot="8716295">
              <a:off x="2140731" y="313237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9" name="Forme libre : forme 1988">
              <a:extLst>
                <a:ext uri="{FF2B5EF4-FFF2-40B4-BE49-F238E27FC236}">
                  <a16:creationId xmlns:a16="http://schemas.microsoft.com/office/drawing/2014/main" id="{07BB3D21-1AF0-4DC6-9196-AECA69A4B5D6}"/>
                </a:ext>
              </a:extLst>
            </p:cNvPr>
            <p:cNvSpPr/>
            <p:nvPr/>
          </p:nvSpPr>
          <p:spPr>
            <a:xfrm rot="8716295">
              <a:off x="2367864" y="352078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0" name="Forme libre : forme 1989">
              <a:extLst>
                <a:ext uri="{FF2B5EF4-FFF2-40B4-BE49-F238E27FC236}">
                  <a16:creationId xmlns:a16="http://schemas.microsoft.com/office/drawing/2014/main" id="{1C4A8735-C57A-4935-AFC7-2176AF8D4417}"/>
                </a:ext>
              </a:extLst>
            </p:cNvPr>
            <p:cNvSpPr/>
            <p:nvPr/>
          </p:nvSpPr>
          <p:spPr>
            <a:xfrm rot="8716295">
              <a:off x="2679019" y="314113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1" name="Forme libre : forme 1990">
              <a:extLst>
                <a:ext uri="{FF2B5EF4-FFF2-40B4-BE49-F238E27FC236}">
                  <a16:creationId xmlns:a16="http://schemas.microsoft.com/office/drawing/2014/main" id="{D2EFDA7C-C0DA-4517-B39F-8AA29A37F871}"/>
                </a:ext>
              </a:extLst>
            </p:cNvPr>
            <p:cNvSpPr/>
            <p:nvPr/>
          </p:nvSpPr>
          <p:spPr>
            <a:xfrm rot="8716295">
              <a:off x="2768411" y="317037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2" name="Forme libre : forme 1991">
              <a:extLst>
                <a:ext uri="{FF2B5EF4-FFF2-40B4-BE49-F238E27FC236}">
                  <a16:creationId xmlns:a16="http://schemas.microsoft.com/office/drawing/2014/main" id="{9E2A10CA-68B2-4C68-BA6C-C3E1F2D27D89}"/>
                </a:ext>
              </a:extLst>
            </p:cNvPr>
            <p:cNvSpPr/>
            <p:nvPr/>
          </p:nvSpPr>
          <p:spPr>
            <a:xfrm rot="8716295">
              <a:off x="2566785" y="322967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3" name="Forme libre : forme 1992">
              <a:extLst>
                <a:ext uri="{FF2B5EF4-FFF2-40B4-BE49-F238E27FC236}">
                  <a16:creationId xmlns:a16="http://schemas.microsoft.com/office/drawing/2014/main" id="{3F7AB8ED-356B-4D46-8FC5-6AE0991600DC}"/>
                </a:ext>
              </a:extLst>
            </p:cNvPr>
            <p:cNvSpPr/>
            <p:nvPr/>
          </p:nvSpPr>
          <p:spPr>
            <a:xfrm rot="8716295">
              <a:off x="2441883" y="302100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4" name="Forme libre : forme 1993">
              <a:extLst>
                <a:ext uri="{FF2B5EF4-FFF2-40B4-BE49-F238E27FC236}">
                  <a16:creationId xmlns:a16="http://schemas.microsoft.com/office/drawing/2014/main" id="{0667F8A9-A3D6-4CD1-A62C-AB95858D3D97}"/>
                </a:ext>
              </a:extLst>
            </p:cNvPr>
            <p:cNvSpPr/>
            <p:nvPr/>
          </p:nvSpPr>
          <p:spPr>
            <a:xfrm rot="8716295">
              <a:off x="2656963" y="327062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5" name="Forme libre : forme 1994">
              <a:extLst>
                <a:ext uri="{FF2B5EF4-FFF2-40B4-BE49-F238E27FC236}">
                  <a16:creationId xmlns:a16="http://schemas.microsoft.com/office/drawing/2014/main" id="{A540D1F3-372D-4344-A9BE-E8429D9DAC50}"/>
                </a:ext>
              </a:extLst>
            </p:cNvPr>
            <p:cNvSpPr/>
            <p:nvPr/>
          </p:nvSpPr>
          <p:spPr>
            <a:xfrm rot="8716295">
              <a:off x="2415512" y="312102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6" name="Forme libre : forme 1995">
              <a:extLst>
                <a:ext uri="{FF2B5EF4-FFF2-40B4-BE49-F238E27FC236}">
                  <a16:creationId xmlns:a16="http://schemas.microsoft.com/office/drawing/2014/main" id="{F76BD59F-FFC1-4CE1-8C41-23CB9C2F9B51}"/>
                </a:ext>
              </a:extLst>
            </p:cNvPr>
            <p:cNvSpPr/>
            <p:nvPr/>
          </p:nvSpPr>
          <p:spPr>
            <a:xfrm rot="7484129">
              <a:off x="2761894" y="346198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7" name="Forme libre : forme 1996">
              <a:extLst>
                <a:ext uri="{FF2B5EF4-FFF2-40B4-BE49-F238E27FC236}">
                  <a16:creationId xmlns:a16="http://schemas.microsoft.com/office/drawing/2014/main" id="{CFD91B65-FE62-43E9-86AA-168C08A898C5}"/>
                </a:ext>
              </a:extLst>
            </p:cNvPr>
            <p:cNvSpPr/>
            <p:nvPr/>
          </p:nvSpPr>
          <p:spPr>
            <a:xfrm rot="13089394">
              <a:off x="2866714" y="342851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8" name="Forme libre : forme 1997">
              <a:extLst>
                <a:ext uri="{FF2B5EF4-FFF2-40B4-BE49-F238E27FC236}">
                  <a16:creationId xmlns:a16="http://schemas.microsoft.com/office/drawing/2014/main" id="{ABDB9D07-6990-4038-B361-E68047E03370}"/>
                </a:ext>
              </a:extLst>
            </p:cNvPr>
            <p:cNvSpPr/>
            <p:nvPr/>
          </p:nvSpPr>
          <p:spPr>
            <a:xfrm rot="8716295">
              <a:off x="3052299" y="323683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9" name="Forme libre : forme 1998">
              <a:extLst>
                <a:ext uri="{FF2B5EF4-FFF2-40B4-BE49-F238E27FC236}">
                  <a16:creationId xmlns:a16="http://schemas.microsoft.com/office/drawing/2014/main" id="{9E209DF9-C02A-427A-982B-D70411DD7FC6}"/>
                </a:ext>
              </a:extLst>
            </p:cNvPr>
            <p:cNvSpPr/>
            <p:nvPr/>
          </p:nvSpPr>
          <p:spPr>
            <a:xfrm rot="8716295">
              <a:off x="3000494" y="313324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0" name="Forme libre : forme 1999">
              <a:extLst>
                <a:ext uri="{FF2B5EF4-FFF2-40B4-BE49-F238E27FC236}">
                  <a16:creationId xmlns:a16="http://schemas.microsoft.com/office/drawing/2014/main" id="{0816D569-EC61-48BE-ADD6-D76200607819}"/>
                </a:ext>
              </a:extLst>
            </p:cNvPr>
            <p:cNvSpPr/>
            <p:nvPr/>
          </p:nvSpPr>
          <p:spPr>
            <a:xfrm rot="8716295">
              <a:off x="2757248" y="316346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1" name="Forme libre : forme 2000">
              <a:extLst>
                <a:ext uri="{FF2B5EF4-FFF2-40B4-BE49-F238E27FC236}">
                  <a16:creationId xmlns:a16="http://schemas.microsoft.com/office/drawing/2014/main" id="{754B7186-FE18-4821-86FB-CFDCD573AE03}"/>
                </a:ext>
              </a:extLst>
            </p:cNvPr>
            <p:cNvSpPr/>
            <p:nvPr/>
          </p:nvSpPr>
          <p:spPr>
            <a:xfrm rot="8716295">
              <a:off x="2934700" y="300421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2" name="Forme libre : forme 2001">
              <a:extLst>
                <a:ext uri="{FF2B5EF4-FFF2-40B4-BE49-F238E27FC236}">
                  <a16:creationId xmlns:a16="http://schemas.microsoft.com/office/drawing/2014/main" id="{FBC27CB7-DE80-4996-AF2F-0748F399B9D0}"/>
                </a:ext>
              </a:extLst>
            </p:cNvPr>
            <p:cNvSpPr/>
            <p:nvPr/>
          </p:nvSpPr>
          <p:spPr>
            <a:xfrm rot="8716295">
              <a:off x="2865744" y="5089178"/>
              <a:ext cx="140009" cy="103412"/>
            </a:xfrm>
            <a:custGeom>
              <a:avLst/>
              <a:gdLst>
                <a:gd name="connsiteX0" fmla="*/ 23004 w 140009"/>
                <a:gd name="connsiteY0" fmla="*/ 73821 h 103412"/>
                <a:gd name="connsiteX1" fmla="*/ 2853 w 140009"/>
                <a:gd name="connsiteY1" fmla="*/ 34034 h 103412"/>
                <a:gd name="connsiteX2" fmla="*/ 0 w 140009"/>
                <a:gd name="connsiteY2" fmla="*/ 0 h 103412"/>
                <a:gd name="connsiteX3" fmla="*/ 140009 w 140009"/>
                <a:gd name="connsiteY3" fmla="*/ 97050 h 103412"/>
                <a:gd name="connsiteX4" fmla="*/ 137354 w 140009"/>
                <a:gd name="connsiteY4" fmla="*/ 97759 h 103412"/>
                <a:gd name="connsiteX5" fmla="*/ 95370 w 140009"/>
                <a:gd name="connsiteY5" fmla="*/ 103238 h 103412"/>
                <a:gd name="connsiteX6" fmla="*/ 23004 w 140009"/>
                <a:gd name="connsiteY6" fmla="*/ 73821 h 103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0009" h="103412">
                  <a:moveTo>
                    <a:pt x="23004" y="73821"/>
                  </a:moveTo>
                  <a:cubicBezTo>
                    <a:pt x="13002" y="64113"/>
                    <a:pt x="6677" y="50875"/>
                    <a:pt x="2853" y="34034"/>
                  </a:cubicBezTo>
                  <a:lnTo>
                    <a:pt x="0" y="0"/>
                  </a:lnTo>
                  <a:lnTo>
                    <a:pt x="140009" y="97050"/>
                  </a:lnTo>
                  <a:lnTo>
                    <a:pt x="137354" y="97759"/>
                  </a:lnTo>
                  <a:cubicBezTo>
                    <a:pt x="121846" y="100775"/>
                    <a:pt x="107579" y="102502"/>
                    <a:pt x="95370" y="103238"/>
                  </a:cubicBezTo>
                  <a:cubicBezTo>
                    <a:pt x="68307" y="105003"/>
                    <a:pt x="41831" y="93236"/>
                    <a:pt x="23004" y="7382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3" name="Forme libre : forme 2002">
              <a:extLst>
                <a:ext uri="{FF2B5EF4-FFF2-40B4-BE49-F238E27FC236}">
                  <a16:creationId xmlns:a16="http://schemas.microsoft.com/office/drawing/2014/main" id="{FC34D642-1FF4-4BEB-9F05-423F26B37AFF}"/>
                </a:ext>
              </a:extLst>
            </p:cNvPr>
            <p:cNvSpPr/>
            <p:nvPr/>
          </p:nvSpPr>
          <p:spPr>
            <a:xfrm rot="8716295">
              <a:off x="3543190" y="5126545"/>
              <a:ext cx="17522" cy="24091"/>
            </a:xfrm>
            <a:custGeom>
              <a:avLst/>
              <a:gdLst>
                <a:gd name="connsiteX0" fmla="*/ 0 w 17522"/>
                <a:gd name="connsiteY0" fmla="*/ 24091 h 24091"/>
                <a:gd name="connsiteX1" fmla="*/ 1 w 17522"/>
                <a:gd name="connsiteY1" fmla="*/ 0 h 24091"/>
                <a:gd name="connsiteX2" fmla="*/ 17522 w 17522"/>
                <a:gd name="connsiteY2" fmla="*/ 12145 h 24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522" h="24091">
                  <a:moveTo>
                    <a:pt x="0" y="24091"/>
                  </a:moveTo>
                  <a:lnTo>
                    <a:pt x="1" y="0"/>
                  </a:lnTo>
                  <a:lnTo>
                    <a:pt x="17522" y="1214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4" name="Forme libre : forme 2003">
              <a:extLst>
                <a:ext uri="{FF2B5EF4-FFF2-40B4-BE49-F238E27FC236}">
                  <a16:creationId xmlns:a16="http://schemas.microsoft.com/office/drawing/2014/main" id="{D14CA223-64E0-41AF-9A9C-EBE4113F2FFF}"/>
                </a:ext>
              </a:extLst>
            </p:cNvPr>
            <p:cNvSpPr/>
            <p:nvPr/>
          </p:nvSpPr>
          <p:spPr>
            <a:xfrm rot="8716295">
              <a:off x="3163011" y="4980512"/>
              <a:ext cx="135472" cy="195874"/>
            </a:xfrm>
            <a:custGeom>
              <a:avLst/>
              <a:gdLst>
                <a:gd name="connsiteX0" fmla="*/ 90710 w 135472"/>
                <a:gd name="connsiteY0" fmla="*/ 195874 h 195874"/>
                <a:gd name="connsiteX1" fmla="*/ 47847 w 135472"/>
                <a:gd name="connsiteY1" fmla="*/ 116129 h 195874"/>
                <a:gd name="connsiteX2" fmla="*/ 69777 w 135472"/>
                <a:gd name="connsiteY2" fmla="*/ 55323 h 195874"/>
                <a:gd name="connsiteX3" fmla="*/ 0 w 135472"/>
                <a:gd name="connsiteY3" fmla="*/ 55323 h 195874"/>
                <a:gd name="connsiteX4" fmla="*/ 0 w 135472"/>
                <a:gd name="connsiteY4" fmla="*/ 0 h 195874"/>
                <a:gd name="connsiteX5" fmla="*/ 40633 w 135472"/>
                <a:gd name="connsiteY5" fmla="*/ 0 h 195874"/>
                <a:gd name="connsiteX6" fmla="*/ 135472 w 135472"/>
                <a:gd name="connsiteY6" fmla="*/ 65739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472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40633" y="0"/>
                  </a:lnTo>
                  <a:lnTo>
                    <a:pt x="135472" y="657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5" name="Forme libre : forme 2004">
              <a:extLst>
                <a:ext uri="{FF2B5EF4-FFF2-40B4-BE49-F238E27FC236}">
                  <a16:creationId xmlns:a16="http://schemas.microsoft.com/office/drawing/2014/main" id="{513E0836-7C56-4736-B55C-909FB1DE7F5E}"/>
                </a:ext>
              </a:extLst>
            </p:cNvPr>
            <p:cNvSpPr/>
            <p:nvPr/>
          </p:nvSpPr>
          <p:spPr>
            <a:xfrm rot="8716295">
              <a:off x="3075185" y="5096420"/>
              <a:ext cx="71527" cy="66237"/>
            </a:xfrm>
            <a:custGeom>
              <a:avLst/>
              <a:gdLst>
                <a:gd name="connsiteX0" fmla="*/ 11471 w 71527"/>
                <a:gd name="connsiteY0" fmla="*/ 55370 h 66237"/>
                <a:gd name="connsiteX1" fmla="*/ 0 w 71527"/>
                <a:gd name="connsiteY1" fmla="*/ 28202 h 66237"/>
                <a:gd name="connsiteX2" fmla="*/ 0 w 71527"/>
                <a:gd name="connsiteY2" fmla="*/ 27599 h 66237"/>
                <a:gd name="connsiteX3" fmla="*/ 11471 w 71527"/>
                <a:gd name="connsiteY3" fmla="*/ 431 h 66237"/>
                <a:gd name="connsiteX4" fmla="*/ 12491 w 71527"/>
                <a:gd name="connsiteY4" fmla="*/ 0 h 66237"/>
                <a:gd name="connsiteX5" fmla="*/ 71527 w 71527"/>
                <a:gd name="connsiteY5" fmla="*/ 40922 h 66237"/>
                <a:gd name="connsiteX6" fmla="*/ 65806 w 71527"/>
                <a:gd name="connsiteY6" fmla="*/ 54766 h 66237"/>
                <a:gd name="connsiteX7" fmla="*/ 38638 w 71527"/>
                <a:gd name="connsiteY7" fmla="*/ 66237 h 66237"/>
                <a:gd name="connsiteX8" fmla="*/ 11471 w 71527"/>
                <a:gd name="connsiteY8" fmla="*/ 55370 h 66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527" h="66237">
                  <a:moveTo>
                    <a:pt x="11471" y="55370"/>
                  </a:moveTo>
                  <a:cubicBezTo>
                    <a:pt x="4226" y="48125"/>
                    <a:pt x="0" y="38465"/>
                    <a:pt x="0" y="28202"/>
                  </a:cubicBezTo>
                  <a:lnTo>
                    <a:pt x="0" y="27599"/>
                  </a:lnTo>
                  <a:cubicBezTo>
                    <a:pt x="0" y="17335"/>
                    <a:pt x="4226" y="7676"/>
                    <a:pt x="11471" y="431"/>
                  </a:cubicBezTo>
                  <a:lnTo>
                    <a:pt x="12491" y="0"/>
                  </a:lnTo>
                  <a:lnTo>
                    <a:pt x="71527" y="40922"/>
                  </a:lnTo>
                  <a:lnTo>
                    <a:pt x="65806" y="54766"/>
                  </a:lnTo>
                  <a:cubicBezTo>
                    <a:pt x="58561" y="62011"/>
                    <a:pt x="48902" y="66237"/>
                    <a:pt x="38638" y="66237"/>
                  </a:cubicBezTo>
                  <a:cubicBezTo>
                    <a:pt x="28375" y="66237"/>
                    <a:pt x="18716" y="62614"/>
                    <a:pt x="11471" y="55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6" name="Forme libre : forme 2005">
              <a:extLst>
                <a:ext uri="{FF2B5EF4-FFF2-40B4-BE49-F238E27FC236}">
                  <a16:creationId xmlns:a16="http://schemas.microsoft.com/office/drawing/2014/main" id="{1D0766CB-D2AF-47CF-8AD9-42DA34AEC513}"/>
                </a:ext>
              </a:extLst>
            </p:cNvPr>
            <p:cNvSpPr/>
            <p:nvPr/>
          </p:nvSpPr>
          <p:spPr>
            <a:xfrm rot="8716295">
              <a:off x="3669562" y="5103164"/>
              <a:ext cx="86480" cy="68720"/>
            </a:xfrm>
            <a:custGeom>
              <a:avLst/>
              <a:gdLst>
                <a:gd name="connsiteX0" fmla="*/ 17477 w 86480"/>
                <a:gd name="connsiteY0" fmla="*/ 52162 h 68720"/>
                <a:gd name="connsiteX1" fmla="*/ 0 w 86480"/>
                <a:gd name="connsiteY1" fmla="*/ 10771 h 68720"/>
                <a:gd name="connsiteX2" fmla="*/ 0 w 86480"/>
                <a:gd name="connsiteY2" fmla="*/ 9850 h 68720"/>
                <a:gd name="connsiteX3" fmla="*/ 4159 w 86480"/>
                <a:gd name="connsiteY3" fmla="*/ 0 h 68720"/>
                <a:gd name="connsiteX4" fmla="*/ 86480 w 86480"/>
                <a:gd name="connsiteY4" fmla="*/ 57062 h 68720"/>
                <a:gd name="connsiteX5" fmla="*/ 58869 w 86480"/>
                <a:gd name="connsiteY5" fmla="*/ 68720 h 68720"/>
                <a:gd name="connsiteX6" fmla="*/ 17477 w 86480"/>
                <a:gd name="connsiteY6" fmla="*/ 52162 h 68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6480" h="68720">
                  <a:moveTo>
                    <a:pt x="17477" y="52162"/>
                  </a:moveTo>
                  <a:cubicBezTo>
                    <a:pt x="6439" y="41124"/>
                    <a:pt x="0" y="26407"/>
                    <a:pt x="0" y="10771"/>
                  </a:cubicBezTo>
                  <a:lnTo>
                    <a:pt x="0" y="9850"/>
                  </a:lnTo>
                  <a:lnTo>
                    <a:pt x="4159" y="0"/>
                  </a:lnTo>
                  <a:lnTo>
                    <a:pt x="86480" y="57062"/>
                  </a:lnTo>
                  <a:lnTo>
                    <a:pt x="58869" y="68720"/>
                  </a:lnTo>
                  <a:cubicBezTo>
                    <a:pt x="43232" y="68720"/>
                    <a:pt x="28516" y="63201"/>
                    <a:pt x="17477" y="5216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7" name="Forme libre : forme 2006">
              <a:extLst>
                <a:ext uri="{FF2B5EF4-FFF2-40B4-BE49-F238E27FC236}">
                  <a16:creationId xmlns:a16="http://schemas.microsoft.com/office/drawing/2014/main" id="{75D179FB-7542-44F2-B462-1CA040B3A61D}"/>
                </a:ext>
              </a:extLst>
            </p:cNvPr>
            <p:cNvSpPr/>
            <p:nvPr/>
          </p:nvSpPr>
          <p:spPr>
            <a:xfrm rot="8716295">
              <a:off x="3598055" y="498328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8" name="Forme libre : forme 2007">
              <a:extLst>
                <a:ext uri="{FF2B5EF4-FFF2-40B4-BE49-F238E27FC236}">
                  <a16:creationId xmlns:a16="http://schemas.microsoft.com/office/drawing/2014/main" id="{66DEB414-FFEC-4800-B8DC-149EC3D26B06}"/>
                </a:ext>
              </a:extLst>
            </p:cNvPr>
            <p:cNvSpPr/>
            <p:nvPr/>
          </p:nvSpPr>
          <p:spPr>
            <a:xfrm rot="8716295">
              <a:off x="2608590" y="404968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9" name="Forme libre : forme 2008">
              <a:extLst>
                <a:ext uri="{FF2B5EF4-FFF2-40B4-BE49-F238E27FC236}">
                  <a16:creationId xmlns:a16="http://schemas.microsoft.com/office/drawing/2014/main" id="{8BB6B1A3-DAB2-4452-ADE2-A05800A3707A}"/>
                </a:ext>
              </a:extLst>
            </p:cNvPr>
            <p:cNvSpPr/>
            <p:nvPr/>
          </p:nvSpPr>
          <p:spPr>
            <a:xfrm rot="8716295">
              <a:off x="2697982" y="407892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0" name="Forme libre : forme 2009">
              <a:extLst>
                <a:ext uri="{FF2B5EF4-FFF2-40B4-BE49-F238E27FC236}">
                  <a16:creationId xmlns:a16="http://schemas.microsoft.com/office/drawing/2014/main" id="{A805B39B-757C-40B3-9D31-DFFF22EBA5CA}"/>
                </a:ext>
              </a:extLst>
            </p:cNvPr>
            <p:cNvSpPr/>
            <p:nvPr/>
          </p:nvSpPr>
          <p:spPr>
            <a:xfrm rot="8716295">
              <a:off x="2653132" y="399264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1" name="Forme libre : forme 2010">
              <a:extLst>
                <a:ext uri="{FF2B5EF4-FFF2-40B4-BE49-F238E27FC236}">
                  <a16:creationId xmlns:a16="http://schemas.microsoft.com/office/drawing/2014/main" id="{62D6EFC1-7ABC-4CF6-9962-40B0CA7DF8A9}"/>
                </a:ext>
              </a:extLst>
            </p:cNvPr>
            <p:cNvSpPr/>
            <p:nvPr/>
          </p:nvSpPr>
          <p:spPr>
            <a:xfrm rot="8716295">
              <a:off x="2496356" y="413822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2" name="Forme libre : forme 2011">
              <a:extLst>
                <a:ext uri="{FF2B5EF4-FFF2-40B4-BE49-F238E27FC236}">
                  <a16:creationId xmlns:a16="http://schemas.microsoft.com/office/drawing/2014/main" id="{529496F8-2EED-482E-99E3-1BCB5EE5585B}"/>
                </a:ext>
              </a:extLst>
            </p:cNvPr>
            <p:cNvSpPr/>
            <p:nvPr/>
          </p:nvSpPr>
          <p:spPr>
            <a:xfrm rot="8716295">
              <a:off x="2371453" y="392955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3" name="Forme libre : forme 2012">
              <a:extLst>
                <a:ext uri="{FF2B5EF4-FFF2-40B4-BE49-F238E27FC236}">
                  <a16:creationId xmlns:a16="http://schemas.microsoft.com/office/drawing/2014/main" id="{F8D2DD7F-D920-4C6F-BDCE-E0D8665E0076}"/>
                </a:ext>
              </a:extLst>
            </p:cNvPr>
            <p:cNvSpPr/>
            <p:nvPr/>
          </p:nvSpPr>
          <p:spPr>
            <a:xfrm rot="8716295">
              <a:off x="2359401" y="379077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4" name="Forme libre : forme 2013">
              <a:extLst>
                <a:ext uri="{FF2B5EF4-FFF2-40B4-BE49-F238E27FC236}">
                  <a16:creationId xmlns:a16="http://schemas.microsoft.com/office/drawing/2014/main" id="{B1DDFBEC-2422-4F95-B394-0CDEBBB8444C}"/>
                </a:ext>
              </a:extLst>
            </p:cNvPr>
            <p:cNvSpPr/>
            <p:nvPr/>
          </p:nvSpPr>
          <p:spPr>
            <a:xfrm rot="8716295">
              <a:off x="2586534" y="417917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5" name="Forme libre : forme 2014">
              <a:extLst>
                <a:ext uri="{FF2B5EF4-FFF2-40B4-BE49-F238E27FC236}">
                  <a16:creationId xmlns:a16="http://schemas.microsoft.com/office/drawing/2014/main" id="{769AC63A-D399-4F6F-B5A6-18B9EEEAF8DE}"/>
                </a:ext>
              </a:extLst>
            </p:cNvPr>
            <p:cNvSpPr/>
            <p:nvPr/>
          </p:nvSpPr>
          <p:spPr>
            <a:xfrm rot="8716295">
              <a:off x="2897689" y="379952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6" name="Forme libre : forme 2015">
              <a:extLst>
                <a:ext uri="{FF2B5EF4-FFF2-40B4-BE49-F238E27FC236}">
                  <a16:creationId xmlns:a16="http://schemas.microsoft.com/office/drawing/2014/main" id="{FCE508E9-A69E-4853-B8E9-C26E72CDD220}"/>
                </a:ext>
              </a:extLst>
            </p:cNvPr>
            <p:cNvSpPr/>
            <p:nvPr/>
          </p:nvSpPr>
          <p:spPr>
            <a:xfrm rot="8716295">
              <a:off x="2987081" y="382877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7" name="Forme libre : forme 2016">
              <a:extLst>
                <a:ext uri="{FF2B5EF4-FFF2-40B4-BE49-F238E27FC236}">
                  <a16:creationId xmlns:a16="http://schemas.microsoft.com/office/drawing/2014/main" id="{69B0C070-E5DD-4902-8901-32B0B2DF2181}"/>
                </a:ext>
              </a:extLst>
            </p:cNvPr>
            <p:cNvSpPr/>
            <p:nvPr/>
          </p:nvSpPr>
          <p:spPr>
            <a:xfrm rot="8716295">
              <a:off x="2785455" y="388807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8" name="Forme libre : forme 2017">
              <a:extLst>
                <a:ext uri="{FF2B5EF4-FFF2-40B4-BE49-F238E27FC236}">
                  <a16:creationId xmlns:a16="http://schemas.microsoft.com/office/drawing/2014/main" id="{351C262C-137B-4595-9945-0B58E9E9498A}"/>
                </a:ext>
              </a:extLst>
            </p:cNvPr>
            <p:cNvSpPr/>
            <p:nvPr/>
          </p:nvSpPr>
          <p:spPr>
            <a:xfrm rot="8716295">
              <a:off x="2660553" y="367940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9" name="Forme libre : forme 2018">
              <a:extLst>
                <a:ext uri="{FF2B5EF4-FFF2-40B4-BE49-F238E27FC236}">
                  <a16:creationId xmlns:a16="http://schemas.microsoft.com/office/drawing/2014/main" id="{9E27D744-0584-4AC9-A7EF-FEF550ED480C}"/>
                </a:ext>
              </a:extLst>
            </p:cNvPr>
            <p:cNvSpPr/>
            <p:nvPr/>
          </p:nvSpPr>
          <p:spPr>
            <a:xfrm rot="8716295">
              <a:off x="2875633" y="392902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0" name="Forme libre : forme 2019">
              <a:extLst>
                <a:ext uri="{FF2B5EF4-FFF2-40B4-BE49-F238E27FC236}">
                  <a16:creationId xmlns:a16="http://schemas.microsoft.com/office/drawing/2014/main" id="{47FD6DDE-8088-4171-9B74-ED4CB352D0E1}"/>
                </a:ext>
              </a:extLst>
            </p:cNvPr>
            <p:cNvSpPr/>
            <p:nvPr/>
          </p:nvSpPr>
          <p:spPr>
            <a:xfrm rot="8716295">
              <a:off x="2634182" y="377942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1" name="Forme libre : forme 2020">
              <a:extLst>
                <a:ext uri="{FF2B5EF4-FFF2-40B4-BE49-F238E27FC236}">
                  <a16:creationId xmlns:a16="http://schemas.microsoft.com/office/drawing/2014/main" id="{2332725B-11C5-436B-8C7A-C0F3009C3764}"/>
                </a:ext>
              </a:extLst>
            </p:cNvPr>
            <p:cNvSpPr/>
            <p:nvPr/>
          </p:nvSpPr>
          <p:spPr>
            <a:xfrm rot="7484129">
              <a:off x="2980564" y="41203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2" name="Forme libre : forme 2021">
              <a:extLst>
                <a:ext uri="{FF2B5EF4-FFF2-40B4-BE49-F238E27FC236}">
                  <a16:creationId xmlns:a16="http://schemas.microsoft.com/office/drawing/2014/main" id="{2D6DB575-2CD4-46B8-BF50-BF9C03A4A660}"/>
                </a:ext>
              </a:extLst>
            </p:cNvPr>
            <p:cNvSpPr/>
            <p:nvPr/>
          </p:nvSpPr>
          <p:spPr>
            <a:xfrm rot="13089394">
              <a:off x="3085384" y="408691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3" name="Forme libre : forme 2022">
              <a:extLst>
                <a:ext uri="{FF2B5EF4-FFF2-40B4-BE49-F238E27FC236}">
                  <a16:creationId xmlns:a16="http://schemas.microsoft.com/office/drawing/2014/main" id="{8AA469D7-AA06-49C5-A232-2AB138FF0560}"/>
                </a:ext>
              </a:extLst>
            </p:cNvPr>
            <p:cNvSpPr/>
            <p:nvPr/>
          </p:nvSpPr>
          <p:spPr>
            <a:xfrm rot="8716295">
              <a:off x="3270969" y="389522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4" name="Forme libre : forme 2023">
              <a:extLst>
                <a:ext uri="{FF2B5EF4-FFF2-40B4-BE49-F238E27FC236}">
                  <a16:creationId xmlns:a16="http://schemas.microsoft.com/office/drawing/2014/main" id="{DAA290D6-64E1-496C-9C04-F98B1C63180B}"/>
                </a:ext>
              </a:extLst>
            </p:cNvPr>
            <p:cNvSpPr/>
            <p:nvPr/>
          </p:nvSpPr>
          <p:spPr>
            <a:xfrm rot="8716295">
              <a:off x="3219164" y="379163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5" name="Forme libre : forme 2024">
              <a:extLst>
                <a:ext uri="{FF2B5EF4-FFF2-40B4-BE49-F238E27FC236}">
                  <a16:creationId xmlns:a16="http://schemas.microsoft.com/office/drawing/2014/main" id="{3A0674DB-72FD-47E3-AD95-3835522B3982}"/>
                </a:ext>
              </a:extLst>
            </p:cNvPr>
            <p:cNvSpPr/>
            <p:nvPr/>
          </p:nvSpPr>
          <p:spPr>
            <a:xfrm rot="8716295">
              <a:off x="2975918" y="382185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6" name="Forme libre : forme 2025">
              <a:extLst>
                <a:ext uri="{FF2B5EF4-FFF2-40B4-BE49-F238E27FC236}">
                  <a16:creationId xmlns:a16="http://schemas.microsoft.com/office/drawing/2014/main" id="{DD0ABA36-1047-4667-A038-B5E4D3CCFC34}"/>
                </a:ext>
              </a:extLst>
            </p:cNvPr>
            <p:cNvSpPr/>
            <p:nvPr/>
          </p:nvSpPr>
          <p:spPr>
            <a:xfrm rot="8716295">
              <a:off x="3153370" y="366261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7" name="Forme libre : forme 2026">
              <a:extLst>
                <a:ext uri="{FF2B5EF4-FFF2-40B4-BE49-F238E27FC236}">
                  <a16:creationId xmlns:a16="http://schemas.microsoft.com/office/drawing/2014/main" id="{DCA88CB0-996E-4CBF-8E1B-054627A90FA6}"/>
                </a:ext>
              </a:extLst>
            </p:cNvPr>
            <p:cNvSpPr/>
            <p:nvPr/>
          </p:nvSpPr>
          <p:spPr>
            <a:xfrm rot="8716295">
              <a:off x="2831757" y="470938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8" name="Forme libre : forme 2027">
              <a:extLst>
                <a:ext uri="{FF2B5EF4-FFF2-40B4-BE49-F238E27FC236}">
                  <a16:creationId xmlns:a16="http://schemas.microsoft.com/office/drawing/2014/main" id="{2E1B38FC-3E96-4E74-B515-EB0F8E9F66DF}"/>
                </a:ext>
              </a:extLst>
            </p:cNvPr>
            <p:cNvSpPr/>
            <p:nvPr/>
          </p:nvSpPr>
          <p:spPr>
            <a:xfrm rot="8716295">
              <a:off x="2921149" y="473862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9" name="Forme libre : forme 2028">
              <a:extLst>
                <a:ext uri="{FF2B5EF4-FFF2-40B4-BE49-F238E27FC236}">
                  <a16:creationId xmlns:a16="http://schemas.microsoft.com/office/drawing/2014/main" id="{CDF29BC1-CD69-4D64-875F-1792585745C3}"/>
                </a:ext>
              </a:extLst>
            </p:cNvPr>
            <p:cNvSpPr/>
            <p:nvPr/>
          </p:nvSpPr>
          <p:spPr>
            <a:xfrm rot="8716295">
              <a:off x="2876299" y="465234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0" name="Forme libre : forme 2029">
              <a:extLst>
                <a:ext uri="{FF2B5EF4-FFF2-40B4-BE49-F238E27FC236}">
                  <a16:creationId xmlns:a16="http://schemas.microsoft.com/office/drawing/2014/main" id="{19422572-0729-400B-A56A-9BE0F95C2A16}"/>
                </a:ext>
              </a:extLst>
            </p:cNvPr>
            <p:cNvSpPr/>
            <p:nvPr/>
          </p:nvSpPr>
          <p:spPr>
            <a:xfrm rot="8716295">
              <a:off x="2719523" y="479792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1" name="Forme libre : forme 2030">
              <a:extLst>
                <a:ext uri="{FF2B5EF4-FFF2-40B4-BE49-F238E27FC236}">
                  <a16:creationId xmlns:a16="http://schemas.microsoft.com/office/drawing/2014/main" id="{E606445F-5950-4211-A90A-075E8FDA5A46}"/>
                </a:ext>
              </a:extLst>
            </p:cNvPr>
            <p:cNvSpPr/>
            <p:nvPr/>
          </p:nvSpPr>
          <p:spPr>
            <a:xfrm rot="8716295">
              <a:off x="2594620" y="458925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2" name="Forme libre : forme 2031">
              <a:extLst>
                <a:ext uri="{FF2B5EF4-FFF2-40B4-BE49-F238E27FC236}">
                  <a16:creationId xmlns:a16="http://schemas.microsoft.com/office/drawing/2014/main" id="{8CA2BC66-A99C-485B-BFBF-CC740FFCF083}"/>
                </a:ext>
              </a:extLst>
            </p:cNvPr>
            <p:cNvSpPr/>
            <p:nvPr/>
          </p:nvSpPr>
          <p:spPr>
            <a:xfrm rot="8716295">
              <a:off x="2582568" y="4450471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3" name="Forme libre : forme 2032">
              <a:extLst>
                <a:ext uri="{FF2B5EF4-FFF2-40B4-BE49-F238E27FC236}">
                  <a16:creationId xmlns:a16="http://schemas.microsoft.com/office/drawing/2014/main" id="{71C2114D-64EC-4824-A707-E5E2E8D2CEF6}"/>
                </a:ext>
              </a:extLst>
            </p:cNvPr>
            <p:cNvSpPr/>
            <p:nvPr/>
          </p:nvSpPr>
          <p:spPr>
            <a:xfrm rot="8716295">
              <a:off x="2809701" y="483887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4" name="Forme libre : forme 2033">
              <a:extLst>
                <a:ext uri="{FF2B5EF4-FFF2-40B4-BE49-F238E27FC236}">
                  <a16:creationId xmlns:a16="http://schemas.microsoft.com/office/drawing/2014/main" id="{9B7D5F64-A7C5-45A2-B1CB-7832AA424557}"/>
                </a:ext>
              </a:extLst>
            </p:cNvPr>
            <p:cNvSpPr/>
            <p:nvPr/>
          </p:nvSpPr>
          <p:spPr>
            <a:xfrm rot="8716295">
              <a:off x="3120856" y="445922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5" name="Forme libre : forme 2034">
              <a:extLst>
                <a:ext uri="{FF2B5EF4-FFF2-40B4-BE49-F238E27FC236}">
                  <a16:creationId xmlns:a16="http://schemas.microsoft.com/office/drawing/2014/main" id="{418878C1-309F-4F6D-82F6-074894DEFD09}"/>
                </a:ext>
              </a:extLst>
            </p:cNvPr>
            <p:cNvSpPr/>
            <p:nvPr/>
          </p:nvSpPr>
          <p:spPr>
            <a:xfrm rot="8716295">
              <a:off x="3210248" y="448847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6" name="Forme libre : forme 2035">
              <a:extLst>
                <a:ext uri="{FF2B5EF4-FFF2-40B4-BE49-F238E27FC236}">
                  <a16:creationId xmlns:a16="http://schemas.microsoft.com/office/drawing/2014/main" id="{BEDFC6C0-0504-41A7-AFF6-DA58077E2F9E}"/>
                </a:ext>
              </a:extLst>
            </p:cNvPr>
            <p:cNvSpPr/>
            <p:nvPr/>
          </p:nvSpPr>
          <p:spPr>
            <a:xfrm rot="8716295">
              <a:off x="3008622" y="45477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7" name="Forme libre : forme 2036">
              <a:extLst>
                <a:ext uri="{FF2B5EF4-FFF2-40B4-BE49-F238E27FC236}">
                  <a16:creationId xmlns:a16="http://schemas.microsoft.com/office/drawing/2014/main" id="{0901EFA0-9ABF-4779-9CD7-AEF35261A01F}"/>
                </a:ext>
              </a:extLst>
            </p:cNvPr>
            <p:cNvSpPr/>
            <p:nvPr/>
          </p:nvSpPr>
          <p:spPr>
            <a:xfrm rot="8716295">
              <a:off x="2883720" y="43390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8" name="Forme libre : forme 2037">
              <a:extLst>
                <a:ext uri="{FF2B5EF4-FFF2-40B4-BE49-F238E27FC236}">
                  <a16:creationId xmlns:a16="http://schemas.microsoft.com/office/drawing/2014/main" id="{749728BB-B44C-458D-B875-8F2A71694EB4}"/>
                </a:ext>
              </a:extLst>
            </p:cNvPr>
            <p:cNvSpPr/>
            <p:nvPr/>
          </p:nvSpPr>
          <p:spPr>
            <a:xfrm rot="8716295">
              <a:off x="3098800" y="458872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9" name="Forme libre : forme 2038">
              <a:extLst>
                <a:ext uri="{FF2B5EF4-FFF2-40B4-BE49-F238E27FC236}">
                  <a16:creationId xmlns:a16="http://schemas.microsoft.com/office/drawing/2014/main" id="{C380CDA8-7EF5-48C9-B56D-6A7E2C9ACDDB}"/>
                </a:ext>
              </a:extLst>
            </p:cNvPr>
            <p:cNvSpPr/>
            <p:nvPr/>
          </p:nvSpPr>
          <p:spPr>
            <a:xfrm rot="8716295">
              <a:off x="2857349" y="443912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0" name="Forme libre : forme 2039">
              <a:extLst>
                <a:ext uri="{FF2B5EF4-FFF2-40B4-BE49-F238E27FC236}">
                  <a16:creationId xmlns:a16="http://schemas.microsoft.com/office/drawing/2014/main" id="{35D7DC57-1FBD-4D3A-8353-DA49C3779565}"/>
                </a:ext>
              </a:extLst>
            </p:cNvPr>
            <p:cNvSpPr/>
            <p:nvPr/>
          </p:nvSpPr>
          <p:spPr>
            <a:xfrm rot="7484129">
              <a:off x="3203731" y="478007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1" name="Forme libre : forme 2040">
              <a:extLst>
                <a:ext uri="{FF2B5EF4-FFF2-40B4-BE49-F238E27FC236}">
                  <a16:creationId xmlns:a16="http://schemas.microsoft.com/office/drawing/2014/main" id="{528E07C7-AD59-4D90-8BAC-F763B1D94A11}"/>
                </a:ext>
              </a:extLst>
            </p:cNvPr>
            <p:cNvSpPr/>
            <p:nvPr/>
          </p:nvSpPr>
          <p:spPr>
            <a:xfrm rot="13089394">
              <a:off x="3308551" y="4746609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2" name="Forme libre : forme 2041">
              <a:extLst>
                <a:ext uri="{FF2B5EF4-FFF2-40B4-BE49-F238E27FC236}">
                  <a16:creationId xmlns:a16="http://schemas.microsoft.com/office/drawing/2014/main" id="{2B7E1DD1-1118-40B2-B6F0-0CF0593D1F55}"/>
                </a:ext>
              </a:extLst>
            </p:cNvPr>
            <p:cNvSpPr/>
            <p:nvPr/>
          </p:nvSpPr>
          <p:spPr>
            <a:xfrm rot="8716295">
              <a:off x="3494136" y="455492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3" name="Forme libre : forme 2042">
              <a:extLst>
                <a:ext uri="{FF2B5EF4-FFF2-40B4-BE49-F238E27FC236}">
                  <a16:creationId xmlns:a16="http://schemas.microsoft.com/office/drawing/2014/main" id="{81540EA7-F6EC-44BE-816E-4C0E5EB2914E}"/>
                </a:ext>
              </a:extLst>
            </p:cNvPr>
            <p:cNvSpPr/>
            <p:nvPr/>
          </p:nvSpPr>
          <p:spPr>
            <a:xfrm rot="8716295">
              <a:off x="3442331" y="445133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4" name="Forme libre : forme 2043">
              <a:extLst>
                <a:ext uri="{FF2B5EF4-FFF2-40B4-BE49-F238E27FC236}">
                  <a16:creationId xmlns:a16="http://schemas.microsoft.com/office/drawing/2014/main" id="{439225B7-2BD6-4483-BC9B-DC58675BF4C6}"/>
                </a:ext>
              </a:extLst>
            </p:cNvPr>
            <p:cNvSpPr/>
            <p:nvPr/>
          </p:nvSpPr>
          <p:spPr>
            <a:xfrm rot="8716295">
              <a:off x="3199085" y="448155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5" name="Forme libre : forme 2044">
              <a:extLst>
                <a:ext uri="{FF2B5EF4-FFF2-40B4-BE49-F238E27FC236}">
                  <a16:creationId xmlns:a16="http://schemas.microsoft.com/office/drawing/2014/main" id="{B7D7807C-1490-4102-8354-D497932384C9}"/>
                </a:ext>
              </a:extLst>
            </p:cNvPr>
            <p:cNvSpPr/>
            <p:nvPr/>
          </p:nvSpPr>
          <p:spPr>
            <a:xfrm rot="8716295">
              <a:off x="3376537" y="432231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6" name="Forme libre : forme 2045">
              <a:extLst>
                <a:ext uri="{FF2B5EF4-FFF2-40B4-BE49-F238E27FC236}">
                  <a16:creationId xmlns:a16="http://schemas.microsoft.com/office/drawing/2014/main" id="{635AEC85-CF21-4340-9A71-2C3A7522FD09}"/>
                </a:ext>
              </a:extLst>
            </p:cNvPr>
            <p:cNvSpPr/>
            <p:nvPr/>
          </p:nvSpPr>
          <p:spPr>
            <a:xfrm rot="8716295">
              <a:off x="1945235" y="207061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7" name="Forme libre : forme 2046">
              <a:extLst>
                <a:ext uri="{FF2B5EF4-FFF2-40B4-BE49-F238E27FC236}">
                  <a16:creationId xmlns:a16="http://schemas.microsoft.com/office/drawing/2014/main" id="{11A1EB5F-B7DA-47FC-9300-C3618AE6E095}"/>
                </a:ext>
              </a:extLst>
            </p:cNvPr>
            <p:cNvSpPr/>
            <p:nvPr/>
          </p:nvSpPr>
          <p:spPr>
            <a:xfrm rot="8716295">
              <a:off x="2034627" y="209985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8" name="Forme libre : forme 2047">
              <a:extLst>
                <a:ext uri="{FF2B5EF4-FFF2-40B4-BE49-F238E27FC236}">
                  <a16:creationId xmlns:a16="http://schemas.microsoft.com/office/drawing/2014/main" id="{07F7C572-5337-4FAC-82A4-6A85DC071921}"/>
                </a:ext>
              </a:extLst>
            </p:cNvPr>
            <p:cNvSpPr/>
            <p:nvPr/>
          </p:nvSpPr>
          <p:spPr>
            <a:xfrm rot="8716295">
              <a:off x="1989777" y="201357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9" name="Forme libre : forme 2048">
              <a:extLst>
                <a:ext uri="{FF2B5EF4-FFF2-40B4-BE49-F238E27FC236}">
                  <a16:creationId xmlns:a16="http://schemas.microsoft.com/office/drawing/2014/main" id="{A9887220-2A87-47EF-AD47-F90CEE542B56}"/>
                </a:ext>
              </a:extLst>
            </p:cNvPr>
            <p:cNvSpPr/>
            <p:nvPr/>
          </p:nvSpPr>
          <p:spPr>
            <a:xfrm rot="8716295">
              <a:off x="1833001" y="215915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0" name="Forme libre : forme 2049">
              <a:extLst>
                <a:ext uri="{FF2B5EF4-FFF2-40B4-BE49-F238E27FC236}">
                  <a16:creationId xmlns:a16="http://schemas.microsoft.com/office/drawing/2014/main" id="{96F4C848-FCA2-452D-9BF6-EFA171999A6C}"/>
                </a:ext>
              </a:extLst>
            </p:cNvPr>
            <p:cNvSpPr/>
            <p:nvPr/>
          </p:nvSpPr>
          <p:spPr>
            <a:xfrm rot="8716295">
              <a:off x="1708098" y="195048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1" name="Forme libre : forme 2050">
              <a:extLst>
                <a:ext uri="{FF2B5EF4-FFF2-40B4-BE49-F238E27FC236}">
                  <a16:creationId xmlns:a16="http://schemas.microsoft.com/office/drawing/2014/main" id="{71B0A8AF-0B2B-4C16-AFBA-05D3C8218554}"/>
                </a:ext>
              </a:extLst>
            </p:cNvPr>
            <p:cNvSpPr/>
            <p:nvPr/>
          </p:nvSpPr>
          <p:spPr>
            <a:xfrm rot="8716295">
              <a:off x="1696046" y="181170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2" name="Forme libre : forme 2051">
              <a:extLst>
                <a:ext uri="{FF2B5EF4-FFF2-40B4-BE49-F238E27FC236}">
                  <a16:creationId xmlns:a16="http://schemas.microsoft.com/office/drawing/2014/main" id="{A8C901C7-377B-4E53-869C-62FF0103321A}"/>
                </a:ext>
              </a:extLst>
            </p:cNvPr>
            <p:cNvSpPr/>
            <p:nvPr/>
          </p:nvSpPr>
          <p:spPr>
            <a:xfrm rot="8716295">
              <a:off x="1923179" y="220010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3" name="Forme libre : forme 2052">
              <a:extLst>
                <a:ext uri="{FF2B5EF4-FFF2-40B4-BE49-F238E27FC236}">
                  <a16:creationId xmlns:a16="http://schemas.microsoft.com/office/drawing/2014/main" id="{62CC925F-A486-47A4-BC1C-0031447BDBF8}"/>
                </a:ext>
              </a:extLst>
            </p:cNvPr>
            <p:cNvSpPr/>
            <p:nvPr/>
          </p:nvSpPr>
          <p:spPr>
            <a:xfrm rot="8716295">
              <a:off x="2234334" y="182046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4" name="Forme libre : forme 2053">
              <a:extLst>
                <a:ext uri="{FF2B5EF4-FFF2-40B4-BE49-F238E27FC236}">
                  <a16:creationId xmlns:a16="http://schemas.microsoft.com/office/drawing/2014/main" id="{945EF2C5-109C-411B-81B5-BFB1887E75E2}"/>
                </a:ext>
              </a:extLst>
            </p:cNvPr>
            <p:cNvSpPr/>
            <p:nvPr/>
          </p:nvSpPr>
          <p:spPr>
            <a:xfrm rot="8716295">
              <a:off x="2323726" y="184970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5" name="Forme libre : forme 2054">
              <a:extLst>
                <a:ext uri="{FF2B5EF4-FFF2-40B4-BE49-F238E27FC236}">
                  <a16:creationId xmlns:a16="http://schemas.microsoft.com/office/drawing/2014/main" id="{E2FDAFBA-90AF-4DD3-88B7-3D0DB77D26C2}"/>
                </a:ext>
              </a:extLst>
            </p:cNvPr>
            <p:cNvSpPr/>
            <p:nvPr/>
          </p:nvSpPr>
          <p:spPr>
            <a:xfrm rot="8716295">
              <a:off x="2122100" y="19090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6" name="Forme libre : forme 2055">
              <a:extLst>
                <a:ext uri="{FF2B5EF4-FFF2-40B4-BE49-F238E27FC236}">
                  <a16:creationId xmlns:a16="http://schemas.microsoft.com/office/drawing/2014/main" id="{0AF6A2EA-C10E-429A-AA22-3518511DA0A6}"/>
                </a:ext>
              </a:extLst>
            </p:cNvPr>
            <p:cNvSpPr/>
            <p:nvPr/>
          </p:nvSpPr>
          <p:spPr>
            <a:xfrm rot="8716295">
              <a:off x="1997198" y="170033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7" name="Forme libre : forme 2056">
              <a:extLst>
                <a:ext uri="{FF2B5EF4-FFF2-40B4-BE49-F238E27FC236}">
                  <a16:creationId xmlns:a16="http://schemas.microsoft.com/office/drawing/2014/main" id="{600B3F51-A7A8-4209-BCA4-1E31E67B6420}"/>
                </a:ext>
              </a:extLst>
            </p:cNvPr>
            <p:cNvSpPr/>
            <p:nvPr/>
          </p:nvSpPr>
          <p:spPr>
            <a:xfrm rot="8716295">
              <a:off x="2212278" y="194995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8" name="Forme libre : forme 2057">
              <a:extLst>
                <a:ext uri="{FF2B5EF4-FFF2-40B4-BE49-F238E27FC236}">
                  <a16:creationId xmlns:a16="http://schemas.microsoft.com/office/drawing/2014/main" id="{669CFA3F-1269-41F1-AC29-3A52F3487D24}"/>
                </a:ext>
              </a:extLst>
            </p:cNvPr>
            <p:cNvSpPr/>
            <p:nvPr/>
          </p:nvSpPr>
          <p:spPr>
            <a:xfrm rot="8716295">
              <a:off x="1970827" y="180035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9" name="Forme libre : forme 2058">
              <a:extLst>
                <a:ext uri="{FF2B5EF4-FFF2-40B4-BE49-F238E27FC236}">
                  <a16:creationId xmlns:a16="http://schemas.microsoft.com/office/drawing/2014/main" id="{F45F3582-C9CB-48C1-8687-58B7F6AE5003}"/>
                </a:ext>
              </a:extLst>
            </p:cNvPr>
            <p:cNvSpPr/>
            <p:nvPr/>
          </p:nvSpPr>
          <p:spPr>
            <a:xfrm rot="7484129">
              <a:off x="2317209" y="214130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0" name="Forme libre : forme 2059">
              <a:extLst>
                <a:ext uri="{FF2B5EF4-FFF2-40B4-BE49-F238E27FC236}">
                  <a16:creationId xmlns:a16="http://schemas.microsoft.com/office/drawing/2014/main" id="{13A0BF37-B9E9-4770-AC7E-B4F047117F80}"/>
                </a:ext>
              </a:extLst>
            </p:cNvPr>
            <p:cNvSpPr/>
            <p:nvPr/>
          </p:nvSpPr>
          <p:spPr>
            <a:xfrm rot="13089394">
              <a:off x="2422029" y="2107841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1" name="Forme libre : forme 2060">
              <a:extLst>
                <a:ext uri="{FF2B5EF4-FFF2-40B4-BE49-F238E27FC236}">
                  <a16:creationId xmlns:a16="http://schemas.microsoft.com/office/drawing/2014/main" id="{DD6F851E-8648-4D33-8B66-E1A2D791E45B}"/>
                </a:ext>
              </a:extLst>
            </p:cNvPr>
            <p:cNvSpPr/>
            <p:nvPr/>
          </p:nvSpPr>
          <p:spPr>
            <a:xfrm rot="8716295">
              <a:off x="2607614" y="191616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2" name="Forme libre : forme 2061">
              <a:extLst>
                <a:ext uri="{FF2B5EF4-FFF2-40B4-BE49-F238E27FC236}">
                  <a16:creationId xmlns:a16="http://schemas.microsoft.com/office/drawing/2014/main" id="{3EAC65FE-36BD-4259-B307-2A15106E17B7}"/>
                </a:ext>
              </a:extLst>
            </p:cNvPr>
            <p:cNvSpPr/>
            <p:nvPr/>
          </p:nvSpPr>
          <p:spPr>
            <a:xfrm rot="8716295">
              <a:off x="2555809" y="181256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3" name="Forme libre : forme 2062">
              <a:extLst>
                <a:ext uri="{FF2B5EF4-FFF2-40B4-BE49-F238E27FC236}">
                  <a16:creationId xmlns:a16="http://schemas.microsoft.com/office/drawing/2014/main" id="{0EC3A0BB-90CE-43B1-AB94-5264BC6980A0}"/>
                </a:ext>
              </a:extLst>
            </p:cNvPr>
            <p:cNvSpPr/>
            <p:nvPr/>
          </p:nvSpPr>
          <p:spPr>
            <a:xfrm rot="8716295">
              <a:off x="2312563" y="184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4" name="Forme libre : forme 2063">
              <a:extLst>
                <a:ext uri="{FF2B5EF4-FFF2-40B4-BE49-F238E27FC236}">
                  <a16:creationId xmlns:a16="http://schemas.microsoft.com/office/drawing/2014/main" id="{279EC32D-CBDC-4885-A518-E43D58F75913}"/>
                </a:ext>
              </a:extLst>
            </p:cNvPr>
            <p:cNvSpPr/>
            <p:nvPr/>
          </p:nvSpPr>
          <p:spPr>
            <a:xfrm rot="8716295">
              <a:off x="2490015" y="168354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5" name="Forme libre : forme 2064">
              <a:extLst>
                <a:ext uri="{FF2B5EF4-FFF2-40B4-BE49-F238E27FC236}">
                  <a16:creationId xmlns:a16="http://schemas.microsoft.com/office/drawing/2014/main" id="{82B63EF8-70AC-424B-8D0D-1430936AED2B}"/>
                </a:ext>
              </a:extLst>
            </p:cNvPr>
            <p:cNvSpPr/>
            <p:nvPr/>
          </p:nvSpPr>
          <p:spPr>
            <a:xfrm rot="8716295">
              <a:off x="1722068" y="141091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6" name="Forme libre : forme 2065">
              <a:extLst>
                <a:ext uri="{FF2B5EF4-FFF2-40B4-BE49-F238E27FC236}">
                  <a16:creationId xmlns:a16="http://schemas.microsoft.com/office/drawing/2014/main" id="{9639FE86-B706-472C-8B17-F05FFAA6C032}"/>
                </a:ext>
              </a:extLst>
            </p:cNvPr>
            <p:cNvSpPr/>
            <p:nvPr/>
          </p:nvSpPr>
          <p:spPr>
            <a:xfrm rot="8716295">
              <a:off x="1811460" y="144015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7" name="Forme libre : forme 2066">
              <a:extLst>
                <a:ext uri="{FF2B5EF4-FFF2-40B4-BE49-F238E27FC236}">
                  <a16:creationId xmlns:a16="http://schemas.microsoft.com/office/drawing/2014/main" id="{07446619-2E49-4747-ACBE-260C0C2C4C34}"/>
                </a:ext>
              </a:extLst>
            </p:cNvPr>
            <p:cNvSpPr/>
            <p:nvPr/>
          </p:nvSpPr>
          <p:spPr>
            <a:xfrm rot="8716295">
              <a:off x="1766610" y="135387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8" name="Forme libre : forme 2067">
              <a:extLst>
                <a:ext uri="{FF2B5EF4-FFF2-40B4-BE49-F238E27FC236}">
                  <a16:creationId xmlns:a16="http://schemas.microsoft.com/office/drawing/2014/main" id="{78612368-26FB-4711-B283-76B1C1100DD4}"/>
                </a:ext>
              </a:extLst>
            </p:cNvPr>
            <p:cNvSpPr/>
            <p:nvPr/>
          </p:nvSpPr>
          <p:spPr>
            <a:xfrm rot="8716295">
              <a:off x="1609834" y="149945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9" name="Forme libre : forme 2068">
              <a:extLst>
                <a:ext uri="{FF2B5EF4-FFF2-40B4-BE49-F238E27FC236}">
                  <a16:creationId xmlns:a16="http://schemas.microsoft.com/office/drawing/2014/main" id="{1205D449-2819-4B61-B974-818AB8770F91}"/>
                </a:ext>
              </a:extLst>
            </p:cNvPr>
            <p:cNvSpPr/>
            <p:nvPr/>
          </p:nvSpPr>
          <p:spPr>
            <a:xfrm rot="8716295">
              <a:off x="1484931" y="129078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0" name="Forme libre : forme 2069">
              <a:extLst>
                <a:ext uri="{FF2B5EF4-FFF2-40B4-BE49-F238E27FC236}">
                  <a16:creationId xmlns:a16="http://schemas.microsoft.com/office/drawing/2014/main" id="{28759079-BB1E-4FA1-A581-AB007D40486E}"/>
                </a:ext>
              </a:extLst>
            </p:cNvPr>
            <p:cNvSpPr/>
            <p:nvPr/>
          </p:nvSpPr>
          <p:spPr>
            <a:xfrm rot="8716295">
              <a:off x="1472879" y="115200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1" name="Forme libre : forme 2070">
              <a:extLst>
                <a:ext uri="{FF2B5EF4-FFF2-40B4-BE49-F238E27FC236}">
                  <a16:creationId xmlns:a16="http://schemas.microsoft.com/office/drawing/2014/main" id="{FC133296-4D5B-406D-87D4-112911C0532F}"/>
                </a:ext>
              </a:extLst>
            </p:cNvPr>
            <p:cNvSpPr/>
            <p:nvPr/>
          </p:nvSpPr>
          <p:spPr>
            <a:xfrm rot="8716295">
              <a:off x="1700012" y="154040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2" name="Forme libre : forme 2071">
              <a:extLst>
                <a:ext uri="{FF2B5EF4-FFF2-40B4-BE49-F238E27FC236}">
                  <a16:creationId xmlns:a16="http://schemas.microsoft.com/office/drawing/2014/main" id="{0306E902-1DCB-4E80-803F-5BF7940B2AF5}"/>
                </a:ext>
              </a:extLst>
            </p:cNvPr>
            <p:cNvSpPr/>
            <p:nvPr/>
          </p:nvSpPr>
          <p:spPr>
            <a:xfrm rot="8716295">
              <a:off x="2011167" y="116076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3" name="Forme libre : forme 2072">
              <a:extLst>
                <a:ext uri="{FF2B5EF4-FFF2-40B4-BE49-F238E27FC236}">
                  <a16:creationId xmlns:a16="http://schemas.microsoft.com/office/drawing/2014/main" id="{E401BA69-156A-448C-B8AF-22460155FDA8}"/>
                </a:ext>
              </a:extLst>
            </p:cNvPr>
            <p:cNvSpPr/>
            <p:nvPr/>
          </p:nvSpPr>
          <p:spPr>
            <a:xfrm rot="8716295">
              <a:off x="2100559" y="119000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4" name="Forme libre : forme 2073">
              <a:extLst>
                <a:ext uri="{FF2B5EF4-FFF2-40B4-BE49-F238E27FC236}">
                  <a16:creationId xmlns:a16="http://schemas.microsoft.com/office/drawing/2014/main" id="{322BCC2C-AE44-47D4-A086-C2788A0FFD3F}"/>
                </a:ext>
              </a:extLst>
            </p:cNvPr>
            <p:cNvSpPr/>
            <p:nvPr/>
          </p:nvSpPr>
          <p:spPr>
            <a:xfrm rot="8716295">
              <a:off x="1898933" y="124930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5" name="Forme libre : forme 2074">
              <a:extLst>
                <a:ext uri="{FF2B5EF4-FFF2-40B4-BE49-F238E27FC236}">
                  <a16:creationId xmlns:a16="http://schemas.microsoft.com/office/drawing/2014/main" id="{DD5F6BBF-77CE-477E-9678-E08B043518F9}"/>
                </a:ext>
              </a:extLst>
            </p:cNvPr>
            <p:cNvSpPr/>
            <p:nvPr/>
          </p:nvSpPr>
          <p:spPr>
            <a:xfrm rot="8716295">
              <a:off x="1774031" y="104063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6" name="Forme libre : forme 2075">
              <a:extLst>
                <a:ext uri="{FF2B5EF4-FFF2-40B4-BE49-F238E27FC236}">
                  <a16:creationId xmlns:a16="http://schemas.microsoft.com/office/drawing/2014/main" id="{420D59E0-C275-46B1-A399-9E824480E384}"/>
                </a:ext>
              </a:extLst>
            </p:cNvPr>
            <p:cNvSpPr/>
            <p:nvPr/>
          </p:nvSpPr>
          <p:spPr>
            <a:xfrm rot="8716295">
              <a:off x="1989111" y="129025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7" name="Forme libre : forme 2076">
              <a:extLst>
                <a:ext uri="{FF2B5EF4-FFF2-40B4-BE49-F238E27FC236}">
                  <a16:creationId xmlns:a16="http://schemas.microsoft.com/office/drawing/2014/main" id="{21B9C359-7D7E-4839-B2F3-C15EDB6FA631}"/>
                </a:ext>
              </a:extLst>
            </p:cNvPr>
            <p:cNvSpPr/>
            <p:nvPr/>
          </p:nvSpPr>
          <p:spPr>
            <a:xfrm rot="8716295">
              <a:off x="1747660" y="114065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8" name="Forme libre : forme 2077">
              <a:extLst>
                <a:ext uri="{FF2B5EF4-FFF2-40B4-BE49-F238E27FC236}">
                  <a16:creationId xmlns:a16="http://schemas.microsoft.com/office/drawing/2014/main" id="{C5BF12D0-E189-4CA4-8E29-2C56167D5BF6}"/>
                </a:ext>
              </a:extLst>
            </p:cNvPr>
            <p:cNvSpPr/>
            <p:nvPr/>
          </p:nvSpPr>
          <p:spPr>
            <a:xfrm rot="7484129">
              <a:off x="2094042" y="148160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9" name="Forme libre : forme 2078">
              <a:extLst>
                <a:ext uri="{FF2B5EF4-FFF2-40B4-BE49-F238E27FC236}">
                  <a16:creationId xmlns:a16="http://schemas.microsoft.com/office/drawing/2014/main" id="{2EFD84FE-C6E8-4F6C-9BB5-653FA0BF96AE}"/>
                </a:ext>
              </a:extLst>
            </p:cNvPr>
            <p:cNvSpPr/>
            <p:nvPr/>
          </p:nvSpPr>
          <p:spPr>
            <a:xfrm rot="13089394">
              <a:off x="2198862" y="144814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0" name="Forme libre : forme 2079">
              <a:extLst>
                <a:ext uri="{FF2B5EF4-FFF2-40B4-BE49-F238E27FC236}">
                  <a16:creationId xmlns:a16="http://schemas.microsoft.com/office/drawing/2014/main" id="{6A69758E-EB99-4030-A031-2F9349DD4303}"/>
                </a:ext>
              </a:extLst>
            </p:cNvPr>
            <p:cNvSpPr/>
            <p:nvPr/>
          </p:nvSpPr>
          <p:spPr>
            <a:xfrm rot="8716295">
              <a:off x="2384447" y="125646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1" name="Forme libre : forme 2080">
              <a:extLst>
                <a:ext uri="{FF2B5EF4-FFF2-40B4-BE49-F238E27FC236}">
                  <a16:creationId xmlns:a16="http://schemas.microsoft.com/office/drawing/2014/main" id="{022740DA-D518-4F48-ABDE-16E68F591FD2}"/>
                </a:ext>
              </a:extLst>
            </p:cNvPr>
            <p:cNvSpPr/>
            <p:nvPr/>
          </p:nvSpPr>
          <p:spPr>
            <a:xfrm rot="8716295">
              <a:off x="2332642" y="115286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2" name="Forme libre : forme 2081">
              <a:extLst>
                <a:ext uri="{FF2B5EF4-FFF2-40B4-BE49-F238E27FC236}">
                  <a16:creationId xmlns:a16="http://schemas.microsoft.com/office/drawing/2014/main" id="{0313D091-4067-4EFE-BD30-E6503447BAD7}"/>
                </a:ext>
              </a:extLst>
            </p:cNvPr>
            <p:cNvSpPr/>
            <p:nvPr/>
          </p:nvSpPr>
          <p:spPr>
            <a:xfrm rot="8716295">
              <a:off x="2089396" y="118308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3" name="Forme libre : forme 2082">
              <a:extLst>
                <a:ext uri="{FF2B5EF4-FFF2-40B4-BE49-F238E27FC236}">
                  <a16:creationId xmlns:a16="http://schemas.microsoft.com/office/drawing/2014/main" id="{26A9C2FF-58EC-4F7E-9242-E46D4FFD7308}"/>
                </a:ext>
              </a:extLst>
            </p:cNvPr>
            <p:cNvSpPr/>
            <p:nvPr/>
          </p:nvSpPr>
          <p:spPr>
            <a:xfrm rot="8716295">
              <a:off x="2266848" y="102384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4" name="Forme libre : forme 2083">
              <a:extLst>
                <a:ext uri="{FF2B5EF4-FFF2-40B4-BE49-F238E27FC236}">
                  <a16:creationId xmlns:a16="http://schemas.microsoft.com/office/drawing/2014/main" id="{8DBFE747-1F5C-41A3-92C7-458A3B6D5116}"/>
                </a:ext>
              </a:extLst>
            </p:cNvPr>
            <p:cNvSpPr/>
            <p:nvPr/>
          </p:nvSpPr>
          <p:spPr>
            <a:xfrm rot="8716295">
              <a:off x="1503129" y="74885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5" name="Forme libre : forme 2084">
              <a:extLst>
                <a:ext uri="{FF2B5EF4-FFF2-40B4-BE49-F238E27FC236}">
                  <a16:creationId xmlns:a16="http://schemas.microsoft.com/office/drawing/2014/main" id="{6DA92627-FAFA-41E9-AEB5-0B6CF647FB05}"/>
                </a:ext>
              </a:extLst>
            </p:cNvPr>
            <p:cNvSpPr/>
            <p:nvPr/>
          </p:nvSpPr>
          <p:spPr>
            <a:xfrm rot="8716295">
              <a:off x="1592521" y="77809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6" name="Forme libre : forme 2085">
              <a:extLst>
                <a:ext uri="{FF2B5EF4-FFF2-40B4-BE49-F238E27FC236}">
                  <a16:creationId xmlns:a16="http://schemas.microsoft.com/office/drawing/2014/main" id="{E19F09B9-4988-41E7-BAA6-0B828FD03B07}"/>
                </a:ext>
              </a:extLst>
            </p:cNvPr>
            <p:cNvSpPr/>
            <p:nvPr/>
          </p:nvSpPr>
          <p:spPr>
            <a:xfrm rot="8716295">
              <a:off x="1547671" y="69181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7" name="Forme libre : forme 2086">
              <a:extLst>
                <a:ext uri="{FF2B5EF4-FFF2-40B4-BE49-F238E27FC236}">
                  <a16:creationId xmlns:a16="http://schemas.microsoft.com/office/drawing/2014/main" id="{FB7C092D-3593-4D2B-954D-520BBCB70267}"/>
                </a:ext>
              </a:extLst>
            </p:cNvPr>
            <p:cNvSpPr/>
            <p:nvPr/>
          </p:nvSpPr>
          <p:spPr>
            <a:xfrm rot="8716295">
              <a:off x="1390895" y="83739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8" name="Forme libre : forme 2087">
              <a:extLst>
                <a:ext uri="{FF2B5EF4-FFF2-40B4-BE49-F238E27FC236}">
                  <a16:creationId xmlns:a16="http://schemas.microsoft.com/office/drawing/2014/main" id="{00FADB2F-7F2D-4B98-9271-D534A6BFA872}"/>
                </a:ext>
              </a:extLst>
            </p:cNvPr>
            <p:cNvSpPr/>
            <p:nvPr/>
          </p:nvSpPr>
          <p:spPr>
            <a:xfrm rot="8716295">
              <a:off x="1265992" y="62872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9" name="Forme libre : forme 2088">
              <a:extLst>
                <a:ext uri="{FF2B5EF4-FFF2-40B4-BE49-F238E27FC236}">
                  <a16:creationId xmlns:a16="http://schemas.microsoft.com/office/drawing/2014/main" id="{800006B7-3487-4C19-BDD4-3F3EE8F3EDE3}"/>
                </a:ext>
              </a:extLst>
            </p:cNvPr>
            <p:cNvSpPr/>
            <p:nvPr/>
          </p:nvSpPr>
          <p:spPr>
            <a:xfrm rot="8716295">
              <a:off x="1253940" y="48994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0" name="Forme libre : forme 2089">
              <a:extLst>
                <a:ext uri="{FF2B5EF4-FFF2-40B4-BE49-F238E27FC236}">
                  <a16:creationId xmlns:a16="http://schemas.microsoft.com/office/drawing/2014/main" id="{EB3EEFD9-046D-4DF6-B67C-49F4399957FE}"/>
                </a:ext>
              </a:extLst>
            </p:cNvPr>
            <p:cNvSpPr/>
            <p:nvPr/>
          </p:nvSpPr>
          <p:spPr>
            <a:xfrm rot="8716295">
              <a:off x="1481073" y="87835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1" name="Forme libre : forme 2090">
              <a:extLst>
                <a:ext uri="{FF2B5EF4-FFF2-40B4-BE49-F238E27FC236}">
                  <a16:creationId xmlns:a16="http://schemas.microsoft.com/office/drawing/2014/main" id="{02F0F7EE-BE61-484C-A6CE-1B15380B21EA}"/>
                </a:ext>
              </a:extLst>
            </p:cNvPr>
            <p:cNvSpPr/>
            <p:nvPr/>
          </p:nvSpPr>
          <p:spPr>
            <a:xfrm rot="8716295">
              <a:off x="1792228" y="4987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2" name="Forme libre : forme 2091">
              <a:extLst>
                <a:ext uri="{FF2B5EF4-FFF2-40B4-BE49-F238E27FC236}">
                  <a16:creationId xmlns:a16="http://schemas.microsoft.com/office/drawing/2014/main" id="{04EB967F-CD6D-4883-B745-DF5C302A9EEF}"/>
                </a:ext>
              </a:extLst>
            </p:cNvPr>
            <p:cNvSpPr/>
            <p:nvPr/>
          </p:nvSpPr>
          <p:spPr>
            <a:xfrm rot="8716295">
              <a:off x="1881620" y="5279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3" name="Forme libre : forme 2092">
              <a:extLst>
                <a:ext uri="{FF2B5EF4-FFF2-40B4-BE49-F238E27FC236}">
                  <a16:creationId xmlns:a16="http://schemas.microsoft.com/office/drawing/2014/main" id="{4D2C6D5A-0FA7-419F-B901-693A0643042F}"/>
                </a:ext>
              </a:extLst>
            </p:cNvPr>
            <p:cNvSpPr/>
            <p:nvPr/>
          </p:nvSpPr>
          <p:spPr>
            <a:xfrm rot="8716295">
              <a:off x="1679994" y="58724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4" name="Forme libre : forme 2093">
              <a:extLst>
                <a:ext uri="{FF2B5EF4-FFF2-40B4-BE49-F238E27FC236}">
                  <a16:creationId xmlns:a16="http://schemas.microsoft.com/office/drawing/2014/main" id="{23712BD0-82A2-4AF5-8B6D-BB8511641A83}"/>
                </a:ext>
              </a:extLst>
            </p:cNvPr>
            <p:cNvSpPr/>
            <p:nvPr/>
          </p:nvSpPr>
          <p:spPr>
            <a:xfrm rot="8716295">
              <a:off x="1555092" y="37857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5" name="Forme libre : forme 2094">
              <a:extLst>
                <a:ext uri="{FF2B5EF4-FFF2-40B4-BE49-F238E27FC236}">
                  <a16:creationId xmlns:a16="http://schemas.microsoft.com/office/drawing/2014/main" id="{44B373CD-4E19-4D4C-BF54-C82742B561B2}"/>
                </a:ext>
              </a:extLst>
            </p:cNvPr>
            <p:cNvSpPr/>
            <p:nvPr/>
          </p:nvSpPr>
          <p:spPr>
            <a:xfrm rot="8716295">
              <a:off x="1770172" y="62819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6" name="Forme libre : forme 2095">
              <a:extLst>
                <a:ext uri="{FF2B5EF4-FFF2-40B4-BE49-F238E27FC236}">
                  <a16:creationId xmlns:a16="http://schemas.microsoft.com/office/drawing/2014/main" id="{E3E13DED-9A91-4F99-8478-572CA3CC5153}"/>
                </a:ext>
              </a:extLst>
            </p:cNvPr>
            <p:cNvSpPr/>
            <p:nvPr/>
          </p:nvSpPr>
          <p:spPr>
            <a:xfrm rot="8716295">
              <a:off x="1528721" y="47859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7" name="Forme libre : forme 2096">
              <a:extLst>
                <a:ext uri="{FF2B5EF4-FFF2-40B4-BE49-F238E27FC236}">
                  <a16:creationId xmlns:a16="http://schemas.microsoft.com/office/drawing/2014/main" id="{42F07E9E-D9BC-4C4E-9145-14F39EEA65C6}"/>
                </a:ext>
              </a:extLst>
            </p:cNvPr>
            <p:cNvSpPr/>
            <p:nvPr/>
          </p:nvSpPr>
          <p:spPr>
            <a:xfrm rot="7484129">
              <a:off x="1875103" y="8195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8" name="Forme libre : forme 2097">
              <a:extLst>
                <a:ext uri="{FF2B5EF4-FFF2-40B4-BE49-F238E27FC236}">
                  <a16:creationId xmlns:a16="http://schemas.microsoft.com/office/drawing/2014/main" id="{8AE5C53D-B782-4A26-9FAB-5622E2FBCAB9}"/>
                </a:ext>
              </a:extLst>
            </p:cNvPr>
            <p:cNvSpPr/>
            <p:nvPr/>
          </p:nvSpPr>
          <p:spPr>
            <a:xfrm rot="13089394">
              <a:off x="1979923" y="7860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9" name="Forme libre : forme 2098">
              <a:extLst>
                <a:ext uri="{FF2B5EF4-FFF2-40B4-BE49-F238E27FC236}">
                  <a16:creationId xmlns:a16="http://schemas.microsoft.com/office/drawing/2014/main" id="{4A6DE30F-26F9-49C8-B709-E349C3186130}"/>
                </a:ext>
              </a:extLst>
            </p:cNvPr>
            <p:cNvSpPr/>
            <p:nvPr/>
          </p:nvSpPr>
          <p:spPr>
            <a:xfrm rot="8716295">
              <a:off x="2165508" y="5944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0" name="Forme libre : forme 2099">
              <a:extLst>
                <a:ext uri="{FF2B5EF4-FFF2-40B4-BE49-F238E27FC236}">
                  <a16:creationId xmlns:a16="http://schemas.microsoft.com/office/drawing/2014/main" id="{2DDEFD81-8A46-4059-99D7-4B2265487E80}"/>
                </a:ext>
              </a:extLst>
            </p:cNvPr>
            <p:cNvSpPr/>
            <p:nvPr/>
          </p:nvSpPr>
          <p:spPr>
            <a:xfrm rot="8716295">
              <a:off x="2113703" y="4908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1" name="Forme libre : forme 2100">
              <a:extLst>
                <a:ext uri="{FF2B5EF4-FFF2-40B4-BE49-F238E27FC236}">
                  <a16:creationId xmlns:a16="http://schemas.microsoft.com/office/drawing/2014/main" id="{A3EE798C-0AA5-4252-A892-7301ED50370F}"/>
                </a:ext>
              </a:extLst>
            </p:cNvPr>
            <p:cNvSpPr/>
            <p:nvPr/>
          </p:nvSpPr>
          <p:spPr>
            <a:xfrm rot="8716295">
              <a:off x="1870457" y="5210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2" name="Forme libre : forme 2101">
              <a:extLst>
                <a:ext uri="{FF2B5EF4-FFF2-40B4-BE49-F238E27FC236}">
                  <a16:creationId xmlns:a16="http://schemas.microsoft.com/office/drawing/2014/main" id="{149F02FB-1B6D-4EB4-825D-D9F836CD0FC6}"/>
                </a:ext>
              </a:extLst>
            </p:cNvPr>
            <p:cNvSpPr/>
            <p:nvPr/>
          </p:nvSpPr>
          <p:spPr>
            <a:xfrm rot="8716295">
              <a:off x="2047909" y="3617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3" name="Forme libre : forme 2102">
              <a:extLst>
                <a:ext uri="{FF2B5EF4-FFF2-40B4-BE49-F238E27FC236}">
                  <a16:creationId xmlns:a16="http://schemas.microsoft.com/office/drawing/2014/main" id="{5476C925-82E1-422B-99D4-C56F679EC46B}"/>
                </a:ext>
              </a:extLst>
            </p:cNvPr>
            <p:cNvSpPr/>
            <p:nvPr/>
          </p:nvSpPr>
          <p:spPr>
            <a:xfrm rot="8716295">
              <a:off x="1280459" y="8544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4" name="Forme libre : forme 2103">
              <a:extLst>
                <a:ext uri="{FF2B5EF4-FFF2-40B4-BE49-F238E27FC236}">
                  <a16:creationId xmlns:a16="http://schemas.microsoft.com/office/drawing/2014/main" id="{BF329EDF-F1EE-4568-9642-732B3612E081}"/>
                </a:ext>
              </a:extLst>
            </p:cNvPr>
            <p:cNvSpPr/>
            <p:nvPr/>
          </p:nvSpPr>
          <p:spPr>
            <a:xfrm rot="8716295">
              <a:off x="1369851" y="11468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5" name="Forme libre : forme 2104">
              <a:extLst>
                <a:ext uri="{FF2B5EF4-FFF2-40B4-BE49-F238E27FC236}">
                  <a16:creationId xmlns:a16="http://schemas.microsoft.com/office/drawing/2014/main" id="{60755DB7-27FB-456F-8DE6-F358D789D48F}"/>
                </a:ext>
              </a:extLst>
            </p:cNvPr>
            <p:cNvSpPr/>
            <p:nvPr/>
          </p:nvSpPr>
          <p:spPr>
            <a:xfrm rot="8716295">
              <a:off x="1325001" y="2840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6" name="Forme libre : forme 2105">
              <a:extLst>
                <a:ext uri="{FF2B5EF4-FFF2-40B4-BE49-F238E27FC236}">
                  <a16:creationId xmlns:a16="http://schemas.microsoft.com/office/drawing/2014/main" id="{8606756D-A6B7-4495-AF27-29A2389343F7}"/>
                </a:ext>
              </a:extLst>
            </p:cNvPr>
            <p:cNvSpPr/>
            <p:nvPr/>
          </p:nvSpPr>
          <p:spPr>
            <a:xfrm rot="8716295">
              <a:off x="1168225" y="17398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7" name="Forme libre : forme 2106">
              <a:extLst>
                <a:ext uri="{FF2B5EF4-FFF2-40B4-BE49-F238E27FC236}">
                  <a16:creationId xmlns:a16="http://schemas.microsoft.com/office/drawing/2014/main" id="{D39FAC73-C527-4852-8A8F-C2335C9AC7B6}"/>
                </a:ext>
              </a:extLst>
            </p:cNvPr>
            <p:cNvSpPr/>
            <p:nvPr/>
          </p:nvSpPr>
          <p:spPr>
            <a:xfrm rot="8716295">
              <a:off x="1045449" y="-13548"/>
              <a:ext cx="203847" cy="172572"/>
            </a:xfrm>
            <a:custGeom>
              <a:avLst/>
              <a:gdLst>
                <a:gd name="connsiteX0" fmla="*/ 98725 w 203847"/>
                <a:gd name="connsiteY0" fmla="*/ 172572 h 172572"/>
                <a:gd name="connsiteX1" fmla="*/ 65988 w 203847"/>
                <a:gd name="connsiteY1" fmla="*/ 149880 h 172572"/>
                <a:gd name="connsiteX2" fmla="*/ 47847 w 203847"/>
                <a:gd name="connsiteY2" fmla="*/ 116129 h 172572"/>
                <a:gd name="connsiteX3" fmla="*/ 69777 w 203847"/>
                <a:gd name="connsiteY3" fmla="*/ 55323 h 172572"/>
                <a:gd name="connsiteX4" fmla="*/ 0 w 203847"/>
                <a:gd name="connsiteY4" fmla="*/ 55323 h 172572"/>
                <a:gd name="connsiteX5" fmla="*/ 0 w 203847"/>
                <a:gd name="connsiteY5" fmla="*/ 0 h 172572"/>
                <a:gd name="connsiteX6" fmla="*/ 203847 w 203847"/>
                <a:gd name="connsiteY6" fmla="*/ 0 h 172572"/>
                <a:gd name="connsiteX7" fmla="*/ 203847 w 203847"/>
                <a:gd name="connsiteY7" fmla="*/ 55323 h 172572"/>
                <a:gd name="connsiteX8" fmla="*/ 139055 w 203847"/>
                <a:gd name="connsiteY8" fmla="*/ 55323 h 172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72572">
                  <a:moveTo>
                    <a:pt x="98725" y="172572"/>
                  </a:moveTo>
                  <a:lnTo>
                    <a:pt x="65988" y="149880"/>
                  </a:ln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8" name="Forme libre : forme 2107">
              <a:extLst>
                <a:ext uri="{FF2B5EF4-FFF2-40B4-BE49-F238E27FC236}">
                  <a16:creationId xmlns:a16="http://schemas.microsoft.com/office/drawing/2014/main" id="{01DFB6D5-6838-4BAE-A3F7-6EE5905F7587}"/>
                </a:ext>
              </a:extLst>
            </p:cNvPr>
            <p:cNvSpPr/>
            <p:nvPr/>
          </p:nvSpPr>
          <p:spPr>
            <a:xfrm rot="8716295">
              <a:off x="1049608" y="-107301"/>
              <a:ext cx="290643" cy="275223"/>
            </a:xfrm>
            <a:custGeom>
              <a:avLst/>
              <a:gdLst>
                <a:gd name="connsiteX0" fmla="*/ 79172 w 290643"/>
                <a:gd name="connsiteY0" fmla="*/ 128638 h 275223"/>
                <a:gd name="connsiteX1" fmla="*/ 0 w 290643"/>
                <a:gd name="connsiteY1" fmla="*/ 73758 h 275223"/>
                <a:gd name="connsiteX2" fmla="*/ 0 w 290643"/>
                <a:gd name="connsiteY2" fmla="*/ 40596 h 275223"/>
                <a:gd name="connsiteX3" fmla="*/ 78250 w 290643"/>
                <a:gd name="connsiteY3" fmla="*/ 0 h 275223"/>
                <a:gd name="connsiteX4" fmla="*/ 290643 w 290643"/>
                <a:gd name="connsiteY4" fmla="*/ 275223 h 275223"/>
                <a:gd name="connsiteX5" fmla="*/ 278016 w 290643"/>
                <a:gd name="connsiteY5" fmla="*/ 266470 h 275223"/>
                <a:gd name="connsiteX6" fmla="*/ 289467 w 290643"/>
                <a:gd name="connsiteY6" fmla="*/ 261815 h 275223"/>
                <a:gd name="connsiteX7" fmla="*/ 290643 w 290643"/>
                <a:gd name="connsiteY7" fmla="*/ 269463 h 27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0643" h="275223">
                  <a:moveTo>
                    <a:pt x="79172" y="128638"/>
                  </a:moveTo>
                  <a:lnTo>
                    <a:pt x="0" y="73758"/>
                  </a:lnTo>
                  <a:lnTo>
                    <a:pt x="0" y="40596"/>
                  </a:lnTo>
                  <a:lnTo>
                    <a:pt x="78250" y="0"/>
                  </a:lnTo>
                  <a:close/>
                  <a:moveTo>
                    <a:pt x="290643" y="275223"/>
                  </a:moveTo>
                  <a:lnTo>
                    <a:pt x="278016" y="266470"/>
                  </a:lnTo>
                  <a:lnTo>
                    <a:pt x="289467" y="261815"/>
                  </a:lnTo>
                  <a:cubicBezTo>
                    <a:pt x="290055" y="264168"/>
                    <a:pt x="290643" y="267110"/>
                    <a:pt x="290643" y="2694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9" name="Forme libre : forme 2108">
              <a:extLst>
                <a:ext uri="{FF2B5EF4-FFF2-40B4-BE49-F238E27FC236}">
                  <a16:creationId xmlns:a16="http://schemas.microsoft.com/office/drawing/2014/main" id="{40068CFA-826F-4747-847E-A7A0590789FF}"/>
                </a:ext>
              </a:extLst>
            </p:cNvPr>
            <p:cNvSpPr/>
            <p:nvPr/>
          </p:nvSpPr>
          <p:spPr>
            <a:xfrm rot="8716295">
              <a:off x="1258403" y="21493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0" name="Forme libre : forme 2109">
              <a:extLst>
                <a:ext uri="{FF2B5EF4-FFF2-40B4-BE49-F238E27FC236}">
                  <a16:creationId xmlns:a16="http://schemas.microsoft.com/office/drawing/2014/main" id="{186C0547-DD23-448F-B6C3-1554CF0BEABF}"/>
                </a:ext>
              </a:extLst>
            </p:cNvPr>
            <p:cNvSpPr/>
            <p:nvPr/>
          </p:nvSpPr>
          <p:spPr>
            <a:xfrm rot="8716295">
              <a:off x="1604517" y="-50002"/>
              <a:ext cx="142167" cy="106747"/>
            </a:xfrm>
            <a:custGeom>
              <a:avLst/>
              <a:gdLst>
                <a:gd name="connsiteX0" fmla="*/ 142167 w 142167"/>
                <a:gd name="connsiteY0" fmla="*/ 106747 h 106747"/>
                <a:gd name="connsiteX1" fmla="*/ 79942 w 142167"/>
                <a:gd name="connsiteY1" fmla="*/ 63615 h 106747"/>
                <a:gd name="connsiteX2" fmla="*/ 74103 w 142167"/>
                <a:gd name="connsiteY2" fmla="*/ 53597 h 106747"/>
                <a:gd name="connsiteX3" fmla="*/ 60604 w 142167"/>
                <a:gd name="connsiteY3" fmla="*/ 50123 h 106747"/>
                <a:gd name="connsiteX4" fmla="*/ 60478 w 142167"/>
                <a:gd name="connsiteY4" fmla="*/ 50123 h 106747"/>
                <a:gd name="connsiteX5" fmla="*/ 0 w 142167"/>
                <a:gd name="connsiteY5" fmla="*/ 8201 h 106747"/>
                <a:gd name="connsiteX6" fmla="*/ 0 w 142167"/>
                <a:gd name="connsiteY6" fmla="*/ 0 h 106747"/>
                <a:gd name="connsiteX7" fmla="*/ 85209 w 142167"/>
                <a:gd name="connsiteY7" fmla="*/ 0 h 106747"/>
                <a:gd name="connsiteX8" fmla="*/ 142167 w 142167"/>
                <a:gd name="connsiteY8" fmla="*/ 50123 h 10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06747">
                  <a:moveTo>
                    <a:pt x="142167" y="106747"/>
                  </a:moveTo>
                  <a:lnTo>
                    <a:pt x="79942" y="63615"/>
                  </a:lnTo>
                  <a:lnTo>
                    <a:pt x="74103" y="53597"/>
                  </a:lnTo>
                  <a:cubicBezTo>
                    <a:pt x="70400" y="50806"/>
                    <a:pt x="65616" y="49439"/>
                    <a:pt x="60604" y="50123"/>
                  </a:cubicBezTo>
                  <a:lnTo>
                    <a:pt x="60478" y="50123"/>
                  </a:lnTo>
                  <a:lnTo>
                    <a:pt x="0" y="8201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1" name="Forme libre : forme 2110">
              <a:extLst>
                <a:ext uri="{FF2B5EF4-FFF2-40B4-BE49-F238E27FC236}">
                  <a16:creationId xmlns:a16="http://schemas.microsoft.com/office/drawing/2014/main" id="{4E98298E-B55A-44CD-A45A-1C113F4E2341}"/>
                </a:ext>
              </a:extLst>
            </p:cNvPr>
            <p:cNvSpPr/>
            <p:nvPr/>
          </p:nvSpPr>
          <p:spPr>
            <a:xfrm rot="8716295">
              <a:off x="1699771" y="-2013"/>
              <a:ext cx="260639" cy="104392"/>
            </a:xfrm>
            <a:custGeom>
              <a:avLst/>
              <a:gdLst>
                <a:gd name="connsiteX0" fmla="*/ 117530 w 260639"/>
                <a:gd name="connsiteY0" fmla="*/ 104392 h 104392"/>
                <a:gd name="connsiteX1" fmla="*/ 51490 w 260639"/>
                <a:gd name="connsiteY1" fmla="*/ 58614 h 104392"/>
                <a:gd name="connsiteX2" fmla="*/ 51490 w 260639"/>
                <a:gd name="connsiteY2" fmla="*/ 45624 h 104392"/>
                <a:gd name="connsiteX3" fmla="*/ 32748 w 260639"/>
                <a:gd name="connsiteY3" fmla="*/ 45624 h 104392"/>
                <a:gd name="connsiteX4" fmla="*/ 0 w 260639"/>
                <a:gd name="connsiteY4" fmla="*/ 22924 h 104392"/>
                <a:gd name="connsiteX5" fmla="*/ 0 w 260639"/>
                <a:gd name="connsiteY5" fmla="*/ 1425 h 104392"/>
                <a:gd name="connsiteX6" fmla="*/ 104802 w 260639"/>
                <a:gd name="connsiteY6" fmla="*/ 1425 h 104392"/>
                <a:gd name="connsiteX7" fmla="*/ 104802 w 260639"/>
                <a:gd name="connsiteY7" fmla="*/ 75242 h 104392"/>
                <a:gd name="connsiteX8" fmla="*/ 106169 w 260639"/>
                <a:gd name="connsiteY8" fmla="*/ 75242 h 104392"/>
                <a:gd name="connsiteX9" fmla="*/ 154014 w 260639"/>
                <a:gd name="connsiteY9" fmla="*/ 5981 h 104392"/>
                <a:gd name="connsiteX10" fmla="*/ 185455 w 260639"/>
                <a:gd name="connsiteY10" fmla="*/ 57 h 104392"/>
                <a:gd name="connsiteX11" fmla="*/ 260639 w 260639"/>
                <a:gd name="connsiteY11" fmla="*/ 88456 h 104392"/>
                <a:gd name="connsiteX12" fmla="*/ 260639 w 260639"/>
                <a:gd name="connsiteY12" fmla="*/ 94380 h 104392"/>
                <a:gd name="connsiteX13" fmla="*/ 198669 w 260639"/>
                <a:gd name="connsiteY13" fmla="*/ 98025 h 104392"/>
                <a:gd name="connsiteX14" fmla="*/ 198669 w 260639"/>
                <a:gd name="connsiteY14" fmla="*/ 81621 h 104392"/>
                <a:gd name="connsiteX15" fmla="*/ 164950 w 260639"/>
                <a:gd name="connsiteY15" fmla="*/ 40156 h 104392"/>
                <a:gd name="connsiteX16" fmla="*/ 127358 w 260639"/>
                <a:gd name="connsiteY16" fmla="*/ 65616 h 104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60639" h="104392">
                  <a:moveTo>
                    <a:pt x="117530" y="104392"/>
                  </a:moveTo>
                  <a:lnTo>
                    <a:pt x="51490" y="58614"/>
                  </a:lnTo>
                  <a:lnTo>
                    <a:pt x="51490" y="45624"/>
                  </a:lnTo>
                  <a:lnTo>
                    <a:pt x="32748" y="45624"/>
                  </a:lnTo>
                  <a:lnTo>
                    <a:pt x="0" y="229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5"/>
                    <a:pt x="184544" y="40156"/>
                    <a:pt x="164950" y="40156"/>
                  </a:cubicBezTo>
                  <a:cubicBezTo>
                    <a:pt x="150369" y="40156"/>
                    <a:pt x="137041" y="49839"/>
                    <a:pt x="127358" y="656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2" name="Forme libre : forme 2111">
              <a:extLst>
                <a:ext uri="{FF2B5EF4-FFF2-40B4-BE49-F238E27FC236}">
                  <a16:creationId xmlns:a16="http://schemas.microsoft.com/office/drawing/2014/main" id="{1686E0BE-E0BC-4E6B-8FCD-21BC30F2B50B}"/>
                </a:ext>
              </a:extLst>
            </p:cNvPr>
            <p:cNvSpPr/>
            <p:nvPr/>
          </p:nvSpPr>
          <p:spPr>
            <a:xfrm rot="8716295">
              <a:off x="1547502" y="-3521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3" name="Forme libre : forme 2112">
              <a:extLst>
                <a:ext uri="{FF2B5EF4-FFF2-40B4-BE49-F238E27FC236}">
                  <a16:creationId xmlns:a16="http://schemas.microsoft.com/office/drawing/2014/main" id="{EA8402F5-9E14-4C1B-86EF-D60D49059A89}"/>
                </a:ext>
              </a:extLst>
            </p:cNvPr>
            <p:cNvSpPr/>
            <p:nvPr/>
          </p:nvSpPr>
          <p:spPr>
            <a:xfrm rot="7484129">
              <a:off x="1652433" y="15613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4" name="Forme libre : forme 2113">
              <a:extLst>
                <a:ext uri="{FF2B5EF4-FFF2-40B4-BE49-F238E27FC236}">
                  <a16:creationId xmlns:a16="http://schemas.microsoft.com/office/drawing/2014/main" id="{BB19AB13-04E1-44CB-8853-DB1D9B8F2135}"/>
                </a:ext>
              </a:extLst>
            </p:cNvPr>
            <p:cNvSpPr/>
            <p:nvPr/>
          </p:nvSpPr>
          <p:spPr>
            <a:xfrm rot="13089394">
              <a:off x="1757253" y="122669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5" name="Forme libre : forme 2114">
              <a:extLst>
                <a:ext uri="{FF2B5EF4-FFF2-40B4-BE49-F238E27FC236}">
                  <a16:creationId xmlns:a16="http://schemas.microsoft.com/office/drawing/2014/main" id="{6F466DAE-6800-456B-ACC4-2CBB5549AC79}"/>
                </a:ext>
              </a:extLst>
            </p:cNvPr>
            <p:cNvSpPr/>
            <p:nvPr/>
          </p:nvSpPr>
          <p:spPr>
            <a:xfrm rot="8716295">
              <a:off x="1960606" y="3279"/>
              <a:ext cx="142687" cy="109177"/>
            </a:xfrm>
            <a:custGeom>
              <a:avLst/>
              <a:gdLst>
                <a:gd name="connsiteX0" fmla="*/ 48521 w 142687"/>
                <a:gd name="connsiteY0" fmla="*/ 109177 h 109177"/>
                <a:gd name="connsiteX1" fmla="*/ 0 w 142687"/>
                <a:gd name="connsiteY1" fmla="*/ 75545 h 109177"/>
                <a:gd name="connsiteX2" fmla="*/ 44875 w 142687"/>
                <a:gd name="connsiteY2" fmla="*/ 33320 h 109177"/>
                <a:gd name="connsiteX3" fmla="*/ 109367 w 142687"/>
                <a:gd name="connsiteY3" fmla="*/ 0 h 109177"/>
                <a:gd name="connsiteX4" fmla="*/ 142687 w 142687"/>
                <a:gd name="connsiteY4" fmla="*/ 39770 h 109177"/>
                <a:gd name="connsiteX5" fmla="*/ 111516 w 142687"/>
                <a:gd name="connsiteY5" fmla="*/ 81689 h 109177"/>
                <a:gd name="connsiteX6" fmla="*/ 112053 w 142687"/>
                <a:gd name="connsiteY6" fmla="*/ 81689 h 109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687" h="109177">
                  <a:moveTo>
                    <a:pt x="48521" y="109177"/>
                  </a:moveTo>
                  <a:lnTo>
                    <a:pt x="0" y="75545"/>
                  </a:lnTo>
                  <a:lnTo>
                    <a:pt x="44875" y="33320"/>
                  </a:lnTo>
                  <a:cubicBezTo>
                    <a:pt x="60998" y="14511"/>
                    <a:pt x="84107" y="2687"/>
                    <a:pt x="109367" y="0"/>
                  </a:cubicBezTo>
                  <a:cubicBezTo>
                    <a:pt x="135163" y="0"/>
                    <a:pt x="142687" y="22572"/>
                    <a:pt x="142687" y="39770"/>
                  </a:cubicBezTo>
                  <a:cubicBezTo>
                    <a:pt x="141074" y="58580"/>
                    <a:pt x="128713" y="74165"/>
                    <a:pt x="111516" y="81689"/>
                  </a:cubicBezTo>
                  <a:lnTo>
                    <a:pt x="112053" y="816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6" name="Forme libre : forme 2115">
              <a:extLst>
                <a:ext uri="{FF2B5EF4-FFF2-40B4-BE49-F238E27FC236}">
                  <a16:creationId xmlns:a16="http://schemas.microsoft.com/office/drawing/2014/main" id="{9DCB4F7A-3483-4950-AEA2-3FC2A3A37265}"/>
                </a:ext>
              </a:extLst>
            </p:cNvPr>
            <p:cNvSpPr/>
            <p:nvPr/>
          </p:nvSpPr>
          <p:spPr>
            <a:xfrm rot="8716295">
              <a:off x="1076398" y="254697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7" name="Forme libre : forme 2116">
              <a:extLst>
                <a:ext uri="{FF2B5EF4-FFF2-40B4-BE49-F238E27FC236}">
                  <a16:creationId xmlns:a16="http://schemas.microsoft.com/office/drawing/2014/main" id="{414E124C-0029-4898-9792-55D1396F2459}"/>
                </a:ext>
              </a:extLst>
            </p:cNvPr>
            <p:cNvSpPr/>
            <p:nvPr/>
          </p:nvSpPr>
          <p:spPr>
            <a:xfrm rot="8716295">
              <a:off x="1165790" y="257621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8" name="Forme libre : forme 2117">
              <a:extLst>
                <a:ext uri="{FF2B5EF4-FFF2-40B4-BE49-F238E27FC236}">
                  <a16:creationId xmlns:a16="http://schemas.microsoft.com/office/drawing/2014/main" id="{F81BCB93-8702-40B2-9E5E-60A2216BFC6A}"/>
                </a:ext>
              </a:extLst>
            </p:cNvPr>
            <p:cNvSpPr/>
            <p:nvPr/>
          </p:nvSpPr>
          <p:spPr>
            <a:xfrm rot="8716295">
              <a:off x="1120940" y="248993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9" name="Forme libre : forme 2118">
              <a:extLst>
                <a:ext uri="{FF2B5EF4-FFF2-40B4-BE49-F238E27FC236}">
                  <a16:creationId xmlns:a16="http://schemas.microsoft.com/office/drawing/2014/main" id="{90387AAF-8E65-48E6-A7A2-DB1E2DFB9DDB}"/>
                </a:ext>
              </a:extLst>
            </p:cNvPr>
            <p:cNvSpPr/>
            <p:nvPr/>
          </p:nvSpPr>
          <p:spPr>
            <a:xfrm rot="8716295">
              <a:off x="964164" y="263551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0" name="Forme libre : forme 2119">
              <a:extLst>
                <a:ext uri="{FF2B5EF4-FFF2-40B4-BE49-F238E27FC236}">
                  <a16:creationId xmlns:a16="http://schemas.microsoft.com/office/drawing/2014/main" id="{6F5BF8F5-5E17-43C6-8038-8EBDD74B7585}"/>
                </a:ext>
              </a:extLst>
            </p:cNvPr>
            <p:cNvSpPr/>
            <p:nvPr/>
          </p:nvSpPr>
          <p:spPr>
            <a:xfrm rot="8716295">
              <a:off x="839261" y="242684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1" name="Forme libre : forme 2120">
              <a:extLst>
                <a:ext uri="{FF2B5EF4-FFF2-40B4-BE49-F238E27FC236}">
                  <a16:creationId xmlns:a16="http://schemas.microsoft.com/office/drawing/2014/main" id="{8C0ACA57-2A8F-4AAD-A404-075EA92CDFA4}"/>
                </a:ext>
              </a:extLst>
            </p:cNvPr>
            <p:cNvSpPr/>
            <p:nvPr/>
          </p:nvSpPr>
          <p:spPr>
            <a:xfrm rot="8716295">
              <a:off x="827209" y="228806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2" name="Forme libre : forme 2121">
              <a:extLst>
                <a:ext uri="{FF2B5EF4-FFF2-40B4-BE49-F238E27FC236}">
                  <a16:creationId xmlns:a16="http://schemas.microsoft.com/office/drawing/2014/main" id="{C013B905-0051-4D90-A201-5787B7639BF4}"/>
                </a:ext>
              </a:extLst>
            </p:cNvPr>
            <p:cNvSpPr/>
            <p:nvPr/>
          </p:nvSpPr>
          <p:spPr>
            <a:xfrm rot="8716295">
              <a:off x="1054342" y="267647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3" name="Forme libre : forme 2122">
              <a:extLst>
                <a:ext uri="{FF2B5EF4-FFF2-40B4-BE49-F238E27FC236}">
                  <a16:creationId xmlns:a16="http://schemas.microsoft.com/office/drawing/2014/main" id="{8F1BA098-EE89-4D48-A15F-CB3E01C32968}"/>
                </a:ext>
              </a:extLst>
            </p:cNvPr>
            <p:cNvSpPr/>
            <p:nvPr/>
          </p:nvSpPr>
          <p:spPr>
            <a:xfrm rot="8716295">
              <a:off x="1365497" y="229682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4" name="Forme libre : forme 2123">
              <a:extLst>
                <a:ext uri="{FF2B5EF4-FFF2-40B4-BE49-F238E27FC236}">
                  <a16:creationId xmlns:a16="http://schemas.microsoft.com/office/drawing/2014/main" id="{14107977-7495-49D2-8CBC-3985323EDBCB}"/>
                </a:ext>
              </a:extLst>
            </p:cNvPr>
            <p:cNvSpPr/>
            <p:nvPr/>
          </p:nvSpPr>
          <p:spPr>
            <a:xfrm rot="8716295">
              <a:off x="1454889" y="232606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5" name="Forme libre : forme 2124">
              <a:extLst>
                <a:ext uri="{FF2B5EF4-FFF2-40B4-BE49-F238E27FC236}">
                  <a16:creationId xmlns:a16="http://schemas.microsoft.com/office/drawing/2014/main" id="{98C8DCC3-1997-4015-8E64-2DA3E85BA3C9}"/>
                </a:ext>
              </a:extLst>
            </p:cNvPr>
            <p:cNvSpPr/>
            <p:nvPr/>
          </p:nvSpPr>
          <p:spPr>
            <a:xfrm rot="8716295">
              <a:off x="1253263" y="238536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6" name="Forme libre : forme 2125">
              <a:extLst>
                <a:ext uri="{FF2B5EF4-FFF2-40B4-BE49-F238E27FC236}">
                  <a16:creationId xmlns:a16="http://schemas.microsoft.com/office/drawing/2014/main" id="{ED472988-C4F9-49FB-862E-CED2DC1F08EC}"/>
                </a:ext>
              </a:extLst>
            </p:cNvPr>
            <p:cNvSpPr/>
            <p:nvPr/>
          </p:nvSpPr>
          <p:spPr>
            <a:xfrm rot="8716295">
              <a:off x="1128361" y="217669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7" name="Forme libre : forme 2126">
              <a:extLst>
                <a:ext uri="{FF2B5EF4-FFF2-40B4-BE49-F238E27FC236}">
                  <a16:creationId xmlns:a16="http://schemas.microsoft.com/office/drawing/2014/main" id="{97EFC57C-F831-4137-9CEC-BE44BE4717A4}"/>
                </a:ext>
              </a:extLst>
            </p:cNvPr>
            <p:cNvSpPr/>
            <p:nvPr/>
          </p:nvSpPr>
          <p:spPr>
            <a:xfrm rot="8716295">
              <a:off x="1343441" y="242631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8" name="Forme libre : forme 2127">
              <a:extLst>
                <a:ext uri="{FF2B5EF4-FFF2-40B4-BE49-F238E27FC236}">
                  <a16:creationId xmlns:a16="http://schemas.microsoft.com/office/drawing/2014/main" id="{4B620052-605D-48CA-97BF-CFF9CF4DFF66}"/>
                </a:ext>
              </a:extLst>
            </p:cNvPr>
            <p:cNvSpPr/>
            <p:nvPr/>
          </p:nvSpPr>
          <p:spPr>
            <a:xfrm rot="8716295">
              <a:off x="1101990" y="227671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9" name="Forme libre : forme 2128">
              <a:extLst>
                <a:ext uri="{FF2B5EF4-FFF2-40B4-BE49-F238E27FC236}">
                  <a16:creationId xmlns:a16="http://schemas.microsoft.com/office/drawing/2014/main" id="{8C4C7B52-3DF6-47DE-8C0B-9EB4083611A6}"/>
                </a:ext>
              </a:extLst>
            </p:cNvPr>
            <p:cNvSpPr/>
            <p:nvPr/>
          </p:nvSpPr>
          <p:spPr>
            <a:xfrm rot="7484129">
              <a:off x="1448372" y="261767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0" name="Forme libre : forme 2129">
              <a:extLst>
                <a:ext uri="{FF2B5EF4-FFF2-40B4-BE49-F238E27FC236}">
                  <a16:creationId xmlns:a16="http://schemas.microsoft.com/office/drawing/2014/main" id="{2AB34892-B16F-4430-A887-6CE1411F7E19}"/>
                </a:ext>
              </a:extLst>
            </p:cNvPr>
            <p:cNvSpPr/>
            <p:nvPr/>
          </p:nvSpPr>
          <p:spPr>
            <a:xfrm rot="13089394">
              <a:off x="1553192" y="258420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1" name="Forme libre : forme 2130">
              <a:extLst>
                <a:ext uri="{FF2B5EF4-FFF2-40B4-BE49-F238E27FC236}">
                  <a16:creationId xmlns:a16="http://schemas.microsoft.com/office/drawing/2014/main" id="{0F6D3C11-D763-4926-91AB-47832AC0DA05}"/>
                </a:ext>
              </a:extLst>
            </p:cNvPr>
            <p:cNvSpPr/>
            <p:nvPr/>
          </p:nvSpPr>
          <p:spPr>
            <a:xfrm rot="8716295">
              <a:off x="1738777" y="23925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2" name="Forme libre : forme 2131">
              <a:extLst>
                <a:ext uri="{FF2B5EF4-FFF2-40B4-BE49-F238E27FC236}">
                  <a16:creationId xmlns:a16="http://schemas.microsoft.com/office/drawing/2014/main" id="{A93A76E0-518B-4AFD-B8BD-03318ECE2F2F}"/>
                </a:ext>
              </a:extLst>
            </p:cNvPr>
            <p:cNvSpPr/>
            <p:nvPr/>
          </p:nvSpPr>
          <p:spPr>
            <a:xfrm rot="8716295">
              <a:off x="1686972" y="228893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3" name="Forme libre : forme 2132">
              <a:extLst>
                <a:ext uri="{FF2B5EF4-FFF2-40B4-BE49-F238E27FC236}">
                  <a16:creationId xmlns:a16="http://schemas.microsoft.com/office/drawing/2014/main" id="{48F561D4-A24C-46DA-9343-9AE94EDAA695}"/>
                </a:ext>
              </a:extLst>
            </p:cNvPr>
            <p:cNvSpPr/>
            <p:nvPr/>
          </p:nvSpPr>
          <p:spPr>
            <a:xfrm rot="8716295">
              <a:off x="1443726" y="231915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4" name="Forme libre : forme 2133">
              <a:extLst>
                <a:ext uri="{FF2B5EF4-FFF2-40B4-BE49-F238E27FC236}">
                  <a16:creationId xmlns:a16="http://schemas.microsoft.com/office/drawing/2014/main" id="{405DD3A6-28FF-4951-B270-6EC3E4D35ACA}"/>
                </a:ext>
              </a:extLst>
            </p:cNvPr>
            <p:cNvSpPr/>
            <p:nvPr/>
          </p:nvSpPr>
          <p:spPr>
            <a:xfrm rot="8716295">
              <a:off x="1621178" y="21599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5" name="Forme libre : forme 2134">
              <a:extLst>
                <a:ext uri="{FF2B5EF4-FFF2-40B4-BE49-F238E27FC236}">
                  <a16:creationId xmlns:a16="http://schemas.microsoft.com/office/drawing/2014/main" id="{F5308643-F53C-4E01-88E3-C8899D8500A4}"/>
                </a:ext>
              </a:extLst>
            </p:cNvPr>
            <p:cNvSpPr/>
            <p:nvPr/>
          </p:nvSpPr>
          <p:spPr>
            <a:xfrm rot="8716295">
              <a:off x="1299565" y="320667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6" name="Forme libre : forme 2135">
              <a:extLst>
                <a:ext uri="{FF2B5EF4-FFF2-40B4-BE49-F238E27FC236}">
                  <a16:creationId xmlns:a16="http://schemas.microsoft.com/office/drawing/2014/main" id="{D02035B8-4115-4B72-BCBC-2D5DECA663A0}"/>
                </a:ext>
              </a:extLst>
            </p:cNvPr>
            <p:cNvSpPr/>
            <p:nvPr/>
          </p:nvSpPr>
          <p:spPr>
            <a:xfrm rot="8716295">
              <a:off x="1388957" y="323591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7" name="Forme libre : forme 2136">
              <a:extLst>
                <a:ext uri="{FF2B5EF4-FFF2-40B4-BE49-F238E27FC236}">
                  <a16:creationId xmlns:a16="http://schemas.microsoft.com/office/drawing/2014/main" id="{CAB19897-3060-41B2-8A6A-E0541CF22EA7}"/>
                </a:ext>
              </a:extLst>
            </p:cNvPr>
            <p:cNvSpPr/>
            <p:nvPr/>
          </p:nvSpPr>
          <p:spPr>
            <a:xfrm rot="8716295">
              <a:off x="1344107" y="314963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8" name="Forme libre : forme 2137">
              <a:extLst>
                <a:ext uri="{FF2B5EF4-FFF2-40B4-BE49-F238E27FC236}">
                  <a16:creationId xmlns:a16="http://schemas.microsoft.com/office/drawing/2014/main" id="{F64A09B4-7DEB-4702-A647-FF2760487C04}"/>
                </a:ext>
              </a:extLst>
            </p:cNvPr>
            <p:cNvSpPr/>
            <p:nvPr/>
          </p:nvSpPr>
          <p:spPr>
            <a:xfrm rot="8716295">
              <a:off x="1187331" y="329521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9" name="Forme libre : forme 2138">
              <a:extLst>
                <a:ext uri="{FF2B5EF4-FFF2-40B4-BE49-F238E27FC236}">
                  <a16:creationId xmlns:a16="http://schemas.microsoft.com/office/drawing/2014/main" id="{92647C63-BB62-4D18-9ADE-8CD298C1670B}"/>
                </a:ext>
              </a:extLst>
            </p:cNvPr>
            <p:cNvSpPr/>
            <p:nvPr/>
          </p:nvSpPr>
          <p:spPr>
            <a:xfrm rot="8716295">
              <a:off x="1062428" y="308654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0" name="Forme libre : forme 2139">
              <a:extLst>
                <a:ext uri="{FF2B5EF4-FFF2-40B4-BE49-F238E27FC236}">
                  <a16:creationId xmlns:a16="http://schemas.microsoft.com/office/drawing/2014/main" id="{CAB88C70-3A76-4EED-9248-818FE9DD9BFA}"/>
                </a:ext>
              </a:extLst>
            </p:cNvPr>
            <p:cNvSpPr/>
            <p:nvPr/>
          </p:nvSpPr>
          <p:spPr>
            <a:xfrm rot="8716295">
              <a:off x="1050376" y="294776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1" name="Forme libre : forme 2140">
              <a:extLst>
                <a:ext uri="{FF2B5EF4-FFF2-40B4-BE49-F238E27FC236}">
                  <a16:creationId xmlns:a16="http://schemas.microsoft.com/office/drawing/2014/main" id="{757E5A5F-118C-4D2D-A7CB-9D38E498AA18}"/>
                </a:ext>
              </a:extLst>
            </p:cNvPr>
            <p:cNvSpPr/>
            <p:nvPr/>
          </p:nvSpPr>
          <p:spPr>
            <a:xfrm rot="8716295">
              <a:off x="1277509" y="333617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2" name="Forme libre : forme 2141">
              <a:extLst>
                <a:ext uri="{FF2B5EF4-FFF2-40B4-BE49-F238E27FC236}">
                  <a16:creationId xmlns:a16="http://schemas.microsoft.com/office/drawing/2014/main" id="{9CD271A0-DDCA-4CF4-99AF-F1225E7D3CA2}"/>
                </a:ext>
              </a:extLst>
            </p:cNvPr>
            <p:cNvSpPr/>
            <p:nvPr/>
          </p:nvSpPr>
          <p:spPr>
            <a:xfrm rot="8716295">
              <a:off x="1588664" y="295652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3" name="Forme libre : forme 2142">
              <a:extLst>
                <a:ext uri="{FF2B5EF4-FFF2-40B4-BE49-F238E27FC236}">
                  <a16:creationId xmlns:a16="http://schemas.microsoft.com/office/drawing/2014/main" id="{F17E5C04-2914-4166-904F-3412803C328B}"/>
                </a:ext>
              </a:extLst>
            </p:cNvPr>
            <p:cNvSpPr/>
            <p:nvPr/>
          </p:nvSpPr>
          <p:spPr>
            <a:xfrm rot="8716295">
              <a:off x="1678056" y="298576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4" name="Forme libre : forme 2143">
              <a:extLst>
                <a:ext uri="{FF2B5EF4-FFF2-40B4-BE49-F238E27FC236}">
                  <a16:creationId xmlns:a16="http://schemas.microsoft.com/office/drawing/2014/main" id="{06EE81A0-69AF-4FE9-B5FC-828C4F72D8C6}"/>
                </a:ext>
              </a:extLst>
            </p:cNvPr>
            <p:cNvSpPr/>
            <p:nvPr/>
          </p:nvSpPr>
          <p:spPr>
            <a:xfrm rot="8716295">
              <a:off x="1476430" y="304506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5" name="Forme libre : forme 2144">
              <a:extLst>
                <a:ext uri="{FF2B5EF4-FFF2-40B4-BE49-F238E27FC236}">
                  <a16:creationId xmlns:a16="http://schemas.microsoft.com/office/drawing/2014/main" id="{8EAE6F01-A7F9-464C-8EBA-81A188499272}"/>
                </a:ext>
              </a:extLst>
            </p:cNvPr>
            <p:cNvSpPr/>
            <p:nvPr/>
          </p:nvSpPr>
          <p:spPr>
            <a:xfrm rot="8716295">
              <a:off x="1351528" y="283639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6" name="Forme libre : forme 2145">
              <a:extLst>
                <a:ext uri="{FF2B5EF4-FFF2-40B4-BE49-F238E27FC236}">
                  <a16:creationId xmlns:a16="http://schemas.microsoft.com/office/drawing/2014/main" id="{B6351AC7-96AD-47D1-9D79-F320C6E6D6E3}"/>
                </a:ext>
              </a:extLst>
            </p:cNvPr>
            <p:cNvSpPr/>
            <p:nvPr/>
          </p:nvSpPr>
          <p:spPr>
            <a:xfrm rot="8716295">
              <a:off x="1566608" y="308601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7" name="Forme libre : forme 2146">
              <a:extLst>
                <a:ext uri="{FF2B5EF4-FFF2-40B4-BE49-F238E27FC236}">
                  <a16:creationId xmlns:a16="http://schemas.microsoft.com/office/drawing/2014/main" id="{82BC95DB-83FD-4690-8848-41B64D5E034F}"/>
                </a:ext>
              </a:extLst>
            </p:cNvPr>
            <p:cNvSpPr/>
            <p:nvPr/>
          </p:nvSpPr>
          <p:spPr>
            <a:xfrm rot="8716295">
              <a:off x="1325157" y="293641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8" name="Forme libre : forme 2147">
              <a:extLst>
                <a:ext uri="{FF2B5EF4-FFF2-40B4-BE49-F238E27FC236}">
                  <a16:creationId xmlns:a16="http://schemas.microsoft.com/office/drawing/2014/main" id="{19CDF187-E415-4E2D-A559-BA3CE6C90F8E}"/>
                </a:ext>
              </a:extLst>
            </p:cNvPr>
            <p:cNvSpPr/>
            <p:nvPr/>
          </p:nvSpPr>
          <p:spPr>
            <a:xfrm rot="7484129">
              <a:off x="1671539" y="327736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9" name="Forme libre : forme 2148">
              <a:extLst>
                <a:ext uri="{FF2B5EF4-FFF2-40B4-BE49-F238E27FC236}">
                  <a16:creationId xmlns:a16="http://schemas.microsoft.com/office/drawing/2014/main" id="{DDE34510-8FA7-4B53-A035-4965BDBF96B3}"/>
                </a:ext>
              </a:extLst>
            </p:cNvPr>
            <p:cNvSpPr/>
            <p:nvPr/>
          </p:nvSpPr>
          <p:spPr>
            <a:xfrm rot="13089394">
              <a:off x="1776359" y="324390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0" name="Forme libre : forme 2149">
              <a:extLst>
                <a:ext uri="{FF2B5EF4-FFF2-40B4-BE49-F238E27FC236}">
                  <a16:creationId xmlns:a16="http://schemas.microsoft.com/office/drawing/2014/main" id="{4BB6C526-1010-4A1E-9912-BB67A42E4090}"/>
                </a:ext>
              </a:extLst>
            </p:cNvPr>
            <p:cNvSpPr/>
            <p:nvPr/>
          </p:nvSpPr>
          <p:spPr>
            <a:xfrm rot="8716295">
              <a:off x="1961944" y="305222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1" name="Forme libre : forme 2150">
              <a:extLst>
                <a:ext uri="{FF2B5EF4-FFF2-40B4-BE49-F238E27FC236}">
                  <a16:creationId xmlns:a16="http://schemas.microsoft.com/office/drawing/2014/main" id="{F4134A25-BDCE-4B34-AD80-5279EE73B812}"/>
                </a:ext>
              </a:extLst>
            </p:cNvPr>
            <p:cNvSpPr/>
            <p:nvPr/>
          </p:nvSpPr>
          <p:spPr>
            <a:xfrm rot="8716295">
              <a:off x="1910139" y="294862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2" name="Forme libre : forme 2151">
              <a:extLst>
                <a:ext uri="{FF2B5EF4-FFF2-40B4-BE49-F238E27FC236}">
                  <a16:creationId xmlns:a16="http://schemas.microsoft.com/office/drawing/2014/main" id="{B08A59B2-7AD4-4CE7-B6F7-0E9654D5CD55}"/>
                </a:ext>
              </a:extLst>
            </p:cNvPr>
            <p:cNvSpPr/>
            <p:nvPr/>
          </p:nvSpPr>
          <p:spPr>
            <a:xfrm rot="8716295">
              <a:off x="1666893" y="297885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3" name="Forme libre : forme 2152">
              <a:extLst>
                <a:ext uri="{FF2B5EF4-FFF2-40B4-BE49-F238E27FC236}">
                  <a16:creationId xmlns:a16="http://schemas.microsoft.com/office/drawing/2014/main" id="{103CB056-39D3-4816-9465-68CA4D6F7AFD}"/>
                </a:ext>
              </a:extLst>
            </p:cNvPr>
            <p:cNvSpPr/>
            <p:nvPr/>
          </p:nvSpPr>
          <p:spPr>
            <a:xfrm rot="8716295">
              <a:off x="1844345" y="281960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4" name="Forme libre : forme 2153">
              <a:extLst>
                <a:ext uri="{FF2B5EF4-FFF2-40B4-BE49-F238E27FC236}">
                  <a16:creationId xmlns:a16="http://schemas.microsoft.com/office/drawing/2014/main" id="{BB2685A7-9846-429A-B032-E76F8406BAD2}"/>
                </a:ext>
              </a:extLst>
            </p:cNvPr>
            <p:cNvSpPr/>
            <p:nvPr/>
          </p:nvSpPr>
          <p:spPr>
            <a:xfrm rot="8716295">
              <a:off x="2092137" y="5100860"/>
              <a:ext cx="63833" cy="43384"/>
            </a:xfrm>
            <a:custGeom>
              <a:avLst/>
              <a:gdLst>
                <a:gd name="connsiteX0" fmla="*/ 5923 w 63833"/>
                <a:gd name="connsiteY0" fmla="*/ 43384 h 43384"/>
                <a:gd name="connsiteX1" fmla="*/ 0 w 63833"/>
                <a:gd name="connsiteY1" fmla="*/ 35182 h 43384"/>
                <a:gd name="connsiteX2" fmla="*/ 37391 w 63833"/>
                <a:gd name="connsiteY2" fmla="*/ 0 h 43384"/>
                <a:gd name="connsiteX3" fmla="*/ 63833 w 63833"/>
                <a:gd name="connsiteY3" fmla="*/ 18329 h 4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833" h="43384">
                  <a:moveTo>
                    <a:pt x="5923" y="43384"/>
                  </a:moveTo>
                  <a:lnTo>
                    <a:pt x="0" y="35182"/>
                  </a:lnTo>
                  <a:lnTo>
                    <a:pt x="37391" y="0"/>
                  </a:lnTo>
                  <a:lnTo>
                    <a:pt x="63833" y="1832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5" name="Forme libre : forme 2154">
              <a:extLst>
                <a:ext uri="{FF2B5EF4-FFF2-40B4-BE49-F238E27FC236}">
                  <a16:creationId xmlns:a16="http://schemas.microsoft.com/office/drawing/2014/main" id="{1551E1ED-BCFB-4644-83F8-51D351159ECB}"/>
                </a:ext>
              </a:extLst>
            </p:cNvPr>
            <p:cNvSpPr/>
            <p:nvPr/>
          </p:nvSpPr>
          <p:spPr>
            <a:xfrm rot="8716295">
              <a:off x="1789040" y="5044339"/>
              <a:ext cx="113322" cy="144291"/>
            </a:xfrm>
            <a:custGeom>
              <a:avLst/>
              <a:gdLst>
                <a:gd name="connsiteX0" fmla="*/ 0 w 113322"/>
                <a:gd name="connsiteY0" fmla="*/ 3741 h 144291"/>
                <a:gd name="connsiteX1" fmla="*/ 0 w 113322"/>
                <a:gd name="connsiteY1" fmla="*/ 0 h 144291"/>
                <a:gd name="connsiteX2" fmla="*/ 5398 w 113322"/>
                <a:gd name="connsiteY2" fmla="*/ 3741 h 144291"/>
                <a:gd name="connsiteX3" fmla="*/ 90709 w 113322"/>
                <a:gd name="connsiteY3" fmla="*/ 144291 h 144291"/>
                <a:gd name="connsiteX4" fmla="*/ 47847 w 113322"/>
                <a:gd name="connsiteY4" fmla="*/ 64547 h 144291"/>
                <a:gd name="connsiteX5" fmla="*/ 56901 w 113322"/>
                <a:gd name="connsiteY5" fmla="*/ 39441 h 144291"/>
                <a:gd name="connsiteX6" fmla="*/ 113322 w 113322"/>
                <a:gd name="connsiteY6" fmla="*/ 78551 h 144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322" h="144291">
                  <a:moveTo>
                    <a:pt x="0" y="3741"/>
                  </a:moveTo>
                  <a:lnTo>
                    <a:pt x="0" y="0"/>
                  </a:lnTo>
                  <a:lnTo>
                    <a:pt x="5398" y="3741"/>
                  </a:lnTo>
                  <a:close/>
                  <a:moveTo>
                    <a:pt x="90709" y="144291"/>
                  </a:moveTo>
                  <a:lnTo>
                    <a:pt x="47847" y="64547"/>
                  </a:lnTo>
                  <a:lnTo>
                    <a:pt x="56901" y="39441"/>
                  </a:lnTo>
                  <a:lnTo>
                    <a:pt x="113322" y="7855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6" name="Forme libre : forme 2155">
              <a:extLst>
                <a:ext uri="{FF2B5EF4-FFF2-40B4-BE49-F238E27FC236}">
                  <a16:creationId xmlns:a16="http://schemas.microsoft.com/office/drawing/2014/main" id="{225E9856-4565-4211-849D-72975628AB50}"/>
                </a:ext>
              </a:extLst>
            </p:cNvPr>
            <p:cNvSpPr/>
            <p:nvPr/>
          </p:nvSpPr>
          <p:spPr>
            <a:xfrm rot="8716295">
              <a:off x="1701335" y="4927006"/>
              <a:ext cx="290643" cy="318535"/>
            </a:xfrm>
            <a:custGeom>
              <a:avLst/>
              <a:gdLst>
                <a:gd name="connsiteX0" fmla="*/ 25298 w 290643"/>
                <a:gd name="connsiteY0" fmla="*/ 288944 h 318535"/>
                <a:gd name="connsiteX1" fmla="*/ 0 w 290643"/>
                <a:gd name="connsiteY1" fmla="*/ 187748 h 318535"/>
                <a:gd name="connsiteX2" fmla="*/ 0 w 290643"/>
                <a:gd name="connsiteY2" fmla="*/ 8302 h 318535"/>
                <a:gd name="connsiteX3" fmla="*/ 16003 w 290643"/>
                <a:gd name="connsiteY3" fmla="*/ 0 h 318535"/>
                <a:gd name="connsiteX4" fmla="*/ 78793 w 290643"/>
                <a:gd name="connsiteY4" fmla="*/ 43524 h 318535"/>
                <a:gd name="connsiteX5" fmla="*/ 79427 w 290643"/>
                <a:gd name="connsiteY5" fmla="*/ 131855 h 318535"/>
                <a:gd name="connsiteX6" fmla="*/ 93547 w 290643"/>
                <a:gd name="connsiteY6" fmla="*/ 229521 h 318535"/>
                <a:gd name="connsiteX7" fmla="*/ 164149 w 290643"/>
                <a:gd name="connsiteY7" fmla="*/ 268352 h 318535"/>
                <a:gd name="connsiteX8" fmla="*/ 217100 w 290643"/>
                <a:gd name="connsiteY8" fmla="*/ 258938 h 318535"/>
                <a:gd name="connsiteX9" fmla="*/ 289467 w 290643"/>
                <a:gd name="connsiteY9" fmla="*/ 229521 h 318535"/>
                <a:gd name="connsiteX10" fmla="*/ 290643 w 290643"/>
                <a:gd name="connsiteY10" fmla="*/ 237169 h 318535"/>
                <a:gd name="connsiteX11" fmla="*/ 290643 w 290643"/>
                <a:gd name="connsiteY11" fmla="*/ 243052 h 318535"/>
                <a:gd name="connsiteX12" fmla="*/ 97665 w 290643"/>
                <a:gd name="connsiteY12" fmla="*/ 318361 h 318535"/>
                <a:gd name="connsiteX13" fmla="*/ 25298 w 290643"/>
                <a:gd name="connsiteY13" fmla="*/ 288944 h 318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90643" h="318535">
                  <a:moveTo>
                    <a:pt x="25298" y="288944"/>
                  </a:moveTo>
                  <a:cubicBezTo>
                    <a:pt x="5295" y="269528"/>
                    <a:pt x="0" y="235992"/>
                    <a:pt x="0" y="187748"/>
                  </a:cubicBezTo>
                  <a:lnTo>
                    <a:pt x="0" y="8302"/>
                  </a:lnTo>
                  <a:lnTo>
                    <a:pt x="16003" y="0"/>
                  </a:lnTo>
                  <a:lnTo>
                    <a:pt x="78793" y="43524"/>
                  </a:lnTo>
                  <a:lnTo>
                    <a:pt x="79427" y="131855"/>
                  </a:lnTo>
                  <a:cubicBezTo>
                    <a:pt x="77662" y="164803"/>
                    <a:pt x="82957" y="198338"/>
                    <a:pt x="93547" y="229521"/>
                  </a:cubicBezTo>
                  <a:cubicBezTo>
                    <a:pt x="102961" y="255408"/>
                    <a:pt x="127083" y="268352"/>
                    <a:pt x="164149" y="268352"/>
                  </a:cubicBezTo>
                  <a:cubicBezTo>
                    <a:pt x="182387" y="267763"/>
                    <a:pt x="200038" y="264233"/>
                    <a:pt x="217100" y="258938"/>
                  </a:cubicBezTo>
                  <a:cubicBezTo>
                    <a:pt x="241810" y="251290"/>
                    <a:pt x="265933" y="241288"/>
                    <a:pt x="289467" y="229521"/>
                  </a:cubicBezTo>
                  <a:cubicBezTo>
                    <a:pt x="290055" y="231874"/>
                    <a:pt x="290643" y="234816"/>
                    <a:pt x="290643" y="237169"/>
                  </a:cubicBezTo>
                  <a:lnTo>
                    <a:pt x="290643" y="243052"/>
                  </a:lnTo>
                  <a:cubicBezTo>
                    <a:pt x="228278" y="296592"/>
                    <a:pt x="146498" y="315419"/>
                    <a:pt x="97665" y="318361"/>
                  </a:cubicBezTo>
                  <a:cubicBezTo>
                    <a:pt x="70602" y="320126"/>
                    <a:pt x="44126" y="308359"/>
                    <a:pt x="25298" y="28894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7" name="Forme libre : forme 2156">
              <a:extLst>
                <a:ext uri="{FF2B5EF4-FFF2-40B4-BE49-F238E27FC236}">
                  <a16:creationId xmlns:a16="http://schemas.microsoft.com/office/drawing/2014/main" id="{0F4D380E-862F-4707-A19B-1E97A2112DC2}"/>
                </a:ext>
              </a:extLst>
            </p:cNvPr>
            <p:cNvSpPr/>
            <p:nvPr/>
          </p:nvSpPr>
          <p:spPr>
            <a:xfrm rot="8716295">
              <a:off x="2251190" y="4935850"/>
              <a:ext cx="142167" cy="232388"/>
            </a:xfrm>
            <a:custGeom>
              <a:avLst/>
              <a:gdLst>
                <a:gd name="connsiteX0" fmla="*/ 81108 w 142167"/>
                <a:gd name="connsiteY0" fmla="*/ 232388 h 232388"/>
                <a:gd name="connsiteX1" fmla="*/ 81108 w 142167"/>
                <a:gd name="connsiteY1" fmla="*/ 69716 h 232388"/>
                <a:gd name="connsiteX2" fmla="*/ 81108 w 142167"/>
                <a:gd name="connsiteY2" fmla="*/ 65616 h 232388"/>
                <a:gd name="connsiteX3" fmla="*/ 60604 w 142167"/>
                <a:gd name="connsiteY3" fmla="*/ 50123 h 232388"/>
                <a:gd name="connsiteX4" fmla="*/ 0 w 142167"/>
                <a:gd name="connsiteY4" fmla="*/ 50123 h 232388"/>
                <a:gd name="connsiteX5" fmla="*/ 0 w 142167"/>
                <a:gd name="connsiteY5" fmla="*/ 0 h 232388"/>
                <a:gd name="connsiteX6" fmla="*/ 63990 w 142167"/>
                <a:gd name="connsiteY6" fmla="*/ 0 h 232388"/>
                <a:gd name="connsiteX7" fmla="*/ 142167 w 142167"/>
                <a:gd name="connsiteY7" fmla="*/ 54190 h 232388"/>
                <a:gd name="connsiteX8" fmla="*/ 142167 w 142167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32388">
                  <a:moveTo>
                    <a:pt x="81108" y="232388"/>
                  </a:moveTo>
                  <a:lnTo>
                    <a:pt x="81108" y="69716"/>
                  </a:lnTo>
                  <a:cubicBezTo>
                    <a:pt x="81108" y="68350"/>
                    <a:pt x="81108" y="66983"/>
                    <a:pt x="81108" y="65616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63990" y="0"/>
                  </a:lnTo>
                  <a:lnTo>
                    <a:pt x="142167" y="54190"/>
                  </a:lnTo>
                  <a:lnTo>
                    <a:pt x="142167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8" name="Forme libre : forme 2157">
              <a:extLst>
                <a:ext uri="{FF2B5EF4-FFF2-40B4-BE49-F238E27FC236}">
                  <a16:creationId xmlns:a16="http://schemas.microsoft.com/office/drawing/2014/main" id="{87F138DF-A215-4254-ACAA-04DDE52CD8B6}"/>
                </a:ext>
              </a:extLst>
            </p:cNvPr>
            <p:cNvSpPr/>
            <p:nvPr/>
          </p:nvSpPr>
          <p:spPr>
            <a:xfrm rot="8716295">
              <a:off x="2456859" y="4924575"/>
              <a:ext cx="131246" cy="253348"/>
            </a:xfrm>
            <a:custGeom>
              <a:avLst/>
              <a:gdLst>
                <a:gd name="connsiteX0" fmla="*/ 51490 w 131246"/>
                <a:gd name="connsiteY0" fmla="*/ 253348 h 253348"/>
                <a:gd name="connsiteX1" fmla="*/ 51489 w 131246"/>
                <a:gd name="connsiteY1" fmla="*/ 44199 h 253348"/>
                <a:gd name="connsiteX2" fmla="*/ 0 w 131246"/>
                <a:gd name="connsiteY2" fmla="*/ 44199 h 253348"/>
                <a:gd name="connsiteX3" fmla="*/ 0 w 131246"/>
                <a:gd name="connsiteY3" fmla="*/ 0 h 253348"/>
                <a:gd name="connsiteX4" fmla="*/ 44807 w 131246"/>
                <a:gd name="connsiteY4" fmla="*/ 0 h 253348"/>
                <a:gd name="connsiteX5" fmla="*/ 104802 w 131246"/>
                <a:gd name="connsiteY5" fmla="*/ 41587 h 253348"/>
                <a:gd name="connsiteX6" fmla="*/ 104802 w 131246"/>
                <a:gd name="connsiteY6" fmla="*/ 73817 h 253348"/>
                <a:gd name="connsiteX7" fmla="*/ 106169 w 131246"/>
                <a:gd name="connsiteY7" fmla="*/ 73817 h 253348"/>
                <a:gd name="connsiteX8" fmla="*/ 115569 w 131246"/>
                <a:gd name="connsiteY8" fmla="*/ 49050 h 253348"/>
                <a:gd name="connsiteX9" fmla="*/ 131246 w 131246"/>
                <a:gd name="connsiteY9" fmla="*/ 59916 h 253348"/>
                <a:gd name="connsiteX10" fmla="*/ 127358 w 131246"/>
                <a:gd name="connsiteY10" fmla="*/ 64191 h 253348"/>
                <a:gd name="connsiteX11" fmla="*/ 111638 w 131246"/>
                <a:gd name="connsiteY11" fmla="*/ 126218 h 253348"/>
                <a:gd name="connsiteX12" fmla="*/ 111638 w 131246"/>
                <a:gd name="connsiteY12" fmla="*/ 212339 h 253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1246" h="253348">
                  <a:moveTo>
                    <a:pt x="51490" y="253348"/>
                  </a:moveTo>
                  <a:lnTo>
                    <a:pt x="51489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44807" y="0"/>
                  </a:lnTo>
                  <a:lnTo>
                    <a:pt x="104802" y="41587"/>
                  </a:lnTo>
                  <a:lnTo>
                    <a:pt x="104802" y="73817"/>
                  </a:lnTo>
                  <a:lnTo>
                    <a:pt x="106169" y="73817"/>
                  </a:lnTo>
                  <a:lnTo>
                    <a:pt x="115569" y="49050"/>
                  </a:lnTo>
                  <a:lnTo>
                    <a:pt x="131246" y="59916"/>
                  </a:lnTo>
                  <a:lnTo>
                    <a:pt x="127358" y="64191"/>
                  </a:lnTo>
                  <a:cubicBezTo>
                    <a:pt x="117675" y="79968"/>
                    <a:pt x="111638" y="101840"/>
                    <a:pt x="111638" y="126218"/>
                  </a:cubicBezTo>
                  <a:lnTo>
                    <a:pt x="111638" y="2123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9" name="Forme libre : forme 2158">
              <a:extLst>
                <a:ext uri="{FF2B5EF4-FFF2-40B4-BE49-F238E27FC236}">
                  <a16:creationId xmlns:a16="http://schemas.microsoft.com/office/drawing/2014/main" id="{21433117-8AAD-4CA9-9660-FC5A8F69F16F}"/>
                </a:ext>
              </a:extLst>
            </p:cNvPr>
            <p:cNvSpPr/>
            <p:nvPr/>
          </p:nvSpPr>
          <p:spPr>
            <a:xfrm rot="8716295">
              <a:off x="2139785" y="502413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0" name="Forme libre : forme 2159">
              <a:extLst>
                <a:ext uri="{FF2B5EF4-FFF2-40B4-BE49-F238E27FC236}">
                  <a16:creationId xmlns:a16="http://schemas.microsoft.com/office/drawing/2014/main" id="{06B19A57-02F4-4720-99D9-55A2BEE2C0D4}"/>
                </a:ext>
              </a:extLst>
            </p:cNvPr>
            <p:cNvSpPr/>
            <p:nvPr/>
          </p:nvSpPr>
          <p:spPr>
            <a:xfrm rot="8716295">
              <a:off x="2014883" y="481546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1" name="Forme libre : forme 2160">
              <a:extLst>
                <a:ext uri="{FF2B5EF4-FFF2-40B4-BE49-F238E27FC236}">
                  <a16:creationId xmlns:a16="http://schemas.microsoft.com/office/drawing/2014/main" id="{DDDE473C-0945-4D7B-9870-6AD6EC305155}"/>
                </a:ext>
              </a:extLst>
            </p:cNvPr>
            <p:cNvSpPr/>
            <p:nvPr/>
          </p:nvSpPr>
          <p:spPr>
            <a:xfrm rot="8716295">
              <a:off x="2190257" y="5090583"/>
              <a:ext cx="60147" cy="76898"/>
            </a:xfrm>
            <a:custGeom>
              <a:avLst/>
              <a:gdLst>
                <a:gd name="connsiteX0" fmla="*/ 60147 w 60147"/>
                <a:gd name="connsiteY0" fmla="*/ 76898 h 76898"/>
                <a:gd name="connsiteX1" fmla="*/ 0 w 60147"/>
                <a:gd name="connsiteY1" fmla="*/ 19028 h 76898"/>
                <a:gd name="connsiteX2" fmla="*/ 0 w 60147"/>
                <a:gd name="connsiteY2" fmla="*/ 0 h 76898"/>
                <a:gd name="connsiteX3" fmla="*/ 60147 w 60147"/>
                <a:gd name="connsiteY3" fmla="*/ 41692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7" h="76898">
                  <a:moveTo>
                    <a:pt x="60147" y="76898"/>
                  </a:moveTo>
                  <a:lnTo>
                    <a:pt x="0" y="19028"/>
                  </a:lnTo>
                  <a:lnTo>
                    <a:pt x="0" y="0"/>
                  </a:lnTo>
                  <a:lnTo>
                    <a:pt x="60147" y="416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2" name="Forme libre : forme 2161">
              <a:extLst>
                <a:ext uri="{FF2B5EF4-FFF2-40B4-BE49-F238E27FC236}">
                  <a16:creationId xmlns:a16="http://schemas.microsoft.com/office/drawing/2014/main" id="{E08FB812-18F4-4980-B27F-475CA6F734E7}"/>
                </a:ext>
              </a:extLst>
            </p:cNvPr>
            <p:cNvSpPr/>
            <p:nvPr/>
          </p:nvSpPr>
          <p:spPr>
            <a:xfrm rot="8716295">
              <a:off x="1988512" y="491548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3" name="Forme libre : forme 2162">
              <a:extLst>
                <a:ext uri="{FF2B5EF4-FFF2-40B4-BE49-F238E27FC236}">
                  <a16:creationId xmlns:a16="http://schemas.microsoft.com/office/drawing/2014/main" id="{698261C6-8F0A-4C69-96B5-C2C92CFC8151}"/>
                </a:ext>
              </a:extLst>
            </p:cNvPr>
            <p:cNvSpPr/>
            <p:nvPr/>
          </p:nvSpPr>
          <p:spPr>
            <a:xfrm rot="8716295">
              <a:off x="2650789" y="5021708"/>
              <a:ext cx="177699" cy="117559"/>
            </a:xfrm>
            <a:custGeom>
              <a:avLst/>
              <a:gdLst>
                <a:gd name="connsiteX0" fmla="*/ 6986 w 177699"/>
                <a:gd name="connsiteY0" fmla="*/ 117559 h 117559"/>
                <a:gd name="connsiteX1" fmla="*/ 0 w 177699"/>
                <a:gd name="connsiteY1" fmla="*/ 107886 h 117559"/>
                <a:gd name="connsiteX2" fmla="*/ 114658 w 177699"/>
                <a:gd name="connsiteY2" fmla="*/ 0 h 117559"/>
                <a:gd name="connsiteX3" fmla="*/ 177699 w 177699"/>
                <a:gd name="connsiteY3" fmla="*/ 43698 h 117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7699" h="117559">
                  <a:moveTo>
                    <a:pt x="6986" y="117559"/>
                  </a:moveTo>
                  <a:lnTo>
                    <a:pt x="0" y="107886"/>
                  </a:lnTo>
                  <a:lnTo>
                    <a:pt x="114658" y="0"/>
                  </a:lnTo>
                  <a:lnTo>
                    <a:pt x="177699" y="436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4" name="Forme libre : forme 2163">
              <a:extLst>
                <a:ext uri="{FF2B5EF4-FFF2-40B4-BE49-F238E27FC236}">
                  <a16:creationId xmlns:a16="http://schemas.microsoft.com/office/drawing/2014/main" id="{CEFAFB5F-0AC3-4989-96BE-6254D2E906AF}"/>
                </a:ext>
              </a:extLst>
            </p:cNvPr>
            <p:cNvSpPr/>
            <p:nvPr/>
          </p:nvSpPr>
          <p:spPr>
            <a:xfrm rot="8716295">
              <a:off x="2573494" y="492769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5" name="Forme libre : forme 2164">
              <a:extLst>
                <a:ext uri="{FF2B5EF4-FFF2-40B4-BE49-F238E27FC236}">
                  <a16:creationId xmlns:a16="http://schemas.microsoft.com/office/drawing/2014/main" id="{26F6B6DC-9027-450B-92D7-F34A3A491FBF}"/>
                </a:ext>
              </a:extLst>
            </p:cNvPr>
            <p:cNvSpPr/>
            <p:nvPr/>
          </p:nvSpPr>
          <p:spPr>
            <a:xfrm rot="8716295">
              <a:off x="2330248" y="495791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6" name="Forme libre : forme 2165">
              <a:extLst>
                <a:ext uri="{FF2B5EF4-FFF2-40B4-BE49-F238E27FC236}">
                  <a16:creationId xmlns:a16="http://schemas.microsoft.com/office/drawing/2014/main" id="{0F4E3D83-A89E-4A3D-8DFA-0B99A9944664}"/>
                </a:ext>
              </a:extLst>
            </p:cNvPr>
            <p:cNvSpPr/>
            <p:nvPr/>
          </p:nvSpPr>
          <p:spPr>
            <a:xfrm rot="8716295">
              <a:off x="2507700" y="479867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7" name="Forme libre : forme 2166">
              <a:extLst>
                <a:ext uri="{FF2B5EF4-FFF2-40B4-BE49-F238E27FC236}">
                  <a16:creationId xmlns:a16="http://schemas.microsoft.com/office/drawing/2014/main" id="{E36A73C5-A750-41BE-8891-686B78AEED60}"/>
                </a:ext>
              </a:extLst>
            </p:cNvPr>
            <p:cNvSpPr/>
            <p:nvPr/>
          </p:nvSpPr>
          <p:spPr>
            <a:xfrm rot="8716295">
              <a:off x="1518235" y="386507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8" name="Forme libre : forme 2167">
              <a:extLst>
                <a:ext uri="{FF2B5EF4-FFF2-40B4-BE49-F238E27FC236}">
                  <a16:creationId xmlns:a16="http://schemas.microsoft.com/office/drawing/2014/main" id="{1E259F04-3FF0-484F-936A-BF05D81BA7F9}"/>
                </a:ext>
              </a:extLst>
            </p:cNvPr>
            <p:cNvSpPr/>
            <p:nvPr/>
          </p:nvSpPr>
          <p:spPr>
            <a:xfrm rot="8716295">
              <a:off x="1607627" y="389431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9" name="Forme libre : forme 2168">
              <a:extLst>
                <a:ext uri="{FF2B5EF4-FFF2-40B4-BE49-F238E27FC236}">
                  <a16:creationId xmlns:a16="http://schemas.microsoft.com/office/drawing/2014/main" id="{F7188107-3596-40BA-A19D-D4C36F703AA3}"/>
                </a:ext>
              </a:extLst>
            </p:cNvPr>
            <p:cNvSpPr/>
            <p:nvPr/>
          </p:nvSpPr>
          <p:spPr>
            <a:xfrm rot="8716295">
              <a:off x="1562777" y="380803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0" name="Forme libre : forme 2169">
              <a:extLst>
                <a:ext uri="{FF2B5EF4-FFF2-40B4-BE49-F238E27FC236}">
                  <a16:creationId xmlns:a16="http://schemas.microsoft.com/office/drawing/2014/main" id="{F0B5B849-6A09-4CB1-94BD-59AAAA00B41D}"/>
                </a:ext>
              </a:extLst>
            </p:cNvPr>
            <p:cNvSpPr/>
            <p:nvPr/>
          </p:nvSpPr>
          <p:spPr>
            <a:xfrm rot="8716295">
              <a:off x="1406001" y="395361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1" name="Forme libre : forme 2170">
              <a:extLst>
                <a:ext uri="{FF2B5EF4-FFF2-40B4-BE49-F238E27FC236}">
                  <a16:creationId xmlns:a16="http://schemas.microsoft.com/office/drawing/2014/main" id="{310927B8-5E88-4650-8C8B-F5EEB8CBF984}"/>
                </a:ext>
              </a:extLst>
            </p:cNvPr>
            <p:cNvSpPr/>
            <p:nvPr/>
          </p:nvSpPr>
          <p:spPr>
            <a:xfrm rot="8716295">
              <a:off x="1281098" y="374494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2" name="Forme libre : forme 2171">
              <a:extLst>
                <a:ext uri="{FF2B5EF4-FFF2-40B4-BE49-F238E27FC236}">
                  <a16:creationId xmlns:a16="http://schemas.microsoft.com/office/drawing/2014/main" id="{0077CC8A-BF45-4BE4-8C2F-92F79577CBE1}"/>
                </a:ext>
              </a:extLst>
            </p:cNvPr>
            <p:cNvSpPr/>
            <p:nvPr/>
          </p:nvSpPr>
          <p:spPr>
            <a:xfrm rot="8716295">
              <a:off x="1269046" y="3606161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3" name="Forme libre : forme 2172">
              <a:extLst>
                <a:ext uri="{FF2B5EF4-FFF2-40B4-BE49-F238E27FC236}">
                  <a16:creationId xmlns:a16="http://schemas.microsoft.com/office/drawing/2014/main" id="{4B1B0D55-FB5B-4C21-B16D-8B7A58AA2F48}"/>
                </a:ext>
              </a:extLst>
            </p:cNvPr>
            <p:cNvSpPr/>
            <p:nvPr/>
          </p:nvSpPr>
          <p:spPr>
            <a:xfrm rot="8716295">
              <a:off x="1496179" y="399456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4" name="Forme libre : forme 2173">
              <a:extLst>
                <a:ext uri="{FF2B5EF4-FFF2-40B4-BE49-F238E27FC236}">
                  <a16:creationId xmlns:a16="http://schemas.microsoft.com/office/drawing/2014/main" id="{6AFD4B44-0013-46C7-89C1-7C63AAB4D987}"/>
                </a:ext>
              </a:extLst>
            </p:cNvPr>
            <p:cNvSpPr/>
            <p:nvPr/>
          </p:nvSpPr>
          <p:spPr>
            <a:xfrm rot="8716295">
              <a:off x="1807334" y="36149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5" name="Forme libre : forme 2174">
              <a:extLst>
                <a:ext uri="{FF2B5EF4-FFF2-40B4-BE49-F238E27FC236}">
                  <a16:creationId xmlns:a16="http://schemas.microsoft.com/office/drawing/2014/main" id="{B061716B-E619-4B2C-A2CB-AB4D2606E002}"/>
                </a:ext>
              </a:extLst>
            </p:cNvPr>
            <p:cNvSpPr/>
            <p:nvPr/>
          </p:nvSpPr>
          <p:spPr>
            <a:xfrm rot="8716295">
              <a:off x="1896726" y="36441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6" name="Forme libre : forme 2175">
              <a:extLst>
                <a:ext uri="{FF2B5EF4-FFF2-40B4-BE49-F238E27FC236}">
                  <a16:creationId xmlns:a16="http://schemas.microsoft.com/office/drawing/2014/main" id="{80D807FA-1A3A-4ABF-AF3B-F275183E0A00}"/>
                </a:ext>
              </a:extLst>
            </p:cNvPr>
            <p:cNvSpPr/>
            <p:nvPr/>
          </p:nvSpPr>
          <p:spPr>
            <a:xfrm rot="8716295">
              <a:off x="1695100" y="370346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7" name="Forme libre : forme 2176">
              <a:extLst>
                <a:ext uri="{FF2B5EF4-FFF2-40B4-BE49-F238E27FC236}">
                  <a16:creationId xmlns:a16="http://schemas.microsoft.com/office/drawing/2014/main" id="{032DF9FF-0CD8-4491-9035-5269ADB59100}"/>
                </a:ext>
              </a:extLst>
            </p:cNvPr>
            <p:cNvSpPr/>
            <p:nvPr/>
          </p:nvSpPr>
          <p:spPr>
            <a:xfrm rot="8716295">
              <a:off x="1570198" y="349478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8" name="Forme libre : forme 2177">
              <a:extLst>
                <a:ext uri="{FF2B5EF4-FFF2-40B4-BE49-F238E27FC236}">
                  <a16:creationId xmlns:a16="http://schemas.microsoft.com/office/drawing/2014/main" id="{5F6C4221-EAB2-436F-B193-7A3F5601B69D}"/>
                </a:ext>
              </a:extLst>
            </p:cNvPr>
            <p:cNvSpPr/>
            <p:nvPr/>
          </p:nvSpPr>
          <p:spPr>
            <a:xfrm rot="8716295">
              <a:off x="1785278" y="37444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9" name="Forme libre : forme 2178">
              <a:extLst>
                <a:ext uri="{FF2B5EF4-FFF2-40B4-BE49-F238E27FC236}">
                  <a16:creationId xmlns:a16="http://schemas.microsoft.com/office/drawing/2014/main" id="{2C3899F1-7908-415E-AC18-381FF5AACA99}"/>
                </a:ext>
              </a:extLst>
            </p:cNvPr>
            <p:cNvSpPr/>
            <p:nvPr/>
          </p:nvSpPr>
          <p:spPr>
            <a:xfrm rot="8716295">
              <a:off x="1543827" y="359481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0" name="Forme libre : forme 2179">
              <a:extLst>
                <a:ext uri="{FF2B5EF4-FFF2-40B4-BE49-F238E27FC236}">
                  <a16:creationId xmlns:a16="http://schemas.microsoft.com/office/drawing/2014/main" id="{A25A3A19-36CC-4BEB-89D4-7074BE692A4E}"/>
                </a:ext>
              </a:extLst>
            </p:cNvPr>
            <p:cNvSpPr/>
            <p:nvPr/>
          </p:nvSpPr>
          <p:spPr>
            <a:xfrm rot="7484129">
              <a:off x="1890209" y="393576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1" name="Forme libre : forme 2180">
              <a:extLst>
                <a:ext uri="{FF2B5EF4-FFF2-40B4-BE49-F238E27FC236}">
                  <a16:creationId xmlns:a16="http://schemas.microsoft.com/office/drawing/2014/main" id="{4AF8F556-7C68-44A7-A9D4-1E80B8EE1F70}"/>
                </a:ext>
              </a:extLst>
            </p:cNvPr>
            <p:cNvSpPr/>
            <p:nvPr/>
          </p:nvSpPr>
          <p:spPr>
            <a:xfrm rot="13089394">
              <a:off x="1995029" y="3902299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2" name="Forme libre : forme 2181">
              <a:extLst>
                <a:ext uri="{FF2B5EF4-FFF2-40B4-BE49-F238E27FC236}">
                  <a16:creationId xmlns:a16="http://schemas.microsoft.com/office/drawing/2014/main" id="{474B8F0A-192E-4408-976E-CFE766B0E660}"/>
                </a:ext>
              </a:extLst>
            </p:cNvPr>
            <p:cNvSpPr/>
            <p:nvPr/>
          </p:nvSpPr>
          <p:spPr>
            <a:xfrm rot="8716295">
              <a:off x="2180614" y="371061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3" name="Forme libre : forme 2182">
              <a:extLst>
                <a:ext uri="{FF2B5EF4-FFF2-40B4-BE49-F238E27FC236}">
                  <a16:creationId xmlns:a16="http://schemas.microsoft.com/office/drawing/2014/main" id="{08147D7D-246F-4267-9328-9CD9D53CB053}"/>
                </a:ext>
              </a:extLst>
            </p:cNvPr>
            <p:cNvSpPr/>
            <p:nvPr/>
          </p:nvSpPr>
          <p:spPr>
            <a:xfrm rot="8716295">
              <a:off x="2128809" y="360702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4" name="Forme libre : forme 2183">
              <a:extLst>
                <a:ext uri="{FF2B5EF4-FFF2-40B4-BE49-F238E27FC236}">
                  <a16:creationId xmlns:a16="http://schemas.microsoft.com/office/drawing/2014/main" id="{BFD4EEA9-74F4-491C-BCB2-C3F42835DD07}"/>
                </a:ext>
              </a:extLst>
            </p:cNvPr>
            <p:cNvSpPr/>
            <p:nvPr/>
          </p:nvSpPr>
          <p:spPr>
            <a:xfrm rot="8716295">
              <a:off x="1885563" y="36372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5" name="Forme libre : forme 2184">
              <a:extLst>
                <a:ext uri="{FF2B5EF4-FFF2-40B4-BE49-F238E27FC236}">
                  <a16:creationId xmlns:a16="http://schemas.microsoft.com/office/drawing/2014/main" id="{913E5A75-2F0F-4FF8-AF12-57EBAAC870EA}"/>
                </a:ext>
              </a:extLst>
            </p:cNvPr>
            <p:cNvSpPr/>
            <p:nvPr/>
          </p:nvSpPr>
          <p:spPr>
            <a:xfrm rot="8716295">
              <a:off x="2063015" y="34780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6" name="Forme libre : forme 2185">
              <a:extLst>
                <a:ext uri="{FF2B5EF4-FFF2-40B4-BE49-F238E27FC236}">
                  <a16:creationId xmlns:a16="http://schemas.microsoft.com/office/drawing/2014/main" id="{4571DC5F-CE18-47DF-9FDC-F2290176BF72}"/>
                </a:ext>
              </a:extLst>
            </p:cNvPr>
            <p:cNvSpPr/>
            <p:nvPr/>
          </p:nvSpPr>
          <p:spPr>
            <a:xfrm rot="8716295">
              <a:off x="1741402" y="452476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7" name="Forme libre : forme 2186">
              <a:extLst>
                <a:ext uri="{FF2B5EF4-FFF2-40B4-BE49-F238E27FC236}">
                  <a16:creationId xmlns:a16="http://schemas.microsoft.com/office/drawing/2014/main" id="{E598998C-D00A-4D75-A58B-A8274CB4E8AC}"/>
                </a:ext>
              </a:extLst>
            </p:cNvPr>
            <p:cNvSpPr/>
            <p:nvPr/>
          </p:nvSpPr>
          <p:spPr>
            <a:xfrm rot="8716295">
              <a:off x="1830794" y="455401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8" name="Forme libre : forme 2187">
              <a:extLst>
                <a:ext uri="{FF2B5EF4-FFF2-40B4-BE49-F238E27FC236}">
                  <a16:creationId xmlns:a16="http://schemas.microsoft.com/office/drawing/2014/main" id="{68EAF022-443D-40AB-977F-80ED0FBBA39F}"/>
                </a:ext>
              </a:extLst>
            </p:cNvPr>
            <p:cNvSpPr/>
            <p:nvPr/>
          </p:nvSpPr>
          <p:spPr>
            <a:xfrm rot="8716295">
              <a:off x="1785944" y="4467731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9" name="Forme libre : forme 2188">
              <a:extLst>
                <a:ext uri="{FF2B5EF4-FFF2-40B4-BE49-F238E27FC236}">
                  <a16:creationId xmlns:a16="http://schemas.microsoft.com/office/drawing/2014/main" id="{9832FD02-47CA-43A0-9ECC-73C95B196066}"/>
                </a:ext>
              </a:extLst>
            </p:cNvPr>
            <p:cNvSpPr/>
            <p:nvPr/>
          </p:nvSpPr>
          <p:spPr>
            <a:xfrm rot="8716295">
              <a:off x="1629168" y="461331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0" name="Forme libre : forme 2189">
              <a:extLst>
                <a:ext uri="{FF2B5EF4-FFF2-40B4-BE49-F238E27FC236}">
                  <a16:creationId xmlns:a16="http://schemas.microsoft.com/office/drawing/2014/main" id="{E4050B9D-DB6D-469C-8D0D-3927E506DFDB}"/>
                </a:ext>
              </a:extLst>
            </p:cNvPr>
            <p:cNvSpPr/>
            <p:nvPr/>
          </p:nvSpPr>
          <p:spPr>
            <a:xfrm rot="8716295">
              <a:off x="1504265" y="440464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1" name="Forme libre : forme 2190">
              <a:extLst>
                <a:ext uri="{FF2B5EF4-FFF2-40B4-BE49-F238E27FC236}">
                  <a16:creationId xmlns:a16="http://schemas.microsoft.com/office/drawing/2014/main" id="{08EA550C-613A-4866-AACF-C27F8E9C22E0}"/>
                </a:ext>
              </a:extLst>
            </p:cNvPr>
            <p:cNvSpPr/>
            <p:nvPr/>
          </p:nvSpPr>
          <p:spPr>
            <a:xfrm rot="8716295">
              <a:off x="1492213" y="4265860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2" name="Forme libre : forme 2191">
              <a:extLst>
                <a:ext uri="{FF2B5EF4-FFF2-40B4-BE49-F238E27FC236}">
                  <a16:creationId xmlns:a16="http://schemas.microsoft.com/office/drawing/2014/main" id="{1CF034C4-4CE9-457C-B36A-A3F9D058C124}"/>
                </a:ext>
              </a:extLst>
            </p:cNvPr>
            <p:cNvSpPr/>
            <p:nvPr/>
          </p:nvSpPr>
          <p:spPr>
            <a:xfrm rot="8716295">
              <a:off x="1719346" y="465426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3" name="Forme libre : forme 2192">
              <a:extLst>
                <a:ext uri="{FF2B5EF4-FFF2-40B4-BE49-F238E27FC236}">
                  <a16:creationId xmlns:a16="http://schemas.microsoft.com/office/drawing/2014/main" id="{D08F0A84-4DD7-4772-AC15-083524AA4A1D}"/>
                </a:ext>
              </a:extLst>
            </p:cNvPr>
            <p:cNvSpPr/>
            <p:nvPr/>
          </p:nvSpPr>
          <p:spPr>
            <a:xfrm rot="8716295">
              <a:off x="2030501" y="427461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4" name="Forme libre : forme 2193">
              <a:extLst>
                <a:ext uri="{FF2B5EF4-FFF2-40B4-BE49-F238E27FC236}">
                  <a16:creationId xmlns:a16="http://schemas.microsoft.com/office/drawing/2014/main" id="{61D16ADF-5C6E-4CB0-822E-F18C019391FD}"/>
                </a:ext>
              </a:extLst>
            </p:cNvPr>
            <p:cNvSpPr/>
            <p:nvPr/>
          </p:nvSpPr>
          <p:spPr>
            <a:xfrm rot="8716295">
              <a:off x="2119893" y="430385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5" name="Forme libre : forme 2194">
              <a:extLst>
                <a:ext uri="{FF2B5EF4-FFF2-40B4-BE49-F238E27FC236}">
                  <a16:creationId xmlns:a16="http://schemas.microsoft.com/office/drawing/2014/main" id="{7755C47E-CA44-4F59-A584-382B602B7277}"/>
                </a:ext>
              </a:extLst>
            </p:cNvPr>
            <p:cNvSpPr/>
            <p:nvPr/>
          </p:nvSpPr>
          <p:spPr>
            <a:xfrm rot="8716295">
              <a:off x="1918267" y="436316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6" name="Forme libre : forme 2195">
              <a:extLst>
                <a:ext uri="{FF2B5EF4-FFF2-40B4-BE49-F238E27FC236}">
                  <a16:creationId xmlns:a16="http://schemas.microsoft.com/office/drawing/2014/main" id="{7477CD6A-0BC6-4B29-9F1F-C0FBF04DE899}"/>
                </a:ext>
              </a:extLst>
            </p:cNvPr>
            <p:cNvSpPr/>
            <p:nvPr/>
          </p:nvSpPr>
          <p:spPr>
            <a:xfrm rot="8716295">
              <a:off x="1793365" y="415448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7" name="Forme libre : forme 2196">
              <a:extLst>
                <a:ext uri="{FF2B5EF4-FFF2-40B4-BE49-F238E27FC236}">
                  <a16:creationId xmlns:a16="http://schemas.microsoft.com/office/drawing/2014/main" id="{EE329923-C3A4-4046-B152-3FD94C6B8328}"/>
                </a:ext>
              </a:extLst>
            </p:cNvPr>
            <p:cNvSpPr/>
            <p:nvPr/>
          </p:nvSpPr>
          <p:spPr>
            <a:xfrm rot="8716295">
              <a:off x="2008445" y="4404113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8" name="Forme libre : forme 2197">
              <a:extLst>
                <a:ext uri="{FF2B5EF4-FFF2-40B4-BE49-F238E27FC236}">
                  <a16:creationId xmlns:a16="http://schemas.microsoft.com/office/drawing/2014/main" id="{9B7F0F6B-ADD6-4F5F-8A57-9C18A5D11901}"/>
                </a:ext>
              </a:extLst>
            </p:cNvPr>
            <p:cNvSpPr/>
            <p:nvPr/>
          </p:nvSpPr>
          <p:spPr>
            <a:xfrm rot="8716295">
              <a:off x="1766994" y="4254513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9" name="Forme libre : forme 2198">
              <a:extLst>
                <a:ext uri="{FF2B5EF4-FFF2-40B4-BE49-F238E27FC236}">
                  <a16:creationId xmlns:a16="http://schemas.microsoft.com/office/drawing/2014/main" id="{27B19DC8-7CA7-46F0-BBD1-FED4197C21C5}"/>
                </a:ext>
              </a:extLst>
            </p:cNvPr>
            <p:cNvSpPr/>
            <p:nvPr/>
          </p:nvSpPr>
          <p:spPr>
            <a:xfrm rot="7484129">
              <a:off x="2113376" y="459546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0" name="Forme libre : forme 2199">
              <a:extLst>
                <a:ext uri="{FF2B5EF4-FFF2-40B4-BE49-F238E27FC236}">
                  <a16:creationId xmlns:a16="http://schemas.microsoft.com/office/drawing/2014/main" id="{6A2BAEE3-A8C6-4D0E-B41D-3EB43C80CD43}"/>
                </a:ext>
              </a:extLst>
            </p:cNvPr>
            <p:cNvSpPr/>
            <p:nvPr/>
          </p:nvSpPr>
          <p:spPr>
            <a:xfrm rot="13089394">
              <a:off x="2218196" y="4561998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1" name="Forme libre : forme 2200">
              <a:extLst>
                <a:ext uri="{FF2B5EF4-FFF2-40B4-BE49-F238E27FC236}">
                  <a16:creationId xmlns:a16="http://schemas.microsoft.com/office/drawing/2014/main" id="{B33494DC-160D-4471-B761-44392F450F15}"/>
                </a:ext>
              </a:extLst>
            </p:cNvPr>
            <p:cNvSpPr/>
            <p:nvPr/>
          </p:nvSpPr>
          <p:spPr>
            <a:xfrm rot="8716295">
              <a:off x="2403781" y="4370317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2" name="Forme libre : forme 2201">
              <a:extLst>
                <a:ext uri="{FF2B5EF4-FFF2-40B4-BE49-F238E27FC236}">
                  <a16:creationId xmlns:a16="http://schemas.microsoft.com/office/drawing/2014/main" id="{A0536B5D-C1D1-4CC2-A67B-69C04D5E7BF1}"/>
                </a:ext>
              </a:extLst>
            </p:cNvPr>
            <p:cNvSpPr/>
            <p:nvPr/>
          </p:nvSpPr>
          <p:spPr>
            <a:xfrm rot="8716295">
              <a:off x="2351976" y="426672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3" name="Forme libre : forme 2202">
              <a:extLst>
                <a:ext uri="{FF2B5EF4-FFF2-40B4-BE49-F238E27FC236}">
                  <a16:creationId xmlns:a16="http://schemas.microsoft.com/office/drawing/2014/main" id="{0EC7D0F9-54FF-4910-BE51-E44A931994E2}"/>
                </a:ext>
              </a:extLst>
            </p:cNvPr>
            <p:cNvSpPr/>
            <p:nvPr/>
          </p:nvSpPr>
          <p:spPr>
            <a:xfrm rot="8716295">
              <a:off x="2108730" y="429694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4" name="Forme libre : forme 2203">
              <a:extLst>
                <a:ext uri="{FF2B5EF4-FFF2-40B4-BE49-F238E27FC236}">
                  <a16:creationId xmlns:a16="http://schemas.microsoft.com/office/drawing/2014/main" id="{581ECD7C-3ECD-4795-A962-336D27880F7D}"/>
                </a:ext>
              </a:extLst>
            </p:cNvPr>
            <p:cNvSpPr/>
            <p:nvPr/>
          </p:nvSpPr>
          <p:spPr>
            <a:xfrm rot="8716295">
              <a:off x="2286182" y="413770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5" name="Forme libre : forme 2204">
              <a:extLst>
                <a:ext uri="{FF2B5EF4-FFF2-40B4-BE49-F238E27FC236}">
                  <a16:creationId xmlns:a16="http://schemas.microsoft.com/office/drawing/2014/main" id="{61351529-FB96-4EA9-BD0D-13DB591690B1}"/>
                </a:ext>
              </a:extLst>
            </p:cNvPr>
            <p:cNvSpPr/>
            <p:nvPr/>
          </p:nvSpPr>
          <p:spPr>
            <a:xfrm rot="8716295">
              <a:off x="854880" y="188600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6" name="Forme libre : forme 2205">
              <a:extLst>
                <a:ext uri="{FF2B5EF4-FFF2-40B4-BE49-F238E27FC236}">
                  <a16:creationId xmlns:a16="http://schemas.microsoft.com/office/drawing/2014/main" id="{7B671EAD-22E7-49A1-AAF9-AFD4BDF270FF}"/>
                </a:ext>
              </a:extLst>
            </p:cNvPr>
            <p:cNvSpPr/>
            <p:nvPr/>
          </p:nvSpPr>
          <p:spPr>
            <a:xfrm rot="8716295">
              <a:off x="944272" y="191524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7" name="Forme libre : forme 2206">
              <a:extLst>
                <a:ext uri="{FF2B5EF4-FFF2-40B4-BE49-F238E27FC236}">
                  <a16:creationId xmlns:a16="http://schemas.microsoft.com/office/drawing/2014/main" id="{60C9EA0E-9422-461A-8A03-18C34E381FE6}"/>
                </a:ext>
              </a:extLst>
            </p:cNvPr>
            <p:cNvSpPr/>
            <p:nvPr/>
          </p:nvSpPr>
          <p:spPr>
            <a:xfrm rot="8716295">
              <a:off x="899422" y="182896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8" name="Forme libre : forme 2207">
              <a:extLst>
                <a:ext uri="{FF2B5EF4-FFF2-40B4-BE49-F238E27FC236}">
                  <a16:creationId xmlns:a16="http://schemas.microsoft.com/office/drawing/2014/main" id="{BA75D214-5F17-45EC-88F6-87E7086E00EC}"/>
                </a:ext>
              </a:extLst>
            </p:cNvPr>
            <p:cNvSpPr/>
            <p:nvPr/>
          </p:nvSpPr>
          <p:spPr>
            <a:xfrm rot="8716295">
              <a:off x="742646" y="197454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9" name="Forme libre : forme 2208">
              <a:extLst>
                <a:ext uri="{FF2B5EF4-FFF2-40B4-BE49-F238E27FC236}">
                  <a16:creationId xmlns:a16="http://schemas.microsoft.com/office/drawing/2014/main" id="{E48EAD6E-3EAF-4F3D-8B05-DC60D246CC5C}"/>
                </a:ext>
              </a:extLst>
            </p:cNvPr>
            <p:cNvSpPr/>
            <p:nvPr/>
          </p:nvSpPr>
          <p:spPr>
            <a:xfrm rot="8716295">
              <a:off x="617743" y="176587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0" name="Forme libre : forme 2209">
              <a:extLst>
                <a:ext uri="{FF2B5EF4-FFF2-40B4-BE49-F238E27FC236}">
                  <a16:creationId xmlns:a16="http://schemas.microsoft.com/office/drawing/2014/main" id="{60DC192A-6712-4E80-B33F-A868EA1F00C7}"/>
                </a:ext>
              </a:extLst>
            </p:cNvPr>
            <p:cNvSpPr/>
            <p:nvPr/>
          </p:nvSpPr>
          <p:spPr>
            <a:xfrm rot="8716295">
              <a:off x="605691" y="162709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1" name="Forme libre : forme 2210">
              <a:extLst>
                <a:ext uri="{FF2B5EF4-FFF2-40B4-BE49-F238E27FC236}">
                  <a16:creationId xmlns:a16="http://schemas.microsoft.com/office/drawing/2014/main" id="{5F7656EC-B89E-42FF-BC16-A8DDF1B2D92F}"/>
                </a:ext>
              </a:extLst>
            </p:cNvPr>
            <p:cNvSpPr/>
            <p:nvPr/>
          </p:nvSpPr>
          <p:spPr>
            <a:xfrm rot="8716295">
              <a:off x="832824" y="201549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2" name="Forme libre : forme 2211">
              <a:extLst>
                <a:ext uri="{FF2B5EF4-FFF2-40B4-BE49-F238E27FC236}">
                  <a16:creationId xmlns:a16="http://schemas.microsoft.com/office/drawing/2014/main" id="{E08CB140-902C-4737-8277-A98EB5E4EFE4}"/>
                </a:ext>
              </a:extLst>
            </p:cNvPr>
            <p:cNvSpPr/>
            <p:nvPr/>
          </p:nvSpPr>
          <p:spPr>
            <a:xfrm rot="8716295">
              <a:off x="1143979" y="163584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3" name="Forme libre : forme 2212">
              <a:extLst>
                <a:ext uri="{FF2B5EF4-FFF2-40B4-BE49-F238E27FC236}">
                  <a16:creationId xmlns:a16="http://schemas.microsoft.com/office/drawing/2014/main" id="{6E90F74B-F705-42A3-BD1F-6FA4B5FAA019}"/>
                </a:ext>
              </a:extLst>
            </p:cNvPr>
            <p:cNvSpPr/>
            <p:nvPr/>
          </p:nvSpPr>
          <p:spPr>
            <a:xfrm rot="8716295">
              <a:off x="1233371" y="166509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4" name="Forme libre : forme 2213">
              <a:extLst>
                <a:ext uri="{FF2B5EF4-FFF2-40B4-BE49-F238E27FC236}">
                  <a16:creationId xmlns:a16="http://schemas.microsoft.com/office/drawing/2014/main" id="{465358ED-843D-4586-B8A7-8F476C2F6DDB}"/>
                </a:ext>
              </a:extLst>
            </p:cNvPr>
            <p:cNvSpPr/>
            <p:nvPr/>
          </p:nvSpPr>
          <p:spPr>
            <a:xfrm rot="8716295">
              <a:off x="1031745" y="172439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5" name="Forme libre : forme 2214">
              <a:extLst>
                <a:ext uri="{FF2B5EF4-FFF2-40B4-BE49-F238E27FC236}">
                  <a16:creationId xmlns:a16="http://schemas.microsoft.com/office/drawing/2014/main" id="{1FF0FB25-B8F5-4ADE-800A-47430E68573C}"/>
                </a:ext>
              </a:extLst>
            </p:cNvPr>
            <p:cNvSpPr/>
            <p:nvPr/>
          </p:nvSpPr>
          <p:spPr>
            <a:xfrm rot="8716295">
              <a:off x="906843" y="151572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6" name="Forme libre : forme 2215">
              <a:extLst>
                <a:ext uri="{FF2B5EF4-FFF2-40B4-BE49-F238E27FC236}">
                  <a16:creationId xmlns:a16="http://schemas.microsoft.com/office/drawing/2014/main" id="{776C37F0-ED81-4F1F-A328-887B05D06837}"/>
                </a:ext>
              </a:extLst>
            </p:cNvPr>
            <p:cNvSpPr/>
            <p:nvPr/>
          </p:nvSpPr>
          <p:spPr>
            <a:xfrm rot="8716295">
              <a:off x="1121923" y="176534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7" name="Forme libre : forme 2216">
              <a:extLst>
                <a:ext uri="{FF2B5EF4-FFF2-40B4-BE49-F238E27FC236}">
                  <a16:creationId xmlns:a16="http://schemas.microsoft.com/office/drawing/2014/main" id="{3495DB9A-4541-4398-B98F-3D014F3FA02F}"/>
                </a:ext>
              </a:extLst>
            </p:cNvPr>
            <p:cNvSpPr/>
            <p:nvPr/>
          </p:nvSpPr>
          <p:spPr>
            <a:xfrm rot="8716295">
              <a:off x="880472" y="161574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8" name="Forme libre : forme 2217">
              <a:extLst>
                <a:ext uri="{FF2B5EF4-FFF2-40B4-BE49-F238E27FC236}">
                  <a16:creationId xmlns:a16="http://schemas.microsoft.com/office/drawing/2014/main" id="{6174E958-9841-4450-A3B4-4010E7B5DEF3}"/>
                </a:ext>
              </a:extLst>
            </p:cNvPr>
            <p:cNvSpPr/>
            <p:nvPr/>
          </p:nvSpPr>
          <p:spPr>
            <a:xfrm rot="7484129">
              <a:off x="1226854" y="195669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9" name="Forme libre : forme 2218">
              <a:extLst>
                <a:ext uri="{FF2B5EF4-FFF2-40B4-BE49-F238E27FC236}">
                  <a16:creationId xmlns:a16="http://schemas.microsoft.com/office/drawing/2014/main" id="{AEB0FE66-FF50-46B8-A527-A44B045C51F6}"/>
                </a:ext>
              </a:extLst>
            </p:cNvPr>
            <p:cNvSpPr/>
            <p:nvPr/>
          </p:nvSpPr>
          <p:spPr>
            <a:xfrm rot="13089394">
              <a:off x="1331674" y="192323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0" name="Forme libre : forme 2219">
              <a:extLst>
                <a:ext uri="{FF2B5EF4-FFF2-40B4-BE49-F238E27FC236}">
                  <a16:creationId xmlns:a16="http://schemas.microsoft.com/office/drawing/2014/main" id="{71365084-09F0-4177-8899-9AEDD9C836FB}"/>
                </a:ext>
              </a:extLst>
            </p:cNvPr>
            <p:cNvSpPr/>
            <p:nvPr/>
          </p:nvSpPr>
          <p:spPr>
            <a:xfrm rot="8716295">
              <a:off x="1517259" y="173154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1" name="Forme libre : forme 2220">
              <a:extLst>
                <a:ext uri="{FF2B5EF4-FFF2-40B4-BE49-F238E27FC236}">
                  <a16:creationId xmlns:a16="http://schemas.microsoft.com/office/drawing/2014/main" id="{93A16290-1383-4913-A805-FEC6CD68B3A1}"/>
                </a:ext>
              </a:extLst>
            </p:cNvPr>
            <p:cNvSpPr/>
            <p:nvPr/>
          </p:nvSpPr>
          <p:spPr>
            <a:xfrm rot="8716295">
              <a:off x="1465454" y="162795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2" name="Forme libre : forme 2221">
              <a:extLst>
                <a:ext uri="{FF2B5EF4-FFF2-40B4-BE49-F238E27FC236}">
                  <a16:creationId xmlns:a16="http://schemas.microsoft.com/office/drawing/2014/main" id="{89EDCAB4-2647-402D-8A97-2D89ED05C33C}"/>
                </a:ext>
              </a:extLst>
            </p:cNvPr>
            <p:cNvSpPr/>
            <p:nvPr/>
          </p:nvSpPr>
          <p:spPr>
            <a:xfrm rot="8716295">
              <a:off x="1222208" y="165817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3" name="Forme libre : forme 2222">
              <a:extLst>
                <a:ext uri="{FF2B5EF4-FFF2-40B4-BE49-F238E27FC236}">
                  <a16:creationId xmlns:a16="http://schemas.microsoft.com/office/drawing/2014/main" id="{62660570-9841-4140-8539-11BB8C728044}"/>
                </a:ext>
              </a:extLst>
            </p:cNvPr>
            <p:cNvSpPr/>
            <p:nvPr/>
          </p:nvSpPr>
          <p:spPr>
            <a:xfrm rot="8716295">
              <a:off x="1399660" y="149893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4" name="Forme libre : forme 2223">
              <a:extLst>
                <a:ext uri="{FF2B5EF4-FFF2-40B4-BE49-F238E27FC236}">
                  <a16:creationId xmlns:a16="http://schemas.microsoft.com/office/drawing/2014/main" id="{94D3AEEA-4130-43BE-BF5D-CC6BCC5331C3}"/>
                </a:ext>
              </a:extLst>
            </p:cNvPr>
            <p:cNvSpPr/>
            <p:nvPr/>
          </p:nvSpPr>
          <p:spPr>
            <a:xfrm rot="8716295">
              <a:off x="631713" y="12263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5" name="Forme libre : forme 2224">
              <a:extLst>
                <a:ext uri="{FF2B5EF4-FFF2-40B4-BE49-F238E27FC236}">
                  <a16:creationId xmlns:a16="http://schemas.microsoft.com/office/drawing/2014/main" id="{B4B77E9D-EEED-412C-89B0-478E464DFE8E}"/>
                </a:ext>
              </a:extLst>
            </p:cNvPr>
            <p:cNvSpPr/>
            <p:nvPr/>
          </p:nvSpPr>
          <p:spPr>
            <a:xfrm rot="8716295">
              <a:off x="721105" y="12555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6" name="Forme libre : forme 2225">
              <a:extLst>
                <a:ext uri="{FF2B5EF4-FFF2-40B4-BE49-F238E27FC236}">
                  <a16:creationId xmlns:a16="http://schemas.microsoft.com/office/drawing/2014/main" id="{8807D4A1-E0A9-4E7E-A2E7-F2E039C53560}"/>
                </a:ext>
              </a:extLst>
            </p:cNvPr>
            <p:cNvSpPr/>
            <p:nvPr/>
          </p:nvSpPr>
          <p:spPr>
            <a:xfrm rot="8716295">
              <a:off x="676255" y="116926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7" name="Forme libre : forme 2226">
              <a:extLst>
                <a:ext uri="{FF2B5EF4-FFF2-40B4-BE49-F238E27FC236}">
                  <a16:creationId xmlns:a16="http://schemas.microsoft.com/office/drawing/2014/main" id="{E1BBD9BF-9DEF-4962-8461-FCC580DDB3D3}"/>
                </a:ext>
              </a:extLst>
            </p:cNvPr>
            <p:cNvSpPr/>
            <p:nvPr/>
          </p:nvSpPr>
          <p:spPr>
            <a:xfrm rot="8716295">
              <a:off x="519479" y="13148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8" name="Forme libre : forme 2227">
              <a:extLst>
                <a:ext uri="{FF2B5EF4-FFF2-40B4-BE49-F238E27FC236}">
                  <a16:creationId xmlns:a16="http://schemas.microsoft.com/office/drawing/2014/main" id="{372EDAC8-341E-47F1-BA76-59AEE44BA6E9}"/>
                </a:ext>
              </a:extLst>
            </p:cNvPr>
            <p:cNvSpPr/>
            <p:nvPr/>
          </p:nvSpPr>
          <p:spPr>
            <a:xfrm rot="8716295">
              <a:off x="394576" y="11061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9" name="Forme libre : forme 2228">
              <a:extLst>
                <a:ext uri="{FF2B5EF4-FFF2-40B4-BE49-F238E27FC236}">
                  <a16:creationId xmlns:a16="http://schemas.microsoft.com/office/drawing/2014/main" id="{20061EF0-57F1-44A9-B030-EA17BF31A311}"/>
                </a:ext>
              </a:extLst>
            </p:cNvPr>
            <p:cNvSpPr/>
            <p:nvPr/>
          </p:nvSpPr>
          <p:spPr>
            <a:xfrm rot="8716295">
              <a:off x="382524" y="96739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0" name="Forme libre : forme 2229">
              <a:extLst>
                <a:ext uri="{FF2B5EF4-FFF2-40B4-BE49-F238E27FC236}">
                  <a16:creationId xmlns:a16="http://schemas.microsoft.com/office/drawing/2014/main" id="{E38221DF-66A1-4197-AEB7-CCFD55E0085E}"/>
                </a:ext>
              </a:extLst>
            </p:cNvPr>
            <p:cNvSpPr/>
            <p:nvPr/>
          </p:nvSpPr>
          <p:spPr>
            <a:xfrm rot="8716295">
              <a:off x="609657" y="135579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1" name="Forme libre : forme 2230">
              <a:extLst>
                <a:ext uri="{FF2B5EF4-FFF2-40B4-BE49-F238E27FC236}">
                  <a16:creationId xmlns:a16="http://schemas.microsoft.com/office/drawing/2014/main" id="{0E7B4474-3652-4F5C-8982-D11AF746B26A}"/>
                </a:ext>
              </a:extLst>
            </p:cNvPr>
            <p:cNvSpPr/>
            <p:nvPr/>
          </p:nvSpPr>
          <p:spPr>
            <a:xfrm rot="8716295">
              <a:off x="920812" y="97615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2" name="Forme libre : forme 2231">
              <a:extLst>
                <a:ext uri="{FF2B5EF4-FFF2-40B4-BE49-F238E27FC236}">
                  <a16:creationId xmlns:a16="http://schemas.microsoft.com/office/drawing/2014/main" id="{5C3F77C6-9DBA-4DC2-9C2B-8FF32F9AAA66}"/>
                </a:ext>
              </a:extLst>
            </p:cNvPr>
            <p:cNvSpPr/>
            <p:nvPr/>
          </p:nvSpPr>
          <p:spPr>
            <a:xfrm rot="8716295">
              <a:off x="1010204" y="100539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3" name="Forme libre : forme 2232">
              <a:extLst>
                <a:ext uri="{FF2B5EF4-FFF2-40B4-BE49-F238E27FC236}">
                  <a16:creationId xmlns:a16="http://schemas.microsoft.com/office/drawing/2014/main" id="{01433F1B-9E94-4344-95B9-E1384B85B79C}"/>
                </a:ext>
              </a:extLst>
            </p:cNvPr>
            <p:cNvSpPr/>
            <p:nvPr/>
          </p:nvSpPr>
          <p:spPr>
            <a:xfrm rot="8716295">
              <a:off x="808578" y="106469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4" name="Forme libre : forme 2233">
              <a:extLst>
                <a:ext uri="{FF2B5EF4-FFF2-40B4-BE49-F238E27FC236}">
                  <a16:creationId xmlns:a16="http://schemas.microsoft.com/office/drawing/2014/main" id="{6BC6E0A2-64E4-40E2-8DCE-26CE66D5E02C}"/>
                </a:ext>
              </a:extLst>
            </p:cNvPr>
            <p:cNvSpPr/>
            <p:nvPr/>
          </p:nvSpPr>
          <p:spPr>
            <a:xfrm rot="8716295">
              <a:off x="683676" y="85602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5" name="Forme libre : forme 2234">
              <a:extLst>
                <a:ext uri="{FF2B5EF4-FFF2-40B4-BE49-F238E27FC236}">
                  <a16:creationId xmlns:a16="http://schemas.microsoft.com/office/drawing/2014/main" id="{0ECCD552-19E9-4E97-A420-5BD98BF6782E}"/>
                </a:ext>
              </a:extLst>
            </p:cNvPr>
            <p:cNvSpPr/>
            <p:nvPr/>
          </p:nvSpPr>
          <p:spPr>
            <a:xfrm rot="8716295">
              <a:off x="898756" y="110564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6" name="Forme libre : forme 2235">
              <a:extLst>
                <a:ext uri="{FF2B5EF4-FFF2-40B4-BE49-F238E27FC236}">
                  <a16:creationId xmlns:a16="http://schemas.microsoft.com/office/drawing/2014/main" id="{116D78C7-5BD3-483D-8FD7-87DA20AE4194}"/>
                </a:ext>
              </a:extLst>
            </p:cNvPr>
            <p:cNvSpPr/>
            <p:nvPr/>
          </p:nvSpPr>
          <p:spPr>
            <a:xfrm rot="8716295">
              <a:off x="657305" y="95604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7" name="Forme libre : forme 2236">
              <a:extLst>
                <a:ext uri="{FF2B5EF4-FFF2-40B4-BE49-F238E27FC236}">
                  <a16:creationId xmlns:a16="http://schemas.microsoft.com/office/drawing/2014/main" id="{29F6D281-88E6-45CB-99A2-FB067D9F3B98}"/>
                </a:ext>
              </a:extLst>
            </p:cNvPr>
            <p:cNvSpPr/>
            <p:nvPr/>
          </p:nvSpPr>
          <p:spPr>
            <a:xfrm rot="7484129">
              <a:off x="1003687" y="129699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8" name="Forme libre : forme 2237">
              <a:extLst>
                <a:ext uri="{FF2B5EF4-FFF2-40B4-BE49-F238E27FC236}">
                  <a16:creationId xmlns:a16="http://schemas.microsoft.com/office/drawing/2014/main" id="{5FC8B8C2-4930-4090-BC67-DB393B97500E}"/>
                </a:ext>
              </a:extLst>
            </p:cNvPr>
            <p:cNvSpPr/>
            <p:nvPr/>
          </p:nvSpPr>
          <p:spPr>
            <a:xfrm rot="13089394">
              <a:off x="1108507" y="1263531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9" name="Forme libre : forme 2238">
              <a:extLst>
                <a:ext uri="{FF2B5EF4-FFF2-40B4-BE49-F238E27FC236}">
                  <a16:creationId xmlns:a16="http://schemas.microsoft.com/office/drawing/2014/main" id="{7FFA110A-60E0-4270-A16A-59427B4BD564}"/>
                </a:ext>
              </a:extLst>
            </p:cNvPr>
            <p:cNvSpPr/>
            <p:nvPr/>
          </p:nvSpPr>
          <p:spPr>
            <a:xfrm rot="8716295">
              <a:off x="1294092" y="107185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0" name="Forme libre : forme 2239">
              <a:extLst>
                <a:ext uri="{FF2B5EF4-FFF2-40B4-BE49-F238E27FC236}">
                  <a16:creationId xmlns:a16="http://schemas.microsoft.com/office/drawing/2014/main" id="{43E7722F-9E69-4C35-8403-9712C43A657D}"/>
                </a:ext>
              </a:extLst>
            </p:cNvPr>
            <p:cNvSpPr/>
            <p:nvPr/>
          </p:nvSpPr>
          <p:spPr>
            <a:xfrm rot="8716295">
              <a:off x="1242287" y="96825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1" name="Forme libre : forme 2240">
              <a:extLst>
                <a:ext uri="{FF2B5EF4-FFF2-40B4-BE49-F238E27FC236}">
                  <a16:creationId xmlns:a16="http://schemas.microsoft.com/office/drawing/2014/main" id="{41B2DF52-EC40-447D-B212-F5BA125B74F3}"/>
                </a:ext>
              </a:extLst>
            </p:cNvPr>
            <p:cNvSpPr/>
            <p:nvPr/>
          </p:nvSpPr>
          <p:spPr>
            <a:xfrm rot="8716295">
              <a:off x="999041" y="99847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2" name="Forme libre : forme 2241">
              <a:extLst>
                <a:ext uri="{FF2B5EF4-FFF2-40B4-BE49-F238E27FC236}">
                  <a16:creationId xmlns:a16="http://schemas.microsoft.com/office/drawing/2014/main" id="{7EFBB9C6-AA43-4417-B52E-28BAAA544FB3}"/>
                </a:ext>
              </a:extLst>
            </p:cNvPr>
            <p:cNvSpPr/>
            <p:nvPr/>
          </p:nvSpPr>
          <p:spPr>
            <a:xfrm rot="8716295">
              <a:off x="1176493" y="83923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3" name="Forme libre : forme 2242">
              <a:extLst>
                <a:ext uri="{FF2B5EF4-FFF2-40B4-BE49-F238E27FC236}">
                  <a16:creationId xmlns:a16="http://schemas.microsoft.com/office/drawing/2014/main" id="{4FD368D5-7016-4447-A279-0D553702CEF5}"/>
                </a:ext>
              </a:extLst>
            </p:cNvPr>
            <p:cNvSpPr/>
            <p:nvPr/>
          </p:nvSpPr>
          <p:spPr>
            <a:xfrm rot="8716295">
              <a:off x="412774" y="56424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4" name="Forme libre : forme 2243">
              <a:extLst>
                <a:ext uri="{FF2B5EF4-FFF2-40B4-BE49-F238E27FC236}">
                  <a16:creationId xmlns:a16="http://schemas.microsoft.com/office/drawing/2014/main" id="{B1F12F38-F29C-4A98-BB49-D042691F19E4}"/>
                </a:ext>
              </a:extLst>
            </p:cNvPr>
            <p:cNvSpPr/>
            <p:nvPr/>
          </p:nvSpPr>
          <p:spPr>
            <a:xfrm rot="8716295">
              <a:off x="502166" y="59348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5" name="Forme libre : forme 2244">
              <a:extLst>
                <a:ext uri="{FF2B5EF4-FFF2-40B4-BE49-F238E27FC236}">
                  <a16:creationId xmlns:a16="http://schemas.microsoft.com/office/drawing/2014/main" id="{6BA48DFB-361A-47A4-8798-4F12336B216B}"/>
                </a:ext>
              </a:extLst>
            </p:cNvPr>
            <p:cNvSpPr/>
            <p:nvPr/>
          </p:nvSpPr>
          <p:spPr>
            <a:xfrm rot="8716295">
              <a:off x="457316" y="50720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6" name="Forme libre : forme 2245">
              <a:extLst>
                <a:ext uri="{FF2B5EF4-FFF2-40B4-BE49-F238E27FC236}">
                  <a16:creationId xmlns:a16="http://schemas.microsoft.com/office/drawing/2014/main" id="{6FD8FBAD-C985-48A6-A25A-FE4C6FB98699}"/>
                </a:ext>
              </a:extLst>
            </p:cNvPr>
            <p:cNvSpPr/>
            <p:nvPr/>
          </p:nvSpPr>
          <p:spPr>
            <a:xfrm rot="8716295">
              <a:off x="300540" y="65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7" name="Forme libre : forme 2246">
              <a:extLst>
                <a:ext uri="{FF2B5EF4-FFF2-40B4-BE49-F238E27FC236}">
                  <a16:creationId xmlns:a16="http://schemas.microsoft.com/office/drawing/2014/main" id="{33EF0CB4-1296-44AE-9C21-198FBCD6E1E5}"/>
                </a:ext>
              </a:extLst>
            </p:cNvPr>
            <p:cNvSpPr/>
            <p:nvPr/>
          </p:nvSpPr>
          <p:spPr>
            <a:xfrm rot="8716295">
              <a:off x="175637" y="44411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8" name="Forme libre : forme 2247">
              <a:extLst>
                <a:ext uri="{FF2B5EF4-FFF2-40B4-BE49-F238E27FC236}">
                  <a16:creationId xmlns:a16="http://schemas.microsoft.com/office/drawing/2014/main" id="{6A2221EE-902A-4C54-9104-C294E2D36C2C}"/>
                </a:ext>
              </a:extLst>
            </p:cNvPr>
            <p:cNvSpPr/>
            <p:nvPr/>
          </p:nvSpPr>
          <p:spPr>
            <a:xfrm rot="8716295">
              <a:off x="163585" y="30533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9" name="Forme libre : forme 2248">
              <a:extLst>
                <a:ext uri="{FF2B5EF4-FFF2-40B4-BE49-F238E27FC236}">
                  <a16:creationId xmlns:a16="http://schemas.microsoft.com/office/drawing/2014/main" id="{6C6A641B-B2B7-4694-9375-AF850DEFB133}"/>
                </a:ext>
              </a:extLst>
            </p:cNvPr>
            <p:cNvSpPr/>
            <p:nvPr/>
          </p:nvSpPr>
          <p:spPr>
            <a:xfrm rot="8716295">
              <a:off x="390718" y="69374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0" name="Forme libre : forme 2249">
              <a:extLst>
                <a:ext uri="{FF2B5EF4-FFF2-40B4-BE49-F238E27FC236}">
                  <a16:creationId xmlns:a16="http://schemas.microsoft.com/office/drawing/2014/main" id="{399BD360-2FD0-4499-9E83-6E3D562F1E0B}"/>
                </a:ext>
              </a:extLst>
            </p:cNvPr>
            <p:cNvSpPr/>
            <p:nvPr/>
          </p:nvSpPr>
          <p:spPr>
            <a:xfrm rot="8716295">
              <a:off x="701873" y="31409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1" name="Forme libre : forme 2250">
              <a:extLst>
                <a:ext uri="{FF2B5EF4-FFF2-40B4-BE49-F238E27FC236}">
                  <a16:creationId xmlns:a16="http://schemas.microsoft.com/office/drawing/2014/main" id="{A6673CC7-5199-4DDD-870A-3B185B6CBD7D}"/>
                </a:ext>
              </a:extLst>
            </p:cNvPr>
            <p:cNvSpPr/>
            <p:nvPr/>
          </p:nvSpPr>
          <p:spPr>
            <a:xfrm rot="8716295">
              <a:off x="791265" y="34333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2" name="Forme libre : forme 2251">
              <a:extLst>
                <a:ext uri="{FF2B5EF4-FFF2-40B4-BE49-F238E27FC236}">
                  <a16:creationId xmlns:a16="http://schemas.microsoft.com/office/drawing/2014/main" id="{E23031FA-7B57-47D5-98AF-D9423F5F30EE}"/>
                </a:ext>
              </a:extLst>
            </p:cNvPr>
            <p:cNvSpPr/>
            <p:nvPr/>
          </p:nvSpPr>
          <p:spPr>
            <a:xfrm rot="8716295">
              <a:off x="589639" y="40263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" name="Forme libre : forme 2252">
              <a:extLst>
                <a:ext uri="{FF2B5EF4-FFF2-40B4-BE49-F238E27FC236}">
                  <a16:creationId xmlns:a16="http://schemas.microsoft.com/office/drawing/2014/main" id="{18D159E9-838E-47A3-AE83-A4990238B07C}"/>
                </a:ext>
              </a:extLst>
            </p:cNvPr>
            <p:cNvSpPr/>
            <p:nvPr/>
          </p:nvSpPr>
          <p:spPr>
            <a:xfrm rot="8716295">
              <a:off x="464737" y="19396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" name="Forme libre : forme 2253">
              <a:extLst>
                <a:ext uri="{FF2B5EF4-FFF2-40B4-BE49-F238E27FC236}">
                  <a16:creationId xmlns:a16="http://schemas.microsoft.com/office/drawing/2014/main" id="{45FFA073-EC3B-4660-8F03-6BA94AD6386B}"/>
                </a:ext>
              </a:extLst>
            </p:cNvPr>
            <p:cNvSpPr/>
            <p:nvPr/>
          </p:nvSpPr>
          <p:spPr>
            <a:xfrm rot="8716295">
              <a:off x="679817" y="44358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" name="Forme libre : forme 2254">
              <a:extLst>
                <a:ext uri="{FF2B5EF4-FFF2-40B4-BE49-F238E27FC236}">
                  <a16:creationId xmlns:a16="http://schemas.microsoft.com/office/drawing/2014/main" id="{DC04F724-6125-4E5E-BCC5-96720655541A}"/>
                </a:ext>
              </a:extLst>
            </p:cNvPr>
            <p:cNvSpPr/>
            <p:nvPr/>
          </p:nvSpPr>
          <p:spPr>
            <a:xfrm rot="8716295">
              <a:off x="438366" y="29398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6" name="Forme libre : forme 2255">
              <a:extLst>
                <a:ext uri="{FF2B5EF4-FFF2-40B4-BE49-F238E27FC236}">
                  <a16:creationId xmlns:a16="http://schemas.microsoft.com/office/drawing/2014/main" id="{4E07974B-5D4E-45AC-8AC5-4CEC077D2D4A}"/>
                </a:ext>
              </a:extLst>
            </p:cNvPr>
            <p:cNvSpPr/>
            <p:nvPr/>
          </p:nvSpPr>
          <p:spPr>
            <a:xfrm rot="7484129">
              <a:off x="784748" y="63493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7" name="Forme libre : forme 2256">
              <a:extLst>
                <a:ext uri="{FF2B5EF4-FFF2-40B4-BE49-F238E27FC236}">
                  <a16:creationId xmlns:a16="http://schemas.microsoft.com/office/drawing/2014/main" id="{803ECC03-3567-472A-8050-72BD0AD2D44D}"/>
                </a:ext>
              </a:extLst>
            </p:cNvPr>
            <p:cNvSpPr/>
            <p:nvPr/>
          </p:nvSpPr>
          <p:spPr>
            <a:xfrm rot="13089394">
              <a:off x="889568" y="60147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8" name="Forme libre : forme 2257">
              <a:extLst>
                <a:ext uri="{FF2B5EF4-FFF2-40B4-BE49-F238E27FC236}">
                  <a16:creationId xmlns:a16="http://schemas.microsoft.com/office/drawing/2014/main" id="{B771EDEB-2CF0-4352-878D-B2990D9B9504}"/>
                </a:ext>
              </a:extLst>
            </p:cNvPr>
            <p:cNvSpPr/>
            <p:nvPr/>
          </p:nvSpPr>
          <p:spPr>
            <a:xfrm rot="8716295">
              <a:off x="1075153" y="40979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9" name="Forme libre : forme 2258">
              <a:extLst>
                <a:ext uri="{FF2B5EF4-FFF2-40B4-BE49-F238E27FC236}">
                  <a16:creationId xmlns:a16="http://schemas.microsoft.com/office/drawing/2014/main" id="{5143866B-E59F-41E8-AA95-A590D76AAA7E}"/>
                </a:ext>
              </a:extLst>
            </p:cNvPr>
            <p:cNvSpPr/>
            <p:nvPr/>
          </p:nvSpPr>
          <p:spPr>
            <a:xfrm rot="8716295">
              <a:off x="1023348" y="30619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0" name="Forme libre : forme 2259">
              <a:extLst>
                <a:ext uri="{FF2B5EF4-FFF2-40B4-BE49-F238E27FC236}">
                  <a16:creationId xmlns:a16="http://schemas.microsoft.com/office/drawing/2014/main" id="{0E94EEA0-8274-432D-BB6F-9286004332CA}"/>
                </a:ext>
              </a:extLst>
            </p:cNvPr>
            <p:cNvSpPr/>
            <p:nvPr/>
          </p:nvSpPr>
          <p:spPr>
            <a:xfrm rot="8716295">
              <a:off x="780102" y="336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1" name="Forme libre : forme 2260">
              <a:extLst>
                <a:ext uri="{FF2B5EF4-FFF2-40B4-BE49-F238E27FC236}">
                  <a16:creationId xmlns:a16="http://schemas.microsoft.com/office/drawing/2014/main" id="{A6D5A634-8C59-40B1-8D8F-9E7C17280A50}"/>
                </a:ext>
              </a:extLst>
            </p:cNvPr>
            <p:cNvSpPr/>
            <p:nvPr/>
          </p:nvSpPr>
          <p:spPr>
            <a:xfrm rot="8716295">
              <a:off x="957554" y="17717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2" name="Forme libre : forme 2261">
              <a:extLst>
                <a:ext uri="{FF2B5EF4-FFF2-40B4-BE49-F238E27FC236}">
                  <a16:creationId xmlns:a16="http://schemas.microsoft.com/office/drawing/2014/main" id="{AEA08EC4-CD84-4A24-ACC9-A6661B311E57}"/>
                </a:ext>
              </a:extLst>
            </p:cNvPr>
            <p:cNvSpPr/>
            <p:nvPr/>
          </p:nvSpPr>
          <p:spPr>
            <a:xfrm rot="8716295">
              <a:off x="202348" y="-57106"/>
              <a:ext cx="142167" cy="186494"/>
            </a:xfrm>
            <a:custGeom>
              <a:avLst/>
              <a:gdLst>
                <a:gd name="connsiteX0" fmla="*/ 142167 w 142167"/>
                <a:gd name="connsiteY0" fmla="*/ 186494 h 186494"/>
                <a:gd name="connsiteX1" fmla="*/ 81108 w 142167"/>
                <a:gd name="connsiteY1" fmla="*/ 144170 h 186494"/>
                <a:gd name="connsiteX2" fmla="*/ 81108 w 142167"/>
                <a:gd name="connsiteY2" fmla="*/ 69717 h 186494"/>
                <a:gd name="connsiteX3" fmla="*/ 81108 w 142167"/>
                <a:gd name="connsiteY3" fmla="*/ 65615 h 186494"/>
                <a:gd name="connsiteX4" fmla="*/ 60603 w 142167"/>
                <a:gd name="connsiteY4" fmla="*/ 50123 h 186494"/>
                <a:gd name="connsiteX5" fmla="*/ 0 w 142167"/>
                <a:gd name="connsiteY5" fmla="*/ 50123 h 186494"/>
                <a:gd name="connsiteX6" fmla="*/ 0 w 142167"/>
                <a:gd name="connsiteY6" fmla="*/ 0 h 186494"/>
                <a:gd name="connsiteX7" fmla="*/ 85209 w 142167"/>
                <a:gd name="connsiteY7" fmla="*/ 0 h 186494"/>
                <a:gd name="connsiteX8" fmla="*/ 142167 w 142167"/>
                <a:gd name="connsiteY8" fmla="*/ 50123 h 186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86494">
                  <a:moveTo>
                    <a:pt x="142167" y="186494"/>
                  </a:moveTo>
                  <a:lnTo>
                    <a:pt x="81108" y="144170"/>
                  </a:lnTo>
                  <a:lnTo>
                    <a:pt x="81108" y="69717"/>
                  </a:lnTo>
                  <a:cubicBezTo>
                    <a:pt x="81108" y="68349"/>
                    <a:pt x="81108" y="66983"/>
                    <a:pt x="81108" y="65615"/>
                  </a:cubicBezTo>
                  <a:cubicBezTo>
                    <a:pt x="79741" y="55591"/>
                    <a:pt x="70628" y="48756"/>
                    <a:pt x="60603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3" name="Forme libre : forme 2262">
              <a:extLst>
                <a:ext uri="{FF2B5EF4-FFF2-40B4-BE49-F238E27FC236}">
                  <a16:creationId xmlns:a16="http://schemas.microsoft.com/office/drawing/2014/main" id="{60AFC6E6-CF38-4DF0-A5E2-CF7B4BD947CC}"/>
                </a:ext>
              </a:extLst>
            </p:cNvPr>
            <p:cNvSpPr/>
            <p:nvPr/>
          </p:nvSpPr>
          <p:spPr>
            <a:xfrm rot="8716295">
              <a:off x="298766" y="-5395"/>
              <a:ext cx="260639" cy="180054"/>
            </a:xfrm>
            <a:custGeom>
              <a:avLst/>
              <a:gdLst>
                <a:gd name="connsiteX0" fmla="*/ 111638 w 260639"/>
                <a:gd name="connsiteY0" fmla="*/ 180054 h 180054"/>
                <a:gd name="connsiteX1" fmla="*/ 51490 w 260639"/>
                <a:gd name="connsiteY1" fmla="*/ 138362 h 180054"/>
                <a:gd name="connsiteX2" fmla="*/ 51490 w 260639"/>
                <a:gd name="connsiteY2" fmla="*/ 45624 h 180054"/>
                <a:gd name="connsiteX3" fmla="*/ 0 w 260639"/>
                <a:gd name="connsiteY3" fmla="*/ 45624 h 180054"/>
                <a:gd name="connsiteX4" fmla="*/ 0 w 260639"/>
                <a:gd name="connsiteY4" fmla="*/ 1425 h 180054"/>
                <a:gd name="connsiteX5" fmla="*/ 104802 w 260639"/>
                <a:gd name="connsiteY5" fmla="*/ 1425 h 180054"/>
                <a:gd name="connsiteX6" fmla="*/ 104802 w 260639"/>
                <a:gd name="connsiteY6" fmla="*/ 75242 h 180054"/>
                <a:gd name="connsiteX7" fmla="*/ 106169 w 260639"/>
                <a:gd name="connsiteY7" fmla="*/ 75242 h 180054"/>
                <a:gd name="connsiteX8" fmla="*/ 154014 w 260639"/>
                <a:gd name="connsiteY8" fmla="*/ 5981 h 180054"/>
                <a:gd name="connsiteX9" fmla="*/ 185455 w 260639"/>
                <a:gd name="connsiteY9" fmla="*/ 57 h 180054"/>
                <a:gd name="connsiteX10" fmla="*/ 260639 w 260639"/>
                <a:gd name="connsiteY10" fmla="*/ 88456 h 180054"/>
                <a:gd name="connsiteX11" fmla="*/ 260639 w 260639"/>
                <a:gd name="connsiteY11" fmla="*/ 94380 h 180054"/>
                <a:gd name="connsiteX12" fmla="*/ 198669 w 260639"/>
                <a:gd name="connsiteY12" fmla="*/ 98025 h 180054"/>
                <a:gd name="connsiteX13" fmla="*/ 198669 w 260639"/>
                <a:gd name="connsiteY13" fmla="*/ 81621 h 180054"/>
                <a:gd name="connsiteX14" fmla="*/ 164950 w 260639"/>
                <a:gd name="connsiteY14" fmla="*/ 40156 h 180054"/>
                <a:gd name="connsiteX15" fmla="*/ 111638 w 260639"/>
                <a:gd name="connsiteY15" fmla="*/ 127643 h 180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0639" h="180054">
                  <a:moveTo>
                    <a:pt x="111638" y="180054"/>
                  </a:moveTo>
                  <a:lnTo>
                    <a:pt x="51490" y="138362"/>
                  </a:ln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4" name="Forme libre : forme 2263">
              <a:extLst>
                <a:ext uri="{FF2B5EF4-FFF2-40B4-BE49-F238E27FC236}">
                  <a16:creationId xmlns:a16="http://schemas.microsoft.com/office/drawing/2014/main" id="{F99E11F1-879E-43C0-A1F2-522A2B520054}"/>
                </a:ext>
              </a:extLst>
            </p:cNvPr>
            <p:cNvSpPr/>
            <p:nvPr/>
          </p:nvSpPr>
          <p:spPr>
            <a:xfrm rot="8716295">
              <a:off x="276903" y="-12823"/>
              <a:ext cx="36272" cy="27982"/>
            </a:xfrm>
            <a:custGeom>
              <a:avLst/>
              <a:gdLst>
                <a:gd name="connsiteX0" fmla="*/ 36272 w 36272"/>
                <a:gd name="connsiteY0" fmla="*/ 27982 h 27982"/>
                <a:gd name="connsiteX1" fmla="*/ 0 w 36272"/>
                <a:gd name="connsiteY1" fmla="*/ 2840 h 27982"/>
                <a:gd name="connsiteX2" fmla="*/ 9543 w 36272"/>
                <a:gd name="connsiteY2" fmla="*/ 0 h 27982"/>
                <a:gd name="connsiteX3" fmla="*/ 31871 w 36272"/>
                <a:gd name="connsiteY3" fmla="*/ 11392 h 27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272" h="27982">
                  <a:moveTo>
                    <a:pt x="36272" y="27982"/>
                  </a:moveTo>
                  <a:lnTo>
                    <a:pt x="0" y="2840"/>
                  </a:lnTo>
                  <a:lnTo>
                    <a:pt x="9543" y="0"/>
                  </a:lnTo>
                  <a:cubicBezTo>
                    <a:pt x="20479" y="0"/>
                    <a:pt x="27542" y="4784"/>
                    <a:pt x="31871" y="113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5" name="Forme libre : forme 2264">
              <a:extLst>
                <a:ext uri="{FF2B5EF4-FFF2-40B4-BE49-F238E27FC236}">
                  <a16:creationId xmlns:a16="http://schemas.microsoft.com/office/drawing/2014/main" id="{2E8D6347-E8C4-45B5-8A1B-45E97581E04C}"/>
                </a:ext>
              </a:extLst>
            </p:cNvPr>
            <p:cNvSpPr/>
            <p:nvPr/>
          </p:nvSpPr>
          <p:spPr>
            <a:xfrm rot="8716295">
              <a:off x="74640" y="-9665"/>
              <a:ext cx="58068" cy="54772"/>
            </a:xfrm>
            <a:custGeom>
              <a:avLst/>
              <a:gdLst>
                <a:gd name="connsiteX0" fmla="*/ 37436 w 58068"/>
                <a:gd name="connsiteY0" fmla="*/ 54772 h 54772"/>
                <a:gd name="connsiteX1" fmla="*/ 0 w 58068"/>
                <a:gd name="connsiteY1" fmla="*/ 28823 h 54772"/>
                <a:gd name="connsiteX2" fmla="*/ 8515 w 58068"/>
                <a:gd name="connsiteY2" fmla="*/ 8658 h 54772"/>
                <a:gd name="connsiteX3" fmla="*/ 29020 w 58068"/>
                <a:gd name="connsiteY3" fmla="*/ 0 h 54772"/>
                <a:gd name="connsiteX4" fmla="*/ 49525 w 58068"/>
                <a:gd name="connsiteY4" fmla="*/ 8658 h 54772"/>
                <a:gd name="connsiteX5" fmla="*/ 49525 w 58068"/>
                <a:gd name="connsiteY5" fmla="*/ 49668 h 5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068" h="54772">
                  <a:moveTo>
                    <a:pt x="37436" y="54772"/>
                  </a:moveTo>
                  <a:lnTo>
                    <a:pt x="0" y="28823"/>
                  </a:lnTo>
                  <a:lnTo>
                    <a:pt x="8515" y="8658"/>
                  </a:lnTo>
                  <a:cubicBezTo>
                    <a:pt x="13983" y="3190"/>
                    <a:pt x="21273" y="0"/>
                    <a:pt x="29020" y="0"/>
                  </a:cubicBezTo>
                  <a:cubicBezTo>
                    <a:pt x="36766" y="0"/>
                    <a:pt x="44057" y="3190"/>
                    <a:pt x="49525" y="8658"/>
                  </a:cubicBezTo>
                  <a:cubicBezTo>
                    <a:pt x="60916" y="19594"/>
                    <a:pt x="60916" y="38276"/>
                    <a:pt x="49525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6" name="Forme libre : forme 2265">
              <a:extLst>
                <a:ext uri="{FF2B5EF4-FFF2-40B4-BE49-F238E27FC236}">
                  <a16:creationId xmlns:a16="http://schemas.microsoft.com/office/drawing/2014/main" id="{BCA89D21-0065-4D16-A3A0-E2C378DC3A92}"/>
                </a:ext>
              </a:extLst>
            </p:cNvPr>
            <p:cNvSpPr/>
            <p:nvPr/>
          </p:nvSpPr>
          <p:spPr>
            <a:xfrm rot="8716295">
              <a:off x="13802" y="-10406"/>
              <a:ext cx="30027" cy="20814"/>
            </a:xfrm>
            <a:custGeom>
              <a:avLst/>
              <a:gdLst>
                <a:gd name="connsiteX0" fmla="*/ 30027 w 30027"/>
                <a:gd name="connsiteY0" fmla="*/ 20814 h 20814"/>
                <a:gd name="connsiteX1" fmla="*/ 0 w 30027"/>
                <a:gd name="connsiteY1" fmla="*/ 0 h 20814"/>
                <a:gd name="connsiteX2" fmla="*/ 30027 w 30027"/>
                <a:gd name="connsiteY2" fmla="*/ 0 h 20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027" h="20814">
                  <a:moveTo>
                    <a:pt x="30027" y="20814"/>
                  </a:moveTo>
                  <a:lnTo>
                    <a:pt x="0" y="0"/>
                  </a:lnTo>
                  <a:lnTo>
                    <a:pt x="3002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7" name="Forme libre : forme 2266">
              <a:extLst>
                <a:ext uri="{FF2B5EF4-FFF2-40B4-BE49-F238E27FC236}">
                  <a16:creationId xmlns:a16="http://schemas.microsoft.com/office/drawing/2014/main" id="{F71B2498-3B3D-45FC-A329-91E00C9C5967}"/>
                </a:ext>
              </a:extLst>
            </p:cNvPr>
            <p:cNvSpPr/>
            <p:nvPr/>
          </p:nvSpPr>
          <p:spPr>
            <a:xfrm rot="8716295">
              <a:off x="168048" y="3032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8" name="Forme libre : forme 2267">
              <a:extLst>
                <a:ext uri="{FF2B5EF4-FFF2-40B4-BE49-F238E27FC236}">
                  <a16:creationId xmlns:a16="http://schemas.microsoft.com/office/drawing/2014/main" id="{3CF8E69B-B55C-41E9-B911-1981925CCEB5}"/>
                </a:ext>
              </a:extLst>
            </p:cNvPr>
            <p:cNvSpPr/>
            <p:nvPr/>
          </p:nvSpPr>
          <p:spPr>
            <a:xfrm rot="7484129">
              <a:off x="562078" y="-284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9" name="Forme libre : forme 2268">
              <a:extLst>
                <a:ext uri="{FF2B5EF4-FFF2-40B4-BE49-F238E27FC236}">
                  <a16:creationId xmlns:a16="http://schemas.microsoft.com/office/drawing/2014/main" id="{4C71276B-40A5-4E8A-A73A-B1F9AA0F0D51}"/>
                </a:ext>
              </a:extLst>
            </p:cNvPr>
            <p:cNvSpPr/>
            <p:nvPr/>
          </p:nvSpPr>
          <p:spPr>
            <a:xfrm rot="13089394">
              <a:off x="775514" y="-27038"/>
              <a:ext cx="149688" cy="328219"/>
            </a:xfrm>
            <a:custGeom>
              <a:avLst/>
              <a:gdLst>
                <a:gd name="connsiteX0" fmla="*/ 149688 w 149688"/>
                <a:gd name="connsiteY0" fmla="*/ 279622 h 328219"/>
                <a:gd name="connsiteX1" fmla="*/ 87835 w 149688"/>
                <a:gd name="connsiteY1" fmla="*/ 328219 h 328219"/>
                <a:gd name="connsiteX2" fmla="*/ 54765 w 149688"/>
                <a:gd name="connsiteY2" fmla="*/ 322521 h 328219"/>
                <a:gd name="connsiteX3" fmla="*/ 23727 w 149688"/>
                <a:gd name="connsiteY3" fmla="*/ 301277 h 328219"/>
                <a:gd name="connsiteX4" fmla="*/ 0 w 149688"/>
                <a:gd name="connsiteY4" fmla="*/ 206369 h 328219"/>
                <a:gd name="connsiteX5" fmla="*/ 0 w 149688"/>
                <a:gd name="connsiteY5" fmla="*/ 38074 h 328219"/>
                <a:gd name="connsiteX6" fmla="*/ 73388 w 149688"/>
                <a:gd name="connsiteY6" fmla="*/ 0 h 328219"/>
                <a:gd name="connsiteX7" fmla="*/ 74492 w 149688"/>
                <a:gd name="connsiteY7" fmla="*/ 153950 h 328219"/>
                <a:gd name="connsiteX8" fmla="*/ 87734 w 149688"/>
                <a:gd name="connsiteY8" fmla="*/ 245547 h 328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9688" h="328219">
                  <a:moveTo>
                    <a:pt x="149688" y="279622"/>
                  </a:moveTo>
                  <a:lnTo>
                    <a:pt x="87835" y="328219"/>
                  </a:lnTo>
                  <a:lnTo>
                    <a:pt x="54765" y="322521"/>
                  </a:lnTo>
                  <a:cubicBezTo>
                    <a:pt x="43178" y="317693"/>
                    <a:pt x="32555" y="310382"/>
                    <a:pt x="23727" y="301277"/>
                  </a:cubicBezTo>
                  <a:cubicBezTo>
                    <a:pt x="4966" y="283069"/>
                    <a:pt x="0" y="251616"/>
                    <a:pt x="0" y="206369"/>
                  </a:cubicBez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2836" y="184850"/>
                    <a:pt x="77802" y="216302"/>
                    <a:pt x="87734" y="2455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0" name="Forme libre : forme 2269">
              <a:extLst>
                <a:ext uri="{FF2B5EF4-FFF2-40B4-BE49-F238E27FC236}">
                  <a16:creationId xmlns:a16="http://schemas.microsoft.com/office/drawing/2014/main" id="{989F33F8-2CEA-46E0-977C-BF10A5F6EC24}"/>
                </a:ext>
              </a:extLst>
            </p:cNvPr>
            <p:cNvSpPr/>
            <p:nvPr/>
          </p:nvSpPr>
          <p:spPr>
            <a:xfrm rot="8716295">
              <a:off x="5027149" y="202701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1" name="Forme libre : forme 2270">
              <a:extLst>
                <a:ext uri="{FF2B5EF4-FFF2-40B4-BE49-F238E27FC236}">
                  <a16:creationId xmlns:a16="http://schemas.microsoft.com/office/drawing/2014/main" id="{9811A813-1EE2-49DA-9483-7786C91105E8}"/>
                </a:ext>
              </a:extLst>
            </p:cNvPr>
            <p:cNvSpPr/>
            <p:nvPr/>
          </p:nvSpPr>
          <p:spPr>
            <a:xfrm rot="8716295">
              <a:off x="5116541" y="205625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2" name="Forme libre : forme 2271">
              <a:extLst>
                <a:ext uri="{FF2B5EF4-FFF2-40B4-BE49-F238E27FC236}">
                  <a16:creationId xmlns:a16="http://schemas.microsoft.com/office/drawing/2014/main" id="{8FC8FB61-C549-4F81-9375-A1D7E59B1E17}"/>
                </a:ext>
              </a:extLst>
            </p:cNvPr>
            <p:cNvSpPr/>
            <p:nvPr/>
          </p:nvSpPr>
          <p:spPr>
            <a:xfrm rot="8716295">
              <a:off x="5071691" y="196997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3" name="Forme libre : forme 2272">
              <a:extLst>
                <a:ext uri="{FF2B5EF4-FFF2-40B4-BE49-F238E27FC236}">
                  <a16:creationId xmlns:a16="http://schemas.microsoft.com/office/drawing/2014/main" id="{0CFFA3A9-B086-4D44-B5C2-B82670FF13BF}"/>
                </a:ext>
              </a:extLst>
            </p:cNvPr>
            <p:cNvSpPr/>
            <p:nvPr/>
          </p:nvSpPr>
          <p:spPr>
            <a:xfrm rot="8716295">
              <a:off x="4914915" y="211555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4" name="Forme libre : forme 2273">
              <a:extLst>
                <a:ext uri="{FF2B5EF4-FFF2-40B4-BE49-F238E27FC236}">
                  <a16:creationId xmlns:a16="http://schemas.microsoft.com/office/drawing/2014/main" id="{233AD9D8-2DDF-4DFC-A97A-554BCD15069B}"/>
                </a:ext>
              </a:extLst>
            </p:cNvPr>
            <p:cNvSpPr/>
            <p:nvPr/>
          </p:nvSpPr>
          <p:spPr>
            <a:xfrm rot="8716295">
              <a:off x="4790012" y="190688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5" name="Forme libre : forme 2274">
              <a:extLst>
                <a:ext uri="{FF2B5EF4-FFF2-40B4-BE49-F238E27FC236}">
                  <a16:creationId xmlns:a16="http://schemas.microsoft.com/office/drawing/2014/main" id="{F30C5186-83A8-436D-A1B1-82D8B26F890D}"/>
                </a:ext>
              </a:extLst>
            </p:cNvPr>
            <p:cNvSpPr/>
            <p:nvPr/>
          </p:nvSpPr>
          <p:spPr>
            <a:xfrm rot="8716295">
              <a:off x="4777960" y="176810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6" name="Forme libre : forme 2275">
              <a:extLst>
                <a:ext uri="{FF2B5EF4-FFF2-40B4-BE49-F238E27FC236}">
                  <a16:creationId xmlns:a16="http://schemas.microsoft.com/office/drawing/2014/main" id="{A0377747-04B1-4283-950B-CD843F97EFB6}"/>
                </a:ext>
              </a:extLst>
            </p:cNvPr>
            <p:cNvSpPr/>
            <p:nvPr/>
          </p:nvSpPr>
          <p:spPr>
            <a:xfrm rot="8716295">
              <a:off x="5005093" y="215651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7" name="Forme libre : forme 2276">
              <a:extLst>
                <a:ext uri="{FF2B5EF4-FFF2-40B4-BE49-F238E27FC236}">
                  <a16:creationId xmlns:a16="http://schemas.microsoft.com/office/drawing/2014/main" id="{3571DCD9-8E3F-48D7-BBF0-29E0A04E1105}"/>
                </a:ext>
              </a:extLst>
            </p:cNvPr>
            <p:cNvSpPr/>
            <p:nvPr/>
          </p:nvSpPr>
          <p:spPr>
            <a:xfrm rot="8716295">
              <a:off x="5316248" y="177686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8" name="Forme libre : forme 2277">
              <a:extLst>
                <a:ext uri="{FF2B5EF4-FFF2-40B4-BE49-F238E27FC236}">
                  <a16:creationId xmlns:a16="http://schemas.microsoft.com/office/drawing/2014/main" id="{B5194E53-4203-440A-97AE-D778552CB387}"/>
                </a:ext>
              </a:extLst>
            </p:cNvPr>
            <p:cNvSpPr/>
            <p:nvPr/>
          </p:nvSpPr>
          <p:spPr>
            <a:xfrm rot="8716295">
              <a:off x="5405640" y="180610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9" name="Forme libre : forme 2278">
              <a:extLst>
                <a:ext uri="{FF2B5EF4-FFF2-40B4-BE49-F238E27FC236}">
                  <a16:creationId xmlns:a16="http://schemas.microsoft.com/office/drawing/2014/main" id="{DAF19CC7-74AA-4704-A1D2-062102FB21F8}"/>
                </a:ext>
              </a:extLst>
            </p:cNvPr>
            <p:cNvSpPr/>
            <p:nvPr/>
          </p:nvSpPr>
          <p:spPr>
            <a:xfrm rot="8716295">
              <a:off x="5204014" y="186540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0" name="Forme libre : forme 2279">
              <a:extLst>
                <a:ext uri="{FF2B5EF4-FFF2-40B4-BE49-F238E27FC236}">
                  <a16:creationId xmlns:a16="http://schemas.microsoft.com/office/drawing/2014/main" id="{25EC3E6E-10D1-4116-AA5A-C57DF5107B67}"/>
                </a:ext>
              </a:extLst>
            </p:cNvPr>
            <p:cNvSpPr/>
            <p:nvPr/>
          </p:nvSpPr>
          <p:spPr>
            <a:xfrm rot="8716295">
              <a:off x="5079112" y="165673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1" name="Forme libre : forme 2280">
              <a:extLst>
                <a:ext uri="{FF2B5EF4-FFF2-40B4-BE49-F238E27FC236}">
                  <a16:creationId xmlns:a16="http://schemas.microsoft.com/office/drawing/2014/main" id="{C9FA81BF-DE28-4428-8ED6-97559BBCCD8C}"/>
                </a:ext>
              </a:extLst>
            </p:cNvPr>
            <p:cNvSpPr/>
            <p:nvPr/>
          </p:nvSpPr>
          <p:spPr>
            <a:xfrm rot="8716295">
              <a:off x="5294192" y="190635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2" name="Forme libre : forme 2281">
              <a:extLst>
                <a:ext uri="{FF2B5EF4-FFF2-40B4-BE49-F238E27FC236}">
                  <a16:creationId xmlns:a16="http://schemas.microsoft.com/office/drawing/2014/main" id="{7CBE3143-36E0-46F6-A7F9-68442F5449A1}"/>
                </a:ext>
              </a:extLst>
            </p:cNvPr>
            <p:cNvSpPr/>
            <p:nvPr/>
          </p:nvSpPr>
          <p:spPr>
            <a:xfrm rot="8716295">
              <a:off x="5052741" y="175675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3" name="Forme libre : forme 2282">
              <a:extLst>
                <a:ext uri="{FF2B5EF4-FFF2-40B4-BE49-F238E27FC236}">
                  <a16:creationId xmlns:a16="http://schemas.microsoft.com/office/drawing/2014/main" id="{6D272255-56C7-4DCB-8E2D-FCB1C2CD9031}"/>
                </a:ext>
              </a:extLst>
            </p:cNvPr>
            <p:cNvSpPr/>
            <p:nvPr/>
          </p:nvSpPr>
          <p:spPr>
            <a:xfrm rot="7484129">
              <a:off x="5399123" y="209771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4" name="Forme libre : forme 2283">
              <a:extLst>
                <a:ext uri="{FF2B5EF4-FFF2-40B4-BE49-F238E27FC236}">
                  <a16:creationId xmlns:a16="http://schemas.microsoft.com/office/drawing/2014/main" id="{4FB405A8-78D2-42A0-AA73-3F8891BBCD16}"/>
                </a:ext>
              </a:extLst>
            </p:cNvPr>
            <p:cNvSpPr/>
            <p:nvPr/>
          </p:nvSpPr>
          <p:spPr>
            <a:xfrm rot="13089394">
              <a:off x="5503943" y="206424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5" name="Forme libre : forme 2284">
              <a:extLst>
                <a:ext uri="{FF2B5EF4-FFF2-40B4-BE49-F238E27FC236}">
                  <a16:creationId xmlns:a16="http://schemas.microsoft.com/office/drawing/2014/main" id="{5D1227F4-9CCA-498B-B4A8-3FC0F584569C}"/>
                </a:ext>
              </a:extLst>
            </p:cNvPr>
            <p:cNvSpPr/>
            <p:nvPr/>
          </p:nvSpPr>
          <p:spPr>
            <a:xfrm rot="8716295">
              <a:off x="5689528" y="187256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6" name="Forme libre : forme 2285">
              <a:extLst>
                <a:ext uri="{FF2B5EF4-FFF2-40B4-BE49-F238E27FC236}">
                  <a16:creationId xmlns:a16="http://schemas.microsoft.com/office/drawing/2014/main" id="{C59C685B-27AB-40A0-A906-985CA6213EBC}"/>
                </a:ext>
              </a:extLst>
            </p:cNvPr>
            <p:cNvSpPr/>
            <p:nvPr/>
          </p:nvSpPr>
          <p:spPr>
            <a:xfrm rot="8716295">
              <a:off x="5637723" y="176897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7" name="Forme libre : forme 2286">
              <a:extLst>
                <a:ext uri="{FF2B5EF4-FFF2-40B4-BE49-F238E27FC236}">
                  <a16:creationId xmlns:a16="http://schemas.microsoft.com/office/drawing/2014/main" id="{8DB70848-D82B-4310-9BBA-A9459B171C10}"/>
                </a:ext>
              </a:extLst>
            </p:cNvPr>
            <p:cNvSpPr/>
            <p:nvPr/>
          </p:nvSpPr>
          <p:spPr>
            <a:xfrm rot="8716295">
              <a:off x="5394477" y="179919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8" name="Forme libre : forme 2287">
              <a:extLst>
                <a:ext uri="{FF2B5EF4-FFF2-40B4-BE49-F238E27FC236}">
                  <a16:creationId xmlns:a16="http://schemas.microsoft.com/office/drawing/2014/main" id="{C5272E14-DCC6-4573-8D08-FD212965F221}"/>
                </a:ext>
              </a:extLst>
            </p:cNvPr>
            <p:cNvSpPr/>
            <p:nvPr/>
          </p:nvSpPr>
          <p:spPr>
            <a:xfrm rot="8716295">
              <a:off x="5571929" y="163994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9" name="Forme libre : forme 2288">
              <a:extLst>
                <a:ext uri="{FF2B5EF4-FFF2-40B4-BE49-F238E27FC236}">
                  <a16:creationId xmlns:a16="http://schemas.microsoft.com/office/drawing/2014/main" id="{A350DCBD-0FDA-496A-BBBE-BB7098DAD44D}"/>
                </a:ext>
              </a:extLst>
            </p:cNvPr>
            <p:cNvSpPr/>
            <p:nvPr/>
          </p:nvSpPr>
          <p:spPr>
            <a:xfrm rot="8716295">
              <a:off x="5250316" y="268671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0" name="Forme libre : forme 2289">
              <a:extLst>
                <a:ext uri="{FF2B5EF4-FFF2-40B4-BE49-F238E27FC236}">
                  <a16:creationId xmlns:a16="http://schemas.microsoft.com/office/drawing/2014/main" id="{424249A1-386F-413D-A213-ACEDD63BDA25}"/>
                </a:ext>
              </a:extLst>
            </p:cNvPr>
            <p:cNvSpPr/>
            <p:nvPr/>
          </p:nvSpPr>
          <p:spPr>
            <a:xfrm rot="8716295">
              <a:off x="5339708" y="271595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1" name="Forme libre : forme 2290">
              <a:extLst>
                <a:ext uri="{FF2B5EF4-FFF2-40B4-BE49-F238E27FC236}">
                  <a16:creationId xmlns:a16="http://schemas.microsoft.com/office/drawing/2014/main" id="{ECDCBBB4-5207-4603-B3A2-EE99E034021A}"/>
                </a:ext>
              </a:extLst>
            </p:cNvPr>
            <p:cNvSpPr/>
            <p:nvPr/>
          </p:nvSpPr>
          <p:spPr>
            <a:xfrm rot="8716295">
              <a:off x="5294858" y="262967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2" name="Forme libre : forme 2291">
              <a:extLst>
                <a:ext uri="{FF2B5EF4-FFF2-40B4-BE49-F238E27FC236}">
                  <a16:creationId xmlns:a16="http://schemas.microsoft.com/office/drawing/2014/main" id="{586B3E24-B064-4091-9B72-D089A71B8329}"/>
                </a:ext>
              </a:extLst>
            </p:cNvPr>
            <p:cNvSpPr/>
            <p:nvPr/>
          </p:nvSpPr>
          <p:spPr>
            <a:xfrm rot="8716295">
              <a:off x="5138082" y="277525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3" name="Forme libre : forme 2292">
              <a:extLst>
                <a:ext uri="{FF2B5EF4-FFF2-40B4-BE49-F238E27FC236}">
                  <a16:creationId xmlns:a16="http://schemas.microsoft.com/office/drawing/2014/main" id="{0B8199E1-B2FB-471F-BB74-205302CD4EEC}"/>
                </a:ext>
              </a:extLst>
            </p:cNvPr>
            <p:cNvSpPr/>
            <p:nvPr/>
          </p:nvSpPr>
          <p:spPr>
            <a:xfrm rot="8716295">
              <a:off x="5013179" y="256658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4" name="Forme libre : forme 2293">
              <a:extLst>
                <a:ext uri="{FF2B5EF4-FFF2-40B4-BE49-F238E27FC236}">
                  <a16:creationId xmlns:a16="http://schemas.microsoft.com/office/drawing/2014/main" id="{2FB2D688-FEA9-44F3-ABA3-DB1429B0A2C4}"/>
                </a:ext>
              </a:extLst>
            </p:cNvPr>
            <p:cNvSpPr/>
            <p:nvPr/>
          </p:nvSpPr>
          <p:spPr>
            <a:xfrm rot="8716295">
              <a:off x="5001127" y="242780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5" name="Forme libre : forme 2294">
              <a:extLst>
                <a:ext uri="{FF2B5EF4-FFF2-40B4-BE49-F238E27FC236}">
                  <a16:creationId xmlns:a16="http://schemas.microsoft.com/office/drawing/2014/main" id="{CD81BB45-7980-4C73-85FE-6BB2DBE766EF}"/>
                </a:ext>
              </a:extLst>
            </p:cNvPr>
            <p:cNvSpPr/>
            <p:nvPr/>
          </p:nvSpPr>
          <p:spPr>
            <a:xfrm rot="8716295">
              <a:off x="5228260" y="281621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6" name="Forme libre : forme 2295">
              <a:extLst>
                <a:ext uri="{FF2B5EF4-FFF2-40B4-BE49-F238E27FC236}">
                  <a16:creationId xmlns:a16="http://schemas.microsoft.com/office/drawing/2014/main" id="{45A188F4-BDAA-4C8F-BC77-E18E0A410657}"/>
                </a:ext>
              </a:extLst>
            </p:cNvPr>
            <p:cNvSpPr/>
            <p:nvPr/>
          </p:nvSpPr>
          <p:spPr>
            <a:xfrm rot="8716295">
              <a:off x="5539415" y="243656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7" name="Forme libre : forme 2296">
              <a:extLst>
                <a:ext uri="{FF2B5EF4-FFF2-40B4-BE49-F238E27FC236}">
                  <a16:creationId xmlns:a16="http://schemas.microsoft.com/office/drawing/2014/main" id="{6F38191A-A16B-4F12-A551-5C44F7C985EE}"/>
                </a:ext>
              </a:extLst>
            </p:cNvPr>
            <p:cNvSpPr/>
            <p:nvPr/>
          </p:nvSpPr>
          <p:spPr>
            <a:xfrm rot="8716295">
              <a:off x="5628807" y="246580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8" name="Forme libre : forme 2297">
              <a:extLst>
                <a:ext uri="{FF2B5EF4-FFF2-40B4-BE49-F238E27FC236}">
                  <a16:creationId xmlns:a16="http://schemas.microsoft.com/office/drawing/2014/main" id="{D3CC80E9-1D47-429F-ACDE-A621C24CBE44}"/>
                </a:ext>
              </a:extLst>
            </p:cNvPr>
            <p:cNvSpPr/>
            <p:nvPr/>
          </p:nvSpPr>
          <p:spPr>
            <a:xfrm rot="8716295">
              <a:off x="5427181" y="252510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9" name="Forme libre : forme 2298">
              <a:extLst>
                <a:ext uri="{FF2B5EF4-FFF2-40B4-BE49-F238E27FC236}">
                  <a16:creationId xmlns:a16="http://schemas.microsoft.com/office/drawing/2014/main" id="{A24688B2-0199-4274-9FD6-B44932C06770}"/>
                </a:ext>
              </a:extLst>
            </p:cNvPr>
            <p:cNvSpPr/>
            <p:nvPr/>
          </p:nvSpPr>
          <p:spPr>
            <a:xfrm rot="8716295">
              <a:off x="5302279" y="231643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0" name="Forme libre : forme 2299">
              <a:extLst>
                <a:ext uri="{FF2B5EF4-FFF2-40B4-BE49-F238E27FC236}">
                  <a16:creationId xmlns:a16="http://schemas.microsoft.com/office/drawing/2014/main" id="{8CACAF0B-4223-489E-8142-FE6C0E2ABE02}"/>
                </a:ext>
              </a:extLst>
            </p:cNvPr>
            <p:cNvSpPr/>
            <p:nvPr/>
          </p:nvSpPr>
          <p:spPr>
            <a:xfrm rot="8716295">
              <a:off x="5517359" y="256605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1" name="Forme libre : forme 2300">
              <a:extLst>
                <a:ext uri="{FF2B5EF4-FFF2-40B4-BE49-F238E27FC236}">
                  <a16:creationId xmlns:a16="http://schemas.microsoft.com/office/drawing/2014/main" id="{1DE11DE1-1806-43C0-806D-86BA3E33BB9E}"/>
                </a:ext>
              </a:extLst>
            </p:cNvPr>
            <p:cNvSpPr/>
            <p:nvPr/>
          </p:nvSpPr>
          <p:spPr>
            <a:xfrm rot="8716295">
              <a:off x="5275908" y="241645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2" name="Forme libre : forme 2301">
              <a:extLst>
                <a:ext uri="{FF2B5EF4-FFF2-40B4-BE49-F238E27FC236}">
                  <a16:creationId xmlns:a16="http://schemas.microsoft.com/office/drawing/2014/main" id="{CEF4E15F-06D3-4C85-B288-4FE5B46D9A79}"/>
                </a:ext>
              </a:extLst>
            </p:cNvPr>
            <p:cNvSpPr/>
            <p:nvPr/>
          </p:nvSpPr>
          <p:spPr>
            <a:xfrm rot="7484129">
              <a:off x="5622290" y="275740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3" name="Forme libre : forme 2302">
              <a:extLst>
                <a:ext uri="{FF2B5EF4-FFF2-40B4-BE49-F238E27FC236}">
                  <a16:creationId xmlns:a16="http://schemas.microsoft.com/office/drawing/2014/main" id="{99463D07-3957-4F25-99F6-6382826CCF9D}"/>
                </a:ext>
              </a:extLst>
            </p:cNvPr>
            <p:cNvSpPr/>
            <p:nvPr/>
          </p:nvSpPr>
          <p:spPr>
            <a:xfrm rot="13089394">
              <a:off x="5718537" y="2742349"/>
              <a:ext cx="222098" cy="286724"/>
            </a:xfrm>
            <a:custGeom>
              <a:avLst/>
              <a:gdLst>
                <a:gd name="connsiteX0" fmla="*/ 23241 w 222098"/>
                <a:gd name="connsiteY0" fmla="*/ 47275 h 286724"/>
                <a:gd name="connsiteX1" fmla="*/ 0 w 222098"/>
                <a:gd name="connsiteY1" fmla="*/ 11882 h 286724"/>
                <a:gd name="connsiteX2" fmla="*/ 22902 w 222098"/>
                <a:gd name="connsiteY2" fmla="*/ 0 h 286724"/>
                <a:gd name="connsiteX3" fmla="*/ 222098 w 222098"/>
                <a:gd name="connsiteY3" fmla="*/ 258238 h 286724"/>
                <a:gd name="connsiteX4" fmla="*/ 180472 w 222098"/>
                <a:gd name="connsiteY4" fmla="*/ 286724 h 286724"/>
                <a:gd name="connsiteX5" fmla="*/ 167667 w 222098"/>
                <a:gd name="connsiteY5" fmla="*/ 267224 h 286724"/>
                <a:gd name="connsiteX6" fmla="*/ 220995 w 222098"/>
                <a:gd name="connsiteY6" fmla="*/ 245547 h 286724"/>
                <a:gd name="connsiteX7" fmla="*/ 222098 w 222098"/>
                <a:gd name="connsiteY7" fmla="*/ 252720 h 286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2098" h="286724">
                  <a:moveTo>
                    <a:pt x="23241" y="47275"/>
                  </a:moveTo>
                  <a:lnTo>
                    <a:pt x="0" y="11882"/>
                  </a:lnTo>
                  <a:lnTo>
                    <a:pt x="22902" y="0"/>
                  </a:lnTo>
                  <a:close/>
                  <a:moveTo>
                    <a:pt x="222098" y="258238"/>
                  </a:moveTo>
                  <a:lnTo>
                    <a:pt x="180472" y="286724"/>
                  </a:lnTo>
                  <a:lnTo>
                    <a:pt x="167667" y="267224"/>
                  </a:lnTo>
                  <a:lnTo>
                    <a:pt x="220995" y="245547"/>
                  </a:lnTo>
                  <a:cubicBezTo>
                    <a:pt x="221546" y="247754"/>
                    <a:pt x="222098" y="250513"/>
                    <a:pt x="222098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4" name="Forme libre : forme 2303">
              <a:extLst>
                <a:ext uri="{FF2B5EF4-FFF2-40B4-BE49-F238E27FC236}">
                  <a16:creationId xmlns:a16="http://schemas.microsoft.com/office/drawing/2014/main" id="{595B531E-AE51-4EB8-A220-EECB43E78A0A}"/>
                </a:ext>
              </a:extLst>
            </p:cNvPr>
            <p:cNvSpPr/>
            <p:nvPr/>
          </p:nvSpPr>
          <p:spPr>
            <a:xfrm rot="8716295">
              <a:off x="5845439" y="2441114"/>
              <a:ext cx="69626" cy="78683"/>
            </a:xfrm>
            <a:custGeom>
              <a:avLst/>
              <a:gdLst>
                <a:gd name="connsiteX0" fmla="*/ 0 w 69626"/>
                <a:gd name="connsiteY0" fmla="*/ 74288 h 78683"/>
                <a:gd name="connsiteX1" fmla="*/ 61446 w 69626"/>
                <a:gd name="connsiteY1" fmla="*/ 0 h 78683"/>
                <a:gd name="connsiteX2" fmla="*/ 69626 w 69626"/>
                <a:gd name="connsiteY2" fmla="*/ 19468 h 78683"/>
                <a:gd name="connsiteX3" fmla="*/ 52380 w 69626"/>
                <a:gd name="connsiteY3" fmla="*/ 61206 h 78683"/>
                <a:gd name="connsiteX4" fmla="*/ 10986 w 69626"/>
                <a:gd name="connsiteY4" fmla="*/ 78683 h 78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626" h="78683">
                  <a:moveTo>
                    <a:pt x="0" y="74288"/>
                  </a:moveTo>
                  <a:lnTo>
                    <a:pt x="61446" y="0"/>
                  </a:lnTo>
                  <a:lnTo>
                    <a:pt x="69626" y="19468"/>
                  </a:lnTo>
                  <a:cubicBezTo>
                    <a:pt x="69626" y="34531"/>
                    <a:pt x="63877" y="49708"/>
                    <a:pt x="52380" y="61206"/>
                  </a:cubicBezTo>
                  <a:cubicBezTo>
                    <a:pt x="41341" y="72244"/>
                    <a:pt x="26624" y="78683"/>
                    <a:pt x="10986" y="786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5" name="Forme libre : forme 2304">
              <a:extLst>
                <a:ext uri="{FF2B5EF4-FFF2-40B4-BE49-F238E27FC236}">
                  <a16:creationId xmlns:a16="http://schemas.microsoft.com/office/drawing/2014/main" id="{56DB83FE-66AC-4319-B8BC-7D9AE2504E48}"/>
                </a:ext>
              </a:extLst>
            </p:cNvPr>
            <p:cNvSpPr/>
            <p:nvPr/>
          </p:nvSpPr>
          <p:spPr>
            <a:xfrm rot="8716295">
              <a:off x="5617644" y="245889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6" name="Forme libre : forme 2305">
              <a:extLst>
                <a:ext uri="{FF2B5EF4-FFF2-40B4-BE49-F238E27FC236}">
                  <a16:creationId xmlns:a16="http://schemas.microsoft.com/office/drawing/2014/main" id="{059CCF50-6F3B-445A-81D2-1722B84AB898}"/>
                </a:ext>
              </a:extLst>
            </p:cNvPr>
            <p:cNvSpPr/>
            <p:nvPr/>
          </p:nvSpPr>
          <p:spPr>
            <a:xfrm rot="8716295">
              <a:off x="5786507" y="2294976"/>
              <a:ext cx="117509" cy="117739"/>
            </a:xfrm>
            <a:custGeom>
              <a:avLst/>
              <a:gdLst>
                <a:gd name="connsiteX0" fmla="*/ 17477 w 117509"/>
                <a:gd name="connsiteY0" fmla="*/ 101182 h 117739"/>
                <a:gd name="connsiteX1" fmla="*/ 0 w 117509"/>
                <a:gd name="connsiteY1" fmla="*/ 59790 h 117739"/>
                <a:gd name="connsiteX2" fmla="*/ 0 w 117509"/>
                <a:gd name="connsiteY2" fmla="*/ 58869 h 117739"/>
                <a:gd name="connsiteX3" fmla="*/ 2091 w 117509"/>
                <a:gd name="connsiteY3" fmla="*/ 48678 h 117739"/>
                <a:gd name="connsiteX4" fmla="*/ 38978 w 117509"/>
                <a:gd name="connsiteY4" fmla="*/ 4080 h 117739"/>
                <a:gd name="connsiteX5" fmla="*/ 58869 w 117509"/>
                <a:gd name="connsiteY5" fmla="*/ 0 h 117739"/>
                <a:gd name="connsiteX6" fmla="*/ 100263 w 117509"/>
                <a:gd name="connsiteY6" fmla="*/ 17477 h 117739"/>
                <a:gd name="connsiteX7" fmla="*/ 100263 w 117509"/>
                <a:gd name="connsiteY7" fmla="*/ 100262 h 117739"/>
                <a:gd name="connsiteX8" fmla="*/ 58869 w 117509"/>
                <a:gd name="connsiteY8" fmla="*/ 117739 h 117739"/>
                <a:gd name="connsiteX9" fmla="*/ 17477 w 117509"/>
                <a:gd name="connsiteY9" fmla="*/ 101182 h 117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09" h="117739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lnTo>
                    <a:pt x="2091" y="48678"/>
                  </a:lnTo>
                  <a:lnTo>
                    <a:pt x="38978" y="4080"/>
                  </a:lnTo>
                  <a:lnTo>
                    <a:pt x="58869" y="0"/>
                  </a:lnTo>
                  <a:cubicBezTo>
                    <a:pt x="74507" y="0"/>
                    <a:pt x="89224" y="6439"/>
                    <a:pt x="100263" y="17477"/>
                  </a:cubicBezTo>
                  <a:cubicBezTo>
                    <a:pt x="123258" y="39553"/>
                    <a:pt x="123258" y="77266"/>
                    <a:pt x="100263" y="100262"/>
                  </a:cubicBezTo>
                  <a:cubicBezTo>
                    <a:pt x="89224" y="111300"/>
                    <a:pt x="74507" y="117739"/>
                    <a:pt x="58869" y="117739"/>
                  </a:cubicBezTo>
                  <a:cubicBezTo>
                    <a:pt x="43233" y="117739"/>
                    <a:pt x="28515" y="112220"/>
                    <a:pt x="17477" y="10118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7" name="Forme libre : forme 2306">
              <a:extLst>
                <a:ext uri="{FF2B5EF4-FFF2-40B4-BE49-F238E27FC236}">
                  <a16:creationId xmlns:a16="http://schemas.microsoft.com/office/drawing/2014/main" id="{11555900-AB76-4DA6-98BE-C28A5682E542}"/>
                </a:ext>
              </a:extLst>
            </p:cNvPr>
            <p:cNvSpPr/>
            <p:nvPr/>
          </p:nvSpPr>
          <p:spPr>
            <a:xfrm rot="8716295">
              <a:off x="5600077" y="4470249"/>
              <a:ext cx="156365" cy="84062"/>
            </a:xfrm>
            <a:custGeom>
              <a:avLst/>
              <a:gdLst>
                <a:gd name="connsiteX0" fmla="*/ 0 w 156365"/>
                <a:gd name="connsiteY0" fmla="*/ 84062 h 84062"/>
                <a:gd name="connsiteX1" fmla="*/ 38711 w 156365"/>
                <a:gd name="connsiteY1" fmla="*/ 37259 h 84062"/>
                <a:gd name="connsiteX2" fmla="*/ 82822 w 156365"/>
                <a:gd name="connsiteY2" fmla="*/ 29417 h 84062"/>
                <a:gd name="connsiteX3" fmla="*/ 155189 w 156365"/>
                <a:gd name="connsiteY3" fmla="*/ 0 h 84062"/>
                <a:gd name="connsiteX4" fmla="*/ 156365 w 156365"/>
                <a:gd name="connsiteY4" fmla="*/ 7648 h 84062"/>
                <a:gd name="connsiteX5" fmla="*/ 156365 w 156365"/>
                <a:gd name="connsiteY5" fmla="*/ 13531 h 84062"/>
                <a:gd name="connsiteX6" fmla="*/ 5371 w 156365"/>
                <a:gd name="connsiteY6" fmla="*/ 83361 h 84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365" h="84062">
                  <a:moveTo>
                    <a:pt x="0" y="84062"/>
                  </a:moveTo>
                  <a:lnTo>
                    <a:pt x="38711" y="37259"/>
                  </a:lnTo>
                  <a:lnTo>
                    <a:pt x="82822" y="29417"/>
                  </a:lnTo>
                  <a:cubicBezTo>
                    <a:pt x="107532" y="21769"/>
                    <a:pt x="131655" y="11767"/>
                    <a:pt x="155189" y="0"/>
                  </a:cubicBezTo>
                  <a:cubicBezTo>
                    <a:pt x="155777" y="2353"/>
                    <a:pt x="156365" y="5295"/>
                    <a:pt x="156365" y="7648"/>
                  </a:cubicBezTo>
                  <a:lnTo>
                    <a:pt x="156365" y="13531"/>
                  </a:lnTo>
                  <a:cubicBezTo>
                    <a:pt x="109592" y="53687"/>
                    <a:pt x="51897" y="74315"/>
                    <a:pt x="5371" y="833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8" name="Forme libre : forme 2307">
              <a:extLst>
                <a:ext uri="{FF2B5EF4-FFF2-40B4-BE49-F238E27FC236}">
                  <a16:creationId xmlns:a16="http://schemas.microsoft.com/office/drawing/2014/main" id="{CADAEF2B-CBE9-4306-A616-01A968315F71}"/>
                </a:ext>
              </a:extLst>
            </p:cNvPr>
            <p:cNvSpPr/>
            <p:nvPr/>
          </p:nvSpPr>
          <p:spPr>
            <a:xfrm rot="8716295">
              <a:off x="5468986" y="334511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9" name="Forme libre : forme 2308">
              <a:extLst>
                <a:ext uri="{FF2B5EF4-FFF2-40B4-BE49-F238E27FC236}">
                  <a16:creationId xmlns:a16="http://schemas.microsoft.com/office/drawing/2014/main" id="{BC783BF6-C0F2-4416-AE0C-3CB188BCA1EB}"/>
                </a:ext>
              </a:extLst>
            </p:cNvPr>
            <p:cNvSpPr/>
            <p:nvPr/>
          </p:nvSpPr>
          <p:spPr>
            <a:xfrm rot="8716295">
              <a:off x="5560950" y="3385490"/>
              <a:ext cx="209149" cy="254774"/>
            </a:xfrm>
            <a:custGeom>
              <a:avLst/>
              <a:gdLst>
                <a:gd name="connsiteX0" fmla="*/ 0 w 209149"/>
                <a:gd name="connsiteY0" fmla="*/ 254774 h 254774"/>
                <a:gd name="connsiteX1" fmla="*/ 0 w 209149"/>
                <a:gd name="connsiteY1" fmla="*/ 48397 h 254774"/>
                <a:gd name="connsiteX2" fmla="*/ 38851 w 209149"/>
                <a:gd name="connsiteY2" fmla="*/ 1425 h 254774"/>
                <a:gd name="connsiteX3" fmla="*/ 53312 w 209149"/>
                <a:gd name="connsiteY3" fmla="*/ 1425 h 254774"/>
                <a:gd name="connsiteX4" fmla="*/ 53313 w 209149"/>
                <a:gd name="connsiteY4" fmla="*/ 75242 h 254774"/>
                <a:gd name="connsiteX5" fmla="*/ 54679 w 209149"/>
                <a:gd name="connsiteY5" fmla="*/ 75242 h 254774"/>
                <a:gd name="connsiteX6" fmla="*/ 102524 w 209149"/>
                <a:gd name="connsiteY6" fmla="*/ 5981 h 254774"/>
                <a:gd name="connsiteX7" fmla="*/ 133965 w 209149"/>
                <a:gd name="connsiteY7" fmla="*/ 57 h 254774"/>
                <a:gd name="connsiteX8" fmla="*/ 209149 w 209149"/>
                <a:gd name="connsiteY8" fmla="*/ 88456 h 254774"/>
                <a:gd name="connsiteX9" fmla="*/ 209149 w 209149"/>
                <a:gd name="connsiteY9" fmla="*/ 94380 h 254774"/>
                <a:gd name="connsiteX10" fmla="*/ 147179 w 209149"/>
                <a:gd name="connsiteY10" fmla="*/ 98025 h 254774"/>
                <a:gd name="connsiteX11" fmla="*/ 147179 w 209149"/>
                <a:gd name="connsiteY11" fmla="*/ 81622 h 254774"/>
                <a:gd name="connsiteX12" fmla="*/ 113460 w 209149"/>
                <a:gd name="connsiteY12" fmla="*/ 40156 h 254774"/>
                <a:gd name="connsiteX13" fmla="*/ 60148 w 209149"/>
                <a:gd name="connsiteY13" fmla="*/ 127643 h 254774"/>
                <a:gd name="connsiteX14" fmla="*/ 60148 w 209149"/>
                <a:gd name="connsiteY14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9149" h="254774">
                  <a:moveTo>
                    <a:pt x="0" y="254774"/>
                  </a:moveTo>
                  <a:lnTo>
                    <a:pt x="0" y="48397"/>
                  </a:lnTo>
                  <a:lnTo>
                    <a:pt x="38851" y="1425"/>
                  </a:lnTo>
                  <a:lnTo>
                    <a:pt x="53312" y="1425"/>
                  </a:lnTo>
                  <a:lnTo>
                    <a:pt x="53313" y="75242"/>
                  </a:lnTo>
                  <a:lnTo>
                    <a:pt x="54679" y="75242"/>
                  </a:lnTo>
                  <a:cubicBezTo>
                    <a:pt x="69261" y="31954"/>
                    <a:pt x="80652" y="15094"/>
                    <a:pt x="102524" y="5981"/>
                  </a:cubicBezTo>
                  <a:cubicBezTo>
                    <a:pt x="112549" y="1880"/>
                    <a:pt x="123029" y="-398"/>
                    <a:pt x="133965" y="57"/>
                  </a:cubicBezTo>
                  <a:cubicBezTo>
                    <a:pt x="180898" y="-854"/>
                    <a:pt x="209149" y="31954"/>
                    <a:pt x="209149" y="88456"/>
                  </a:cubicBezTo>
                  <a:lnTo>
                    <a:pt x="209149" y="94380"/>
                  </a:lnTo>
                  <a:lnTo>
                    <a:pt x="147179" y="98025"/>
                  </a:lnTo>
                  <a:lnTo>
                    <a:pt x="147179" y="81622"/>
                  </a:lnTo>
                  <a:cubicBezTo>
                    <a:pt x="147179" y="57016"/>
                    <a:pt x="133054" y="40156"/>
                    <a:pt x="113460" y="40156"/>
                  </a:cubicBezTo>
                  <a:cubicBezTo>
                    <a:pt x="84298" y="40156"/>
                    <a:pt x="60148" y="78887"/>
                    <a:pt x="60148" y="127643"/>
                  </a:cubicBezTo>
                  <a:lnTo>
                    <a:pt x="60148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0" name="Forme libre : forme 2309">
              <a:extLst>
                <a:ext uri="{FF2B5EF4-FFF2-40B4-BE49-F238E27FC236}">
                  <a16:creationId xmlns:a16="http://schemas.microsoft.com/office/drawing/2014/main" id="{07E04FBC-CAFE-40F5-8FBE-26480DF56E42}"/>
                </a:ext>
              </a:extLst>
            </p:cNvPr>
            <p:cNvSpPr/>
            <p:nvPr/>
          </p:nvSpPr>
          <p:spPr>
            <a:xfrm rot="8716295">
              <a:off x="5513528" y="328807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1" name="Forme libre : forme 2310">
              <a:extLst>
                <a:ext uri="{FF2B5EF4-FFF2-40B4-BE49-F238E27FC236}">
                  <a16:creationId xmlns:a16="http://schemas.microsoft.com/office/drawing/2014/main" id="{A7E5DB17-0229-4F6E-BA1B-BA2A73903FCF}"/>
                </a:ext>
              </a:extLst>
            </p:cNvPr>
            <p:cNvSpPr/>
            <p:nvPr/>
          </p:nvSpPr>
          <p:spPr>
            <a:xfrm rot="8716295">
              <a:off x="5356752" y="343365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2" name="Forme libre : forme 2311">
              <a:extLst>
                <a:ext uri="{FF2B5EF4-FFF2-40B4-BE49-F238E27FC236}">
                  <a16:creationId xmlns:a16="http://schemas.microsoft.com/office/drawing/2014/main" id="{B2FA02F1-5E71-4F7C-B2CA-BA7F43C9E0B6}"/>
                </a:ext>
              </a:extLst>
            </p:cNvPr>
            <p:cNvSpPr/>
            <p:nvPr/>
          </p:nvSpPr>
          <p:spPr>
            <a:xfrm rot="8716295">
              <a:off x="5231849" y="322498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3" name="Forme libre : forme 2312">
              <a:extLst>
                <a:ext uri="{FF2B5EF4-FFF2-40B4-BE49-F238E27FC236}">
                  <a16:creationId xmlns:a16="http://schemas.microsoft.com/office/drawing/2014/main" id="{59750E71-AE6E-46C2-9298-CD50416AF89E}"/>
                </a:ext>
              </a:extLst>
            </p:cNvPr>
            <p:cNvSpPr/>
            <p:nvPr/>
          </p:nvSpPr>
          <p:spPr>
            <a:xfrm rot="8716295">
              <a:off x="5219797" y="3086201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4" name="Forme libre : forme 2313">
              <a:extLst>
                <a:ext uri="{FF2B5EF4-FFF2-40B4-BE49-F238E27FC236}">
                  <a16:creationId xmlns:a16="http://schemas.microsoft.com/office/drawing/2014/main" id="{D4E7AFF8-F784-45C0-8EE7-2B6A86EC8737}"/>
                </a:ext>
              </a:extLst>
            </p:cNvPr>
            <p:cNvSpPr/>
            <p:nvPr/>
          </p:nvSpPr>
          <p:spPr>
            <a:xfrm rot="8716295">
              <a:off x="5446930" y="347460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5" name="Forme libre : forme 2314">
              <a:extLst>
                <a:ext uri="{FF2B5EF4-FFF2-40B4-BE49-F238E27FC236}">
                  <a16:creationId xmlns:a16="http://schemas.microsoft.com/office/drawing/2014/main" id="{3853C0A0-1616-48FA-8479-65AC97F7CC85}"/>
                </a:ext>
              </a:extLst>
            </p:cNvPr>
            <p:cNvSpPr/>
            <p:nvPr/>
          </p:nvSpPr>
          <p:spPr>
            <a:xfrm rot="8716295">
              <a:off x="5752315" y="3122125"/>
              <a:ext cx="61059" cy="189683"/>
            </a:xfrm>
            <a:custGeom>
              <a:avLst/>
              <a:gdLst>
                <a:gd name="connsiteX0" fmla="*/ 0 w 61059"/>
                <a:gd name="connsiteY0" fmla="*/ 189683 h 189683"/>
                <a:gd name="connsiteX1" fmla="*/ 1 w 61059"/>
                <a:gd name="connsiteY1" fmla="*/ 70355 h 189683"/>
                <a:gd name="connsiteX2" fmla="*/ 58192 w 61059"/>
                <a:gd name="connsiteY2" fmla="*/ 0 h 189683"/>
                <a:gd name="connsiteX3" fmla="*/ 61059 w 61059"/>
                <a:gd name="connsiteY3" fmla="*/ 7418 h 189683"/>
                <a:gd name="connsiteX4" fmla="*/ 61059 w 61059"/>
                <a:gd name="connsiteY4" fmla="*/ 165533 h 189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59" h="189683">
                  <a:moveTo>
                    <a:pt x="0" y="189683"/>
                  </a:moveTo>
                  <a:lnTo>
                    <a:pt x="1" y="70355"/>
                  </a:lnTo>
                  <a:lnTo>
                    <a:pt x="58192" y="0"/>
                  </a:lnTo>
                  <a:lnTo>
                    <a:pt x="61059" y="7418"/>
                  </a:lnTo>
                  <a:lnTo>
                    <a:pt x="61059" y="1655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6" name="Forme libre : forme 2315">
              <a:extLst>
                <a:ext uri="{FF2B5EF4-FFF2-40B4-BE49-F238E27FC236}">
                  <a16:creationId xmlns:a16="http://schemas.microsoft.com/office/drawing/2014/main" id="{2BC49D98-658F-409C-B3BF-5C8CEE84FD55}"/>
                </a:ext>
              </a:extLst>
            </p:cNvPr>
            <p:cNvSpPr/>
            <p:nvPr/>
          </p:nvSpPr>
          <p:spPr>
            <a:xfrm rot="8716295">
              <a:off x="5645851" y="318350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7" name="Forme libre : forme 2316">
              <a:extLst>
                <a:ext uri="{FF2B5EF4-FFF2-40B4-BE49-F238E27FC236}">
                  <a16:creationId xmlns:a16="http://schemas.microsoft.com/office/drawing/2014/main" id="{9788828B-73AD-4731-893D-8DFB9066F7A9}"/>
                </a:ext>
              </a:extLst>
            </p:cNvPr>
            <p:cNvSpPr/>
            <p:nvPr/>
          </p:nvSpPr>
          <p:spPr>
            <a:xfrm rot="8716295">
              <a:off x="5520949" y="297482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8" name="Forme libre : forme 2317">
              <a:extLst>
                <a:ext uri="{FF2B5EF4-FFF2-40B4-BE49-F238E27FC236}">
                  <a16:creationId xmlns:a16="http://schemas.microsoft.com/office/drawing/2014/main" id="{8B664DFB-701C-4BF3-A4AD-0E33F3753604}"/>
                </a:ext>
              </a:extLst>
            </p:cNvPr>
            <p:cNvSpPr/>
            <p:nvPr/>
          </p:nvSpPr>
          <p:spPr>
            <a:xfrm rot="8716295">
              <a:off x="5735645" y="3237654"/>
              <a:ext cx="60147" cy="214945"/>
            </a:xfrm>
            <a:custGeom>
              <a:avLst/>
              <a:gdLst>
                <a:gd name="connsiteX0" fmla="*/ 60147 w 60147"/>
                <a:gd name="connsiteY0" fmla="*/ 214945 h 214945"/>
                <a:gd name="connsiteX1" fmla="*/ 0 w 60147"/>
                <a:gd name="connsiteY1" fmla="*/ 157075 h 214945"/>
                <a:gd name="connsiteX2" fmla="*/ 0 w 60147"/>
                <a:gd name="connsiteY2" fmla="*/ 72719 h 214945"/>
                <a:gd name="connsiteX3" fmla="*/ 60147 w 60147"/>
                <a:gd name="connsiteY3" fmla="*/ 0 h 214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7" h="214945">
                  <a:moveTo>
                    <a:pt x="60147" y="214945"/>
                  </a:moveTo>
                  <a:lnTo>
                    <a:pt x="0" y="157075"/>
                  </a:lnTo>
                  <a:lnTo>
                    <a:pt x="0" y="72719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9" name="Forme libre : forme 2318">
              <a:extLst>
                <a:ext uri="{FF2B5EF4-FFF2-40B4-BE49-F238E27FC236}">
                  <a16:creationId xmlns:a16="http://schemas.microsoft.com/office/drawing/2014/main" id="{DE32D065-C837-4616-93A8-C221E6C262EC}"/>
                </a:ext>
              </a:extLst>
            </p:cNvPr>
            <p:cNvSpPr/>
            <p:nvPr/>
          </p:nvSpPr>
          <p:spPr>
            <a:xfrm rot="8716295">
              <a:off x="5494578" y="307485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0" name="Forme libre : forme 2319">
              <a:extLst>
                <a:ext uri="{FF2B5EF4-FFF2-40B4-BE49-F238E27FC236}">
                  <a16:creationId xmlns:a16="http://schemas.microsoft.com/office/drawing/2014/main" id="{A951AC29-4AE5-482E-A279-E37CA0854B05}"/>
                </a:ext>
              </a:extLst>
            </p:cNvPr>
            <p:cNvSpPr/>
            <p:nvPr/>
          </p:nvSpPr>
          <p:spPr>
            <a:xfrm rot="8716295">
              <a:off x="5682235" y="4033272"/>
              <a:ext cx="61060" cy="175124"/>
            </a:xfrm>
            <a:custGeom>
              <a:avLst/>
              <a:gdLst>
                <a:gd name="connsiteX0" fmla="*/ 0 w 61060"/>
                <a:gd name="connsiteY0" fmla="*/ 175124 h 175124"/>
                <a:gd name="connsiteX1" fmla="*/ 0 w 61060"/>
                <a:gd name="connsiteY1" fmla="*/ 73822 h 175124"/>
                <a:gd name="connsiteX2" fmla="*/ 61060 w 61060"/>
                <a:gd name="connsiteY2" fmla="*/ 0 h 175124"/>
                <a:gd name="connsiteX3" fmla="*/ 61059 w 61060"/>
                <a:gd name="connsiteY3" fmla="*/ 150974 h 175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060" h="175124">
                  <a:moveTo>
                    <a:pt x="0" y="175124"/>
                  </a:moveTo>
                  <a:lnTo>
                    <a:pt x="0" y="73822"/>
                  </a:lnTo>
                  <a:lnTo>
                    <a:pt x="61060" y="0"/>
                  </a:lnTo>
                  <a:lnTo>
                    <a:pt x="61059" y="1509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1" name="Forme libre : forme 2320">
              <a:extLst>
                <a:ext uri="{FF2B5EF4-FFF2-40B4-BE49-F238E27FC236}">
                  <a16:creationId xmlns:a16="http://schemas.microsoft.com/office/drawing/2014/main" id="{AC1B54AD-4305-4886-A104-0CFC0322DC86}"/>
                </a:ext>
              </a:extLst>
            </p:cNvPr>
            <p:cNvSpPr/>
            <p:nvPr/>
          </p:nvSpPr>
          <p:spPr>
            <a:xfrm rot="8716295">
              <a:off x="5579919" y="409335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2" name="Forme libre : forme 2321">
              <a:extLst>
                <a:ext uri="{FF2B5EF4-FFF2-40B4-BE49-F238E27FC236}">
                  <a16:creationId xmlns:a16="http://schemas.microsoft.com/office/drawing/2014/main" id="{8167323E-FC94-42DF-AE9E-1E6CCB009393}"/>
                </a:ext>
              </a:extLst>
            </p:cNvPr>
            <p:cNvSpPr/>
            <p:nvPr/>
          </p:nvSpPr>
          <p:spPr>
            <a:xfrm rot="8716295">
              <a:off x="5455016" y="388468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3" name="Forme libre : forme 2322">
              <a:extLst>
                <a:ext uri="{FF2B5EF4-FFF2-40B4-BE49-F238E27FC236}">
                  <a16:creationId xmlns:a16="http://schemas.microsoft.com/office/drawing/2014/main" id="{4BE64CC5-A3FF-4E14-92F1-A92ABB79BE76}"/>
                </a:ext>
              </a:extLst>
            </p:cNvPr>
            <p:cNvSpPr/>
            <p:nvPr/>
          </p:nvSpPr>
          <p:spPr>
            <a:xfrm rot="8716295">
              <a:off x="5439766" y="3743196"/>
              <a:ext cx="290643" cy="350829"/>
            </a:xfrm>
            <a:custGeom>
              <a:avLst/>
              <a:gdLst>
                <a:gd name="connsiteX0" fmla="*/ 25299 w 290643"/>
                <a:gd name="connsiteY0" fmla="*/ 321238 h 350829"/>
                <a:gd name="connsiteX1" fmla="*/ 0 w 290643"/>
                <a:gd name="connsiteY1" fmla="*/ 220042 h 350829"/>
                <a:gd name="connsiteX2" fmla="*/ 0 w 290643"/>
                <a:gd name="connsiteY2" fmla="*/ 73941 h 350829"/>
                <a:gd name="connsiteX3" fmla="*/ 48310 w 290643"/>
                <a:gd name="connsiteY3" fmla="*/ 15533 h 350829"/>
                <a:gd name="connsiteX4" fmla="*/ 78250 w 290643"/>
                <a:gd name="connsiteY4" fmla="*/ 0 h 350829"/>
                <a:gd name="connsiteX5" fmla="*/ 79427 w 290643"/>
                <a:gd name="connsiteY5" fmla="*/ 164149 h 350829"/>
                <a:gd name="connsiteX6" fmla="*/ 93547 w 290643"/>
                <a:gd name="connsiteY6" fmla="*/ 261815 h 350829"/>
                <a:gd name="connsiteX7" fmla="*/ 164149 w 290643"/>
                <a:gd name="connsiteY7" fmla="*/ 300646 h 350829"/>
                <a:gd name="connsiteX8" fmla="*/ 217100 w 290643"/>
                <a:gd name="connsiteY8" fmla="*/ 291232 h 350829"/>
                <a:gd name="connsiteX9" fmla="*/ 289467 w 290643"/>
                <a:gd name="connsiteY9" fmla="*/ 261815 h 350829"/>
                <a:gd name="connsiteX10" fmla="*/ 290643 w 290643"/>
                <a:gd name="connsiteY10" fmla="*/ 269463 h 350829"/>
                <a:gd name="connsiteX11" fmla="*/ 290643 w 290643"/>
                <a:gd name="connsiteY11" fmla="*/ 275347 h 350829"/>
                <a:gd name="connsiteX12" fmla="*/ 97665 w 290643"/>
                <a:gd name="connsiteY12" fmla="*/ 350655 h 350829"/>
                <a:gd name="connsiteX13" fmla="*/ 25299 w 290643"/>
                <a:gd name="connsiteY13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90643" h="350829">
                  <a:moveTo>
                    <a:pt x="25299" y="321238"/>
                  </a:moveTo>
                  <a:cubicBezTo>
                    <a:pt x="5295" y="301823"/>
                    <a:pt x="0" y="268287"/>
                    <a:pt x="0" y="220042"/>
                  </a:cubicBezTo>
                  <a:lnTo>
                    <a:pt x="0" y="73941"/>
                  </a:lnTo>
                  <a:lnTo>
                    <a:pt x="48310" y="15533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9" y="300646"/>
                  </a:cubicBezTo>
                  <a:cubicBezTo>
                    <a:pt x="182388" y="300057"/>
                    <a:pt x="200038" y="296527"/>
                    <a:pt x="217100" y="291232"/>
                  </a:cubicBezTo>
                  <a:cubicBezTo>
                    <a:pt x="241810" y="283583"/>
                    <a:pt x="265933" y="273582"/>
                    <a:pt x="289467" y="261815"/>
                  </a:cubicBezTo>
                  <a:cubicBezTo>
                    <a:pt x="290055" y="264168"/>
                    <a:pt x="290643" y="267110"/>
                    <a:pt x="290643" y="269463"/>
                  </a:cubicBezTo>
                  <a:lnTo>
                    <a:pt x="290643" y="275347"/>
                  </a:lnTo>
                  <a:cubicBezTo>
                    <a:pt x="228279" y="328887"/>
                    <a:pt x="146498" y="347714"/>
                    <a:pt x="97665" y="350655"/>
                  </a:cubicBez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4" name="Forme libre : forme 2323">
              <a:extLst>
                <a:ext uri="{FF2B5EF4-FFF2-40B4-BE49-F238E27FC236}">
                  <a16:creationId xmlns:a16="http://schemas.microsoft.com/office/drawing/2014/main" id="{3D5EAB82-A653-44FF-ABBA-52007BFC744C}"/>
                </a:ext>
              </a:extLst>
            </p:cNvPr>
            <p:cNvSpPr/>
            <p:nvPr/>
          </p:nvSpPr>
          <p:spPr>
            <a:xfrm rot="8716295">
              <a:off x="5664579" y="4149111"/>
              <a:ext cx="60147" cy="196919"/>
            </a:xfrm>
            <a:custGeom>
              <a:avLst/>
              <a:gdLst>
                <a:gd name="connsiteX0" fmla="*/ 60147 w 60147"/>
                <a:gd name="connsiteY0" fmla="*/ 196919 h 196919"/>
                <a:gd name="connsiteX1" fmla="*/ 0 w 60147"/>
                <a:gd name="connsiteY1" fmla="*/ 139049 h 196919"/>
                <a:gd name="connsiteX2" fmla="*/ 0 w 60147"/>
                <a:gd name="connsiteY2" fmla="*/ 72719 h 196919"/>
                <a:gd name="connsiteX3" fmla="*/ 60147 w 60147"/>
                <a:gd name="connsiteY3" fmla="*/ 0 h 196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7" h="196919">
                  <a:moveTo>
                    <a:pt x="60147" y="196919"/>
                  </a:moveTo>
                  <a:lnTo>
                    <a:pt x="0" y="139049"/>
                  </a:lnTo>
                  <a:lnTo>
                    <a:pt x="0" y="72719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5" name="Forme libre : forme 2324">
              <a:extLst>
                <a:ext uri="{FF2B5EF4-FFF2-40B4-BE49-F238E27FC236}">
                  <a16:creationId xmlns:a16="http://schemas.microsoft.com/office/drawing/2014/main" id="{43B619A3-E625-40F8-8DEC-2B79517C56B8}"/>
                </a:ext>
              </a:extLst>
            </p:cNvPr>
            <p:cNvSpPr/>
            <p:nvPr/>
          </p:nvSpPr>
          <p:spPr>
            <a:xfrm rot="8716295">
              <a:off x="5712271" y="3732130"/>
              <a:ext cx="74903" cy="77154"/>
            </a:xfrm>
            <a:custGeom>
              <a:avLst/>
              <a:gdLst>
                <a:gd name="connsiteX0" fmla="*/ 9249 w 74903"/>
                <a:gd name="connsiteY0" fmla="*/ 66287 h 77154"/>
                <a:gd name="connsiteX1" fmla="*/ 0 w 74903"/>
                <a:gd name="connsiteY1" fmla="*/ 44381 h 77154"/>
                <a:gd name="connsiteX2" fmla="*/ 36708 w 74903"/>
                <a:gd name="connsiteY2" fmla="*/ 0 h 77154"/>
                <a:gd name="connsiteX3" fmla="*/ 63584 w 74903"/>
                <a:gd name="connsiteY3" fmla="*/ 11348 h 77154"/>
                <a:gd name="connsiteX4" fmla="*/ 63584 w 74903"/>
                <a:gd name="connsiteY4" fmla="*/ 65683 h 77154"/>
                <a:gd name="connsiteX5" fmla="*/ 36417 w 74903"/>
                <a:gd name="connsiteY5" fmla="*/ 77154 h 77154"/>
                <a:gd name="connsiteX6" fmla="*/ 9249 w 74903"/>
                <a:gd name="connsiteY6" fmla="*/ 66287 h 77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4903" h="77154">
                  <a:moveTo>
                    <a:pt x="9249" y="66287"/>
                  </a:moveTo>
                  <a:lnTo>
                    <a:pt x="0" y="44381"/>
                  </a:lnTo>
                  <a:lnTo>
                    <a:pt x="36708" y="0"/>
                  </a:lnTo>
                  <a:lnTo>
                    <a:pt x="63584" y="11348"/>
                  </a:lnTo>
                  <a:cubicBezTo>
                    <a:pt x="78677" y="25837"/>
                    <a:pt x="78677" y="50590"/>
                    <a:pt x="63584" y="65683"/>
                  </a:cubicBezTo>
                  <a:cubicBezTo>
                    <a:pt x="56340" y="72928"/>
                    <a:pt x="46680" y="77154"/>
                    <a:pt x="36417" y="77154"/>
                  </a:cubicBezTo>
                  <a:cubicBezTo>
                    <a:pt x="26153" y="77154"/>
                    <a:pt x="16494" y="73531"/>
                    <a:pt x="9249" y="6628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6" name="Forme libre : forme 2325">
              <a:extLst>
                <a:ext uri="{FF2B5EF4-FFF2-40B4-BE49-F238E27FC236}">
                  <a16:creationId xmlns:a16="http://schemas.microsoft.com/office/drawing/2014/main" id="{47FAC0D7-5111-4F6B-A349-552D64575C5F}"/>
                </a:ext>
              </a:extLst>
            </p:cNvPr>
            <p:cNvSpPr/>
            <p:nvPr/>
          </p:nvSpPr>
          <p:spPr>
            <a:xfrm rot="8716295">
              <a:off x="4805631" y="136604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7" name="Forme libre : forme 2326">
              <a:extLst>
                <a:ext uri="{FF2B5EF4-FFF2-40B4-BE49-F238E27FC236}">
                  <a16:creationId xmlns:a16="http://schemas.microsoft.com/office/drawing/2014/main" id="{FD4A7DE9-1679-4176-BBF7-B68B6314BD8C}"/>
                </a:ext>
              </a:extLst>
            </p:cNvPr>
            <p:cNvSpPr/>
            <p:nvPr/>
          </p:nvSpPr>
          <p:spPr>
            <a:xfrm rot="8716295">
              <a:off x="4895023" y="139528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8" name="Forme libre : forme 2327">
              <a:extLst>
                <a:ext uri="{FF2B5EF4-FFF2-40B4-BE49-F238E27FC236}">
                  <a16:creationId xmlns:a16="http://schemas.microsoft.com/office/drawing/2014/main" id="{0EEB057B-FFD0-4D41-9792-2DA753A19DB7}"/>
                </a:ext>
              </a:extLst>
            </p:cNvPr>
            <p:cNvSpPr/>
            <p:nvPr/>
          </p:nvSpPr>
          <p:spPr>
            <a:xfrm rot="8716295">
              <a:off x="4850173" y="130900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9" name="Forme libre : forme 2328">
              <a:extLst>
                <a:ext uri="{FF2B5EF4-FFF2-40B4-BE49-F238E27FC236}">
                  <a16:creationId xmlns:a16="http://schemas.microsoft.com/office/drawing/2014/main" id="{1879F6B3-40C0-4116-A81C-5BD7CA855163}"/>
                </a:ext>
              </a:extLst>
            </p:cNvPr>
            <p:cNvSpPr/>
            <p:nvPr/>
          </p:nvSpPr>
          <p:spPr>
            <a:xfrm rot="8716295">
              <a:off x="4693397" y="145458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0" name="Forme libre : forme 2329">
              <a:extLst>
                <a:ext uri="{FF2B5EF4-FFF2-40B4-BE49-F238E27FC236}">
                  <a16:creationId xmlns:a16="http://schemas.microsoft.com/office/drawing/2014/main" id="{49761E51-D80E-42FA-8099-F02853B256C7}"/>
                </a:ext>
              </a:extLst>
            </p:cNvPr>
            <p:cNvSpPr/>
            <p:nvPr/>
          </p:nvSpPr>
          <p:spPr>
            <a:xfrm rot="8716295">
              <a:off x="4568494" y="124591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1" name="Forme libre : forme 2330">
              <a:extLst>
                <a:ext uri="{FF2B5EF4-FFF2-40B4-BE49-F238E27FC236}">
                  <a16:creationId xmlns:a16="http://schemas.microsoft.com/office/drawing/2014/main" id="{E310C1A7-1622-4636-9F8F-00357321DCCD}"/>
                </a:ext>
              </a:extLst>
            </p:cNvPr>
            <p:cNvSpPr/>
            <p:nvPr/>
          </p:nvSpPr>
          <p:spPr>
            <a:xfrm rot="8716295">
              <a:off x="4556442" y="110713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2" name="Forme libre : forme 2331">
              <a:extLst>
                <a:ext uri="{FF2B5EF4-FFF2-40B4-BE49-F238E27FC236}">
                  <a16:creationId xmlns:a16="http://schemas.microsoft.com/office/drawing/2014/main" id="{E093D22D-87CF-4179-B856-856B8816CDDB}"/>
                </a:ext>
              </a:extLst>
            </p:cNvPr>
            <p:cNvSpPr/>
            <p:nvPr/>
          </p:nvSpPr>
          <p:spPr>
            <a:xfrm rot="8716295">
              <a:off x="4783575" y="149553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3" name="Forme libre : forme 2332">
              <a:extLst>
                <a:ext uri="{FF2B5EF4-FFF2-40B4-BE49-F238E27FC236}">
                  <a16:creationId xmlns:a16="http://schemas.microsoft.com/office/drawing/2014/main" id="{CA21BE4E-2CE3-44D7-B01E-A11EA3CF044C}"/>
                </a:ext>
              </a:extLst>
            </p:cNvPr>
            <p:cNvSpPr/>
            <p:nvPr/>
          </p:nvSpPr>
          <p:spPr>
            <a:xfrm rot="8716295">
              <a:off x="5094730" y="111588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4" name="Forme libre : forme 2333">
              <a:extLst>
                <a:ext uri="{FF2B5EF4-FFF2-40B4-BE49-F238E27FC236}">
                  <a16:creationId xmlns:a16="http://schemas.microsoft.com/office/drawing/2014/main" id="{73711CED-A7FD-4350-9BA7-26ABC33C9D94}"/>
                </a:ext>
              </a:extLst>
            </p:cNvPr>
            <p:cNvSpPr/>
            <p:nvPr/>
          </p:nvSpPr>
          <p:spPr>
            <a:xfrm rot="8716295">
              <a:off x="5184122" y="114513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5" name="Forme libre : forme 2334">
              <a:extLst>
                <a:ext uri="{FF2B5EF4-FFF2-40B4-BE49-F238E27FC236}">
                  <a16:creationId xmlns:a16="http://schemas.microsoft.com/office/drawing/2014/main" id="{ED8382FF-15B6-482C-B3FB-8E9D5BD3A367}"/>
                </a:ext>
              </a:extLst>
            </p:cNvPr>
            <p:cNvSpPr/>
            <p:nvPr/>
          </p:nvSpPr>
          <p:spPr>
            <a:xfrm rot="8716295">
              <a:off x="4982496" y="120443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6" name="Forme libre : forme 2335">
              <a:extLst>
                <a:ext uri="{FF2B5EF4-FFF2-40B4-BE49-F238E27FC236}">
                  <a16:creationId xmlns:a16="http://schemas.microsoft.com/office/drawing/2014/main" id="{CEB92DCD-B29B-4D83-8F6D-528A8F3F48AC}"/>
                </a:ext>
              </a:extLst>
            </p:cNvPr>
            <p:cNvSpPr/>
            <p:nvPr/>
          </p:nvSpPr>
          <p:spPr>
            <a:xfrm rot="8716295">
              <a:off x="4857594" y="99576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7" name="Forme libre : forme 2336">
              <a:extLst>
                <a:ext uri="{FF2B5EF4-FFF2-40B4-BE49-F238E27FC236}">
                  <a16:creationId xmlns:a16="http://schemas.microsoft.com/office/drawing/2014/main" id="{4D04373C-38A5-4453-98D9-6668F8BAEF6F}"/>
                </a:ext>
              </a:extLst>
            </p:cNvPr>
            <p:cNvSpPr/>
            <p:nvPr/>
          </p:nvSpPr>
          <p:spPr>
            <a:xfrm rot="8716295">
              <a:off x="5072674" y="124538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8" name="Forme libre : forme 2337">
              <a:extLst>
                <a:ext uri="{FF2B5EF4-FFF2-40B4-BE49-F238E27FC236}">
                  <a16:creationId xmlns:a16="http://schemas.microsoft.com/office/drawing/2014/main" id="{7AD448C6-BEA7-45DD-8AA2-CB2184786226}"/>
                </a:ext>
              </a:extLst>
            </p:cNvPr>
            <p:cNvSpPr/>
            <p:nvPr/>
          </p:nvSpPr>
          <p:spPr>
            <a:xfrm rot="8716295">
              <a:off x="4831223" y="109578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9" name="Forme libre : forme 2338">
              <a:extLst>
                <a:ext uri="{FF2B5EF4-FFF2-40B4-BE49-F238E27FC236}">
                  <a16:creationId xmlns:a16="http://schemas.microsoft.com/office/drawing/2014/main" id="{35EF6799-E484-4435-9DC6-7D0DE006E027}"/>
                </a:ext>
              </a:extLst>
            </p:cNvPr>
            <p:cNvSpPr/>
            <p:nvPr/>
          </p:nvSpPr>
          <p:spPr>
            <a:xfrm rot="7484129">
              <a:off x="5177605" y="143673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0" name="Forme libre : forme 2339">
              <a:extLst>
                <a:ext uri="{FF2B5EF4-FFF2-40B4-BE49-F238E27FC236}">
                  <a16:creationId xmlns:a16="http://schemas.microsoft.com/office/drawing/2014/main" id="{21C69156-F46C-4928-B70D-009460F75B9F}"/>
                </a:ext>
              </a:extLst>
            </p:cNvPr>
            <p:cNvSpPr/>
            <p:nvPr/>
          </p:nvSpPr>
          <p:spPr>
            <a:xfrm rot="13089394">
              <a:off x="5282425" y="140327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1" name="Forme libre : forme 2340">
              <a:extLst>
                <a:ext uri="{FF2B5EF4-FFF2-40B4-BE49-F238E27FC236}">
                  <a16:creationId xmlns:a16="http://schemas.microsoft.com/office/drawing/2014/main" id="{1798CEF4-84B3-4FCD-A779-F1E83B6AD50D}"/>
                </a:ext>
              </a:extLst>
            </p:cNvPr>
            <p:cNvSpPr/>
            <p:nvPr/>
          </p:nvSpPr>
          <p:spPr>
            <a:xfrm rot="8716295">
              <a:off x="5468010" y="121158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2" name="Forme libre : forme 2341">
              <a:extLst>
                <a:ext uri="{FF2B5EF4-FFF2-40B4-BE49-F238E27FC236}">
                  <a16:creationId xmlns:a16="http://schemas.microsoft.com/office/drawing/2014/main" id="{3EC2D62C-CF18-46C7-B24E-7DDD8382F5CE}"/>
                </a:ext>
              </a:extLst>
            </p:cNvPr>
            <p:cNvSpPr/>
            <p:nvPr/>
          </p:nvSpPr>
          <p:spPr>
            <a:xfrm rot="8716295">
              <a:off x="5416205" y="110799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3" name="Forme libre : forme 2342">
              <a:extLst>
                <a:ext uri="{FF2B5EF4-FFF2-40B4-BE49-F238E27FC236}">
                  <a16:creationId xmlns:a16="http://schemas.microsoft.com/office/drawing/2014/main" id="{B05F2E20-58A5-4922-8600-DD820E78EE4E}"/>
                </a:ext>
              </a:extLst>
            </p:cNvPr>
            <p:cNvSpPr/>
            <p:nvPr/>
          </p:nvSpPr>
          <p:spPr>
            <a:xfrm rot="8716295">
              <a:off x="5172959" y="113821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4" name="Forme libre : forme 2343">
              <a:extLst>
                <a:ext uri="{FF2B5EF4-FFF2-40B4-BE49-F238E27FC236}">
                  <a16:creationId xmlns:a16="http://schemas.microsoft.com/office/drawing/2014/main" id="{B54ADC56-D20D-4C1D-BBA8-5BF0D1D5989C}"/>
                </a:ext>
              </a:extLst>
            </p:cNvPr>
            <p:cNvSpPr/>
            <p:nvPr/>
          </p:nvSpPr>
          <p:spPr>
            <a:xfrm rot="8716295">
              <a:off x="5350411" y="97897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5" name="Forme libre : forme 2344">
              <a:extLst>
                <a:ext uri="{FF2B5EF4-FFF2-40B4-BE49-F238E27FC236}">
                  <a16:creationId xmlns:a16="http://schemas.microsoft.com/office/drawing/2014/main" id="{6F7A1710-4C02-4DCC-B78B-511BDFFD55F4}"/>
                </a:ext>
              </a:extLst>
            </p:cNvPr>
            <p:cNvSpPr/>
            <p:nvPr/>
          </p:nvSpPr>
          <p:spPr>
            <a:xfrm rot="8716295">
              <a:off x="4582464" y="70634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6" name="Forme libre : forme 2345">
              <a:extLst>
                <a:ext uri="{FF2B5EF4-FFF2-40B4-BE49-F238E27FC236}">
                  <a16:creationId xmlns:a16="http://schemas.microsoft.com/office/drawing/2014/main" id="{D536F172-354E-4C75-A2CF-32C24FBDD45C}"/>
                </a:ext>
              </a:extLst>
            </p:cNvPr>
            <p:cNvSpPr/>
            <p:nvPr/>
          </p:nvSpPr>
          <p:spPr>
            <a:xfrm rot="8716295">
              <a:off x="4671856" y="73558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7" name="Forme libre : forme 2346">
              <a:extLst>
                <a:ext uri="{FF2B5EF4-FFF2-40B4-BE49-F238E27FC236}">
                  <a16:creationId xmlns:a16="http://schemas.microsoft.com/office/drawing/2014/main" id="{E02EE465-AAEF-4A1C-9A7C-9D1D91F4D60A}"/>
                </a:ext>
              </a:extLst>
            </p:cNvPr>
            <p:cNvSpPr/>
            <p:nvPr/>
          </p:nvSpPr>
          <p:spPr>
            <a:xfrm rot="8716295">
              <a:off x="4627006" y="64930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8" name="Forme libre : forme 2347">
              <a:extLst>
                <a:ext uri="{FF2B5EF4-FFF2-40B4-BE49-F238E27FC236}">
                  <a16:creationId xmlns:a16="http://schemas.microsoft.com/office/drawing/2014/main" id="{0D825FEE-DBE8-4D57-B9F7-C97353B9827C}"/>
                </a:ext>
              </a:extLst>
            </p:cNvPr>
            <p:cNvSpPr/>
            <p:nvPr/>
          </p:nvSpPr>
          <p:spPr>
            <a:xfrm rot="8716295">
              <a:off x="4470230" y="79488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9" name="Forme libre : forme 2348">
              <a:extLst>
                <a:ext uri="{FF2B5EF4-FFF2-40B4-BE49-F238E27FC236}">
                  <a16:creationId xmlns:a16="http://schemas.microsoft.com/office/drawing/2014/main" id="{78F83AD2-75B7-4595-9386-952F6FD22400}"/>
                </a:ext>
              </a:extLst>
            </p:cNvPr>
            <p:cNvSpPr/>
            <p:nvPr/>
          </p:nvSpPr>
          <p:spPr>
            <a:xfrm rot="8716295">
              <a:off x="4345327" y="58621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0" name="Forme libre : forme 2349">
              <a:extLst>
                <a:ext uri="{FF2B5EF4-FFF2-40B4-BE49-F238E27FC236}">
                  <a16:creationId xmlns:a16="http://schemas.microsoft.com/office/drawing/2014/main" id="{BA220240-D69B-4B6C-A6FC-E65389644BCE}"/>
                </a:ext>
              </a:extLst>
            </p:cNvPr>
            <p:cNvSpPr/>
            <p:nvPr/>
          </p:nvSpPr>
          <p:spPr>
            <a:xfrm rot="8716295">
              <a:off x="4333275" y="44743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1" name="Forme libre : forme 2350">
              <a:extLst>
                <a:ext uri="{FF2B5EF4-FFF2-40B4-BE49-F238E27FC236}">
                  <a16:creationId xmlns:a16="http://schemas.microsoft.com/office/drawing/2014/main" id="{B0074431-ABFA-4C3E-95DE-330C2C35B482}"/>
                </a:ext>
              </a:extLst>
            </p:cNvPr>
            <p:cNvSpPr/>
            <p:nvPr/>
          </p:nvSpPr>
          <p:spPr>
            <a:xfrm rot="8716295">
              <a:off x="4560408" y="83583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2" name="Forme libre : forme 2351">
              <a:extLst>
                <a:ext uri="{FF2B5EF4-FFF2-40B4-BE49-F238E27FC236}">
                  <a16:creationId xmlns:a16="http://schemas.microsoft.com/office/drawing/2014/main" id="{6A1A478E-7B4F-4A07-B728-A4383F55F532}"/>
                </a:ext>
              </a:extLst>
            </p:cNvPr>
            <p:cNvSpPr/>
            <p:nvPr/>
          </p:nvSpPr>
          <p:spPr>
            <a:xfrm rot="8716295">
              <a:off x="4871563" y="45619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3" name="Forme libre : forme 2352">
              <a:extLst>
                <a:ext uri="{FF2B5EF4-FFF2-40B4-BE49-F238E27FC236}">
                  <a16:creationId xmlns:a16="http://schemas.microsoft.com/office/drawing/2014/main" id="{FF3D4263-7FF6-40B4-B16E-F0F9B7A6D208}"/>
                </a:ext>
              </a:extLst>
            </p:cNvPr>
            <p:cNvSpPr/>
            <p:nvPr/>
          </p:nvSpPr>
          <p:spPr>
            <a:xfrm rot="8716295">
              <a:off x="4960955" y="48543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4" name="Forme libre : forme 2353">
              <a:extLst>
                <a:ext uri="{FF2B5EF4-FFF2-40B4-BE49-F238E27FC236}">
                  <a16:creationId xmlns:a16="http://schemas.microsoft.com/office/drawing/2014/main" id="{83EFFBE3-A8A8-4DEE-AEC9-4D3EA9760312}"/>
                </a:ext>
              </a:extLst>
            </p:cNvPr>
            <p:cNvSpPr/>
            <p:nvPr/>
          </p:nvSpPr>
          <p:spPr>
            <a:xfrm rot="8716295">
              <a:off x="4759329" y="54473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5" name="Forme libre : forme 2354">
              <a:extLst>
                <a:ext uri="{FF2B5EF4-FFF2-40B4-BE49-F238E27FC236}">
                  <a16:creationId xmlns:a16="http://schemas.microsoft.com/office/drawing/2014/main" id="{2CB1E6B8-6C1B-4CFB-9BB4-204CCAECF5EF}"/>
                </a:ext>
              </a:extLst>
            </p:cNvPr>
            <p:cNvSpPr/>
            <p:nvPr/>
          </p:nvSpPr>
          <p:spPr>
            <a:xfrm rot="8716295">
              <a:off x="4634427" y="33606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6" name="Forme libre : forme 2355">
              <a:extLst>
                <a:ext uri="{FF2B5EF4-FFF2-40B4-BE49-F238E27FC236}">
                  <a16:creationId xmlns:a16="http://schemas.microsoft.com/office/drawing/2014/main" id="{C87D3796-A862-4777-A308-4706FE535F62}"/>
                </a:ext>
              </a:extLst>
            </p:cNvPr>
            <p:cNvSpPr/>
            <p:nvPr/>
          </p:nvSpPr>
          <p:spPr>
            <a:xfrm rot="8716295">
              <a:off x="4849507" y="58568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7" name="Forme libre : forme 2356">
              <a:extLst>
                <a:ext uri="{FF2B5EF4-FFF2-40B4-BE49-F238E27FC236}">
                  <a16:creationId xmlns:a16="http://schemas.microsoft.com/office/drawing/2014/main" id="{1ACC11AE-8F0F-4403-A846-2BBA1B5FB06A}"/>
                </a:ext>
              </a:extLst>
            </p:cNvPr>
            <p:cNvSpPr/>
            <p:nvPr/>
          </p:nvSpPr>
          <p:spPr>
            <a:xfrm rot="8716295">
              <a:off x="4608056" y="43608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8" name="Forme libre : forme 2357">
              <a:extLst>
                <a:ext uri="{FF2B5EF4-FFF2-40B4-BE49-F238E27FC236}">
                  <a16:creationId xmlns:a16="http://schemas.microsoft.com/office/drawing/2014/main" id="{6BBCBD03-EC40-4B6A-94A0-044ACDD5545A}"/>
                </a:ext>
              </a:extLst>
            </p:cNvPr>
            <p:cNvSpPr/>
            <p:nvPr/>
          </p:nvSpPr>
          <p:spPr>
            <a:xfrm rot="7484129">
              <a:off x="4954438" y="77703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9" name="Forme libre : forme 2358">
              <a:extLst>
                <a:ext uri="{FF2B5EF4-FFF2-40B4-BE49-F238E27FC236}">
                  <a16:creationId xmlns:a16="http://schemas.microsoft.com/office/drawing/2014/main" id="{A0436840-05C9-42F3-8F79-A951B2C27E5B}"/>
                </a:ext>
              </a:extLst>
            </p:cNvPr>
            <p:cNvSpPr/>
            <p:nvPr/>
          </p:nvSpPr>
          <p:spPr>
            <a:xfrm rot="13089394">
              <a:off x="5059258" y="743571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0" name="Forme libre : forme 2359">
              <a:extLst>
                <a:ext uri="{FF2B5EF4-FFF2-40B4-BE49-F238E27FC236}">
                  <a16:creationId xmlns:a16="http://schemas.microsoft.com/office/drawing/2014/main" id="{18E5CE87-13E3-4167-9392-FE5C76C94FDF}"/>
                </a:ext>
              </a:extLst>
            </p:cNvPr>
            <p:cNvSpPr/>
            <p:nvPr/>
          </p:nvSpPr>
          <p:spPr>
            <a:xfrm rot="8716295">
              <a:off x="5244843" y="55189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1" name="Forme libre : forme 2360">
              <a:extLst>
                <a:ext uri="{FF2B5EF4-FFF2-40B4-BE49-F238E27FC236}">
                  <a16:creationId xmlns:a16="http://schemas.microsoft.com/office/drawing/2014/main" id="{79B867E9-B21B-4950-B984-31FB698EA685}"/>
                </a:ext>
              </a:extLst>
            </p:cNvPr>
            <p:cNvSpPr/>
            <p:nvPr/>
          </p:nvSpPr>
          <p:spPr>
            <a:xfrm rot="8716295">
              <a:off x="5193038" y="44829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2" name="Forme libre : forme 2361">
              <a:extLst>
                <a:ext uri="{FF2B5EF4-FFF2-40B4-BE49-F238E27FC236}">
                  <a16:creationId xmlns:a16="http://schemas.microsoft.com/office/drawing/2014/main" id="{36B5DFC7-1584-496B-98BD-B274803CFC03}"/>
                </a:ext>
              </a:extLst>
            </p:cNvPr>
            <p:cNvSpPr/>
            <p:nvPr/>
          </p:nvSpPr>
          <p:spPr>
            <a:xfrm rot="8716295">
              <a:off x="4949792" y="47851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3" name="Forme libre : forme 2362">
              <a:extLst>
                <a:ext uri="{FF2B5EF4-FFF2-40B4-BE49-F238E27FC236}">
                  <a16:creationId xmlns:a16="http://schemas.microsoft.com/office/drawing/2014/main" id="{173D4F02-9301-448C-BEBF-368C505DFEF7}"/>
                </a:ext>
              </a:extLst>
            </p:cNvPr>
            <p:cNvSpPr/>
            <p:nvPr/>
          </p:nvSpPr>
          <p:spPr>
            <a:xfrm rot="8716295">
              <a:off x="5127244" y="31927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4" name="Forme libre : forme 2363">
              <a:extLst>
                <a:ext uri="{FF2B5EF4-FFF2-40B4-BE49-F238E27FC236}">
                  <a16:creationId xmlns:a16="http://schemas.microsoft.com/office/drawing/2014/main" id="{ED7BE141-A682-458B-B00E-8C240AAEF92B}"/>
                </a:ext>
              </a:extLst>
            </p:cNvPr>
            <p:cNvSpPr/>
            <p:nvPr/>
          </p:nvSpPr>
          <p:spPr>
            <a:xfrm rot="8716295">
              <a:off x="4363525" y="4428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5" name="Forme libre : forme 2364">
              <a:extLst>
                <a:ext uri="{FF2B5EF4-FFF2-40B4-BE49-F238E27FC236}">
                  <a16:creationId xmlns:a16="http://schemas.microsoft.com/office/drawing/2014/main" id="{5D5D6D8D-B4BF-42B6-B50D-A71215211BA8}"/>
                </a:ext>
              </a:extLst>
            </p:cNvPr>
            <p:cNvSpPr/>
            <p:nvPr/>
          </p:nvSpPr>
          <p:spPr>
            <a:xfrm rot="8716295">
              <a:off x="4452917" y="7352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6" name="Forme libre : forme 2365">
              <a:extLst>
                <a:ext uri="{FF2B5EF4-FFF2-40B4-BE49-F238E27FC236}">
                  <a16:creationId xmlns:a16="http://schemas.microsoft.com/office/drawing/2014/main" id="{92D0CC5C-A64F-4456-AD2B-2B2768047B43}"/>
                </a:ext>
              </a:extLst>
            </p:cNvPr>
            <p:cNvSpPr/>
            <p:nvPr/>
          </p:nvSpPr>
          <p:spPr>
            <a:xfrm rot="8716295">
              <a:off x="4414002" y="19341"/>
              <a:ext cx="155050" cy="113964"/>
            </a:xfrm>
            <a:custGeom>
              <a:avLst/>
              <a:gdLst>
                <a:gd name="connsiteX0" fmla="*/ 25756 w 155050"/>
                <a:gd name="connsiteY0" fmla="*/ 113964 h 113964"/>
                <a:gd name="connsiteX1" fmla="*/ 0 w 155050"/>
                <a:gd name="connsiteY1" fmla="*/ 96110 h 113964"/>
                <a:gd name="connsiteX2" fmla="*/ 72120 w 155050"/>
                <a:gd name="connsiteY2" fmla="*/ 28251 h 113964"/>
                <a:gd name="connsiteX3" fmla="*/ 126799 w 155050"/>
                <a:gd name="connsiteY3" fmla="*/ 0 h 113964"/>
                <a:gd name="connsiteX4" fmla="*/ 155050 w 155050"/>
                <a:gd name="connsiteY4" fmla="*/ 33719 h 113964"/>
                <a:gd name="connsiteX5" fmla="*/ 128622 w 155050"/>
                <a:gd name="connsiteY5" fmla="*/ 69261 h 113964"/>
                <a:gd name="connsiteX6" fmla="*/ 129077 w 155050"/>
                <a:gd name="connsiteY6" fmla="*/ 69261 h 113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5050" h="113964">
                  <a:moveTo>
                    <a:pt x="25756" y="113964"/>
                  </a:moveTo>
                  <a:lnTo>
                    <a:pt x="0" y="96110"/>
                  </a:lnTo>
                  <a:lnTo>
                    <a:pt x="72120" y="28251"/>
                  </a:lnTo>
                  <a:cubicBezTo>
                    <a:pt x="85790" y="12303"/>
                    <a:pt x="105383" y="2279"/>
                    <a:pt x="126799" y="0"/>
                  </a:cubicBezTo>
                  <a:cubicBezTo>
                    <a:pt x="148671" y="0"/>
                    <a:pt x="155050" y="19138"/>
                    <a:pt x="155050" y="33719"/>
                  </a:cubicBezTo>
                  <a:cubicBezTo>
                    <a:pt x="153683" y="49668"/>
                    <a:pt x="143203" y="62882"/>
                    <a:pt x="128622" y="69261"/>
                  </a:cubicBezTo>
                  <a:lnTo>
                    <a:pt x="129077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7" name="Forme libre : forme 2366">
              <a:extLst>
                <a:ext uri="{FF2B5EF4-FFF2-40B4-BE49-F238E27FC236}">
                  <a16:creationId xmlns:a16="http://schemas.microsoft.com/office/drawing/2014/main" id="{3D7F33EE-E953-4F70-8F6D-B7AB877234D1}"/>
                </a:ext>
              </a:extLst>
            </p:cNvPr>
            <p:cNvSpPr/>
            <p:nvPr/>
          </p:nvSpPr>
          <p:spPr>
            <a:xfrm rot="8716295">
              <a:off x="4251291" y="13282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8" name="Forme libre : forme 2367">
              <a:extLst>
                <a:ext uri="{FF2B5EF4-FFF2-40B4-BE49-F238E27FC236}">
                  <a16:creationId xmlns:a16="http://schemas.microsoft.com/office/drawing/2014/main" id="{D6111605-705A-468C-9B0C-336BD1C692B5}"/>
                </a:ext>
              </a:extLst>
            </p:cNvPr>
            <p:cNvSpPr/>
            <p:nvPr/>
          </p:nvSpPr>
          <p:spPr>
            <a:xfrm rot="8716295">
              <a:off x="4140033" y="-17870"/>
              <a:ext cx="203847" cy="132136"/>
            </a:xfrm>
            <a:custGeom>
              <a:avLst/>
              <a:gdLst>
                <a:gd name="connsiteX0" fmla="*/ 112633 w 203847"/>
                <a:gd name="connsiteY0" fmla="*/ 132136 h 132136"/>
                <a:gd name="connsiteX1" fmla="*/ 56185 w 203847"/>
                <a:gd name="connsiteY1" fmla="*/ 93008 h 132136"/>
                <a:gd name="connsiteX2" fmla="*/ 69777 w 203847"/>
                <a:gd name="connsiteY2" fmla="*/ 55323 h 132136"/>
                <a:gd name="connsiteX3" fmla="*/ 1818 w 203847"/>
                <a:gd name="connsiteY3" fmla="*/ 55323 h 132136"/>
                <a:gd name="connsiteX4" fmla="*/ 0 w 203847"/>
                <a:gd name="connsiteY4" fmla="*/ 54062 h 132136"/>
                <a:gd name="connsiteX5" fmla="*/ 0 w 203847"/>
                <a:gd name="connsiteY5" fmla="*/ 0 h 132136"/>
                <a:gd name="connsiteX6" fmla="*/ 203847 w 203847"/>
                <a:gd name="connsiteY6" fmla="*/ 0 h 132136"/>
                <a:gd name="connsiteX7" fmla="*/ 203847 w 203847"/>
                <a:gd name="connsiteY7" fmla="*/ 55323 h 132136"/>
                <a:gd name="connsiteX8" fmla="*/ 139055 w 203847"/>
                <a:gd name="connsiteY8" fmla="*/ 55323 h 132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32136">
                  <a:moveTo>
                    <a:pt x="112633" y="132136"/>
                  </a:moveTo>
                  <a:lnTo>
                    <a:pt x="56185" y="93008"/>
                  </a:lnTo>
                  <a:lnTo>
                    <a:pt x="69777" y="55323"/>
                  </a:lnTo>
                  <a:lnTo>
                    <a:pt x="1818" y="55323"/>
                  </a:lnTo>
                  <a:lnTo>
                    <a:pt x="0" y="54062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9" name="Forme libre : forme 2368">
              <a:extLst>
                <a:ext uri="{FF2B5EF4-FFF2-40B4-BE49-F238E27FC236}">
                  <a16:creationId xmlns:a16="http://schemas.microsoft.com/office/drawing/2014/main" id="{60D6361D-5926-494E-85F4-B15D013F850E}"/>
                </a:ext>
              </a:extLst>
            </p:cNvPr>
            <p:cNvSpPr/>
            <p:nvPr/>
          </p:nvSpPr>
          <p:spPr>
            <a:xfrm rot="8716295">
              <a:off x="4382970" y="-25447"/>
              <a:ext cx="64855" cy="78311"/>
            </a:xfrm>
            <a:custGeom>
              <a:avLst/>
              <a:gdLst>
                <a:gd name="connsiteX0" fmla="*/ 64855 w 64855"/>
                <a:gd name="connsiteY0" fmla="*/ 78311 h 78311"/>
                <a:gd name="connsiteX1" fmla="*/ 0 w 64855"/>
                <a:gd name="connsiteY1" fmla="*/ 33356 h 78311"/>
                <a:gd name="connsiteX2" fmla="*/ 64294 w 64855"/>
                <a:gd name="connsiteY2" fmla="*/ 0 h 78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855" h="78311">
                  <a:moveTo>
                    <a:pt x="64855" y="78311"/>
                  </a:moveTo>
                  <a:lnTo>
                    <a:pt x="0" y="33356"/>
                  </a:lnTo>
                  <a:lnTo>
                    <a:pt x="64294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0" name="Forme libre : forme 2369">
              <a:extLst>
                <a:ext uri="{FF2B5EF4-FFF2-40B4-BE49-F238E27FC236}">
                  <a16:creationId xmlns:a16="http://schemas.microsoft.com/office/drawing/2014/main" id="{FC82A592-4B0B-4A64-A63D-8ACF6D9AAB23}"/>
                </a:ext>
              </a:extLst>
            </p:cNvPr>
            <p:cNvSpPr/>
            <p:nvPr/>
          </p:nvSpPr>
          <p:spPr>
            <a:xfrm rot="8716295">
              <a:off x="4341469" y="17378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1" name="Forme libre : forme 2370">
              <a:extLst>
                <a:ext uri="{FF2B5EF4-FFF2-40B4-BE49-F238E27FC236}">
                  <a16:creationId xmlns:a16="http://schemas.microsoft.com/office/drawing/2014/main" id="{6A20E7DD-05E5-4FA0-8F57-2B55062F7CD1}"/>
                </a:ext>
              </a:extLst>
            </p:cNvPr>
            <p:cNvSpPr/>
            <p:nvPr/>
          </p:nvSpPr>
          <p:spPr>
            <a:xfrm rot="8716295">
              <a:off x="4707227" y="-28335"/>
              <a:ext cx="81756" cy="56671"/>
            </a:xfrm>
            <a:custGeom>
              <a:avLst/>
              <a:gdLst>
                <a:gd name="connsiteX0" fmla="*/ 81756 w 81756"/>
                <a:gd name="connsiteY0" fmla="*/ 56671 h 56671"/>
                <a:gd name="connsiteX1" fmla="*/ 0 w 81756"/>
                <a:gd name="connsiteY1" fmla="*/ 0 h 56671"/>
                <a:gd name="connsiteX2" fmla="*/ 24798 w 81756"/>
                <a:gd name="connsiteY2" fmla="*/ 0 h 56671"/>
                <a:gd name="connsiteX3" fmla="*/ 81756 w 81756"/>
                <a:gd name="connsiteY3" fmla="*/ 50123 h 56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1756" h="56671">
                  <a:moveTo>
                    <a:pt x="81756" y="56671"/>
                  </a:moveTo>
                  <a:lnTo>
                    <a:pt x="0" y="0"/>
                  </a:lnTo>
                  <a:lnTo>
                    <a:pt x="24798" y="0"/>
                  </a:lnTo>
                  <a:cubicBezTo>
                    <a:pt x="61707" y="0"/>
                    <a:pt x="81756" y="15949"/>
                    <a:pt x="81756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2" name="Forme libre : forme 2371">
              <a:extLst>
                <a:ext uri="{FF2B5EF4-FFF2-40B4-BE49-F238E27FC236}">
                  <a16:creationId xmlns:a16="http://schemas.microsoft.com/office/drawing/2014/main" id="{2490B76E-46EB-4272-924E-6D995CAFB965}"/>
                </a:ext>
              </a:extLst>
            </p:cNvPr>
            <p:cNvSpPr/>
            <p:nvPr/>
          </p:nvSpPr>
          <p:spPr>
            <a:xfrm rot="8716295">
              <a:off x="4788322" y="-25624"/>
              <a:ext cx="219411" cy="98025"/>
            </a:xfrm>
            <a:custGeom>
              <a:avLst/>
              <a:gdLst>
                <a:gd name="connsiteX0" fmla="*/ 63575 w 219411"/>
                <a:gd name="connsiteY0" fmla="*/ 45493 h 98025"/>
                <a:gd name="connsiteX1" fmla="*/ 0 w 219411"/>
                <a:gd name="connsiteY1" fmla="*/ 1425 h 98025"/>
                <a:gd name="connsiteX2" fmla="*/ 63575 w 219411"/>
                <a:gd name="connsiteY2" fmla="*/ 1425 h 98025"/>
                <a:gd name="connsiteX3" fmla="*/ 88634 w 219411"/>
                <a:gd name="connsiteY3" fmla="*/ 62863 h 98025"/>
                <a:gd name="connsiteX4" fmla="*/ 73596 w 219411"/>
                <a:gd name="connsiteY4" fmla="*/ 52439 h 98025"/>
                <a:gd name="connsiteX5" fmla="*/ 75493 w 219411"/>
                <a:gd name="connsiteY5" fmla="*/ 47439 h 98025"/>
                <a:gd name="connsiteX6" fmla="*/ 112786 w 219411"/>
                <a:gd name="connsiteY6" fmla="*/ 5981 h 98025"/>
                <a:gd name="connsiteX7" fmla="*/ 144227 w 219411"/>
                <a:gd name="connsiteY7" fmla="*/ 57 h 98025"/>
                <a:gd name="connsiteX8" fmla="*/ 219411 w 219411"/>
                <a:gd name="connsiteY8" fmla="*/ 88456 h 98025"/>
                <a:gd name="connsiteX9" fmla="*/ 219411 w 219411"/>
                <a:gd name="connsiteY9" fmla="*/ 94380 h 98025"/>
                <a:gd name="connsiteX10" fmla="*/ 157441 w 219411"/>
                <a:gd name="connsiteY10" fmla="*/ 98025 h 98025"/>
                <a:gd name="connsiteX11" fmla="*/ 157441 w 219411"/>
                <a:gd name="connsiteY11" fmla="*/ 81621 h 98025"/>
                <a:gd name="connsiteX12" fmla="*/ 123722 w 219411"/>
                <a:gd name="connsiteY12" fmla="*/ 40156 h 98025"/>
                <a:gd name="connsiteX13" fmla="*/ 103089 w 219411"/>
                <a:gd name="connsiteY13" fmla="*/ 46969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9411" h="98025">
                  <a:moveTo>
                    <a:pt x="63575" y="45493"/>
                  </a:moveTo>
                  <a:lnTo>
                    <a:pt x="0" y="1425"/>
                  </a:lnTo>
                  <a:lnTo>
                    <a:pt x="63575" y="1425"/>
                  </a:lnTo>
                  <a:close/>
                  <a:moveTo>
                    <a:pt x="88634" y="62863"/>
                  </a:moveTo>
                  <a:lnTo>
                    <a:pt x="73596" y="52439"/>
                  </a:lnTo>
                  <a:lnTo>
                    <a:pt x="75493" y="47439"/>
                  </a:lnTo>
                  <a:cubicBezTo>
                    <a:pt x="85874" y="24008"/>
                    <a:pt x="96382" y="12816"/>
                    <a:pt x="112786" y="5981"/>
                  </a:cubicBezTo>
                  <a:cubicBezTo>
                    <a:pt x="122811" y="1880"/>
                    <a:pt x="133291" y="-398"/>
                    <a:pt x="144227" y="57"/>
                  </a:cubicBezTo>
                  <a:cubicBezTo>
                    <a:pt x="191160" y="-854"/>
                    <a:pt x="219411" y="31954"/>
                    <a:pt x="219411" y="88456"/>
                  </a:cubicBezTo>
                  <a:lnTo>
                    <a:pt x="219411" y="94380"/>
                  </a:lnTo>
                  <a:lnTo>
                    <a:pt x="157441" y="98025"/>
                  </a:lnTo>
                  <a:lnTo>
                    <a:pt x="157441" y="81621"/>
                  </a:lnTo>
                  <a:cubicBezTo>
                    <a:pt x="157441" y="57016"/>
                    <a:pt x="143316" y="40156"/>
                    <a:pt x="123722" y="40156"/>
                  </a:cubicBezTo>
                  <a:cubicBezTo>
                    <a:pt x="116431" y="40156"/>
                    <a:pt x="109454" y="42577"/>
                    <a:pt x="103089" y="4696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3" name="Forme libre : forme 2372">
              <a:extLst>
                <a:ext uri="{FF2B5EF4-FFF2-40B4-BE49-F238E27FC236}">
                  <a16:creationId xmlns:a16="http://schemas.microsoft.com/office/drawing/2014/main" id="{8E267C66-2E07-4F73-9340-012E8A048A8A}"/>
                </a:ext>
              </a:extLst>
            </p:cNvPr>
            <p:cNvSpPr/>
            <p:nvPr/>
          </p:nvSpPr>
          <p:spPr>
            <a:xfrm rot="8716295">
              <a:off x="4630568" y="-7637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4" name="Forme libre : forme 2373">
              <a:extLst>
                <a:ext uri="{FF2B5EF4-FFF2-40B4-BE49-F238E27FC236}">
                  <a16:creationId xmlns:a16="http://schemas.microsoft.com/office/drawing/2014/main" id="{78F0F09F-9A5B-4F4A-9DBF-86D570560CEC}"/>
                </a:ext>
              </a:extLst>
            </p:cNvPr>
            <p:cNvSpPr/>
            <p:nvPr/>
          </p:nvSpPr>
          <p:spPr>
            <a:xfrm rot="7484129">
              <a:off x="4735499" y="11497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5" name="Forme libre : forme 2374">
              <a:extLst>
                <a:ext uri="{FF2B5EF4-FFF2-40B4-BE49-F238E27FC236}">
                  <a16:creationId xmlns:a16="http://schemas.microsoft.com/office/drawing/2014/main" id="{78184C10-D416-4CB8-BB4E-B2E159FC9497}"/>
                </a:ext>
              </a:extLst>
            </p:cNvPr>
            <p:cNvSpPr/>
            <p:nvPr/>
          </p:nvSpPr>
          <p:spPr>
            <a:xfrm rot="13089394">
              <a:off x="4840319" y="8151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6" name="Forme libre : forme 2375">
              <a:extLst>
                <a:ext uri="{FF2B5EF4-FFF2-40B4-BE49-F238E27FC236}">
                  <a16:creationId xmlns:a16="http://schemas.microsoft.com/office/drawing/2014/main" id="{BF43E5AD-AF64-4DBC-99B6-CB8CB0A23CDF}"/>
                </a:ext>
              </a:extLst>
            </p:cNvPr>
            <p:cNvSpPr/>
            <p:nvPr/>
          </p:nvSpPr>
          <p:spPr>
            <a:xfrm rot="8716295">
              <a:off x="5051883" y="-11617"/>
              <a:ext cx="112042" cy="89932"/>
            </a:xfrm>
            <a:custGeom>
              <a:avLst/>
              <a:gdLst>
                <a:gd name="connsiteX0" fmla="*/ 62355 w 112042"/>
                <a:gd name="connsiteY0" fmla="*/ 89932 h 89932"/>
                <a:gd name="connsiteX1" fmla="*/ 0 w 112042"/>
                <a:gd name="connsiteY1" fmla="*/ 46710 h 89932"/>
                <a:gd name="connsiteX2" fmla="*/ 14231 w 112042"/>
                <a:gd name="connsiteY2" fmla="*/ 33321 h 89932"/>
                <a:gd name="connsiteX3" fmla="*/ 78722 w 112042"/>
                <a:gd name="connsiteY3" fmla="*/ 0 h 89932"/>
                <a:gd name="connsiteX4" fmla="*/ 112042 w 112042"/>
                <a:gd name="connsiteY4" fmla="*/ 39770 h 89932"/>
                <a:gd name="connsiteX5" fmla="*/ 80872 w 112042"/>
                <a:gd name="connsiteY5" fmla="*/ 81689 h 89932"/>
                <a:gd name="connsiteX6" fmla="*/ 81408 w 112042"/>
                <a:gd name="connsiteY6" fmla="*/ 81689 h 89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2042" h="89932">
                  <a:moveTo>
                    <a:pt x="62355" y="89932"/>
                  </a:moveTo>
                  <a:lnTo>
                    <a:pt x="0" y="46710"/>
                  </a:lnTo>
                  <a:lnTo>
                    <a:pt x="14231" y="33321"/>
                  </a:lnTo>
                  <a:cubicBezTo>
                    <a:pt x="30353" y="14511"/>
                    <a:pt x="53462" y="2687"/>
                    <a:pt x="78722" y="0"/>
                  </a:cubicBezTo>
                  <a:cubicBezTo>
                    <a:pt x="104518" y="0"/>
                    <a:pt x="112042" y="22572"/>
                    <a:pt x="112042" y="39770"/>
                  </a:cubicBezTo>
                  <a:cubicBezTo>
                    <a:pt x="110429" y="58580"/>
                    <a:pt x="98068" y="74165"/>
                    <a:pt x="80872" y="81689"/>
                  </a:cubicBezTo>
                  <a:lnTo>
                    <a:pt x="81408" y="816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7" name="Forme libre : forme 2376">
              <a:extLst>
                <a:ext uri="{FF2B5EF4-FFF2-40B4-BE49-F238E27FC236}">
                  <a16:creationId xmlns:a16="http://schemas.microsoft.com/office/drawing/2014/main" id="{26D2FA4F-18E7-494F-86E7-D42024EE660E}"/>
                </a:ext>
              </a:extLst>
            </p:cNvPr>
            <p:cNvSpPr/>
            <p:nvPr/>
          </p:nvSpPr>
          <p:spPr>
            <a:xfrm rot="8716295">
              <a:off x="4142433" y="246392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8" name="Forme libre : forme 2377">
              <a:extLst>
                <a:ext uri="{FF2B5EF4-FFF2-40B4-BE49-F238E27FC236}">
                  <a16:creationId xmlns:a16="http://schemas.microsoft.com/office/drawing/2014/main" id="{8944C994-EC14-42D7-8113-E4AD6478A149}"/>
                </a:ext>
              </a:extLst>
            </p:cNvPr>
            <p:cNvSpPr/>
            <p:nvPr/>
          </p:nvSpPr>
          <p:spPr>
            <a:xfrm rot="8716295">
              <a:off x="4231825" y="249316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9" name="Forme libre : forme 2378">
              <a:extLst>
                <a:ext uri="{FF2B5EF4-FFF2-40B4-BE49-F238E27FC236}">
                  <a16:creationId xmlns:a16="http://schemas.microsoft.com/office/drawing/2014/main" id="{58192FC9-A1C8-4708-8225-509EE82E999A}"/>
                </a:ext>
              </a:extLst>
            </p:cNvPr>
            <p:cNvSpPr/>
            <p:nvPr/>
          </p:nvSpPr>
          <p:spPr>
            <a:xfrm rot="8716295">
              <a:off x="4186975" y="240688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0" name="Forme libre : forme 2379">
              <a:extLst>
                <a:ext uri="{FF2B5EF4-FFF2-40B4-BE49-F238E27FC236}">
                  <a16:creationId xmlns:a16="http://schemas.microsoft.com/office/drawing/2014/main" id="{C486D111-D4F8-4846-BF95-F7163EE73BEE}"/>
                </a:ext>
              </a:extLst>
            </p:cNvPr>
            <p:cNvSpPr/>
            <p:nvPr/>
          </p:nvSpPr>
          <p:spPr>
            <a:xfrm rot="8716295">
              <a:off x="4030199" y="255246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1" name="Forme libre : forme 2380">
              <a:extLst>
                <a:ext uri="{FF2B5EF4-FFF2-40B4-BE49-F238E27FC236}">
                  <a16:creationId xmlns:a16="http://schemas.microsoft.com/office/drawing/2014/main" id="{A056C44E-4EEE-45C1-B42B-67B9971F1D6B}"/>
                </a:ext>
              </a:extLst>
            </p:cNvPr>
            <p:cNvSpPr/>
            <p:nvPr/>
          </p:nvSpPr>
          <p:spPr>
            <a:xfrm rot="8716295">
              <a:off x="3905296" y="234379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2" name="Forme libre : forme 2381">
              <a:extLst>
                <a:ext uri="{FF2B5EF4-FFF2-40B4-BE49-F238E27FC236}">
                  <a16:creationId xmlns:a16="http://schemas.microsoft.com/office/drawing/2014/main" id="{1595D241-3B9E-492F-B5E8-BEF6BBA7E0C4}"/>
                </a:ext>
              </a:extLst>
            </p:cNvPr>
            <p:cNvSpPr/>
            <p:nvPr/>
          </p:nvSpPr>
          <p:spPr>
            <a:xfrm rot="8716295">
              <a:off x="3893244" y="220501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3" name="Forme libre : forme 2382">
              <a:extLst>
                <a:ext uri="{FF2B5EF4-FFF2-40B4-BE49-F238E27FC236}">
                  <a16:creationId xmlns:a16="http://schemas.microsoft.com/office/drawing/2014/main" id="{D50BF1A5-3883-4503-8AB0-39544967FCA2}"/>
                </a:ext>
              </a:extLst>
            </p:cNvPr>
            <p:cNvSpPr/>
            <p:nvPr/>
          </p:nvSpPr>
          <p:spPr>
            <a:xfrm rot="8716295">
              <a:off x="4120377" y="259342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4" name="Forme libre : forme 2383">
              <a:extLst>
                <a:ext uri="{FF2B5EF4-FFF2-40B4-BE49-F238E27FC236}">
                  <a16:creationId xmlns:a16="http://schemas.microsoft.com/office/drawing/2014/main" id="{0B8BE066-0168-4B85-9FA8-76371BFEBC23}"/>
                </a:ext>
              </a:extLst>
            </p:cNvPr>
            <p:cNvSpPr/>
            <p:nvPr/>
          </p:nvSpPr>
          <p:spPr>
            <a:xfrm rot="8716295">
              <a:off x="4431532" y="221377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5" name="Forme libre : forme 2384">
              <a:extLst>
                <a:ext uri="{FF2B5EF4-FFF2-40B4-BE49-F238E27FC236}">
                  <a16:creationId xmlns:a16="http://schemas.microsoft.com/office/drawing/2014/main" id="{35AEC013-8A96-4F7B-8121-5A77C7B85C89}"/>
                </a:ext>
              </a:extLst>
            </p:cNvPr>
            <p:cNvSpPr/>
            <p:nvPr/>
          </p:nvSpPr>
          <p:spPr>
            <a:xfrm rot="8716295">
              <a:off x="4520924" y="224301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6" name="Forme libre : forme 2385">
              <a:extLst>
                <a:ext uri="{FF2B5EF4-FFF2-40B4-BE49-F238E27FC236}">
                  <a16:creationId xmlns:a16="http://schemas.microsoft.com/office/drawing/2014/main" id="{134B4DCA-0087-4CBF-B7E2-1B6EFFD18866}"/>
                </a:ext>
              </a:extLst>
            </p:cNvPr>
            <p:cNvSpPr/>
            <p:nvPr/>
          </p:nvSpPr>
          <p:spPr>
            <a:xfrm rot="8716295">
              <a:off x="4319298" y="230231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7" name="Forme libre : forme 2386">
              <a:extLst>
                <a:ext uri="{FF2B5EF4-FFF2-40B4-BE49-F238E27FC236}">
                  <a16:creationId xmlns:a16="http://schemas.microsoft.com/office/drawing/2014/main" id="{163757B9-6FA5-43B3-BF05-4633A60F3C8C}"/>
                </a:ext>
              </a:extLst>
            </p:cNvPr>
            <p:cNvSpPr/>
            <p:nvPr/>
          </p:nvSpPr>
          <p:spPr>
            <a:xfrm rot="8716295">
              <a:off x="4194396" y="209364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8" name="Forme libre : forme 2387">
              <a:extLst>
                <a:ext uri="{FF2B5EF4-FFF2-40B4-BE49-F238E27FC236}">
                  <a16:creationId xmlns:a16="http://schemas.microsoft.com/office/drawing/2014/main" id="{E98B9827-653C-450A-90CC-AB24A5748561}"/>
                </a:ext>
              </a:extLst>
            </p:cNvPr>
            <p:cNvSpPr/>
            <p:nvPr/>
          </p:nvSpPr>
          <p:spPr>
            <a:xfrm rot="8716295">
              <a:off x="4409476" y="234326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9" name="Forme libre : forme 2388">
              <a:extLst>
                <a:ext uri="{FF2B5EF4-FFF2-40B4-BE49-F238E27FC236}">
                  <a16:creationId xmlns:a16="http://schemas.microsoft.com/office/drawing/2014/main" id="{FDDF805D-5240-4677-A207-30BF9FB2B531}"/>
                </a:ext>
              </a:extLst>
            </p:cNvPr>
            <p:cNvSpPr/>
            <p:nvPr/>
          </p:nvSpPr>
          <p:spPr>
            <a:xfrm rot="8716295">
              <a:off x="4168025" y="219366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0" name="Forme libre : forme 2389">
              <a:extLst>
                <a:ext uri="{FF2B5EF4-FFF2-40B4-BE49-F238E27FC236}">
                  <a16:creationId xmlns:a16="http://schemas.microsoft.com/office/drawing/2014/main" id="{C69C5DEB-0024-4F6B-9D95-227D595E9C83}"/>
                </a:ext>
              </a:extLst>
            </p:cNvPr>
            <p:cNvSpPr/>
            <p:nvPr/>
          </p:nvSpPr>
          <p:spPr>
            <a:xfrm rot="7484129">
              <a:off x="4514407" y="253461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1" name="Forme libre : forme 2390">
              <a:extLst>
                <a:ext uri="{FF2B5EF4-FFF2-40B4-BE49-F238E27FC236}">
                  <a16:creationId xmlns:a16="http://schemas.microsoft.com/office/drawing/2014/main" id="{0FB7443C-A618-4557-B32F-BF8D10D1B0F0}"/>
                </a:ext>
              </a:extLst>
            </p:cNvPr>
            <p:cNvSpPr/>
            <p:nvPr/>
          </p:nvSpPr>
          <p:spPr>
            <a:xfrm rot="13089394">
              <a:off x="4619227" y="250115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2" name="Forme libre : forme 2391">
              <a:extLst>
                <a:ext uri="{FF2B5EF4-FFF2-40B4-BE49-F238E27FC236}">
                  <a16:creationId xmlns:a16="http://schemas.microsoft.com/office/drawing/2014/main" id="{4C9C1422-C0E5-4066-8236-95853DBC40C6}"/>
                </a:ext>
              </a:extLst>
            </p:cNvPr>
            <p:cNvSpPr/>
            <p:nvPr/>
          </p:nvSpPr>
          <p:spPr>
            <a:xfrm rot="8716295">
              <a:off x="4804812" y="230947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3" name="Forme libre : forme 2392">
              <a:extLst>
                <a:ext uri="{FF2B5EF4-FFF2-40B4-BE49-F238E27FC236}">
                  <a16:creationId xmlns:a16="http://schemas.microsoft.com/office/drawing/2014/main" id="{51D166AF-4976-4D8C-853D-6904E98B922E}"/>
                </a:ext>
              </a:extLst>
            </p:cNvPr>
            <p:cNvSpPr/>
            <p:nvPr/>
          </p:nvSpPr>
          <p:spPr>
            <a:xfrm rot="8716295">
              <a:off x="4753007" y="220587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4" name="Forme libre : forme 2393">
              <a:extLst>
                <a:ext uri="{FF2B5EF4-FFF2-40B4-BE49-F238E27FC236}">
                  <a16:creationId xmlns:a16="http://schemas.microsoft.com/office/drawing/2014/main" id="{BA326BA3-E1FE-4A3E-AE3D-4E61F745D645}"/>
                </a:ext>
              </a:extLst>
            </p:cNvPr>
            <p:cNvSpPr/>
            <p:nvPr/>
          </p:nvSpPr>
          <p:spPr>
            <a:xfrm rot="8716295">
              <a:off x="4509761" y="223610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5" name="Forme libre : forme 2394">
              <a:extLst>
                <a:ext uri="{FF2B5EF4-FFF2-40B4-BE49-F238E27FC236}">
                  <a16:creationId xmlns:a16="http://schemas.microsoft.com/office/drawing/2014/main" id="{8A46B46F-F0B1-417E-8C7A-6962AE3F21E6}"/>
                </a:ext>
              </a:extLst>
            </p:cNvPr>
            <p:cNvSpPr/>
            <p:nvPr/>
          </p:nvSpPr>
          <p:spPr>
            <a:xfrm rot="8716295">
              <a:off x="4687213" y="207685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6" name="Forme libre : forme 2395">
              <a:extLst>
                <a:ext uri="{FF2B5EF4-FFF2-40B4-BE49-F238E27FC236}">
                  <a16:creationId xmlns:a16="http://schemas.microsoft.com/office/drawing/2014/main" id="{C9994092-3035-4DD9-9E09-3BAFE682BCD7}"/>
                </a:ext>
              </a:extLst>
            </p:cNvPr>
            <p:cNvSpPr/>
            <p:nvPr/>
          </p:nvSpPr>
          <p:spPr>
            <a:xfrm rot="8716295">
              <a:off x="4365600" y="312362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7" name="Forme libre : forme 2396">
              <a:extLst>
                <a:ext uri="{FF2B5EF4-FFF2-40B4-BE49-F238E27FC236}">
                  <a16:creationId xmlns:a16="http://schemas.microsoft.com/office/drawing/2014/main" id="{AE33B394-B806-4A40-8CAA-93B4FF185583}"/>
                </a:ext>
              </a:extLst>
            </p:cNvPr>
            <p:cNvSpPr/>
            <p:nvPr/>
          </p:nvSpPr>
          <p:spPr>
            <a:xfrm rot="8716295">
              <a:off x="4454992" y="315286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8" name="Forme libre : forme 2397">
              <a:extLst>
                <a:ext uri="{FF2B5EF4-FFF2-40B4-BE49-F238E27FC236}">
                  <a16:creationId xmlns:a16="http://schemas.microsoft.com/office/drawing/2014/main" id="{E2E1CE7D-7E21-4BD0-BBC2-789A64762168}"/>
                </a:ext>
              </a:extLst>
            </p:cNvPr>
            <p:cNvSpPr/>
            <p:nvPr/>
          </p:nvSpPr>
          <p:spPr>
            <a:xfrm rot="8716295">
              <a:off x="4410142" y="306658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9" name="Forme libre : forme 2398">
              <a:extLst>
                <a:ext uri="{FF2B5EF4-FFF2-40B4-BE49-F238E27FC236}">
                  <a16:creationId xmlns:a16="http://schemas.microsoft.com/office/drawing/2014/main" id="{D750BA49-1FAF-4289-9C9E-5D6FD1245959}"/>
                </a:ext>
              </a:extLst>
            </p:cNvPr>
            <p:cNvSpPr/>
            <p:nvPr/>
          </p:nvSpPr>
          <p:spPr>
            <a:xfrm rot="8716295">
              <a:off x="4253366" y="321216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0" name="Forme libre : forme 2399">
              <a:extLst>
                <a:ext uri="{FF2B5EF4-FFF2-40B4-BE49-F238E27FC236}">
                  <a16:creationId xmlns:a16="http://schemas.microsoft.com/office/drawing/2014/main" id="{DE694502-8787-4DE5-AFA1-0F3754EC84F2}"/>
                </a:ext>
              </a:extLst>
            </p:cNvPr>
            <p:cNvSpPr/>
            <p:nvPr/>
          </p:nvSpPr>
          <p:spPr>
            <a:xfrm rot="8716295">
              <a:off x="4128463" y="300349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1" name="Forme libre : forme 2400">
              <a:extLst>
                <a:ext uri="{FF2B5EF4-FFF2-40B4-BE49-F238E27FC236}">
                  <a16:creationId xmlns:a16="http://schemas.microsoft.com/office/drawing/2014/main" id="{FDAB4DC0-8BEB-4DD5-9B59-3390B09A63B4}"/>
                </a:ext>
              </a:extLst>
            </p:cNvPr>
            <p:cNvSpPr/>
            <p:nvPr/>
          </p:nvSpPr>
          <p:spPr>
            <a:xfrm rot="8716295">
              <a:off x="4116411" y="286471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2" name="Forme libre : forme 2401">
              <a:extLst>
                <a:ext uri="{FF2B5EF4-FFF2-40B4-BE49-F238E27FC236}">
                  <a16:creationId xmlns:a16="http://schemas.microsoft.com/office/drawing/2014/main" id="{B005B092-A2D6-4E32-9BFF-715AB97C0245}"/>
                </a:ext>
              </a:extLst>
            </p:cNvPr>
            <p:cNvSpPr/>
            <p:nvPr/>
          </p:nvSpPr>
          <p:spPr>
            <a:xfrm rot="8716295">
              <a:off x="4343544" y="325311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3" name="Forme libre : forme 2402">
              <a:extLst>
                <a:ext uri="{FF2B5EF4-FFF2-40B4-BE49-F238E27FC236}">
                  <a16:creationId xmlns:a16="http://schemas.microsoft.com/office/drawing/2014/main" id="{045312D5-1496-48E9-BE7A-E83846AC9783}"/>
                </a:ext>
              </a:extLst>
            </p:cNvPr>
            <p:cNvSpPr/>
            <p:nvPr/>
          </p:nvSpPr>
          <p:spPr>
            <a:xfrm rot="8716295">
              <a:off x="4654699" y="287347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4" name="Forme libre : forme 2403">
              <a:extLst>
                <a:ext uri="{FF2B5EF4-FFF2-40B4-BE49-F238E27FC236}">
                  <a16:creationId xmlns:a16="http://schemas.microsoft.com/office/drawing/2014/main" id="{F44F3FDE-EE75-48FF-90E8-43EFECEA6BFA}"/>
                </a:ext>
              </a:extLst>
            </p:cNvPr>
            <p:cNvSpPr/>
            <p:nvPr/>
          </p:nvSpPr>
          <p:spPr>
            <a:xfrm rot="8716295">
              <a:off x="4744091" y="290271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5" name="Forme libre : forme 2404">
              <a:extLst>
                <a:ext uri="{FF2B5EF4-FFF2-40B4-BE49-F238E27FC236}">
                  <a16:creationId xmlns:a16="http://schemas.microsoft.com/office/drawing/2014/main" id="{183E0100-AB2A-459F-8CD6-B918AF817720}"/>
                </a:ext>
              </a:extLst>
            </p:cNvPr>
            <p:cNvSpPr/>
            <p:nvPr/>
          </p:nvSpPr>
          <p:spPr>
            <a:xfrm rot="8716295">
              <a:off x="4542465" y="296201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6" name="Forme libre : forme 2405">
              <a:extLst>
                <a:ext uri="{FF2B5EF4-FFF2-40B4-BE49-F238E27FC236}">
                  <a16:creationId xmlns:a16="http://schemas.microsoft.com/office/drawing/2014/main" id="{5AC6947B-430C-4683-99FD-17BA671C7FAF}"/>
                </a:ext>
              </a:extLst>
            </p:cNvPr>
            <p:cNvSpPr/>
            <p:nvPr/>
          </p:nvSpPr>
          <p:spPr>
            <a:xfrm rot="8716295">
              <a:off x="4417563" y="275334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7" name="Forme libre : forme 2406">
              <a:extLst>
                <a:ext uri="{FF2B5EF4-FFF2-40B4-BE49-F238E27FC236}">
                  <a16:creationId xmlns:a16="http://schemas.microsoft.com/office/drawing/2014/main" id="{23371782-A91B-45D7-9243-4F5347843B7B}"/>
                </a:ext>
              </a:extLst>
            </p:cNvPr>
            <p:cNvSpPr/>
            <p:nvPr/>
          </p:nvSpPr>
          <p:spPr>
            <a:xfrm rot="8716295">
              <a:off x="4632643" y="300296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8" name="Forme libre : forme 2407">
              <a:extLst>
                <a:ext uri="{FF2B5EF4-FFF2-40B4-BE49-F238E27FC236}">
                  <a16:creationId xmlns:a16="http://schemas.microsoft.com/office/drawing/2014/main" id="{9755E835-965C-456F-87FE-92F81A3E4A63}"/>
                </a:ext>
              </a:extLst>
            </p:cNvPr>
            <p:cNvSpPr/>
            <p:nvPr/>
          </p:nvSpPr>
          <p:spPr>
            <a:xfrm rot="8716295">
              <a:off x="4391192" y="285336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9" name="Forme libre : forme 2408">
              <a:extLst>
                <a:ext uri="{FF2B5EF4-FFF2-40B4-BE49-F238E27FC236}">
                  <a16:creationId xmlns:a16="http://schemas.microsoft.com/office/drawing/2014/main" id="{C97A8178-02BF-4D6E-B4BD-592A2261203E}"/>
                </a:ext>
              </a:extLst>
            </p:cNvPr>
            <p:cNvSpPr/>
            <p:nvPr/>
          </p:nvSpPr>
          <p:spPr>
            <a:xfrm rot="7484129">
              <a:off x="4737574" y="319431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0" name="Forme libre : forme 2409">
              <a:extLst>
                <a:ext uri="{FF2B5EF4-FFF2-40B4-BE49-F238E27FC236}">
                  <a16:creationId xmlns:a16="http://schemas.microsoft.com/office/drawing/2014/main" id="{75E989AC-861F-445B-8523-87947D58BA59}"/>
                </a:ext>
              </a:extLst>
            </p:cNvPr>
            <p:cNvSpPr/>
            <p:nvPr/>
          </p:nvSpPr>
          <p:spPr>
            <a:xfrm rot="13089394">
              <a:off x="4842394" y="316085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1" name="Forme libre : forme 2410">
              <a:extLst>
                <a:ext uri="{FF2B5EF4-FFF2-40B4-BE49-F238E27FC236}">
                  <a16:creationId xmlns:a16="http://schemas.microsoft.com/office/drawing/2014/main" id="{8D82D2F1-5E32-4A31-B12C-8D7D976DCEFE}"/>
                </a:ext>
              </a:extLst>
            </p:cNvPr>
            <p:cNvSpPr/>
            <p:nvPr/>
          </p:nvSpPr>
          <p:spPr>
            <a:xfrm rot="8716295">
              <a:off x="5027979" y="296917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2" name="Forme libre : forme 2411">
              <a:extLst>
                <a:ext uri="{FF2B5EF4-FFF2-40B4-BE49-F238E27FC236}">
                  <a16:creationId xmlns:a16="http://schemas.microsoft.com/office/drawing/2014/main" id="{B13D46FD-93AC-45F4-9A10-E97DA44D8E6F}"/>
                </a:ext>
              </a:extLst>
            </p:cNvPr>
            <p:cNvSpPr/>
            <p:nvPr/>
          </p:nvSpPr>
          <p:spPr>
            <a:xfrm rot="8716295">
              <a:off x="4976174" y="286557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3" name="Forme libre : forme 2412">
              <a:extLst>
                <a:ext uri="{FF2B5EF4-FFF2-40B4-BE49-F238E27FC236}">
                  <a16:creationId xmlns:a16="http://schemas.microsoft.com/office/drawing/2014/main" id="{60E925F5-AA66-479A-8E63-2C1F069A7D43}"/>
                </a:ext>
              </a:extLst>
            </p:cNvPr>
            <p:cNvSpPr/>
            <p:nvPr/>
          </p:nvSpPr>
          <p:spPr>
            <a:xfrm rot="8716295">
              <a:off x="4732928" y="289579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4" name="Forme libre : forme 2413">
              <a:extLst>
                <a:ext uri="{FF2B5EF4-FFF2-40B4-BE49-F238E27FC236}">
                  <a16:creationId xmlns:a16="http://schemas.microsoft.com/office/drawing/2014/main" id="{080B48A7-A1B1-41BD-94B6-9C452E91624E}"/>
                </a:ext>
              </a:extLst>
            </p:cNvPr>
            <p:cNvSpPr/>
            <p:nvPr/>
          </p:nvSpPr>
          <p:spPr>
            <a:xfrm rot="8716295">
              <a:off x="4910380" y="273655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5" name="Forme libre : forme 2414">
              <a:extLst>
                <a:ext uri="{FF2B5EF4-FFF2-40B4-BE49-F238E27FC236}">
                  <a16:creationId xmlns:a16="http://schemas.microsoft.com/office/drawing/2014/main" id="{0674948B-A68F-42F0-B732-9AA4AFE7D76F}"/>
                </a:ext>
              </a:extLst>
            </p:cNvPr>
            <p:cNvSpPr/>
            <p:nvPr/>
          </p:nvSpPr>
          <p:spPr>
            <a:xfrm rot="8716295">
              <a:off x="5092983" y="5038194"/>
              <a:ext cx="153591" cy="101571"/>
            </a:xfrm>
            <a:custGeom>
              <a:avLst/>
              <a:gdLst>
                <a:gd name="connsiteX0" fmla="*/ 5923 w 153591"/>
                <a:gd name="connsiteY0" fmla="*/ 101571 h 101571"/>
                <a:gd name="connsiteX1" fmla="*/ 0 w 153591"/>
                <a:gd name="connsiteY1" fmla="*/ 93369 h 101571"/>
                <a:gd name="connsiteX2" fmla="*/ 99231 w 153591"/>
                <a:gd name="connsiteY2" fmla="*/ 0 h 101571"/>
                <a:gd name="connsiteX3" fmla="*/ 153591 w 153591"/>
                <a:gd name="connsiteY3" fmla="*/ 37681 h 101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3591" h="101571">
                  <a:moveTo>
                    <a:pt x="5923" y="101571"/>
                  </a:moveTo>
                  <a:lnTo>
                    <a:pt x="0" y="93369"/>
                  </a:lnTo>
                  <a:lnTo>
                    <a:pt x="99231" y="0"/>
                  </a:lnTo>
                  <a:lnTo>
                    <a:pt x="153591" y="3768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6" name="Forme libre : forme 2415">
              <a:extLst>
                <a:ext uri="{FF2B5EF4-FFF2-40B4-BE49-F238E27FC236}">
                  <a16:creationId xmlns:a16="http://schemas.microsoft.com/office/drawing/2014/main" id="{12A1F00F-33E4-4350-8E47-D86011A73F70}"/>
                </a:ext>
              </a:extLst>
            </p:cNvPr>
            <p:cNvSpPr/>
            <p:nvPr/>
          </p:nvSpPr>
          <p:spPr>
            <a:xfrm rot="8716295">
              <a:off x="4835281" y="4967476"/>
              <a:ext cx="151182" cy="195874"/>
            </a:xfrm>
            <a:custGeom>
              <a:avLst/>
              <a:gdLst>
                <a:gd name="connsiteX0" fmla="*/ 90709 w 151182"/>
                <a:gd name="connsiteY0" fmla="*/ 195874 h 195874"/>
                <a:gd name="connsiteX1" fmla="*/ 47847 w 151182"/>
                <a:gd name="connsiteY1" fmla="*/ 116129 h 195874"/>
                <a:gd name="connsiteX2" fmla="*/ 69777 w 151182"/>
                <a:gd name="connsiteY2" fmla="*/ 55323 h 195874"/>
                <a:gd name="connsiteX3" fmla="*/ 0 w 151182"/>
                <a:gd name="connsiteY3" fmla="*/ 55323 h 195874"/>
                <a:gd name="connsiteX4" fmla="*/ 0 w 151182"/>
                <a:gd name="connsiteY4" fmla="*/ 0 h 195874"/>
                <a:gd name="connsiteX5" fmla="*/ 71369 w 151182"/>
                <a:gd name="connsiteY5" fmla="*/ 0 h 195874"/>
                <a:gd name="connsiteX6" fmla="*/ 151182 w 151182"/>
                <a:gd name="connsiteY6" fmla="*/ 55323 h 195874"/>
                <a:gd name="connsiteX7" fmla="*/ 139055 w 151182"/>
                <a:gd name="connsiteY7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1182" h="195874">
                  <a:moveTo>
                    <a:pt x="90709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71369" y="0"/>
                  </a:lnTo>
                  <a:lnTo>
                    <a:pt x="151182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7" name="Forme libre : forme 2416">
              <a:extLst>
                <a:ext uri="{FF2B5EF4-FFF2-40B4-BE49-F238E27FC236}">
                  <a16:creationId xmlns:a16="http://schemas.microsoft.com/office/drawing/2014/main" id="{DC1C692C-2D66-4299-8775-AC821C8B995E}"/>
                </a:ext>
              </a:extLst>
            </p:cNvPr>
            <p:cNvSpPr/>
            <p:nvPr/>
          </p:nvSpPr>
          <p:spPr>
            <a:xfrm rot="8716295">
              <a:off x="4779766" y="484378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8" name="Forme libre : forme 2417">
              <a:extLst>
                <a:ext uri="{FF2B5EF4-FFF2-40B4-BE49-F238E27FC236}">
                  <a16:creationId xmlns:a16="http://schemas.microsoft.com/office/drawing/2014/main" id="{E6D77D73-3B42-4B2B-93BD-3B3DC93A2BC2}"/>
                </a:ext>
              </a:extLst>
            </p:cNvPr>
            <p:cNvSpPr/>
            <p:nvPr/>
          </p:nvSpPr>
          <p:spPr>
            <a:xfrm rot="8716295">
              <a:off x="5318054" y="485254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9" name="Forme libre : forme 2418">
              <a:extLst>
                <a:ext uri="{FF2B5EF4-FFF2-40B4-BE49-F238E27FC236}">
                  <a16:creationId xmlns:a16="http://schemas.microsoft.com/office/drawing/2014/main" id="{8B7FAF70-1022-4D25-AC9C-9716E663F64F}"/>
                </a:ext>
              </a:extLst>
            </p:cNvPr>
            <p:cNvSpPr/>
            <p:nvPr/>
          </p:nvSpPr>
          <p:spPr>
            <a:xfrm rot="8716295">
              <a:off x="5407622" y="4885251"/>
              <a:ext cx="236069" cy="254774"/>
            </a:xfrm>
            <a:custGeom>
              <a:avLst/>
              <a:gdLst>
                <a:gd name="connsiteX0" fmla="*/ 26920 w 236069"/>
                <a:gd name="connsiteY0" fmla="*/ 254774 h 254774"/>
                <a:gd name="connsiteX1" fmla="*/ 26920 w 236069"/>
                <a:gd name="connsiteY1" fmla="*/ 45624 h 254774"/>
                <a:gd name="connsiteX2" fmla="*/ 0 w 236069"/>
                <a:gd name="connsiteY2" fmla="*/ 45624 h 254774"/>
                <a:gd name="connsiteX3" fmla="*/ 36558 w 236069"/>
                <a:gd name="connsiteY3" fmla="*/ 1425 h 254774"/>
                <a:gd name="connsiteX4" fmla="*/ 80233 w 236069"/>
                <a:gd name="connsiteY4" fmla="*/ 1425 h 254774"/>
                <a:gd name="connsiteX5" fmla="*/ 80233 w 236069"/>
                <a:gd name="connsiteY5" fmla="*/ 75242 h 254774"/>
                <a:gd name="connsiteX6" fmla="*/ 81599 w 236069"/>
                <a:gd name="connsiteY6" fmla="*/ 75242 h 254774"/>
                <a:gd name="connsiteX7" fmla="*/ 129444 w 236069"/>
                <a:gd name="connsiteY7" fmla="*/ 5981 h 254774"/>
                <a:gd name="connsiteX8" fmla="*/ 160885 w 236069"/>
                <a:gd name="connsiteY8" fmla="*/ 57 h 254774"/>
                <a:gd name="connsiteX9" fmla="*/ 165106 w 236069"/>
                <a:gd name="connsiteY9" fmla="*/ 791 h 254774"/>
                <a:gd name="connsiteX10" fmla="*/ 227336 w 236069"/>
                <a:gd name="connsiteY10" fmla="*/ 43927 h 254774"/>
                <a:gd name="connsiteX11" fmla="*/ 230922 w 236069"/>
                <a:gd name="connsiteY11" fmla="*/ 50679 h 254774"/>
                <a:gd name="connsiteX12" fmla="*/ 236069 w 236069"/>
                <a:gd name="connsiteY12" fmla="*/ 88456 h 254774"/>
                <a:gd name="connsiteX13" fmla="*/ 236069 w 236069"/>
                <a:gd name="connsiteY13" fmla="*/ 94380 h 254774"/>
                <a:gd name="connsiteX14" fmla="*/ 174099 w 236069"/>
                <a:gd name="connsiteY14" fmla="*/ 98025 h 254774"/>
                <a:gd name="connsiteX15" fmla="*/ 174099 w 236069"/>
                <a:gd name="connsiteY15" fmla="*/ 81621 h 254774"/>
                <a:gd name="connsiteX16" fmla="*/ 140380 w 236069"/>
                <a:gd name="connsiteY16" fmla="*/ 40156 h 254774"/>
                <a:gd name="connsiteX17" fmla="*/ 87068 w 236069"/>
                <a:gd name="connsiteY17" fmla="*/ 127643 h 254774"/>
                <a:gd name="connsiteX18" fmla="*/ 87068 w 236069"/>
                <a:gd name="connsiteY18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36069" h="254774">
                  <a:moveTo>
                    <a:pt x="26920" y="254774"/>
                  </a:moveTo>
                  <a:lnTo>
                    <a:pt x="26920" y="45624"/>
                  </a:lnTo>
                  <a:lnTo>
                    <a:pt x="0" y="45624"/>
                  </a:lnTo>
                  <a:lnTo>
                    <a:pt x="36558" y="1425"/>
                  </a:lnTo>
                  <a:lnTo>
                    <a:pt x="80233" y="1425"/>
                  </a:lnTo>
                  <a:lnTo>
                    <a:pt x="80233" y="75242"/>
                  </a:lnTo>
                  <a:lnTo>
                    <a:pt x="81599" y="75242"/>
                  </a:lnTo>
                  <a:cubicBezTo>
                    <a:pt x="96181" y="31954"/>
                    <a:pt x="107572" y="15095"/>
                    <a:pt x="129444" y="5981"/>
                  </a:cubicBezTo>
                  <a:cubicBezTo>
                    <a:pt x="139469" y="1880"/>
                    <a:pt x="149949" y="-398"/>
                    <a:pt x="160885" y="57"/>
                  </a:cubicBezTo>
                  <a:lnTo>
                    <a:pt x="165106" y="791"/>
                  </a:lnTo>
                  <a:lnTo>
                    <a:pt x="227336" y="43927"/>
                  </a:lnTo>
                  <a:lnTo>
                    <a:pt x="230922" y="50679"/>
                  </a:lnTo>
                  <a:cubicBezTo>
                    <a:pt x="234303" y="61686"/>
                    <a:pt x="236069" y="74331"/>
                    <a:pt x="236069" y="88456"/>
                  </a:cubicBezTo>
                  <a:lnTo>
                    <a:pt x="236069" y="94380"/>
                  </a:lnTo>
                  <a:lnTo>
                    <a:pt x="174099" y="98025"/>
                  </a:lnTo>
                  <a:lnTo>
                    <a:pt x="174099" y="81621"/>
                  </a:lnTo>
                  <a:cubicBezTo>
                    <a:pt x="174099" y="57016"/>
                    <a:pt x="159974" y="40156"/>
                    <a:pt x="140380" y="40156"/>
                  </a:cubicBezTo>
                  <a:cubicBezTo>
                    <a:pt x="111218" y="40156"/>
                    <a:pt x="87068" y="78887"/>
                    <a:pt x="87068" y="127643"/>
                  </a:cubicBezTo>
                  <a:lnTo>
                    <a:pt x="87068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0" name="Forme libre : forme 2419">
              <a:extLst>
                <a:ext uri="{FF2B5EF4-FFF2-40B4-BE49-F238E27FC236}">
                  <a16:creationId xmlns:a16="http://schemas.microsoft.com/office/drawing/2014/main" id="{27602E58-FD35-4CD6-BDF7-ECF90C52F91B}"/>
                </a:ext>
              </a:extLst>
            </p:cNvPr>
            <p:cNvSpPr/>
            <p:nvPr/>
          </p:nvSpPr>
          <p:spPr>
            <a:xfrm rot="8716295">
              <a:off x="5205820" y="494108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1" name="Forme libre : forme 2420">
              <a:extLst>
                <a:ext uri="{FF2B5EF4-FFF2-40B4-BE49-F238E27FC236}">
                  <a16:creationId xmlns:a16="http://schemas.microsoft.com/office/drawing/2014/main" id="{CBCC54CA-829A-46B5-B9CA-D3D424638857}"/>
                </a:ext>
              </a:extLst>
            </p:cNvPr>
            <p:cNvSpPr/>
            <p:nvPr/>
          </p:nvSpPr>
          <p:spPr>
            <a:xfrm rot="8716295">
              <a:off x="5080918" y="473241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2" name="Forme libre : forme 2421">
              <a:extLst>
                <a:ext uri="{FF2B5EF4-FFF2-40B4-BE49-F238E27FC236}">
                  <a16:creationId xmlns:a16="http://schemas.microsoft.com/office/drawing/2014/main" id="{9CF4BAC4-4A9A-4E71-B1AD-94CDB63497C4}"/>
                </a:ext>
              </a:extLst>
            </p:cNvPr>
            <p:cNvSpPr/>
            <p:nvPr/>
          </p:nvSpPr>
          <p:spPr>
            <a:xfrm rot="8716295">
              <a:off x="5289767" y="4983528"/>
              <a:ext cx="103436" cy="207956"/>
            </a:xfrm>
            <a:custGeom>
              <a:avLst/>
              <a:gdLst>
                <a:gd name="connsiteX0" fmla="*/ 0 w 103436"/>
                <a:gd name="connsiteY0" fmla="*/ 5185 h 207956"/>
                <a:gd name="connsiteX1" fmla="*/ 0 w 103436"/>
                <a:gd name="connsiteY1" fmla="*/ 0 h 207956"/>
                <a:gd name="connsiteX2" fmla="*/ 7480 w 103436"/>
                <a:gd name="connsiteY2" fmla="*/ 5185 h 207956"/>
                <a:gd name="connsiteX3" fmla="*/ 103436 w 103436"/>
                <a:gd name="connsiteY3" fmla="*/ 207956 h 207956"/>
                <a:gd name="connsiteX4" fmla="*/ 43288 w 103436"/>
                <a:gd name="connsiteY4" fmla="*/ 150086 h 207956"/>
                <a:gd name="connsiteX5" fmla="*/ 43288 w 103436"/>
                <a:gd name="connsiteY5" fmla="*/ 30006 h 207956"/>
                <a:gd name="connsiteX6" fmla="*/ 103435 w 103436"/>
                <a:gd name="connsiteY6" fmla="*/ 71698 h 207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6" h="207956">
                  <a:moveTo>
                    <a:pt x="0" y="5185"/>
                  </a:moveTo>
                  <a:lnTo>
                    <a:pt x="0" y="0"/>
                  </a:lnTo>
                  <a:lnTo>
                    <a:pt x="7480" y="5185"/>
                  </a:lnTo>
                  <a:close/>
                  <a:moveTo>
                    <a:pt x="103436" y="207956"/>
                  </a:moveTo>
                  <a:lnTo>
                    <a:pt x="43288" y="150086"/>
                  </a:lnTo>
                  <a:lnTo>
                    <a:pt x="43288" y="30006"/>
                  </a:lnTo>
                  <a:lnTo>
                    <a:pt x="103435" y="716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3" name="Forme libre : forme 2422">
              <a:extLst>
                <a:ext uri="{FF2B5EF4-FFF2-40B4-BE49-F238E27FC236}">
                  <a16:creationId xmlns:a16="http://schemas.microsoft.com/office/drawing/2014/main" id="{58B97AE7-4DDA-4D02-8FCA-6E107A3309C6}"/>
                </a:ext>
              </a:extLst>
            </p:cNvPr>
            <p:cNvSpPr/>
            <p:nvPr/>
          </p:nvSpPr>
          <p:spPr>
            <a:xfrm rot="8716295">
              <a:off x="5054547" y="483243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4" name="Forme libre : forme 2423">
              <a:extLst>
                <a:ext uri="{FF2B5EF4-FFF2-40B4-BE49-F238E27FC236}">
                  <a16:creationId xmlns:a16="http://schemas.microsoft.com/office/drawing/2014/main" id="{FE870BF4-A4A5-4432-957C-57DF976F1501}"/>
                </a:ext>
              </a:extLst>
            </p:cNvPr>
            <p:cNvSpPr/>
            <p:nvPr/>
          </p:nvSpPr>
          <p:spPr>
            <a:xfrm rot="8716295">
              <a:off x="5627351" y="4851308"/>
              <a:ext cx="84852" cy="94931"/>
            </a:xfrm>
            <a:custGeom>
              <a:avLst/>
              <a:gdLst>
                <a:gd name="connsiteX0" fmla="*/ 0 w 84852"/>
                <a:gd name="connsiteY0" fmla="*/ 84445 h 94931"/>
                <a:gd name="connsiteX1" fmla="*/ 69845 w 84852"/>
                <a:gd name="connsiteY1" fmla="*/ 0 h 94931"/>
                <a:gd name="connsiteX2" fmla="*/ 84852 w 84852"/>
                <a:gd name="connsiteY2" fmla="*/ 35717 h 94931"/>
                <a:gd name="connsiteX3" fmla="*/ 67606 w 84852"/>
                <a:gd name="connsiteY3" fmla="*/ 77454 h 94931"/>
                <a:gd name="connsiteX4" fmla="*/ 26212 w 84852"/>
                <a:gd name="connsiteY4" fmla="*/ 94931 h 9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852" h="94931">
                  <a:moveTo>
                    <a:pt x="0" y="84445"/>
                  </a:moveTo>
                  <a:lnTo>
                    <a:pt x="69845" y="0"/>
                  </a:lnTo>
                  <a:lnTo>
                    <a:pt x="84852" y="35717"/>
                  </a:lnTo>
                  <a:cubicBezTo>
                    <a:pt x="84852" y="50779"/>
                    <a:pt x="79103" y="65956"/>
                    <a:pt x="67606" y="77454"/>
                  </a:cubicBezTo>
                  <a:cubicBezTo>
                    <a:pt x="56567" y="88492"/>
                    <a:pt x="41850" y="94930"/>
                    <a:pt x="26212" y="9493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5" name="Forme libre : forme 2424">
              <a:extLst>
                <a:ext uri="{FF2B5EF4-FFF2-40B4-BE49-F238E27FC236}">
                  <a16:creationId xmlns:a16="http://schemas.microsoft.com/office/drawing/2014/main" id="{D607EAB3-59AD-4F41-8791-D545B48F2ACD}"/>
                </a:ext>
              </a:extLst>
            </p:cNvPr>
            <p:cNvSpPr/>
            <p:nvPr/>
          </p:nvSpPr>
          <p:spPr>
            <a:xfrm rot="8716295">
              <a:off x="5396283" y="487486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6" name="Forme libre : forme 2425">
              <a:extLst>
                <a:ext uri="{FF2B5EF4-FFF2-40B4-BE49-F238E27FC236}">
                  <a16:creationId xmlns:a16="http://schemas.microsoft.com/office/drawing/2014/main" id="{3495DB46-32FD-4610-BD6C-D77CD1DF61F5}"/>
                </a:ext>
              </a:extLst>
            </p:cNvPr>
            <p:cNvSpPr/>
            <p:nvPr/>
          </p:nvSpPr>
          <p:spPr>
            <a:xfrm rot="8716295">
              <a:off x="5573735" y="47156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7" name="Forme libre : forme 2426">
              <a:extLst>
                <a:ext uri="{FF2B5EF4-FFF2-40B4-BE49-F238E27FC236}">
                  <a16:creationId xmlns:a16="http://schemas.microsoft.com/office/drawing/2014/main" id="{01864176-04A7-44D1-983B-1731250E407D}"/>
                </a:ext>
              </a:extLst>
            </p:cNvPr>
            <p:cNvSpPr/>
            <p:nvPr/>
          </p:nvSpPr>
          <p:spPr>
            <a:xfrm rot="8716295">
              <a:off x="4584270" y="378201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8" name="Forme libre : forme 2427">
              <a:extLst>
                <a:ext uri="{FF2B5EF4-FFF2-40B4-BE49-F238E27FC236}">
                  <a16:creationId xmlns:a16="http://schemas.microsoft.com/office/drawing/2014/main" id="{EED535F0-5180-4A4A-8891-7B62A3620DCB}"/>
                </a:ext>
              </a:extLst>
            </p:cNvPr>
            <p:cNvSpPr/>
            <p:nvPr/>
          </p:nvSpPr>
          <p:spPr>
            <a:xfrm rot="8716295">
              <a:off x="4673662" y="381126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9" name="Forme libre : forme 2428">
              <a:extLst>
                <a:ext uri="{FF2B5EF4-FFF2-40B4-BE49-F238E27FC236}">
                  <a16:creationId xmlns:a16="http://schemas.microsoft.com/office/drawing/2014/main" id="{57308AA9-0745-47A5-BC96-5FDF43BB9731}"/>
                </a:ext>
              </a:extLst>
            </p:cNvPr>
            <p:cNvSpPr/>
            <p:nvPr/>
          </p:nvSpPr>
          <p:spPr>
            <a:xfrm rot="8716295">
              <a:off x="4628812" y="3724981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0" name="Forme libre : forme 2429">
              <a:extLst>
                <a:ext uri="{FF2B5EF4-FFF2-40B4-BE49-F238E27FC236}">
                  <a16:creationId xmlns:a16="http://schemas.microsoft.com/office/drawing/2014/main" id="{920DA668-7019-4B80-96A3-4CE3AC64C7BE}"/>
                </a:ext>
              </a:extLst>
            </p:cNvPr>
            <p:cNvSpPr/>
            <p:nvPr/>
          </p:nvSpPr>
          <p:spPr>
            <a:xfrm rot="8716295">
              <a:off x="4472036" y="387056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1" name="Forme libre : forme 2430">
              <a:extLst>
                <a:ext uri="{FF2B5EF4-FFF2-40B4-BE49-F238E27FC236}">
                  <a16:creationId xmlns:a16="http://schemas.microsoft.com/office/drawing/2014/main" id="{031F0637-BE20-4832-B0CA-C99FB5A3149A}"/>
                </a:ext>
              </a:extLst>
            </p:cNvPr>
            <p:cNvSpPr/>
            <p:nvPr/>
          </p:nvSpPr>
          <p:spPr>
            <a:xfrm rot="8716295">
              <a:off x="4347133" y="366189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2" name="Forme libre : forme 2431">
              <a:extLst>
                <a:ext uri="{FF2B5EF4-FFF2-40B4-BE49-F238E27FC236}">
                  <a16:creationId xmlns:a16="http://schemas.microsoft.com/office/drawing/2014/main" id="{84ECF88F-D69F-4F47-ABE5-CFC7EA46DECA}"/>
                </a:ext>
              </a:extLst>
            </p:cNvPr>
            <p:cNvSpPr/>
            <p:nvPr/>
          </p:nvSpPr>
          <p:spPr>
            <a:xfrm rot="8716295">
              <a:off x="4335081" y="3523110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3" name="Forme libre : forme 2432">
              <a:extLst>
                <a:ext uri="{FF2B5EF4-FFF2-40B4-BE49-F238E27FC236}">
                  <a16:creationId xmlns:a16="http://schemas.microsoft.com/office/drawing/2014/main" id="{6CB6C353-AD91-46A6-A469-888E29AF2E49}"/>
                </a:ext>
              </a:extLst>
            </p:cNvPr>
            <p:cNvSpPr/>
            <p:nvPr/>
          </p:nvSpPr>
          <p:spPr>
            <a:xfrm rot="8716295">
              <a:off x="4562214" y="391151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4" name="Forme libre : forme 2433">
              <a:extLst>
                <a:ext uri="{FF2B5EF4-FFF2-40B4-BE49-F238E27FC236}">
                  <a16:creationId xmlns:a16="http://schemas.microsoft.com/office/drawing/2014/main" id="{086DBEB9-E578-4638-AD75-34C69245EF71}"/>
                </a:ext>
              </a:extLst>
            </p:cNvPr>
            <p:cNvSpPr/>
            <p:nvPr/>
          </p:nvSpPr>
          <p:spPr>
            <a:xfrm rot="8716295">
              <a:off x="4873369" y="353186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5" name="Forme libre : forme 2434">
              <a:extLst>
                <a:ext uri="{FF2B5EF4-FFF2-40B4-BE49-F238E27FC236}">
                  <a16:creationId xmlns:a16="http://schemas.microsoft.com/office/drawing/2014/main" id="{7B21A58F-E2F0-4215-B832-76E40C5DF8E5}"/>
                </a:ext>
              </a:extLst>
            </p:cNvPr>
            <p:cNvSpPr/>
            <p:nvPr/>
          </p:nvSpPr>
          <p:spPr>
            <a:xfrm rot="8716295">
              <a:off x="4962761" y="356110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6" name="Forme libre : forme 2435">
              <a:extLst>
                <a:ext uri="{FF2B5EF4-FFF2-40B4-BE49-F238E27FC236}">
                  <a16:creationId xmlns:a16="http://schemas.microsoft.com/office/drawing/2014/main" id="{45DD574A-1455-493E-80D8-5C0865892844}"/>
                </a:ext>
              </a:extLst>
            </p:cNvPr>
            <p:cNvSpPr/>
            <p:nvPr/>
          </p:nvSpPr>
          <p:spPr>
            <a:xfrm rot="8716295">
              <a:off x="4761135" y="362041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7" name="Forme libre : forme 2436">
              <a:extLst>
                <a:ext uri="{FF2B5EF4-FFF2-40B4-BE49-F238E27FC236}">
                  <a16:creationId xmlns:a16="http://schemas.microsoft.com/office/drawing/2014/main" id="{9402EDF4-6162-47B1-856E-512271BA1E2D}"/>
                </a:ext>
              </a:extLst>
            </p:cNvPr>
            <p:cNvSpPr/>
            <p:nvPr/>
          </p:nvSpPr>
          <p:spPr>
            <a:xfrm rot="8716295">
              <a:off x="4636233" y="341173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8" name="Forme libre : forme 2437">
              <a:extLst>
                <a:ext uri="{FF2B5EF4-FFF2-40B4-BE49-F238E27FC236}">
                  <a16:creationId xmlns:a16="http://schemas.microsoft.com/office/drawing/2014/main" id="{92FD67F1-1911-46B7-864C-A8340E98AEB9}"/>
                </a:ext>
              </a:extLst>
            </p:cNvPr>
            <p:cNvSpPr/>
            <p:nvPr/>
          </p:nvSpPr>
          <p:spPr>
            <a:xfrm rot="8716295">
              <a:off x="4851313" y="3661363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9" name="Forme libre : forme 2438">
              <a:extLst>
                <a:ext uri="{FF2B5EF4-FFF2-40B4-BE49-F238E27FC236}">
                  <a16:creationId xmlns:a16="http://schemas.microsoft.com/office/drawing/2014/main" id="{C0A8B3AB-0A14-466D-B633-33FF584D9D1A}"/>
                </a:ext>
              </a:extLst>
            </p:cNvPr>
            <p:cNvSpPr/>
            <p:nvPr/>
          </p:nvSpPr>
          <p:spPr>
            <a:xfrm rot="8716295">
              <a:off x="4609862" y="3511763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0" name="Forme libre : forme 2439">
              <a:extLst>
                <a:ext uri="{FF2B5EF4-FFF2-40B4-BE49-F238E27FC236}">
                  <a16:creationId xmlns:a16="http://schemas.microsoft.com/office/drawing/2014/main" id="{8537EA03-2CBB-4A82-BFA6-AA68754EFED7}"/>
                </a:ext>
              </a:extLst>
            </p:cNvPr>
            <p:cNvSpPr/>
            <p:nvPr/>
          </p:nvSpPr>
          <p:spPr>
            <a:xfrm rot="7484129">
              <a:off x="4956244" y="385271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1" name="Forme libre : forme 2440">
              <a:extLst>
                <a:ext uri="{FF2B5EF4-FFF2-40B4-BE49-F238E27FC236}">
                  <a16:creationId xmlns:a16="http://schemas.microsoft.com/office/drawing/2014/main" id="{9FFC3DC7-61CE-4979-B4C8-8711407C365B}"/>
                </a:ext>
              </a:extLst>
            </p:cNvPr>
            <p:cNvSpPr/>
            <p:nvPr/>
          </p:nvSpPr>
          <p:spPr>
            <a:xfrm rot="13089394">
              <a:off x="5061064" y="3819248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2" name="Forme libre : forme 2441">
              <a:extLst>
                <a:ext uri="{FF2B5EF4-FFF2-40B4-BE49-F238E27FC236}">
                  <a16:creationId xmlns:a16="http://schemas.microsoft.com/office/drawing/2014/main" id="{F52A3804-13E8-47E1-A267-8A4C6268610A}"/>
                </a:ext>
              </a:extLst>
            </p:cNvPr>
            <p:cNvSpPr/>
            <p:nvPr/>
          </p:nvSpPr>
          <p:spPr>
            <a:xfrm rot="8716295">
              <a:off x="5246649" y="3627567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3" name="Forme libre : forme 2442">
              <a:extLst>
                <a:ext uri="{FF2B5EF4-FFF2-40B4-BE49-F238E27FC236}">
                  <a16:creationId xmlns:a16="http://schemas.microsoft.com/office/drawing/2014/main" id="{DDD8FF0F-2CB2-46E4-B8C1-EC42199A0229}"/>
                </a:ext>
              </a:extLst>
            </p:cNvPr>
            <p:cNvSpPr/>
            <p:nvPr/>
          </p:nvSpPr>
          <p:spPr>
            <a:xfrm rot="8716295">
              <a:off x="5194844" y="352397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4" name="Forme libre : forme 2443">
              <a:extLst>
                <a:ext uri="{FF2B5EF4-FFF2-40B4-BE49-F238E27FC236}">
                  <a16:creationId xmlns:a16="http://schemas.microsoft.com/office/drawing/2014/main" id="{D8E94A73-AA06-4842-9947-539561E205B2}"/>
                </a:ext>
              </a:extLst>
            </p:cNvPr>
            <p:cNvSpPr/>
            <p:nvPr/>
          </p:nvSpPr>
          <p:spPr>
            <a:xfrm rot="8716295">
              <a:off x="4951598" y="355419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5" name="Forme libre : forme 2444">
              <a:extLst>
                <a:ext uri="{FF2B5EF4-FFF2-40B4-BE49-F238E27FC236}">
                  <a16:creationId xmlns:a16="http://schemas.microsoft.com/office/drawing/2014/main" id="{EDBB5EF8-DA90-40F3-98D1-1E640FBD7E9A}"/>
                </a:ext>
              </a:extLst>
            </p:cNvPr>
            <p:cNvSpPr/>
            <p:nvPr/>
          </p:nvSpPr>
          <p:spPr>
            <a:xfrm rot="8716295">
              <a:off x="5129050" y="339495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6" name="Forme libre : forme 2445">
              <a:extLst>
                <a:ext uri="{FF2B5EF4-FFF2-40B4-BE49-F238E27FC236}">
                  <a16:creationId xmlns:a16="http://schemas.microsoft.com/office/drawing/2014/main" id="{D8A526B0-68DE-481E-985D-671F87C10402}"/>
                </a:ext>
              </a:extLst>
            </p:cNvPr>
            <p:cNvSpPr/>
            <p:nvPr/>
          </p:nvSpPr>
          <p:spPr>
            <a:xfrm rot="8716295">
              <a:off x="4807437" y="44417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7" name="Forme libre : forme 2446">
              <a:extLst>
                <a:ext uri="{FF2B5EF4-FFF2-40B4-BE49-F238E27FC236}">
                  <a16:creationId xmlns:a16="http://schemas.microsoft.com/office/drawing/2014/main" id="{DB9E94CC-D6D4-4918-9EB1-055582451735}"/>
                </a:ext>
              </a:extLst>
            </p:cNvPr>
            <p:cNvSpPr/>
            <p:nvPr/>
          </p:nvSpPr>
          <p:spPr>
            <a:xfrm rot="8716295">
              <a:off x="4896829" y="44709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8" name="Forme libre : forme 2447">
              <a:extLst>
                <a:ext uri="{FF2B5EF4-FFF2-40B4-BE49-F238E27FC236}">
                  <a16:creationId xmlns:a16="http://schemas.microsoft.com/office/drawing/2014/main" id="{EC9EC492-D2DC-4705-B9B5-2FDDE3722E25}"/>
                </a:ext>
              </a:extLst>
            </p:cNvPr>
            <p:cNvSpPr/>
            <p:nvPr/>
          </p:nvSpPr>
          <p:spPr>
            <a:xfrm rot="8716295">
              <a:off x="4851979" y="438468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9" name="Forme libre : forme 2448">
              <a:extLst>
                <a:ext uri="{FF2B5EF4-FFF2-40B4-BE49-F238E27FC236}">
                  <a16:creationId xmlns:a16="http://schemas.microsoft.com/office/drawing/2014/main" id="{D5A473EB-0A13-41A3-B50C-E84513EDE777}"/>
                </a:ext>
              </a:extLst>
            </p:cNvPr>
            <p:cNvSpPr/>
            <p:nvPr/>
          </p:nvSpPr>
          <p:spPr>
            <a:xfrm rot="8716295">
              <a:off x="4695203" y="453026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0" name="Forme libre : forme 2449">
              <a:extLst>
                <a:ext uri="{FF2B5EF4-FFF2-40B4-BE49-F238E27FC236}">
                  <a16:creationId xmlns:a16="http://schemas.microsoft.com/office/drawing/2014/main" id="{28534207-0B01-4D67-8256-639FD0A19A07}"/>
                </a:ext>
              </a:extLst>
            </p:cNvPr>
            <p:cNvSpPr/>
            <p:nvPr/>
          </p:nvSpPr>
          <p:spPr>
            <a:xfrm rot="8716295">
              <a:off x="4570300" y="432158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1" name="Forme libre : forme 2450">
              <a:extLst>
                <a:ext uri="{FF2B5EF4-FFF2-40B4-BE49-F238E27FC236}">
                  <a16:creationId xmlns:a16="http://schemas.microsoft.com/office/drawing/2014/main" id="{42E0A2DC-6B50-4104-9147-7FDF1ECA641A}"/>
                </a:ext>
              </a:extLst>
            </p:cNvPr>
            <p:cNvSpPr/>
            <p:nvPr/>
          </p:nvSpPr>
          <p:spPr>
            <a:xfrm rot="8716295">
              <a:off x="4558248" y="4182809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2" name="Forme libre : forme 2451">
              <a:extLst>
                <a:ext uri="{FF2B5EF4-FFF2-40B4-BE49-F238E27FC236}">
                  <a16:creationId xmlns:a16="http://schemas.microsoft.com/office/drawing/2014/main" id="{C48C5EB2-44EB-4793-A40E-83D610E25EAF}"/>
                </a:ext>
              </a:extLst>
            </p:cNvPr>
            <p:cNvSpPr/>
            <p:nvPr/>
          </p:nvSpPr>
          <p:spPr>
            <a:xfrm rot="8716295">
              <a:off x="4785381" y="457121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3" name="Forme libre : forme 2452">
              <a:extLst>
                <a:ext uri="{FF2B5EF4-FFF2-40B4-BE49-F238E27FC236}">
                  <a16:creationId xmlns:a16="http://schemas.microsoft.com/office/drawing/2014/main" id="{53427E3B-CAF6-4BE5-89BB-EA97CC7D5720}"/>
                </a:ext>
              </a:extLst>
            </p:cNvPr>
            <p:cNvSpPr/>
            <p:nvPr/>
          </p:nvSpPr>
          <p:spPr>
            <a:xfrm rot="8716295">
              <a:off x="5096536" y="419156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4" name="Forme libre : forme 2453">
              <a:extLst>
                <a:ext uri="{FF2B5EF4-FFF2-40B4-BE49-F238E27FC236}">
                  <a16:creationId xmlns:a16="http://schemas.microsoft.com/office/drawing/2014/main" id="{8AEC789D-3D32-45E4-BAE9-3572BFC115CC}"/>
                </a:ext>
              </a:extLst>
            </p:cNvPr>
            <p:cNvSpPr/>
            <p:nvPr/>
          </p:nvSpPr>
          <p:spPr>
            <a:xfrm rot="8716295">
              <a:off x="5185928" y="422080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5" name="Forme libre : forme 2454">
              <a:extLst>
                <a:ext uri="{FF2B5EF4-FFF2-40B4-BE49-F238E27FC236}">
                  <a16:creationId xmlns:a16="http://schemas.microsoft.com/office/drawing/2014/main" id="{592ACBFB-A830-4F99-823F-B3C94B334AC4}"/>
                </a:ext>
              </a:extLst>
            </p:cNvPr>
            <p:cNvSpPr/>
            <p:nvPr/>
          </p:nvSpPr>
          <p:spPr>
            <a:xfrm rot="8716295">
              <a:off x="4984302" y="428011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6" name="Forme libre : forme 2455">
              <a:extLst>
                <a:ext uri="{FF2B5EF4-FFF2-40B4-BE49-F238E27FC236}">
                  <a16:creationId xmlns:a16="http://schemas.microsoft.com/office/drawing/2014/main" id="{3CD4BB51-622B-49CC-951B-C526F16097D1}"/>
                </a:ext>
              </a:extLst>
            </p:cNvPr>
            <p:cNvSpPr/>
            <p:nvPr/>
          </p:nvSpPr>
          <p:spPr>
            <a:xfrm rot="8716295">
              <a:off x="4859400" y="407143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7" name="Forme libre : forme 2456">
              <a:extLst>
                <a:ext uri="{FF2B5EF4-FFF2-40B4-BE49-F238E27FC236}">
                  <a16:creationId xmlns:a16="http://schemas.microsoft.com/office/drawing/2014/main" id="{4696620C-FBDE-4684-997F-DB4BCE7B2C8D}"/>
                </a:ext>
              </a:extLst>
            </p:cNvPr>
            <p:cNvSpPr/>
            <p:nvPr/>
          </p:nvSpPr>
          <p:spPr>
            <a:xfrm rot="8716295">
              <a:off x="5074480" y="432106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8" name="Forme libre : forme 2457">
              <a:extLst>
                <a:ext uri="{FF2B5EF4-FFF2-40B4-BE49-F238E27FC236}">
                  <a16:creationId xmlns:a16="http://schemas.microsoft.com/office/drawing/2014/main" id="{4E0A6A49-7396-4F13-A488-756A374C6DCD}"/>
                </a:ext>
              </a:extLst>
            </p:cNvPr>
            <p:cNvSpPr/>
            <p:nvPr/>
          </p:nvSpPr>
          <p:spPr>
            <a:xfrm rot="8716295">
              <a:off x="4833029" y="417146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9" name="Forme libre : forme 2458">
              <a:extLst>
                <a:ext uri="{FF2B5EF4-FFF2-40B4-BE49-F238E27FC236}">
                  <a16:creationId xmlns:a16="http://schemas.microsoft.com/office/drawing/2014/main" id="{931FED33-2848-493C-ADD2-B2912BEC30BE}"/>
                </a:ext>
              </a:extLst>
            </p:cNvPr>
            <p:cNvSpPr/>
            <p:nvPr/>
          </p:nvSpPr>
          <p:spPr>
            <a:xfrm rot="7484129">
              <a:off x="5179411" y="451241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0" name="Forme libre : forme 2459">
              <a:extLst>
                <a:ext uri="{FF2B5EF4-FFF2-40B4-BE49-F238E27FC236}">
                  <a16:creationId xmlns:a16="http://schemas.microsoft.com/office/drawing/2014/main" id="{D65E5AE8-9C98-4BB9-AF28-AFE5AF6633F3}"/>
                </a:ext>
              </a:extLst>
            </p:cNvPr>
            <p:cNvSpPr/>
            <p:nvPr/>
          </p:nvSpPr>
          <p:spPr>
            <a:xfrm rot="13089394">
              <a:off x="5284231" y="4478947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1" name="Forme libre : forme 2460">
              <a:extLst>
                <a:ext uri="{FF2B5EF4-FFF2-40B4-BE49-F238E27FC236}">
                  <a16:creationId xmlns:a16="http://schemas.microsoft.com/office/drawing/2014/main" id="{08897DFC-AD6E-449C-BB97-57B3220AEAF6}"/>
                </a:ext>
              </a:extLst>
            </p:cNvPr>
            <p:cNvSpPr/>
            <p:nvPr/>
          </p:nvSpPr>
          <p:spPr>
            <a:xfrm rot="8716295">
              <a:off x="5469816" y="4287266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2" name="Forme libre : forme 2461">
              <a:extLst>
                <a:ext uri="{FF2B5EF4-FFF2-40B4-BE49-F238E27FC236}">
                  <a16:creationId xmlns:a16="http://schemas.microsoft.com/office/drawing/2014/main" id="{0F22532E-1CE8-4736-88F7-603BA9637076}"/>
                </a:ext>
              </a:extLst>
            </p:cNvPr>
            <p:cNvSpPr/>
            <p:nvPr/>
          </p:nvSpPr>
          <p:spPr>
            <a:xfrm rot="8716295">
              <a:off x="5418011" y="418367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3" name="Forme libre : forme 2462">
              <a:extLst>
                <a:ext uri="{FF2B5EF4-FFF2-40B4-BE49-F238E27FC236}">
                  <a16:creationId xmlns:a16="http://schemas.microsoft.com/office/drawing/2014/main" id="{27FD49AF-531F-4E93-BDF6-7246B96C58D6}"/>
                </a:ext>
              </a:extLst>
            </p:cNvPr>
            <p:cNvSpPr/>
            <p:nvPr/>
          </p:nvSpPr>
          <p:spPr>
            <a:xfrm rot="8716295">
              <a:off x="5174765" y="421389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4" name="Forme libre : forme 2463">
              <a:extLst>
                <a:ext uri="{FF2B5EF4-FFF2-40B4-BE49-F238E27FC236}">
                  <a16:creationId xmlns:a16="http://schemas.microsoft.com/office/drawing/2014/main" id="{90925CD6-FB2D-4337-85BE-A4EB1C9E502F}"/>
                </a:ext>
              </a:extLst>
            </p:cNvPr>
            <p:cNvSpPr/>
            <p:nvPr/>
          </p:nvSpPr>
          <p:spPr>
            <a:xfrm rot="8716295">
              <a:off x="5352217" y="405465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5" name="Forme libre : forme 2464">
              <a:extLst>
                <a:ext uri="{FF2B5EF4-FFF2-40B4-BE49-F238E27FC236}">
                  <a16:creationId xmlns:a16="http://schemas.microsoft.com/office/drawing/2014/main" id="{32FBC2AF-39C6-436F-9E0E-B007DA33E003}"/>
                </a:ext>
              </a:extLst>
            </p:cNvPr>
            <p:cNvSpPr/>
            <p:nvPr/>
          </p:nvSpPr>
          <p:spPr>
            <a:xfrm rot="8716295">
              <a:off x="3920915" y="180295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6" name="Forme libre : forme 2465">
              <a:extLst>
                <a:ext uri="{FF2B5EF4-FFF2-40B4-BE49-F238E27FC236}">
                  <a16:creationId xmlns:a16="http://schemas.microsoft.com/office/drawing/2014/main" id="{643B8C13-9586-4A61-A35D-D9C0BCC8F291}"/>
                </a:ext>
              </a:extLst>
            </p:cNvPr>
            <p:cNvSpPr/>
            <p:nvPr/>
          </p:nvSpPr>
          <p:spPr>
            <a:xfrm rot="8716295">
              <a:off x="4010307" y="183219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7" name="Forme libre : forme 2466">
              <a:extLst>
                <a:ext uri="{FF2B5EF4-FFF2-40B4-BE49-F238E27FC236}">
                  <a16:creationId xmlns:a16="http://schemas.microsoft.com/office/drawing/2014/main" id="{D8623CC6-4FFF-4F4B-A41A-5741A26CA67C}"/>
                </a:ext>
              </a:extLst>
            </p:cNvPr>
            <p:cNvSpPr/>
            <p:nvPr/>
          </p:nvSpPr>
          <p:spPr>
            <a:xfrm rot="8716295">
              <a:off x="3965457" y="174591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8" name="Forme libre : forme 2467">
              <a:extLst>
                <a:ext uri="{FF2B5EF4-FFF2-40B4-BE49-F238E27FC236}">
                  <a16:creationId xmlns:a16="http://schemas.microsoft.com/office/drawing/2014/main" id="{A20E20F7-9952-4E3F-B0AB-212B773351F9}"/>
                </a:ext>
              </a:extLst>
            </p:cNvPr>
            <p:cNvSpPr/>
            <p:nvPr/>
          </p:nvSpPr>
          <p:spPr>
            <a:xfrm rot="8716295">
              <a:off x="3808681" y="189149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9" name="Forme libre : forme 2468">
              <a:extLst>
                <a:ext uri="{FF2B5EF4-FFF2-40B4-BE49-F238E27FC236}">
                  <a16:creationId xmlns:a16="http://schemas.microsoft.com/office/drawing/2014/main" id="{2AFD6358-3EC5-4230-924D-E1FEA2966D71}"/>
                </a:ext>
              </a:extLst>
            </p:cNvPr>
            <p:cNvSpPr/>
            <p:nvPr/>
          </p:nvSpPr>
          <p:spPr>
            <a:xfrm rot="8716295">
              <a:off x="3683778" y="168282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0" name="Forme libre : forme 2469">
              <a:extLst>
                <a:ext uri="{FF2B5EF4-FFF2-40B4-BE49-F238E27FC236}">
                  <a16:creationId xmlns:a16="http://schemas.microsoft.com/office/drawing/2014/main" id="{84C26A7D-16EF-401A-811B-AFBADF98607B}"/>
                </a:ext>
              </a:extLst>
            </p:cNvPr>
            <p:cNvSpPr/>
            <p:nvPr/>
          </p:nvSpPr>
          <p:spPr>
            <a:xfrm rot="8716295">
              <a:off x="3671726" y="1544041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1" name="Forme libre : forme 2470">
              <a:extLst>
                <a:ext uri="{FF2B5EF4-FFF2-40B4-BE49-F238E27FC236}">
                  <a16:creationId xmlns:a16="http://schemas.microsoft.com/office/drawing/2014/main" id="{E31DF341-C027-4798-8A24-45DA22FA4656}"/>
                </a:ext>
              </a:extLst>
            </p:cNvPr>
            <p:cNvSpPr/>
            <p:nvPr/>
          </p:nvSpPr>
          <p:spPr>
            <a:xfrm rot="8716295">
              <a:off x="3898859" y="193244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2" name="Forme libre : forme 2471">
              <a:extLst>
                <a:ext uri="{FF2B5EF4-FFF2-40B4-BE49-F238E27FC236}">
                  <a16:creationId xmlns:a16="http://schemas.microsoft.com/office/drawing/2014/main" id="{C07CF4E5-734D-4A47-8B2E-E99783FFFE58}"/>
                </a:ext>
              </a:extLst>
            </p:cNvPr>
            <p:cNvSpPr/>
            <p:nvPr/>
          </p:nvSpPr>
          <p:spPr>
            <a:xfrm rot="8716295">
              <a:off x="4210014" y="155279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3" name="Forme libre : forme 2472">
              <a:extLst>
                <a:ext uri="{FF2B5EF4-FFF2-40B4-BE49-F238E27FC236}">
                  <a16:creationId xmlns:a16="http://schemas.microsoft.com/office/drawing/2014/main" id="{E9E79472-5318-462A-9222-305605A9A4D4}"/>
                </a:ext>
              </a:extLst>
            </p:cNvPr>
            <p:cNvSpPr/>
            <p:nvPr/>
          </p:nvSpPr>
          <p:spPr>
            <a:xfrm rot="8716295">
              <a:off x="4299406" y="158204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4" name="Forme libre : forme 2473">
              <a:extLst>
                <a:ext uri="{FF2B5EF4-FFF2-40B4-BE49-F238E27FC236}">
                  <a16:creationId xmlns:a16="http://schemas.microsoft.com/office/drawing/2014/main" id="{5AFC5930-3BA6-40B9-BEDC-9757294DA873}"/>
                </a:ext>
              </a:extLst>
            </p:cNvPr>
            <p:cNvSpPr/>
            <p:nvPr/>
          </p:nvSpPr>
          <p:spPr>
            <a:xfrm rot="8716295">
              <a:off x="4097780" y="164134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5" name="Forme libre : forme 2474">
              <a:extLst>
                <a:ext uri="{FF2B5EF4-FFF2-40B4-BE49-F238E27FC236}">
                  <a16:creationId xmlns:a16="http://schemas.microsoft.com/office/drawing/2014/main" id="{7CE20D75-657E-4BF6-A3D6-C548A8B5AD4E}"/>
                </a:ext>
              </a:extLst>
            </p:cNvPr>
            <p:cNvSpPr/>
            <p:nvPr/>
          </p:nvSpPr>
          <p:spPr>
            <a:xfrm rot="8716295">
              <a:off x="3972878" y="143266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6" name="Forme libre : forme 2475">
              <a:extLst>
                <a:ext uri="{FF2B5EF4-FFF2-40B4-BE49-F238E27FC236}">
                  <a16:creationId xmlns:a16="http://schemas.microsoft.com/office/drawing/2014/main" id="{22F97EED-1D2F-4FE7-903C-845B9C0787F0}"/>
                </a:ext>
              </a:extLst>
            </p:cNvPr>
            <p:cNvSpPr/>
            <p:nvPr/>
          </p:nvSpPr>
          <p:spPr>
            <a:xfrm rot="8716295">
              <a:off x="4187958" y="168229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7" name="Forme libre : forme 2476">
              <a:extLst>
                <a:ext uri="{FF2B5EF4-FFF2-40B4-BE49-F238E27FC236}">
                  <a16:creationId xmlns:a16="http://schemas.microsoft.com/office/drawing/2014/main" id="{E84B3060-A813-44DB-B1F9-DF9C67A5CF00}"/>
                </a:ext>
              </a:extLst>
            </p:cNvPr>
            <p:cNvSpPr/>
            <p:nvPr/>
          </p:nvSpPr>
          <p:spPr>
            <a:xfrm rot="8716295">
              <a:off x="3946507" y="153269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8" name="Forme libre : forme 2477">
              <a:extLst>
                <a:ext uri="{FF2B5EF4-FFF2-40B4-BE49-F238E27FC236}">
                  <a16:creationId xmlns:a16="http://schemas.microsoft.com/office/drawing/2014/main" id="{C3852D69-4D29-4A5D-9D92-98A241B0E6D7}"/>
                </a:ext>
              </a:extLst>
            </p:cNvPr>
            <p:cNvSpPr/>
            <p:nvPr/>
          </p:nvSpPr>
          <p:spPr>
            <a:xfrm rot="7484129">
              <a:off x="4292889" y="187364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9" name="Forme libre : forme 2478">
              <a:extLst>
                <a:ext uri="{FF2B5EF4-FFF2-40B4-BE49-F238E27FC236}">
                  <a16:creationId xmlns:a16="http://schemas.microsoft.com/office/drawing/2014/main" id="{3CC45FA5-0E1F-4C45-97A6-41B7652569D0}"/>
                </a:ext>
              </a:extLst>
            </p:cNvPr>
            <p:cNvSpPr/>
            <p:nvPr/>
          </p:nvSpPr>
          <p:spPr>
            <a:xfrm rot="13089394">
              <a:off x="4397709" y="1840179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0" name="Forme libre : forme 2479">
              <a:extLst>
                <a:ext uri="{FF2B5EF4-FFF2-40B4-BE49-F238E27FC236}">
                  <a16:creationId xmlns:a16="http://schemas.microsoft.com/office/drawing/2014/main" id="{BBCDC532-309F-4C5E-BFF5-D7919C8CB1C0}"/>
                </a:ext>
              </a:extLst>
            </p:cNvPr>
            <p:cNvSpPr/>
            <p:nvPr/>
          </p:nvSpPr>
          <p:spPr>
            <a:xfrm rot="8716295">
              <a:off x="4583294" y="164849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1" name="Forme libre : forme 2480">
              <a:extLst>
                <a:ext uri="{FF2B5EF4-FFF2-40B4-BE49-F238E27FC236}">
                  <a16:creationId xmlns:a16="http://schemas.microsoft.com/office/drawing/2014/main" id="{18BE7348-0DDE-4529-8EFC-B0259B20E686}"/>
                </a:ext>
              </a:extLst>
            </p:cNvPr>
            <p:cNvSpPr/>
            <p:nvPr/>
          </p:nvSpPr>
          <p:spPr>
            <a:xfrm rot="8716295">
              <a:off x="4531489" y="154490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2" name="Forme libre : forme 2481">
              <a:extLst>
                <a:ext uri="{FF2B5EF4-FFF2-40B4-BE49-F238E27FC236}">
                  <a16:creationId xmlns:a16="http://schemas.microsoft.com/office/drawing/2014/main" id="{AC55D592-C696-401F-86AE-1F112E213A16}"/>
                </a:ext>
              </a:extLst>
            </p:cNvPr>
            <p:cNvSpPr/>
            <p:nvPr/>
          </p:nvSpPr>
          <p:spPr>
            <a:xfrm rot="8716295">
              <a:off x="4288243" y="157512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3" name="Forme libre : forme 2482">
              <a:extLst>
                <a:ext uri="{FF2B5EF4-FFF2-40B4-BE49-F238E27FC236}">
                  <a16:creationId xmlns:a16="http://schemas.microsoft.com/office/drawing/2014/main" id="{DED9BFFF-B254-42A0-B39E-0F305AD53521}"/>
                </a:ext>
              </a:extLst>
            </p:cNvPr>
            <p:cNvSpPr/>
            <p:nvPr/>
          </p:nvSpPr>
          <p:spPr>
            <a:xfrm rot="8716295">
              <a:off x="4465695" y="141588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4" name="Forme libre : forme 2483">
              <a:extLst>
                <a:ext uri="{FF2B5EF4-FFF2-40B4-BE49-F238E27FC236}">
                  <a16:creationId xmlns:a16="http://schemas.microsoft.com/office/drawing/2014/main" id="{A05B2376-5DD9-4691-A3A2-2B9A6CE6A543}"/>
                </a:ext>
              </a:extLst>
            </p:cNvPr>
            <p:cNvSpPr/>
            <p:nvPr/>
          </p:nvSpPr>
          <p:spPr>
            <a:xfrm rot="8716295">
              <a:off x="3697748" y="114325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5" name="Forme libre : forme 2484">
              <a:extLst>
                <a:ext uri="{FF2B5EF4-FFF2-40B4-BE49-F238E27FC236}">
                  <a16:creationId xmlns:a16="http://schemas.microsoft.com/office/drawing/2014/main" id="{D68DE097-F6FC-4E58-8F02-96B920A7DAAD}"/>
                </a:ext>
              </a:extLst>
            </p:cNvPr>
            <p:cNvSpPr/>
            <p:nvPr/>
          </p:nvSpPr>
          <p:spPr>
            <a:xfrm rot="8716295">
              <a:off x="3787140" y="117249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6" name="Forme libre : forme 2485">
              <a:extLst>
                <a:ext uri="{FF2B5EF4-FFF2-40B4-BE49-F238E27FC236}">
                  <a16:creationId xmlns:a16="http://schemas.microsoft.com/office/drawing/2014/main" id="{3326496F-3251-4001-8C18-B51CE14773DE}"/>
                </a:ext>
              </a:extLst>
            </p:cNvPr>
            <p:cNvSpPr/>
            <p:nvPr/>
          </p:nvSpPr>
          <p:spPr>
            <a:xfrm rot="8716295">
              <a:off x="3742290" y="108621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7" name="Forme libre : forme 2486">
              <a:extLst>
                <a:ext uri="{FF2B5EF4-FFF2-40B4-BE49-F238E27FC236}">
                  <a16:creationId xmlns:a16="http://schemas.microsoft.com/office/drawing/2014/main" id="{7F487E66-40A4-4F91-A574-0C01F31C9534}"/>
                </a:ext>
              </a:extLst>
            </p:cNvPr>
            <p:cNvSpPr/>
            <p:nvPr/>
          </p:nvSpPr>
          <p:spPr>
            <a:xfrm rot="8716295">
              <a:off x="3585514" y="123179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8" name="Forme libre : forme 2487">
              <a:extLst>
                <a:ext uri="{FF2B5EF4-FFF2-40B4-BE49-F238E27FC236}">
                  <a16:creationId xmlns:a16="http://schemas.microsoft.com/office/drawing/2014/main" id="{BF410579-E92D-43D8-957B-88DC03F8AFDC}"/>
                </a:ext>
              </a:extLst>
            </p:cNvPr>
            <p:cNvSpPr/>
            <p:nvPr/>
          </p:nvSpPr>
          <p:spPr>
            <a:xfrm rot="8716295">
              <a:off x="3460611" y="102312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9" name="Forme libre : forme 2488">
              <a:extLst>
                <a:ext uri="{FF2B5EF4-FFF2-40B4-BE49-F238E27FC236}">
                  <a16:creationId xmlns:a16="http://schemas.microsoft.com/office/drawing/2014/main" id="{DE1E32FD-5331-4C1C-9F88-9CC7D2B58F5E}"/>
                </a:ext>
              </a:extLst>
            </p:cNvPr>
            <p:cNvSpPr/>
            <p:nvPr/>
          </p:nvSpPr>
          <p:spPr>
            <a:xfrm rot="8716295">
              <a:off x="3448559" y="88434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0" name="Forme libre : forme 2489">
              <a:extLst>
                <a:ext uri="{FF2B5EF4-FFF2-40B4-BE49-F238E27FC236}">
                  <a16:creationId xmlns:a16="http://schemas.microsoft.com/office/drawing/2014/main" id="{DD459ADD-F84C-47F8-B574-F04ECFFEE719}"/>
                </a:ext>
              </a:extLst>
            </p:cNvPr>
            <p:cNvSpPr/>
            <p:nvPr/>
          </p:nvSpPr>
          <p:spPr>
            <a:xfrm rot="8716295">
              <a:off x="3675692" y="127274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1" name="Forme libre : forme 2490">
              <a:extLst>
                <a:ext uri="{FF2B5EF4-FFF2-40B4-BE49-F238E27FC236}">
                  <a16:creationId xmlns:a16="http://schemas.microsoft.com/office/drawing/2014/main" id="{BA820114-5CD1-4426-8381-FF5B658B7D54}"/>
                </a:ext>
              </a:extLst>
            </p:cNvPr>
            <p:cNvSpPr/>
            <p:nvPr/>
          </p:nvSpPr>
          <p:spPr>
            <a:xfrm rot="8716295">
              <a:off x="3986847" y="89309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2" name="Forme libre : forme 2491">
              <a:extLst>
                <a:ext uri="{FF2B5EF4-FFF2-40B4-BE49-F238E27FC236}">
                  <a16:creationId xmlns:a16="http://schemas.microsoft.com/office/drawing/2014/main" id="{B4B19ED1-A1E0-4F10-910E-E0EB470FCCF2}"/>
                </a:ext>
              </a:extLst>
            </p:cNvPr>
            <p:cNvSpPr/>
            <p:nvPr/>
          </p:nvSpPr>
          <p:spPr>
            <a:xfrm rot="8716295">
              <a:off x="4076239" y="92234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3" name="Forme libre : forme 2492">
              <a:extLst>
                <a:ext uri="{FF2B5EF4-FFF2-40B4-BE49-F238E27FC236}">
                  <a16:creationId xmlns:a16="http://schemas.microsoft.com/office/drawing/2014/main" id="{41CB6FB8-70A5-402D-A8D9-CA772A72066C}"/>
                </a:ext>
              </a:extLst>
            </p:cNvPr>
            <p:cNvSpPr/>
            <p:nvPr/>
          </p:nvSpPr>
          <p:spPr>
            <a:xfrm rot="8716295">
              <a:off x="3874613" y="98164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4" name="Forme libre : forme 2493">
              <a:extLst>
                <a:ext uri="{FF2B5EF4-FFF2-40B4-BE49-F238E27FC236}">
                  <a16:creationId xmlns:a16="http://schemas.microsoft.com/office/drawing/2014/main" id="{0743CC93-1EF5-43EA-846D-CC40A84D5D0A}"/>
                </a:ext>
              </a:extLst>
            </p:cNvPr>
            <p:cNvSpPr/>
            <p:nvPr/>
          </p:nvSpPr>
          <p:spPr>
            <a:xfrm rot="8716295">
              <a:off x="3749711" y="77297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5" name="Forme libre : forme 2494">
              <a:extLst>
                <a:ext uri="{FF2B5EF4-FFF2-40B4-BE49-F238E27FC236}">
                  <a16:creationId xmlns:a16="http://schemas.microsoft.com/office/drawing/2014/main" id="{453E78DE-215E-4FDE-854E-98B3522D8476}"/>
                </a:ext>
              </a:extLst>
            </p:cNvPr>
            <p:cNvSpPr/>
            <p:nvPr/>
          </p:nvSpPr>
          <p:spPr>
            <a:xfrm rot="8716295">
              <a:off x="3964791" y="102259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6" name="Forme libre : forme 2495">
              <a:extLst>
                <a:ext uri="{FF2B5EF4-FFF2-40B4-BE49-F238E27FC236}">
                  <a16:creationId xmlns:a16="http://schemas.microsoft.com/office/drawing/2014/main" id="{903C8E49-403C-45B6-B0A2-C71A3BCFB23E}"/>
                </a:ext>
              </a:extLst>
            </p:cNvPr>
            <p:cNvSpPr/>
            <p:nvPr/>
          </p:nvSpPr>
          <p:spPr>
            <a:xfrm rot="8716295">
              <a:off x="3723340" y="87299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7" name="Forme libre : forme 2496">
              <a:extLst>
                <a:ext uri="{FF2B5EF4-FFF2-40B4-BE49-F238E27FC236}">
                  <a16:creationId xmlns:a16="http://schemas.microsoft.com/office/drawing/2014/main" id="{DA428150-38DA-423B-B597-BE4C3B36B8ED}"/>
                </a:ext>
              </a:extLst>
            </p:cNvPr>
            <p:cNvSpPr/>
            <p:nvPr/>
          </p:nvSpPr>
          <p:spPr>
            <a:xfrm rot="7484129">
              <a:off x="4069722" y="121394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8" name="Forme libre : forme 2497">
              <a:extLst>
                <a:ext uri="{FF2B5EF4-FFF2-40B4-BE49-F238E27FC236}">
                  <a16:creationId xmlns:a16="http://schemas.microsoft.com/office/drawing/2014/main" id="{43E73B67-7353-4638-8D7E-85BE3E803185}"/>
                </a:ext>
              </a:extLst>
            </p:cNvPr>
            <p:cNvSpPr/>
            <p:nvPr/>
          </p:nvSpPr>
          <p:spPr>
            <a:xfrm rot="13089394">
              <a:off x="4174542" y="118048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9" name="Forme libre : forme 2498">
              <a:extLst>
                <a:ext uri="{FF2B5EF4-FFF2-40B4-BE49-F238E27FC236}">
                  <a16:creationId xmlns:a16="http://schemas.microsoft.com/office/drawing/2014/main" id="{4606F1ED-4668-4010-ABAF-1D2A4E2BCE67}"/>
                </a:ext>
              </a:extLst>
            </p:cNvPr>
            <p:cNvSpPr/>
            <p:nvPr/>
          </p:nvSpPr>
          <p:spPr>
            <a:xfrm rot="8716295">
              <a:off x="4360127" y="98879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0" name="Forme libre : forme 2499">
              <a:extLst>
                <a:ext uri="{FF2B5EF4-FFF2-40B4-BE49-F238E27FC236}">
                  <a16:creationId xmlns:a16="http://schemas.microsoft.com/office/drawing/2014/main" id="{8053BC89-A237-4743-AE1F-94011A88DB5F}"/>
                </a:ext>
              </a:extLst>
            </p:cNvPr>
            <p:cNvSpPr/>
            <p:nvPr/>
          </p:nvSpPr>
          <p:spPr>
            <a:xfrm rot="8716295">
              <a:off x="4308322" y="88520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1" name="Forme libre : forme 2500">
              <a:extLst>
                <a:ext uri="{FF2B5EF4-FFF2-40B4-BE49-F238E27FC236}">
                  <a16:creationId xmlns:a16="http://schemas.microsoft.com/office/drawing/2014/main" id="{1BE91312-A210-4744-AFAA-57545498B120}"/>
                </a:ext>
              </a:extLst>
            </p:cNvPr>
            <p:cNvSpPr/>
            <p:nvPr/>
          </p:nvSpPr>
          <p:spPr>
            <a:xfrm rot="8716295">
              <a:off x="4065076" y="91542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2" name="Forme libre : forme 2501">
              <a:extLst>
                <a:ext uri="{FF2B5EF4-FFF2-40B4-BE49-F238E27FC236}">
                  <a16:creationId xmlns:a16="http://schemas.microsoft.com/office/drawing/2014/main" id="{461CD8D7-9872-4A47-8F16-75614AF09DF8}"/>
                </a:ext>
              </a:extLst>
            </p:cNvPr>
            <p:cNvSpPr/>
            <p:nvPr/>
          </p:nvSpPr>
          <p:spPr>
            <a:xfrm rot="8716295">
              <a:off x="4242528" y="75618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3" name="Forme libre : forme 2502">
              <a:extLst>
                <a:ext uri="{FF2B5EF4-FFF2-40B4-BE49-F238E27FC236}">
                  <a16:creationId xmlns:a16="http://schemas.microsoft.com/office/drawing/2014/main" id="{C555A7E1-A287-4B80-9292-3BF85FFF88D7}"/>
                </a:ext>
              </a:extLst>
            </p:cNvPr>
            <p:cNvSpPr/>
            <p:nvPr/>
          </p:nvSpPr>
          <p:spPr>
            <a:xfrm rot="8716295">
              <a:off x="3478809" y="48119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4" name="Forme libre : forme 2503">
              <a:extLst>
                <a:ext uri="{FF2B5EF4-FFF2-40B4-BE49-F238E27FC236}">
                  <a16:creationId xmlns:a16="http://schemas.microsoft.com/office/drawing/2014/main" id="{0940EDF8-F1CB-4BEF-B48A-396B5431ABAD}"/>
                </a:ext>
              </a:extLst>
            </p:cNvPr>
            <p:cNvSpPr/>
            <p:nvPr/>
          </p:nvSpPr>
          <p:spPr>
            <a:xfrm rot="8716295">
              <a:off x="3568201" y="51043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5" name="Forme libre : forme 2504">
              <a:extLst>
                <a:ext uri="{FF2B5EF4-FFF2-40B4-BE49-F238E27FC236}">
                  <a16:creationId xmlns:a16="http://schemas.microsoft.com/office/drawing/2014/main" id="{22A88BBD-C725-49B9-BC83-492EC3CB89E6}"/>
                </a:ext>
              </a:extLst>
            </p:cNvPr>
            <p:cNvSpPr/>
            <p:nvPr/>
          </p:nvSpPr>
          <p:spPr>
            <a:xfrm rot="8716295">
              <a:off x="3523351" y="42415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6" name="Forme libre : forme 2505">
              <a:extLst>
                <a:ext uri="{FF2B5EF4-FFF2-40B4-BE49-F238E27FC236}">
                  <a16:creationId xmlns:a16="http://schemas.microsoft.com/office/drawing/2014/main" id="{4DA445B3-8E0C-4D22-8025-4E5653F0655E}"/>
                </a:ext>
              </a:extLst>
            </p:cNvPr>
            <p:cNvSpPr/>
            <p:nvPr/>
          </p:nvSpPr>
          <p:spPr>
            <a:xfrm rot="8716295">
              <a:off x="3366575" y="56973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7" name="Forme libre : forme 2506">
              <a:extLst>
                <a:ext uri="{FF2B5EF4-FFF2-40B4-BE49-F238E27FC236}">
                  <a16:creationId xmlns:a16="http://schemas.microsoft.com/office/drawing/2014/main" id="{6DEEAB7D-D4C8-4DDC-B7BF-F77A8BB80F8C}"/>
                </a:ext>
              </a:extLst>
            </p:cNvPr>
            <p:cNvSpPr/>
            <p:nvPr/>
          </p:nvSpPr>
          <p:spPr>
            <a:xfrm rot="8716295">
              <a:off x="3241672" y="36106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8" name="Forme libre : forme 2507">
              <a:extLst>
                <a:ext uri="{FF2B5EF4-FFF2-40B4-BE49-F238E27FC236}">
                  <a16:creationId xmlns:a16="http://schemas.microsoft.com/office/drawing/2014/main" id="{199DE347-17F6-461F-B90C-B69AAFA2F910}"/>
                </a:ext>
              </a:extLst>
            </p:cNvPr>
            <p:cNvSpPr/>
            <p:nvPr/>
          </p:nvSpPr>
          <p:spPr>
            <a:xfrm rot="8716295">
              <a:off x="3229620" y="22228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9" name="Forme libre : forme 2508">
              <a:extLst>
                <a:ext uri="{FF2B5EF4-FFF2-40B4-BE49-F238E27FC236}">
                  <a16:creationId xmlns:a16="http://schemas.microsoft.com/office/drawing/2014/main" id="{A01BDA60-4E43-4FBD-82A0-95C77C097A9E}"/>
                </a:ext>
              </a:extLst>
            </p:cNvPr>
            <p:cNvSpPr/>
            <p:nvPr/>
          </p:nvSpPr>
          <p:spPr>
            <a:xfrm rot="8716295">
              <a:off x="3456753" y="61068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0" name="Forme libre : forme 2509">
              <a:extLst>
                <a:ext uri="{FF2B5EF4-FFF2-40B4-BE49-F238E27FC236}">
                  <a16:creationId xmlns:a16="http://schemas.microsoft.com/office/drawing/2014/main" id="{84B2FBB5-B856-485C-83D9-69D2B6498A18}"/>
                </a:ext>
              </a:extLst>
            </p:cNvPr>
            <p:cNvSpPr/>
            <p:nvPr/>
          </p:nvSpPr>
          <p:spPr>
            <a:xfrm rot="8716295">
              <a:off x="3767908" y="23104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1" name="Forme libre : forme 2510">
              <a:extLst>
                <a:ext uri="{FF2B5EF4-FFF2-40B4-BE49-F238E27FC236}">
                  <a16:creationId xmlns:a16="http://schemas.microsoft.com/office/drawing/2014/main" id="{3D0C3739-8DA5-460B-B377-BF5789078C10}"/>
                </a:ext>
              </a:extLst>
            </p:cNvPr>
            <p:cNvSpPr/>
            <p:nvPr/>
          </p:nvSpPr>
          <p:spPr>
            <a:xfrm rot="8716295">
              <a:off x="3857300" y="26028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2" name="Forme libre : forme 2511">
              <a:extLst>
                <a:ext uri="{FF2B5EF4-FFF2-40B4-BE49-F238E27FC236}">
                  <a16:creationId xmlns:a16="http://schemas.microsoft.com/office/drawing/2014/main" id="{971F324A-C797-4A5A-9D42-0FA8C2BA8DAD}"/>
                </a:ext>
              </a:extLst>
            </p:cNvPr>
            <p:cNvSpPr/>
            <p:nvPr/>
          </p:nvSpPr>
          <p:spPr>
            <a:xfrm rot="8716295">
              <a:off x="3655674" y="31958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3" name="Forme libre : forme 2512">
              <a:extLst>
                <a:ext uri="{FF2B5EF4-FFF2-40B4-BE49-F238E27FC236}">
                  <a16:creationId xmlns:a16="http://schemas.microsoft.com/office/drawing/2014/main" id="{8EC218C7-06A4-4CA2-8080-F703AD883CED}"/>
                </a:ext>
              </a:extLst>
            </p:cNvPr>
            <p:cNvSpPr/>
            <p:nvPr/>
          </p:nvSpPr>
          <p:spPr>
            <a:xfrm rot="8716295">
              <a:off x="3530772" y="11091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4" name="Forme libre : forme 2513">
              <a:extLst>
                <a:ext uri="{FF2B5EF4-FFF2-40B4-BE49-F238E27FC236}">
                  <a16:creationId xmlns:a16="http://schemas.microsoft.com/office/drawing/2014/main" id="{65059EE1-7F5D-48ED-B85D-A46423F78D76}"/>
                </a:ext>
              </a:extLst>
            </p:cNvPr>
            <p:cNvSpPr/>
            <p:nvPr/>
          </p:nvSpPr>
          <p:spPr>
            <a:xfrm rot="8716295">
              <a:off x="3745852" y="36053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5" name="Forme libre : forme 2514">
              <a:extLst>
                <a:ext uri="{FF2B5EF4-FFF2-40B4-BE49-F238E27FC236}">
                  <a16:creationId xmlns:a16="http://schemas.microsoft.com/office/drawing/2014/main" id="{512AA149-007C-42E5-90DD-CC3331EEDCF7}"/>
                </a:ext>
              </a:extLst>
            </p:cNvPr>
            <p:cNvSpPr/>
            <p:nvPr/>
          </p:nvSpPr>
          <p:spPr>
            <a:xfrm rot="8716295">
              <a:off x="3504401" y="21093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6" name="Forme libre : forme 2515">
              <a:extLst>
                <a:ext uri="{FF2B5EF4-FFF2-40B4-BE49-F238E27FC236}">
                  <a16:creationId xmlns:a16="http://schemas.microsoft.com/office/drawing/2014/main" id="{23613C77-E0E1-44C1-8EC6-64AC0EEA97B7}"/>
                </a:ext>
              </a:extLst>
            </p:cNvPr>
            <p:cNvSpPr/>
            <p:nvPr/>
          </p:nvSpPr>
          <p:spPr>
            <a:xfrm rot="7484129">
              <a:off x="3850783" y="55188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7" name="Forme libre : forme 2516">
              <a:extLst>
                <a:ext uri="{FF2B5EF4-FFF2-40B4-BE49-F238E27FC236}">
                  <a16:creationId xmlns:a16="http://schemas.microsoft.com/office/drawing/2014/main" id="{AD9CF096-470A-4FB5-8989-86875B5B759F}"/>
                </a:ext>
              </a:extLst>
            </p:cNvPr>
            <p:cNvSpPr/>
            <p:nvPr/>
          </p:nvSpPr>
          <p:spPr>
            <a:xfrm rot="13089394">
              <a:off x="3955603" y="51842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8" name="Forme libre : forme 2517">
              <a:extLst>
                <a:ext uri="{FF2B5EF4-FFF2-40B4-BE49-F238E27FC236}">
                  <a16:creationId xmlns:a16="http://schemas.microsoft.com/office/drawing/2014/main" id="{EDD58B14-9EE6-43DE-AB53-02CE1EFD4AEF}"/>
                </a:ext>
              </a:extLst>
            </p:cNvPr>
            <p:cNvSpPr/>
            <p:nvPr/>
          </p:nvSpPr>
          <p:spPr>
            <a:xfrm rot="8716295">
              <a:off x="4141188" y="32674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9" name="Forme libre : forme 2518">
              <a:extLst>
                <a:ext uri="{FF2B5EF4-FFF2-40B4-BE49-F238E27FC236}">
                  <a16:creationId xmlns:a16="http://schemas.microsoft.com/office/drawing/2014/main" id="{B0126B85-3847-48C1-A04C-7973E77D1EDB}"/>
                </a:ext>
              </a:extLst>
            </p:cNvPr>
            <p:cNvSpPr/>
            <p:nvPr/>
          </p:nvSpPr>
          <p:spPr>
            <a:xfrm rot="8716295">
              <a:off x="4089383" y="22314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0" name="Forme libre : forme 2519">
              <a:extLst>
                <a:ext uri="{FF2B5EF4-FFF2-40B4-BE49-F238E27FC236}">
                  <a16:creationId xmlns:a16="http://schemas.microsoft.com/office/drawing/2014/main" id="{B39FA797-0108-450C-A9FF-E77B30368C8A}"/>
                </a:ext>
              </a:extLst>
            </p:cNvPr>
            <p:cNvSpPr/>
            <p:nvPr/>
          </p:nvSpPr>
          <p:spPr>
            <a:xfrm rot="8716295">
              <a:off x="3846137" y="25336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1" name="Forme libre : forme 2520">
              <a:extLst>
                <a:ext uri="{FF2B5EF4-FFF2-40B4-BE49-F238E27FC236}">
                  <a16:creationId xmlns:a16="http://schemas.microsoft.com/office/drawing/2014/main" id="{E59A0A69-0B8F-4075-9B80-4638F9047ACF}"/>
                </a:ext>
              </a:extLst>
            </p:cNvPr>
            <p:cNvSpPr/>
            <p:nvPr/>
          </p:nvSpPr>
          <p:spPr>
            <a:xfrm rot="8716295">
              <a:off x="4023589" y="9412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2" name="Forme libre : forme 2521">
              <a:extLst>
                <a:ext uri="{FF2B5EF4-FFF2-40B4-BE49-F238E27FC236}">
                  <a16:creationId xmlns:a16="http://schemas.microsoft.com/office/drawing/2014/main" id="{2EFF07EC-89C0-4663-BD43-B2A9421F76C1}"/>
                </a:ext>
              </a:extLst>
            </p:cNvPr>
            <p:cNvSpPr/>
            <p:nvPr/>
          </p:nvSpPr>
          <p:spPr>
            <a:xfrm rot="8716295">
              <a:off x="3298850" y="-42720"/>
              <a:ext cx="123263" cy="85442"/>
            </a:xfrm>
            <a:custGeom>
              <a:avLst/>
              <a:gdLst>
                <a:gd name="connsiteX0" fmla="*/ 123263 w 123263"/>
                <a:gd name="connsiteY0" fmla="*/ 85442 h 85442"/>
                <a:gd name="connsiteX1" fmla="*/ 0 w 123263"/>
                <a:gd name="connsiteY1" fmla="*/ 0 h 85442"/>
                <a:gd name="connsiteX2" fmla="*/ 66305 w 123263"/>
                <a:gd name="connsiteY2" fmla="*/ 0 h 85442"/>
                <a:gd name="connsiteX3" fmla="*/ 123263 w 123263"/>
                <a:gd name="connsiteY3" fmla="*/ 50123 h 85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63" h="85442">
                  <a:moveTo>
                    <a:pt x="123263" y="85442"/>
                  </a:moveTo>
                  <a:lnTo>
                    <a:pt x="0" y="0"/>
                  </a:lnTo>
                  <a:lnTo>
                    <a:pt x="66305" y="0"/>
                  </a:lnTo>
                  <a:cubicBezTo>
                    <a:pt x="103214" y="0"/>
                    <a:pt x="123263" y="15948"/>
                    <a:pt x="123263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3" name="Forme libre : forme 2522">
              <a:extLst>
                <a:ext uri="{FF2B5EF4-FFF2-40B4-BE49-F238E27FC236}">
                  <a16:creationId xmlns:a16="http://schemas.microsoft.com/office/drawing/2014/main" id="{FD4B967E-157B-4EC0-8E14-C729CCFF7879}"/>
                </a:ext>
              </a:extLst>
            </p:cNvPr>
            <p:cNvSpPr/>
            <p:nvPr/>
          </p:nvSpPr>
          <p:spPr>
            <a:xfrm rot="8716295">
              <a:off x="3388166" y="-13722"/>
              <a:ext cx="260639" cy="98025"/>
            </a:xfrm>
            <a:custGeom>
              <a:avLst/>
              <a:gdLst>
                <a:gd name="connsiteX0" fmla="*/ 104802 w 260639"/>
                <a:gd name="connsiteY0" fmla="*/ 74264 h 98025"/>
                <a:gd name="connsiteX1" fmla="*/ 0 w 260639"/>
                <a:gd name="connsiteY1" fmla="*/ 1618 h 98025"/>
                <a:gd name="connsiteX2" fmla="*/ 0 w 260639"/>
                <a:gd name="connsiteY2" fmla="*/ 1425 h 98025"/>
                <a:gd name="connsiteX3" fmla="*/ 104803 w 260639"/>
                <a:gd name="connsiteY3" fmla="*/ 1425 h 98025"/>
                <a:gd name="connsiteX4" fmla="*/ 122123 w 260639"/>
                <a:gd name="connsiteY4" fmla="*/ 86270 h 98025"/>
                <a:gd name="connsiteX5" fmla="*/ 106178 w 260639"/>
                <a:gd name="connsiteY5" fmla="*/ 75218 h 98025"/>
                <a:gd name="connsiteX6" fmla="*/ 116721 w 260639"/>
                <a:gd name="connsiteY6" fmla="*/ 47439 h 98025"/>
                <a:gd name="connsiteX7" fmla="*/ 154014 w 260639"/>
                <a:gd name="connsiteY7" fmla="*/ 5981 h 98025"/>
                <a:gd name="connsiteX8" fmla="*/ 185455 w 260639"/>
                <a:gd name="connsiteY8" fmla="*/ 57 h 98025"/>
                <a:gd name="connsiteX9" fmla="*/ 260639 w 260639"/>
                <a:gd name="connsiteY9" fmla="*/ 88456 h 98025"/>
                <a:gd name="connsiteX10" fmla="*/ 260639 w 260639"/>
                <a:gd name="connsiteY10" fmla="*/ 94380 h 98025"/>
                <a:gd name="connsiteX11" fmla="*/ 198669 w 260639"/>
                <a:gd name="connsiteY11" fmla="*/ 98025 h 98025"/>
                <a:gd name="connsiteX12" fmla="*/ 198669 w 260639"/>
                <a:gd name="connsiteY12" fmla="*/ 81621 h 98025"/>
                <a:gd name="connsiteX13" fmla="*/ 164950 w 260639"/>
                <a:gd name="connsiteY13" fmla="*/ 40156 h 98025"/>
                <a:gd name="connsiteX14" fmla="*/ 127358 w 260639"/>
                <a:gd name="connsiteY14" fmla="*/ 65616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60639" h="98025">
                  <a:moveTo>
                    <a:pt x="104802" y="74264"/>
                  </a:moveTo>
                  <a:lnTo>
                    <a:pt x="0" y="1618"/>
                  </a:lnTo>
                  <a:lnTo>
                    <a:pt x="0" y="1425"/>
                  </a:lnTo>
                  <a:lnTo>
                    <a:pt x="104803" y="1425"/>
                  </a:lnTo>
                  <a:close/>
                  <a:moveTo>
                    <a:pt x="122123" y="86270"/>
                  </a:moveTo>
                  <a:lnTo>
                    <a:pt x="106178" y="75218"/>
                  </a:lnTo>
                  <a:lnTo>
                    <a:pt x="116721" y="47439"/>
                  </a:lnTo>
                  <a:cubicBezTo>
                    <a:pt x="127102" y="24008"/>
                    <a:pt x="137610" y="12816"/>
                    <a:pt x="154014" y="5981"/>
                  </a:cubicBezTo>
                  <a:cubicBezTo>
                    <a:pt x="164038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50369" y="40156"/>
                    <a:pt x="137041" y="49839"/>
                    <a:pt x="127358" y="656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4" name="Forme libre : forme 2523">
              <a:extLst>
                <a:ext uri="{FF2B5EF4-FFF2-40B4-BE49-F238E27FC236}">
                  <a16:creationId xmlns:a16="http://schemas.microsoft.com/office/drawing/2014/main" id="{26F60FD7-190A-4D8F-9670-046678F59C56}"/>
                </a:ext>
              </a:extLst>
            </p:cNvPr>
            <p:cNvSpPr/>
            <p:nvPr/>
          </p:nvSpPr>
          <p:spPr>
            <a:xfrm rot="8716295">
              <a:off x="3234083" y="-5272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5" name="Forme libre : forme 2524">
              <a:extLst>
                <a:ext uri="{FF2B5EF4-FFF2-40B4-BE49-F238E27FC236}">
                  <a16:creationId xmlns:a16="http://schemas.microsoft.com/office/drawing/2014/main" id="{085654F2-7869-4845-81C8-ECDCFADD1D48}"/>
                </a:ext>
              </a:extLst>
            </p:cNvPr>
            <p:cNvSpPr/>
            <p:nvPr/>
          </p:nvSpPr>
          <p:spPr>
            <a:xfrm rot="7484129">
              <a:off x="3672246" y="-18656"/>
              <a:ext cx="154104" cy="104443"/>
            </a:xfrm>
            <a:custGeom>
              <a:avLst/>
              <a:gdLst>
                <a:gd name="connsiteX0" fmla="*/ 72416 w 154104"/>
                <a:gd name="connsiteY0" fmla="*/ 104443 h 104443"/>
                <a:gd name="connsiteX1" fmla="*/ 0 w 154104"/>
                <a:gd name="connsiteY1" fmla="*/ 0 h 104443"/>
                <a:gd name="connsiteX2" fmla="*/ 154104 w 154104"/>
                <a:gd name="connsiteY2" fmla="*/ 0 h 104443"/>
                <a:gd name="connsiteX3" fmla="*/ 154104 w 154104"/>
                <a:gd name="connsiteY3" fmla="*/ 55323 h 104443"/>
                <a:gd name="connsiteX4" fmla="*/ 89312 w 154104"/>
                <a:gd name="connsiteY4" fmla="*/ 55323 h 104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4104" h="104443">
                  <a:moveTo>
                    <a:pt x="72416" y="104443"/>
                  </a:moveTo>
                  <a:lnTo>
                    <a:pt x="0" y="0"/>
                  </a:lnTo>
                  <a:lnTo>
                    <a:pt x="154104" y="0"/>
                  </a:lnTo>
                  <a:lnTo>
                    <a:pt x="154104" y="55323"/>
                  </a:lnTo>
                  <a:lnTo>
                    <a:pt x="89312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6" name="Forme libre : forme 2525">
              <a:extLst>
                <a:ext uri="{FF2B5EF4-FFF2-40B4-BE49-F238E27FC236}">
                  <a16:creationId xmlns:a16="http://schemas.microsoft.com/office/drawing/2014/main" id="{7E176583-6C1C-4FE3-A612-16C14B2CEFC6}"/>
                </a:ext>
              </a:extLst>
            </p:cNvPr>
            <p:cNvSpPr/>
            <p:nvPr/>
          </p:nvSpPr>
          <p:spPr>
            <a:xfrm rot="13089394">
              <a:off x="3884960" y="-47886"/>
              <a:ext cx="84765" cy="281028"/>
            </a:xfrm>
            <a:custGeom>
              <a:avLst/>
              <a:gdLst>
                <a:gd name="connsiteX0" fmla="*/ 84765 w 84765"/>
                <a:gd name="connsiteY0" fmla="*/ 225012 h 281028"/>
                <a:gd name="connsiteX1" fmla="*/ 13471 w 84765"/>
                <a:gd name="connsiteY1" fmla="*/ 281028 h 281028"/>
                <a:gd name="connsiteX2" fmla="*/ 4828 w 84765"/>
                <a:gd name="connsiteY2" fmla="*/ 263963 h 281028"/>
                <a:gd name="connsiteX3" fmla="*/ 0 w 84765"/>
                <a:gd name="connsiteY3" fmla="*/ 206370 h 281028"/>
                <a:gd name="connsiteX4" fmla="*/ 0 w 84765"/>
                <a:gd name="connsiteY4" fmla="*/ 38074 h 281028"/>
                <a:gd name="connsiteX5" fmla="*/ 73388 w 84765"/>
                <a:gd name="connsiteY5" fmla="*/ 0 h 281028"/>
                <a:gd name="connsiteX6" fmla="*/ 74492 w 84765"/>
                <a:gd name="connsiteY6" fmla="*/ 153950 h 281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4765" h="281028">
                  <a:moveTo>
                    <a:pt x="84765" y="225012"/>
                  </a:moveTo>
                  <a:lnTo>
                    <a:pt x="13471" y="281028"/>
                  </a:lnTo>
                  <a:lnTo>
                    <a:pt x="4828" y="263963"/>
                  </a:lnTo>
                  <a:cubicBezTo>
                    <a:pt x="1241" y="248168"/>
                    <a:pt x="0" y="228993"/>
                    <a:pt x="0" y="206370"/>
                  </a:cubicBez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7" name="Forme libre : forme 2526">
              <a:extLst>
                <a:ext uri="{FF2B5EF4-FFF2-40B4-BE49-F238E27FC236}">
                  <a16:creationId xmlns:a16="http://schemas.microsoft.com/office/drawing/2014/main" id="{6411FD51-776E-4AA6-866C-86AC7DDE6B1E}"/>
                </a:ext>
              </a:extLst>
            </p:cNvPr>
            <p:cNvSpPr/>
            <p:nvPr/>
          </p:nvSpPr>
          <p:spPr>
            <a:xfrm rot="8716295">
              <a:off x="5789699" y="1993578"/>
              <a:ext cx="181333" cy="87320"/>
            </a:xfrm>
            <a:custGeom>
              <a:avLst/>
              <a:gdLst>
                <a:gd name="connsiteX0" fmla="*/ 0 w 181333"/>
                <a:gd name="connsiteY0" fmla="*/ 87320 h 87320"/>
                <a:gd name="connsiteX1" fmla="*/ 42309 w 181333"/>
                <a:gd name="connsiteY1" fmla="*/ 36168 h 87320"/>
                <a:gd name="connsiteX2" fmla="*/ 54839 w 181333"/>
                <a:gd name="connsiteY2" fmla="*/ 38831 h 87320"/>
                <a:gd name="connsiteX3" fmla="*/ 107790 w 181333"/>
                <a:gd name="connsiteY3" fmla="*/ 29417 h 87320"/>
                <a:gd name="connsiteX4" fmla="*/ 180157 w 181333"/>
                <a:gd name="connsiteY4" fmla="*/ 0 h 87320"/>
                <a:gd name="connsiteX5" fmla="*/ 181333 w 181333"/>
                <a:gd name="connsiteY5" fmla="*/ 7648 h 87320"/>
                <a:gd name="connsiteX6" fmla="*/ 181333 w 181333"/>
                <a:gd name="connsiteY6" fmla="*/ 13532 h 87320"/>
                <a:gd name="connsiteX7" fmla="*/ 30340 w 181333"/>
                <a:gd name="connsiteY7" fmla="*/ 83361 h 87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333" h="87320">
                  <a:moveTo>
                    <a:pt x="0" y="87320"/>
                  </a:moveTo>
                  <a:lnTo>
                    <a:pt x="42309" y="36168"/>
                  </a:lnTo>
                  <a:lnTo>
                    <a:pt x="54839" y="38831"/>
                  </a:lnTo>
                  <a:cubicBezTo>
                    <a:pt x="73078" y="38242"/>
                    <a:pt x="90728" y="34712"/>
                    <a:pt x="107790" y="29417"/>
                  </a:cubicBezTo>
                  <a:cubicBezTo>
                    <a:pt x="132500" y="21768"/>
                    <a:pt x="156623" y="11767"/>
                    <a:pt x="180157" y="0"/>
                  </a:cubicBezTo>
                  <a:cubicBezTo>
                    <a:pt x="180745" y="2353"/>
                    <a:pt x="181333" y="5295"/>
                    <a:pt x="181333" y="7648"/>
                  </a:cubicBezTo>
                  <a:lnTo>
                    <a:pt x="181333" y="13532"/>
                  </a:lnTo>
                  <a:cubicBezTo>
                    <a:pt x="134560" y="53687"/>
                    <a:pt x="76865" y="74315"/>
                    <a:pt x="30340" y="833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8" name="Forme libre : forme 2527">
              <a:extLst>
                <a:ext uri="{FF2B5EF4-FFF2-40B4-BE49-F238E27FC236}">
                  <a16:creationId xmlns:a16="http://schemas.microsoft.com/office/drawing/2014/main" id="{4016D6BF-E72B-479D-8087-47A81BBF417D}"/>
                </a:ext>
              </a:extLst>
            </p:cNvPr>
            <p:cNvSpPr/>
            <p:nvPr/>
          </p:nvSpPr>
          <p:spPr>
            <a:xfrm rot="8716295">
              <a:off x="5880884" y="1564845"/>
              <a:ext cx="61060" cy="195751"/>
            </a:xfrm>
            <a:custGeom>
              <a:avLst/>
              <a:gdLst>
                <a:gd name="connsiteX0" fmla="*/ 0 w 61060"/>
                <a:gd name="connsiteY0" fmla="*/ 195751 h 195751"/>
                <a:gd name="connsiteX1" fmla="*/ 0 w 61060"/>
                <a:gd name="connsiteY1" fmla="*/ 67520 h 195751"/>
                <a:gd name="connsiteX2" fmla="*/ 55847 w 61060"/>
                <a:gd name="connsiteY2" fmla="*/ 0 h 195751"/>
                <a:gd name="connsiteX3" fmla="*/ 61059 w 61060"/>
                <a:gd name="connsiteY3" fmla="*/ 13486 h 195751"/>
                <a:gd name="connsiteX4" fmla="*/ 61060 w 61060"/>
                <a:gd name="connsiteY4" fmla="*/ 171601 h 195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60" h="195751">
                  <a:moveTo>
                    <a:pt x="0" y="195751"/>
                  </a:moveTo>
                  <a:lnTo>
                    <a:pt x="0" y="67520"/>
                  </a:lnTo>
                  <a:lnTo>
                    <a:pt x="55847" y="0"/>
                  </a:lnTo>
                  <a:lnTo>
                    <a:pt x="61059" y="13486"/>
                  </a:lnTo>
                  <a:lnTo>
                    <a:pt x="61060" y="17160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9" name="Forme libre : forme 2528">
              <a:extLst>
                <a:ext uri="{FF2B5EF4-FFF2-40B4-BE49-F238E27FC236}">
                  <a16:creationId xmlns:a16="http://schemas.microsoft.com/office/drawing/2014/main" id="{C9150DCD-F0A2-40C0-9C18-4806DAE4299B}"/>
                </a:ext>
              </a:extLst>
            </p:cNvPr>
            <p:cNvSpPr/>
            <p:nvPr/>
          </p:nvSpPr>
          <p:spPr>
            <a:xfrm rot="8716295">
              <a:off x="5772692" y="162676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0" name="Forme libre : forme 2529">
              <a:extLst>
                <a:ext uri="{FF2B5EF4-FFF2-40B4-BE49-F238E27FC236}">
                  <a16:creationId xmlns:a16="http://schemas.microsoft.com/office/drawing/2014/main" id="{31E25632-0B2D-4088-97A3-B015DDAB706E}"/>
                </a:ext>
              </a:extLst>
            </p:cNvPr>
            <p:cNvSpPr/>
            <p:nvPr/>
          </p:nvSpPr>
          <p:spPr>
            <a:xfrm rot="8716295">
              <a:off x="5647789" y="141808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1" name="Forme libre : forme 2530">
              <a:extLst>
                <a:ext uri="{FF2B5EF4-FFF2-40B4-BE49-F238E27FC236}">
                  <a16:creationId xmlns:a16="http://schemas.microsoft.com/office/drawing/2014/main" id="{B3255F7B-0F97-465E-93D7-7FA94259C6BD}"/>
                </a:ext>
              </a:extLst>
            </p:cNvPr>
            <p:cNvSpPr/>
            <p:nvPr/>
          </p:nvSpPr>
          <p:spPr>
            <a:xfrm rot="8716295">
              <a:off x="5635737" y="1279309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2" name="Forme libre : forme 2531">
              <a:extLst>
                <a:ext uri="{FF2B5EF4-FFF2-40B4-BE49-F238E27FC236}">
                  <a16:creationId xmlns:a16="http://schemas.microsoft.com/office/drawing/2014/main" id="{DDCFE949-9F0B-4027-A955-7581B115547F}"/>
                </a:ext>
              </a:extLst>
            </p:cNvPr>
            <p:cNvSpPr/>
            <p:nvPr/>
          </p:nvSpPr>
          <p:spPr>
            <a:xfrm rot="8716295">
              <a:off x="5863691" y="1680538"/>
              <a:ext cx="60147" cy="219174"/>
            </a:xfrm>
            <a:custGeom>
              <a:avLst/>
              <a:gdLst>
                <a:gd name="connsiteX0" fmla="*/ 60147 w 60147"/>
                <a:gd name="connsiteY0" fmla="*/ 219174 h 219174"/>
                <a:gd name="connsiteX1" fmla="*/ 0 w 60147"/>
                <a:gd name="connsiteY1" fmla="*/ 161304 h 219174"/>
                <a:gd name="connsiteX2" fmla="*/ 0 w 60147"/>
                <a:gd name="connsiteY2" fmla="*/ 68045 h 219174"/>
                <a:gd name="connsiteX3" fmla="*/ 56210 w 60147"/>
                <a:gd name="connsiteY3" fmla="*/ 87 h 219174"/>
                <a:gd name="connsiteX4" fmla="*/ 60147 w 60147"/>
                <a:gd name="connsiteY4" fmla="*/ 0 h 219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47" h="219174">
                  <a:moveTo>
                    <a:pt x="60147" y="219174"/>
                  </a:moveTo>
                  <a:lnTo>
                    <a:pt x="0" y="161304"/>
                  </a:lnTo>
                  <a:lnTo>
                    <a:pt x="0" y="68045"/>
                  </a:lnTo>
                  <a:lnTo>
                    <a:pt x="56210" y="87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3" name="Forme libre : forme 2532">
              <a:extLst>
                <a:ext uri="{FF2B5EF4-FFF2-40B4-BE49-F238E27FC236}">
                  <a16:creationId xmlns:a16="http://schemas.microsoft.com/office/drawing/2014/main" id="{65DD55AE-558A-4E5E-92F3-6D26BC8FC5C0}"/>
                </a:ext>
              </a:extLst>
            </p:cNvPr>
            <p:cNvSpPr/>
            <p:nvPr/>
          </p:nvSpPr>
          <p:spPr>
            <a:xfrm rot="8716295">
              <a:off x="5910518" y="126796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4" name="Forme libre : forme 2533">
              <a:extLst>
                <a:ext uri="{FF2B5EF4-FFF2-40B4-BE49-F238E27FC236}">
                  <a16:creationId xmlns:a16="http://schemas.microsoft.com/office/drawing/2014/main" id="{0EC05458-5106-4134-90D2-715C795E2923}"/>
                </a:ext>
              </a:extLst>
            </p:cNvPr>
            <p:cNvSpPr/>
            <p:nvPr/>
          </p:nvSpPr>
          <p:spPr>
            <a:xfrm rot="8716295">
              <a:off x="5661759" y="87851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5" name="Forme libre : forme 2534">
              <a:extLst>
                <a:ext uri="{FF2B5EF4-FFF2-40B4-BE49-F238E27FC236}">
                  <a16:creationId xmlns:a16="http://schemas.microsoft.com/office/drawing/2014/main" id="{D057AB63-8011-4BAF-B87B-EAA1065401D7}"/>
                </a:ext>
              </a:extLst>
            </p:cNvPr>
            <p:cNvSpPr/>
            <p:nvPr/>
          </p:nvSpPr>
          <p:spPr>
            <a:xfrm rot="8716295">
              <a:off x="5751943" y="913207"/>
              <a:ext cx="229128" cy="254774"/>
            </a:xfrm>
            <a:custGeom>
              <a:avLst/>
              <a:gdLst>
                <a:gd name="connsiteX0" fmla="*/ 19979 w 229128"/>
                <a:gd name="connsiteY0" fmla="*/ 254774 h 254774"/>
                <a:gd name="connsiteX1" fmla="*/ 19979 w 229128"/>
                <a:gd name="connsiteY1" fmla="*/ 45624 h 254774"/>
                <a:gd name="connsiteX2" fmla="*/ 0 w 229128"/>
                <a:gd name="connsiteY2" fmla="*/ 45624 h 254774"/>
                <a:gd name="connsiteX3" fmla="*/ 36558 w 229128"/>
                <a:gd name="connsiteY3" fmla="*/ 1425 h 254774"/>
                <a:gd name="connsiteX4" fmla="*/ 73292 w 229128"/>
                <a:gd name="connsiteY4" fmla="*/ 1425 h 254774"/>
                <a:gd name="connsiteX5" fmla="*/ 73292 w 229128"/>
                <a:gd name="connsiteY5" fmla="*/ 75242 h 254774"/>
                <a:gd name="connsiteX6" fmla="*/ 74658 w 229128"/>
                <a:gd name="connsiteY6" fmla="*/ 75242 h 254774"/>
                <a:gd name="connsiteX7" fmla="*/ 122503 w 229128"/>
                <a:gd name="connsiteY7" fmla="*/ 5981 h 254774"/>
                <a:gd name="connsiteX8" fmla="*/ 153944 w 229128"/>
                <a:gd name="connsiteY8" fmla="*/ 57 h 254774"/>
                <a:gd name="connsiteX9" fmla="*/ 229128 w 229128"/>
                <a:gd name="connsiteY9" fmla="*/ 88456 h 254774"/>
                <a:gd name="connsiteX10" fmla="*/ 229128 w 229128"/>
                <a:gd name="connsiteY10" fmla="*/ 94380 h 254774"/>
                <a:gd name="connsiteX11" fmla="*/ 167158 w 229128"/>
                <a:gd name="connsiteY11" fmla="*/ 98025 h 254774"/>
                <a:gd name="connsiteX12" fmla="*/ 167158 w 229128"/>
                <a:gd name="connsiteY12" fmla="*/ 81621 h 254774"/>
                <a:gd name="connsiteX13" fmla="*/ 133439 w 229128"/>
                <a:gd name="connsiteY13" fmla="*/ 40156 h 254774"/>
                <a:gd name="connsiteX14" fmla="*/ 80127 w 229128"/>
                <a:gd name="connsiteY14" fmla="*/ 127643 h 254774"/>
                <a:gd name="connsiteX15" fmla="*/ 80127 w 229128"/>
                <a:gd name="connsiteY15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29128" h="254774">
                  <a:moveTo>
                    <a:pt x="19979" y="254774"/>
                  </a:moveTo>
                  <a:lnTo>
                    <a:pt x="19979" y="45624"/>
                  </a:lnTo>
                  <a:lnTo>
                    <a:pt x="0" y="45624"/>
                  </a:lnTo>
                  <a:lnTo>
                    <a:pt x="36558" y="1425"/>
                  </a:lnTo>
                  <a:lnTo>
                    <a:pt x="73292" y="1425"/>
                  </a:lnTo>
                  <a:lnTo>
                    <a:pt x="73292" y="75242"/>
                  </a:lnTo>
                  <a:lnTo>
                    <a:pt x="74658" y="75242"/>
                  </a:lnTo>
                  <a:cubicBezTo>
                    <a:pt x="89240" y="31954"/>
                    <a:pt x="100631" y="15094"/>
                    <a:pt x="122503" y="5981"/>
                  </a:cubicBezTo>
                  <a:cubicBezTo>
                    <a:pt x="132528" y="1880"/>
                    <a:pt x="143008" y="-398"/>
                    <a:pt x="153944" y="57"/>
                  </a:cubicBezTo>
                  <a:cubicBezTo>
                    <a:pt x="200877" y="-854"/>
                    <a:pt x="229128" y="31954"/>
                    <a:pt x="229128" y="88456"/>
                  </a:cubicBezTo>
                  <a:lnTo>
                    <a:pt x="229128" y="94380"/>
                  </a:lnTo>
                  <a:lnTo>
                    <a:pt x="167158" y="98025"/>
                  </a:lnTo>
                  <a:lnTo>
                    <a:pt x="167158" y="81621"/>
                  </a:lnTo>
                  <a:cubicBezTo>
                    <a:pt x="167158" y="57016"/>
                    <a:pt x="153033" y="40156"/>
                    <a:pt x="133439" y="40156"/>
                  </a:cubicBezTo>
                  <a:cubicBezTo>
                    <a:pt x="104277" y="40156"/>
                    <a:pt x="80127" y="78887"/>
                    <a:pt x="80127" y="127643"/>
                  </a:cubicBezTo>
                  <a:lnTo>
                    <a:pt x="80127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6" name="Forme libre : forme 2535">
              <a:extLst>
                <a:ext uri="{FF2B5EF4-FFF2-40B4-BE49-F238E27FC236}">
                  <a16:creationId xmlns:a16="http://schemas.microsoft.com/office/drawing/2014/main" id="{2835F711-6457-4567-BFF6-A0B784C09FC4}"/>
                </a:ext>
              </a:extLst>
            </p:cNvPr>
            <p:cNvSpPr/>
            <p:nvPr/>
          </p:nvSpPr>
          <p:spPr>
            <a:xfrm rot="8716295">
              <a:off x="5706301" y="821481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7" name="Forme libre : forme 2536">
              <a:extLst>
                <a:ext uri="{FF2B5EF4-FFF2-40B4-BE49-F238E27FC236}">
                  <a16:creationId xmlns:a16="http://schemas.microsoft.com/office/drawing/2014/main" id="{09671646-B442-4067-9AA2-DA2D5180E659}"/>
                </a:ext>
              </a:extLst>
            </p:cNvPr>
            <p:cNvSpPr/>
            <p:nvPr/>
          </p:nvSpPr>
          <p:spPr>
            <a:xfrm rot="8716295">
              <a:off x="5549525" y="96706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8" name="Forme libre : forme 2537">
              <a:extLst>
                <a:ext uri="{FF2B5EF4-FFF2-40B4-BE49-F238E27FC236}">
                  <a16:creationId xmlns:a16="http://schemas.microsoft.com/office/drawing/2014/main" id="{A36AF7BA-D17B-4A0F-86BD-D2B1CBD1C700}"/>
                </a:ext>
              </a:extLst>
            </p:cNvPr>
            <p:cNvSpPr/>
            <p:nvPr/>
          </p:nvSpPr>
          <p:spPr>
            <a:xfrm rot="8716295">
              <a:off x="5424622" y="75839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9" name="Forme libre : forme 2538">
              <a:extLst>
                <a:ext uri="{FF2B5EF4-FFF2-40B4-BE49-F238E27FC236}">
                  <a16:creationId xmlns:a16="http://schemas.microsoft.com/office/drawing/2014/main" id="{AF5CCE06-D137-4C0F-9245-A218B9F04135}"/>
                </a:ext>
              </a:extLst>
            </p:cNvPr>
            <p:cNvSpPr/>
            <p:nvPr/>
          </p:nvSpPr>
          <p:spPr>
            <a:xfrm rot="8716295">
              <a:off x="5412570" y="619610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0" name="Forme libre : forme 2539">
              <a:extLst>
                <a:ext uri="{FF2B5EF4-FFF2-40B4-BE49-F238E27FC236}">
                  <a16:creationId xmlns:a16="http://schemas.microsoft.com/office/drawing/2014/main" id="{ED460E8C-C78B-44EF-9945-8FB1024E7269}"/>
                </a:ext>
              </a:extLst>
            </p:cNvPr>
            <p:cNvSpPr/>
            <p:nvPr/>
          </p:nvSpPr>
          <p:spPr>
            <a:xfrm rot="8716295">
              <a:off x="5639703" y="100801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1" name="Forme libre : forme 2540">
              <a:extLst>
                <a:ext uri="{FF2B5EF4-FFF2-40B4-BE49-F238E27FC236}">
                  <a16:creationId xmlns:a16="http://schemas.microsoft.com/office/drawing/2014/main" id="{44797871-BF4A-4658-8B0F-C75DE4AC12D4}"/>
                </a:ext>
              </a:extLst>
            </p:cNvPr>
            <p:cNvSpPr/>
            <p:nvPr/>
          </p:nvSpPr>
          <p:spPr>
            <a:xfrm rot="8716295">
              <a:off x="5950315" y="653899"/>
              <a:ext cx="61060" cy="208036"/>
            </a:xfrm>
            <a:custGeom>
              <a:avLst/>
              <a:gdLst>
                <a:gd name="connsiteX0" fmla="*/ 0 w 61060"/>
                <a:gd name="connsiteY0" fmla="*/ 208036 h 208036"/>
                <a:gd name="connsiteX1" fmla="*/ 1 w 61060"/>
                <a:gd name="connsiteY1" fmla="*/ 61780 h 208036"/>
                <a:gd name="connsiteX2" fmla="*/ 51100 w 61060"/>
                <a:gd name="connsiteY2" fmla="*/ 0 h 208036"/>
                <a:gd name="connsiteX3" fmla="*/ 61059 w 61060"/>
                <a:gd name="connsiteY3" fmla="*/ 25771 h 208036"/>
                <a:gd name="connsiteX4" fmla="*/ 61060 w 61060"/>
                <a:gd name="connsiteY4" fmla="*/ 183886 h 208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60" h="208036">
                  <a:moveTo>
                    <a:pt x="0" y="208036"/>
                  </a:moveTo>
                  <a:lnTo>
                    <a:pt x="1" y="61780"/>
                  </a:lnTo>
                  <a:lnTo>
                    <a:pt x="51100" y="0"/>
                  </a:lnTo>
                  <a:lnTo>
                    <a:pt x="61059" y="25771"/>
                  </a:lnTo>
                  <a:lnTo>
                    <a:pt x="61060" y="18388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2" name="Forme libre : forme 2541">
              <a:extLst>
                <a:ext uri="{FF2B5EF4-FFF2-40B4-BE49-F238E27FC236}">
                  <a16:creationId xmlns:a16="http://schemas.microsoft.com/office/drawing/2014/main" id="{1F8AF864-43AC-4DF3-8966-C8908B7A01D3}"/>
                </a:ext>
              </a:extLst>
            </p:cNvPr>
            <p:cNvSpPr/>
            <p:nvPr/>
          </p:nvSpPr>
          <p:spPr>
            <a:xfrm rot="8716295">
              <a:off x="5838624" y="71691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3" name="Forme libre : forme 2542">
              <a:extLst>
                <a:ext uri="{FF2B5EF4-FFF2-40B4-BE49-F238E27FC236}">
                  <a16:creationId xmlns:a16="http://schemas.microsoft.com/office/drawing/2014/main" id="{A5452EDF-F2D0-4EB5-B794-A8063E26BBF7}"/>
                </a:ext>
              </a:extLst>
            </p:cNvPr>
            <p:cNvSpPr/>
            <p:nvPr/>
          </p:nvSpPr>
          <p:spPr>
            <a:xfrm rot="8716295">
              <a:off x="5713722" y="50823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4" name="Forme libre : forme 2543">
              <a:extLst>
                <a:ext uri="{FF2B5EF4-FFF2-40B4-BE49-F238E27FC236}">
                  <a16:creationId xmlns:a16="http://schemas.microsoft.com/office/drawing/2014/main" id="{1AC7FCE0-D551-4D48-B54B-39B8C83CD6FF}"/>
                </a:ext>
              </a:extLst>
            </p:cNvPr>
            <p:cNvSpPr/>
            <p:nvPr/>
          </p:nvSpPr>
          <p:spPr>
            <a:xfrm rot="8716295">
              <a:off x="5929622" y="770687"/>
              <a:ext cx="60148" cy="219175"/>
            </a:xfrm>
            <a:custGeom>
              <a:avLst/>
              <a:gdLst>
                <a:gd name="connsiteX0" fmla="*/ 60148 w 60148"/>
                <a:gd name="connsiteY0" fmla="*/ 219175 h 219175"/>
                <a:gd name="connsiteX1" fmla="*/ 0 w 60148"/>
                <a:gd name="connsiteY1" fmla="*/ 161305 h 219175"/>
                <a:gd name="connsiteX2" fmla="*/ 0 w 60148"/>
                <a:gd name="connsiteY2" fmla="*/ 50021 h 219175"/>
                <a:gd name="connsiteX3" fmla="*/ 41025 w 60148"/>
                <a:gd name="connsiteY3" fmla="*/ 421 h 219175"/>
                <a:gd name="connsiteX4" fmla="*/ 60147 w 60148"/>
                <a:gd name="connsiteY4" fmla="*/ 0 h 219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48" h="219175">
                  <a:moveTo>
                    <a:pt x="60148" y="219175"/>
                  </a:moveTo>
                  <a:lnTo>
                    <a:pt x="0" y="161305"/>
                  </a:lnTo>
                  <a:lnTo>
                    <a:pt x="0" y="50021"/>
                  </a:lnTo>
                  <a:lnTo>
                    <a:pt x="41025" y="421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5" name="Forme libre : forme 2544">
              <a:extLst>
                <a:ext uri="{FF2B5EF4-FFF2-40B4-BE49-F238E27FC236}">
                  <a16:creationId xmlns:a16="http://schemas.microsoft.com/office/drawing/2014/main" id="{528E3663-F822-4A22-A3E4-0940AC0A021C}"/>
                </a:ext>
              </a:extLst>
            </p:cNvPr>
            <p:cNvSpPr/>
            <p:nvPr/>
          </p:nvSpPr>
          <p:spPr>
            <a:xfrm rot="8716295">
              <a:off x="5687351" y="608263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6" name="Forme libre : forme 2545">
              <a:extLst>
                <a:ext uri="{FF2B5EF4-FFF2-40B4-BE49-F238E27FC236}">
                  <a16:creationId xmlns:a16="http://schemas.microsoft.com/office/drawing/2014/main" id="{1D9FE5D3-D3BA-4384-A368-415E7F501305}"/>
                </a:ext>
              </a:extLst>
            </p:cNvPr>
            <p:cNvSpPr/>
            <p:nvPr/>
          </p:nvSpPr>
          <p:spPr>
            <a:xfrm rot="8716295">
              <a:off x="6020907" y="657792"/>
              <a:ext cx="32038" cy="36361"/>
            </a:xfrm>
            <a:custGeom>
              <a:avLst/>
              <a:gdLst>
                <a:gd name="connsiteX0" fmla="*/ 0 w 32038"/>
                <a:gd name="connsiteY0" fmla="*/ 35166 h 36361"/>
                <a:gd name="connsiteX1" fmla="*/ 29086 w 32038"/>
                <a:gd name="connsiteY1" fmla="*/ 0 h 36361"/>
                <a:gd name="connsiteX2" fmla="*/ 32038 w 32038"/>
                <a:gd name="connsiteY2" fmla="*/ 7028 h 36361"/>
                <a:gd name="connsiteX3" fmla="*/ 23495 w 32038"/>
                <a:gd name="connsiteY3" fmla="*/ 27704 h 36361"/>
                <a:gd name="connsiteX4" fmla="*/ 2990 w 32038"/>
                <a:gd name="connsiteY4" fmla="*/ 36361 h 36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038" h="36361">
                  <a:moveTo>
                    <a:pt x="0" y="35166"/>
                  </a:moveTo>
                  <a:lnTo>
                    <a:pt x="29086" y="0"/>
                  </a:lnTo>
                  <a:lnTo>
                    <a:pt x="32038" y="7028"/>
                  </a:lnTo>
                  <a:cubicBezTo>
                    <a:pt x="32039" y="14489"/>
                    <a:pt x="29191" y="22008"/>
                    <a:pt x="23495" y="27704"/>
                  </a:cubicBezTo>
                  <a:cubicBezTo>
                    <a:pt x="18027" y="33172"/>
                    <a:pt x="10736" y="36361"/>
                    <a:pt x="2990" y="363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7" name="Forme libre : forme 2546">
              <a:extLst>
                <a:ext uri="{FF2B5EF4-FFF2-40B4-BE49-F238E27FC236}">
                  <a16:creationId xmlns:a16="http://schemas.microsoft.com/office/drawing/2014/main" id="{74B385B7-490F-4B64-8CDD-005D25D28D6D}"/>
                </a:ext>
              </a:extLst>
            </p:cNvPr>
            <p:cNvSpPr/>
            <p:nvPr/>
          </p:nvSpPr>
          <p:spPr>
            <a:xfrm rot="8716295">
              <a:off x="5442820" y="21646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8" name="Forme libre : forme 2547">
              <a:extLst>
                <a:ext uri="{FF2B5EF4-FFF2-40B4-BE49-F238E27FC236}">
                  <a16:creationId xmlns:a16="http://schemas.microsoft.com/office/drawing/2014/main" id="{00A5BEA9-8E4C-4D3C-A9D9-E06E091E430D}"/>
                </a:ext>
              </a:extLst>
            </p:cNvPr>
            <p:cNvSpPr/>
            <p:nvPr/>
          </p:nvSpPr>
          <p:spPr>
            <a:xfrm rot="8716295">
              <a:off x="5532212" y="24570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9" name="Forme libre : forme 2548">
              <a:extLst>
                <a:ext uri="{FF2B5EF4-FFF2-40B4-BE49-F238E27FC236}">
                  <a16:creationId xmlns:a16="http://schemas.microsoft.com/office/drawing/2014/main" id="{51F90AEB-3E6A-4371-81D7-8624D42EAD0B}"/>
                </a:ext>
              </a:extLst>
            </p:cNvPr>
            <p:cNvSpPr/>
            <p:nvPr/>
          </p:nvSpPr>
          <p:spPr>
            <a:xfrm rot="8716295">
              <a:off x="5487362" y="15942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0" name="Forme libre : forme 2549">
              <a:extLst>
                <a:ext uri="{FF2B5EF4-FFF2-40B4-BE49-F238E27FC236}">
                  <a16:creationId xmlns:a16="http://schemas.microsoft.com/office/drawing/2014/main" id="{66DEF209-BFB8-4520-8F33-CA20A27BB5A9}"/>
                </a:ext>
              </a:extLst>
            </p:cNvPr>
            <p:cNvSpPr/>
            <p:nvPr/>
          </p:nvSpPr>
          <p:spPr>
            <a:xfrm rot="8716295">
              <a:off x="5330586" y="30500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1" name="Forme libre : forme 2550">
              <a:extLst>
                <a:ext uri="{FF2B5EF4-FFF2-40B4-BE49-F238E27FC236}">
                  <a16:creationId xmlns:a16="http://schemas.microsoft.com/office/drawing/2014/main" id="{02E582F8-1DAD-41CD-B82A-472A28D81DC3}"/>
                </a:ext>
              </a:extLst>
            </p:cNvPr>
            <p:cNvSpPr/>
            <p:nvPr/>
          </p:nvSpPr>
          <p:spPr>
            <a:xfrm rot="8716295">
              <a:off x="5205683" y="9633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2" name="Forme libre : forme 2551">
              <a:extLst>
                <a:ext uri="{FF2B5EF4-FFF2-40B4-BE49-F238E27FC236}">
                  <a16:creationId xmlns:a16="http://schemas.microsoft.com/office/drawing/2014/main" id="{2D7C4CFF-E9C9-4017-8965-B23AA1CAC9F5}"/>
                </a:ext>
              </a:extLst>
            </p:cNvPr>
            <p:cNvSpPr/>
            <p:nvPr/>
          </p:nvSpPr>
          <p:spPr>
            <a:xfrm rot="8716295">
              <a:off x="5193248" y="-36152"/>
              <a:ext cx="290643" cy="340949"/>
            </a:xfrm>
            <a:custGeom>
              <a:avLst/>
              <a:gdLst>
                <a:gd name="connsiteX0" fmla="*/ 155476 w 290643"/>
                <a:gd name="connsiteY0" fmla="*/ 340949 h 340949"/>
                <a:gd name="connsiteX1" fmla="*/ 1169 w 290643"/>
                <a:gd name="connsiteY1" fmla="*/ 233989 h 340949"/>
                <a:gd name="connsiteX2" fmla="*/ 0 w 290643"/>
                <a:gd name="connsiteY2" fmla="*/ 220042 h 340949"/>
                <a:gd name="connsiteX3" fmla="*/ 0 w 290643"/>
                <a:gd name="connsiteY3" fmla="*/ 40596 h 340949"/>
                <a:gd name="connsiteX4" fmla="*/ 78250 w 290643"/>
                <a:gd name="connsiteY4" fmla="*/ 0 h 340949"/>
                <a:gd name="connsiteX5" fmla="*/ 79427 w 290643"/>
                <a:gd name="connsiteY5" fmla="*/ 164149 h 340949"/>
                <a:gd name="connsiteX6" fmla="*/ 93547 w 290643"/>
                <a:gd name="connsiteY6" fmla="*/ 261815 h 340949"/>
                <a:gd name="connsiteX7" fmla="*/ 164149 w 290643"/>
                <a:gd name="connsiteY7" fmla="*/ 300646 h 340949"/>
                <a:gd name="connsiteX8" fmla="*/ 217100 w 290643"/>
                <a:gd name="connsiteY8" fmla="*/ 291232 h 340949"/>
                <a:gd name="connsiteX9" fmla="*/ 289467 w 290643"/>
                <a:gd name="connsiteY9" fmla="*/ 261815 h 340949"/>
                <a:gd name="connsiteX10" fmla="*/ 290643 w 290643"/>
                <a:gd name="connsiteY10" fmla="*/ 269463 h 340949"/>
                <a:gd name="connsiteX11" fmla="*/ 290643 w 290643"/>
                <a:gd name="connsiteY11" fmla="*/ 275347 h 340949"/>
                <a:gd name="connsiteX12" fmla="*/ 189080 w 290643"/>
                <a:gd name="connsiteY12" fmla="*/ 331975 h 340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0643" h="340949">
                  <a:moveTo>
                    <a:pt x="155476" y="340949"/>
                  </a:moveTo>
                  <a:lnTo>
                    <a:pt x="1169" y="233989"/>
                  </a:lnTo>
                  <a:lnTo>
                    <a:pt x="0" y="220042"/>
                  </a:ln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9" y="300646"/>
                  </a:cubicBezTo>
                  <a:cubicBezTo>
                    <a:pt x="182388" y="300057"/>
                    <a:pt x="200038" y="296527"/>
                    <a:pt x="217100" y="291232"/>
                  </a:cubicBezTo>
                  <a:cubicBezTo>
                    <a:pt x="241810" y="283584"/>
                    <a:pt x="265933" y="273582"/>
                    <a:pt x="289467" y="261815"/>
                  </a:cubicBezTo>
                  <a:cubicBezTo>
                    <a:pt x="290055" y="264168"/>
                    <a:pt x="290643" y="267110"/>
                    <a:pt x="290643" y="269463"/>
                  </a:cubicBezTo>
                  <a:lnTo>
                    <a:pt x="290643" y="275347"/>
                  </a:lnTo>
                  <a:cubicBezTo>
                    <a:pt x="259461" y="302117"/>
                    <a:pt x="223425" y="320208"/>
                    <a:pt x="189080" y="3319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3" name="Forme libre : forme 2552">
              <a:extLst>
                <a:ext uri="{FF2B5EF4-FFF2-40B4-BE49-F238E27FC236}">
                  <a16:creationId xmlns:a16="http://schemas.microsoft.com/office/drawing/2014/main" id="{1B6E6328-9E6C-4820-97FC-4F7E1744304C}"/>
                </a:ext>
              </a:extLst>
            </p:cNvPr>
            <p:cNvSpPr/>
            <p:nvPr/>
          </p:nvSpPr>
          <p:spPr>
            <a:xfrm rot="8716295">
              <a:off x="5420764" y="34595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4" name="Forme libre : forme 2553">
              <a:extLst>
                <a:ext uri="{FF2B5EF4-FFF2-40B4-BE49-F238E27FC236}">
                  <a16:creationId xmlns:a16="http://schemas.microsoft.com/office/drawing/2014/main" id="{4F045B04-F6BC-4D60-B07A-B22F29BDB27C}"/>
                </a:ext>
              </a:extLst>
            </p:cNvPr>
            <p:cNvSpPr/>
            <p:nvPr/>
          </p:nvSpPr>
          <p:spPr>
            <a:xfrm rot="8716295">
              <a:off x="5731919" y="-3369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5" name="Forme libre : forme 2554">
              <a:extLst>
                <a:ext uri="{FF2B5EF4-FFF2-40B4-BE49-F238E27FC236}">
                  <a16:creationId xmlns:a16="http://schemas.microsoft.com/office/drawing/2014/main" id="{D50AC866-595F-4850-87C8-A4B5DFADD698}"/>
                </a:ext>
              </a:extLst>
            </p:cNvPr>
            <p:cNvSpPr/>
            <p:nvPr/>
          </p:nvSpPr>
          <p:spPr>
            <a:xfrm rot="8716295">
              <a:off x="5826428" y="14828"/>
              <a:ext cx="238830" cy="236556"/>
            </a:xfrm>
            <a:custGeom>
              <a:avLst/>
              <a:gdLst>
                <a:gd name="connsiteX0" fmla="*/ 56401 w 238830"/>
                <a:gd name="connsiteY0" fmla="*/ 236556 h 236556"/>
                <a:gd name="connsiteX1" fmla="*/ 29681 w 238830"/>
                <a:gd name="connsiteY1" fmla="*/ 218034 h 236556"/>
                <a:gd name="connsiteX2" fmla="*/ 29681 w 238830"/>
                <a:gd name="connsiteY2" fmla="*/ 45624 h 236556"/>
                <a:gd name="connsiteX3" fmla="*/ 0 w 238830"/>
                <a:gd name="connsiteY3" fmla="*/ 45624 h 236556"/>
                <a:gd name="connsiteX4" fmla="*/ 36558 w 238830"/>
                <a:gd name="connsiteY4" fmla="*/ 1425 h 236556"/>
                <a:gd name="connsiteX5" fmla="*/ 82994 w 238830"/>
                <a:gd name="connsiteY5" fmla="*/ 1425 h 236556"/>
                <a:gd name="connsiteX6" fmla="*/ 82994 w 238830"/>
                <a:gd name="connsiteY6" fmla="*/ 75242 h 236556"/>
                <a:gd name="connsiteX7" fmla="*/ 84360 w 238830"/>
                <a:gd name="connsiteY7" fmla="*/ 75242 h 236556"/>
                <a:gd name="connsiteX8" fmla="*/ 132205 w 238830"/>
                <a:gd name="connsiteY8" fmla="*/ 5981 h 236556"/>
                <a:gd name="connsiteX9" fmla="*/ 163646 w 238830"/>
                <a:gd name="connsiteY9" fmla="*/ 57 h 236556"/>
                <a:gd name="connsiteX10" fmla="*/ 238830 w 238830"/>
                <a:gd name="connsiteY10" fmla="*/ 88456 h 236556"/>
                <a:gd name="connsiteX11" fmla="*/ 238830 w 238830"/>
                <a:gd name="connsiteY11" fmla="*/ 94380 h 236556"/>
                <a:gd name="connsiteX12" fmla="*/ 176860 w 238830"/>
                <a:gd name="connsiteY12" fmla="*/ 98025 h 236556"/>
                <a:gd name="connsiteX13" fmla="*/ 176860 w 238830"/>
                <a:gd name="connsiteY13" fmla="*/ 81621 h 236556"/>
                <a:gd name="connsiteX14" fmla="*/ 143141 w 238830"/>
                <a:gd name="connsiteY14" fmla="*/ 40156 h 236556"/>
                <a:gd name="connsiteX15" fmla="*/ 89829 w 238830"/>
                <a:gd name="connsiteY15" fmla="*/ 127643 h 236556"/>
                <a:gd name="connsiteX16" fmla="*/ 89829 w 238830"/>
                <a:gd name="connsiteY16" fmla="*/ 213764 h 236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8830" h="236556">
                  <a:moveTo>
                    <a:pt x="56401" y="236556"/>
                  </a:moveTo>
                  <a:lnTo>
                    <a:pt x="29681" y="218034"/>
                  </a:lnTo>
                  <a:lnTo>
                    <a:pt x="29681" y="45624"/>
                  </a:lnTo>
                  <a:lnTo>
                    <a:pt x="0" y="45624"/>
                  </a:lnTo>
                  <a:lnTo>
                    <a:pt x="36558" y="1425"/>
                  </a:lnTo>
                  <a:lnTo>
                    <a:pt x="82994" y="1425"/>
                  </a:lnTo>
                  <a:lnTo>
                    <a:pt x="82994" y="75242"/>
                  </a:lnTo>
                  <a:lnTo>
                    <a:pt x="84360" y="75242"/>
                  </a:lnTo>
                  <a:cubicBezTo>
                    <a:pt x="98942" y="31954"/>
                    <a:pt x="110333" y="15095"/>
                    <a:pt x="132205" y="5981"/>
                  </a:cubicBezTo>
                  <a:cubicBezTo>
                    <a:pt x="142230" y="1880"/>
                    <a:pt x="152710" y="-398"/>
                    <a:pt x="163646" y="57"/>
                  </a:cubicBezTo>
                  <a:cubicBezTo>
                    <a:pt x="210579" y="-854"/>
                    <a:pt x="238830" y="31954"/>
                    <a:pt x="238830" y="88456"/>
                  </a:cubicBezTo>
                  <a:lnTo>
                    <a:pt x="238830" y="94380"/>
                  </a:lnTo>
                  <a:lnTo>
                    <a:pt x="176860" y="98025"/>
                  </a:lnTo>
                  <a:lnTo>
                    <a:pt x="176860" y="81621"/>
                  </a:lnTo>
                  <a:cubicBezTo>
                    <a:pt x="176860" y="57016"/>
                    <a:pt x="162735" y="40156"/>
                    <a:pt x="143141" y="40156"/>
                  </a:cubicBezTo>
                  <a:cubicBezTo>
                    <a:pt x="113979" y="40156"/>
                    <a:pt x="89829" y="78887"/>
                    <a:pt x="89829" y="127643"/>
                  </a:cubicBezTo>
                  <a:lnTo>
                    <a:pt x="89829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6" name="Forme libre : forme 2555">
              <a:extLst>
                <a:ext uri="{FF2B5EF4-FFF2-40B4-BE49-F238E27FC236}">
                  <a16:creationId xmlns:a16="http://schemas.microsoft.com/office/drawing/2014/main" id="{DC4B3E83-7005-4BBD-BBB0-A761AD405952}"/>
                </a:ext>
              </a:extLst>
            </p:cNvPr>
            <p:cNvSpPr/>
            <p:nvPr/>
          </p:nvSpPr>
          <p:spPr>
            <a:xfrm rot="8716295">
              <a:off x="5619685" y="5485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7" name="Forme libre : forme 2556">
              <a:extLst>
                <a:ext uri="{FF2B5EF4-FFF2-40B4-BE49-F238E27FC236}">
                  <a16:creationId xmlns:a16="http://schemas.microsoft.com/office/drawing/2014/main" id="{5C3D8184-C240-45BB-8949-CA444973BFCB}"/>
                </a:ext>
              </a:extLst>
            </p:cNvPr>
            <p:cNvSpPr/>
            <p:nvPr/>
          </p:nvSpPr>
          <p:spPr>
            <a:xfrm rot="8716295">
              <a:off x="5535493" y="-9286"/>
              <a:ext cx="144967" cy="55526"/>
            </a:xfrm>
            <a:custGeom>
              <a:avLst/>
              <a:gdLst>
                <a:gd name="connsiteX0" fmla="*/ 80105 w 144967"/>
                <a:gd name="connsiteY0" fmla="*/ 55526 h 55526"/>
                <a:gd name="connsiteX1" fmla="*/ 0 w 144967"/>
                <a:gd name="connsiteY1" fmla="*/ 0 h 55526"/>
                <a:gd name="connsiteX2" fmla="*/ 144967 w 144967"/>
                <a:gd name="connsiteY2" fmla="*/ 0 h 55526"/>
                <a:gd name="connsiteX3" fmla="*/ 144967 w 144967"/>
                <a:gd name="connsiteY3" fmla="*/ 55323 h 55526"/>
                <a:gd name="connsiteX4" fmla="*/ 80175 w 144967"/>
                <a:gd name="connsiteY4" fmla="*/ 55323 h 55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967" h="55526">
                  <a:moveTo>
                    <a:pt x="80105" y="55526"/>
                  </a:moveTo>
                  <a:lnTo>
                    <a:pt x="0" y="0"/>
                  </a:lnTo>
                  <a:lnTo>
                    <a:pt x="144967" y="0"/>
                  </a:lnTo>
                  <a:lnTo>
                    <a:pt x="144967" y="55323"/>
                  </a:lnTo>
                  <a:lnTo>
                    <a:pt x="8017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8" name="Forme libre : forme 2557">
              <a:extLst>
                <a:ext uri="{FF2B5EF4-FFF2-40B4-BE49-F238E27FC236}">
                  <a16:creationId xmlns:a16="http://schemas.microsoft.com/office/drawing/2014/main" id="{9211EEC6-BD80-4E39-BC94-F406797D4C14}"/>
                </a:ext>
              </a:extLst>
            </p:cNvPr>
            <p:cNvSpPr/>
            <p:nvPr/>
          </p:nvSpPr>
          <p:spPr>
            <a:xfrm rot="8716295">
              <a:off x="5709863" y="9580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9" name="Forme libre : forme 2558">
              <a:extLst>
                <a:ext uri="{FF2B5EF4-FFF2-40B4-BE49-F238E27FC236}">
                  <a16:creationId xmlns:a16="http://schemas.microsoft.com/office/drawing/2014/main" id="{787ACCBC-136A-4496-81B6-93B81D466D2B}"/>
                </a:ext>
              </a:extLst>
            </p:cNvPr>
            <p:cNvSpPr/>
            <p:nvPr/>
          </p:nvSpPr>
          <p:spPr>
            <a:xfrm rot="8716295">
              <a:off x="5474907" y="-18059"/>
              <a:ext cx="53295" cy="42130"/>
            </a:xfrm>
            <a:custGeom>
              <a:avLst/>
              <a:gdLst>
                <a:gd name="connsiteX0" fmla="*/ 51759 w 53295"/>
                <a:gd name="connsiteY0" fmla="*/ 42130 h 42130"/>
                <a:gd name="connsiteX1" fmla="*/ 0 w 53295"/>
                <a:gd name="connsiteY1" fmla="*/ 6252 h 42130"/>
                <a:gd name="connsiteX2" fmla="*/ 14807 w 53295"/>
                <a:gd name="connsiteY2" fmla="*/ 0 h 42130"/>
                <a:gd name="connsiteX3" fmla="*/ 41975 w 53295"/>
                <a:gd name="connsiteY3" fmla="*/ 11471 h 42130"/>
                <a:gd name="connsiteX4" fmla="*/ 53295 w 53295"/>
                <a:gd name="connsiteY4" fmla="*/ 38412 h 42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295" h="42130">
                  <a:moveTo>
                    <a:pt x="51759" y="42130"/>
                  </a:moveTo>
                  <a:lnTo>
                    <a:pt x="0" y="6252"/>
                  </a:lnTo>
                  <a:lnTo>
                    <a:pt x="14807" y="0"/>
                  </a:lnTo>
                  <a:cubicBezTo>
                    <a:pt x="25071" y="0"/>
                    <a:pt x="34731" y="4226"/>
                    <a:pt x="41975" y="11471"/>
                  </a:cubicBezTo>
                  <a:cubicBezTo>
                    <a:pt x="49522" y="18716"/>
                    <a:pt x="53295" y="28526"/>
                    <a:pt x="53295" y="3841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0" name="Forme libre : forme 2559">
              <a:extLst>
                <a:ext uri="{FF2B5EF4-FFF2-40B4-BE49-F238E27FC236}">
                  <a16:creationId xmlns:a16="http://schemas.microsoft.com/office/drawing/2014/main" id="{237D6F67-B176-4659-9C51-9A7BD34F0CA8}"/>
                </a:ext>
              </a:extLst>
            </p:cNvPr>
            <p:cNvSpPr/>
            <p:nvPr/>
          </p:nvSpPr>
          <p:spPr>
            <a:xfrm rot="7484129">
              <a:off x="5814794" y="28715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1" name="Forme libre : forme 2560">
              <a:extLst>
                <a:ext uri="{FF2B5EF4-FFF2-40B4-BE49-F238E27FC236}">
                  <a16:creationId xmlns:a16="http://schemas.microsoft.com/office/drawing/2014/main" id="{0A9A3C01-292B-4D95-942D-9306CC87D815}"/>
                </a:ext>
              </a:extLst>
            </p:cNvPr>
            <p:cNvSpPr/>
            <p:nvPr/>
          </p:nvSpPr>
          <p:spPr>
            <a:xfrm rot="13089394">
              <a:off x="5911866" y="269714"/>
              <a:ext cx="237929" cy="294867"/>
            </a:xfrm>
            <a:custGeom>
              <a:avLst/>
              <a:gdLst>
                <a:gd name="connsiteX0" fmla="*/ 39306 w 237929"/>
                <a:gd name="connsiteY0" fmla="*/ 79955 h 294867"/>
                <a:gd name="connsiteX1" fmla="*/ 0 w 237929"/>
                <a:gd name="connsiteY1" fmla="*/ 20095 h 294867"/>
                <a:gd name="connsiteX2" fmla="*/ 38733 w 237929"/>
                <a:gd name="connsiteY2" fmla="*/ 0 h 294867"/>
                <a:gd name="connsiteX3" fmla="*/ 237929 w 237929"/>
                <a:gd name="connsiteY3" fmla="*/ 258238 h 294867"/>
                <a:gd name="connsiteX4" fmla="*/ 191415 w 237929"/>
                <a:gd name="connsiteY4" fmla="*/ 290069 h 294867"/>
                <a:gd name="connsiteX5" fmla="*/ 180425 w 237929"/>
                <a:gd name="connsiteY5" fmla="*/ 294867 h 294867"/>
                <a:gd name="connsiteX6" fmla="*/ 166448 w 237929"/>
                <a:gd name="connsiteY6" fmla="*/ 273582 h 294867"/>
                <a:gd name="connsiteX7" fmla="*/ 168955 w 237929"/>
                <a:gd name="connsiteY7" fmla="*/ 273136 h 294867"/>
                <a:gd name="connsiteX8" fmla="*/ 236826 w 237929"/>
                <a:gd name="connsiteY8" fmla="*/ 245547 h 294867"/>
                <a:gd name="connsiteX9" fmla="*/ 237929 w 237929"/>
                <a:gd name="connsiteY9" fmla="*/ 252720 h 294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7929" h="294867">
                  <a:moveTo>
                    <a:pt x="39306" y="79955"/>
                  </a:moveTo>
                  <a:lnTo>
                    <a:pt x="0" y="20095"/>
                  </a:lnTo>
                  <a:lnTo>
                    <a:pt x="38733" y="0"/>
                  </a:lnTo>
                  <a:close/>
                  <a:moveTo>
                    <a:pt x="237929" y="258238"/>
                  </a:moveTo>
                  <a:cubicBezTo>
                    <a:pt x="223307" y="270791"/>
                    <a:pt x="207546" y="281309"/>
                    <a:pt x="191415" y="290069"/>
                  </a:cubicBezTo>
                  <a:lnTo>
                    <a:pt x="180425" y="294867"/>
                  </a:lnTo>
                  <a:lnTo>
                    <a:pt x="166448" y="273582"/>
                  </a:lnTo>
                  <a:lnTo>
                    <a:pt x="168955" y="273136"/>
                  </a:lnTo>
                  <a:cubicBezTo>
                    <a:pt x="192130" y="265963"/>
                    <a:pt x="214754" y="256582"/>
                    <a:pt x="236826" y="245547"/>
                  </a:cubicBezTo>
                  <a:cubicBezTo>
                    <a:pt x="237377" y="247754"/>
                    <a:pt x="237929" y="250513"/>
                    <a:pt x="237929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2" name="Forme libre : forme 2561">
              <a:extLst>
                <a:ext uri="{FF2B5EF4-FFF2-40B4-BE49-F238E27FC236}">
                  <a16:creationId xmlns:a16="http://schemas.microsoft.com/office/drawing/2014/main" id="{2A17DA33-A0C3-41F9-AE84-BDC6C53CFE7E}"/>
                </a:ext>
              </a:extLst>
            </p:cNvPr>
            <p:cNvSpPr/>
            <p:nvPr/>
          </p:nvSpPr>
          <p:spPr>
            <a:xfrm rot="8716295">
              <a:off x="6048768" y="-12983"/>
              <a:ext cx="59727" cy="80698"/>
            </a:xfrm>
            <a:custGeom>
              <a:avLst/>
              <a:gdLst>
                <a:gd name="connsiteX0" fmla="*/ 0 w 59727"/>
                <a:gd name="connsiteY0" fmla="*/ 52945 h 80698"/>
                <a:gd name="connsiteX1" fmla="*/ 43791 w 59727"/>
                <a:gd name="connsiteY1" fmla="*/ 0 h 80698"/>
                <a:gd name="connsiteX2" fmla="*/ 59727 w 59727"/>
                <a:gd name="connsiteY2" fmla="*/ 37928 h 80698"/>
                <a:gd name="connsiteX3" fmla="*/ 42480 w 59727"/>
                <a:gd name="connsiteY3" fmla="*/ 79666 h 80698"/>
                <a:gd name="connsiteX4" fmla="*/ 40038 w 59727"/>
                <a:gd name="connsiteY4" fmla="*/ 80698 h 80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727" h="80698">
                  <a:moveTo>
                    <a:pt x="0" y="52945"/>
                  </a:moveTo>
                  <a:lnTo>
                    <a:pt x="43791" y="0"/>
                  </a:lnTo>
                  <a:lnTo>
                    <a:pt x="59727" y="37928"/>
                  </a:lnTo>
                  <a:cubicBezTo>
                    <a:pt x="59727" y="52991"/>
                    <a:pt x="53978" y="68168"/>
                    <a:pt x="42480" y="79666"/>
                  </a:cubicBezTo>
                  <a:lnTo>
                    <a:pt x="40038" y="806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3" name="Forme libre : forme 2562">
              <a:extLst>
                <a:ext uri="{FF2B5EF4-FFF2-40B4-BE49-F238E27FC236}">
                  <a16:creationId xmlns:a16="http://schemas.microsoft.com/office/drawing/2014/main" id="{2353FF35-000A-436A-A845-6D57020C764E}"/>
                </a:ext>
              </a:extLst>
            </p:cNvPr>
            <p:cNvSpPr/>
            <p:nvPr/>
          </p:nvSpPr>
          <p:spPr>
            <a:xfrm rot="8716295">
              <a:off x="5807042" y="-10009"/>
              <a:ext cx="57775" cy="54433"/>
            </a:xfrm>
            <a:custGeom>
              <a:avLst/>
              <a:gdLst>
                <a:gd name="connsiteX0" fmla="*/ 37946 w 57775"/>
                <a:gd name="connsiteY0" fmla="*/ 54433 h 54433"/>
                <a:gd name="connsiteX1" fmla="*/ 0 w 57775"/>
                <a:gd name="connsiteY1" fmla="*/ 28130 h 54433"/>
                <a:gd name="connsiteX2" fmla="*/ 8222 w 57775"/>
                <a:gd name="connsiteY2" fmla="*/ 8658 h 54433"/>
                <a:gd name="connsiteX3" fmla="*/ 28726 w 57775"/>
                <a:gd name="connsiteY3" fmla="*/ 0 h 54433"/>
                <a:gd name="connsiteX4" fmla="*/ 49232 w 57775"/>
                <a:gd name="connsiteY4" fmla="*/ 8658 h 54433"/>
                <a:gd name="connsiteX5" fmla="*/ 49232 w 57775"/>
                <a:gd name="connsiteY5" fmla="*/ 49668 h 54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775" h="54433">
                  <a:moveTo>
                    <a:pt x="37946" y="54433"/>
                  </a:moveTo>
                  <a:lnTo>
                    <a:pt x="0" y="28130"/>
                  </a:lnTo>
                  <a:lnTo>
                    <a:pt x="8222" y="8658"/>
                  </a:lnTo>
                  <a:cubicBezTo>
                    <a:pt x="13690" y="3190"/>
                    <a:pt x="20981" y="0"/>
                    <a:pt x="28726" y="0"/>
                  </a:cubicBezTo>
                  <a:cubicBezTo>
                    <a:pt x="36473" y="0"/>
                    <a:pt x="43764" y="3190"/>
                    <a:pt x="49232" y="8658"/>
                  </a:cubicBezTo>
                  <a:cubicBezTo>
                    <a:pt x="60624" y="19594"/>
                    <a:pt x="60623" y="38276"/>
                    <a:pt x="49232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4" name="Forme libre : forme 2563">
              <a:extLst>
                <a:ext uri="{FF2B5EF4-FFF2-40B4-BE49-F238E27FC236}">
                  <a16:creationId xmlns:a16="http://schemas.microsoft.com/office/drawing/2014/main" id="{D553155B-6380-4B51-8419-ECFF292B83F9}"/>
                </a:ext>
              </a:extLst>
            </p:cNvPr>
            <p:cNvSpPr/>
            <p:nvPr/>
          </p:nvSpPr>
          <p:spPr>
            <a:xfrm rot="8716295">
              <a:off x="212141" y="304502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5" name="Forme libre : forme 2564">
              <a:extLst>
                <a:ext uri="{FF2B5EF4-FFF2-40B4-BE49-F238E27FC236}">
                  <a16:creationId xmlns:a16="http://schemas.microsoft.com/office/drawing/2014/main" id="{67BA1FC2-F36C-4A5C-929D-EFEA62216900}"/>
                </a:ext>
              </a:extLst>
            </p:cNvPr>
            <p:cNvSpPr/>
            <p:nvPr/>
          </p:nvSpPr>
          <p:spPr>
            <a:xfrm rot="8716295">
              <a:off x="301533" y="307427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6" name="Forme libre : forme 2565">
              <a:extLst>
                <a:ext uri="{FF2B5EF4-FFF2-40B4-BE49-F238E27FC236}">
                  <a16:creationId xmlns:a16="http://schemas.microsoft.com/office/drawing/2014/main" id="{511D384B-98C0-4C29-A1F9-D1BCF7610AEC}"/>
                </a:ext>
              </a:extLst>
            </p:cNvPr>
            <p:cNvSpPr/>
            <p:nvPr/>
          </p:nvSpPr>
          <p:spPr>
            <a:xfrm rot="8716295">
              <a:off x="256683" y="298799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7" name="Forme libre : forme 2566">
              <a:extLst>
                <a:ext uri="{FF2B5EF4-FFF2-40B4-BE49-F238E27FC236}">
                  <a16:creationId xmlns:a16="http://schemas.microsoft.com/office/drawing/2014/main" id="{B52ED1B2-C905-44CA-8DB7-D96A1D529045}"/>
                </a:ext>
              </a:extLst>
            </p:cNvPr>
            <p:cNvSpPr/>
            <p:nvPr/>
          </p:nvSpPr>
          <p:spPr>
            <a:xfrm rot="8716295">
              <a:off x="99907" y="31335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8" name="Forme libre : forme 2567">
              <a:extLst>
                <a:ext uri="{FF2B5EF4-FFF2-40B4-BE49-F238E27FC236}">
                  <a16:creationId xmlns:a16="http://schemas.microsoft.com/office/drawing/2014/main" id="{A5A1E363-60C9-4C33-A0CE-7C8397DEAC0C}"/>
                </a:ext>
              </a:extLst>
            </p:cNvPr>
            <p:cNvSpPr/>
            <p:nvPr/>
          </p:nvSpPr>
          <p:spPr>
            <a:xfrm rot="8716295">
              <a:off x="-24996" y="29248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9" name="Forme libre : forme 2568">
              <a:extLst>
                <a:ext uri="{FF2B5EF4-FFF2-40B4-BE49-F238E27FC236}">
                  <a16:creationId xmlns:a16="http://schemas.microsoft.com/office/drawing/2014/main" id="{8C120843-D6BE-458A-B9F4-0279F834C3ED}"/>
                </a:ext>
              </a:extLst>
            </p:cNvPr>
            <p:cNvSpPr/>
            <p:nvPr/>
          </p:nvSpPr>
          <p:spPr>
            <a:xfrm rot="8716295">
              <a:off x="51899" y="2754602"/>
              <a:ext cx="189488" cy="350829"/>
            </a:xfrm>
            <a:custGeom>
              <a:avLst/>
              <a:gdLst>
                <a:gd name="connsiteX0" fmla="*/ 25299 w 189488"/>
                <a:gd name="connsiteY0" fmla="*/ 321238 h 350829"/>
                <a:gd name="connsiteX1" fmla="*/ 0 w 189488"/>
                <a:gd name="connsiteY1" fmla="*/ 220042 h 350829"/>
                <a:gd name="connsiteX2" fmla="*/ 0 w 189488"/>
                <a:gd name="connsiteY2" fmla="*/ 40596 h 350829"/>
                <a:gd name="connsiteX3" fmla="*/ 78250 w 189488"/>
                <a:gd name="connsiteY3" fmla="*/ 0 h 350829"/>
                <a:gd name="connsiteX4" fmla="*/ 79427 w 189488"/>
                <a:gd name="connsiteY4" fmla="*/ 164149 h 350829"/>
                <a:gd name="connsiteX5" fmla="*/ 93547 w 189488"/>
                <a:gd name="connsiteY5" fmla="*/ 261815 h 350829"/>
                <a:gd name="connsiteX6" fmla="*/ 164148 w 189488"/>
                <a:gd name="connsiteY6" fmla="*/ 300646 h 350829"/>
                <a:gd name="connsiteX7" fmla="*/ 189488 w 189488"/>
                <a:gd name="connsiteY7" fmla="*/ 296141 h 350829"/>
                <a:gd name="connsiteX8" fmla="*/ 160617 w 189488"/>
                <a:gd name="connsiteY8" fmla="*/ 337791 h 350829"/>
                <a:gd name="connsiteX9" fmla="*/ 97666 w 189488"/>
                <a:gd name="connsiteY9" fmla="*/ 350655 h 350829"/>
                <a:gd name="connsiteX10" fmla="*/ 25299 w 189488"/>
                <a:gd name="connsiteY10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9488" h="350829">
                  <a:moveTo>
                    <a:pt x="25299" y="321238"/>
                  </a:moveTo>
                  <a:cubicBezTo>
                    <a:pt x="5295" y="301823"/>
                    <a:pt x="0" y="268286"/>
                    <a:pt x="0" y="220042"/>
                  </a:cubicBez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8" y="300646"/>
                  </a:cubicBezTo>
                  <a:lnTo>
                    <a:pt x="189488" y="296141"/>
                  </a:lnTo>
                  <a:lnTo>
                    <a:pt x="160617" y="337791"/>
                  </a:lnTo>
                  <a:lnTo>
                    <a:pt x="97666" y="350655"/>
                  </a:ln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0" name="Forme libre : forme 2569">
              <a:extLst>
                <a:ext uri="{FF2B5EF4-FFF2-40B4-BE49-F238E27FC236}">
                  <a16:creationId xmlns:a16="http://schemas.microsoft.com/office/drawing/2014/main" id="{8BAB5B23-705E-4A16-8C44-8327B4FD6CCC}"/>
                </a:ext>
              </a:extLst>
            </p:cNvPr>
            <p:cNvSpPr/>
            <p:nvPr/>
          </p:nvSpPr>
          <p:spPr>
            <a:xfrm rot="8716295">
              <a:off x="190085" y="317452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1" name="Forme libre : forme 2570">
              <a:extLst>
                <a:ext uri="{FF2B5EF4-FFF2-40B4-BE49-F238E27FC236}">
                  <a16:creationId xmlns:a16="http://schemas.microsoft.com/office/drawing/2014/main" id="{D9337EE8-67E6-49B9-9D08-B8E3597E2BD9}"/>
                </a:ext>
              </a:extLst>
            </p:cNvPr>
            <p:cNvSpPr/>
            <p:nvPr/>
          </p:nvSpPr>
          <p:spPr>
            <a:xfrm rot="8716295">
              <a:off x="501240" y="279487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2" name="Forme libre : forme 2571">
              <a:extLst>
                <a:ext uri="{FF2B5EF4-FFF2-40B4-BE49-F238E27FC236}">
                  <a16:creationId xmlns:a16="http://schemas.microsoft.com/office/drawing/2014/main" id="{383A3F11-DF41-44C2-9C23-687BDA5000E4}"/>
                </a:ext>
              </a:extLst>
            </p:cNvPr>
            <p:cNvSpPr/>
            <p:nvPr/>
          </p:nvSpPr>
          <p:spPr>
            <a:xfrm rot="8716295">
              <a:off x="590632" y="282411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3" name="Forme libre : forme 2572">
              <a:extLst>
                <a:ext uri="{FF2B5EF4-FFF2-40B4-BE49-F238E27FC236}">
                  <a16:creationId xmlns:a16="http://schemas.microsoft.com/office/drawing/2014/main" id="{55344225-1E1A-4BD5-AF05-BEDD630E150A}"/>
                </a:ext>
              </a:extLst>
            </p:cNvPr>
            <p:cNvSpPr/>
            <p:nvPr/>
          </p:nvSpPr>
          <p:spPr>
            <a:xfrm rot="8716295">
              <a:off x="389006" y="2883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4" name="Forme libre : forme 2573">
              <a:extLst>
                <a:ext uri="{FF2B5EF4-FFF2-40B4-BE49-F238E27FC236}">
                  <a16:creationId xmlns:a16="http://schemas.microsoft.com/office/drawing/2014/main" id="{85976604-818D-4F72-A8AF-F6A0827261B7}"/>
                </a:ext>
              </a:extLst>
            </p:cNvPr>
            <p:cNvSpPr/>
            <p:nvPr/>
          </p:nvSpPr>
          <p:spPr>
            <a:xfrm rot="8716295">
              <a:off x="264104" y="267474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5" name="Forme libre : forme 2574">
              <a:extLst>
                <a:ext uri="{FF2B5EF4-FFF2-40B4-BE49-F238E27FC236}">
                  <a16:creationId xmlns:a16="http://schemas.microsoft.com/office/drawing/2014/main" id="{A24AD263-F244-4E1D-862B-19F7259C99AB}"/>
                </a:ext>
              </a:extLst>
            </p:cNvPr>
            <p:cNvSpPr/>
            <p:nvPr/>
          </p:nvSpPr>
          <p:spPr>
            <a:xfrm rot="8716295">
              <a:off x="479184" y="292437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6" name="Forme libre : forme 2575">
              <a:extLst>
                <a:ext uri="{FF2B5EF4-FFF2-40B4-BE49-F238E27FC236}">
                  <a16:creationId xmlns:a16="http://schemas.microsoft.com/office/drawing/2014/main" id="{9C7315BF-5178-441E-B131-40E9768C1474}"/>
                </a:ext>
              </a:extLst>
            </p:cNvPr>
            <p:cNvSpPr/>
            <p:nvPr/>
          </p:nvSpPr>
          <p:spPr>
            <a:xfrm rot="8716295">
              <a:off x="237733" y="277477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7" name="Forme libre : forme 2576">
              <a:extLst>
                <a:ext uri="{FF2B5EF4-FFF2-40B4-BE49-F238E27FC236}">
                  <a16:creationId xmlns:a16="http://schemas.microsoft.com/office/drawing/2014/main" id="{349DA2D3-448B-490C-8DB7-4751B7D9038F}"/>
                </a:ext>
              </a:extLst>
            </p:cNvPr>
            <p:cNvSpPr/>
            <p:nvPr/>
          </p:nvSpPr>
          <p:spPr>
            <a:xfrm rot="7484129">
              <a:off x="584115" y="311572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8" name="Forme libre : forme 2577">
              <a:extLst>
                <a:ext uri="{FF2B5EF4-FFF2-40B4-BE49-F238E27FC236}">
                  <a16:creationId xmlns:a16="http://schemas.microsoft.com/office/drawing/2014/main" id="{9AA64EB5-5BC8-403B-AB82-04D81C133255}"/>
                </a:ext>
              </a:extLst>
            </p:cNvPr>
            <p:cNvSpPr/>
            <p:nvPr/>
          </p:nvSpPr>
          <p:spPr>
            <a:xfrm rot="13089394">
              <a:off x="688935" y="3082257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9" name="Forme libre : forme 2578">
              <a:extLst>
                <a:ext uri="{FF2B5EF4-FFF2-40B4-BE49-F238E27FC236}">
                  <a16:creationId xmlns:a16="http://schemas.microsoft.com/office/drawing/2014/main" id="{110BE40B-E2DA-4AFB-B27B-B3411BDC52CC}"/>
                </a:ext>
              </a:extLst>
            </p:cNvPr>
            <p:cNvSpPr/>
            <p:nvPr/>
          </p:nvSpPr>
          <p:spPr>
            <a:xfrm rot="8716295">
              <a:off x="874520" y="2890576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0" name="Forme libre : forme 2579">
              <a:extLst>
                <a:ext uri="{FF2B5EF4-FFF2-40B4-BE49-F238E27FC236}">
                  <a16:creationId xmlns:a16="http://schemas.microsoft.com/office/drawing/2014/main" id="{F835BCFD-B829-4BDD-8C2F-E93572759B49}"/>
                </a:ext>
              </a:extLst>
            </p:cNvPr>
            <p:cNvSpPr/>
            <p:nvPr/>
          </p:nvSpPr>
          <p:spPr>
            <a:xfrm rot="8716295">
              <a:off x="822715" y="278698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1" name="Forme libre : forme 2580">
              <a:extLst>
                <a:ext uri="{FF2B5EF4-FFF2-40B4-BE49-F238E27FC236}">
                  <a16:creationId xmlns:a16="http://schemas.microsoft.com/office/drawing/2014/main" id="{4C10496A-AC84-46A0-B11B-FC58DD24DFB9}"/>
                </a:ext>
              </a:extLst>
            </p:cNvPr>
            <p:cNvSpPr/>
            <p:nvPr/>
          </p:nvSpPr>
          <p:spPr>
            <a:xfrm rot="8716295">
              <a:off x="579469" y="28172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2" name="Forme libre : forme 2581">
              <a:extLst>
                <a:ext uri="{FF2B5EF4-FFF2-40B4-BE49-F238E27FC236}">
                  <a16:creationId xmlns:a16="http://schemas.microsoft.com/office/drawing/2014/main" id="{4AA264E2-3912-4F32-A3B9-9EF25D1D901D}"/>
                </a:ext>
              </a:extLst>
            </p:cNvPr>
            <p:cNvSpPr/>
            <p:nvPr/>
          </p:nvSpPr>
          <p:spPr>
            <a:xfrm rot="8716295">
              <a:off x="756921" y="265796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3" name="Forme libre : forme 2582">
              <a:extLst>
                <a:ext uri="{FF2B5EF4-FFF2-40B4-BE49-F238E27FC236}">
                  <a16:creationId xmlns:a16="http://schemas.microsoft.com/office/drawing/2014/main" id="{AA017B42-43C6-488B-8364-7F6BD3840C9C}"/>
                </a:ext>
              </a:extLst>
            </p:cNvPr>
            <p:cNvSpPr/>
            <p:nvPr/>
          </p:nvSpPr>
          <p:spPr>
            <a:xfrm rot="8716295">
              <a:off x="435308" y="370472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4" name="Forme libre : forme 2583">
              <a:extLst>
                <a:ext uri="{FF2B5EF4-FFF2-40B4-BE49-F238E27FC236}">
                  <a16:creationId xmlns:a16="http://schemas.microsoft.com/office/drawing/2014/main" id="{9757EFE7-39F8-43EA-9F4B-67F36396014B}"/>
                </a:ext>
              </a:extLst>
            </p:cNvPr>
            <p:cNvSpPr/>
            <p:nvPr/>
          </p:nvSpPr>
          <p:spPr>
            <a:xfrm rot="8716295">
              <a:off x="524700" y="373396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5" name="Forme libre : forme 2584">
              <a:extLst>
                <a:ext uri="{FF2B5EF4-FFF2-40B4-BE49-F238E27FC236}">
                  <a16:creationId xmlns:a16="http://schemas.microsoft.com/office/drawing/2014/main" id="{C8B0FFE9-5876-4A75-9F9D-7572BD2EA600}"/>
                </a:ext>
              </a:extLst>
            </p:cNvPr>
            <p:cNvSpPr/>
            <p:nvPr/>
          </p:nvSpPr>
          <p:spPr>
            <a:xfrm rot="8716295">
              <a:off x="479850" y="3647689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6" name="Forme libre : forme 2585">
              <a:extLst>
                <a:ext uri="{FF2B5EF4-FFF2-40B4-BE49-F238E27FC236}">
                  <a16:creationId xmlns:a16="http://schemas.microsoft.com/office/drawing/2014/main" id="{12E703CA-24C4-41EF-85F5-B38E93728456}"/>
                </a:ext>
              </a:extLst>
            </p:cNvPr>
            <p:cNvSpPr/>
            <p:nvPr/>
          </p:nvSpPr>
          <p:spPr>
            <a:xfrm rot="8716295">
              <a:off x="323074" y="379327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7" name="Forme libre : forme 2586">
              <a:extLst>
                <a:ext uri="{FF2B5EF4-FFF2-40B4-BE49-F238E27FC236}">
                  <a16:creationId xmlns:a16="http://schemas.microsoft.com/office/drawing/2014/main" id="{02E77907-D7EE-4230-A30B-47434E4968C2}"/>
                </a:ext>
              </a:extLst>
            </p:cNvPr>
            <p:cNvSpPr/>
            <p:nvPr/>
          </p:nvSpPr>
          <p:spPr>
            <a:xfrm rot="8716295">
              <a:off x="198171" y="358459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8" name="Forme libre : forme 2587">
              <a:extLst>
                <a:ext uri="{FF2B5EF4-FFF2-40B4-BE49-F238E27FC236}">
                  <a16:creationId xmlns:a16="http://schemas.microsoft.com/office/drawing/2014/main" id="{AB97544A-09D9-4A69-BC58-374B026F7202}"/>
                </a:ext>
              </a:extLst>
            </p:cNvPr>
            <p:cNvSpPr/>
            <p:nvPr/>
          </p:nvSpPr>
          <p:spPr>
            <a:xfrm rot="8716295">
              <a:off x="186119" y="344581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9" name="Forme libre : forme 2588">
              <a:extLst>
                <a:ext uri="{FF2B5EF4-FFF2-40B4-BE49-F238E27FC236}">
                  <a16:creationId xmlns:a16="http://schemas.microsoft.com/office/drawing/2014/main" id="{34C5510E-41C9-47D0-BA02-373BE24443F0}"/>
                </a:ext>
              </a:extLst>
            </p:cNvPr>
            <p:cNvSpPr/>
            <p:nvPr/>
          </p:nvSpPr>
          <p:spPr>
            <a:xfrm rot="8716295">
              <a:off x="413252" y="3834223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0" name="Forme libre : forme 2589">
              <a:extLst>
                <a:ext uri="{FF2B5EF4-FFF2-40B4-BE49-F238E27FC236}">
                  <a16:creationId xmlns:a16="http://schemas.microsoft.com/office/drawing/2014/main" id="{DC985ECF-E700-420E-BE15-8A41B5493ADF}"/>
                </a:ext>
              </a:extLst>
            </p:cNvPr>
            <p:cNvSpPr/>
            <p:nvPr/>
          </p:nvSpPr>
          <p:spPr>
            <a:xfrm rot="8716295">
              <a:off x="724407" y="345457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1" name="Forme libre : forme 2590">
              <a:extLst>
                <a:ext uri="{FF2B5EF4-FFF2-40B4-BE49-F238E27FC236}">
                  <a16:creationId xmlns:a16="http://schemas.microsoft.com/office/drawing/2014/main" id="{1E0CC155-5EA9-483B-9C01-9A8547393CE9}"/>
                </a:ext>
              </a:extLst>
            </p:cNvPr>
            <p:cNvSpPr/>
            <p:nvPr/>
          </p:nvSpPr>
          <p:spPr>
            <a:xfrm rot="8716295">
              <a:off x="813799" y="348381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2" name="Forme libre : forme 2591">
              <a:extLst>
                <a:ext uri="{FF2B5EF4-FFF2-40B4-BE49-F238E27FC236}">
                  <a16:creationId xmlns:a16="http://schemas.microsoft.com/office/drawing/2014/main" id="{C928522C-0918-4B4D-98AC-FEB2728E3112}"/>
                </a:ext>
              </a:extLst>
            </p:cNvPr>
            <p:cNvSpPr/>
            <p:nvPr/>
          </p:nvSpPr>
          <p:spPr>
            <a:xfrm rot="8716295">
              <a:off x="612173" y="354311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3" name="Forme libre : forme 2592">
              <a:extLst>
                <a:ext uri="{FF2B5EF4-FFF2-40B4-BE49-F238E27FC236}">
                  <a16:creationId xmlns:a16="http://schemas.microsoft.com/office/drawing/2014/main" id="{DC803AC2-4D03-45B3-B9A0-52BF6118175A}"/>
                </a:ext>
              </a:extLst>
            </p:cNvPr>
            <p:cNvSpPr/>
            <p:nvPr/>
          </p:nvSpPr>
          <p:spPr>
            <a:xfrm rot="8716295">
              <a:off x="487271" y="333444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4" name="Forme libre : forme 2593">
              <a:extLst>
                <a:ext uri="{FF2B5EF4-FFF2-40B4-BE49-F238E27FC236}">
                  <a16:creationId xmlns:a16="http://schemas.microsoft.com/office/drawing/2014/main" id="{A6BB2734-0B6A-4FD6-B566-A73E3DB68FC9}"/>
                </a:ext>
              </a:extLst>
            </p:cNvPr>
            <p:cNvSpPr/>
            <p:nvPr/>
          </p:nvSpPr>
          <p:spPr>
            <a:xfrm rot="8716295">
              <a:off x="702351" y="3584071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5" name="Forme libre : forme 2594">
              <a:extLst>
                <a:ext uri="{FF2B5EF4-FFF2-40B4-BE49-F238E27FC236}">
                  <a16:creationId xmlns:a16="http://schemas.microsoft.com/office/drawing/2014/main" id="{D74825A4-174B-4E11-B9F6-139E451B842F}"/>
                </a:ext>
              </a:extLst>
            </p:cNvPr>
            <p:cNvSpPr/>
            <p:nvPr/>
          </p:nvSpPr>
          <p:spPr>
            <a:xfrm rot="8716295">
              <a:off x="460900" y="343447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6" name="Forme libre : forme 2595">
              <a:extLst>
                <a:ext uri="{FF2B5EF4-FFF2-40B4-BE49-F238E27FC236}">
                  <a16:creationId xmlns:a16="http://schemas.microsoft.com/office/drawing/2014/main" id="{B39A9789-18FB-4A83-8AB0-8EE94A39D245}"/>
                </a:ext>
              </a:extLst>
            </p:cNvPr>
            <p:cNvSpPr/>
            <p:nvPr/>
          </p:nvSpPr>
          <p:spPr>
            <a:xfrm rot="7484129">
              <a:off x="807282" y="377542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7" name="Forme libre : forme 2596">
              <a:extLst>
                <a:ext uri="{FF2B5EF4-FFF2-40B4-BE49-F238E27FC236}">
                  <a16:creationId xmlns:a16="http://schemas.microsoft.com/office/drawing/2014/main" id="{AA0538E3-ADD4-4948-A138-F37F8A9A2A82}"/>
                </a:ext>
              </a:extLst>
            </p:cNvPr>
            <p:cNvSpPr/>
            <p:nvPr/>
          </p:nvSpPr>
          <p:spPr>
            <a:xfrm rot="13089394">
              <a:off x="912102" y="374195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8" name="Forme libre : forme 2597">
              <a:extLst>
                <a:ext uri="{FF2B5EF4-FFF2-40B4-BE49-F238E27FC236}">
                  <a16:creationId xmlns:a16="http://schemas.microsoft.com/office/drawing/2014/main" id="{CF8DE766-ABD4-4BFE-A9EE-39A1E5F1ADDE}"/>
                </a:ext>
              </a:extLst>
            </p:cNvPr>
            <p:cNvSpPr/>
            <p:nvPr/>
          </p:nvSpPr>
          <p:spPr>
            <a:xfrm rot="8716295">
              <a:off x="1097687" y="355027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9" name="Forme libre : forme 2598">
              <a:extLst>
                <a:ext uri="{FF2B5EF4-FFF2-40B4-BE49-F238E27FC236}">
                  <a16:creationId xmlns:a16="http://schemas.microsoft.com/office/drawing/2014/main" id="{BB03C112-DBC5-4C26-B8A2-9B16ED5B8438}"/>
                </a:ext>
              </a:extLst>
            </p:cNvPr>
            <p:cNvSpPr/>
            <p:nvPr/>
          </p:nvSpPr>
          <p:spPr>
            <a:xfrm rot="8716295">
              <a:off x="1045882" y="344668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0" name="Forme libre : forme 2599">
              <a:extLst>
                <a:ext uri="{FF2B5EF4-FFF2-40B4-BE49-F238E27FC236}">
                  <a16:creationId xmlns:a16="http://schemas.microsoft.com/office/drawing/2014/main" id="{8A6E9B1C-F5E3-4869-9D37-53881A1E0D30}"/>
                </a:ext>
              </a:extLst>
            </p:cNvPr>
            <p:cNvSpPr/>
            <p:nvPr/>
          </p:nvSpPr>
          <p:spPr>
            <a:xfrm rot="8716295">
              <a:off x="802636" y="347690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1" name="Forme libre : forme 2600">
              <a:extLst>
                <a:ext uri="{FF2B5EF4-FFF2-40B4-BE49-F238E27FC236}">
                  <a16:creationId xmlns:a16="http://schemas.microsoft.com/office/drawing/2014/main" id="{9334980A-BAFA-4A40-881F-47BA45E71C45}"/>
                </a:ext>
              </a:extLst>
            </p:cNvPr>
            <p:cNvSpPr/>
            <p:nvPr/>
          </p:nvSpPr>
          <p:spPr>
            <a:xfrm rot="8716295">
              <a:off x="980088" y="331766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2" name="Forme libre : forme 2601">
              <a:extLst>
                <a:ext uri="{FF2B5EF4-FFF2-40B4-BE49-F238E27FC236}">
                  <a16:creationId xmlns:a16="http://schemas.microsoft.com/office/drawing/2014/main" id="{CB8DEDF2-3B2E-45C9-B615-DEF954E19F5C}"/>
                </a:ext>
              </a:extLst>
            </p:cNvPr>
            <p:cNvSpPr/>
            <p:nvPr/>
          </p:nvSpPr>
          <p:spPr>
            <a:xfrm rot="8716295">
              <a:off x="653978" y="436312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3" name="Forme libre : forme 2602">
              <a:extLst>
                <a:ext uri="{FF2B5EF4-FFF2-40B4-BE49-F238E27FC236}">
                  <a16:creationId xmlns:a16="http://schemas.microsoft.com/office/drawing/2014/main" id="{A0F4E462-72BE-4E95-8052-DC09F97FD920}"/>
                </a:ext>
              </a:extLst>
            </p:cNvPr>
            <p:cNvSpPr/>
            <p:nvPr/>
          </p:nvSpPr>
          <p:spPr>
            <a:xfrm rot="8716295">
              <a:off x="743370" y="439236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4" name="Forme libre : forme 2603">
              <a:extLst>
                <a:ext uri="{FF2B5EF4-FFF2-40B4-BE49-F238E27FC236}">
                  <a16:creationId xmlns:a16="http://schemas.microsoft.com/office/drawing/2014/main" id="{B5E4A9EC-F9DB-4374-B71B-DBB47B736D39}"/>
                </a:ext>
              </a:extLst>
            </p:cNvPr>
            <p:cNvSpPr/>
            <p:nvPr/>
          </p:nvSpPr>
          <p:spPr>
            <a:xfrm rot="8716295">
              <a:off x="698520" y="430608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5" name="Forme libre : forme 2604">
              <a:extLst>
                <a:ext uri="{FF2B5EF4-FFF2-40B4-BE49-F238E27FC236}">
                  <a16:creationId xmlns:a16="http://schemas.microsoft.com/office/drawing/2014/main" id="{9327144A-57D0-46D2-94EE-E0EDBB5CBE6B}"/>
                </a:ext>
              </a:extLst>
            </p:cNvPr>
            <p:cNvSpPr/>
            <p:nvPr/>
          </p:nvSpPr>
          <p:spPr>
            <a:xfrm rot="8716295">
              <a:off x="541744" y="445166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6" name="Forme libre : forme 2605">
              <a:extLst>
                <a:ext uri="{FF2B5EF4-FFF2-40B4-BE49-F238E27FC236}">
                  <a16:creationId xmlns:a16="http://schemas.microsoft.com/office/drawing/2014/main" id="{CF6C36D8-54CF-4C2D-805A-C0939EA3F7FF}"/>
                </a:ext>
              </a:extLst>
            </p:cNvPr>
            <p:cNvSpPr/>
            <p:nvPr/>
          </p:nvSpPr>
          <p:spPr>
            <a:xfrm rot="8716295">
              <a:off x="416841" y="424299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7" name="Forme libre : forme 2606">
              <a:extLst>
                <a:ext uri="{FF2B5EF4-FFF2-40B4-BE49-F238E27FC236}">
                  <a16:creationId xmlns:a16="http://schemas.microsoft.com/office/drawing/2014/main" id="{C0525EEA-9ECF-45A3-94B2-985EBCFF2BE0}"/>
                </a:ext>
              </a:extLst>
            </p:cNvPr>
            <p:cNvSpPr/>
            <p:nvPr/>
          </p:nvSpPr>
          <p:spPr>
            <a:xfrm rot="8716295">
              <a:off x="404789" y="410421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8" name="Forme libre : forme 2607">
              <a:extLst>
                <a:ext uri="{FF2B5EF4-FFF2-40B4-BE49-F238E27FC236}">
                  <a16:creationId xmlns:a16="http://schemas.microsoft.com/office/drawing/2014/main" id="{A3C12029-0ED3-40B9-BF57-1173D18F4F7E}"/>
                </a:ext>
              </a:extLst>
            </p:cNvPr>
            <p:cNvSpPr/>
            <p:nvPr/>
          </p:nvSpPr>
          <p:spPr>
            <a:xfrm rot="8716295">
              <a:off x="631922" y="449261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9" name="Forme libre : forme 2608">
              <a:extLst>
                <a:ext uri="{FF2B5EF4-FFF2-40B4-BE49-F238E27FC236}">
                  <a16:creationId xmlns:a16="http://schemas.microsoft.com/office/drawing/2014/main" id="{C60E6EB0-4431-4352-A520-775C9B1D20EB}"/>
                </a:ext>
              </a:extLst>
            </p:cNvPr>
            <p:cNvSpPr/>
            <p:nvPr/>
          </p:nvSpPr>
          <p:spPr>
            <a:xfrm rot="8716295">
              <a:off x="943077" y="411297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0" name="Forme libre : forme 2609">
              <a:extLst>
                <a:ext uri="{FF2B5EF4-FFF2-40B4-BE49-F238E27FC236}">
                  <a16:creationId xmlns:a16="http://schemas.microsoft.com/office/drawing/2014/main" id="{B066E095-E974-4F34-ACE3-A24B4391CB1F}"/>
                </a:ext>
              </a:extLst>
            </p:cNvPr>
            <p:cNvSpPr/>
            <p:nvPr/>
          </p:nvSpPr>
          <p:spPr>
            <a:xfrm rot="8716295">
              <a:off x="1032469" y="414221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1" name="Forme libre : forme 2610">
              <a:extLst>
                <a:ext uri="{FF2B5EF4-FFF2-40B4-BE49-F238E27FC236}">
                  <a16:creationId xmlns:a16="http://schemas.microsoft.com/office/drawing/2014/main" id="{CBDAA4A6-CE8D-49EC-958E-CCED7DECB58D}"/>
                </a:ext>
              </a:extLst>
            </p:cNvPr>
            <p:cNvSpPr/>
            <p:nvPr/>
          </p:nvSpPr>
          <p:spPr>
            <a:xfrm rot="8716295">
              <a:off x="830843" y="420151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2" name="Forme libre : forme 2611">
              <a:extLst>
                <a:ext uri="{FF2B5EF4-FFF2-40B4-BE49-F238E27FC236}">
                  <a16:creationId xmlns:a16="http://schemas.microsoft.com/office/drawing/2014/main" id="{288DAD6F-B380-40EA-8AAF-2306A1EC474F}"/>
                </a:ext>
              </a:extLst>
            </p:cNvPr>
            <p:cNvSpPr/>
            <p:nvPr/>
          </p:nvSpPr>
          <p:spPr>
            <a:xfrm rot="8716295">
              <a:off x="705941" y="399284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3" name="Forme libre : forme 2612">
              <a:extLst>
                <a:ext uri="{FF2B5EF4-FFF2-40B4-BE49-F238E27FC236}">
                  <a16:creationId xmlns:a16="http://schemas.microsoft.com/office/drawing/2014/main" id="{4A24F38C-B025-479B-BFB4-01CC9653C749}"/>
                </a:ext>
              </a:extLst>
            </p:cNvPr>
            <p:cNvSpPr/>
            <p:nvPr/>
          </p:nvSpPr>
          <p:spPr>
            <a:xfrm rot="8716295">
              <a:off x="921021" y="424246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4" name="Forme libre : forme 2613">
              <a:extLst>
                <a:ext uri="{FF2B5EF4-FFF2-40B4-BE49-F238E27FC236}">
                  <a16:creationId xmlns:a16="http://schemas.microsoft.com/office/drawing/2014/main" id="{1223FB49-E601-4769-85A8-CFA4FAB7D70B}"/>
                </a:ext>
              </a:extLst>
            </p:cNvPr>
            <p:cNvSpPr/>
            <p:nvPr/>
          </p:nvSpPr>
          <p:spPr>
            <a:xfrm rot="8716295">
              <a:off x="679570" y="409286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5" name="Forme libre : forme 2614">
              <a:extLst>
                <a:ext uri="{FF2B5EF4-FFF2-40B4-BE49-F238E27FC236}">
                  <a16:creationId xmlns:a16="http://schemas.microsoft.com/office/drawing/2014/main" id="{BA639576-6474-4C0A-8D54-5559B761F42F}"/>
                </a:ext>
              </a:extLst>
            </p:cNvPr>
            <p:cNvSpPr/>
            <p:nvPr/>
          </p:nvSpPr>
          <p:spPr>
            <a:xfrm rot="7484129">
              <a:off x="1025952" y="443381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6" name="Forme libre : forme 2615">
              <a:extLst>
                <a:ext uri="{FF2B5EF4-FFF2-40B4-BE49-F238E27FC236}">
                  <a16:creationId xmlns:a16="http://schemas.microsoft.com/office/drawing/2014/main" id="{D1BF3875-F476-48EB-80B5-AB6552F18672}"/>
                </a:ext>
              </a:extLst>
            </p:cNvPr>
            <p:cNvSpPr/>
            <p:nvPr/>
          </p:nvSpPr>
          <p:spPr>
            <a:xfrm rot="13089394">
              <a:off x="1130772" y="440035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7" name="Forme libre : forme 2616">
              <a:extLst>
                <a:ext uri="{FF2B5EF4-FFF2-40B4-BE49-F238E27FC236}">
                  <a16:creationId xmlns:a16="http://schemas.microsoft.com/office/drawing/2014/main" id="{365A6B56-59C5-4058-A50F-5C3B4137CD35}"/>
                </a:ext>
              </a:extLst>
            </p:cNvPr>
            <p:cNvSpPr/>
            <p:nvPr/>
          </p:nvSpPr>
          <p:spPr>
            <a:xfrm rot="8716295">
              <a:off x="1316357" y="420867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8" name="Forme libre : forme 2617">
              <a:extLst>
                <a:ext uri="{FF2B5EF4-FFF2-40B4-BE49-F238E27FC236}">
                  <a16:creationId xmlns:a16="http://schemas.microsoft.com/office/drawing/2014/main" id="{8C5BA123-C7D6-44D6-AA16-D21269FAA986}"/>
                </a:ext>
              </a:extLst>
            </p:cNvPr>
            <p:cNvSpPr/>
            <p:nvPr/>
          </p:nvSpPr>
          <p:spPr>
            <a:xfrm rot="8716295">
              <a:off x="1264552" y="410507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9" name="Forme libre : forme 2618">
              <a:extLst>
                <a:ext uri="{FF2B5EF4-FFF2-40B4-BE49-F238E27FC236}">
                  <a16:creationId xmlns:a16="http://schemas.microsoft.com/office/drawing/2014/main" id="{70BEA0E6-BA45-474E-9DCD-1EA76AE64104}"/>
                </a:ext>
              </a:extLst>
            </p:cNvPr>
            <p:cNvSpPr/>
            <p:nvPr/>
          </p:nvSpPr>
          <p:spPr>
            <a:xfrm rot="8716295">
              <a:off x="1021306" y="413529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0" name="Forme libre : forme 2619">
              <a:extLst>
                <a:ext uri="{FF2B5EF4-FFF2-40B4-BE49-F238E27FC236}">
                  <a16:creationId xmlns:a16="http://schemas.microsoft.com/office/drawing/2014/main" id="{C149CD7C-7D92-4AED-9D1C-37BD7242EF23}"/>
                </a:ext>
              </a:extLst>
            </p:cNvPr>
            <p:cNvSpPr/>
            <p:nvPr/>
          </p:nvSpPr>
          <p:spPr>
            <a:xfrm rot="8716295">
              <a:off x="1198758" y="397605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1" name="Forme libre : forme 2620">
              <a:extLst>
                <a:ext uri="{FF2B5EF4-FFF2-40B4-BE49-F238E27FC236}">
                  <a16:creationId xmlns:a16="http://schemas.microsoft.com/office/drawing/2014/main" id="{80F0E45F-313A-4E3C-BD45-F7FCACCBFE55}"/>
                </a:ext>
              </a:extLst>
            </p:cNvPr>
            <p:cNvSpPr/>
            <p:nvPr/>
          </p:nvSpPr>
          <p:spPr>
            <a:xfrm rot="8716295">
              <a:off x="849927" y="5056695"/>
              <a:ext cx="61059" cy="114384"/>
            </a:xfrm>
            <a:custGeom>
              <a:avLst/>
              <a:gdLst>
                <a:gd name="connsiteX0" fmla="*/ 0 w 61059"/>
                <a:gd name="connsiteY0" fmla="*/ 114384 h 114384"/>
                <a:gd name="connsiteX1" fmla="*/ 0 w 61059"/>
                <a:gd name="connsiteY1" fmla="*/ 0 h 114384"/>
                <a:gd name="connsiteX2" fmla="*/ 61059 w 61059"/>
                <a:gd name="connsiteY2" fmla="*/ 42324 h 114384"/>
                <a:gd name="connsiteX3" fmla="*/ 61059 w 61059"/>
                <a:gd name="connsiteY3" fmla="*/ 90234 h 114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059" h="114384">
                  <a:moveTo>
                    <a:pt x="0" y="114384"/>
                  </a:moveTo>
                  <a:lnTo>
                    <a:pt x="0" y="0"/>
                  </a:lnTo>
                  <a:lnTo>
                    <a:pt x="61059" y="42324"/>
                  </a:lnTo>
                  <a:lnTo>
                    <a:pt x="61059" y="902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2" name="Forme libre : forme 2621">
              <a:extLst>
                <a:ext uri="{FF2B5EF4-FFF2-40B4-BE49-F238E27FC236}">
                  <a16:creationId xmlns:a16="http://schemas.microsoft.com/office/drawing/2014/main" id="{7529EC4C-3BE3-428A-99A6-A49001A03C8A}"/>
                </a:ext>
              </a:extLst>
            </p:cNvPr>
            <p:cNvSpPr/>
            <p:nvPr/>
          </p:nvSpPr>
          <p:spPr>
            <a:xfrm rot="8716295">
              <a:off x="1072880" y="5030752"/>
              <a:ext cx="60148" cy="142578"/>
            </a:xfrm>
            <a:custGeom>
              <a:avLst/>
              <a:gdLst>
                <a:gd name="connsiteX0" fmla="*/ 0 w 60148"/>
                <a:gd name="connsiteY0" fmla="*/ 142578 h 142578"/>
                <a:gd name="connsiteX1" fmla="*/ 0 w 60148"/>
                <a:gd name="connsiteY1" fmla="*/ 0 h 142578"/>
                <a:gd name="connsiteX2" fmla="*/ 60148 w 60148"/>
                <a:gd name="connsiteY2" fmla="*/ 41693 h 142578"/>
                <a:gd name="connsiteX3" fmla="*/ 60148 w 60148"/>
                <a:gd name="connsiteY3" fmla="*/ 101569 h 142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8" h="142578">
                  <a:moveTo>
                    <a:pt x="0" y="142578"/>
                  </a:moveTo>
                  <a:lnTo>
                    <a:pt x="0" y="0"/>
                  </a:lnTo>
                  <a:lnTo>
                    <a:pt x="60148" y="41693"/>
                  </a:lnTo>
                  <a:lnTo>
                    <a:pt x="60148" y="1015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3" name="Forme libre : forme 2622">
              <a:extLst>
                <a:ext uri="{FF2B5EF4-FFF2-40B4-BE49-F238E27FC236}">
                  <a16:creationId xmlns:a16="http://schemas.microsoft.com/office/drawing/2014/main" id="{236BE908-FD47-4165-8DE7-ECD8DAF2AAAA}"/>
                </a:ext>
              </a:extLst>
            </p:cNvPr>
            <p:cNvSpPr/>
            <p:nvPr/>
          </p:nvSpPr>
          <p:spPr>
            <a:xfrm rot="8716295">
              <a:off x="921687" y="496578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4" name="Forme libre : forme 2623">
              <a:extLst>
                <a:ext uri="{FF2B5EF4-FFF2-40B4-BE49-F238E27FC236}">
                  <a16:creationId xmlns:a16="http://schemas.microsoft.com/office/drawing/2014/main" id="{9D0A88D9-251D-4CDC-8AD5-7088F4C7446F}"/>
                </a:ext>
              </a:extLst>
            </p:cNvPr>
            <p:cNvSpPr/>
            <p:nvPr/>
          </p:nvSpPr>
          <p:spPr>
            <a:xfrm rot="8716295">
              <a:off x="762271" y="5108547"/>
              <a:ext cx="53742" cy="49705"/>
            </a:xfrm>
            <a:custGeom>
              <a:avLst/>
              <a:gdLst>
                <a:gd name="connsiteX0" fmla="*/ 8658 w 53742"/>
                <a:gd name="connsiteY0" fmla="*/ 41503 h 49705"/>
                <a:gd name="connsiteX1" fmla="*/ 0 w 53742"/>
                <a:gd name="connsiteY1" fmla="*/ 20999 h 49705"/>
                <a:gd name="connsiteX2" fmla="*/ 0 w 53742"/>
                <a:gd name="connsiteY2" fmla="*/ 20542 h 49705"/>
                <a:gd name="connsiteX3" fmla="*/ 8658 w 53742"/>
                <a:gd name="connsiteY3" fmla="*/ 38 h 49705"/>
                <a:gd name="connsiteX4" fmla="*/ 8747 w 53742"/>
                <a:gd name="connsiteY4" fmla="*/ 0 h 49705"/>
                <a:gd name="connsiteX5" fmla="*/ 53742 w 53742"/>
                <a:gd name="connsiteY5" fmla="*/ 31189 h 49705"/>
                <a:gd name="connsiteX6" fmla="*/ 49668 w 53742"/>
                <a:gd name="connsiteY6" fmla="*/ 41048 h 49705"/>
                <a:gd name="connsiteX7" fmla="*/ 29162 w 53742"/>
                <a:gd name="connsiteY7" fmla="*/ 49705 h 49705"/>
                <a:gd name="connsiteX8" fmla="*/ 8658 w 53742"/>
                <a:gd name="connsiteY8" fmla="*/ 41503 h 49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2" h="49705">
                  <a:moveTo>
                    <a:pt x="8658" y="41503"/>
                  </a:moveTo>
                  <a:cubicBezTo>
                    <a:pt x="3190" y="36035"/>
                    <a:pt x="0" y="28744"/>
                    <a:pt x="0" y="20999"/>
                  </a:cubicBezTo>
                  <a:lnTo>
                    <a:pt x="0" y="20542"/>
                  </a:lnTo>
                  <a:cubicBezTo>
                    <a:pt x="0" y="12796"/>
                    <a:pt x="3190" y="5506"/>
                    <a:pt x="8658" y="38"/>
                  </a:cubicBezTo>
                  <a:lnTo>
                    <a:pt x="8747" y="0"/>
                  </a:lnTo>
                  <a:lnTo>
                    <a:pt x="53742" y="31189"/>
                  </a:lnTo>
                  <a:lnTo>
                    <a:pt x="49668" y="41048"/>
                  </a:lnTo>
                  <a:cubicBezTo>
                    <a:pt x="44200" y="46516"/>
                    <a:pt x="36909" y="49705"/>
                    <a:pt x="29162" y="49705"/>
                  </a:cubicBezTo>
                  <a:cubicBezTo>
                    <a:pt x="21416" y="49705"/>
                    <a:pt x="14126" y="46971"/>
                    <a:pt x="8658" y="415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5" name="Forme libre : forme 2624">
              <a:extLst>
                <a:ext uri="{FF2B5EF4-FFF2-40B4-BE49-F238E27FC236}">
                  <a16:creationId xmlns:a16="http://schemas.microsoft.com/office/drawing/2014/main" id="{24CE2296-47DA-4E73-B690-5BD981A20099}"/>
                </a:ext>
              </a:extLst>
            </p:cNvPr>
            <p:cNvSpPr/>
            <p:nvPr/>
          </p:nvSpPr>
          <p:spPr>
            <a:xfrm rot="8716295">
              <a:off x="635497" y="4902607"/>
              <a:ext cx="203847" cy="195874"/>
            </a:xfrm>
            <a:custGeom>
              <a:avLst/>
              <a:gdLst>
                <a:gd name="connsiteX0" fmla="*/ 90709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203847 w 203847"/>
                <a:gd name="connsiteY5" fmla="*/ 0 h 195874"/>
                <a:gd name="connsiteX6" fmla="*/ 203847 w 203847"/>
                <a:gd name="connsiteY6" fmla="*/ 55323 h 195874"/>
                <a:gd name="connsiteX7" fmla="*/ 139055 w 203847"/>
                <a:gd name="connsiteY7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95874">
                  <a:moveTo>
                    <a:pt x="90709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6" name="Forme libre : forme 2625">
              <a:extLst>
                <a:ext uri="{FF2B5EF4-FFF2-40B4-BE49-F238E27FC236}">
                  <a16:creationId xmlns:a16="http://schemas.microsoft.com/office/drawing/2014/main" id="{69ED9B1C-460E-49D7-9814-5E873DD38909}"/>
                </a:ext>
              </a:extLst>
            </p:cNvPr>
            <p:cNvSpPr/>
            <p:nvPr/>
          </p:nvSpPr>
          <p:spPr>
            <a:xfrm rot="8716295">
              <a:off x="627956" y="476391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7" name="Forme libre : forme 2626">
              <a:extLst>
                <a:ext uri="{FF2B5EF4-FFF2-40B4-BE49-F238E27FC236}">
                  <a16:creationId xmlns:a16="http://schemas.microsoft.com/office/drawing/2014/main" id="{79D260F9-94B8-41AD-A161-808B1C0A7D15}"/>
                </a:ext>
              </a:extLst>
            </p:cNvPr>
            <p:cNvSpPr/>
            <p:nvPr/>
          </p:nvSpPr>
          <p:spPr>
            <a:xfrm rot="8716295">
              <a:off x="1166244" y="477267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8" name="Forme libre : forme 2627">
              <a:extLst>
                <a:ext uri="{FF2B5EF4-FFF2-40B4-BE49-F238E27FC236}">
                  <a16:creationId xmlns:a16="http://schemas.microsoft.com/office/drawing/2014/main" id="{F05AB143-FB53-4FDC-BA57-6D2DC99C98E2}"/>
                </a:ext>
              </a:extLst>
            </p:cNvPr>
            <p:cNvSpPr/>
            <p:nvPr/>
          </p:nvSpPr>
          <p:spPr>
            <a:xfrm rot="8716295">
              <a:off x="1255636" y="480191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9" name="Forme libre : forme 2628">
              <a:extLst>
                <a:ext uri="{FF2B5EF4-FFF2-40B4-BE49-F238E27FC236}">
                  <a16:creationId xmlns:a16="http://schemas.microsoft.com/office/drawing/2014/main" id="{7DCFE830-90FF-4B60-9B6B-E08B672D854F}"/>
                </a:ext>
              </a:extLst>
            </p:cNvPr>
            <p:cNvSpPr/>
            <p:nvPr/>
          </p:nvSpPr>
          <p:spPr>
            <a:xfrm rot="8716295">
              <a:off x="1054010" y="486121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0" name="Forme libre : forme 2629">
              <a:extLst>
                <a:ext uri="{FF2B5EF4-FFF2-40B4-BE49-F238E27FC236}">
                  <a16:creationId xmlns:a16="http://schemas.microsoft.com/office/drawing/2014/main" id="{B4B54539-14CC-41BD-B75A-325D1E42B0DE}"/>
                </a:ext>
              </a:extLst>
            </p:cNvPr>
            <p:cNvSpPr/>
            <p:nvPr/>
          </p:nvSpPr>
          <p:spPr>
            <a:xfrm rot="8716295">
              <a:off x="929108" y="465254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1" name="Forme libre : forme 2630">
              <a:extLst>
                <a:ext uri="{FF2B5EF4-FFF2-40B4-BE49-F238E27FC236}">
                  <a16:creationId xmlns:a16="http://schemas.microsoft.com/office/drawing/2014/main" id="{DEBFD6B9-903B-4010-BD7C-FE85EFE6B331}"/>
                </a:ext>
              </a:extLst>
            </p:cNvPr>
            <p:cNvSpPr/>
            <p:nvPr/>
          </p:nvSpPr>
          <p:spPr>
            <a:xfrm rot="8716295">
              <a:off x="1144188" y="490216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2" name="Forme libre : forme 2631">
              <a:extLst>
                <a:ext uri="{FF2B5EF4-FFF2-40B4-BE49-F238E27FC236}">
                  <a16:creationId xmlns:a16="http://schemas.microsoft.com/office/drawing/2014/main" id="{A82EDDD3-D641-4773-AD0E-A0BEBC26D35C}"/>
                </a:ext>
              </a:extLst>
            </p:cNvPr>
            <p:cNvSpPr/>
            <p:nvPr/>
          </p:nvSpPr>
          <p:spPr>
            <a:xfrm rot="8716295">
              <a:off x="902737" y="475256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3" name="Forme libre : forme 2632">
              <a:extLst>
                <a:ext uri="{FF2B5EF4-FFF2-40B4-BE49-F238E27FC236}">
                  <a16:creationId xmlns:a16="http://schemas.microsoft.com/office/drawing/2014/main" id="{47B99FED-FE43-4D3F-823F-416C658CC0FD}"/>
                </a:ext>
              </a:extLst>
            </p:cNvPr>
            <p:cNvSpPr/>
            <p:nvPr/>
          </p:nvSpPr>
          <p:spPr>
            <a:xfrm rot="7484129">
              <a:off x="1313689" y="5058219"/>
              <a:ext cx="97325" cy="159603"/>
            </a:xfrm>
            <a:custGeom>
              <a:avLst/>
              <a:gdLst>
                <a:gd name="connsiteX0" fmla="*/ 0 w 97325"/>
                <a:gd name="connsiteY0" fmla="*/ 19052 h 159603"/>
                <a:gd name="connsiteX1" fmla="*/ 0 w 97325"/>
                <a:gd name="connsiteY1" fmla="*/ 0 h 159603"/>
                <a:gd name="connsiteX2" fmla="*/ 13209 w 97325"/>
                <a:gd name="connsiteY2" fmla="*/ 19052 h 159603"/>
                <a:gd name="connsiteX3" fmla="*/ 90710 w 97325"/>
                <a:gd name="connsiteY3" fmla="*/ 159603 h 159603"/>
                <a:gd name="connsiteX4" fmla="*/ 47847 w 97325"/>
                <a:gd name="connsiteY4" fmla="*/ 79858 h 159603"/>
                <a:gd name="connsiteX5" fmla="*/ 50421 w 97325"/>
                <a:gd name="connsiteY5" fmla="*/ 72721 h 159603"/>
                <a:gd name="connsiteX6" fmla="*/ 97325 w 97325"/>
                <a:gd name="connsiteY6" fmla="*/ 140370 h 159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7325" h="159603">
                  <a:moveTo>
                    <a:pt x="0" y="19052"/>
                  </a:moveTo>
                  <a:lnTo>
                    <a:pt x="0" y="0"/>
                  </a:lnTo>
                  <a:lnTo>
                    <a:pt x="13209" y="19052"/>
                  </a:lnTo>
                  <a:close/>
                  <a:moveTo>
                    <a:pt x="90710" y="159603"/>
                  </a:moveTo>
                  <a:lnTo>
                    <a:pt x="47847" y="79858"/>
                  </a:lnTo>
                  <a:lnTo>
                    <a:pt x="50421" y="72721"/>
                  </a:lnTo>
                  <a:lnTo>
                    <a:pt x="97325" y="14037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4" name="Forme libre : forme 2633">
              <a:extLst>
                <a:ext uri="{FF2B5EF4-FFF2-40B4-BE49-F238E27FC236}">
                  <a16:creationId xmlns:a16="http://schemas.microsoft.com/office/drawing/2014/main" id="{CD995AAD-128C-467F-9BB7-36623FE9AF9C}"/>
                </a:ext>
              </a:extLst>
            </p:cNvPr>
            <p:cNvSpPr/>
            <p:nvPr/>
          </p:nvSpPr>
          <p:spPr>
            <a:xfrm rot="13089394">
              <a:off x="1435176" y="5064332"/>
              <a:ext cx="213297" cy="83320"/>
            </a:xfrm>
            <a:custGeom>
              <a:avLst/>
              <a:gdLst>
                <a:gd name="connsiteX0" fmla="*/ 213297 w 213297"/>
                <a:gd name="connsiteY0" fmla="*/ 12691 h 83320"/>
                <a:gd name="connsiteX1" fmla="*/ 32310 w 213297"/>
                <a:gd name="connsiteY1" fmla="*/ 83320 h 83320"/>
                <a:gd name="connsiteX2" fmla="*/ 0 w 213297"/>
                <a:gd name="connsiteY2" fmla="*/ 77753 h 83320"/>
                <a:gd name="connsiteX3" fmla="*/ 69926 w 213297"/>
                <a:gd name="connsiteY3" fmla="*/ 22813 h 83320"/>
                <a:gd name="connsiteX4" fmla="*/ 94662 w 213297"/>
                <a:gd name="connsiteY4" fmla="*/ 36418 h 83320"/>
                <a:gd name="connsiteX5" fmla="*/ 144323 w 213297"/>
                <a:gd name="connsiteY5" fmla="*/ 27589 h 83320"/>
                <a:gd name="connsiteX6" fmla="*/ 212193 w 213297"/>
                <a:gd name="connsiteY6" fmla="*/ 0 h 83320"/>
                <a:gd name="connsiteX7" fmla="*/ 213297 w 213297"/>
                <a:gd name="connsiteY7" fmla="*/ 7173 h 83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3297" h="83320">
                  <a:moveTo>
                    <a:pt x="213297" y="12691"/>
                  </a:moveTo>
                  <a:cubicBezTo>
                    <a:pt x="154807" y="62904"/>
                    <a:pt x="78108" y="80561"/>
                    <a:pt x="32310" y="83320"/>
                  </a:cubicBezTo>
                  <a:lnTo>
                    <a:pt x="0" y="77753"/>
                  </a:lnTo>
                  <a:lnTo>
                    <a:pt x="69926" y="22813"/>
                  </a:lnTo>
                  <a:lnTo>
                    <a:pt x="94662" y="36418"/>
                  </a:lnTo>
                  <a:cubicBezTo>
                    <a:pt x="111768" y="35866"/>
                    <a:pt x="128321" y="32555"/>
                    <a:pt x="144323" y="27589"/>
                  </a:cubicBezTo>
                  <a:cubicBezTo>
                    <a:pt x="167498" y="20416"/>
                    <a:pt x="190122" y="11036"/>
                    <a:pt x="212193" y="0"/>
                  </a:cubicBezTo>
                  <a:cubicBezTo>
                    <a:pt x="212745" y="2207"/>
                    <a:pt x="213297" y="4966"/>
                    <a:pt x="213297" y="71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5" name="Forme libre : forme 2634">
              <a:extLst>
                <a:ext uri="{FF2B5EF4-FFF2-40B4-BE49-F238E27FC236}">
                  <a16:creationId xmlns:a16="http://schemas.microsoft.com/office/drawing/2014/main" id="{49D90B24-A800-4AB4-8BC6-20F8B1C7CC95}"/>
                </a:ext>
              </a:extLst>
            </p:cNvPr>
            <p:cNvSpPr/>
            <p:nvPr/>
          </p:nvSpPr>
          <p:spPr>
            <a:xfrm rot="8716295">
              <a:off x="1539524" y="486837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6" name="Forme libre : forme 2635">
              <a:extLst>
                <a:ext uri="{FF2B5EF4-FFF2-40B4-BE49-F238E27FC236}">
                  <a16:creationId xmlns:a16="http://schemas.microsoft.com/office/drawing/2014/main" id="{E7BFA9FF-1546-4389-8A4F-CB28F2368F69}"/>
                </a:ext>
              </a:extLst>
            </p:cNvPr>
            <p:cNvSpPr/>
            <p:nvPr/>
          </p:nvSpPr>
          <p:spPr>
            <a:xfrm rot="8716295">
              <a:off x="1487719" y="476477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7" name="Forme libre : forme 2636">
              <a:extLst>
                <a:ext uri="{FF2B5EF4-FFF2-40B4-BE49-F238E27FC236}">
                  <a16:creationId xmlns:a16="http://schemas.microsoft.com/office/drawing/2014/main" id="{FCAD725F-8F6F-478A-87B0-EEC32F9F919D}"/>
                </a:ext>
              </a:extLst>
            </p:cNvPr>
            <p:cNvSpPr/>
            <p:nvPr/>
          </p:nvSpPr>
          <p:spPr>
            <a:xfrm rot="8716295">
              <a:off x="1244473" y="479499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8" name="Forme libre : forme 2637">
              <a:extLst>
                <a:ext uri="{FF2B5EF4-FFF2-40B4-BE49-F238E27FC236}">
                  <a16:creationId xmlns:a16="http://schemas.microsoft.com/office/drawing/2014/main" id="{8D93731B-9FC7-4DB3-B5BD-48812BA1AC03}"/>
                </a:ext>
              </a:extLst>
            </p:cNvPr>
            <p:cNvSpPr/>
            <p:nvPr/>
          </p:nvSpPr>
          <p:spPr>
            <a:xfrm rot="8716295">
              <a:off x="1421925" y="463575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9" name="Forme libre : forme 2638">
              <a:extLst>
                <a:ext uri="{FF2B5EF4-FFF2-40B4-BE49-F238E27FC236}">
                  <a16:creationId xmlns:a16="http://schemas.microsoft.com/office/drawing/2014/main" id="{FBF4D361-9AA8-4A88-8218-D320BCC61A2A}"/>
                </a:ext>
              </a:extLst>
            </p:cNvPr>
            <p:cNvSpPr/>
            <p:nvPr/>
          </p:nvSpPr>
          <p:spPr>
            <a:xfrm rot="8716295">
              <a:off x="-3428" y="2405990"/>
              <a:ext cx="142167" cy="208592"/>
            </a:xfrm>
            <a:custGeom>
              <a:avLst/>
              <a:gdLst>
                <a:gd name="connsiteX0" fmla="*/ 81108 w 142167"/>
                <a:gd name="connsiteY0" fmla="*/ 208592 h 208592"/>
                <a:gd name="connsiteX1" fmla="*/ 81108 w 142167"/>
                <a:gd name="connsiteY1" fmla="*/ 69717 h 208592"/>
                <a:gd name="connsiteX2" fmla="*/ 81108 w 142167"/>
                <a:gd name="connsiteY2" fmla="*/ 65615 h 208592"/>
                <a:gd name="connsiteX3" fmla="*/ 60604 w 142167"/>
                <a:gd name="connsiteY3" fmla="*/ 50123 h 208592"/>
                <a:gd name="connsiteX4" fmla="*/ 0 w 142167"/>
                <a:gd name="connsiteY4" fmla="*/ 50123 h 208592"/>
                <a:gd name="connsiteX5" fmla="*/ 0 w 142167"/>
                <a:gd name="connsiteY5" fmla="*/ 0 h 208592"/>
                <a:gd name="connsiteX6" fmla="*/ 85210 w 142167"/>
                <a:gd name="connsiteY6" fmla="*/ 0 h 208592"/>
                <a:gd name="connsiteX7" fmla="*/ 142167 w 142167"/>
                <a:gd name="connsiteY7" fmla="*/ 50123 h 208592"/>
                <a:gd name="connsiteX8" fmla="*/ 142167 w 142167"/>
                <a:gd name="connsiteY8" fmla="*/ 120504 h 20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08592">
                  <a:moveTo>
                    <a:pt x="81108" y="208592"/>
                  </a:moveTo>
                  <a:lnTo>
                    <a:pt x="81108" y="69717"/>
                  </a:lnTo>
                  <a:cubicBezTo>
                    <a:pt x="81108" y="68350"/>
                    <a:pt x="81108" y="66983"/>
                    <a:pt x="81108" y="65615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10" y="0"/>
                  </a:lnTo>
                  <a:cubicBezTo>
                    <a:pt x="122118" y="0"/>
                    <a:pt x="142167" y="15948"/>
                    <a:pt x="142167" y="50123"/>
                  </a:cubicBezTo>
                  <a:lnTo>
                    <a:pt x="142167" y="1205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0" name="Forme libre : forme 2639">
              <a:extLst>
                <a:ext uri="{FF2B5EF4-FFF2-40B4-BE49-F238E27FC236}">
                  <a16:creationId xmlns:a16="http://schemas.microsoft.com/office/drawing/2014/main" id="{F59F7285-A490-40D9-B60E-0C3A9BE2B431}"/>
                </a:ext>
              </a:extLst>
            </p:cNvPr>
            <p:cNvSpPr/>
            <p:nvPr/>
          </p:nvSpPr>
          <p:spPr>
            <a:xfrm rot="8716295">
              <a:off x="80015" y="241329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1" name="Forme libre : forme 2640">
              <a:extLst>
                <a:ext uri="{FF2B5EF4-FFF2-40B4-BE49-F238E27FC236}">
                  <a16:creationId xmlns:a16="http://schemas.microsoft.com/office/drawing/2014/main" id="{20B54E2C-EE11-45C1-BA49-4E36F75318A1}"/>
                </a:ext>
              </a:extLst>
            </p:cNvPr>
            <p:cNvSpPr/>
            <p:nvPr/>
          </p:nvSpPr>
          <p:spPr>
            <a:xfrm rot="8716295">
              <a:off x="35165" y="232701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2" name="Forme libre : forme 2641">
              <a:extLst>
                <a:ext uri="{FF2B5EF4-FFF2-40B4-BE49-F238E27FC236}">
                  <a16:creationId xmlns:a16="http://schemas.microsoft.com/office/drawing/2014/main" id="{8AE2099A-B385-47DA-B590-BD7DDE6B6A71}"/>
                </a:ext>
              </a:extLst>
            </p:cNvPr>
            <p:cNvSpPr/>
            <p:nvPr/>
          </p:nvSpPr>
          <p:spPr>
            <a:xfrm rot="8716295">
              <a:off x="-20257" y="2217087"/>
              <a:ext cx="78731" cy="180665"/>
            </a:xfrm>
            <a:custGeom>
              <a:avLst/>
              <a:gdLst>
                <a:gd name="connsiteX0" fmla="*/ 0 w 78731"/>
                <a:gd name="connsiteY0" fmla="*/ 180665 h 180665"/>
                <a:gd name="connsiteX1" fmla="*/ 0 w 78731"/>
                <a:gd name="connsiteY1" fmla="*/ 40596 h 180665"/>
                <a:gd name="connsiteX2" fmla="*/ 78250 w 78731"/>
                <a:gd name="connsiteY2" fmla="*/ 0 h 180665"/>
                <a:gd name="connsiteX3" fmla="*/ 78731 w 78731"/>
                <a:gd name="connsiteY3" fmla="*/ 67083 h 180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731" h="180665">
                  <a:moveTo>
                    <a:pt x="0" y="180665"/>
                  </a:moveTo>
                  <a:lnTo>
                    <a:pt x="0" y="40596"/>
                  </a:lnTo>
                  <a:lnTo>
                    <a:pt x="78250" y="0"/>
                  </a:lnTo>
                  <a:lnTo>
                    <a:pt x="78731" y="670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3" name="Forme libre : forme 2642">
              <a:extLst>
                <a:ext uri="{FF2B5EF4-FFF2-40B4-BE49-F238E27FC236}">
                  <a16:creationId xmlns:a16="http://schemas.microsoft.com/office/drawing/2014/main" id="{D39E2648-E7A5-42E0-AD61-95E487ECB3DA}"/>
                </a:ext>
              </a:extLst>
            </p:cNvPr>
            <p:cNvSpPr/>
            <p:nvPr/>
          </p:nvSpPr>
          <p:spPr>
            <a:xfrm rot="8716295">
              <a:off x="-15341" y="2575209"/>
              <a:ext cx="103435" cy="152027"/>
            </a:xfrm>
            <a:custGeom>
              <a:avLst/>
              <a:gdLst>
                <a:gd name="connsiteX0" fmla="*/ 43288 w 103435"/>
                <a:gd name="connsiteY0" fmla="*/ 152027 h 152027"/>
                <a:gd name="connsiteX1" fmla="*/ 43288 w 103435"/>
                <a:gd name="connsiteY1" fmla="*/ 16404 h 152027"/>
                <a:gd name="connsiteX2" fmla="*/ 0 w 103435"/>
                <a:gd name="connsiteY2" fmla="*/ 16404 h 152027"/>
                <a:gd name="connsiteX3" fmla="*/ 0 w 103435"/>
                <a:gd name="connsiteY3" fmla="*/ 2278 h 152027"/>
                <a:gd name="connsiteX4" fmla="*/ 103435 w 103435"/>
                <a:gd name="connsiteY4" fmla="*/ 0 h 152027"/>
                <a:gd name="connsiteX5" fmla="*/ 103435 w 103435"/>
                <a:gd name="connsiteY5" fmla="*/ 65255 h 152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152027">
                  <a:moveTo>
                    <a:pt x="43288" y="152027"/>
                  </a:move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652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4" name="Forme libre : forme 2643">
              <a:extLst>
                <a:ext uri="{FF2B5EF4-FFF2-40B4-BE49-F238E27FC236}">
                  <a16:creationId xmlns:a16="http://schemas.microsoft.com/office/drawing/2014/main" id="{F9F90177-1768-4A55-9562-0BA26D7DB1AB}"/>
                </a:ext>
              </a:extLst>
            </p:cNvPr>
            <p:cNvSpPr/>
            <p:nvPr/>
          </p:nvSpPr>
          <p:spPr>
            <a:xfrm rot="8716295">
              <a:off x="279722" y="21339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5" name="Forme libre : forme 2644">
              <a:extLst>
                <a:ext uri="{FF2B5EF4-FFF2-40B4-BE49-F238E27FC236}">
                  <a16:creationId xmlns:a16="http://schemas.microsoft.com/office/drawing/2014/main" id="{C30F908C-2E6C-43EB-AF00-6AFB653DDDA9}"/>
                </a:ext>
              </a:extLst>
            </p:cNvPr>
            <p:cNvSpPr/>
            <p:nvPr/>
          </p:nvSpPr>
          <p:spPr>
            <a:xfrm rot="8716295">
              <a:off x="369114" y="21631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6" name="Forme libre : forme 2645">
              <a:extLst>
                <a:ext uri="{FF2B5EF4-FFF2-40B4-BE49-F238E27FC236}">
                  <a16:creationId xmlns:a16="http://schemas.microsoft.com/office/drawing/2014/main" id="{8A6E38A5-6A60-4A98-B0EA-F6F171396D5F}"/>
                </a:ext>
              </a:extLst>
            </p:cNvPr>
            <p:cNvSpPr/>
            <p:nvPr/>
          </p:nvSpPr>
          <p:spPr>
            <a:xfrm rot="8716295">
              <a:off x="167488" y="22224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7" name="Forme libre : forme 2646">
              <a:extLst>
                <a:ext uri="{FF2B5EF4-FFF2-40B4-BE49-F238E27FC236}">
                  <a16:creationId xmlns:a16="http://schemas.microsoft.com/office/drawing/2014/main" id="{F376FCED-9E56-4DE0-987C-6F4AE8F3F648}"/>
                </a:ext>
              </a:extLst>
            </p:cNvPr>
            <p:cNvSpPr/>
            <p:nvPr/>
          </p:nvSpPr>
          <p:spPr>
            <a:xfrm rot="8716295">
              <a:off x="42586" y="20137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8" name="Forme libre : forme 2647">
              <a:extLst>
                <a:ext uri="{FF2B5EF4-FFF2-40B4-BE49-F238E27FC236}">
                  <a16:creationId xmlns:a16="http://schemas.microsoft.com/office/drawing/2014/main" id="{FA68D9A1-7BE5-4865-B886-AE208170A038}"/>
                </a:ext>
              </a:extLst>
            </p:cNvPr>
            <p:cNvSpPr/>
            <p:nvPr/>
          </p:nvSpPr>
          <p:spPr>
            <a:xfrm rot="8716295">
              <a:off x="257666" y="226339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9" name="Forme libre : forme 2648">
              <a:extLst>
                <a:ext uri="{FF2B5EF4-FFF2-40B4-BE49-F238E27FC236}">
                  <a16:creationId xmlns:a16="http://schemas.microsoft.com/office/drawing/2014/main" id="{B16001C4-728E-4992-B46E-35C9C985501E}"/>
                </a:ext>
              </a:extLst>
            </p:cNvPr>
            <p:cNvSpPr/>
            <p:nvPr/>
          </p:nvSpPr>
          <p:spPr>
            <a:xfrm rot="8716295">
              <a:off x="16215" y="211379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0" name="Forme libre : forme 2649">
              <a:extLst>
                <a:ext uri="{FF2B5EF4-FFF2-40B4-BE49-F238E27FC236}">
                  <a16:creationId xmlns:a16="http://schemas.microsoft.com/office/drawing/2014/main" id="{7AF63A54-0A52-4D3C-947E-4870E0D9AE3D}"/>
                </a:ext>
              </a:extLst>
            </p:cNvPr>
            <p:cNvSpPr/>
            <p:nvPr/>
          </p:nvSpPr>
          <p:spPr>
            <a:xfrm rot="7484129">
              <a:off x="362597" y="245474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1" name="Forme libre : forme 2650">
              <a:extLst>
                <a:ext uri="{FF2B5EF4-FFF2-40B4-BE49-F238E27FC236}">
                  <a16:creationId xmlns:a16="http://schemas.microsoft.com/office/drawing/2014/main" id="{19CD0BE1-F9A9-42E6-8860-34AFCCE1A6B8}"/>
                </a:ext>
              </a:extLst>
            </p:cNvPr>
            <p:cNvSpPr/>
            <p:nvPr/>
          </p:nvSpPr>
          <p:spPr>
            <a:xfrm rot="13089394">
              <a:off x="467417" y="242128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2" name="Forme libre : forme 2651">
              <a:extLst>
                <a:ext uri="{FF2B5EF4-FFF2-40B4-BE49-F238E27FC236}">
                  <a16:creationId xmlns:a16="http://schemas.microsoft.com/office/drawing/2014/main" id="{6BBE7DF2-3DA5-42A5-B37A-FA0BE876F37A}"/>
                </a:ext>
              </a:extLst>
            </p:cNvPr>
            <p:cNvSpPr/>
            <p:nvPr/>
          </p:nvSpPr>
          <p:spPr>
            <a:xfrm rot="8716295">
              <a:off x="653002" y="222960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3" name="Forme libre : forme 2652">
              <a:extLst>
                <a:ext uri="{FF2B5EF4-FFF2-40B4-BE49-F238E27FC236}">
                  <a16:creationId xmlns:a16="http://schemas.microsoft.com/office/drawing/2014/main" id="{59B7756E-7BCC-43E3-9597-FAD798A603DC}"/>
                </a:ext>
              </a:extLst>
            </p:cNvPr>
            <p:cNvSpPr/>
            <p:nvPr/>
          </p:nvSpPr>
          <p:spPr>
            <a:xfrm rot="8716295">
              <a:off x="601197" y="21260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4" name="Forme libre : forme 2653">
              <a:extLst>
                <a:ext uri="{FF2B5EF4-FFF2-40B4-BE49-F238E27FC236}">
                  <a16:creationId xmlns:a16="http://schemas.microsoft.com/office/drawing/2014/main" id="{D4FA18E5-B043-4ABB-ABB9-0D25921F91B2}"/>
                </a:ext>
              </a:extLst>
            </p:cNvPr>
            <p:cNvSpPr/>
            <p:nvPr/>
          </p:nvSpPr>
          <p:spPr>
            <a:xfrm rot="8716295">
              <a:off x="357951" y="21562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5" name="Forme libre : forme 2654">
              <a:extLst>
                <a:ext uri="{FF2B5EF4-FFF2-40B4-BE49-F238E27FC236}">
                  <a16:creationId xmlns:a16="http://schemas.microsoft.com/office/drawing/2014/main" id="{72361D6A-CAD4-4B23-97BF-CCD29A718F6D}"/>
                </a:ext>
              </a:extLst>
            </p:cNvPr>
            <p:cNvSpPr/>
            <p:nvPr/>
          </p:nvSpPr>
          <p:spPr>
            <a:xfrm rot="8716295">
              <a:off x="535403" y="199698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6" name="Forme libre : forme 2655">
              <a:extLst>
                <a:ext uri="{FF2B5EF4-FFF2-40B4-BE49-F238E27FC236}">
                  <a16:creationId xmlns:a16="http://schemas.microsoft.com/office/drawing/2014/main" id="{9E172F83-E73C-4A49-AAFF-F950F2FDECFE}"/>
                </a:ext>
              </a:extLst>
            </p:cNvPr>
            <p:cNvSpPr/>
            <p:nvPr/>
          </p:nvSpPr>
          <p:spPr>
            <a:xfrm rot="8716295">
              <a:off x="-76043" y="1768178"/>
              <a:ext cx="197178" cy="215049"/>
            </a:xfrm>
            <a:custGeom>
              <a:avLst/>
              <a:gdLst>
                <a:gd name="connsiteX0" fmla="*/ 51490 w 197178"/>
                <a:gd name="connsiteY0" fmla="*/ 215049 h 215049"/>
                <a:gd name="connsiteX1" fmla="*/ 51490 w 197178"/>
                <a:gd name="connsiteY1" fmla="*/ 45624 h 215049"/>
                <a:gd name="connsiteX2" fmla="*/ 0 w 197178"/>
                <a:gd name="connsiteY2" fmla="*/ 45624 h 215049"/>
                <a:gd name="connsiteX3" fmla="*/ 0 w 197178"/>
                <a:gd name="connsiteY3" fmla="*/ 1424 h 215049"/>
                <a:gd name="connsiteX4" fmla="*/ 104803 w 197178"/>
                <a:gd name="connsiteY4" fmla="*/ 1425 h 215049"/>
                <a:gd name="connsiteX5" fmla="*/ 104803 w 197178"/>
                <a:gd name="connsiteY5" fmla="*/ 75242 h 215049"/>
                <a:gd name="connsiteX6" fmla="*/ 106169 w 197178"/>
                <a:gd name="connsiteY6" fmla="*/ 75242 h 215049"/>
                <a:gd name="connsiteX7" fmla="*/ 154014 w 197178"/>
                <a:gd name="connsiteY7" fmla="*/ 5981 h 215049"/>
                <a:gd name="connsiteX8" fmla="*/ 185455 w 197178"/>
                <a:gd name="connsiteY8" fmla="*/ 57 h 215049"/>
                <a:gd name="connsiteX9" fmla="*/ 197178 w 197178"/>
                <a:gd name="connsiteY9" fmla="*/ 4872 h 215049"/>
                <a:gd name="connsiteX10" fmla="*/ 170795 w 197178"/>
                <a:gd name="connsiteY10" fmla="*/ 42934 h 215049"/>
                <a:gd name="connsiteX11" fmla="*/ 164950 w 197178"/>
                <a:gd name="connsiteY11" fmla="*/ 40156 h 215049"/>
                <a:gd name="connsiteX12" fmla="*/ 111638 w 197178"/>
                <a:gd name="connsiteY12" fmla="*/ 127643 h 215049"/>
                <a:gd name="connsiteX13" fmla="*/ 111638 w 197178"/>
                <a:gd name="connsiteY13" fmla="*/ 128277 h 21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178" h="215049">
                  <a:moveTo>
                    <a:pt x="51490" y="215049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4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lnTo>
                    <a:pt x="197178" y="4872"/>
                  </a:lnTo>
                  <a:lnTo>
                    <a:pt x="170795" y="42934"/>
                  </a:lnTo>
                  <a:lnTo>
                    <a:pt x="164950" y="40156"/>
                  </a:ln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1282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7" name="Forme libre : forme 2656">
              <a:extLst>
                <a:ext uri="{FF2B5EF4-FFF2-40B4-BE49-F238E27FC236}">
                  <a16:creationId xmlns:a16="http://schemas.microsoft.com/office/drawing/2014/main" id="{95638BCB-CAFD-4919-B8B3-7142385EAB97}"/>
                </a:ext>
              </a:extLst>
            </p:cNvPr>
            <p:cNvSpPr/>
            <p:nvPr/>
          </p:nvSpPr>
          <p:spPr>
            <a:xfrm rot="8716295">
              <a:off x="56555" y="14742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8" name="Forme libre : forme 2657">
              <a:extLst>
                <a:ext uri="{FF2B5EF4-FFF2-40B4-BE49-F238E27FC236}">
                  <a16:creationId xmlns:a16="http://schemas.microsoft.com/office/drawing/2014/main" id="{D25EC0C0-1452-4F89-A828-C9FC7DDD0CFA}"/>
                </a:ext>
              </a:extLst>
            </p:cNvPr>
            <p:cNvSpPr/>
            <p:nvPr/>
          </p:nvSpPr>
          <p:spPr>
            <a:xfrm rot="8716295">
              <a:off x="145947" y="15034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9" name="Forme libre : forme 2658">
              <a:extLst>
                <a:ext uri="{FF2B5EF4-FFF2-40B4-BE49-F238E27FC236}">
                  <a16:creationId xmlns:a16="http://schemas.microsoft.com/office/drawing/2014/main" id="{1519431B-42BD-4AC6-AD54-662969F8A726}"/>
                </a:ext>
              </a:extLst>
            </p:cNvPr>
            <p:cNvSpPr/>
            <p:nvPr/>
          </p:nvSpPr>
          <p:spPr>
            <a:xfrm rot="8716295">
              <a:off x="-21870" y="1443501"/>
              <a:ext cx="68614" cy="55323"/>
            </a:xfrm>
            <a:custGeom>
              <a:avLst/>
              <a:gdLst>
                <a:gd name="connsiteX0" fmla="*/ 0 w 68614"/>
                <a:gd name="connsiteY0" fmla="*/ 55323 h 55323"/>
                <a:gd name="connsiteX1" fmla="*/ 0 w 68614"/>
                <a:gd name="connsiteY1" fmla="*/ 0 h 55323"/>
                <a:gd name="connsiteX2" fmla="*/ 68614 w 68614"/>
                <a:gd name="connsiteY2" fmla="*/ 0 h 55323"/>
                <a:gd name="connsiteX3" fmla="*/ 30266 w 68614"/>
                <a:gd name="connsiteY3" fmla="*/ 55323 h 55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614" h="55323">
                  <a:moveTo>
                    <a:pt x="0" y="55323"/>
                  </a:moveTo>
                  <a:lnTo>
                    <a:pt x="0" y="0"/>
                  </a:lnTo>
                  <a:lnTo>
                    <a:pt x="68614" y="0"/>
                  </a:lnTo>
                  <a:lnTo>
                    <a:pt x="30266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0" name="Forme libre : forme 2659">
              <a:extLst>
                <a:ext uri="{FF2B5EF4-FFF2-40B4-BE49-F238E27FC236}">
                  <a16:creationId xmlns:a16="http://schemas.microsoft.com/office/drawing/2014/main" id="{60238100-8A0A-4F63-804A-4A98015B47BC}"/>
                </a:ext>
              </a:extLst>
            </p:cNvPr>
            <p:cNvSpPr/>
            <p:nvPr/>
          </p:nvSpPr>
          <p:spPr>
            <a:xfrm rot="8716295">
              <a:off x="35817" y="1618109"/>
              <a:ext cx="103435" cy="203897"/>
            </a:xfrm>
            <a:custGeom>
              <a:avLst/>
              <a:gdLst>
                <a:gd name="connsiteX0" fmla="*/ 87556 w 103435"/>
                <a:gd name="connsiteY0" fmla="*/ 203897 h 203897"/>
                <a:gd name="connsiteX1" fmla="*/ 43288 w 103435"/>
                <a:gd name="connsiteY1" fmla="*/ 161305 h 203897"/>
                <a:gd name="connsiteX2" fmla="*/ 43288 w 103435"/>
                <a:gd name="connsiteY2" fmla="*/ 16404 h 203897"/>
                <a:gd name="connsiteX3" fmla="*/ 0 w 103435"/>
                <a:gd name="connsiteY3" fmla="*/ 16404 h 203897"/>
                <a:gd name="connsiteX4" fmla="*/ 0 w 103435"/>
                <a:gd name="connsiteY4" fmla="*/ 2278 h 203897"/>
                <a:gd name="connsiteX5" fmla="*/ 103435 w 103435"/>
                <a:gd name="connsiteY5" fmla="*/ 0 h 203897"/>
                <a:gd name="connsiteX6" fmla="*/ 103435 w 103435"/>
                <a:gd name="connsiteY6" fmla="*/ 180989 h 203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03897">
                  <a:moveTo>
                    <a:pt x="87556" y="203897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1809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1" name="Forme libre : forme 2660">
              <a:extLst>
                <a:ext uri="{FF2B5EF4-FFF2-40B4-BE49-F238E27FC236}">
                  <a16:creationId xmlns:a16="http://schemas.microsoft.com/office/drawing/2014/main" id="{4E2C8EF5-C37E-433B-B4E7-F8D646EC6B2E}"/>
                </a:ext>
              </a:extLst>
            </p:cNvPr>
            <p:cNvSpPr/>
            <p:nvPr/>
          </p:nvSpPr>
          <p:spPr>
            <a:xfrm rot="7484129">
              <a:off x="139430" y="17950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2" name="Forme libre : forme 2661">
              <a:extLst>
                <a:ext uri="{FF2B5EF4-FFF2-40B4-BE49-F238E27FC236}">
                  <a16:creationId xmlns:a16="http://schemas.microsoft.com/office/drawing/2014/main" id="{EE3D8E88-95F9-4175-9223-3BA0971001EC}"/>
                </a:ext>
              </a:extLst>
            </p:cNvPr>
            <p:cNvSpPr/>
            <p:nvPr/>
          </p:nvSpPr>
          <p:spPr>
            <a:xfrm rot="13089394">
              <a:off x="244250" y="17615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3" name="Forme libre : forme 2662">
              <a:extLst>
                <a:ext uri="{FF2B5EF4-FFF2-40B4-BE49-F238E27FC236}">
                  <a16:creationId xmlns:a16="http://schemas.microsoft.com/office/drawing/2014/main" id="{F3C9AC87-A1FE-4D6A-AD7E-10654735E8A7}"/>
                </a:ext>
              </a:extLst>
            </p:cNvPr>
            <p:cNvSpPr/>
            <p:nvPr/>
          </p:nvSpPr>
          <p:spPr>
            <a:xfrm rot="8716295">
              <a:off x="429835" y="15699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4" name="Forme libre : forme 2663">
              <a:extLst>
                <a:ext uri="{FF2B5EF4-FFF2-40B4-BE49-F238E27FC236}">
                  <a16:creationId xmlns:a16="http://schemas.microsoft.com/office/drawing/2014/main" id="{5FFA192D-7DB1-4385-9CFD-89494EA18B76}"/>
                </a:ext>
              </a:extLst>
            </p:cNvPr>
            <p:cNvSpPr/>
            <p:nvPr/>
          </p:nvSpPr>
          <p:spPr>
            <a:xfrm rot="8716295">
              <a:off x="378030" y="14663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5" name="Forme libre : forme 2664">
              <a:extLst>
                <a:ext uri="{FF2B5EF4-FFF2-40B4-BE49-F238E27FC236}">
                  <a16:creationId xmlns:a16="http://schemas.microsoft.com/office/drawing/2014/main" id="{0F34417F-18EE-4E84-A289-EA164ECB3D71}"/>
                </a:ext>
              </a:extLst>
            </p:cNvPr>
            <p:cNvSpPr/>
            <p:nvPr/>
          </p:nvSpPr>
          <p:spPr>
            <a:xfrm rot="8716295">
              <a:off x="134784" y="14965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6" name="Forme libre : forme 2665">
              <a:extLst>
                <a:ext uri="{FF2B5EF4-FFF2-40B4-BE49-F238E27FC236}">
                  <a16:creationId xmlns:a16="http://schemas.microsoft.com/office/drawing/2014/main" id="{271203A9-03F5-485A-B145-792A15A69059}"/>
                </a:ext>
              </a:extLst>
            </p:cNvPr>
            <p:cNvSpPr/>
            <p:nvPr/>
          </p:nvSpPr>
          <p:spPr>
            <a:xfrm rot="8716295">
              <a:off x="312236" y="13372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7" name="Forme libre : forme 2666">
              <a:extLst>
                <a:ext uri="{FF2B5EF4-FFF2-40B4-BE49-F238E27FC236}">
                  <a16:creationId xmlns:a16="http://schemas.microsoft.com/office/drawing/2014/main" id="{405C0C8D-A9F9-4FDA-8710-B9B42D099BFD}"/>
                </a:ext>
              </a:extLst>
            </p:cNvPr>
            <p:cNvSpPr/>
            <p:nvPr/>
          </p:nvSpPr>
          <p:spPr>
            <a:xfrm rot="8716295">
              <a:off x="-17798" y="949199"/>
              <a:ext cx="39526" cy="50123"/>
            </a:xfrm>
            <a:custGeom>
              <a:avLst/>
              <a:gdLst>
                <a:gd name="connsiteX0" fmla="*/ 0 w 39526"/>
                <a:gd name="connsiteY0" fmla="*/ 50123 h 50123"/>
                <a:gd name="connsiteX1" fmla="*/ 0 w 39526"/>
                <a:gd name="connsiteY1" fmla="*/ 0 h 50123"/>
                <a:gd name="connsiteX2" fmla="*/ 39526 w 39526"/>
                <a:gd name="connsiteY2" fmla="*/ 0 h 50123"/>
                <a:gd name="connsiteX3" fmla="*/ 4782 w 39526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26" h="50123">
                  <a:moveTo>
                    <a:pt x="0" y="50123"/>
                  </a:moveTo>
                  <a:lnTo>
                    <a:pt x="0" y="0"/>
                  </a:lnTo>
                  <a:lnTo>
                    <a:pt x="39526" y="0"/>
                  </a:lnTo>
                  <a:lnTo>
                    <a:pt x="4782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8" name="Forme libre : forme 2667">
              <a:extLst>
                <a:ext uri="{FF2B5EF4-FFF2-40B4-BE49-F238E27FC236}">
                  <a16:creationId xmlns:a16="http://schemas.microsoft.com/office/drawing/2014/main" id="{D9E66FBE-87D5-42D6-912A-DFE2839C4FB5}"/>
                </a:ext>
              </a:extLst>
            </p:cNvPr>
            <p:cNvSpPr/>
            <p:nvPr/>
          </p:nvSpPr>
          <p:spPr>
            <a:xfrm rot="8716295">
              <a:off x="-64996" y="834728"/>
              <a:ext cx="249650" cy="254774"/>
            </a:xfrm>
            <a:custGeom>
              <a:avLst/>
              <a:gdLst>
                <a:gd name="connsiteX0" fmla="*/ 51490 w 249650"/>
                <a:gd name="connsiteY0" fmla="*/ 254774 h 254774"/>
                <a:gd name="connsiteX1" fmla="*/ 51490 w 249650"/>
                <a:gd name="connsiteY1" fmla="*/ 45624 h 254774"/>
                <a:gd name="connsiteX2" fmla="*/ 0 w 249650"/>
                <a:gd name="connsiteY2" fmla="*/ 45624 h 254774"/>
                <a:gd name="connsiteX3" fmla="*/ 0 w 249650"/>
                <a:gd name="connsiteY3" fmla="*/ 1425 h 254774"/>
                <a:gd name="connsiteX4" fmla="*/ 104803 w 249650"/>
                <a:gd name="connsiteY4" fmla="*/ 1425 h 254774"/>
                <a:gd name="connsiteX5" fmla="*/ 104803 w 249650"/>
                <a:gd name="connsiteY5" fmla="*/ 75242 h 254774"/>
                <a:gd name="connsiteX6" fmla="*/ 106169 w 249650"/>
                <a:gd name="connsiteY6" fmla="*/ 75242 h 254774"/>
                <a:gd name="connsiteX7" fmla="*/ 154014 w 249650"/>
                <a:gd name="connsiteY7" fmla="*/ 5981 h 254774"/>
                <a:gd name="connsiteX8" fmla="*/ 185455 w 249650"/>
                <a:gd name="connsiteY8" fmla="*/ 57 h 254774"/>
                <a:gd name="connsiteX9" fmla="*/ 240647 w 249650"/>
                <a:gd name="connsiteY9" fmla="*/ 22727 h 254774"/>
                <a:gd name="connsiteX10" fmla="*/ 249650 w 249650"/>
                <a:gd name="connsiteY10" fmla="*/ 52327 h 254774"/>
                <a:gd name="connsiteX11" fmla="*/ 218795 w 249650"/>
                <a:gd name="connsiteY11" fmla="*/ 96841 h 254774"/>
                <a:gd name="connsiteX12" fmla="*/ 198669 w 249650"/>
                <a:gd name="connsiteY12" fmla="*/ 98025 h 254774"/>
                <a:gd name="connsiteX13" fmla="*/ 198669 w 249650"/>
                <a:gd name="connsiteY13" fmla="*/ 81621 h 254774"/>
                <a:gd name="connsiteX14" fmla="*/ 164950 w 249650"/>
                <a:gd name="connsiteY14" fmla="*/ 40156 h 254774"/>
                <a:gd name="connsiteX15" fmla="*/ 111638 w 249650"/>
                <a:gd name="connsiteY15" fmla="*/ 127643 h 254774"/>
                <a:gd name="connsiteX16" fmla="*/ 111638 w 249650"/>
                <a:gd name="connsiteY16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9650" h="254774">
                  <a:moveTo>
                    <a:pt x="51490" y="254774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08922" y="-398"/>
                    <a:pt x="227718" y="7576"/>
                    <a:pt x="240647" y="22727"/>
                  </a:cubicBezTo>
                  <a:lnTo>
                    <a:pt x="249650" y="52327"/>
                  </a:lnTo>
                  <a:lnTo>
                    <a:pt x="218795" y="96841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9" name="Forme libre : forme 2668">
              <a:extLst>
                <a:ext uri="{FF2B5EF4-FFF2-40B4-BE49-F238E27FC236}">
                  <a16:creationId xmlns:a16="http://schemas.microsoft.com/office/drawing/2014/main" id="{9509EEFE-28EA-4695-B516-F79E29B945F9}"/>
                </a:ext>
              </a:extLst>
            </p:cNvPr>
            <p:cNvSpPr/>
            <p:nvPr/>
          </p:nvSpPr>
          <p:spPr>
            <a:xfrm rot="7484129">
              <a:off x="-63314" y="1172497"/>
              <a:ext cx="203848" cy="146395"/>
            </a:xfrm>
            <a:custGeom>
              <a:avLst/>
              <a:gdLst>
                <a:gd name="connsiteX0" fmla="*/ 0 w 203848"/>
                <a:gd name="connsiteY0" fmla="*/ 55323 h 146395"/>
                <a:gd name="connsiteX1" fmla="*/ 0 w 203848"/>
                <a:gd name="connsiteY1" fmla="*/ 0 h 146395"/>
                <a:gd name="connsiteX2" fmla="*/ 203848 w 203848"/>
                <a:gd name="connsiteY2" fmla="*/ 0 h 146395"/>
                <a:gd name="connsiteX3" fmla="*/ 203847 w 203848"/>
                <a:gd name="connsiteY3" fmla="*/ 49512 h 146395"/>
                <a:gd name="connsiteX4" fmla="*/ 195466 w 203848"/>
                <a:gd name="connsiteY4" fmla="*/ 55323 h 146395"/>
                <a:gd name="connsiteX5" fmla="*/ 139055 w 203848"/>
                <a:gd name="connsiteY5" fmla="*/ 55323 h 146395"/>
                <a:gd name="connsiteX6" fmla="*/ 121388 w 203848"/>
                <a:gd name="connsiteY6" fmla="*/ 106685 h 146395"/>
                <a:gd name="connsiteX7" fmla="*/ 64115 w 203848"/>
                <a:gd name="connsiteY7" fmla="*/ 146395 h 146395"/>
                <a:gd name="connsiteX8" fmla="*/ 47847 w 203848"/>
                <a:gd name="connsiteY8" fmla="*/ 116129 h 146395"/>
                <a:gd name="connsiteX9" fmla="*/ 69777 w 203848"/>
                <a:gd name="connsiteY9" fmla="*/ 55323 h 146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848" h="146395">
                  <a:moveTo>
                    <a:pt x="0" y="55323"/>
                  </a:moveTo>
                  <a:lnTo>
                    <a:pt x="0" y="0"/>
                  </a:lnTo>
                  <a:lnTo>
                    <a:pt x="203848" y="0"/>
                  </a:lnTo>
                  <a:lnTo>
                    <a:pt x="203847" y="49512"/>
                  </a:lnTo>
                  <a:lnTo>
                    <a:pt x="195466" y="55323"/>
                  </a:lnTo>
                  <a:lnTo>
                    <a:pt x="139055" y="55323"/>
                  </a:lnTo>
                  <a:lnTo>
                    <a:pt x="121388" y="106685"/>
                  </a:lnTo>
                  <a:lnTo>
                    <a:pt x="64115" y="146395"/>
                  </a:lnTo>
                  <a:lnTo>
                    <a:pt x="47847" y="116129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0" name="Forme libre : forme 2669">
              <a:extLst>
                <a:ext uri="{FF2B5EF4-FFF2-40B4-BE49-F238E27FC236}">
                  <a16:creationId xmlns:a16="http://schemas.microsoft.com/office/drawing/2014/main" id="{71678257-6DF2-4EFF-B737-FA3D02FA5594}"/>
                </a:ext>
              </a:extLst>
            </p:cNvPr>
            <p:cNvSpPr/>
            <p:nvPr/>
          </p:nvSpPr>
          <p:spPr>
            <a:xfrm rot="13089394">
              <a:off x="25311" y="109952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1" name="Forme libre : forme 2670">
              <a:extLst>
                <a:ext uri="{FF2B5EF4-FFF2-40B4-BE49-F238E27FC236}">
                  <a16:creationId xmlns:a16="http://schemas.microsoft.com/office/drawing/2014/main" id="{A59D46CE-4426-40A3-8095-61819C0C7AE0}"/>
                </a:ext>
              </a:extLst>
            </p:cNvPr>
            <p:cNvSpPr/>
            <p:nvPr/>
          </p:nvSpPr>
          <p:spPr>
            <a:xfrm rot="8716295">
              <a:off x="210896" y="90784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2" name="Forme libre : forme 2671">
              <a:extLst>
                <a:ext uri="{FF2B5EF4-FFF2-40B4-BE49-F238E27FC236}">
                  <a16:creationId xmlns:a16="http://schemas.microsoft.com/office/drawing/2014/main" id="{7825CA42-276D-46E9-845F-1C3B3FD7B764}"/>
                </a:ext>
              </a:extLst>
            </p:cNvPr>
            <p:cNvSpPr/>
            <p:nvPr/>
          </p:nvSpPr>
          <p:spPr>
            <a:xfrm rot="8716295">
              <a:off x="159091" y="80425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3" name="Forme libre : forme 2672">
              <a:extLst>
                <a:ext uri="{FF2B5EF4-FFF2-40B4-BE49-F238E27FC236}">
                  <a16:creationId xmlns:a16="http://schemas.microsoft.com/office/drawing/2014/main" id="{2CF0D109-F01E-48EA-B846-7F271B9FCCEE}"/>
                </a:ext>
              </a:extLst>
            </p:cNvPr>
            <p:cNvSpPr/>
            <p:nvPr/>
          </p:nvSpPr>
          <p:spPr>
            <a:xfrm rot="8716295">
              <a:off x="93297" y="67523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4" name="Forme libre : forme 2673">
              <a:extLst>
                <a:ext uri="{FF2B5EF4-FFF2-40B4-BE49-F238E27FC236}">
                  <a16:creationId xmlns:a16="http://schemas.microsoft.com/office/drawing/2014/main" id="{15A67A1B-0593-4E21-A1BB-485D6912B395}"/>
                </a:ext>
              </a:extLst>
            </p:cNvPr>
            <p:cNvSpPr/>
            <p:nvPr/>
          </p:nvSpPr>
          <p:spPr>
            <a:xfrm rot="8716295">
              <a:off x="-7001" y="316701"/>
              <a:ext cx="14001" cy="20198"/>
            </a:xfrm>
            <a:custGeom>
              <a:avLst/>
              <a:gdLst>
                <a:gd name="connsiteX0" fmla="*/ 0 w 14001"/>
                <a:gd name="connsiteY0" fmla="*/ 20198 h 20198"/>
                <a:gd name="connsiteX1" fmla="*/ 0 w 14001"/>
                <a:gd name="connsiteY1" fmla="*/ 0 h 20198"/>
                <a:gd name="connsiteX2" fmla="*/ 14001 w 14001"/>
                <a:gd name="connsiteY2" fmla="*/ 0 h 2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01" h="20198">
                  <a:moveTo>
                    <a:pt x="0" y="20198"/>
                  </a:moveTo>
                  <a:lnTo>
                    <a:pt x="0" y="0"/>
                  </a:lnTo>
                  <a:lnTo>
                    <a:pt x="1400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5" name="Forme libre : forme 2674">
              <a:extLst>
                <a:ext uri="{FF2B5EF4-FFF2-40B4-BE49-F238E27FC236}">
                  <a16:creationId xmlns:a16="http://schemas.microsoft.com/office/drawing/2014/main" id="{F5C0AF50-10E7-4E14-B910-0C705A16AAC3}"/>
                </a:ext>
              </a:extLst>
            </p:cNvPr>
            <p:cNvSpPr/>
            <p:nvPr/>
          </p:nvSpPr>
          <p:spPr>
            <a:xfrm rot="13089394">
              <a:off x="-81658" y="472652"/>
              <a:ext cx="173631" cy="237684"/>
            </a:xfrm>
            <a:custGeom>
              <a:avLst/>
              <a:gdLst>
                <a:gd name="connsiteX0" fmla="*/ 173631 w 173631"/>
                <a:gd name="connsiteY0" fmla="*/ 220990 h 237684"/>
                <a:gd name="connsiteX1" fmla="*/ 130972 w 173631"/>
                <a:gd name="connsiteY1" fmla="*/ 232382 h 237684"/>
                <a:gd name="connsiteX2" fmla="*/ 91597 w 173631"/>
                <a:gd name="connsiteY2" fmla="*/ 237521 h 237684"/>
                <a:gd name="connsiteX3" fmla="*/ 23727 w 173631"/>
                <a:gd name="connsiteY3" fmla="*/ 209931 h 237684"/>
                <a:gd name="connsiteX4" fmla="*/ 0 w 173631"/>
                <a:gd name="connsiteY4" fmla="*/ 115023 h 237684"/>
                <a:gd name="connsiteX5" fmla="*/ 0 w 173631"/>
                <a:gd name="connsiteY5" fmla="*/ 0 h 237684"/>
                <a:gd name="connsiteX6" fmla="*/ 76176 w 173631"/>
                <a:gd name="connsiteY6" fmla="*/ 96953 h 237684"/>
                <a:gd name="connsiteX7" fmla="*/ 76768 w 173631"/>
                <a:gd name="connsiteY7" fmla="*/ 109023 h 237684"/>
                <a:gd name="connsiteX8" fmla="*/ 87734 w 173631"/>
                <a:gd name="connsiteY8" fmla="*/ 154201 h 237684"/>
                <a:gd name="connsiteX9" fmla="*/ 111117 w 173631"/>
                <a:gd name="connsiteY9" fmla="*/ 181514 h 237684"/>
                <a:gd name="connsiteX10" fmla="*/ 148930 w 173631"/>
                <a:gd name="connsiteY10" fmla="*/ 189552 h 237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3631" h="237684">
                  <a:moveTo>
                    <a:pt x="173631" y="220990"/>
                  </a:moveTo>
                  <a:lnTo>
                    <a:pt x="130972" y="232382"/>
                  </a:lnTo>
                  <a:cubicBezTo>
                    <a:pt x="116428" y="235210"/>
                    <a:pt x="103047" y="236831"/>
                    <a:pt x="91597" y="237521"/>
                  </a:cubicBezTo>
                  <a:cubicBezTo>
                    <a:pt x="66215" y="239176"/>
                    <a:pt x="41384" y="228141"/>
                    <a:pt x="23727" y="209931"/>
                  </a:cubicBezTo>
                  <a:cubicBezTo>
                    <a:pt x="4966" y="191722"/>
                    <a:pt x="0" y="160270"/>
                    <a:pt x="0" y="115023"/>
                  </a:cubicBezTo>
                  <a:lnTo>
                    <a:pt x="0" y="0"/>
                  </a:lnTo>
                  <a:lnTo>
                    <a:pt x="76176" y="96953"/>
                  </a:lnTo>
                  <a:lnTo>
                    <a:pt x="76768" y="109023"/>
                  </a:lnTo>
                  <a:cubicBezTo>
                    <a:pt x="79044" y="124404"/>
                    <a:pt x="82768" y="139578"/>
                    <a:pt x="87734" y="154201"/>
                  </a:cubicBezTo>
                  <a:cubicBezTo>
                    <a:pt x="92149" y="166340"/>
                    <a:pt x="100012" y="175445"/>
                    <a:pt x="111117" y="181514"/>
                  </a:cubicBezTo>
                  <a:lnTo>
                    <a:pt x="148930" y="1895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6" name="Forme libre : forme 2675">
              <a:extLst>
                <a:ext uri="{FF2B5EF4-FFF2-40B4-BE49-F238E27FC236}">
                  <a16:creationId xmlns:a16="http://schemas.microsoft.com/office/drawing/2014/main" id="{0D59FB1F-A28C-4E8B-B4BC-0A3A54031E65}"/>
                </a:ext>
              </a:extLst>
            </p:cNvPr>
            <p:cNvSpPr/>
            <p:nvPr/>
          </p:nvSpPr>
          <p:spPr>
            <a:xfrm rot="8716295">
              <a:off x="-11774" y="24443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7" name="Forme libre : forme 2676">
              <a:extLst>
                <a:ext uri="{FF2B5EF4-FFF2-40B4-BE49-F238E27FC236}">
                  <a16:creationId xmlns:a16="http://schemas.microsoft.com/office/drawing/2014/main" id="{6DA8E402-AB6F-4D42-B3D8-FD882D72E6EE}"/>
                </a:ext>
              </a:extLst>
            </p:cNvPr>
            <p:cNvSpPr/>
            <p:nvPr/>
          </p:nvSpPr>
          <p:spPr>
            <a:xfrm rot="8716295">
              <a:off x="-30092" y="143486"/>
              <a:ext cx="77721" cy="97260"/>
            </a:xfrm>
            <a:custGeom>
              <a:avLst/>
              <a:gdLst>
                <a:gd name="connsiteX0" fmla="*/ 15821 w 77721"/>
                <a:gd name="connsiteY0" fmla="*/ 97260 h 97260"/>
                <a:gd name="connsiteX1" fmla="*/ 0 w 77721"/>
                <a:gd name="connsiteY1" fmla="*/ 59790 h 97260"/>
                <a:gd name="connsiteX2" fmla="*/ 0 w 77721"/>
                <a:gd name="connsiteY2" fmla="*/ 58869 h 97260"/>
                <a:gd name="connsiteX3" fmla="*/ 17477 w 77721"/>
                <a:gd name="connsiteY3" fmla="*/ 17477 h 97260"/>
                <a:gd name="connsiteX4" fmla="*/ 58869 w 77721"/>
                <a:gd name="connsiteY4" fmla="*/ 0 h 97260"/>
                <a:gd name="connsiteX5" fmla="*/ 77721 w 77721"/>
                <a:gd name="connsiteY5" fmla="*/ 7960 h 97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721" h="97260">
                  <a:moveTo>
                    <a:pt x="15821" y="97260"/>
                  </a:moveTo>
                  <a:lnTo>
                    <a:pt x="0" y="59790"/>
                  </a:ln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lnTo>
                    <a:pt x="77721" y="79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8" name="Forme libre : forme 2677">
              <a:extLst>
                <a:ext uri="{FF2B5EF4-FFF2-40B4-BE49-F238E27FC236}">
                  <a16:creationId xmlns:a16="http://schemas.microsoft.com/office/drawing/2014/main" id="{FF96202D-5615-4C5C-B860-27779277BA03}"/>
                </a:ext>
              </a:extLst>
            </p:cNvPr>
            <p:cNvSpPr/>
            <p:nvPr/>
          </p:nvSpPr>
          <p:spPr>
            <a:xfrm rot="8716295">
              <a:off x="-17797" y="3452694"/>
              <a:ext cx="58455" cy="44199"/>
            </a:xfrm>
            <a:custGeom>
              <a:avLst/>
              <a:gdLst>
                <a:gd name="connsiteX0" fmla="*/ 0 w 58455"/>
                <a:gd name="connsiteY0" fmla="*/ 44199 h 44199"/>
                <a:gd name="connsiteX1" fmla="*/ 0 w 58455"/>
                <a:gd name="connsiteY1" fmla="*/ 0 h 44199"/>
                <a:gd name="connsiteX2" fmla="*/ 58455 w 58455"/>
                <a:gd name="connsiteY2" fmla="*/ 0 h 44199"/>
                <a:gd name="connsiteX3" fmla="*/ 27817 w 58455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55" h="44199">
                  <a:moveTo>
                    <a:pt x="0" y="44199"/>
                  </a:moveTo>
                  <a:lnTo>
                    <a:pt x="0" y="0"/>
                  </a:lnTo>
                  <a:lnTo>
                    <a:pt x="58455" y="0"/>
                  </a:lnTo>
                  <a:lnTo>
                    <a:pt x="27817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9" name="Forme libre : forme 2678">
              <a:extLst>
                <a:ext uri="{FF2B5EF4-FFF2-40B4-BE49-F238E27FC236}">
                  <a16:creationId xmlns:a16="http://schemas.microsoft.com/office/drawing/2014/main" id="{EFE05903-A2C3-4EA4-B6E8-4BC424605688}"/>
                </a:ext>
              </a:extLst>
            </p:cNvPr>
            <p:cNvSpPr/>
            <p:nvPr/>
          </p:nvSpPr>
          <p:spPr>
            <a:xfrm rot="13089394">
              <a:off x="-91485" y="3601812"/>
              <a:ext cx="206527" cy="292654"/>
            </a:xfrm>
            <a:custGeom>
              <a:avLst/>
              <a:gdLst>
                <a:gd name="connsiteX0" fmla="*/ 206527 w 206527"/>
                <a:gd name="connsiteY0" fmla="*/ 258693 h 292654"/>
                <a:gd name="connsiteX1" fmla="*/ 177331 w 206527"/>
                <a:gd name="connsiteY1" fmla="*/ 274971 h 292654"/>
                <a:gd name="connsiteX2" fmla="*/ 91597 w 206527"/>
                <a:gd name="connsiteY2" fmla="*/ 292491 h 292654"/>
                <a:gd name="connsiteX3" fmla="*/ 23727 w 206527"/>
                <a:gd name="connsiteY3" fmla="*/ 264901 h 292654"/>
                <a:gd name="connsiteX4" fmla="*/ 0 w 206527"/>
                <a:gd name="connsiteY4" fmla="*/ 169993 h 292654"/>
                <a:gd name="connsiteX5" fmla="*/ 0 w 206527"/>
                <a:gd name="connsiteY5" fmla="*/ 1698 h 292654"/>
                <a:gd name="connsiteX6" fmla="*/ 3273 w 206527"/>
                <a:gd name="connsiteY6" fmla="*/ 0 h 292654"/>
                <a:gd name="connsiteX7" fmla="*/ 74297 w 206527"/>
                <a:gd name="connsiteY7" fmla="*/ 90396 h 292654"/>
                <a:gd name="connsiteX8" fmla="*/ 74492 w 206527"/>
                <a:gd name="connsiteY8" fmla="*/ 117574 h 292654"/>
                <a:gd name="connsiteX9" fmla="*/ 87734 w 206527"/>
                <a:gd name="connsiteY9" fmla="*/ 209171 h 292654"/>
                <a:gd name="connsiteX10" fmla="*/ 153949 w 206527"/>
                <a:gd name="connsiteY10" fmla="*/ 245589 h 292654"/>
                <a:gd name="connsiteX11" fmla="*/ 191049 w 206527"/>
                <a:gd name="connsiteY11" fmla="*/ 238993 h 292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527" h="292654">
                  <a:moveTo>
                    <a:pt x="206527" y="258693"/>
                  </a:moveTo>
                  <a:lnTo>
                    <a:pt x="177331" y="274971"/>
                  </a:lnTo>
                  <a:cubicBezTo>
                    <a:pt x="145121" y="286007"/>
                    <a:pt x="114496" y="291111"/>
                    <a:pt x="91597" y="292491"/>
                  </a:cubicBezTo>
                  <a:cubicBezTo>
                    <a:pt x="66215" y="294146"/>
                    <a:pt x="41385" y="283111"/>
                    <a:pt x="23727" y="264901"/>
                  </a:cubicBezTo>
                  <a:cubicBezTo>
                    <a:pt x="4966" y="246692"/>
                    <a:pt x="0" y="215240"/>
                    <a:pt x="0" y="169993"/>
                  </a:cubicBezTo>
                  <a:lnTo>
                    <a:pt x="0" y="1698"/>
                  </a:lnTo>
                  <a:lnTo>
                    <a:pt x="3273" y="0"/>
                  </a:lnTo>
                  <a:lnTo>
                    <a:pt x="74297" y="90396"/>
                  </a:lnTo>
                  <a:lnTo>
                    <a:pt x="74492" y="117574"/>
                  </a:lnTo>
                  <a:cubicBezTo>
                    <a:pt x="72836" y="148474"/>
                    <a:pt x="77802" y="179926"/>
                    <a:pt x="87734" y="209171"/>
                  </a:cubicBezTo>
                  <a:cubicBezTo>
                    <a:pt x="96564" y="233450"/>
                    <a:pt x="119187" y="245589"/>
                    <a:pt x="153949" y="245589"/>
                  </a:cubicBezTo>
                  <a:lnTo>
                    <a:pt x="191049" y="2389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0" name="Forme libre : forme 2679">
              <a:extLst>
                <a:ext uri="{FF2B5EF4-FFF2-40B4-BE49-F238E27FC236}">
                  <a16:creationId xmlns:a16="http://schemas.microsoft.com/office/drawing/2014/main" id="{A958F052-274A-4809-9A7E-706B6FDA97DB}"/>
                </a:ext>
              </a:extLst>
            </p:cNvPr>
            <p:cNvSpPr/>
            <p:nvPr/>
          </p:nvSpPr>
          <p:spPr>
            <a:xfrm rot="8716295">
              <a:off x="24761" y="33896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1" name="Forme libre : forme 2680">
              <a:extLst>
                <a:ext uri="{FF2B5EF4-FFF2-40B4-BE49-F238E27FC236}">
                  <a16:creationId xmlns:a16="http://schemas.microsoft.com/office/drawing/2014/main" id="{3D25082F-4B73-45B2-BAAB-9D638EEF2592}"/>
                </a:ext>
              </a:extLst>
            </p:cNvPr>
            <p:cNvSpPr/>
            <p:nvPr/>
          </p:nvSpPr>
          <p:spPr>
            <a:xfrm rot="8716295">
              <a:off x="-24047" y="3281741"/>
              <a:ext cx="106042" cy="113733"/>
            </a:xfrm>
            <a:custGeom>
              <a:avLst/>
              <a:gdLst>
                <a:gd name="connsiteX0" fmla="*/ 17477 w 106042"/>
                <a:gd name="connsiteY0" fmla="*/ 101182 h 113733"/>
                <a:gd name="connsiteX1" fmla="*/ 0 w 106042"/>
                <a:gd name="connsiteY1" fmla="*/ 59790 h 113733"/>
                <a:gd name="connsiteX2" fmla="*/ 0 w 106042"/>
                <a:gd name="connsiteY2" fmla="*/ 58869 h 113733"/>
                <a:gd name="connsiteX3" fmla="*/ 17477 w 106042"/>
                <a:gd name="connsiteY3" fmla="*/ 17477 h 113733"/>
                <a:gd name="connsiteX4" fmla="*/ 58869 w 106042"/>
                <a:gd name="connsiteY4" fmla="*/ 0 h 113733"/>
                <a:gd name="connsiteX5" fmla="*/ 100262 w 106042"/>
                <a:gd name="connsiteY5" fmla="*/ 17477 h 113733"/>
                <a:gd name="connsiteX6" fmla="*/ 106042 w 106042"/>
                <a:gd name="connsiteY6" fmla="*/ 31234 h 113733"/>
                <a:gd name="connsiteX7" fmla="*/ 48856 w 106042"/>
                <a:gd name="connsiteY7" fmla="*/ 113733 h 11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042" h="113733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cubicBezTo>
                    <a:pt x="74507" y="0"/>
                    <a:pt x="89224" y="6439"/>
                    <a:pt x="100262" y="17477"/>
                  </a:cubicBezTo>
                  <a:lnTo>
                    <a:pt x="106042" y="31234"/>
                  </a:lnTo>
                  <a:lnTo>
                    <a:pt x="48856" y="1137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2" name="Forme libre : forme 2681">
              <a:extLst>
                <a:ext uri="{FF2B5EF4-FFF2-40B4-BE49-F238E27FC236}">
                  <a16:creationId xmlns:a16="http://schemas.microsoft.com/office/drawing/2014/main" id="{9B3439DB-66BB-4F10-AE1A-D801C021A556}"/>
                </a:ext>
              </a:extLst>
            </p:cNvPr>
            <p:cNvSpPr/>
            <p:nvPr/>
          </p:nvSpPr>
          <p:spPr>
            <a:xfrm rot="8716295">
              <a:off x="-21924" y="3179872"/>
              <a:ext cx="45776" cy="62656"/>
            </a:xfrm>
            <a:custGeom>
              <a:avLst/>
              <a:gdLst>
                <a:gd name="connsiteX0" fmla="*/ 2345 w 45776"/>
                <a:gd name="connsiteY0" fmla="*/ 62656 h 62656"/>
                <a:gd name="connsiteX1" fmla="*/ 0 w 45776"/>
                <a:gd name="connsiteY1" fmla="*/ 57104 h 62656"/>
                <a:gd name="connsiteX2" fmla="*/ 0 w 45776"/>
                <a:gd name="connsiteY2" fmla="*/ 56183 h 62656"/>
                <a:gd name="connsiteX3" fmla="*/ 17477 w 45776"/>
                <a:gd name="connsiteY3" fmla="*/ 14791 h 62656"/>
                <a:gd name="connsiteX4" fmla="*/ 36449 w 45776"/>
                <a:gd name="connsiteY4" fmla="*/ 1913 h 62656"/>
                <a:gd name="connsiteX5" fmla="*/ 45776 w 45776"/>
                <a:gd name="connsiteY5" fmla="*/ 0 h 62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776" h="62656">
                  <a:moveTo>
                    <a:pt x="2345" y="62656"/>
                  </a:moveTo>
                  <a:lnTo>
                    <a:pt x="0" y="57104"/>
                  </a:lnTo>
                  <a:lnTo>
                    <a:pt x="0" y="56183"/>
                  </a:lnTo>
                  <a:cubicBezTo>
                    <a:pt x="0" y="40547"/>
                    <a:pt x="6439" y="25829"/>
                    <a:pt x="17477" y="14791"/>
                  </a:cubicBezTo>
                  <a:cubicBezTo>
                    <a:pt x="22996" y="9272"/>
                    <a:pt x="29435" y="4903"/>
                    <a:pt x="36449" y="1913"/>
                  </a:cubicBezTo>
                  <a:lnTo>
                    <a:pt x="4577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3" name="Forme libre : forme 2682">
              <a:extLst>
                <a:ext uri="{FF2B5EF4-FFF2-40B4-BE49-F238E27FC236}">
                  <a16:creationId xmlns:a16="http://schemas.microsoft.com/office/drawing/2014/main" id="{BE051C75-2EC0-4A07-8D42-5B1B5C7740A7}"/>
                </a:ext>
              </a:extLst>
            </p:cNvPr>
            <p:cNvSpPr/>
            <p:nvPr/>
          </p:nvSpPr>
          <p:spPr>
            <a:xfrm rot="8716295">
              <a:off x="592036" y="5123131"/>
              <a:ext cx="56900" cy="40151"/>
            </a:xfrm>
            <a:custGeom>
              <a:avLst/>
              <a:gdLst>
                <a:gd name="connsiteX0" fmla="*/ 13826 w 56900"/>
                <a:gd name="connsiteY0" fmla="*/ 23593 h 40151"/>
                <a:gd name="connsiteX1" fmla="*/ 948 w 56900"/>
                <a:gd name="connsiteY1" fmla="*/ 4622 h 40151"/>
                <a:gd name="connsiteX2" fmla="*/ 0 w 56900"/>
                <a:gd name="connsiteY2" fmla="*/ 0 h 40151"/>
                <a:gd name="connsiteX3" fmla="*/ 56900 w 56900"/>
                <a:gd name="connsiteY3" fmla="*/ 39441 h 40151"/>
                <a:gd name="connsiteX4" fmla="*/ 55218 w 56900"/>
                <a:gd name="connsiteY4" fmla="*/ 40151 h 40151"/>
                <a:gd name="connsiteX5" fmla="*/ 13826 w 56900"/>
                <a:gd name="connsiteY5" fmla="*/ 23593 h 40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900" h="40151">
                  <a:moveTo>
                    <a:pt x="13826" y="23593"/>
                  </a:moveTo>
                  <a:cubicBezTo>
                    <a:pt x="8307" y="18074"/>
                    <a:pt x="3938" y="11636"/>
                    <a:pt x="948" y="4622"/>
                  </a:cubicBezTo>
                  <a:lnTo>
                    <a:pt x="0" y="0"/>
                  </a:lnTo>
                  <a:lnTo>
                    <a:pt x="56900" y="39441"/>
                  </a:lnTo>
                  <a:lnTo>
                    <a:pt x="55218" y="40151"/>
                  </a:lnTo>
                  <a:cubicBezTo>
                    <a:pt x="39581" y="40151"/>
                    <a:pt x="24864" y="34631"/>
                    <a:pt x="13826" y="2359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4" name="Forme libre : forme 2683">
              <a:extLst>
                <a:ext uri="{FF2B5EF4-FFF2-40B4-BE49-F238E27FC236}">
                  <a16:creationId xmlns:a16="http://schemas.microsoft.com/office/drawing/2014/main" id="{A2DDC211-7D18-475F-9BDE-7390FC50600F}"/>
                </a:ext>
              </a:extLst>
            </p:cNvPr>
            <p:cNvSpPr/>
            <p:nvPr/>
          </p:nvSpPr>
          <p:spPr>
            <a:xfrm rot="8716295">
              <a:off x="-21324" y="4100649"/>
              <a:ext cx="79113" cy="50123"/>
            </a:xfrm>
            <a:custGeom>
              <a:avLst/>
              <a:gdLst>
                <a:gd name="connsiteX0" fmla="*/ 0 w 79113"/>
                <a:gd name="connsiteY0" fmla="*/ 50123 h 50123"/>
                <a:gd name="connsiteX1" fmla="*/ 0 w 79113"/>
                <a:gd name="connsiteY1" fmla="*/ 0 h 50123"/>
                <a:gd name="connsiteX2" fmla="*/ 79113 w 79113"/>
                <a:gd name="connsiteY2" fmla="*/ 0 h 50123"/>
                <a:gd name="connsiteX3" fmla="*/ 44369 w 79113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113" h="50123">
                  <a:moveTo>
                    <a:pt x="0" y="50123"/>
                  </a:moveTo>
                  <a:lnTo>
                    <a:pt x="0" y="0"/>
                  </a:lnTo>
                  <a:lnTo>
                    <a:pt x="79113" y="0"/>
                  </a:lnTo>
                  <a:lnTo>
                    <a:pt x="44369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5" name="Forme libre : forme 2684">
              <a:extLst>
                <a:ext uri="{FF2B5EF4-FFF2-40B4-BE49-F238E27FC236}">
                  <a16:creationId xmlns:a16="http://schemas.microsoft.com/office/drawing/2014/main" id="{4A594CAD-D127-4A61-B2C8-0DE44CCFCB9E}"/>
                </a:ext>
              </a:extLst>
            </p:cNvPr>
            <p:cNvSpPr/>
            <p:nvPr/>
          </p:nvSpPr>
          <p:spPr>
            <a:xfrm rot="8716295">
              <a:off x="-40457" y="398156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6" name="Forme libre : forme 2685">
              <a:extLst>
                <a:ext uri="{FF2B5EF4-FFF2-40B4-BE49-F238E27FC236}">
                  <a16:creationId xmlns:a16="http://schemas.microsoft.com/office/drawing/2014/main" id="{C35F84B9-08F3-41F8-AB3B-A49B6847CE98}"/>
                </a:ext>
              </a:extLst>
            </p:cNvPr>
            <p:cNvSpPr/>
            <p:nvPr/>
          </p:nvSpPr>
          <p:spPr>
            <a:xfrm rot="7484129">
              <a:off x="-46974" y="427316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7" name="Forme libre : forme 2686">
              <a:extLst>
                <a:ext uri="{FF2B5EF4-FFF2-40B4-BE49-F238E27FC236}">
                  <a16:creationId xmlns:a16="http://schemas.microsoft.com/office/drawing/2014/main" id="{3D0897FF-826A-48CF-8574-888120D65678}"/>
                </a:ext>
              </a:extLst>
            </p:cNvPr>
            <p:cNvSpPr/>
            <p:nvPr/>
          </p:nvSpPr>
          <p:spPr>
            <a:xfrm rot="13089394">
              <a:off x="57846" y="423970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8" name="Forme libre : forme 2687">
              <a:extLst>
                <a:ext uri="{FF2B5EF4-FFF2-40B4-BE49-F238E27FC236}">
                  <a16:creationId xmlns:a16="http://schemas.microsoft.com/office/drawing/2014/main" id="{2F8D07DA-1D87-463F-B4DC-27CBA56DED7E}"/>
                </a:ext>
              </a:extLst>
            </p:cNvPr>
            <p:cNvSpPr/>
            <p:nvPr/>
          </p:nvSpPr>
          <p:spPr>
            <a:xfrm rot="8716295">
              <a:off x="243431" y="404801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9" name="Forme libre : forme 2688">
              <a:extLst>
                <a:ext uri="{FF2B5EF4-FFF2-40B4-BE49-F238E27FC236}">
                  <a16:creationId xmlns:a16="http://schemas.microsoft.com/office/drawing/2014/main" id="{BADA5750-C783-4D69-B30C-EF6BBA7037F4}"/>
                </a:ext>
              </a:extLst>
            </p:cNvPr>
            <p:cNvSpPr/>
            <p:nvPr/>
          </p:nvSpPr>
          <p:spPr>
            <a:xfrm rot="8716295">
              <a:off x="191626" y="39444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0" name="Forme libre : forme 2689">
              <a:extLst>
                <a:ext uri="{FF2B5EF4-FFF2-40B4-BE49-F238E27FC236}">
                  <a16:creationId xmlns:a16="http://schemas.microsoft.com/office/drawing/2014/main" id="{7176F547-28C8-4730-A116-BF57B49F4638}"/>
                </a:ext>
              </a:extLst>
            </p:cNvPr>
            <p:cNvSpPr/>
            <p:nvPr/>
          </p:nvSpPr>
          <p:spPr>
            <a:xfrm rot="8716295">
              <a:off x="125832" y="381540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1" name="Forme libre : forme 2690">
              <a:extLst>
                <a:ext uri="{FF2B5EF4-FFF2-40B4-BE49-F238E27FC236}">
                  <a16:creationId xmlns:a16="http://schemas.microsoft.com/office/drawing/2014/main" id="{1C963D98-5E90-4FBD-9A58-C704191F7207}"/>
                </a:ext>
              </a:extLst>
            </p:cNvPr>
            <p:cNvSpPr/>
            <p:nvPr/>
          </p:nvSpPr>
          <p:spPr>
            <a:xfrm rot="8716295">
              <a:off x="-73048" y="4876828"/>
              <a:ext cx="221382" cy="253349"/>
            </a:xfrm>
            <a:custGeom>
              <a:avLst/>
              <a:gdLst>
                <a:gd name="connsiteX0" fmla="*/ 51490 w 221382"/>
                <a:gd name="connsiteY0" fmla="*/ 253349 h 253349"/>
                <a:gd name="connsiteX1" fmla="*/ 51490 w 221382"/>
                <a:gd name="connsiteY1" fmla="*/ 44199 h 253349"/>
                <a:gd name="connsiteX2" fmla="*/ 0 w 221382"/>
                <a:gd name="connsiteY2" fmla="*/ 44199 h 253349"/>
                <a:gd name="connsiteX3" fmla="*/ 0 w 221382"/>
                <a:gd name="connsiteY3" fmla="*/ 0 h 253349"/>
                <a:gd name="connsiteX4" fmla="*/ 104803 w 221382"/>
                <a:gd name="connsiteY4" fmla="*/ 0 h 253349"/>
                <a:gd name="connsiteX5" fmla="*/ 104802 w 221382"/>
                <a:gd name="connsiteY5" fmla="*/ 73817 h 253349"/>
                <a:gd name="connsiteX6" fmla="*/ 106169 w 221382"/>
                <a:gd name="connsiteY6" fmla="*/ 73817 h 253349"/>
                <a:gd name="connsiteX7" fmla="*/ 154014 w 221382"/>
                <a:gd name="connsiteY7" fmla="*/ 4556 h 253349"/>
                <a:gd name="connsiteX8" fmla="*/ 174650 w 221382"/>
                <a:gd name="connsiteY8" fmla="*/ 668 h 253349"/>
                <a:gd name="connsiteX9" fmla="*/ 214075 w 221382"/>
                <a:gd name="connsiteY9" fmla="*/ 27996 h 253349"/>
                <a:gd name="connsiteX10" fmla="*/ 221382 w 221382"/>
                <a:gd name="connsiteY10" fmla="*/ 33060 h 253349"/>
                <a:gd name="connsiteX11" fmla="*/ 195540 w 221382"/>
                <a:gd name="connsiteY11" fmla="*/ 70341 h 253349"/>
                <a:gd name="connsiteX12" fmla="*/ 189157 w 221382"/>
                <a:gd name="connsiteY12" fmla="*/ 50236 h 253349"/>
                <a:gd name="connsiteX13" fmla="*/ 164950 w 221382"/>
                <a:gd name="connsiteY13" fmla="*/ 38731 h 253349"/>
                <a:gd name="connsiteX14" fmla="*/ 111638 w 221382"/>
                <a:gd name="connsiteY14" fmla="*/ 126218 h 253349"/>
                <a:gd name="connsiteX15" fmla="*/ 111638 w 221382"/>
                <a:gd name="connsiteY15" fmla="*/ 191383 h 253349"/>
                <a:gd name="connsiteX16" fmla="*/ 84096 w 221382"/>
                <a:gd name="connsiteY16" fmla="*/ 231117 h 253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1382" h="253349">
                  <a:moveTo>
                    <a:pt x="51490" y="253349"/>
                  </a:moveTo>
                  <a:lnTo>
                    <a:pt x="51490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104803" y="0"/>
                  </a:lnTo>
                  <a:lnTo>
                    <a:pt x="104802" y="73817"/>
                  </a:lnTo>
                  <a:lnTo>
                    <a:pt x="106169" y="73817"/>
                  </a:lnTo>
                  <a:cubicBezTo>
                    <a:pt x="120751" y="30529"/>
                    <a:pt x="132142" y="13670"/>
                    <a:pt x="154014" y="4556"/>
                  </a:cubicBezTo>
                  <a:lnTo>
                    <a:pt x="174650" y="668"/>
                  </a:lnTo>
                  <a:lnTo>
                    <a:pt x="214075" y="27996"/>
                  </a:lnTo>
                  <a:lnTo>
                    <a:pt x="221382" y="33060"/>
                  </a:lnTo>
                  <a:lnTo>
                    <a:pt x="195540" y="70341"/>
                  </a:lnTo>
                  <a:lnTo>
                    <a:pt x="189157" y="50236"/>
                  </a:lnTo>
                  <a:cubicBezTo>
                    <a:pt x="183177" y="42946"/>
                    <a:pt x="174747" y="38731"/>
                    <a:pt x="164950" y="38731"/>
                  </a:cubicBezTo>
                  <a:cubicBezTo>
                    <a:pt x="135788" y="38731"/>
                    <a:pt x="111638" y="77463"/>
                    <a:pt x="111638" y="126218"/>
                  </a:cubicBezTo>
                  <a:lnTo>
                    <a:pt x="111638" y="191383"/>
                  </a:lnTo>
                  <a:lnTo>
                    <a:pt x="84096" y="2311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2" name="Forme libre : forme 2691">
              <a:extLst>
                <a:ext uri="{FF2B5EF4-FFF2-40B4-BE49-F238E27FC236}">
                  <a16:creationId xmlns:a16="http://schemas.microsoft.com/office/drawing/2014/main" id="{8E8AC4EC-3332-4FDC-A396-BF01CCE8866D}"/>
                </a:ext>
              </a:extLst>
            </p:cNvPr>
            <p:cNvSpPr/>
            <p:nvPr/>
          </p:nvSpPr>
          <p:spPr>
            <a:xfrm rot="8716295">
              <a:off x="93318" y="46120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3" name="Forme libre : forme 2692">
              <a:extLst>
                <a:ext uri="{FF2B5EF4-FFF2-40B4-BE49-F238E27FC236}">
                  <a16:creationId xmlns:a16="http://schemas.microsoft.com/office/drawing/2014/main" id="{C4232B1B-4805-4D83-80AE-47B7546367B0}"/>
                </a:ext>
              </a:extLst>
            </p:cNvPr>
            <p:cNvSpPr/>
            <p:nvPr/>
          </p:nvSpPr>
          <p:spPr>
            <a:xfrm rot="8716295">
              <a:off x="182710" y="46412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4" name="Forme libre : forme 2693">
              <a:extLst>
                <a:ext uri="{FF2B5EF4-FFF2-40B4-BE49-F238E27FC236}">
                  <a16:creationId xmlns:a16="http://schemas.microsoft.com/office/drawing/2014/main" id="{952CFAFD-A1C3-49BC-88A4-2A9560CFFDDC}"/>
                </a:ext>
              </a:extLst>
            </p:cNvPr>
            <p:cNvSpPr/>
            <p:nvPr/>
          </p:nvSpPr>
          <p:spPr>
            <a:xfrm rot="8716295">
              <a:off x="-14524" y="4699631"/>
              <a:ext cx="49997" cy="54238"/>
            </a:xfrm>
            <a:custGeom>
              <a:avLst/>
              <a:gdLst>
                <a:gd name="connsiteX0" fmla="*/ 8658 w 49997"/>
                <a:gd name="connsiteY0" fmla="*/ 50123 h 54238"/>
                <a:gd name="connsiteX1" fmla="*/ 0 w 49997"/>
                <a:gd name="connsiteY1" fmla="*/ 29619 h 54238"/>
                <a:gd name="connsiteX2" fmla="*/ 0 w 49997"/>
                <a:gd name="connsiteY2" fmla="*/ 29162 h 54238"/>
                <a:gd name="connsiteX3" fmla="*/ 8658 w 49997"/>
                <a:gd name="connsiteY3" fmla="*/ 8658 h 54238"/>
                <a:gd name="connsiteX4" fmla="*/ 29163 w 49997"/>
                <a:gd name="connsiteY4" fmla="*/ 0 h 54238"/>
                <a:gd name="connsiteX5" fmla="*/ 49668 w 49997"/>
                <a:gd name="connsiteY5" fmla="*/ 8658 h 54238"/>
                <a:gd name="connsiteX6" fmla="*/ 49997 w 49997"/>
                <a:gd name="connsiteY6" fmla="*/ 9441 h 54238"/>
                <a:gd name="connsiteX7" fmla="*/ 18945 w 49997"/>
                <a:gd name="connsiteY7" fmla="*/ 54238 h 54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997" h="54238">
                  <a:moveTo>
                    <a:pt x="8658" y="50123"/>
                  </a:moveTo>
                  <a:cubicBezTo>
                    <a:pt x="3190" y="44655"/>
                    <a:pt x="0" y="37365"/>
                    <a:pt x="0" y="29619"/>
                  </a:cubicBezTo>
                  <a:lnTo>
                    <a:pt x="0" y="29162"/>
                  </a:lnTo>
                  <a:cubicBezTo>
                    <a:pt x="0" y="21417"/>
                    <a:pt x="3190" y="14126"/>
                    <a:pt x="8658" y="8658"/>
                  </a:cubicBezTo>
                  <a:cubicBezTo>
                    <a:pt x="14126" y="3190"/>
                    <a:pt x="21416" y="0"/>
                    <a:pt x="29163" y="0"/>
                  </a:cubicBezTo>
                  <a:cubicBezTo>
                    <a:pt x="36909" y="0"/>
                    <a:pt x="44200" y="3190"/>
                    <a:pt x="49668" y="8658"/>
                  </a:cubicBezTo>
                  <a:lnTo>
                    <a:pt x="49997" y="9441"/>
                  </a:lnTo>
                  <a:lnTo>
                    <a:pt x="18945" y="54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5" name="Forme libre : forme 2694">
              <a:extLst>
                <a:ext uri="{FF2B5EF4-FFF2-40B4-BE49-F238E27FC236}">
                  <a16:creationId xmlns:a16="http://schemas.microsoft.com/office/drawing/2014/main" id="{3FE0366B-AD9E-4FF0-B101-FF640F463910}"/>
                </a:ext>
              </a:extLst>
            </p:cNvPr>
            <p:cNvSpPr/>
            <p:nvPr/>
          </p:nvSpPr>
          <p:spPr>
            <a:xfrm rot="8716295">
              <a:off x="-30327" y="4579755"/>
              <a:ext cx="113346" cy="71024"/>
            </a:xfrm>
            <a:custGeom>
              <a:avLst/>
              <a:gdLst>
                <a:gd name="connsiteX0" fmla="*/ 0 w 113346"/>
                <a:gd name="connsiteY0" fmla="*/ 55323 h 71024"/>
                <a:gd name="connsiteX1" fmla="*/ 0 w 113346"/>
                <a:gd name="connsiteY1" fmla="*/ 0 h 71024"/>
                <a:gd name="connsiteX2" fmla="*/ 113346 w 113346"/>
                <a:gd name="connsiteY2" fmla="*/ 0 h 71024"/>
                <a:gd name="connsiteX3" fmla="*/ 64114 w 113346"/>
                <a:gd name="connsiteY3" fmla="*/ 71024 h 71024"/>
                <a:gd name="connsiteX4" fmla="*/ 69777 w 113346"/>
                <a:gd name="connsiteY4" fmla="*/ 55323 h 7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346" h="71024">
                  <a:moveTo>
                    <a:pt x="0" y="55323"/>
                  </a:moveTo>
                  <a:lnTo>
                    <a:pt x="0" y="0"/>
                  </a:lnTo>
                  <a:lnTo>
                    <a:pt x="113346" y="0"/>
                  </a:lnTo>
                  <a:lnTo>
                    <a:pt x="64114" y="71024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6" name="Forme libre : forme 2695">
              <a:extLst>
                <a:ext uri="{FF2B5EF4-FFF2-40B4-BE49-F238E27FC236}">
                  <a16:creationId xmlns:a16="http://schemas.microsoft.com/office/drawing/2014/main" id="{462792DD-6AEC-43AE-AA23-31A7407E7186}"/>
                </a:ext>
              </a:extLst>
            </p:cNvPr>
            <p:cNvSpPr/>
            <p:nvPr/>
          </p:nvSpPr>
          <p:spPr>
            <a:xfrm rot="8716295">
              <a:off x="71262" y="47415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7" name="Forme libre : forme 2696">
              <a:extLst>
                <a:ext uri="{FF2B5EF4-FFF2-40B4-BE49-F238E27FC236}">
                  <a16:creationId xmlns:a16="http://schemas.microsoft.com/office/drawing/2014/main" id="{C223BB14-96CC-4B4E-BEF2-7DC15D49AC68}"/>
                </a:ext>
              </a:extLst>
            </p:cNvPr>
            <p:cNvSpPr/>
            <p:nvPr/>
          </p:nvSpPr>
          <p:spPr>
            <a:xfrm rot="7484129">
              <a:off x="172059" y="493353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170341 w 203847"/>
                <a:gd name="connsiteY5" fmla="*/ 0 h 195874"/>
                <a:gd name="connsiteX6" fmla="*/ 203847 w 203847"/>
                <a:gd name="connsiteY6" fmla="*/ 48325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170341" y="0"/>
                  </a:lnTo>
                  <a:lnTo>
                    <a:pt x="203847" y="48325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8" name="Forme libre : forme 2697">
              <a:extLst>
                <a:ext uri="{FF2B5EF4-FFF2-40B4-BE49-F238E27FC236}">
                  <a16:creationId xmlns:a16="http://schemas.microsoft.com/office/drawing/2014/main" id="{9105CD85-AB3C-4846-B6A4-83422B072A6F}"/>
                </a:ext>
              </a:extLst>
            </p:cNvPr>
            <p:cNvSpPr/>
            <p:nvPr/>
          </p:nvSpPr>
          <p:spPr>
            <a:xfrm rot="13089394">
              <a:off x="313263" y="4907079"/>
              <a:ext cx="272584" cy="221720"/>
            </a:xfrm>
            <a:custGeom>
              <a:avLst/>
              <a:gdLst>
                <a:gd name="connsiteX0" fmla="*/ 272584 w 272584"/>
                <a:gd name="connsiteY0" fmla="*/ 150928 h 221720"/>
                <a:gd name="connsiteX1" fmla="*/ 91597 w 272584"/>
                <a:gd name="connsiteY1" fmla="*/ 221557 h 221720"/>
                <a:gd name="connsiteX2" fmla="*/ 23727 w 272584"/>
                <a:gd name="connsiteY2" fmla="*/ 193967 h 221720"/>
                <a:gd name="connsiteX3" fmla="*/ 0 w 272584"/>
                <a:gd name="connsiteY3" fmla="*/ 99060 h 221720"/>
                <a:gd name="connsiteX4" fmla="*/ 0 w 272584"/>
                <a:gd name="connsiteY4" fmla="*/ 58265 h 221720"/>
                <a:gd name="connsiteX5" fmla="*/ 74157 w 272584"/>
                <a:gd name="connsiteY5" fmla="*/ 0 h 221720"/>
                <a:gd name="connsiteX6" fmla="*/ 74492 w 272584"/>
                <a:gd name="connsiteY6" fmla="*/ 46640 h 221720"/>
                <a:gd name="connsiteX7" fmla="*/ 87734 w 272584"/>
                <a:gd name="connsiteY7" fmla="*/ 138237 h 221720"/>
                <a:gd name="connsiteX8" fmla="*/ 153949 w 272584"/>
                <a:gd name="connsiteY8" fmla="*/ 174655 h 221720"/>
                <a:gd name="connsiteX9" fmla="*/ 203610 w 272584"/>
                <a:gd name="connsiteY9" fmla="*/ 165826 h 221720"/>
                <a:gd name="connsiteX10" fmla="*/ 271480 w 272584"/>
                <a:gd name="connsiteY10" fmla="*/ 138237 h 221720"/>
                <a:gd name="connsiteX11" fmla="*/ 272584 w 272584"/>
                <a:gd name="connsiteY11" fmla="*/ 145410 h 22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2584" h="221720">
                  <a:moveTo>
                    <a:pt x="272584" y="150928"/>
                  </a:moveTo>
                  <a:cubicBezTo>
                    <a:pt x="214094" y="201141"/>
                    <a:pt x="137395" y="218798"/>
                    <a:pt x="91597" y="221557"/>
                  </a:cubicBezTo>
                  <a:cubicBezTo>
                    <a:pt x="66215" y="223213"/>
                    <a:pt x="41384" y="212177"/>
                    <a:pt x="23727" y="193967"/>
                  </a:cubicBezTo>
                  <a:cubicBezTo>
                    <a:pt x="4966" y="175759"/>
                    <a:pt x="0" y="144306"/>
                    <a:pt x="0" y="99060"/>
                  </a:cubicBezTo>
                  <a:lnTo>
                    <a:pt x="0" y="58265"/>
                  </a:lnTo>
                  <a:lnTo>
                    <a:pt x="74157" y="0"/>
                  </a:lnTo>
                  <a:lnTo>
                    <a:pt x="74492" y="46640"/>
                  </a:lnTo>
                  <a:cubicBezTo>
                    <a:pt x="72836" y="77540"/>
                    <a:pt x="77802" y="108992"/>
                    <a:pt x="87734" y="138237"/>
                  </a:cubicBezTo>
                  <a:cubicBezTo>
                    <a:pt x="96563" y="162515"/>
                    <a:pt x="119186" y="174655"/>
                    <a:pt x="153949" y="174655"/>
                  </a:cubicBezTo>
                  <a:cubicBezTo>
                    <a:pt x="171055" y="174103"/>
                    <a:pt x="187608" y="170792"/>
                    <a:pt x="203610" y="165826"/>
                  </a:cubicBezTo>
                  <a:cubicBezTo>
                    <a:pt x="226785" y="158653"/>
                    <a:pt x="249409" y="149273"/>
                    <a:pt x="271480" y="138237"/>
                  </a:cubicBezTo>
                  <a:cubicBezTo>
                    <a:pt x="272032" y="140444"/>
                    <a:pt x="272584" y="143203"/>
                    <a:pt x="272584" y="1454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9" name="Forme libre : forme 2698">
              <a:extLst>
                <a:ext uri="{FF2B5EF4-FFF2-40B4-BE49-F238E27FC236}">
                  <a16:creationId xmlns:a16="http://schemas.microsoft.com/office/drawing/2014/main" id="{04F7B0B6-4F3C-463B-AFC6-7617C958C986}"/>
                </a:ext>
              </a:extLst>
            </p:cNvPr>
            <p:cNvSpPr/>
            <p:nvPr/>
          </p:nvSpPr>
          <p:spPr>
            <a:xfrm rot="8716295">
              <a:off x="466598" y="470771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00" name="Forme libre : forme 2699">
              <a:extLst>
                <a:ext uri="{FF2B5EF4-FFF2-40B4-BE49-F238E27FC236}">
                  <a16:creationId xmlns:a16="http://schemas.microsoft.com/office/drawing/2014/main" id="{9EAECEBF-102E-44C3-A49C-9E40F5D97CD7}"/>
                </a:ext>
              </a:extLst>
            </p:cNvPr>
            <p:cNvSpPr/>
            <p:nvPr/>
          </p:nvSpPr>
          <p:spPr>
            <a:xfrm rot="8716295">
              <a:off x="414793" y="460412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01" name="Forme libre : forme 2700">
              <a:extLst>
                <a:ext uri="{FF2B5EF4-FFF2-40B4-BE49-F238E27FC236}">
                  <a16:creationId xmlns:a16="http://schemas.microsoft.com/office/drawing/2014/main" id="{D86C9B04-A48F-43C5-818F-0682D918E935}"/>
                </a:ext>
              </a:extLst>
            </p:cNvPr>
            <p:cNvSpPr/>
            <p:nvPr/>
          </p:nvSpPr>
          <p:spPr>
            <a:xfrm rot="8716295">
              <a:off x="171547" y="46343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02" name="Forme libre : forme 2701">
              <a:extLst>
                <a:ext uri="{FF2B5EF4-FFF2-40B4-BE49-F238E27FC236}">
                  <a16:creationId xmlns:a16="http://schemas.microsoft.com/office/drawing/2014/main" id="{B50A5EA0-94C0-49DF-B3B3-0598110E9D36}"/>
                </a:ext>
              </a:extLst>
            </p:cNvPr>
            <p:cNvSpPr/>
            <p:nvPr/>
          </p:nvSpPr>
          <p:spPr>
            <a:xfrm rot="8716295">
              <a:off x="348999" y="44751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2703" name="Forme libre : forme 2702">
            <a:extLst>
              <a:ext uri="{FF2B5EF4-FFF2-40B4-BE49-F238E27FC236}">
                <a16:creationId xmlns:a16="http://schemas.microsoft.com/office/drawing/2014/main" id="{E408E4A5-CB62-44EA-BFB2-5C8080ABA866}"/>
              </a:ext>
            </a:extLst>
          </p:cNvPr>
          <p:cNvSpPr/>
          <p:nvPr userDrawn="1"/>
        </p:nvSpPr>
        <p:spPr>
          <a:xfrm>
            <a:off x="5658098" y="0"/>
            <a:ext cx="3485902" cy="5143500"/>
          </a:xfrm>
          <a:custGeom>
            <a:avLst/>
            <a:gdLst>
              <a:gd name="connsiteX0" fmla="*/ 437902 w 3485902"/>
              <a:gd name="connsiteY0" fmla="*/ 0 h 5143500"/>
              <a:gd name="connsiteX1" fmla="*/ 3485902 w 3485902"/>
              <a:gd name="connsiteY1" fmla="*/ 0 h 5143500"/>
              <a:gd name="connsiteX2" fmla="*/ 3485902 w 3485902"/>
              <a:gd name="connsiteY2" fmla="*/ 5143500 h 5143500"/>
              <a:gd name="connsiteX3" fmla="*/ 437902 w 3485902"/>
              <a:gd name="connsiteY3" fmla="*/ 5143500 h 5143500"/>
              <a:gd name="connsiteX4" fmla="*/ 0 w 3485902"/>
              <a:gd name="connsiteY4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85902" h="5143500">
                <a:moveTo>
                  <a:pt x="437902" y="0"/>
                </a:moveTo>
                <a:lnTo>
                  <a:pt x="3485902" y="0"/>
                </a:lnTo>
                <a:lnTo>
                  <a:pt x="3485902" y="5143500"/>
                </a:lnTo>
                <a:lnTo>
                  <a:pt x="437902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416" name="Triangle isocèle 1415">
            <a:extLst>
              <a:ext uri="{FF2B5EF4-FFF2-40B4-BE49-F238E27FC236}">
                <a16:creationId xmlns:a16="http://schemas.microsoft.com/office/drawing/2014/main" id="{AD7C94CF-E2EE-4D3E-8ABC-2B739EE56084}"/>
              </a:ext>
            </a:extLst>
          </p:cNvPr>
          <p:cNvSpPr/>
          <p:nvPr userDrawn="1"/>
        </p:nvSpPr>
        <p:spPr>
          <a:xfrm flipH="1" flipV="1">
            <a:off x="5860799" y="-4"/>
            <a:ext cx="697074" cy="2733677"/>
          </a:xfrm>
          <a:prstGeom prst="triangle">
            <a:avLst>
              <a:gd name="adj" fmla="val 98181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412" name="Espace réservé du texte 1411">
            <a:extLst>
              <a:ext uri="{FF2B5EF4-FFF2-40B4-BE49-F238E27FC236}">
                <a16:creationId xmlns:a16="http://schemas.microsoft.com/office/drawing/2014/main" id="{B975A26C-84FD-4C11-BF53-E602FA68DDC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9920" y="812296"/>
            <a:ext cx="36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1413" name="Espace réservé du texte 1412">
            <a:extLst>
              <a:ext uri="{FF2B5EF4-FFF2-40B4-BE49-F238E27FC236}">
                <a16:creationId xmlns:a16="http://schemas.microsoft.com/office/drawing/2014/main" id="{1F3E6244-BF30-44B9-B6F9-BF4959AA80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29920" y="812296"/>
            <a:ext cx="36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1414" name="Titre 1413">
            <a:extLst>
              <a:ext uri="{FF2B5EF4-FFF2-40B4-BE49-F238E27FC236}">
                <a16:creationId xmlns:a16="http://schemas.microsoft.com/office/drawing/2014/main" id="{7B15E4E4-6E7E-48BC-92A9-631F532CE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5123" y="333575"/>
            <a:ext cx="4278481" cy="4247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Titre de la slide</a:t>
            </a:r>
          </a:p>
        </p:txBody>
      </p:sp>
      <p:sp>
        <p:nvSpPr>
          <p:cNvPr id="2704" name="Espace réservé du texte 527">
            <a:extLst>
              <a:ext uri="{FF2B5EF4-FFF2-40B4-BE49-F238E27FC236}">
                <a16:creationId xmlns:a16="http://schemas.microsoft.com/office/drawing/2014/main" id="{CC11CCEC-9F44-4765-82D5-95394B68963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57797" y="4265959"/>
            <a:ext cx="972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2705" name="Espace réservé du texte 528">
            <a:extLst>
              <a:ext uri="{FF2B5EF4-FFF2-40B4-BE49-F238E27FC236}">
                <a16:creationId xmlns:a16="http://schemas.microsoft.com/office/drawing/2014/main" id="{7747CF4E-5B84-4DE3-88F9-EC35BF6D450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527881" y="4265959"/>
            <a:ext cx="972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rgbClr val="3A1B0B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2706" name="Espace réservé du texte 530">
            <a:extLst>
              <a:ext uri="{FF2B5EF4-FFF2-40B4-BE49-F238E27FC236}">
                <a16:creationId xmlns:a16="http://schemas.microsoft.com/office/drawing/2014/main" id="{CCE21332-A8BF-4D34-9256-DD4FFF00788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44353" y="491319"/>
            <a:ext cx="2190214" cy="3455711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100" b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Niveau 2</a:t>
            </a:r>
          </a:p>
        </p:txBody>
      </p:sp>
      <p:sp>
        <p:nvSpPr>
          <p:cNvPr id="905" name="Espace réservé du numéro de diapositive 904">
            <a:extLst>
              <a:ext uri="{FF2B5EF4-FFF2-40B4-BE49-F238E27FC236}">
                <a16:creationId xmlns:a16="http://schemas.microsoft.com/office/drawing/2014/main" id="{8E169AA1-F9FA-4AA9-8089-1E02EB58967C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5500800" y="2"/>
            <a:ext cx="594090" cy="2665951"/>
          </a:xfrm>
          <a:custGeom>
            <a:avLst/>
            <a:gdLst>
              <a:gd name="connsiteX0" fmla="*/ 0 w 594090"/>
              <a:gd name="connsiteY0" fmla="*/ 0 h 2665951"/>
              <a:gd name="connsiteX1" fmla="*/ 594090 w 594090"/>
              <a:gd name="connsiteY1" fmla="*/ 0 h 2665951"/>
              <a:gd name="connsiteX2" fmla="*/ 367119 w 594090"/>
              <a:gd name="connsiteY2" fmla="*/ 2665951 h 2665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94090" h="2665951">
                <a:moveTo>
                  <a:pt x="0" y="0"/>
                </a:moveTo>
                <a:lnTo>
                  <a:pt x="594090" y="0"/>
                </a:lnTo>
                <a:lnTo>
                  <a:pt x="367119" y="2665951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180000" rIns="0" bIns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860586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clair + Texte">
    <p:bg>
      <p:bgPr>
        <a:solidFill>
          <a:srgbClr val="009F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6" name="Groupe 905">
            <a:extLst>
              <a:ext uri="{FF2B5EF4-FFF2-40B4-BE49-F238E27FC236}">
                <a16:creationId xmlns:a16="http://schemas.microsoft.com/office/drawing/2014/main" id="{262DD600-3D98-450E-9C13-1ED3731F0C57}"/>
              </a:ext>
            </a:extLst>
          </p:cNvPr>
          <p:cNvGrpSpPr/>
          <p:nvPr userDrawn="1"/>
        </p:nvGrpSpPr>
        <p:grpSpPr>
          <a:xfrm>
            <a:off x="5646189" y="-56618"/>
            <a:ext cx="3577789" cy="5281077"/>
            <a:chOff x="5646189" y="-56618"/>
            <a:chExt cx="3577789" cy="5281077"/>
          </a:xfrm>
          <a:solidFill>
            <a:schemeClr val="bg2">
              <a:alpha val="5000"/>
            </a:schemeClr>
          </a:solidFill>
        </p:grpSpPr>
        <p:sp>
          <p:nvSpPr>
            <p:cNvPr id="907" name="Forme libre : forme 906">
              <a:extLst>
                <a:ext uri="{FF2B5EF4-FFF2-40B4-BE49-F238E27FC236}">
                  <a16:creationId xmlns:a16="http://schemas.microsoft.com/office/drawing/2014/main" id="{316F36C1-A141-4E61-9E83-EFDA32C46FDD}"/>
                </a:ext>
              </a:extLst>
            </p:cNvPr>
            <p:cNvSpPr/>
            <p:nvPr/>
          </p:nvSpPr>
          <p:spPr>
            <a:xfrm rot="8716295">
              <a:off x="5849244" y="2601866"/>
              <a:ext cx="81391" cy="44199"/>
            </a:xfrm>
            <a:custGeom>
              <a:avLst/>
              <a:gdLst>
                <a:gd name="connsiteX0" fmla="*/ 0 w 81391"/>
                <a:gd name="connsiteY0" fmla="*/ 44199 h 44199"/>
                <a:gd name="connsiteX1" fmla="*/ 0 w 81391"/>
                <a:gd name="connsiteY1" fmla="*/ 0 h 44199"/>
                <a:gd name="connsiteX2" fmla="*/ 81391 w 81391"/>
                <a:gd name="connsiteY2" fmla="*/ 0 h 44199"/>
                <a:gd name="connsiteX3" fmla="*/ 44834 w 81391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1391" h="44199">
                  <a:moveTo>
                    <a:pt x="0" y="44199"/>
                  </a:moveTo>
                  <a:lnTo>
                    <a:pt x="0" y="0"/>
                  </a:lnTo>
                  <a:lnTo>
                    <a:pt x="81391" y="0"/>
                  </a:lnTo>
                  <a:lnTo>
                    <a:pt x="44834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8" name="Forme libre : forme 907">
              <a:extLst>
                <a:ext uri="{FF2B5EF4-FFF2-40B4-BE49-F238E27FC236}">
                  <a16:creationId xmlns:a16="http://schemas.microsoft.com/office/drawing/2014/main" id="{3C10A908-8704-4ED3-B0DC-1D82C51CB83F}"/>
                </a:ext>
              </a:extLst>
            </p:cNvPr>
            <p:cNvSpPr/>
            <p:nvPr/>
          </p:nvSpPr>
          <p:spPr>
            <a:xfrm rot="13089394">
              <a:off x="5767060" y="2734286"/>
              <a:ext cx="230958" cy="317148"/>
            </a:xfrm>
            <a:custGeom>
              <a:avLst/>
              <a:gdLst>
                <a:gd name="connsiteX0" fmla="*/ 230958 w 230958"/>
                <a:gd name="connsiteY0" fmla="*/ 274842 h 317148"/>
                <a:gd name="connsiteX1" fmla="*/ 226070 w 230958"/>
                <a:gd name="connsiteY1" fmla="*/ 278187 h 317148"/>
                <a:gd name="connsiteX2" fmla="*/ 91597 w 230958"/>
                <a:gd name="connsiteY2" fmla="*/ 316985 h 317148"/>
                <a:gd name="connsiteX3" fmla="*/ 23727 w 230958"/>
                <a:gd name="connsiteY3" fmla="*/ 289395 h 317148"/>
                <a:gd name="connsiteX4" fmla="*/ 0 w 230958"/>
                <a:gd name="connsiteY4" fmla="*/ 194488 h 317148"/>
                <a:gd name="connsiteX5" fmla="*/ 0 w 230958"/>
                <a:gd name="connsiteY5" fmla="*/ 26192 h 317148"/>
                <a:gd name="connsiteX6" fmla="*/ 50486 w 230958"/>
                <a:gd name="connsiteY6" fmla="*/ 0 h 317148"/>
                <a:gd name="connsiteX7" fmla="*/ 73727 w 230958"/>
                <a:gd name="connsiteY7" fmla="*/ 35393 h 317148"/>
                <a:gd name="connsiteX8" fmla="*/ 74492 w 230958"/>
                <a:gd name="connsiteY8" fmla="*/ 142068 h 317148"/>
                <a:gd name="connsiteX9" fmla="*/ 87734 w 230958"/>
                <a:gd name="connsiteY9" fmla="*/ 233665 h 317148"/>
                <a:gd name="connsiteX10" fmla="*/ 153949 w 230958"/>
                <a:gd name="connsiteY10" fmla="*/ 270083 h 317148"/>
                <a:gd name="connsiteX11" fmla="*/ 203610 w 230958"/>
                <a:gd name="connsiteY11" fmla="*/ 261254 h 317148"/>
                <a:gd name="connsiteX12" fmla="*/ 218153 w 230958"/>
                <a:gd name="connsiteY12" fmla="*/ 255342 h 317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0958" h="317148">
                  <a:moveTo>
                    <a:pt x="230958" y="274842"/>
                  </a:moveTo>
                  <a:lnTo>
                    <a:pt x="226070" y="278187"/>
                  </a:lnTo>
                  <a:cubicBezTo>
                    <a:pt x="177676" y="304466"/>
                    <a:pt x="125946" y="314915"/>
                    <a:pt x="91597" y="316985"/>
                  </a:cubicBezTo>
                  <a:cubicBezTo>
                    <a:pt x="66215" y="318640"/>
                    <a:pt x="41385" y="307605"/>
                    <a:pt x="23727" y="289395"/>
                  </a:cubicBezTo>
                  <a:cubicBezTo>
                    <a:pt x="4966" y="271187"/>
                    <a:pt x="0" y="239734"/>
                    <a:pt x="0" y="194488"/>
                  </a:cubicBezTo>
                  <a:lnTo>
                    <a:pt x="0" y="26192"/>
                  </a:lnTo>
                  <a:lnTo>
                    <a:pt x="50486" y="0"/>
                  </a:lnTo>
                  <a:lnTo>
                    <a:pt x="73727" y="35393"/>
                  </a:lnTo>
                  <a:lnTo>
                    <a:pt x="74492" y="142068"/>
                  </a:lnTo>
                  <a:cubicBezTo>
                    <a:pt x="72836" y="172968"/>
                    <a:pt x="77802" y="204420"/>
                    <a:pt x="87734" y="233665"/>
                  </a:cubicBezTo>
                  <a:cubicBezTo>
                    <a:pt x="96564" y="257944"/>
                    <a:pt x="119186" y="270083"/>
                    <a:pt x="153949" y="270083"/>
                  </a:cubicBezTo>
                  <a:cubicBezTo>
                    <a:pt x="171055" y="269531"/>
                    <a:pt x="187608" y="266220"/>
                    <a:pt x="203610" y="261254"/>
                  </a:cubicBezTo>
                  <a:lnTo>
                    <a:pt x="218153" y="2553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9" name="Forme libre : forme 908">
              <a:extLst>
                <a:ext uri="{FF2B5EF4-FFF2-40B4-BE49-F238E27FC236}">
                  <a16:creationId xmlns:a16="http://schemas.microsoft.com/office/drawing/2014/main" id="{A199C0B0-5C8A-45B3-BBDF-121576C18A1E}"/>
                </a:ext>
              </a:extLst>
            </p:cNvPr>
            <p:cNvSpPr/>
            <p:nvPr/>
          </p:nvSpPr>
          <p:spPr>
            <a:xfrm rot="8716295">
              <a:off x="5912695" y="253226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0" name="Forme libre : forme 909">
              <a:extLst>
                <a:ext uri="{FF2B5EF4-FFF2-40B4-BE49-F238E27FC236}">
                  <a16:creationId xmlns:a16="http://schemas.microsoft.com/office/drawing/2014/main" id="{674F96B3-B4CB-4FDB-8233-AF794BDAABA3}"/>
                </a:ext>
              </a:extLst>
            </p:cNvPr>
            <p:cNvSpPr/>
            <p:nvPr/>
          </p:nvSpPr>
          <p:spPr>
            <a:xfrm rot="8716295">
              <a:off x="5857614" y="2424677"/>
              <a:ext cx="112409" cy="115397"/>
            </a:xfrm>
            <a:custGeom>
              <a:avLst/>
              <a:gdLst>
                <a:gd name="connsiteX0" fmla="*/ 17477 w 112409"/>
                <a:gd name="connsiteY0" fmla="*/ 101182 h 115397"/>
                <a:gd name="connsiteX1" fmla="*/ 0 w 112409"/>
                <a:gd name="connsiteY1" fmla="*/ 59790 h 115397"/>
                <a:gd name="connsiteX2" fmla="*/ 0 w 112409"/>
                <a:gd name="connsiteY2" fmla="*/ 58869 h 115397"/>
                <a:gd name="connsiteX3" fmla="*/ 17477 w 112409"/>
                <a:gd name="connsiteY3" fmla="*/ 17477 h 115397"/>
                <a:gd name="connsiteX4" fmla="*/ 58869 w 112409"/>
                <a:gd name="connsiteY4" fmla="*/ 0 h 115397"/>
                <a:gd name="connsiteX5" fmla="*/ 100263 w 112409"/>
                <a:gd name="connsiteY5" fmla="*/ 17477 h 115397"/>
                <a:gd name="connsiteX6" fmla="*/ 112409 w 112409"/>
                <a:gd name="connsiteY6" fmla="*/ 35332 h 115397"/>
                <a:gd name="connsiteX7" fmla="*/ 46186 w 112409"/>
                <a:gd name="connsiteY7" fmla="*/ 115397 h 115397"/>
                <a:gd name="connsiteX8" fmla="*/ 36449 w 112409"/>
                <a:gd name="connsiteY8" fmla="*/ 113599 h 115397"/>
                <a:gd name="connsiteX9" fmla="*/ 17477 w 112409"/>
                <a:gd name="connsiteY9" fmla="*/ 101182 h 11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2409" h="115397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2" y="0"/>
                    <a:pt x="58869" y="0"/>
                  </a:cubicBezTo>
                  <a:cubicBezTo>
                    <a:pt x="74507" y="0"/>
                    <a:pt x="89224" y="6439"/>
                    <a:pt x="100263" y="17477"/>
                  </a:cubicBezTo>
                  <a:lnTo>
                    <a:pt x="112409" y="35332"/>
                  </a:lnTo>
                  <a:lnTo>
                    <a:pt x="46186" y="115397"/>
                  </a:lnTo>
                  <a:lnTo>
                    <a:pt x="36449" y="113599"/>
                  </a:lnTo>
                  <a:cubicBezTo>
                    <a:pt x="29435" y="110840"/>
                    <a:pt x="22996" y="106701"/>
                    <a:pt x="17477" y="10118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1" name="Forme libre : forme 910">
              <a:extLst>
                <a:ext uri="{FF2B5EF4-FFF2-40B4-BE49-F238E27FC236}">
                  <a16:creationId xmlns:a16="http://schemas.microsoft.com/office/drawing/2014/main" id="{3DE21975-F28E-4032-8E60-B5D4D4B87EE5}"/>
                </a:ext>
              </a:extLst>
            </p:cNvPr>
            <p:cNvSpPr/>
            <p:nvPr/>
          </p:nvSpPr>
          <p:spPr>
            <a:xfrm rot="8716295">
              <a:off x="5881807" y="2341768"/>
              <a:ext cx="26879" cy="32498"/>
            </a:xfrm>
            <a:custGeom>
              <a:avLst/>
              <a:gdLst>
                <a:gd name="connsiteX0" fmla="*/ 0 w 26879"/>
                <a:gd name="connsiteY0" fmla="*/ 32498 h 32498"/>
                <a:gd name="connsiteX1" fmla="*/ 10867 w 26879"/>
                <a:gd name="connsiteY1" fmla="*/ 6761 h 32498"/>
                <a:gd name="connsiteX2" fmla="*/ 26879 w 26879"/>
                <a:gd name="connsiteY2" fmla="*/ 0 h 32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879" h="32498">
                  <a:moveTo>
                    <a:pt x="0" y="32498"/>
                  </a:moveTo>
                  <a:lnTo>
                    <a:pt x="10867" y="6761"/>
                  </a:lnTo>
                  <a:lnTo>
                    <a:pt x="26879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2" name="Forme libre : forme 911">
              <a:extLst>
                <a:ext uri="{FF2B5EF4-FFF2-40B4-BE49-F238E27FC236}">
                  <a16:creationId xmlns:a16="http://schemas.microsoft.com/office/drawing/2014/main" id="{9764F5B5-C912-4DBF-84E2-7421124A4791}"/>
                </a:ext>
              </a:extLst>
            </p:cNvPr>
            <p:cNvSpPr/>
            <p:nvPr/>
          </p:nvSpPr>
          <p:spPr>
            <a:xfrm rot="8716295">
              <a:off x="5913671" y="466578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3" name="Forme libre : forme 912">
              <a:extLst>
                <a:ext uri="{FF2B5EF4-FFF2-40B4-BE49-F238E27FC236}">
                  <a16:creationId xmlns:a16="http://schemas.microsoft.com/office/drawing/2014/main" id="{28FBA634-B173-4807-AF78-C3BE0198B5A0}"/>
                </a:ext>
              </a:extLst>
            </p:cNvPr>
            <p:cNvSpPr/>
            <p:nvPr/>
          </p:nvSpPr>
          <p:spPr>
            <a:xfrm rot="8716295">
              <a:off x="6003063" y="469502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4" name="Forme libre : forme 913">
              <a:extLst>
                <a:ext uri="{FF2B5EF4-FFF2-40B4-BE49-F238E27FC236}">
                  <a16:creationId xmlns:a16="http://schemas.microsoft.com/office/drawing/2014/main" id="{D8555892-46F5-4C26-887B-701A898C715E}"/>
                </a:ext>
              </a:extLst>
            </p:cNvPr>
            <p:cNvSpPr/>
            <p:nvPr/>
          </p:nvSpPr>
          <p:spPr>
            <a:xfrm rot="8716295">
              <a:off x="5958213" y="460874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5" name="Forme libre : forme 914">
              <a:extLst>
                <a:ext uri="{FF2B5EF4-FFF2-40B4-BE49-F238E27FC236}">
                  <a16:creationId xmlns:a16="http://schemas.microsoft.com/office/drawing/2014/main" id="{681D1B8C-10AD-42F0-942E-CC687ED23676}"/>
                </a:ext>
              </a:extLst>
            </p:cNvPr>
            <p:cNvSpPr/>
            <p:nvPr/>
          </p:nvSpPr>
          <p:spPr>
            <a:xfrm rot="8716295">
              <a:off x="5801437" y="475432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6" name="Forme libre : forme 915">
              <a:extLst>
                <a:ext uri="{FF2B5EF4-FFF2-40B4-BE49-F238E27FC236}">
                  <a16:creationId xmlns:a16="http://schemas.microsoft.com/office/drawing/2014/main" id="{EE1786F7-846D-4C35-BEF0-71DF51874200}"/>
                </a:ext>
              </a:extLst>
            </p:cNvPr>
            <p:cNvSpPr/>
            <p:nvPr/>
          </p:nvSpPr>
          <p:spPr>
            <a:xfrm rot="8716295">
              <a:off x="5676534" y="454565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7" name="Forme libre : forme 916">
              <a:extLst>
                <a:ext uri="{FF2B5EF4-FFF2-40B4-BE49-F238E27FC236}">
                  <a16:creationId xmlns:a16="http://schemas.microsoft.com/office/drawing/2014/main" id="{D6857D82-8E0B-444B-8E66-5012E332E7B3}"/>
                </a:ext>
              </a:extLst>
            </p:cNvPr>
            <p:cNvSpPr/>
            <p:nvPr/>
          </p:nvSpPr>
          <p:spPr>
            <a:xfrm rot="8716295">
              <a:off x="5768458" y="4370657"/>
              <a:ext cx="172989" cy="350829"/>
            </a:xfrm>
            <a:custGeom>
              <a:avLst/>
              <a:gdLst>
                <a:gd name="connsiteX0" fmla="*/ 25299 w 172989"/>
                <a:gd name="connsiteY0" fmla="*/ 321238 h 350829"/>
                <a:gd name="connsiteX1" fmla="*/ 0 w 172989"/>
                <a:gd name="connsiteY1" fmla="*/ 220042 h 350829"/>
                <a:gd name="connsiteX2" fmla="*/ 0 w 172989"/>
                <a:gd name="connsiteY2" fmla="*/ 40596 h 350829"/>
                <a:gd name="connsiteX3" fmla="*/ 78250 w 172989"/>
                <a:gd name="connsiteY3" fmla="*/ 0 h 350829"/>
                <a:gd name="connsiteX4" fmla="*/ 79427 w 172989"/>
                <a:gd name="connsiteY4" fmla="*/ 164149 h 350829"/>
                <a:gd name="connsiteX5" fmla="*/ 93547 w 172989"/>
                <a:gd name="connsiteY5" fmla="*/ 261815 h 350829"/>
                <a:gd name="connsiteX6" fmla="*/ 164149 w 172989"/>
                <a:gd name="connsiteY6" fmla="*/ 300646 h 350829"/>
                <a:gd name="connsiteX7" fmla="*/ 172989 w 172989"/>
                <a:gd name="connsiteY7" fmla="*/ 299074 h 350829"/>
                <a:gd name="connsiteX8" fmla="*/ 134278 w 172989"/>
                <a:gd name="connsiteY8" fmla="*/ 345877 h 350829"/>
                <a:gd name="connsiteX9" fmla="*/ 97665 w 172989"/>
                <a:gd name="connsiteY9" fmla="*/ 350655 h 350829"/>
                <a:gd name="connsiteX10" fmla="*/ 25299 w 172989"/>
                <a:gd name="connsiteY10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2989" h="350829">
                  <a:moveTo>
                    <a:pt x="25299" y="321238"/>
                  </a:moveTo>
                  <a:cubicBezTo>
                    <a:pt x="5295" y="301822"/>
                    <a:pt x="0" y="268287"/>
                    <a:pt x="0" y="220042"/>
                  </a:cubicBez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9" y="300646"/>
                  </a:cubicBezTo>
                  <a:lnTo>
                    <a:pt x="172989" y="299074"/>
                  </a:lnTo>
                  <a:lnTo>
                    <a:pt x="134278" y="345877"/>
                  </a:lnTo>
                  <a:lnTo>
                    <a:pt x="97665" y="350655"/>
                  </a:ln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8" name="Forme libre : forme 917">
              <a:extLst>
                <a:ext uri="{FF2B5EF4-FFF2-40B4-BE49-F238E27FC236}">
                  <a16:creationId xmlns:a16="http://schemas.microsoft.com/office/drawing/2014/main" id="{EB8D3ABA-6A82-4EB5-8976-7A067BF087A1}"/>
                </a:ext>
              </a:extLst>
            </p:cNvPr>
            <p:cNvSpPr/>
            <p:nvPr/>
          </p:nvSpPr>
          <p:spPr>
            <a:xfrm rot="8716295">
              <a:off x="5891615" y="479527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9" name="Forme libre : forme 918">
              <a:extLst>
                <a:ext uri="{FF2B5EF4-FFF2-40B4-BE49-F238E27FC236}">
                  <a16:creationId xmlns:a16="http://schemas.microsoft.com/office/drawing/2014/main" id="{CDE3B9A6-DC2D-4FA6-99E1-2A25E54B47AA}"/>
                </a:ext>
              </a:extLst>
            </p:cNvPr>
            <p:cNvSpPr/>
            <p:nvPr/>
          </p:nvSpPr>
          <p:spPr>
            <a:xfrm rot="8716295">
              <a:off x="6202770" y="441563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0" name="Forme libre : forme 919">
              <a:extLst>
                <a:ext uri="{FF2B5EF4-FFF2-40B4-BE49-F238E27FC236}">
                  <a16:creationId xmlns:a16="http://schemas.microsoft.com/office/drawing/2014/main" id="{5B7D053E-0D42-4B34-AF0A-97083013C28E}"/>
                </a:ext>
              </a:extLst>
            </p:cNvPr>
            <p:cNvSpPr/>
            <p:nvPr/>
          </p:nvSpPr>
          <p:spPr>
            <a:xfrm rot="8716295">
              <a:off x="6292162" y="444487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1" name="Forme libre : forme 920">
              <a:extLst>
                <a:ext uri="{FF2B5EF4-FFF2-40B4-BE49-F238E27FC236}">
                  <a16:creationId xmlns:a16="http://schemas.microsoft.com/office/drawing/2014/main" id="{694450A2-AFB6-47EC-9F1E-9256E1A21402}"/>
                </a:ext>
              </a:extLst>
            </p:cNvPr>
            <p:cNvSpPr/>
            <p:nvPr/>
          </p:nvSpPr>
          <p:spPr>
            <a:xfrm rot="8716295">
              <a:off x="6090536" y="450417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2" name="Forme libre : forme 921">
              <a:extLst>
                <a:ext uri="{FF2B5EF4-FFF2-40B4-BE49-F238E27FC236}">
                  <a16:creationId xmlns:a16="http://schemas.microsoft.com/office/drawing/2014/main" id="{2E1D4188-16BB-4F4E-B396-4368ED517467}"/>
                </a:ext>
              </a:extLst>
            </p:cNvPr>
            <p:cNvSpPr/>
            <p:nvPr/>
          </p:nvSpPr>
          <p:spPr>
            <a:xfrm rot="8716295">
              <a:off x="5965634" y="429550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3" name="Forme libre : forme 922">
              <a:extLst>
                <a:ext uri="{FF2B5EF4-FFF2-40B4-BE49-F238E27FC236}">
                  <a16:creationId xmlns:a16="http://schemas.microsoft.com/office/drawing/2014/main" id="{EBDC38B5-8342-4F3F-B5B5-1F3F235D0C56}"/>
                </a:ext>
              </a:extLst>
            </p:cNvPr>
            <p:cNvSpPr/>
            <p:nvPr/>
          </p:nvSpPr>
          <p:spPr>
            <a:xfrm rot="8716295">
              <a:off x="6180714" y="454512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4" name="Forme libre : forme 923">
              <a:extLst>
                <a:ext uri="{FF2B5EF4-FFF2-40B4-BE49-F238E27FC236}">
                  <a16:creationId xmlns:a16="http://schemas.microsoft.com/office/drawing/2014/main" id="{C4B5129D-445F-4392-8AC2-B9203BB346DD}"/>
                </a:ext>
              </a:extLst>
            </p:cNvPr>
            <p:cNvSpPr/>
            <p:nvPr/>
          </p:nvSpPr>
          <p:spPr>
            <a:xfrm rot="8716295">
              <a:off x="5939263" y="439552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5" name="Forme libre : forme 924">
              <a:extLst>
                <a:ext uri="{FF2B5EF4-FFF2-40B4-BE49-F238E27FC236}">
                  <a16:creationId xmlns:a16="http://schemas.microsoft.com/office/drawing/2014/main" id="{970FEF4F-2806-4E6F-A7A1-4451942C9570}"/>
                </a:ext>
              </a:extLst>
            </p:cNvPr>
            <p:cNvSpPr/>
            <p:nvPr/>
          </p:nvSpPr>
          <p:spPr>
            <a:xfrm rot="7484129">
              <a:off x="6285645" y="473647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6" name="Forme libre : forme 925">
              <a:extLst>
                <a:ext uri="{FF2B5EF4-FFF2-40B4-BE49-F238E27FC236}">
                  <a16:creationId xmlns:a16="http://schemas.microsoft.com/office/drawing/2014/main" id="{168E5BFD-1FF0-4328-BCD6-5A1BDBE7CD08}"/>
                </a:ext>
              </a:extLst>
            </p:cNvPr>
            <p:cNvSpPr/>
            <p:nvPr/>
          </p:nvSpPr>
          <p:spPr>
            <a:xfrm rot="13089394">
              <a:off x="6390465" y="470301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7" name="Forme libre : forme 926">
              <a:extLst>
                <a:ext uri="{FF2B5EF4-FFF2-40B4-BE49-F238E27FC236}">
                  <a16:creationId xmlns:a16="http://schemas.microsoft.com/office/drawing/2014/main" id="{951FD6F9-1046-440D-A307-0E7AB7A12F89}"/>
                </a:ext>
              </a:extLst>
            </p:cNvPr>
            <p:cNvSpPr/>
            <p:nvPr/>
          </p:nvSpPr>
          <p:spPr>
            <a:xfrm rot="8716295">
              <a:off x="6576050" y="451133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8" name="Forme libre : forme 927">
              <a:extLst>
                <a:ext uri="{FF2B5EF4-FFF2-40B4-BE49-F238E27FC236}">
                  <a16:creationId xmlns:a16="http://schemas.microsoft.com/office/drawing/2014/main" id="{1E996269-D47F-468E-AA98-30BA5BAD5601}"/>
                </a:ext>
              </a:extLst>
            </p:cNvPr>
            <p:cNvSpPr/>
            <p:nvPr/>
          </p:nvSpPr>
          <p:spPr>
            <a:xfrm rot="8716295">
              <a:off x="6524245" y="440773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9" name="Forme libre : forme 928">
              <a:extLst>
                <a:ext uri="{FF2B5EF4-FFF2-40B4-BE49-F238E27FC236}">
                  <a16:creationId xmlns:a16="http://schemas.microsoft.com/office/drawing/2014/main" id="{C949C9CA-7367-4FDB-9FDD-5DB19B82AE8D}"/>
                </a:ext>
              </a:extLst>
            </p:cNvPr>
            <p:cNvSpPr/>
            <p:nvPr/>
          </p:nvSpPr>
          <p:spPr>
            <a:xfrm rot="8716295">
              <a:off x="6280999" y="443795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0" name="Forme libre : forme 929">
              <a:extLst>
                <a:ext uri="{FF2B5EF4-FFF2-40B4-BE49-F238E27FC236}">
                  <a16:creationId xmlns:a16="http://schemas.microsoft.com/office/drawing/2014/main" id="{5CC25390-A23A-40EF-A07C-D971AF863154}"/>
                </a:ext>
              </a:extLst>
            </p:cNvPr>
            <p:cNvSpPr/>
            <p:nvPr/>
          </p:nvSpPr>
          <p:spPr>
            <a:xfrm rot="8716295">
              <a:off x="6458451" y="427871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1" name="Forme libre : forme 930">
              <a:extLst>
                <a:ext uri="{FF2B5EF4-FFF2-40B4-BE49-F238E27FC236}">
                  <a16:creationId xmlns:a16="http://schemas.microsoft.com/office/drawing/2014/main" id="{146B7D99-DE33-4639-937C-D36E74FC0553}"/>
                </a:ext>
              </a:extLst>
            </p:cNvPr>
            <p:cNvSpPr/>
            <p:nvPr/>
          </p:nvSpPr>
          <p:spPr>
            <a:xfrm rot="8716295">
              <a:off x="5769872" y="3510436"/>
              <a:ext cx="90341" cy="46972"/>
            </a:xfrm>
            <a:custGeom>
              <a:avLst/>
              <a:gdLst>
                <a:gd name="connsiteX0" fmla="*/ 0 w 90341"/>
                <a:gd name="connsiteY0" fmla="*/ 44199 h 46972"/>
                <a:gd name="connsiteX1" fmla="*/ 0 w 90341"/>
                <a:gd name="connsiteY1" fmla="*/ 0 h 46972"/>
                <a:gd name="connsiteX2" fmla="*/ 90341 w 90341"/>
                <a:gd name="connsiteY2" fmla="*/ 0 h 46972"/>
                <a:gd name="connsiteX3" fmla="*/ 51490 w 90341"/>
                <a:gd name="connsiteY3" fmla="*/ 46972 h 46972"/>
                <a:gd name="connsiteX4" fmla="*/ 51490 w 90341"/>
                <a:gd name="connsiteY4" fmla="*/ 44199 h 46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341" h="46972">
                  <a:moveTo>
                    <a:pt x="0" y="44199"/>
                  </a:moveTo>
                  <a:lnTo>
                    <a:pt x="0" y="0"/>
                  </a:lnTo>
                  <a:lnTo>
                    <a:pt x="90341" y="0"/>
                  </a:lnTo>
                  <a:lnTo>
                    <a:pt x="51490" y="46972"/>
                  </a:lnTo>
                  <a:lnTo>
                    <a:pt x="51490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2" name="Forme libre : forme 931">
              <a:extLst>
                <a:ext uri="{FF2B5EF4-FFF2-40B4-BE49-F238E27FC236}">
                  <a16:creationId xmlns:a16="http://schemas.microsoft.com/office/drawing/2014/main" id="{3DDBB1E4-D3C5-4DF2-B891-FF20DEDD11B2}"/>
                </a:ext>
              </a:extLst>
            </p:cNvPr>
            <p:cNvSpPr/>
            <p:nvPr/>
          </p:nvSpPr>
          <p:spPr>
            <a:xfrm rot="8716295">
              <a:off x="5792621" y="3203487"/>
              <a:ext cx="140657" cy="113060"/>
            </a:xfrm>
            <a:custGeom>
              <a:avLst/>
              <a:gdLst>
                <a:gd name="connsiteX0" fmla="*/ 81109 w 140657"/>
                <a:gd name="connsiteY0" fmla="*/ 113060 h 113060"/>
                <a:gd name="connsiteX1" fmla="*/ 81108 w 140657"/>
                <a:gd name="connsiteY1" fmla="*/ 69717 h 113060"/>
                <a:gd name="connsiteX2" fmla="*/ 81108 w 140657"/>
                <a:gd name="connsiteY2" fmla="*/ 65616 h 113060"/>
                <a:gd name="connsiteX3" fmla="*/ 60604 w 140657"/>
                <a:gd name="connsiteY3" fmla="*/ 50123 h 113060"/>
                <a:gd name="connsiteX4" fmla="*/ 0 w 140657"/>
                <a:gd name="connsiteY4" fmla="*/ 50123 h 113060"/>
                <a:gd name="connsiteX5" fmla="*/ 0 w 140657"/>
                <a:gd name="connsiteY5" fmla="*/ 0 h 113060"/>
                <a:gd name="connsiteX6" fmla="*/ 85209 w 140657"/>
                <a:gd name="connsiteY6" fmla="*/ 0 h 113060"/>
                <a:gd name="connsiteX7" fmla="*/ 138458 w 140657"/>
                <a:gd name="connsiteY7" fmla="*/ 27874 h 113060"/>
                <a:gd name="connsiteX8" fmla="*/ 140657 w 140657"/>
                <a:gd name="connsiteY8" fmla="*/ 41065 h 113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0657" h="113060">
                  <a:moveTo>
                    <a:pt x="81109" y="113060"/>
                  </a:moveTo>
                  <a:lnTo>
                    <a:pt x="81108" y="69717"/>
                  </a:lnTo>
                  <a:cubicBezTo>
                    <a:pt x="81108" y="68350"/>
                    <a:pt x="81109" y="66983"/>
                    <a:pt x="81108" y="65616"/>
                  </a:cubicBezTo>
                  <a:cubicBezTo>
                    <a:pt x="79741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12891" y="0"/>
                    <a:pt x="131089" y="8971"/>
                    <a:pt x="138458" y="27874"/>
                  </a:cubicBezTo>
                  <a:lnTo>
                    <a:pt x="140657" y="4106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3" name="Forme libre : forme 932">
              <a:extLst>
                <a:ext uri="{FF2B5EF4-FFF2-40B4-BE49-F238E27FC236}">
                  <a16:creationId xmlns:a16="http://schemas.microsoft.com/office/drawing/2014/main" id="{D0B2DA57-A70B-43F7-9619-5711704B639A}"/>
                </a:ext>
              </a:extLst>
            </p:cNvPr>
            <p:cNvSpPr/>
            <p:nvPr/>
          </p:nvSpPr>
          <p:spPr>
            <a:xfrm rot="8716295">
              <a:off x="5847477" y="312420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4" name="Forme libre : forme 933">
              <a:extLst>
                <a:ext uri="{FF2B5EF4-FFF2-40B4-BE49-F238E27FC236}">
                  <a16:creationId xmlns:a16="http://schemas.microsoft.com/office/drawing/2014/main" id="{1051B224-B15E-43CC-A0B6-B9EF6E747E24}"/>
                </a:ext>
              </a:extLst>
            </p:cNvPr>
            <p:cNvSpPr/>
            <p:nvPr/>
          </p:nvSpPr>
          <p:spPr>
            <a:xfrm rot="8716295">
              <a:off x="5773507" y="3354505"/>
              <a:ext cx="103435" cy="76949"/>
            </a:xfrm>
            <a:custGeom>
              <a:avLst/>
              <a:gdLst>
                <a:gd name="connsiteX0" fmla="*/ 43288 w 103435"/>
                <a:gd name="connsiteY0" fmla="*/ 76949 h 76949"/>
                <a:gd name="connsiteX1" fmla="*/ 43288 w 103435"/>
                <a:gd name="connsiteY1" fmla="*/ 16404 h 76949"/>
                <a:gd name="connsiteX2" fmla="*/ 0 w 103435"/>
                <a:gd name="connsiteY2" fmla="*/ 16404 h 76949"/>
                <a:gd name="connsiteX3" fmla="*/ 0 w 103435"/>
                <a:gd name="connsiteY3" fmla="*/ 2278 h 76949"/>
                <a:gd name="connsiteX4" fmla="*/ 103435 w 103435"/>
                <a:gd name="connsiteY4" fmla="*/ 0 h 76949"/>
                <a:gd name="connsiteX5" fmla="*/ 103435 w 103435"/>
                <a:gd name="connsiteY5" fmla="*/ 4230 h 76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76949">
                  <a:moveTo>
                    <a:pt x="43288" y="76949"/>
                  </a:move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423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5" name="Forme libre : forme 934">
              <a:extLst>
                <a:ext uri="{FF2B5EF4-FFF2-40B4-BE49-F238E27FC236}">
                  <a16:creationId xmlns:a16="http://schemas.microsoft.com/office/drawing/2014/main" id="{352A9204-99DE-4A12-9185-D55A857434F8}"/>
                </a:ext>
              </a:extLst>
            </p:cNvPr>
            <p:cNvSpPr/>
            <p:nvPr/>
          </p:nvSpPr>
          <p:spPr>
            <a:xfrm rot="7484129">
              <a:off x="5840960" y="341580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6" name="Forme libre : forme 935">
              <a:extLst>
                <a:ext uri="{FF2B5EF4-FFF2-40B4-BE49-F238E27FC236}">
                  <a16:creationId xmlns:a16="http://schemas.microsoft.com/office/drawing/2014/main" id="{1AF7DA6B-CCB6-40AE-904E-CD1E7D32B1FE}"/>
                </a:ext>
              </a:extLst>
            </p:cNvPr>
            <p:cNvSpPr/>
            <p:nvPr/>
          </p:nvSpPr>
          <p:spPr>
            <a:xfrm rot="13089394">
              <a:off x="5945780" y="3382339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7" name="Forme libre : forme 936">
              <a:extLst>
                <a:ext uri="{FF2B5EF4-FFF2-40B4-BE49-F238E27FC236}">
                  <a16:creationId xmlns:a16="http://schemas.microsoft.com/office/drawing/2014/main" id="{92F73C9C-D47A-4DBF-A36A-63EFBB8F7092}"/>
                </a:ext>
              </a:extLst>
            </p:cNvPr>
            <p:cNvSpPr/>
            <p:nvPr/>
          </p:nvSpPr>
          <p:spPr>
            <a:xfrm rot="8716295">
              <a:off x="6131365" y="319065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8" name="Forme libre : forme 937">
              <a:extLst>
                <a:ext uri="{FF2B5EF4-FFF2-40B4-BE49-F238E27FC236}">
                  <a16:creationId xmlns:a16="http://schemas.microsoft.com/office/drawing/2014/main" id="{86E70207-E48B-40D3-9AE0-B4D98BA8D82A}"/>
                </a:ext>
              </a:extLst>
            </p:cNvPr>
            <p:cNvSpPr/>
            <p:nvPr/>
          </p:nvSpPr>
          <p:spPr>
            <a:xfrm rot="8716295">
              <a:off x="6079560" y="308706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9" name="Forme libre : forme 938">
              <a:extLst>
                <a:ext uri="{FF2B5EF4-FFF2-40B4-BE49-F238E27FC236}">
                  <a16:creationId xmlns:a16="http://schemas.microsoft.com/office/drawing/2014/main" id="{578F257E-8AEA-4C62-8BCB-A3EC01FA30A5}"/>
                </a:ext>
              </a:extLst>
            </p:cNvPr>
            <p:cNvSpPr/>
            <p:nvPr/>
          </p:nvSpPr>
          <p:spPr>
            <a:xfrm rot="8716295">
              <a:off x="5836314" y="311728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0" name="Forme libre : forme 939">
              <a:extLst>
                <a:ext uri="{FF2B5EF4-FFF2-40B4-BE49-F238E27FC236}">
                  <a16:creationId xmlns:a16="http://schemas.microsoft.com/office/drawing/2014/main" id="{A29AEA70-F7EC-4CA7-971C-78399CA63009}"/>
                </a:ext>
              </a:extLst>
            </p:cNvPr>
            <p:cNvSpPr/>
            <p:nvPr/>
          </p:nvSpPr>
          <p:spPr>
            <a:xfrm rot="8716295">
              <a:off x="6013766" y="295804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1" name="Forme libre : forme 940">
              <a:extLst>
                <a:ext uri="{FF2B5EF4-FFF2-40B4-BE49-F238E27FC236}">
                  <a16:creationId xmlns:a16="http://schemas.microsoft.com/office/drawing/2014/main" id="{96E0F3D2-C3AC-4108-AFBE-445ECA00ACA7}"/>
                </a:ext>
              </a:extLst>
            </p:cNvPr>
            <p:cNvSpPr/>
            <p:nvPr/>
          </p:nvSpPr>
          <p:spPr>
            <a:xfrm rot="8716295">
              <a:off x="5720177" y="4097348"/>
              <a:ext cx="142168" cy="131086"/>
            </a:xfrm>
            <a:custGeom>
              <a:avLst/>
              <a:gdLst>
                <a:gd name="connsiteX0" fmla="*/ 81108 w 142168"/>
                <a:gd name="connsiteY0" fmla="*/ 131086 h 131086"/>
                <a:gd name="connsiteX1" fmla="*/ 81108 w 142168"/>
                <a:gd name="connsiteY1" fmla="*/ 69717 h 131086"/>
                <a:gd name="connsiteX2" fmla="*/ 81108 w 142168"/>
                <a:gd name="connsiteY2" fmla="*/ 65616 h 131086"/>
                <a:gd name="connsiteX3" fmla="*/ 60604 w 142168"/>
                <a:gd name="connsiteY3" fmla="*/ 50123 h 131086"/>
                <a:gd name="connsiteX4" fmla="*/ 0 w 142168"/>
                <a:gd name="connsiteY4" fmla="*/ 50123 h 131086"/>
                <a:gd name="connsiteX5" fmla="*/ 0 w 142168"/>
                <a:gd name="connsiteY5" fmla="*/ 0 h 131086"/>
                <a:gd name="connsiteX6" fmla="*/ 85209 w 142168"/>
                <a:gd name="connsiteY6" fmla="*/ 0 h 131086"/>
                <a:gd name="connsiteX7" fmla="*/ 142167 w 142168"/>
                <a:gd name="connsiteY7" fmla="*/ 50123 h 131086"/>
                <a:gd name="connsiteX8" fmla="*/ 142168 w 142168"/>
                <a:gd name="connsiteY8" fmla="*/ 57264 h 131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8" h="131086">
                  <a:moveTo>
                    <a:pt x="81108" y="131086"/>
                  </a:moveTo>
                  <a:lnTo>
                    <a:pt x="81108" y="69717"/>
                  </a:lnTo>
                  <a:cubicBezTo>
                    <a:pt x="81108" y="68350"/>
                    <a:pt x="81109" y="66983"/>
                    <a:pt x="81108" y="65616"/>
                  </a:cubicBezTo>
                  <a:cubicBezTo>
                    <a:pt x="79741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9"/>
                    <a:pt x="142167" y="50123"/>
                  </a:cubicBezTo>
                  <a:lnTo>
                    <a:pt x="142168" y="572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2" name="Forme libre : forme 941">
              <a:extLst>
                <a:ext uri="{FF2B5EF4-FFF2-40B4-BE49-F238E27FC236}">
                  <a16:creationId xmlns:a16="http://schemas.microsoft.com/office/drawing/2014/main" id="{D0A7ABF4-BCEC-4B57-BCB3-E83AC5575A2E}"/>
                </a:ext>
              </a:extLst>
            </p:cNvPr>
            <p:cNvSpPr/>
            <p:nvPr/>
          </p:nvSpPr>
          <p:spPr>
            <a:xfrm rot="8716295">
              <a:off x="5781545" y="403405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3" name="Forme libre : forme 942">
              <a:extLst>
                <a:ext uri="{FF2B5EF4-FFF2-40B4-BE49-F238E27FC236}">
                  <a16:creationId xmlns:a16="http://schemas.microsoft.com/office/drawing/2014/main" id="{E7410290-1E3A-47AF-BA4D-8362B73A00E3}"/>
                </a:ext>
              </a:extLst>
            </p:cNvPr>
            <p:cNvSpPr/>
            <p:nvPr/>
          </p:nvSpPr>
          <p:spPr>
            <a:xfrm rot="8716295">
              <a:off x="5736695" y="3947771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4" name="Forme libre : forme 943">
              <a:extLst>
                <a:ext uri="{FF2B5EF4-FFF2-40B4-BE49-F238E27FC236}">
                  <a16:creationId xmlns:a16="http://schemas.microsoft.com/office/drawing/2014/main" id="{9BED9B6C-47E6-4D5F-928F-91F5377B4250}"/>
                </a:ext>
              </a:extLst>
            </p:cNvPr>
            <p:cNvSpPr/>
            <p:nvPr/>
          </p:nvSpPr>
          <p:spPr>
            <a:xfrm rot="8716295">
              <a:off x="5702441" y="4247935"/>
              <a:ext cx="103435" cy="94974"/>
            </a:xfrm>
            <a:custGeom>
              <a:avLst/>
              <a:gdLst>
                <a:gd name="connsiteX0" fmla="*/ 43288 w 103435"/>
                <a:gd name="connsiteY0" fmla="*/ 94974 h 94974"/>
                <a:gd name="connsiteX1" fmla="*/ 43288 w 103435"/>
                <a:gd name="connsiteY1" fmla="*/ 16404 h 94974"/>
                <a:gd name="connsiteX2" fmla="*/ 0 w 103435"/>
                <a:gd name="connsiteY2" fmla="*/ 16404 h 94974"/>
                <a:gd name="connsiteX3" fmla="*/ 0 w 103435"/>
                <a:gd name="connsiteY3" fmla="*/ 2278 h 94974"/>
                <a:gd name="connsiteX4" fmla="*/ 103435 w 103435"/>
                <a:gd name="connsiteY4" fmla="*/ 0 h 94974"/>
                <a:gd name="connsiteX5" fmla="*/ 103435 w 103435"/>
                <a:gd name="connsiteY5" fmla="*/ 22255 h 94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94974">
                  <a:moveTo>
                    <a:pt x="43288" y="94974"/>
                  </a:move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222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5" name="Forme libre : forme 944">
              <a:extLst>
                <a:ext uri="{FF2B5EF4-FFF2-40B4-BE49-F238E27FC236}">
                  <a16:creationId xmlns:a16="http://schemas.microsoft.com/office/drawing/2014/main" id="{3B973B62-C6C8-4FF1-84DA-2CF100C6F600}"/>
                </a:ext>
              </a:extLst>
            </p:cNvPr>
            <p:cNvSpPr/>
            <p:nvPr/>
          </p:nvSpPr>
          <p:spPr>
            <a:xfrm rot="8716295">
              <a:off x="5981252" y="375465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6" name="Forme libre : forme 945">
              <a:extLst>
                <a:ext uri="{FF2B5EF4-FFF2-40B4-BE49-F238E27FC236}">
                  <a16:creationId xmlns:a16="http://schemas.microsoft.com/office/drawing/2014/main" id="{2AF0D86E-53FF-404D-972C-BFC50DCEBF42}"/>
                </a:ext>
              </a:extLst>
            </p:cNvPr>
            <p:cNvSpPr/>
            <p:nvPr/>
          </p:nvSpPr>
          <p:spPr>
            <a:xfrm rot="8716295">
              <a:off x="6070644" y="378389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7" name="Forme libre : forme 946">
              <a:extLst>
                <a:ext uri="{FF2B5EF4-FFF2-40B4-BE49-F238E27FC236}">
                  <a16:creationId xmlns:a16="http://schemas.microsoft.com/office/drawing/2014/main" id="{1CD18C36-834E-4DAE-BDAA-F92E9244DC61}"/>
                </a:ext>
              </a:extLst>
            </p:cNvPr>
            <p:cNvSpPr/>
            <p:nvPr/>
          </p:nvSpPr>
          <p:spPr>
            <a:xfrm rot="8716295">
              <a:off x="5869018" y="384320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8" name="Forme libre : forme 947">
              <a:extLst>
                <a:ext uri="{FF2B5EF4-FFF2-40B4-BE49-F238E27FC236}">
                  <a16:creationId xmlns:a16="http://schemas.microsoft.com/office/drawing/2014/main" id="{3C7E1362-5870-4F46-928D-1A08D53107E4}"/>
                </a:ext>
              </a:extLst>
            </p:cNvPr>
            <p:cNvSpPr/>
            <p:nvPr/>
          </p:nvSpPr>
          <p:spPr>
            <a:xfrm rot="8716295">
              <a:off x="5744116" y="363452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9" name="Forme libre : forme 948">
              <a:extLst>
                <a:ext uri="{FF2B5EF4-FFF2-40B4-BE49-F238E27FC236}">
                  <a16:creationId xmlns:a16="http://schemas.microsoft.com/office/drawing/2014/main" id="{0C5E2F6B-6631-4816-8A8A-1BB8467E77D2}"/>
                </a:ext>
              </a:extLst>
            </p:cNvPr>
            <p:cNvSpPr/>
            <p:nvPr/>
          </p:nvSpPr>
          <p:spPr>
            <a:xfrm rot="8716295">
              <a:off x="5959196" y="3884153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0" name="Forme libre : forme 949">
              <a:extLst>
                <a:ext uri="{FF2B5EF4-FFF2-40B4-BE49-F238E27FC236}">
                  <a16:creationId xmlns:a16="http://schemas.microsoft.com/office/drawing/2014/main" id="{E65DCBA9-55EE-45E1-B233-4077B825D76D}"/>
                </a:ext>
              </a:extLst>
            </p:cNvPr>
            <p:cNvSpPr/>
            <p:nvPr/>
          </p:nvSpPr>
          <p:spPr>
            <a:xfrm rot="8716295">
              <a:off x="5756235" y="3750459"/>
              <a:ext cx="38930" cy="44504"/>
            </a:xfrm>
            <a:custGeom>
              <a:avLst/>
              <a:gdLst>
                <a:gd name="connsiteX0" fmla="*/ 2222 w 38930"/>
                <a:gd name="connsiteY0" fmla="*/ 44504 h 44504"/>
                <a:gd name="connsiteX1" fmla="*/ 0 w 38930"/>
                <a:gd name="connsiteY1" fmla="*/ 39242 h 44504"/>
                <a:gd name="connsiteX2" fmla="*/ 0 w 38930"/>
                <a:gd name="connsiteY2" fmla="*/ 38638 h 44504"/>
                <a:gd name="connsiteX3" fmla="*/ 11471 w 38930"/>
                <a:gd name="connsiteY3" fmla="*/ 11471 h 44504"/>
                <a:gd name="connsiteX4" fmla="*/ 38638 w 38930"/>
                <a:gd name="connsiteY4" fmla="*/ 0 h 44504"/>
                <a:gd name="connsiteX5" fmla="*/ 38930 w 38930"/>
                <a:gd name="connsiteY5" fmla="*/ 123 h 44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930" h="44504">
                  <a:moveTo>
                    <a:pt x="2222" y="44504"/>
                  </a:moveTo>
                  <a:lnTo>
                    <a:pt x="0" y="39242"/>
                  </a:lnTo>
                  <a:lnTo>
                    <a:pt x="0" y="38638"/>
                  </a:lnTo>
                  <a:cubicBezTo>
                    <a:pt x="0" y="28375"/>
                    <a:pt x="4226" y="18716"/>
                    <a:pt x="11471" y="11471"/>
                  </a:cubicBezTo>
                  <a:cubicBezTo>
                    <a:pt x="18716" y="4226"/>
                    <a:pt x="28376" y="0"/>
                    <a:pt x="38638" y="0"/>
                  </a:cubicBezTo>
                  <a:lnTo>
                    <a:pt x="38930" y="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1" name="Forme libre : forme 950">
              <a:extLst>
                <a:ext uri="{FF2B5EF4-FFF2-40B4-BE49-F238E27FC236}">
                  <a16:creationId xmlns:a16="http://schemas.microsoft.com/office/drawing/2014/main" id="{EA118543-7877-4501-A5A0-4C2991DA5E90}"/>
                </a:ext>
              </a:extLst>
            </p:cNvPr>
            <p:cNvSpPr/>
            <p:nvPr/>
          </p:nvSpPr>
          <p:spPr>
            <a:xfrm rot="7484129">
              <a:off x="6064127" y="407550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2" name="Forme libre : forme 951">
              <a:extLst>
                <a:ext uri="{FF2B5EF4-FFF2-40B4-BE49-F238E27FC236}">
                  <a16:creationId xmlns:a16="http://schemas.microsoft.com/office/drawing/2014/main" id="{7AB6C3EC-555A-4C76-B15E-AAB3CAAF24B3}"/>
                </a:ext>
              </a:extLst>
            </p:cNvPr>
            <p:cNvSpPr/>
            <p:nvPr/>
          </p:nvSpPr>
          <p:spPr>
            <a:xfrm rot="13089394">
              <a:off x="6168947" y="4042038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3" name="Forme libre : forme 952">
              <a:extLst>
                <a:ext uri="{FF2B5EF4-FFF2-40B4-BE49-F238E27FC236}">
                  <a16:creationId xmlns:a16="http://schemas.microsoft.com/office/drawing/2014/main" id="{963A3DD5-51DE-4848-9EB9-5B90B6B81918}"/>
                </a:ext>
              </a:extLst>
            </p:cNvPr>
            <p:cNvSpPr/>
            <p:nvPr/>
          </p:nvSpPr>
          <p:spPr>
            <a:xfrm rot="8716295">
              <a:off x="6354532" y="3850357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4" name="Forme libre : forme 953">
              <a:extLst>
                <a:ext uri="{FF2B5EF4-FFF2-40B4-BE49-F238E27FC236}">
                  <a16:creationId xmlns:a16="http://schemas.microsoft.com/office/drawing/2014/main" id="{995C729E-49BA-4503-863A-2DDC26B4CD56}"/>
                </a:ext>
              </a:extLst>
            </p:cNvPr>
            <p:cNvSpPr/>
            <p:nvPr/>
          </p:nvSpPr>
          <p:spPr>
            <a:xfrm rot="8716295">
              <a:off x="6302727" y="374676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5" name="Forme libre : forme 954">
              <a:extLst>
                <a:ext uri="{FF2B5EF4-FFF2-40B4-BE49-F238E27FC236}">
                  <a16:creationId xmlns:a16="http://schemas.microsoft.com/office/drawing/2014/main" id="{B68D55F1-87C8-418D-9415-5E30511E82CD}"/>
                </a:ext>
              </a:extLst>
            </p:cNvPr>
            <p:cNvSpPr/>
            <p:nvPr/>
          </p:nvSpPr>
          <p:spPr>
            <a:xfrm rot="8716295">
              <a:off x="6059481" y="377698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6" name="Forme libre : forme 955">
              <a:extLst>
                <a:ext uri="{FF2B5EF4-FFF2-40B4-BE49-F238E27FC236}">
                  <a16:creationId xmlns:a16="http://schemas.microsoft.com/office/drawing/2014/main" id="{C863A7CC-4158-4F17-9AE2-A72A139B887C}"/>
                </a:ext>
              </a:extLst>
            </p:cNvPr>
            <p:cNvSpPr/>
            <p:nvPr/>
          </p:nvSpPr>
          <p:spPr>
            <a:xfrm rot="8716295">
              <a:off x="6236933" y="361774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7" name="Forme libre : forme 956">
              <a:extLst>
                <a:ext uri="{FF2B5EF4-FFF2-40B4-BE49-F238E27FC236}">
                  <a16:creationId xmlns:a16="http://schemas.microsoft.com/office/drawing/2014/main" id="{FAF82776-068F-41C0-96DF-85F697986F49}"/>
                </a:ext>
              </a:extLst>
            </p:cNvPr>
            <p:cNvSpPr/>
            <p:nvPr/>
          </p:nvSpPr>
          <p:spPr>
            <a:xfrm rot="8716295">
              <a:off x="5646341" y="5012072"/>
              <a:ext cx="61128" cy="44199"/>
            </a:xfrm>
            <a:custGeom>
              <a:avLst/>
              <a:gdLst>
                <a:gd name="connsiteX0" fmla="*/ 0 w 61128"/>
                <a:gd name="connsiteY0" fmla="*/ 44199 h 44199"/>
                <a:gd name="connsiteX1" fmla="*/ 0 w 61128"/>
                <a:gd name="connsiteY1" fmla="*/ 0 h 44199"/>
                <a:gd name="connsiteX2" fmla="*/ 61128 w 61128"/>
                <a:gd name="connsiteY2" fmla="*/ 0 h 44199"/>
                <a:gd name="connsiteX3" fmla="*/ 24570 w 61128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128" h="44199">
                  <a:moveTo>
                    <a:pt x="0" y="44199"/>
                  </a:moveTo>
                  <a:lnTo>
                    <a:pt x="0" y="0"/>
                  </a:lnTo>
                  <a:lnTo>
                    <a:pt x="61128" y="0"/>
                  </a:lnTo>
                  <a:lnTo>
                    <a:pt x="24570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8" name="Forme libre : forme 957">
              <a:extLst>
                <a:ext uri="{FF2B5EF4-FFF2-40B4-BE49-F238E27FC236}">
                  <a16:creationId xmlns:a16="http://schemas.microsoft.com/office/drawing/2014/main" id="{5D62A47A-9C19-4F62-9A51-E8D6D493BCBB}"/>
                </a:ext>
              </a:extLst>
            </p:cNvPr>
            <p:cNvSpPr/>
            <p:nvPr/>
          </p:nvSpPr>
          <p:spPr>
            <a:xfrm rot="8716295">
              <a:off x="5686469" y="4948149"/>
              <a:ext cx="225182" cy="162840"/>
            </a:xfrm>
            <a:custGeom>
              <a:avLst/>
              <a:gdLst>
                <a:gd name="connsiteX0" fmla="*/ 6986 w 225182"/>
                <a:gd name="connsiteY0" fmla="*/ 162840 h 162840"/>
                <a:gd name="connsiteX1" fmla="*/ 0 w 225182"/>
                <a:gd name="connsiteY1" fmla="*/ 153167 h 162840"/>
                <a:gd name="connsiteX2" fmla="*/ 127370 w 225182"/>
                <a:gd name="connsiteY2" fmla="*/ 33321 h 162840"/>
                <a:gd name="connsiteX3" fmla="*/ 191862 w 225182"/>
                <a:gd name="connsiteY3" fmla="*/ 0 h 162840"/>
                <a:gd name="connsiteX4" fmla="*/ 196795 w 225182"/>
                <a:gd name="connsiteY4" fmla="*/ 1164 h 162840"/>
                <a:gd name="connsiteX5" fmla="*/ 219028 w 225182"/>
                <a:gd name="connsiteY5" fmla="*/ 16575 h 162840"/>
                <a:gd name="connsiteX6" fmla="*/ 225182 w 225182"/>
                <a:gd name="connsiteY6" fmla="*/ 39770 h 162840"/>
                <a:gd name="connsiteX7" fmla="*/ 194012 w 225182"/>
                <a:gd name="connsiteY7" fmla="*/ 81689 h 162840"/>
                <a:gd name="connsiteX8" fmla="*/ 194548 w 225182"/>
                <a:gd name="connsiteY8" fmla="*/ 81689 h 162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5182" h="162840">
                  <a:moveTo>
                    <a:pt x="6986" y="162840"/>
                  </a:moveTo>
                  <a:lnTo>
                    <a:pt x="0" y="153167"/>
                  </a:lnTo>
                  <a:lnTo>
                    <a:pt x="127370" y="33321"/>
                  </a:lnTo>
                  <a:cubicBezTo>
                    <a:pt x="143493" y="14511"/>
                    <a:pt x="166602" y="2687"/>
                    <a:pt x="191862" y="0"/>
                  </a:cubicBezTo>
                  <a:lnTo>
                    <a:pt x="196795" y="1164"/>
                  </a:lnTo>
                  <a:lnTo>
                    <a:pt x="219028" y="16575"/>
                  </a:lnTo>
                  <a:lnTo>
                    <a:pt x="225182" y="39770"/>
                  </a:lnTo>
                  <a:cubicBezTo>
                    <a:pt x="223570" y="58580"/>
                    <a:pt x="211208" y="74165"/>
                    <a:pt x="194012" y="81689"/>
                  </a:cubicBezTo>
                  <a:lnTo>
                    <a:pt x="194548" y="816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9" name="Forme libre : forme 958">
              <a:extLst>
                <a:ext uri="{FF2B5EF4-FFF2-40B4-BE49-F238E27FC236}">
                  <a16:creationId xmlns:a16="http://schemas.microsoft.com/office/drawing/2014/main" id="{2F2DED4E-A984-4BA6-A236-177692C90757}"/>
                </a:ext>
              </a:extLst>
            </p:cNvPr>
            <p:cNvSpPr/>
            <p:nvPr/>
          </p:nvSpPr>
          <p:spPr>
            <a:xfrm rot="8716295">
              <a:off x="5646189" y="4843185"/>
              <a:ext cx="103263" cy="109760"/>
            </a:xfrm>
            <a:custGeom>
              <a:avLst/>
              <a:gdLst>
                <a:gd name="connsiteX0" fmla="*/ 17478 w 103263"/>
                <a:gd name="connsiteY0" fmla="*/ 101182 h 109760"/>
                <a:gd name="connsiteX1" fmla="*/ 0 w 103263"/>
                <a:gd name="connsiteY1" fmla="*/ 59790 h 109760"/>
                <a:gd name="connsiteX2" fmla="*/ 0 w 103263"/>
                <a:gd name="connsiteY2" fmla="*/ 58869 h 109760"/>
                <a:gd name="connsiteX3" fmla="*/ 17477 w 103263"/>
                <a:gd name="connsiteY3" fmla="*/ 17477 h 109760"/>
                <a:gd name="connsiteX4" fmla="*/ 58869 w 103263"/>
                <a:gd name="connsiteY4" fmla="*/ 0 h 109760"/>
                <a:gd name="connsiteX5" fmla="*/ 100262 w 103263"/>
                <a:gd name="connsiteY5" fmla="*/ 17478 h 109760"/>
                <a:gd name="connsiteX6" fmla="*/ 103263 w 103263"/>
                <a:gd name="connsiteY6" fmla="*/ 21889 h 109760"/>
                <a:gd name="connsiteX7" fmla="*/ 30583 w 103263"/>
                <a:gd name="connsiteY7" fmla="*/ 109760 h 109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3263" h="109760">
                  <a:moveTo>
                    <a:pt x="17478" y="101182"/>
                  </a:moveTo>
                  <a:cubicBezTo>
                    <a:pt x="6440" y="90144"/>
                    <a:pt x="0" y="75426"/>
                    <a:pt x="0" y="59790"/>
                  </a:cubicBezTo>
                  <a:lnTo>
                    <a:pt x="0" y="58869"/>
                  </a:lnTo>
                  <a:cubicBezTo>
                    <a:pt x="0" y="43232"/>
                    <a:pt x="6439" y="28515"/>
                    <a:pt x="17477" y="17477"/>
                  </a:cubicBezTo>
                  <a:cubicBezTo>
                    <a:pt x="28515" y="6439"/>
                    <a:pt x="43232" y="0"/>
                    <a:pt x="58869" y="0"/>
                  </a:cubicBezTo>
                  <a:cubicBezTo>
                    <a:pt x="74507" y="0"/>
                    <a:pt x="89224" y="6440"/>
                    <a:pt x="100262" y="17478"/>
                  </a:cubicBezTo>
                  <a:lnTo>
                    <a:pt x="103263" y="21889"/>
                  </a:lnTo>
                  <a:lnTo>
                    <a:pt x="30583" y="1097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0" name="Forme libre : forme 959">
              <a:extLst>
                <a:ext uri="{FF2B5EF4-FFF2-40B4-BE49-F238E27FC236}">
                  <a16:creationId xmlns:a16="http://schemas.microsoft.com/office/drawing/2014/main" id="{A6F97576-1723-4483-ABFD-51F7D8B729B6}"/>
                </a:ext>
              </a:extLst>
            </p:cNvPr>
            <p:cNvSpPr/>
            <p:nvPr/>
          </p:nvSpPr>
          <p:spPr>
            <a:xfrm rot="8716295">
              <a:off x="5912192" y="5052711"/>
              <a:ext cx="199936" cy="162182"/>
            </a:xfrm>
            <a:custGeom>
              <a:avLst/>
              <a:gdLst>
                <a:gd name="connsiteX0" fmla="*/ 25299 w 199936"/>
                <a:gd name="connsiteY0" fmla="*/ 132591 h 162182"/>
                <a:gd name="connsiteX1" fmla="*/ 0 w 199936"/>
                <a:gd name="connsiteY1" fmla="*/ 31395 h 162182"/>
                <a:gd name="connsiteX2" fmla="*/ 0 w 199936"/>
                <a:gd name="connsiteY2" fmla="*/ 0 h 162182"/>
                <a:gd name="connsiteX3" fmla="*/ 92209 w 199936"/>
                <a:gd name="connsiteY3" fmla="*/ 63916 h 162182"/>
                <a:gd name="connsiteX4" fmla="*/ 93547 w 199936"/>
                <a:gd name="connsiteY4" fmla="*/ 73168 h 162182"/>
                <a:gd name="connsiteX5" fmla="*/ 118478 w 199936"/>
                <a:gd name="connsiteY5" fmla="*/ 102291 h 162182"/>
                <a:gd name="connsiteX6" fmla="*/ 160439 w 199936"/>
                <a:gd name="connsiteY6" fmla="*/ 111210 h 162182"/>
                <a:gd name="connsiteX7" fmla="*/ 199936 w 199936"/>
                <a:gd name="connsiteY7" fmla="*/ 138589 h 162182"/>
                <a:gd name="connsiteX8" fmla="*/ 189080 w 199936"/>
                <a:gd name="connsiteY8" fmla="*/ 143328 h 162182"/>
                <a:gd name="connsiteX9" fmla="*/ 97665 w 199936"/>
                <a:gd name="connsiteY9" fmla="*/ 162008 h 162182"/>
                <a:gd name="connsiteX10" fmla="*/ 25299 w 199936"/>
                <a:gd name="connsiteY10" fmla="*/ 132591 h 162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9936" h="162182">
                  <a:moveTo>
                    <a:pt x="25299" y="132591"/>
                  </a:moveTo>
                  <a:cubicBezTo>
                    <a:pt x="5295" y="113175"/>
                    <a:pt x="0" y="79640"/>
                    <a:pt x="0" y="31395"/>
                  </a:cubicBezTo>
                  <a:lnTo>
                    <a:pt x="0" y="0"/>
                  </a:lnTo>
                  <a:lnTo>
                    <a:pt x="92209" y="63916"/>
                  </a:lnTo>
                  <a:lnTo>
                    <a:pt x="93547" y="73168"/>
                  </a:lnTo>
                  <a:cubicBezTo>
                    <a:pt x="98254" y="86111"/>
                    <a:pt x="106638" y="95819"/>
                    <a:pt x="118478" y="102291"/>
                  </a:cubicBezTo>
                  <a:lnTo>
                    <a:pt x="160439" y="111210"/>
                  </a:lnTo>
                  <a:lnTo>
                    <a:pt x="199936" y="138589"/>
                  </a:lnTo>
                  <a:lnTo>
                    <a:pt x="189080" y="143328"/>
                  </a:lnTo>
                  <a:cubicBezTo>
                    <a:pt x="154735" y="155095"/>
                    <a:pt x="122082" y="160537"/>
                    <a:pt x="97665" y="162008"/>
                  </a:cubicBezTo>
                  <a:cubicBezTo>
                    <a:pt x="70602" y="163773"/>
                    <a:pt x="44126" y="152006"/>
                    <a:pt x="25299" y="13259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1" name="Forme libre : forme 960">
              <a:extLst>
                <a:ext uri="{FF2B5EF4-FFF2-40B4-BE49-F238E27FC236}">
                  <a16:creationId xmlns:a16="http://schemas.microsoft.com/office/drawing/2014/main" id="{90B8ABE7-A5DD-43D8-841B-962E7DF13DBB}"/>
                </a:ext>
              </a:extLst>
            </p:cNvPr>
            <p:cNvSpPr/>
            <p:nvPr/>
          </p:nvSpPr>
          <p:spPr>
            <a:xfrm rot="8716295">
              <a:off x="6391313" y="5109036"/>
              <a:ext cx="48754" cy="53077"/>
            </a:xfrm>
            <a:custGeom>
              <a:avLst/>
              <a:gdLst>
                <a:gd name="connsiteX0" fmla="*/ 0 w 48754"/>
                <a:gd name="connsiteY0" fmla="*/ 53077 h 53077"/>
                <a:gd name="connsiteX1" fmla="*/ 0 w 48754"/>
                <a:gd name="connsiteY1" fmla="*/ 0 h 53077"/>
                <a:gd name="connsiteX2" fmla="*/ 48754 w 48754"/>
                <a:gd name="connsiteY2" fmla="*/ 33794 h 53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754" h="53077">
                  <a:moveTo>
                    <a:pt x="0" y="53077"/>
                  </a:moveTo>
                  <a:lnTo>
                    <a:pt x="0" y="0"/>
                  </a:lnTo>
                  <a:lnTo>
                    <a:pt x="48754" y="337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2" name="Forme libre : forme 961">
              <a:extLst>
                <a:ext uri="{FF2B5EF4-FFF2-40B4-BE49-F238E27FC236}">
                  <a16:creationId xmlns:a16="http://schemas.microsoft.com/office/drawing/2014/main" id="{FE1A44B8-6EFF-4767-8A7A-1368FB776C2C}"/>
                </a:ext>
              </a:extLst>
            </p:cNvPr>
            <p:cNvSpPr/>
            <p:nvPr/>
          </p:nvSpPr>
          <p:spPr>
            <a:xfrm rot="8716295">
              <a:off x="6604006" y="5086303"/>
              <a:ext cx="59107" cy="81271"/>
            </a:xfrm>
            <a:custGeom>
              <a:avLst/>
              <a:gdLst>
                <a:gd name="connsiteX0" fmla="*/ 0 w 59107"/>
                <a:gd name="connsiteY0" fmla="*/ 81271 h 81271"/>
                <a:gd name="connsiteX1" fmla="*/ 0 w 59107"/>
                <a:gd name="connsiteY1" fmla="*/ 0 h 81271"/>
                <a:gd name="connsiteX2" fmla="*/ 59107 w 59107"/>
                <a:gd name="connsiteY2" fmla="*/ 40971 h 81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9107" h="81271">
                  <a:moveTo>
                    <a:pt x="0" y="81271"/>
                  </a:moveTo>
                  <a:lnTo>
                    <a:pt x="0" y="0"/>
                  </a:lnTo>
                  <a:lnTo>
                    <a:pt x="59107" y="409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3" name="Forme libre : forme 962">
              <a:extLst>
                <a:ext uri="{FF2B5EF4-FFF2-40B4-BE49-F238E27FC236}">
                  <a16:creationId xmlns:a16="http://schemas.microsoft.com/office/drawing/2014/main" id="{564969A8-6844-48A3-9D81-0C8C78AA871A}"/>
                </a:ext>
              </a:extLst>
            </p:cNvPr>
            <p:cNvSpPr/>
            <p:nvPr/>
          </p:nvSpPr>
          <p:spPr>
            <a:xfrm rot="8716295">
              <a:off x="6183968" y="4952734"/>
              <a:ext cx="202937" cy="195874"/>
            </a:xfrm>
            <a:custGeom>
              <a:avLst/>
              <a:gdLst>
                <a:gd name="connsiteX0" fmla="*/ 90709 w 202937"/>
                <a:gd name="connsiteY0" fmla="*/ 195874 h 195874"/>
                <a:gd name="connsiteX1" fmla="*/ 47847 w 202937"/>
                <a:gd name="connsiteY1" fmla="*/ 116129 h 195874"/>
                <a:gd name="connsiteX2" fmla="*/ 69777 w 202937"/>
                <a:gd name="connsiteY2" fmla="*/ 55323 h 195874"/>
                <a:gd name="connsiteX3" fmla="*/ 0 w 202937"/>
                <a:gd name="connsiteY3" fmla="*/ 55323 h 195874"/>
                <a:gd name="connsiteX4" fmla="*/ 0 w 202937"/>
                <a:gd name="connsiteY4" fmla="*/ 0 h 195874"/>
                <a:gd name="connsiteX5" fmla="*/ 123124 w 202937"/>
                <a:gd name="connsiteY5" fmla="*/ 0 h 195874"/>
                <a:gd name="connsiteX6" fmla="*/ 202937 w 202937"/>
                <a:gd name="connsiteY6" fmla="*/ 55323 h 195874"/>
                <a:gd name="connsiteX7" fmla="*/ 139055 w 202937"/>
                <a:gd name="connsiteY7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2937" h="195874">
                  <a:moveTo>
                    <a:pt x="90709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123124" y="0"/>
                  </a:lnTo>
                  <a:lnTo>
                    <a:pt x="20293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4" name="Forme libre : forme 963">
              <a:extLst>
                <a:ext uri="{FF2B5EF4-FFF2-40B4-BE49-F238E27FC236}">
                  <a16:creationId xmlns:a16="http://schemas.microsoft.com/office/drawing/2014/main" id="{08AD032C-6C86-4845-A4B0-3D6B054ABD87}"/>
                </a:ext>
              </a:extLst>
            </p:cNvPr>
            <p:cNvSpPr/>
            <p:nvPr/>
          </p:nvSpPr>
          <p:spPr>
            <a:xfrm rot="8716295">
              <a:off x="6161279" y="505310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5" name="Forme libre : forme 964">
              <a:extLst>
                <a:ext uri="{FF2B5EF4-FFF2-40B4-BE49-F238E27FC236}">
                  <a16:creationId xmlns:a16="http://schemas.microsoft.com/office/drawing/2014/main" id="{1634811C-B4C0-451B-962C-E46A7CD8B922}"/>
                </a:ext>
              </a:extLst>
            </p:cNvPr>
            <p:cNvSpPr/>
            <p:nvPr/>
          </p:nvSpPr>
          <p:spPr>
            <a:xfrm rot="8716295">
              <a:off x="6931575" y="5125548"/>
              <a:ext cx="28968" cy="21142"/>
            </a:xfrm>
            <a:custGeom>
              <a:avLst/>
              <a:gdLst>
                <a:gd name="connsiteX0" fmla="*/ 6986 w 28968"/>
                <a:gd name="connsiteY0" fmla="*/ 21142 h 21142"/>
                <a:gd name="connsiteX1" fmla="*/ 0 w 28968"/>
                <a:gd name="connsiteY1" fmla="*/ 11469 h 21142"/>
                <a:gd name="connsiteX2" fmla="*/ 12189 w 28968"/>
                <a:gd name="connsiteY2" fmla="*/ 0 h 21142"/>
                <a:gd name="connsiteX3" fmla="*/ 28968 w 28968"/>
                <a:gd name="connsiteY3" fmla="*/ 11631 h 2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968" h="21142">
                  <a:moveTo>
                    <a:pt x="6986" y="21142"/>
                  </a:moveTo>
                  <a:lnTo>
                    <a:pt x="0" y="11469"/>
                  </a:lnTo>
                  <a:lnTo>
                    <a:pt x="12189" y="0"/>
                  </a:lnTo>
                  <a:lnTo>
                    <a:pt x="28968" y="116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6" name="Forme libre : forme 965">
              <a:extLst>
                <a:ext uri="{FF2B5EF4-FFF2-40B4-BE49-F238E27FC236}">
                  <a16:creationId xmlns:a16="http://schemas.microsoft.com/office/drawing/2014/main" id="{4DAB4475-0622-4D27-8698-19DE6A41164E}"/>
                </a:ext>
              </a:extLst>
            </p:cNvPr>
            <p:cNvSpPr/>
            <p:nvPr/>
          </p:nvSpPr>
          <p:spPr>
            <a:xfrm rot="8716295">
              <a:off x="6737940" y="5060558"/>
              <a:ext cx="113691" cy="106472"/>
            </a:xfrm>
            <a:custGeom>
              <a:avLst/>
              <a:gdLst>
                <a:gd name="connsiteX0" fmla="*/ 17478 w 113691"/>
                <a:gd name="connsiteY0" fmla="*/ 89915 h 106472"/>
                <a:gd name="connsiteX1" fmla="*/ 0 w 113691"/>
                <a:gd name="connsiteY1" fmla="*/ 48523 h 106472"/>
                <a:gd name="connsiteX2" fmla="*/ 0 w 113691"/>
                <a:gd name="connsiteY2" fmla="*/ 47602 h 106472"/>
                <a:gd name="connsiteX3" fmla="*/ 17477 w 113691"/>
                <a:gd name="connsiteY3" fmla="*/ 6210 h 106472"/>
                <a:gd name="connsiteX4" fmla="*/ 32186 w 113691"/>
                <a:gd name="connsiteY4" fmla="*/ 0 h 106472"/>
                <a:gd name="connsiteX5" fmla="*/ 113691 w 113691"/>
                <a:gd name="connsiteY5" fmla="*/ 56496 h 106472"/>
                <a:gd name="connsiteX6" fmla="*/ 100263 w 113691"/>
                <a:gd name="connsiteY6" fmla="*/ 88995 h 106472"/>
                <a:gd name="connsiteX7" fmla="*/ 58869 w 113691"/>
                <a:gd name="connsiteY7" fmla="*/ 106472 h 106472"/>
                <a:gd name="connsiteX8" fmla="*/ 17478 w 113691"/>
                <a:gd name="connsiteY8" fmla="*/ 89915 h 106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3691" h="106472">
                  <a:moveTo>
                    <a:pt x="17478" y="89915"/>
                  </a:moveTo>
                  <a:cubicBezTo>
                    <a:pt x="6440" y="78877"/>
                    <a:pt x="0" y="64159"/>
                    <a:pt x="0" y="48523"/>
                  </a:cubicBezTo>
                  <a:lnTo>
                    <a:pt x="0" y="47602"/>
                  </a:lnTo>
                  <a:cubicBezTo>
                    <a:pt x="0" y="31965"/>
                    <a:pt x="6439" y="17248"/>
                    <a:pt x="17477" y="6210"/>
                  </a:cubicBezTo>
                  <a:lnTo>
                    <a:pt x="32186" y="0"/>
                  </a:lnTo>
                  <a:lnTo>
                    <a:pt x="113691" y="56496"/>
                  </a:lnTo>
                  <a:lnTo>
                    <a:pt x="100263" y="88995"/>
                  </a:lnTo>
                  <a:cubicBezTo>
                    <a:pt x="89224" y="100033"/>
                    <a:pt x="74507" y="106471"/>
                    <a:pt x="58869" y="106472"/>
                  </a:cubicBezTo>
                  <a:cubicBezTo>
                    <a:pt x="43233" y="106472"/>
                    <a:pt x="28515" y="100952"/>
                    <a:pt x="17478" y="8991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7" name="Forme libre : forme 966">
              <a:extLst>
                <a:ext uri="{FF2B5EF4-FFF2-40B4-BE49-F238E27FC236}">
                  <a16:creationId xmlns:a16="http://schemas.microsoft.com/office/drawing/2014/main" id="{B623F3B8-2654-4B92-BE58-3F7E38DD0FB8}"/>
                </a:ext>
              </a:extLst>
            </p:cNvPr>
            <p:cNvSpPr/>
            <p:nvPr/>
          </p:nvSpPr>
          <p:spPr>
            <a:xfrm rot="8716295">
              <a:off x="6498383" y="5093340"/>
              <a:ext cx="58211" cy="56997"/>
            </a:xfrm>
            <a:custGeom>
              <a:avLst/>
              <a:gdLst>
                <a:gd name="connsiteX0" fmla="*/ 8658 w 58211"/>
                <a:gd name="connsiteY0" fmla="*/ 48794 h 56997"/>
                <a:gd name="connsiteX1" fmla="*/ 0 w 58211"/>
                <a:gd name="connsiteY1" fmla="*/ 28290 h 56997"/>
                <a:gd name="connsiteX2" fmla="*/ 0 w 58211"/>
                <a:gd name="connsiteY2" fmla="*/ 27833 h 56997"/>
                <a:gd name="connsiteX3" fmla="*/ 8658 w 58211"/>
                <a:gd name="connsiteY3" fmla="*/ 7329 h 56997"/>
                <a:gd name="connsiteX4" fmla="*/ 26015 w 58211"/>
                <a:gd name="connsiteY4" fmla="*/ 0 h 56997"/>
                <a:gd name="connsiteX5" fmla="*/ 55042 w 58211"/>
                <a:gd name="connsiteY5" fmla="*/ 20120 h 56997"/>
                <a:gd name="connsiteX6" fmla="*/ 58211 w 58211"/>
                <a:gd name="connsiteY6" fmla="*/ 27663 h 56997"/>
                <a:gd name="connsiteX7" fmla="*/ 49668 w 58211"/>
                <a:gd name="connsiteY7" fmla="*/ 48339 h 56997"/>
                <a:gd name="connsiteX8" fmla="*/ 29163 w 58211"/>
                <a:gd name="connsiteY8" fmla="*/ 56997 h 56997"/>
                <a:gd name="connsiteX9" fmla="*/ 8658 w 58211"/>
                <a:gd name="connsiteY9" fmla="*/ 48794 h 56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8211" h="56997">
                  <a:moveTo>
                    <a:pt x="8658" y="48794"/>
                  </a:moveTo>
                  <a:cubicBezTo>
                    <a:pt x="3190" y="43327"/>
                    <a:pt x="0" y="36035"/>
                    <a:pt x="0" y="28290"/>
                  </a:cubicBezTo>
                  <a:lnTo>
                    <a:pt x="0" y="27833"/>
                  </a:lnTo>
                  <a:cubicBezTo>
                    <a:pt x="0" y="20088"/>
                    <a:pt x="3190" y="12797"/>
                    <a:pt x="8658" y="7329"/>
                  </a:cubicBezTo>
                  <a:lnTo>
                    <a:pt x="26015" y="0"/>
                  </a:lnTo>
                  <a:lnTo>
                    <a:pt x="55042" y="20120"/>
                  </a:lnTo>
                  <a:lnTo>
                    <a:pt x="58211" y="27663"/>
                  </a:lnTo>
                  <a:cubicBezTo>
                    <a:pt x="58212" y="35125"/>
                    <a:pt x="55364" y="42643"/>
                    <a:pt x="49668" y="48339"/>
                  </a:cubicBezTo>
                  <a:cubicBezTo>
                    <a:pt x="44200" y="53807"/>
                    <a:pt x="36909" y="56996"/>
                    <a:pt x="29163" y="56997"/>
                  </a:cubicBezTo>
                  <a:cubicBezTo>
                    <a:pt x="21416" y="56996"/>
                    <a:pt x="14126" y="54262"/>
                    <a:pt x="8658" y="4879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8" name="Forme libre : forme 967">
              <a:extLst>
                <a:ext uri="{FF2B5EF4-FFF2-40B4-BE49-F238E27FC236}">
                  <a16:creationId xmlns:a16="http://schemas.microsoft.com/office/drawing/2014/main" id="{09425ABD-6513-4C44-B2C5-3F8F0BD4C408}"/>
                </a:ext>
              </a:extLst>
            </p:cNvPr>
            <p:cNvSpPr/>
            <p:nvPr/>
          </p:nvSpPr>
          <p:spPr>
            <a:xfrm rot="8716295">
              <a:off x="6680467" y="493629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9" name="Forme libre : forme 968">
              <a:extLst>
                <a:ext uri="{FF2B5EF4-FFF2-40B4-BE49-F238E27FC236}">
                  <a16:creationId xmlns:a16="http://schemas.microsoft.com/office/drawing/2014/main" id="{9B183886-0645-4A14-8362-6B1FDC1B0148}"/>
                </a:ext>
              </a:extLst>
            </p:cNvPr>
            <p:cNvSpPr/>
            <p:nvPr/>
          </p:nvSpPr>
          <p:spPr>
            <a:xfrm rot="8716295">
              <a:off x="6106444" y="219919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0" name="Forme libre : forme 969">
              <a:extLst>
                <a:ext uri="{FF2B5EF4-FFF2-40B4-BE49-F238E27FC236}">
                  <a16:creationId xmlns:a16="http://schemas.microsoft.com/office/drawing/2014/main" id="{2EFB178A-8391-4919-B609-712FE3C8A80B}"/>
                </a:ext>
              </a:extLst>
            </p:cNvPr>
            <p:cNvSpPr/>
            <p:nvPr/>
          </p:nvSpPr>
          <p:spPr>
            <a:xfrm rot="8716295">
              <a:off x="6195836" y="222843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1" name="Forme libre : forme 970">
              <a:extLst>
                <a:ext uri="{FF2B5EF4-FFF2-40B4-BE49-F238E27FC236}">
                  <a16:creationId xmlns:a16="http://schemas.microsoft.com/office/drawing/2014/main" id="{0FFCBE3C-AA93-430F-8E5B-BDFB102AC2EA}"/>
                </a:ext>
              </a:extLst>
            </p:cNvPr>
            <p:cNvSpPr/>
            <p:nvPr/>
          </p:nvSpPr>
          <p:spPr>
            <a:xfrm rot="8716295">
              <a:off x="6150986" y="214215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2" name="Forme libre : forme 971">
              <a:extLst>
                <a:ext uri="{FF2B5EF4-FFF2-40B4-BE49-F238E27FC236}">
                  <a16:creationId xmlns:a16="http://schemas.microsoft.com/office/drawing/2014/main" id="{FFB53123-B577-43B0-94BC-06BEF39D167F}"/>
                </a:ext>
              </a:extLst>
            </p:cNvPr>
            <p:cNvSpPr/>
            <p:nvPr/>
          </p:nvSpPr>
          <p:spPr>
            <a:xfrm rot="8716295">
              <a:off x="5994210" y="228773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3" name="Forme libre : forme 972">
              <a:extLst>
                <a:ext uri="{FF2B5EF4-FFF2-40B4-BE49-F238E27FC236}">
                  <a16:creationId xmlns:a16="http://schemas.microsoft.com/office/drawing/2014/main" id="{42AC1E8A-7A0A-409A-9CF1-4E4EBD069982}"/>
                </a:ext>
              </a:extLst>
            </p:cNvPr>
            <p:cNvSpPr/>
            <p:nvPr/>
          </p:nvSpPr>
          <p:spPr>
            <a:xfrm rot="8716295">
              <a:off x="5869307" y="207906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4" name="Forme libre : forme 973">
              <a:extLst>
                <a:ext uri="{FF2B5EF4-FFF2-40B4-BE49-F238E27FC236}">
                  <a16:creationId xmlns:a16="http://schemas.microsoft.com/office/drawing/2014/main" id="{707943F8-782E-4969-8471-01FE2059FFE2}"/>
                </a:ext>
              </a:extLst>
            </p:cNvPr>
            <p:cNvSpPr/>
            <p:nvPr/>
          </p:nvSpPr>
          <p:spPr>
            <a:xfrm rot="8716295">
              <a:off x="5980698" y="1897979"/>
              <a:ext cx="151619" cy="350829"/>
            </a:xfrm>
            <a:custGeom>
              <a:avLst/>
              <a:gdLst>
                <a:gd name="connsiteX0" fmla="*/ 25299 w 151619"/>
                <a:gd name="connsiteY0" fmla="*/ 321238 h 350829"/>
                <a:gd name="connsiteX1" fmla="*/ 0 w 151619"/>
                <a:gd name="connsiteY1" fmla="*/ 220042 h 350829"/>
                <a:gd name="connsiteX2" fmla="*/ 0 w 151619"/>
                <a:gd name="connsiteY2" fmla="*/ 40596 h 350829"/>
                <a:gd name="connsiteX3" fmla="*/ 78250 w 151619"/>
                <a:gd name="connsiteY3" fmla="*/ 0 h 350829"/>
                <a:gd name="connsiteX4" fmla="*/ 79427 w 151619"/>
                <a:gd name="connsiteY4" fmla="*/ 164149 h 350829"/>
                <a:gd name="connsiteX5" fmla="*/ 93547 w 151619"/>
                <a:gd name="connsiteY5" fmla="*/ 261815 h 350829"/>
                <a:gd name="connsiteX6" fmla="*/ 118478 w 151619"/>
                <a:gd name="connsiteY6" fmla="*/ 290938 h 350829"/>
                <a:gd name="connsiteX7" fmla="*/ 151619 w 151619"/>
                <a:gd name="connsiteY7" fmla="*/ 297983 h 350829"/>
                <a:gd name="connsiteX8" fmla="*/ 109310 w 151619"/>
                <a:gd name="connsiteY8" fmla="*/ 349136 h 350829"/>
                <a:gd name="connsiteX9" fmla="*/ 97665 w 151619"/>
                <a:gd name="connsiteY9" fmla="*/ 350655 h 350829"/>
                <a:gd name="connsiteX10" fmla="*/ 25299 w 151619"/>
                <a:gd name="connsiteY10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1619" h="350829">
                  <a:moveTo>
                    <a:pt x="25299" y="321238"/>
                  </a:moveTo>
                  <a:cubicBezTo>
                    <a:pt x="5295" y="301823"/>
                    <a:pt x="0" y="268287"/>
                    <a:pt x="0" y="220042"/>
                  </a:cubicBez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98254" y="274758"/>
                    <a:pt x="106638" y="284466"/>
                    <a:pt x="118478" y="290938"/>
                  </a:cubicBezTo>
                  <a:lnTo>
                    <a:pt x="151619" y="297983"/>
                  </a:lnTo>
                  <a:lnTo>
                    <a:pt x="109310" y="349136"/>
                  </a:lnTo>
                  <a:lnTo>
                    <a:pt x="97665" y="350655"/>
                  </a:ln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5" name="Forme libre : forme 974">
              <a:extLst>
                <a:ext uri="{FF2B5EF4-FFF2-40B4-BE49-F238E27FC236}">
                  <a16:creationId xmlns:a16="http://schemas.microsoft.com/office/drawing/2014/main" id="{F4544020-0266-41BA-8C00-E24B164AB2ED}"/>
                </a:ext>
              </a:extLst>
            </p:cNvPr>
            <p:cNvSpPr/>
            <p:nvPr/>
          </p:nvSpPr>
          <p:spPr>
            <a:xfrm rot="8716295">
              <a:off x="6084388" y="232868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6" name="Forme libre : forme 975">
              <a:extLst>
                <a:ext uri="{FF2B5EF4-FFF2-40B4-BE49-F238E27FC236}">
                  <a16:creationId xmlns:a16="http://schemas.microsoft.com/office/drawing/2014/main" id="{271CA1CD-963F-4CD4-AA61-A9B8E1C43CF8}"/>
                </a:ext>
              </a:extLst>
            </p:cNvPr>
            <p:cNvSpPr/>
            <p:nvPr/>
          </p:nvSpPr>
          <p:spPr>
            <a:xfrm rot="8716295">
              <a:off x="6395543" y="194904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7" name="Forme libre : forme 976">
              <a:extLst>
                <a:ext uri="{FF2B5EF4-FFF2-40B4-BE49-F238E27FC236}">
                  <a16:creationId xmlns:a16="http://schemas.microsoft.com/office/drawing/2014/main" id="{FE1D00A6-C81C-4E96-A531-7D8D031389D2}"/>
                </a:ext>
              </a:extLst>
            </p:cNvPr>
            <p:cNvSpPr/>
            <p:nvPr/>
          </p:nvSpPr>
          <p:spPr>
            <a:xfrm rot="8716295">
              <a:off x="6484935" y="197828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8" name="Forme libre : forme 977">
              <a:extLst>
                <a:ext uri="{FF2B5EF4-FFF2-40B4-BE49-F238E27FC236}">
                  <a16:creationId xmlns:a16="http://schemas.microsoft.com/office/drawing/2014/main" id="{D1AD4F7D-FFA6-412C-8AC2-97E76C5D511B}"/>
                </a:ext>
              </a:extLst>
            </p:cNvPr>
            <p:cNvSpPr/>
            <p:nvPr/>
          </p:nvSpPr>
          <p:spPr>
            <a:xfrm rot="8716295">
              <a:off x="6283309" y="203758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9" name="Forme libre : forme 978">
              <a:extLst>
                <a:ext uri="{FF2B5EF4-FFF2-40B4-BE49-F238E27FC236}">
                  <a16:creationId xmlns:a16="http://schemas.microsoft.com/office/drawing/2014/main" id="{B6B09C33-56D6-43CA-889B-8BC67F824FD1}"/>
                </a:ext>
              </a:extLst>
            </p:cNvPr>
            <p:cNvSpPr/>
            <p:nvPr/>
          </p:nvSpPr>
          <p:spPr>
            <a:xfrm rot="8716295">
              <a:off x="6158407" y="182891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0" name="Forme libre : forme 979">
              <a:extLst>
                <a:ext uri="{FF2B5EF4-FFF2-40B4-BE49-F238E27FC236}">
                  <a16:creationId xmlns:a16="http://schemas.microsoft.com/office/drawing/2014/main" id="{64E9AC88-77BF-47F7-9F24-3879D854D04A}"/>
                </a:ext>
              </a:extLst>
            </p:cNvPr>
            <p:cNvSpPr/>
            <p:nvPr/>
          </p:nvSpPr>
          <p:spPr>
            <a:xfrm rot="8716295">
              <a:off x="6373487" y="207853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1" name="Forme libre : forme 980">
              <a:extLst>
                <a:ext uri="{FF2B5EF4-FFF2-40B4-BE49-F238E27FC236}">
                  <a16:creationId xmlns:a16="http://schemas.microsoft.com/office/drawing/2014/main" id="{CF11DCA9-1C6D-449B-A7C0-73F03FD1154F}"/>
                </a:ext>
              </a:extLst>
            </p:cNvPr>
            <p:cNvSpPr/>
            <p:nvPr/>
          </p:nvSpPr>
          <p:spPr>
            <a:xfrm rot="8716295">
              <a:off x="6132036" y="192893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2" name="Forme libre : forme 981">
              <a:extLst>
                <a:ext uri="{FF2B5EF4-FFF2-40B4-BE49-F238E27FC236}">
                  <a16:creationId xmlns:a16="http://schemas.microsoft.com/office/drawing/2014/main" id="{4B619A62-FDFD-4430-894F-6ACA1B302C71}"/>
                </a:ext>
              </a:extLst>
            </p:cNvPr>
            <p:cNvSpPr/>
            <p:nvPr/>
          </p:nvSpPr>
          <p:spPr>
            <a:xfrm rot="7484129">
              <a:off x="6478418" y="226988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3" name="Forme libre : forme 982">
              <a:extLst>
                <a:ext uri="{FF2B5EF4-FFF2-40B4-BE49-F238E27FC236}">
                  <a16:creationId xmlns:a16="http://schemas.microsoft.com/office/drawing/2014/main" id="{EEC07FBE-5BAD-4BDB-9368-94EB98E8DB84}"/>
                </a:ext>
              </a:extLst>
            </p:cNvPr>
            <p:cNvSpPr/>
            <p:nvPr/>
          </p:nvSpPr>
          <p:spPr>
            <a:xfrm rot="13089394">
              <a:off x="6583238" y="2236421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4" name="Forme libre : forme 983">
              <a:extLst>
                <a:ext uri="{FF2B5EF4-FFF2-40B4-BE49-F238E27FC236}">
                  <a16:creationId xmlns:a16="http://schemas.microsoft.com/office/drawing/2014/main" id="{6C20D42A-CF2C-4DF9-8389-1987D2DA4730}"/>
                </a:ext>
              </a:extLst>
            </p:cNvPr>
            <p:cNvSpPr/>
            <p:nvPr/>
          </p:nvSpPr>
          <p:spPr>
            <a:xfrm rot="8716295">
              <a:off x="6768823" y="204474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5" name="Forme libre : forme 984">
              <a:extLst>
                <a:ext uri="{FF2B5EF4-FFF2-40B4-BE49-F238E27FC236}">
                  <a16:creationId xmlns:a16="http://schemas.microsoft.com/office/drawing/2014/main" id="{690A085A-5485-49A4-B859-ADCE99BE4188}"/>
                </a:ext>
              </a:extLst>
            </p:cNvPr>
            <p:cNvSpPr/>
            <p:nvPr/>
          </p:nvSpPr>
          <p:spPr>
            <a:xfrm rot="8716295">
              <a:off x="6717018" y="194114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6" name="Forme libre : forme 985">
              <a:extLst>
                <a:ext uri="{FF2B5EF4-FFF2-40B4-BE49-F238E27FC236}">
                  <a16:creationId xmlns:a16="http://schemas.microsoft.com/office/drawing/2014/main" id="{617C9727-2FB5-4490-85D8-1E9D17ED0FFB}"/>
                </a:ext>
              </a:extLst>
            </p:cNvPr>
            <p:cNvSpPr/>
            <p:nvPr/>
          </p:nvSpPr>
          <p:spPr>
            <a:xfrm rot="8716295">
              <a:off x="6473772" y="197136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7" name="Forme libre : forme 986">
              <a:extLst>
                <a:ext uri="{FF2B5EF4-FFF2-40B4-BE49-F238E27FC236}">
                  <a16:creationId xmlns:a16="http://schemas.microsoft.com/office/drawing/2014/main" id="{A4EA73FB-BC31-47BA-B0AF-60CD29A14CE4}"/>
                </a:ext>
              </a:extLst>
            </p:cNvPr>
            <p:cNvSpPr/>
            <p:nvPr/>
          </p:nvSpPr>
          <p:spPr>
            <a:xfrm rot="8716295">
              <a:off x="6651224" y="18121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8" name="Forme libre : forme 987">
              <a:extLst>
                <a:ext uri="{FF2B5EF4-FFF2-40B4-BE49-F238E27FC236}">
                  <a16:creationId xmlns:a16="http://schemas.microsoft.com/office/drawing/2014/main" id="{156A20B8-C2E0-4D62-9BB2-A5D841EE0CF6}"/>
                </a:ext>
              </a:extLst>
            </p:cNvPr>
            <p:cNvSpPr/>
            <p:nvPr/>
          </p:nvSpPr>
          <p:spPr>
            <a:xfrm rot="8716295">
              <a:off x="6329611" y="285889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9" name="Forme libre : forme 988">
              <a:extLst>
                <a:ext uri="{FF2B5EF4-FFF2-40B4-BE49-F238E27FC236}">
                  <a16:creationId xmlns:a16="http://schemas.microsoft.com/office/drawing/2014/main" id="{23E51C9F-FBAB-4ECD-8008-9610D0830C99}"/>
                </a:ext>
              </a:extLst>
            </p:cNvPr>
            <p:cNvSpPr/>
            <p:nvPr/>
          </p:nvSpPr>
          <p:spPr>
            <a:xfrm rot="8716295">
              <a:off x="6419003" y="288813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0" name="Forme libre : forme 989">
              <a:extLst>
                <a:ext uri="{FF2B5EF4-FFF2-40B4-BE49-F238E27FC236}">
                  <a16:creationId xmlns:a16="http://schemas.microsoft.com/office/drawing/2014/main" id="{7F32C77C-4F6E-45B6-AD92-CD6F8E2E6271}"/>
                </a:ext>
              </a:extLst>
            </p:cNvPr>
            <p:cNvSpPr/>
            <p:nvPr/>
          </p:nvSpPr>
          <p:spPr>
            <a:xfrm rot="8716295">
              <a:off x="6374153" y="280185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1" name="Forme libre : forme 990">
              <a:extLst>
                <a:ext uri="{FF2B5EF4-FFF2-40B4-BE49-F238E27FC236}">
                  <a16:creationId xmlns:a16="http://schemas.microsoft.com/office/drawing/2014/main" id="{D4431DD9-04B9-4FE1-A081-03E62FD89C9D}"/>
                </a:ext>
              </a:extLst>
            </p:cNvPr>
            <p:cNvSpPr/>
            <p:nvPr/>
          </p:nvSpPr>
          <p:spPr>
            <a:xfrm rot="8716295">
              <a:off x="6217377" y="294743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2" name="Forme libre : forme 991">
              <a:extLst>
                <a:ext uri="{FF2B5EF4-FFF2-40B4-BE49-F238E27FC236}">
                  <a16:creationId xmlns:a16="http://schemas.microsoft.com/office/drawing/2014/main" id="{3776591D-A273-4F99-BE73-AB66F060ED94}"/>
                </a:ext>
              </a:extLst>
            </p:cNvPr>
            <p:cNvSpPr/>
            <p:nvPr/>
          </p:nvSpPr>
          <p:spPr>
            <a:xfrm rot="8716295">
              <a:off x="6092474" y="273876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3" name="Forme libre : forme 992">
              <a:extLst>
                <a:ext uri="{FF2B5EF4-FFF2-40B4-BE49-F238E27FC236}">
                  <a16:creationId xmlns:a16="http://schemas.microsoft.com/office/drawing/2014/main" id="{70BC3904-666B-4476-94FE-E1509AD90EDA}"/>
                </a:ext>
              </a:extLst>
            </p:cNvPr>
            <p:cNvSpPr/>
            <p:nvPr/>
          </p:nvSpPr>
          <p:spPr>
            <a:xfrm rot="8716295">
              <a:off x="6080422" y="259998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4" name="Forme libre : forme 993">
              <a:extLst>
                <a:ext uri="{FF2B5EF4-FFF2-40B4-BE49-F238E27FC236}">
                  <a16:creationId xmlns:a16="http://schemas.microsoft.com/office/drawing/2014/main" id="{9A71DA94-5749-49E1-B169-14B235223A8A}"/>
                </a:ext>
              </a:extLst>
            </p:cNvPr>
            <p:cNvSpPr/>
            <p:nvPr/>
          </p:nvSpPr>
          <p:spPr>
            <a:xfrm rot="8716295">
              <a:off x="6307555" y="298838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5" name="Forme libre : forme 994">
              <a:extLst>
                <a:ext uri="{FF2B5EF4-FFF2-40B4-BE49-F238E27FC236}">
                  <a16:creationId xmlns:a16="http://schemas.microsoft.com/office/drawing/2014/main" id="{5E531992-BAC1-4C94-95FD-24C15B9EF2BF}"/>
                </a:ext>
              </a:extLst>
            </p:cNvPr>
            <p:cNvSpPr/>
            <p:nvPr/>
          </p:nvSpPr>
          <p:spPr>
            <a:xfrm rot="8716295">
              <a:off x="6618710" y="260873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6" name="Forme libre : forme 995">
              <a:extLst>
                <a:ext uri="{FF2B5EF4-FFF2-40B4-BE49-F238E27FC236}">
                  <a16:creationId xmlns:a16="http://schemas.microsoft.com/office/drawing/2014/main" id="{E4284C6A-7A82-4CAE-89A5-2E977266E045}"/>
                </a:ext>
              </a:extLst>
            </p:cNvPr>
            <p:cNvSpPr/>
            <p:nvPr/>
          </p:nvSpPr>
          <p:spPr>
            <a:xfrm rot="8716295">
              <a:off x="6708102" y="263798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7" name="Forme libre : forme 996">
              <a:extLst>
                <a:ext uri="{FF2B5EF4-FFF2-40B4-BE49-F238E27FC236}">
                  <a16:creationId xmlns:a16="http://schemas.microsoft.com/office/drawing/2014/main" id="{6AD07265-46A4-4F48-AE48-C93ECBEB0115}"/>
                </a:ext>
              </a:extLst>
            </p:cNvPr>
            <p:cNvSpPr/>
            <p:nvPr/>
          </p:nvSpPr>
          <p:spPr>
            <a:xfrm rot="8716295">
              <a:off x="6506476" y="269728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8" name="Forme libre : forme 997">
              <a:extLst>
                <a:ext uri="{FF2B5EF4-FFF2-40B4-BE49-F238E27FC236}">
                  <a16:creationId xmlns:a16="http://schemas.microsoft.com/office/drawing/2014/main" id="{0F626FEE-5136-4D5A-B874-AE58DE51C27B}"/>
                </a:ext>
              </a:extLst>
            </p:cNvPr>
            <p:cNvSpPr/>
            <p:nvPr/>
          </p:nvSpPr>
          <p:spPr>
            <a:xfrm rot="8716295">
              <a:off x="6381574" y="248861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9" name="Forme libre : forme 998">
              <a:extLst>
                <a:ext uri="{FF2B5EF4-FFF2-40B4-BE49-F238E27FC236}">
                  <a16:creationId xmlns:a16="http://schemas.microsoft.com/office/drawing/2014/main" id="{7B0A3539-A5EC-4DA5-B326-1671C80D9FC9}"/>
                </a:ext>
              </a:extLst>
            </p:cNvPr>
            <p:cNvSpPr/>
            <p:nvPr/>
          </p:nvSpPr>
          <p:spPr>
            <a:xfrm rot="8716295">
              <a:off x="6596654" y="273823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0" name="Forme libre : forme 999">
              <a:extLst>
                <a:ext uri="{FF2B5EF4-FFF2-40B4-BE49-F238E27FC236}">
                  <a16:creationId xmlns:a16="http://schemas.microsoft.com/office/drawing/2014/main" id="{A34DFDFC-C834-479E-912E-6B279D3D7039}"/>
                </a:ext>
              </a:extLst>
            </p:cNvPr>
            <p:cNvSpPr/>
            <p:nvPr/>
          </p:nvSpPr>
          <p:spPr>
            <a:xfrm rot="8716295">
              <a:off x="6355203" y="258863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1" name="Forme libre : forme 1000">
              <a:extLst>
                <a:ext uri="{FF2B5EF4-FFF2-40B4-BE49-F238E27FC236}">
                  <a16:creationId xmlns:a16="http://schemas.microsoft.com/office/drawing/2014/main" id="{07620231-653C-4CB4-8F77-0AA8D3803BFF}"/>
                </a:ext>
              </a:extLst>
            </p:cNvPr>
            <p:cNvSpPr/>
            <p:nvPr/>
          </p:nvSpPr>
          <p:spPr>
            <a:xfrm rot="7484129">
              <a:off x="6701585" y="292958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2" name="Forme libre : forme 1001">
              <a:extLst>
                <a:ext uri="{FF2B5EF4-FFF2-40B4-BE49-F238E27FC236}">
                  <a16:creationId xmlns:a16="http://schemas.microsoft.com/office/drawing/2014/main" id="{D290ABBC-41B3-4F18-93F2-164F7D54EBDE}"/>
                </a:ext>
              </a:extLst>
            </p:cNvPr>
            <p:cNvSpPr/>
            <p:nvPr/>
          </p:nvSpPr>
          <p:spPr>
            <a:xfrm rot="13089394">
              <a:off x="6806405" y="289612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3" name="Forme libre : forme 1002">
              <a:extLst>
                <a:ext uri="{FF2B5EF4-FFF2-40B4-BE49-F238E27FC236}">
                  <a16:creationId xmlns:a16="http://schemas.microsoft.com/office/drawing/2014/main" id="{8DD9E291-7841-4F2C-A3C2-BF1A5190446E}"/>
                </a:ext>
              </a:extLst>
            </p:cNvPr>
            <p:cNvSpPr/>
            <p:nvPr/>
          </p:nvSpPr>
          <p:spPr>
            <a:xfrm rot="8716295">
              <a:off x="6991990" y="270443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4" name="Forme libre : forme 1003">
              <a:extLst>
                <a:ext uri="{FF2B5EF4-FFF2-40B4-BE49-F238E27FC236}">
                  <a16:creationId xmlns:a16="http://schemas.microsoft.com/office/drawing/2014/main" id="{41A89C08-3907-4E7D-B1E6-D307FE9BC2BC}"/>
                </a:ext>
              </a:extLst>
            </p:cNvPr>
            <p:cNvSpPr/>
            <p:nvPr/>
          </p:nvSpPr>
          <p:spPr>
            <a:xfrm rot="8716295">
              <a:off x="6940185" y="260084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5" name="Forme libre : forme 1004">
              <a:extLst>
                <a:ext uri="{FF2B5EF4-FFF2-40B4-BE49-F238E27FC236}">
                  <a16:creationId xmlns:a16="http://schemas.microsoft.com/office/drawing/2014/main" id="{157F3384-4A1D-41EA-805B-09275197A993}"/>
                </a:ext>
              </a:extLst>
            </p:cNvPr>
            <p:cNvSpPr/>
            <p:nvPr/>
          </p:nvSpPr>
          <p:spPr>
            <a:xfrm rot="8716295">
              <a:off x="6696939" y="263106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6" name="Forme libre : forme 1005">
              <a:extLst>
                <a:ext uri="{FF2B5EF4-FFF2-40B4-BE49-F238E27FC236}">
                  <a16:creationId xmlns:a16="http://schemas.microsoft.com/office/drawing/2014/main" id="{FF46E72A-AA4E-4A7E-AA90-4EE78B17F3E0}"/>
                </a:ext>
              </a:extLst>
            </p:cNvPr>
            <p:cNvSpPr/>
            <p:nvPr/>
          </p:nvSpPr>
          <p:spPr>
            <a:xfrm rot="8716295">
              <a:off x="6874391" y="247182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7" name="Forme libre : forme 1006">
              <a:extLst>
                <a:ext uri="{FF2B5EF4-FFF2-40B4-BE49-F238E27FC236}">
                  <a16:creationId xmlns:a16="http://schemas.microsoft.com/office/drawing/2014/main" id="{F3CC0703-4FAA-4CF5-BF29-341DDF37A94E}"/>
                </a:ext>
              </a:extLst>
            </p:cNvPr>
            <p:cNvSpPr/>
            <p:nvPr/>
          </p:nvSpPr>
          <p:spPr>
            <a:xfrm rot="8716295">
              <a:off x="6992966" y="483796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8" name="Forme libre : forme 1007">
              <a:extLst>
                <a:ext uri="{FF2B5EF4-FFF2-40B4-BE49-F238E27FC236}">
                  <a16:creationId xmlns:a16="http://schemas.microsoft.com/office/drawing/2014/main" id="{C3F81C70-85AD-4CF6-A01C-4C0E0F9C52D5}"/>
                </a:ext>
              </a:extLst>
            </p:cNvPr>
            <p:cNvSpPr/>
            <p:nvPr/>
          </p:nvSpPr>
          <p:spPr>
            <a:xfrm rot="8716295">
              <a:off x="7082358" y="486720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9" name="Forme libre : forme 1008">
              <a:extLst>
                <a:ext uri="{FF2B5EF4-FFF2-40B4-BE49-F238E27FC236}">
                  <a16:creationId xmlns:a16="http://schemas.microsoft.com/office/drawing/2014/main" id="{8594D2EF-5DEB-4BF2-8AF7-303476CE0CC5}"/>
                </a:ext>
              </a:extLst>
            </p:cNvPr>
            <p:cNvSpPr/>
            <p:nvPr/>
          </p:nvSpPr>
          <p:spPr>
            <a:xfrm rot="8716295">
              <a:off x="7037508" y="478092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0" name="Forme libre : forme 1009">
              <a:extLst>
                <a:ext uri="{FF2B5EF4-FFF2-40B4-BE49-F238E27FC236}">
                  <a16:creationId xmlns:a16="http://schemas.microsoft.com/office/drawing/2014/main" id="{77E9C412-FDC3-454A-B80E-5D8A9E43C4DA}"/>
                </a:ext>
              </a:extLst>
            </p:cNvPr>
            <p:cNvSpPr/>
            <p:nvPr/>
          </p:nvSpPr>
          <p:spPr>
            <a:xfrm rot="8716295">
              <a:off x="6880732" y="49265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1" name="Forme libre : forme 1010">
              <a:extLst>
                <a:ext uri="{FF2B5EF4-FFF2-40B4-BE49-F238E27FC236}">
                  <a16:creationId xmlns:a16="http://schemas.microsoft.com/office/drawing/2014/main" id="{A5D4AA44-D0FA-491F-BE63-FF8A4B5DD958}"/>
                </a:ext>
              </a:extLst>
            </p:cNvPr>
            <p:cNvSpPr/>
            <p:nvPr/>
          </p:nvSpPr>
          <p:spPr>
            <a:xfrm rot="8716295">
              <a:off x="6755829" y="471783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2" name="Forme libre : forme 1011">
              <a:extLst>
                <a:ext uri="{FF2B5EF4-FFF2-40B4-BE49-F238E27FC236}">
                  <a16:creationId xmlns:a16="http://schemas.microsoft.com/office/drawing/2014/main" id="{EA7B1920-6683-4EDE-8D1A-30EA77A457A9}"/>
                </a:ext>
              </a:extLst>
            </p:cNvPr>
            <p:cNvSpPr/>
            <p:nvPr/>
          </p:nvSpPr>
          <p:spPr>
            <a:xfrm rot="8716295">
              <a:off x="6743777" y="4579051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3" name="Forme libre : forme 1012">
              <a:extLst>
                <a:ext uri="{FF2B5EF4-FFF2-40B4-BE49-F238E27FC236}">
                  <a16:creationId xmlns:a16="http://schemas.microsoft.com/office/drawing/2014/main" id="{0C35C265-9177-4FAD-9F28-2B57935811A6}"/>
                </a:ext>
              </a:extLst>
            </p:cNvPr>
            <p:cNvSpPr/>
            <p:nvPr/>
          </p:nvSpPr>
          <p:spPr>
            <a:xfrm rot="8716295">
              <a:off x="6967304" y="4968128"/>
              <a:ext cx="103435" cy="217167"/>
            </a:xfrm>
            <a:custGeom>
              <a:avLst/>
              <a:gdLst>
                <a:gd name="connsiteX0" fmla="*/ 0 w 103435"/>
                <a:gd name="connsiteY0" fmla="*/ 14397 h 217167"/>
                <a:gd name="connsiteX1" fmla="*/ 0 w 103435"/>
                <a:gd name="connsiteY1" fmla="*/ 271 h 217167"/>
                <a:gd name="connsiteX2" fmla="*/ 12306 w 103435"/>
                <a:gd name="connsiteY2" fmla="*/ 0 h 217167"/>
                <a:gd name="connsiteX3" fmla="*/ 33075 w 103435"/>
                <a:gd name="connsiteY3" fmla="*/ 14397 h 217167"/>
                <a:gd name="connsiteX4" fmla="*/ 103435 w 103435"/>
                <a:gd name="connsiteY4" fmla="*/ 217167 h 217167"/>
                <a:gd name="connsiteX5" fmla="*/ 43288 w 103435"/>
                <a:gd name="connsiteY5" fmla="*/ 159297 h 217167"/>
                <a:gd name="connsiteX6" fmla="*/ 43288 w 103435"/>
                <a:gd name="connsiteY6" fmla="*/ 21477 h 217167"/>
                <a:gd name="connsiteX7" fmla="*/ 103435 w 103435"/>
                <a:gd name="connsiteY7" fmla="*/ 63169 h 217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3435" h="217167">
                  <a:moveTo>
                    <a:pt x="0" y="14397"/>
                  </a:moveTo>
                  <a:lnTo>
                    <a:pt x="0" y="271"/>
                  </a:lnTo>
                  <a:lnTo>
                    <a:pt x="12306" y="0"/>
                  </a:lnTo>
                  <a:lnTo>
                    <a:pt x="33075" y="14397"/>
                  </a:lnTo>
                  <a:close/>
                  <a:moveTo>
                    <a:pt x="103435" y="217167"/>
                  </a:moveTo>
                  <a:lnTo>
                    <a:pt x="43288" y="159297"/>
                  </a:lnTo>
                  <a:lnTo>
                    <a:pt x="43288" y="21477"/>
                  </a:lnTo>
                  <a:lnTo>
                    <a:pt x="103435" y="631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4" name="Forme libre : forme 1013">
              <a:extLst>
                <a:ext uri="{FF2B5EF4-FFF2-40B4-BE49-F238E27FC236}">
                  <a16:creationId xmlns:a16="http://schemas.microsoft.com/office/drawing/2014/main" id="{BD244519-3E70-4BEA-A7E9-6D6329332810}"/>
                </a:ext>
              </a:extLst>
            </p:cNvPr>
            <p:cNvSpPr/>
            <p:nvPr/>
          </p:nvSpPr>
          <p:spPr>
            <a:xfrm rot="8716295">
              <a:off x="7282065" y="458780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5" name="Forme libre : forme 1014">
              <a:extLst>
                <a:ext uri="{FF2B5EF4-FFF2-40B4-BE49-F238E27FC236}">
                  <a16:creationId xmlns:a16="http://schemas.microsoft.com/office/drawing/2014/main" id="{B4585F35-0A90-4165-A27A-19AF98E52F16}"/>
                </a:ext>
              </a:extLst>
            </p:cNvPr>
            <p:cNvSpPr/>
            <p:nvPr/>
          </p:nvSpPr>
          <p:spPr>
            <a:xfrm rot="8716295">
              <a:off x="7371457" y="461705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6" name="Forme libre : forme 1015">
              <a:extLst>
                <a:ext uri="{FF2B5EF4-FFF2-40B4-BE49-F238E27FC236}">
                  <a16:creationId xmlns:a16="http://schemas.microsoft.com/office/drawing/2014/main" id="{037BBBAE-DF3D-45D1-93C9-705EA55906DA}"/>
                </a:ext>
              </a:extLst>
            </p:cNvPr>
            <p:cNvSpPr/>
            <p:nvPr/>
          </p:nvSpPr>
          <p:spPr>
            <a:xfrm rot="8716295">
              <a:off x="7169831" y="467635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7" name="Forme libre : forme 1016">
              <a:extLst>
                <a:ext uri="{FF2B5EF4-FFF2-40B4-BE49-F238E27FC236}">
                  <a16:creationId xmlns:a16="http://schemas.microsoft.com/office/drawing/2014/main" id="{79B12E01-567A-4F11-A8EA-E4D5E5D6D861}"/>
                </a:ext>
              </a:extLst>
            </p:cNvPr>
            <p:cNvSpPr/>
            <p:nvPr/>
          </p:nvSpPr>
          <p:spPr>
            <a:xfrm rot="8716295">
              <a:off x="7044929" y="446767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8" name="Forme libre : forme 1017">
              <a:extLst>
                <a:ext uri="{FF2B5EF4-FFF2-40B4-BE49-F238E27FC236}">
                  <a16:creationId xmlns:a16="http://schemas.microsoft.com/office/drawing/2014/main" id="{FD84A8E2-51AA-4D9A-9373-C01406950A10}"/>
                </a:ext>
              </a:extLst>
            </p:cNvPr>
            <p:cNvSpPr/>
            <p:nvPr/>
          </p:nvSpPr>
          <p:spPr>
            <a:xfrm rot="8716295">
              <a:off x="7260009" y="471730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9" name="Forme libre : forme 1018">
              <a:extLst>
                <a:ext uri="{FF2B5EF4-FFF2-40B4-BE49-F238E27FC236}">
                  <a16:creationId xmlns:a16="http://schemas.microsoft.com/office/drawing/2014/main" id="{BA3A5019-01D7-4AD7-A88B-3385609FFFB0}"/>
                </a:ext>
              </a:extLst>
            </p:cNvPr>
            <p:cNvSpPr/>
            <p:nvPr/>
          </p:nvSpPr>
          <p:spPr>
            <a:xfrm rot="8716295">
              <a:off x="7018558" y="456770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0" name="Forme libre : forme 1019">
              <a:extLst>
                <a:ext uri="{FF2B5EF4-FFF2-40B4-BE49-F238E27FC236}">
                  <a16:creationId xmlns:a16="http://schemas.microsoft.com/office/drawing/2014/main" id="{C76C9B6C-CE3D-4347-A6FC-4F62281A45DE}"/>
                </a:ext>
              </a:extLst>
            </p:cNvPr>
            <p:cNvSpPr/>
            <p:nvPr/>
          </p:nvSpPr>
          <p:spPr>
            <a:xfrm rot="7484129">
              <a:off x="7360806" y="490932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199801 w 203847"/>
                <a:gd name="connsiteY5" fmla="*/ 0 h 195874"/>
                <a:gd name="connsiteX6" fmla="*/ 203847 w 203847"/>
                <a:gd name="connsiteY6" fmla="*/ 5835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199801" y="0"/>
                  </a:lnTo>
                  <a:lnTo>
                    <a:pt x="203847" y="5835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1" name="Forme libre : forme 1020">
              <a:extLst>
                <a:ext uri="{FF2B5EF4-FFF2-40B4-BE49-F238E27FC236}">
                  <a16:creationId xmlns:a16="http://schemas.microsoft.com/office/drawing/2014/main" id="{968CDA2A-BCE6-4E6C-B078-182B2D0CB115}"/>
                </a:ext>
              </a:extLst>
            </p:cNvPr>
            <p:cNvSpPr/>
            <p:nvPr/>
          </p:nvSpPr>
          <p:spPr>
            <a:xfrm rot="13089394">
              <a:off x="7492553" y="4879598"/>
              <a:ext cx="272584" cy="252337"/>
            </a:xfrm>
            <a:custGeom>
              <a:avLst/>
              <a:gdLst>
                <a:gd name="connsiteX0" fmla="*/ 272584 w 272584"/>
                <a:gd name="connsiteY0" fmla="*/ 181545 h 252337"/>
                <a:gd name="connsiteX1" fmla="*/ 91597 w 272584"/>
                <a:gd name="connsiteY1" fmla="*/ 252174 h 252337"/>
                <a:gd name="connsiteX2" fmla="*/ 23727 w 272584"/>
                <a:gd name="connsiteY2" fmla="*/ 224584 h 252337"/>
                <a:gd name="connsiteX3" fmla="*/ 0 w 272584"/>
                <a:gd name="connsiteY3" fmla="*/ 129677 h 252337"/>
                <a:gd name="connsiteX4" fmla="*/ 0 w 272584"/>
                <a:gd name="connsiteY4" fmla="*/ 58093 h 252337"/>
                <a:gd name="connsiteX5" fmla="*/ 73938 w 272584"/>
                <a:gd name="connsiteY5" fmla="*/ 0 h 252337"/>
                <a:gd name="connsiteX6" fmla="*/ 74492 w 272584"/>
                <a:gd name="connsiteY6" fmla="*/ 77257 h 252337"/>
                <a:gd name="connsiteX7" fmla="*/ 87734 w 272584"/>
                <a:gd name="connsiteY7" fmla="*/ 168854 h 252337"/>
                <a:gd name="connsiteX8" fmla="*/ 153949 w 272584"/>
                <a:gd name="connsiteY8" fmla="*/ 205272 h 252337"/>
                <a:gd name="connsiteX9" fmla="*/ 203610 w 272584"/>
                <a:gd name="connsiteY9" fmla="*/ 196443 h 252337"/>
                <a:gd name="connsiteX10" fmla="*/ 271481 w 272584"/>
                <a:gd name="connsiteY10" fmla="*/ 168854 h 252337"/>
                <a:gd name="connsiteX11" fmla="*/ 272584 w 272584"/>
                <a:gd name="connsiteY11" fmla="*/ 176027 h 25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2584" h="252337">
                  <a:moveTo>
                    <a:pt x="272584" y="181545"/>
                  </a:moveTo>
                  <a:cubicBezTo>
                    <a:pt x="214095" y="231758"/>
                    <a:pt x="137395" y="249415"/>
                    <a:pt x="91597" y="252174"/>
                  </a:cubicBezTo>
                  <a:cubicBezTo>
                    <a:pt x="66215" y="253830"/>
                    <a:pt x="41384" y="242793"/>
                    <a:pt x="23727" y="224584"/>
                  </a:cubicBezTo>
                  <a:cubicBezTo>
                    <a:pt x="4966" y="206376"/>
                    <a:pt x="0" y="174923"/>
                    <a:pt x="0" y="129677"/>
                  </a:cubicBezTo>
                  <a:lnTo>
                    <a:pt x="0" y="58093"/>
                  </a:lnTo>
                  <a:lnTo>
                    <a:pt x="73938" y="0"/>
                  </a:lnTo>
                  <a:lnTo>
                    <a:pt x="74492" y="77257"/>
                  </a:lnTo>
                  <a:cubicBezTo>
                    <a:pt x="72836" y="108157"/>
                    <a:pt x="77802" y="139609"/>
                    <a:pt x="87734" y="168854"/>
                  </a:cubicBezTo>
                  <a:cubicBezTo>
                    <a:pt x="96563" y="193132"/>
                    <a:pt x="119186" y="205272"/>
                    <a:pt x="153949" y="205272"/>
                  </a:cubicBezTo>
                  <a:cubicBezTo>
                    <a:pt x="171055" y="204720"/>
                    <a:pt x="187608" y="201409"/>
                    <a:pt x="203610" y="196443"/>
                  </a:cubicBezTo>
                  <a:cubicBezTo>
                    <a:pt x="226785" y="189270"/>
                    <a:pt x="249409" y="179890"/>
                    <a:pt x="271481" y="168854"/>
                  </a:cubicBezTo>
                  <a:cubicBezTo>
                    <a:pt x="272032" y="171061"/>
                    <a:pt x="272584" y="173820"/>
                    <a:pt x="272584" y="17602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2" name="Forme libre : forme 1021">
              <a:extLst>
                <a:ext uri="{FF2B5EF4-FFF2-40B4-BE49-F238E27FC236}">
                  <a16:creationId xmlns:a16="http://schemas.microsoft.com/office/drawing/2014/main" id="{ADB8B43F-E5ED-4756-924C-F5F4F7DBE002}"/>
                </a:ext>
              </a:extLst>
            </p:cNvPr>
            <p:cNvSpPr/>
            <p:nvPr/>
          </p:nvSpPr>
          <p:spPr>
            <a:xfrm rot="8716295">
              <a:off x="7655345" y="468350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3" name="Forme libre : forme 1022">
              <a:extLst>
                <a:ext uri="{FF2B5EF4-FFF2-40B4-BE49-F238E27FC236}">
                  <a16:creationId xmlns:a16="http://schemas.microsoft.com/office/drawing/2014/main" id="{FEE379FB-4155-4B72-A7C1-37CBAC14E821}"/>
                </a:ext>
              </a:extLst>
            </p:cNvPr>
            <p:cNvSpPr/>
            <p:nvPr/>
          </p:nvSpPr>
          <p:spPr>
            <a:xfrm rot="8716295">
              <a:off x="7603540" y="457991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4" name="Forme libre : forme 1023">
              <a:extLst>
                <a:ext uri="{FF2B5EF4-FFF2-40B4-BE49-F238E27FC236}">
                  <a16:creationId xmlns:a16="http://schemas.microsoft.com/office/drawing/2014/main" id="{6003D4A9-3A9F-4CD8-9279-C73BEB73CC6E}"/>
                </a:ext>
              </a:extLst>
            </p:cNvPr>
            <p:cNvSpPr/>
            <p:nvPr/>
          </p:nvSpPr>
          <p:spPr>
            <a:xfrm rot="8716295">
              <a:off x="7360294" y="461013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5" name="Forme libre : forme 1024">
              <a:extLst>
                <a:ext uri="{FF2B5EF4-FFF2-40B4-BE49-F238E27FC236}">
                  <a16:creationId xmlns:a16="http://schemas.microsoft.com/office/drawing/2014/main" id="{AFF9EBE2-B2A3-496B-B841-3E5E6836F7FA}"/>
                </a:ext>
              </a:extLst>
            </p:cNvPr>
            <p:cNvSpPr/>
            <p:nvPr/>
          </p:nvSpPr>
          <p:spPr>
            <a:xfrm rot="8716295">
              <a:off x="7537746" y="445089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6" name="Forme libre : forme 1025">
              <a:extLst>
                <a:ext uri="{FF2B5EF4-FFF2-40B4-BE49-F238E27FC236}">
                  <a16:creationId xmlns:a16="http://schemas.microsoft.com/office/drawing/2014/main" id="{CD875011-73F3-4769-8BC4-991165C05F53}"/>
                </a:ext>
              </a:extLst>
            </p:cNvPr>
            <p:cNvSpPr/>
            <p:nvPr/>
          </p:nvSpPr>
          <p:spPr>
            <a:xfrm rot="8716295">
              <a:off x="6548281" y="351728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7" name="Forme libre : forme 1026">
              <a:extLst>
                <a:ext uri="{FF2B5EF4-FFF2-40B4-BE49-F238E27FC236}">
                  <a16:creationId xmlns:a16="http://schemas.microsoft.com/office/drawing/2014/main" id="{0615D39A-2E64-416D-A795-F3C0FDD2FE87}"/>
                </a:ext>
              </a:extLst>
            </p:cNvPr>
            <p:cNvSpPr/>
            <p:nvPr/>
          </p:nvSpPr>
          <p:spPr>
            <a:xfrm rot="8716295">
              <a:off x="6637673" y="354652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8" name="Forme libre : forme 1027">
              <a:extLst>
                <a:ext uri="{FF2B5EF4-FFF2-40B4-BE49-F238E27FC236}">
                  <a16:creationId xmlns:a16="http://schemas.microsoft.com/office/drawing/2014/main" id="{060FADA5-0D30-41B8-8660-35EDACE6E0AC}"/>
                </a:ext>
              </a:extLst>
            </p:cNvPr>
            <p:cNvSpPr/>
            <p:nvPr/>
          </p:nvSpPr>
          <p:spPr>
            <a:xfrm rot="8716295">
              <a:off x="6592823" y="3460249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9" name="Forme libre : forme 1028">
              <a:extLst>
                <a:ext uri="{FF2B5EF4-FFF2-40B4-BE49-F238E27FC236}">
                  <a16:creationId xmlns:a16="http://schemas.microsoft.com/office/drawing/2014/main" id="{3DD05617-C2D8-48AB-B506-5C707825A77C}"/>
                </a:ext>
              </a:extLst>
            </p:cNvPr>
            <p:cNvSpPr/>
            <p:nvPr/>
          </p:nvSpPr>
          <p:spPr>
            <a:xfrm rot="8716295">
              <a:off x="6436047" y="36058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0" name="Forme libre : forme 1029">
              <a:extLst>
                <a:ext uri="{FF2B5EF4-FFF2-40B4-BE49-F238E27FC236}">
                  <a16:creationId xmlns:a16="http://schemas.microsoft.com/office/drawing/2014/main" id="{026125EF-4515-4513-B863-6BC5A9CD34C8}"/>
                </a:ext>
              </a:extLst>
            </p:cNvPr>
            <p:cNvSpPr/>
            <p:nvPr/>
          </p:nvSpPr>
          <p:spPr>
            <a:xfrm rot="8716295">
              <a:off x="6311144" y="339715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1" name="Forme libre : forme 1030">
              <a:extLst>
                <a:ext uri="{FF2B5EF4-FFF2-40B4-BE49-F238E27FC236}">
                  <a16:creationId xmlns:a16="http://schemas.microsoft.com/office/drawing/2014/main" id="{C0D350EA-C4E6-472F-843B-5DB93BCF6803}"/>
                </a:ext>
              </a:extLst>
            </p:cNvPr>
            <p:cNvSpPr/>
            <p:nvPr/>
          </p:nvSpPr>
          <p:spPr>
            <a:xfrm rot="8716295">
              <a:off x="6299092" y="325837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2" name="Forme libre : forme 1031">
              <a:extLst>
                <a:ext uri="{FF2B5EF4-FFF2-40B4-BE49-F238E27FC236}">
                  <a16:creationId xmlns:a16="http://schemas.microsoft.com/office/drawing/2014/main" id="{06276D8F-369A-4565-8BB4-AD96B8E4E096}"/>
                </a:ext>
              </a:extLst>
            </p:cNvPr>
            <p:cNvSpPr/>
            <p:nvPr/>
          </p:nvSpPr>
          <p:spPr>
            <a:xfrm rot="8716295">
              <a:off x="6526225" y="3646783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3" name="Forme libre : forme 1032">
              <a:extLst>
                <a:ext uri="{FF2B5EF4-FFF2-40B4-BE49-F238E27FC236}">
                  <a16:creationId xmlns:a16="http://schemas.microsoft.com/office/drawing/2014/main" id="{A7CF24B1-51CC-4AB6-89E7-65ED0BB80D36}"/>
                </a:ext>
              </a:extLst>
            </p:cNvPr>
            <p:cNvSpPr/>
            <p:nvPr/>
          </p:nvSpPr>
          <p:spPr>
            <a:xfrm rot="8716295">
              <a:off x="6837380" y="326713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4" name="Forme libre : forme 1033">
              <a:extLst>
                <a:ext uri="{FF2B5EF4-FFF2-40B4-BE49-F238E27FC236}">
                  <a16:creationId xmlns:a16="http://schemas.microsoft.com/office/drawing/2014/main" id="{5142FB3F-C994-4469-A365-E36070ACE548}"/>
                </a:ext>
              </a:extLst>
            </p:cNvPr>
            <p:cNvSpPr/>
            <p:nvPr/>
          </p:nvSpPr>
          <p:spPr>
            <a:xfrm rot="8716295">
              <a:off x="6926772" y="329637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5" name="Forme libre : forme 1034">
              <a:extLst>
                <a:ext uri="{FF2B5EF4-FFF2-40B4-BE49-F238E27FC236}">
                  <a16:creationId xmlns:a16="http://schemas.microsoft.com/office/drawing/2014/main" id="{5CF22B05-C83E-4374-AB2F-AF795A582E04}"/>
                </a:ext>
              </a:extLst>
            </p:cNvPr>
            <p:cNvSpPr/>
            <p:nvPr/>
          </p:nvSpPr>
          <p:spPr>
            <a:xfrm rot="8716295">
              <a:off x="6725146" y="335567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6" name="Forme libre : forme 1035">
              <a:extLst>
                <a:ext uri="{FF2B5EF4-FFF2-40B4-BE49-F238E27FC236}">
                  <a16:creationId xmlns:a16="http://schemas.microsoft.com/office/drawing/2014/main" id="{EFD9D455-CD8C-48E5-9EA7-45DB179447D5}"/>
                </a:ext>
              </a:extLst>
            </p:cNvPr>
            <p:cNvSpPr/>
            <p:nvPr/>
          </p:nvSpPr>
          <p:spPr>
            <a:xfrm rot="8716295">
              <a:off x="6600244" y="314700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7" name="Forme libre : forme 1036">
              <a:extLst>
                <a:ext uri="{FF2B5EF4-FFF2-40B4-BE49-F238E27FC236}">
                  <a16:creationId xmlns:a16="http://schemas.microsoft.com/office/drawing/2014/main" id="{35A86230-3679-4051-8A1E-60A8E79938A2}"/>
                </a:ext>
              </a:extLst>
            </p:cNvPr>
            <p:cNvSpPr/>
            <p:nvPr/>
          </p:nvSpPr>
          <p:spPr>
            <a:xfrm rot="8716295">
              <a:off x="6815324" y="3396631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8" name="Forme libre : forme 1037">
              <a:extLst>
                <a:ext uri="{FF2B5EF4-FFF2-40B4-BE49-F238E27FC236}">
                  <a16:creationId xmlns:a16="http://schemas.microsoft.com/office/drawing/2014/main" id="{C9206E0E-FAAE-4EE0-A8C9-53785CD31A1D}"/>
                </a:ext>
              </a:extLst>
            </p:cNvPr>
            <p:cNvSpPr/>
            <p:nvPr/>
          </p:nvSpPr>
          <p:spPr>
            <a:xfrm rot="8716295">
              <a:off x="6573873" y="324703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9" name="Forme libre : forme 1038">
              <a:extLst>
                <a:ext uri="{FF2B5EF4-FFF2-40B4-BE49-F238E27FC236}">
                  <a16:creationId xmlns:a16="http://schemas.microsoft.com/office/drawing/2014/main" id="{249F3AA5-95A4-45B1-849C-670C08A25C3F}"/>
                </a:ext>
              </a:extLst>
            </p:cNvPr>
            <p:cNvSpPr/>
            <p:nvPr/>
          </p:nvSpPr>
          <p:spPr>
            <a:xfrm rot="7484129">
              <a:off x="6920255" y="358798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0" name="Forme libre : forme 1039">
              <a:extLst>
                <a:ext uri="{FF2B5EF4-FFF2-40B4-BE49-F238E27FC236}">
                  <a16:creationId xmlns:a16="http://schemas.microsoft.com/office/drawing/2014/main" id="{1087B106-1BAC-4BF5-B094-3EE0A3C2971B}"/>
                </a:ext>
              </a:extLst>
            </p:cNvPr>
            <p:cNvSpPr/>
            <p:nvPr/>
          </p:nvSpPr>
          <p:spPr>
            <a:xfrm rot="13089394">
              <a:off x="7025075" y="355451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1" name="Forme libre : forme 1040">
              <a:extLst>
                <a:ext uri="{FF2B5EF4-FFF2-40B4-BE49-F238E27FC236}">
                  <a16:creationId xmlns:a16="http://schemas.microsoft.com/office/drawing/2014/main" id="{C7700747-2F7A-44F2-A882-B7E2217A3398}"/>
                </a:ext>
              </a:extLst>
            </p:cNvPr>
            <p:cNvSpPr/>
            <p:nvPr/>
          </p:nvSpPr>
          <p:spPr>
            <a:xfrm rot="8716295">
              <a:off x="7210660" y="336283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2" name="Forme libre : forme 1041">
              <a:extLst>
                <a:ext uri="{FF2B5EF4-FFF2-40B4-BE49-F238E27FC236}">
                  <a16:creationId xmlns:a16="http://schemas.microsoft.com/office/drawing/2014/main" id="{36A96034-BC43-4282-A4BC-768E81ED9FC4}"/>
                </a:ext>
              </a:extLst>
            </p:cNvPr>
            <p:cNvSpPr/>
            <p:nvPr/>
          </p:nvSpPr>
          <p:spPr>
            <a:xfrm rot="8716295">
              <a:off x="7158855" y="325924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3" name="Forme libre : forme 1042">
              <a:extLst>
                <a:ext uri="{FF2B5EF4-FFF2-40B4-BE49-F238E27FC236}">
                  <a16:creationId xmlns:a16="http://schemas.microsoft.com/office/drawing/2014/main" id="{177D614D-3D8E-4B72-A402-6E4739EFD98F}"/>
                </a:ext>
              </a:extLst>
            </p:cNvPr>
            <p:cNvSpPr/>
            <p:nvPr/>
          </p:nvSpPr>
          <p:spPr>
            <a:xfrm rot="8716295">
              <a:off x="6915609" y="328946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4" name="Forme libre : forme 1043">
              <a:extLst>
                <a:ext uri="{FF2B5EF4-FFF2-40B4-BE49-F238E27FC236}">
                  <a16:creationId xmlns:a16="http://schemas.microsoft.com/office/drawing/2014/main" id="{F17CE4CA-0138-428C-BC4F-6826A011B769}"/>
                </a:ext>
              </a:extLst>
            </p:cNvPr>
            <p:cNvSpPr/>
            <p:nvPr/>
          </p:nvSpPr>
          <p:spPr>
            <a:xfrm rot="8716295">
              <a:off x="7093061" y="313022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5" name="Forme libre : forme 1044">
              <a:extLst>
                <a:ext uri="{FF2B5EF4-FFF2-40B4-BE49-F238E27FC236}">
                  <a16:creationId xmlns:a16="http://schemas.microsoft.com/office/drawing/2014/main" id="{4B720940-ABA3-4C23-81DC-0B6806C0661A}"/>
                </a:ext>
              </a:extLst>
            </p:cNvPr>
            <p:cNvSpPr/>
            <p:nvPr/>
          </p:nvSpPr>
          <p:spPr>
            <a:xfrm rot="8716295">
              <a:off x="6771448" y="417698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6" name="Forme libre : forme 1045">
              <a:extLst>
                <a:ext uri="{FF2B5EF4-FFF2-40B4-BE49-F238E27FC236}">
                  <a16:creationId xmlns:a16="http://schemas.microsoft.com/office/drawing/2014/main" id="{EC0DCD9D-823B-45DB-93A0-478BA4EF5F65}"/>
                </a:ext>
              </a:extLst>
            </p:cNvPr>
            <p:cNvSpPr/>
            <p:nvPr/>
          </p:nvSpPr>
          <p:spPr>
            <a:xfrm rot="8716295">
              <a:off x="6860840" y="420622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7" name="Forme libre : forme 1046">
              <a:extLst>
                <a:ext uri="{FF2B5EF4-FFF2-40B4-BE49-F238E27FC236}">
                  <a16:creationId xmlns:a16="http://schemas.microsoft.com/office/drawing/2014/main" id="{6714C14A-42A3-4158-A04D-39890F5FFDD6}"/>
                </a:ext>
              </a:extLst>
            </p:cNvPr>
            <p:cNvSpPr/>
            <p:nvPr/>
          </p:nvSpPr>
          <p:spPr>
            <a:xfrm rot="8716295">
              <a:off x="6815990" y="4119948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8" name="Forme libre : forme 1047">
              <a:extLst>
                <a:ext uri="{FF2B5EF4-FFF2-40B4-BE49-F238E27FC236}">
                  <a16:creationId xmlns:a16="http://schemas.microsoft.com/office/drawing/2014/main" id="{008B8287-375F-405E-8DE9-E2164C398F81}"/>
                </a:ext>
              </a:extLst>
            </p:cNvPr>
            <p:cNvSpPr/>
            <p:nvPr/>
          </p:nvSpPr>
          <p:spPr>
            <a:xfrm rot="8716295">
              <a:off x="6659214" y="42655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9" name="Forme libre : forme 1048">
              <a:extLst>
                <a:ext uri="{FF2B5EF4-FFF2-40B4-BE49-F238E27FC236}">
                  <a16:creationId xmlns:a16="http://schemas.microsoft.com/office/drawing/2014/main" id="{F04C8B7C-4B10-4B6E-8BA5-DDF0AF373E5C}"/>
                </a:ext>
              </a:extLst>
            </p:cNvPr>
            <p:cNvSpPr/>
            <p:nvPr/>
          </p:nvSpPr>
          <p:spPr>
            <a:xfrm rot="8716295">
              <a:off x="6534311" y="405685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0" name="Forme libre : forme 1049">
              <a:extLst>
                <a:ext uri="{FF2B5EF4-FFF2-40B4-BE49-F238E27FC236}">
                  <a16:creationId xmlns:a16="http://schemas.microsoft.com/office/drawing/2014/main" id="{5F188DCA-0384-43CB-8EBE-CC2C38A75C79}"/>
                </a:ext>
              </a:extLst>
            </p:cNvPr>
            <p:cNvSpPr/>
            <p:nvPr/>
          </p:nvSpPr>
          <p:spPr>
            <a:xfrm rot="8716295">
              <a:off x="6522259" y="3918077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1" name="Forme libre : forme 1050">
              <a:extLst>
                <a:ext uri="{FF2B5EF4-FFF2-40B4-BE49-F238E27FC236}">
                  <a16:creationId xmlns:a16="http://schemas.microsoft.com/office/drawing/2014/main" id="{399AA06D-1BD2-4996-9067-7FE24F4CC47C}"/>
                </a:ext>
              </a:extLst>
            </p:cNvPr>
            <p:cNvSpPr/>
            <p:nvPr/>
          </p:nvSpPr>
          <p:spPr>
            <a:xfrm rot="8716295">
              <a:off x="6749392" y="4306482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2" name="Forme libre : forme 1051">
              <a:extLst>
                <a:ext uri="{FF2B5EF4-FFF2-40B4-BE49-F238E27FC236}">
                  <a16:creationId xmlns:a16="http://schemas.microsoft.com/office/drawing/2014/main" id="{FCA379A2-63C0-43B0-AA38-EDFC8609AAA3}"/>
                </a:ext>
              </a:extLst>
            </p:cNvPr>
            <p:cNvSpPr/>
            <p:nvPr/>
          </p:nvSpPr>
          <p:spPr>
            <a:xfrm rot="8716295">
              <a:off x="7060547" y="392683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3" name="Forme libre : forme 1052">
              <a:extLst>
                <a:ext uri="{FF2B5EF4-FFF2-40B4-BE49-F238E27FC236}">
                  <a16:creationId xmlns:a16="http://schemas.microsoft.com/office/drawing/2014/main" id="{F8817E64-249C-4E98-998C-64B73B74C552}"/>
                </a:ext>
              </a:extLst>
            </p:cNvPr>
            <p:cNvSpPr/>
            <p:nvPr/>
          </p:nvSpPr>
          <p:spPr>
            <a:xfrm rot="8716295">
              <a:off x="7149939" y="395607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4" name="Forme libre : forme 1053">
              <a:extLst>
                <a:ext uri="{FF2B5EF4-FFF2-40B4-BE49-F238E27FC236}">
                  <a16:creationId xmlns:a16="http://schemas.microsoft.com/office/drawing/2014/main" id="{D2A1BAFB-4B8B-4354-AED5-B2DA7C911BD1}"/>
                </a:ext>
              </a:extLst>
            </p:cNvPr>
            <p:cNvSpPr/>
            <p:nvPr/>
          </p:nvSpPr>
          <p:spPr>
            <a:xfrm rot="8716295">
              <a:off x="6948313" y="401537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5" name="Forme libre : forme 1054">
              <a:extLst>
                <a:ext uri="{FF2B5EF4-FFF2-40B4-BE49-F238E27FC236}">
                  <a16:creationId xmlns:a16="http://schemas.microsoft.com/office/drawing/2014/main" id="{2D83A4CC-A29C-4FE2-BA50-FF0D6749F766}"/>
                </a:ext>
              </a:extLst>
            </p:cNvPr>
            <p:cNvSpPr/>
            <p:nvPr/>
          </p:nvSpPr>
          <p:spPr>
            <a:xfrm rot="8716295">
              <a:off x="6823411" y="380670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6" name="Forme libre : forme 1055">
              <a:extLst>
                <a:ext uri="{FF2B5EF4-FFF2-40B4-BE49-F238E27FC236}">
                  <a16:creationId xmlns:a16="http://schemas.microsoft.com/office/drawing/2014/main" id="{4A00E427-6E5D-4D47-9A38-C57E5463133B}"/>
                </a:ext>
              </a:extLst>
            </p:cNvPr>
            <p:cNvSpPr/>
            <p:nvPr/>
          </p:nvSpPr>
          <p:spPr>
            <a:xfrm rot="8716295">
              <a:off x="7038491" y="4056330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7" name="Forme libre : forme 1056">
              <a:extLst>
                <a:ext uri="{FF2B5EF4-FFF2-40B4-BE49-F238E27FC236}">
                  <a16:creationId xmlns:a16="http://schemas.microsoft.com/office/drawing/2014/main" id="{D1E998CB-4164-4F0A-AE45-D5940B3F5B03}"/>
                </a:ext>
              </a:extLst>
            </p:cNvPr>
            <p:cNvSpPr/>
            <p:nvPr/>
          </p:nvSpPr>
          <p:spPr>
            <a:xfrm rot="8716295">
              <a:off x="6797040" y="3906730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8" name="Forme libre : forme 1057">
              <a:extLst>
                <a:ext uri="{FF2B5EF4-FFF2-40B4-BE49-F238E27FC236}">
                  <a16:creationId xmlns:a16="http://schemas.microsoft.com/office/drawing/2014/main" id="{E95D9A03-19D9-41CF-AE73-1CCF51881A6C}"/>
                </a:ext>
              </a:extLst>
            </p:cNvPr>
            <p:cNvSpPr/>
            <p:nvPr/>
          </p:nvSpPr>
          <p:spPr>
            <a:xfrm rot="7484129">
              <a:off x="7143422" y="424768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9" name="Forme libre : forme 1058">
              <a:extLst>
                <a:ext uri="{FF2B5EF4-FFF2-40B4-BE49-F238E27FC236}">
                  <a16:creationId xmlns:a16="http://schemas.microsoft.com/office/drawing/2014/main" id="{16E31431-A176-4757-BB37-61FDFC58B5A0}"/>
                </a:ext>
              </a:extLst>
            </p:cNvPr>
            <p:cNvSpPr/>
            <p:nvPr/>
          </p:nvSpPr>
          <p:spPr>
            <a:xfrm rot="13089394">
              <a:off x="7248242" y="4214215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0" name="Forme libre : forme 1059">
              <a:extLst>
                <a:ext uri="{FF2B5EF4-FFF2-40B4-BE49-F238E27FC236}">
                  <a16:creationId xmlns:a16="http://schemas.microsoft.com/office/drawing/2014/main" id="{0E403317-EDA0-44E5-B8CC-1127CBB20F33}"/>
                </a:ext>
              </a:extLst>
            </p:cNvPr>
            <p:cNvSpPr/>
            <p:nvPr/>
          </p:nvSpPr>
          <p:spPr>
            <a:xfrm rot="8716295">
              <a:off x="7433827" y="4022534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1" name="Forme libre : forme 1060">
              <a:extLst>
                <a:ext uri="{FF2B5EF4-FFF2-40B4-BE49-F238E27FC236}">
                  <a16:creationId xmlns:a16="http://schemas.microsoft.com/office/drawing/2014/main" id="{AB67AE90-EF3D-41EE-9989-687C2404CA33}"/>
                </a:ext>
              </a:extLst>
            </p:cNvPr>
            <p:cNvSpPr/>
            <p:nvPr/>
          </p:nvSpPr>
          <p:spPr>
            <a:xfrm rot="8716295">
              <a:off x="7382022" y="391894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2" name="Forme libre : forme 1061">
              <a:extLst>
                <a:ext uri="{FF2B5EF4-FFF2-40B4-BE49-F238E27FC236}">
                  <a16:creationId xmlns:a16="http://schemas.microsoft.com/office/drawing/2014/main" id="{30ED97EE-1D2B-4407-8DB5-1B4E940C148E}"/>
                </a:ext>
              </a:extLst>
            </p:cNvPr>
            <p:cNvSpPr/>
            <p:nvPr/>
          </p:nvSpPr>
          <p:spPr>
            <a:xfrm rot="8716295">
              <a:off x="7138776" y="394916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3" name="Forme libre : forme 1062">
              <a:extLst>
                <a:ext uri="{FF2B5EF4-FFF2-40B4-BE49-F238E27FC236}">
                  <a16:creationId xmlns:a16="http://schemas.microsoft.com/office/drawing/2014/main" id="{095663CC-60E0-4062-92DC-F23C00E2E6AD}"/>
                </a:ext>
              </a:extLst>
            </p:cNvPr>
            <p:cNvSpPr/>
            <p:nvPr/>
          </p:nvSpPr>
          <p:spPr>
            <a:xfrm rot="8716295">
              <a:off x="7316228" y="378992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4" name="Forme libre : forme 1063">
              <a:extLst>
                <a:ext uri="{FF2B5EF4-FFF2-40B4-BE49-F238E27FC236}">
                  <a16:creationId xmlns:a16="http://schemas.microsoft.com/office/drawing/2014/main" id="{AE6FCD97-9FAA-4459-B8EC-324DA8C84CF3}"/>
                </a:ext>
              </a:extLst>
            </p:cNvPr>
            <p:cNvSpPr/>
            <p:nvPr/>
          </p:nvSpPr>
          <p:spPr>
            <a:xfrm rot="8716295">
              <a:off x="5923122" y="1654505"/>
              <a:ext cx="139422" cy="104157"/>
            </a:xfrm>
            <a:custGeom>
              <a:avLst/>
              <a:gdLst>
                <a:gd name="connsiteX0" fmla="*/ 0 w 139422"/>
                <a:gd name="connsiteY0" fmla="*/ 50123 h 104157"/>
                <a:gd name="connsiteX1" fmla="*/ 0 w 139422"/>
                <a:gd name="connsiteY1" fmla="*/ 0 h 104157"/>
                <a:gd name="connsiteX2" fmla="*/ 85209 w 139422"/>
                <a:gd name="connsiteY2" fmla="*/ 0 h 104157"/>
                <a:gd name="connsiteX3" fmla="*/ 138458 w 139422"/>
                <a:gd name="connsiteY3" fmla="*/ 27874 h 104157"/>
                <a:gd name="connsiteX4" fmla="*/ 139422 w 139422"/>
                <a:gd name="connsiteY4" fmla="*/ 33655 h 104157"/>
                <a:gd name="connsiteX5" fmla="*/ 81108 w 139422"/>
                <a:gd name="connsiteY5" fmla="*/ 104157 h 104157"/>
                <a:gd name="connsiteX6" fmla="*/ 81109 w 139422"/>
                <a:gd name="connsiteY6" fmla="*/ 69717 h 104157"/>
                <a:gd name="connsiteX7" fmla="*/ 81108 w 139422"/>
                <a:gd name="connsiteY7" fmla="*/ 65615 h 104157"/>
                <a:gd name="connsiteX8" fmla="*/ 60604 w 139422"/>
                <a:gd name="connsiteY8" fmla="*/ 50123 h 104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9422" h="104157">
                  <a:moveTo>
                    <a:pt x="0" y="50123"/>
                  </a:moveTo>
                  <a:lnTo>
                    <a:pt x="0" y="0"/>
                  </a:lnTo>
                  <a:lnTo>
                    <a:pt x="85209" y="0"/>
                  </a:lnTo>
                  <a:cubicBezTo>
                    <a:pt x="112891" y="0"/>
                    <a:pt x="131089" y="8971"/>
                    <a:pt x="138458" y="27874"/>
                  </a:cubicBezTo>
                  <a:lnTo>
                    <a:pt x="139422" y="33655"/>
                  </a:lnTo>
                  <a:lnTo>
                    <a:pt x="81108" y="104157"/>
                  </a:lnTo>
                  <a:lnTo>
                    <a:pt x="81109" y="69717"/>
                  </a:lnTo>
                  <a:cubicBezTo>
                    <a:pt x="81108" y="68349"/>
                    <a:pt x="81108" y="66983"/>
                    <a:pt x="81108" y="65615"/>
                  </a:cubicBezTo>
                  <a:cubicBezTo>
                    <a:pt x="79741" y="55591"/>
                    <a:pt x="70628" y="48756"/>
                    <a:pt x="60604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5" name="Forme libre : forme 1064">
              <a:extLst>
                <a:ext uri="{FF2B5EF4-FFF2-40B4-BE49-F238E27FC236}">
                  <a16:creationId xmlns:a16="http://schemas.microsoft.com/office/drawing/2014/main" id="{3E102D85-2676-42AD-ABAD-44897C15C1BF}"/>
                </a:ext>
              </a:extLst>
            </p:cNvPr>
            <p:cNvSpPr/>
            <p:nvPr/>
          </p:nvSpPr>
          <p:spPr>
            <a:xfrm rot="8716295">
              <a:off x="5974318" y="15674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6" name="Forme libre : forme 1065">
              <a:extLst>
                <a:ext uri="{FF2B5EF4-FFF2-40B4-BE49-F238E27FC236}">
                  <a16:creationId xmlns:a16="http://schemas.microsoft.com/office/drawing/2014/main" id="{D500F2F4-E9E6-4CF6-AFD9-43967F4858E6}"/>
                </a:ext>
              </a:extLst>
            </p:cNvPr>
            <p:cNvSpPr/>
            <p:nvPr/>
          </p:nvSpPr>
          <p:spPr>
            <a:xfrm rot="8716295">
              <a:off x="5925344" y="1481103"/>
              <a:ext cx="190923" cy="138066"/>
            </a:xfrm>
            <a:custGeom>
              <a:avLst/>
              <a:gdLst>
                <a:gd name="connsiteX0" fmla="*/ 5923 w 190923"/>
                <a:gd name="connsiteY0" fmla="*/ 138066 h 138066"/>
                <a:gd name="connsiteX1" fmla="*/ 0 w 190923"/>
                <a:gd name="connsiteY1" fmla="*/ 129864 h 138066"/>
                <a:gd name="connsiteX2" fmla="*/ 107993 w 190923"/>
                <a:gd name="connsiteY2" fmla="*/ 28251 h 138066"/>
                <a:gd name="connsiteX3" fmla="*/ 162672 w 190923"/>
                <a:gd name="connsiteY3" fmla="*/ 0 h 138066"/>
                <a:gd name="connsiteX4" fmla="*/ 190923 w 190923"/>
                <a:gd name="connsiteY4" fmla="*/ 33719 h 138066"/>
                <a:gd name="connsiteX5" fmla="*/ 184633 w 190923"/>
                <a:gd name="connsiteY5" fmla="*/ 49986 h 138066"/>
                <a:gd name="connsiteX6" fmla="*/ 176335 w 190923"/>
                <a:gd name="connsiteY6" fmla="*/ 60018 h 138066"/>
                <a:gd name="connsiteX7" fmla="*/ 164495 w 190923"/>
                <a:gd name="connsiteY7" fmla="*/ 69261 h 138066"/>
                <a:gd name="connsiteX8" fmla="*/ 164950 w 190923"/>
                <a:gd name="connsiteY8" fmla="*/ 69261 h 138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0923" h="138066">
                  <a:moveTo>
                    <a:pt x="5923" y="138066"/>
                  </a:moveTo>
                  <a:lnTo>
                    <a:pt x="0" y="129864"/>
                  </a:lnTo>
                  <a:lnTo>
                    <a:pt x="107993" y="28251"/>
                  </a:lnTo>
                  <a:cubicBezTo>
                    <a:pt x="121663" y="12303"/>
                    <a:pt x="141256" y="2279"/>
                    <a:pt x="162672" y="0"/>
                  </a:cubicBezTo>
                  <a:cubicBezTo>
                    <a:pt x="184544" y="0"/>
                    <a:pt x="190923" y="19138"/>
                    <a:pt x="190923" y="33719"/>
                  </a:cubicBezTo>
                  <a:lnTo>
                    <a:pt x="184633" y="49986"/>
                  </a:lnTo>
                  <a:lnTo>
                    <a:pt x="176335" y="60018"/>
                  </a:lnTo>
                  <a:lnTo>
                    <a:pt x="164495" y="69261"/>
                  </a:lnTo>
                  <a:lnTo>
                    <a:pt x="164950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7" name="Forme libre : forme 1066">
              <a:extLst>
                <a:ext uri="{FF2B5EF4-FFF2-40B4-BE49-F238E27FC236}">
                  <a16:creationId xmlns:a16="http://schemas.microsoft.com/office/drawing/2014/main" id="{0F62DC4A-077A-45F5-B182-21AD9369750E}"/>
                </a:ext>
              </a:extLst>
            </p:cNvPr>
            <p:cNvSpPr/>
            <p:nvPr/>
          </p:nvSpPr>
          <p:spPr>
            <a:xfrm rot="8716295">
              <a:off x="5906444" y="1804761"/>
              <a:ext cx="99498" cy="67958"/>
            </a:xfrm>
            <a:custGeom>
              <a:avLst/>
              <a:gdLst>
                <a:gd name="connsiteX0" fmla="*/ 43288 w 99498"/>
                <a:gd name="connsiteY0" fmla="*/ 67958 h 67958"/>
                <a:gd name="connsiteX1" fmla="*/ 43288 w 99498"/>
                <a:gd name="connsiteY1" fmla="*/ 16317 h 67958"/>
                <a:gd name="connsiteX2" fmla="*/ 0 w 99498"/>
                <a:gd name="connsiteY2" fmla="*/ 16317 h 67958"/>
                <a:gd name="connsiteX3" fmla="*/ 0 w 99498"/>
                <a:gd name="connsiteY3" fmla="*/ 2192 h 67958"/>
                <a:gd name="connsiteX4" fmla="*/ 99498 w 99498"/>
                <a:gd name="connsiteY4" fmla="*/ 0 h 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98" h="67958">
                  <a:moveTo>
                    <a:pt x="43288" y="67958"/>
                  </a:moveTo>
                  <a:lnTo>
                    <a:pt x="43288" y="16317"/>
                  </a:lnTo>
                  <a:lnTo>
                    <a:pt x="0" y="16317"/>
                  </a:lnTo>
                  <a:lnTo>
                    <a:pt x="0" y="2192"/>
                  </a:lnTo>
                  <a:lnTo>
                    <a:pt x="9949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8" name="Forme libre : forme 1067">
              <a:extLst>
                <a:ext uri="{FF2B5EF4-FFF2-40B4-BE49-F238E27FC236}">
                  <a16:creationId xmlns:a16="http://schemas.microsoft.com/office/drawing/2014/main" id="{559D0A60-2AFB-4EF8-A10C-4FEC23F97476}"/>
                </a:ext>
              </a:extLst>
            </p:cNvPr>
            <p:cNvSpPr/>
            <p:nvPr/>
          </p:nvSpPr>
          <p:spPr>
            <a:xfrm rot="8716295">
              <a:off x="6174025" y="128806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9" name="Forme libre : forme 1068">
              <a:extLst>
                <a:ext uri="{FF2B5EF4-FFF2-40B4-BE49-F238E27FC236}">
                  <a16:creationId xmlns:a16="http://schemas.microsoft.com/office/drawing/2014/main" id="{73861CC2-64F0-42DB-A7B3-CC13005B7BBD}"/>
                </a:ext>
              </a:extLst>
            </p:cNvPr>
            <p:cNvSpPr/>
            <p:nvPr/>
          </p:nvSpPr>
          <p:spPr>
            <a:xfrm rot="8716295">
              <a:off x="6263417" y="131730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0" name="Forme libre : forme 1069">
              <a:extLst>
                <a:ext uri="{FF2B5EF4-FFF2-40B4-BE49-F238E27FC236}">
                  <a16:creationId xmlns:a16="http://schemas.microsoft.com/office/drawing/2014/main" id="{0D1A1D48-D74E-427F-A329-7E9BE8568EC4}"/>
                </a:ext>
              </a:extLst>
            </p:cNvPr>
            <p:cNvSpPr/>
            <p:nvPr/>
          </p:nvSpPr>
          <p:spPr>
            <a:xfrm rot="8716295">
              <a:off x="6061791" y="137661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1" name="Forme libre : forme 1070">
              <a:extLst>
                <a:ext uri="{FF2B5EF4-FFF2-40B4-BE49-F238E27FC236}">
                  <a16:creationId xmlns:a16="http://schemas.microsoft.com/office/drawing/2014/main" id="{DD8B604F-D83A-432D-A7CC-91D01710CD5A}"/>
                </a:ext>
              </a:extLst>
            </p:cNvPr>
            <p:cNvSpPr/>
            <p:nvPr/>
          </p:nvSpPr>
          <p:spPr>
            <a:xfrm rot="8716295">
              <a:off x="5934512" y="1174677"/>
              <a:ext cx="203847" cy="188381"/>
            </a:xfrm>
            <a:custGeom>
              <a:avLst/>
              <a:gdLst>
                <a:gd name="connsiteX0" fmla="*/ 86683 w 203847"/>
                <a:gd name="connsiteY0" fmla="*/ 188381 h 188381"/>
                <a:gd name="connsiteX1" fmla="*/ 47847 w 203847"/>
                <a:gd name="connsiteY1" fmla="*/ 116128 h 188381"/>
                <a:gd name="connsiteX2" fmla="*/ 69777 w 203847"/>
                <a:gd name="connsiteY2" fmla="*/ 55323 h 188381"/>
                <a:gd name="connsiteX3" fmla="*/ 0 w 203847"/>
                <a:gd name="connsiteY3" fmla="*/ 55323 h 188381"/>
                <a:gd name="connsiteX4" fmla="*/ 0 w 203847"/>
                <a:gd name="connsiteY4" fmla="*/ 0 h 188381"/>
                <a:gd name="connsiteX5" fmla="*/ 203847 w 203847"/>
                <a:gd name="connsiteY5" fmla="*/ 0 h 188381"/>
                <a:gd name="connsiteX6" fmla="*/ 203847 w 203847"/>
                <a:gd name="connsiteY6" fmla="*/ 46726 h 188381"/>
                <a:gd name="connsiteX7" fmla="*/ 196736 w 203847"/>
                <a:gd name="connsiteY7" fmla="*/ 55323 h 188381"/>
                <a:gd name="connsiteX8" fmla="*/ 139055 w 203847"/>
                <a:gd name="connsiteY8" fmla="*/ 55323 h 188381"/>
                <a:gd name="connsiteX9" fmla="*/ 97989 w 203847"/>
                <a:gd name="connsiteY9" fmla="*/ 174711 h 188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847" h="188381">
                  <a:moveTo>
                    <a:pt x="86683" y="188381"/>
                  </a:moveTo>
                  <a:lnTo>
                    <a:pt x="47847" y="116128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46726"/>
                  </a:lnTo>
                  <a:lnTo>
                    <a:pt x="196736" y="55323"/>
                  </a:lnTo>
                  <a:lnTo>
                    <a:pt x="139055" y="55323"/>
                  </a:lnTo>
                  <a:lnTo>
                    <a:pt x="97989" y="1747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2" name="Forme libre : forme 1071">
              <a:extLst>
                <a:ext uri="{FF2B5EF4-FFF2-40B4-BE49-F238E27FC236}">
                  <a16:creationId xmlns:a16="http://schemas.microsoft.com/office/drawing/2014/main" id="{B563983C-B171-4A7B-83F3-23BB992AF6EF}"/>
                </a:ext>
              </a:extLst>
            </p:cNvPr>
            <p:cNvSpPr/>
            <p:nvPr/>
          </p:nvSpPr>
          <p:spPr>
            <a:xfrm rot="8716295">
              <a:off x="6151969" y="141756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3" name="Forme libre : forme 1072">
              <a:extLst>
                <a:ext uri="{FF2B5EF4-FFF2-40B4-BE49-F238E27FC236}">
                  <a16:creationId xmlns:a16="http://schemas.microsoft.com/office/drawing/2014/main" id="{831AE182-FAC7-488F-900A-43002A409545}"/>
                </a:ext>
              </a:extLst>
            </p:cNvPr>
            <p:cNvSpPr/>
            <p:nvPr/>
          </p:nvSpPr>
          <p:spPr>
            <a:xfrm rot="7484129">
              <a:off x="6256900" y="160891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4" name="Forme libre : forme 1073">
              <a:extLst>
                <a:ext uri="{FF2B5EF4-FFF2-40B4-BE49-F238E27FC236}">
                  <a16:creationId xmlns:a16="http://schemas.microsoft.com/office/drawing/2014/main" id="{F6941A0F-F413-40E0-B377-19E50B2069BC}"/>
                </a:ext>
              </a:extLst>
            </p:cNvPr>
            <p:cNvSpPr/>
            <p:nvPr/>
          </p:nvSpPr>
          <p:spPr>
            <a:xfrm rot="13089394">
              <a:off x="6361720" y="1575447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5" name="Forme libre : forme 1074">
              <a:extLst>
                <a:ext uri="{FF2B5EF4-FFF2-40B4-BE49-F238E27FC236}">
                  <a16:creationId xmlns:a16="http://schemas.microsoft.com/office/drawing/2014/main" id="{72C44DD1-DEBE-446A-8992-2DDCAF098F91}"/>
                </a:ext>
              </a:extLst>
            </p:cNvPr>
            <p:cNvSpPr/>
            <p:nvPr/>
          </p:nvSpPr>
          <p:spPr>
            <a:xfrm rot="8716295">
              <a:off x="6547305" y="1383766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6" name="Forme libre : forme 1075">
              <a:extLst>
                <a:ext uri="{FF2B5EF4-FFF2-40B4-BE49-F238E27FC236}">
                  <a16:creationId xmlns:a16="http://schemas.microsoft.com/office/drawing/2014/main" id="{2C8F4F40-3004-4B87-BA24-3390EA6EECD4}"/>
                </a:ext>
              </a:extLst>
            </p:cNvPr>
            <p:cNvSpPr/>
            <p:nvPr/>
          </p:nvSpPr>
          <p:spPr>
            <a:xfrm rot="8716295">
              <a:off x="6495500" y="128017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7" name="Forme libre : forme 1076">
              <a:extLst>
                <a:ext uri="{FF2B5EF4-FFF2-40B4-BE49-F238E27FC236}">
                  <a16:creationId xmlns:a16="http://schemas.microsoft.com/office/drawing/2014/main" id="{719509D2-B221-462F-99BE-1A0215C63C3E}"/>
                </a:ext>
              </a:extLst>
            </p:cNvPr>
            <p:cNvSpPr/>
            <p:nvPr/>
          </p:nvSpPr>
          <p:spPr>
            <a:xfrm rot="8716295">
              <a:off x="6252254" y="131039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8" name="Forme libre : forme 1077">
              <a:extLst>
                <a:ext uri="{FF2B5EF4-FFF2-40B4-BE49-F238E27FC236}">
                  <a16:creationId xmlns:a16="http://schemas.microsoft.com/office/drawing/2014/main" id="{75A12CA5-EDD6-41EF-886B-F85DCFC06CE9}"/>
                </a:ext>
              </a:extLst>
            </p:cNvPr>
            <p:cNvSpPr/>
            <p:nvPr/>
          </p:nvSpPr>
          <p:spPr>
            <a:xfrm rot="8716295">
              <a:off x="6429706" y="115115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9" name="Forme libre : forme 1078">
              <a:extLst>
                <a:ext uri="{FF2B5EF4-FFF2-40B4-BE49-F238E27FC236}">
                  <a16:creationId xmlns:a16="http://schemas.microsoft.com/office/drawing/2014/main" id="{AEA4E9A6-FD47-4377-8599-06FE127731A3}"/>
                </a:ext>
              </a:extLst>
            </p:cNvPr>
            <p:cNvSpPr/>
            <p:nvPr/>
          </p:nvSpPr>
          <p:spPr>
            <a:xfrm rot="8716295">
              <a:off x="5983723" y="1040028"/>
              <a:ext cx="68069" cy="44199"/>
            </a:xfrm>
            <a:custGeom>
              <a:avLst/>
              <a:gdLst>
                <a:gd name="connsiteX0" fmla="*/ 0 w 68069"/>
                <a:gd name="connsiteY0" fmla="*/ 44199 h 44199"/>
                <a:gd name="connsiteX1" fmla="*/ 0 w 68069"/>
                <a:gd name="connsiteY1" fmla="*/ 0 h 44199"/>
                <a:gd name="connsiteX2" fmla="*/ 68069 w 68069"/>
                <a:gd name="connsiteY2" fmla="*/ 0 h 44199"/>
                <a:gd name="connsiteX3" fmla="*/ 31511 w 68069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069" h="44199">
                  <a:moveTo>
                    <a:pt x="0" y="44199"/>
                  </a:moveTo>
                  <a:lnTo>
                    <a:pt x="0" y="0"/>
                  </a:lnTo>
                  <a:lnTo>
                    <a:pt x="68069" y="0"/>
                  </a:lnTo>
                  <a:lnTo>
                    <a:pt x="31511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0" name="Forme libre : forme 1079">
              <a:extLst>
                <a:ext uri="{FF2B5EF4-FFF2-40B4-BE49-F238E27FC236}">
                  <a16:creationId xmlns:a16="http://schemas.microsoft.com/office/drawing/2014/main" id="{E1F987B1-1B94-478B-A58C-711372161096}"/>
                </a:ext>
              </a:extLst>
            </p:cNvPr>
            <p:cNvSpPr/>
            <p:nvPr/>
          </p:nvSpPr>
          <p:spPr>
            <a:xfrm rot="8716295">
              <a:off x="5998891" y="759603"/>
              <a:ext cx="134260" cy="86132"/>
            </a:xfrm>
            <a:custGeom>
              <a:avLst/>
              <a:gdLst>
                <a:gd name="connsiteX0" fmla="*/ 0 w 134260"/>
                <a:gd name="connsiteY0" fmla="*/ 50123 h 86132"/>
                <a:gd name="connsiteX1" fmla="*/ 0 w 134260"/>
                <a:gd name="connsiteY1" fmla="*/ 0 h 86132"/>
                <a:gd name="connsiteX2" fmla="*/ 85209 w 134260"/>
                <a:gd name="connsiteY2" fmla="*/ 0 h 86132"/>
                <a:gd name="connsiteX3" fmla="*/ 127529 w 134260"/>
                <a:gd name="connsiteY3" fmla="*/ 12246 h 86132"/>
                <a:gd name="connsiteX4" fmla="*/ 134260 w 134260"/>
                <a:gd name="connsiteY4" fmla="*/ 21871 h 86132"/>
                <a:gd name="connsiteX5" fmla="*/ 81108 w 134260"/>
                <a:gd name="connsiteY5" fmla="*/ 86132 h 86132"/>
                <a:gd name="connsiteX6" fmla="*/ 81108 w 134260"/>
                <a:gd name="connsiteY6" fmla="*/ 69717 h 86132"/>
                <a:gd name="connsiteX7" fmla="*/ 81108 w 134260"/>
                <a:gd name="connsiteY7" fmla="*/ 65615 h 86132"/>
                <a:gd name="connsiteX8" fmla="*/ 60604 w 134260"/>
                <a:gd name="connsiteY8" fmla="*/ 50123 h 86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4260" h="86132">
                  <a:moveTo>
                    <a:pt x="0" y="50123"/>
                  </a:moveTo>
                  <a:lnTo>
                    <a:pt x="0" y="0"/>
                  </a:lnTo>
                  <a:lnTo>
                    <a:pt x="85209" y="0"/>
                  </a:lnTo>
                  <a:cubicBezTo>
                    <a:pt x="103664" y="0"/>
                    <a:pt x="117903" y="3987"/>
                    <a:pt x="127529" y="12246"/>
                  </a:cubicBezTo>
                  <a:lnTo>
                    <a:pt x="134260" y="21871"/>
                  </a:lnTo>
                  <a:lnTo>
                    <a:pt x="81108" y="86132"/>
                  </a:lnTo>
                  <a:lnTo>
                    <a:pt x="81108" y="69717"/>
                  </a:lnTo>
                  <a:cubicBezTo>
                    <a:pt x="81108" y="68349"/>
                    <a:pt x="81108" y="66983"/>
                    <a:pt x="81108" y="65615"/>
                  </a:cubicBezTo>
                  <a:cubicBezTo>
                    <a:pt x="79741" y="55591"/>
                    <a:pt x="70628" y="48756"/>
                    <a:pt x="60604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1" name="Forme libre : forme 1080">
              <a:extLst>
                <a:ext uri="{FF2B5EF4-FFF2-40B4-BE49-F238E27FC236}">
                  <a16:creationId xmlns:a16="http://schemas.microsoft.com/office/drawing/2014/main" id="{D8733639-E083-48C4-B7AC-143FF95DA4EA}"/>
                </a:ext>
              </a:extLst>
            </p:cNvPr>
            <p:cNvSpPr/>
            <p:nvPr/>
          </p:nvSpPr>
          <p:spPr>
            <a:xfrm rot="8716295">
              <a:off x="6040250" y="65760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2" name="Forme libre : forme 1081">
              <a:extLst>
                <a:ext uri="{FF2B5EF4-FFF2-40B4-BE49-F238E27FC236}">
                  <a16:creationId xmlns:a16="http://schemas.microsoft.com/office/drawing/2014/main" id="{4C5AD67D-6BC4-40A6-B419-E1C6D391B5D2}"/>
                </a:ext>
              </a:extLst>
            </p:cNvPr>
            <p:cNvSpPr/>
            <p:nvPr/>
          </p:nvSpPr>
          <p:spPr>
            <a:xfrm rot="8716295">
              <a:off x="5991248" y="907034"/>
              <a:ext cx="84313" cy="49600"/>
            </a:xfrm>
            <a:custGeom>
              <a:avLst/>
              <a:gdLst>
                <a:gd name="connsiteX0" fmla="*/ 43288 w 84313"/>
                <a:gd name="connsiteY0" fmla="*/ 49600 h 49600"/>
                <a:gd name="connsiteX1" fmla="*/ 43288 w 84313"/>
                <a:gd name="connsiteY1" fmla="*/ 15983 h 49600"/>
                <a:gd name="connsiteX2" fmla="*/ 0 w 84313"/>
                <a:gd name="connsiteY2" fmla="*/ 15983 h 49600"/>
                <a:gd name="connsiteX3" fmla="*/ 0 w 84313"/>
                <a:gd name="connsiteY3" fmla="*/ 1857 h 49600"/>
                <a:gd name="connsiteX4" fmla="*/ 84313 w 84313"/>
                <a:gd name="connsiteY4" fmla="*/ 0 h 49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313" h="49600">
                  <a:moveTo>
                    <a:pt x="43288" y="49600"/>
                  </a:moveTo>
                  <a:lnTo>
                    <a:pt x="43288" y="15983"/>
                  </a:lnTo>
                  <a:lnTo>
                    <a:pt x="0" y="15983"/>
                  </a:lnTo>
                  <a:lnTo>
                    <a:pt x="0" y="1857"/>
                  </a:lnTo>
                  <a:lnTo>
                    <a:pt x="84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3" name="Forme libre : forme 1082">
              <a:extLst>
                <a:ext uri="{FF2B5EF4-FFF2-40B4-BE49-F238E27FC236}">
                  <a16:creationId xmlns:a16="http://schemas.microsoft.com/office/drawing/2014/main" id="{E0507806-EEA4-49D9-A332-F46B9C7122A0}"/>
                </a:ext>
              </a:extLst>
            </p:cNvPr>
            <p:cNvSpPr/>
            <p:nvPr/>
          </p:nvSpPr>
          <p:spPr>
            <a:xfrm rot="7484129">
              <a:off x="6033733" y="94921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4" name="Forme libre : forme 1083">
              <a:extLst>
                <a:ext uri="{FF2B5EF4-FFF2-40B4-BE49-F238E27FC236}">
                  <a16:creationId xmlns:a16="http://schemas.microsoft.com/office/drawing/2014/main" id="{AE139150-F899-47C8-9080-822320C87149}"/>
                </a:ext>
              </a:extLst>
            </p:cNvPr>
            <p:cNvSpPr/>
            <p:nvPr/>
          </p:nvSpPr>
          <p:spPr>
            <a:xfrm rot="13089394">
              <a:off x="6138553" y="915748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5" name="Forme libre : forme 1084">
              <a:extLst>
                <a:ext uri="{FF2B5EF4-FFF2-40B4-BE49-F238E27FC236}">
                  <a16:creationId xmlns:a16="http://schemas.microsoft.com/office/drawing/2014/main" id="{912D0E73-F8A3-4A4B-A726-36495324DCAB}"/>
                </a:ext>
              </a:extLst>
            </p:cNvPr>
            <p:cNvSpPr/>
            <p:nvPr/>
          </p:nvSpPr>
          <p:spPr>
            <a:xfrm rot="8716295">
              <a:off x="6324138" y="724067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6" name="Forme libre : forme 1085">
              <a:extLst>
                <a:ext uri="{FF2B5EF4-FFF2-40B4-BE49-F238E27FC236}">
                  <a16:creationId xmlns:a16="http://schemas.microsoft.com/office/drawing/2014/main" id="{2B4B35EE-0BB5-49CB-8C5B-42A88BD793D8}"/>
                </a:ext>
              </a:extLst>
            </p:cNvPr>
            <p:cNvSpPr/>
            <p:nvPr/>
          </p:nvSpPr>
          <p:spPr>
            <a:xfrm rot="8716295">
              <a:off x="6272333" y="62047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7" name="Forme libre : forme 1086">
              <a:extLst>
                <a:ext uri="{FF2B5EF4-FFF2-40B4-BE49-F238E27FC236}">
                  <a16:creationId xmlns:a16="http://schemas.microsoft.com/office/drawing/2014/main" id="{DD0061FC-B163-4DBC-B8D9-4C423CB17A9E}"/>
                </a:ext>
              </a:extLst>
            </p:cNvPr>
            <p:cNvSpPr/>
            <p:nvPr/>
          </p:nvSpPr>
          <p:spPr>
            <a:xfrm rot="8716295">
              <a:off x="6027863" y="648628"/>
              <a:ext cx="55259" cy="57130"/>
            </a:xfrm>
            <a:custGeom>
              <a:avLst/>
              <a:gdLst>
                <a:gd name="connsiteX0" fmla="*/ 8658 w 55259"/>
                <a:gd name="connsiteY0" fmla="*/ 50123 h 57130"/>
                <a:gd name="connsiteX1" fmla="*/ 0 w 55259"/>
                <a:gd name="connsiteY1" fmla="*/ 29619 h 57130"/>
                <a:gd name="connsiteX2" fmla="*/ 0 w 55259"/>
                <a:gd name="connsiteY2" fmla="*/ 29163 h 57130"/>
                <a:gd name="connsiteX3" fmla="*/ 8658 w 55259"/>
                <a:gd name="connsiteY3" fmla="*/ 8658 h 57130"/>
                <a:gd name="connsiteX4" fmla="*/ 29163 w 55259"/>
                <a:gd name="connsiteY4" fmla="*/ 0 h 57130"/>
                <a:gd name="connsiteX5" fmla="*/ 49668 w 55259"/>
                <a:gd name="connsiteY5" fmla="*/ 8658 h 57130"/>
                <a:gd name="connsiteX6" fmla="*/ 55259 w 55259"/>
                <a:gd name="connsiteY6" fmla="*/ 21964 h 57130"/>
                <a:gd name="connsiteX7" fmla="*/ 26173 w 55259"/>
                <a:gd name="connsiteY7" fmla="*/ 57130 h 57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5259" h="57130">
                  <a:moveTo>
                    <a:pt x="8658" y="50123"/>
                  </a:moveTo>
                  <a:cubicBezTo>
                    <a:pt x="3190" y="44655"/>
                    <a:pt x="0" y="37364"/>
                    <a:pt x="0" y="29619"/>
                  </a:cubicBezTo>
                  <a:lnTo>
                    <a:pt x="0" y="29163"/>
                  </a:lnTo>
                  <a:cubicBezTo>
                    <a:pt x="0" y="21417"/>
                    <a:pt x="3190" y="14126"/>
                    <a:pt x="8658" y="8658"/>
                  </a:cubicBezTo>
                  <a:cubicBezTo>
                    <a:pt x="14126" y="3190"/>
                    <a:pt x="21417" y="0"/>
                    <a:pt x="29163" y="0"/>
                  </a:cubicBezTo>
                  <a:cubicBezTo>
                    <a:pt x="36909" y="0"/>
                    <a:pt x="44200" y="3190"/>
                    <a:pt x="49668" y="8658"/>
                  </a:cubicBezTo>
                  <a:lnTo>
                    <a:pt x="55259" y="21964"/>
                  </a:lnTo>
                  <a:lnTo>
                    <a:pt x="26173" y="5713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8" name="Forme libre : forme 1087">
              <a:extLst>
                <a:ext uri="{FF2B5EF4-FFF2-40B4-BE49-F238E27FC236}">
                  <a16:creationId xmlns:a16="http://schemas.microsoft.com/office/drawing/2014/main" id="{4D8AC7F8-F18B-4BC7-A549-62EC42E18C0E}"/>
                </a:ext>
              </a:extLst>
            </p:cNvPr>
            <p:cNvSpPr/>
            <p:nvPr/>
          </p:nvSpPr>
          <p:spPr>
            <a:xfrm rot="8716295">
              <a:off x="6206539" y="49145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9" name="Forme libre : forme 1088">
              <a:extLst>
                <a:ext uri="{FF2B5EF4-FFF2-40B4-BE49-F238E27FC236}">
                  <a16:creationId xmlns:a16="http://schemas.microsoft.com/office/drawing/2014/main" id="{AB9FAD6E-CA1F-425C-B0AC-99CCAEDDC6ED}"/>
                </a:ext>
              </a:extLst>
            </p:cNvPr>
            <p:cNvSpPr/>
            <p:nvPr/>
          </p:nvSpPr>
          <p:spPr>
            <a:xfrm rot="8716295">
              <a:off x="5990259" y="-43220"/>
              <a:ext cx="78210" cy="235131"/>
            </a:xfrm>
            <a:custGeom>
              <a:avLst/>
              <a:gdLst>
                <a:gd name="connsiteX0" fmla="*/ 0 w 78210"/>
                <a:gd name="connsiteY0" fmla="*/ 44199 h 235131"/>
                <a:gd name="connsiteX1" fmla="*/ 0 w 78210"/>
                <a:gd name="connsiteY1" fmla="*/ 0 h 235131"/>
                <a:gd name="connsiteX2" fmla="*/ 58367 w 78210"/>
                <a:gd name="connsiteY2" fmla="*/ 0 h 235131"/>
                <a:gd name="connsiteX3" fmla="*/ 21809 w 78210"/>
                <a:gd name="connsiteY3" fmla="*/ 44199 h 235131"/>
                <a:gd name="connsiteX4" fmla="*/ 78210 w 78210"/>
                <a:gd name="connsiteY4" fmla="*/ 235131 h 235131"/>
                <a:gd name="connsiteX5" fmla="*/ 64850 w 78210"/>
                <a:gd name="connsiteY5" fmla="*/ 225870 h 235131"/>
                <a:gd name="connsiteX6" fmla="*/ 78210 w 78210"/>
                <a:gd name="connsiteY6" fmla="*/ 235131 h 235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210" h="235131">
                  <a:moveTo>
                    <a:pt x="0" y="44199"/>
                  </a:moveTo>
                  <a:lnTo>
                    <a:pt x="0" y="0"/>
                  </a:lnTo>
                  <a:lnTo>
                    <a:pt x="58367" y="0"/>
                  </a:lnTo>
                  <a:lnTo>
                    <a:pt x="21809" y="44199"/>
                  </a:lnTo>
                  <a:close/>
                  <a:moveTo>
                    <a:pt x="78210" y="235131"/>
                  </a:moveTo>
                  <a:lnTo>
                    <a:pt x="64850" y="225870"/>
                  </a:lnTo>
                  <a:lnTo>
                    <a:pt x="78210" y="2351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0" name="Forme libre : forme 1089">
              <a:extLst>
                <a:ext uri="{FF2B5EF4-FFF2-40B4-BE49-F238E27FC236}">
                  <a16:creationId xmlns:a16="http://schemas.microsoft.com/office/drawing/2014/main" id="{76D9A3BA-A429-46B9-9CE6-D737A95DD8B3}"/>
                </a:ext>
              </a:extLst>
            </p:cNvPr>
            <p:cNvSpPr/>
            <p:nvPr/>
          </p:nvSpPr>
          <p:spPr>
            <a:xfrm rot="13089394">
              <a:off x="5976283" y="269816"/>
              <a:ext cx="215080" cy="308935"/>
            </a:xfrm>
            <a:custGeom>
              <a:avLst/>
              <a:gdLst>
                <a:gd name="connsiteX0" fmla="*/ 215080 w 215080"/>
                <a:gd name="connsiteY0" fmla="*/ 274772 h 308935"/>
                <a:gd name="connsiteX1" fmla="*/ 177331 w 215080"/>
                <a:gd name="connsiteY1" fmla="*/ 291252 h 308935"/>
                <a:gd name="connsiteX2" fmla="*/ 91597 w 215080"/>
                <a:gd name="connsiteY2" fmla="*/ 308772 h 308935"/>
                <a:gd name="connsiteX3" fmla="*/ 23726 w 215080"/>
                <a:gd name="connsiteY3" fmla="*/ 281182 h 308935"/>
                <a:gd name="connsiteX4" fmla="*/ 0 w 215080"/>
                <a:gd name="connsiteY4" fmla="*/ 186274 h 308935"/>
                <a:gd name="connsiteX5" fmla="*/ 0 w 215080"/>
                <a:gd name="connsiteY5" fmla="*/ 17979 h 308935"/>
                <a:gd name="connsiteX6" fmla="*/ 34655 w 215080"/>
                <a:gd name="connsiteY6" fmla="*/ 0 h 308935"/>
                <a:gd name="connsiteX7" fmla="*/ 73961 w 215080"/>
                <a:gd name="connsiteY7" fmla="*/ 59860 h 308935"/>
                <a:gd name="connsiteX8" fmla="*/ 74492 w 215080"/>
                <a:gd name="connsiteY8" fmla="*/ 133855 h 308935"/>
                <a:gd name="connsiteX9" fmla="*/ 87734 w 215080"/>
                <a:gd name="connsiteY9" fmla="*/ 225452 h 308935"/>
                <a:gd name="connsiteX10" fmla="*/ 153949 w 215080"/>
                <a:gd name="connsiteY10" fmla="*/ 261870 h 308935"/>
                <a:gd name="connsiteX11" fmla="*/ 201103 w 215080"/>
                <a:gd name="connsiteY11" fmla="*/ 253487 h 308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5080" h="308935">
                  <a:moveTo>
                    <a:pt x="215080" y="274772"/>
                  </a:moveTo>
                  <a:lnTo>
                    <a:pt x="177331" y="291252"/>
                  </a:lnTo>
                  <a:cubicBezTo>
                    <a:pt x="145121" y="302288"/>
                    <a:pt x="114496" y="307392"/>
                    <a:pt x="91597" y="308772"/>
                  </a:cubicBezTo>
                  <a:cubicBezTo>
                    <a:pt x="66215" y="310427"/>
                    <a:pt x="41384" y="299392"/>
                    <a:pt x="23726" y="281182"/>
                  </a:cubicBezTo>
                  <a:cubicBezTo>
                    <a:pt x="4966" y="262973"/>
                    <a:pt x="0" y="231521"/>
                    <a:pt x="0" y="186274"/>
                  </a:cubicBezTo>
                  <a:lnTo>
                    <a:pt x="0" y="17979"/>
                  </a:lnTo>
                  <a:lnTo>
                    <a:pt x="34655" y="0"/>
                  </a:lnTo>
                  <a:lnTo>
                    <a:pt x="73961" y="59860"/>
                  </a:lnTo>
                  <a:lnTo>
                    <a:pt x="74492" y="133855"/>
                  </a:lnTo>
                  <a:cubicBezTo>
                    <a:pt x="72836" y="164755"/>
                    <a:pt x="77802" y="196207"/>
                    <a:pt x="87734" y="225452"/>
                  </a:cubicBezTo>
                  <a:cubicBezTo>
                    <a:pt x="96564" y="249730"/>
                    <a:pt x="119186" y="261870"/>
                    <a:pt x="153949" y="261870"/>
                  </a:cubicBezTo>
                  <a:lnTo>
                    <a:pt x="201103" y="25348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1" name="Forme libre : forme 1090">
              <a:extLst>
                <a:ext uri="{FF2B5EF4-FFF2-40B4-BE49-F238E27FC236}">
                  <a16:creationId xmlns:a16="http://schemas.microsoft.com/office/drawing/2014/main" id="{4E622CC6-C496-4DCE-9057-BDF9539B95A4}"/>
                </a:ext>
              </a:extLst>
            </p:cNvPr>
            <p:cNvSpPr/>
            <p:nvPr/>
          </p:nvSpPr>
          <p:spPr>
            <a:xfrm rot="8716295">
              <a:off x="6105199" y="6200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2" name="Forme libre : forme 1091">
              <a:extLst>
                <a:ext uri="{FF2B5EF4-FFF2-40B4-BE49-F238E27FC236}">
                  <a16:creationId xmlns:a16="http://schemas.microsoft.com/office/drawing/2014/main" id="{7603AAA1-071D-439F-A511-02E260209FED}"/>
                </a:ext>
              </a:extLst>
            </p:cNvPr>
            <p:cNvSpPr/>
            <p:nvPr/>
          </p:nvSpPr>
          <p:spPr>
            <a:xfrm rot="8716295">
              <a:off x="6072242" y="-8046"/>
              <a:ext cx="93729" cy="73541"/>
            </a:xfrm>
            <a:custGeom>
              <a:avLst/>
              <a:gdLst>
                <a:gd name="connsiteX0" fmla="*/ 0 w 93729"/>
                <a:gd name="connsiteY0" fmla="*/ 39235 h 73541"/>
                <a:gd name="connsiteX1" fmla="*/ 9187 w 93729"/>
                <a:gd name="connsiteY1" fmla="*/ 17477 h 73541"/>
                <a:gd name="connsiteX2" fmla="*/ 50579 w 93729"/>
                <a:gd name="connsiteY2" fmla="*/ 0 h 73541"/>
                <a:gd name="connsiteX3" fmla="*/ 91973 w 93729"/>
                <a:gd name="connsiteY3" fmla="*/ 17477 h 73541"/>
                <a:gd name="connsiteX4" fmla="*/ 93729 w 93729"/>
                <a:gd name="connsiteY4" fmla="*/ 20058 h 73541"/>
                <a:gd name="connsiteX5" fmla="*/ 49492 w 93729"/>
                <a:gd name="connsiteY5" fmla="*/ 73541 h 73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729" h="73541">
                  <a:moveTo>
                    <a:pt x="0" y="39235"/>
                  </a:moveTo>
                  <a:lnTo>
                    <a:pt x="9187" y="17477"/>
                  </a:lnTo>
                  <a:cubicBezTo>
                    <a:pt x="20225" y="6439"/>
                    <a:pt x="34943" y="0"/>
                    <a:pt x="50579" y="0"/>
                  </a:cubicBezTo>
                  <a:cubicBezTo>
                    <a:pt x="66217" y="0"/>
                    <a:pt x="80934" y="6439"/>
                    <a:pt x="91973" y="17477"/>
                  </a:cubicBezTo>
                  <a:lnTo>
                    <a:pt x="93729" y="20058"/>
                  </a:lnTo>
                  <a:lnTo>
                    <a:pt x="49492" y="735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3" name="Forme libre : forme 1092">
              <a:extLst>
                <a:ext uri="{FF2B5EF4-FFF2-40B4-BE49-F238E27FC236}">
                  <a16:creationId xmlns:a16="http://schemas.microsoft.com/office/drawing/2014/main" id="{9C8F8AD8-9BE3-4AFF-9D9E-827181BFFE71}"/>
                </a:ext>
              </a:extLst>
            </p:cNvPr>
            <p:cNvSpPr/>
            <p:nvPr/>
          </p:nvSpPr>
          <p:spPr>
            <a:xfrm rot="8716295">
              <a:off x="7172347" y="237144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4" name="Forme libre : forme 1093">
              <a:extLst>
                <a:ext uri="{FF2B5EF4-FFF2-40B4-BE49-F238E27FC236}">
                  <a16:creationId xmlns:a16="http://schemas.microsoft.com/office/drawing/2014/main" id="{B50EEFFE-50F1-41BD-AC0F-C587493B9502}"/>
                </a:ext>
              </a:extLst>
            </p:cNvPr>
            <p:cNvSpPr/>
            <p:nvPr/>
          </p:nvSpPr>
          <p:spPr>
            <a:xfrm rot="8716295">
              <a:off x="7261739" y="240068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5" name="Forme libre : forme 1094">
              <a:extLst>
                <a:ext uri="{FF2B5EF4-FFF2-40B4-BE49-F238E27FC236}">
                  <a16:creationId xmlns:a16="http://schemas.microsoft.com/office/drawing/2014/main" id="{2580D73F-ABFD-46AB-A8B8-663F26EB77C2}"/>
                </a:ext>
              </a:extLst>
            </p:cNvPr>
            <p:cNvSpPr/>
            <p:nvPr/>
          </p:nvSpPr>
          <p:spPr>
            <a:xfrm rot="8716295">
              <a:off x="7216889" y="2314408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6" name="Forme libre : forme 1095">
              <a:extLst>
                <a:ext uri="{FF2B5EF4-FFF2-40B4-BE49-F238E27FC236}">
                  <a16:creationId xmlns:a16="http://schemas.microsoft.com/office/drawing/2014/main" id="{2C3435C1-11AD-43F5-B057-1EA87D25FBC9}"/>
                </a:ext>
              </a:extLst>
            </p:cNvPr>
            <p:cNvSpPr/>
            <p:nvPr/>
          </p:nvSpPr>
          <p:spPr>
            <a:xfrm rot="8716295">
              <a:off x="7060113" y="245999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7" name="Forme libre : forme 1096">
              <a:extLst>
                <a:ext uri="{FF2B5EF4-FFF2-40B4-BE49-F238E27FC236}">
                  <a16:creationId xmlns:a16="http://schemas.microsoft.com/office/drawing/2014/main" id="{4B47ED33-41DD-4DB3-AD1B-B82A88377D4B}"/>
                </a:ext>
              </a:extLst>
            </p:cNvPr>
            <p:cNvSpPr/>
            <p:nvPr/>
          </p:nvSpPr>
          <p:spPr>
            <a:xfrm rot="8716295">
              <a:off x="6935210" y="225131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8" name="Forme libre : forme 1097">
              <a:extLst>
                <a:ext uri="{FF2B5EF4-FFF2-40B4-BE49-F238E27FC236}">
                  <a16:creationId xmlns:a16="http://schemas.microsoft.com/office/drawing/2014/main" id="{FDADFB27-095D-4A69-842C-AC50F274C2CB}"/>
                </a:ext>
              </a:extLst>
            </p:cNvPr>
            <p:cNvSpPr/>
            <p:nvPr/>
          </p:nvSpPr>
          <p:spPr>
            <a:xfrm rot="8716295">
              <a:off x="6923158" y="2112537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9" name="Forme libre : forme 1098">
              <a:extLst>
                <a:ext uri="{FF2B5EF4-FFF2-40B4-BE49-F238E27FC236}">
                  <a16:creationId xmlns:a16="http://schemas.microsoft.com/office/drawing/2014/main" id="{51728AE9-139E-41E1-8F39-80B1269EE624}"/>
                </a:ext>
              </a:extLst>
            </p:cNvPr>
            <p:cNvSpPr/>
            <p:nvPr/>
          </p:nvSpPr>
          <p:spPr>
            <a:xfrm rot="8716295">
              <a:off x="7150291" y="2500942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0" name="Forme libre : forme 1099">
              <a:extLst>
                <a:ext uri="{FF2B5EF4-FFF2-40B4-BE49-F238E27FC236}">
                  <a16:creationId xmlns:a16="http://schemas.microsoft.com/office/drawing/2014/main" id="{92B4175C-E509-4678-8549-D6B4F8ECF63E}"/>
                </a:ext>
              </a:extLst>
            </p:cNvPr>
            <p:cNvSpPr/>
            <p:nvPr/>
          </p:nvSpPr>
          <p:spPr>
            <a:xfrm rot="8716295">
              <a:off x="7461446" y="212129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1" name="Forme libre : forme 1100">
              <a:extLst>
                <a:ext uri="{FF2B5EF4-FFF2-40B4-BE49-F238E27FC236}">
                  <a16:creationId xmlns:a16="http://schemas.microsoft.com/office/drawing/2014/main" id="{03A48A9F-470F-4E42-AB0D-A2092DAB19E1}"/>
                </a:ext>
              </a:extLst>
            </p:cNvPr>
            <p:cNvSpPr/>
            <p:nvPr/>
          </p:nvSpPr>
          <p:spPr>
            <a:xfrm rot="8716295">
              <a:off x="7550838" y="215053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2" name="Forme libre : forme 1101">
              <a:extLst>
                <a:ext uri="{FF2B5EF4-FFF2-40B4-BE49-F238E27FC236}">
                  <a16:creationId xmlns:a16="http://schemas.microsoft.com/office/drawing/2014/main" id="{D787AC24-D650-46E0-AF17-D8D11DE74854}"/>
                </a:ext>
              </a:extLst>
            </p:cNvPr>
            <p:cNvSpPr/>
            <p:nvPr/>
          </p:nvSpPr>
          <p:spPr>
            <a:xfrm rot="8716295">
              <a:off x="7349212" y="220983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3" name="Forme libre : forme 1102">
              <a:extLst>
                <a:ext uri="{FF2B5EF4-FFF2-40B4-BE49-F238E27FC236}">
                  <a16:creationId xmlns:a16="http://schemas.microsoft.com/office/drawing/2014/main" id="{0FB757C5-F53D-4FA3-95F2-B6B3C4253FFC}"/>
                </a:ext>
              </a:extLst>
            </p:cNvPr>
            <p:cNvSpPr/>
            <p:nvPr/>
          </p:nvSpPr>
          <p:spPr>
            <a:xfrm rot="8716295">
              <a:off x="7224310" y="200116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4" name="Forme libre : forme 1103">
              <a:extLst>
                <a:ext uri="{FF2B5EF4-FFF2-40B4-BE49-F238E27FC236}">
                  <a16:creationId xmlns:a16="http://schemas.microsoft.com/office/drawing/2014/main" id="{BF242107-D725-4B4F-BC78-5EDCA137735E}"/>
                </a:ext>
              </a:extLst>
            </p:cNvPr>
            <p:cNvSpPr/>
            <p:nvPr/>
          </p:nvSpPr>
          <p:spPr>
            <a:xfrm rot="8716295">
              <a:off x="7439390" y="2250790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5" name="Forme libre : forme 1104">
              <a:extLst>
                <a:ext uri="{FF2B5EF4-FFF2-40B4-BE49-F238E27FC236}">
                  <a16:creationId xmlns:a16="http://schemas.microsoft.com/office/drawing/2014/main" id="{3CE12C75-E0FA-48A2-87D6-5CE57DDA0BBD}"/>
                </a:ext>
              </a:extLst>
            </p:cNvPr>
            <p:cNvSpPr/>
            <p:nvPr/>
          </p:nvSpPr>
          <p:spPr>
            <a:xfrm rot="8716295">
              <a:off x="7197939" y="2101190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6" name="Forme libre : forme 1105">
              <a:extLst>
                <a:ext uri="{FF2B5EF4-FFF2-40B4-BE49-F238E27FC236}">
                  <a16:creationId xmlns:a16="http://schemas.microsoft.com/office/drawing/2014/main" id="{B337DB84-252C-4B02-A3DE-B9A85A114904}"/>
                </a:ext>
              </a:extLst>
            </p:cNvPr>
            <p:cNvSpPr/>
            <p:nvPr/>
          </p:nvSpPr>
          <p:spPr>
            <a:xfrm rot="7484129">
              <a:off x="7544321" y="244214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7" name="Forme libre : forme 1106">
              <a:extLst>
                <a:ext uri="{FF2B5EF4-FFF2-40B4-BE49-F238E27FC236}">
                  <a16:creationId xmlns:a16="http://schemas.microsoft.com/office/drawing/2014/main" id="{F19E0C83-77A7-4617-BCA2-22616BECAE12}"/>
                </a:ext>
              </a:extLst>
            </p:cNvPr>
            <p:cNvSpPr/>
            <p:nvPr/>
          </p:nvSpPr>
          <p:spPr>
            <a:xfrm rot="13089394">
              <a:off x="7649141" y="2408675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8" name="Forme libre : forme 1107">
              <a:extLst>
                <a:ext uri="{FF2B5EF4-FFF2-40B4-BE49-F238E27FC236}">
                  <a16:creationId xmlns:a16="http://schemas.microsoft.com/office/drawing/2014/main" id="{F5B45C54-84E0-4739-ADB3-959633174024}"/>
                </a:ext>
              </a:extLst>
            </p:cNvPr>
            <p:cNvSpPr/>
            <p:nvPr/>
          </p:nvSpPr>
          <p:spPr>
            <a:xfrm rot="8716295">
              <a:off x="7834726" y="2216994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9" name="Forme libre : forme 1108">
              <a:extLst>
                <a:ext uri="{FF2B5EF4-FFF2-40B4-BE49-F238E27FC236}">
                  <a16:creationId xmlns:a16="http://schemas.microsoft.com/office/drawing/2014/main" id="{66B27175-8CF2-4D68-B9A3-8660A0B5CD05}"/>
                </a:ext>
              </a:extLst>
            </p:cNvPr>
            <p:cNvSpPr/>
            <p:nvPr/>
          </p:nvSpPr>
          <p:spPr>
            <a:xfrm rot="8716295">
              <a:off x="7782921" y="211340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0" name="Forme libre : forme 1109">
              <a:extLst>
                <a:ext uri="{FF2B5EF4-FFF2-40B4-BE49-F238E27FC236}">
                  <a16:creationId xmlns:a16="http://schemas.microsoft.com/office/drawing/2014/main" id="{8FD17293-97E3-4673-AA7F-84B5B99446CA}"/>
                </a:ext>
              </a:extLst>
            </p:cNvPr>
            <p:cNvSpPr/>
            <p:nvPr/>
          </p:nvSpPr>
          <p:spPr>
            <a:xfrm rot="8716295">
              <a:off x="7539675" y="214362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1" name="Forme libre : forme 1110">
              <a:extLst>
                <a:ext uri="{FF2B5EF4-FFF2-40B4-BE49-F238E27FC236}">
                  <a16:creationId xmlns:a16="http://schemas.microsoft.com/office/drawing/2014/main" id="{C73B72CE-98CF-4B2D-903B-F181C83E80BA}"/>
                </a:ext>
              </a:extLst>
            </p:cNvPr>
            <p:cNvSpPr/>
            <p:nvPr/>
          </p:nvSpPr>
          <p:spPr>
            <a:xfrm rot="8716295">
              <a:off x="7717127" y="198438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2" name="Forme libre : forme 1111">
              <a:extLst>
                <a:ext uri="{FF2B5EF4-FFF2-40B4-BE49-F238E27FC236}">
                  <a16:creationId xmlns:a16="http://schemas.microsoft.com/office/drawing/2014/main" id="{696CB62E-C4B4-4490-8872-413E82440B78}"/>
                </a:ext>
              </a:extLst>
            </p:cNvPr>
            <p:cNvSpPr/>
            <p:nvPr/>
          </p:nvSpPr>
          <p:spPr>
            <a:xfrm rot="8716295">
              <a:off x="7395514" y="303114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3" name="Forme libre : forme 1112">
              <a:extLst>
                <a:ext uri="{FF2B5EF4-FFF2-40B4-BE49-F238E27FC236}">
                  <a16:creationId xmlns:a16="http://schemas.microsoft.com/office/drawing/2014/main" id="{B9248AD5-32BA-4917-BA85-0157D956096A}"/>
                </a:ext>
              </a:extLst>
            </p:cNvPr>
            <p:cNvSpPr/>
            <p:nvPr/>
          </p:nvSpPr>
          <p:spPr>
            <a:xfrm rot="8716295">
              <a:off x="7484906" y="306038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4" name="Forme libre : forme 1113">
              <a:extLst>
                <a:ext uri="{FF2B5EF4-FFF2-40B4-BE49-F238E27FC236}">
                  <a16:creationId xmlns:a16="http://schemas.microsoft.com/office/drawing/2014/main" id="{C01A8DA7-4F44-4FB4-AD68-2519B990D7F2}"/>
                </a:ext>
              </a:extLst>
            </p:cNvPr>
            <p:cNvSpPr/>
            <p:nvPr/>
          </p:nvSpPr>
          <p:spPr>
            <a:xfrm rot="8716295">
              <a:off x="7440056" y="297410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5" name="Forme libre : forme 1114">
              <a:extLst>
                <a:ext uri="{FF2B5EF4-FFF2-40B4-BE49-F238E27FC236}">
                  <a16:creationId xmlns:a16="http://schemas.microsoft.com/office/drawing/2014/main" id="{42D9C24E-2646-42DD-BFA5-E1307CC2B5EC}"/>
                </a:ext>
              </a:extLst>
            </p:cNvPr>
            <p:cNvSpPr/>
            <p:nvPr/>
          </p:nvSpPr>
          <p:spPr>
            <a:xfrm rot="8716295">
              <a:off x="7283280" y="311968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6" name="Forme libre : forme 1115">
              <a:extLst>
                <a:ext uri="{FF2B5EF4-FFF2-40B4-BE49-F238E27FC236}">
                  <a16:creationId xmlns:a16="http://schemas.microsoft.com/office/drawing/2014/main" id="{CFABA53A-4A06-4580-8C61-8286352F9F67}"/>
                </a:ext>
              </a:extLst>
            </p:cNvPr>
            <p:cNvSpPr/>
            <p:nvPr/>
          </p:nvSpPr>
          <p:spPr>
            <a:xfrm rot="8716295">
              <a:off x="7158377" y="291101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7" name="Forme libre : forme 1116">
              <a:extLst>
                <a:ext uri="{FF2B5EF4-FFF2-40B4-BE49-F238E27FC236}">
                  <a16:creationId xmlns:a16="http://schemas.microsoft.com/office/drawing/2014/main" id="{C74B7EC2-6979-4A8A-9284-FAC8E9267907}"/>
                </a:ext>
              </a:extLst>
            </p:cNvPr>
            <p:cNvSpPr/>
            <p:nvPr/>
          </p:nvSpPr>
          <p:spPr>
            <a:xfrm rot="8716295">
              <a:off x="7146325" y="277223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8" name="Forme libre : forme 1117">
              <a:extLst>
                <a:ext uri="{FF2B5EF4-FFF2-40B4-BE49-F238E27FC236}">
                  <a16:creationId xmlns:a16="http://schemas.microsoft.com/office/drawing/2014/main" id="{F8DC9ECB-1E3E-434D-AF3D-8360A2556CE1}"/>
                </a:ext>
              </a:extLst>
            </p:cNvPr>
            <p:cNvSpPr/>
            <p:nvPr/>
          </p:nvSpPr>
          <p:spPr>
            <a:xfrm rot="8716295">
              <a:off x="7373458" y="316064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9" name="Forme libre : forme 1118">
              <a:extLst>
                <a:ext uri="{FF2B5EF4-FFF2-40B4-BE49-F238E27FC236}">
                  <a16:creationId xmlns:a16="http://schemas.microsoft.com/office/drawing/2014/main" id="{51772F42-3F0C-424A-977C-894DBAF1080F}"/>
                </a:ext>
              </a:extLst>
            </p:cNvPr>
            <p:cNvSpPr/>
            <p:nvPr/>
          </p:nvSpPr>
          <p:spPr>
            <a:xfrm rot="8716295">
              <a:off x="7684613" y="278099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0" name="Forme libre : forme 1119">
              <a:extLst>
                <a:ext uri="{FF2B5EF4-FFF2-40B4-BE49-F238E27FC236}">
                  <a16:creationId xmlns:a16="http://schemas.microsoft.com/office/drawing/2014/main" id="{B5CD12DE-C7EB-4EFA-AC20-74C4AE1F7190}"/>
                </a:ext>
              </a:extLst>
            </p:cNvPr>
            <p:cNvSpPr/>
            <p:nvPr/>
          </p:nvSpPr>
          <p:spPr>
            <a:xfrm rot="8716295">
              <a:off x="7774005" y="281023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1" name="Forme libre : forme 1120">
              <a:extLst>
                <a:ext uri="{FF2B5EF4-FFF2-40B4-BE49-F238E27FC236}">
                  <a16:creationId xmlns:a16="http://schemas.microsoft.com/office/drawing/2014/main" id="{D4963745-603E-4027-A61D-8C66F68BBCF1}"/>
                </a:ext>
              </a:extLst>
            </p:cNvPr>
            <p:cNvSpPr/>
            <p:nvPr/>
          </p:nvSpPr>
          <p:spPr>
            <a:xfrm rot="8716295">
              <a:off x="7572379" y="286953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2" name="Forme libre : forme 1121">
              <a:extLst>
                <a:ext uri="{FF2B5EF4-FFF2-40B4-BE49-F238E27FC236}">
                  <a16:creationId xmlns:a16="http://schemas.microsoft.com/office/drawing/2014/main" id="{B2AE503B-34E9-4267-86FA-CBE3FB4412BF}"/>
                </a:ext>
              </a:extLst>
            </p:cNvPr>
            <p:cNvSpPr/>
            <p:nvPr/>
          </p:nvSpPr>
          <p:spPr>
            <a:xfrm rot="8716295">
              <a:off x="7447477" y="266086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3" name="Forme libre : forme 1122">
              <a:extLst>
                <a:ext uri="{FF2B5EF4-FFF2-40B4-BE49-F238E27FC236}">
                  <a16:creationId xmlns:a16="http://schemas.microsoft.com/office/drawing/2014/main" id="{555AB00F-5214-4D5A-B856-0D6CE43A6974}"/>
                </a:ext>
              </a:extLst>
            </p:cNvPr>
            <p:cNvSpPr/>
            <p:nvPr/>
          </p:nvSpPr>
          <p:spPr>
            <a:xfrm rot="8716295">
              <a:off x="7662557" y="291048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4" name="Forme libre : forme 1123">
              <a:extLst>
                <a:ext uri="{FF2B5EF4-FFF2-40B4-BE49-F238E27FC236}">
                  <a16:creationId xmlns:a16="http://schemas.microsoft.com/office/drawing/2014/main" id="{E9EF5FF3-F4BF-4CDD-9607-4DBF4C2F0085}"/>
                </a:ext>
              </a:extLst>
            </p:cNvPr>
            <p:cNvSpPr/>
            <p:nvPr/>
          </p:nvSpPr>
          <p:spPr>
            <a:xfrm rot="8716295">
              <a:off x="7421106" y="276088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5" name="Forme libre : forme 1124">
              <a:extLst>
                <a:ext uri="{FF2B5EF4-FFF2-40B4-BE49-F238E27FC236}">
                  <a16:creationId xmlns:a16="http://schemas.microsoft.com/office/drawing/2014/main" id="{59DF2FDB-C1DD-4AAC-8ED6-A9A2F1015694}"/>
                </a:ext>
              </a:extLst>
            </p:cNvPr>
            <p:cNvSpPr/>
            <p:nvPr/>
          </p:nvSpPr>
          <p:spPr>
            <a:xfrm rot="7484129">
              <a:off x="7767488" y="310184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6" name="Forme libre : forme 1125">
              <a:extLst>
                <a:ext uri="{FF2B5EF4-FFF2-40B4-BE49-F238E27FC236}">
                  <a16:creationId xmlns:a16="http://schemas.microsoft.com/office/drawing/2014/main" id="{4196ADC5-483D-4AAF-B032-555B70BC6EE5}"/>
                </a:ext>
              </a:extLst>
            </p:cNvPr>
            <p:cNvSpPr/>
            <p:nvPr/>
          </p:nvSpPr>
          <p:spPr>
            <a:xfrm rot="13089394">
              <a:off x="7872308" y="306837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7" name="Forme libre : forme 1126">
              <a:extLst>
                <a:ext uri="{FF2B5EF4-FFF2-40B4-BE49-F238E27FC236}">
                  <a16:creationId xmlns:a16="http://schemas.microsoft.com/office/drawing/2014/main" id="{32A56DA8-4C3D-4B7F-A319-4811C6B7AA5C}"/>
                </a:ext>
              </a:extLst>
            </p:cNvPr>
            <p:cNvSpPr/>
            <p:nvPr/>
          </p:nvSpPr>
          <p:spPr>
            <a:xfrm rot="8716295">
              <a:off x="8057893" y="287669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8" name="Forme libre : forme 1127">
              <a:extLst>
                <a:ext uri="{FF2B5EF4-FFF2-40B4-BE49-F238E27FC236}">
                  <a16:creationId xmlns:a16="http://schemas.microsoft.com/office/drawing/2014/main" id="{8E0F1C28-8F77-4966-95BD-C88FCEF83216}"/>
                </a:ext>
              </a:extLst>
            </p:cNvPr>
            <p:cNvSpPr/>
            <p:nvPr/>
          </p:nvSpPr>
          <p:spPr>
            <a:xfrm rot="8716295">
              <a:off x="8006088" y="277310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9" name="Forme libre : forme 1128">
              <a:extLst>
                <a:ext uri="{FF2B5EF4-FFF2-40B4-BE49-F238E27FC236}">
                  <a16:creationId xmlns:a16="http://schemas.microsoft.com/office/drawing/2014/main" id="{E5A4A31B-3B75-496C-9F61-22A820F43FCD}"/>
                </a:ext>
              </a:extLst>
            </p:cNvPr>
            <p:cNvSpPr/>
            <p:nvPr/>
          </p:nvSpPr>
          <p:spPr>
            <a:xfrm rot="8716295">
              <a:off x="7762842" y="280332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0" name="Forme libre : forme 1129">
              <a:extLst>
                <a:ext uri="{FF2B5EF4-FFF2-40B4-BE49-F238E27FC236}">
                  <a16:creationId xmlns:a16="http://schemas.microsoft.com/office/drawing/2014/main" id="{4862B135-8953-4E24-B4C9-59ECE15EAE81}"/>
                </a:ext>
              </a:extLst>
            </p:cNvPr>
            <p:cNvSpPr/>
            <p:nvPr/>
          </p:nvSpPr>
          <p:spPr>
            <a:xfrm rot="8716295">
              <a:off x="7940294" y="264407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1" name="Forme libre : forme 1130">
              <a:extLst>
                <a:ext uri="{FF2B5EF4-FFF2-40B4-BE49-F238E27FC236}">
                  <a16:creationId xmlns:a16="http://schemas.microsoft.com/office/drawing/2014/main" id="{3E405773-6C52-4033-9D2E-C77CD5E36C97}"/>
                </a:ext>
              </a:extLst>
            </p:cNvPr>
            <p:cNvSpPr/>
            <p:nvPr/>
          </p:nvSpPr>
          <p:spPr>
            <a:xfrm rot="8716295">
              <a:off x="8044812" y="5014610"/>
              <a:ext cx="142167" cy="185946"/>
            </a:xfrm>
            <a:custGeom>
              <a:avLst/>
              <a:gdLst>
                <a:gd name="connsiteX0" fmla="*/ 0 w 142167"/>
                <a:gd name="connsiteY0" fmla="*/ 3681 h 185946"/>
                <a:gd name="connsiteX1" fmla="*/ 0 w 142167"/>
                <a:gd name="connsiteY1" fmla="*/ 0 h 185946"/>
                <a:gd name="connsiteX2" fmla="*/ 5311 w 142167"/>
                <a:gd name="connsiteY2" fmla="*/ 3681 h 185946"/>
                <a:gd name="connsiteX3" fmla="*/ 81108 w 142167"/>
                <a:gd name="connsiteY3" fmla="*/ 185946 h 185946"/>
                <a:gd name="connsiteX4" fmla="*/ 81108 w 142167"/>
                <a:gd name="connsiteY4" fmla="*/ 56221 h 185946"/>
                <a:gd name="connsiteX5" fmla="*/ 142167 w 142167"/>
                <a:gd name="connsiteY5" fmla="*/ 98545 h 185946"/>
                <a:gd name="connsiteX6" fmla="*/ 142167 w 142167"/>
                <a:gd name="connsiteY6" fmla="*/ 161796 h 185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167" h="185946">
                  <a:moveTo>
                    <a:pt x="0" y="3681"/>
                  </a:moveTo>
                  <a:lnTo>
                    <a:pt x="0" y="0"/>
                  </a:lnTo>
                  <a:lnTo>
                    <a:pt x="5311" y="3681"/>
                  </a:lnTo>
                  <a:close/>
                  <a:moveTo>
                    <a:pt x="81108" y="185946"/>
                  </a:moveTo>
                  <a:lnTo>
                    <a:pt x="81108" y="56221"/>
                  </a:lnTo>
                  <a:lnTo>
                    <a:pt x="142167" y="98545"/>
                  </a:lnTo>
                  <a:lnTo>
                    <a:pt x="142167" y="1617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2" name="Forme libre : forme 1131">
              <a:extLst>
                <a:ext uri="{FF2B5EF4-FFF2-40B4-BE49-F238E27FC236}">
                  <a16:creationId xmlns:a16="http://schemas.microsoft.com/office/drawing/2014/main" id="{1E88E955-7F03-41E3-9D75-6D519C17C0A9}"/>
                </a:ext>
              </a:extLst>
            </p:cNvPr>
            <p:cNvSpPr/>
            <p:nvPr/>
          </p:nvSpPr>
          <p:spPr>
            <a:xfrm rot="8716295">
              <a:off x="8258973" y="5016779"/>
              <a:ext cx="60148" cy="157919"/>
            </a:xfrm>
            <a:custGeom>
              <a:avLst/>
              <a:gdLst>
                <a:gd name="connsiteX0" fmla="*/ 0 w 60148"/>
                <a:gd name="connsiteY0" fmla="*/ 157919 h 157919"/>
                <a:gd name="connsiteX1" fmla="*/ 0 w 60148"/>
                <a:gd name="connsiteY1" fmla="*/ 0 h 157919"/>
                <a:gd name="connsiteX2" fmla="*/ 60148 w 60148"/>
                <a:gd name="connsiteY2" fmla="*/ 41692 h 157919"/>
                <a:gd name="connsiteX3" fmla="*/ 60148 w 60148"/>
                <a:gd name="connsiteY3" fmla="*/ 116909 h 157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8" h="157919">
                  <a:moveTo>
                    <a:pt x="0" y="157919"/>
                  </a:moveTo>
                  <a:lnTo>
                    <a:pt x="0" y="0"/>
                  </a:lnTo>
                  <a:lnTo>
                    <a:pt x="60148" y="41692"/>
                  </a:lnTo>
                  <a:lnTo>
                    <a:pt x="60148" y="11690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3" name="Forme libre : forme 1132">
              <a:extLst>
                <a:ext uri="{FF2B5EF4-FFF2-40B4-BE49-F238E27FC236}">
                  <a16:creationId xmlns:a16="http://schemas.microsoft.com/office/drawing/2014/main" id="{CA2B8755-B7BC-4A60-A8F4-7FADFD1B1DC2}"/>
                </a:ext>
              </a:extLst>
            </p:cNvPr>
            <p:cNvSpPr/>
            <p:nvPr/>
          </p:nvSpPr>
          <p:spPr>
            <a:xfrm rot="8716295">
              <a:off x="8103411" y="495317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4" name="Forme libre : forme 1133">
              <a:extLst>
                <a:ext uri="{FF2B5EF4-FFF2-40B4-BE49-F238E27FC236}">
                  <a16:creationId xmlns:a16="http://schemas.microsoft.com/office/drawing/2014/main" id="{E1AF4DEC-6ACA-4C7B-B12C-9DCB672B78AA}"/>
                </a:ext>
              </a:extLst>
            </p:cNvPr>
            <p:cNvSpPr/>
            <p:nvPr/>
          </p:nvSpPr>
          <p:spPr>
            <a:xfrm rot="8716295">
              <a:off x="7941579" y="5096694"/>
              <a:ext cx="58211" cy="55513"/>
            </a:xfrm>
            <a:custGeom>
              <a:avLst/>
              <a:gdLst>
                <a:gd name="connsiteX0" fmla="*/ 8658 w 58211"/>
                <a:gd name="connsiteY0" fmla="*/ 47310 h 55513"/>
                <a:gd name="connsiteX1" fmla="*/ 0 w 58211"/>
                <a:gd name="connsiteY1" fmla="*/ 26806 h 55513"/>
                <a:gd name="connsiteX2" fmla="*/ 0 w 58211"/>
                <a:gd name="connsiteY2" fmla="*/ 26349 h 55513"/>
                <a:gd name="connsiteX3" fmla="*/ 8658 w 58211"/>
                <a:gd name="connsiteY3" fmla="*/ 5845 h 55513"/>
                <a:gd name="connsiteX4" fmla="*/ 22501 w 58211"/>
                <a:gd name="connsiteY4" fmla="*/ 0 h 55513"/>
                <a:gd name="connsiteX5" fmla="*/ 57366 w 58211"/>
                <a:gd name="connsiteY5" fmla="*/ 24167 h 55513"/>
                <a:gd name="connsiteX6" fmla="*/ 58211 w 58211"/>
                <a:gd name="connsiteY6" fmla="*/ 26179 h 55513"/>
                <a:gd name="connsiteX7" fmla="*/ 49668 w 58211"/>
                <a:gd name="connsiteY7" fmla="*/ 46855 h 55513"/>
                <a:gd name="connsiteX8" fmla="*/ 29163 w 58211"/>
                <a:gd name="connsiteY8" fmla="*/ 55513 h 55513"/>
                <a:gd name="connsiteX9" fmla="*/ 8658 w 58211"/>
                <a:gd name="connsiteY9" fmla="*/ 47310 h 55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8211" h="55513">
                  <a:moveTo>
                    <a:pt x="8658" y="47310"/>
                  </a:moveTo>
                  <a:cubicBezTo>
                    <a:pt x="3190" y="41843"/>
                    <a:pt x="0" y="34551"/>
                    <a:pt x="0" y="26806"/>
                  </a:cubicBezTo>
                  <a:lnTo>
                    <a:pt x="0" y="26349"/>
                  </a:lnTo>
                  <a:cubicBezTo>
                    <a:pt x="0" y="18604"/>
                    <a:pt x="3190" y="11313"/>
                    <a:pt x="8658" y="5845"/>
                  </a:cubicBezTo>
                  <a:lnTo>
                    <a:pt x="22501" y="0"/>
                  </a:lnTo>
                  <a:lnTo>
                    <a:pt x="57366" y="24167"/>
                  </a:lnTo>
                  <a:lnTo>
                    <a:pt x="58211" y="26179"/>
                  </a:lnTo>
                  <a:cubicBezTo>
                    <a:pt x="58212" y="33641"/>
                    <a:pt x="55364" y="41159"/>
                    <a:pt x="49668" y="46855"/>
                  </a:cubicBezTo>
                  <a:cubicBezTo>
                    <a:pt x="44200" y="52323"/>
                    <a:pt x="36909" y="55512"/>
                    <a:pt x="29163" y="55513"/>
                  </a:cubicBezTo>
                  <a:cubicBezTo>
                    <a:pt x="21416" y="55512"/>
                    <a:pt x="14126" y="52778"/>
                    <a:pt x="8658" y="473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5" name="Forme libre : forme 1134">
              <a:extLst>
                <a:ext uri="{FF2B5EF4-FFF2-40B4-BE49-F238E27FC236}">
                  <a16:creationId xmlns:a16="http://schemas.microsoft.com/office/drawing/2014/main" id="{B8F042BB-C9F6-4157-AE20-FD1AD8D9B197}"/>
                </a:ext>
              </a:extLst>
            </p:cNvPr>
            <p:cNvSpPr/>
            <p:nvPr/>
          </p:nvSpPr>
          <p:spPr>
            <a:xfrm rot="8716295">
              <a:off x="7821732" y="489008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6" name="Forme libre : forme 1135">
              <a:extLst>
                <a:ext uri="{FF2B5EF4-FFF2-40B4-BE49-F238E27FC236}">
                  <a16:creationId xmlns:a16="http://schemas.microsoft.com/office/drawing/2014/main" id="{42560913-1E4E-4677-9E81-A4912B35BE09}"/>
                </a:ext>
              </a:extLst>
            </p:cNvPr>
            <p:cNvSpPr/>
            <p:nvPr/>
          </p:nvSpPr>
          <p:spPr>
            <a:xfrm rot="8716295">
              <a:off x="7809680" y="475130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7" name="Forme libre : forme 1136">
              <a:extLst>
                <a:ext uri="{FF2B5EF4-FFF2-40B4-BE49-F238E27FC236}">
                  <a16:creationId xmlns:a16="http://schemas.microsoft.com/office/drawing/2014/main" id="{7BFA6FDC-5CB7-4DDB-87E8-074ECA1084F2}"/>
                </a:ext>
              </a:extLst>
            </p:cNvPr>
            <p:cNvSpPr/>
            <p:nvPr/>
          </p:nvSpPr>
          <p:spPr>
            <a:xfrm rot="8716295">
              <a:off x="8347968" y="476006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8" name="Forme libre : forme 1137">
              <a:extLst>
                <a:ext uri="{FF2B5EF4-FFF2-40B4-BE49-F238E27FC236}">
                  <a16:creationId xmlns:a16="http://schemas.microsoft.com/office/drawing/2014/main" id="{A72146F5-0FE8-433A-B4E4-A08CDA8CE838}"/>
                </a:ext>
              </a:extLst>
            </p:cNvPr>
            <p:cNvSpPr/>
            <p:nvPr/>
          </p:nvSpPr>
          <p:spPr>
            <a:xfrm rot="8716295">
              <a:off x="8437360" y="478930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9" name="Forme libre : forme 1138">
              <a:extLst>
                <a:ext uri="{FF2B5EF4-FFF2-40B4-BE49-F238E27FC236}">
                  <a16:creationId xmlns:a16="http://schemas.microsoft.com/office/drawing/2014/main" id="{B0815185-98D4-4C05-A864-471788D20585}"/>
                </a:ext>
              </a:extLst>
            </p:cNvPr>
            <p:cNvSpPr/>
            <p:nvPr/>
          </p:nvSpPr>
          <p:spPr>
            <a:xfrm rot="8716295">
              <a:off x="8235734" y="484860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0" name="Forme libre : forme 1139">
              <a:extLst>
                <a:ext uri="{FF2B5EF4-FFF2-40B4-BE49-F238E27FC236}">
                  <a16:creationId xmlns:a16="http://schemas.microsoft.com/office/drawing/2014/main" id="{ADDDCEE7-B6A9-4A01-8C1B-1A7C3E608705}"/>
                </a:ext>
              </a:extLst>
            </p:cNvPr>
            <p:cNvSpPr/>
            <p:nvPr/>
          </p:nvSpPr>
          <p:spPr>
            <a:xfrm rot="8716295">
              <a:off x="8110832" y="463993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1" name="Forme libre : forme 1140">
              <a:extLst>
                <a:ext uri="{FF2B5EF4-FFF2-40B4-BE49-F238E27FC236}">
                  <a16:creationId xmlns:a16="http://schemas.microsoft.com/office/drawing/2014/main" id="{286D2BD3-550D-4955-8EE3-067F78BD5B31}"/>
                </a:ext>
              </a:extLst>
            </p:cNvPr>
            <p:cNvSpPr/>
            <p:nvPr/>
          </p:nvSpPr>
          <p:spPr>
            <a:xfrm rot="8716295">
              <a:off x="8325912" y="488955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2" name="Forme libre : forme 1141">
              <a:extLst>
                <a:ext uri="{FF2B5EF4-FFF2-40B4-BE49-F238E27FC236}">
                  <a16:creationId xmlns:a16="http://schemas.microsoft.com/office/drawing/2014/main" id="{74F489EB-7AD1-4764-88E8-EF5930816B76}"/>
                </a:ext>
              </a:extLst>
            </p:cNvPr>
            <p:cNvSpPr/>
            <p:nvPr/>
          </p:nvSpPr>
          <p:spPr>
            <a:xfrm rot="8716295">
              <a:off x="8084461" y="473995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3" name="Forme libre : forme 1142">
              <a:extLst>
                <a:ext uri="{FF2B5EF4-FFF2-40B4-BE49-F238E27FC236}">
                  <a16:creationId xmlns:a16="http://schemas.microsoft.com/office/drawing/2014/main" id="{848DCC45-C596-44D7-A17C-7DD4A4668DE6}"/>
                </a:ext>
              </a:extLst>
            </p:cNvPr>
            <p:cNvSpPr/>
            <p:nvPr/>
          </p:nvSpPr>
          <p:spPr>
            <a:xfrm rot="7484129">
              <a:off x="8500513" y="5042942"/>
              <a:ext cx="102412" cy="181729"/>
            </a:xfrm>
            <a:custGeom>
              <a:avLst/>
              <a:gdLst>
                <a:gd name="connsiteX0" fmla="*/ 0 w 102412"/>
                <a:gd name="connsiteY0" fmla="*/ 41179 h 181729"/>
                <a:gd name="connsiteX1" fmla="*/ 0 w 102412"/>
                <a:gd name="connsiteY1" fmla="*/ 0 h 181729"/>
                <a:gd name="connsiteX2" fmla="*/ 28551 w 102412"/>
                <a:gd name="connsiteY2" fmla="*/ 41179 h 181729"/>
                <a:gd name="connsiteX3" fmla="*/ 90709 w 102412"/>
                <a:gd name="connsiteY3" fmla="*/ 181729 h 181729"/>
                <a:gd name="connsiteX4" fmla="*/ 47847 w 102412"/>
                <a:gd name="connsiteY4" fmla="*/ 101985 h 181729"/>
                <a:gd name="connsiteX5" fmla="*/ 55670 w 102412"/>
                <a:gd name="connsiteY5" fmla="*/ 80292 h 181729"/>
                <a:gd name="connsiteX6" fmla="*/ 102412 w 102412"/>
                <a:gd name="connsiteY6" fmla="*/ 147707 h 181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2412" h="181729">
                  <a:moveTo>
                    <a:pt x="0" y="41179"/>
                  </a:moveTo>
                  <a:lnTo>
                    <a:pt x="0" y="0"/>
                  </a:lnTo>
                  <a:lnTo>
                    <a:pt x="28551" y="41179"/>
                  </a:lnTo>
                  <a:close/>
                  <a:moveTo>
                    <a:pt x="90709" y="181729"/>
                  </a:moveTo>
                  <a:lnTo>
                    <a:pt x="47847" y="101985"/>
                  </a:lnTo>
                  <a:lnTo>
                    <a:pt x="55670" y="80292"/>
                  </a:lnTo>
                  <a:lnTo>
                    <a:pt x="102412" y="14770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4" name="Forme libre : forme 1143">
              <a:extLst>
                <a:ext uri="{FF2B5EF4-FFF2-40B4-BE49-F238E27FC236}">
                  <a16:creationId xmlns:a16="http://schemas.microsoft.com/office/drawing/2014/main" id="{7A947FA2-4A2A-44E5-9A4C-F2720B1B3F87}"/>
                </a:ext>
              </a:extLst>
            </p:cNvPr>
            <p:cNvSpPr/>
            <p:nvPr/>
          </p:nvSpPr>
          <p:spPr>
            <a:xfrm rot="13089394">
              <a:off x="8615617" y="5055433"/>
              <a:ext cx="225779" cy="83483"/>
            </a:xfrm>
            <a:custGeom>
              <a:avLst/>
              <a:gdLst>
                <a:gd name="connsiteX0" fmla="*/ 225779 w 225779"/>
                <a:gd name="connsiteY0" fmla="*/ 12691 h 83483"/>
                <a:gd name="connsiteX1" fmla="*/ 44792 w 225779"/>
                <a:gd name="connsiteY1" fmla="*/ 83320 h 83483"/>
                <a:gd name="connsiteX2" fmla="*/ 7960 w 225779"/>
                <a:gd name="connsiteY2" fmla="*/ 76974 h 83483"/>
                <a:gd name="connsiteX3" fmla="*/ 0 w 225779"/>
                <a:gd name="connsiteY3" fmla="*/ 71526 h 83483"/>
                <a:gd name="connsiteX4" fmla="*/ 70403 w 225779"/>
                <a:gd name="connsiteY4" fmla="*/ 16211 h 83483"/>
                <a:gd name="connsiteX5" fmla="*/ 107144 w 225779"/>
                <a:gd name="connsiteY5" fmla="*/ 36418 h 83483"/>
                <a:gd name="connsiteX6" fmla="*/ 156805 w 225779"/>
                <a:gd name="connsiteY6" fmla="*/ 27589 h 83483"/>
                <a:gd name="connsiteX7" fmla="*/ 224676 w 225779"/>
                <a:gd name="connsiteY7" fmla="*/ 0 h 83483"/>
                <a:gd name="connsiteX8" fmla="*/ 225779 w 225779"/>
                <a:gd name="connsiteY8" fmla="*/ 7173 h 83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5779" h="83483">
                  <a:moveTo>
                    <a:pt x="225779" y="12691"/>
                  </a:moveTo>
                  <a:cubicBezTo>
                    <a:pt x="167290" y="62904"/>
                    <a:pt x="90590" y="80561"/>
                    <a:pt x="44792" y="83320"/>
                  </a:cubicBezTo>
                  <a:cubicBezTo>
                    <a:pt x="32101" y="84147"/>
                    <a:pt x="19548" y="81802"/>
                    <a:pt x="7960" y="76974"/>
                  </a:cubicBezTo>
                  <a:lnTo>
                    <a:pt x="0" y="71526"/>
                  </a:lnTo>
                  <a:lnTo>
                    <a:pt x="70403" y="16211"/>
                  </a:lnTo>
                  <a:lnTo>
                    <a:pt x="107144" y="36418"/>
                  </a:lnTo>
                  <a:cubicBezTo>
                    <a:pt x="124250" y="35866"/>
                    <a:pt x="140803" y="32555"/>
                    <a:pt x="156805" y="27589"/>
                  </a:cubicBezTo>
                  <a:cubicBezTo>
                    <a:pt x="179981" y="20416"/>
                    <a:pt x="202604" y="11036"/>
                    <a:pt x="224676" y="0"/>
                  </a:cubicBezTo>
                  <a:cubicBezTo>
                    <a:pt x="225227" y="2207"/>
                    <a:pt x="225779" y="4965"/>
                    <a:pt x="225779" y="71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5" name="Forme libre : forme 1144">
              <a:extLst>
                <a:ext uri="{FF2B5EF4-FFF2-40B4-BE49-F238E27FC236}">
                  <a16:creationId xmlns:a16="http://schemas.microsoft.com/office/drawing/2014/main" id="{39ED4F39-D158-4423-B25C-BC478768EA1A}"/>
                </a:ext>
              </a:extLst>
            </p:cNvPr>
            <p:cNvSpPr/>
            <p:nvPr/>
          </p:nvSpPr>
          <p:spPr>
            <a:xfrm rot="8716295">
              <a:off x="8721248" y="485576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6" name="Forme libre : forme 1145">
              <a:extLst>
                <a:ext uri="{FF2B5EF4-FFF2-40B4-BE49-F238E27FC236}">
                  <a16:creationId xmlns:a16="http://schemas.microsoft.com/office/drawing/2014/main" id="{1CB5F890-4E11-48EA-BB42-A7836BF6E61A}"/>
                </a:ext>
              </a:extLst>
            </p:cNvPr>
            <p:cNvSpPr/>
            <p:nvPr/>
          </p:nvSpPr>
          <p:spPr>
            <a:xfrm rot="8716295">
              <a:off x="8669443" y="475216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7" name="Forme libre : forme 1146">
              <a:extLst>
                <a:ext uri="{FF2B5EF4-FFF2-40B4-BE49-F238E27FC236}">
                  <a16:creationId xmlns:a16="http://schemas.microsoft.com/office/drawing/2014/main" id="{2FE11692-ECC8-46EB-8FDE-A35EDA11A744}"/>
                </a:ext>
              </a:extLst>
            </p:cNvPr>
            <p:cNvSpPr/>
            <p:nvPr/>
          </p:nvSpPr>
          <p:spPr>
            <a:xfrm rot="8716295">
              <a:off x="8426197" y="478239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8" name="Forme libre : forme 1147">
              <a:extLst>
                <a:ext uri="{FF2B5EF4-FFF2-40B4-BE49-F238E27FC236}">
                  <a16:creationId xmlns:a16="http://schemas.microsoft.com/office/drawing/2014/main" id="{DA75CED1-0CC6-4289-861E-A817A7D7FDCB}"/>
                </a:ext>
              </a:extLst>
            </p:cNvPr>
            <p:cNvSpPr/>
            <p:nvPr/>
          </p:nvSpPr>
          <p:spPr>
            <a:xfrm rot="8716295">
              <a:off x="8603649" y="462314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9" name="Forme libre : forme 1148">
              <a:extLst>
                <a:ext uri="{FF2B5EF4-FFF2-40B4-BE49-F238E27FC236}">
                  <a16:creationId xmlns:a16="http://schemas.microsoft.com/office/drawing/2014/main" id="{E3DA200A-0DBF-467B-A809-7E259C003918}"/>
                </a:ext>
              </a:extLst>
            </p:cNvPr>
            <p:cNvSpPr/>
            <p:nvPr/>
          </p:nvSpPr>
          <p:spPr>
            <a:xfrm rot="8716295">
              <a:off x="7614184" y="368954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0" name="Forme libre : forme 1149">
              <a:extLst>
                <a:ext uri="{FF2B5EF4-FFF2-40B4-BE49-F238E27FC236}">
                  <a16:creationId xmlns:a16="http://schemas.microsoft.com/office/drawing/2014/main" id="{9D92A201-A401-4BB8-B0E2-C72AA1A3DC87}"/>
                </a:ext>
              </a:extLst>
            </p:cNvPr>
            <p:cNvSpPr/>
            <p:nvPr/>
          </p:nvSpPr>
          <p:spPr>
            <a:xfrm rot="8716295">
              <a:off x="7703576" y="371878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1" name="Forme libre : forme 1150">
              <a:extLst>
                <a:ext uri="{FF2B5EF4-FFF2-40B4-BE49-F238E27FC236}">
                  <a16:creationId xmlns:a16="http://schemas.microsoft.com/office/drawing/2014/main" id="{79DA82A8-A0CA-4B4F-BBBB-315766D51523}"/>
                </a:ext>
              </a:extLst>
            </p:cNvPr>
            <p:cNvSpPr/>
            <p:nvPr/>
          </p:nvSpPr>
          <p:spPr>
            <a:xfrm rot="8716295">
              <a:off x="7658726" y="363250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2" name="Forme libre : forme 1151">
              <a:extLst>
                <a:ext uri="{FF2B5EF4-FFF2-40B4-BE49-F238E27FC236}">
                  <a16:creationId xmlns:a16="http://schemas.microsoft.com/office/drawing/2014/main" id="{8B5996A9-C87F-4F13-AF9E-E2187D14CB27}"/>
                </a:ext>
              </a:extLst>
            </p:cNvPr>
            <p:cNvSpPr/>
            <p:nvPr/>
          </p:nvSpPr>
          <p:spPr>
            <a:xfrm rot="8716295">
              <a:off x="7501950" y="377808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3" name="Forme libre : forme 1152">
              <a:extLst>
                <a:ext uri="{FF2B5EF4-FFF2-40B4-BE49-F238E27FC236}">
                  <a16:creationId xmlns:a16="http://schemas.microsoft.com/office/drawing/2014/main" id="{9D90D6A8-2DAB-4C1A-9D9D-7615E3303858}"/>
                </a:ext>
              </a:extLst>
            </p:cNvPr>
            <p:cNvSpPr/>
            <p:nvPr/>
          </p:nvSpPr>
          <p:spPr>
            <a:xfrm rot="8716295">
              <a:off x="7377047" y="356941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4" name="Forme libre : forme 1153">
              <a:extLst>
                <a:ext uri="{FF2B5EF4-FFF2-40B4-BE49-F238E27FC236}">
                  <a16:creationId xmlns:a16="http://schemas.microsoft.com/office/drawing/2014/main" id="{49FBE6DC-FE15-41E4-B5B4-10D7B4864EFF}"/>
                </a:ext>
              </a:extLst>
            </p:cNvPr>
            <p:cNvSpPr/>
            <p:nvPr/>
          </p:nvSpPr>
          <p:spPr>
            <a:xfrm rot="8716295">
              <a:off x="7364995" y="343063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5" name="Forme libre : forme 1154">
              <a:extLst>
                <a:ext uri="{FF2B5EF4-FFF2-40B4-BE49-F238E27FC236}">
                  <a16:creationId xmlns:a16="http://schemas.microsoft.com/office/drawing/2014/main" id="{7D94CD64-B4CB-4A42-A476-CA0C3DFEE258}"/>
                </a:ext>
              </a:extLst>
            </p:cNvPr>
            <p:cNvSpPr/>
            <p:nvPr/>
          </p:nvSpPr>
          <p:spPr>
            <a:xfrm rot="8716295">
              <a:off x="7592128" y="381903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6" name="Forme libre : forme 1155">
              <a:extLst>
                <a:ext uri="{FF2B5EF4-FFF2-40B4-BE49-F238E27FC236}">
                  <a16:creationId xmlns:a16="http://schemas.microsoft.com/office/drawing/2014/main" id="{E15F6D57-42A0-4212-B322-938D731726CE}"/>
                </a:ext>
              </a:extLst>
            </p:cNvPr>
            <p:cNvSpPr/>
            <p:nvPr/>
          </p:nvSpPr>
          <p:spPr>
            <a:xfrm rot="8716295">
              <a:off x="7903283" y="343938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7" name="Forme libre : forme 1156">
              <a:extLst>
                <a:ext uri="{FF2B5EF4-FFF2-40B4-BE49-F238E27FC236}">
                  <a16:creationId xmlns:a16="http://schemas.microsoft.com/office/drawing/2014/main" id="{0096F62B-549C-4459-9305-3A442F92B5A1}"/>
                </a:ext>
              </a:extLst>
            </p:cNvPr>
            <p:cNvSpPr/>
            <p:nvPr/>
          </p:nvSpPr>
          <p:spPr>
            <a:xfrm rot="8716295">
              <a:off x="7992675" y="346863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8" name="Forme libre : forme 1157">
              <a:extLst>
                <a:ext uri="{FF2B5EF4-FFF2-40B4-BE49-F238E27FC236}">
                  <a16:creationId xmlns:a16="http://schemas.microsoft.com/office/drawing/2014/main" id="{3DE0E646-3932-4C85-B367-D7385C416577}"/>
                </a:ext>
              </a:extLst>
            </p:cNvPr>
            <p:cNvSpPr/>
            <p:nvPr/>
          </p:nvSpPr>
          <p:spPr>
            <a:xfrm rot="8716295">
              <a:off x="7791049" y="352793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9" name="Forme libre : forme 1158">
              <a:extLst>
                <a:ext uri="{FF2B5EF4-FFF2-40B4-BE49-F238E27FC236}">
                  <a16:creationId xmlns:a16="http://schemas.microsoft.com/office/drawing/2014/main" id="{340EEC8A-A514-4289-B2AE-301D73A339EB}"/>
                </a:ext>
              </a:extLst>
            </p:cNvPr>
            <p:cNvSpPr/>
            <p:nvPr/>
          </p:nvSpPr>
          <p:spPr>
            <a:xfrm rot="8716295">
              <a:off x="7666147" y="331926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0" name="Forme libre : forme 1159">
              <a:extLst>
                <a:ext uri="{FF2B5EF4-FFF2-40B4-BE49-F238E27FC236}">
                  <a16:creationId xmlns:a16="http://schemas.microsoft.com/office/drawing/2014/main" id="{BBF08D7F-AB50-4F5F-92DC-B2A874D297A9}"/>
                </a:ext>
              </a:extLst>
            </p:cNvPr>
            <p:cNvSpPr/>
            <p:nvPr/>
          </p:nvSpPr>
          <p:spPr>
            <a:xfrm rot="8716295">
              <a:off x="7881227" y="356888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1" name="Forme libre : forme 1160">
              <a:extLst>
                <a:ext uri="{FF2B5EF4-FFF2-40B4-BE49-F238E27FC236}">
                  <a16:creationId xmlns:a16="http://schemas.microsoft.com/office/drawing/2014/main" id="{AF11B51D-4A34-4A10-8CC2-9BAFA07FF6D7}"/>
                </a:ext>
              </a:extLst>
            </p:cNvPr>
            <p:cNvSpPr/>
            <p:nvPr/>
          </p:nvSpPr>
          <p:spPr>
            <a:xfrm rot="8716295">
              <a:off x="7639776" y="341928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2" name="Forme libre : forme 1161">
              <a:extLst>
                <a:ext uri="{FF2B5EF4-FFF2-40B4-BE49-F238E27FC236}">
                  <a16:creationId xmlns:a16="http://schemas.microsoft.com/office/drawing/2014/main" id="{19A2DF71-5EF9-42D2-9E22-9A592E16CE1F}"/>
                </a:ext>
              </a:extLst>
            </p:cNvPr>
            <p:cNvSpPr/>
            <p:nvPr/>
          </p:nvSpPr>
          <p:spPr>
            <a:xfrm rot="7484129">
              <a:off x="7986158" y="376023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3" name="Forme libre : forme 1162">
              <a:extLst>
                <a:ext uri="{FF2B5EF4-FFF2-40B4-BE49-F238E27FC236}">
                  <a16:creationId xmlns:a16="http://schemas.microsoft.com/office/drawing/2014/main" id="{ECF89376-999C-4FB6-A0B0-CD63B4196AF0}"/>
                </a:ext>
              </a:extLst>
            </p:cNvPr>
            <p:cNvSpPr/>
            <p:nvPr/>
          </p:nvSpPr>
          <p:spPr>
            <a:xfrm rot="13089394">
              <a:off x="8090978" y="372677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4" name="Forme libre : forme 1163">
              <a:extLst>
                <a:ext uri="{FF2B5EF4-FFF2-40B4-BE49-F238E27FC236}">
                  <a16:creationId xmlns:a16="http://schemas.microsoft.com/office/drawing/2014/main" id="{2FB7576F-977D-487A-A779-FFB16DC20CBE}"/>
                </a:ext>
              </a:extLst>
            </p:cNvPr>
            <p:cNvSpPr/>
            <p:nvPr/>
          </p:nvSpPr>
          <p:spPr>
            <a:xfrm rot="8716295">
              <a:off x="8276563" y="353508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5" name="Forme libre : forme 1164">
              <a:extLst>
                <a:ext uri="{FF2B5EF4-FFF2-40B4-BE49-F238E27FC236}">
                  <a16:creationId xmlns:a16="http://schemas.microsoft.com/office/drawing/2014/main" id="{B3B583BE-52BB-4659-A9E4-9638AD2373BB}"/>
                </a:ext>
              </a:extLst>
            </p:cNvPr>
            <p:cNvSpPr/>
            <p:nvPr/>
          </p:nvSpPr>
          <p:spPr>
            <a:xfrm rot="8716295">
              <a:off x="8224758" y="343149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6" name="Forme libre : forme 1165">
              <a:extLst>
                <a:ext uri="{FF2B5EF4-FFF2-40B4-BE49-F238E27FC236}">
                  <a16:creationId xmlns:a16="http://schemas.microsoft.com/office/drawing/2014/main" id="{C7154427-FACD-42B2-ADC3-A6FEB97A7B7A}"/>
                </a:ext>
              </a:extLst>
            </p:cNvPr>
            <p:cNvSpPr/>
            <p:nvPr/>
          </p:nvSpPr>
          <p:spPr>
            <a:xfrm rot="8716295">
              <a:off x="7981512" y="346171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7" name="Forme libre : forme 1166">
              <a:extLst>
                <a:ext uri="{FF2B5EF4-FFF2-40B4-BE49-F238E27FC236}">
                  <a16:creationId xmlns:a16="http://schemas.microsoft.com/office/drawing/2014/main" id="{846AA465-4FEC-4EA7-9F46-8AC26FB6F4CA}"/>
                </a:ext>
              </a:extLst>
            </p:cNvPr>
            <p:cNvSpPr/>
            <p:nvPr/>
          </p:nvSpPr>
          <p:spPr>
            <a:xfrm rot="8716295">
              <a:off x="8158964" y="330247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8" name="Forme libre : forme 1167">
              <a:extLst>
                <a:ext uri="{FF2B5EF4-FFF2-40B4-BE49-F238E27FC236}">
                  <a16:creationId xmlns:a16="http://schemas.microsoft.com/office/drawing/2014/main" id="{1C5A03CD-5F8E-4F7E-B077-E3D486F6E4FC}"/>
                </a:ext>
              </a:extLst>
            </p:cNvPr>
            <p:cNvSpPr/>
            <p:nvPr/>
          </p:nvSpPr>
          <p:spPr>
            <a:xfrm rot="8716295">
              <a:off x="7837351" y="434924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9" name="Forme libre : forme 1168">
              <a:extLst>
                <a:ext uri="{FF2B5EF4-FFF2-40B4-BE49-F238E27FC236}">
                  <a16:creationId xmlns:a16="http://schemas.microsoft.com/office/drawing/2014/main" id="{A3C54C69-E017-421B-9FCB-48E02E5B88D5}"/>
                </a:ext>
              </a:extLst>
            </p:cNvPr>
            <p:cNvSpPr/>
            <p:nvPr/>
          </p:nvSpPr>
          <p:spPr>
            <a:xfrm rot="8716295">
              <a:off x="7926743" y="437848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0" name="Forme libre : forme 1169">
              <a:extLst>
                <a:ext uri="{FF2B5EF4-FFF2-40B4-BE49-F238E27FC236}">
                  <a16:creationId xmlns:a16="http://schemas.microsoft.com/office/drawing/2014/main" id="{8629CE69-864F-4EE6-B494-A17DC76E667F}"/>
                </a:ext>
              </a:extLst>
            </p:cNvPr>
            <p:cNvSpPr/>
            <p:nvPr/>
          </p:nvSpPr>
          <p:spPr>
            <a:xfrm rot="8716295">
              <a:off x="7881893" y="429220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1" name="Forme libre : forme 1170">
              <a:extLst>
                <a:ext uri="{FF2B5EF4-FFF2-40B4-BE49-F238E27FC236}">
                  <a16:creationId xmlns:a16="http://schemas.microsoft.com/office/drawing/2014/main" id="{F6A5667A-39C4-44BA-804E-5395FBF424A8}"/>
                </a:ext>
              </a:extLst>
            </p:cNvPr>
            <p:cNvSpPr/>
            <p:nvPr/>
          </p:nvSpPr>
          <p:spPr>
            <a:xfrm rot="8716295">
              <a:off x="7725117" y="443778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2" name="Forme libre : forme 1171">
              <a:extLst>
                <a:ext uri="{FF2B5EF4-FFF2-40B4-BE49-F238E27FC236}">
                  <a16:creationId xmlns:a16="http://schemas.microsoft.com/office/drawing/2014/main" id="{66550BB0-7261-45C4-B672-89C2B638E15A}"/>
                </a:ext>
              </a:extLst>
            </p:cNvPr>
            <p:cNvSpPr/>
            <p:nvPr/>
          </p:nvSpPr>
          <p:spPr>
            <a:xfrm rot="8716295">
              <a:off x="7600214" y="422911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3" name="Forme libre : forme 1172">
              <a:extLst>
                <a:ext uri="{FF2B5EF4-FFF2-40B4-BE49-F238E27FC236}">
                  <a16:creationId xmlns:a16="http://schemas.microsoft.com/office/drawing/2014/main" id="{420EB997-CA34-4E05-86E2-81CD1690B28B}"/>
                </a:ext>
              </a:extLst>
            </p:cNvPr>
            <p:cNvSpPr/>
            <p:nvPr/>
          </p:nvSpPr>
          <p:spPr>
            <a:xfrm rot="8716295">
              <a:off x="7588162" y="4090331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4" name="Forme libre : forme 1173">
              <a:extLst>
                <a:ext uri="{FF2B5EF4-FFF2-40B4-BE49-F238E27FC236}">
                  <a16:creationId xmlns:a16="http://schemas.microsoft.com/office/drawing/2014/main" id="{F89D5A3F-20B8-4A58-8C23-93C433B8124B}"/>
                </a:ext>
              </a:extLst>
            </p:cNvPr>
            <p:cNvSpPr/>
            <p:nvPr/>
          </p:nvSpPr>
          <p:spPr>
            <a:xfrm rot="8716295">
              <a:off x="7815295" y="447873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5" name="Forme libre : forme 1174">
              <a:extLst>
                <a:ext uri="{FF2B5EF4-FFF2-40B4-BE49-F238E27FC236}">
                  <a16:creationId xmlns:a16="http://schemas.microsoft.com/office/drawing/2014/main" id="{3D6899F7-E78B-45C3-8C5E-9B72454B3CE5}"/>
                </a:ext>
              </a:extLst>
            </p:cNvPr>
            <p:cNvSpPr/>
            <p:nvPr/>
          </p:nvSpPr>
          <p:spPr>
            <a:xfrm rot="8716295">
              <a:off x="8126450" y="409908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6" name="Forme libre : forme 1175">
              <a:extLst>
                <a:ext uri="{FF2B5EF4-FFF2-40B4-BE49-F238E27FC236}">
                  <a16:creationId xmlns:a16="http://schemas.microsoft.com/office/drawing/2014/main" id="{4BE7A350-33AF-4013-BE12-592AC789A5B0}"/>
                </a:ext>
              </a:extLst>
            </p:cNvPr>
            <p:cNvSpPr/>
            <p:nvPr/>
          </p:nvSpPr>
          <p:spPr>
            <a:xfrm rot="8716295">
              <a:off x="8215842" y="412833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7" name="Forme libre : forme 1176">
              <a:extLst>
                <a:ext uri="{FF2B5EF4-FFF2-40B4-BE49-F238E27FC236}">
                  <a16:creationId xmlns:a16="http://schemas.microsoft.com/office/drawing/2014/main" id="{8CC775CD-B94F-4EE8-84DE-64B0E72EE88B}"/>
                </a:ext>
              </a:extLst>
            </p:cNvPr>
            <p:cNvSpPr/>
            <p:nvPr/>
          </p:nvSpPr>
          <p:spPr>
            <a:xfrm rot="8716295">
              <a:off x="8014216" y="418763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8" name="Forme libre : forme 1177">
              <a:extLst>
                <a:ext uri="{FF2B5EF4-FFF2-40B4-BE49-F238E27FC236}">
                  <a16:creationId xmlns:a16="http://schemas.microsoft.com/office/drawing/2014/main" id="{D5C7DC3C-BE17-4FC7-B720-096C91CE00BF}"/>
                </a:ext>
              </a:extLst>
            </p:cNvPr>
            <p:cNvSpPr/>
            <p:nvPr/>
          </p:nvSpPr>
          <p:spPr>
            <a:xfrm rot="8716295">
              <a:off x="7889314" y="397895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9" name="Forme libre : forme 1178">
              <a:extLst>
                <a:ext uri="{FF2B5EF4-FFF2-40B4-BE49-F238E27FC236}">
                  <a16:creationId xmlns:a16="http://schemas.microsoft.com/office/drawing/2014/main" id="{6BDC2261-090A-49AA-8E70-A2121C18643A}"/>
                </a:ext>
              </a:extLst>
            </p:cNvPr>
            <p:cNvSpPr/>
            <p:nvPr/>
          </p:nvSpPr>
          <p:spPr>
            <a:xfrm rot="8716295">
              <a:off x="8104394" y="422858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0" name="Forme libre : forme 1179">
              <a:extLst>
                <a:ext uri="{FF2B5EF4-FFF2-40B4-BE49-F238E27FC236}">
                  <a16:creationId xmlns:a16="http://schemas.microsoft.com/office/drawing/2014/main" id="{E0B0FE31-338C-48EF-82D0-84F5E36B60EC}"/>
                </a:ext>
              </a:extLst>
            </p:cNvPr>
            <p:cNvSpPr/>
            <p:nvPr/>
          </p:nvSpPr>
          <p:spPr>
            <a:xfrm rot="8716295">
              <a:off x="7862943" y="407898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1" name="Forme libre : forme 1180">
              <a:extLst>
                <a:ext uri="{FF2B5EF4-FFF2-40B4-BE49-F238E27FC236}">
                  <a16:creationId xmlns:a16="http://schemas.microsoft.com/office/drawing/2014/main" id="{0109B29D-4E66-45E1-8B31-E15A265250AC}"/>
                </a:ext>
              </a:extLst>
            </p:cNvPr>
            <p:cNvSpPr/>
            <p:nvPr/>
          </p:nvSpPr>
          <p:spPr>
            <a:xfrm rot="7484129">
              <a:off x="8209325" y="441993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2" name="Forme libre : forme 1181">
              <a:extLst>
                <a:ext uri="{FF2B5EF4-FFF2-40B4-BE49-F238E27FC236}">
                  <a16:creationId xmlns:a16="http://schemas.microsoft.com/office/drawing/2014/main" id="{3FAC18C9-44B5-40A5-96E0-CFC26768C4D4}"/>
                </a:ext>
              </a:extLst>
            </p:cNvPr>
            <p:cNvSpPr/>
            <p:nvPr/>
          </p:nvSpPr>
          <p:spPr>
            <a:xfrm rot="13089394">
              <a:off x="8314145" y="4386469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3" name="Forme libre : forme 1182">
              <a:extLst>
                <a:ext uri="{FF2B5EF4-FFF2-40B4-BE49-F238E27FC236}">
                  <a16:creationId xmlns:a16="http://schemas.microsoft.com/office/drawing/2014/main" id="{4E3D2B23-BEFF-40D9-B6DB-37F124FD3C95}"/>
                </a:ext>
              </a:extLst>
            </p:cNvPr>
            <p:cNvSpPr/>
            <p:nvPr/>
          </p:nvSpPr>
          <p:spPr>
            <a:xfrm rot="8716295">
              <a:off x="8499730" y="419478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4" name="Forme libre : forme 1183">
              <a:extLst>
                <a:ext uri="{FF2B5EF4-FFF2-40B4-BE49-F238E27FC236}">
                  <a16:creationId xmlns:a16="http://schemas.microsoft.com/office/drawing/2014/main" id="{28DC055A-3C20-403E-B18A-B01A6D4D41D9}"/>
                </a:ext>
              </a:extLst>
            </p:cNvPr>
            <p:cNvSpPr/>
            <p:nvPr/>
          </p:nvSpPr>
          <p:spPr>
            <a:xfrm rot="8716295">
              <a:off x="8447925" y="409119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5" name="Forme libre : forme 1184">
              <a:extLst>
                <a:ext uri="{FF2B5EF4-FFF2-40B4-BE49-F238E27FC236}">
                  <a16:creationId xmlns:a16="http://schemas.microsoft.com/office/drawing/2014/main" id="{4FC27D3B-4F75-4013-B2B8-3865EB368D2F}"/>
                </a:ext>
              </a:extLst>
            </p:cNvPr>
            <p:cNvSpPr/>
            <p:nvPr/>
          </p:nvSpPr>
          <p:spPr>
            <a:xfrm rot="8716295">
              <a:off x="8204679" y="412141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6" name="Forme libre : forme 1185">
              <a:extLst>
                <a:ext uri="{FF2B5EF4-FFF2-40B4-BE49-F238E27FC236}">
                  <a16:creationId xmlns:a16="http://schemas.microsoft.com/office/drawing/2014/main" id="{AA78BC68-C129-41C5-BCC5-3BDBF1C6DDA8}"/>
                </a:ext>
              </a:extLst>
            </p:cNvPr>
            <p:cNvSpPr/>
            <p:nvPr/>
          </p:nvSpPr>
          <p:spPr>
            <a:xfrm rot="8716295">
              <a:off x="8382131" y="396217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7" name="Forme libre : forme 1186">
              <a:extLst>
                <a:ext uri="{FF2B5EF4-FFF2-40B4-BE49-F238E27FC236}">
                  <a16:creationId xmlns:a16="http://schemas.microsoft.com/office/drawing/2014/main" id="{AB1FFA2C-792B-47BA-B840-8265A523ABB9}"/>
                </a:ext>
              </a:extLst>
            </p:cNvPr>
            <p:cNvSpPr/>
            <p:nvPr/>
          </p:nvSpPr>
          <p:spPr>
            <a:xfrm rot="8716295">
              <a:off x="6950829" y="171047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8" name="Forme libre : forme 1187">
              <a:extLst>
                <a:ext uri="{FF2B5EF4-FFF2-40B4-BE49-F238E27FC236}">
                  <a16:creationId xmlns:a16="http://schemas.microsoft.com/office/drawing/2014/main" id="{1340850E-4196-4DCD-9404-99CDA26BEA50}"/>
                </a:ext>
              </a:extLst>
            </p:cNvPr>
            <p:cNvSpPr/>
            <p:nvPr/>
          </p:nvSpPr>
          <p:spPr>
            <a:xfrm rot="8716295">
              <a:off x="7040221" y="173971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9" name="Forme libre : forme 1188">
              <a:extLst>
                <a:ext uri="{FF2B5EF4-FFF2-40B4-BE49-F238E27FC236}">
                  <a16:creationId xmlns:a16="http://schemas.microsoft.com/office/drawing/2014/main" id="{E59EE44C-1FC2-4EAA-9CFD-E7A5FA798CFB}"/>
                </a:ext>
              </a:extLst>
            </p:cNvPr>
            <p:cNvSpPr/>
            <p:nvPr/>
          </p:nvSpPr>
          <p:spPr>
            <a:xfrm rot="8716295">
              <a:off x="6995371" y="165343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0" name="Forme libre : forme 1189">
              <a:extLst>
                <a:ext uri="{FF2B5EF4-FFF2-40B4-BE49-F238E27FC236}">
                  <a16:creationId xmlns:a16="http://schemas.microsoft.com/office/drawing/2014/main" id="{C6B79EE2-6C49-4D52-A8CF-44579DD6EFF4}"/>
                </a:ext>
              </a:extLst>
            </p:cNvPr>
            <p:cNvSpPr/>
            <p:nvPr/>
          </p:nvSpPr>
          <p:spPr>
            <a:xfrm rot="8716295">
              <a:off x="6838595" y="179901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1" name="Forme libre : forme 1190">
              <a:extLst>
                <a:ext uri="{FF2B5EF4-FFF2-40B4-BE49-F238E27FC236}">
                  <a16:creationId xmlns:a16="http://schemas.microsoft.com/office/drawing/2014/main" id="{C13E9905-F473-4E72-BA1A-3BCA03F6BE9A}"/>
                </a:ext>
              </a:extLst>
            </p:cNvPr>
            <p:cNvSpPr/>
            <p:nvPr/>
          </p:nvSpPr>
          <p:spPr>
            <a:xfrm rot="8716295">
              <a:off x="6713692" y="159034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2" name="Forme libre : forme 1191">
              <a:extLst>
                <a:ext uri="{FF2B5EF4-FFF2-40B4-BE49-F238E27FC236}">
                  <a16:creationId xmlns:a16="http://schemas.microsoft.com/office/drawing/2014/main" id="{40BA29EB-56BC-4FAD-86A4-0A628B321930}"/>
                </a:ext>
              </a:extLst>
            </p:cNvPr>
            <p:cNvSpPr/>
            <p:nvPr/>
          </p:nvSpPr>
          <p:spPr>
            <a:xfrm rot="8716295">
              <a:off x="6701640" y="145156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3" name="Forme libre : forme 1192">
              <a:extLst>
                <a:ext uri="{FF2B5EF4-FFF2-40B4-BE49-F238E27FC236}">
                  <a16:creationId xmlns:a16="http://schemas.microsoft.com/office/drawing/2014/main" id="{95F7CF15-1FFD-4AFF-91F7-2E7EEF3CE144}"/>
                </a:ext>
              </a:extLst>
            </p:cNvPr>
            <p:cNvSpPr/>
            <p:nvPr/>
          </p:nvSpPr>
          <p:spPr>
            <a:xfrm rot="8716295">
              <a:off x="6928773" y="183996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4" name="Forme libre : forme 1193">
              <a:extLst>
                <a:ext uri="{FF2B5EF4-FFF2-40B4-BE49-F238E27FC236}">
                  <a16:creationId xmlns:a16="http://schemas.microsoft.com/office/drawing/2014/main" id="{947C422F-B3CC-4BA9-A815-4BFF8E1CD09A}"/>
                </a:ext>
              </a:extLst>
            </p:cNvPr>
            <p:cNvSpPr/>
            <p:nvPr/>
          </p:nvSpPr>
          <p:spPr>
            <a:xfrm rot="8716295">
              <a:off x="7239928" y="146032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5" name="Forme libre : forme 1194">
              <a:extLst>
                <a:ext uri="{FF2B5EF4-FFF2-40B4-BE49-F238E27FC236}">
                  <a16:creationId xmlns:a16="http://schemas.microsoft.com/office/drawing/2014/main" id="{EA8D18A5-23F7-4D1E-A33B-42E161986869}"/>
                </a:ext>
              </a:extLst>
            </p:cNvPr>
            <p:cNvSpPr/>
            <p:nvPr/>
          </p:nvSpPr>
          <p:spPr>
            <a:xfrm rot="8716295">
              <a:off x="7329320" y="148956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6" name="Forme libre : forme 1195">
              <a:extLst>
                <a:ext uri="{FF2B5EF4-FFF2-40B4-BE49-F238E27FC236}">
                  <a16:creationId xmlns:a16="http://schemas.microsoft.com/office/drawing/2014/main" id="{90520389-A6A6-49A2-BB39-41FD8B6EF60F}"/>
                </a:ext>
              </a:extLst>
            </p:cNvPr>
            <p:cNvSpPr/>
            <p:nvPr/>
          </p:nvSpPr>
          <p:spPr>
            <a:xfrm rot="8716295">
              <a:off x="7127694" y="154886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7" name="Forme libre : forme 1196">
              <a:extLst>
                <a:ext uri="{FF2B5EF4-FFF2-40B4-BE49-F238E27FC236}">
                  <a16:creationId xmlns:a16="http://schemas.microsoft.com/office/drawing/2014/main" id="{EE879CA0-425E-4E55-AC41-43CE23168272}"/>
                </a:ext>
              </a:extLst>
            </p:cNvPr>
            <p:cNvSpPr/>
            <p:nvPr/>
          </p:nvSpPr>
          <p:spPr>
            <a:xfrm rot="8716295">
              <a:off x="7002792" y="134019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8" name="Forme libre : forme 1197">
              <a:extLst>
                <a:ext uri="{FF2B5EF4-FFF2-40B4-BE49-F238E27FC236}">
                  <a16:creationId xmlns:a16="http://schemas.microsoft.com/office/drawing/2014/main" id="{CC45E380-8DC0-4437-8CAE-10BBE8319094}"/>
                </a:ext>
              </a:extLst>
            </p:cNvPr>
            <p:cNvSpPr/>
            <p:nvPr/>
          </p:nvSpPr>
          <p:spPr>
            <a:xfrm rot="8716295">
              <a:off x="7217872" y="158981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9" name="Forme libre : forme 1198">
              <a:extLst>
                <a:ext uri="{FF2B5EF4-FFF2-40B4-BE49-F238E27FC236}">
                  <a16:creationId xmlns:a16="http://schemas.microsoft.com/office/drawing/2014/main" id="{A7F354BB-9DA2-43FD-82DC-9135B0A54746}"/>
                </a:ext>
              </a:extLst>
            </p:cNvPr>
            <p:cNvSpPr/>
            <p:nvPr/>
          </p:nvSpPr>
          <p:spPr>
            <a:xfrm rot="8716295">
              <a:off x="6976421" y="144021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0" name="Forme libre : forme 1199">
              <a:extLst>
                <a:ext uri="{FF2B5EF4-FFF2-40B4-BE49-F238E27FC236}">
                  <a16:creationId xmlns:a16="http://schemas.microsoft.com/office/drawing/2014/main" id="{629D5918-99E3-4AFB-9828-C7C893447217}"/>
                </a:ext>
              </a:extLst>
            </p:cNvPr>
            <p:cNvSpPr/>
            <p:nvPr/>
          </p:nvSpPr>
          <p:spPr>
            <a:xfrm rot="7484129">
              <a:off x="7322803" y="178116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1" name="Forme libre : forme 1200">
              <a:extLst>
                <a:ext uri="{FF2B5EF4-FFF2-40B4-BE49-F238E27FC236}">
                  <a16:creationId xmlns:a16="http://schemas.microsoft.com/office/drawing/2014/main" id="{2B5BC839-D232-40BF-9839-AF973EE23896}"/>
                </a:ext>
              </a:extLst>
            </p:cNvPr>
            <p:cNvSpPr/>
            <p:nvPr/>
          </p:nvSpPr>
          <p:spPr>
            <a:xfrm rot="13089394">
              <a:off x="7427623" y="1747701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2" name="Forme libre : forme 1201">
              <a:extLst>
                <a:ext uri="{FF2B5EF4-FFF2-40B4-BE49-F238E27FC236}">
                  <a16:creationId xmlns:a16="http://schemas.microsoft.com/office/drawing/2014/main" id="{17F8EB19-741C-4F5D-8114-83E4E38C0BD0}"/>
                </a:ext>
              </a:extLst>
            </p:cNvPr>
            <p:cNvSpPr/>
            <p:nvPr/>
          </p:nvSpPr>
          <p:spPr>
            <a:xfrm rot="8716295">
              <a:off x="7613208" y="155602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3" name="Forme libre : forme 1202">
              <a:extLst>
                <a:ext uri="{FF2B5EF4-FFF2-40B4-BE49-F238E27FC236}">
                  <a16:creationId xmlns:a16="http://schemas.microsoft.com/office/drawing/2014/main" id="{72D1D28C-63E4-4163-9C3E-64676831F0B1}"/>
                </a:ext>
              </a:extLst>
            </p:cNvPr>
            <p:cNvSpPr/>
            <p:nvPr/>
          </p:nvSpPr>
          <p:spPr>
            <a:xfrm rot="8716295">
              <a:off x="7561403" y="145242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4" name="Forme libre : forme 1203">
              <a:extLst>
                <a:ext uri="{FF2B5EF4-FFF2-40B4-BE49-F238E27FC236}">
                  <a16:creationId xmlns:a16="http://schemas.microsoft.com/office/drawing/2014/main" id="{B09D03B7-6104-4FA1-85AD-34E5E1086C66}"/>
                </a:ext>
              </a:extLst>
            </p:cNvPr>
            <p:cNvSpPr/>
            <p:nvPr/>
          </p:nvSpPr>
          <p:spPr>
            <a:xfrm rot="8716295">
              <a:off x="7318157" y="148264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5" name="Forme libre : forme 1204">
              <a:extLst>
                <a:ext uri="{FF2B5EF4-FFF2-40B4-BE49-F238E27FC236}">
                  <a16:creationId xmlns:a16="http://schemas.microsoft.com/office/drawing/2014/main" id="{DF608D14-5B9F-44E8-A664-3F90091BB211}"/>
                </a:ext>
              </a:extLst>
            </p:cNvPr>
            <p:cNvSpPr/>
            <p:nvPr/>
          </p:nvSpPr>
          <p:spPr>
            <a:xfrm rot="8716295">
              <a:off x="7495609" y="132340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6" name="Forme libre : forme 1205">
              <a:extLst>
                <a:ext uri="{FF2B5EF4-FFF2-40B4-BE49-F238E27FC236}">
                  <a16:creationId xmlns:a16="http://schemas.microsoft.com/office/drawing/2014/main" id="{7A151D09-AFBB-4FA0-B1C3-A8DD66CD3D63}"/>
                </a:ext>
              </a:extLst>
            </p:cNvPr>
            <p:cNvSpPr/>
            <p:nvPr/>
          </p:nvSpPr>
          <p:spPr>
            <a:xfrm rot="8716295">
              <a:off x="6727662" y="105077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7" name="Forme libre : forme 1206">
              <a:extLst>
                <a:ext uri="{FF2B5EF4-FFF2-40B4-BE49-F238E27FC236}">
                  <a16:creationId xmlns:a16="http://schemas.microsoft.com/office/drawing/2014/main" id="{537DC097-29D2-46CB-98BF-879E7F90C023}"/>
                </a:ext>
              </a:extLst>
            </p:cNvPr>
            <p:cNvSpPr/>
            <p:nvPr/>
          </p:nvSpPr>
          <p:spPr>
            <a:xfrm rot="8716295">
              <a:off x="6817054" y="108001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8" name="Forme libre : forme 1207">
              <a:extLst>
                <a:ext uri="{FF2B5EF4-FFF2-40B4-BE49-F238E27FC236}">
                  <a16:creationId xmlns:a16="http://schemas.microsoft.com/office/drawing/2014/main" id="{2DFEF32C-E4B4-44C9-A69A-253F120A6BFE}"/>
                </a:ext>
              </a:extLst>
            </p:cNvPr>
            <p:cNvSpPr/>
            <p:nvPr/>
          </p:nvSpPr>
          <p:spPr>
            <a:xfrm rot="8716295">
              <a:off x="6772204" y="99373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9" name="Forme libre : forme 1208">
              <a:extLst>
                <a:ext uri="{FF2B5EF4-FFF2-40B4-BE49-F238E27FC236}">
                  <a16:creationId xmlns:a16="http://schemas.microsoft.com/office/drawing/2014/main" id="{414D5FAB-9669-4C92-BDB9-096006C9E3F3}"/>
                </a:ext>
              </a:extLst>
            </p:cNvPr>
            <p:cNvSpPr/>
            <p:nvPr/>
          </p:nvSpPr>
          <p:spPr>
            <a:xfrm rot="8716295">
              <a:off x="6615428" y="113931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0" name="Forme libre : forme 1209">
              <a:extLst>
                <a:ext uri="{FF2B5EF4-FFF2-40B4-BE49-F238E27FC236}">
                  <a16:creationId xmlns:a16="http://schemas.microsoft.com/office/drawing/2014/main" id="{33070C28-3765-49B2-B940-22EBB7C77257}"/>
                </a:ext>
              </a:extLst>
            </p:cNvPr>
            <p:cNvSpPr/>
            <p:nvPr/>
          </p:nvSpPr>
          <p:spPr>
            <a:xfrm rot="8716295">
              <a:off x="6490525" y="93064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1" name="Forme libre : forme 1210">
              <a:extLst>
                <a:ext uri="{FF2B5EF4-FFF2-40B4-BE49-F238E27FC236}">
                  <a16:creationId xmlns:a16="http://schemas.microsoft.com/office/drawing/2014/main" id="{3E91FBF7-F71A-4004-BD6B-3B4CA8CC5BC1}"/>
                </a:ext>
              </a:extLst>
            </p:cNvPr>
            <p:cNvSpPr/>
            <p:nvPr/>
          </p:nvSpPr>
          <p:spPr>
            <a:xfrm rot="8716295">
              <a:off x="6478473" y="79186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2" name="Forme libre : forme 1211">
              <a:extLst>
                <a:ext uri="{FF2B5EF4-FFF2-40B4-BE49-F238E27FC236}">
                  <a16:creationId xmlns:a16="http://schemas.microsoft.com/office/drawing/2014/main" id="{DEC26DC2-9B7C-4ED5-8F46-A9DE3CC1E8F6}"/>
                </a:ext>
              </a:extLst>
            </p:cNvPr>
            <p:cNvSpPr/>
            <p:nvPr/>
          </p:nvSpPr>
          <p:spPr>
            <a:xfrm rot="8716295">
              <a:off x="6705606" y="118026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3" name="Forme libre : forme 1212">
              <a:extLst>
                <a:ext uri="{FF2B5EF4-FFF2-40B4-BE49-F238E27FC236}">
                  <a16:creationId xmlns:a16="http://schemas.microsoft.com/office/drawing/2014/main" id="{AEE9DF08-A4FF-4C9E-9471-932A27226041}"/>
                </a:ext>
              </a:extLst>
            </p:cNvPr>
            <p:cNvSpPr/>
            <p:nvPr/>
          </p:nvSpPr>
          <p:spPr>
            <a:xfrm rot="8716295">
              <a:off x="7016761" y="80062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4" name="Forme libre : forme 1213">
              <a:extLst>
                <a:ext uri="{FF2B5EF4-FFF2-40B4-BE49-F238E27FC236}">
                  <a16:creationId xmlns:a16="http://schemas.microsoft.com/office/drawing/2014/main" id="{A4F04E13-842A-4005-8B9F-7B34EAAE6EED}"/>
                </a:ext>
              </a:extLst>
            </p:cNvPr>
            <p:cNvSpPr/>
            <p:nvPr/>
          </p:nvSpPr>
          <p:spPr>
            <a:xfrm rot="8716295">
              <a:off x="7106153" y="82986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5" name="Forme libre : forme 1214">
              <a:extLst>
                <a:ext uri="{FF2B5EF4-FFF2-40B4-BE49-F238E27FC236}">
                  <a16:creationId xmlns:a16="http://schemas.microsoft.com/office/drawing/2014/main" id="{F5247EBE-0FCF-4EAA-AB3A-810D83F18B0E}"/>
                </a:ext>
              </a:extLst>
            </p:cNvPr>
            <p:cNvSpPr/>
            <p:nvPr/>
          </p:nvSpPr>
          <p:spPr>
            <a:xfrm rot="8716295">
              <a:off x="6904527" y="88916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6" name="Forme libre : forme 1215">
              <a:extLst>
                <a:ext uri="{FF2B5EF4-FFF2-40B4-BE49-F238E27FC236}">
                  <a16:creationId xmlns:a16="http://schemas.microsoft.com/office/drawing/2014/main" id="{C7BAA05C-D979-45BB-B4AB-BF6D372F6625}"/>
                </a:ext>
              </a:extLst>
            </p:cNvPr>
            <p:cNvSpPr/>
            <p:nvPr/>
          </p:nvSpPr>
          <p:spPr>
            <a:xfrm rot="8716295">
              <a:off x="6779625" y="68049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7" name="Forme libre : forme 1216">
              <a:extLst>
                <a:ext uri="{FF2B5EF4-FFF2-40B4-BE49-F238E27FC236}">
                  <a16:creationId xmlns:a16="http://schemas.microsoft.com/office/drawing/2014/main" id="{5E1B5732-0C73-4728-BB7A-E84990C08201}"/>
                </a:ext>
              </a:extLst>
            </p:cNvPr>
            <p:cNvSpPr/>
            <p:nvPr/>
          </p:nvSpPr>
          <p:spPr>
            <a:xfrm rot="8716295">
              <a:off x="6994705" y="93011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8" name="Forme libre : forme 1217">
              <a:extLst>
                <a:ext uri="{FF2B5EF4-FFF2-40B4-BE49-F238E27FC236}">
                  <a16:creationId xmlns:a16="http://schemas.microsoft.com/office/drawing/2014/main" id="{C9672C88-6D83-47B9-B7AE-2C7AC95A35BB}"/>
                </a:ext>
              </a:extLst>
            </p:cNvPr>
            <p:cNvSpPr/>
            <p:nvPr/>
          </p:nvSpPr>
          <p:spPr>
            <a:xfrm rot="8716295">
              <a:off x="6753254" y="78051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9" name="Forme libre : forme 1218">
              <a:extLst>
                <a:ext uri="{FF2B5EF4-FFF2-40B4-BE49-F238E27FC236}">
                  <a16:creationId xmlns:a16="http://schemas.microsoft.com/office/drawing/2014/main" id="{7E8C7D36-8D7B-4EC3-8272-B128D4C63C8D}"/>
                </a:ext>
              </a:extLst>
            </p:cNvPr>
            <p:cNvSpPr/>
            <p:nvPr/>
          </p:nvSpPr>
          <p:spPr>
            <a:xfrm rot="7484129">
              <a:off x="7099636" y="112146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0" name="Forme libre : forme 1219">
              <a:extLst>
                <a:ext uri="{FF2B5EF4-FFF2-40B4-BE49-F238E27FC236}">
                  <a16:creationId xmlns:a16="http://schemas.microsoft.com/office/drawing/2014/main" id="{328F1E42-AB6A-4F60-8C64-A19DEE7C769E}"/>
                </a:ext>
              </a:extLst>
            </p:cNvPr>
            <p:cNvSpPr/>
            <p:nvPr/>
          </p:nvSpPr>
          <p:spPr>
            <a:xfrm rot="13089394">
              <a:off x="7204456" y="108800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1" name="Forme libre : forme 1220">
              <a:extLst>
                <a:ext uri="{FF2B5EF4-FFF2-40B4-BE49-F238E27FC236}">
                  <a16:creationId xmlns:a16="http://schemas.microsoft.com/office/drawing/2014/main" id="{509D4D12-E9CA-410B-BB0F-D0713E56A398}"/>
                </a:ext>
              </a:extLst>
            </p:cNvPr>
            <p:cNvSpPr/>
            <p:nvPr/>
          </p:nvSpPr>
          <p:spPr>
            <a:xfrm rot="8716295">
              <a:off x="7390041" y="89632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2" name="Forme libre : forme 1221">
              <a:extLst>
                <a:ext uri="{FF2B5EF4-FFF2-40B4-BE49-F238E27FC236}">
                  <a16:creationId xmlns:a16="http://schemas.microsoft.com/office/drawing/2014/main" id="{830904F0-D47A-4A6A-8ABD-BDF673EC72D4}"/>
                </a:ext>
              </a:extLst>
            </p:cNvPr>
            <p:cNvSpPr/>
            <p:nvPr/>
          </p:nvSpPr>
          <p:spPr>
            <a:xfrm rot="8716295">
              <a:off x="7338236" y="79272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3" name="Forme libre : forme 1222">
              <a:extLst>
                <a:ext uri="{FF2B5EF4-FFF2-40B4-BE49-F238E27FC236}">
                  <a16:creationId xmlns:a16="http://schemas.microsoft.com/office/drawing/2014/main" id="{B303CAC1-0497-41B6-AE51-AFDB58DA234D}"/>
                </a:ext>
              </a:extLst>
            </p:cNvPr>
            <p:cNvSpPr/>
            <p:nvPr/>
          </p:nvSpPr>
          <p:spPr>
            <a:xfrm rot="8716295">
              <a:off x="7094990" y="82294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4" name="Forme libre : forme 1223">
              <a:extLst>
                <a:ext uri="{FF2B5EF4-FFF2-40B4-BE49-F238E27FC236}">
                  <a16:creationId xmlns:a16="http://schemas.microsoft.com/office/drawing/2014/main" id="{7AB18378-0E44-4AB1-8DD6-2E92F7CD14AF}"/>
                </a:ext>
              </a:extLst>
            </p:cNvPr>
            <p:cNvSpPr/>
            <p:nvPr/>
          </p:nvSpPr>
          <p:spPr>
            <a:xfrm rot="8716295">
              <a:off x="7272442" y="66370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5" name="Forme libre : forme 1224">
              <a:extLst>
                <a:ext uri="{FF2B5EF4-FFF2-40B4-BE49-F238E27FC236}">
                  <a16:creationId xmlns:a16="http://schemas.microsoft.com/office/drawing/2014/main" id="{F703561A-BE93-421B-BC6A-B698ECD7F8E2}"/>
                </a:ext>
              </a:extLst>
            </p:cNvPr>
            <p:cNvSpPr/>
            <p:nvPr/>
          </p:nvSpPr>
          <p:spPr>
            <a:xfrm rot="8716295">
              <a:off x="6508723" y="38871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6" name="Forme libre : forme 1225">
              <a:extLst>
                <a:ext uri="{FF2B5EF4-FFF2-40B4-BE49-F238E27FC236}">
                  <a16:creationId xmlns:a16="http://schemas.microsoft.com/office/drawing/2014/main" id="{6483B125-4CCB-42BB-A5D9-88213C0491CD}"/>
                </a:ext>
              </a:extLst>
            </p:cNvPr>
            <p:cNvSpPr/>
            <p:nvPr/>
          </p:nvSpPr>
          <p:spPr>
            <a:xfrm rot="8716295">
              <a:off x="6598115" y="41795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7" name="Forme libre : forme 1226">
              <a:extLst>
                <a:ext uri="{FF2B5EF4-FFF2-40B4-BE49-F238E27FC236}">
                  <a16:creationId xmlns:a16="http://schemas.microsoft.com/office/drawing/2014/main" id="{A49BDE23-F77C-4882-B6C8-151A102158FC}"/>
                </a:ext>
              </a:extLst>
            </p:cNvPr>
            <p:cNvSpPr/>
            <p:nvPr/>
          </p:nvSpPr>
          <p:spPr>
            <a:xfrm rot="8716295">
              <a:off x="6553265" y="33167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8" name="Forme libre : forme 1227">
              <a:extLst>
                <a:ext uri="{FF2B5EF4-FFF2-40B4-BE49-F238E27FC236}">
                  <a16:creationId xmlns:a16="http://schemas.microsoft.com/office/drawing/2014/main" id="{C40CBD4D-C196-457C-9A88-EDB02C0969CB}"/>
                </a:ext>
              </a:extLst>
            </p:cNvPr>
            <p:cNvSpPr/>
            <p:nvPr/>
          </p:nvSpPr>
          <p:spPr>
            <a:xfrm rot="8716295">
              <a:off x="6396489" y="47725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9" name="Forme libre : forme 1228">
              <a:extLst>
                <a:ext uri="{FF2B5EF4-FFF2-40B4-BE49-F238E27FC236}">
                  <a16:creationId xmlns:a16="http://schemas.microsoft.com/office/drawing/2014/main" id="{A27EEF75-7221-4666-98E0-0825D37EA836}"/>
                </a:ext>
              </a:extLst>
            </p:cNvPr>
            <p:cNvSpPr/>
            <p:nvPr/>
          </p:nvSpPr>
          <p:spPr>
            <a:xfrm rot="8716295">
              <a:off x="6271586" y="26858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0" name="Forme libre : forme 1229">
              <a:extLst>
                <a:ext uri="{FF2B5EF4-FFF2-40B4-BE49-F238E27FC236}">
                  <a16:creationId xmlns:a16="http://schemas.microsoft.com/office/drawing/2014/main" id="{B5E1367D-C065-41FF-91C9-C5A9486DC9ED}"/>
                </a:ext>
              </a:extLst>
            </p:cNvPr>
            <p:cNvSpPr/>
            <p:nvPr/>
          </p:nvSpPr>
          <p:spPr>
            <a:xfrm rot="8716295">
              <a:off x="6259534" y="12980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1" name="Forme libre : forme 1230">
              <a:extLst>
                <a:ext uri="{FF2B5EF4-FFF2-40B4-BE49-F238E27FC236}">
                  <a16:creationId xmlns:a16="http://schemas.microsoft.com/office/drawing/2014/main" id="{1913EF5B-0FAD-4DB9-AE2C-65D6AB9888CC}"/>
                </a:ext>
              </a:extLst>
            </p:cNvPr>
            <p:cNvSpPr/>
            <p:nvPr/>
          </p:nvSpPr>
          <p:spPr>
            <a:xfrm rot="8716295">
              <a:off x="6486667" y="51821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2" name="Forme libre : forme 1231">
              <a:extLst>
                <a:ext uri="{FF2B5EF4-FFF2-40B4-BE49-F238E27FC236}">
                  <a16:creationId xmlns:a16="http://schemas.microsoft.com/office/drawing/2014/main" id="{EC81A569-5FA3-4248-96EC-9B1D26C84996}"/>
                </a:ext>
              </a:extLst>
            </p:cNvPr>
            <p:cNvSpPr/>
            <p:nvPr/>
          </p:nvSpPr>
          <p:spPr>
            <a:xfrm rot="8716295">
              <a:off x="6797822" y="13856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3" name="Forme libre : forme 1232">
              <a:extLst>
                <a:ext uri="{FF2B5EF4-FFF2-40B4-BE49-F238E27FC236}">
                  <a16:creationId xmlns:a16="http://schemas.microsoft.com/office/drawing/2014/main" id="{A22DBA90-02BD-4F3A-BDB3-FE0902AA9AB8}"/>
                </a:ext>
              </a:extLst>
            </p:cNvPr>
            <p:cNvSpPr/>
            <p:nvPr/>
          </p:nvSpPr>
          <p:spPr>
            <a:xfrm rot="8716295">
              <a:off x="6887214" y="16780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4" name="Forme libre : forme 1233">
              <a:extLst>
                <a:ext uri="{FF2B5EF4-FFF2-40B4-BE49-F238E27FC236}">
                  <a16:creationId xmlns:a16="http://schemas.microsoft.com/office/drawing/2014/main" id="{FEF05712-8A56-4367-8FEE-945FBECD01B5}"/>
                </a:ext>
              </a:extLst>
            </p:cNvPr>
            <p:cNvSpPr/>
            <p:nvPr/>
          </p:nvSpPr>
          <p:spPr>
            <a:xfrm rot="8716295">
              <a:off x="6685588" y="22710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5" name="Forme libre : forme 1234">
              <a:extLst>
                <a:ext uri="{FF2B5EF4-FFF2-40B4-BE49-F238E27FC236}">
                  <a16:creationId xmlns:a16="http://schemas.microsoft.com/office/drawing/2014/main" id="{2E8C24E9-575D-4C62-9BD6-2C78B3992080}"/>
                </a:ext>
              </a:extLst>
            </p:cNvPr>
            <p:cNvSpPr/>
            <p:nvPr/>
          </p:nvSpPr>
          <p:spPr>
            <a:xfrm rot="8716295">
              <a:off x="6560686" y="1843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6" name="Forme libre : forme 1235">
              <a:extLst>
                <a:ext uri="{FF2B5EF4-FFF2-40B4-BE49-F238E27FC236}">
                  <a16:creationId xmlns:a16="http://schemas.microsoft.com/office/drawing/2014/main" id="{7FFD2C46-732D-4C6D-86D8-43D8100DC4BB}"/>
                </a:ext>
              </a:extLst>
            </p:cNvPr>
            <p:cNvSpPr/>
            <p:nvPr/>
          </p:nvSpPr>
          <p:spPr>
            <a:xfrm rot="8716295">
              <a:off x="6775766" y="26805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7" name="Forme libre : forme 1236">
              <a:extLst>
                <a:ext uri="{FF2B5EF4-FFF2-40B4-BE49-F238E27FC236}">
                  <a16:creationId xmlns:a16="http://schemas.microsoft.com/office/drawing/2014/main" id="{54000F56-7D25-433E-A7C8-6A29B8CAD136}"/>
                </a:ext>
              </a:extLst>
            </p:cNvPr>
            <p:cNvSpPr/>
            <p:nvPr/>
          </p:nvSpPr>
          <p:spPr>
            <a:xfrm rot="8716295">
              <a:off x="6534315" y="11845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8" name="Forme libre : forme 1237">
              <a:extLst>
                <a:ext uri="{FF2B5EF4-FFF2-40B4-BE49-F238E27FC236}">
                  <a16:creationId xmlns:a16="http://schemas.microsoft.com/office/drawing/2014/main" id="{F78F27FF-A989-48C0-90D5-D4D8D52897CB}"/>
                </a:ext>
              </a:extLst>
            </p:cNvPr>
            <p:cNvSpPr/>
            <p:nvPr/>
          </p:nvSpPr>
          <p:spPr>
            <a:xfrm rot="7484129">
              <a:off x="6880697" y="45941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9" name="Forme libre : forme 1238">
              <a:extLst>
                <a:ext uri="{FF2B5EF4-FFF2-40B4-BE49-F238E27FC236}">
                  <a16:creationId xmlns:a16="http://schemas.microsoft.com/office/drawing/2014/main" id="{8DC30F69-7296-48A1-A43C-EC188F89BEA5}"/>
                </a:ext>
              </a:extLst>
            </p:cNvPr>
            <p:cNvSpPr/>
            <p:nvPr/>
          </p:nvSpPr>
          <p:spPr>
            <a:xfrm rot="13089394">
              <a:off x="6985517" y="42594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0" name="Forme libre : forme 1239">
              <a:extLst>
                <a:ext uri="{FF2B5EF4-FFF2-40B4-BE49-F238E27FC236}">
                  <a16:creationId xmlns:a16="http://schemas.microsoft.com/office/drawing/2014/main" id="{D47ED595-5E0B-4FF2-BED8-A5E968958FDA}"/>
                </a:ext>
              </a:extLst>
            </p:cNvPr>
            <p:cNvSpPr/>
            <p:nvPr/>
          </p:nvSpPr>
          <p:spPr>
            <a:xfrm rot="8716295">
              <a:off x="7171102" y="23426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1" name="Forme libre : forme 1240">
              <a:extLst>
                <a:ext uri="{FF2B5EF4-FFF2-40B4-BE49-F238E27FC236}">
                  <a16:creationId xmlns:a16="http://schemas.microsoft.com/office/drawing/2014/main" id="{E870685A-3B15-499C-B93E-DAE343CA274F}"/>
                </a:ext>
              </a:extLst>
            </p:cNvPr>
            <p:cNvSpPr/>
            <p:nvPr/>
          </p:nvSpPr>
          <p:spPr>
            <a:xfrm rot="8716295">
              <a:off x="7119297" y="13067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2" name="Forme libre : forme 1241">
              <a:extLst>
                <a:ext uri="{FF2B5EF4-FFF2-40B4-BE49-F238E27FC236}">
                  <a16:creationId xmlns:a16="http://schemas.microsoft.com/office/drawing/2014/main" id="{25EC0356-F84B-4116-B821-ACE30FB22FFC}"/>
                </a:ext>
              </a:extLst>
            </p:cNvPr>
            <p:cNvSpPr/>
            <p:nvPr/>
          </p:nvSpPr>
          <p:spPr>
            <a:xfrm rot="8716295">
              <a:off x="6876051" y="16089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3" name="Forme libre : forme 1242">
              <a:extLst>
                <a:ext uri="{FF2B5EF4-FFF2-40B4-BE49-F238E27FC236}">
                  <a16:creationId xmlns:a16="http://schemas.microsoft.com/office/drawing/2014/main" id="{C756C41F-43B4-4A5A-9BD8-36D108A4F6F6}"/>
                </a:ext>
              </a:extLst>
            </p:cNvPr>
            <p:cNvSpPr/>
            <p:nvPr/>
          </p:nvSpPr>
          <p:spPr>
            <a:xfrm rot="8716295">
              <a:off x="7053503" y="164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4" name="Forme libre : forme 1243">
              <a:extLst>
                <a:ext uri="{FF2B5EF4-FFF2-40B4-BE49-F238E27FC236}">
                  <a16:creationId xmlns:a16="http://schemas.microsoft.com/office/drawing/2014/main" id="{5023A082-5622-42E1-99CC-B465837313AB}"/>
                </a:ext>
              </a:extLst>
            </p:cNvPr>
            <p:cNvSpPr/>
            <p:nvPr/>
          </p:nvSpPr>
          <p:spPr>
            <a:xfrm rot="8716295">
              <a:off x="6443978" y="-32333"/>
              <a:ext cx="92323" cy="67774"/>
            </a:xfrm>
            <a:custGeom>
              <a:avLst/>
              <a:gdLst>
                <a:gd name="connsiteX0" fmla="*/ 92323 w 92323"/>
                <a:gd name="connsiteY0" fmla="*/ 67774 h 67774"/>
                <a:gd name="connsiteX1" fmla="*/ 0 w 92323"/>
                <a:gd name="connsiteY1" fmla="*/ 3779 h 67774"/>
                <a:gd name="connsiteX2" fmla="*/ 19952 w 92323"/>
                <a:gd name="connsiteY2" fmla="*/ 19 h 67774"/>
                <a:gd name="connsiteX3" fmla="*/ 89989 w 92323"/>
                <a:gd name="connsiteY3" fmla="*/ 50641 h 67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323" h="67774">
                  <a:moveTo>
                    <a:pt x="92323" y="67774"/>
                  </a:moveTo>
                  <a:lnTo>
                    <a:pt x="0" y="3779"/>
                  </a:lnTo>
                  <a:lnTo>
                    <a:pt x="19952" y="19"/>
                  </a:lnTo>
                  <a:cubicBezTo>
                    <a:pt x="55152" y="-664"/>
                    <a:pt x="79843" y="17619"/>
                    <a:pt x="89989" y="5064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5" name="Forme libre : forme 1244">
              <a:extLst>
                <a:ext uri="{FF2B5EF4-FFF2-40B4-BE49-F238E27FC236}">
                  <a16:creationId xmlns:a16="http://schemas.microsoft.com/office/drawing/2014/main" id="{4292D438-03B7-4554-BAAC-30500F05D527}"/>
                </a:ext>
              </a:extLst>
            </p:cNvPr>
            <p:cNvSpPr/>
            <p:nvPr/>
          </p:nvSpPr>
          <p:spPr>
            <a:xfrm rot="8716295">
              <a:off x="6294141" y="-38610"/>
              <a:ext cx="103435" cy="102698"/>
            </a:xfrm>
            <a:custGeom>
              <a:avLst/>
              <a:gdLst>
                <a:gd name="connsiteX0" fmla="*/ 103435 w 103435"/>
                <a:gd name="connsiteY0" fmla="*/ 102698 h 102698"/>
                <a:gd name="connsiteX1" fmla="*/ 43288 w 103435"/>
                <a:gd name="connsiteY1" fmla="*/ 61006 h 102698"/>
                <a:gd name="connsiteX2" fmla="*/ 43288 w 103435"/>
                <a:gd name="connsiteY2" fmla="*/ 16404 h 102698"/>
                <a:gd name="connsiteX3" fmla="*/ 0 w 103435"/>
                <a:gd name="connsiteY3" fmla="*/ 16404 h 102698"/>
                <a:gd name="connsiteX4" fmla="*/ 0 w 103435"/>
                <a:gd name="connsiteY4" fmla="*/ 2279 h 102698"/>
                <a:gd name="connsiteX5" fmla="*/ 103435 w 103435"/>
                <a:gd name="connsiteY5" fmla="*/ 0 h 102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102698">
                  <a:moveTo>
                    <a:pt x="103435" y="102698"/>
                  </a:moveTo>
                  <a:lnTo>
                    <a:pt x="43288" y="61006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2279"/>
                  </a:lnTo>
                  <a:cubicBezTo>
                    <a:pt x="32808" y="3645"/>
                    <a:pt x="66983" y="911"/>
                    <a:pt x="10343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6" name="Forme libre : forme 1245">
              <a:extLst>
                <a:ext uri="{FF2B5EF4-FFF2-40B4-BE49-F238E27FC236}">
                  <a16:creationId xmlns:a16="http://schemas.microsoft.com/office/drawing/2014/main" id="{E78BAE53-0890-439D-972C-8E15B622CE74}"/>
                </a:ext>
              </a:extLst>
            </p:cNvPr>
            <p:cNvSpPr/>
            <p:nvPr/>
          </p:nvSpPr>
          <p:spPr>
            <a:xfrm rot="7484129">
              <a:off x="6746550" y="-26340"/>
              <a:ext cx="41571" cy="55323"/>
            </a:xfrm>
            <a:custGeom>
              <a:avLst/>
              <a:gdLst>
                <a:gd name="connsiteX0" fmla="*/ 38358 w 41571"/>
                <a:gd name="connsiteY0" fmla="*/ 55323 h 55323"/>
                <a:gd name="connsiteX1" fmla="*/ 0 w 41571"/>
                <a:gd name="connsiteY1" fmla="*/ 0 h 55323"/>
                <a:gd name="connsiteX2" fmla="*/ 41571 w 41571"/>
                <a:gd name="connsiteY2" fmla="*/ 0 h 55323"/>
                <a:gd name="connsiteX3" fmla="*/ 41571 w 41571"/>
                <a:gd name="connsiteY3" fmla="*/ 55323 h 55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571" h="55323">
                  <a:moveTo>
                    <a:pt x="38358" y="55323"/>
                  </a:moveTo>
                  <a:lnTo>
                    <a:pt x="0" y="0"/>
                  </a:lnTo>
                  <a:lnTo>
                    <a:pt x="41571" y="0"/>
                  </a:lnTo>
                  <a:lnTo>
                    <a:pt x="41571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7" name="Forme libre : forme 1246">
              <a:extLst>
                <a:ext uri="{FF2B5EF4-FFF2-40B4-BE49-F238E27FC236}">
                  <a16:creationId xmlns:a16="http://schemas.microsoft.com/office/drawing/2014/main" id="{D6E1A050-AAB6-49AB-8BF0-F86E9CB3E3ED}"/>
                </a:ext>
              </a:extLst>
            </p:cNvPr>
            <p:cNvSpPr/>
            <p:nvPr/>
          </p:nvSpPr>
          <p:spPr>
            <a:xfrm rot="13089394">
              <a:off x="6891234" y="-41515"/>
              <a:ext cx="74217" cy="174004"/>
            </a:xfrm>
            <a:custGeom>
              <a:avLst/>
              <a:gdLst>
                <a:gd name="connsiteX0" fmla="*/ 74217 w 74217"/>
                <a:gd name="connsiteY0" fmla="*/ 115692 h 174004"/>
                <a:gd name="connsiteX1" fmla="*/ 0 w 74217"/>
                <a:gd name="connsiteY1" fmla="*/ 174004 h 174004"/>
                <a:gd name="connsiteX2" fmla="*/ 0 w 74217"/>
                <a:gd name="connsiteY2" fmla="*/ 38074 h 174004"/>
                <a:gd name="connsiteX3" fmla="*/ 73388 w 74217"/>
                <a:gd name="connsiteY3" fmla="*/ 0 h 17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217" h="174004">
                  <a:moveTo>
                    <a:pt x="74217" y="115692"/>
                  </a:moveTo>
                  <a:lnTo>
                    <a:pt x="0" y="174004"/>
                  </a:lnTo>
                  <a:lnTo>
                    <a:pt x="0" y="38074"/>
                  </a:lnTo>
                  <a:lnTo>
                    <a:pt x="7338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8" name="Forme libre : forme 1247">
              <a:extLst>
                <a:ext uri="{FF2B5EF4-FFF2-40B4-BE49-F238E27FC236}">
                  <a16:creationId xmlns:a16="http://schemas.microsoft.com/office/drawing/2014/main" id="{2A426EB1-69A8-4B8C-95E3-ADCF2B7D8201}"/>
                </a:ext>
              </a:extLst>
            </p:cNvPr>
            <p:cNvSpPr/>
            <p:nvPr/>
          </p:nvSpPr>
          <p:spPr>
            <a:xfrm rot="8716295">
              <a:off x="8238556" y="254247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9" name="Forme libre : forme 1248">
              <a:extLst>
                <a:ext uri="{FF2B5EF4-FFF2-40B4-BE49-F238E27FC236}">
                  <a16:creationId xmlns:a16="http://schemas.microsoft.com/office/drawing/2014/main" id="{A1136BA6-7E11-4570-BF0A-E022C010F10B}"/>
                </a:ext>
              </a:extLst>
            </p:cNvPr>
            <p:cNvSpPr/>
            <p:nvPr/>
          </p:nvSpPr>
          <p:spPr>
            <a:xfrm rot="8716295">
              <a:off x="8327948" y="257172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0" name="Forme libre : forme 1249">
              <a:extLst>
                <a:ext uri="{FF2B5EF4-FFF2-40B4-BE49-F238E27FC236}">
                  <a16:creationId xmlns:a16="http://schemas.microsoft.com/office/drawing/2014/main" id="{9E188FF5-EB46-4C83-98D2-A6FBCDBA9974}"/>
                </a:ext>
              </a:extLst>
            </p:cNvPr>
            <p:cNvSpPr/>
            <p:nvPr/>
          </p:nvSpPr>
          <p:spPr>
            <a:xfrm rot="8716295">
              <a:off x="8283098" y="2485441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1" name="Forme libre : forme 1250">
              <a:extLst>
                <a:ext uri="{FF2B5EF4-FFF2-40B4-BE49-F238E27FC236}">
                  <a16:creationId xmlns:a16="http://schemas.microsoft.com/office/drawing/2014/main" id="{0F03884C-9A24-4485-8C8A-520F146E35BD}"/>
                </a:ext>
              </a:extLst>
            </p:cNvPr>
            <p:cNvSpPr/>
            <p:nvPr/>
          </p:nvSpPr>
          <p:spPr>
            <a:xfrm rot="8716295">
              <a:off x="8126322" y="263102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2" name="Forme libre : forme 1251">
              <a:extLst>
                <a:ext uri="{FF2B5EF4-FFF2-40B4-BE49-F238E27FC236}">
                  <a16:creationId xmlns:a16="http://schemas.microsoft.com/office/drawing/2014/main" id="{EA64506B-D82A-4EEA-924F-30E2F79C1B7D}"/>
                </a:ext>
              </a:extLst>
            </p:cNvPr>
            <p:cNvSpPr/>
            <p:nvPr/>
          </p:nvSpPr>
          <p:spPr>
            <a:xfrm rot="8716295">
              <a:off x="8001419" y="24223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3" name="Forme libre : forme 1252">
              <a:extLst>
                <a:ext uri="{FF2B5EF4-FFF2-40B4-BE49-F238E27FC236}">
                  <a16:creationId xmlns:a16="http://schemas.microsoft.com/office/drawing/2014/main" id="{5B8FDB35-6753-4D04-985E-254E87C9982E}"/>
                </a:ext>
              </a:extLst>
            </p:cNvPr>
            <p:cNvSpPr/>
            <p:nvPr/>
          </p:nvSpPr>
          <p:spPr>
            <a:xfrm rot="8716295">
              <a:off x="7989367" y="2283570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4" name="Forme libre : forme 1253">
              <a:extLst>
                <a:ext uri="{FF2B5EF4-FFF2-40B4-BE49-F238E27FC236}">
                  <a16:creationId xmlns:a16="http://schemas.microsoft.com/office/drawing/2014/main" id="{F77402CE-B126-41FD-B060-8753DA6781D5}"/>
                </a:ext>
              </a:extLst>
            </p:cNvPr>
            <p:cNvSpPr/>
            <p:nvPr/>
          </p:nvSpPr>
          <p:spPr>
            <a:xfrm rot="8716295">
              <a:off x="8216500" y="267197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5" name="Forme libre : forme 1254">
              <a:extLst>
                <a:ext uri="{FF2B5EF4-FFF2-40B4-BE49-F238E27FC236}">
                  <a16:creationId xmlns:a16="http://schemas.microsoft.com/office/drawing/2014/main" id="{D662227F-81B5-45A3-8065-CFABAFC187C6}"/>
                </a:ext>
              </a:extLst>
            </p:cNvPr>
            <p:cNvSpPr/>
            <p:nvPr/>
          </p:nvSpPr>
          <p:spPr>
            <a:xfrm rot="8716295">
              <a:off x="8527655" y="229232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6" name="Forme libre : forme 1255">
              <a:extLst>
                <a:ext uri="{FF2B5EF4-FFF2-40B4-BE49-F238E27FC236}">
                  <a16:creationId xmlns:a16="http://schemas.microsoft.com/office/drawing/2014/main" id="{B3F07D8E-83A0-44A5-8F5F-C55A1A045146}"/>
                </a:ext>
              </a:extLst>
            </p:cNvPr>
            <p:cNvSpPr/>
            <p:nvPr/>
          </p:nvSpPr>
          <p:spPr>
            <a:xfrm rot="8716295">
              <a:off x="8617047" y="232156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7" name="Forme libre : forme 1256">
              <a:extLst>
                <a:ext uri="{FF2B5EF4-FFF2-40B4-BE49-F238E27FC236}">
                  <a16:creationId xmlns:a16="http://schemas.microsoft.com/office/drawing/2014/main" id="{BEC9833E-1103-4B09-9C27-70B4371CFFC3}"/>
                </a:ext>
              </a:extLst>
            </p:cNvPr>
            <p:cNvSpPr/>
            <p:nvPr/>
          </p:nvSpPr>
          <p:spPr>
            <a:xfrm rot="8716295">
              <a:off x="8415421" y="238087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8" name="Forme libre : forme 1257">
              <a:extLst>
                <a:ext uri="{FF2B5EF4-FFF2-40B4-BE49-F238E27FC236}">
                  <a16:creationId xmlns:a16="http://schemas.microsoft.com/office/drawing/2014/main" id="{B1FB9B12-3BD9-453E-A39D-3DAA86A44344}"/>
                </a:ext>
              </a:extLst>
            </p:cNvPr>
            <p:cNvSpPr/>
            <p:nvPr/>
          </p:nvSpPr>
          <p:spPr>
            <a:xfrm rot="8716295">
              <a:off x="8290519" y="217219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9" name="Forme libre : forme 1258">
              <a:extLst>
                <a:ext uri="{FF2B5EF4-FFF2-40B4-BE49-F238E27FC236}">
                  <a16:creationId xmlns:a16="http://schemas.microsoft.com/office/drawing/2014/main" id="{3C2388FE-8F47-47D7-86C1-60ACC4D81856}"/>
                </a:ext>
              </a:extLst>
            </p:cNvPr>
            <p:cNvSpPr/>
            <p:nvPr/>
          </p:nvSpPr>
          <p:spPr>
            <a:xfrm rot="8716295">
              <a:off x="8505599" y="2421823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0" name="Forme libre : forme 1259">
              <a:extLst>
                <a:ext uri="{FF2B5EF4-FFF2-40B4-BE49-F238E27FC236}">
                  <a16:creationId xmlns:a16="http://schemas.microsoft.com/office/drawing/2014/main" id="{A11C39A7-D0D0-434D-A171-90D1234959F5}"/>
                </a:ext>
              </a:extLst>
            </p:cNvPr>
            <p:cNvSpPr/>
            <p:nvPr/>
          </p:nvSpPr>
          <p:spPr>
            <a:xfrm rot="8716295">
              <a:off x="8264148" y="2272223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1" name="Forme libre : forme 1260">
              <a:extLst>
                <a:ext uri="{FF2B5EF4-FFF2-40B4-BE49-F238E27FC236}">
                  <a16:creationId xmlns:a16="http://schemas.microsoft.com/office/drawing/2014/main" id="{4C61989D-4DFE-46E1-AF97-41DE6361CDB1}"/>
                </a:ext>
              </a:extLst>
            </p:cNvPr>
            <p:cNvSpPr/>
            <p:nvPr/>
          </p:nvSpPr>
          <p:spPr>
            <a:xfrm rot="7484129">
              <a:off x="8610530" y="261317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2" name="Forme libre : forme 1261">
              <a:extLst>
                <a:ext uri="{FF2B5EF4-FFF2-40B4-BE49-F238E27FC236}">
                  <a16:creationId xmlns:a16="http://schemas.microsoft.com/office/drawing/2014/main" id="{5C49FF36-E600-4A74-B23E-CD8D4047E6EE}"/>
                </a:ext>
              </a:extLst>
            </p:cNvPr>
            <p:cNvSpPr/>
            <p:nvPr/>
          </p:nvSpPr>
          <p:spPr>
            <a:xfrm rot="13089394">
              <a:off x="8715350" y="2579708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3" name="Forme libre : forme 1262">
              <a:extLst>
                <a:ext uri="{FF2B5EF4-FFF2-40B4-BE49-F238E27FC236}">
                  <a16:creationId xmlns:a16="http://schemas.microsoft.com/office/drawing/2014/main" id="{1D04E94A-1C0D-454D-9922-50FF5EBE6C43}"/>
                </a:ext>
              </a:extLst>
            </p:cNvPr>
            <p:cNvSpPr/>
            <p:nvPr/>
          </p:nvSpPr>
          <p:spPr>
            <a:xfrm rot="8716295">
              <a:off x="8900935" y="2388027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4" name="Forme libre : forme 1263">
              <a:extLst>
                <a:ext uri="{FF2B5EF4-FFF2-40B4-BE49-F238E27FC236}">
                  <a16:creationId xmlns:a16="http://schemas.microsoft.com/office/drawing/2014/main" id="{10563C18-A269-4229-B70A-8D68962158B9}"/>
                </a:ext>
              </a:extLst>
            </p:cNvPr>
            <p:cNvSpPr/>
            <p:nvPr/>
          </p:nvSpPr>
          <p:spPr>
            <a:xfrm rot="8716295">
              <a:off x="8849130" y="228443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5" name="Forme libre : forme 1264">
              <a:extLst>
                <a:ext uri="{FF2B5EF4-FFF2-40B4-BE49-F238E27FC236}">
                  <a16:creationId xmlns:a16="http://schemas.microsoft.com/office/drawing/2014/main" id="{208F3E00-CBC6-4CD3-9BBC-C388642BC9E1}"/>
                </a:ext>
              </a:extLst>
            </p:cNvPr>
            <p:cNvSpPr/>
            <p:nvPr/>
          </p:nvSpPr>
          <p:spPr>
            <a:xfrm rot="8716295">
              <a:off x="8605884" y="231465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6" name="Forme libre : forme 1265">
              <a:extLst>
                <a:ext uri="{FF2B5EF4-FFF2-40B4-BE49-F238E27FC236}">
                  <a16:creationId xmlns:a16="http://schemas.microsoft.com/office/drawing/2014/main" id="{A7B737F3-1AE0-4B4A-887B-DCA6987975B9}"/>
                </a:ext>
              </a:extLst>
            </p:cNvPr>
            <p:cNvSpPr/>
            <p:nvPr/>
          </p:nvSpPr>
          <p:spPr>
            <a:xfrm rot="8716295">
              <a:off x="8783336" y="215541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7" name="Forme libre : forme 1266">
              <a:extLst>
                <a:ext uri="{FF2B5EF4-FFF2-40B4-BE49-F238E27FC236}">
                  <a16:creationId xmlns:a16="http://schemas.microsoft.com/office/drawing/2014/main" id="{ED038CD8-6F63-4DEA-AFB9-416565E0B1AE}"/>
                </a:ext>
              </a:extLst>
            </p:cNvPr>
            <p:cNvSpPr/>
            <p:nvPr/>
          </p:nvSpPr>
          <p:spPr>
            <a:xfrm rot="8716295">
              <a:off x="8461723" y="320217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8" name="Forme libre : forme 1267">
              <a:extLst>
                <a:ext uri="{FF2B5EF4-FFF2-40B4-BE49-F238E27FC236}">
                  <a16:creationId xmlns:a16="http://schemas.microsoft.com/office/drawing/2014/main" id="{4ADDF2AA-F777-43E8-985A-08DA5C91CAC3}"/>
                </a:ext>
              </a:extLst>
            </p:cNvPr>
            <p:cNvSpPr/>
            <p:nvPr/>
          </p:nvSpPr>
          <p:spPr>
            <a:xfrm rot="8716295">
              <a:off x="8551115" y="323142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9" name="Forme libre : forme 1268">
              <a:extLst>
                <a:ext uri="{FF2B5EF4-FFF2-40B4-BE49-F238E27FC236}">
                  <a16:creationId xmlns:a16="http://schemas.microsoft.com/office/drawing/2014/main" id="{5F6A757A-2778-41F5-B5E1-C920513FE4A3}"/>
                </a:ext>
              </a:extLst>
            </p:cNvPr>
            <p:cNvSpPr/>
            <p:nvPr/>
          </p:nvSpPr>
          <p:spPr>
            <a:xfrm rot="8716295">
              <a:off x="8506265" y="314514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0" name="Forme libre : forme 1269">
              <a:extLst>
                <a:ext uri="{FF2B5EF4-FFF2-40B4-BE49-F238E27FC236}">
                  <a16:creationId xmlns:a16="http://schemas.microsoft.com/office/drawing/2014/main" id="{0EFEE5D5-C1BD-4136-8474-BA19679B6FE6}"/>
                </a:ext>
              </a:extLst>
            </p:cNvPr>
            <p:cNvSpPr/>
            <p:nvPr/>
          </p:nvSpPr>
          <p:spPr>
            <a:xfrm rot="8716295">
              <a:off x="8349489" y="329072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1" name="Forme libre : forme 1270">
              <a:extLst>
                <a:ext uri="{FF2B5EF4-FFF2-40B4-BE49-F238E27FC236}">
                  <a16:creationId xmlns:a16="http://schemas.microsoft.com/office/drawing/2014/main" id="{478BD2EF-1B5E-4C0F-83FF-65BB9BDBEB73}"/>
                </a:ext>
              </a:extLst>
            </p:cNvPr>
            <p:cNvSpPr/>
            <p:nvPr/>
          </p:nvSpPr>
          <p:spPr>
            <a:xfrm rot="8716295">
              <a:off x="8224586" y="308204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2" name="Forme libre : forme 1271">
              <a:extLst>
                <a:ext uri="{FF2B5EF4-FFF2-40B4-BE49-F238E27FC236}">
                  <a16:creationId xmlns:a16="http://schemas.microsoft.com/office/drawing/2014/main" id="{CA9F447E-DAA7-42DE-BF9D-296DA2E235D4}"/>
                </a:ext>
              </a:extLst>
            </p:cNvPr>
            <p:cNvSpPr/>
            <p:nvPr/>
          </p:nvSpPr>
          <p:spPr>
            <a:xfrm rot="8716295">
              <a:off x="8212534" y="2943269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3" name="Forme libre : forme 1272">
              <a:extLst>
                <a:ext uri="{FF2B5EF4-FFF2-40B4-BE49-F238E27FC236}">
                  <a16:creationId xmlns:a16="http://schemas.microsoft.com/office/drawing/2014/main" id="{B7FB840A-B629-4503-ACF9-05EB6F60350A}"/>
                </a:ext>
              </a:extLst>
            </p:cNvPr>
            <p:cNvSpPr/>
            <p:nvPr/>
          </p:nvSpPr>
          <p:spPr>
            <a:xfrm rot="8716295">
              <a:off x="8439667" y="333167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4" name="Forme libre : forme 1273">
              <a:extLst>
                <a:ext uri="{FF2B5EF4-FFF2-40B4-BE49-F238E27FC236}">
                  <a16:creationId xmlns:a16="http://schemas.microsoft.com/office/drawing/2014/main" id="{284BE434-693F-4B53-B96A-BC8BBBAA6451}"/>
                </a:ext>
              </a:extLst>
            </p:cNvPr>
            <p:cNvSpPr/>
            <p:nvPr/>
          </p:nvSpPr>
          <p:spPr>
            <a:xfrm rot="8716295">
              <a:off x="8750822" y="295202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5" name="Forme libre : forme 1274">
              <a:extLst>
                <a:ext uri="{FF2B5EF4-FFF2-40B4-BE49-F238E27FC236}">
                  <a16:creationId xmlns:a16="http://schemas.microsoft.com/office/drawing/2014/main" id="{00E031F6-CDA7-4F23-85AC-0C03588D8BFF}"/>
                </a:ext>
              </a:extLst>
            </p:cNvPr>
            <p:cNvSpPr/>
            <p:nvPr/>
          </p:nvSpPr>
          <p:spPr>
            <a:xfrm rot="8716295">
              <a:off x="8840214" y="298126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6" name="Forme libre : forme 1275">
              <a:extLst>
                <a:ext uri="{FF2B5EF4-FFF2-40B4-BE49-F238E27FC236}">
                  <a16:creationId xmlns:a16="http://schemas.microsoft.com/office/drawing/2014/main" id="{48A487FF-161F-413C-A2D1-AFC7148CC4B0}"/>
                </a:ext>
              </a:extLst>
            </p:cNvPr>
            <p:cNvSpPr/>
            <p:nvPr/>
          </p:nvSpPr>
          <p:spPr>
            <a:xfrm rot="8716295">
              <a:off x="8638588" y="304057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7" name="Forme libre : forme 1276">
              <a:extLst>
                <a:ext uri="{FF2B5EF4-FFF2-40B4-BE49-F238E27FC236}">
                  <a16:creationId xmlns:a16="http://schemas.microsoft.com/office/drawing/2014/main" id="{DD5BE4D1-C7C8-4842-9CD7-28661B0A4744}"/>
                </a:ext>
              </a:extLst>
            </p:cNvPr>
            <p:cNvSpPr/>
            <p:nvPr/>
          </p:nvSpPr>
          <p:spPr>
            <a:xfrm rot="8716295">
              <a:off x="8513686" y="283189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8" name="Forme libre : forme 1277">
              <a:extLst>
                <a:ext uri="{FF2B5EF4-FFF2-40B4-BE49-F238E27FC236}">
                  <a16:creationId xmlns:a16="http://schemas.microsoft.com/office/drawing/2014/main" id="{0B4DA140-E81E-4D65-A5C9-F035DA31F730}"/>
                </a:ext>
              </a:extLst>
            </p:cNvPr>
            <p:cNvSpPr/>
            <p:nvPr/>
          </p:nvSpPr>
          <p:spPr>
            <a:xfrm rot="8716295">
              <a:off x="8728766" y="308152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9" name="Forme libre : forme 1278">
              <a:extLst>
                <a:ext uri="{FF2B5EF4-FFF2-40B4-BE49-F238E27FC236}">
                  <a16:creationId xmlns:a16="http://schemas.microsoft.com/office/drawing/2014/main" id="{14371798-95AB-4DEA-8474-58BAC0008E89}"/>
                </a:ext>
              </a:extLst>
            </p:cNvPr>
            <p:cNvSpPr/>
            <p:nvPr/>
          </p:nvSpPr>
          <p:spPr>
            <a:xfrm rot="8716295">
              <a:off x="8487315" y="293192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0" name="Forme libre : forme 1279">
              <a:extLst>
                <a:ext uri="{FF2B5EF4-FFF2-40B4-BE49-F238E27FC236}">
                  <a16:creationId xmlns:a16="http://schemas.microsoft.com/office/drawing/2014/main" id="{B40273FF-66D0-4D54-A913-9136C391E5E9}"/>
                </a:ext>
              </a:extLst>
            </p:cNvPr>
            <p:cNvSpPr/>
            <p:nvPr/>
          </p:nvSpPr>
          <p:spPr>
            <a:xfrm rot="7484129">
              <a:off x="8833697" y="32728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1" name="Forme libre : forme 1280">
              <a:extLst>
                <a:ext uri="{FF2B5EF4-FFF2-40B4-BE49-F238E27FC236}">
                  <a16:creationId xmlns:a16="http://schemas.microsoft.com/office/drawing/2014/main" id="{FCD6CCFC-12B5-4C32-A6C9-28B6678973BF}"/>
                </a:ext>
              </a:extLst>
            </p:cNvPr>
            <p:cNvSpPr/>
            <p:nvPr/>
          </p:nvSpPr>
          <p:spPr>
            <a:xfrm rot="13089394">
              <a:off x="8933167" y="3248496"/>
              <a:ext cx="272584" cy="314617"/>
            </a:xfrm>
            <a:custGeom>
              <a:avLst/>
              <a:gdLst>
                <a:gd name="connsiteX0" fmla="*/ 77412 w 272584"/>
                <a:gd name="connsiteY0" fmla="*/ 203022 h 314617"/>
                <a:gd name="connsiteX1" fmla="*/ 0 w 272584"/>
                <a:gd name="connsiteY1" fmla="*/ 104495 h 314617"/>
                <a:gd name="connsiteX2" fmla="*/ 0 w 272584"/>
                <a:gd name="connsiteY2" fmla="*/ 38074 h 314617"/>
                <a:gd name="connsiteX3" fmla="*/ 73388 w 272584"/>
                <a:gd name="connsiteY3" fmla="*/ 0 h 314617"/>
                <a:gd name="connsiteX4" fmla="*/ 74492 w 272584"/>
                <a:gd name="connsiteY4" fmla="*/ 153950 h 314617"/>
                <a:gd name="connsiteX5" fmla="*/ 76768 w 272584"/>
                <a:gd name="connsiteY5" fmla="*/ 200369 h 314617"/>
                <a:gd name="connsiteX6" fmla="*/ 272584 w 272584"/>
                <a:gd name="connsiteY6" fmla="*/ 258238 h 314617"/>
                <a:gd name="connsiteX7" fmla="*/ 177331 w 272584"/>
                <a:gd name="connsiteY7" fmla="*/ 311348 h 314617"/>
                <a:gd name="connsiteX8" fmla="*/ 165091 w 272584"/>
                <a:gd name="connsiteY8" fmla="*/ 314617 h 314617"/>
                <a:gd name="connsiteX9" fmla="*/ 136528 w 272584"/>
                <a:gd name="connsiteY9" fmla="*/ 278262 h 314617"/>
                <a:gd name="connsiteX10" fmla="*/ 153949 w 272584"/>
                <a:gd name="connsiteY10" fmla="*/ 281965 h 314617"/>
                <a:gd name="connsiteX11" fmla="*/ 203610 w 272584"/>
                <a:gd name="connsiteY11" fmla="*/ 273137 h 314617"/>
                <a:gd name="connsiteX12" fmla="*/ 271481 w 272584"/>
                <a:gd name="connsiteY12" fmla="*/ 245547 h 314617"/>
                <a:gd name="connsiteX13" fmla="*/ 272584 w 272584"/>
                <a:gd name="connsiteY13" fmla="*/ 252720 h 314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2584" h="314617">
                  <a:moveTo>
                    <a:pt x="77412" y="203022"/>
                  </a:moveTo>
                  <a:lnTo>
                    <a:pt x="0" y="104495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3664" y="169400"/>
                    <a:pt x="74491" y="184988"/>
                    <a:pt x="76768" y="200369"/>
                  </a:cubicBezTo>
                  <a:close/>
                  <a:moveTo>
                    <a:pt x="272584" y="258238"/>
                  </a:moveTo>
                  <a:cubicBezTo>
                    <a:pt x="243339" y="283344"/>
                    <a:pt x="209542" y="300312"/>
                    <a:pt x="177331" y="311348"/>
                  </a:cubicBezTo>
                  <a:lnTo>
                    <a:pt x="165091" y="314617"/>
                  </a:lnTo>
                  <a:lnTo>
                    <a:pt x="136528" y="278262"/>
                  </a:lnTo>
                  <a:lnTo>
                    <a:pt x="153949" y="281965"/>
                  </a:lnTo>
                  <a:cubicBezTo>
                    <a:pt x="171055" y="281413"/>
                    <a:pt x="187608" y="278102"/>
                    <a:pt x="203610" y="273137"/>
                  </a:cubicBezTo>
                  <a:cubicBezTo>
                    <a:pt x="226786" y="265963"/>
                    <a:pt x="249409" y="256583"/>
                    <a:pt x="271481" y="245547"/>
                  </a:cubicBezTo>
                  <a:cubicBezTo>
                    <a:pt x="272032" y="247754"/>
                    <a:pt x="272584" y="250512"/>
                    <a:pt x="272584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2" name="Forme libre : forme 1281">
              <a:extLst>
                <a:ext uri="{FF2B5EF4-FFF2-40B4-BE49-F238E27FC236}">
                  <a16:creationId xmlns:a16="http://schemas.microsoft.com/office/drawing/2014/main" id="{49322978-3720-487C-8006-BF9E3F6D1CD3}"/>
                </a:ext>
              </a:extLst>
            </p:cNvPr>
            <p:cNvSpPr/>
            <p:nvPr/>
          </p:nvSpPr>
          <p:spPr>
            <a:xfrm rot="8716295">
              <a:off x="9063436" y="2943322"/>
              <a:ext cx="105430" cy="113008"/>
            </a:xfrm>
            <a:custGeom>
              <a:avLst/>
              <a:gdLst>
                <a:gd name="connsiteX0" fmla="*/ 5398 w 105430"/>
                <a:gd name="connsiteY0" fmla="*/ 96451 h 113008"/>
                <a:gd name="connsiteX1" fmla="*/ 0 w 105430"/>
                <a:gd name="connsiteY1" fmla="*/ 83667 h 113008"/>
                <a:gd name="connsiteX2" fmla="*/ 57995 w 105430"/>
                <a:gd name="connsiteY2" fmla="*/ 0 h 113008"/>
                <a:gd name="connsiteX3" fmla="*/ 88184 w 105430"/>
                <a:gd name="connsiteY3" fmla="*/ 12746 h 113008"/>
                <a:gd name="connsiteX4" fmla="*/ 88183 w 105430"/>
                <a:gd name="connsiteY4" fmla="*/ 95531 h 113008"/>
                <a:gd name="connsiteX5" fmla="*/ 46790 w 105430"/>
                <a:gd name="connsiteY5" fmla="*/ 113008 h 113008"/>
                <a:gd name="connsiteX6" fmla="*/ 5398 w 105430"/>
                <a:gd name="connsiteY6" fmla="*/ 96451 h 113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5430" h="113008">
                  <a:moveTo>
                    <a:pt x="5398" y="96451"/>
                  </a:moveTo>
                  <a:lnTo>
                    <a:pt x="0" y="83667"/>
                  </a:lnTo>
                  <a:lnTo>
                    <a:pt x="57995" y="0"/>
                  </a:lnTo>
                  <a:lnTo>
                    <a:pt x="88184" y="12746"/>
                  </a:lnTo>
                  <a:cubicBezTo>
                    <a:pt x="111179" y="34822"/>
                    <a:pt x="111179" y="72535"/>
                    <a:pt x="88183" y="95531"/>
                  </a:cubicBezTo>
                  <a:cubicBezTo>
                    <a:pt x="77145" y="106569"/>
                    <a:pt x="62428" y="113008"/>
                    <a:pt x="46790" y="113008"/>
                  </a:cubicBezTo>
                  <a:cubicBezTo>
                    <a:pt x="31154" y="113008"/>
                    <a:pt x="16436" y="107489"/>
                    <a:pt x="5398" y="9645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3" name="Forme libre : forme 1282">
              <a:extLst>
                <a:ext uri="{FF2B5EF4-FFF2-40B4-BE49-F238E27FC236}">
                  <a16:creationId xmlns:a16="http://schemas.microsoft.com/office/drawing/2014/main" id="{0E79394D-1F93-4DAB-A031-4180A71FEAA6}"/>
                </a:ext>
              </a:extLst>
            </p:cNvPr>
            <p:cNvSpPr/>
            <p:nvPr/>
          </p:nvSpPr>
          <p:spPr>
            <a:xfrm rot="8716295">
              <a:off x="8829051" y="297435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4" name="Forme libre : forme 1283">
              <a:extLst>
                <a:ext uri="{FF2B5EF4-FFF2-40B4-BE49-F238E27FC236}">
                  <a16:creationId xmlns:a16="http://schemas.microsoft.com/office/drawing/2014/main" id="{A779B4B1-CCAB-4B22-BE71-EFFAA7770D63}"/>
                </a:ext>
              </a:extLst>
            </p:cNvPr>
            <p:cNvSpPr/>
            <p:nvPr/>
          </p:nvSpPr>
          <p:spPr>
            <a:xfrm rot="8716295">
              <a:off x="9006503" y="281511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5" name="Forme libre : forme 1284">
              <a:extLst>
                <a:ext uri="{FF2B5EF4-FFF2-40B4-BE49-F238E27FC236}">
                  <a16:creationId xmlns:a16="http://schemas.microsoft.com/office/drawing/2014/main" id="{755E45E0-E074-4D6C-9B76-6EFDFD1013C0}"/>
                </a:ext>
              </a:extLst>
            </p:cNvPr>
            <p:cNvSpPr/>
            <p:nvPr/>
          </p:nvSpPr>
          <p:spPr>
            <a:xfrm rot="8716295">
              <a:off x="8951372" y="5039787"/>
              <a:ext cx="114842" cy="149763"/>
            </a:xfrm>
            <a:custGeom>
              <a:avLst/>
              <a:gdLst>
                <a:gd name="connsiteX0" fmla="*/ 0 w 114842"/>
                <a:gd name="connsiteY0" fmla="*/ 9212 h 149763"/>
                <a:gd name="connsiteX1" fmla="*/ 0 w 114842"/>
                <a:gd name="connsiteY1" fmla="*/ 0 h 149763"/>
                <a:gd name="connsiteX2" fmla="*/ 13290 w 114842"/>
                <a:gd name="connsiteY2" fmla="*/ 9212 h 149763"/>
                <a:gd name="connsiteX3" fmla="*/ 90709 w 114842"/>
                <a:gd name="connsiteY3" fmla="*/ 149763 h 149763"/>
                <a:gd name="connsiteX4" fmla="*/ 47847 w 114842"/>
                <a:gd name="connsiteY4" fmla="*/ 70018 h 149763"/>
                <a:gd name="connsiteX5" fmla="*/ 58479 w 114842"/>
                <a:gd name="connsiteY5" fmla="*/ 40536 h 149763"/>
                <a:gd name="connsiteX6" fmla="*/ 114842 w 114842"/>
                <a:gd name="connsiteY6" fmla="*/ 79604 h 149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842" h="149763">
                  <a:moveTo>
                    <a:pt x="0" y="9212"/>
                  </a:moveTo>
                  <a:lnTo>
                    <a:pt x="0" y="0"/>
                  </a:lnTo>
                  <a:lnTo>
                    <a:pt x="13290" y="9212"/>
                  </a:lnTo>
                  <a:close/>
                  <a:moveTo>
                    <a:pt x="90709" y="149763"/>
                  </a:moveTo>
                  <a:lnTo>
                    <a:pt x="47847" y="70018"/>
                  </a:lnTo>
                  <a:lnTo>
                    <a:pt x="58479" y="40536"/>
                  </a:lnTo>
                  <a:lnTo>
                    <a:pt x="114842" y="796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6" name="Forme libre : forme 1285">
              <a:extLst>
                <a:ext uri="{FF2B5EF4-FFF2-40B4-BE49-F238E27FC236}">
                  <a16:creationId xmlns:a16="http://schemas.microsoft.com/office/drawing/2014/main" id="{8AED8A80-C2CB-4353-A4D6-B63B770DAFE6}"/>
                </a:ext>
              </a:extLst>
            </p:cNvPr>
            <p:cNvSpPr/>
            <p:nvPr/>
          </p:nvSpPr>
          <p:spPr>
            <a:xfrm rot="8716295">
              <a:off x="8858304" y="4924131"/>
              <a:ext cx="290644" cy="300328"/>
            </a:xfrm>
            <a:custGeom>
              <a:avLst/>
              <a:gdLst>
                <a:gd name="connsiteX0" fmla="*/ 25298 w 290644"/>
                <a:gd name="connsiteY0" fmla="*/ 270737 h 300328"/>
                <a:gd name="connsiteX1" fmla="*/ 1 w 290644"/>
                <a:gd name="connsiteY1" fmla="*/ 169541 h 300328"/>
                <a:gd name="connsiteX2" fmla="*/ 0 w 290644"/>
                <a:gd name="connsiteY2" fmla="*/ 113409 h 300328"/>
                <a:gd name="connsiteX3" fmla="*/ 78612 w 290644"/>
                <a:gd name="connsiteY3" fmla="*/ 0 h 300328"/>
                <a:gd name="connsiteX4" fmla="*/ 79427 w 290644"/>
                <a:gd name="connsiteY4" fmla="*/ 113648 h 300328"/>
                <a:gd name="connsiteX5" fmla="*/ 93547 w 290644"/>
                <a:gd name="connsiteY5" fmla="*/ 211314 h 300328"/>
                <a:gd name="connsiteX6" fmla="*/ 164149 w 290644"/>
                <a:gd name="connsiteY6" fmla="*/ 250145 h 300328"/>
                <a:gd name="connsiteX7" fmla="*/ 217100 w 290644"/>
                <a:gd name="connsiteY7" fmla="*/ 240732 h 300328"/>
                <a:gd name="connsiteX8" fmla="*/ 289467 w 290644"/>
                <a:gd name="connsiteY8" fmla="*/ 211314 h 300328"/>
                <a:gd name="connsiteX9" fmla="*/ 290643 w 290644"/>
                <a:gd name="connsiteY9" fmla="*/ 218962 h 300328"/>
                <a:gd name="connsiteX10" fmla="*/ 290644 w 290644"/>
                <a:gd name="connsiteY10" fmla="*/ 224846 h 300328"/>
                <a:gd name="connsiteX11" fmla="*/ 97666 w 290644"/>
                <a:gd name="connsiteY11" fmla="*/ 300154 h 300328"/>
                <a:gd name="connsiteX12" fmla="*/ 25298 w 290644"/>
                <a:gd name="connsiteY12" fmla="*/ 270737 h 300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0644" h="300328">
                  <a:moveTo>
                    <a:pt x="25298" y="270737"/>
                  </a:moveTo>
                  <a:cubicBezTo>
                    <a:pt x="5295" y="251321"/>
                    <a:pt x="0" y="217786"/>
                    <a:pt x="1" y="169541"/>
                  </a:cubicBezTo>
                  <a:lnTo>
                    <a:pt x="0" y="113409"/>
                  </a:lnTo>
                  <a:lnTo>
                    <a:pt x="78612" y="0"/>
                  </a:lnTo>
                  <a:lnTo>
                    <a:pt x="79427" y="113648"/>
                  </a:lnTo>
                  <a:cubicBezTo>
                    <a:pt x="77662" y="146596"/>
                    <a:pt x="82956" y="180131"/>
                    <a:pt x="93547" y="211314"/>
                  </a:cubicBezTo>
                  <a:cubicBezTo>
                    <a:pt x="102961" y="237201"/>
                    <a:pt x="127083" y="250145"/>
                    <a:pt x="164149" y="250145"/>
                  </a:cubicBezTo>
                  <a:cubicBezTo>
                    <a:pt x="182388" y="249557"/>
                    <a:pt x="200038" y="246026"/>
                    <a:pt x="217100" y="240732"/>
                  </a:cubicBezTo>
                  <a:cubicBezTo>
                    <a:pt x="241810" y="233083"/>
                    <a:pt x="265932" y="223080"/>
                    <a:pt x="289467" y="211314"/>
                  </a:cubicBezTo>
                  <a:cubicBezTo>
                    <a:pt x="290055" y="213668"/>
                    <a:pt x="290643" y="216609"/>
                    <a:pt x="290643" y="218962"/>
                  </a:cubicBezTo>
                  <a:lnTo>
                    <a:pt x="290644" y="224846"/>
                  </a:lnTo>
                  <a:cubicBezTo>
                    <a:pt x="228278" y="278385"/>
                    <a:pt x="146498" y="297213"/>
                    <a:pt x="97666" y="300154"/>
                  </a:cubicBezTo>
                  <a:cubicBezTo>
                    <a:pt x="70602" y="301920"/>
                    <a:pt x="44126" y="290152"/>
                    <a:pt x="25298" y="27073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7" name="Forme libre : forme 1286">
              <a:extLst>
                <a:ext uri="{FF2B5EF4-FFF2-40B4-BE49-F238E27FC236}">
                  <a16:creationId xmlns:a16="http://schemas.microsoft.com/office/drawing/2014/main" id="{F6434F03-7136-449A-AE8B-69AAC2772741}"/>
                </a:ext>
              </a:extLst>
            </p:cNvPr>
            <p:cNvSpPr/>
            <p:nvPr/>
          </p:nvSpPr>
          <p:spPr>
            <a:xfrm rot="8716295">
              <a:off x="8680393" y="386057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8" name="Forme libre : forme 1287">
              <a:extLst>
                <a:ext uri="{FF2B5EF4-FFF2-40B4-BE49-F238E27FC236}">
                  <a16:creationId xmlns:a16="http://schemas.microsoft.com/office/drawing/2014/main" id="{18FA482F-B79B-416B-B433-51E98289C96F}"/>
                </a:ext>
              </a:extLst>
            </p:cNvPr>
            <p:cNvSpPr/>
            <p:nvPr/>
          </p:nvSpPr>
          <p:spPr>
            <a:xfrm rot="8716295">
              <a:off x="8769785" y="388981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9" name="Forme libre : forme 1288">
              <a:extLst>
                <a:ext uri="{FF2B5EF4-FFF2-40B4-BE49-F238E27FC236}">
                  <a16:creationId xmlns:a16="http://schemas.microsoft.com/office/drawing/2014/main" id="{0633B816-D2AD-461A-8DC1-A0C291E15BED}"/>
                </a:ext>
              </a:extLst>
            </p:cNvPr>
            <p:cNvSpPr/>
            <p:nvPr/>
          </p:nvSpPr>
          <p:spPr>
            <a:xfrm rot="8716295">
              <a:off x="8724935" y="380353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0" name="Forme libre : forme 1289">
              <a:extLst>
                <a:ext uri="{FF2B5EF4-FFF2-40B4-BE49-F238E27FC236}">
                  <a16:creationId xmlns:a16="http://schemas.microsoft.com/office/drawing/2014/main" id="{6AEF1F62-3BB3-42AF-9ABA-6922472D9D4C}"/>
                </a:ext>
              </a:extLst>
            </p:cNvPr>
            <p:cNvSpPr/>
            <p:nvPr/>
          </p:nvSpPr>
          <p:spPr>
            <a:xfrm rot="8716295">
              <a:off x="8568159" y="394911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1" name="Forme libre : forme 1290">
              <a:extLst>
                <a:ext uri="{FF2B5EF4-FFF2-40B4-BE49-F238E27FC236}">
                  <a16:creationId xmlns:a16="http://schemas.microsoft.com/office/drawing/2014/main" id="{37A3E740-A35C-49B8-BCA6-B63F53924CD9}"/>
                </a:ext>
              </a:extLst>
            </p:cNvPr>
            <p:cNvSpPr/>
            <p:nvPr/>
          </p:nvSpPr>
          <p:spPr>
            <a:xfrm rot="8716295">
              <a:off x="8443256" y="374044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2" name="Forme libre : forme 1291">
              <a:extLst>
                <a:ext uri="{FF2B5EF4-FFF2-40B4-BE49-F238E27FC236}">
                  <a16:creationId xmlns:a16="http://schemas.microsoft.com/office/drawing/2014/main" id="{4BC6A6C6-3506-4720-B433-50EBFD398AB2}"/>
                </a:ext>
              </a:extLst>
            </p:cNvPr>
            <p:cNvSpPr/>
            <p:nvPr/>
          </p:nvSpPr>
          <p:spPr>
            <a:xfrm rot="8716295">
              <a:off x="8431204" y="360166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3" name="Forme libre : forme 1292">
              <a:extLst>
                <a:ext uri="{FF2B5EF4-FFF2-40B4-BE49-F238E27FC236}">
                  <a16:creationId xmlns:a16="http://schemas.microsoft.com/office/drawing/2014/main" id="{856A2550-AA18-418C-9080-EC3036E4F436}"/>
                </a:ext>
              </a:extLst>
            </p:cNvPr>
            <p:cNvSpPr/>
            <p:nvPr/>
          </p:nvSpPr>
          <p:spPr>
            <a:xfrm rot="8716295">
              <a:off x="8658337" y="399007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4" name="Forme libre : forme 1293">
              <a:extLst>
                <a:ext uri="{FF2B5EF4-FFF2-40B4-BE49-F238E27FC236}">
                  <a16:creationId xmlns:a16="http://schemas.microsoft.com/office/drawing/2014/main" id="{D5235751-C722-4643-BB69-A63D9B7E2C7F}"/>
                </a:ext>
              </a:extLst>
            </p:cNvPr>
            <p:cNvSpPr/>
            <p:nvPr/>
          </p:nvSpPr>
          <p:spPr>
            <a:xfrm rot="8716295">
              <a:off x="8968661" y="3610682"/>
              <a:ext cx="142168" cy="232388"/>
            </a:xfrm>
            <a:custGeom>
              <a:avLst/>
              <a:gdLst>
                <a:gd name="connsiteX0" fmla="*/ 81109 w 142168"/>
                <a:gd name="connsiteY0" fmla="*/ 232388 h 232388"/>
                <a:gd name="connsiteX1" fmla="*/ 81108 w 142168"/>
                <a:gd name="connsiteY1" fmla="*/ 69717 h 232388"/>
                <a:gd name="connsiteX2" fmla="*/ 81108 w 142168"/>
                <a:gd name="connsiteY2" fmla="*/ 65615 h 232388"/>
                <a:gd name="connsiteX3" fmla="*/ 60603 w 142168"/>
                <a:gd name="connsiteY3" fmla="*/ 50123 h 232388"/>
                <a:gd name="connsiteX4" fmla="*/ 0 w 142168"/>
                <a:gd name="connsiteY4" fmla="*/ 50123 h 232388"/>
                <a:gd name="connsiteX5" fmla="*/ 0 w 142168"/>
                <a:gd name="connsiteY5" fmla="*/ 35740 h 232388"/>
                <a:gd name="connsiteX6" fmla="*/ 24774 w 142168"/>
                <a:gd name="connsiteY6" fmla="*/ 0 h 232388"/>
                <a:gd name="connsiteX7" fmla="*/ 85210 w 142168"/>
                <a:gd name="connsiteY7" fmla="*/ 0 h 232388"/>
                <a:gd name="connsiteX8" fmla="*/ 142168 w 142168"/>
                <a:gd name="connsiteY8" fmla="*/ 50123 h 232388"/>
                <a:gd name="connsiteX9" fmla="*/ 142167 w 142168"/>
                <a:gd name="connsiteY9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2168" h="232388">
                  <a:moveTo>
                    <a:pt x="81109" y="232388"/>
                  </a:moveTo>
                  <a:lnTo>
                    <a:pt x="81108" y="69717"/>
                  </a:lnTo>
                  <a:cubicBezTo>
                    <a:pt x="81108" y="68350"/>
                    <a:pt x="81108" y="66982"/>
                    <a:pt x="81108" y="65615"/>
                  </a:cubicBezTo>
                  <a:cubicBezTo>
                    <a:pt x="79741" y="55591"/>
                    <a:pt x="70628" y="48756"/>
                    <a:pt x="60603" y="50123"/>
                  </a:cubicBezTo>
                  <a:lnTo>
                    <a:pt x="0" y="50123"/>
                  </a:lnTo>
                  <a:lnTo>
                    <a:pt x="0" y="35740"/>
                  </a:lnTo>
                  <a:lnTo>
                    <a:pt x="24774" y="0"/>
                  </a:lnTo>
                  <a:lnTo>
                    <a:pt x="85210" y="0"/>
                  </a:lnTo>
                  <a:cubicBezTo>
                    <a:pt x="122118" y="0"/>
                    <a:pt x="142167" y="15949"/>
                    <a:pt x="142168" y="50123"/>
                  </a:cubicBezTo>
                  <a:lnTo>
                    <a:pt x="142167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5" name="Forme libre : forme 1294">
              <a:extLst>
                <a:ext uri="{FF2B5EF4-FFF2-40B4-BE49-F238E27FC236}">
                  <a16:creationId xmlns:a16="http://schemas.microsoft.com/office/drawing/2014/main" id="{85A06E5C-7F12-4A00-B7C2-0D110DC8B17B}"/>
                </a:ext>
              </a:extLst>
            </p:cNvPr>
            <p:cNvSpPr/>
            <p:nvPr/>
          </p:nvSpPr>
          <p:spPr>
            <a:xfrm rot="8716295">
              <a:off x="9109023" y="3840461"/>
              <a:ext cx="57223" cy="60210"/>
            </a:xfrm>
            <a:custGeom>
              <a:avLst/>
              <a:gdLst>
                <a:gd name="connsiteX0" fmla="*/ 0 w 57223"/>
                <a:gd name="connsiteY0" fmla="*/ 60210 h 60210"/>
                <a:gd name="connsiteX1" fmla="*/ 41735 w 57223"/>
                <a:gd name="connsiteY1" fmla="*/ 0 h 60210"/>
                <a:gd name="connsiteX2" fmla="*/ 57223 w 57223"/>
                <a:gd name="connsiteY2" fmla="*/ 50920 h 60210"/>
                <a:gd name="connsiteX3" fmla="*/ 57223 w 57223"/>
                <a:gd name="connsiteY3" fmla="*/ 56844 h 60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223" h="60210">
                  <a:moveTo>
                    <a:pt x="0" y="60210"/>
                  </a:moveTo>
                  <a:lnTo>
                    <a:pt x="41735" y="0"/>
                  </a:lnTo>
                  <a:lnTo>
                    <a:pt x="57223" y="50920"/>
                  </a:lnTo>
                  <a:lnTo>
                    <a:pt x="57223" y="568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6" name="Forme libre : forme 1295">
              <a:extLst>
                <a:ext uri="{FF2B5EF4-FFF2-40B4-BE49-F238E27FC236}">
                  <a16:creationId xmlns:a16="http://schemas.microsoft.com/office/drawing/2014/main" id="{1252EC58-9E57-4107-B2FC-C59BA27CE7DF}"/>
                </a:ext>
              </a:extLst>
            </p:cNvPr>
            <p:cNvSpPr/>
            <p:nvPr/>
          </p:nvSpPr>
          <p:spPr>
            <a:xfrm rot="8716295">
              <a:off x="8857258" y="369896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7" name="Forme libre : forme 1296">
              <a:extLst>
                <a:ext uri="{FF2B5EF4-FFF2-40B4-BE49-F238E27FC236}">
                  <a16:creationId xmlns:a16="http://schemas.microsoft.com/office/drawing/2014/main" id="{1954E87D-9885-4B97-8ACC-9DDD71F1F192}"/>
                </a:ext>
              </a:extLst>
            </p:cNvPr>
            <p:cNvSpPr/>
            <p:nvPr/>
          </p:nvSpPr>
          <p:spPr>
            <a:xfrm rot="8716295">
              <a:off x="8732356" y="349029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8" name="Forme libre : forme 1297">
              <a:extLst>
                <a:ext uri="{FF2B5EF4-FFF2-40B4-BE49-F238E27FC236}">
                  <a16:creationId xmlns:a16="http://schemas.microsoft.com/office/drawing/2014/main" id="{7DA0C229-B685-46FD-A282-2DDCFCEDAB1D}"/>
                </a:ext>
              </a:extLst>
            </p:cNvPr>
            <p:cNvSpPr/>
            <p:nvPr/>
          </p:nvSpPr>
          <p:spPr>
            <a:xfrm rot="8716295">
              <a:off x="8947436" y="373991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9" name="Forme libre : forme 1298">
              <a:extLst>
                <a:ext uri="{FF2B5EF4-FFF2-40B4-BE49-F238E27FC236}">
                  <a16:creationId xmlns:a16="http://schemas.microsoft.com/office/drawing/2014/main" id="{E583C73B-C59E-4715-A88F-1B25FEE34388}"/>
                </a:ext>
              </a:extLst>
            </p:cNvPr>
            <p:cNvSpPr/>
            <p:nvPr/>
          </p:nvSpPr>
          <p:spPr>
            <a:xfrm rot="8716295">
              <a:off x="8705985" y="359031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0" name="Forme libre : forme 1299">
              <a:extLst>
                <a:ext uri="{FF2B5EF4-FFF2-40B4-BE49-F238E27FC236}">
                  <a16:creationId xmlns:a16="http://schemas.microsoft.com/office/drawing/2014/main" id="{38178581-3BEA-4A48-A870-1DDB85404FFE}"/>
                </a:ext>
              </a:extLst>
            </p:cNvPr>
            <p:cNvSpPr/>
            <p:nvPr/>
          </p:nvSpPr>
          <p:spPr>
            <a:xfrm rot="7484129">
              <a:off x="9046498" y="3963386"/>
              <a:ext cx="145510" cy="161114"/>
            </a:xfrm>
            <a:custGeom>
              <a:avLst/>
              <a:gdLst>
                <a:gd name="connsiteX0" fmla="*/ 115849 w 145510"/>
                <a:gd name="connsiteY0" fmla="*/ 20564 h 161114"/>
                <a:gd name="connsiteX1" fmla="*/ 145509 w 145510"/>
                <a:gd name="connsiteY1" fmla="*/ 0 h 161114"/>
                <a:gd name="connsiteX2" fmla="*/ 145510 w 145510"/>
                <a:gd name="connsiteY2" fmla="*/ 20564 h 161114"/>
                <a:gd name="connsiteX3" fmla="*/ 32372 w 145510"/>
                <a:gd name="connsiteY3" fmla="*/ 161114 h 161114"/>
                <a:gd name="connsiteX4" fmla="*/ 0 w 145510"/>
                <a:gd name="connsiteY4" fmla="*/ 100888 h 161114"/>
                <a:gd name="connsiteX5" fmla="*/ 69714 w 145510"/>
                <a:gd name="connsiteY5" fmla="*/ 52552 h 161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5510" h="161114">
                  <a:moveTo>
                    <a:pt x="115849" y="20564"/>
                  </a:moveTo>
                  <a:lnTo>
                    <a:pt x="145509" y="0"/>
                  </a:lnTo>
                  <a:lnTo>
                    <a:pt x="145510" y="20564"/>
                  </a:lnTo>
                  <a:close/>
                  <a:moveTo>
                    <a:pt x="32372" y="161114"/>
                  </a:moveTo>
                  <a:lnTo>
                    <a:pt x="0" y="100888"/>
                  </a:lnTo>
                  <a:lnTo>
                    <a:pt x="69714" y="525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1" name="Forme libre : forme 1300">
              <a:extLst>
                <a:ext uri="{FF2B5EF4-FFF2-40B4-BE49-F238E27FC236}">
                  <a16:creationId xmlns:a16="http://schemas.microsoft.com/office/drawing/2014/main" id="{2DF0D885-AE91-4D82-A22C-467632822CD4}"/>
                </a:ext>
              </a:extLst>
            </p:cNvPr>
            <p:cNvSpPr/>
            <p:nvPr/>
          </p:nvSpPr>
          <p:spPr>
            <a:xfrm rot="8716295">
              <a:off x="9047721" y="363275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2" name="Forme libre : forme 1301">
              <a:extLst>
                <a:ext uri="{FF2B5EF4-FFF2-40B4-BE49-F238E27FC236}">
                  <a16:creationId xmlns:a16="http://schemas.microsoft.com/office/drawing/2014/main" id="{33C52D86-EED4-4053-8849-8D331CAB4CF0}"/>
                </a:ext>
              </a:extLst>
            </p:cNvPr>
            <p:cNvSpPr/>
            <p:nvPr/>
          </p:nvSpPr>
          <p:spPr>
            <a:xfrm rot="8716295">
              <a:off x="8903560" y="452027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3" name="Forme libre : forme 1302">
              <a:extLst>
                <a:ext uri="{FF2B5EF4-FFF2-40B4-BE49-F238E27FC236}">
                  <a16:creationId xmlns:a16="http://schemas.microsoft.com/office/drawing/2014/main" id="{0AC4DA6A-C1AB-4D56-874A-91BC5CE716BE}"/>
                </a:ext>
              </a:extLst>
            </p:cNvPr>
            <p:cNvSpPr/>
            <p:nvPr/>
          </p:nvSpPr>
          <p:spPr>
            <a:xfrm rot="8716295">
              <a:off x="8995011" y="4560813"/>
              <a:ext cx="209150" cy="252972"/>
            </a:xfrm>
            <a:custGeom>
              <a:avLst/>
              <a:gdLst>
                <a:gd name="connsiteX0" fmla="*/ 147180 w 209150"/>
                <a:gd name="connsiteY0" fmla="*/ 96224 h 252972"/>
                <a:gd name="connsiteX1" fmla="*/ 147180 w 209150"/>
                <a:gd name="connsiteY1" fmla="*/ 79820 h 252972"/>
                <a:gd name="connsiteX2" fmla="*/ 113461 w 209150"/>
                <a:gd name="connsiteY2" fmla="*/ 38355 h 252972"/>
                <a:gd name="connsiteX3" fmla="*/ 111078 w 209150"/>
                <a:gd name="connsiteY3" fmla="*/ 39142 h 252972"/>
                <a:gd name="connsiteX4" fmla="*/ 138210 w 209150"/>
                <a:gd name="connsiteY4" fmla="*/ 0 h 252972"/>
                <a:gd name="connsiteX5" fmla="*/ 189158 w 209150"/>
                <a:gd name="connsiteY5" fmla="*/ 20925 h 252972"/>
                <a:gd name="connsiteX6" fmla="*/ 209150 w 209150"/>
                <a:gd name="connsiteY6" fmla="*/ 86655 h 252972"/>
                <a:gd name="connsiteX7" fmla="*/ 209150 w 209150"/>
                <a:gd name="connsiteY7" fmla="*/ 92579 h 252972"/>
                <a:gd name="connsiteX8" fmla="*/ 0 w 209150"/>
                <a:gd name="connsiteY8" fmla="*/ 252972 h 252972"/>
                <a:gd name="connsiteX9" fmla="*/ 0 w 209150"/>
                <a:gd name="connsiteY9" fmla="*/ 199389 h 252972"/>
                <a:gd name="connsiteX10" fmla="*/ 62137 w 209150"/>
                <a:gd name="connsiteY10" fmla="*/ 109748 h 252972"/>
                <a:gd name="connsiteX11" fmla="*/ 60149 w 209150"/>
                <a:gd name="connsiteY11" fmla="*/ 125842 h 252972"/>
                <a:gd name="connsiteX12" fmla="*/ 60149 w 209150"/>
                <a:gd name="connsiteY12" fmla="*/ 211963 h 252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9150" h="252972">
                  <a:moveTo>
                    <a:pt x="147180" y="96224"/>
                  </a:moveTo>
                  <a:lnTo>
                    <a:pt x="147180" y="79820"/>
                  </a:lnTo>
                  <a:cubicBezTo>
                    <a:pt x="147180" y="55214"/>
                    <a:pt x="133055" y="38354"/>
                    <a:pt x="113461" y="38355"/>
                  </a:cubicBezTo>
                  <a:lnTo>
                    <a:pt x="111078" y="39142"/>
                  </a:lnTo>
                  <a:lnTo>
                    <a:pt x="138210" y="0"/>
                  </a:lnTo>
                  <a:lnTo>
                    <a:pt x="189158" y="20925"/>
                  </a:lnTo>
                  <a:cubicBezTo>
                    <a:pt x="202088" y="36076"/>
                    <a:pt x="209150" y="58404"/>
                    <a:pt x="209150" y="86655"/>
                  </a:cubicBezTo>
                  <a:lnTo>
                    <a:pt x="209150" y="92579"/>
                  </a:lnTo>
                  <a:close/>
                  <a:moveTo>
                    <a:pt x="0" y="252972"/>
                  </a:moveTo>
                  <a:lnTo>
                    <a:pt x="0" y="199389"/>
                  </a:lnTo>
                  <a:lnTo>
                    <a:pt x="62137" y="109748"/>
                  </a:lnTo>
                  <a:lnTo>
                    <a:pt x="60149" y="125842"/>
                  </a:lnTo>
                  <a:lnTo>
                    <a:pt x="60149" y="211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4" name="Forme libre : forme 1303">
              <a:extLst>
                <a:ext uri="{FF2B5EF4-FFF2-40B4-BE49-F238E27FC236}">
                  <a16:creationId xmlns:a16="http://schemas.microsoft.com/office/drawing/2014/main" id="{46EFB273-913D-41A4-BE13-A8E412E897AD}"/>
                </a:ext>
              </a:extLst>
            </p:cNvPr>
            <p:cNvSpPr/>
            <p:nvPr/>
          </p:nvSpPr>
          <p:spPr>
            <a:xfrm rot="8716295">
              <a:off x="8948102" y="446323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5" name="Forme libre : forme 1304">
              <a:extLst>
                <a:ext uri="{FF2B5EF4-FFF2-40B4-BE49-F238E27FC236}">
                  <a16:creationId xmlns:a16="http://schemas.microsoft.com/office/drawing/2014/main" id="{C8AFD01E-66A1-4775-A3BB-2B5B572FDEF5}"/>
                </a:ext>
              </a:extLst>
            </p:cNvPr>
            <p:cNvSpPr/>
            <p:nvPr/>
          </p:nvSpPr>
          <p:spPr>
            <a:xfrm rot="8716295">
              <a:off x="8791326" y="460881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6" name="Forme libre : forme 1305">
              <a:extLst>
                <a:ext uri="{FF2B5EF4-FFF2-40B4-BE49-F238E27FC236}">
                  <a16:creationId xmlns:a16="http://schemas.microsoft.com/office/drawing/2014/main" id="{C962FDB1-0DD4-43C1-8205-DE0798092D1A}"/>
                </a:ext>
              </a:extLst>
            </p:cNvPr>
            <p:cNvSpPr/>
            <p:nvPr/>
          </p:nvSpPr>
          <p:spPr>
            <a:xfrm rot="8716295">
              <a:off x="8666423" y="440014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7" name="Forme libre : forme 1306">
              <a:extLst>
                <a:ext uri="{FF2B5EF4-FFF2-40B4-BE49-F238E27FC236}">
                  <a16:creationId xmlns:a16="http://schemas.microsoft.com/office/drawing/2014/main" id="{0480D47A-1697-4D7E-813B-FF226D47F8DF}"/>
                </a:ext>
              </a:extLst>
            </p:cNvPr>
            <p:cNvSpPr/>
            <p:nvPr/>
          </p:nvSpPr>
          <p:spPr>
            <a:xfrm rot="8716295">
              <a:off x="8654371" y="426136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8" name="Forme libre : forme 1307">
              <a:extLst>
                <a:ext uri="{FF2B5EF4-FFF2-40B4-BE49-F238E27FC236}">
                  <a16:creationId xmlns:a16="http://schemas.microsoft.com/office/drawing/2014/main" id="{65904141-C75F-433C-BE0F-46087197E036}"/>
                </a:ext>
              </a:extLst>
            </p:cNvPr>
            <p:cNvSpPr/>
            <p:nvPr/>
          </p:nvSpPr>
          <p:spPr>
            <a:xfrm rot="8716295">
              <a:off x="8881504" y="464976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9" name="Forme libre : forme 1308">
              <a:extLst>
                <a:ext uri="{FF2B5EF4-FFF2-40B4-BE49-F238E27FC236}">
                  <a16:creationId xmlns:a16="http://schemas.microsoft.com/office/drawing/2014/main" id="{A0CD19D0-7C1F-40D5-AA23-F68A2F38F994}"/>
                </a:ext>
              </a:extLst>
            </p:cNvPr>
            <p:cNvSpPr/>
            <p:nvPr/>
          </p:nvSpPr>
          <p:spPr>
            <a:xfrm rot="8716295">
              <a:off x="9080425" y="435866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0" name="Forme libre : forme 1309">
              <a:extLst>
                <a:ext uri="{FF2B5EF4-FFF2-40B4-BE49-F238E27FC236}">
                  <a16:creationId xmlns:a16="http://schemas.microsoft.com/office/drawing/2014/main" id="{81CE2624-1FCB-48DB-8B92-3586C59F8F57}"/>
                </a:ext>
              </a:extLst>
            </p:cNvPr>
            <p:cNvSpPr/>
            <p:nvPr/>
          </p:nvSpPr>
          <p:spPr>
            <a:xfrm rot="8716295">
              <a:off x="9127247" y="4438294"/>
              <a:ext cx="21643" cy="52047"/>
            </a:xfrm>
            <a:custGeom>
              <a:avLst/>
              <a:gdLst>
                <a:gd name="connsiteX0" fmla="*/ 21643 w 21643"/>
                <a:gd name="connsiteY0" fmla="*/ 52047 h 52047"/>
                <a:gd name="connsiteX1" fmla="*/ 0 w 21643"/>
                <a:gd name="connsiteY1" fmla="*/ 31224 h 52047"/>
                <a:gd name="connsiteX2" fmla="*/ 21643 w 21643"/>
                <a:gd name="connsiteY2" fmla="*/ 0 h 52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643" h="52047">
                  <a:moveTo>
                    <a:pt x="21643" y="52047"/>
                  </a:moveTo>
                  <a:lnTo>
                    <a:pt x="0" y="31224"/>
                  </a:lnTo>
                  <a:lnTo>
                    <a:pt x="2164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1" name="Forme libre : forme 1310">
              <a:extLst>
                <a:ext uri="{FF2B5EF4-FFF2-40B4-BE49-F238E27FC236}">
                  <a16:creationId xmlns:a16="http://schemas.microsoft.com/office/drawing/2014/main" id="{31C12572-D0CA-4CC0-9BB5-4B6FE0704FA0}"/>
                </a:ext>
              </a:extLst>
            </p:cNvPr>
            <p:cNvSpPr/>
            <p:nvPr/>
          </p:nvSpPr>
          <p:spPr>
            <a:xfrm rot="8716295">
              <a:off x="8929152" y="425001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2" name="Forme libre : forme 1311">
              <a:extLst>
                <a:ext uri="{FF2B5EF4-FFF2-40B4-BE49-F238E27FC236}">
                  <a16:creationId xmlns:a16="http://schemas.microsoft.com/office/drawing/2014/main" id="{06FE0F28-DCFA-4771-A32B-AC14F208D6DB}"/>
                </a:ext>
              </a:extLst>
            </p:cNvPr>
            <p:cNvSpPr/>
            <p:nvPr/>
          </p:nvSpPr>
          <p:spPr>
            <a:xfrm rot="8716295">
              <a:off x="8017038" y="188150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3" name="Forme libre : forme 1312">
              <a:extLst>
                <a:ext uri="{FF2B5EF4-FFF2-40B4-BE49-F238E27FC236}">
                  <a16:creationId xmlns:a16="http://schemas.microsoft.com/office/drawing/2014/main" id="{03B42E83-510C-4BBE-9C20-B941145EA450}"/>
                </a:ext>
              </a:extLst>
            </p:cNvPr>
            <p:cNvSpPr/>
            <p:nvPr/>
          </p:nvSpPr>
          <p:spPr>
            <a:xfrm rot="8716295">
              <a:off x="8106430" y="191074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4" name="Forme libre : forme 1313">
              <a:extLst>
                <a:ext uri="{FF2B5EF4-FFF2-40B4-BE49-F238E27FC236}">
                  <a16:creationId xmlns:a16="http://schemas.microsoft.com/office/drawing/2014/main" id="{E67399C3-F788-46B5-AAA0-190EC08469BC}"/>
                </a:ext>
              </a:extLst>
            </p:cNvPr>
            <p:cNvSpPr/>
            <p:nvPr/>
          </p:nvSpPr>
          <p:spPr>
            <a:xfrm rot="8716295">
              <a:off x="8061580" y="182446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5" name="Forme libre : forme 1314">
              <a:extLst>
                <a:ext uri="{FF2B5EF4-FFF2-40B4-BE49-F238E27FC236}">
                  <a16:creationId xmlns:a16="http://schemas.microsoft.com/office/drawing/2014/main" id="{BD7D0800-7564-4656-8A63-156A029FB19B}"/>
                </a:ext>
              </a:extLst>
            </p:cNvPr>
            <p:cNvSpPr/>
            <p:nvPr/>
          </p:nvSpPr>
          <p:spPr>
            <a:xfrm rot="8716295">
              <a:off x="7904804" y="197004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6" name="Forme libre : forme 1315">
              <a:extLst>
                <a:ext uri="{FF2B5EF4-FFF2-40B4-BE49-F238E27FC236}">
                  <a16:creationId xmlns:a16="http://schemas.microsoft.com/office/drawing/2014/main" id="{E030DE09-FA2D-4210-A1C0-5CFD337D68EF}"/>
                </a:ext>
              </a:extLst>
            </p:cNvPr>
            <p:cNvSpPr/>
            <p:nvPr/>
          </p:nvSpPr>
          <p:spPr>
            <a:xfrm rot="8716295">
              <a:off x="7779901" y="17613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7" name="Forme libre : forme 1316">
              <a:extLst>
                <a:ext uri="{FF2B5EF4-FFF2-40B4-BE49-F238E27FC236}">
                  <a16:creationId xmlns:a16="http://schemas.microsoft.com/office/drawing/2014/main" id="{441C3211-E12F-43F5-818D-D86C03979435}"/>
                </a:ext>
              </a:extLst>
            </p:cNvPr>
            <p:cNvSpPr/>
            <p:nvPr/>
          </p:nvSpPr>
          <p:spPr>
            <a:xfrm rot="8716295">
              <a:off x="7767849" y="162259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8" name="Forme libre : forme 1317">
              <a:extLst>
                <a:ext uri="{FF2B5EF4-FFF2-40B4-BE49-F238E27FC236}">
                  <a16:creationId xmlns:a16="http://schemas.microsoft.com/office/drawing/2014/main" id="{C81B3DBB-390A-4D8F-BC6E-FD3ECDEE0BB0}"/>
                </a:ext>
              </a:extLst>
            </p:cNvPr>
            <p:cNvSpPr/>
            <p:nvPr/>
          </p:nvSpPr>
          <p:spPr>
            <a:xfrm rot="8716295">
              <a:off x="7994982" y="201100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9" name="Forme libre : forme 1318">
              <a:extLst>
                <a:ext uri="{FF2B5EF4-FFF2-40B4-BE49-F238E27FC236}">
                  <a16:creationId xmlns:a16="http://schemas.microsoft.com/office/drawing/2014/main" id="{BFAFB460-4ECD-40BE-A4EC-4006AC399A7C}"/>
                </a:ext>
              </a:extLst>
            </p:cNvPr>
            <p:cNvSpPr/>
            <p:nvPr/>
          </p:nvSpPr>
          <p:spPr>
            <a:xfrm rot="8716295">
              <a:off x="8306137" y="163135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0" name="Forme libre : forme 1319">
              <a:extLst>
                <a:ext uri="{FF2B5EF4-FFF2-40B4-BE49-F238E27FC236}">
                  <a16:creationId xmlns:a16="http://schemas.microsoft.com/office/drawing/2014/main" id="{7B541B2F-C4AD-4DCD-BCB5-5352D9CFB3ED}"/>
                </a:ext>
              </a:extLst>
            </p:cNvPr>
            <p:cNvSpPr/>
            <p:nvPr/>
          </p:nvSpPr>
          <p:spPr>
            <a:xfrm rot="8716295">
              <a:off x="8395529" y="166059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1" name="Forme libre : forme 1320">
              <a:extLst>
                <a:ext uri="{FF2B5EF4-FFF2-40B4-BE49-F238E27FC236}">
                  <a16:creationId xmlns:a16="http://schemas.microsoft.com/office/drawing/2014/main" id="{A45C4522-56D9-451A-9CF4-67FE5A5396B0}"/>
                </a:ext>
              </a:extLst>
            </p:cNvPr>
            <p:cNvSpPr/>
            <p:nvPr/>
          </p:nvSpPr>
          <p:spPr>
            <a:xfrm rot="8716295">
              <a:off x="8193903" y="171989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2" name="Forme libre : forme 1321">
              <a:extLst>
                <a:ext uri="{FF2B5EF4-FFF2-40B4-BE49-F238E27FC236}">
                  <a16:creationId xmlns:a16="http://schemas.microsoft.com/office/drawing/2014/main" id="{E7717817-0555-4B4B-895C-A33E36D53D8F}"/>
                </a:ext>
              </a:extLst>
            </p:cNvPr>
            <p:cNvSpPr/>
            <p:nvPr/>
          </p:nvSpPr>
          <p:spPr>
            <a:xfrm rot="8716295">
              <a:off x="8069001" y="151122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3" name="Forme libre : forme 1322">
              <a:extLst>
                <a:ext uri="{FF2B5EF4-FFF2-40B4-BE49-F238E27FC236}">
                  <a16:creationId xmlns:a16="http://schemas.microsoft.com/office/drawing/2014/main" id="{5BD4E83D-6535-4EE0-A9B7-D5185CFA466C}"/>
                </a:ext>
              </a:extLst>
            </p:cNvPr>
            <p:cNvSpPr/>
            <p:nvPr/>
          </p:nvSpPr>
          <p:spPr>
            <a:xfrm rot="8716295">
              <a:off x="8284081" y="176084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4" name="Forme libre : forme 1323">
              <a:extLst>
                <a:ext uri="{FF2B5EF4-FFF2-40B4-BE49-F238E27FC236}">
                  <a16:creationId xmlns:a16="http://schemas.microsoft.com/office/drawing/2014/main" id="{550B4B31-795C-4AC8-BA83-B9758B5300F7}"/>
                </a:ext>
              </a:extLst>
            </p:cNvPr>
            <p:cNvSpPr/>
            <p:nvPr/>
          </p:nvSpPr>
          <p:spPr>
            <a:xfrm rot="8716295">
              <a:off x="8042630" y="161124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5" name="Forme libre : forme 1324">
              <a:extLst>
                <a:ext uri="{FF2B5EF4-FFF2-40B4-BE49-F238E27FC236}">
                  <a16:creationId xmlns:a16="http://schemas.microsoft.com/office/drawing/2014/main" id="{7AE347C2-0FF0-43F2-9E07-9395DE30E665}"/>
                </a:ext>
              </a:extLst>
            </p:cNvPr>
            <p:cNvSpPr/>
            <p:nvPr/>
          </p:nvSpPr>
          <p:spPr>
            <a:xfrm rot="7484129">
              <a:off x="8389012" y="195220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6" name="Forme libre : forme 1325">
              <a:extLst>
                <a:ext uri="{FF2B5EF4-FFF2-40B4-BE49-F238E27FC236}">
                  <a16:creationId xmlns:a16="http://schemas.microsoft.com/office/drawing/2014/main" id="{D3A4F277-D48F-4980-838D-133EBFE3B58C}"/>
                </a:ext>
              </a:extLst>
            </p:cNvPr>
            <p:cNvSpPr/>
            <p:nvPr/>
          </p:nvSpPr>
          <p:spPr>
            <a:xfrm rot="13089394">
              <a:off x="8493832" y="191873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7" name="Forme libre : forme 1326">
              <a:extLst>
                <a:ext uri="{FF2B5EF4-FFF2-40B4-BE49-F238E27FC236}">
                  <a16:creationId xmlns:a16="http://schemas.microsoft.com/office/drawing/2014/main" id="{F44857BA-0E6D-444C-8130-0CFA8DA44B30}"/>
                </a:ext>
              </a:extLst>
            </p:cNvPr>
            <p:cNvSpPr/>
            <p:nvPr/>
          </p:nvSpPr>
          <p:spPr>
            <a:xfrm rot="8716295">
              <a:off x="8679417" y="172705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8" name="Forme libre : forme 1327">
              <a:extLst>
                <a:ext uri="{FF2B5EF4-FFF2-40B4-BE49-F238E27FC236}">
                  <a16:creationId xmlns:a16="http://schemas.microsoft.com/office/drawing/2014/main" id="{D4C84979-7E73-4B70-A159-042D83A98EA4}"/>
                </a:ext>
              </a:extLst>
            </p:cNvPr>
            <p:cNvSpPr/>
            <p:nvPr/>
          </p:nvSpPr>
          <p:spPr>
            <a:xfrm rot="8716295">
              <a:off x="8627612" y="162346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9" name="Forme libre : forme 1328">
              <a:extLst>
                <a:ext uri="{FF2B5EF4-FFF2-40B4-BE49-F238E27FC236}">
                  <a16:creationId xmlns:a16="http://schemas.microsoft.com/office/drawing/2014/main" id="{C1D10C79-BBC0-4738-9EE2-1E8709B72D7D}"/>
                </a:ext>
              </a:extLst>
            </p:cNvPr>
            <p:cNvSpPr/>
            <p:nvPr/>
          </p:nvSpPr>
          <p:spPr>
            <a:xfrm rot="8716295">
              <a:off x="8384366" y="165368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0" name="Forme libre : forme 1329">
              <a:extLst>
                <a:ext uri="{FF2B5EF4-FFF2-40B4-BE49-F238E27FC236}">
                  <a16:creationId xmlns:a16="http://schemas.microsoft.com/office/drawing/2014/main" id="{84968DC1-9DA6-4257-AB15-0940E818C029}"/>
                </a:ext>
              </a:extLst>
            </p:cNvPr>
            <p:cNvSpPr/>
            <p:nvPr/>
          </p:nvSpPr>
          <p:spPr>
            <a:xfrm rot="8716295">
              <a:off x="8561818" y="149443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1" name="Forme libre : forme 1330">
              <a:extLst>
                <a:ext uri="{FF2B5EF4-FFF2-40B4-BE49-F238E27FC236}">
                  <a16:creationId xmlns:a16="http://schemas.microsoft.com/office/drawing/2014/main" id="{259462E3-1804-418C-9BF0-9C34C3096E62}"/>
                </a:ext>
              </a:extLst>
            </p:cNvPr>
            <p:cNvSpPr/>
            <p:nvPr/>
          </p:nvSpPr>
          <p:spPr>
            <a:xfrm rot="8716295">
              <a:off x="7793871" y="122180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2" name="Forme libre : forme 1331">
              <a:extLst>
                <a:ext uri="{FF2B5EF4-FFF2-40B4-BE49-F238E27FC236}">
                  <a16:creationId xmlns:a16="http://schemas.microsoft.com/office/drawing/2014/main" id="{7B2E794A-058D-4204-8976-C2253563124B}"/>
                </a:ext>
              </a:extLst>
            </p:cNvPr>
            <p:cNvSpPr/>
            <p:nvPr/>
          </p:nvSpPr>
          <p:spPr>
            <a:xfrm rot="8716295">
              <a:off x="7883263" y="125104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3" name="Forme libre : forme 1332">
              <a:extLst>
                <a:ext uri="{FF2B5EF4-FFF2-40B4-BE49-F238E27FC236}">
                  <a16:creationId xmlns:a16="http://schemas.microsoft.com/office/drawing/2014/main" id="{31CF00F1-0460-4F25-BB21-EB3DEDFBD98D}"/>
                </a:ext>
              </a:extLst>
            </p:cNvPr>
            <p:cNvSpPr/>
            <p:nvPr/>
          </p:nvSpPr>
          <p:spPr>
            <a:xfrm rot="8716295">
              <a:off x="7838413" y="1164768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4" name="Forme libre : forme 1333">
              <a:extLst>
                <a:ext uri="{FF2B5EF4-FFF2-40B4-BE49-F238E27FC236}">
                  <a16:creationId xmlns:a16="http://schemas.microsoft.com/office/drawing/2014/main" id="{BCBED745-150E-4526-8568-62C6BF9E77BE}"/>
                </a:ext>
              </a:extLst>
            </p:cNvPr>
            <p:cNvSpPr/>
            <p:nvPr/>
          </p:nvSpPr>
          <p:spPr>
            <a:xfrm rot="8716295">
              <a:off x="7681637" y="131035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5" name="Forme libre : forme 1334">
              <a:extLst>
                <a:ext uri="{FF2B5EF4-FFF2-40B4-BE49-F238E27FC236}">
                  <a16:creationId xmlns:a16="http://schemas.microsoft.com/office/drawing/2014/main" id="{4F66BBCB-B640-4584-ADDB-9A235DECC828}"/>
                </a:ext>
              </a:extLst>
            </p:cNvPr>
            <p:cNvSpPr/>
            <p:nvPr/>
          </p:nvSpPr>
          <p:spPr>
            <a:xfrm rot="8716295">
              <a:off x="7556734" y="110167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6" name="Forme libre : forme 1335">
              <a:extLst>
                <a:ext uri="{FF2B5EF4-FFF2-40B4-BE49-F238E27FC236}">
                  <a16:creationId xmlns:a16="http://schemas.microsoft.com/office/drawing/2014/main" id="{E6E36EEB-8827-4842-B89F-26523D1637B2}"/>
                </a:ext>
              </a:extLst>
            </p:cNvPr>
            <p:cNvSpPr/>
            <p:nvPr/>
          </p:nvSpPr>
          <p:spPr>
            <a:xfrm rot="8716295">
              <a:off x="7544682" y="962897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7" name="Forme libre : forme 1336">
              <a:extLst>
                <a:ext uri="{FF2B5EF4-FFF2-40B4-BE49-F238E27FC236}">
                  <a16:creationId xmlns:a16="http://schemas.microsoft.com/office/drawing/2014/main" id="{ECE47C5C-3D06-4911-A1DE-543CB20F5396}"/>
                </a:ext>
              </a:extLst>
            </p:cNvPr>
            <p:cNvSpPr/>
            <p:nvPr/>
          </p:nvSpPr>
          <p:spPr>
            <a:xfrm rot="8716295">
              <a:off x="7771815" y="1351302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8" name="Forme libre : forme 1337">
              <a:extLst>
                <a:ext uri="{FF2B5EF4-FFF2-40B4-BE49-F238E27FC236}">
                  <a16:creationId xmlns:a16="http://schemas.microsoft.com/office/drawing/2014/main" id="{8CC68F11-D64D-4203-A8DD-898BE62FB0FE}"/>
                </a:ext>
              </a:extLst>
            </p:cNvPr>
            <p:cNvSpPr/>
            <p:nvPr/>
          </p:nvSpPr>
          <p:spPr>
            <a:xfrm rot="8716295">
              <a:off x="8082970" y="97165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9" name="Forme libre : forme 1338">
              <a:extLst>
                <a:ext uri="{FF2B5EF4-FFF2-40B4-BE49-F238E27FC236}">
                  <a16:creationId xmlns:a16="http://schemas.microsoft.com/office/drawing/2014/main" id="{1B97A536-69CC-493F-9F28-150068FA4CCA}"/>
                </a:ext>
              </a:extLst>
            </p:cNvPr>
            <p:cNvSpPr/>
            <p:nvPr/>
          </p:nvSpPr>
          <p:spPr>
            <a:xfrm rot="8716295">
              <a:off x="8172362" y="100089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0" name="Forme libre : forme 1339">
              <a:extLst>
                <a:ext uri="{FF2B5EF4-FFF2-40B4-BE49-F238E27FC236}">
                  <a16:creationId xmlns:a16="http://schemas.microsoft.com/office/drawing/2014/main" id="{CCB2D551-0206-4F5E-9C9A-7BFB60BB3657}"/>
                </a:ext>
              </a:extLst>
            </p:cNvPr>
            <p:cNvSpPr/>
            <p:nvPr/>
          </p:nvSpPr>
          <p:spPr>
            <a:xfrm rot="8716295">
              <a:off x="7970736" y="106019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1" name="Forme libre : forme 1340">
              <a:extLst>
                <a:ext uri="{FF2B5EF4-FFF2-40B4-BE49-F238E27FC236}">
                  <a16:creationId xmlns:a16="http://schemas.microsoft.com/office/drawing/2014/main" id="{9A449D56-39AF-4FEE-8AA3-483E9E2127DF}"/>
                </a:ext>
              </a:extLst>
            </p:cNvPr>
            <p:cNvSpPr/>
            <p:nvPr/>
          </p:nvSpPr>
          <p:spPr>
            <a:xfrm rot="8716295">
              <a:off x="7845834" y="85152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2" name="Forme libre : forme 1341">
              <a:extLst>
                <a:ext uri="{FF2B5EF4-FFF2-40B4-BE49-F238E27FC236}">
                  <a16:creationId xmlns:a16="http://schemas.microsoft.com/office/drawing/2014/main" id="{2C1F0455-4C7C-4E73-A620-001FD7ED9AB5}"/>
                </a:ext>
              </a:extLst>
            </p:cNvPr>
            <p:cNvSpPr/>
            <p:nvPr/>
          </p:nvSpPr>
          <p:spPr>
            <a:xfrm rot="8716295">
              <a:off x="8060914" y="1101150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3" name="Forme libre : forme 1342">
              <a:extLst>
                <a:ext uri="{FF2B5EF4-FFF2-40B4-BE49-F238E27FC236}">
                  <a16:creationId xmlns:a16="http://schemas.microsoft.com/office/drawing/2014/main" id="{41DB3307-8152-4BE9-B762-06FE2A91823A}"/>
                </a:ext>
              </a:extLst>
            </p:cNvPr>
            <p:cNvSpPr/>
            <p:nvPr/>
          </p:nvSpPr>
          <p:spPr>
            <a:xfrm rot="8716295">
              <a:off x="7819463" y="951550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4" name="Forme libre : forme 1343">
              <a:extLst>
                <a:ext uri="{FF2B5EF4-FFF2-40B4-BE49-F238E27FC236}">
                  <a16:creationId xmlns:a16="http://schemas.microsoft.com/office/drawing/2014/main" id="{2DB83C87-A139-49A9-B6AB-1102034F7247}"/>
                </a:ext>
              </a:extLst>
            </p:cNvPr>
            <p:cNvSpPr/>
            <p:nvPr/>
          </p:nvSpPr>
          <p:spPr>
            <a:xfrm rot="7484129">
              <a:off x="8165845" y="129250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5" name="Forme libre : forme 1344">
              <a:extLst>
                <a:ext uri="{FF2B5EF4-FFF2-40B4-BE49-F238E27FC236}">
                  <a16:creationId xmlns:a16="http://schemas.microsoft.com/office/drawing/2014/main" id="{11C329AE-CBAF-4CCB-B99D-3F22C888BA7C}"/>
                </a:ext>
              </a:extLst>
            </p:cNvPr>
            <p:cNvSpPr/>
            <p:nvPr/>
          </p:nvSpPr>
          <p:spPr>
            <a:xfrm rot="13089394">
              <a:off x="8270665" y="1259035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6" name="Forme libre : forme 1345">
              <a:extLst>
                <a:ext uri="{FF2B5EF4-FFF2-40B4-BE49-F238E27FC236}">
                  <a16:creationId xmlns:a16="http://schemas.microsoft.com/office/drawing/2014/main" id="{E706AB59-2595-41B4-8522-59590F4D9699}"/>
                </a:ext>
              </a:extLst>
            </p:cNvPr>
            <p:cNvSpPr/>
            <p:nvPr/>
          </p:nvSpPr>
          <p:spPr>
            <a:xfrm rot="8716295">
              <a:off x="8456250" y="1067354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7" name="Forme libre : forme 1346">
              <a:extLst>
                <a:ext uri="{FF2B5EF4-FFF2-40B4-BE49-F238E27FC236}">
                  <a16:creationId xmlns:a16="http://schemas.microsoft.com/office/drawing/2014/main" id="{8B218DA3-4C20-417B-B0EF-ABDFE6AB8CC6}"/>
                </a:ext>
              </a:extLst>
            </p:cNvPr>
            <p:cNvSpPr/>
            <p:nvPr/>
          </p:nvSpPr>
          <p:spPr>
            <a:xfrm rot="8716295">
              <a:off x="8404445" y="96376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8" name="Forme libre : forme 1347">
              <a:extLst>
                <a:ext uri="{FF2B5EF4-FFF2-40B4-BE49-F238E27FC236}">
                  <a16:creationId xmlns:a16="http://schemas.microsoft.com/office/drawing/2014/main" id="{377AE419-7F42-4BED-883F-DE4817AED47F}"/>
                </a:ext>
              </a:extLst>
            </p:cNvPr>
            <p:cNvSpPr/>
            <p:nvPr/>
          </p:nvSpPr>
          <p:spPr>
            <a:xfrm rot="8716295">
              <a:off x="8161199" y="99398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9" name="Forme libre : forme 1348">
              <a:extLst>
                <a:ext uri="{FF2B5EF4-FFF2-40B4-BE49-F238E27FC236}">
                  <a16:creationId xmlns:a16="http://schemas.microsoft.com/office/drawing/2014/main" id="{7E83A637-26B0-46B8-8EFD-0E2059469BCD}"/>
                </a:ext>
              </a:extLst>
            </p:cNvPr>
            <p:cNvSpPr/>
            <p:nvPr/>
          </p:nvSpPr>
          <p:spPr>
            <a:xfrm rot="8716295">
              <a:off x="8338651" y="83474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0" name="Forme libre : forme 1349">
              <a:extLst>
                <a:ext uri="{FF2B5EF4-FFF2-40B4-BE49-F238E27FC236}">
                  <a16:creationId xmlns:a16="http://schemas.microsoft.com/office/drawing/2014/main" id="{C18F78D3-27CA-4FE7-8D10-288FCA710C52}"/>
                </a:ext>
              </a:extLst>
            </p:cNvPr>
            <p:cNvSpPr/>
            <p:nvPr/>
          </p:nvSpPr>
          <p:spPr>
            <a:xfrm rot="8716295">
              <a:off x="7574932" y="55974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1" name="Forme libre : forme 1350">
              <a:extLst>
                <a:ext uri="{FF2B5EF4-FFF2-40B4-BE49-F238E27FC236}">
                  <a16:creationId xmlns:a16="http://schemas.microsoft.com/office/drawing/2014/main" id="{A924F1C2-2B76-450B-9A77-8646D18AD03B}"/>
                </a:ext>
              </a:extLst>
            </p:cNvPr>
            <p:cNvSpPr/>
            <p:nvPr/>
          </p:nvSpPr>
          <p:spPr>
            <a:xfrm rot="8716295">
              <a:off x="7664324" y="58899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2" name="Forme libre : forme 1351">
              <a:extLst>
                <a:ext uri="{FF2B5EF4-FFF2-40B4-BE49-F238E27FC236}">
                  <a16:creationId xmlns:a16="http://schemas.microsoft.com/office/drawing/2014/main" id="{60DD2207-E931-4D7C-9A6C-4E56F5350FC4}"/>
                </a:ext>
              </a:extLst>
            </p:cNvPr>
            <p:cNvSpPr/>
            <p:nvPr/>
          </p:nvSpPr>
          <p:spPr>
            <a:xfrm rot="8716295">
              <a:off x="7619474" y="50271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3" name="Forme libre : forme 1352">
              <a:extLst>
                <a:ext uri="{FF2B5EF4-FFF2-40B4-BE49-F238E27FC236}">
                  <a16:creationId xmlns:a16="http://schemas.microsoft.com/office/drawing/2014/main" id="{689E2E49-7D57-46D6-AA9A-1A26E7895ACE}"/>
                </a:ext>
              </a:extLst>
            </p:cNvPr>
            <p:cNvSpPr/>
            <p:nvPr/>
          </p:nvSpPr>
          <p:spPr>
            <a:xfrm rot="8716295">
              <a:off x="7462698" y="64829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4" name="Forme libre : forme 1353">
              <a:extLst>
                <a:ext uri="{FF2B5EF4-FFF2-40B4-BE49-F238E27FC236}">
                  <a16:creationId xmlns:a16="http://schemas.microsoft.com/office/drawing/2014/main" id="{E762F27D-A5ED-44DC-B200-6B930738C39C}"/>
                </a:ext>
              </a:extLst>
            </p:cNvPr>
            <p:cNvSpPr/>
            <p:nvPr/>
          </p:nvSpPr>
          <p:spPr>
            <a:xfrm rot="8716295">
              <a:off x="7337795" y="43961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5" name="Forme libre : forme 1354">
              <a:extLst>
                <a:ext uri="{FF2B5EF4-FFF2-40B4-BE49-F238E27FC236}">
                  <a16:creationId xmlns:a16="http://schemas.microsoft.com/office/drawing/2014/main" id="{CE2E4ED8-7B2D-48C9-B5B5-5ED6C2B0B006}"/>
                </a:ext>
              </a:extLst>
            </p:cNvPr>
            <p:cNvSpPr/>
            <p:nvPr/>
          </p:nvSpPr>
          <p:spPr>
            <a:xfrm rot="8716295">
              <a:off x="7325743" y="300839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6" name="Forme libre : forme 1355">
              <a:extLst>
                <a:ext uri="{FF2B5EF4-FFF2-40B4-BE49-F238E27FC236}">
                  <a16:creationId xmlns:a16="http://schemas.microsoft.com/office/drawing/2014/main" id="{9FB8DA68-5ABC-4DC0-834A-BDB943EA68FB}"/>
                </a:ext>
              </a:extLst>
            </p:cNvPr>
            <p:cNvSpPr/>
            <p:nvPr/>
          </p:nvSpPr>
          <p:spPr>
            <a:xfrm rot="8716295">
              <a:off x="7552876" y="68924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7" name="Forme libre : forme 1356">
              <a:extLst>
                <a:ext uri="{FF2B5EF4-FFF2-40B4-BE49-F238E27FC236}">
                  <a16:creationId xmlns:a16="http://schemas.microsoft.com/office/drawing/2014/main" id="{2532A1A1-AFF9-4E4A-AE61-85F94FA9A1F0}"/>
                </a:ext>
              </a:extLst>
            </p:cNvPr>
            <p:cNvSpPr/>
            <p:nvPr/>
          </p:nvSpPr>
          <p:spPr>
            <a:xfrm rot="8716295">
              <a:off x="7864031" y="30959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8" name="Forme libre : forme 1357">
              <a:extLst>
                <a:ext uri="{FF2B5EF4-FFF2-40B4-BE49-F238E27FC236}">
                  <a16:creationId xmlns:a16="http://schemas.microsoft.com/office/drawing/2014/main" id="{DED91229-5351-48DF-B7EF-4609E3893D59}"/>
                </a:ext>
              </a:extLst>
            </p:cNvPr>
            <p:cNvSpPr/>
            <p:nvPr/>
          </p:nvSpPr>
          <p:spPr>
            <a:xfrm rot="8716295">
              <a:off x="7953423" y="33883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9" name="Forme libre : forme 1358">
              <a:extLst>
                <a:ext uri="{FF2B5EF4-FFF2-40B4-BE49-F238E27FC236}">
                  <a16:creationId xmlns:a16="http://schemas.microsoft.com/office/drawing/2014/main" id="{F6DE1FE8-6182-462A-B540-3AB721D4880E}"/>
                </a:ext>
              </a:extLst>
            </p:cNvPr>
            <p:cNvSpPr/>
            <p:nvPr/>
          </p:nvSpPr>
          <p:spPr>
            <a:xfrm rot="8716295">
              <a:off x="7751797" y="39814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0" name="Forme libre : forme 1359">
              <a:extLst>
                <a:ext uri="{FF2B5EF4-FFF2-40B4-BE49-F238E27FC236}">
                  <a16:creationId xmlns:a16="http://schemas.microsoft.com/office/drawing/2014/main" id="{2928CCE2-867E-4FA8-A555-51BA581DB6E0}"/>
                </a:ext>
              </a:extLst>
            </p:cNvPr>
            <p:cNvSpPr/>
            <p:nvPr/>
          </p:nvSpPr>
          <p:spPr>
            <a:xfrm rot="8716295">
              <a:off x="7626895" y="18946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1" name="Forme libre : forme 1360">
              <a:extLst>
                <a:ext uri="{FF2B5EF4-FFF2-40B4-BE49-F238E27FC236}">
                  <a16:creationId xmlns:a16="http://schemas.microsoft.com/office/drawing/2014/main" id="{055FDC26-CCE7-48FF-9A8C-B56F5E68D13A}"/>
                </a:ext>
              </a:extLst>
            </p:cNvPr>
            <p:cNvSpPr/>
            <p:nvPr/>
          </p:nvSpPr>
          <p:spPr>
            <a:xfrm rot="8716295">
              <a:off x="7841975" y="43909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2" name="Forme libre : forme 1361">
              <a:extLst>
                <a:ext uri="{FF2B5EF4-FFF2-40B4-BE49-F238E27FC236}">
                  <a16:creationId xmlns:a16="http://schemas.microsoft.com/office/drawing/2014/main" id="{988F6F8A-D004-4539-900F-79E6C75585ED}"/>
                </a:ext>
              </a:extLst>
            </p:cNvPr>
            <p:cNvSpPr/>
            <p:nvPr/>
          </p:nvSpPr>
          <p:spPr>
            <a:xfrm rot="8716295">
              <a:off x="7600524" y="28949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3" name="Forme libre : forme 1362">
              <a:extLst>
                <a:ext uri="{FF2B5EF4-FFF2-40B4-BE49-F238E27FC236}">
                  <a16:creationId xmlns:a16="http://schemas.microsoft.com/office/drawing/2014/main" id="{4FDA5393-01D2-4137-A7AE-DC3D20BA6CB3}"/>
                </a:ext>
              </a:extLst>
            </p:cNvPr>
            <p:cNvSpPr/>
            <p:nvPr/>
          </p:nvSpPr>
          <p:spPr>
            <a:xfrm rot="7484129">
              <a:off x="7946906" y="63044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4" name="Forme libre : forme 1363">
              <a:extLst>
                <a:ext uri="{FF2B5EF4-FFF2-40B4-BE49-F238E27FC236}">
                  <a16:creationId xmlns:a16="http://schemas.microsoft.com/office/drawing/2014/main" id="{B758289F-AE2B-40D9-A572-42C3517F5AA9}"/>
                </a:ext>
              </a:extLst>
            </p:cNvPr>
            <p:cNvSpPr/>
            <p:nvPr/>
          </p:nvSpPr>
          <p:spPr>
            <a:xfrm rot="13089394">
              <a:off x="8051726" y="596977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5" name="Forme libre : forme 1364">
              <a:extLst>
                <a:ext uri="{FF2B5EF4-FFF2-40B4-BE49-F238E27FC236}">
                  <a16:creationId xmlns:a16="http://schemas.microsoft.com/office/drawing/2014/main" id="{ED6E2519-7C8C-4C17-B032-71686AF10CAE}"/>
                </a:ext>
              </a:extLst>
            </p:cNvPr>
            <p:cNvSpPr/>
            <p:nvPr/>
          </p:nvSpPr>
          <p:spPr>
            <a:xfrm rot="8716295">
              <a:off x="8237311" y="405296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6" name="Forme libre : forme 1365">
              <a:extLst>
                <a:ext uri="{FF2B5EF4-FFF2-40B4-BE49-F238E27FC236}">
                  <a16:creationId xmlns:a16="http://schemas.microsoft.com/office/drawing/2014/main" id="{8B98362B-5544-455D-AD14-4D640A01A342}"/>
                </a:ext>
              </a:extLst>
            </p:cNvPr>
            <p:cNvSpPr/>
            <p:nvPr/>
          </p:nvSpPr>
          <p:spPr>
            <a:xfrm rot="8716295">
              <a:off x="8185506" y="30170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7" name="Forme libre : forme 1366">
              <a:extLst>
                <a:ext uri="{FF2B5EF4-FFF2-40B4-BE49-F238E27FC236}">
                  <a16:creationId xmlns:a16="http://schemas.microsoft.com/office/drawing/2014/main" id="{25F3D004-02E6-4757-8DE0-F470300CA68C}"/>
                </a:ext>
              </a:extLst>
            </p:cNvPr>
            <p:cNvSpPr/>
            <p:nvPr/>
          </p:nvSpPr>
          <p:spPr>
            <a:xfrm rot="8716295">
              <a:off x="7942260" y="33192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8" name="Forme libre : forme 1367">
              <a:extLst>
                <a:ext uri="{FF2B5EF4-FFF2-40B4-BE49-F238E27FC236}">
                  <a16:creationId xmlns:a16="http://schemas.microsoft.com/office/drawing/2014/main" id="{D4EFEE6B-69F7-42E4-9007-3A49D0282381}"/>
                </a:ext>
              </a:extLst>
            </p:cNvPr>
            <p:cNvSpPr/>
            <p:nvPr/>
          </p:nvSpPr>
          <p:spPr>
            <a:xfrm rot="8716295">
              <a:off x="8119712" y="17268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9" name="Forme libre : forme 1368">
              <a:extLst>
                <a:ext uri="{FF2B5EF4-FFF2-40B4-BE49-F238E27FC236}">
                  <a16:creationId xmlns:a16="http://schemas.microsoft.com/office/drawing/2014/main" id="{AF4B2206-0455-407E-9842-620BA12D9F9F}"/>
                </a:ext>
              </a:extLst>
            </p:cNvPr>
            <p:cNvSpPr/>
            <p:nvPr/>
          </p:nvSpPr>
          <p:spPr>
            <a:xfrm rot="8716295">
              <a:off x="7366062" y="-56618"/>
              <a:ext cx="142168" cy="181024"/>
            </a:xfrm>
            <a:custGeom>
              <a:avLst/>
              <a:gdLst>
                <a:gd name="connsiteX0" fmla="*/ 142168 w 142168"/>
                <a:gd name="connsiteY0" fmla="*/ 181024 h 181024"/>
                <a:gd name="connsiteX1" fmla="*/ 81108 w 142168"/>
                <a:gd name="connsiteY1" fmla="*/ 138700 h 181024"/>
                <a:gd name="connsiteX2" fmla="*/ 81108 w 142168"/>
                <a:gd name="connsiteY2" fmla="*/ 69717 h 181024"/>
                <a:gd name="connsiteX3" fmla="*/ 81108 w 142168"/>
                <a:gd name="connsiteY3" fmla="*/ 65616 h 181024"/>
                <a:gd name="connsiteX4" fmla="*/ 60604 w 142168"/>
                <a:gd name="connsiteY4" fmla="*/ 50123 h 181024"/>
                <a:gd name="connsiteX5" fmla="*/ 0 w 142168"/>
                <a:gd name="connsiteY5" fmla="*/ 50123 h 181024"/>
                <a:gd name="connsiteX6" fmla="*/ 0 w 142168"/>
                <a:gd name="connsiteY6" fmla="*/ 0 h 181024"/>
                <a:gd name="connsiteX7" fmla="*/ 85209 w 142168"/>
                <a:gd name="connsiteY7" fmla="*/ 0 h 181024"/>
                <a:gd name="connsiteX8" fmla="*/ 142167 w 142168"/>
                <a:gd name="connsiteY8" fmla="*/ 50123 h 18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8" h="181024">
                  <a:moveTo>
                    <a:pt x="142168" y="181024"/>
                  </a:moveTo>
                  <a:lnTo>
                    <a:pt x="81108" y="138700"/>
                  </a:lnTo>
                  <a:lnTo>
                    <a:pt x="81108" y="69717"/>
                  </a:lnTo>
                  <a:cubicBezTo>
                    <a:pt x="81108" y="68349"/>
                    <a:pt x="81108" y="66983"/>
                    <a:pt x="81108" y="65616"/>
                  </a:cubicBezTo>
                  <a:cubicBezTo>
                    <a:pt x="79741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9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0" name="Forme libre : forme 1369">
              <a:extLst>
                <a:ext uri="{FF2B5EF4-FFF2-40B4-BE49-F238E27FC236}">
                  <a16:creationId xmlns:a16="http://schemas.microsoft.com/office/drawing/2014/main" id="{60AE319B-5FB3-4EAD-96BF-8E2F415B0911}"/>
                </a:ext>
              </a:extLst>
            </p:cNvPr>
            <p:cNvSpPr/>
            <p:nvPr/>
          </p:nvSpPr>
          <p:spPr>
            <a:xfrm rot="8716295">
              <a:off x="7462482" y="-4908"/>
              <a:ext cx="260639" cy="174584"/>
            </a:xfrm>
            <a:custGeom>
              <a:avLst/>
              <a:gdLst>
                <a:gd name="connsiteX0" fmla="*/ 111638 w 260639"/>
                <a:gd name="connsiteY0" fmla="*/ 174584 h 174584"/>
                <a:gd name="connsiteX1" fmla="*/ 51490 w 260639"/>
                <a:gd name="connsiteY1" fmla="*/ 132891 h 174584"/>
                <a:gd name="connsiteX2" fmla="*/ 51490 w 260639"/>
                <a:gd name="connsiteY2" fmla="*/ 45624 h 174584"/>
                <a:gd name="connsiteX3" fmla="*/ 0 w 260639"/>
                <a:gd name="connsiteY3" fmla="*/ 45624 h 174584"/>
                <a:gd name="connsiteX4" fmla="*/ 0 w 260639"/>
                <a:gd name="connsiteY4" fmla="*/ 1425 h 174584"/>
                <a:gd name="connsiteX5" fmla="*/ 104803 w 260639"/>
                <a:gd name="connsiteY5" fmla="*/ 1425 h 174584"/>
                <a:gd name="connsiteX6" fmla="*/ 104803 w 260639"/>
                <a:gd name="connsiteY6" fmla="*/ 75242 h 174584"/>
                <a:gd name="connsiteX7" fmla="*/ 106169 w 260639"/>
                <a:gd name="connsiteY7" fmla="*/ 75242 h 174584"/>
                <a:gd name="connsiteX8" fmla="*/ 154014 w 260639"/>
                <a:gd name="connsiteY8" fmla="*/ 5981 h 174584"/>
                <a:gd name="connsiteX9" fmla="*/ 185455 w 260639"/>
                <a:gd name="connsiteY9" fmla="*/ 57 h 174584"/>
                <a:gd name="connsiteX10" fmla="*/ 260639 w 260639"/>
                <a:gd name="connsiteY10" fmla="*/ 88456 h 174584"/>
                <a:gd name="connsiteX11" fmla="*/ 260639 w 260639"/>
                <a:gd name="connsiteY11" fmla="*/ 94380 h 174584"/>
                <a:gd name="connsiteX12" fmla="*/ 198669 w 260639"/>
                <a:gd name="connsiteY12" fmla="*/ 98025 h 174584"/>
                <a:gd name="connsiteX13" fmla="*/ 198669 w 260639"/>
                <a:gd name="connsiteY13" fmla="*/ 81621 h 174584"/>
                <a:gd name="connsiteX14" fmla="*/ 164950 w 260639"/>
                <a:gd name="connsiteY14" fmla="*/ 40156 h 174584"/>
                <a:gd name="connsiteX15" fmla="*/ 111638 w 260639"/>
                <a:gd name="connsiteY15" fmla="*/ 127643 h 174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0639" h="174584">
                  <a:moveTo>
                    <a:pt x="111638" y="174584"/>
                  </a:moveTo>
                  <a:lnTo>
                    <a:pt x="51490" y="132891"/>
                  </a:ln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5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1" name="Forme libre : forme 1370">
              <a:extLst>
                <a:ext uri="{FF2B5EF4-FFF2-40B4-BE49-F238E27FC236}">
                  <a16:creationId xmlns:a16="http://schemas.microsoft.com/office/drawing/2014/main" id="{9DF7A270-CA19-4125-81C5-D8ACDF29EE64}"/>
                </a:ext>
              </a:extLst>
            </p:cNvPr>
            <p:cNvSpPr/>
            <p:nvPr/>
          </p:nvSpPr>
          <p:spPr>
            <a:xfrm rot="8716295">
              <a:off x="7443082" y="-10146"/>
              <a:ext cx="28973" cy="21279"/>
            </a:xfrm>
            <a:custGeom>
              <a:avLst/>
              <a:gdLst>
                <a:gd name="connsiteX0" fmla="*/ 28973 w 28973"/>
                <a:gd name="connsiteY0" fmla="*/ 21279 h 21279"/>
                <a:gd name="connsiteX1" fmla="*/ 0 w 28973"/>
                <a:gd name="connsiteY1" fmla="*/ 1196 h 21279"/>
                <a:gd name="connsiteX2" fmla="*/ 4022 w 28973"/>
                <a:gd name="connsiteY2" fmla="*/ 0 h 21279"/>
                <a:gd name="connsiteX3" fmla="*/ 26350 w 28973"/>
                <a:gd name="connsiteY3" fmla="*/ 11392 h 21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973" h="21279">
                  <a:moveTo>
                    <a:pt x="28973" y="21279"/>
                  </a:moveTo>
                  <a:lnTo>
                    <a:pt x="0" y="1196"/>
                  </a:lnTo>
                  <a:lnTo>
                    <a:pt x="4022" y="0"/>
                  </a:lnTo>
                  <a:cubicBezTo>
                    <a:pt x="14958" y="0"/>
                    <a:pt x="22021" y="4785"/>
                    <a:pt x="26350" y="113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2" name="Forme libre : forme 1371">
              <a:extLst>
                <a:ext uri="{FF2B5EF4-FFF2-40B4-BE49-F238E27FC236}">
                  <a16:creationId xmlns:a16="http://schemas.microsoft.com/office/drawing/2014/main" id="{3D6704E2-4C91-48C3-B5AB-B19397D56649}"/>
                </a:ext>
              </a:extLst>
            </p:cNvPr>
            <p:cNvSpPr/>
            <p:nvPr/>
          </p:nvSpPr>
          <p:spPr>
            <a:xfrm rot="8716295">
              <a:off x="7237548" y="-11765"/>
              <a:ext cx="56281" cy="52701"/>
            </a:xfrm>
            <a:custGeom>
              <a:avLst/>
              <a:gdLst>
                <a:gd name="connsiteX0" fmla="*/ 40554 w 56281"/>
                <a:gd name="connsiteY0" fmla="*/ 52701 h 52701"/>
                <a:gd name="connsiteX1" fmla="*/ 0 w 56281"/>
                <a:gd name="connsiteY1" fmla="*/ 24591 h 52701"/>
                <a:gd name="connsiteX2" fmla="*/ 6728 w 56281"/>
                <a:gd name="connsiteY2" fmla="*/ 8658 h 52701"/>
                <a:gd name="connsiteX3" fmla="*/ 27232 w 56281"/>
                <a:gd name="connsiteY3" fmla="*/ 0 h 52701"/>
                <a:gd name="connsiteX4" fmla="*/ 47738 w 56281"/>
                <a:gd name="connsiteY4" fmla="*/ 8658 h 52701"/>
                <a:gd name="connsiteX5" fmla="*/ 47738 w 56281"/>
                <a:gd name="connsiteY5" fmla="*/ 49668 h 52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281" h="52701">
                  <a:moveTo>
                    <a:pt x="40554" y="52701"/>
                  </a:moveTo>
                  <a:lnTo>
                    <a:pt x="0" y="24591"/>
                  </a:lnTo>
                  <a:lnTo>
                    <a:pt x="6728" y="8658"/>
                  </a:lnTo>
                  <a:cubicBezTo>
                    <a:pt x="12196" y="3190"/>
                    <a:pt x="19487" y="0"/>
                    <a:pt x="27232" y="0"/>
                  </a:cubicBezTo>
                  <a:cubicBezTo>
                    <a:pt x="34979" y="0"/>
                    <a:pt x="42270" y="3190"/>
                    <a:pt x="47738" y="8658"/>
                  </a:cubicBezTo>
                  <a:cubicBezTo>
                    <a:pt x="59130" y="19594"/>
                    <a:pt x="59129" y="38276"/>
                    <a:pt x="47738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3" name="Forme libre : forme 1372">
              <a:extLst>
                <a:ext uri="{FF2B5EF4-FFF2-40B4-BE49-F238E27FC236}">
                  <a16:creationId xmlns:a16="http://schemas.microsoft.com/office/drawing/2014/main" id="{AF0E56D3-9FDC-4C86-AF97-6A5B745021CC}"/>
                </a:ext>
              </a:extLst>
            </p:cNvPr>
            <p:cNvSpPr/>
            <p:nvPr/>
          </p:nvSpPr>
          <p:spPr>
            <a:xfrm rot="8716295">
              <a:off x="7178221" y="-7670"/>
              <a:ext cx="22135" cy="15343"/>
            </a:xfrm>
            <a:custGeom>
              <a:avLst/>
              <a:gdLst>
                <a:gd name="connsiteX0" fmla="*/ 22135 w 22135"/>
                <a:gd name="connsiteY0" fmla="*/ 15343 h 15343"/>
                <a:gd name="connsiteX1" fmla="*/ 0 w 22135"/>
                <a:gd name="connsiteY1" fmla="*/ 0 h 15343"/>
                <a:gd name="connsiteX2" fmla="*/ 22135 w 22135"/>
                <a:gd name="connsiteY2" fmla="*/ 0 h 15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135" h="15343">
                  <a:moveTo>
                    <a:pt x="22135" y="15343"/>
                  </a:moveTo>
                  <a:lnTo>
                    <a:pt x="0" y="0"/>
                  </a:lnTo>
                  <a:lnTo>
                    <a:pt x="2213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4" name="Forme libre : forme 1373">
              <a:extLst>
                <a:ext uri="{FF2B5EF4-FFF2-40B4-BE49-F238E27FC236}">
                  <a16:creationId xmlns:a16="http://schemas.microsoft.com/office/drawing/2014/main" id="{F9D2269A-12D2-478A-A148-0174F4547759}"/>
                </a:ext>
              </a:extLst>
            </p:cNvPr>
            <p:cNvSpPr/>
            <p:nvPr/>
          </p:nvSpPr>
          <p:spPr>
            <a:xfrm rot="8716295">
              <a:off x="7330206" y="2582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5" name="Forme libre : forme 1374">
              <a:extLst>
                <a:ext uri="{FF2B5EF4-FFF2-40B4-BE49-F238E27FC236}">
                  <a16:creationId xmlns:a16="http://schemas.microsoft.com/office/drawing/2014/main" id="{AF2048E4-EBEC-4616-8234-D6C4143F0269}"/>
                </a:ext>
              </a:extLst>
            </p:cNvPr>
            <p:cNvSpPr/>
            <p:nvPr/>
          </p:nvSpPr>
          <p:spPr>
            <a:xfrm rot="7484129">
              <a:off x="7724236" y="-3297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6" name="Forme libre : forme 1375">
              <a:extLst>
                <a:ext uri="{FF2B5EF4-FFF2-40B4-BE49-F238E27FC236}">
                  <a16:creationId xmlns:a16="http://schemas.microsoft.com/office/drawing/2014/main" id="{BCCFC94C-6F39-428B-907F-F878519A4EFD}"/>
                </a:ext>
              </a:extLst>
            </p:cNvPr>
            <p:cNvSpPr/>
            <p:nvPr/>
          </p:nvSpPr>
          <p:spPr>
            <a:xfrm rot="13089394">
              <a:off x="7941179" y="-29293"/>
              <a:ext cx="145407" cy="327190"/>
            </a:xfrm>
            <a:custGeom>
              <a:avLst/>
              <a:gdLst>
                <a:gd name="connsiteX0" fmla="*/ 145407 w 145407"/>
                <a:gd name="connsiteY0" fmla="*/ 277267 h 327190"/>
                <a:gd name="connsiteX1" fmla="*/ 81867 w 145407"/>
                <a:gd name="connsiteY1" fmla="*/ 327190 h 327190"/>
                <a:gd name="connsiteX2" fmla="*/ 54765 w 145407"/>
                <a:gd name="connsiteY2" fmla="*/ 322521 h 327190"/>
                <a:gd name="connsiteX3" fmla="*/ 23727 w 145407"/>
                <a:gd name="connsiteY3" fmla="*/ 301277 h 327190"/>
                <a:gd name="connsiteX4" fmla="*/ 0 w 145407"/>
                <a:gd name="connsiteY4" fmla="*/ 206369 h 327190"/>
                <a:gd name="connsiteX5" fmla="*/ 0 w 145407"/>
                <a:gd name="connsiteY5" fmla="*/ 38074 h 327190"/>
                <a:gd name="connsiteX6" fmla="*/ 73388 w 145407"/>
                <a:gd name="connsiteY6" fmla="*/ 0 h 327190"/>
                <a:gd name="connsiteX7" fmla="*/ 74492 w 145407"/>
                <a:gd name="connsiteY7" fmla="*/ 153950 h 327190"/>
                <a:gd name="connsiteX8" fmla="*/ 87734 w 145407"/>
                <a:gd name="connsiteY8" fmla="*/ 245547 h 327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5407" h="327190">
                  <a:moveTo>
                    <a:pt x="145407" y="277267"/>
                  </a:moveTo>
                  <a:lnTo>
                    <a:pt x="81867" y="327190"/>
                  </a:lnTo>
                  <a:lnTo>
                    <a:pt x="54765" y="322521"/>
                  </a:lnTo>
                  <a:cubicBezTo>
                    <a:pt x="43178" y="317693"/>
                    <a:pt x="32556" y="310382"/>
                    <a:pt x="23727" y="301277"/>
                  </a:cubicBezTo>
                  <a:cubicBezTo>
                    <a:pt x="4966" y="283069"/>
                    <a:pt x="0" y="251616"/>
                    <a:pt x="0" y="206369"/>
                  </a:cubicBez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2836" y="184850"/>
                    <a:pt x="77802" y="216302"/>
                    <a:pt x="87734" y="2455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7" name="Forme libre : forme 1376">
              <a:extLst>
                <a:ext uri="{FF2B5EF4-FFF2-40B4-BE49-F238E27FC236}">
                  <a16:creationId xmlns:a16="http://schemas.microsoft.com/office/drawing/2014/main" id="{53C58AA9-5E6A-49CD-9AC5-5641232CD965}"/>
                </a:ext>
              </a:extLst>
            </p:cNvPr>
            <p:cNvSpPr/>
            <p:nvPr/>
          </p:nvSpPr>
          <p:spPr>
            <a:xfrm rot="8716295">
              <a:off x="9089009" y="2081072"/>
              <a:ext cx="61059" cy="173964"/>
            </a:xfrm>
            <a:custGeom>
              <a:avLst/>
              <a:gdLst>
                <a:gd name="connsiteX0" fmla="*/ 0 w 61059"/>
                <a:gd name="connsiteY0" fmla="*/ 173964 h 173964"/>
                <a:gd name="connsiteX1" fmla="*/ 0 w 61059"/>
                <a:gd name="connsiteY1" fmla="*/ 88087 h 173964"/>
                <a:gd name="connsiteX2" fmla="*/ 61059 w 61059"/>
                <a:gd name="connsiteY2" fmla="*/ 0 h 173964"/>
                <a:gd name="connsiteX3" fmla="*/ 61059 w 61059"/>
                <a:gd name="connsiteY3" fmla="*/ 149814 h 173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059" h="173964">
                  <a:moveTo>
                    <a:pt x="0" y="173964"/>
                  </a:moveTo>
                  <a:lnTo>
                    <a:pt x="0" y="88087"/>
                  </a:lnTo>
                  <a:lnTo>
                    <a:pt x="61059" y="0"/>
                  </a:lnTo>
                  <a:lnTo>
                    <a:pt x="61059" y="14981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8" name="Forme libre : forme 1377">
              <a:extLst>
                <a:ext uri="{FF2B5EF4-FFF2-40B4-BE49-F238E27FC236}">
                  <a16:creationId xmlns:a16="http://schemas.microsoft.com/office/drawing/2014/main" id="{67AAFA86-3922-4406-A9C1-01A9C544B234}"/>
                </a:ext>
              </a:extLst>
            </p:cNvPr>
            <p:cNvSpPr/>
            <p:nvPr/>
          </p:nvSpPr>
          <p:spPr>
            <a:xfrm rot="8716295">
              <a:off x="8987023" y="214104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9" name="Forme libre : forme 1378">
              <a:extLst>
                <a:ext uri="{FF2B5EF4-FFF2-40B4-BE49-F238E27FC236}">
                  <a16:creationId xmlns:a16="http://schemas.microsoft.com/office/drawing/2014/main" id="{F49E9DC2-C797-4A9E-913F-D8431378EB92}"/>
                </a:ext>
              </a:extLst>
            </p:cNvPr>
            <p:cNvSpPr/>
            <p:nvPr/>
          </p:nvSpPr>
          <p:spPr>
            <a:xfrm rot="8716295">
              <a:off x="8862120" y="19323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0" name="Forme libre : forme 1379">
              <a:extLst>
                <a:ext uri="{FF2B5EF4-FFF2-40B4-BE49-F238E27FC236}">
                  <a16:creationId xmlns:a16="http://schemas.microsoft.com/office/drawing/2014/main" id="{1BF45189-83CA-4A70-B575-8A2D9D49B065}"/>
                </a:ext>
              </a:extLst>
            </p:cNvPr>
            <p:cNvSpPr/>
            <p:nvPr/>
          </p:nvSpPr>
          <p:spPr>
            <a:xfrm rot="8716295">
              <a:off x="8845263" y="1791394"/>
              <a:ext cx="290644" cy="345190"/>
            </a:xfrm>
            <a:custGeom>
              <a:avLst/>
              <a:gdLst>
                <a:gd name="connsiteX0" fmla="*/ 25298 w 290644"/>
                <a:gd name="connsiteY0" fmla="*/ 315598 h 345190"/>
                <a:gd name="connsiteX1" fmla="*/ 0 w 290644"/>
                <a:gd name="connsiteY1" fmla="*/ 214403 h 345190"/>
                <a:gd name="connsiteX2" fmla="*/ 0 w 290644"/>
                <a:gd name="connsiteY2" fmla="*/ 112946 h 345190"/>
                <a:gd name="connsiteX3" fmla="*/ 78290 w 290644"/>
                <a:gd name="connsiteY3" fmla="*/ 0 h 345190"/>
                <a:gd name="connsiteX4" fmla="*/ 79427 w 290644"/>
                <a:gd name="connsiteY4" fmla="*/ 158510 h 345190"/>
                <a:gd name="connsiteX5" fmla="*/ 93547 w 290644"/>
                <a:gd name="connsiteY5" fmla="*/ 256176 h 345190"/>
                <a:gd name="connsiteX6" fmla="*/ 164149 w 290644"/>
                <a:gd name="connsiteY6" fmla="*/ 295007 h 345190"/>
                <a:gd name="connsiteX7" fmla="*/ 217100 w 290644"/>
                <a:gd name="connsiteY7" fmla="*/ 285593 h 345190"/>
                <a:gd name="connsiteX8" fmla="*/ 289467 w 290644"/>
                <a:gd name="connsiteY8" fmla="*/ 256176 h 345190"/>
                <a:gd name="connsiteX9" fmla="*/ 290644 w 290644"/>
                <a:gd name="connsiteY9" fmla="*/ 263824 h 345190"/>
                <a:gd name="connsiteX10" fmla="*/ 290644 w 290644"/>
                <a:gd name="connsiteY10" fmla="*/ 269708 h 345190"/>
                <a:gd name="connsiteX11" fmla="*/ 97666 w 290644"/>
                <a:gd name="connsiteY11" fmla="*/ 345016 h 345190"/>
                <a:gd name="connsiteX12" fmla="*/ 25298 w 290644"/>
                <a:gd name="connsiteY12" fmla="*/ 315598 h 345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0644" h="345190">
                  <a:moveTo>
                    <a:pt x="25298" y="315598"/>
                  </a:moveTo>
                  <a:cubicBezTo>
                    <a:pt x="5294" y="296183"/>
                    <a:pt x="0" y="262647"/>
                    <a:pt x="0" y="214403"/>
                  </a:cubicBezTo>
                  <a:lnTo>
                    <a:pt x="0" y="112946"/>
                  </a:lnTo>
                  <a:lnTo>
                    <a:pt x="78290" y="0"/>
                  </a:lnTo>
                  <a:lnTo>
                    <a:pt x="79427" y="158510"/>
                  </a:lnTo>
                  <a:cubicBezTo>
                    <a:pt x="77662" y="191458"/>
                    <a:pt x="82956" y="224993"/>
                    <a:pt x="93547" y="256176"/>
                  </a:cubicBezTo>
                  <a:cubicBezTo>
                    <a:pt x="102961" y="282063"/>
                    <a:pt x="127083" y="295007"/>
                    <a:pt x="164149" y="295007"/>
                  </a:cubicBezTo>
                  <a:cubicBezTo>
                    <a:pt x="182388" y="294418"/>
                    <a:pt x="200038" y="290888"/>
                    <a:pt x="217100" y="285593"/>
                  </a:cubicBezTo>
                  <a:cubicBezTo>
                    <a:pt x="241810" y="277945"/>
                    <a:pt x="265932" y="267942"/>
                    <a:pt x="289467" y="256176"/>
                  </a:cubicBezTo>
                  <a:cubicBezTo>
                    <a:pt x="290055" y="258529"/>
                    <a:pt x="290643" y="261471"/>
                    <a:pt x="290644" y="263824"/>
                  </a:cubicBezTo>
                  <a:lnTo>
                    <a:pt x="290644" y="269708"/>
                  </a:lnTo>
                  <a:cubicBezTo>
                    <a:pt x="228278" y="323247"/>
                    <a:pt x="146498" y="342075"/>
                    <a:pt x="97666" y="345016"/>
                  </a:cubicBezTo>
                  <a:cubicBezTo>
                    <a:pt x="70602" y="346782"/>
                    <a:pt x="44126" y="335014"/>
                    <a:pt x="25298" y="31559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1" name="Forme libre : forme 1380">
              <a:extLst>
                <a:ext uri="{FF2B5EF4-FFF2-40B4-BE49-F238E27FC236}">
                  <a16:creationId xmlns:a16="http://schemas.microsoft.com/office/drawing/2014/main" id="{3AC6BB5F-39B7-428A-B7D5-ED66181C770C}"/>
                </a:ext>
              </a:extLst>
            </p:cNvPr>
            <p:cNvSpPr/>
            <p:nvPr/>
          </p:nvSpPr>
          <p:spPr>
            <a:xfrm rot="8716295">
              <a:off x="9077116" y="2195107"/>
              <a:ext cx="60148" cy="215998"/>
            </a:xfrm>
            <a:custGeom>
              <a:avLst/>
              <a:gdLst>
                <a:gd name="connsiteX0" fmla="*/ 60148 w 60148"/>
                <a:gd name="connsiteY0" fmla="*/ 215998 h 215998"/>
                <a:gd name="connsiteX1" fmla="*/ 1 w 60148"/>
                <a:gd name="connsiteY1" fmla="*/ 158129 h 215998"/>
                <a:gd name="connsiteX2" fmla="*/ 0 w 60148"/>
                <a:gd name="connsiteY2" fmla="*/ 86771 h 215998"/>
                <a:gd name="connsiteX3" fmla="*/ 60147 w 60148"/>
                <a:gd name="connsiteY3" fmla="*/ 0 h 215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8" h="215998">
                  <a:moveTo>
                    <a:pt x="60148" y="215998"/>
                  </a:moveTo>
                  <a:lnTo>
                    <a:pt x="1" y="158129"/>
                  </a:lnTo>
                  <a:lnTo>
                    <a:pt x="0" y="86771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2" name="Forme libre : forme 1381">
              <a:extLst>
                <a:ext uri="{FF2B5EF4-FFF2-40B4-BE49-F238E27FC236}">
                  <a16:creationId xmlns:a16="http://schemas.microsoft.com/office/drawing/2014/main" id="{62FF5918-1B87-4604-8492-36999A995344}"/>
                </a:ext>
              </a:extLst>
            </p:cNvPr>
            <p:cNvSpPr/>
            <p:nvPr/>
          </p:nvSpPr>
          <p:spPr>
            <a:xfrm rot="8716295">
              <a:off x="9116544" y="1789625"/>
              <a:ext cx="46394" cy="58308"/>
            </a:xfrm>
            <a:custGeom>
              <a:avLst/>
              <a:gdLst>
                <a:gd name="connsiteX0" fmla="*/ 0 w 46394"/>
                <a:gd name="connsiteY0" fmla="*/ 55145 h 58308"/>
                <a:gd name="connsiteX1" fmla="*/ 38225 w 46394"/>
                <a:gd name="connsiteY1" fmla="*/ 0 h 58308"/>
                <a:gd name="connsiteX2" fmla="*/ 46394 w 46394"/>
                <a:gd name="connsiteY2" fmla="*/ 19443 h 58308"/>
                <a:gd name="connsiteX3" fmla="*/ 35074 w 46394"/>
                <a:gd name="connsiteY3" fmla="*/ 46837 h 58308"/>
                <a:gd name="connsiteX4" fmla="*/ 7907 w 46394"/>
                <a:gd name="connsiteY4" fmla="*/ 58308 h 58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394" h="58308">
                  <a:moveTo>
                    <a:pt x="0" y="55145"/>
                  </a:moveTo>
                  <a:lnTo>
                    <a:pt x="38225" y="0"/>
                  </a:lnTo>
                  <a:lnTo>
                    <a:pt x="46394" y="19443"/>
                  </a:lnTo>
                  <a:cubicBezTo>
                    <a:pt x="46394" y="29329"/>
                    <a:pt x="42621" y="39290"/>
                    <a:pt x="35074" y="46837"/>
                  </a:cubicBezTo>
                  <a:cubicBezTo>
                    <a:pt x="27830" y="54082"/>
                    <a:pt x="18170" y="58308"/>
                    <a:pt x="7907" y="5830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3" name="Forme libre : forme 1382">
              <a:extLst>
                <a:ext uri="{FF2B5EF4-FFF2-40B4-BE49-F238E27FC236}">
                  <a16:creationId xmlns:a16="http://schemas.microsoft.com/office/drawing/2014/main" id="{413B021A-A885-48B9-8570-152DCC9A71A5}"/>
                </a:ext>
              </a:extLst>
            </p:cNvPr>
            <p:cNvSpPr/>
            <p:nvPr/>
          </p:nvSpPr>
          <p:spPr>
            <a:xfrm rot="8716295">
              <a:off x="9083119" y="2618313"/>
              <a:ext cx="117324" cy="177047"/>
            </a:xfrm>
            <a:custGeom>
              <a:avLst/>
              <a:gdLst>
                <a:gd name="connsiteX0" fmla="*/ 92026 w 117324"/>
                <a:gd name="connsiteY0" fmla="*/ 36497 h 177047"/>
                <a:gd name="connsiteX1" fmla="*/ 117324 w 117324"/>
                <a:gd name="connsiteY1" fmla="*/ 0 h 177047"/>
                <a:gd name="connsiteX2" fmla="*/ 117324 w 117324"/>
                <a:gd name="connsiteY2" fmla="*/ 36497 h 177047"/>
                <a:gd name="connsiteX3" fmla="*/ 4187 w 117324"/>
                <a:gd name="connsiteY3" fmla="*/ 177047 h 177047"/>
                <a:gd name="connsiteX4" fmla="*/ 0 w 117324"/>
                <a:gd name="connsiteY4" fmla="*/ 169258 h 177047"/>
                <a:gd name="connsiteX5" fmla="*/ 13629 w 117324"/>
                <a:gd name="connsiteY5" fmla="*/ 149597 h 177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7324" h="177047">
                  <a:moveTo>
                    <a:pt x="92026" y="36497"/>
                  </a:moveTo>
                  <a:lnTo>
                    <a:pt x="117324" y="0"/>
                  </a:lnTo>
                  <a:lnTo>
                    <a:pt x="117324" y="36497"/>
                  </a:lnTo>
                  <a:close/>
                  <a:moveTo>
                    <a:pt x="4187" y="177047"/>
                  </a:moveTo>
                  <a:lnTo>
                    <a:pt x="0" y="169258"/>
                  </a:lnTo>
                  <a:lnTo>
                    <a:pt x="13629" y="14959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4" name="Forme libre : forme 1383">
              <a:extLst>
                <a:ext uri="{FF2B5EF4-FFF2-40B4-BE49-F238E27FC236}">
                  <a16:creationId xmlns:a16="http://schemas.microsoft.com/office/drawing/2014/main" id="{9BA6659A-4363-4246-884D-227E97C0C14A}"/>
                </a:ext>
              </a:extLst>
            </p:cNvPr>
            <p:cNvSpPr/>
            <p:nvPr/>
          </p:nvSpPr>
          <p:spPr>
            <a:xfrm rot="8716295">
              <a:off x="9006440" y="2509028"/>
              <a:ext cx="177822" cy="85743"/>
            </a:xfrm>
            <a:custGeom>
              <a:avLst/>
              <a:gdLst>
                <a:gd name="connsiteX0" fmla="*/ 0 w 177822"/>
                <a:gd name="connsiteY0" fmla="*/ 85743 h 85743"/>
                <a:gd name="connsiteX1" fmla="*/ 37709 w 177822"/>
                <a:gd name="connsiteY1" fmla="*/ 31342 h 85743"/>
                <a:gd name="connsiteX2" fmla="*/ 51327 w 177822"/>
                <a:gd name="connsiteY2" fmla="*/ 38831 h 85743"/>
                <a:gd name="connsiteX3" fmla="*/ 104278 w 177822"/>
                <a:gd name="connsiteY3" fmla="*/ 29418 h 85743"/>
                <a:gd name="connsiteX4" fmla="*/ 176645 w 177822"/>
                <a:gd name="connsiteY4" fmla="*/ 0 h 85743"/>
                <a:gd name="connsiteX5" fmla="*/ 177822 w 177822"/>
                <a:gd name="connsiteY5" fmla="*/ 7648 h 85743"/>
                <a:gd name="connsiteX6" fmla="*/ 177822 w 177822"/>
                <a:gd name="connsiteY6" fmla="*/ 13532 h 85743"/>
                <a:gd name="connsiteX7" fmla="*/ 76258 w 177822"/>
                <a:gd name="connsiteY7" fmla="*/ 70160 h 85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7822" h="85743">
                  <a:moveTo>
                    <a:pt x="0" y="85743"/>
                  </a:moveTo>
                  <a:lnTo>
                    <a:pt x="37709" y="31342"/>
                  </a:lnTo>
                  <a:lnTo>
                    <a:pt x="51327" y="38831"/>
                  </a:lnTo>
                  <a:cubicBezTo>
                    <a:pt x="69566" y="38242"/>
                    <a:pt x="87216" y="34712"/>
                    <a:pt x="104278" y="29418"/>
                  </a:cubicBezTo>
                  <a:cubicBezTo>
                    <a:pt x="128988" y="21768"/>
                    <a:pt x="153111" y="11766"/>
                    <a:pt x="176645" y="0"/>
                  </a:cubicBezTo>
                  <a:cubicBezTo>
                    <a:pt x="177233" y="2354"/>
                    <a:pt x="177821" y="5295"/>
                    <a:pt x="177822" y="7648"/>
                  </a:cubicBezTo>
                  <a:lnTo>
                    <a:pt x="177822" y="13532"/>
                  </a:lnTo>
                  <a:cubicBezTo>
                    <a:pt x="146639" y="40301"/>
                    <a:pt x="110603" y="58393"/>
                    <a:pt x="76258" y="7016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5" name="Forme libre : forme 1384">
              <a:extLst>
                <a:ext uri="{FF2B5EF4-FFF2-40B4-BE49-F238E27FC236}">
                  <a16:creationId xmlns:a16="http://schemas.microsoft.com/office/drawing/2014/main" id="{CD8F4158-D52E-4B42-86D9-9C394223B4E4}"/>
                </a:ext>
              </a:extLst>
            </p:cNvPr>
            <p:cNvSpPr/>
            <p:nvPr/>
          </p:nvSpPr>
          <p:spPr>
            <a:xfrm rot="8716295">
              <a:off x="8877739" y="139153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6" name="Forme libre : forme 1385">
              <a:extLst>
                <a:ext uri="{FF2B5EF4-FFF2-40B4-BE49-F238E27FC236}">
                  <a16:creationId xmlns:a16="http://schemas.microsoft.com/office/drawing/2014/main" id="{34819D09-90FC-40AC-A71E-2F09A9E62118}"/>
                </a:ext>
              </a:extLst>
            </p:cNvPr>
            <p:cNvSpPr/>
            <p:nvPr/>
          </p:nvSpPr>
          <p:spPr>
            <a:xfrm rot="8716295">
              <a:off x="8969693" y="1431914"/>
              <a:ext cx="209150" cy="254735"/>
            </a:xfrm>
            <a:custGeom>
              <a:avLst/>
              <a:gdLst>
                <a:gd name="connsiteX0" fmla="*/ 0 w 209150"/>
                <a:gd name="connsiteY0" fmla="*/ 254735 h 254735"/>
                <a:gd name="connsiteX1" fmla="*/ 0 w 209150"/>
                <a:gd name="connsiteY1" fmla="*/ 155827 h 254735"/>
                <a:gd name="connsiteX2" fmla="*/ 104101 w 209150"/>
                <a:gd name="connsiteY2" fmla="*/ 5646 h 254735"/>
                <a:gd name="connsiteX3" fmla="*/ 133965 w 209150"/>
                <a:gd name="connsiteY3" fmla="*/ 19 h 254735"/>
                <a:gd name="connsiteX4" fmla="*/ 209150 w 209150"/>
                <a:gd name="connsiteY4" fmla="*/ 88418 h 254735"/>
                <a:gd name="connsiteX5" fmla="*/ 209150 w 209150"/>
                <a:gd name="connsiteY5" fmla="*/ 94342 h 254735"/>
                <a:gd name="connsiteX6" fmla="*/ 147180 w 209150"/>
                <a:gd name="connsiteY6" fmla="*/ 97987 h 254735"/>
                <a:gd name="connsiteX7" fmla="*/ 147180 w 209150"/>
                <a:gd name="connsiteY7" fmla="*/ 81584 h 254735"/>
                <a:gd name="connsiteX8" fmla="*/ 113461 w 209150"/>
                <a:gd name="connsiteY8" fmla="*/ 40118 h 254735"/>
                <a:gd name="connsiteX9" fmla="*/ 60149 w 209150"/>
                <a:gd name="connsiteY9" fmla="*/ 127605 h 254735"/>
                <a:gd name="connsiteX10" fmla="*/ 60149 w 209150"/>
                <a:gd name="connsiteY10" fmla="*/ 213726 h 254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9150" h="254735">
                  <a:moveTo>
                    <a:pt x="0" y="254735"/>
                  </a:moveTo>
                  <a:lnTo>
                    <a:pt x="0" y="155827"/>
                  </a:lnTo>
                  <a:lnTo>
                    <a:pt x="104101" y="5646"/>
                  </a:lnTo>
                  <a:lnTo>
                    <a:pt x="133965" y="19"/>
                  </a:lnTo>
                  <a:cubicBezTo>
                    <a:pt x="180899" y="-892"/>
                    <a:pt x="209150" y="31916"/>
                    <a:pt x="209150" y="88418"/>
                  </a:cubicBezTo>
                  <a:lnTo>
                    <a:pt x="209150" y="94342"/>
                  </a:lnTo>
                  <a:lnTo>
                    <a:pt x="147180" y="97987"/>
                  </a:lnTo>
                  <a:lnTo>
                    <a:pt x="147180" y="81584"/>
                  </a:lnTo>
                  <a:cubicBezTo>
                    <a:pt x="147180" y="56977"/>
                    <a:pt x="133054" y="40118"/>
                    <a:pt x="113461" y="40118"/>
                  </a:cubicBezTo>
                  <a:cubicBezTo>
                    <a:pt x="84299" y="40118"/>
                    <a:pt x="60149" y="78850"/>
                    <a:pt x="60149" y="127605"/>
                  </a:cubicBezTo>
                  <a:lnTo>
                    <a:pt x="60149" y="21372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7" name="Forme libre : forme 1386">
              <a:extLst>
                <a:ext uri="{FF2B5EF4-FFF2-40B4-BE49-F238E27FC236}">
                  <a16:creationId xmlns:a16="http://schemas.microsoft.com/office/drawing/2014/main" id="{A927842F-CF5D-4DDB-980D-DAEB7684488A}"/>
                </a:ext>
              </a:extLst>
            </p:cNvPr>
            <p:cNvSpPr/>
            <p:nvPr/>
          </p:nvSpPr>
          <p:spPr>
            <a:xfrm rot="8716295">
              <a:off x="8922281" y="133449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8" name="Forme libre : forme 1387">
              <a:extLst>
                <a:ext uri="{FF2B5EF4-FFF2-40B4-BE49-F238E27FC236}">
                  <a16:creationId xmlns:a16="http://schemas.microsoft.com/office/drawing/2014/main" id="{360EB861-FB1A-4E23-9134-68DC077A8790}"/>
                </a:ext>
              </a:extLst>
            </p:cNvPr>
            <p:cNvSpPr/>
            <p:nvPr/>
          </p:nvSpPr>
          <p:spPr>
            <a:xfrm rot="8716295">
              <a:off x="8765505" y="148007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9" name="Forme libre : forme 1388">
              <a:extLst>
                <a:ext uri="{FF2B5EF4-FFF2-40B4-BE49-F238E27FC236}">
                  <a16:creationId xmlns:a16="http://schemas.microsoft.com/office/drawing/2014/main" id="{0001364E-BDF9-4964-AFCF-8B1B5ED15F9E}"/>
                </a:ext>
              </a:extLst>
            </p:cNvPr>
            <p:cNvSpPr/>
            <p:nvPr/>
          </p:nvSpPr>
          <p:spPr>
            <a:xfrm rot="8716295">
              <a:off x="8640602" y="127140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0" name="Forme libre : forme 1389">
              <a:extLst>
                <a:ext uri="{FF2B5EF4-FFF2-40B4-BE49-F238E27FC236}">
                  <a16:creationId xmlns:a16="http://schemas.microsoft.com/office/drawing/2014/main" id="{EE73FF96-9E36-461F-A96C-8FEF57947F14}"/>
                </a:ext>
              </a:extLst>
            </p:cNvPr>
            <p:cNvSpPr/>
            <p:nvPr/>
          </p:nvSpPr>
          <p:spPr>
            <a:xfrm rot="8716295">
              <a:off x="8628550" y="113262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1" name="Forme libre : forme 1390">
              <a:extLst>
                <a:ext uri="{FF2B5EF4-FFF2-40B4-BE49-F238E27FC236}">
                  <a16:creationId xmlns:a16="http://schemas.microsoft.com/office/drawing/2014/main" id="{6DB2B1A4-E2FA-49FA-9C05-6E8348596F60}"/>
                </a:ext>
              </a:extLst>
            </p:cNvPr>
            <p:cNvSpPr/>
            <p:nvPr/>
          </p:nvSpPr>
          <p:spPr>
            <a:xfrm rot="8716295">
              <a:off x="8855683" y="152102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2" name="Forme libre : forme 1391">
              <a:extLst>
                <a:ext uri="{FF2B5EF4-FFF2-40B4-BE49-F238E27FC236}">
                  <a16:creationId xmlns:a16="http://schemas.microsoft.com/office/drawing/2014/main" id="{C6D4FFEB-A683-4FE3-8068-6610CCEEB1B0}"/>
                </a:ext>
              </a:extLst>
            </p:cNvPr>
            <p:cNvSpPr/>
            <p:nvPr/>
          </p:nvSpPr>
          <p:spPr>
            <a:xfrm rot="8716295">
              <a:off x="9129108" y="1200690"/>
              <a:ext cx="29782" cy="42964"/>
            </a:xfrm>
            <a:custGeom>
              <a:avLst/>
              <a:gdLst>
                <a:gd name="connsiteX0" fmla="*/ 0 w 29782"/>
                <a:gd name="connsiteY0" fmla="*/ 42964 h 42964"/>
                <a:gd name="connsiteX1" fmla="*/ 29782 w 29782"/>
                <a:gd name="connsiteY1" fmla="*/ 0 h 42964"/>
                <a:gd name="connsiteX2" fmla="*/ 29782 w 29782"/>
                <a:gd name="connsiteY2" fmla="*/ 31185 h 4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9782" h="42964">
                  <a:moveTo>
                    <a:pt x="0" y="42964"/>
                  </a:moveTo>
                  <a:lnTo>
                    <a:pt x="29782" y="0"/>
                  </a:lnTo>
                  <a:lnTo>
                    <a:pt x="29782" y="311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3" name="Forme libre : forme 1392">
              <a:extLst>
                <a:ext uri="{FF2B5EF4-FFF2-40B4-BE49-F238E27FC236}">
                  <a16:creationId xmlns:a16="http://schemas.microsoft.com/office/drawing/2014/main" id="{EA725989-A234-4480-B04C-CFCEE23774F2}"/>
                </a:ext>
              </a:extLst>
            </p:cNvPr>
            <p:cNvSpPr/>
            <p:nvPr/>
          </p:nvSpPr>
          <p:spPr>
            <a:xfrm rot="8716295">
              <a:off x="9054604" y="122992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4" name="Forme libre : forme 1393">
              <a:extLst>
                <a:ext uri="{FF2B5EF4-FFF2-40B4-BE49-F238E27FC236}">
                  <a16:creationId xmlns:a16="http://schemas.microsoft.com/office/drawing/2014/main" id="{466911C7-5D17-4DD5-91B8-36CEBB4BC9F6}"/>
                </a:ext>
              </a:extLst>
            </p:cNvPr>
            <p:cNvSpPr/>
            <p:nvPr/>
          </p:nvSpPr>
          <p:spPr>
            <a:xfrm rot="8716295">
              <a:off x="8929702" y="10212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5" name="Forme libre : forme 1394">
              <a:extLst>
                <a:ext uri="{FF2B5EF4-FFF2-40B4-BE49-F238E27FC236}">
                  <a16:creationId xmlns:a16="http://schemas.microsoft.com/office/drawing/2014/main" id="{87609BCB-7D37-4FB0-A906-2BDD38155F26}"/>
                </a:ext>
              </a:extLst>
            </p:cNvPr>
            <p:cNvSpPr/>
            <p:nvPr/>
          </p:nvSpPr>
          <p:spPr>
            <a:xfrm rot="8716295">
              <a:off x="9112658" y="1300147"/>
              <a:ext cx="40491" cy="97371"/>
            </a:xfrm>
            <a:custGeom>
              <a:avLst/>
              <a:gdLst>
                <a:gd name="connsiteX0" fmla="*/ 40491 w 40491"/>
                <a:gd name="connsiteY0" fmla="*/ 97371 h 97371"/>
                <a:gd name="connsiteX1" fmla="*/ 0 w 40491"/>
                <a:gd name="connsiteY1" fmla="*/ 58414 h 97371"/>
                <a:gd name="connsiteX2" fmla="*/ 40491 w 40491"/>
                <a:gd name="connsiteY2" fmla="*/ 0 h 9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491" h="97371">
                  <a:moveTo>
                    <a:pt x="40491" y="97371"/>
                  </a:moveTo>
                  <a:lnTo>
                    <a:pt x="0" y="58414"/>
                  </a:lnTo>
                  <a:lnTo>
                    <a:pt x="4049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6" name="Forme libre : forme 1395">
              <a:extLst>
                <a:ext uri="{FF2B5EF4-FFF2-40B4-BE49-F238E27FC236}">
                  <a16:creationId xmlns:a16="http://schemas.microsoft.com/office/drawing/2014/main" id="{947B4F8A-AEF6-4C9F-8CA5-B6B423F87C52}"/>
                </a:ext>
              </a:extLst>
            </p:cNvPr>
            <p:cNvSpPr/>
            <p:nvPr/>
          </p:nvSpPr>
          <p:spPr>
            <a:xfrm rot="8716295">
              <a:off x="8903331" y="112127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7" name="Forme libre : forme 1396">
              <a:extLst>
                <a:ext uri="{FF2B5EF4-FFF2-40B4-BE49-F238E27FC236}">
                  <a16:creationId xmlns:a16="http://schemas.microsoft.com/office/drawing/2014/main" id="{ECC3872B-A5B2-45B1-9D4A-B953AF7F8C47}"/>
                </a:ext>
              </a:extLst>
            </p:cNvPr>
            <p:cNvSpPr/>
            <p:nvPr/>
          </p:nvSpPr>
          <p:spPr>
            <a:xfrm rot="8716295">
              <a:off x="8654572" y="73183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9" name="Forme libre : forme 1398">
              <a:extLst>
                <a:ext uri="{FF2B5EF4-FFF2-40B4-BE49-F238E27FC236}">
                  <a16:creationId xmlns:a16="http://schemas.microsoft.com/office/drawing/2014/main" id="{EF2C5093-481E-4A2C-8B5F-4CE69A605FED}"/>
                </a:ext>
              </a:extLst>
            </p:cNvPr>
            <p:cNvSpPr/>
            <p:nvPr/>
          </p:nvSpPr>
          <p:spPr>
            <a:xfrm rot="8716295">
              <a:off x="8743964" y="76107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0" name="Forme libre : forme 1399">
              <a:extLst>
                <a:ext uri="{FF2B5EF4-FFF2-40B4-BE49-F238E27FC236}">
                  <a16:creationId xmlns:a16="http://schemas.microsoft.com/office/drawing/2014/main" id="{30AF5DC6-0C45-4EE5-BDB7-B8625E175365}"/>
                </a:ext>
              </a:extLst>
            </p:cNvPr>
            <p:cNvSpPr/>
            <p:nvPr/>
          </p:nvSpPr>
          <p:spPr>
            <a:xfrm rot="8716295">
              <a:off x="8699114" y="67479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3" name="Forme libre : forme 1402">
              <a:extLst>
                <a:ext uri="{FF2B5EF4-FFF2-40B4-BE49-F238E27FC236}">
                  <a16:creationId xmlns:a16="http://schemas.microsoft.com/office/drawing/2014/main" id="{B70C0FD5-7DFB-4A0C-AE55-F5A7B134B91A}"/>
                </a:ext>
              </a:extLst>
            </p:cNvPr>
            <p:cNvSpPr/>
            <p:nvPr/>
          </p:nvSpPr>
          <p:spPr>
            <a:xfrm rot="8716295">
              <a:off x="8542338" y="82037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4" name="Forme libre : forme 1403">
              <a:extLst>
                <a:ext uri="{FF2B5EF4-FFF2-40B4-BE49-F238E27FC236}">
                  <a16:creationId xmlns:a16="http://schemas.microsoft.com/office/drawing/2014/main" id="{9023C4A5-B8BC-415D-A51C-5615A6A3B1AB}"/>
                </a:ext>
              </a:extLst>
            </p:cNvPr>
            <p:cNvSpPr/>
            <p:nvPr/>
          </p:nvSpPr>
          <p:spPr>
            <a:xfrm rot="8716295">
              <a:off x="8417435" y="61170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5" name="Forme libre : forme 1404">
              <a:extLst>
                <a:ext uri="{FF2B5EF4-FFF2-40B4-BE49-F238E27FC236}">
                  <a16:creationId xmlns:a16="http://schemas.microsoft.com/office/drawing/2014/main" id="{E7A0D7D3-B881-47A9-8F6D-CE2F06D30D49}"/>
                </a:ext>
              </a:extLst>
            </p:cNvPr>
            <p:cNvSpPr/>
            <p:nvPr/>
          </p:nvSpPr>
          <p:spPr>
            <a:xfrm rot="8716295">
              <a:off x="8405383" y="47292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7" name="Forme libre : forme 1406">
              <a:extLst>
                <a:ext uri="{FF2B5EF4-FFF2-40B4-BE49-F238E27FC236}">
                  <a16:creationId xmlns:a16="http://schemas.microsoft.com/office/drawing/2014/main" id="{63003894-E4F2-4BC2-83BB-B9FC026CCC8B}"/>
                </a:ext>
              </a:extLst>
            </p:cNvPr>
            <p:cNvSpPr/>
            <p:nvPr/>
          </p:nvSpPr>
          <p:spPr>
            <a:xfrm rot="8716295">
              <a:off x="8632516" y="86132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8" name="Forme libre : forme 1407">
              <a:extLst>
                <a:ext uri="{FF2B5EF4-FFF2-40B4-BE49-F238E27FC236}">
                  <a16:creationId xmlns:a16="http://schemas.microsoft.com/office/drawing/2014/main" id="{4177F84E-2F46-4B16-B2EB-2A6CAAA999C1}"/>
                </a:ext>
              </a:extLst>
            </p:cNvPr>
            <p:cNvSpPr/>
            <p:nvPr/>
          </p:nvSpPr>
          <p:spPr>
            <a:xfrm rot="8716295">
              <a:off x="8943671" y="48168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9" name="Forme libre : forme 1408">
              <a:extLst>
                <a:ext uri="{FF2B5EF4-FFF2-40B4-BE49-F238E27FC236}">
                  <a16:creationId xmlns:a16="http://schemas.microsoft.com/office/drawing/2014/main" id="{7ECC4D0A-0137-4778-9C34-ECD007160309}"/>
                </a:ext>
              </a:extLst>
            </p:cNvPr>
            <p:cNvSpPr/>
            <p:nvPr/>
          </p:nvSpPr>
          <p:spPr>
            <a:xfrm rot="8716295">
              <a:off x="9036942" y="543643"/>
              <a:ext cx="187036" cy="222292"/>
            </a:xfrm>
            <a:custGeom>
              <a:avLst/>
              <a:gdLst>
                <a:gd name="connsiteX0" fmla="*/ 125066 w 187036"/>
                <a:gd name="connsiteY0" fmla="*/ 80621 h 222292"/>
                <a:gd name="connsiteX1" fmla="*/ 125066 w 187036"/>
                <a:gd name="connsiteY1" fmla="*/ 64217 h 222292"/>
                <a:gd name="connsiteX2" fmla="*/ 120199 w 187036"/>
                <a:gd name="connsiteY2" fmla="*/ 48887 h 222292"/>
                <a:gd name="connsiteX3" fmla="*/ 154086 w 187036"/>
                <a:gd name="connsiteY3" fmla="*/ 0 h 222292"/>
                <a:gd name="connsiteX4" fmla="*/ 167044 w 187036"/>
                <a:gd name="connsiteY4" fmla="*/ 5322 h 222292"/>
                <a:gd name="connsiteX5" fmla="*/ 187036 w 187036"/>
                <a:gd name="connsiteY5" fmla="*/ 71052 h 222292"/>
                <a:gd name="connsiteX6" fmla="*/ 187036 w 187036"/>
                <a:gd name="connsiteY6" fmla="*/ 76976 h 222292"/>
                <a:gd name="connsiteX7" fmla="*/ 0 w 187036"/>
                <a:gd name="connsiteY7" fmla="*/ 222292 h 222292"/>
                <a:gd name="connsiteX8" fmla="*/ 38035 w 187036"/>
                <a:gd name="connsiteY8" fmla="*/ 167421 h 222292"/>
                <a:gd name="connsiteX9" fmla="*/ 38035 w 187036"/>
                <a:gd name="connsiteY9" fmla="*/ 196360 h 222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036" h="222292">
                  <a:moveTo>
                    <a:pt x="125066" y="80621"/>
                  </a:moveTo>
                  <a:lnTo>
                    <a:pt x="125066" y="64217"/>
                  </a:lnTo>
                  <a:lnTo>
                    <a:pt x="120199" y="48887"/>
                  </a:lnTo>
                  <a:lnTo>
                    <a:pt x="154086" y="0"/>
                  </a:lnTo>
                  <a:lnTo>
                    <a:pt x="167044" y="5322"/>
                  </a:lnTo>
                  <a:cubicBezTo>
                    <a:pt x="179974" y="20473"/>
                    <a:pt x="187036" y="42801"/>
                    <a:pt x="187036" y="71052"/>
                  </a:cubicBezTo>
                  <a:lnTo>
                    <a:pt x="187036" y="76976"/>
                  </a:lnTo>
                  <a:close/>
                  <a:moveTo>
                    <a:pt x="0" y="222292"/>
                  </a:moveTo>
                  <a:lnTo>
                    <a:pt x="38035" y="167421"/>
                  </a:lnTo>
                  <a:lnTo>
                    <a:pt x="38035" y="1963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0" name="Forme libre : forme 1409">
              <a:extLst>
                <a:ext uri="{FF2B5EF4-FFF2-40B4-BE49-F238E27FC236}">
                  <a16:creationId xmlns:a16="http://schemas.microsoft.com/office/drawing/2014/main" id="{8CF1C17D-8FE5-4586-84EC-797BF0C748ED}"/>
                </a:ext>
              </a:extLst>
            </p:cNvPr>
            <p:cNvSpPr/>
            <p:nvPr/>
          </p:nvSpPr>
          <p:spPr>
            <a:xfrm rot="8716295">
              <a:off x="8831437" y="57022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1" name="Forme libre : forme 1410">
              <a:extLst>
                <a:ext uri="{FF2B5EF4-FFF2-40B4-BE49-F238E27FC236}">
                  <a16:creationId xmlns:a16="http://schemas.microsoft.com/office/drawing/2014/main" id="{AE830191-0020-4FE4-A98C-BF2C46A15C3D}"/>
                </a:ext>
              </a:extLst>
            </p:cNvPr>
            <p:cNvSpPr/>
            <p:nvPr/>
          </p:nvSpPr>
          <p:spPr>
            <a:xfrm rot="8716295">
              <a:off x="8706535" y="36155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5" name="Forme libre : forme 1414">
              <a:extLst>
                <a:ext uri="{FF2B5EF4-FFF2-40B4-BE49-F238E27FC236}">
                  <a16:creationId xmlns:a16="http://schemas.microsoft.com/office/drawing/2014/main" id="{EE8C59D9-229F-48BD-A5E1-860C9FC9870C}"/>
                </a:ext>
              </a:extLst>
            </p:cNvPr>
            <p:cNvSpPr/>
            <p:nvPr/>
          </p:nvSpPr>
          <p:spPr>
            <a:xfrm rot="8716295">
              <a:off x="8921615" y="61117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7" name="Forme libre : forme 1416">
              <a:extLst>
                <a:ext uri="{FF2B5EF4-FFF2-40B4-BE49-F238E27FC236}">
                  <a16:creationId xmlns:a16="http://schemas.microsoft.com/office/drawing/2014/main" id="{8B3EDBB4-588F-4A74-A7EE-F28AB8A86698}"/>
                </a:ext>
              </a:extLst>
            </p:cNvPr>
            <p:cNvSpPr/>
            <p:nvPr/>
          </p:nvSpPr>
          <p:spPr>
            <a:xfrm rot="8716295">
              <a:off x="8680164" y="46157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8" name="Forme libre : forme 1417">
              <a:extLst>
                <a:ext uri="{FF2B5EF4-FFF2-40B4-BE49-F238E27FC236}">
                  <a16:creationId xmlns:a16="http://schemas.microsoft.com/office/drawing/2014/main" id="{E513DE33-1C86-4B9E-A5D2-1C775A4B6B9A}"/>
                </a:ext>
              </a:extLst>
            </p:cNvPr>
            <p:cNvSpPr/>
            <p:nvPr/>
          </p:nvSpPr>
          <p:spPr>
            <a:xfrm rot="7484129">
              <a:off x="9031331" y="823575"/>
              <a:ext cx="156001" cy="192535"/>
            </a:xfrm>
            <a:custGeom>
              <a:avLst/>
              <a:gdLst>
                <a:gd name="connsiteX0" fmla="*/ 42863 w 156001"/>
                <a:gd name="connsiteY0" fmla="*/ 192535 h 192535"/>
                <a:gd name="connsiteX1" fmla="*/ 0 w 156001"/>
                <a:gd name="connsiteY1" fmla="*/ 112791 h 192535"/>
                <a:gd name="connsiteX2" fmla="*/ 2226 w 156001"/>
                <a:gd name="connsiteY2" fmla="*/ 106620 h 192535"/>
                <a:gd name="connsiteX3" fmla="*/ 156001 w 156001"/>
                <a:gd name="connsiteY3" fmla="*/ 0 h 192535"/>
                <a:gd name="connsiteX4" fmla="*/ 156001 w 156001"/>
                <a:gd name="connsiteY4" fmla="*/ 51985 h 192535"/>
                <a:gd name="connsiteX5" fmla="*/ 91208 w 156001"/>
                <a:gd name="connsiteY5" fmla="*/ 51985 h 192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6001" h="192535">
                  <a:moveTo>
                    <a:pt x="42863" y="192535"/>
                  </a:moveTo>
                  <a:lnTo>
                    <a:pt x="0" y="112791"/>
                  </a:lnTo>
                  <a:lnTo>
                    <a:pt x="2226" y="106620"/>
                  </a:lnTo>
                  <a:lnTo>
                    <a:pt x="156001" y="0"/>
                  </a:lnTo>
                  <a:lnTo>
                    <a:pt x="156001" y="51985"/>
                  </a:lnTo>
                  <a:lnTo>
                    <a:pt x="91208" y="519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9" name="Forme libre : forme 1418">
              <a:extLst>
                <a:ext uri="{FF2B5EF4-FFF2-40B4-BE49-F238E27FC236}">
                  <a16:creationId xmlns:a16="http://schemas.microsoft.com/office/drawing/2014/main" id="{A1C128FB-3960-4D7F-8598-CEF9CD401A08}"/>
                </a:ext>
              </a:extLst>
            </p:cNvPr>
            <p:cNvSpPr/>
            <p:nvPr/>
          </p:nvSpPr>
          <p:spPr>
            <a:xfrm rot="8716295">
              <a:off x="9021900" y="50400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0" name="Forme libre : forme 1419">
              <a:extLst>
                <a:ext uri="{FF2B5EF4-FFF2-40B4-BE49-F238E27FC236}">
                  <a16:creationId xmlns:a16="http://schemas.microsoft.com/office/drawing/2014/main" id="{BC46D4D0-028A-4521-9F49-7D03D0168DF3}"/>
                </a:ext>
              </a:extLst>
            </p:cNvPr>
            <p:cNvSpPr/>
            <p:nvPr/>
          </p:nvSpPr>
          <p:spPr>
            <a:xfrm rot="8716295">
              <a:off x="8435633" y="6977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1" name="Forme libre : forme 1420">
              <a:extLst>
                <a:ext uri="{FF2B5EF4-FFF2-40B4-BE49-F238E27FC236}">
                  <a16:creationId xmlns:a16="http://schemas.microsoft.com/office/drawing/2014/main" id="{6EAA635A-78A6-405C-8277-7FA4213ACDA7}"/>
                </a:ext>
              </a:extLst>
            </p:cNvPr>
            <p:cNvSpPr/>
            <p:nvPr/>
          </p:nvSpPr>
          <p:spPr>
            <a:xfrm rot="8716295">
              <a:off x="8525025" y="9901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2" name="Forme libre : forme 1421">
              <a:extLst>
                <a:ext uri="{FF2B5EF4-FFF2-40B4-BE49-F238E27FC236}">
                  <a16:creationId xmlns:a16="http://schemas.microsoft.com/office/drawing/2014/main" id="{C5FD0327-5E56-4ECB-88CA-C38610032A32}"/>
                </a:ext>
              </a:extLst>
            </p:cNvPr>
            <p:cNvSpPr/>
            <p:nvPr/>
          </p:nvSpPr>
          <p:spPr>
            <a:xfrm rot="8716295">
              <a:off x="8481025" y="28568"/>
              <a:ext cx="174031" cy="125883"/>
            </a:xfrm>
            <a:custGeom>
              <a:avLst/>
              <a:gdLst>
                <a:gd name="connsiteX0" fmla="*/ 17189 w 174031"/>
                <a:gd name="connsiteY0" fmla="*/ 125883 h 125883"/>
                <a:gd name="connsiteX1" fmla="*/ 0 w 174031"/>
                <a:gd name="connsiteY1" fmla="*/ 113969 h 125883"/>
                <a:gd name="connsiteX2" fmla="*/ 91100 w 174031"/>
                <a:gd name="connsiteY2" fmla="*/ 28251 h 125883"/>
                <a:gd name="connsiteX3" fmla="*/ 145780 w 174031"/>
                <a:gd name="connsiteY3" fmla="*/ 0 h 125883"/>
                <a:gd name="connsiteX4" fmla="*/ 174031 w 174031"/>
                <a:gd name="connsiteY4" fmla="*/ 33719 h 125883"/>
                <a:gd name="connsiteX5" fmla="*/ 147603 w 174031"/>
                <a:gd name="connsiteY5" fmla="*/ 69261 h 125883"/>
                <a:gd name="connsiteX6" fmla="*/ 148058 w 174031"/>
                <a:gd name="connsiteY6" fmla="*/ 69261 h 125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4031" h="125883">
                  <a:moveTo>
                    <a:pt x="17189" y="125883"/>
                  </a:moveTo>
                  <a:lnTo>
                    <a:pt x="0" y="113969"/>
                  </a:lnTo>
                  <a:lnTo>
                    <a:pt x="91100" y="28251"/>
                  </a:lnTo>
                  <a:cubicBezTo>
                    <a:pt x="104771" y="12303"/>
                    <a:pt x="124364" y="2279"/>
                    <a:pt x="145780" y="0"/>
                  </a:cubicBezTo>
                  <a:cubicBezTo>
                    <a:pt x="167652" y="0"/>
                    <a:pt x="174031" y="19138"/>
                    <a:pt x="174031" y="33719"/>
                  </a:cubicBezTo>
                  <a:cubicBezTo>
                    <a:pt x="172664" y="49668"/>
                    <a:pt x="162183" y="62881"/>
                    <a:pt x="147603" y="69261"/>
                  </a:cubicBezTo>
                  <a:lnTo>
                    <a:pt x="148058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3" name="Forme libre : forme 1422">
              <a:extLst>
                <a:ext uri="{FF2B5EF4-FFF2-40B4-BE49-F238E27FC236}">
                  <a16:creationId xmlns:a16="http://schemas.microsoft.com/office/drawing/2014/main" id="{8E0D4F69-3810-42E5-A76B-E65DD8821F35}"/>
                </a:ext>
              </a:extLst>
            </p:cNvPr>
            <p:cNvSpPr/>
            <p:nvPr/>
          </p:nvSpPr>
          <p:spPr>
            <a:xfrm rot="8716295">
              <a:off x="8323399" y="15831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4" name="Forme libre : forme 1423">
              <a:extLst>
                <a:ext uri="{FF2B5EF4-FFF2-40B4-BE49-F238E27FC236}">
                  <a16:creationId xmlns:a16="http://schemas.microsoft.com/office/drawing/2014/main" id="{25E613B1-767E-4C1C-A1A1-1C6EDD583421}"/>
                </a:ext>
              </a:extLst>
            </p:cNvPr>
            <p:cNvSpPr/>
            <p:nvPr/>
          </p:nvSpPr>
          <p:spPr>
            <a:xfrm rot="8716295">
              <a:off x="8205007" y="-15193"/>
              <a:ext cx="203847" cy="157180"/>
            </a:xfrm>
            <a:custGeom>
              <a:avLst/>
              <a:gdLst>
                <a:gd name="connsiteX0" fmla="*/ 104019 w 203847"/>
                <a:gd name="connsiteY0" fmla="*/ 157180 h 157180"/>
                <a:gd name="connsiteX1" fmla="*/ 49658 w 203847"/>
                <a:gd name="connsiteY1" fmla="*/ 119499 h 157180"/>
                <a:gd name="connsiteX2" fmla="*/ 47847 w 203847"/>
                <a:gd name="connsiteY2" fmla="*/ 116129 h 157180"/>
                <a:gd name="connsiteX3" fmla="*/ 69777 w 203847"/>
                <a:gd name="connsiteY3" fmla="*/ 55323 h 157180"/>
                <a:gd name="connsiteX4" fmla="*/ 0 w 203847"/>
                <a:gd name="connsiteY4" fmla="*/ 55323 h 157180"/>
                <a:gd name="connsiteX5" fmla="*/ 0 w 203847"/>
                <a:gd name="connsiteY5" fmla="*/ 0 h 157180"/>
                <a:gd name="connsiteX6" fmla="*/ 203847 w 203847"/>
                <a:gd name="connsiteY6" fmla="*/ 0 h 157180"/>
                <a:gd name="connsiteX7" fmla="*/ 203847 w 203847"/>
                <a:gd name="connsiteY7" fmla="*/ 55323 h 157180"/>
                <a:gd name="connsiteX8" fmla="*/ 139055 w 203847"/>
                <a:gd name="connsiteY8" fmla="*/ 55323 h 157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57180">
                  <a:moveTo>
                    <a:pt x="104019" y="157180"/>
                  </a:moveTo>
                  <a:lnTo>
                    <a:pt x="49658" y="119499"/>
                  </a:ln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5" name="Forme libre : forme 1424">
              <a:extLst>
                <a:ext uri="{FF2B5EF4-FFF2-40B4-BE49-F238E27FC236}">
                  <a16:creationId xmlns:a16="http://schemas.microsoft.com/office/drawing/2014/main" id="{F63808BA-4F7E-40A3-8486-7E6DEBA484C6}"/>
                </a:ext>
              </a:extLst>
            </p:cNvPr>
            <p:cNvSpPr/>
            <p:nvPr/>
          </p:nvSpPr>
          <p:spPr>
            <a:xfrm rot="8716295">
              <a:off x="8444752" y="-32262"/>
              <a:ext cx="79035" cy="109481"/>
            </a:xfrm>
            <a:custGeom>
              <a:avLst/>
              <a:gdLst>
                <a:gd name="connsiteX0" fmla="*/ 79035 w 79035"/>
                <a:gd name="connsiteY0" fmla="*/ 109481 h 109481"/>
                <a:gd name="connsiteX1" fmla="*/ 0 w 79035"/>
                <a:gd name="connsiteY1" fmla="*/ 54697 h 109481"/>
                <a:gd name="connsiteX2" fmla="*/ 0 w 79035"/>
                <a:gd name="connsiteY2" fmla="*/ 40597 h 109481"/>
                <a:gd name="connsiteX3" fmla="*/ 78250 w 79035"/>
                <a:gd name="connsiteY3" fmla="*/ 0 h 109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035" h="109481">
                  <a:moveTo>
                    <a:pt x="79035" y="109481"/>
                  </a:moveTo>
                  <a:lnTo>
                    <a:pt x="0" y="54697"/>
                  </a:lnTo>
                  <a:lnTo>
                    <a:pt x="0" y="40597"/>
                  </a:lnTo>
                  <a:lnTo>
                    <a:pt x="7825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6" name="Forme libre : forme 1425">
              <a:extLst>
                <a:ext uri="{FF2B5EF4-FFF2-40B4-BE49-F238E27FC236}">
                  <a16:creationId xmlns:a16="http://schemas.microsoft.com/office/drawing/2014/main" id="{D63DA307-52BC-4792-8492-1FEF33029CFC}"/>
                </a:ext>
              </a:extLst>
            </p:cNvPr>
            <p:cNvSpPr/>
            <p:nvPr/>
          </p:nvSpPr>
          <p:spPr>
            <a:xfrm rot="8716295">
              <a:off x="8413577" y="19927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7" name="Forme libre : forme 1426">
              <a:extLst>
                <a:ext uri="{FF2B5EF4-FFF2-40B4-BE49-F238E27FC236}">
                  <a16:creationId xmlns:a16="http://schemas.microsoft.com/office/drawing/2014/main" id="{AD849204-8303-4A61-8B71-EA8E15704047}"/>
                </a:ext>
              </a:extLst>
            </p:cNvPr>
            <p:cNvSpPr/>
            <p:nvPr/>
          </p:nvSpPr>
          <p:spPr>
            <a:xfrm rot="8716295">
              <a:off x="8766514" y="-43842"/>
              <a:ext cx="126501" cy="87686"/>
            </a:xfrm>
            <a:custGeom>
              <a:avLst/>
              <a:gdLst>
                <a:gd name="connsiteX0" fmla="*/ 126501 w 126501"/>
                <a:gd name="connsiteY0" fmla="*/ 87686 h 87686"/>
                <a:gd name="connsiteX1" fmla="*/ 0 w 126501"/>
                <a:gd name="connsiteY1" fmla="*/ 0 h 87686"/>
                <a:gd name="connsiteX2" fmla="*/ 69543 w 126501"/>
                <a:gd name="connsiteY2" fmla="*/ 0 h 87686"/>
                <a:gd name="connsiteX3" fmla="*/ 126501 w 126501"/>
                <a:gd name="connsiteY3" fmla="*/ 50123 h 87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501" h="87686">
                  <a:moveTo>
                    <a:pt x="126501" y="87686"/>
                  </a:moveTo>
                  <a:lnTo>
                    <a:pt x="0" y="0"/>
                  </a:lnTo>
                  <a:lnTo>
                    <a:pt x="69543" y="0"/>
                  </a:lnTo>
                  <a:cubicBezTo>
                    <a:pt x="106451" y="0"/>
                    <a:pt x="126500" y="15949"/>
                    <a:pt x="126501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8" name="Forme libre : forme 1427">
              <a:extLst>
                <a:ext uri="{FF2B5EF4-FFF2-40B4-BE49-F238E27FC236}">
                  <a16:creationId xmlns:a16="http://schemas.microsoft.com/office/drawing/2014/main" id="{A2D7FB67-3D0C-4319-811C-4A6A2542C621}"/>
                </a:ext>
              </a:extLst>
            </p:cNvPr>
            <p:cNvSpPr/>
            <p:nvPr/>
          </p:nvSpPr>
          <p:spPr>
            <a:xfrm rot="8716295">
              <a:off x="8856759" y="-11878"/>
              <a:ext cx="260639" cy="98025"/>
            </a:xfrm>
            <a:custGeom>
              <a:avLst/>
              <a:gdLst>
                <a:gd name="connsiteX0" fmla="*/ 121640 w 260639"/>
                <a:gd name="connsiteY0" fmla="*/ 88179 h 98025"/>
                <a:gd name="connsiteX1" fmla="*/ 0 w 260639"/>
                <a:gd name="connsiteY1" fmla="*/ 3862 h 98025"/>
                <a:gd name="connsiteX2" fmla="*/ 0 w 260639"/>
                <a:gd name="connsiteY2" fmla="*/ 1424 h 98025"/>
                <a:gd name="connsiteX3" fmla="*/ 104802 w 260639"/>
                <a:gd name="connsiteY3" fmla="*/ 1424 h 98025"/>
                <a:gd name="connsiteX4" fmla="*/ 104802 w 260639"/>
                <a:gd name="connsiteY4" fmla="*/ 75242 h 98025"/>
                <a:gd name="connsiteX5" fmla="*/ 106170 w 260639"/>
                <a:gd name="connsiteY5" fmla="*/ 75242 h 98025"/>
                <a:gd name="connsiteX6" fmla="*/ 154014 w 260639"/>
                <a:gd name="connsiteY6" fmla="*/ 5981 h 98025"/>
                <a:gd name="connsiteX7" fmla="*/ 185454 w 260639"/>
                <a:gd name="connsiteY7" fmla="*/ 57 h 98025"/>
                <a:gd name="connsiteX8" fmla="*/ 260639 w 260639"/>
                <a:gd name="connsiteY8" fmla="*/ 88456 h 98025"/>
                <a:gd name="connsiteX9" fmla="*/ 260639 w 260639"/>
                <a:gd name="connsiteY9" fmla="*/ 94380 h 98025"/>
                <a:gd name="connsiteX10" fmla="*/ 198669 w 260639"/>
                <a:gd name="connsiteY10" fmla="*/ 98025 h 98025"/>
                <a:gd name="connsiteX11" fmla="*/ 198669 w 260639"/>
                <a:gd name="connsiteY11" fmla="*/ 81621 h 98025"/>
                <a:gd name="connsiteX12" fmla="*/ 164950 w 260639"/>
                <a:gd name="connsiteY12" fmla="*/ 40156 h 98025"/>
                <a:gd name="connsiteX13" fmla="*/ 127358 w 260639"/>
                <a:gd name="connsiteY13" fmla="*/ 65616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60639" h="98025">
                  <a:moveTo>
                    <a:pt x="121640" y="88179"/>
                  </a:moveTo>
                  <a:lnTo>
                    <a:pt x="0" y="3862"/>
                  </a:lnTo>
                  <a:lnTo>
                    <a:pt x="0" y="1424"/>
                  </a:lnTo>
                  <a:lnTo>
                    <a:pt x="104802" y="1424"/>
                  </a:lnTo>
                  <a:lnTo>
                    <a:pt x="104802" y="75242"/>
                  </a:lnTo>
                  <a:lnTo>
                    <a:pt x="106170" y="75242"/>
                  </a:lnTo>
                  <a:cubicBezTo>
                    <a:pt x="120751" y="31954"/>
                    <a:pt x="132143" y="15095"/>
                    <a:pt x="154014" y="5981"/>
                  </a:cubicBezTo>
                  <a:cubicBezTo>
                    <a:pt x="164039" y="1880"/>
                    <a:pt x="174519" y="-398"/>
                    <a:pt x="185454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5"/>
                    <a:pt x="184543" y="40156"/>
                    <a:pt x="164950" y="40156"/>
                  </a:cubicBezTo>
                  <a:cubicBezTo>
                    <a:pt x="150369" y="40156"/>
                    <a:pt x="137041" y="49839"/>
                    <a:pt x="127358" y="656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9" name="Forme libre : forme 1428">
              <a:extLst>
                <a:ext uri="{FF2B5EF4-FFF2-40B4-BE49-F238E27FC236}">
                  <a16:creationId xmlns:a16="http://schemas.microsoft.com/office/drawing/2014/main" id="{7EB29EE7-8CE0-4F9C-BE94-981E02C14E6E}"/>
                </a:ext>
              </a:extLst>
            </p:cNvPr>
            <p:cNvSpPr/>
            <p:nvPr/>
          </p:nvSpPr>
          <p:spPr>
            <a:xfrm rot="8716295">
              <a:off x="8702676" y="-5088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0" name="Forme libre : forme 1429">
              <a:extLst>
                <a:ext uri="{FF2B5EF4-FFF2-40B4-BE49-F238E27FC236}">
                  <a16:creationId xmlns:a16="http://schemas.microsoft.com/office/drawing/2014/main" id="{0BDDD1E9-AF02-445F-B0F9-274E91D802B8}"/>
                </a:ext>
              </a:extLst>
            </p:cNvPr>
            <p:cNvSpPr/>
            <p:nvPr/>
          </p:nvSpPr>
          <p:spPr>
            <a:xfrm rot="7484129">
              <a:off x="8807607" y="14046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1" name="Forme libre : forme 1430">
              <a:extLst>
                <a:ext uri="{FF2B5EF4-FFF2-40B4-BE49-F238E27FC236}">
                  <a16:creationId xmlns:a16="http://schemas.microsoft.com/office/drawing/2014/main" id="{2995B139-7C17-446E-807C-66D934593AD9}"/>
                </a:ext>
              </a:extLst>
            </p:cNvPr>
            <p:cNvSpPr/>
            <p:nvPr/>
          </p:nvSpPr>
          <p:spPr>
            <a:xfrm rot="13089394">
              <a:off x="8909339" y="109550"/>
              <a:ext cx="272584" cy="321941"/>
            </a:xfrm>
            <a:custGeom>
              <a:avLst/>
              <a:gdLst>
                <a:gd name="connsiteX0" fmla="*/ 272584 w 272584"/>
                <a:gd name="connsiteY0" fmla="*/ 258238 h 321941"/>
                <a:gd name="connsiteX1" fmla="*/ 177331 w 272584"/>
                <a:gd name="connsiteY1" fmla="*/ 311348 h 321941"/>
                <a:gd name="connsiteX2" fmla="*/ 137666 w 272584"/>
                <a:gd name="connsiteY2" fmla="*/ 321941 h 321941"/>
                <a:gd name="connsiteX3" fmla="*/ 0 w 272584"/>
                <a:gd name="connsiteY3" fmla="*/ 146725 h 321941"/>
                <a:gd name="connsiteX4" fmla="*/ 0 w 272584"/>
                <a:gd name="connsiteY4" fmla="*/ 38074 h 321941"/>
                <a:gd name="connsiteX5" fmla="*/ 73387 w 272584"/>
                <a:gd name="connsiteY5" fmla="*/ 0 h 321941"/>
                <a:gd name="connsiteX6" fmla="*/ 74491 w 272584"/>
                <a:gd name="connsiteY6" fmla="*/ 153950 h 321941"/>
                <a:gd name="connsiteX7" fmla="*/ 87734 w 272584"/>
                <a:gd name="connsiteY7" fmla="*/ 245547 h 321941"/>
                <a:gd name="connsiteX8" fmla="*/ 153949 w 272584"/>
                <a:gd name="connsiteY8" fmla="*/ 281965 h 321941"/>
                <a:gd name="connsiteX9" fmla="*/ 203610 w 272584"/>
                <a:gd name="connsiteY9" fmla="*/ 273136 h 321941"/>
                <a:gd name="connsiteX10" fmla="*/ 271481 w 272584"/>
                <a:gd name="connsiteY10" fmla="*/ 245547 h 321941"/>
                <a:gd name="connsiteX11" fmla="*/ 272584 w 272584"/>
                <a:gd name="connsiteY11" fmla="*/ 252720 h 321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2584" h="321941">
                  <a:moveTo>
                    <a:pt x="272584" y="258238"/>
                  </a:moveTo>
                  <a:cubicBezTo>
                    <a:pt x="243339" y="283344"/>
                    <a:pt x="209542" y="300312"/>
                    <a:pt x="177331" y="311348"/>
                  </a:cubicBezTo>
                  <a:lnTo>
                    <a:pt x="137666" y="321941"/>
                  </a:lnTo>
                  <a:lnTo>
                    <a:pt x="0" y="146725"/>
                  </a:lnTo>
                  <a:lnTo>
                    <a:pt x="0" y="38074"/>
                  </a:lnTo>
                  <a:lnTo>
                    <a:pt x="73387" y="0"/>
                  </a:lnTo>
                  <a:lnTo>
                    <a:pt x="74491" y="153950"/>
                  </a:lnTo>
                  <a:cubicBezTo>
                    <a:pt x="72836" y="184850"/>
                    <a:pt x="77802" y="216301"/>
                    <a:pt x="87734" y="245547"/>
                  </a:cubicBezTo>
                  <a:cubicBezTo>
                    <a:pt x="96563" y="269826"/>
                    <a:pt x="119187" y="281965"/>
                    <a:pt x="153949" y="281965"/>
                  </a:cubicBezTo>
                  <a:cubicBezTo>
                    <a:pt x="171055" y="281413"/>
                    <a:pt x="187608" y="278102"/>
                    <a:pt x="203610" y="273136"/>
                  </a:cubicBezTo>
                  <a:cubicBezTo>
                    <a:pt x="226786" y="265962"/>
                    <a:pt x="249409" y="256583"/>
                    <a:pt x="271481" y="245547"/>
                  </a:cubicBezTo>
                  <a:cubicBezTo>
                    <a:pt x="272032" y="247754"/>
                    <a:pt x="272584" y="250512"/>
                    <a:pt x="272584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2" name="Forme libre : forme 1431">
              <a:extLst>
                <a:ext uri="{FF2B5EF4-FFF2-40B4-BE49-F238E27FC236}">
                  <a16:creationId xmlns:a16="http://schemas.microsoft.com/office/drawing/2014/main" id="{5A473123-E00F-4291-A955-BB5219A058F6}"/>
                </a:ext>
              </a:extLst>
            </p:cNvPr>
            <p:cNvSpPr/>
            <p:nvPr/>
          </p:nvSpPr>
          <p:spPr>
            <a:xfrm rot="8716295">
              <a:off x="9122688" y="40501"/>
              <a:ext cx="40667" cy="55234"/>
            </a:xfrm>
            <a:custGeom>
              <a:avLst/>
              <a:gdLst>
                <a:gd name="connsiteX0" fmla="*/ 0 w 40667"/>
                <a:gd name="connsiteY0" fmla="*/ 55234 h 55234"/>
                <a:gd name="connsiteX1" fmla="*/ 38286 w 40667"/>
                <a:gd name="connsiteY1" fmla="*/ 0 h 55234"/>
                <a:gd name="connsiteX2" fmla="*/ 40667 w 40667"/>
                <a:gd name="connsiteY2" fmla="*/ 8974 h 55234"/>
                <a:gd name="connsiteX3" fmla="*/ 9497 w 40667"/>
                <a:gd name="connsiteY3" fmla="*/ 50893 h 55234"/>
                <a:gd name="connsiteX4" fmla="*/ 10033 w 40667"/>
                <a:gd name="connsiteY4" fmla="*/ 50893 h 55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667" h="55234">
                  <a:moveTo>
                    <a:pt x="0" y="55234"/>
                  </a:moveTo>
                  <a:lnTo>
                    <a:pt x="38286" y="0"/>
                  </a:lnTo>
                  <a:lnTo>
                    <a:pt x="40667" y="8974"/>
                  </a:lnTo>
                  <a:cubicBezTo>
                    <a:pt x="39055" y="27784"/>
                    <a:pt x="26693" y="43369"/>
                    <a:pt x="9497" y="50893"/>
                  </a:cubicBezTo>
                  <a:lnTo>
                    <a:pt x="10033" y="508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3" name="Forme libre : forme 1432">
              <a:extLst>
                <a:ext uri="{FF2B5EF4-FFF2-40B4-BE49-F238E27FC236}">
                  <a16:creationId xmlns:a16="http://schemas.microsoft.com/office/drawing/2014/main" id="{EE271554-B785-4605-928F-70CAFB70DEA7}"/>
                </a:ext>
              </a:extLst>
            </p:cNvPr>
            <p:cNvSpPr/>
            <p:nvPr/>
          </p:nvSpPr>
          <p:spPr>
            <a:xfrm rot="8716295">
              <a:off x="8952852" y="4155793"/>
              <a:ext cx="183188" cy="195873"/>
            </a:xfrm>
            <a:custGeom>
              <a:avLst/>
              <a:gdLst>
                <a:gd name="connsiteX0" fmla="*/ 70051 w 183188"/>
                <a:gd name="connsiteY0" fmla="*/ 195873 h 195873"/>
                <a:gd name="connsiteX1" fmla="*/ 27188 w 183188"/>
                <a:gd name="connsiteY1" fmla="*/ 116129 h 195873"/>
                <a:gd name="connsiteX2" fmla="*/ 49117 w 183188"/>
                <a:gd name="connsiteY2" fmla="*/ 55323 h 195873"/>
                <a:gd name="connsiteX3" fmla="*/ 0 w 183188"/>
                <a:gd name="connsiteY3" fmla="*/ 55323 h 195873"/>
                <a:gd name="connsiteX4" fmla="*/ 38348 w 183188"/>
                <a:gd name="connsiteY4" fmla="*/ 0 h 195873"/>
                <a:gd name="connsiteX5" fmla="*/ 183188 w 183188"/>
                <a:gd name="connsiteY5" fmla="*/ 0 h 195873"/>
                <a:gd name="connsiteX6" fmla="*/ 183188 w 183188"/>
                <a:gd name="connsiteY6" fmla="*/ 55323 h 195873"/>
                <a:gd name="connsiteX7" fmla="*/ 118395 w 183188"/>
                <a:gd name="connsiteY7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3188" h="195873">
                  <a:moveTo>
                    <a:pt x="70051" y="195873"/>
                  </a:moveTo>
                  <a:lnTo>
                    <a:pt x="27188" y="116129"/>
                  </a:lnTo>
                  <a:lnTo>
                    <a:pt x="49117" y="55323"/>
                  </a:lnTo>
                  <a:lnTo>
                    <a:pt x="0" y="55323"/>
                  </a:lnTo>
                  <a:lnTo>
                    <a:pt x="38348" y="0"/>
                  </a:lnTo>
                  <a:lnTo>
                    <a:pt x="183188" y="0"/>
                  </a:lnTo>
                  <a:lnTo>
                    <a:pt x="183188" y="55323"/>
                  </a:lnTo>
                  <a:lnTo>
                    <a:pt x="11839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1434" name="Forme libre : forme 1433">
            <a:extLst>
              <a:ext uri="{FF2B5EF4-FFF2-40B4-BE49-F238E27FC236}">
                <a16:creationId xmlns:a16="http://schemas.microsoft.com/office/drawing/2014/main" id="{3099C65B-8B10-484F-B315-40A09E366107}"/>
              </a:ext>
            </a:extLst>
          </p:cNvPr>
          <p:cNvSpPr/>
          <p:nvPr userDrawn="1"/>
        </p:nvSpPr>
        <p:spPr>
          <a:xfrm>
            <a:off x="1" y="0"/>
            <a:ext cx="6096000" cy="5143500"/>
          </a:xfrm>
          <a:custGeom>
            <a:avLst/>
            <a:gdLst>
              <a:gd name="connsiteX0" fmla="*/ 0 w 6096000"/>
              <a:gd name="connsiteY0" fmla="*/ 0 h 5143500"/>
              <a:gd name="connsiteX1" fmla="*/ 6096000 w 6096000"/>
              <a:gd name="connsiteY1" fmla="*/ 0 h 5143500"/>
              <a:gd name="connsiteX2" fmla="*/ 5658098 w 6096000"/>
              <a:gd name="connsiteY2" fmla="*/ 5143500 h 5143500"/>
              <a:gd name="connsiteX3" fmla="*/ 0 w 6096000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5143500">
                <a:moveTo>
                  <a:pt x="0" y="0"/>
                </a:moveTo>
                <a:lnTo>
                  <a:pt x="6096000" y="0"/>
                </a:lnTo>
                <a:lnTo>
                  <a:pt x="5658098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412" name="Espace réservé du texte 1411">
            <a:extLst>
              <a:ext uri="{FF2B5EF4-FFF2-40B4-BE49-F238E27FC236}">
                <a16:creationId xmlns:a16="http://schemas.microsoft.com/office/drawing/2014/main" id="{B975A26C-84FD-4C11-BF53-E602FA68DDC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9920" y="812296"/>
            <a:ext cx="36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1413" name="Espace réservé du texte 1412">
            <a:extLst>
              <a:ext uri="{FF2B5EF4-FFF2-40B4-BE49-F238E27FC236}">
                <a16:creationId xmlns:a16="http://schemas.microsoft.com/office/drawing/2014/main" id="{1F3E6244-BF30-44B9-B6F9-BF4959AA80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29920" y="812296"/>
            <a:ext cx="36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1414" name="Titre 1413">
            <a:extLst>
              <a:ext uri="{FF2B5EF4-FFF2-40B4-BE49-F238E27FC236}">
                <a16:creationId xmlns:a16="http://schemas.microsoft.com/office/drawing/2014/main" id="{7B15E4E4-6E7E-48BC-92A9-631F532CE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5123" y="333575"/>
            <a:ext cx="4278481" cy="4247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Titre de la slide</a:t>
            </a:r>
          </a:p>
        </p:txBody>
      </p:sp>
      <p:sp>
        <p:nvSpPr>
          <p:cNvPr id="1435" name="Espace réservé du texte 527">
            <a:extLst>
              <a:ext uri="{FF2B5EF4-FFF2-40B4-BE49-F238E27FC236}">
                <a16:creationId xmlns:a16="http://schemas.microsoft.com/office/drawing/2014/main" id="{122505A0-011B-4B6A-B1E5-4E67B987548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57797" y="4265959"/>
            <a:ext cx="972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1436" name="Espace réservé du texte 528">
            <a:extLst>
              <a:ext uri="{FF2B5EF4-FFF2-40B4-BE49-F238E27FC236}">
                <a16:creationId xmlns:a16="http://schemas.microsoft.com/office/drawing/2014/main" id="{FA2FD6D6-E4AA-4328-9FAB-C95B52D0740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527881" y="4265959"/>
            <a:ext cx="972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rgbClr val="3A1B0B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1437" name="Espace réservé du texte 530">
            <a:extLst>
              <a:ext uri="{FF2B5EF4-FFF2-40B4-BE49-F238E27FC236}">
                <a16:creationId xmlns:a16="http://schemas.microsoft.com/office/drawing/2014/main" id="{08A6D908-22E3-475D-AFD6-C01F2E5AFFB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44353" y="491319"/>
            <a:ext cx="2190214" cy="3455711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1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Niveau 2</a:t>
            </a:r>
          </a:p>
        </p:txBody>
      </p:sp>
      <p:sp>
        <p:nvSpPr>
          <p:cNvPr id="531" name="Espace réservé du numéro de diapositive 530">
            <a:extLst>
              <a:ext uri="{FF2B5EF4-FFF2-40B4-BE49-F238E27FC236}">
                <a16:creationId xmlns:a16="http://schemas.microsoft.com/office/drawing/2014/main" id="{88C86476-5A7E-47D7-A0E9-020EE06E65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00800" y="0"/>
            <a:ext cx="594090" cy="2665951"/>
          </a:xfrm>
          <a:custGeom>
            <a:avLst/>
            <a:gdLst>
              <a:gd name="connsiteX0" fmla="*/ 0 w 594090"/>
              <a:gd name="connsiteY0" fmla="*/ 0 h 2665951"/>
              <a:gd name="connsiteX1" fmla="*/ 594090 w 594090"/>
              <a:gd name="connsiteY1" fmla="*/ 0 h 2665951"/>
              <a:gd name="connsiteX2" fmla="*/ 367119 w 594090"/>
              <a:gd name="connsiteY2" fmla="*/ 2665951 h 2665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94090" h="2665951">
                <a:moveTo>
                  <a:pt x="0" y="0"/>
                </a:moveTo>
                <a:lnTo>
                  <a:pt x="594090" y="0"/>
                </a:lnTo>
                <a:lnTo>
                  <a:pt x="367119" y="2665951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180000" rIns="0" bIns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172643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ur une ligne + Conten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Espace réservé du numéro de diapositive 129">
            <a:extLst>
              <a:ext uri="{FF2B5EF4-FFF2-40B4-BE49-F238E27FC236}">
                <a16:creationId xmlns:a16="http://schemas.microsoft.com/office/drawing/2014/main" id="{62EE913C-626B-433C-BC1F-844371E1C2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9681" y="3148262"/>
            <a:ext cx="444626" cy="1995238"/>
          </a:xfrm>
          <a:custGeom>
            <a:avLst/>
            <a:gdLst>
              <a:gd name="connsiteX0" fmla="*/ 169868 w 444626"/>
              <a:gd name="connsiteY0" fmla="*/ 0 h 1995238"/>
              <a:gd name="connsiteX1" fmla="*/ 444626 w 444626"/>
              <a:gd name="connsiteY1" fmla="*/ 1995238 h 1995238"/>
              <a:gd name="connsiteX2" fmla="*/ 0 w 444626"/>
              <a:gd name="connsiteY2" fmla="*/ 1995238 h 1995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4626" h="1995238">
                <a:moveTo>
                  <a:pt x="169868" y="0"/>
                </a:moveTo>
                <a:lnTo>
                  <a:pt x="444626" y="1995238"/>
                </a:lnTo>
                <a:lnTo>
                  <a:pt x="0" y="199523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180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138" name="Forme libre : forme 137">
            <a:extLst>
              <a:ext uri="{FF2B5EF4-FFF2-40B4-BE49-F238E27FC236}">
                <a16:creationId xmlns:a16="http://schemas.microsoft.com/office/drawing/2014/main" id="{0FDE4FE4-FDFC-41B3-BDA4-CE918EEAE71E}"/>
              </a:ext>
            </a:extLst>
          </p:cNvPr>
          <p:cNvSpPr/>
          <p:nvPr userDrawn="1"/>
        </p:nvSpPr>
        <p:spPr>
          <a:xfrm>
            <a:off x="629550" y="0"/>
            <a:ext cx="8514451" cy="5143499"/>
          </a:xfrm>
          <a:custGeom>
            <a:avLst/>
            <a:gdLst>
              <a:gd name="connsiteX0" fmla="*/ 689595 w 8514451"/>
              <a:gd name="connsiteY0" fmla="*/ 884098 h 5143499"/>
              <a:gd name="connsiteX1" fmla="*/ 689595 w 8514451"/>
              <a:gd name="connsiteY1" fmla="*/ 929817 h 5143499"/>
              <a:gd name="connsiteX2" fmla="*/ 1049595 w 8514451"/>
              <a:gd name="connsiteY2" fmla="*/ 929817 h 5143499"/>
              <a:gd name="connsiteX3" fmla="*/ 1049595 w 8514451"/>
              <a:gd name="connsiteY3" fmla="*/ 884098 h 5143499"/>
              <a:gd name="connsiteX4" fmla="*/ 268034 w 8514451"/>
              <a:gd name="connsiteY4" fmla="*/ 0 h 5143499"/>
              <a:gd name="connsiteX5" fmla="*/ 8514451 w 8514451"/>
              <a:gd name="connsiteY5" fmla="*/ 0 h 5143499"/>
              <a:gd name="connsiteX6" fmla="*/ 8514451 w 8514451"/>
              <a:gd name="connsiteY6" fmla="*/ 5143499 h 5143499"/>
              <a:gd name="connsiteX7" fmla="*/ 274758 w 8514451"/>
              <a:gd name="connsiteY7" fmla="*/ 5143499 h 5143499"/>
              <a:gd name="connsiteX8" fmla="*/ 0 w 8514451"/>
              <a:gd name="connsiteY8" fmla="*/ 3148262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514451" h="5143499">
                <a:moveTo>
                  <a:pt x="689595" y="884098"/>
                </a:moveTo>
                <a:lnTo>
                  <a:pt x="689595" y="929817"/>
                </a:lnTo>
                <a:lnTo>
                  <a:pt x="1049595" y="929817"/>
                </a:lnTo>
                <a:lnTo>
                  <a:pt x="1049595" y="884098"/>
                </a:lnTo>
                <a:close/>
                <a:moveTo>
                  <a:pt x="268034" y="0"/>
                </a:moveTo>
                <a:lnTo>
                  <a:pt x="8514451" y="0"/>
                </a:lnTo>
                <a:lnTo>
                  <a:pt x="8514451" y="5143499"/>
                </a:lnTo>
                <a:lnTo>
                  <a:pt x="274758" y="5143499"/>
                </a:lnTo>
                <a:lnTo>
                  <a:pt x="0" y="31482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48DF42C1-5220-478C-ABAC-92E468D673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Titre de la slide sur une ligne</a:t>
            </a:r>
          </a:p>
        </p:txBody>
      </p:sp>
      <p:sp>
        <p:nvSpPr>
          <p:cNvPr id="9" name="Forme libre : forme 8">
            <a:extLst>
              <a:ext uri="{FF2B5EF4-FFF2-40B4-BE49-F238E27FC236}">
                <a16:creationId xmlns:a16="http://schemas.microsoft.com/office/drawing/2014/main" id="{4100D4C0-1B0B-4813-97B4-727B3F07A2B3}"/>
              </a:ext>
            </a:extLst>
          </p:cNvPr>
          <p:cNvSpPr/>
          <p:nvPr/>
        </p:nvSpPr>
        <p:spPr>
          <a:xfrm rot="8716295">
            <a:off x="617786" y="1780350"/>
            <a:ext cx="152726" cy="195873"/>
          </a:xfrm>
          <a:custGeom>
            <a:avLst/>
            <a:gdLst>
              <a:gd name="connsiteX0" fmla="*/ 39589 w 152726"/>
              <a:gd name="connsiteY0" fmla="*/ 195873 h 195873"/>
              <a:gd name="connsiteX1" fmla="*/ 0 w 152726"/>
              <a:gd name="connsiteY1" fmla="*/ 122219 h 195873"/>
              <a:gd name="connsiteX2" fmla="*/ 101089 w 152726"/>
              <a:gd name="connsiteY2" fmla="*/ 0 h 195873"/>
              <a:gd name="connsiteX3" fmla="*/ 152726 w 152726"/>
              <a:gd name="connsiteY3" fmla="*/ 0 h 195873"/>
              <a:gd name="connsiteX4" fmla="*/ 152726 w 152726"/>
              <a:gd name="connsiteY4" fmla="*/ 55323 h 195873"/>
              <a:gd name="connsiteX5" fmla="*/ 87934 w 152726"/>
              <a:gd name="connsiteY5" fmla="*/ 55323 h 195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2726" h="195873">
                <a:moveTo>
                  <a:pt x="39589" y="195873"/>
                </a:moveTo>
                <a:lnTo>
                  <a:pt x="0" y="122219"/>
                </a:lnTo>
                <a:lnTo>
                  <a:pt x="101089" y="0"/>
                </a:lnTo>
                <a:lnTo>
                  <a:pt x="152726" y="0"/>
                </a:lnTo>
                <a:lnTo>
                  <a:pt x="152726" y="55323"/>
                </a:lnTo>
                <a:lnTo>
                  <a:pt x="87934" y="5532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" name="Forme libre : forme 9">
            <a:extLst>
              <a:ext uri="{FF2B5EF4-FFF2-40B4-BE49-F238E27FC236}">
                <a16:creationId xmlns:a16="http://schemas.microsoft.com/office/drawing/2014/main" id="{CB9A2237-374C-411A-AB62-0191ED80FFE2}"/>
              </a:ext>
            </a:extLst>
          </p:cNvPr>
          <p:cNvSpPr/>
          <p:nvPr/>
        </p:nvSpPr>
        <p:spPr>
          <a:xfrm rot="8716295">
            <a:off x="534441" y="1654353"/>
            <a:ext cx="262864" cy="103234"/>
          </a:xfrm>
          <a:custGeom>
            <a:avLst/>
            <a:gdLst>
              <a:gd name="connsiteX0" fmla="*/ 0 w 262864"/>
              <a:gd name="connsiteY0" fmla="*/ 75341 h 103234"/>
              <a:gd name="connsiteX1" fmla="*/ 62316 w 262864"/>
              <a:gd name="connsiteY1" fmla="*/ 0 h 103234"/>
              <a:gd name="connsiteX2" fmla="*/ 65768 w 262864"/>
              <a:gd name="connsiteY2" fmla="*/ 14220 h 103234"/>
              <a:gd name="connsiteX3" fmla="*/ 136369 w 262864"/>
              <a:gd name="connsiteY3" fmla="*/ 53051 h 103234"/>
              <a:gd name="connsiteX4" fmla="*/ 189321 w 262864"/>
              <a:gd name="connsiteY4" fmla="*/ 43637 h 103234"/>
              <a:gd name="connsiteX5" fmla="*/ 261688 w 262864"/>
              <a:gd name="connsiteY5" fmla="*/ 14220 h 103234"/>
              <a:gd name="connsiteX6" fmla="*/ 262864 w 262864"/>
              <a:gd name="connsiteY6" fmla="*/ 21868 h 103234"/>
              <a:gd name="connsiteX7" fmla="*/ 262864 w 262864"/>
              <a:gd name="connsiteY7" fmla="*/ 27752 h 103234"/>
              <a:gd name="connsiteX8" fmla="*/ 69887 w 262864"/>
              <a:gd name="connsiteY8" fmla="*/ 103060 h 103234"/>
              <a:gd name="connsiteX9" fmla="*/ 30615 w 262864"/>
              <a:gd name="connsiteY9" fmla="*/ 96294 h 1032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2864" h="103234">
                <a:moveTo>
                  <a:pt x="0" y="75341"/>
                </a:moveTo>
                <a:lnTo>
                  <a:pt x="62316" y="0"/>
                </a:lnTo>
                <a:lnTo>
                  <a:pt x="65768" y="14220"/>
                </a:lnTo>
                <a:cubicBezTo>
                  <a:pt x="75182" y="40107"/>
                  <a:pt x="99304" y="53051"/>
                  <a:pt x="136369" y="53051"/>
                </a:cubicBezTo>
                <a:cubicBezTo>
                  <a:pt x="154609" y="52462"/>
                  <a:pt x="172259" y="48932"/>
                  <a:pt x="189321" y="43637"/>
                </a:cubicBezTo>
                <a:cubicBezTo>
                  <a:pt x="214031" y="35988"/>
                  <a:pt x="238154" y="25987"/>
                  <a:pt x="261688" y="14220"/>
                </a:cubicBezTo>
                <a:cubicBezTo>
                  <a:pt x="262276" y="16573"/>
                  <a:pt x="262864" y="19515"/>
                  <a:pt x="262864" y="21868"/>
                </a:cubicBezTo>
                <a:lnTo>
                  <a:pt x="262864" y="27752"/>
                </a:lnTo>
                <a:cubicBezTo>
                  <a:pt x="200500" y="81291"/>
                  <a:pt x="118719" y="100119"/>
                  <a:pt x="69887" y="103060"/>
                </a:cubicBezTo>
                <a:cubicBezTo>
                  <a:pt x="56355" y="103943"/>
                  <a:pt x="42970" y="101442"/>
                  <a:pt x="30615" y="96294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" name="Forme libre : forme 10">
            <a:extLst>
              <a:ext uri="{FF2B5EF4-FFF2-40B4-BE49-F238E27FC236}">
                <a16:creationId xmlns:a16="http://schemas.microsoft.com/office/drawing/2014/main" id="{8F8A3734-3F77-44C7-9A38-570198540CBC}"/>
              </a:ext>
            </a:extLst>
          </p:cNvPr>
          <p:cNvSpPr/>
          <p:nvPr/>
        </p:nvSpPr>
        <p:spPr>
          <a:xfrm rot="8716295">
            <a:off x="632719" y="1232432"/>
            <a:ext cx="121558" cy="232388"/>
          </a:xfrm>
          <a:custGeom>
            <a:avLst/>
            <a:gdLst>
              <a:gd name="connsiteX0" fmla="*/ 60499 w 121558"/>
              <a:gd name="connsiteY0" fmla="*/ 232388 h 232388"/>
              <a:gd name="connsiteX1" fmla="*/ 60499 w 121558"/>
              <a:gd name="connsiteY1" fmla="*/ 69717 h 232388"/>
              <a:gd name="connsiteX2" fmla="*/ 60499 w 121558"/>
              <a:gd name="connsiteY2" fmla="*/ 65615 h 232388"/>
              <a:gd name="connsiteX3" fmla="*/ 39995 w 121558"/>
              <a:gd name="connsiteY3" fmla="*/ 50123 h 232388"/>
              <a:gd name="connsiteX4" fmla="*/ 0 w 121558"/>
              <a:gd name="connsiteY4" fmla="*/ 50123 h 232388"/>
              <a:gd name="connsiteX5" fmla="*/ 41457 w 121558"/>
              <a:gd name="connsiteY5" fmla="*/ 0 h 232388"/>
              <a:gd name="connsiteX6" fmla="*/ 64601 w 121558"/>
              <a:gd name="connsiteY6" fmla="*/ 0 h 232388"/>
              <a:gd name="connsiteX7" fmla="*/ 121558 w 121558"/>
              <a:gd name="connsiteY7" fmla="*/ 50123 h 232388"/>
              <a:gd name="connsiteX8" fmla="*/ 121558 w 121558"/>
              <a:gd name="connsiteY8" fmla="*/ 208238 h 232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558" h="232388">
                <a:moveTo>
                  <a:pt x="60499" y="232388"/>
                </a:moveTo>
                <a:lnTo>
                  <a:pt x="60499" y="69717"/>
                </a:lnTo>
                <a:cubicBezTo>
                  <a:pt x="60499" y="68349"/>
                  <a:pt x="60499" y="66983"/>
                  <a:pt x="60499" y="65615"/>
                </a:cubicBezTo>
                <a:cubicBezTo>
                  <a:pt x="59133" y="55591"/>
                  <a:pt x="50019" y="48756"/>
                  <a:pt x="39995" y="50123"/>
                </a:cubicBezTo>
                <a:lnTo>
                  <a:pt x="0" y="50123"/>
                </a:lnTo>
                <a:lnTo>
                  <a:pt x="41457" y="0"/>
                </a:lnTo>
                <a:lnTo>
                  <a:pt x="64601" y="0"/>
                </a:lnTo>
                <a:cubicBezTo>
                  <a:pt x="101509" y="0"/>
                  <a:pt x="121558" y="15948"/>
                  <a:pt x="121558" y="50123"/>
                </a:cubicBezTo>
                <a:lnTo>
                  <a:pt x="121558" y="208238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" name="Forme libre : forme 11">
            <a:extLst>
              <a:ext uri="{FF2B5EF4-FFF2-40B4-BE49-F238E27FC236}">
                <a16:creationId xmlns:a16="http://schemas.microsoft.com/office/drawing/2014/main" id="{70856B7B-717B-4AEA-95A4-A1E79A999538}"/>
              </a:ext>
            </a:extLst>
          </p:cNvPr>
          <p:cNvSpPr/>
          <p:nvPr/>
        </p:nvSpPr>
        <p:spPr>
          <a:xfrm rot="8716295">
            <a:off x="763454" y="1474783"/>
            <a:ext cx="14143" cy="14319"/>
          </a:xfrm>
          <a:custGeom>
            <a:avLst/>
            <a:gdLst>
              <a:gd name="connsiteX0" fmla="*/ 0 w 14143"/>
              <a:gd name="connsiteY0" fmla="*/ 14319 h 14319"/>
              <a:gd name="connsiteX1" fmla="*/ 11843 w 14143"/>
              <a:gd name="connsiteY1" fmla="*/ 0 h 14319"/>
              <a:gd name="connsiteX2" fmla="*/ 14143 w 14143"/>
              <a:gd name="connsiteY2" fmla="*/ 7563 h 14319"/>
              <a:gd name="connsiteX3" fmla="*/ 14143 w 14143"/>
              <a:gd name="connsiteY3" fmla="*/ 13487 h 143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143" h="14319">
                <a:moveTo>
                  <a:pt x="0" y="14319"/>
                </a:moveTo>
                <a:lnTo>
                  <a:pt x="11843" y="0"/>
                </a:lnTo>
                <a:lnTo>
                  <a:pt x="14143" y="7563"/>
                </a:lnTo>
                <a:lnTo>
                  <a:pt x="14143" y="13487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3E264A51-6081-4342-94AB-E5098D8BEE47}"/>
              </a:ext>
            </a:extLst>
          </p:cNvPr>
          <p:cNvSpPr/>
          <p:nvPr/>
        </p:nvSpPr>
        <p:spPr>
          <a:xfrm rot="8716295">
            <a:off x="672878" y="1171577"/>
            <a:ext cx="183964" cy="137618"/>
          </a:xfrm>
          <a:custGeom>
            <a:avLst/>
            <a:gdLst>
              <a:gd name="connsiteX0" fmla="*/ 0 w 183964"/>
              <a:gd name="connsiteY0" fmla="*/ 137618 h 137618"/>
              <a:gd name="connsiteX1" fmla="*/ 53346 w 183964"/>
              <a:gd name="connsiteY1" fmla="*/ 73121 h 137618"/>
              <a:gd name="connsiteX2" fmla="*/ 101034 w 183964"/>
              <a:gd name="connsiteY2" fmla="*/ 28251 h 137618"/>
              <a:gd name="connsiteX3" fmla="*/ 155713 w 183964"/>
              <a:gd name="connsiteY3" fmla="*/ 0 h 137618"/>
              <a:gd name="connsiteX4" fmla="*/ 183964 w 183964"/>
              <a:gd name="connsiteY4" fmla="*/ 33719 h 137618"/>
              <a:gd name="connsiteX5" fmla="*/ 157536 w 183964"/>
              <a:gd name="connsiteY5" fmla="*/ 69261 h 137618"/>
              <a:gd name="connsiteX6" fmla="*/ 157991 w 183964"/>
              <a:gd name="connsiteY6" fmla="*/ 69261 h 137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3964" h="137618">
                <a:moveTo>
                  <a:pt x="0" y="137618"/>
                </a:moveTo>
                <a:lnTo>
                  <a:pt x="53346" y="73121"/>
                </a:lnTo>
                <a:lnTo>
                  <a:pt x="101034" y="28251"/>
                </a:lnTo>
                <a:cubicBezTo>
                  <a:pt x="114703" y="12303"/>
                  <a:pt x="134297" y="2278"/>
                  <a:pt x="155713" y="0"/>
                </a:cubicBezTo>
                <a:cubicBezTo>
                  <a:pt x="177585" y="0"/>
                  <a:pt x="183964" y="19138"/>
                  <a:pt x="183964" y="33719"/>
                </a:cubicBezTo>
                <a:cubicBezTo>
                  <a:pt x="182597" y="49667"/>
                  <a:pt x="172117" y="62881"/>
                  <a:pt x="157536" y="69261"/>
                </a:cubicBezTo>
                <a:lnTo>
                  <a:pt x="157991" y="69261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03D4C536-74A8-424A-B4F4-647CD66813A6}"/>
              </a:ext>
            </a:extLst>
          </p:cNvPr>
          <p:cNvSpPr/>
          <p:nvPr/>
        </p:nvSpPr>
        <p:spPr>
          <a:xfrm rot="8716295">
            <a:off x="519479" y="1314846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5" name="Forme libre : forme 14">
            <a:extLst>
              <a:ext uri="{FF2B5EF4-FFF2-40B4-BE49-F238E27FC236}">
                <a16:creationId xmlns:a16="http://schemas.microsoft.com/office/drawing/2014/main" id="{6C726A65-5764-428F-B78B-B207E19CC8A7}"/>
              </a:ext>
            </a:extLst>
          </p:cNvPr>
          <p:cNvSpPr/>
          <p:nvPr/>
        </p:nvSpPr>
        <p:spPr>
          <a:xfrm rot="8716295">
            <a:off x="394576" y="1106173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6" name="Forme libre : forme 15">
            <a:extLst>
              <a:ext uri="{FF2B5EF4-FFF2-40B4-BE49-F238E27FC236}">
                <a16:creationId xmlns:a16="http://schemas.microsoft.com/office/drawing/2014/main" id="{B057F75B-3923-494B-B65B-A96E682E21D4}"/>
              </a:ext>
            </a:extLst>
          </p:cNvPr>
          <p:cNvSpPr/>
          <p:nvPr/>
        </p:nvSpPr>
        <p:spPr>
          <a:xfrm rot="8716295">
            <a:off x="382524" y="967393"/>
            <a:ext cx="288290" cy="347125"/>
          </a:xfrm>
          <a:custGeom>
            <a:avLst/>
            <a:gdLst>
              <a:gd name="connsiteX0" fmla="*/ 470535 w 466725"/>
              <a:gd name="connsiteY0" fmla="*/ 436245 h 561975"/>
              <a:gd name="connsiteX1" fmla="*/ 470535 w 466725"/>
              <a:gd name="connsiteY1" fmla="*/ 445770 h 561975"/>
              <a:gd name="connsiteX2" fmla="*/ 158115 w 466725"/>
              <a:gd name="connsiteY2" fmla="*/ 567690 h 561975"/>
              <a:gd name="connsiteX3" fmla="*/ 40957 w 466725"/>
              <a:gd name="connsiteY3" fmla="*/ 520065 h 561975"/>
              <a:gd name="connsiteX4" fmla="*/ 0 w 466725"/>
              <a:gd name="connsiteY4" fmla="*/ 356235 h 561975"/>
              <a:gd name="connsiteX5" fmla="*/ 0 w 466725"/>
              <a:gd name="connsiteY5" fmla="*/ 65723 h 561975"/>
              <a:gd name="connsiteX6" fmla="*/ 126682 w 466725"/>
              <a:gd name="connsiteY6" fmla="*/ 0 h 561975"/>
              <a:gd name="connsiteX7" fmla="*/ 128588 w 466725"/>
              <a:gd name="connsiteY7" fmla="*/ 265748 h 561975"/>
              <a:gd name="connsiteX8" fmla="*/ 151447 w 466725"/>
              <a:gd name="connsiteY8" fmla="*/ 423863 h 561975"/>
              <a:gd name="connsiteX9" fmla="*/ 265747 w 466725"/>
              <a:gd name="connsiteY9" fmla="*/ 486728 h 561975"/>
              <a:gd name="connsiteX10" fmla="*/ 351472 w 466725"/>
              <a:gd name="connsiteY10" fmla="*/ 471488 h 561975"/>
              <a:gd name="connsiteX11" fmla="*/ 468630 w 466725"/>
              <a:gd name="connsiteY11" fmla="*/ 423863 h 561975"/>
              <a:gd name="connsiteX12" fmla="*/ 470535 w 466725"/>
              <a:gd name="connsiteY12" fmla="*/ 436245 h 56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6725" h="561975">
                <a:moveTo>
                  <a:pt x="470535" y="436245"/>
                </a:moveTo>
                <a:lnTo>
                  <a:pt x="470535" y="445770"/>
                </a:lnTo>
                <a:cubicBezTo>
                  <a:pt x="369570" y="532448"/>
                  <a:pt x="237172" y="562928"/>
                  <a:pt x="158115" y="567690"/>
                </a:cubicBezTo>
                <a:cubicBezTo>
                  <a:pt x="114300" y="570548"/>
                  <a:pt x="71438" y="551498"/>
                  <a:pt x="40957" y="520065"/>
                </a:cubicBezTo>
                <a:cubicBezTo>
                  <a:pt x="8572" y="488633"/>
                  <a:pt x="0" y="434340"/>
                  <a:pt x="0" y="356235"/>
                </a:cubicBezTo>
                <a:lnTo>
                  <a:pt x="0" y="65723"/>
                </a:lnTo>
                <a:lnTo>
                  <a:pt x="126682" y="0"/>
                </a:lnTo>
                <a:lnTo>
                  <a:pt x="128588" y="265748"/>
                </a:lnTo>
                <a:cubicBezTo>
                  <a:pt x="125730" y="319088"/>
                  <a:pt x="134302" y="373380"/>
                  <a:pt x="151447" y="423863"/>
                </a:cubicBezTo>
                <a:cubicBezTo>
                  <a:pt x="166688" y="465773"/>
                  <a:pt x="205740" y="486728"/>
                  <a:pt x="265747" y="486728"/>
                </a:cubicBezTo>
                <a:cubicBezTo>
                  <a:pt x="295275" y="485775"/>
                  <a:pt x="323850" y="480060"/>
                  <a:pt x="351472" y="471488"/>
                </a:cubicBezTo>
                <a:cubicBezTo>
                  <a:pt x="391477" y="459105"/>
                  <a:pt x="430530" y="442913"/>
                  <a:pt x="468630" y="423863"/>
                </a:cubicBezTo>
                <a:cubicBezTo>
                  <a:pt x="469582" y="427673"/>
                  <a:pt x="470535" y="432435"/>
                  <a:pt x="470535" y="43624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7" name="Forme libre : forme 16">
            <a:extLst>
              <a:ext uri="{FF2B5EF4-FFF2-40B4-BE49-F238E27FC236}">
                <a16:creationId xmlns:a16="http://schemas.microsoft.com/office/drawing/2014/main" id="{B57FA1DB-CF40-4C3B-8603-B0C589DE9032}"/>
              </a:ext>
            </a:extLst>
          </p:cNvPr>
          <p:cNvSpPr/>
          <p:nvPr/>
        </p:nvSpPr>
        <p:spPr>
          <a:xfrm rot="8716295">
            <a:off x="609657" y="1355798"/>
            <a:ext cx="100246" cy="218718"/>
          </a:xfrm>
          <a:custGeom>
            <a:avLst/>
            <a:gdLst>
              <a:gd name="connsiteX0" fmla="*/ 216217 w 209550"/>
              <a:gd name="connsiteY0" fmla="*/ 0 h 457200"/>
              <a:gd name="connsiteX1" fmla="*/ 216217 w 209550"/>
              <a:gd name="connsiteY1" fmla="*/ 458153 h 457200"/>
              <a:gd name="connsiteX2" fmla="*/ 90488 w 209550"/>
              <a:gd name="connsiteY2" fmla="*/ 337185 h 457200"/>
              <a:gd name="connsiteX3" fmla="*/ 90488 w 209550"/>
              <a:gd name="connsiteY3" fmla="*/ 34290 h 457200"/>
              <a:gd name="connsiteX4" fmla="*/ 0 w 209550"/>
              <a:gd name="connsiteY4" fmla="*/ 34290 h 457200"/>
              <a:gd name="connsiteX5" fmla="*/ 0 w 209550"/>
              <a:gd name="connsiteY5" fmla="*/ 4763 h 457200"/>
              <a:gd name="connsiteX6" fmla="*/ 216217 w 209550"/>
              <a:gd name="connsiteY6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9550" h="457200">
                <a:moveTo>
                  <a:pt x="216217" y="0"/>
                </a:moveTo>
                <a:lnTo>
                  <a:pt x="216217" y="458153"/>
                </a:lnTo>
                <a:lnTo>
                  <a:pt x="90488" y="337185"/>
                </a:lnTo>
                <a:lnTo>
                  <a:pt x="90488" y="34290"/>
                </a:lnTo>
                <a:lnTo>
                  <a:pt x="0" y="34290"/>
                </a:lnTo>
                <a:lnTo>
                  <a:pt x="0" y="4763"/>
                </a:lnTo>
                <a:cubicBezTo>
                  <a:pt x="68580" y="7620"/>
                  <a:pt x="140017" y="1905"/>
                  <a:pt x="216217" y="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8" name="Forme libre : forme 17">
            <a:extLst>
              <a:ext uri="{FF2B5EF4-FFF2-40B4-BE49-F238E27FC236}">
                <a16:creationId xmlns:a16="http://schemas.microsoft.com/office/drawing/2014/main" id="{8AA6873E-3CFC-4928-9C0D-5E1C199A6A43}"/>
              </a:ext>
            </a:extLst>
          </p:cNvPr>
          <p:cNvSpPr/>
          <p:nvPr/>
        </p:nvSpPr>
        <p:spPr>
          <a:xfrm rot="8716295">
            <a:off x="683426" y="869567"/>
            <a:ext cx="156000" cy="195873"/>
          </a:xfrm>
          <a:custGeom>
            <a:avLst/>
            <a:gdLst>
              <a:gd name="connsiteX0" fmla="*/ 42863 w 156000"/>
              <a:gd name="connsiteY0" fmla="*/ 195873 h 195873"/>
              <a:gd name="connsiteX1" fmla="*/ 0 w 156000"/>
              <a:gd name="connsiteY1" fmla="*/ 116129 h 195873"/>
              <a:gd name="connsiteX2" fmla="*/ 5100 w 156000"/>
              <a:gd name="connsiteY2" fmla="*/ 101988 h 195873"/>
              <a:gd name="connsiteX3" fmla="*/ 89456 w 156000"/>
              <a:gd name="connsiteY3" fmla="*/ 0 h 195873"/>
              <a:gd name="connsiteX4" fmla="*/ 156000 w 156000"/>
              <a:gd name="connsiteY4" fmla="*/ 0 h 195873"/>
              <a:gd name="connsiteX5" fmla="*/ 156000 w 156000"/>
              <a:gd name="connsiteY5" fmla="*/ 55323 h 195873"/>
              <a:gd name="connsiteX6" fmla="*/ 91208 w 156000"/>
              <a:gd name="connsiteY6" fmla="*/ 55323 h 195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6000" h="195873">
                <a:moveTo>
                  <a:pt x="42863" y="195873"/>
                </a:moveTo>
                <a:lnTo>
                  <a:pt x="0" y="116129"/>
                </a:lnTo>
                <a:lnTo>
                  <a:pt x="5100" y="101988"/>
                </a:lnTo>
                <a:lnTo>
                  <a:pt x="89456" y="0"/>
                </a:lnTo>
                <a:lnTo>
                  <a:pt x="156000" y="0"/>
                </a:lnTo>
                <a:lnTo>
                  <a:pt x="156000" y="55323"/>
                </a:lnTo>
                <a:lnTo>
                  <a:pt x="91208" y="5532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9" name="Forme libre : forme 18">
            <a:extLst>
              <a:ext uri="{FF2B5EF4-FFF2-40B4-BE49-F238E27FC236}">
                <a16:creationId xmlns:a16="http://schemas.microsoft.com/office/drawing/2014/main" id="{0609DC7B-52A5-4494-9388-1386F1B7ECA0}"/>
              </a:ext>
            </a:extLst>
          </p:cNvPr>
          <p:cNvSpPr/>
          <p:nvPr/>
        </p:nvSpPr>
        <p:spPr>
          <a:xfrm rot="8716295">
            <a:off x="657305" y="956046"/>
            <a:ext cx="72447" cy="72447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0" name="Forme libre : forme 19">
            <a:extLst>
              <a:ext uri="{FF2B5EF4-FFF2-40B4-BE49-F238E27FC236}">
                <a16:creationId xmlns:a16="http://schemas.microsoft.com/office/drawing/2014/main" id="{FA9B5438-F371-4C5C-851A-CA35F035D933}"/>
              </a:ext>
            </a:extLst>
          </p:cNvPr>
          <p:cNvSpPr/>
          <p:nvPr/>
        </p:nvSpPr>
        <p:spPr>
          <a:xfrm rot="8716295">
            <a:off x="412774" y="564244"/>
            <a:ext cx="141256" cy="232388"/>
          </a:xfrm>
          <a:custGeom>
            <a:avLst/>
            <a:gdLst>
              <a:gd name="connsiteX0" fmla="*/ 297180 w 295275"/>
              <a:gd name="connsiteY0" fmla="*/ 104775 h 485775"/>
              <a:gd name="connsiteX1" fmla="*/ 297180 w 295275"/>
              <a:gd name="connsiteY1" fmla="*/ 435293 h 485775"/>
              <a:gd name="connsiteX2" fmla="*/ 169545 w 295275"/>
              <a:gd name="connsiteY2" fmla="*/ 485775 h 485775"/>
              <a:gd name="connsiteX3" fmla="*/ 169545 w 295275"/>
              <a:gd name="connsiteY3" fmla="*/ 145733 h 485775"/>
              <a:gd name="connsiteX4" fmla="*/ 169545 w 295275"/>
              <a:gd name="connsiteY4" fmla="*/ 137160 h 485775"/>
              <a:gd name="connsiteX5" fmla="*/ 126683 w 295275"/>
              <a:gd name="connsiteY5" fmla="*/ 104775 h 485775"/>
              <a:gd name="connsiteX6" fmla="*/ 0 w 295275"/>
              <a:gd name="connsiteY6" fmla="*/ 104775 h 485775"/>
              <a:gd name="connsiteX7" fmla="*/ 0 w 295275"/>
              <a:gd name="connsiteY7" fmla="*/ 0 h 485775"/>
              <a:gd name="connsiteX8" fmla="*/ 178118 w 295275"/>
              <a:gd name="connsiteY8" fmla="*/ 0 h 485775"/>
              <a:gd name="connsiteX9" fmla="*/ 297180 w 295275"/>
              <a:gd name="connsiteY9" fmla="*/ 104775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95275" h="485775">
                <a:moveTo>
                  <a:pt x="297180" y="104775"/>
                </a:moveTo>
                <a:lnTo>
                  <a:pt x="297180" y="435293"/>
                </a:lnTo>
                <a:lnTo>
                  <a:pt x="169545" y="485775"/>
                </a:lnTo>
                <a:lnTo>
                  <a:pt x="169545" y="145733"/>
                </a:lnTo>
                <a:cubicBezTo>
                  <a:pt x="169545" y="142875"/>
                  <a:pt x="169545" y="140018"/>
                  <a:pt x="169545" y="137160"/>
                </a:cubicBezTo>
                <a:cubicBezTo>
                  <a:pt x="166688" y="116205"/>
                  <a:pt x="147638" y="101918"/>
                  <a:pt x="126683" y="104775"/>
                </a:cubicBezTo>
                <a:lnTo>
                  <a:pt x="0" y="104775"/>
                </a:lnTo>
                <a:lnTo>
                  <a:pt x="0" y="0"/>
                </a:lnTo>
                <a:lnTo>
                  <a:pt x="178118" y="0"/>
                </a:lnTo>
                <a:cubicBezTo>
                  <a:pt x="255270" y="0"/>
                  <a:pt x="297180" y="33338"/>
                  <a:pt x="297180" y="10477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1" name="Forme libre : forme 20">
            <a:extLst>
              <a:ext uri="{FF2B5EF4-FFF2-40B4-BE49-F238E27FC236}">
                <a16:creationId xmlns:a16="http://schemas.microsoft.com/office/drawing/2014/main" id="{ED2997EF-2C09-4DA3-BB88-8DA5032A40C8}"/>
              </a:ext>
            </a:extLst>
          </p:cNvPr>
          <p:cNvSpPr/>
          <p:nvPr/>
        </p:nvSpPr>
        <p:spPr>
          <a:xfrm rot="8716295">
            <a:off x="502166" y="593486"/>
            <a:ext cx="259728" cy="250615"/>
          </a:xfrm>
          <a:custGeom>
            <a:avLst/>
            <a:gdLst>
              <a:gd name="connsiteX0" fmla="*/ 544830 w 542925"/>
              <a:gd name="connsiteY0" fmla="*/ 184905 h 523875"/>
              <a:gd name="connsiteX1" fmla="*/ 544830 w 542925"/>
              <a:gd name="connsiteY1" fmla="*/ 197288 h 523875"/>
              <a:gd name="connsiteX2" fmla="*/ 415290 w 542925"/>
              <a:gd name="connsiteY2" fmla="*/ 204908 h 523875"/>
              <a:gd name="connsiteX3" fmla="*/ 415290 w 542925"/>
              <a:gd name="connsiteY3" fmla="*/ 170618 h 523875"/>
              <a:gd name="connsiteX4" fmla="*/ 344805 w 542925"/>
              <a:gd name="connsiteY4" fmla="*/ 83940 h 523875"/>
              <a:gd name="connsiteX5" fmla="*/ 233363 w 542925"/>
              <a:gd name="connsiteY5" fmla="*/ 266820 h 523875"/>
              <a:gd name="connsiteX6" fmla="*/ 233363 w 542925"/>
              <a:gd name="connsiteY6" fmla="*/ 446843 h 523875"/>
              <a:gd name="connsiteX7" fmla="*/ 107632 w 542925"/>
              <a:gd name="connsiteY7" fmla="*/ 532568 h 523875"/>
              <a:gd name="connsiteX8" fmla="*/ 107632 w 542925"/>
              <a:gd name="connsiteY8" fmla="*/ 95370 h 523875"/>
              <a:gd name="connsiteX9" fmla="*/ 0 w 542925"/>
              <a:gd name="connsiteY9" fmla="*/ 95370 h 523875"/>
              <a:gd name="connsiteX10" fmla="*/ 0 w 542925"/>
              <a:gd name="connsiteY10" fmla="*/ 2978 h 523875"/>
              <a:gd name="connsiteX11" fmla="*/ 219075 w 542925"/>
              <a:gd name="connsiteY11" fmla="*/ 2978 h 523875"/>
              <a:gd name="connsiteX12" fmla="*/ 219075 w 542925"/>
              <a:gd name="connsiteY12" fmla="*/ 157283 h 523875"/>
              <a:gd name="connsiteX13" fmla="*/ 221932 w 542925"/>
              <a:gd name="connsiteY13" fmla="*/ 157283 h 523875"/>
              <a:gd name="connsiteX14" fmla="*/ 321945 w 542925"/>
              <a:gd name="connsiteY14" fmla="*/ 12503 h 523875"/>
              <a:gd name="connsiteX15" fmla="*/ 387667 w 542925"/>
              <a:gd name="connsiteY15" fmla="*/ 120 h 523875"/>
              <a:gd name="connsiteX16" fmla="*/ 544830 w 542925"/>
              <a:gd name="connsiteY16" fmla="*/ 18490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42925" h="523875">
                <a:moveTo>
                  <a:pt x="544830" y="184905"/>
                </a:moveTo>
                <a:lnTo>
                  <a:pt x="544830" y="197288"/>
                </a:lnTo>
                <a:lnTo>
                  <a:pt x="415290" y="204908"/>
                </a:lnTo>
                <a:lnTo>
                  <a:pt x="415290" y="170618"/>
                </a:lnTo>
                <a:cubicBezTo>
                  <a:pt x="415290" y="119183"/>
                  <a:pt x="385763" y="83940"/>
                  <a:pt x="344805" y="83940"/>
                </a:cubicBezTo>
                <a:cubicBezTo>
                  <a:pt x="283845" y="83940"/>
                  <a:pt x="233363" y="164903"/>
                  <a:pt x="233363" y="266820"/>
                </a:cubicBezTo>
                <a:lnTo>
                  <a:pt x="233363" y="446843"/>
                </a:lnTo>
                <a:lnTo>
                  <a:pt x="107632" y="532568"/>
                </a:lnTo>
                <a:lnTo>
                  <a:pt x="107632" y="95370"/>
                </a:lnTo>
                <a:lnTo>
                  <a:pt x="0" y="95370"/>
                </a:lnTo>
                <a:lnTo>
                  <a:pt x="0" y="2978"/>
                </a:lnTo>
                <a:lnTo>
                  <a:pt x="219075" y="2978"/>
                </a:lnTo>
                <a:lnTo>
                  <a:pt x="219075" y="157283"/>
                </a:lnTo>
                <a:lnTo>
                  <a:pt x="221932" y="157283"/>
                </a:lnTo>
                <a:cubicBezTo>
                  <a:pt x="252413" y="66795"/>
                  <a:pt x="276225" y="31553"/>
                  <a:pt x="321945" y="12503"/>
                </a:cubicBezTo>
                <a:cubicBezTo>
                  <a:pt x="342900" y="3930"/>
                  <a:pt x="364807" y="-832"/>
                  <a:pt x="387667" y="120"/>
                </a:cubicBezTo>
                <a:cubicBezTo>
                  <a:pt x="485775" y="-1785"/>
                  <a:pt x="544830" y="66795"/>
                  <a:pt x="544830" y="18490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2" name="Forme libre : forme 21">
            <a:extLst>
              <a:ext uri="{FF2B5EF4-FFF2-40B4-BE49-F238E27FC236}">
                <a16:creationId xmlns:a16="http://schemas.microsoft.com/office/drawing/2014/main" id="{DBD136C4-820E-4184-B91F-ED5B5690DC24}"/>
              </a:ext>
            </a:extLst>
          </p:cNvPr>
          <p:cNvSpPr/>
          <p:nvPr/>
        </p:nvSpPr>
        <p:spPr>
          <a:xfrm rot="8716295">
            <a:off x="457316" y="507206"/>
            <a:ext cx="186822" cy="136699"/>
          </a:xfrm>
          <a:custGeom>
            <a:avLst/>
            <a:gdLst>
              <a:gd name="connsiteX0" fmla="*/ 343853 w 390525"/>
              <a:gd name="connsiteY0" fmla="*/ 144780 h 285750"/>
              <a:gd name="connsiteX1" fmla="*/ 344805 w 390525"/>
              <a:gd name="connsiteY1" fmla="*/ 144780 h 285750"/>
              <a:gd name="connsiteX2" fmla="*/ 12382 w 390525"/>
              <a:gd name="connsiteY2" fmla="*/ 288608 h 285750"/>
              <a:gd name="connsiteX3" fmla="*/ 0 w 390525"/>
              <a:gd name="connsiteY3" fmla="*/ 271463 h 285750"/>
              <a:gd name="connsiteX4" fmla="*/ 225743 w 390525"/>
              <a:gd name="connsiteY4" fmla="*/ 59055 h 285750"/>
              <a:gd name="connsiteX5" fmla="*/ 340043 w 390525"/>
              <a:gd name="connsiteY5" fmla="*/ 0 h 285750"/>
              <a:gd name="connsiteX6" fmla="*/ 399098 w 390525"/>
              <a:gd name="connsiteY6" fmla="*/ 70485 h 285750"/>
              <a:gd name="connsiteX7" fmla="*/ 343853 w 390525"/>
              <a:gd name="connsiteY7" fmla="*/ 14478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0525" h="285750">
                <a:moveTo>
                  <a:pt x="343853" y="144780"/>
                </a:moveTo>
                <a:lnTo>
                  <a:pt x="344805" y="144780"/>
                </a:lnTo>
                <a:lnTo>
                  <a:pt x="12382" y="288608"/>
                </a:lnTo>
                <a:lnTo>
                  <a:pt x="0" y="271463"/>
                </a:lnTo>
                <a:lnTo>
                  <a:pt x="225743" y="59055"/>
                </a:lnTo>
                <a:cubicBezTo>
                  <a:pt x="254318" y="25718"/>
                  <a:pt x="295275" y="4763"/>
                  <a:pt x="340043" y="0"/>
                </a:cubicBezTo>
                <a:cubicBezTo>
                  <a:pt x="385763" y="0"/>
                  <a:pt x="399098" y="40005"/>
                  <a:pt x="399098" y="70485"/>
                </a:cubicBezTo>
                <a:cubicBezTo>
                  <a:pt x="396240" y="103823"/>
                  <a:pt x="374332" y="131445"/>
                  <a:pt x="343853" y="14478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3" name="Forme libre : forme 22">
            <a:extLst>
              <a:ext uri="{FF2B5EF4-FFF2-40B4-BE49-F238E27FC236}">
                <a16:creationId xmlns:a16="http://schemas.microsoft.com/office/drawing/2014/main" id="{8BD8CCA9-A2C8-4634-B0CF-620A635CE67A}"/>
              </a:ext>
            </a:extLst>
          </p:cNvPr>
          <p:cNvSpPr/>
          <p:nvPr/>
        </p:nvSpPr>
        <p:spPr>
          <a:xfrm rot="8716295">
            <a:off x="300540" y="652788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4" name="Forme libre : forme 23">
            <a:extLst>
              <a:ext uri="{FF2B5EF4-FFF2-40B4-BE49-F238E27FC236}">
                <a16:creationId xmlns:a16="http://schemas.microsoft.com/office/drawing/2014/main" id="{33B24AF7-29F7-4408-AE25-97A38660E784}"/>
              </a:ext>
            </a:extLst>
          </p:cNvPr>
          <p:cNvSpPr/>
          <p:nvPr/>
        </p:nvSpPr>
        <p:spPr>
          <a:xfrm rot="8716295">
            <a:off x="175637" y="444115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5" name="Forme libre : forme 24">
            <a:extLst>
              <a:ext uri="{FF2B5EF4-FFF2-40B4-BE49-F238E27FC236}">
                <a16:creationId xmlns:a16="http://schemas.microsoft.com/office/drawing/2014/main" id="{506A4C62-4148-4841-838F-A205F53AD573}"/>
              </a:ext>
            </a:extLst>
          </p:cNvPr>
          <p:cNvSpPr/>
          <p:nvPr/>
        </p:nvSpPr>
        <p:spPr>
          <a:xfrm rot="8716295">
            <a:off x="163585" y="305335"/>
            <a:ext cx="288290" cy="347125"/>
          </a:xfrm>
          <a:custGeom>
            <a:avLst/>
            <a:gdLst>
              <a:gd name="connsiteX0" fmla="*/ 470535 w 466725"/>
              <a:gd name="connsiteY0" fmla="*/ 436245 h 561975"/>
              <a:gd name="connsiteX1" fmla="*/ 470535 w 466725"/>
              <a:gd name="connsiteY1" fmla="*/ 445770 h 561975"/>
              <a:gd name="connsiteX2" fmla="*/ 158115 w 466725"/>
              <a:gd name="connsiteY2" fmla="*/ 567690 h 561975"/>
              <a:gd name="connsiteX3" fmla="*/ 40957 w 466725"/>
              <a:gd name="connsiteY3" fmla="*/ 520065 h 561975"/>
              <a:gd name="connsiteX4" fmla="*/ 0 w 466725"/>
              <a:gd name="connsiteY4" fmla="*/ 356235 h 561975"/>
              <a:gd name="connsiteX5" fmla="*/ 0 w 466725"/>
              <a:gd name="connsiteY5" fmla="*/ 65723 h 561975"/>
              <a:gd name="connsiteX6" fmla="*/ 126682 w 466725"/>
              <a:gd name="connsiteY6" fmla="*/ 0 h 561975"/>
              <a:gd name="connsiteX7" fmla="*/ 128588 w 466725"/>
              <a:gd name="connsiteY7" fmla="*/ 265748 h 561975"/>
              <a:gd name="connsiteX8" fmla="*/ 151447 w 466725"/>
              <a:gd name="connsiteY8" fmla="*/ 423863 h 561975"/>
              <a:gd name="connsiteX9" fmla="*/ 265747 w 466725"/>
              <a:gd name="connsiteY9" fmla="*/ 486728 h 561975"/>
              <a:gd name="connsiteX10" fmla="*/ 351472 w 466725"/>
              <a:gd name="connsiteY10" fmla="*/ 471488 h 561975"/>
              <a:gd name="connsiteX11" fmla="*/ 468630 w 466725"/>
              <a:gd name="connsiteY11" fmla="*/ 423863 h 561975"/>
              <a:gd name="connsiteX12" fmla="*/ 470535 w 466725"/>
              <a:gd name="connsiteY12" fmla="*/ 436245 h 56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6725" h="561975">
                <a:moveTo>
                  <a:pt x="470535" y="436245"/>
                </a:moveTo>
                <a:lnTo>
                  <a:pt x="470535" y="445770"/>
                </a:lnTo>
                <a:cubicBezTo>
                  <a:pt x="369570" y="532448"/>
                  <a:pt x="237172" y="562928"/>
                  <a:pt x="158115" y="567690"/>
                </a:cubicBezTo>
                <a:cubicBezTo>
                  <a:pt x="114300" y="570548"/>
                  <a:pt x="71438" y="551498"/>
                  <a:pt x="40957" y="520065"/>
                </a:cubicBezTo>
                <a:cubicBezTo>
                  <a:pt x="8572" y="488633"/>
                  <a:pt x="0" y="434340"/>
                  <a:pt x="0" y="356235"/>
                </a:cubicBezTo>
                <a:lnTo>
                  <a:pt x="0" y="65723"/>
                </a:lnTo>
                <a:lnTo>
                  <a:pt x="126682" y="0"/>
                </a:lnTo>
                <a:lnTo>
                  <a:pt x="128588" y="265748"/>
                </a:lnTo>
                <a:cubicBezTo>
                  <a:pt x="125730" y="319088"/>
                  <a:pt x="134302" y="373380"/>
                  <a:pt x="151447" y="423863"/>
                </a:cubicBezTo>
                <a:cubicBezTo>
                  <a:pt x="166688" y="465773"/>
                  <a:pt x="205740" y="486728"/>
                  <a:pt x="265747" y="486728"/>
                </a:cubicBezTo>
                <a:cubicBezTo>
                  <a:pt x="295275" y="485775"/>
                  <a:pt x="323850" y="480060"/>
                  <a:pt x="351472" y="471488"/>
                </a:cubicBezTo>
                <a:cubicBezTo>
                  <a:pt x="391477" y="459105"/>
                  <a:pt x="430530" y="442913"/>
                  <a:pt x="468630" y="423863"/>
                </a:cubicBezTo>
                <a:cubicBezTo>
                  <a:pt x="469582" y="427673"/>
                  <a:pt x="470535" y="432435"/>
                  <a:pt x="470535" y="43624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6" name="Forme libre : forme 25">
            <a:extLst>
              <a:ext uri="{FF2B5EF4-FFF2-40B4-BE49-F238E27FC236}">
                <a16:creationId xmlns:a16="http://schemas.microsoft.com/office/drawing/2014/main" id="{1C1A41D0-65C3-44E5-8A29-ECCEBE983C62}"/>
              </a:ext>
            </a:extLst>
          </p:cNvPr>
          <p:cNvSpPr/>
          <p:nvPr/>
        </p:nvSpPr>
        <p:spPr>
          <a:xfrm rot="8716295">
            <a:off x="390718" y="693740"/>
            <a:ext cx="100246" cy="218718"/>
          </a:xfrm>
          <a:custGeom>
            <a:avLst/>
            <a:gdLst>
              <a:gd name="connsiteX0" fmla="*/ 216217 w 209550"/>
              <a:gd name="connsiteY0" fmla="*/ 0 h 457200"/>
              <a:gd name="connsiteX1" fmla="*/ 216217 w 209550"/>
              <a:gd name="connsiteY1" fmla="*/ 458153 h 457200"/>
              <a:gd name="connsiteX2" fmla="*/ 90488 w 209550"/>
              <a:gd name="connsiteY2" fmla="*/ 337185 h 457200"/>
              <a:gd name="connsiteX3" fmla="*/ 90488 w 209550"/>
              <a:gd name="connsiteY3" fmla="*/ 34290 h 457200"/>
              <a:gd name="connsiteX4" fmla="*/ 0 w 209550"/>
              <a:gd name="connsiteY4" fmla="*/ 34290 h 457200"/>
              <a:gd name="connsiteX5" fmla="*/ 0 w 209550"/>
              <a:gd name="connsiteY5" fmla="*/ 4763 h 457200"/>
              <a:gd name="connsiteX6" fmla="*/ 216217 w 209550"/>
              <a:gd name="connsiteY6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9550" h="457200">
                <a:moveTo>
                  <a:pt x="216217" y="0"/>
                </a:moveTo>
                <a:lnTo>
                  <a:pt x="216217" y="458153"/>
                </a:lnTo>
                <a:lnTo>
                  <a:pt x="90488" y="337185"/>
                </a:lnTo>
                <a:lnTo>
                  <a:pt x="90488" y="34290"/>
                </a:lnTo>
                <a:lnTo>
                  <a:pt x="0" y="34290"/>
                </a:lnTo>
                <a:lnTo>
                  <a:pt x="0" y="4763"/>
                </a:lnTo>
                <a:cubicBezTo>
                  <a:pt x="68580" y="7620"/>
                  <a:pt x="140017" y="1905"/>
                  <a:pt x="216217" y="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7" name="Forme libre : forme 26">
            <a:extLst>
              <a:ext uri="{FF2B5EF4-FFF2-40B4-BE49-F238E27FC236}">
                <a16:creationId xmlns:a16="http://schemas.microsoft.com/office/drawing/2014/main" id="{A93B008E-5902-4D55-9E1E-85F07149CD35}"/>
              </a:ext>
            </a:extLst>
          </p:cNvPr>
          <p:cNvSpPr/>
          <p:nvPr/>
        </p:nvSpPr>
        <p:spPr>
          <a:xfrm rot="8716295">
            <a:off x="702015" y="317459"/>
            <a:ext cx="131260" cy="232388"/>
          </a:xfrm>
          <a:custGeom>
            <a:avLst/>
            <a:gdLst>
              <a:gd name="connsiteX0" fmla="*/ 70201 w 131260"/>
              <a:gd name="connsiteY0" fmla="*/ 232388 h 232388"/>
              <a:gd name="connsiteX1" fmla="*/ 70201 w 131260"/>
              <a:gd name="connsiteY1" fmla="*/ 69717 h 232388"/>
              <a:gd name="connsiteX2" fmla="*/ 70201 w 131260"/>
              <a:gd name="connsiteY2" fmla="*/ 65615 h 232388"/>
              <a:gd name="connsiteX3" fmla="*/ 49697 w 131260"/>
              <a:gd name="connsiteY3" fmla="*/ 50123 h 232388"/>
              <a:gd name="connsiteX4" fmla="*/ 0 w 131260"/>
              <a:gd name="connsiteY4" fmla="*/ 50123 h 232388"/>
              <a:gd name="connsiteX5" fmla="*/ 41457 w 131260"/>
              <a:gd name="connsiteY5" fmla="*/ 0 h 232388"/>
              <a:gd name="connsiteX6" fmla="*/ 74303 w 131260"/>
              <a:gd name="connsiteY6" fmla="*/ 0 h 232388"/>
              <a:gd name="connsiteX7" fmla="*/ 131260 w 131260"/>
              <a:gd name="connsiteY7" fmla="*/ 50123 h 232388"/>
              <a:gd name="connsiteX8" fmla="*/ 131260 w 131260"/>
              <a:gd name="connsiteY8" fmla="*/ 208238 h 232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1260" h="232388">
                <a:moveTo>
                  <a:pt x="70201" y="232388"/>
                </a:moveTo>
                <a:lnTo>
                  <a:pt x="70201" y="69717"/>
                </a:lnTo>
                <a:cubicBezTo>
                  <a:pt x="70201" y="68349"/>
                  <a:pt x="70201" y="66983"/>
                  <a:pt x="70201" y="65615"/>
                </a:cubicBezTo>
                <a:cubicBezTo>
                  <a:pt x="68835" y="55591"/>
                  <a:pt x="59721" y="48756"/>
                  <a:pt x="49697" y="50123"/>
                </a:cubicBezTo>
                <a:lnTo>
                  <a:pt x="0" y="50123"/>
                </a:lnTo>
                <a:lnTo>
                  <a:pt x="41457" y="0"/>
                </a:lnTo>
                <a:lnTo>
                  <a:pt x="74303" y="0"/>
                </a:lnTo>
                <a:cubicBezTo>
                  <a:pt x="111211" y="0"/>
                  <a:pt x="131260" y="15948"/>
                  <a:pt x="131260" y="50123"/>
                </a:cubicBezTo>
                <a:lnTo>
                  <a:pt x="131260" y="208238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8" name="Forme libre : forme 27">
            <a:extLst>
              <a:ext uri="{FF2B5EF4-FFF2-40B4-BE49-F238E27FC236}">
                <a16:creationId xmlns:a16="http://schemas.microsoft.com/office/drawing/2014/main" id="{8AA688E0-8B68-432D-AC4C-16B34E3E659F}"/>
              </a:ext>
            </a:extLst>
          </p:cNvPr>
          <p:cNvSpPr/>
          <p:nvPr/>
        </p:nvSpPr>
        <p:spPr>
          <a:xfrm rot="8716295">
            <a:off x="834978" y="558357"/>
            <a:ext cx="24341" cy="23495"/>
          </a:xfrm>
          <a:custGeom>
            <a:avLst/>
            <a:gdLst>
              <a:gd name="connsiteX0" fmla="*/ 0 w 24341"/>
              <a:gd name="connsiteY0" fmla="*/ 23495 h 23495"/>
              <a:gd name="connsiteX1" fmla="*/ 19433 w 24341"/>
              <a:gd name="connsiteY1" fmla="*/ 0 h 23495"/>
              <a:gd name="connsiteX2" fmla="*/ 24341 w 24341"/>
              <a:gd name="connsiteY2" fmla="*/ 16139 h 23495"/>
              <a:gd name="connsiteX3" fmla="*/ 24341 w 24341"/>
              <a:gd name="connsiteY3" fmla="*/ 22063 h 23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341" h="23495">
                <a:moveTo>
                  <a:pt x="0" y="23495"/>
                </a:moveTo>
                <a:lnTo>
                  <a:pt x="19433" y="0"/>
                </a:lnTo>
                <a:lnTo>
                  <a:pt x="24341" y="16139"/>
                </a:lnTo>
                <a:lnTo>
                  <a:pt x="24341" y="2206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672AA540-A579-4E8F-A234-CD30C1FF0A89}"/>
              </a:ext>
            </a:extLst>
          </p:cNvPr>
          <p:cNvSpPr/>
          <p:nvPr/>
        </p:nvSpPr>
        <p:spPr>
          <a:xfrm rot="8716295">
            <a:off x="589639" y="402636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0" name="Forme libre : forme 29">
            <a:extLst>
              <a:ext uri="{FF2B5EF4-FFF2-40B4-BE49-F238E27FC236}">
                <a16:creationId xmlns:a16="http://schemas.microsoft.com/office/drawing/2014/main" id="{C0BAD361-E55B-42F0-893F-014DB3986A10}"/>
              </a:ext>
            </a:extLst>
          </p:cNvPr>
          <p:cNvSpPr/>
          <p:nvPr/>
        </p:nvSpPr>
        <p:spPr>
          <a:xfrm rot="8716295">
            <a:off x="464737" y="193963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7776BC0-23C7-4489-8F09-E129A530C0CC}"/>
              </a:ext>
            </a:extLst>
          </p:cNvPr>
          <p:cNvSpPr/>
          <p:nvPr/>
        </p:nvSpPr>
        <p:spPr>
          <a:xfrm rot="8716295">
            <a:off x="679817" y="443588"/>
            <a:ext cx="100246" cy="218719"/>
          </a:xfrm>
          <a:custGeom>
            <a:avLst/>
            <a:gdLst>
              <a:gd name="connsiteX0" fmla="*/ 216217 w 209550"/>
              <a:gd name="connsiteY0" fmla="*/ 0 h 457200"/>
              <a:gd name="connsiteX1" fmla="*/ 216217 w 209550"/>
              <a:gd name="connsiteY1" fmla="*/ 458153 h 457200"/>
              <a:gd name="connsiteX2" fmla="*/ 90488 w 209550"/>
              <a:gd name="connsiteY2" fmla="*/ 337185 h 457200"/>
              <a:gd name="connsiteX3" fmla="*/ 90488 w 209550"/>
              <a:gd name="connsiteY3" fmla="*/ 34290 h 457200"/>
              <a:gd name="connsiteX4" fmla="*/ 0 w 209550"/>
              <a:gd name="connsiteY4" fmla="*/ 34290 h 457200"/>
              <a:gd name="connsiteX5" fmla="*/ 0 w 209550"/>
              <a:gd name="connsiteY5" fmla="*/ 4763 h 457200"/>
              <a:gd name="connsiteX6" fmla="*/ 216217 w 209550"/>
              <a:gd name="connsiteY6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9550" h="457200">
                <a:moveTo>
                  <a:pt x="216217" y="0"/>
                </a:moveTo>
                <a:lnTo>
                  <a:pt x="216217" y="458153"/>
                </a:lnTo>
                <a:lnTo>
                  <a:pt x="90488" y="337185"/>
                </a:lnTo>
                <a:lnTo>
                  <a:pt x="90488" y="34290"/>
                </a:lnTo>
                <a:lnTo>
                  <a:pt x="0" y="34290"/>
                </a:lnTo>
                <a:lnTo>
                  <a:pt x="0" y="4763"/>
                </a:lnTo>
                <a:cubicBezTo>
                  <a:pt x="68580" y="7620"/>
                  <a:pt x="140017" y="1905"/>
                  <a:pt x="216217" y="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2" name="Forme libre : forme 31">
            <a:extLst>
              <a:ext uri="{FF2B5EF4-FFF2-40B4-BE49-F238E27FC236}">
                <a16:creationId xmlns:a16="http://schemas.microsoft.com/office/drawing/2014/main" id="{6EC00833-27CA-42E8-A3F4-264B72DC896E}"/>
              </a:ext>
            </a:extLst>
          </p:cNvPr>
          <p:cNvSpPr/>
          <p:nvPr/>
        </p:nvSpPr>
        <p:spPr>
          <a:xfrm rot="8716295">
            <a:off x="438366" y="293988"/>
            <a:ext cx="72447" cy="72447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3" name="Forme libre : forme 32">
            <a:extLst>
              <a:ext uri="{FF2B5EF4-FFF2-40B4-BE49-F238E27FC236}">
                <a16:creationId xmlns:a16="http://schemas.microsoft.com/office/drawing/2014/main" id="{1FD6DD85-FCBC-4AED-9D6D-4125AB918B1C}"/>
              </a:ext>
            </a:extLst>
          </p:cNvPr>
          <p:cNvSpPr/>
          <p:nvPr/>
        </p:nvSpPr>
        <p:spPr>
          <a:xfrm rot="7484129">
            <a:off x="811674" y="658874"/>
            <a:ext cx="31078" cy="46141"/>
          </a:xfrm>
          <a:custGeom>
            <a:avLst/>
            <a:gdLst>
              <a:gd name="connsiteX0" fmla="*/ 15207 w 31078"/>
              <a:gd name="connsiteY0" fmla="*/ 46141 h 46141"/>
              <a:gd name="connsiteX1" fmla="*/ 0 w 31078"/>
              <a:gd name="connsiteY1" fmla="*/ 17849 h 46141"/>
              <a:gd name="connsiteX2" fmla="*/ 31078 w 31078"/>
              <a:gd name="connsiteY2" fmla="*/ 0 h 461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078" h="46141">
                <a:moveTo>
                  <a:pt x="15207" y="46141"/>
                </a:moveTo>
                <a:lnTo>
                  <a:pt x="0" y="17849"/>
                </a:lnTo>
                <a:lnTo>
                  <a:pt x="31078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4" name="Forme libre : forme 33">
            <a:extLst>
              <a:ext uri="{FF2B5EF4-FFF2-40B4-BE49-F238E27FC236}">
                <a16:creationId xmlns:a16="http://schemas.microsoft.com/office/drawing/2014/main" id="{ED8E04A5-1CCB-474C-BB14-6861F24B92EE}"/>
              </a:ext>
            </a:extLst>
          </p:cNvPr>
          <p:cNvSpPr/>
          <p:nvPr/>
        </p:nvSpPr>
        <p:spPr>
          <a:xfrm rot="8716295">
            <a:off x="780102" y="336420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5" name="Forme libre : forme 34">
            <a:extLst>
              <a:ext uri="{FF2B5EF4-FFF2-40B4-BE49-F238E27FC236}">
                <a16:creationId xmlns:a16="http://schemas.microsoft.com/office/drawing/2014/main" id="{D2589E01-70DB-4980-9D5E-15028C3BF442}"/>
              </a:ext>
            </a:extLst>
          </p:cNvPr>
          <p:cNvSpPr/>
          <p:nvPr/>
        </p:nvSpPr>
        <p:spPr>
          <a:xfrm rot="8716295">
            <a:off x="202348" y="-57106"/>
            <a:ext cx="142167" cy="186494"/>
          </a:xfrm>
          <a:custGeom>
            <a:avLst/>
            <a:gdLst>
              <a:gd name="connsiteX0" fmla="*/ 142167 w 142167"/>
              <a:gd name="connsiteY0" fmla="*/ 186494 h 186494"/>
              <a:gd name="connsiteX1" fmla="*/ 81108 w 142167"/>
              <a:gd name="connsiteY1" fmla="*/ 144170 h 186494"/>
              <a:gd name="connsiteX2" fmla="*/ 81108 w 142167"/>
              <a:gd name="connsiteY2" fmla="*/ 69717 h 186494"/>
              <a:gd name="connsiteX3" fmla="*/ 81108 w 142167"/>
              <a:gd name="connsiteY3" fmla="*/ 65615 h 186494"/>
              <a:gd name="connsiteX4" fmla="*/ 60603 w 142167"/>
              <a:gd name="connsiteY4" fmla="*/ 50123 h 186494"/>
              <a:gd name="connsiteX5" fmla="*/ 0 w 142167"/>
              <a:gd name="connsiteY5" fmla="*/ 50123 h 186494"/>
              <a:gd name="connsiteX6" fmla="*/ 0 w 142167"/>
              <a:gd name="connsiteY6" fmla="*/ 0 h 186494"/>
              <a:gd name="connsiteX7" fmla="*/ 85209 w 142167"/>
              <a:gd name="connsiteY7" fmla="*/ 0 h 186494"/>
              <a:gd name="connsiteX8" fmla="*/ 142167 w 142167"/>
              <a:gd name="connsiteY8" fmla="*/ 50123 h 186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2167" h="186494">
                <a:moveTo>
                  <a:pt x="142167" y="186494"/>
                </a:moveTo>
                <a:lnTo>
                  <a:pt x="81108" y="144170"/>
                </a:lnTo>
                <a:lnTo>
                  <a:pt x="81108" y="69717"/>
                </a:lnTo>
                <a:cubicBezTo>
                  <a:pt x="81108" y="68349"/>
                  <a:pt x="81108" y="66983"/>
                  <a:pt x="81108" y="65615"/>
                </a:cubicBezTo>
                <a:cubicBezTo>
                  <a:pt x="79741" y="55591"/>
                  <a:pt x="70628" y="48756"/>
                  <a:pt x="60603" y="50123"/>
                </a:cubicBezTo>
                <a:lnTo>
                  <a:pt x="0" y="50123"/>
                </a:lnTo>
                <a:lnTo>
                  <a:pt x="0" y="0"/>
                </a:lnTo>
                <a:lnTo>
                  <a:pt x="85209" y="0"/>
                </a:lnTo>
                <a:cubicBezTo>
                  <a:pt x="122118" y="0"/>
                  <a:pt x="142167" y="15948"/>
                  <a:pt x="142167" y="501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6" name="Forme libre : forme 35">
            <a:extLst>
              <a:ext uri="{FF2B5EF4-FFF2-40B4-BE49-F238E27FC236}">
                <a16:creationId xmlns:a16="http://schemas.microsoft.com/office/drawing/2014/main" id="{2AEF8F7A-52DD-4323-9058-8F5D8BF7C257}"/>
              </a:ext>
            </a:extLst>
          </p:cNvPr>
          <p:cNvSpPr/>
          <p:nvPr/>
        </p:nvSpPr>
        <p:spPr>
          <a:xfrm rot="8716295">
            <a:off x="298766" y="-5395"/>
            <a:ext cx="260639" cy="180054"/>
          </a:xfrm>
          <a:custGeom>
            <a:avLst/>
            <a:gdLst>
              <a:gd name="connsiteX0" fmla="*/ 111638 w 260639"/>
              <a:gd name="connsiteY0" fmla="*/ 180054 h 180054"/>
              <a:gd name="connsiteX1" fmla="*/ 51490 w 260639"/>
              <a:gd name="connsiteY1" fmla="*/ 138362 h 180054"/>
              <a:gd name="connsiteX2" fmla="*/ 51490 w 260639"/>
              <a:gd name="connsiteY2" fmla="*/ 45624 h 180054"/>
              <a:gd name="connsiteX3" fmla="*/ 0 w 260639"/>
              <a:gd name="connsiteY3" fmla="*/ 45624 h 180054"/>
              <a:gd name="connsiteX4" fmla="*/ 0 w 260639"/>
              <a:gd name="connsiteY4" fmla="*/ 1425 h 180054"/>
              <a:gd name="connsiteX5" fmla="*/ 104802 w 260639"/>
              <a:gd name="connsiteY5" fmla="*/ 1425 h 180054"/>
              <a:gd name="connsiteX6" fmla="*/ 104802 w 260639"/>
              <a:gd name="connsiteY6" fmla="*/ 75242 h 180054"/>
              <a:gd name="connsiteX7" fmla="*/ 106169 w 260639"/>
              <a:gd name="connsiteY7" fmla="*/ 75242 h 180054"/>
              <a:gd name="connsiteX8" fmla="*/ 154014 w 260639"/>
              <a:gd name="connsiteY8" fmla="*/ 5981 h 180054"/>
              <a:gd name="connsiteX9" fmla="*/ 185455 w 260639"/>
              <a:gd name="connsiteY9" fmla="*/ 57 h 180054"/>
              <a:gd name="connsiteX10" fmla="*/ 260639 w 260639"/>
              <a:gd name="connsiteY10" fmla="*/ 88456 h 180054"/>
              <a:gd name="connsiteX11" fmla="*/ 260639 w 260639"/>
              <a:gd name="connsiteY11" fmla="*/ 94380 h 180054"/>
              <a:gd name="connsiteX12" fmla="*/ 198669 w 260639"/>
              <a:gd name="connsiteY12" fmla="*/ 98025 h 180054"/>
              <a:gd name="connsiteX13" fmla="*/ 198669 w 260639"/>
              <a:gd name="connsiteY13" fmla="*/ 81621 h 180054"/>
              <a:gd name="connsiteX14" fmla="*/ 164950 w 260639"/>
              <a:gd name="connsiteY14" fmla="*/ 40156 h 180054"/>
              <a:gd name="connsiteX15" fmla="*/ 111638 w 260639"/>
              <a:gd name="connsiteY15" fmla="*/ 127643 h 180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60639" h="180054">
                <a:moveTo>
                  <a:pt x="111638" y="180054"/>
                </a:moveTo>
                <a:lnTo>
                  <a:pt x="51490" y="138362"/>
                </a:lnTo>
                <a:lnTo>
                  <a:pt x="51490" y="45624"/>
                </a:lnTo>
                <a:lnTo>
                  <a:pt x="0" y="45624"/>
                </a:lnTo>
                <a:lnTo>
                  <a:pt x="0" y="1425"/>
                </a:lnTo>
                <a:lnTo>
                  <a:pt x="104802" y="1425"/>
                </a:lnTo>
                <a:lnTo>
                  <a:pt x="104802" y="75242"/>
                </a:lnTo>
                <a:lnTo>
                  <a:pt x="106169" y="75242"/>
                </a:lnTo>
                <a:cubicBezTo>
                  <a:pt x="120751" y="31954"/>
                  <a:pt x="132142" y="15094"/>
                  <a:pt x="154014" y="5981"/>
                </a:cubicBezTo>
                <a:cubicBezTo>
                  <a:pt x="164039" y="1880"/>
                  <a:pt x="174519" y="-398"/>
                  <a:pt x="185455" y="57"/>
                </a:cubicBezTo>
                <a:cubicBezTo>
                  <a:pt x="232388" y="-854"/>
                  <a:pt x="260639" y="31954"/>
                  <a:pt x="260639" y="88456"/>
                </a:cubicBezTo>
                <a:lnTo>
                  <a:pt x="260639" y="94380"/>
                </a:lnTo>
                <a:lnTo>
                  <a:pt x="198669" y="98025"/>
                </a:lnTo>
                <a:lnTo>
                  <a:pt x="198669" y="81621"/>
                </a:lnTo>
                <a:cubicBezTo>
                  <a:pt x="198669" y="57016"/>
                  <a:pt x="184544" y="40156"/>
                  <a:pt x="164950" y="40156"/>
                </a:cubicBezTo>
                <a:cubicBezTo>
                  <a:pt x="135788" y="40156"/>
                  <a:pt x="111638" y="78887"/>
                  <a:pt x="111638" y="12764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7" name="Forme libre : forme 36">
            <a:extLst>
              <a:ext uri="{FF2B5EF4-FFF2-40B4-BE49-F238E27FC236}">
                <a16:creationId xmlns:a16="http://schemas.microsoft.com/office/drawing/2014/main" id="{4EA5F182-B436-49C8-8170-C1AD6D2F32D5}"/>
              </a:ext>
            </a:extLst>
          </p:cNvPr>
          <p:cNvSpPr/>
          <p:nvPr/>
        </p:nvSpPr>
        <p:spPr>
          <a:xfrm rot="8716295">
            <a:off x="276903" y="-12823"/>
            <a:ext cx="36272" cy="27982"/>
          </a:xfrm>
          <a:custGeom>
            <a:avLst/>
            <a:gdLst>
              <a:gd name="connsiteX0" fmla="*/ 36272 w 36272"/>
              <a:gd name="connsiteY0" fmla="*/ 27982 h 27982"/>
              <a:gd name="connsiteX1" fmla="*/ 0 w 36272"/>
              <a:gd name="connsiteY1" fmla="*/ 2840 h 27982"/>
              <a:gd name="connsiteX2" fmla="*/ 9543 w 36272"/>
              <a:gd name="connsiteY2" fmla="*/ 0 h 27982"/>
              <a:gd name="connsiteX3" fmla="*/ 31871 w 36272"/>
              <a:gd name="connsiteY3" fmla="*/ 11392 h 27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272" h="27982">
                <a:moveTo>
                  <a:pt x="36272" y="27982"/>
                </a:moveTo>
                <a:lnTo>
                  <a:pt x="0" y="2840"/>
                </a:lnTo>
                <a:lnTo>
                  <a:pt x="9543" y="0"/>
                </a:lnTo>
                <a:cubicBezTo>
                  <a:pt x="20479" y="0"/>
                  <a:pt x="27542" y="4784"/>
                  <a:pt x="31871" y="11392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8" name="Forme libre : forme 37">
            <a:extLst>
              <a:ext uri="{FF2B5EF4-FFF2-40B4-BE49-F238E27FC236}">
                <a16:creationId xmlns:a16="http://schemas.microsoft.com/office/drawing/2014/main" id="{F421218E-0235-4F72-A3A0-C0DE2686EE65}"/>
              </a:ext>
            </a:extLst>
          </p:cNvPr>
          <p:cNvSpPr/>
          <p:nvPr/>
        </p:nvSpPr>
        <p:spPr>
          <a:xfrm rot="8716295">
            <a:off x="74640" y="-9665"/>
            <a:ext cx="58068" cy="54772"/>
          </a:xfrm>
          <a:custGeom>
            <a:avLst/>
            <a:gdLst>
              <a:gd name="connsiteX0" fmla="*/ 37436 w 58068"/>
              <a:gd name="connsiteY0" fmla="*/ 54772 h 54772"/>
              <a:gd name="connsiteX1" fmla="*/ 0 w 58068"/>
              <a:gd name="connsiteY1" fmla="*/ 28823 h 54772"/>
              <a:gd name="connsiteX2" fmla="*/ 8515 w 58068"/>
              <a:gd name="connsiteY2" fmla="*/ 8658 h 54772"/>
              <a:gd name="connsiteX3" fmla="*/ 29020 w 58068"/>
              <a:gd name="connsiteY3" fmla="*/ 0 h 54772"/>
              <a:gd name="connsiteX4" fmla="*/ 49525 w 58068"/>
              <a:gd name="connsiteY4" fmla="*/ 8658 h 54772"/>
              <a:gd name="connsiteX5" fmla="*/ 49525 w 58068"/>
              <a:gd name="connsiteY5" fmla="*/ 49668 h 54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068" h="54772">
                <a:moveTo>
                  <a:pt x="37436" y="54772"/>
                </a:moveTo>
                <a:lnTo>
                  <a:pt x="0" y="28823"/>
                </a:lnTo>
                <a:lnTo>
                  <a:pt x="8515" y="8658"/>
                </a:lnTo>
                <a:cubicBezTo>
                  <a:pt x="13983" y="3190"/>
                  <a:pt x="21273" y="0"/>
                  <a:pt x="29020" y="0"/>
                </a:cubicBezTo>
                <a:cubicBezTo>
                  <a:pt x="36766" y="0"/>
                  <a:pt x="44057" y="3190"/>
                  <a:pt x="49525" y="8658"/>
                </a:cubicBezTo>
                <a:cubicBezTo>
                  <a:pt x="60916" y="19594"/>
                  <a:pt x="60916" y="38276"/>
                  <a:pt x="49525" y="49668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9" name="Forme libre : forme 38">
            <a:extLst>
              <a:ext uri="{FF2B5EF4-FFF2-40B4-BE49-F238E27FC236}">
                <a16:creationId xmlns:a16="http://schemas.microsoft.com/office/drawing/2014/main" id="{CE77A4A5-0ECD-4D80-A03D-A10DC965EA39}"/>
              </a:ext>
            </a:extLst>
          </p:cNvPr>
          <p:cNvSpPr/>
          <p:nvPr/>
        </p:nvSpPr>
        <p:spPr>
          <a:xfrm rot="8716295">
            <a:off x="13802" y="-10406"/>
            <a:ext cx="30027" cy="20814"/>
          </a:xfrm>
          <a:custGeom>
            <a:avLst/>
            <a:gdLst>
              <a:gd name="connsiteX0" fmla="*/ 30027 w 30027"/>
              <a:gd name="connsiteY0" fmla="*/ 20814 h 20814"/>
              <a:gd name="connsiteX1" fmla="*/ 0 w 30027"/>
              <a:gd name="connsiteY1" fmla="*/ 0 h 20814"/>
              <a:gd name="connsiteX2" fmla="*/ 30027 w 30027"/>
              <a:gd name="connsiteY2" fmla="*/ 0 h 20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027" h="20814">
                <a:moveTo>
                  <a:pt x="30027" y="20814"/>
                </a:moveTo>
                <a:lnTo>
                  <a:pt x="0" y="0"/>
                </a:lnTo>
                <a:lnTo>
                  <a:pt x="30027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0" name="Forme libre : forme 39">
            <a:extLst>
              <a:ext uri="{FF2B5EF4-FFF2-40B4-BE49-F238E27FC236}">
                <a16:creationId xmlns:a16="http://schemas.microsoft.com/office/drawing/2014/main" id="{403799C4-A408-4325-A92C-9E809B8BB4D4}"/>
              </a:ext>
            </a:extLst>
          </p:cNvPr>
          <p:cNvSpPr/>
          <p:nvPr/>
        </p:nvSpPr>
        <p:spPr>
          <a:xfrm rot="8716295">
            <a:off x="168048" y="30325"/>
            <a:ext cx="100246" cy="218718"/>
          </a:xfrm>
          <a:custGeom>
            <a:avLst/>
            <a:gdLst>
              <a:gd name="connsiteX0" fmla="*/ 216217 w 209550"/>
              <a:gd name="connsiteY0" fmla="*/ 0 h 457200"/>
              <a:gd name="connsiteX1" fmla="*/ 216217 w 209550"/>
              <a:gd name="connsiteY1" fmla="*/ 458153 h 457200"/>
              <a:gd name="connsiteX2" fmla="*/ 90488 w 209550"/>
              <a:gd name="connsiteY2" fmla="*/ 337185 h 457200"/>
              <a:gd name="connsiteX3" fmla="*/ 90488 w 209550"/>
              <a:gd name="connsiteY3" fmla="*/ 34290 h 457200"/>
              <a:gd name="connsiteX4" fmla="*/ 0 w 209550"/>
              <a:gd name="connsiteY4" fmla="*/ 34290 h 457200"/>
              <a:gd name="connsiteX5" fmla="*/ 0 w 209550"/>
              <a:gd name="connsiteY5" fmla="*/ 4763 h 457200"/>
              <a:gd name="connsiteX6" fmla="*/ 216217 w 209550"/>
              <a:gd name="connsiteY6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9550" h="457200">
                <a:moveTo>
                  <a:pt x="216217" y="0"/>
                </a:moveTo>
                <a:lnTo>
                  <a:pt x="216217" y="458153"/>
                </a:lnTo>
                <a:lnTo>
                  <a:pt x="90488" y="337185"/>
                </a:lnTo>
                <a:lnTo>
                  <a:pt x="90488" y="34290"/>
                </a:lnTo>
                <a:lnTo>
                  <a:pt x="0" y="34290"/>
                </a:lnTo>
                <a:lnTo>
                  <a:pt x="0" y="4763"/>
                </a:lnTo>
                <a:cubicBezTo>
                  <a:pt x="68580" y="7620"/>
                  <a:pt x="140017" y="1905"/>
                  <a:pt x="216217" y="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1" name="Forme libre : forme 40">
            <a:extLst>
              <a:ext uri="{FF2B5EF4-FFF2-40B4-BE49-F238E27FC236}">
                <a16:creationId xmlns:a16="http://schemas.microsoft.com/office/drawing/2014/main" id="{01FB23B7-9B20-4D2E-83CD-6A7A68C9BDC4}"/>
              </a:ext>
            </a:extLst>
          </p:cNvPr>
          <p:cNvSpPr/>
          <p:nvPr/>
        </p:nvSpPr>
        <p:spPr>
          <a:xfrm rot="7484129">
            <a:off x="562078" y="-28476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2" name="Forme libre : forme 41">
            <a:extLst>
              <a:ext uri="{FF2B5EF4-FFF2-40B4-BE49-F238E27FC236}">
                <a16:creationId xmlns:a16="http://schemas.microsoft.com/office/drawing/2014/main" id="{ACF32F9A-0344-4E5B-A601-5E2A5DCEE676}"/>
              </a:ext>
            </a:extLst>
          </p:cNvPr>
          <p:cNvSpPr/>
          <p:nvPr/>
        </p:nvSpPr>
        <p:spPr>
          <a:xfrm rot="13089394">
            <a:off x="767127" y="-2787"/>
            <a:ext cx="149688" cy="301067"/>
          </a:xfrm>
          <a:custGeom>
            <a:avLst/>
            <a:gdLst>
              <a:gd name="connsiteX0" fmla="*/ 149688 w 149688"/>
              <a:gd name="connsiteY0" fmla="*/ 279622 h 301067"/>
              <a:gd name="connsiteX1" fmla="*/ 122393 w 149688"/>
              <a:gd name="connsiteY1" fmla="*/ 301067 h 301067"/>
              <a:gd name="connsiteX2" fmla="*/ 0 w 149688"/>
              <a:gd name="connsiteY2" fmla="*/ 114672 h 301067"/>
              <a:gd name="connsiteX3" fmla="*/ 0 w 149688"/>
              <a:gd name="connsiteY3" fmla="*/ 38074 h 301067"/>
              <a:gd name="connsiteX4" fmla="*/ 73388 w 149688"/>
              <a:gd name="connsiteY4" fmla="*/ 0 h 301067"/>
              <a:gd name="connsiteX5" fmla="*/ 74492 w 149688"/>
              <a:gd name="connsiteY5" fmla="*/ 153950 h 301067"/>
              <a:gd name="connsiteX6" fmla="*/ 87734 w 149688"/>
              <a:gd name="connsiteY6" fmla="*/ 245547 h 301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9688" h="301067">
                <a:moveTo>
                  <a:pt x="149688" y="279622"/>
                </a:moveTo>
                <a:lnTo>
                  <a:pt x="122393" y="301067"/>
                </a:lnTo>
                <a:lnTo>
                  <a:pt x="0" y="114672"/>
                </a:lnTo>
                <a:lnTo>
                  <a:pt x="0" y="38074"/>
                </a:lnTo>
                <a:lnTo>
                  <a:pt x="73388" y="0"/>
                </a:lnTo>
                <a:lnTo>
                  <a:pt x="74492" y="153950"/>
                </a:lnTo>
                <a:cubicBezTo>
                  <a:pt x="72836" y="184850"/>
                  <a:pt x="77802" y="216302"/>
                  <a:pt x="87734" y="245547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9B540A9C-752F-4966-AE11-E0DA13D5676A}"/>
              </a:ext>
            </a:extLst>
          </p:cNvPr>
          <p:cNvSpPr/>
          <p:nvPr/>
        </p:nvSpPr>
        <p:spPr>
          <a:xfrm rot="8716295">
            <a:off x="212141" y="3045028"/>
            <a:ext cx="141256" cy="232388"/>
          </a:xfrm>
          <a:custGeom>
            <a:avLst/>
            <a:gdLst>
              <a:gd name="connsiteX0" fmla="*/ 297180 w 295275"/>
              <a:gd name="connsiteY0" fmla="*/ 104775 h 485775"/>
              <a:gd name="connsiteX1" fmla="*/ 297180 w 295275"/>
              <a:gd name="connsiteY1" fmla="*/ 435293 h 485775"/>
              <a:gd name="connsiteX2" fmla="*/ 169545 w 295275"/>
              <a:gd name="connsiteY2" fmla="*/ 485775 h 485775"/>
              <a:gd name="connsiteX3" fmla="*/ 169545 w 295275"/>
              <a:gd name="connsiteY3" fmla="*/ 145733 h 485775"/>
              <a:gd name="connsiteX4" fmla="*/ 169545 w 295275"/>
              <a:gd name="connsiteY4" fmla="*/ 137160 h 485775"/>
              <a:gd name="connsiteX5" fmla="*/ 126683 w 295275"/>
              <a:gd name="connsiteY5" fmla="*/ 104775 h 485775"/>
              <a:gd name="connsiteX6" fmla="*/ 0 w 295275"/>
              <a:gd name="connsiteY6" fmla="*/ 104775 h 485775"/>
              <a:gd name="connsiteX7" fmla="*/ 0 w 295275"/>
              <a:gd name="connsiteY7" fmla="*/ 0 h 485775"/>
              <a:gd name="connsiteX8" fmla="*/ 178118 w 295275"/>
              <a:gd name="connsiteY8" fmla="*/ 0 h 485775"/>
              <a:gd name="connsiteX9" fmla="*/ 297180 w 295275"/>
              <a:gd name="connsiteY9" fmla="*/ 104775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95275" h="485775">
                <a:moveTo>
                  <a:pt x="297180" y="104775"/>
                </a:moveTo>
                <a:lnTo>
                  <a:pt x="297180" y="435293"/>
                </a:lnTo>
                <a:lnTo>
                  <a:pt x="169545" y="485775"/>
                </a:lnTo>
                <a:lnTo>
                  <a:pt x="169545" y="145733"/>
                </a:lnTo>
                <a:cubicBezTo>
                  <a:pt x="169545" y="142875"/>
                  <a:pt x="169545" y="140018"/>
                  <a:pt x="169545" y="137160"/>
                </a:cubicBezTo>
                <a:cubicBezTo>
                  <a:pt x="166688" y="116205"/>
                  <a:pt x="147638" y="101918"/>
                  <a:pt x="126683" y="104775"/>
                </a:cubicBezTo>
                <a:lnTo>
                  <a:pt x="0" y="104775"/>
                </a:lnTo>
                <a:lnTo>
                  <a:pt x="0" y="0"/>
                </a:lnTo>
                <a:lnTo>
                  <a:pt x="178118" y="0"/>
                </a:lnTo>
                <a:cubicBezTo>
                  <a:pt x="255270" y="0"/>
                  <a:pt x="297180" y="33338"/>
                  <a:pt x="297180" y="10477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4" name="Forme libre : forme 43">
            <a:extLst>
              <a:ext uri="{FF2B5EF4-FFF2-40B4-BE49-F238E27FC236}">
                <a16:creationId xmlns:a16="http://schemas.microsoft.com/office/drawing/2014/main" id="{27352092-3B53-44B3-ABC2-E6A268F28524}"/>
              </a:ext>
            </a:extLst>
          </p:cNvPr>
          <p:cNvSpPr/>
          <p:nvPr/>
        </p:nvSpPr>
        <p:spPr>
          <a:xfrm rot="8716295">
            <a:off x="301533" y="3074270"/>
            <a:ext cx="259728" cy="250615"/>
          </a:xfrm>
          <a:custGeom>
            <a:avLst/>
            <a:gdLst>
              <a:gd name="connsiteX0" fmla="*/ 544830 w 542925"/>
              <a:gd name="connsiteY0" fmla="*/ 184905 h 523875"/>
              <a:gd name="connsiteX1" fmla="*/ 544830 w 542925"/>
              <a:gd name="connsiteY1" fmla="*/ 197288 h 523875"/>
              <a:gd name="connsiteX2" fmla="*/ 415290 w 542925"/>
              <a:gd name="connsiteY2" fmla="*/ 204908 h 523875"/>
              <a:gd name="connsiteX3" fmla="*/ 415290 w 542925"/>
              <a:gd name="connsiteY3" fmla="*/ 170618 h 523875"/>
              <a:gd name="connsiteX4" fmla="*/ 344805 w 542925"/>
              <a:gd name="connsiteY4" fmla="*/ 83940 h 523875"/>
              <a:gd name="connsiteX5" fmla="*/ 233363 w 542925"/>
              <a:gd name="connsiteY5" fmla="*/ 266820 h 523875"/>
              <a:gd name="connsiteX6" fmla="*/ 233363 w 542925"/>
              <a:gd name="connsiteY6" fmla="*/ 446843 h 523875"/>
              <a:gd name="connsiteX7" fmla="*/ 107632 w 542925"/>
              <a:gd name="connsiteY7" fmla="*/ 532568 h 523875"/>
              <a:gd name="connsiteX8" fmla="*/ 107632 w 542925"/>
              <a:gd name="connsiteY8" fmla="*/ 95370 h 523875"/>
              <a:gd name="connsiteX9" fmla="*/ 0 w 542925"/>
              <a:gd name="connsiteY9" fmla="*/ 95370 h 523875"/>
              <a:gd name="connsiteX10" fmla="*/ 0 w 542925"/>
              <a:gd name="connsiteY10" fmla="*/ 2978 h 523875"/>
              <a:gd name="connsiteX11" fmla="*/ 219075 w 542925"/>
              <a:gd name="connsiteY11" fmla="*/ 2978 h 523875"/>
              <a:gd name="connsiteX12" fmla="*/ 219075 w 542925"/>
              <a:gd name="connsiteY12" fmla="*/ 157283 h 523875"/>
              <a:gd name="connsiteX13" fmla="*/ 221932 w 542925"/>
              <a:gd name="connsiteY13" fmla="*/ 157283 h 523875"/>
              <a:gd name="connsiteX14" fmla="*/ 321945 w 542925"/>
              <a:gd name="connsiteY14" fmla="*/ 12503 h 523875"/>
              <a:gd name="connsiteX15" fmla="*/ 387667 w 542925"/>
              <a:gd name="connsiteY15" fmla="*/ 120 h 523875"/>
              <a:gd name="connsiteX16" fmla="*/ 544830 w 542925"/>
              <a:gd name="connsiteY16" fmla="*/ 18490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42925" h="523875">
                <a:moveTo>
                  <a:pt x="544830" y="184905"/>
                </a:moveTo>
                <a:lnTo>
                  <a:pt x="544830" y="197288"/>
                </a:lnTo>
                <a:lnTo>
                  <a:pt x="415290" y="204908"/>
                </a:lnTo>
                <a:lnTo>
                  <a:pt x="415290" y="170618"/>
                </a:lnTo>
                <a:cubicBezTo>
                  <a:pt x="415290" y="119183"/>
                  <a:pt x="385763" y="83940"/>
                  <a:pt x="344805" y="83940"/>
                </a:cubicBezTo>
                <a:cubicBezTo>
                  <a:pt x="283845" y="83940"/>
                  <a:pt x="233363" y="164903"/>
                  <a:pt x="233363" y="266820"/>
                </a:cubicBezTo>
                <a:lnTo>
                  <a:pt x="233363" y="446843"/>
                </a:lnTo>
                <a:lnTo>
                  <a:pt x="107632" y="532568"/>
                </a:lnTo>
                <a:lnTo>
                  <a:pt x="107632" y="95370"/>
                </a:lnTo>
                <a:lnTo>
                  <a:pt x="0" y="95370"/>
                </a:lnTo>
                <a:lnTo>
                  <a:pt x="0" y="2978"/>
                </a:lnTo>
                <a:lnTo>
                  <a:pt x="219075" y="2978"/>
                </a:lnTo>
                <a:lnTo>
                  <a:pt x="219075" y="157283"/>
                </a:lnTo>
                <a:lnTo>
                  <a:pt x="221932" y="157283"/>
                </a:lnTo>
                <a:cubicBezTo>
                  <a:pt x="252413" y="66795"/>
                  <a:pt x="276225" y="31553"/>
                  <a:pt x="321945" y="12503"/>
                </a:cubicBezTo>
                <a:cubicBezTo>
                  <a:pt x="342900" y="3930"/>
                  <a:pt x="364807" y="-832"/>
                  <a:pt x="387667" y="120"/>
                </a:cubicBezTo>
                <a:cubicBezTo>
                  <a:pt x="485775" y="-1785"/>
                  <a:pt x="544830" y="66795"/>
                  <a:pt x="544830" y="18490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5" name="Forme libre : forme 44">
            <a:extLst>
              <a:ext uri="{FF2B5EF4-FFF2-40B4-BE49-F238E27FC236}">
                <a16:creationId xmlns:a16="http://schemas.microsoft.com/office/drawing/2014/main" id="{1A1EEC7B-8896-4B95-9A1A-B0F21E6748C1}"/>
              </a:ext>
            </a:extLst>
          </p:cNvPr>
          <p:cNvSpPr/>
          <p:nvPr/>
        </p:nvSpPr>
        <p:spPr>
          <a:xfrm rot="8716295">
            <a:off x="256683" y="2987990"/>
            <a:ext cx="186822" cy="136699"/>
          </a:xfrm>
          <a:custGeom>
            <a:avLst/>
            <a:gdLst>
              <a:gd name="connsiteX0" fmla="*/ 343853 w 390525"/>
              <a:gd name="connsiteY0" fmla="*/ 144780 h 285750"/>
              <a:gd name="connsiteX1" fmla="*/ 344805 w 390525"/>
              <a:gd name="connsiteY1" fmla="*/ 144780 h 285750"/>
              <a:gd name="connsiteX2" fmla="*/ 12382 w 390525"/>
              <a:gd name="connsiteY2" fmla="*/ 288608 h 285750"/>
              <a:gd name="connsiteX3" fmla="*/ 0 w 390525"/>
              <a:gd name="connsiteY3" fmla="*/ 271463 h 285750"/>
              <a:gd name="connsiteX4" fmla="*/ 225743 w 390525"/>
              <a:gd name="connsiteY4" fmla="*/ 59055 h 285750"/>
              <a:gd name="connsiteX5" fmla="*/ 340043 w 390525"/>
              <a:gd name="connsiteY5" fmla="*/ 0 h 285750"/>
              <a:gd name="connsiteX6" fmla="*/ 399098 w 390525"/>
              <a:gd name="connsiteY6" fmla="*/ 70485 h 285750"/>
              <a:gd name="connsiteX7" fmla="*/ 343853 w 390525"/>
              <a:gd name="connsiteY7" fmla="*/ 14478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0525" h="285750">
                <a:moveTo>
                  <a:pt x="343853" y="144780"/>
                </a:moveTo>
                <a:lnTo>
                  <a:pt x="344805" y="144780"/>
                </a:lnTo>
                <a:lnTo>
                  <a:pt x="12382" y="288608"/>
                </a:lnTo>
                <a:lnTo>
                  <a:pt x="0" y="271463"/>
                </a:lnTo>
                <a:lnTo>
                  <a:pt x="225743" y="59055"/>
                </a:lnTo>
                <a:cubicBezTo>
                  <a:pt x="254318" y="25718"/>
                  <a:pt x="295275" y="4763"/>
                  <a:pt x="340043" y="0"/>
                </a:cubicBezTo>
                <a:cubicBezTo>
                  <a:pt x="385763" y="0"/>
                  <a:pt x="399098" y="40005"/>
                  <a:pt x="399098" y="70485"/>
                </a:cubicBezTo>
                <a:cubicBezTo>
                  <a:pt x="396240" y="103823"/>
                  <a:pt x="374332" y="131445"/>
                  <a:pt x="343853" y="14478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6" name="Forme libre : forme 45">
            <a:extLst>
              <a:ext uri="{FF2B5EF4-FFF2-40B4-BE49-F238E27FC236}">
                <a16:creationId xmlns:a16="http://schemas.microsoft.com/office/drawing/2014/main" id="{4FA7D1EC-A217-4326-8F37-649F5ADE83EB}"/>
              </a:ext>
            </a:extLst>
          </p:cNvPr>
          <p:cNvSpPr/>
          <p:nvPr/>
        </p:nvSpPr>
        <p:spPr>
          <a:xfrm rot="8716295">
            <a:off x="99907" y="3133572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7" name="Forme libre : forme 46">
            <a:extLst>
              <a:ext uri="{FF2B5EF4-FFF2-40B4-BE49-F238E27FC236}">
                <a16:creationId xmlns:a16="http://schemas.microsoft.com/office/drawing/2014/main" id="{33C99497-0B48-43C7-BD1A-0279E44CA612}"/>
              </a:ext>
            </a:extLst>
          </p:cNvPr>
          <p:cNvSpPr/>
          <p:nvPr/>
        </p:nvSpPr>
        <p:spPr>
          <a:xfrm rot="8716295">
            <a:off x="-24996" y="2924899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8" name="Forme libre : forme 47">
            <a:extLst>
              <a:ext uri="{FF2B5EF4-FFF2-40B4-BE49-F238E27FC236}">
                <a16:creationId xmlns:a16="http://schemas.microsoft.com/office/drawing/2014/main" id="{A93858F0-0010-48FE-BF9C-AFE6080030D7}"/>
              </a:ext>
            </a:extLst>
          </p:cNvPr>
          <p:cNvSpPr/>
          <p:nvPr/>
        </p:nvSpPr>
        <p:spPr>
          <a:xfrm rot="8716295">
            <a:off x="51899" y="2754602"/>
            <a:ext cx="189488" cy="350829"/>
          </a:xfrm>
          <a:custGeom>
            <a:avLst/>
            <a:gdLst>
              <a:gd name="connsiteX0" fmla="*/ 25299 w 189488"/>
              <a:gd name="connsiteY0" fmla="*/ 321238 h 350829"/>
              <a:gd name="connsiteX1" fmla="*/ 0 w 189488"/>
              <a:gd name="connsiteY1" fmla="*/ 220042 h 350829"/>
              <a:gd name="connsiteX2" fmla="*/ 0 w 189488"/>
              <a:gd name="connsiteY2" fmla="*/ 40596 h 350829"/>
              <a:gd name="connsiteX3" fmla="*/ 78250 w 189488"/>
              <a:gd name="connsiteY3" fmla="*/ 0 h 350829"/>
              <a:gd name="connsiteX4" fmla="*/ 79427 w 189488"/>
              <a:gd name="connsiteY4" fmla="*/ 164149 h 350829"/>
              <a:gd name="connsiteX5" fmla="*/ 93547 w 189488"/>
              <a:gd name="connsiteY5" fmla="*/ 261815 h 350829"/>
              <a:gd name="connsiteX6" fmla="*/ 164148 w 189488"/>
              <a:gd name="connsiteY6" fmla="*/ 300646 h 350829"/>
              <a:gd name="connsiteX7" fmla="*/ 189488 w 189488"/>
              <a:gd name="connsiteY7" fmla="*/ 296141 h 350829"/>
              <a:gd name="connsiteX8" fmla="*/ 160617 w 189488"/>
              <a:gd name="connsiteY8" fmla="*/ 337791 h 350829"/>
              <a:gd name="connsiteX9" fmla="*/ 97666 w 189488"/>
              <a:gd name="connsiteY9" fmla="*/ 350655 h 350829"/>
              <a:gd name="connsiteX10" fmla="*/ 25299 w 189488"/>
              <a:gd name="connsiteY10" fmla="*/ 321238 h 350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9488" h="350829">
                <a:moveTo>
                  <a:pt x="25299" y="321238"/>
                </a:moveTo>
                <a:cubicBezTo>
                  <a:pt x="5295" y="301823"/>
                  <a:pt x="0" y="268286"/>
                  <a:pt x="0" y="220042"/>
                </a:cubicBezTo>
                <a:lnTo>
                  <a:pt x="0" y="40596"/>
                </a:lnTo>
                <a:lnTo>
                  <a:pt x="78250" y="0"/>
                </a:lnTo>
                <a:lnTo>
                  <a:pt x="79427" y="164149"/>
                </a:lnTo>
                <a:cubicBezTo>
                  <a:pt x="77662" y="197097"/>
                  <a:pt x="82957" y="230632"/>
                  <a:pt x="93547" y="261815"/>
                </a:cubicBezTo>
                <a:cubicBezTo>
                  <a:pt x="102961" y="287702"/>
                  <a:pt x="127083" y="300646"/>
                  <a:pt x="164148" y="300646"/>
                </a:cubicBezTo>
                <a:lnTo>
                  <a:pt x="189488" y="296141"/>
                </a:lnTo>
                <a:lnTo>
                  <a:pt x="160617" y="337791"/>
                </a:lnTo>
                <a:lnTo>
                  <a:pt x="97666" y="350655"/>
                </a:lnTo>
                <a:cubicBezTo>
                  <a:pt x="70602" y="352420"/>
                  <a:pt x="44126" y="340653"/>
                  <a:pt x="25299" y="321238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9" name="Forme libre : forme 48">
            <a:extLst>
              <a:ext uri="{FF2B5EF4-FFF2-40B4-BE49-F238E27FC236}">
                <a16:creationId xmlns:a16="http://schemas.microsoft.com/office/drawing/2014/main" id="{CAFD1C73-118C-42A8-A6D1-F7527C0F98CE}"/>
              </a:ext>
            </a:extLst>
          </p:cNvPr>
          <p:cNvSpPr/>
          <p:nvPr/>
        </p:nvSpPr>
        <p:spPr>
          <a:xfrm rot="8716295">
            <a:off x="190085" y="3174524"/>
            <a:ext cx="100246" cy="218718"/>
          </a:xfrm>
          <a:custGeom>
            <a:avLst/>
            <a:gdLst>
              <a:gd name="connsiteX0" fmla="*/ 216217 w 209550"/>
              <a:gd name="connsiteY0" fmla="*/ 0 h 457200"/>
              <a:gd name="connsiteX1" fmla="*/ 216217 w 209550"/>
              <a:gd name="connsiteY1" fmla="*/ 458153 h 457200"/>
              <a:gd name="connsiteX2" fmla="*/ 90488 w 209550"/>
              <a:gd name="connsiteY2" fmla="*/ 337185 h 457200"/>
              <a:gd name="connsiteX3" fmla="*/ 90488 w 209550"/>
              <a:gd name="connsiteY3" fmla="*/ 34290 h 457200"/>
              <a:gd name="connsiteX4" fmla="*/ 0 w 209550"/>
              <a:gd name="connsiteY4" fmla="*/ 34290 h 457200"/>
              <a:gd name="connsiteX5" fmla="*/ 0 w 209550"/>
              <a:gd name="connsiteY5" fmla="*/ 4763 h 457200"/>
              <a:gd name="connsiteX6" fmla="*/ 216217 w 209550"/>
              <a:gd name="connsiteY6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9550" h="457200">
                <a:moveTo>
                  <a:pt x="216217" y="0"/>
                </a:moveTo>
                <a:lnTo>
                  <a:pt x="216217" y="458153"/>
                </a:lnTo>
                <a:lnTo>
                  <a:pt x="90488" y="337185"/>
                </a:lnTo>
                <a:lnTo>
                  <a:pt x="90488" y="34290"/>
                </a:lnTo>
                <a:lnTo>
                  <a:pt x="0" y="34290"/>
                </a:lnTo>
                <a:lnTo>
                  <a:pt x="0" y="4763"/>
                </a:lnTo>
                <a:cubicBezTo>
                  <a:pt x="68580" y="7620"/>
                  <a:pt x="140017" y="1905"/>
                  <a:pt x="216217" y="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0" name="Forme libre : forme 49">
            <a:extLst>
              <a:ext uri="{FF2B5EF4-FFF2-40B4-BE49-F238E27FC236}">
                <a16:creationId xmlns:a16="http://schemas.microsoft.com/office/drawing/2014/main" id="{E7F4D18B-0BB2-451B-AA77-2B268E142A91}"/>
              </a:ext>
            </a:extLst>
          </p:cNvPr>
          <p:cNvSpPr/>
          <p:nvPr/>
        </p:nvSpPr>
        <p:spPr>
          <a:xfrm rot="8716295">
            <a:off x="502599" y="2802136"/>
            <a:ext cx="117588" cy="232388"/>
          </a:xfrm>
          <a:custGeom>
            <a:avLst/>
            <a:gdLst>
              <a:gd name="connsiteX0" fmla="*/ 56529 w 117588"/>
              <a:gd name="connsiteY0" fmla="*/ 232388 h 232388"/>
              <a:gd name="connsiteX1" fmla="*/ 56529 w 117588"/>
              <a:gd name="connsiteY1" fmla="*/ 69717 h 232388"/>
              <a:gd name="connsiteX2" fmla="*/ 56529 w 117588"/>
              <a:gd name="connsiteY2" fmla="*/ 65615 h 232388"/>
              <a:gd name="connsiteX3" fmla="*/ 36025 w 117588"/>
              <a:gd name="connsiteY3" fmla="*/ 50123 h 232388"/>
              <a:gd name="connsiteX4" fmla="*/ 0 w 117588"/>
              <a:gd name="connsiteY4" fmla="*/ 50123 h 232388"/>
              <a:gd name="connsiteX5" fmla="*/ 41458 w 117588"/>
              <a:gd name="connsiteY5" fmla="*/ 0 h 232388"/>
              <a:gd name="connsiteX6" fmla="*/ 60630 w 117588"/>
              <a:gd name="connsiteY6" fmla="*/ 0 h 232388"/>
              <a:gd name="connsiteX7" fmla="*/ 117588 w 117588"/>
              <a:gd name="connsiteY7" fmla="*/ 50123 h 232388"/>
              <a:gd name="connsiteX8" fmla="*/ 117588 w 117588"/>
              <a:gd name="connsiteY8" fmla="*/ 208238 h 232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588" h="232388">
                <a:moveTo>
                  <a:pt x="56529" y="232388"/>
                </a:moveTo>
                <a:lnTo>
                  <a:pt x="56529" y="69717"/>
                </a:lnTo>
                <a:cubicBezTo>
                  <a:pt x="56529" y="68349"/>
                  <a:pt x="56529" y="66983"/>
                  <a:pt x="56529" y="65615"/>
                </a:cubicBezTo>
                <a:cubicBezTo>
                  <a:pt x="55163" y="55591"/>
                  <a:pt x="46049" y="48756"/>
                  <a:pt x="36025" y="50123"/>
                </a:cubicBezTo>
                <a:lnTo>
                  <a:pt x="0" y="50123"/>
                </a:lnTo>
                <a:lnTo>
                  <a:pt x="41458" y="0"/>
                </a:lnTo>
                <a:lnTo>
                  <a:pt x="60630" y="0"/>
                </a:lnTo>
                <a:cubicBezTo>
                  <a:pt x="97539" y="0"/>
                  <a:pt x="117588" y="15948"/>
                  <a:pt x="117588" y="50123"/>
                </a:cubicBezTo>
                <a:lnTo>
                  <a:pt x="117588" y="208238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1" name="Forme libre : forme 50">
            <a:extLst>
              <a:ext uri="{FF2B5EF4-FFF2-40B4-BE49-F238E27FC236}">
                <a16:creationId xmlns:a16="http://schemas.microsoft.com/office/drawing/2014/main" id="{6F67DBA9-AD6C-4780-AA17-98BCE9381DC5}"/>
              </a:ext>
            </a:extLst>
          </p:cNvPr>
          <p:cNvSpPr/>
          <p:nvPr/>
        </p:nvSpPr>
        <p:spPr>
          <a:xfrm rot="8716295">
            <a:off x="389006" y="2883420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2" name="Forme libre : forme 51">
            <a:extLst>
              <a:ext uri="{FF2B5EF4-FFF2-40B4-BE49-F238E27FC236}">
                <a16:creationId xmlns:a16="http://schemas.microsoft.com/office/drawing/2014/main" id="{60CE2A9A-219E-42C9-9F53-FED763C7A971}"/>
              </a:ext>
            </a:extLst>
          </p:cNvPr>
          <p:cNvSpPr/>
          <p:nvPr/>
        </p:nvSpPr>
        <p:spPr>
          <a:xfrm rot="8716295">
            <a:off x="264104" y="2674747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3" name="Forme libre : forme 52">
            <a:extLst>
              <a:ext uri="{FF2B5EF4-FFF2-40B4-BE49-F238E27FC236}">
                <a16:creationId xmlns:a16="http://schemas.microsoft.com/office/drawing/2014/main" id="{5F47A361-80F1-4C02-906B-845AB367B960}"/>
              </a:ext>
            </a:extLst>
          </p:cNvPr>
          <p:cNvSpPr/>
          <p:nvPr/>
        </p:nvSpPr>
        <p:spPr>
          <a:xfrm rot="8716295">
            <a:off x="479184" y="2924372"/>
            <a:ext cx="100246" cy="218719"/>
          </a:xfrm>
          <a:custGeom>
            <a:avLst/>
            <a:gdLst>
              <a:gd name="connsiteX0" fmla="*/ 216217 w 209550"/>
              <a:gd name="connsiteY0" fmla="*/ 0 h 457200"/>
              <a:gd name="connsiteX1" fmla="*/ 216217 w 209550"/>
              <a:gd name="connsiteY1" fmla="*/ 458153 h 457200"/>
              <a:gd name="connsiteX2" fmla="*/ 90488 w 209550"/>
              <a:gd name="connsiteY2" fmla="*/ 337185 h 457200"/>
              <a:gd name="connsiteX3" fmla="*/ 90488 w 209550"/>
              <a:gd name="connsiteY3" fmla="*/ 34290 h 457200"/>
              <a:gd name="connsiteX4" fmla="*/ 0 w 209550"/>
              <a:gd name="connsiteY4" fmla="*/ 34290 h 457200"/>
              <a:gd name="connsiteX5" fmla="*/ 0 w 209550"/>
              <a:gd name="connsiteY5" fmla="*/ 4763 h 457200"/>
              <a:gd name="connsiteX6" fmla="*/ 216217 w 209550"/>
              <a:gd name="connsiteY6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9550" h="457200">
                <a:moveTo>
                  <a:pt x="216217" y="0"/>
                </a:moveTo>
                <a:lnTo>
                  <a:pt x="216217" y="458153"/>
                </a:lnTo>
                <a:lnTo>
                  <a:pt x="90488" y="337185"/>
                </a:lnTo>
                <a:lnTo>
                  <a:pt x="90488" y="34290"/>
                </a:lnTo>
                <a:lnTo>
                  <a:pt x="0" y="34290"/>
                </a:lnTo>
                <a:lnTo>
                  <a:pt x="0" y="4763"/>
                </a:lnTo>
                <a:cubicBezTo>
                  <a:pt x="68580" y="7620"/>
                  <a:pt x="140017" y="1905"/>
                  <a:pt x="216217" y="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4" name="Forme libre : forme 53">
            <a:extLst>
              <a:ext uri="{FF2B5EF4-FFF2-40B4-BE49-F238E27FC236}">
                <a16:creationId xmlns:a16="http://schemas.microsoft.com/office/drawing/2014/main" id="{2CC40EA3-7663-4B10-9112-24251EC60BEA}"/>
              </a:ext>
            </a:extLst>
          </p:cNvPr>
          <p:cNvSpPr/>
          <p:nvPr/>
        </p:nvSpPr>
        <p:spPr>
          <a:xfrm rot="8716295">
            <a:off x="237733" y="2774772"/>
            <a:ext cx="72447" cy="72447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5" name="Forme libre : forme 54">
            <a:extLst>
              <a:ext uri="{FF2B5EF4-FFF2-40B4-BE49-F238E27FC236}">
                <a16:creationId xmlns:a16="http://schemas.microsoft.com/office/drawing/2014/main" id="{96946020-930E-406D-ABEE-7096E7CB1426}"/>
              </a:ext>
            </a:extLst>
          </p:cNvPr>
          <p:cNvSpPr/>
          <p:nvPr/>
        </p:nvSpPr>
        <p:spPr>
          <a:xfrm rot="7484129">
            <a:off x="609980" y="3142825"/>
            <a:ext cx="20881" cy="31001"/>
          </a:xfrm>
          <a:custGeom>
            <a:avLst/>
            <a:gdLst>
              <a:gd name="connsiteX0" fmla="*/ 10218 w 20881"/>
              <a:gd name="connsiteY0" fmla="*/ 31001 h 31001"/>
              <a:gd name="connsiteX1" fmla="*/ 0 w 20881"/>
              <a:gd name="connsiteY1" fmla="*/ 11992 h 31001"/>
              <a:gd name="connsiteX2" fmla="*/ 20881 w 20881"/>
              <a:gd name="connsiteY2" fmla="*/ 0 h 31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881" h="31001">
                <a:moveTo>
                  <a:pt x="10218" y="31001"/>
                </a:moveTo>
                <a:lnTo>
                  <a:pt x="0" y="11992"/>
                </a:lnTo>
                <a:lnTo>
                  <a:pt x="20881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6" name="Forme libre : forme 55">
            <a:extLst>
              <a:ext uri="{FF2B5EF4-FFF2-40B4-BE49-F238E27FC236}">
                <a16:creationId xmlns:a16="http://schemas.microsoft.com/office/drawing/2014/main" id="{9709EEED-4F73-41F3-A069-C965126CECA4}"/>
              </a:ext>
            </a:extLst>
          </p:cNvPr>
          <p:cNvSpPr/>
          <p:nvPr/>
        </p:nvSpPr>
        <p:spPr>
          <a:xfrm rot="8716295">
            <a:off x="579469" y="2817204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7" name="Forme libre : forme 56">
            <a:extLst>
              <a:ext uri="{FF2B5EF4-FFF2-40B4-BE49-F238E27FC236}">
                <a16:creationId xmlns:a16="http://schemas.microsoft.com/office/drawing/2014/main" id="{AB7C8B58-13F0-4FCC-99DC-3B3AAD65E69B}"/>
              </a:ext>
            </a:extLst>
          </p:cNvPr>
          <p:cNvSpPr/>
          <p:nvPr/>
        </p:nvSpPr>
        <p:spPr>
          <a:xfrm rot="8716295">
            <a:off x="437995" y="3716235"/>
            <a:ext cx="102679" cy="232388"/>
          </a:xfrm>
          <a:custGeom>
            <a:avLst/>
            <a:gdLst>
              <a:gd name="connsiteX0" fmla="*/ 41620 w 102679"/>
              <a:gd name="connsiteY0" fmla="*/ 232388 h 232388"/>
              <a:gd name="connsiteX1" fmla="*/ 41620 w 102679"/>
              <a:gd name="connsiteY1" fmla="*/ 69717 h 232388"/>
              <a:gd name="connsiteX2" fmla="*/ 41620 w 102679"/>
              <a:gd name="connsiteY2" fmla="*/ 65615 h 232388"/>
              <a:gd name="connsiteX3" fmla="*/ 21116 w 102679"/>
              <a:gd name="connsiteY3" fmla="*/ 50123 h 232388"/>
              <a:gd name="connsiteX4" fmla="*/ 0 w 102679"/>
              <a:gd name="connsiteY4" fmla="*/ 50123 h 232388"/>
              <a:gd name="connsiteX5" fmla="*/ 41457 w 102679"/>
              <a:gd name="connsiteY5" fmla="*/ 0 h 232388"/>
              <a:gd name="connsiteX6" fmla="*/ 45721 w 102679"/>
              <a:gd name="connsiteY6" fmla="*/ 0 h 232388"/>
              <a:gd name="connsiteX7" fmla="*/ 102679 w 102679"/>
              <a:gd name="connsiteY7" fmla="*/ 50123 h 232388"/>
              <a:gd name="connsiteX8" fmla="*/ 102679 w 102679"/>
              <a:gd name="connsiteY8" fmla="*/ 208238 h 232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2679" h="232388">
                <a:moveTo>
                  <a:pt x="41620" y="232388"/>
                </a:moveTo>
                <a:lnTo>
                  <a:pt x="41620" y="69717"/>
                </a:lnTo>
                <a:cubicBezTo>
                  <a:pt x="41620" y="68349"/>
                  <a:pt x="41620" y="66983"/>
                  <a:pt x="41620" y="65615"/>
                </a:cubicBezTo>
                <a:cubicBezTo>
                  <a:pt x="40254" y="55591"/>
                  <a:pt x="31140" y="48756"/>
                  <a:pt x="21116" y="50123"/>
                </a:cubicBezTo>
                <a:lnTo>
                  <a:pt x="0" y="50123"/>
                </a:lnTo>
                <a:lnTo>
                  <a:pt x="41457" y="0"/>
                </a:lnTo>
                <a:lnTo>
                  <a:pt x="45721" y="0"/>
                </a:lnTo>
                <a:cubicBezTo>
                  <a:pt x="82630" y="0"/>
                  <a:pt x="102679" y="15948"/>
                  <a:pt x="102679" y="50123"/>
                </a:cubicBezTo>
                <a:lnTo>
                  <a:pt x="102679" y="208238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8" name="Forme libre : forme 57">
            <a:extLst>
              <a:ext uri="{FF2B5EF4-FFF2-40B4-BE49-F238E27FC236}">
                <a16:creationId xmlns:a16="http://schemas.microsoft.com/office/drawing/2014/main" id="{9C4DC6CC-AFAA-4414-8BA6-D58CC891D657}"/>
              </a:ext>
            </a:extLst>
          </p:cNvPr>
          <p:cNvSpPr/>
          <p:nvPr/>
        </p:nvSpPr>
        <p:spPr>
          <a:xfrm rot="8716295">
            <a:off x="482715" y="3669965"/>
            <a:ext cx="154563" cy="124897"/>
          </a:xfrm>
          <a:custGeom>
            <a:avLst/>
            <a:gdLst>
              <a:gd name="connsiteX0" fmla="*/ 0 w 154563"/>
              <a:gd name="connsiteY0" fmla="*/ 124897 h 124897"/>
              <a:gd name="connsiteX1" fmla="*/ 95474 w 154563"/>
              <a:gd name="connsiteY1" fmla="*/ 9467 h 124897"/>
              <a:gd name="connsiteX2" fmla="*/ 96067 w 154563"/>
              <a:gd name="connsiteY2" fmla="*/ 9000 h 124897"/>
              <a:gd name="connsiteX3" fmla="*/ 126312 w 154563"/>
              <a:gd name="connsiteY3" fmla="*/ 0 h 124897"/>
              <a:gd name="connsiteX4" fmla="*/ 154563 w 154563"/>
              <a:gd name="connsiteY4" fmla="*/ 33719 h 124897"/>
              <a:gd name="connsiteX5" fmla="*/ 128135 w 154563"/>
              <a:gd name="connsiteY5" fmla="*/ 69261 h 124897"/>
              <a:gd name="connsiteX6" fmla="*/ 128590 w 154563"/>
              <a:gd name="connsiteY6" fmla="*/ 69261 h 124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4563" h="124897">
                <a:moveTo>
                  <a:pt x="0" y="124897"/>
                </a:moveTo>
                <a:lnTo>
                  <a:pt x="95474" y="9467"/>
                </a:lnTo>
                <a:lnTo>
                  <a:pt x="96067" y="9000"/>
                </a:lnTo>
                <a:cubicBezTo>
                  <a:pt x="105351" y="4215"/>
                  <a:pt x="115604" y="1139"/>
                  <a:pt x="126312" y="0"/>
                </a:cubicBezTo>
                <a:cubicBezTo>
                  <a:pt x="148184" y="0"/>
                  <a:pt x="154563" y="19138"/>
                  <a:pt x="154563" y="33719"/>
                </a:cubicBezTo>
                <a:cubicBezTo>
                  <a:pt x="153196" y="49668"/>
                  <a:pt x="142715" y="62882"/>
                  <a:pt x="128135" y="69261"/>
                </a:cubicBezTo>
                <a:lnTo>
                  <a:pt x="128590" y="69261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9" name="Forme libre : forme 58">
            <a:extLst>
              <a:ext uri="{FF2B5EF4-FFF2-40B4-BE49-F238E27FC236}">
                <a16:creationId xmlns:a16="http://schemas.microsoft.com/office/drawing/2014/main" id="{4EE0C0AC-519B-4FC6-8231-6D03F18E647C}"/>
              </a:ext>
            </a:extLst>
          </p:cNvPr>
          <p:cNvSpPr/>
          <p:nvPr/>
        </p:nvSpPr>
        <p:spPr>
          <a:xfrm rot="8716295">
            <a:off x="323074" y="3793271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0" name="Forme libre : forme 59">
            <a:extLst>
              <a:ext uri="{FF2B5EF4-FFF2-40B4-BE49-F238E27FC236}">
                <a16:creationId xmlns:a16="http://schemas.microsoft.com/office/drawing/2014/main" id="{D6F59EA5-8316-4C20-AADC-7D706ECCBE6F}"/>
              </a:ext>
            </a:extLst>
          </p:cNvPr>
          <p:cNvSpPr/>
          <p:nvPr/>
        </p:nvSpPr>
        <p:spPr>
          <a:xfrm rot="8716295">
            <a:off x="198171" y="3584598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1" name="Forme libre : forme 60">
            <a:extLst>
              <a:ext uri="{FF2B5EF4-FFF2-40B4-BE49-F238E27FC236}">
                <a16:creationId xmlns:a16="http://schemas.microsoft.com/office/drawing/2014/main" id="{B0440107-C1DF-4CF9-A961-BF836C4847FA}"/>
              </a:ext>
            </a:extLst>
          </p:cNvPr>
          <p:cNvSpPr/>
          <p:nvPr/>
        </p:nvSpPr>
        <p:spPr>
          <a:xfrm rot="8716295">
            <a:off x="186119" y="3445818"/>
            <a:ext cx="288290" cy="347125"/>
          </a:xfrm>
          <a:custGeom>
            <a:avLst/>
            <a:gdLst>
              <a:gd name="connsiteX0" fmla="*/ 470535 w 466725"/>
              <a:gd name="connsiteY0" fmla="*/ 436245 h 561975"/>
              <a:gd name="connsiteX1" fmla="*/ 470535 w 466725"/>
              <a:gd name="connsiteY1" fmla="*/ 445770 h 561975"/>
              <a:gd name="connsiteX2" fmla="*/ 158115 w 466725"/>
              <a:gd name="connsiteY2" fmla="*/ 567690 h 561975"/>
              <a:gd name="connsiteX3" fmla="*/ 40957 w 466725"/>
              <a:gd name="connsiteY3" fmla="*/ 520065 h 561975"/>
              <a:gd name="connsiteX4" fmla="*/ 0 w 466725"/>
              <a:gd name="connsiteY4" fmla="*/ 356235 h 561975"/>
              <a:gd name="connsiteX5" fmla="*/ 0 w 466725"/>
              <a:gd name="connsiteY5" fmla="*/ 65723 h 561975"/>
              <a:gd name="connsiteX6" fmla="*/ 126682 w 466725"/>
              <a:gd name="connsiteY6" fmla="*/ 0 h 561975"/>
              <a:gd name="connsiteX7" fmla="*/ 128588 w 466725"/>
              <a:gd name="connsiteY7" fmla="*/ 265748 h 561975"/>
              <a:gd name="connsiteX8" fmla="*/ 151447 w 466725"/>
              <a:gd name="connsiteY8" fmla="*/ 423863 h 561975"/>
              <a:gd name="connsiteX9" fmla="*/ 265747 w 466725"/>
              <a:gd name="connsiteY9" fmla="*/ 486728 h 561975"/>
              <a:gd name="connsiteX10" fmla="*/ 351472 w 466725"/>
              <a:gd name="connsiteY10" fmla="*/ 471488 h 561975"/>
              <a:gd name="connsiteX11" fmla="*/ 468630 w 466725"/>
              <a:gd name="connsiteY11" fmla="*/ 423863 h 561975"/>
              <a:gd name="connsiteX12" fmla="*/ 470535 w 466725"/>
              <a:gd name="connsiteY12" fmla="*/ 436245 h 56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6725" h="561975">
                <a:moveTo>
                  <a:pt x="470535" y="436245"/>
                </a:moveTo>
                <a:lnTo>
                  <a:pt x="470535" y="445770"/>
                </a:lnTo>
                <a:cubicBezTo>
                  <a:pt x="369570" y="532448"/>
                  <a:pt x="237172" y="562928"/>
                  <a:pt x="158115" y="567690"/>
                </a:cubicBezTo>
                <a:cubicBezTo>
                  <a:pt x="114300" y="570548"/>
                  <a:pt x="71438" y="551498"/>
                  <a:pt x="40957" y="520065"/>
                </a:cubicBezTo>
                <a:cubicBezTo>
                  <a:pt x="8572" y="488633"/>
                  <a:pt x="0" y="434340"/>
                  <a:pt x="0" y="356235"/>
                </a:cubicBezTo>
                <a:lnTo>
                  <a:pt x="0" y="65723"/>
                </a:lnTo>
                <a:lnTo>
                  <a:pt x="126682" y="0"/>
                </a:lnTo>
                <a:lnTo>
                  <a:pt x="128588" y="265748"/>
                </a:lnTo>
                <a:cubicBezTo>
                  <a:pt x="125730" y="319088"/>
                  <a:pt x="134302" y="373380"/>
                  <a:pt x="151447" y="423863"/>
                </a:cubicBezTo>
                <a:cubicBezTo>
                  <a:pt x="166688" y="465773"/>
                  <a:pt x="205740" y="486728"/>
                  <a:pt x="265747" y="486728"/>
                </a:cubicBezTo>
                <a:cubicBezTo>
                  <a:pt x="295275" y="485775"/>
                  <a:pt x="323850" y="480060"/>
                  <a:pt x="351472" y="471488"/>
                </a:cubicBezTo>
                <a:cubicBezTo>
                  <a:pt x="391477" y="459105"/>
                  <a:pt x="430530" y="442913"/>
                  <a:pt x="468630" y="423863"/>
                </a:cubicBezTo>
                <a:cubicBezTo>
                  <a:pt x="469582" y="427673"/>
                  <a:pt x="470535" y="432435"/>
                  <a:pt x="470535" y="43624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2" name="Forme libre : forme 61">
            <a:extLst>
              <a:ext uri="{FF2B5EF4-FFF2-40B4-BE49-F238E27FC236}">
                <a16:creationId xmlns:a16="http://schemas.microsoft.com/office/drawing/2014/main" id="{FAD20847-20DA-4661-A963-D2C01E523D8E}"/>
              </a:ext>
            </a:extLst>
          </p:cNvPr>
          <p:cNvSpPr/>
          <p:nvPr/>
        </p:nvSpPr>
        <p:spPr>
          <a:xfrm rot="8716295">
            <a:off x="410218" y="3834716"/>
            <a:ext cx="103435" cy="219174"/>
          </a:xfrm>
          <a:custGeom>
            <a:avLst/>
            <a:gdLst>
              <a:gd name="connsiteX0" fmla="*/ 103435 w 103435"/>
              <a:gd name="connsiteY0" fmla="*/ 219174 h 219174"/>
              <a:gd name="connsiteX1" fmla="*/ 43288 w 103435"/>
              <a:gd name="connsiteY1" fmla="*/ 161305 h 219174"/>
              <a:gd name="connsiteX2" fmla="*/ 43288 w 103435"/>
              <a:gd name="connsiteY2" fmla="*/ 16404 h 219174"/>
              <a:gd name="connsiteX3" fmla="*/ 0 w 103435"/>
              <a:gd name="connsiteY3" fmla="*/ 16404 h 219174"/>
              <a:gd name="connsiteX4" fmla="*/ 0 w 103435"/>
              <a:gd name="connsiteY4" fmla="*/ 16028 h 219174"/>
              <a:gd name="connsiteX5" fmla="*/ 11583 w 103435"/>
              <a:gd name="connsiteY5" fmla="*/ 2023 h 219174"/>
              <a:gd name="connsiteX6" fmla="*/ 103435 w 103435"/>
              <a:gd name="connsiteY6" fmla="*/ 0 h 2191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3435" h="219174">
                <a:moveTo>
                  <a:pt x="103435" y="219174"/>
                </a:moveTo>
                <a:lnTo>
                  <a:pt x="43288" y="161305"/>
                </a:lnTo>
                <a:lnTo>
                  <a:pt x="43288" y="16404"/>
                </a:lnTo>
                <a:lnTo>
                  <a:pt x="0" y="16404"/>
                </a:lnTo>
                <a:lnTo>
                  <a:pt x="0" y="16028"/>
                </a:lnTo>
                <a:lnTo>
                  <a:pt x="11583" y="2023"/>
                </a:lnTo>
                <a:lnTo>
                  <a:pt x="103435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3" name="Forme libre : forme 62">
            <a:extLst>
              <a:ext uri="{FF2B5EF4-FFF2-40B4-BE49-F238E27FC236}">
                <a16:creationId xmlns:a16="http://schemas.microsoft.com/office/drawing/2014/main" id="{28D4D932-7CCD-4A1C-82BE-BDC6C863C34D}"/>
              </a:ext>
            </a:extLst>
          </p:cNvPr>
          <p:cNvSpPr/>
          <p:nvPr/>
        </p:nvSpPr>
        <p:spPr>
          <a:xfrm rot="8716295">
            <a:off x="487452" y="3349370"/>
            <a:ext cx="151162" cy="195873"/>
          </a:xfrm>
          <a:custGeom>
            <a:avLst/>
            <a:gdLst>
              <a:gd name="connsiteX0" fmla="*/ 38025 w 151162"/>
              <a:gd name="connsiteY0" fmla="*/ 195873 h 195873"/>
              <a:gd name="connsiteX1" fmla="*/ 0 w 151162"/>
              <a:gd name="connsiteY1" fmla="*/ 125130 h 195873"/>
              <a:gd name="connsiteX2" fmla="*/ 103497 w 151162"/>
              <a:gd name="connsiteY2" fmla="*/ 0 h 195873"/>
              <a:gd name="connsiteX3" fmla="*/ 151162 w 151162"/>
              <a:gd name="connsiteY3" fmla="*/ 0 h 195873"/>
              <a:gd name="connsiteX4" fmla="*/ 151162 w 151162"/>
              <a:gd name="connsiteY4" fmla="*/ 55323 h 195873"/>
              <a:gd name="connsiteX5" fmla="*/ 86370 w 151162"/>
              <a:gd name="connsiteY5" fmla="*/ 55323 h 195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1162" h="195873">
                <a:moveTo>
                  <a:pt x="38025" y="195873"/>
                </a:moveTo>
                <a:lnTo>
                  <a:pt x="0" y="125130"/>
                </a:lnTo>
                <a:lnTo>
                  <a:pt x="103497" y="0"/>
                </a:lnTo>
                <a:lnTo>
                  <a:pt x="151162" y="0"/>
                </a:lnTo>
                <a:lnTo>
                  <a:pt x="151162" y="55323"/>
                </a:lnTo>
                <a:lnTo>
                  <a:pt x="86370" y="5532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4" name="Forme libre : forme 63">
            <a:extLst>
              <a:ext uri="{FF2B5EF4-FFF2-40B4-BE49-F238E27FC236}">
                <a16:creationId xmlns:a16="http://schemas.microsoft.com/office/drawing/2014/main" id="{CC6BD8CB-3AAF-4232-9DAB-6067219DB083}"/>
              </a:ext>
            </a:extLst>
          </p:cNvPr>
          <p:cNvSpPr/>
          <p:nvPr/>
        </p:nvSpPr>
        <p:spPr>
          <a:xfrm rot="8716295">
            <a:off x="460900" y="3434471"/>
            <a:ext cx="72447" cy="72447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5" name="Forme libre : forme 64">
            <a:extLst>
              <a:ext uri="{FF2B5EF4-FFF2-40B4-BE49-F238E27FC236}">
                <a16:creationId xmlns:a16="http://schemas.microsoft.com/office/drawing/2014/main" id="{C4402BE5-EFA1-455E-87AA-2CF0F2131AB9}"/>
              </a:ext>
            </a:extLst>
          </p:cNvPr>
          <p:cNvSpPr/>
          <p:nvPr/>
        </p:nvSpPr>
        <p:spPr>
          <a:xfrm rot="8716295">
            <a:off x="417336" y="4258920"/>
            <a:ext cx="147637" cy="195874"/>
          </a:xfrm>
          <a:custGeom>
            <a:avLst/>
            <a:gdLst>
              <a:gd name="connsiteX0" fmla="*/ 34500 w 147637"/>
              <a:gd name="connsiteY0" fmla="*/ 195874 h 195874"/>
              <a:gd name="connsiteX1" fmla="*/ 0 w 147637"/>
              <a:gd name="connsiteY1" fmla="*/ 131688 h 195874"/>
              <a:gd name="connsiteX2" fmla="*/ 108921 w 147637"/>
              <a:gd name="connsiteY2" fmla="*/ 0 h 195874"/>
              <a:gd name="connsiteX3" fmla="*/ 147637 w 147637"/>
              <a:gd name="connsiteY3" fmla="*/ 0 h 195874"/>
              <a:gd name="connsiteX4" fmla="*/ 147637 w 147637"/>
              <a:gd name="connsiteY4" fmla="*/ 55323 h 195874"/>
              <a:gd name="connsiteX5" fmla="*/ 82845 w 147637"/>
              <a:gd name="connsiteY5" fmla="*/ 55323 h 195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7637" h="195874">
                <a:moveTo>
                  <a:pt x="34500" y="195874"/>
                </a:moveTo>
                <a:lnTo>
                  <a:pt x="0" y="131688"/>
                </a:lnTo>
                <a:lnTo>
                  <a:pt x="108921" y="0"/>
                </a:lnTo>
                <a:lnTo>
                  <a:pt x="147637" y="0"/>
                </a:lnTo>
                <a:lnTo>
                  <a:pt x="147637" y="55323"/>
                </a:lnTo>
                <a:lnTo>
                  <a:pt x="82845" y="5532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6" name="Forme libre : forme 65">
            <a:extLst>
              <a:ext uri="{FF2B5EF4-FFF2-40B4-BE49-F238E27FC236}">
                <a16:creationId xmlns:a16="http://schemas.microsoft.com/office/drawing/2014/main" id="{61A670F2-3CC6-425A-A67F-3F30EE51B04A}"/>
              </a:ext>
            </a:extLst>
          </p:cNvPr>
          <p:cNvSpPr/>
          <p:nvPr/>
        </p:nvSpPr>
        <p:spPr>
          <a:xfrm rot="8716295">
            <a:off x="330834" y="4134902"/>
            <a:ext cx="254613" cy="91157"/>
          </a:xfrm>
          <a:custGeom>
            <a:avLst/>
            <a:gdLst>
              <a:gd name="connsiteX0" fmla="*/ 0 w 254613"/>
              <a:gd name="connsiteY0" fmla="*/ 68911 h 91157"/>
              <a:gd name="connsiteX1" fmla="*/ 56997 w 254613"/>
              <a:gd name="connsiteY1" fmla="*/ 0 h 91157"/>
              <a:gd name="connsiteX2" fmla="*/ 57517 w 254613"/>
              <a:gd name="connsiteY2" fmla="*/ 2143 h 91157"/>
              <a:gd name="connsiteX3" fmla="*/ 128118 w 254613"/>
              <a:gd name="connsiteY3" fmla="*/ 40974 h 91157"/>
              <a:gd name="connsiteX4" fmla="*/ 181070 w 254613"/>
              <a:gd name="connsiteY4" fmla="*/ 31560 h 91157"/>
              <a:gd name="connsiteX5" fmla="*/ 253437 w 254613"/>
              <a:gd name="connsiteY5" fmla="*/ 2143 h 91157"/>
              <a:gd name="connsiteX6" fmla="*/ 254613 w 254613"/>
              <a:gd name="connsiteY6" fmla="*/ 9791 h 91157"/>
              <a:gd name="connsiteX7" fmla="*/ 254613 w 254613"/>
              <a:gd name="connsiteY7" fmla="*/ 15674 h 91157"/>
              <a:gd name="connsiteX8" fmla="*/ 61636 w 254613"/>
              <a:gd name="connsiteY8" fmla="*/ 90983 h 91157"/>
              <a:gd name="connsiteX9" fmla="*/ 22363 w 254613"/>
              <a:gd name="connsiteY9" fmla="*/ 84217 h 91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54613" h="91157">
                <a:moveTo>
                  <a:pt x="0" y="68911"/>
                </a:moveTo>
                <a:lnTo>
                  <a:pt x="56997" y="0"/>
                </a:lnTo>
                <a:lnTo>
                  <a:pt x="57517" y="2143"/>
                </a:lnTo>
                <a:cubicBezTo>
                  <a:pt x="66931" y="28030"/>
                  <a:pt x="91053" y="40974"/>
                  <a:pt x="128118" y="40974"/>
                </a:cubicBezTo>
                <a:cubicBezTo>
                  <a:pt x="146357" y="40385"/>
                  <a:pt x="164008" y="36855"/>
                  <a:pt x="181070" y="31560"/>
                </a:cubicBezTo>
                <a:cubicBezTo>
                  <a:pt x="205780" y="23912"/>
                  <a:pt x="229903" y="13910"/>
                  <a:pt x="253437" y="2143"/>
                </a:cubicBezTo>
                <a:cubicBezTo>
                  <a:pt x="254025" y="4496"/>
                  <a:pt x="254613" y="7438"/>
                  <a:pt x="254613" y="9791"/>
                </a:cubicBezTo>
                <a:lnTo>
                  <a:pt x="254613" y="15674"/>
                </a:lnTo>
                <a:cubicBezTo>
                  <a:pt x="192249" y="69215"/>
                  <a:pt x="110468" y="88042"/>
                  <a:pt x="61636" y="90983"/>
                </a:cubicBezTo>
                <a:cubicBezTo>
                  <a:pt x="48104" y="91866"/>
                  <a:pt x="34719" y="89365"/>
                  <a:pt x="22363" y="84217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7" name="Forme libre : forme 66">
            <a:extLst>
              <a:ext uri="{FF2B5EF4-FFF2-40B4-BE49-F238E27FC236}">
                <a16:creationId xmlns:a16="http://schemas.microsoft.com/office/drawing/2014/main" id="{8311F45B-46D1-4E93-B5FB-C96A0B131FB3}"/>
              </a:ext>
            </a:extLst>
          </p:cNvPr>
          <p:cNvSpPr/>
          <p:nvPr/>
        </p:nvSpPr>
        <p:spPr>
          <a:xfrm rot="8716295">
            <a:off x="-3428" y="2405990"/>
            <a:ext cx="142167" cy="208592"/>
          </a:xfrm>
          <a:custGeom>
            <a:avLst/>
            <a:gdLst>
              <a:gd name="connsiteX0" fmla="*/ 81108 w 142167"/>
              <a:gd name="connsiteY0" fmla="*/ 208592 h 208592"/>
              <a:gd name="connsiteX1" fmla="*/ 81108 w 142167"/>
              <a:gd name="connsiteY1" fmla="*/ 69717 h 208592"/>
              <a:gd name="connsiteX2" fmla="*/ 81108 w 142167"/>
              <a:gd name="connsiteY2" fmla="*/ 65615 h 208592"/>
              <a:gd name="connsiteX3" fmla="*/ 60604 w 142167"/>
              <a:gd name="connsiteY3" fmla="*/ 50123 h 208592"/>
              <a:gd name="connsiteX4" fmla="*/ 0 w 142167"/>
              <a:gd name="connsiteY4" fmla="*/ 50123 h 208592"/>
              <a:gd name="connsiteX5" fmla="*/ 0 w 142167"/>
              <a:gd name="connsiteY5" fmla="*/ 0 h 208592"/>
              <a:gd name="connsiteX6" fmla="*/ 85210 w 142167"/>
              <a:gd name="connsiteY6" fmla="*/ 0 h 208592"/>
              <a:gd name="connsiteX7" fmla="*/ 142167 w 142167"/>
              <a:gd name="connsiteY7" fmla="*/ 50123 h 208592"/>
              <a:gd name="connsiteX8" fmla="*/ 142167 w 142167"/>
              <a:gd name="connsiteY8" fmla="*/ 120504 h 208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2167" h="208592">
                <a:moveTo>
                  <a:pt x="81108" y="208592"/>
                </a:moveTo>
                <a:lnTo>
                  <a:pt x="81108" y="69717"/>
                </a:lnTo>
                <a:cubicBezTo>
                  <a:pt x="81108" y="68350"/>
                  <a:pt x="81108" y="66983"/>
                  <a:pt x="81108" y="65615"/>
                </a:cubicBezTo>
                <a:cubicBezTo>
                  <a:pt x="79742" y="55591"/>
                  <a:pt x="70628" y="48756"/>
                  <a:pt x="60604" y="50123"/>
                </a:cubicBezTo>
                <a:lnTo>
                  <a:pt x="0" y="50123"/>
                </a:lnTo>
                <a:lnTo>
                  <a:pt x="0" y="0"/>
                </a:lnTo>
                <a:lnTo>
                  <a:pt x="85210" y="0"/>
                </a:lnTo>
                <a:cubicBezTo>
                  <a:pt x="122118" y="0"/>
                  <a:pt x="142167" y="15948"/>
                  <a:pt x="142167" y="50123"/>
                </a:cubicBezTo>
                <a:lnTo>
                  <a:pt x="142167" y="120504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8" name="Forme libre : forme 67">
            <a:extLst>
              <a:ext uri="{FF2B5EF4-FFF2-40B4-BE49-F238E27FC236}">
                <a16:creationId xmlns:a16="http://schemas.microsoft.com/office/drawing/2014/main" id="{FBB49843-79D6-49E9-8512-3ED8074BAF49}"/>
              </a:ext>
            </a:extLst>
          </p:cNvPr>
          <p:cNvSpPr/>
          <p:nvPr/>
        </p:nvSpPr>
        <p:spPr>
          <a:xfrm rot="8716295">
            <a:off x="80015" y="2413296"/>
            <a:ext cx="259728" cy="250615"/>
          </a:xfrm>
          <a:custGeom>
            <a:avLst/>
            <a:gdLst>
              <a:gd name="connsiteX0" fmla="*/ 544830 w 542925"/>
              <a:gd name="connsiteY0" fmla="*/ 184905 h 523875"/>
              <a:gd name="connsiteX1" fmla="*/ 544830 w 542925"/>
              <a:gd name="connsiteY1" fmla="*/ 197288 h 523875"/>
              <a:gd name="connsiteX2" fmla="*/ 415290 w 542925"/>
              <a:gd name="connsiteY2" fmla="*/ 204908 h 523875"/>
              <a:gd name="connsiteX3" fmla="*/ 415290 w 542925"/>
              <a:gd name="connsiteY3" fmla="*/ 170618 h 523875"/>
              <a:gd name="connsiteX4" fmla="*/ 344805 w 542925"/>
              <a:gd name="connsiteY4" fmla="*/ 83940 h 523875"/>
              <a:gd name="connsiteX5" fmla="*/ 233363 w 542925"/>
              <a:gd name="connsiteY5" fmla="*/ 266820 h 523875"/>
              <a:gd name="connsiteX6" fmla="*/ 233363 w 542925"/>
              <a:gd name="connsiteY6" fmla="*/ 446843 h 523875"/>
              <a:gd name="connsiteX7" fmla="*/ 107632 w 542925"/>
              <a:gd name="connsiteY7" fmla="*/ 532568 h 523875"/>
              <a:gd name="connsiteX8" fmla="*/ 107632 w 542925"/>
              <a:gd name="connsiteY8" fmla="*/ 95370 h 523875"/>
              <a:gd name="connsiteX9" fmla="*/ 0 w 542925"/>
              <a:gd name="connsiteY9" fmla="*/ 95370 h 523875"/>
              <a:gd name="connsiteX10" fmla="*/ 0 w 542925"/>
              <a:gd name="connsiteY10" fmla="*/ 2978 h 523875"/>
              <a:gd name="connsiteX11" fmla="*/ 219075 w 542925"/>
              <a:gd name="connsiteY11" fmla="*/ 2978 h 523875"/>
              <a:gd name="connsiteX12" fmla="*/ 219075 w 542925"/>
              <a:gd name="connsiteY12" fmla="*/ 157283 h 523875"/>
              <a:gd name="connsiteX13" fmla="*/ 221932 w 542925"/>
              <a:gd name="connsiteY13" fmla="*/ 157283 h 523875"/>
              <a:gd name="connsiteX14" fmla="*/ 321945 w 542925"/>
              <a:gd name="connsiteY14" fmla="*/ 12503 h 523875"/>
              <a:gd name="connsiteX15" fmla="*/ 387667 w 542925"/>
              <a:gd name="connsiteY15" fmla="*/ 120 h 523875"/>
              <a:gd name="connsiteX16" fmla="*/ 544830 w 542925"/>
              <a:gd name="connsiteY16" fmla="*/ 18490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42925" h="523875">
                <a:moveTo>
                  <a:pt x="544830" y="184905"/>
                </a:moveTo>
                <a:lnTo>
                  <a:pt x="544830" y="197288"/>
                </a:lnTo>
                <a:lnTo>
                  <a:pt x="415290" y="204908"/>
                </a:lnTo>
                <a:lnTo>
                  <a:pt x="415290" y="170618"/>
                </a:lnTo>
                <a:cubicBezTo>
                  <a:pt x="415290" y="119183"/>
                  <a:pt x="385763" y="83940"/>
                  <a:pt x="344805" y="83940"/>
                </a:cubicBezTo>
                <a:cubicBezTo>
                  <a:pt x="283845" y="83940"/>
                  <a:pt x="233363" y="164903"/>
                  <a:pt x="233363" y="266820"/>
                </a:cubicBezTo>
                <a:lnTo>
                  <a:pt x="233363" y="446843"/>
                </a:lnTo>
                <a:lnTo>
                  <a:pt x="107632" y="532568"/>
                </a:lnTo>
                <a:lnTo>
                  <a:pt x="107632" y="95370"/>
                </a:lnTo>
                <a:lnTo>
                  <a:pt x="0" y="95370"/>
                </a:lnTo>
                <a:lnTo>
                  <a:pt x="0" y="2978"/>
                </a:lnTo>
                <a:lnTo>
                  <a:pt x="219075" y="2978"/>
                </a:lnTo>
                <a:lnTo>
                  <a:pt x="219075" y="157283"/>
                </a:lnTo>
                <a:lnTo>
                  <a:pt x="221932" y="157283"/>
                </a:lnTo>
                <a:cubicBezTo>
                  <a:pt x="252413" y="66795"/>
                  <a:pt x="276225" y="31553"/>
                  <a:pt x="321945" y="12503"/>
                </a:cubicBezTo>
                <a:cubicBezTo>
                  <a:pt x="342900" y="3930"/>
                  <a:pt x="364807" y="-832"/>
                  <a:pt x="387667" y="120"/>
                </a:cubicBezTo>
                <a:cubicBezTo>
                  <a:pt x="485775" y="-1785"/>
                  <a:pt x="544830" y="66795"/>
                  <a:pt x="544830" y="18490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9" name="Forme libre : forme 68">
            <a:extLst>
              <a:ext uri="{FF2B5EF4-FFF2-40B4-BE49-F238E27FC236}">
                <a16:creationId xmlns:a16="http://schemas.microsoft.com/office/drawing/2014/main" id="{2588E0D5-81C5-4973-87D7-DBF7607FAFF4}"/>
              </a:ext>
            </a:extLst>
          </p:cNvPr>
          <p:cNvSpPr/>
          <p:nvPr/>
        </p:nvSpPr>
        <p:spPr>
          <a:xfrm rot="8716295">
            <a:off x="35165" y="2327016"/>
            <a:ext cx="186822" cy="136699"/>
          </a:xfrm>
          <a:custGeom>
            <a:avLst/>
            <a:gdLst>
              <a:gd name="connsiteX0" fmla="*/ 343853 w 390525"/>
              <a:gd name="connsiteY0" fmla="*/ 144780 h 285750"/>
              <a:gd name="connsiteX1" fmla="*/ 344805 w 390525"/>
              <a:gd name="connsiteY1" fmla="*/ 144780 h 285750"/>
              <a:gd name="connsiteX2" fmla="*/ 12382 w 390525"/>
              <a:gd name="connsiteY2" fmla="*/ 288608 h 285750"/>
              <a:gd name="connsiteX3" fmla="*/ 0 w 390525"/>
              <a:gd name="connsiteY3" fmla="*/ 271463 h 285750"/>
              <a:gd name="connsiteX4" fmla="*/ 225743 w 390525"/>
              <a:gd name="connsiteY4" fmla="*/ 59055 h 285750"/>
              <a:gd name="connsiteX5" fmla="*/ 340043 w 390525"/>
              <a:gd name="connsiteY5" fmla="*/ 0 h 285750"/>
              <a:gd name="connsiteX6" fmla="*/ 399098 w 390525"/>
              <a:gd name="connsiteY6" fmla="*/ 70485 h 285750"/>
              <a:gd name="connsiteX7" fmla="*/ 343853 w 390525"/>
              <a:gd name="connsiteY7" fmla="*/ 14478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0525" h="285750">
                <a:moveTo>
                  <a:pt x="343853" y="144780"/>
                </a:moveTo>
                <a:lnTo>
                  <a:pt x="344805" y="144780"/>
                </a:lnTo>
                <a:lnTo>
                  <a:pt x="12382" y="288608"/>
                </a:lnTo>
                <a:lnTo>
                  <a:pt x="0" y="271463"/>
                </a:lnTo>
                <a:lnTo>
                  <a:pt x="225743" y="59055"/>
                </a:lnTo>
                <a:cubicBezTo>
                  <a:pt x="254318" y="25718"/>
                  <a:pt x="295275" y="4763"/>
                  <a:pt x="340043" y="0"/>
                </a:cubicBezTo>
                <a:cubicBezTo>
                  <a:pt x="385763" y="0"/>
                  <a:pt x="399098" y="40005"/>
                  <a:pt x="399098" y="70485"/>
                </a:cubicBezTo>
                <a:cubicBezTo>
                  <a:pt x="396240" y="103823"/>
                  <a:pt x="374332" y="131445"/>
                  <a:pt x="343853" y="14478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0" name="Forme libre : forme 69">
            <a:extLst>
              <a:ext uri="{FF2B5EF4-FFF2-40B4-BE49-F238E27FC236}">
                <a16:creationId xmlns:a16="http://schemas.microsoft.com/office/drawing/2014/main" id="{4C19B60F-0DA9-4BC3-BAAD-2E7DE57F5376}"/>
              </a:ext>
            </a:extLst>
          </p:cNvPr>
          <p:cNvSpPr/>
          <p:nvPr/>
        </p:nvSpPr>
        <p:spPr>
          <a:xfrm rot="8716295">
            <a:off x="-20257" y="2217087"/>
            <a:ext cx="78731" cy="180665"/>
          </a:xfrm>
          <a:custGeom>
            <a:avLst/>
            <a:gdLst>
              <a:gd name="connsiteX0" fmla="*/ 0 w 78731"/>
              <a:gd name="connsiteY0" fmla="*/ 180665 h 180665"/>
              <a:gd name="connsiteX1" fmla="*/ 0 w 78731"/>
              <a:gd name="connsiteY1" fmla="*/ 40596 h 180665"/>
              <a:gd name="connsiteX2" fmla="*/ 78250 w 78731"/>
              <a:gd name="connsiteY2" fmla="*/ 0 h 180665"/>
              <a:gd name="connsiteX3" fmla="*/ 78731 w 78731"/>
              <a:gd name="connsiteY3" fmla="*/ 67083 h 180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8731" h="180665">
                <a:moveTo>
                  <a:pt x="0" y="180665"/>
                </a:moveTo>
                <a:lnTo>
                  <a:pt x="0" y="40596"/>
                </a:lnTo>
                <a:lnTo>
                  <a:pt x="78250" y="0"/>
                </a:lnTo>
                <a:lnTo>
                  <a:pt x="78731" y="6708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1" name="Forme libre : forme 70">
            <a:extLst>
              <a:ext uri="{FF2B5EF4-FFF2-40B4-BE49-F238E27FC236}">
                <a16:creationId xmlns:a16="http://schemas.microsoft.com/office/drawing/2014/main" id="{6EC16758-5536-44AA-B18E-D5428BFF36DA}"/>
              </a:ext>
            </a:extLst>
          </p:cNvPr>
          <p:cNvSpPr/>
          <p:nvPr/>
        </p:nvSpPr>
        <p:spPr>
          <a:xfrm rot="8716295">
            <a:off x="-15341" y="2575209"/>
            <a:ext cx="103435" cy="152027"/>
          </a:xfrm>
          <a:custGeom>
            <a:avLst/>
            <a:gdLst>
              <a:gd name="connsiteX0" fmla="*/ 43288 w 103435"/>
              <a:gd name="connsiteY0" fmla="*/ 152027 h 152027"/>
              <a:gd name="connsiteX1" fmla="*/ 43288 w 103435"/>
              <a:gd name="connsiteY1" fmla="*/ 16404 h 152027"/>
              <a:gd name="connsiteX2" fmla="*/ 0 w 103435"/>
              <a:gd name="connsiteY2" fmla="*/ 16404 h 152027"/>
              <a:gd name="connsiteX3" fmla="*/ 0 w 103435"/>
              <a:gd name="connsiteY3" fmla="*/ 2278 h 152027"/>
              <a:gd name="connsiteX4" fmla="*/ 103435 w 103435"/>
              <a:gd name="connsiteY4" fmla="*/ 0 h 152027"/>
              <a:gd name="connsiteX5" fmla="*/ 103435 w 103435"/>
              <a:gd name="connsiteY5" fmla="*/ 65255 h 152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3435" h="152027">
                <a:moveTo>
                  <a:pt x="43288" y="152027"/>
                </a:moveTo>
                <a:lnTo>
                  <a:pt x="43288" y="16404"/>
                </a:lnTo>
                <a:lnTo>
                  <a:pt x="0" y="16404"/>
                </a:lnTo>
                <a:lnTo>
                  <a:pt x="0" y="2278"/>
                </a:lnTo>
                <a:cubicBezTo>
                  <a:pt x="32808" y="3645"/>
                  <a:pt x="66982" y="911"/>
                  <a:pt x="103435" y="0"/>
                </a:cubicBezTo>
                <a:lnTo>
                  <a:pt x="103435" y="65255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2" name="Forme libre : forme 71">
            <a:extLst>
              <a:ext uri="{FF2B5EF4-FFF2-40B4-BE49-F238E27FC236}">
                <a16:creationId xmlns:a16="http://schemas.microsoft.com/office/drawing/2014/main" id="{F8CD2FD6-8E29-4A7B-A6E7-A08269AC0224}"/>
              </a:ext>
            </a:extLst>
          </p:cNvPr>
          <p:cNvSpPr/>
          <p:nvPr/>
        </p:nvSpPr>
        <p:spPr>
          <a:xfrm rot="8716295">
            <a:off x="279722" y="2133902"/>
            <a:ext cx="141256" cy="232388"/>
          </a:xfrm>
          <a:custGeom>
            <a:avLst/>
            <a:gdLst>
              <a:gd name="connsiteX0" fmla="*/ 297180 w 295275"/>
              <a:gd name="connsiteY0" fmla="*/ 104775 h 485775"/>
              <a:gd name="connsiteX1" fmla="*/ 297180 w 295275"/>
              <a:gd name="connsiteY1" fmla="*/ 435293 h 485775"/>
              <a:gd name="connsiteX2" fmla="*/ 169545 w 295275"/>
              <a:gd name="connsiteY2" fmla="*/ 485775 h 485775"/>
              <a:gd name="connsiteX3" fmla="*/ 169545 w 295275"/>
              <a:gd name="connsiteY3" fmla="*/ 145733 h 485775"/>
              <a:gd name="connsiteX4" fmla="*/ 169545 w 295275"/>
              <a:gd name="connsiteY4" fmla="*/ 137160 h 485775"/>
              <a:gd name="connsiteX5" fmla="*/ 126683 w 295275"/>
              <a:gd name="connsiteY5" fmla="*/ 104775 h 485775"/>
              <a:gd name="connsiteX6" fmla="*/ 0 w 295275"/>
              <a:gd name="connsiteY6" fmla="*/ 104775 h 485775"/>
              <a:gd name="connsiteX7" fmla="*/ 0 w 295275"/>
              <a:gd name="connsiteY7" fmla="*/ 0 h 485775"/>
              <a:gd name="connsiteX8" fmla="*/ 178118 w 295275"/>
              <a:gd name="connsiteY8" fmla="*/ 0 h 485775"/>
              <a:gd name="connsiteX9" fmla="*/ 297180 w 295275"/>
              <a:gd name="connsiteY9" fmla="*/ 104775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95275" h="485775">
                <a:moveTo>
                  <a:pt x="297180" y="104775"/>
                </a:moveTo>
                <a:lnTo>
                  <a:pt x="297180" y="435293"/>
                </a:lnTo>
                <a:lnTo>
                  <a:pt x="169545" y="485775"/>
                </a:lnTo>
                <a:lnTo>
                  <a:pt x="169545" y="145733"/>
                </a:lnTo>
                <a:cubicBezTo>
                  <a:pt x="169545" y="142875"/>
                  <a:pt x="169545" y="140018"/>
                  <a:pt x="169545" y="137160"/>
                </a:cubicBezTo>
                <a:cubicBezTo>
                  <a:pt x="166688" y="116205"/>
                  <a:pt x="147638" y="101918"/>
                  <a:pt x="126683" y="104775"/>
                </a:cubicBezTo>
                <a:lnTo>
                  <a:pt x="0" y="104775"/>
                </a:lnTo>
                <a:lnTo>
                  <a:pt x="0" y="0"/>
                </a:lnTo>
                <a:lnTo>
                  <a:pt x="178118" y="0"/>
                </a:lnTo>
                <a:cubicBezTo>
                  <a:pt x="255270" y="0"/>
                  <a:pt x="297180" y="33338"/>
                  <a:pt x="297180" y="10477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3" name="Forme libre : forme 72">
            <a:extLst>
              <a:ext uri="{FF2B5EF4-FFF2-40B4-BE49-F238E27FC236}">
                <a16:creationId xmlns:a16="http://schemas.microsoft.com/office/drawing/2014/main" id="{B8E4BE1C-C619-4E1A-8472-B00AFC43BA29}"/>
              </a:ext>
            </a:extLst>
          </p:cNvPr>
          <p:cNvSpPr/>
          <p:nvPr/>
        </p:nvSpPr>
        <p:spPr>
          <a:xfrm rot="8716295">
            <a:off x="369114" y="2163144"/>
            <a:ext cx="259728" cy="250615"/>
          </a:xfrm>
          <a:custGeom>
            <a:avLst/>
            <a:gdLst>
              <a:gd name="connsiteX0" fmla="*/ 544830 w 542925"/>
              <a:gd name="connsiteY0" fmla="*/ 184905 h 523875"/>
              <a:gd name="connsiteX1" fmla="*/ 544830 w 542925"/>
              <a:gd name="connsiteY1" fmla="*/ 197288 h 523875"/>
              <a:gd name="connsiteX2" fmla="*/ 415290 w 542925"/>
              <a:gd name="connsiteY2" fmla="*/ 204908 h 523875"/>
              <a:gd name="connsiteX3" fmla="*/ 415290 w 542925"/>
              <a:gd name="connsiteY3" fmla="*/ 170618 h 523875"/>
              <a:gd name="connsiteX4" fmla="*/ 344805 w 542925"/>
              <a:gd name="connsiteY4" fmla="*/ 83940 h 523875"/>
              <a:gd name="connsiteX5" fmla="*/ 233363 w 542925"/>
              <a:gd name="connsiteY5" fmla="*/ 266820 h 523875"/>
              <a:gd name="connsiteX6" fmla="*/ 233363 w 542925"/>
              <a:gd name="connsiteY6" fmla="*/ 446843 h 523875"/>
              <a:gd name="connsiteX7" fmla="*/ 107632 w 542925"/>
              <a:gd name="connsiteY7" fmla="*/ 532568 h 523875"/>
              <a:gd name="connsiteX8" fmla="*/ 107632 w 542925"/>
              <a:gd name="connsiteY8" fmla="*/ 95370 h 523875"/>
              <a:gd name="connsiteX9" fmla="*/ 0 w 542925"/>
              <a:gd name="connsiteY9" fmla="*/ 95370 h 523875"/>
              <a:gd name="connsiteX10" fmla="*/ 0 w 542925"/>
              <a:gd name="connsiteY10" fmla="*/ 2978 h 523875"/>
              <a:gd name="connsiteX11" fmla="*/ 219075 w 542925"/>
              <a:gd name="connsiteY11" fmla="*/ 2978 h 523875"/>
              <a:gd name="connsiteX12" fmla="*/ 219075 w 542925"/>
              <a:gd name="connsiteY12" fmla="*/ 157283 h 523875"/>
              <a:gd name="connsiteX13" fmla="*/ 221932 w 542925"/>
              <a:gd name="connsiteY13" fmla="*/ 157283 h 523875"/>
              <a:gd name="connsiteX14" fmla="*/ 321945 w 542925"/>
              <a:gd name="connsiteY14" fmla="*/ 12503 h 523875"/>
              <a:gd name="connsiteX15" fmla="*/ 387667 w 542925"/>
              <a:gd name="connsiteY15" fmla="*/ 120 h 523875"/>
              <a:gd name="connsiteX16" fmla="*/ 544830 w 542925"/>
              <a:gd name="connsiteY16" fmla="*/ 18490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42925" h="523875">
                <a:moveTo>
                  <a:pt x="544830" y="184905"/>
                </a:moveTo>
                <a:lnTo>
                  <a:pt x="544830" y="197288"/>
                </a:lnTo>
                <a:lnTo>
                  <a:pt x="415290" y="204908"/>
                </a:lnTo>
                <a:lnTo>
                  <a:pt x="415290" y="170618"/>
                </a:lnTo>
                <a:cubicBezTo>
                  <a:pt x="415290" y="119183"/>
                  <a:pt x="385763" y="83940"/>
                  <a:pt x="344805" y="83940"/>
                </a:cubicBezTo>
                <a:cubicBezTo>
                  <a:pt x="283845" y="83940"/>
                  <a:pt x="233363" y="164903"/>
                  <a:pt x="233363" y="266820"/>
                </a:cubicBezTo>
                <a:lnTo>
                  <a:pt x="233363" y="446843"/>
                </a:lnTo>
                <a:lnTo>
                  <a:pt x="107632" y="532568"/>
                </a:lnTo>
                <a:lnTo>
                  <a:pt x="107632" y="95370"/>
                </a:lnTo>
                <a:lnTo>
                  <a:pt x="0" y="95370"/>
                </a:lnTo>
                <a:lnTo>
                  <a:pt x="0" y="2978"/>
                </a:lnTo>
                <a:lnTo>
                  <a:pt x="219075" y="2978"/>
                </a:lnTo>
                <a:lnTo>
                  <a:pt x="219075" y="157283"/>
                </a:lnTo>
                <a:lnTo>
                  <a:pt x="221932" y="157283"/>
                </a:lnTo>
                <a:cubicBezTo>
                  <a:pt x="252413" y="66795"/>
                  <a:pt x="276225" y="31553"/>
                  <a:pt x="321945" y="12503"/>
                </a:cubicBezTo>
                <a:cubicBezTo>
                  <a:pt x="342900" y="3930"/>
                  <a:pt x="364807" y="-832"/>
                  <a:pt x="387667" y="120"/>
                </a:cubicBezTo>
                <a:cubicBezTo>
                  <a:pt x="485775" y="-1785"/>
                  <a:pt x="544830" y="66795"/>
                  <a:pt x="544830" y="18490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4" name="Forme libre : forme 73">
            <a:extLst>
              <a:ext uri="{FF2B5EF4-FFF2-40B4-BE49-F238E27FC236}">
                <a16:creationId xmlns:a16="http://schemas.microsoft.com/office/drawing/2014/main" id="{E00D5309-AD7C-43C7-8A0B-B7211B97E879}"/>
              </a:ext>
            </a:extLst>
          </p:cNvPr>
          <p:cNvSpPr/>
          <p:nvPr/>
        </p:nvSpPr>
        <p:spPr>
          <a:xfrm rot="8716295">
            <a:off x="167488" y="2222446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5" name="Forme libre : forme 74">
            <a:extLst>
              <a:ext uri="{FF2B5EF4-FFF2-40B4-BE49-F238E27FC236}">
                <a16:creationId xmlns:a16="http://schemas.microsoft.com/office/drawing/2014/main" id="{569B59A1-12B4-4886-9F85-B0AFCE236D87}"/>
              </a:ext>
            </a:extLst>
          </p:cNvPr>
          <p:cNvSpPr/>
          <p:nvPr/>
        </p:nvSpPr>
        <p:spPr>
          <a:xfrm rot="8716295">
            <a:off x="42586" y="2013773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6" name="Forme libre : forme 75">
            <a:extLst>
              <a:ext uri="{FF2B5EF4-FFF2-40B4-BE49-F238E27FC236}">
                <a16:creationId xmlns:a16="http://schemas.microsoft.com/office/drawing/2014/main" id="{F564295A-16CC-45A5-86A1-4CEC6CD90425}"/>
              </a:ext>
            </a:extLst>
          </p:cNvPr>
          <p:cNvSpPr/>
          <p:nvPr/>
        </p:nvSpPr>
        <p:spPr>
          <a:xfrm rot="8716295">
            <a:off x="257666" y="2263398"/>
            <a:ext cx="100246" cy="218719"/>
          </a:xfrm>
          <a:custGeom>
            <a:avLst/>
            <a:gdLst>
              <a:gd name="connsiteX0" fmla="*/ 216217 w 209550"/>
              <a:gd name="connsiteY0" fmla="*/ 0 h 457200"/>
              <a:gd name="connsiteX1" fmla="*/ 216217 w 209550"/>
              <a:gd name="connsiteY1" fmla="*/ 458153 h 457200"/>
              <a:gd name="connsiteX2" fmla="*/ 90488 w 209550"/>
              <a:gd name="connsiteY2" fmla="*/ 337185 h 457200"/>
              <a:gd name="connsiteX3" fmla="*/ 90488 w 209550"/>
              <a:gd name="connsiteY3" fmla="*/ 34290 h 457200"/>
              <a:gd name="connsiteX4" fmla="*/ 0 w 209550"/>
              <a:gd name="connsiteY4" fmla="*/ 34290 h 457200"/>
              <a:gd name="connsiteX5" fmla="*/ 0 w 209550"/>
              <a:gd name="connsiteY5" fmla="*/ 4763 h 457200"/>
              <a:gd name="connsiteX6" fmla="*/ 216217 w 209550"/>
              <a:gd name="connsiteY6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9550" h="457200">
                <a:moveTo>
                  <a:pt x="216217" y="0"/>
                </a:moveTo>
                <a:lnTo>
                  <a:pt x="216217" y="458153"/>
                </a:lnTo>
                <a:lnTo>
                  <a:pt x="90488" y="337185"/>
                </a:lnTo>
                <a:lnTo>
                  <a:pt x="90488" y="34290"/>
                </a:lnTo>
                <a:lnTo>
                  <a:pt x="0" y="34290"/>
                </a:lnTo>
                <a:lnTo>
                  <a:pt x="0" y="4763"/>
                </a:lnTo>
                <a:cubicBezTo>
                  <a:pt x="68580" y="7620"/>
                  <a:pt x="140017" y="1905"/>
                  <a:pt x="216217" y="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7" name="Forme libre : forme 76">
            <a:extLst>
              <a:ext uri="{FF2B5EF4-FFF2-40B4-BE49-F238E27FC236}">
                <a16:creationId xmlns:a16="http://schemas.microsoft.com/office/drawing/2014/main" id="{2384700C-00D8-4B4D-ABDF-BE0456A14505}"/>
              </a:ext>
            </a:extLst>
          </p:cNvPr>
          <p:cNvSpPr/>
          <p:nvPr/>
        </p:nvSpPr>
        <p:spPr>
          <a:xfrm rot="8716295">
            <a:off x="16215" y="2113798"/>
            <a:ext cx="72447" cy="72447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8" name="Forme libre : forme 77">
            <a:extLst>
              <a:ext uri="{FF2B5EF4-FFF2-40B4-BE49-F238E27FC236}">
                <a16:creationId xmlns:a16="http://schemas.microsoft.com/office/drawing/2014/main" id="{D8BA4606-ED26-402C-93D7-D77E55C056EF}"/>
              </a:ext>
            </a:extLst>
          </p:cNvPr>
          <p:cNvSpPr/>
          <p:nvPr/>
        </p:nvSpPr>
        <p:spPr>
          <a:xfrm rot="7484129">
            <a:off x="362597" y="2454749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9" name="Forme libre : forme 78">
            <a:extLst>
              <a:ext uri="{FF2B5EF4-FFF2-40B4-BE49-F238E27FC236}">
                <a16:creationId xmlns:a16="http://schemas.microsoft.com/office/drawing/2014/main" id="{3CCE9711-ABFF-417D-B3E6-0BDB1263FCD1}"/>
              </a:ext>
            </a:extLst>
          </p:cNvPr>
          <p:cNvSpPr/>
          <p:nvPr/>
        </p:nvSpPr>
        <p:spPr>
          <a:xfrm rot="13089394">
            <a:off x="463440" y="2426400"/>
            <a:ext cx="272584" cy="319064"/>
          </a:xfrm>
          <a:custGeom>
            <a:avLst/>
            <a:gdLst>
              <a:gd name="connsiteX0" fmla="*/ 80445 w 272584"/>
              <a:gd name="connsiteY0" fmla="*/ 215518 h 319064"/>
              <a:gd name="connsiteX1" fmla="*/ 0 w 272584"/>
              <a:gd name="connsiteY1" fmla="*/ 93007 h 319064"/>
              <a:gd name="connsiteX2" fmla="*/ 0 w 272584"/>
              <a:gd name="connsiteY2" fmla="*/ 38074 h 319064"/>
              <a:gd name="connsiteX3" fmla="*/ 73388 w 272584"/>
              <a:gd name="connsiteY3" fmla="*/ 0 h 319064"/>
              <a:gd name="connsiteX4" fmla="*/ 74492 w 272584"/>
              <a:gd name="connsiteY4" fmla="*/ 153950 h 319064"/>
              <a:gd name="connsiteX5" fmla="*/ 76768 w 272584"/>
              <a:gd name="connsiteY5" fmla="*/ 200369 h 319064"/>
              <a:gd name="connsiteX6" fmla="*/ 272584 w 272584"/>
              <a:gd name="connsiteY6" fmla="*/ 258238 h 319064"/>
              <a:gd name="connsiteX7" fmla="*/ 177331 w 272584"/>
              <a:gd name="connsiteY7" fmla="*/ 311347 h 319064"/>
              <a:gd name="connsiteX8" fmla="*/ 148437 w 272584"/>
              <a:gd name="connsiteY8" fmla="*/ 319064 h 319064"/>
              <a:gd name="connsiteX9" fmla="*/ 119231 w 272584"/>
              <a:gd name="connsiteY9" fmla="*/ 274585 h 319064"/>
              <a:gd name="connsiteX10" fmla="*/ 153949 w 272584"/>
              <a:gd name="connsiteY10" fmla="*/ 281965 h 319064"/>
              <a:gd name="connsiteX11" fmla="*/ 203610 w 272584"/>
              <a:gd name="connsiteY11" fmla="*/ 273136 h 319064"/>
              <a:gd name="connsiteX12" fmla="*/ 271481 w 272584"/>
              <a:gd name="connsiteY12" fmla="*/ 245547 h 319064"/>
              <a:gd name="connsiteX13" fmla="*/ 272584 w 272584"/>
              <a:gd name="connsiteY13" fmla="*/ 252720 h 319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72584" h="319064">
                <a:moveTo>
                  <a:pt x="80445" y="215518"/>
                </a:moveTo>
                <a:lnTo>
                  <a:pt x="0" y="93007"/>
                </a:lnTo>
                <a:lnTo>
                  <a:pt x="0" y="38074"/>
                </a:lnTo>
                <a:lnTo>
                  <a:pt x="73388" y="0"/>
                </a:lnTo>
                <a:lnTo>
                  <a:pt x="74492" y="153950"/>
                </a:lnTo>
                <a:cubicBezTo>
                  <a:pt x="73664" y="169400"/>
                  <a:pt x="74492" y="184988"/>
                  <a:pt x="76768" y="200369"/>
                </a:cubicBezTo>
                <a:close/>
                <a:moveTo>
                  <a:pt x="272584" y="258238"/>
                </a:moveTo>
                <a:cubicBezTo>
                  <a:pt x="243339" y="283344"/>
                  <a:pt x="209542" y="300312"/>
                  <a:pt x="177331" y="311347"/>
                </a:cubicBezTo>
                <a:lnTo>
                  <a:pt x="148437" y="319064"/>
                </a:lnTo>
                <a:lnTo>
                  <a:pt x="119231" y="274585"/>
                </a:lnTo>
                <a:lnTo>
                  <a:pt x="153949" y="281965"/>
                </a:lnTo>
                <a:cubicBezTo>
                  <a:pt x="171055" y="281413"/>
                  <a:pt x="187609" y="278102"/>
                  <a:pt x="203610" y="273136"/>
                </a:cubicBezTo>
                <a:cubicBezTo>
                  <a:pt x="226785" y="265963"/>
                  <a:pt x="249409" y="256583"/>
                  <a:pt x="271481" y="245547"/>
                </a:cubicBezTo>
                <a:cubicBezTo>
                  <a:pt x="272032" y="247754"/>
                  <a:pt x="272584" y="250513"/>
                  <a:pt x="272584" y="25272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0" name="Forme libre : forme 79">
            <a:extLst>
              <a:ext uri="{FF2B5EF4-FFF2-40B4-BE49-F238E27FC236}">
                <a16:creationId xmlns:a16="http://schemas.microsoft.com/office/drawing/2014/main" id="{6E12610B-6A34-4C00-8EC5-09F9F5AEEEF0}"/>
              </a:ext>
            </a:extLst>
          </p:cNvPr>
          <p:cNvSpPr/>
          <p:nvPr/>
        </p:nvSpPr>
        <p:spPr>
          <a:xfrm rot="8716295">
            <a:off x="675867" y="2357327"/>
            <a:ext cx="38012" cy="45752"/>
          </a:xfrm>
          <a:custGeom>
            <a:avLst/>
            <a:gdLst>
              <a:gd name="connsiteX0" fmla="*/ 0 w 38012"/>
              <a:gd name="connsiteY0" fmla="*/ 45752 h 45752"/>
              <a:gd name="connsiteX1" fmla="*/ 37842 w 38012"/>
              <a:gd name="connsiteY1" fmla="*/ 0 h 45752"/>
              <a:gd name="connsiteX2" fmla="*/ 38012 w 38012"/>
              <a:gd name="connsiteY2" fmla="*/ 641 h 45752"/>
              <a:gd name="connsiteX3" fmla="*/ 6841 w 38012"/>
              <a:gd name="connsiteY3" fmla="*/ 42560 h 45752"/>
              <a:gd name="connsiteX4" fmla="*/ 7378 w 38012"/>
              <a:gd name="connsiteY4" fmla="*/ 42560 h 45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012" h="45752">
                <a:moveTo>
                  <a:pt x="0" y="45752"/>
                </a:moveTo>
                <a:lnTo>
                  <a:pt x="37842" y="0"/>
                </a:lnTo>
                <a:lnTo>
                  <a:pt x="38012" y="641"/>
                </a:lnTo>
                <a:cubicBezTo>
                  <a:pt x="36400" y="19451"/>
                  <a:pt x="24039" y="35036"/>
                  <a:pt x="6841" y="42560"/>
                </a:cubicBezTo>
                <a:lnTo>
                  <a:pt x="7378" y="4256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1" name="Forme libre : forme 80">
            <a:extLst>
              <a:ext uri="{FF2B5EF4-FFF2-40B4-BE49-F238E27FC236}">
                <a16:creationId xmlns:a16="http://schemas.microsoft.com/office/drawing/2014/main" id="{04C60C27-7F84-4DDC-864F-602B18A26BC5}"/>
              </a:ext>
            </a:extLst>
          </p:cNvPr>
          <p:cNvSpPr/>
          <p:nvPr/>
        </p:nvSpPr>
        <p:spPr>
          <a:xfrm rot="8716295">
            <a:off x="601197" y="2126009"/>
            <a:ext cx="110380" cy="1103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2" name="Forme libre : forme 81">
            <a:extLst>
              <a:ext uri="{FF2B5EF4-FFF2-40B4-BE49-F238E27FC236}">
                <a16:creationId xmlns:a16="http://schemas.microsoft.com/office/drawing/2014/main" id="{603BCEF5-66FB-4B3A-9672-2C4F09A114FA}"/>
              </a:ext>
            </a:extLst>
          </p:cNvPr>
          <p:cNvSpPr/>
          <p:nvPr/>
        </p:nvSpPr>
        <p:spPr>
          <a:xfrm rot="8716295">
            <a:off x="357951" y="2156230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3" name="Forme libre : forme 82">
            <a:extLst>
              <a:ext uri="{FF2B5EF4-FFF2-40B4-BE49-F238E27FC236}">
                <a16:creationId xmlns:a16="http://schemas.microsoft.com/office/drawing/2014/main" id="{47C10671-5456-47FF-825A-4447688D4139}"/>
              </a:ext>
            </a:extLst>
          </p:cNvPr>
          <p:cNvSpPr/>
          <p:nvPr/>
        </p:nvSpPr>
        <p:spPr>
          <a:xfrm rot="8716295">
            <a:off x="535403" y="1996988"/>
            <a:ext cx="110380" cy="1103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4" name="Forme libre : forme 83">
            <a:extLst>
              <a:ext uri="{FF2B5EF4-FFF2-40B4-BE49-F238E27FC236}">
                <a16:creationId xmlns:a16="http://schemas.microsoft.com/office/drawing/2014/main" id="{DB34C374-02D3-4583-9890-9C27CA821837}"/>
              </a:ext>
            </a:extLst>
          </p:cNvPr>
          <p:cNvSpPr/>
          <p:nvPr/>
        </p:nvSpPr>
        <p:spPr>
          <a:xfrm rot="8716295">
            <a:off x="-76043" y="1768178"/>
            <a:ext cx="197178" cy="215049"/>
          </a:xfrm>
          <a:custGeom>
            <a:avLst/>
            <a:gdLst>
              <a:gd name="connsiteX0" fmla="*/ 51490 w 197178"/>
              <a:gd name="connsiteY0" fmla="*/ 215049 h 215049"/>
              <a:gd name="connsiteX1" fmla="*/ 51490 w 197178"/>
              <a:gd name="connsiteY1" fmla="*/ 45624 h 215049"/>
              <a:gd name="connsiteX2" fmla="*/ 0 w 197178"/>
              <a:gd name="connsiteY2" fmla="*/ 45624 h 215049"/>
              <a:gd name="connsiteX3" fmla="*/ 0 w 197178"/>
              <a:gd name="connsiteY3" fmla="*/ 1424 h 215049"/>
              <a:gd name="connsiteX4" fmla="*/ 104803 w 197178"/>
              <a:gd name="connsiteY4" fmla="*/ 1425 h 215049"/>
              <a:gd name="connsiteX5" fmla="*/ 104803 w 197178"/>
              <a:gd name="connsiteY5" fmla="*/ 75242 h 215049"/>
              <a:gd name="connsiteX6" fmla="*/ 106169 w 197178"/>
              <a:gd name="connsiteY6" fmla="*/ 75242 h 215049"/>
              <a:gd name="connsiteX7" fmla="*/ 154014 w 197178"/>
              <a:gd name="connsiteY7" fmla="*/ 5981 h 215049"/>
              <a:gd name="connsiteX8" fmla="*/ 185455 w 197178"/>
              <a:gd name="connsiteY8" fmla="*/ 57 h 215049"/>
              <a:gd name="connsiteX9" fmla="*/ 197178 w 197178"/>
              <a:gd name="connsiteY9" fmla="*/ 4872 h 215049"/>
              <a:gd name="connsiteX10" fmla="*/ 170795 w 197178"/>
              <a:gd name="connsiteY10" fmla="*/ 42934 h 215049"/>
              <a:gd name="connsiteX11" fmla="*/ 164950 w 197178"/>
              <a:gd name="connsiteY11" fmla="*/ 40156 h 215049"/>
              <a:gd name="connsiteX12" fmla="*/ 111638 w 197178"/>
              <a:gd name="connsiteY12" fmla="*/ 127643 h 215049"/>
              <a:gd name="connsiteX13" fmla="*/ 111638 w 197178"/>
              <a:gd name="connsiteY13" fmla="*/ 128277 h 215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97178" h="215049">
                <a:moveTo>
                  <a:pt x="51490" y="215049"/>
                </a:moveTo>
                <a:lnTo>
                  <a:pt x="51490" y="45624"/>
                </a:lnTo>
                <a:lnTo>
                  <a:pt x="0" y="45624"/>
                </a:lnTo>
                <a:lnTo>
                  <a:pt x="0" y="1424"/>
                </a:lnTo>
                <a:lnTo>
                  <a:pt x="104803" y="1425"/>
                </a:lnTo>
                <a:lnTo>
                  <a:pt x="104803" y="75242"/>
                </a:lnTo>
                <a:lnTo>
                  <a:pt x="106169" y="75242"/>
                </a:lnTo>
                <a:cubicBezTo>
                  <a:pt x="120751" y="31954"/>
                  <a:pt x="132142" y="15094"/>
                  <a:pt x="154014" y="5981"/>
                </a:cubicBezTo>
                <a:cubicBezTo>
                  <a:pt x="164039" y="1880"/>
                  <a:pt x="174519" y="-398"/>
                  <a:pt x="185455" y="57"/>
                </a:cubicBezTo>
                <a:lnTo>
                  <a:pt x="197178" y="4872"/>
                </a:lnTo>
                <a:lnTo>
                  <a:pt x="170795" y="42934"/>
                </a:lnTo>
                <a:lnTo>
                  <a:pt x="164950" y="40156"/>
                </a:lnTo>
                <a:cubicBezTo>
                  <a:pt x="135788" y="40156"/>
                  <a:pt x="111638" y="78887"/>
                  <a:pt x="111638" y="127643"/>
                </a:cubicBezTo>
                <a:lnTo>
                  <a:pt x="111638" y="128277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5" name="Forme libre : forme 84">
            <a:extLst>
              <a:ext uri="{FF2B5EF4-FFF2-40B4-BE49-F238E27FC236}">
                <a16:creationId xmlns:a16="http://schemas.microsoft.com/office/drawing/2014/main" id="{F27A5053-248B-4729-A180-CFD83FBA8C7D}"/>
              </a:ext>
            </a:extLst>
          </p:cNvPr>
          <p:cNvSpPr/>
          <p:nvPr/>
        </p:nvSpPr>
        <p:spPr>
          <a:xfrm rot="8716295">
            <a:off x="56555" y="1474203"/>
            <a:ext cx="141256" cy="232388"/>
          </a:xfrm>
          <a:custGeom>
            <a:avLst/>
            <a:gdLst>
              <a:gd name="connsiteX0" fmla="*/ 297180 w 295275"/>
              <a:gd name="connsiteY0" fmla="*/ 104775 h 485775"/>
              <a:gd name="connsiteX1" fmla="*/ 297180 w 295275"/>
              <a:gd name="connsiteY1" fmla="*/ 435293 h 485775"/>
              <a:gd name="connsiteX2" fmla="*/ 169545 w 295275"/>
              <a:gd name="connsiteY2" fmla="*/ 485775 h 485775"/>
              <a:gd name="connsiteX3" fmla="*/ 169545 w 295275"/>
              <a:gd name="connsiteY3" fmla="*/ 145733 h 485775"/>
              <a:gd name="connsiteX4" fmla="*/ 169545 w 295275"/>
              <a:gd name="connsiteY4" fmla="*/ 137160 h 485775"/>
              <a:gd name="connsiteX5" fmla="*/ 126683 w 295275"/>
              <a:gd name="connsiteY5" fmla="*/ 104775 h 485775"/>
              <a:gd name="connsiteX6" fmla="*/ 0 w 295275"/>
              <a:gd name="connsiteY6" fmla="*/ 104775 h 485775"/>
              <a:gd name="connsiteX7" fmla="*/ 0 w 295275"/>
              <a:gd name="connsiteY7" fmla="*/ 0 h 485775"/>
              <a:gd name="connsiteX8" fmla="*/ 178118 w 295275"/>
              <a:gd name="connsiteY8" fmla="*/ 0 h 485775"/>
              <a:gd name="connsiteX9" fmla="*/ 297180 w 295275"/>
              <a:gd name="connsiteY9" fmla="*/ 104775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95275" h="485775">
                <a:moveTo>
                  <a:pt x="297180" y="104775"/>
                </a:moveTo>
                <a:lnTo>
                  <a:pt x="297180" y="435293"/>
                </a:lnTo>
                <a:lnTo>
                  <a:pt x="169545" y="485775"/>
                </a:lnTo>
                <a:lnTo>
                  <a:pt x="169545" y="145733"/>
                </a:lnTo>
                <a:cubicBezTo>
                  <a:pt x="169545" y="142875"/>
                  <a:pt x="169545" y="140018"/>
                  <a:pt x="169545" y="137160"/>
                </a:cubicBezTo>
                <a:cubicBezTo>
                  <a:pt x="166688" y="116205"/>
                  <a:pt x="147638" y="101918"/>
                  <a:pt x="126683" y="104775"/>
                </a:cubicBezTo>
                <a:lnTo>
                  <a:pt x="0" y="104775"/>
                </a:lnTo>
                <a:lnTo>
                  <a:pt x="0" y="0"/>
                </a:lnTo>
                <a:lnTo>
                  <a:pt x="178118" y="0"/>
                </a:lnTo>
                <a:cubicBezTo>
                  <a:pt x="255270" y="0"/>
                  <a:pt x="297180" y="33338"/>
                  <a:pt x="297180" y="10477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6" name="Forme libre : forme 85">
            <a:extLst>
              <a:ext uri="{FF2B5EF4-FFF2-40B4-BE49-F238E27FC236}">
                <a16:creationId xmlns:a16="http://schemas.microsoft.com/office/drawing/2014/main" id="{9918622A-7E96-4EC8-A35B-CBCD19A79AE2}"/>
              </a:ext>
            </a:extLst>
          </p:cNvPr>
          <p:cNvSpPr/>
          <p:nvPr/>
        </p:nvSpPr>
        <p:spPr>
          <a:xfrm rot="8716295">
            <a:off x="145947" y="1503445"/>
            <a:ext cx="259728" cy="250615"/>
          </a:xfrm>
          <a:custGeom>
            <a:avLst/>
            <a:gdLst>
              <a:gd name="connsiteX0" fmla="*/ 544830 w 542925"/>
              <a:gd name="connsiteY0" fmla="*/ 184905 h 523875"/>
              <a:gd name="connsiteX1" fmla="*/ 544830 w 542925"/>
              <a:gd name="connsiteY1" fmla="*/ 197288 h 523875"/>
              <a:gd name="connsiteX2" fmla="*/ 415290 w 542925"/>
              <a:gd name="connsiteY2" fmla="*/ 204908 h 523875"/>
              <a:gd name="connsiteX3" fmla="*/ 415290 w 542925"/>
              <a:gd name="connsiteY3" fmla="*/ 170618 h 523875"/>
              <a:gd name="connsiteX4" fmla="*/ 344805 w 542925"/>
              <a:gd name="connsiteY4" fmla="*/ 83940 h 523875"/>
              <a:gd name="connsiteX5" fmla="*/ 233363 w 542925"/>
              <a:gd name="connsiteY5" fmla="*/ 266820 h 523875"/>
              <a:gd name="connsiteX6" fmla="*/ 233363 w 542925"/>
              <a:gd name="connsiteY6" fmla="*/ 446843 h 523875"/>
              <a:gd name="connsiteX7" fmla="*/ 107632 w 542925"/>
              <a:gd name="connsiteY7" fmla="*/ 532568 h 523875"/>
              <a:gd name="connsiteX8" fmla="*/ 107632 w 542925"/>
              <a:gd name="connsiteY8" fmla="*/ 95370 h 523875"/>
              <a:gd name="connsiteX9" fmla="*/ 0 w 542925"/>
              <a:gd name="connsiteY9" fmla="*/ 95370 h 523875"/>
              <a:gd name="connsiteX10" fmla="*/ 0 w 542925"/>
              <a:gd name="connsiteY10" fmla="*/ 2978 h 523875"/>
              <a:gd name="connsiteX11" fmla="*/ 219075 w 542925"/>
              <a:gd name="connsiteY11" fmla="*/ 2978 h 523875"/>
              <a:gd name="connsiteX12" fmla="*/ 219075 w 542925"/>
              <a:gd name="connsiteY12" fmla="*/ 157283 h 523875"/>
              <a:gd name="connsiteX13" fmla="*/ 221932 w 542925"/>
              <a:gd name="connsiteY13" fmla="*/ 157283 h 523875"/>
              <a:gd name="connsiteX14" fmla="*/ 321945 w 542925"/>
              <a:gd name="connsiteY14" fmla="*/ 12503 h 523875"/>
              <a:gd name="connsiteX15" fmla="*/ 387667 w 542925"/>
              <a:gd name="connsiteY15" fmla="*/ 120 h 523875"/>
              <a:gd name="connsiteX16" fmla="*/ 544830 w 542925"/>
              <a:gd name="connsiteY16" fmla="*/ 18490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42925" h="523875">
                <a:moveTo>
                  <a:pt x="544830" y="184905"/>
                </a:moveTo>
                <a:lnTo>
                  <a:pt x="544830" y="197288"/>
                </a:lnTo>
                <a:lnTo>
                  <a:pt x="415290" y="204908"/>
                </a:lnTo>
                <a:lnTo>
                  <a:pt x="415290" y="170618"/>
                </a:lnTo>
                <a:cubicBezTo>
                  <a:pt x="415290" y="119183"/>
                  <a:pt x="385763" y="83940"/>
                  <a:pt x="344805" y="83940"/>
                </a:cubicBezTo>
                <a:cubicBezTo>
                  <a:pt x="283845" y="83940"/>
                  <a:pt x="233363" y="164903"/>
                  <a:pt x="233363" y="266820"/>
                </a:cubicBezTo>
                <a:lnTo>
                  <a:pt x="233363" y="446843"/>
                </a:lnTo>
                <a:lnTo>
                  <a:pt x="107632" y="532568"/>
                </a:lnTo>
                <a:lnTo>
                  <a:pt x="107632" y="95370"/>
                </a:lnTo>
                <a:lnTo>
                  <a:pt x="0" y="95370"/>
                </a:lnTo>
                <a:lnTo>
                  <a:pt x="0" y="2978"/>
                </a:lnTo>
                <a:lnTo>
                  <a:pt x="219075" y="2978"/>
                </a:lnTo>
                <a:lnTo>
                  <a:pt x="219075" y="157283"/>
                </a:lnTo>
                <a:lnTo>
                  <a:pt x="221932" y="157283"/>
                </a:lnTo>
                <a:cubicBezTo>
                  <a:pt x="252413" y="66795"/>
                  <a:pt x="276225" y="31553"/>
                  <a:pt x="321945" y="12503"/>
                </a:cubicBezTo>
                <a:cubicBezTo>
                  <a:pt x="342900" y="3930"/>
                  <a:pt x="364807" y="-832"/>
                  <a:pt x="387667" y="120"/>
                </a:cubicBezTo>
                <a:cubicBezTo>
                  <a:pt x="485775" y="-1785"/>
                  <a:pt x="544830" y="66795"/>
                  <a:pt x="544830" y="18490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7" name="Forme libre : forme 86">
            <a:extLst>
              <a:ext uri="{FF2B5EF4-FFF2-40B4-BE49-F238E27FC236}">
                <a16:creationId xmlns:a16="http://schemas.microsoft.com/office/drawing/2014/main" id="{0ECD9757-2AFD-4623-9C3D-24E52F11F047}"/>
              </a:ext>
            </a:extLst>
          </p:cNvPr>
          <p:cNvSpPr/>
          <p:nvPr/>
        </p:nvSpPr>
        <p:spPr>
          <a:xfrm rot="8716295">
            <a:off x="-21870" y="1443501"/>
            <a:ext cx="68614" cy="55323"/>
          </a:xfrm>
          <a:custGeom>
            <a:avLst/>
            <a:gdLst>
              <a:gd name="connsiteX0" fmla="*/ 0 w 68614"/>
              <a:gd name="connsiteY0" fmla="*/ 55323 h 55323"/>
              <a:gd name="connsiteX1" fmla="*/ 0 w 68614"/>
              <a:gd name="connsiteY1" fmla="*/ 0 h 55323"/>
              <a:gd name="connsiteX2" fmla="*/ 68614 w 68614"/>
              <a:gd name="connsiteY2" fmla="*/ 0 h 55323"/>
              <a:gd name="connsiteX3" fmla="*/ 30266 w 68614"/>
              <a:gd name="connsiteY3" fmla="*/ 55323 h 553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614" h="55323">
                <a:moveTo>
                  <a:pt x="0" y="55323"/>
                </a:moveTo>
                <a:lnTo>
                  <a:pt x="0" y="0"/>
                </a:lnTo>
                <a:lnTo>
                  <a:pt x="68614" y="0"/>
                </a:lnTo>
                <a:lnTo>
                  <a:pt x="30266" y="5532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8" name="Forme libre : forme 87">
            <a:extLst>
              <a:ext uri="{FF2B5EF4-FFF2-40B4-BE49-F238E27FC236}">
                <a16:creationId xmlns:a16="http://schemas.microsoft.com/office/drawing/2014/main" id="{661ED1FA-7FC0-427E-9226-6E31215700D9}"/>
              </a:ext>
            </a:extLst>
          </p:cNvPr>
          <p:cNvSpPr/>
          <p:nvPr/>
        </p:nvSpPr>
        <p:spPr>
          <a:xfrm rot="8716295">
            <a:off x="35817" y="1618109"/>
            <a:ext cx="103435" cy="203897"/>
          </a:xfrm>
          <a:custGeom>
            <a:avLst/>
            <a:gdLst>
              <a:gd name="connsiteX0" fmla="*/ 87556 w 103435"/>
              <a:gd name="connsiteY0" fmla="*/ 203897 h 203897"/>
              <a:gd name="connsiteX1" fmla="*/ 43288 w 103435"/>
              <a:gd name="connsiteY1" fmla="*/ 161305 h 203897"/>
              <a:gd name="connsiteX2" fmla="*/ 43288 w 103435"/>
              <a:gd name="connsiteY2" fmla="*/ 16404 h 203897"/>
              <a:gd name="connsiteX3" fmla="*/ 0 w 103435"/>
              <a:gd name="connsiteY3" fmla="*/ 16404 h 203897"/>
              <a:gd name="connsiteX4" fmla="*/ 0 w 103435"/>
              <a:gd name="connsiteY4" fmla="*/ 2278 h 203897"/>
              <a:gd name="connsiteX5" fmla="*/ 103435 w 103435"/>
              <a:gd name="connsiteY5" fmla="*/ 0 h 203897"/>
              <a:gd name="connsiteX6" fmla="*/ 103435 w 103435"/>
              <a:gd name="connsiteY6" fmla="*/ 180989 h 203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3435" h="203897">
                <a:moveTo>
                  <a:pt x="87556" y="203897"/>
                </a:moveTo>
                <a:lnTo>
                  <a:pt x="43288" y="161305"/>
                </a:lnTo>
                <a:lnTo>
                  <a:pt x="43288" y="16404"/>
                </a:lnTo>
                <a:lnTo>
                  <a:pt x="0" y="16404"/>
                </a:lnTo>
                <a:lnTo>
                  <a:pt x="0" y="2278"/>
                </a:lnTo>
                <a:cubicBezTo>
                  <a:pt x="32808" y="3645"/>
                  <a:pt x="66982" y="911"/>
                  <a:pt x="103435" y="0"/>
                </a:cubicBezTo>
                <a:lnTo>
                  <a:pt x="103435" y="180989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9" name="Forme libre : forme 88">
            <a:extLst>
              <a:ext uri="{FF2B5EF4-FFF2-40B4-BE49-F238E27FC236}">
                <a16:creationId xmlns:a16="http://schemas.microsoft.com/office/drawing/2014/main" id="{A1295F39-BDBB-432C-B32B-C5B551977FC2}"/>
              </a:ext>
            </a:extLst>
          </p:cNvPr>
          <p:cNvSpPr/>
          <p:nvPr/>
        </p:nvSpPr>
        <p:spPr>
          <a:xfrm rot="7484129">
            <a:off x="139430" y="1795050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0" name="Forme libre : forme 89">
            <a:extLst>
              <a:ext uri="{FF2B5EF4-FFF2-40B4-BE49-F238E27FC236}">
                <a16:creationId xmlns:a16="http://schemas.microsoft.com/office/drawing/2014/main" id="{F2E91B5E-C359-4716-9781-DAEDAFFE884C}"/>
              </a:ext>
            </a:extLst>
          </p:cNvPr>
          <p:cNvSpPr/>
          <p:nvPr/>
        </p:nvSpPr>
        <p:spPr>
          <a:xfrm rot="13089394">
            <a:off x="244250" y="1761584"/>
            <a:ext cx="270377" cy="325556"/>
          </a:xfrm>
          <a:custGeom>
            <a:avLst/>
            <a:gdLst>
              <a:gd name="connsiteX0" fmla="*/ 470535 w 466725"/>
              <a:gd name="connsiteY0" fmla="*/ 436245 h 561975"/>
              <a:gd name="connsiteX1" fmla="*/ 470535 w 466725"/>
              <a:gd name="connsiteY1" fmla="*/ 445770 h 561975"/>
              <a:gd name="connsiteX2" fmla="*/ 158115 w 466725"/>
              <a:gd name="connsiteY2" fmla="*/ 567690 h 561975"/>
              <a:gd name="connsiteX3" fmla="*/ 40957 w 466725"/>
              <a:gd name="connsiteY3" fmla="*/ 520065 h 561975"/>
              <a:gd name="connsiteX4" fmla="*/ 0 w 466725"/>
              <a:gd name="connsiteY4" fmla="*/ 356235 h 561975"/>
              <a:gd name="connsiteX5" fmla="*/ 0 w 466725"/>
              <a:gd name="connsiteY5" fmla="*/ 65723 h 561975"/>
              <a:gd name="connsiteX6" fmla="*/ 126682 w 466725"/>
              <a:gd name="connsiteY6" fmla="*/ 0 h 561975"/>
              <a:gd name="connsiteX7" fmla="*/ 128588 w 466725"/>
              <a:gd name="connsiteY7" fmla="*/ 265748 h 561975"/>
              <a:gd name="connsiteX8" fmla="*/ 151447 w 466725"/>
              <a:gd name="connsiteY8" fmla="*/ 423863 h 561975"/>
              <a:gd name="connsiteX9" fmla="*/ 265747 w 466725"/>
              <a:gd name="connsiteY9" fmla="*/ 486728 h 561975"/>
              <a:gd name="connsiteX10" fmla="*/ 351472 w 466725"/>
              <a:gd name="connsiteY10" fmla="*/ 471488 h 561975"/>
              <a:gd name="connsiteX11" fmla="*/ 468630 w 466725"/>
              <a:gd name="connsiteY11" fmla="*/ 423863 h 561975"/>
              <a:gd name="connsiteX12" fmla="*/ 470535 w 466725"/>
              <a:gd name="connsiteY12" fmla="*/ 436245 h 56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6725" h="561975">
                <a:moveTo>
                  <a:pt x="470535" y="436245"/>
                </a:moveTo>
                <a:lnTo>
                  <a:pt x="470535" y="445770"/>
                </a:lnTo>
                <a:cubicBezTo>
                  <a:pt x="369570" y="532448"/>
                  <a:pt x="237172" y="562928"/>
                  <a:pt x="158115" y="567690"/>
                </a:cubicBezTo>
                <a:cubicBezTo>
                  <a:pt x="114300" y="570548"/>
                  <a:pt x="71438" y="551498"/>
                  <a:pt x="40957" y="520065"/>
                </a:cubicBezTo>
                <a:cubicBezTo>
                  <a:pt x="8572" y="488633"/>
                  <a:pt x="0" y="434340"/>
                  <a:pt x="0" y="356235"/>
                </a:cubicBezTo>
                <a:lnTo>
                  <a:pt x="0" y="65723"/>
                </a:lnTo>
                <a:lnTo>
                  <a:pt x="126682" y="0"/>
                </a:lnTo>
                <a:lnTo>
                  <a:pt x="128588" y="265748"/>
                </a:lnTo>
                <a:cubicBezTo>
                  <a:pt x="125730" y="319088"/>
                  <a:pt x="134302" y="373380"/>
                  <a:pt x="151447" y="423863"/>
                </a:cubicBezTo>
                <a:cubicBezTo>
                  <a:pt x="166688" y="465773"/>
                  <a:pt x="205740" y="486728"/>
                  <a:pt x="265747" y="486728"/>
                </a:cubicBezTo>
                <a:cubicBezTo>
                  <a:pt x="295275" y="485775"/>
                  <a:pt x="323850" y="480060"/>
                  <a:pt x="351472" y="471488"/>
                </a:cubicBezTo>
                <a:cubicBezTo>
                  <a:pt x="391477" y="459105"/>
                  <a:pt x="430530" y="442913"/>
                  <a:pt x="468630" y="423863"/>
                </a:cubicBezTo>
                <a:cubicBezTo>
                  <a:pt x="469582" y="427673"/>
                  <a:pt x="470535" y="432435"/>
                  <a:pt x="470535" y="43624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1" name="Forme libre : forme 90">
            <a:extLst>
              <a:ext uri="{FF2B5EF4-FFF2-40B4-BE49-F238E27FC236}">
                <a16:creationId xmlns:a16="http://schemas.microsoft.com/office/drawing/2014/main" id="{4C9CCC26-5417-41E7-B753-3B7D59038FBD}"/>
              </a:ext>
            </a:extLst>
          </p:cNvPr>
          <p:cNvSpPr/>
          <p:nvPr/>
        </p:nvSpPr>
        <p:spPr>
          <a:xfrm rot="8716295">
            <a:off x="429835" y="1569903"/>
            <a:ext cx="220345" cy="161228"/>
          </a:xfrm>
          <a:custGeom>
            <a:avLst/>
            <a:gdLst>
              <a:gd name="connsiteX0" fmla="*/ 343853 w 390525"/>
              <a:gd name="connsiteY0" fmla="*/ 144780 h 285750"/>
              <a:gd name="connsiteX1" fmla="*/ 344805 w 390525"/>
              <a:gd name="connsiteY1" fmla="*/ 144780 h 285750"/>
              <a:gd name="connsiteX2" fmla="*/ 12382 w 390525"/>
              <a:gd name="connsiteY2" fmla="*/ 288608 h 285750"/>
              <a:gd name="connsiteX3" fmla="*/ 0 w 390525"/>
              <a:gd name="connsiteY3" fmla="*/ 271463 h 285750"/>
              <a:gd name="connsiteX4" fmla="*/ 225743 w 390525"/>
              <a:gd name="connsiteY4" fmla="*/ 59055 h 285750"/>
              <a:gd name="connsiteX5" fmla="*/ 340043 w 390525"/>
              <a:gd name="connsiteY5" fmla="*/ 0 h 285750"/>
              <a:gd name="connsiteX6" fmla="*/ 399098 w 390525"/>
              <a:gd name="connsiteY6" fmla="*/ 70485 h 285750"/>
              <a:gd name="connsiteX7" fmla="*/ 343853 w 390525"/>
              <a:gd name="connsiteY7" fmla="*/ 14478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0525" h="285750">
                <a:moveTo>
                  <a:pt x="343853" y="144780"/>
                </a:moveTo>
                <a:lnTo>
                  <a:pt x="344805" y="144780"/>
                </a:lnTo>
                <a:lnTo>
                  <a:pt x="12382" y="288608"/>
                </a:lnTo>
                <a:lnTo>
                  <a:pt x="0" y="271463"/>
                </a:lnTo>
                <a:lnTo>
                  <a:pt x="225743" y="59055"/>
                </a:lnTo>
                <a:cubicBezTo>
                  <a:pt x="254318" y="25718"/>
                  <a:pt x="295275" y="4763"/>
                  <a:pt x="340043" y="0"/>
                </a:cubicBezTo>
                <a:cubicBezTo>
                  <a:pt x="385763" y="0"/>
                  <a:pt x="399098" y="40005"/>
                  <a:pt x="399098" y="70485"/>
                </a:cubicBezTo>
                <a:cubicBezTo>
                  <a:pt x="396240" y="103823"/>
                  <a:pt x="374332" y="131445"/>
                  <a:pt x="343853" y="14478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2" name="Forme libre : forme 91">
            <a:extLst>
              <a:ext uri="{FF2B5EF4-FFF2-40B4-BE49-F238E27FC236}">
                <a16:creationId xmlns:a16="http://schemas.microsoft.com/office/drawing/2014/main" id="{D6712892-AD9E-4694-AEF5-3D17C5AEEE1D}"/>
              </a:ext>
            </a:extLst>
          </p:cNvPr>
          <p:cNvSpPr/>
          <p:nvPr/>
        </p:nvSpPr>
        <p:spPr>
          <a:xfrm rot="8716295">
            <a:off x="378030" y="1466310"/>
            <a:ext cx="110380" cy="1103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3" name="Forme libre : forme 92">
            <a:extLst>
              <a:ext uri="{FF2B5EF4-FFF2-40B4-BE49-F238E27FC236}">
                <a16:creationId xmlns:a16="http://schemas.microsoft.com/office/drawing/2014/main" id="{8DA7EFED-D0A6-45D4-A875-2F1DCEFC57C8}"/>
              </a:ext>
            </a:extLst>
          </p:cNvPr>
          <p:cNvSpPr/>
          <p:nvPr/>
        </p:nvSpPr>
        <p:spPr>
          <a:xfrm rot="8716295">
            <a:off x="134784" y="1496531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4" name="Forme libre : forme 93">
            <a:extLst>
              <a:ext uri="{FF2B5EF4-FFF2-40B4-BE49-F238E27FC236}">
                <a16:creationId xmlns:a16="http://schemas.microsoft.com/office/drawing/2014/main" id="{32971A81-1820-4964-A66E-2FD721A16F56}"/>
              </a:ext>
            </a:extLst>
          </p:cNvPr>
          <p:cNvSpPr/>
          <p:nvPr/>
        </p:nvSpPr>
        <p:spPr>
          <a:xfrm rot="8716295">
            <a:off x="312236" y="1337289"/>
            <a:ext cx="110380" cy="1103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5" name="Forme libre : forme 94">
            <a:extLst>
              <a:ext uri="{FF2B5EF4-FFF2-40B4-BE49-F238E27FC236}">
                <a16:creationId xmlns:a16="http://schemas.microsoft.com/office/drawing/2014/main" id="{BC42F9C8-99E7-4F04-B258-C142D2DE142F}"/>
              </a:ext>
            </a:extLst>
          </p:cNvPr>
          <p:cNvSpPr/>
          <p:nvPr/>
        </p:nvSpPr>
        <p:spPr>
          <a:xfrm rot="8716295">
            <a:off x="-17798" y="949199"/>
            <a:ext cx="39526" cy="50123"/>
          </a:xfrm>
          <a:custGeom>
            <a:avLst/>
            <a:gdLst>
              <a:gd name="connsiteX0" fmla="*/ 0 w 39526"/>
              <a:gd name="connsiteY0" fmla="*/ 50123 h 50123"/>
              <a:gd name="connsiteX1" fmla="*/ 0 w 39526"/>
              <a:gd name="connsiteY1" fmla="*/ 0 h 50123"/>
              <a:gd name="connsiteX2" fmla="*/ 39526 w 39526"/>
              <a:gd name="connsiteY2" fmla="*/ 0 h 50123"/>
              <a:gd name="connsiteX3" fmla="*/ 4782 w 39526"/>
              <a:gd name="connsiteY3" fmla="*/ 50123 h 50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526" h="50123">
                <a:moveTo>
                  <a:pt x="0" y="50123"/>
                </a:moveTo>
                <a:lnTo>
                  <a:pt x="0" y="0"/>
                </a:lnTo>
                <a:lnTo>
                  <a:pt x="39526" y="0"/>
                </a:lnTo>
                <a:lnTo>
                  <a:pt x="4782" y="5012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6" name="Forme libre : forme 95">
            <a:extLst>
              <a:ext uri="{FF2B5EF4-FFF2-40B4-BE49-F238E27FC236}">
                <a16:creationId xmlns:a16="http://schemas.microsoft.com/office/drawing/2014/main" id="{D29A62DB-0DC5-407D-A1DF-C8A39BAC784A}"/>
              </a:ext>
            </a:extLst>
          </p:cNvPr>
          <p:cNvSpPr/>
          <p:nvPr/>
        </p:nvSpPr>
        <p:spPr>
          <a:xfrm rot="8716295">
            <a:off x="-64996" y="834728"/>
            <a:ext cx="249650" cy="254774"/>
          </a:xfrm>
          <a:custGeom>
            <a:avLst/>
            <a:gdLst>
              <a:gd name="connsiteX0" fmla="*/ 51490 w 249650"/>
              <a:gd name="connsiteY0" fmla="*/ 254774 h 254774"/>
              <a:gd name="connsiteX1" fmla="*/ 51490 w 249650"/>
              <a:gd name="connsiteY1" fmla="*/ 45624 h 254774"/>
              <a:gd name="connsiteX2" fmla="*/ 0 w 249650"/>
              <a:gd name="connsiteY2" fmla="*/ 45624 h 254774"/>
              <a:gd name="connsiteX3" fmla="*/ 0 w 249650"/>
              <a:gd name="connsiteY3" fmla="*/ 1425 h 254774"/>
              <a:gd name="connsiteX4" fmla="*/ 104803 w 249650"/>
              <a:gd name="connsiteY4" fmla="*/ 1425 h 254774"/>
              <a:gd name="connsiteX5" fmla="*/ 104803 w 249650"/>
              <a:gd name="connsiteY5" fmla="*/ 75242 h 254774"/>
              <a:gd name="connsiteX6" fmla="*/ 106169 w 249650"/>
              <a:gd name="connsiteY6" fmla="*/ 75242 h 254774"/>
              <a:gd name="connsiteX7" fmla="*/ 154014 w 249650"/>
              <a:gd name="connsiteY7" fmla="*/ 5981 h 254774"/>
              <a:gd name="connsiteX8" fmla="*/ 185455 w 249650"/>
              <a:gd name="connsiteY8" fmla="*/ 57 h 254774"/>
              <a:gd name="connsiteX9" fmla="*/ 240647 w 249650"/>
              <a:gd name="connsiteY9" fmla="*/ 22727 h 254774"/>
              <a:gd name="connsiteX10" fmla="*/ 249650 w 249650"/>
              <a:gd name="connsiteY10" fmla="*/ 52327 h 254774"/>
              <a:gd name="connsiteX11" fmla="*/ 218795 w 249650"/>
              <a:gd name="connsiteY11" fmla="*/ 96841 h 254774"/>
              <a:gd name="connsiteX12" fmla="*/ 198669 w 249650"/>
              <a:gd name="connsiteY12" fmla="*/ 98025 h 254774"/>
              <a:gd name="connsiteX13" fmla="*/ 198669 w 249650"/>
              <a:gd name="connsiteY13" fmla="*/ 81621 h 254774"/>
              <a:gd name="connsiteX14" fmla="*/ 164950 w 249650"/>
              <a:gd name="connsiteY14" fmla="*/ 40156 h 254774"/>
              <a:gd name="connsiteX15" fmla="*/ 111638 w 249650"/>
              <a:gd name="connsiteY15" fmla="*/ 127643 h 254774"/>
              <a:gd name="connsiteX16" fmla="*/ 111638 w 249650"/>
              <a:gd name="connsiteY16" fmla="*/ 213764 h 254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49650" h="254774">
                <a:moveTo>
                  <a:pt x="51490" y="254774"/>
                </a:moveTo>
                <a:lnTo>
                  <a:pt x="51490" y="45624"/>
                </a:lnTo>
                <a:lnTo>
                  <a:pt x="0" y="45624"/>
                </a:lnTo>
                <a:lnTo>
                  <a:pt x="0" y="1425"/>
                </a:lnTo>
                <a:lnTo>
                  <a:pt x="104803" y="1425"/>
                </a:lnTo>
                <a:lnTo>
                  <a:pt x="104803" y="75242"/>
                </a:lnTo>
                <a:lnTo>
                  <a:pt x="106169" y="75242"/>
                </a:lnTo>
                <a:cubicBezTo>
                  <a:pt x="120751" y="31954"/>
                  <a:pt x="132142" y="15094"/>
                  <a:pt x="154014" y="5981"/>
                </a:cubicBezTo>
                <a:cubicBezTo>
                  <a:pt x="164039" y="1880"/>
                  <a:pt x="174519" y="-398"/>
                  <a:pt x="185455" y="57"/>
                </a:cubicBezTo>
                <a:cubicBezTo>
                  <a:pt x="208922" y="-398"/>
                  <a:pt x="227718" y="7576"/>
                  <a:pt x="240647" y="22727"/>
                </a:cubicBezTo>
                <a:lnTo>
                  <a:pt x="249650" y="52327"/>
                </a:lnTo>
                <a:lnTo>
                  <a:pt x="218795" y="96841"/>
                </a:lnTo>
                <a:lnTo>
                  <a:pt x="198669" y="98025"/>
                </a:lnTo>
                <a:lnTo>
                  <a:pt x="198669" y="81621"/>
                </a:lnTo>
                <a:cubicBezTo>
                  <a:pt x="198669" y="57016"/>
                  <a:pt x="184544" y="40156"/>
                  <a:pt x="164950" y="40156"/>
                </a:cubicBezTo>
                <a:cubicBezTo>
                  <a:pt x="135788" y="40156"/>
                  <a:pt x="111638" y="78887"/>
                  <a:pt x="111638" y="127643"/>
                </a:cubicBezTo>
                <a:lnTo>
                  <a:pt x="111638" y="213764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7" name="Forme libre : forme 96">
            <a:extLst>
              <a:ext uri="{FF2B5EF4-FFF2-40B4-BE49-F238E27FC236}">
                <a16:creationId xmlns:a16="http://schemas.microsoft.com/office/drawing/2014/main" id="{4160A2B5-61C4-44D3-8FA4-49A1FCD41A0C}"/>
              </a:ext>
            </a:extLst>
          </p:cNvPr>
          <p:cNvSpPr/>
          <p:nvPr/>
        </p:nvSpPr>
        <p:spPr>
          <a:xfrm rot="7484129">
            <a:off x="-63314" y="1172497"/>
            <a:ext cx="203848" cy="146395"/>
          </a:xfrm>
          <a:custGeom>
            <a:avLst/>
            <a:gdLst>
              <a:gd name="connsiteX0" fmla="*/ 0 w 203848"/>
              <a:gd name="connsiteY0" fmla="*/ 55323 h 146395"/>
              <a:gd name="connsiteX1" fmla="*/ 0 w 203848"/>
              <a:gd name="connsiteY1" fmla="*/ 0 h 146395"/>
              <a:gd name="connsiteX2" fmla="*/ 203848 w 203848"/>
              <a:gd name="connsiteY2" fmla="*/ 0 h 146395"/>
              <a:gd name="connsiteX3" fmla="*/ 203847 w 203848"/>
              <a:gd name="connsiteY3" fmla="*/ 49512 h 146395"/>
              <a:gd name="connsiteX4" fmla="*/ 195466 w 203848"/>
              <a:gd name="connsiteY4" fmla="*/ 55323 h 146395"/>
              <a:gd name="connsiteX5" fmla="*/ 139055 w 203848"/>
              <a:gd name="connsiteY5" fmla="*/ 55323 h 146395"/>
              <a:gd name="connsiteX6" fmla="*/ 121388 w 203848"/>
              <a:gd name="connsiteY6" fmla="*/ 106685 h 146395"/>
              <a:gd name="connsiteX7" fmla="*/ 64115 w 203848"/>
              <a:gd name="connsiteY7" fmla="*/ 146395 h 146395"/>
              <a:gd name="connsiteX8" fmla="*/ 47847 w 203848"/>
              <a:gd name="connsiteY8" fmla="*/ 116129 h 146395"/>
              <a:gd name="connsiteX9" fmla="*/ 69777 w 203848"/>
              <a:gd name="connsiteY9" fmla="*/ 55323 h 146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3848" h="146395">
                <a:moveTo>
                  <a:pt x="0" y="55323"/>
                </a:moveTo>
                <a:lnTo>
                  <a:pt x="0" y="0"/>
                </a:lnTo>
                <a:lnTo>
                  <a:pt x="203848" y="0"/>
                </a:lnTo>
                <a:lnTo>
                  <a:pt x="203847" y="49512"/>
                </a:lnTo>
                <a:lnTo>
                  <a:pt x="195466" y="55323"/>
                </a:lnTo>
                <a:lnTo>
                  <a:pt x="139055" y="55323"/>
                </a:lnTo>
                <a:lnTo>
                  <a:pt x="121388" y="106685"/>
                </a:lnTo>
                <a:lnTo>
                  <a:pt x="64115" y="146395"/>
                </a:lnTo>
                <a:lnTo>
                  <a:pt x="47847" y="116129"/>
                </a:lnTo>
                <a:lnTo>
                  <a:pt x="69777" y="5532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8" name="Forme libre : forme 97">
            <a:extLst>
              <a:ext uri="{FF2B5EF4-FFF2-40B4-BE49-F238E27FC236}">
                <a16:creationId xmlns:a16="http://schemas.microsoft.com/office/drawing/2014/main" id="{0F651F8F-312F-4D1A-9E4B-A79B81999918}"/>
              </a:ext>
            </a:extLst>
          </p:cNvPr>
          <p:cNvSpPr/>
          <p:nvPr/>
        </p:nvSpPr>
        <p:spPr>
          <a:xfrm rot="13089394">
            <a:off x="25311" y="1099526"/>
            <a:ext cx="270377" cy="325556"/>
          </a:xfrm>
          <a:custGeom>
            <a:avLst/>
            <a:gdLst>
              <a:gd name="connsiteX0" fmla="*/ 470535 w 466725"/>
              <a:gd name="connsiteY0" fmla="*/ 436245 h 561975"/>
              <a:gd name="connsiteX1" fmla="*/ 470535 w 466725"/>
              <a:gd name="connsiteY1" fmla="*/ 445770 h 561975"/>
              <a:gd name="connsiteX2" fmla="*/ 158115 w 466725"/>
              <a:gd name="connsiteY2" fmla="*/ 567690 h 561975"/>
              <a:gd name="connsiteX3" fmla="*/ 40957 w 466725"/>
              <a:gd name="connsiteY3" fmla="*/ 520065 h 561975"/>
              <a:gd name="connsiteX4" fmla="*/ 0 w 466725"/>
              <a:gd name="connsiteY4" fmla="*/ 356235 h 561975"/>
              <a:gd name="connsiteX5" fmla="*/ 0 w 466725"/>
              <a:gd name="connsiteY5" fmla="*/ 65723 h 561975"/>
              <a:gd name="connsiteX6" fmla="*/ 126682 w 466725"/>
              <a:gd name="connsiteY6" fmla="*/ 0 h 561975"/>
              <a:gd name="connsiteX7" fmla="*/ 128588 w 466725"/>
              <a:gd name="connsiteY7" fmla="*/ 265748 h 561975"/>
              <a:gd name="connsiteX8" fmla="*/ 151447 w 466725"/>
              <a:gd name="connsiteY8" fmla="*/ 423863 h 561975"/>
              <a:gd name="connsiteX9" fmla="*/ 265747 w 466725"/>
              <a:gd name="connsiteY9" fmla="*/ 486728 h 561975"/>
              <a:gd name="connsiteX10" fmla="*/ 351472 w 466725"/>
              <a:gd name="connsiteY10" fmla="*/ 471488 h 561975"/>
              <a:gd name="connsiteX11" fmla="*/ 468630 w 466725"/>
              <a:gd name="connsiteY11" fmla="*/ 423863 h 561975"/>
              <a:gd name="connsiteX12" fmla="*/ 470535 w 466725"/>
              <a:gd name="connsiteY12" fmla="*/ 436245 h 56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6725" h="561975">
                <a:moveTo>
                  <a:pt x="470535" y="436245"/>
                </a:moveTo>
                <a:lnTo>
                  <a:pt x="470535" y="445770"/>
                </a:lnTo>
                <a:cubicBezTo>
                  <a:pt x="369570" y="532448"/>
                  <a:pt x="237172" y="562928"/>
                  <a:pt x="158115" y="567690"/>
                </a:cubicBezTo>
                <a:cubicBezTo>
                  <a:pt x="114300" y="570548"/>
                  <a:pt x="71438" y="551498"/>
                  <a:pt x="40957" y="520065"/>
                </a:cubicBezTo>
                <a:cubicBezTo>
                  <a:pt x="8572" y="488633"/>
                  <a:pt x="0" y="434340"/>
                  <a:pt x="0" y="356235"/>
                </a:cubicBezTo>
                <a:lnTo>
                  <a:pt x="0" y="65723"/>
                </a:lnTo>
                <a:lnTo>
                  <a:pt x="126682" y="0"/>
                </a:lnTo>
                <a:lnTo>
                  <a:pt x="128588" y="265748"/>
                </a:lnTo>
                <a:cubicBezTo>
                  <a:pt x="125730" y="319088"/>
                  <a:pt x="134302" y="373380"/>
                  <a:pt x="151447" y="423863"/>
                </a:cubicBezTo>
                <a:cubicBezTo>
                  <a:pt x="166688" y="465773"/>
                  <a:pt x="205740" y="486728"/>
                  <a:pt x="265747" y="486728"/>
                </a:cubicBezTo>
                <a:cubicBezTo>
                  <a:pt x="295275" y="485775"/>
                  <a:pt x="323850" y="480060"/>
                  <a:pt x="351472" y="471488"/>
                </a:cubicBezTo>
                <a:cubicBezTo>
                  <a:pt x="391477" y="459105"/>
                  <a:pt x="430530" y="442913"/>
                  <a:pt x="468630" y="423863"/>
                </a:cubicBezTo>
                <a:cubicBezTo>
                  <a:pt x="469582" y="427673"/>
                  <a:pt x="470535" y="432435"/>
                  <a:pt x="470535" y="43624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9" name="Forme libre : forme 98">
            <a:extLst>
              <a:ext uri="{FF2B5EF4-FFF2-40B4-BE49-F238E27FC236}">
                <a16:creationId xmlns:a16="http://schemas.microsoft.com/office/drawing/2014/main" id="{12E33E54-ECAF-462B-B069-F233780DF121}"/>
              </a:ext>
            </a:extLst>
          </p:cNvPr>
          <p:cNvSpPr/>
          <p:nvPr/>
        </p:nvSpPr>
        <p:spPr>
          <a:xfrm rot="8716295">
            <a:off x="210896" y="907845"/>
            <a:ext cx="220345" cy="161228"/>
          </a:xfrm>
          <a:custGeom>
            <a:avLst/>
            <a:gdLst>
              <a:gd name="connsiteX0" fmla="*/ 343853 w 390525"/>
              <a:gd name="connsiteY0" fmla="*/ 144780 h 285750"/>
              <a:gd name="connsiteX1" fmla="*/ 344805 w 390525"/>
              <a:gd name="connsiteY1" fmla="*/ 144780 h 285750"/>
              <a:gd name="connsiteX2" fmla="*/ 12382 w 390525"/>
              <a:gd name="connsiteY2" fmla="*/ 288608 h 285750"/>
              <a:gd name="connsiteX3" fmla="*/ 0 w 390525"/>
              <a:gd name="connsiteY3" fmla="*/ 271463 h 285750"/>
              <a:gd name="connsiteX4" fmla="*/ 225743 w 390525"/>
              <a:gd name="connsiteY4" fmla="*/ 59055 h 285750"/>
              <a:gd name="connsiteX5" fmla="*/ 340043 w 390525"/>
              <a:gd name="connsiteY5" fmla="*/ 0 h 285750"/>
              <a:gd name="connsiteX6" fmla="*/ 399098 w 390525"/>
              <a:gd name="connsiteY6" fmla="*/ 70485 h 285750"/>
              <a:gd name="connsiteX7" fmla="*/ 343853 w 390525"/>
              <a:gd name="connsiteY7" fmla="*/ 14478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0525" h="285750">
                <a:moveTo>
                  <a:pt x="343853" y="144780"/>
                </a:moveTo>
                <a:lnTo>
                  <a:pt x="344805" y="144780"/>
                </a:lnTo>
                <a:lnTo>
                  <a:pt x="12382" y="288608"/>
                </a:lnTo>
                <a:lnTo>
                  <a:pt x="0" y="271463"/>
                </a:lnTo>
                <a:lnTo>
                  <a:pt x="225743" y="59055"/>
                </a:lnTo>
                <a:cubicBezTo>
                  <a:pt x="254318" y="25718"/>
                  <a:pt x="295275" y="4763"/>
                  <a:pt x="340043" y="0"/>
                </a:cubicBezTo>
                <a:cubicBezTo>
                  <a:pt x="385763" y="0"/>
                  <a:pt x="399098" y="40005"/>
                  <a:pt x="399098" y="70485"/>
                </a:cubicBezTo>
                <a:cubicBezTo>
                  <a:pt x="396240" y="103823"/>
                  <a:pt x="374332" y="131445"/>
                  <a:pt x="343853" y="14478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0" name="Forme libre : forme 99">
            <a:extLst>
              <a:ext uri="{FF2B5EF4-FFF2-40B4-BE49-F238E27FC236}">
                <a16:creationId xmlns:a16="http://schemas.microsoft.com/office/drawing/2014/main" id="{42ACC1F1-A8E1-420C-B7DE-55FFEE501260}"/>
              </a:ext>
            </a:extLst>
          </p:cNvPr>
          <p:cNvSpPr/>
          <p:nvPr/>
        </p:nvSpPr>
        <p:spPr>
          <a:xfrm rot="8716295">
            <a:off x="159091" y="804252"/>
            <a:ext cx="110380" cy="1103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1" name="Forme libre : forme 100">
            <a:extLst>
              <a:ext uri="{FF2B5EF4-FFF2-40B4-BE49-F238E27FC236}">
                <a16:creationId xmlns:a16="http://schemas.microsoft.com/office/drawing/2014/main" id="{B902C445-D42B-4D0E-8897-FDE236E78375}"/>
              </a:ext>
            </a:extLst>
          </p:cNvPr>
          <p:cNvSpPr/>
          <p:nvPr/>
        </p:nvSpPr>
        <p:spPr>
          <a:xfrm rot="8716295">
            <a:off x="93297" y="675231"/>
            <a:ext cx="110380" cy="1103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2" name="Forme libre : forme 101">
            <a:extLst>
              <a:ext uri="{FF2B5EF4-FFF2-40B4-BE49-F238E27FC236}">
                <a16:creationId xmlns:a16="http://schemas.microsoft.com/office/drawing/2014/main" id="{4EDB9DFE-AA44-492B-9D2C-70F199FD6162}"/>
              </a:ext>
            </a:extLst>
          </p:cNvPr>
          <p:cNvSpPr/>
          <p:nvPr/>
        </p:nvSpPr>
        <p:spPr>
          <a:xfrm rot="8716295">
            <a:off x="-7001" y="316701"/>
            <a:ext cx="14001" cy="20198"/>
          </a:xfrm>
          <a:custGeom>
            <a:avLst/>
            <a:gdLst>
              <a:gd name="connsiteX0" fmla="*/ 0 w 14001"/>
              <a:gd name="connsiteY0" fmla="*/ 20198 h 20198"/>
              <a:gd name="connsiteX1" fmla="*/ 0 w 14001"/>
              <a:gd name="connsiteY1" fmla="*/ 0 h 20198"/>
              <a:gd name="connsiteX2" fmla="*/ 14001 w 14001"/>
              <a:gd name="connsiteY2" fmla="*/ 0 h 20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001" h="20198">
                <a:moveTo>
                  <a:pt x="0" y="20198"/>
                </a:moveTo>
                <a:lnTo>
                  <a:pt x="0" y="0"/>
                </a:lnTo>
                <a:lnTo>
                  <a:pt x="14001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3" name="Forme libre : forme 102">
            <a:extLst>
              <a:ext uri="{FF2B5EF4-FFF2-40B4-BE49-F238E27FC236}">
                <a16:creationId xmlns:a16="http://schemas.microsoft.com/office/drawing/2014/main" id="{9B8E4668-5129-4061-833F-DDB8DC144C55}"/>
              </a:ext>
            </a:extLst>
          </p:cNvPr>
          <p:cNvSpPr/>
          <p:nvPr/>
        </p:nvSpPr>
        <p:spPr>
          <a:xfrm rot="13089394">
            <a:off x="-81658" y="472652"/>
            <a:ext cx="173631" cy="237684"/>
          </a:xfrm>
          <a:custGeom>
            <a:avLst/>
            <a:gdLst>
              <a:gd name="connsiteX0" fmla="*/ 173631 w 173631"/>
              <a:gd name="connsiteY0" fmla="*/ 220990 h 237684"/>
              <a:gd name="connsiteX1" fmla="*/ 130972 w 173631"/>
              <a:gd name="connsiteY1" fmla="*/ 232382 h 237684"/>
              <a:gd name="connsiteX2" fmla="*/ 91597 w 173631"/>
              <a:gd name="connsiteY2" fmla="*/ 237521 h 237684"/>
              <a:gd name="connsiteX3" fmla="*/ 23727 w 173631"/>
              <a:gd name="connsiteY3" fmla="*/ 209931 h 237684"/>
              <a:gd name="connsiteX4" fmla="*/ 0 w 173631"/>
              <a:gd name="connsiteY4" fmla="*/ 115023 h 237684"/>
              <a:gd name="connsiteX5" fmla="*/ 0 w 173631"/>
              <a:gd name="connsiteY5" fmla="*/ 0 h 237684"/>
              <a:gd name="connsiteX6" fmla="*/ 76176 w 173631"/>
              <a:gd name="connsiteY6" fmla="*/ 96953 h 237684"/>
              <a:gd name="connsiteX7" fmla="*/ 76768 w 173631"/>
              <a:gd name="connsiteY7" fmla="*/ 109023 h 237684"/>
              <a:gd name="connsiteX8" fmla="*/ 87734 w 173631"/>
              <a:gd name="connsiteY8" fmla="*/ 154201 h 237684"/>
              <a:gd name="connsiteX9" fmla="*/ 111117 w 173631"/>
              <a:gd name="connsiteY9" fmla="*/ 181514 h 237684"/>
              <a:gd name="connsiteX10" fmla="*/ 148930 w 173631"/>
              <a:gd name="connsiteY10" fmla="*/ 189552 h 237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73631" h="237684">
                <a:moveTo>
                  <a:pt x="173631" y="220990"/>
                </a:moveTo>
                <a:lnTo>
                  <a:pt x="130972" y="232382"/>
                </a:lnTo>
                <a:cubicBezTo>
                  <a:pt x="116428" y="235210"/>
                  <a:pt x="103047" y="236831"/>
                  <a:pt x="91597" y="237521"/>
                </a:cubicBezTo>
                <a:cubicBezTo>
                  <a:pt x="66215" y="239176"/>
                  <a:pt x="41384" y="228141"/>
                  <a:pt x="23727" y="209931"/>
                </a:cubicBezTo>
                <a:cubicBezTo>
                  <a:pt x="4966" y="191722"/>
                  <a:pt x="0" y="160270"/>
                  <a:pt x="0" y="115023"/>
                </a:cubicBezTo>
                <a:lnTo>
                  <a:pt x="0" y="0"/>
                </a:lnTo>
                <a:lnTo>
                  <a:pt x="76176" y="96953"/>
                </a:lnTo>
                <a:lnTo>
                  <a:pt x="76768" y="109023"/>
                </a:lnTo>
                <a:cubicBezTo>
                  <a:pt x="79044" y="124404"/>
                  <a:pt x="82768" y="139578"/>
                  <a:pt x="87734" y="154201"/>
                </a:cubicBezTo>
                <a:cubicBezTo>
                  <a:pt x="92149" y="166340"/>
                  <a:pt x="100012" y="175445"/>
                  <a:pt x="111117" y="181514"/>
                </a:cubicBezTo>
                <a:lnTo>
                  <a:pt x="148930" y="189552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4" name="Forme libre : forme 103">
            <a:extLst>
              <a:ext uri="{FF2B5EF4-FFF2-40B4-BE49-F238E27FC236}">
                <a16:creationId xmlns:a16="http://schemas.microsoft.com/office/drawing/2014/main" id="{99FF5E45-909E-4FF2-B754-B344F6F11F69}"/>
              </a:ext>
            </a:extLst>
          </p:cNvPr>
          <p:cNvSpPr/>
          <p:nvPr/>
        </p:nvSpPr>
        <p:spPr>
          <a:xfrm rot="8716295">
            <a:off x="-11774" y="244430"/>
            <a:ext cx="220345" cy="161228"/>
          </a:xfrm>
          <a:custGeom>
            <a:avLst/>
            <a:gdLst>
              <a:gd name="connsiteX0" fmla="*/ 343853 w 390525"/>
              <a:gd name="connsiteY0" fmla="*/ 144780 h 285750"/>
              <a:gd name="connsiteX1" fmla="*/ 344805 w 390525"/>
              <a:gd name="connsiteY1" fmla="*/ 144780 h 285750"/>
              <a:gd name="connsiteX2" fmla="*/ 12382 w 390525"/>
              <a:gd name="connsiteY2" fmla="*/ 288608 h 285750"/>
              <a:gd name="connsiteX3" fmla="*/ 0 w 390525"/>
              <a:gd name="connsiteY3" fmla="*/ 271463 h 285750"/>
              <a:gd name="connsiteX4" fmla="*/ 225743 w 390525"/>
              <a:gd name="connsiteY4" fmla="*/ 59055 h 285750"/>
              <a:gd name="connsiteX5" fmla="*/ 340043 w 390525"/>
              <a:gd name="connsiteY5" fmla="*/ 0 h 285750"/>
              <a:gd name="connsiteX6" fmla="*/ 399098 w 390525"/>
              <a:gd name="connsiteY6" fmla="*/ 70485 h 285750"/>
              <a:gd name="connsiteX7" fmla="*/ 343853 w 390525"/>
              <a:gd name="connsiteY7" fmla="*/ 14478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0525" h="285750">
                <a:moveTo>
                  <a:pt x="343853" y="144780"/>
                </a:moveTo>
                <a:lnTo>
                  <a:pt x="344805" y="144780"/>
                </a:lnTo>
                <a:lnTo>
                  <a:pt x="12382" y="288608"/>
                </a:lnTo>
                <a:lnTo>
                  <a:pt x="0" y="271463"/>
                </a:lnTo>
                <a:lnTo>
                  <a:pt x="225743" y="59055"/>
                </a:lnTo>
                <a:cubicBezTo>
                  <a:pt x="254318" y="25718"/>
                  <a:pt x="295275" y="4763"/>
                  <a:pt x="340043" y="0"/>
                </a:cubicBezTo>
                <a:cubicBezTo>
                  <a:pt x="385763" y="0"/>
                  <a:pt x="399098" y="40005"/>
                  <a:pt x="399098" y="70485"/>
                </a:cubicBezTo>
                <a:cubicBezTo>
                  <a:pt x="396240" y="103823"/>
                  <a:pt x="374332" y="131445"/>
                  <a:pt x="343853" y="14478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5" name="Forme libre : forme 104">
            <a:extLst>
              <a:ext uri="{FF2B5EF4-FFF2-40B4-BE49-F238E27FC236}">
                <a16:creationId xmlns:a16="http://schemas.microsoft.com/office/drawing/2014/main" id="{EB79107E-889E-47A5-A1AB-E4F4B49C7BFA}"/>
              </a:ext>
            </a:extLst>
          </p:cNvPr>
          <p:cNvSpPr/>
          <p:nvPr/>
        </p:nvSpPr>
        <p:spPr>
          <a:xfrm rot="8716295">
            <a:off x="-30092" y="143486"/>
            <a:ext cx="77721" cy="97260"/>
          </a:xfrm>
          <a:custGeom>
            <a:avLst/>
            <a:gdLst>
              <a:gd name="connsiteX0" fmla="*/ 15821 w 77721"/>
              <a:gd name="connsiteY0" fmla="*/ 97260 h 97260"/>
              <a:gd name="connsiteX1" fmla="*/ 0 w 77721"/>
              <a:gd name="connsiteY1" fmla="*/ 59790 h 97260"/>
              <a:gd name="connsiteX2" fmla="*/ 0 w 77721"/>
              <a:gd name="connsiteY2" fmla="*/ 58869 h 97260"/>
              <a:gd name="connsiteX3" fmla="*/ 17477 w 77721"/>
              <a:gd name="connsiteY3" fmla="*/ 17477 h 97260"/>
              <a:gd name="connsiteX4" fmla="*/ 58869 w 77721"/>
              <a:gd name="connsiteY4" fmla="*/ 0 h 97260"/>
              <a:gd name="connsiteX5" fmla="*/ 77721 w 77721"/>
              <a:gd name="connsiteY5" fmla="*/ 7960 h 97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7721" h="97260">
                <a:moveTo>
                  <a:pt x="15821" y="97260"/>
                </a:moveTo>
                <a:lnTo>
                  <a:pt x="0" y="59790"/>
                </a:lnTo>
                <a:lnTo>
                  <a:pt x="0" y="58869"/>
                </a:lnTo>
                <a:cubicBezTo>
                  <a:pt x="0" y="43233"/>
                  <a:pt x="6439" y="28515"/>
                  <a:pt x="17477" y="17477"/>
                </a:cubicBezTo>
                <a:cubicBezTo>
                  <a:pt x="28515" y="6439"/>
                  <a:pt x="43233" y="0"/>
                  <a:pt x="58869" y="0"/>
                </a:cubicBezTo>
                <a:lnTo>
                  <a:pt x="77721" y="796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6" name="Forme libre : forme 105">
            <a:extLst>
              <a:ext uri="{FF2B5EF4-FFF2-40B4-BE49-F238E27FC236}">
                <a16:creationId xmlns:a16="http://schemas.microsoft.com/office/drawing/2014/main" id="{D8EC7674-F8C4-4C98-B223-FB48E7028D2B}"/>
              </a:ext>
            </a:extLst>
          </p:cNvPr>
          <p:cNvSpPr/>
          <p:nvPr/>
        </p:nvSpPr>
        <p:spPr>
          <a:xfrm rot="8716295">
            <a:off x="-17797" y="3452694"/>
            <a:ext cx="58455" cy="44199"/>
          </a:xfrm>
          <a:custGeom>
            <a:avLst/>
            <a:gdLst>
              <a:gd name="connsiteX0" fmla="*/ 0 w 58455"/>
              <a:gd name="connsiteY0" fmla="*/ 44199 h 44199"/>
              <a:gd name="connsiteX1" fmla="*/ 0 w 58455"/>
              <a:gd name="connsiteY1" fmla="*/ 0 h 44199"/>
              <a:gd name="connsiteX2" fmla="*/ 58455 w 58455"/>
              <a:gd name="connsiteY2" fmla="*/ 0 h 44199"/>
              <a:gd name="connsiteX3" fmla="*/ 27817 w 58455"/>
              <a:gd name="connsiteY3" fmla="*/ 44199 h 44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455" h="44199">
                <a:moveTo>
                  <a:pt x="0" y="44199"/>
                </a:moveTo>
                <a:lnTo>
                  <a:pt x="0" y="0"/>
                </a:lnTo>
                <a:lnTo>
                  <a:pt x="58455" y="0"/>
                </a:lnTo>
                <a:lnTo>
                  <a:pt x="27817" y="44199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7" name="Forme libre : forme 106">
            <a:extLst>
              <a:ext uri="{FF2B5EF4-FFF2-40B4-BE49-F238E27FC236}">
                <a16:creationId xmlns:a16="http://schemas.microsoft.com/office/drawing/2014/main" id="{4367C4D5-414D-49AB-A590-D84D23E38E78}"/>
              </a:ext>
            </a:extLst>
          </p:cNvPr>
          <p:cNvSpPr/>
          <p:nvPr/>
        </p:nvSpPr>
        <p:spPr>
          <a:xfrm rot="13089394">
            <a:off x="-91485" y="3601812"/>
            <a:ext cx="206527" cy="292654"/>
          </a:xfrm>
          <a:custGeom>
            <a:avLst/>
            <a:gdLst>
              <a:gd name="connsiteX0" fmla="*/ 206527 w 206527"/>
              <a:gd name="connsiteY0" fmla="*/ 258693 h 292654"/>
              <a:gd name="connsiteX1" fmla="*/ 177331 w 206527"/>
              <a:gd name="connsiteY1" fmla="*/ 274971 h 292654"/>
              <a:gd name="connsiteX2" fmla="*/ 91597 w 206527"/>
              <a:gd name="connsiteY2" fmla="*/ 292491 h 292654"/>
              <a:gd name="connsiteX3" fmla="*/ 23727 w 206527"/>
              <a:gd name="connsiteY3" fmla="*/ 264901 h 292654"/>
              <a:gd name="connsiteX4" fmla="*/ 0 w 206527"/>
              <a:gd name="connsiteY4" fmla="*/ 169993 h 292654"/>
              <a:gd name="connsiteX5" fmla="*/ 0 w 206527"/>
              <a:gd name="connsiteY5" fmla="*/ 1698 h 292654"/>
              <a:gd name="connsiteX6" fmla="*/ 3273 w 206527"/>
              <a:gd name="connsiteY6" fmla="*/ 0 h 292654"/>
              <a:gd name="connsiteX7" fmla="*/ 74297 w 206527"/>
              <a:gd name="connsiteY7" fmla="*/ 90396 h 292654"/>
              <a:gd name="connsiteX8" fmla="*/ 74492 w 206527"/>
              <a:gd name="connsiteY8" fmla="*/ 117574 h 292654"/>
              <a:gd name="connsiteX9" fmla="*/ 87734 w 206527"/>
              <a:gd name="connsiteY9" fmla="*/ 209171 h 292654"/>
              <a:gd name="connsiteX10" fmla="*/ 153949 w 206527"/>
              <a:gd name="connsiteY10" fmla="*/ 245589 h 292654"/>
              <a:gd name="connsiteX11" fmla="*/ 191049 w 206527"/>
              <a:gd name="connsiteY11" fmla="*/ 238993 h 2926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06527" h="292654">
                <a:moveTo>
                  <a:pt x="206527" y="258693"/>
                </a:moveTo>
                <a:lnTo>
                  <a:pt x="177331" y="274971"/>
                </a:lnTo>
                <a:cubicBezTo>
                  <a:pt x="145121" y="286007"/>
                  <a:pt x="114496" y="291111"/>
                  <a:pt x="91597" y="292491"/>
                </a:cubicBezTo>
                <a:cubicBezTo>
                  <a:pt x="66215" y="294146"/>
                  <a:pt x="41385" y="283111"/>
                  <a:pt x="23727" y="264901"/>
                </a:cubicBezTo>
                <a:cubicBezTo>
                  <a:pt x="4966" y="246692"/>
                  <a:pt x="0" y="215240"/>
                  <a:pt x="0" y="169993"/>
                </a:cubicBezTo>
                <a:lnTo>
                  <a:pt x="0" y="1698"/>
                </a:lnTo>
                <a:lnTo>
                  <a:pt x="3273" y="0"/>
                </a:lnTo>
                <a:lnTo>
                  <a:pt x="74297" y="90396"/>
                </a:lnTo>
                <a:lnTo>
                  <a:pt x="74492" y="117574"/>
                </a:lnTo>
                <a:cubicBezTo>
                  <a:pt x="72836" y="148474"/>
                  <a:pt x="77802" y="179926"/>
                  <a:pt x="87734" y="209171"/>
                </a:cubicBezTo>
                <a:cubicBezTo>
                  <a:pt x="96564" y="233450"/>
                  <a:pt x="119187" y="245589"/>
                  <a:pt x="153949" y="245589"/>
                </a:cubicBezTo>
                <a:lnTo>
                  <a:pt x="191049" y="23899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8" name="Forme libre : forme 107">
            <a:extLst>
              <a:ext uri="{FF2B5EF4-FFF2-40B4-BE49-F238E27FC236}">
                <a16:creationId xmlns:a16="http://schemas.microsoft.com/office/drawing/2014/main" id="{C0F2930B-1B76-4127-88A5-3C45B984D36E}"/>
              </a:ext>
            </a:extLst>
          </p:cNvPr>
          <p:cNvSpPr/>
          <p:nvPr/>
        </p:nvSpPr>
        <p:spPr>
          <a:xfrm rot="8716295">
            <a:off x="24761" y="3389623"/>
            <a:ext cx="220345" cy="161228"/>
          </a:xfrm>
          <a:custGeom>
            <a:avLst/>
            <a:gdLst>
              <a:gd name="connsiteX0" fmla="*/ 343853 w 390525"/>
              <a:gd name="connsiteY0" fmla="*/ 144780 h 285750"/>
              <a:gd name="connsiteX1" fmla="*/ 344805 w 390525"/>
              <a:gd name="connsiteY1" fmla="*/ 144780 h 285750"/>
              <a:gd name="connsiteX2" fmla="*/ 12382 w 390525"/>
              <a:gd name="connsiteY2" fmla="*/ 288608 h 285750"/>
              <a:gd name="connsiteX3" fmla="*/ 0 w 390525"/>
              <a:gd name="connsiteY3" fmla="*/ 271463 h 285750"/>
              <a:gd name="connsiteX4" fmla="*/ 225743 w 390525"/>
              <a:gd name="connsiteY4" fmla="*/ 59055 h 285750"/>
              <a:gd name="connsiteX5" fmla="*/ 340043 w 390525"/>
              <a:gd name="connsiteY5" fmla="*/ 0 h 285750"/>
              <a:gd name="connsiteX6" fmla="*/ 399098 w 390525"/>
              <a:gd name="connsiteY6" fmla="*/ 70485 h 285750"/>
              <a:gd name="connsiteX7" fmla="*/ 343853 w 390525"/>
              <a:gd name="connsiteY7" fmla="*/ 14478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0525" h="285750">
                <a:moveTo>
                  <a:pt x="343853" y="144780"/>
                </a:moveTo>
                <a:lnTo>
                  <a:pt x="344805" y="144780"/>
                </a:lnTo>
                <a:lnTo>
                  <a:pt x="12382" y="288608"/>
                </a:lnTo>
                <a:lnTo>
                  <a:pt x="0" y="271463"/>
                </a:lnTo>
                <a:lnTo>
                  <a:pt x="225743" y="59055"/>
                </a:lnTo>
                <a:cubicBezTo>
                  <a:pt x="254318" y="25718"/>
                  <a:pt x="295275" y="4763"/>
                  <a:pt x="340043" y="0"/>
                </a:cubicBezTo>
                <a:cubicBezTo>
                  <a:pt x="385763" y="0"/>
                  <a:pt x="399098" y="40005"/>
                  <a:pt x="399098" y="70485"/>
                </a:cubicBezTo>
                <a:cubicBezTo>
                  <a:pt x="396240" y="103823"/>
                  <a:pt x="374332" y="131445"/>
                  <a:pt x="343853" y="14478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9" name="Forme libre : forme 108">
            <a:extLst>
              <a:ext uri="{FF2B5EF4-FFF2-40B4-BE49-F238E27FC236}">
                <a16:creationId xmlns:a16="http://schemas.microsoft.com/office/drawing/2014/main" id="{5D516E03-78DF-4FFF-8FB2-A397635DD48F}"/>
              </a:ext>
            </a:extLst>
          </p:cNvPr>
          <p:cNvSpPr/>
          <p:nvPr/>
        </p:nvSpPr>
        <p:spPr>
          <a:xfrm rot="8716295">
            <a:off x="-24047" y="3281741"/>
            <a:ext cx="106042" cy="113733"/>
          </a:xfrm>
          <a:custGeom>
            <a:avLst/>
            <a:gdLst>
              <a:gd name="connsiteX0" fmla="*/ 17477 w 106042"/>
              <a:gd name="connsiteY0" fmla="*/ 101182 h 113733"/>
              <a:gd name="connsiteX1" fmla="*/ 0 w 106042"/>
              <a:gd name="connsiteY1" fmla="*/ 59790 h 113733"/>
              <a:gd name="connsiteX2" fmla="*/ 0 w 106042"/>
              <a:gd name="connsiteY2" fmla="*/ 58869 h 113733"/>
              <a:gd name="connsiteX3" fmla="*/ 17477 w 106042"/>
              <a:gd name="connsiteY3" fmla="*/ 17477 h 113733"/>
              <a:gd name="connsiteX4" fmla="*/ 58869 w 106042"/>
              <a:gd name="connsiteY4" fmla="*/ 0 h 113733"/>
              <a:gd name="connsiteX5" fmla="*/ 100262 w 106042"/>
              <a:gd name="connsiteY5" fmla="*/ 17477 h 113733"/>
              <a:gd name="connsiteX6" fmla="*/ 106042 w 106042"/>
              <a:gd name="connsiteY6" fmla="*/ 31234 h 113733"/>
              <a:gd name="connsiteX7" fmla="*/ 48856 w 106042"/>
              <a:gd name="connsiteY7" fmla="*/ 113733 h 1137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6042" h="113733">
                <a:moveTo>
                  <a:pt x="17477" y="101182"/>
                </a:moveTo>
                <a:cubicBezTo>
                  <a:pt x="6439" y="90144"/>
                  <a:pt x="0" y="75426"/>
                  <a:pt x="0" y="59790"/>
                </a:cubicBezTo>
                <a:lnTo>
                  <a:pt x="0" y="58869"/>
                </a:lnTo>
                <a:cubicBezTo>
                  <a:pt x="0" y="43233"/>
                  <a:pt x="6439" y="28515"/>
                  <a:pt x="17477" y="17477"/>
                </a:cubicBezTo>
                <a:cubicBezTo>
                  <a:pt x="28515" y="6439"/>
                  <a:pt x="43233" y="0"/>
                  <a:pt x="58869" y="0"/>
                </a:cubicBezTo>
                <a:cubicBezTo>
                  <a:pt x="74507" y="0"/>
                  <a:pt x="89224" y="6439"/>
                  <a:pt x="100262" y="17477"/>
                </a:cubicBezTo>
                <a:lnTo>
                  <a:pt x="106042" y="31234"/>
                </a:lnTo>
                <a:lnTo>
                  <a:pt x="48856" y="11373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0" name="Forme libre : forme 109">
            <a:extLst>
              <a:ext uri="{FF2B5EF4-FFF2-40B4-BE49-F238E27FC236}">
                <a16:creationId xmlns:a16="http://schemas.microsoft.com/office/drawing/2014/main" id="{4709179C-E348-4A89-8150-2CCBA6DE45C5}"/>
              </a:ext>
            </a:extLst>
          </p:cNvPr>
          <p:cNvSpPr/>
          <p:nvPr/>
        </p:nvSpPr>
        <p:spPr>
          <a:xfrm rot="8716295">
            <a:off x="-21924" y="3179872"/>
            <a:ext cx="45776" cy="62656"/>
          </a:xfrm>
          <a:custGeom>
            <a:avLst/>
            <a:gdLst>
              <a:gd name="connsiteX0" fmla="*/ 2345 w 45776"/>
              <a:gd name="connsiteY0" fmla="*/ 62656 h 62656"/>
              <a:gd name="connsiteX1" fmla="*/ 0 w 45776"/>
              <a:gd name="connsiteY1" fmla="*/ 57104 h 62656"/>
              <a:gd name="connsiteX2" fmla="*/ 0 w 45776"/>
              <a:gd name="connsiteY2" fmla="*/ 56183 h 62656"/>
              <a:gd name="connsiteX3" fmla="*/ 17477 w 45776"/>
              <a:gd name="connsiteY3" fmla="*/ 14791 h 62656"/>
              <a:gd name="connsiteX4" fmla="*/ 36449 w 45776"/>
              <a:gd name="connsiteY4" fmla="*/ 1913 h 62656"/>
              <a:gd name="connsiteX5" fmla="*/ 45776 w 45776"/>
              <a:gd name="connsiteY5" fmla="*/ 0 h 626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776" h="62656">
                <a:moveTo>
                  <a:pt x="2345" y="62656"/>
                </a:moveTo>
                <a:lnTo>
                  <a:pt x="0" y="57104"/>
                </a:lnTo>
                <a:lnTo>
                  <a:pt x="0" y="56183"/>
                </a:lnTo>
                <a:cubicBezTo>
                  <a:pt x="0" y="40547"/>
                  <a:pt x="6439" y="25829"/>
                  <a:pt x="17477" y="14791"/>
                </a:cubicBezTo>
                <a:cubicBezTo>
                  <a:pt x="22996" y="9272"/>
                  <a:pt x="29435" y="4903"/>
                  <a:pt x="36449" y="1913"/>
                </a:cubicBezTo>
                <a:lnTo>
                  <a:pt x="45776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1" name="Forme libre : forme 110">
            <a:extLst>
              <a:ext uri="{FF2B5EF4-FFF2-40B4-BE49-F238E27FC236}">
                <a16:creationId xmlns:a16="http://schemas.microsoft.com/office/drawing/2014/main" id="{E216B864-0116-44B5-A0E9-8D6C9FB4451C}"/>
              </a:ext>
            </a:extLst>
          </p:cNvPr>
          <p:cNvSpPr/>
          <p:nvPr/>
        </p:nvSpPr>
        <p:spPr>
          <a:xfrm rot="8716295">
            <a:off x="-21324" y="4100649"/>
            <a:ext cx="79113" cy="50123"/>
          </a:xfrm>
          <a:custGeom>
            <a:avLst/>
            <a:gdLst>
              <a:gd name="connsiteX0" fmla="*/ 0 w 79113"/>
              <a:gd name="connsiteY0" fmla="*/ 50123 h 50123"/>
              <a:gd name="connsiteX1" fmla="*/ 0 w 79113"/>
              <a:gd name="connsiteY1" fmla="*/ 0 h 50123"/>
              <a:gd name="connsiteX2" fmla="*/ 79113 w 79113"/>
              <a:gd name="connsiteY2" fmla="*/ 0 h 50123"/>
              <a:gd name="connsiteX3" fmla="*/ 44369 w 79113"/>
              <a:gd name="connsiteY3" fmla="*/ 50123 h 50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9113" h="50123">
                <a:moveTo>
                  <a:pt x="0" y="50123"/>
                </a:moveTo>
                <a:lnTo>
                  <a:pt x="0" y="0"/>
                </a:lnTo>
                <a:lnTo>
                  <a:pt x="79113" y="0"/>
                </a:lnTo>
                <a:lnTo>
                  <a:pt x="44369" y="5012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2" name="Forme libre : forme 111">
            <a:extLst>
              <a:ext uri="{FF2B5EF4-FFF2-40B4-BE49-F238E27FC236}">
                <a16:creationId xmlns:a16="http://schemas.microsoft.com/office/drawing/2014/main" id="{E81DDFAA-1A06-4A18-8287-C68132D6876A}"/>
              </a:ext>
            </a:extLst>
          </p:cNvPr>
          <p:cNvSpPr/>
          <p:nvPr/>
        </p:nvSpPr>
        <p:spPr>
          <a:xfrm rot="8716295">
            <a:off x="-40457" y="3981561"/>
            <a:ext cx="259728" cy="250615"/>
          </a:xfrm>
          <a:custGeom>
            <a:avLst/>
            <a:gdLst>
              <a:gd name="connsiteX0" fmla="*/ 544830 w 542925"/>
              <a:gd name="connsiteY0" fmla="*/ 184905 h 523875"/>
              <a:gd name="connsiteX1" fmla="*/ 544830 w 542925"/>
              <a:gd name="connsiteY1" fmla="*/ 197288 h 523875"/>
              <a:gd name="connsiteX2" fmla="*/ 415290 w 542925"/>
              <a:gd name="connsiteY2" fmla="*/ 204908 h 523875"/>
              <a:gd name="connsiteX3" fmla="*/ 415290 w 542925"/>
              <a:gd name="connsiteY3" fmla="*/ 170618 h 523875"/>
              <a:gd name="connsiteX4" fmla="*/ 344805 w 542925"/>
              <a:gd name="connsiteY4" fmla="*/ 83940 h 523875"/>
              <a:gd name="connsiteX5" fmla="*/ 233363 w 542925"/>
              <a:gd name="connsiteY5" fmla="*/ 266820 h 523875"/>
              <a:gd name="connsiteX6" fmla="*/ 233363 w 542925"/>
              <a:gd name="connsiteY6" fmla="*/ 446843 h 523875"/>
              <a:gd name="connsiteX7" fmla="*/ 107632 w 542925"/>
              <a:gd name="connsiteY7" fmla="*/ 532568 h 523875"/>
              <a:gd name="connsiteX8" fmla="*/ 107632 w 542925"/>
              <a:gd name="connsiteY8" fmla="*/ 95370 h 523875"/>
              <a:gd name="connsiteX9" fmla="*/ 0 w 542925"/>
              <a:gd name="connsiteY9" fmla="*/ 95370 h 523875"/>
              <a:gd name="connsiteX10" fmla="*/ 0 w 542925"/>
              <a:gd name="connsiteY10" fmla="*/ 2978 h 523875"/>
              <a:gd name="connsiteX11" fmla="*/ 219075 w 542925"/>
              <a:gd name="connsiteY11" fmla="*/ 2978 h 523875"/>
              <a:gd name="connsiteX12" fmla="*/ 219075 w 542925"/>
              <a:gd name="connsiteY12" fmla="*/ 157283 h 523875"/>
              <a:gd name="connsiteX13" fmla="*/ 221932 w 542925"/>
              <a:gd name="connsiteY13" fmla="*/ 157283 h 523875"/>
              <a:gd name="connsiteX14" fmla="*/ 321945 w 542925"/>
              <a:gd name="connsiteY14" fmla="*/ 12503 h 523875"/>
              <a:gd name="connsiteX15" fmla="*/ 387667 w 542925"/>
              <a:gd name="connsiteY15" fmla="*/ 120 h 523875"/>
              <a:gd name="connsiteX16" fmla="*/ 544830 w 542925"/>
              <a:gd name="connsiteY16" fmla="*/ 18490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42925" h="523875">
                <a:moveTo>
                  <a:pt x="544830" y="184905"/>
                </a:moveTo>
                <a:lnTo>
                  <a:pt x="544830" y="197288"/>
                </a:lnTo>
                <a:lnTo>
                  <a:pt x="415290" y="204908"/>
                </a:lnTo>
                <a:lnTo>
                  <a:pt x="415290" y="170618"/>
                </a:lnTo>
                <a:cubicBezTo>
                  <a:pt x="415290" y="119183"/>
                  <a:pt x="385763" y="83940"/>
                  <a:pt x="344805" y="83940"/>
                </a:cubicBezTo>
                <a:cubicBezTo>
                  <a:pt x="283845" y="83940"/>
                  <a:pt x="233363" y="164903"/>
                  <a:pt x="233363" y="266820"/>
                </a:cubicBezTo>
                <a:lnTo>
                  <a:pt x="233363" y="446843"/>
                </a:lnTo>
                <a:lnTo>
                  <a:pt x="107632" y="532568"/>
                </a:lnTo>
                <a:lnTo>
                  <a:pt x="107632" y="95370"/>
                </a:lnTo>
                <a:lnTo>
                  <a:pt x="0" y="95370"/>
                </a:lnTo>
                <a:lnTo>
                  <a:pt x="0" y="2978"/>
                </a:lnTo>
                <a:lnTo>
                  <a:pt x="219075" y="2978"/>
                </a:lnTo>
                <a:lnTo>
                  <a:pt x="219075" y="157283"/>
                </a:lnTo>
                <a:lnTo>
                  <a:pt x="221932" y="157283"/>
                </a:lnTo>
                <a:cubicBezTo>
                  <a:pt x="252413" y="66795"/>
                  <a:pt x="276225" y="31553"/>
                  <a:pt x="321945" y="12503"/>
                </a:cubicBezTo>
                <a:cubicBezTo>
                  <a:pt x="342900" y="3930"/>
                  <a:pt x="364807" y="-832"/>
                  <a:pt x="387667" y="120"/>
                </a:cubicBezTo>
                <a:cubicBezTo>
                  <a:pt x="485775" y="-1785"/>
                  <a:pt x="544830" y="66795"/>
                  <a:pt x="544830" y="18490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3" name="Forme libre : forme 112">
            <a:extLst>
              <a:ext uri="{FF2B5EF4-FFF2-40B4-BE49-F238E27FC236}">
                <a16:creationId xmlns:a16="http://schemas.microsoft.com/office/drawing/2014/main" id="{1D567C73-1317-457C-BAF4-E866C8E84479}"/>
              </a:ext>
            </a:extLst>
          </p:cNvPr>
          <p:cNvSpPr/>
          <p:nvPr/>
        </p:nvSpPr>
        <p:spPr>
          <a:xfrm rot="7484129">
            <a:off x="-46974" y="4273166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4" name="Forme libre : forme 113">
            <a:extLst>
              <a:ext uri="{FF2B5EF4-FFF2-40B4-BE49-F238E27FC236}">
                <a16:creationId xmlns:a16="http://schemas.microsoft.com/office/drawing/2014/main" id="{4B07308E-D0A0-4D3E-9DEB-C235BB5B8299}"/>
              </a:ext>
            </a:extLst>
          </p:cNvPr>
          <p:cNvSpPr/>
          <p:nvPr/>
        </p:nvSpPr>
        <p:spPr>
          <a:xfrm rot="13089394">
            <a:off x="57846" y="4239700"/>
            <a:ext cx="270377" cy="325556"/>
          </a:xfrm>
          <a:custGeom>
            <a:avLst/>
            <a:gdLst>
              <a:gd name="connsiteX0" fmla="*/ 470535 w 466725"/>
              <a:gd name="connsiteY0" fmla="*/ 436245 h 561975"/>
              <a:gd name="connsiteX1" fmla="*/ 470535 w 466725"/>
              <a:gd name="connsiteY1" fmla="*/ 445770 h 561975"/>
              <a:gd name="connsiteX2" fmla="*/ 158115 w 466725"/>
              <a:gd name="connsiteY2" fmla="*/ 567690 h 561975"/>
              <a:gd name="connsiteX3" fmla="*/ 40957 w 466725"/>
              <a:gd name="connsiteY3" fmla="*/ 520065 h 561975"/>
              <a:gd name="connsiteX4" fmla="*/ 0 w 466725"/>
              <a:gd name="connsiteY4" fmla="*/ 356235 h 561975"/>
              <a:gd name="connsiteX5" fmla="*/ 0 w 466725"/>
              <a:gd name="connsiteY5" fmla="*/ 65723 h 561975"/>
              <a:gd name="connsiteX6" fmla="*/ 126682 w 466725"/>
              <a:gd name="connsiteY6" fmla="*/ 0 h 561975"/>
              <a:gd name="connsiteX7" fmla="*/ 128588 w 466725"/>
              <a:gd name="connsiteY7" fmla="*/ 265748 h 561975"/>
              <a:gd name="connsiteX8" fmla="*/ 151447 w 466725"/>
              <a:gd name="connsiteY8" fmla="*/ 423863 h 561975"/>
              <a:gd name="connsiteX9" fmla="*/ 265747 w 466725"/>
              <a:gd name="connsiteY9" fmla="*/ 486728 h 561975"/>
              <a:gd name="connsiteX10" fmla="*/ 351472 w 466725"/>
              <a:gd name="connsiteY10" fmla="*/ 471488 h 561975"/>
              <a:gd name="connsiteX11" fmla="*/ 468630 w 466725"/>
              <a:gd name="connsiteY11" fmla="*/ 423863 h 561975"/>
              <a:gd name="connsiteX12" fmla="*/ 470535 w 466725"/>
              <a:gd name="connsiteY12" fmla="*/ 436245 h 56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6725" h="561975">
                <a:moveTo>
                  <a:pt x="470535" y="436245"/>
                </a:moveTo>
                <a:lnTo>
                  <a:pt x="470535" y="445770"/>
                </a:lnTo>
                <a:cubicBezTo>
                  <a:pt x="369570" y="532448"/>
                  <a:pt x="237172" y="562928"/>
                  <a:pt x="158115" y="567690"/>
                </a:cubicBezTo>
                <a:cubicBezTo>
                  <a:pt x="114300" y="570548"/>
                  <a:pt x="71438" y="551498"/>
                  <a:pt x="40957" y="520065"/>
                </a:cubicBezTo>
                <a:cubicBezTo>
                  <a:pt x="8572" y="488633"/>
                  <a:pt x="0" y="434340"/>
                  <a:pt x="0" y="356235"/>
                </a:cubicBezTo>
                <a:lnTo>
                  <a:pt x="0" y="65723"/>
                </a:lnTo>
                <a:lnTo>
                  <a:pt x="126682" y="0"/>
                </a:lnTo>
                <a:lnTo>
                  <a:pt x="128588" y="265748"/>
                </a:lnTo>
                <a:cubicBezTo>
                  <a:pt x="125730" y="319088"/>
                  <a:pt x="134302" y="373380"/>
                  <a:pt x="151447" y="423863"/>
                </a:cubicBezTo>
                <a:cubicBezTo>
                  <a:pt x="166688" y="465773"/>
                  <a:pt x="205740" y="486728"/>
                  <a:pt x="265747" y="486728"/>
                </a:cubicBezTo>
                <a:cubicBezTo>
                  <a:pt x="295275" y="485775"/>
                  <a:pt x="323850" y="480060"/>
                  <a:pt x="351472" y="471488"/>
                </a:cubicBezTo>
                <a:cubicBezTo>
                  <a:pt x="391477" y="459105"/>
                  <a:pt x="430530" y="442913"/>
                  <a:pt x="468630" y="423863"/>
                </a:cubicBezTo>
                <a:cubicBezTo>
                  <a:pt x="469582" y="427673"/>
                  <a:pt x="470535" y="432435"/>
                  <a:pt x="470535" y="43624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5" name="Forme libre : forme 114">
            <a:extLst>
              <a:ext uri="{FF2B5EF4-FFF2-40B4-BE49-F238E27FC236}">
                <a16:creationId xmlns:a16="http://schemas.microsoft.com/office/drawing/2014/main" id="{B3D02E0E-617A-4DDE-855C-BECF0834C305}"/>
              </a:ext>
            </a:extLst>
          </p:cNvPr>
          <p:cNvSpPr/>
          <p:nvPr/>
        </p:nvSpPr>
        <p:spPr>
          <a:xfrm rot="8716295">
            <a:off x="243431" y="4048019"/>
            <a:ext cx="220345" cy="161228"/>
          </a:xfrm>
          <a:custGeom>
            <a:avLst/>
            <a:gdLst>
              <a:gd name="connsiteX0" fmla="*/ 343853 w 390525"/>
              <a:gd name="connsiteY0" fmla="*/ 144780 h 285750"/>
              <a:gd name="connsiteX1" fmla="*/ 344805 w 390525"/>
              <a:gd name="connsiteY1" fmla="*/ 144780 h 285750"/>
              <a:gd name="connsiteX2" fmla="*/ 12382 w 390525"/>
              <a:gd name="connsiteY2" fmla="*/ 288608 h 285750"/>
              <a:gd name="connsiteX3" fmla="*/ 0 w 390525"/>
              <a:gd name="connsiteY3" fmla="*/ 271463 h 285750"/>
              <a:gd name="connsiteX4" fmla="*/ 225743 w 390525"/>
              <a:gd name="connsiteY4" fmla="*/ 59055 h 285750"/>
              <a:gd name="connsiteX5" fmla="*/ 340043 w 390525"/>
              <a:gd name="connsiteY5" fmla="*/ 0 h 285750"/>
              <a:gd name="connsiteX6" fmla="*/ 399098 w 390525"/>
              <a:gd name="connsiteY6" fmla="*/ 70485 h 285750"/>
              <a:gd name="connsiteX7" fmla="*/ 343853 w 390525"/>
              <a:gd name="connsiteY7" fmla="*/ 14478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0525" h="285750">
                <a:moveTo>
                  <a:pt x="343853" y="144780"/>
                </a:moveTo>
                <a:lnTo>
                  <a:pt x="344805" y="144780"/>
                </a:lnTo>
                <a:lnTo>
                  <a:pt x="12382" y="288608"/>
                </a:lnTo>
                <a:lnTo>
                  <a:pt x="0" y="271463"/>
                </a:lnTo>
                <a:lnTo>
                  <a:pt x="225743" y="59055"/>
                </a:lnTo>
                <a:cubicBezTo>
                  <a:pt x="254318" y="25718"/>
                  <a:pt x="295275" y="4763"/>
                  <a:pt x="340043" y="0"/>
                </a:cubicBezTo>
                <a:cubicBezTo>
                  <a:pt x="385763" y="0"/>
                  <a:pt x="399098" y="40005"/>
                  <a:pt x="399098" y="70485"/>
                </a:cubicBezTo>
                <a:cubicBezTo>
                  <a:pt x="396240" y="103823"/>
                  <a:pt x="374332" y="131445"/>
                  <a:pt x="343853" y="14478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6" name="Forme libre : forme 115">
            <a:extLst>
              <a:ext uri="{FF2B5EF4-FFF2-40B4-BE49-F238E27FC236}">
                <a16:creationId xmlns:a16="http://schemas.microsoft.com/office/drawing/2014/main" id="{FCFFBDC4-0942-4E6E-9EF4-22477617D5C9}"/>
              </a:ext>
            </a:extLst>
          </p:cNvPr>
          <p:cNvSpPr/>
          <p:nvPr/>
        </p:nvSpPr>
        <p:spPr>
          <a:xfrm rot="8716295">
            <a:off x="191626" y="3944426"/>
            <a:ext cx="110380" cy="1103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7" name="Forme libre : forme 116">
            <a:extLst>
              <a:ext uri="{FF2B5EF4-FFF2-40B4-BE49-F238E27FC236}">
                <a16:creationId xmlns:a16="http://schemas.microsoft.com/office/drawing/2014/main" id="{6779D405-E211-4D4D-B286-FEED219E73DF}"/>
              </a:ext>
            </a:extLst>
          </p:cNvPr>
          <p:cNvSpPr/>
          <p:nvPr/>
        </p:nvSpPr>
        <p:spPr>
          <a:xfrm rot="8716295">
            <a:off x="125832" y="3815405"/>
            <a:ext cx="110380" cy="1103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8" name="Forme libre : forme 117">
            <a:extLst>
              <a:ext uri="{FF2B5EF4-FFF2-40B4-BE49-F238E27FC236}">
                <a16:creationId xmlns:a16="http://schemas.microsoft.com/office/drawing/2014/main" id="{1B98413D-C7CC-484D-AF71-C6706295A09F}"/>
              </a:ext>
            </a:extLst>
          </p:cNvPr>
          <p:cNvSpPr/>
          <p:nvPr/>
        </p:nvSpPr>
        <p:spPr>
          <a:xfrm rot="8716295">
            <a:off x="-73048" y="4876828"/>
            <a:ext cx="221382" cy="253349"/>
          </a:xfrm>
          <a:custGeom>
            <a:avLst/>
            <a:gdLst>
              <a:gd name="connsiteX0" fmla="*/ 51490 w 221382"/>
              <a:gd name="connsiteY0" fmla="*/ 253349 h 253349"/>
              <a:gd name="connsiteX1" fmla="*/ 51490 w 221382"/>
              <a:gd name="connsiteY1" fmla="*/ 44199 h 253349"/>
              <a:gd name="connsiteX2" fmla="*/ 0 w 221382"/>
              <a:gd name="connsiteY2" fmla="*/ 44199 h 253349"/>
              <a:gd name="connsiteX3" fmla="*/ 0 w 221382"/>
              <a:gd name="connsiteY3" fmla="*/ 0 h 253349"/>
              <a:gd name="connsiteX4" fmla="*/ 104803 w 221382"/>
              <a:gd name="connsiteY4" fmla="*/ 0 h 253349"/>
              <a:gd name="connsiteX5" fmla="*/ 104802 w 221382"/>
              <a:gd name="connsiteY5" fmla="*/ 73817 h 253349"/>
              <a:gd name="connsiteX6" fmla="*/ 106169 w 221382"/>
              <a:gd name="connsiteY6" fmla="*/ 73817 h 253349"/>
              <a:gd name="connsiteX7" fmla="*/ 154014 w 221382"/>
              <a:gd name="connsiteY7" fmla="*/ 4556 h 253349"/>
              <a:gd name="connsiteX8" fmla="*/ 174650 w 221382"/>
              <a:gd name="connsiteY8" fmla="*/ 668 h 253349"/>
              <a:gd name="connsiteX9" fmla="*/ 214075 w 221382"/>
              <a:gd name="connsiteY9" fmla="*/ 27996 h 253349"/>
              <a:gd name="connsiteX10" fmla="*/ 221382 w 221382"/>
              <a:gd name="connsiteY10" fmla="*/ 33060 h 253349"/>
              <a:gd name="connsiteX11" fmla="*/ 195540 w 221382"/>
              <a:gd name="connsiteY11" fmla="*/ 70341 h 253349"/>
              <a:gd name="connsiteX12" fmla="*/ 189157 w 221382"/>
              <a:gd name="connsiteY12" fmla="*/ 50236 h 253349"/>
              <a:gd name="connsiteX13" fmla="*/ 164950 w 221382"/>
              <a:gd name="connsiteY13" fmla="*/ 38731 h 253349"/>
              <a:gd name="connsiteX14" fmla="*/ 111638 w 221382"/>
              <a:gd name="connsiteY14" fmla="*/ 126218 h 253349"/>
              <a:gd name="connsiteX15" fmla="*/ 111638 w 221382"/>
              <a:gd name="connsiteY15" fmla="*/ 191383 h 253349"/>
              <a:gd name="connsiteX16" fmla="*/ 84096 w 221382"/>
              <a:gd name="connsiteY16" fmla="*/ 231117 h 2533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21382" h="253349">
                <a:moveTo>
                  <a:pt x="51490" y="253349"/>
                </a:moveTo>
                <a:lnTo>
                  <a:pt x="51490" y="44199"/>
                </a:lnTo>
                <a:lnTo>
                  <a:pt x="0" y="44199"/>
                </a:lnTo>
                <a:lnTo>
                  <a:pt x="0" y="0"/>
                </a:lnTo>
                <a:lnTo>
                  <a:pt x="104803" y="0"/>
                </a:lnTo>
                <a:lnTo>
                  <a:pt x="104802" y="73817"/>
                </a:lnTo>
                <a:lnTo>
                  <a:pt x="106169" y="73817"/>
                </a:lnTo>
                <a:cubicBezTo>
                  <a:pt x="120751" y="30529"/>
                  <a:pt x="132142" y="13670"/>
                  <a:pt x="154014" y="4556"/>
                </a:cubicBezTo>
                <a:lnTo>
                  <a:pt x="174650" y="668"/>
                </a:lnTo>
                <a:lnTo>
                  <a:pt x="214075" y="27996"/>
                </a:lnTo>
                <a:lnTo>
                  <a:pt x="221382" y="33060"/>
                </a:lnTo>
                <a:lnTo>
                  <a:pt x="195540" y="70341"/>
                </a:lnTo>
                <a:lnTo>
                  <a:pt x="189157" y="50236"/>
                </a:lnTo>
                <a:cubicBezTo>
                  <a:pt x="183177" y="42946"/>
                  <a:pt x="174747" y="38731"/>
                  <a:pt x="164950" y="38731"/>
                </a:cubicBezTo>
                <a:cubicBezTo>
                  <a:pt x="135788" y="38731"/>
                  <a:pt x="111638" y="77463"/>
                  <a:pt x="111638" y="126218"/>
                </a:cubicBezTo>
                <a:lnTo>
                  <a:pt x="111638" y="191383"/>
                </a:lnTo>
                <a:lnTo>
                  <a:pt x="84096" y="231117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9" name="Forme libre : forme 118">
            <a:extLst>
              <a:ext uri="{FF2B5EF4-FFF2-40B4-BE49-F238E27FC236}">
                <a16:creationId xmlns:a16="http://schemas.microsoft.com/office/drawing/2014/main" id="{6176F84A-9766-45D5-91E9-4847B60A5CD4}"/>
              </a:ext>
            </a:extLst>
          </p:cNvPr>
          <p:cNvSpPr/>
          <p:nvPr/>
        </p:nvSpPr>
        <p:spPr>
          <a:xfrm rot="8716295">
            <a:off x="93318" y="4612018"/>
            <a:ext cx="141256" cy="232388"/>
          </a:xfrm>
          <a:custGeom>
            <a:avLst/>
            <a:gdLst>
              <a:gd name="connsiteX0" fmla="*/ 297180 w 295275"/>
              <a:gd name="connsiteY0" fmla="*/ 104775 h 485775"/>
              <a:gd name="connsiteX1" fmla="*/ 297180 w 295275"/>
              <a:gd name="connsiteY1" fmla="*/ 435293 h 485775"/>
              <a:gd name="connsiteX2" fmla="*/ 169545 w 295275"/>
              <a:gd name="connsiteY2" fmla="*/ 485775 h 485775"/>
              <a:gd name="connsiteX3" fmla="*/ 169545 w 295275"/>
              <a:gd name="connsiteY3" fmla="*/ 145733 h 485775"/>
              <a:gd name="connsiteX4" fmla="*/ 169545 w 295275"/>
              <a:gd name="connsiteY4" fmla="*/ 137160 h 485775"/>
              <a:gd name="connsiteX5" fmla="*/ 126683 w 295275"/>
              <a:gd name="connsiteY5" fmla="*/ 104775 h 485775"/>
              <a:gd name="connsiteX6" fmla="*/ 0 w 295275"/>
              <a:gd name="connsiteY6" fmla="*/ 104775 h 485775"/>
              <a:gd name="connsiteX7" fmla="*/ 0 w 295275"/>
              <a:gd name="connsiteY7" fmla="*/ 0 h 485775"/>
              <a:gd name="connsiteX8" fmla="*/ 178118 w 295275"/>
              <a:gd name="connsiteY8" fmla="*/ 0 h 485775"/>
              <a:gd name="connsiteX9" fmla="*/ 297180 w 295275"/>
              <a:gd name="connsiteY9" fmla="*/ 104775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95275" h="485775">
                <a:moveTo>
                  <a:pt x="297180" y="104775"/>
                </a:moveTo>
                <a:lnTo>
                  <a:pt x="297180" y="435293"/>
                </a:lnTo>
                <a:lnTo>
                  <a:pt x="169545" y="485775"/>
                </a:lnTo>
                <a:lnTo>
                  <a:pt x="169545" y="145733"/>
                </a:lnTo>
                <a:cubicBezTo>
                  <a:pt x="169545" y="142875"/>
                  <a:pt x="169545" y="140018"/>
                  <a:pt x="169545" y="137160"/>
                </a:cubicBezTo>
                <a:cubicBezTo>
                  <a:pt x="166688" y="116205"/>
                  <a:pt x="147638" y="101918"/>
                  <a:pt x="126683" y="104775"/>
                </a:cubicBezTo>
                <a:lnTo>
                  <a:pt x="0" y="104775"/>
                </a:lnTo>
                <a:lnTo>
                  <a:pt x="0" y="0"/>
                </a:lnTo>
                <a:lnTo>
                  <a:pt x="178118" y="0"/>
                </a:lnTo>
                <a:cubicBezTo>
                  <a:pt x="255270" y="0"/>
                  <a:pt x="297180" y="33338"/>
                  <a:pt x="297180" y="10477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0" name="Forme libre : forme 119">
            <a:extLst>
              <a:ext uri="{FF2B5EF4-FFF2-40B4-BE49-F238E27FC236}">
                <a16:creationId xmlns:a16="http://schemas.microsoft.com/office/drawing/2014/main" id="{3DA54937-5DEF-4122-B904-83A03268CA89}"/>
              </a:ext>
            </a:extLst>
          </p:cNvPr>
          <p:cNvSpPr/>
          <p:nvPr/>
        </p:nvSpPr>
        <p:spPr>
          <a:xfrm rot="8716295">
            <a:off x="182710" y="4641260"/>
            <a:ext cx="259728" cy="250615"/>
          </a:xfrm>
          <a:custGeom>
            <a:avLst/>
            <a:gdLst>
              <a:gd name="connsiteX0" fmla="*/ 544830 w 542925"/>
              <a:gd name="connsiteY0" fmla="*/ 184905 h 523875"/>
              <a:gd name="connsiteX1" fmla="*/ 544830 w 542925"/>
              <a:gd name="connsiteY1" fmla="*/ 197288 h 523875"/>
              <a:gd name="connsiteX2" fmla="*/ 415290 w 542925"/>
              <a:gd name="connsiteY2" fmla="*/ 204908 h 523875"/>
              <a:gd name="connsiteX3" fmla="*/ 415290 w 542925"/>
              <a:gd name="connsiteY3" fmla="*/ 170618 h 523875"/>
              <a:gd name="connsiteX4" fmla="*/ 344805 w 542925"/>
              <a:gd name="connsiteY4" fmla="*/ 83940 h 523875"/>
              <a:gd name="connsiteX5" fmla="*/ 233363 w 542925"/>
              <a:gd name="connsiteY5" fmla="*/ 266820 h 523875"/>
              <a:gd name="connsiteX6" fmla="*/ 233363 w 542925"/>
              <a:gd name="connsiteY6" fmla="*/ 446843 h 523875"/>
              <a:gd name="connsiteX7" fmla="*/ 107632 w 542925"/>
              <a:gd name="connsiteY7" fmla="*/ 532568 h 523875"/>
              <a:gd name="connsiteX8" fmla="*/ 107632 w 542925"/>
              <a:gd name="connsiteY8" fmla="*/ 95370 h 523875"/>
              <a:gd name="connsiteX9" fmla="*/ 0 w 542925"/>
              <a:gd name="connsiteY9" fmla="*/ 95370 h 523875"/>
              <a:gd name="connsiteX10" fmla="*/ 0 w 542925"/>
              <a:gd name="connsiteY10" fmla="*/ 2978 h 523875"/>
              <a:gd name="connsiteX11" fmla="*/ 219075 w 542925"/>
              <a:gd name="connsiteY11" fmla="*/ 2978 h 523875"/>
              <a:gd name="connsiteX12" fmla="*/ 219075 w 542925"/>
              <a:gd name="connsiteY12" fmla="*/ 157283 h 523875"/>
              <a:gd name="connsiteX13" fmla="*/ 221932 w 542925"/>
              <a:gd name="connsiteY13" fmla="*/ 157283 h 523875"/>
              <a:gd name="connsiteX14" fmla="*/ 321945 w 542925"/>
              <a:gd name="connsiteY14" fmla="*/ 12503 h 523875"/>
              <a:gd name="connsiteX15" fmla="*/ 387667 w 542925"/>
              <a:gd name="connsiteY15" fmla="*/ 120 h 523875"/>
              <a:gd name="connsiteX16" fmla="*/ 544830 w 542925"/>
              <a:gd name="connsiteY16" fmla="*/ 18490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42925" h="523875">
                <a:moveTo>
                  <a:pt x="544830" y="184905"/>
                </a:moveTo>
                <a:lnTo>
                  <a:pt x="544830" y="197288"/>
                </a:lnTo>
                <a:lnTo>
                  <a:pt x="415290" y="204908"/>
                </a:lnTo>
                <a:lnTo>
                  <a:pt x="415290" y="170618"/>
                </a:lnTo>
                <a:cubicBezTo>
                  <a:pt x="415290" y="119183"/>
                  <a:pt x="385763" y="83940"/>
                  <a:pt x="344805" y="83940"/>
                </a:cubicBezTo>
                <a:cubicBezTo>
                  <a:pt x="283845" y="83940"/>
                  <a:pt x="233363" y="164903"/>
                  <a:pt x="233363" y="266820"/>
                </a:cubicBezTo>
                <a:lnTo>
                  <a:pt x="233363" y="446843"/>
                </a:lnTo>
                <a:lnTo>
                  <a:pt x="107632" y="532568"/>
                </a:lnTo>
                <a:lnTo>
                  <a:pt x="107632" y="95370"/>
                </a:lnTo>
                <a:lnTo>
                  <a:pt x="0" y="95370"/>
                </a:lnTo>
                <a:lnTo>
                  <a:pt x="0" y="2978"/>
                </a:lnTo>
                <a:lnTo>
                  <a:pt x="219075" y="2978"/>
                </a:lnTo>
                <a:lnTo>
                  <a:pt x="219075" y="157283"/>
                </a:lnTo>
                <a:lnTo>
                  <a:pt x="221932" y="157283"/>
                </a:lnTo>
                <a:cubicBezTo>
                  <a:pt x="252413" y="66795"/>
                  <a:pt x="276225" y="31553"/>
                  <a:pt x="321945" y="12503"/>
                </a:cubicBezTo>
                <a:cubicBezTo>
                  <a:pt x="342900" y="3930"/>
                  <a:pt x="364807" y="-832"/>
                  <a:pt x="387667" y="120"/>
                </a:cubicBezTo>
                <a:cubicBezTo>
                  <a:pt x="485775" y="-1785"/>
                  <a:pt x="544830" y="66795"/>
                  <a:pt x="544830" y="18490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1" name="Forme libre : forme 120">
            <a:extLst>
              <a:ext uri="{FF2B5EF4-FFF2-40B4-BE49-F238E27FC236}">
                <a16:creationId xmlns:a16="http://schemas.microsoft.com/office/drawing/2014/main" id="{24CD3C2A-51CB-4CA4-A2B4-FE03D227C422}"/>
              </a:ext>
            </a:extLst>
          </p:cNvPr>
          <p:cNvSpPr/>
          <p:nvPr/>
        </p:nvSpPr>
        <p:spPr>
          <a:xfrm rot="8716295">
            <a:off x="-14524" y="4699631"/>
            <a:ext cx="49997" cy="54238"/>
          </a:xfrm>
          <a:custGeom>
            <a:avLst/>
            <a:gdLst>
              <a:gd name="connsiteX0" fmla="*/ 8658 w 49997"/>
              <a:gd name="connsiteY0" fmla="*/ 50123 h 54238"/>
              <a:gd name="connsiteX1" fmla="*/ 0 w 49997"/>
              <a:gd name="connsiteY1" fmla="*/ 29619 h 54238"/>
              <a:gd name="connsiteX2" fmla="*/ 0 w 49997"/>
              <a:gd name="connsiteY2" fmla="*/ 29162 h 54238"/>
              <a:gd name="connsiteX3" fmla="*/ 8658 w 49997"/>
              <a:gd name="connsiteY3" fmla="*/ 8658 h 54238"/>
              <a:gd name="connsiteX4" fmla="*/ 29163 w 49997"/>
              <a:gd name="connsiteY4" fmla="*/ 0 h 54238"/>
              <a:gd name="connsiteX5" fmla="*/ 49668 w 49997"/>
              <a:gd name="connsiteY5" fmla="*/ 8658 h 54238"/>
              <a:gd name="connsiteX6" fmla="*/ 49997 w 49997"/>
              <a:gd name="connsiteY6" fmla="*/ 9441 h 54238"/>
              <a:gd name="connsiteX7" fmla="*/ 18945 w 49997"/>
              <a:gd name="connsiteY7" fmla="*/ 54238 h 54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9997" h="54238">
                <a:moveTo>
                  <a:pt x="8658" y="50123"/>
                </a:moveTo>
                <a:cubicBezTo>
                  <a:pt x="3190" y="44655"/>
                  <a:pt x="0" y="37365"/>
                  <a:pt x="0" y="29619"/>
                </a:cubicBezTo>
                <a:lnTo>
                  <a:pt x="0" y="29162"/>
                </a:lnTo>
                <a:cubicBezTo>
                  <a:pt x="0" y="21417"/>
                  <a:pt x="3190" y="14126"/>
                  <a:pt x="8658" y="8658"/>
                </a:cubicBezTo>
                <a:cubicBezTo>
                  <a:pt x="14126" y="3190"/>
                  <a:pt x="21416" y="0"/>
                  <a:pt x="29163" y="0"/>
                </a:cubicBezTo>
                <a:cubicBezTo>
                  <a:pt x="36909" y="0"/>
                  <a:pt x="44200" y="3190"/>
                  <a:pt x="49668" y="8658"/>
                </a:cubicBezTo>
                <a:lnTo>
                  <a:pt x="49997" y="9441"/>
                </a:lnTo>
                <a:lnTo>
                  <a:pt x="18945" y="54238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2" name="Forme libre : forme 121">
            <a:extLst>
              <a:ext uri="{FF2B5EF4-FFF2-40B4-BE49-F238E27FC236}">
                <a16:creationId xmlns:a16="http://schemas.microsoft.com/office/drawing/2014/main" id="{7A46CCF0-E67A-4E1E-9549-23C0DBDB68E2}"/>
              </a:ext>
            </a:extLst>
          </p:cNvPr>
          <p:cNvSpPr/>
          <p:nvPr/>
        </p:nvSpPr>
        <p:spPr>
          <a:xfrm rot="8716295">
            <a:off x="-30327" y="4579755"/>
            <a:ext cx="113346" cy="71024"/>
          </a:xfrm>
          <a:custGeom>
            <a:avLst/>
            <a:gdLst>
              <a:gd name="connsiteX0" fmla="*/ 0 w 113346"/>
              <a:gd name="connsiteY0" fmla="*/ 55323 h 71024"/>
              <a:gd name="connsiteX1" fmla="*/ 0 w 113346"/>
              <a:gd name="connsiteY1" fmla="*/ 0 h 71024"/>
              <a:gd name="connsiteX2" fmla="*/ 113346 w 113346"/>
              <a:gd name="connsiteY2" fmla="*/ 0 h 71024"/>
              <a:gd name="connsiteX3" fmla="*/ 64114 w 113346"/>
              <a:gd name="connsiteY3" fmla="*/ 71024 h 71024"/>
              <a:gd name="connsiteX4" fmla="*/ 69777 w 113346"/>
              <a:gd name="connsiteY4" fmla="*/ 55323 h 71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346" h="71024">
                <a:moveTo>
                  <a:pt x="0" y="55323"/>
                </a:moveTo>
                <a:lnTo>
                  <a:pt x="0" y="0"/>
                </a:lnTo>
                <a:lnTo>
                  <a:pt x="113346" y="0"/>
                </a:lnTo>
                <a:lnTo>
                  <a:pt x="64114" y="71024"/>
                </a:lnTo>
                <a:lnTo>
                  <a:pt x="69777" y="5532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3" name="Forme libre : forme 122">
            <a:extLst>
              <a:ext uri="{FF2B5EF4-FFF2-40B4-BE49-F238E27FC236}">
                <a16:creationId xmlns:a16="http://schemas.microsoft.com/office/drawing/2014/main" id="{01D04BC1-282A-4CFE-BF99-5B57F855BCBC}"/>
              </a:ext>
            </a:extLst>
          </p:cNvPr>
          <p:cNvSpPr/>
          <p:nvPr/>
        </p:nvSpPr>
        <p:spPr>
          <a:xfrm rot="8716295">
            <a:off x="71262" y="4741514"/>
            <a:ext cx="100246" cy="218719"/>
          </a:xfrm>
          <a:custGeom>
            <a:avLst/>
            <a:gdLst>
              <a:gd name="connsiteX0" fmla="*/ 216217 w 209550"/>
              <a:gd name="connsiteY0" fmla="*/ 0 h 457200"/>
              <a:gd name="connsiteX1" fmla="*/ 216217 w 209550"/>
              <a:gd name="connsiteY1" fmla="*/ 458153 h 457200"/>
              <a:gd name="connsiteX2" fmla="*/ 90488 w 209550"/>
              <a:gd name="connsiteY2" fmla="*/ 337185 h 457200"/>
              <a:gd name="connsiteX3" fmla="*/ 90488 w 209550"/>
              <a:gd name="connsiteY3" fmla="*/ 34290 h 457200"/>
              <a:gd name="connsiteX4" fmla="*/ 0 w 209550"/>
              <a:gd name="connsiteY4" fmla="*/ 34290 h 457200"/>
              <a:gd name="connsiteX5" fmla="*/ 0 w 209550"/>
              <a:gd name="connsiteY5" fmla="*/ 4763 h 457200"/>
              <a:gd name="connsiteX6" fmla="*/ 216217 w 209550"/>
              <a:gd name="connsiteY6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9550" h="457200">
                <a:moveTo>
                  <a:pt x="216217" y="0"/>
                </a:moveTo>
                <a:lnTo>
                  <a:pt x="216217" y="458153"/>
                </a:lnTo>
                <a:lnTo>
                  <a:pt x="90488" y="337185"/>
                </a:lnTo>
                <a:lnTo>
                  <a:pt x="90488" y="34290"/>
                </a:lnTo>
                <a:lnTo>
                  <a:pt x="0" y="34290"/>
                </a:lnTo>
                <a:lnTo>
                  <a:pt x="0" y="4763"/>
                </a:lnTo>
                <a:cubicBezTo>
                  <a:pt x="68580" y="7620"/>
                  <a:pt x="140017" y="1905"/>
                  <a:pt x="216217" y="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4" name="Forme libre : forme 123">
            <a:extLst>
              <a:ext uri="{FF2B5EF4-FFF2-40B4-BE49-F238E27FC236}">
                <a16:creationId xmlns:a16="http://schemas.microsoft.com/office/drawing/2014/main" id="{A04953EA-5C79-45C4-9757-065EFCA47539}"/>
              </a:ext>
            </a:extLst>
          </p:cNvPr>
          <p:cNvSpPr/>
          <p:nvPr/>
        </p:nvSpPr>
        <p:spPr>
          <a:xfrm rot="7484129">
            <a:off x="172059" y="4933533"/>
            <a:ext cx="203847" cy="195874"/>
          </a:xfrm>
          <a:custGeom>
            <a:avLst/>
            <a:gdLst>
              <a:gd name="connsiteX0" fmla="*/ 90710 w 203847"/>
              <a:gd name="connsiteY0" fmla="*/ 195874 h 195874"/>
              <a:gd name="connsiteX1" fmla="*/ 47847 w 203847"/>
              <a:gd name="connsiteY1" fmla="*/ 116129 h 195874"/>
              <a:gd name="connsiteX2" fmla="*/ 69777 w 203847"/>
              <a:gd name="connsiteY2" fmla="*/ 55323 h 195874"/>
              <a:gd name="connsiteX3" fmla="*/ 0 w 203847"/>
              <a:gd name="connsiteY3" fmla="*/ 55323 h 195874"/>
              <a:gd name="connsiteX4" fmla="*/ 0 w 203847"/>
              <a:gd name="connsiteY4" fmla="*/ 0 h 195874"/>
              <a:gd name="connsiteX5" fmla="*/ 170341 w 203847"/>
              <a:gd name="connsiteY5" fmla="*/ 0 h 195874"/>
              <a:gd name="connsiteX6" fmla="*/ 203847 w 203847"/>
              <a:gd name="connsiteY6" fmla="*/ 48325 h 195874"/>
              <a:gd name="connsiteX7" fmla="*/ 203847 w 203847"/>
              <a:gd name="connsiteY7" fmla="*/ 55323 h 195874"/>
              <a:gd name="connsiteX8" fmla="*/ 139055 w 203847"/>
              <a:gd name="connsiteY8" fmla="*/ 55323 h 195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3847" h="195874">
                <a:moveTo>
                  <a:pt x="90710" y="195874"/>
                </a:moveTo>
                <a:lnTo>
                  <a:pt x="47847" y="116129"/>
                </a:lnTo>
                <a:lnTo>
                  <a:pt x="69777" y="55323"/>
                </a:lnTo>
                <a:lnTo>
                  <a:pt x="0" y="55323"/>
                </a:lnTo>
                <a:lnTo>
                  <a:pt x="0" y="0"/>
                </a:lnTo>
                <a:lnTo>
                  <a:pt x="170341" y="0"/>
                </a:lnTo>
                <a:lnTo>
                  <a:pt x="203847" y="48325"/>
                </a:lnTo>
                <a:lnTo>
                  <a:pt x="203847" y="55323"/>
                </a:lnTo>
                <a:lnTo>
                  <a:pt x="139055" y="5532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5" name="Forme libre : forme 124">
            <a:extLst>
              <a:ext uri="{FF2B5EF4-FFF2-40B4-BE49-F238E27FC236}">
                <a16:creationId xmlns:a16="http://schemas.microsoft.com/office/drawing/2014/main" id="{49CB50EA-8DFB-4219-A82A-979E56D219DC}"/>
              </a:ext>
            </a:extLst>
          </p:cNvPr>
          <p:cNvSpPr/>
          <p:nvPr/>
        </p:nvSpPr>
        <p:spPr>
          <a:xfrm rot="13089394">
            <a:off x="313551" y="4906246"/>
            <a:ext cx="221827" cy="205098"/>
          </a:xfrm>
          <a:custGeom>
            <a:avLst/>
            <a:gdLst>
              <a:gd name="connsiteX0" fmla="*/ 24153 w 221827"/>
              <a:gd name="connsiteY0" fmla="*/ 55168 h 205098"/>
              <a:gd name="connsiteX1" fmla="*/ 0 w 221827"/>
              <a:gd name="connsiteY1" fmla="*/ 18385 h 205098"/>
              <a:gd name="connsiteX2" fmla="*/ 23400 w 221827"/>
              <a:gd name="connsiteY2" fmla="*/ 0 h 205098"/>
              <a:gd name="connsiteX3" fmla="*/ 23735 w 221827"/>
              <a:gd name="connsiteY3" fmla="*/ 46640 h 205098"/>
              <a:gd name="connsiteX4" fmla="*/ 221827 w 221827"/>
              <a:gd name="connsiteY4" fmla="*/ 150928 h 205098"/>
              <a:gd name="connsiteX5" fmla="*/ 126574 w 221827"/>
              <a:gd name="connsiteY5" fmla="*/ 204038 h 205098"/>
              <a:gd name="connsiteX6" fmla="*/ 122603 w 221827"/>
              <a:gd name="connsiteY6" fmla="*/ 205098 h 205098"/>
              <a:gd name="connsiteX7" fmla="*/ 102519 w 221827"/>
              <a:gd name="connsiteY7" fmla="*/ 174512 h 205098"/>
              <a:gd name="connsiteX8" fmla="*/ 103192 w 221827"/>
              <a:gd name="connsiteY8" fmla="*/ 174655 h 205098"/>
              <a:gd name="connsiteX9" fmla="*/ 152853 w 221827"/>
              <a:gd name="connsiteY9" fmla="*/ 165826 h 205098"/>
              <a:gd name="connsiteX10" fmla="*/ 220723 w 221827"/>
              <a:gd name="connsiteY10" fmla="*/ 138237 h 205098"/>
              <a:gd name="connsiteX11" fmla="*/ 221827 w 221827"/>
              <a:gd name="connsiteY11" fmla="*/ 145410 h 205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21827" h="205098">
                <a:moveTo>
                  <a:pt x="24153" y="55168"/>
                </a:moveTo>
                <a:lnTo>
                  <a:pt x="0" y="18385"/>
                </a:lnTo>
                <a:lnTo>
                  <a:pt x="23400" y="0"/>
                </a:lnTo>
                <a:lnTo>
                  <a:pt x="23735" y="46640"/>
                </a:lnTo>
                <a:close/>
                <a:moveTo>
                  <a:pt x="221827" y="150928"/>
                </a:moveTo>
                <a:cubicBezTo>
                  <a:pt x="192582" y="176035"/>
                  <a:pt x="158785" y="193002"/>
                  <a:pt x="126574" y="204038"/>
                </a:cubicBezTo>
                <a:lnTo>
                  <a:pt x="122603" y="205098"/>
                </a:lnTo>
                <a:lnTo>
                  <a:pt x="102519" y="174512"/>
                </a:lnTo>
                <a:lnTo>
                  <a:pt x="103192" y="174655"/>
                </a:lnTo>
                <a:cubicBezTo>
                  <a:pt x="120298" y="174103"/>
                  <a:pt x="136851" y="170792"/>
                  <a:pt x="152853" y="165826"/>
                </a:cubicBezTo>
                <a:cubicBezTo>
                  <a:pt x="176028" y="158653"/>
                  <a:pt x="198652" y="149273"/>
                  <a:pt x="220723" y="138237"/>
                </a:cubicBezTo>
                <a:cubicBezTo>
                  <a:pt x="221275" y="140444"/>
                  <a:pt x="221827" y="143203"/>
                  <a:pt x="221827" y="14541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6" name="Forme libre : forme 125">
            <a:extLst>
              <a:ext uri="{FF2B5EF4-FFF2-40B4-BE49-F238E27FC236}">
                <a16:creationId xmlns:a16="http://schemas.microsoft.com/office/drawing/2014/main" id="{5146513B-5632-4832-9AF5-1E4051EECD28}"/>
              </a:ext>
            </a:extLst>
          </p:cNvPr>
          <p:cNvSpPr/>
          <p:nvPr/>
        </p:nvSpPr>
        <p:spPr>
          <a:xfrm rot="8716295">
            <a:off x="406370" y="4600606"/>
            <a:ext cx="113655" cy="117117"/>
          </a:xfrm>
          <a:custGeom>
            <a:avLst/>
            <a:gdLst>
              <a:gd name="connsiteX0" fmla="*/ 13623 w 113655"/>
              <a:gd name="connsiteY0" fmla="*/ 100559 h 117117"/>
              <a:gd name="connsiteX1" fmla="*/ 0 w 113655"/>
              <a:gd name="connsiteY1" fmla="*/ 68296 h 117117"/>
              <a:gd name="connsiteX2" fmla="*/ 56488 w 113655"/>
              <a:gd name="connsiteY2" fmla="*/ 0 h 117117"/>
              <a:gd name="connsiteX3" fmla="*/ 96408 w 113655"/>
              <a:gd name="connsiteY3" fmla="*/ 16856 h 117117"/>
              <a:gd name="connsiteX4" fmla="*/ 96408 w 113655"/>
              <a:gd name="connsiteY4" fmla="*/ 99640 h 117117"/>
              <a:gd name="connsiteX5" fmla="*/ 55015 w 113655"/>
              <a:gd name="connsiteY5" fmla="*/ 117117 h 117117"/>
              <a:gd name="connsiteX6" fmla="*/ 13623 w 113655"/>
              <a:gd name="connsiteY6" fmla="*/ 100559 h 117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3655" h="117117">
                <a:moveTo>
                  <a:pt x="13623" y="100559"/>
                </a:moveTo>
                <a:lnTo>
                  <a:pt x="0" y="68296"/>
                </a:lnTo>
                <a:lnTo>
                  <a:pt x="56488" y="0"/>
                </a:lnTo>
                <a:lnTo>
                  <a:pt x="96408" y="16856"/>
                </a:lnTo>
                <a:cubicBezTo>
                  <a:pt x="119404" y="38931"/>
                  <a:pt x="119404" y="76644"/>
                  <a:pt x="96408" y="99640"/>
                </a:cubicBezTo>
                <a:cubicBezTo>
                  <a:pt x="85370" y="110678"/>
                  <a:pt x="70653" y="117116"/>
                  <a:pt x="55015" y="117117"/>
                </a:cubicBezTo>
                <a:cubicBezTo>
                  <a:pt x="39378" y="117117"/>
                  <a:pt x="24661" y="111597"/>
                  <a:pt x="13623" y="100559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7" name="Forme libre : forme 126">
            <a:extLst>
              <a:ext uri="{FF2B5EF4-FFF2-40B4-BE49-F238E27FC236}">
                <a16:creationId xmlns:a16="http://schemas.microsoft.com/office/drawing/2014/main" id="{FE3150CC-51A0-4255-BE10-7C4DD2D82ED1}"/>
              </a:ext>
            </a:extLst>
          </p:cNvPr>
          <p:cNvSpPr/>
          <p:nvPr/>
        </p:nvSpPr>
        <p:spPr>
          <a:xfrm rot="8716295">
            <a:off x="171547" y="4634346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8" name="Forme libre : forme 127">
            <a:extLst>
              <a:ext uri="{FF2B5EF4-FFF2-40B4-BE49-F238E27FC236}">
                <a16:creationId xmlns:a16="http://schemas.microsoft.com/office/drawing/2014/main" id="{3071C62B-77D8-4A0E-86A6-83549F6B4AD6}"/>
              </a:ext>
            </a:extLst>
          </p:cNvPr>
          <p:cNvSpPr/>
          <p:nvPr/>
        </p:nvSpPr>
        <p:spPr>
          <a:xfrm rot="8716295">
            <a:off x="348999" y="4475104"/>
            <a:ext cx="110380" cy="1103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BED9834D-49E7-4AFD-BEE4-8AB20B969F92}"/>
              </a:ext>
            </a:extLst>
          </p:cNvPr>
          <p:cNvSpPr/>
          <p:nvPr/>
        </p:nvSpPr>
        <p:spPr>
          <a:xfrm>
            <a:off x="1675026" y="884098"/>
            <a:ext cx="360000" cy="457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29" name="Espace réservé du texte 533">
            <a:extLst>
              <a:ext uri="{FF2B5EF4-FFF2-40B4-BE49-F238E27FC236}">
                <a16:creationId xmlns:a16="http://schemas.microsoft.com/office/drawing/2014/main" id="{935C0E43-331D-4BB2-8807-8DF7E7628E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97959" y="1375576"/>
            <a:ext cx="7316491" cy="3260705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300"/>
              </a:spcBef>
              <a:spcAft>
                <a:spcPts val="1000"/>
              </a:spcAft>
              <a:buNone/>
              <a:defRPr sz="1100">
                <a:solidFill>
                  <a:schemeClr val="tx1"/>
                </a:solidFill>
              </a:defRPr>
            </a:lvl2pPr>
            <a:lvl3pPr marL="270000" indent="-270000" algn="l" defTabSz="457200" rtl="0" eaLnBrk="1" latinLnBrk="0" hangingPunct="1">
              <a:spcBef>
                <a:spcPts val="400"/>
              </a:spcBef>
              <a:spcAft>
                <a:spcPts val="1000"/>
              </a:spcAft>
              <a:buSzPct val="100000"/>
              <a:buFontTx/>
              <a:buBlip>
                <a:blip r:embed="rId2"/>
              </a:buBlip>
              <a:defRPr lang="fr-FR" sz="1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0000" indent="-269875">
              <a:spcBef>
                <a:spcPts val="400"/>
              </a:spcBef>
              <a:spcAft>
                <a:spcPts val="1000"/>
              </a:spcAft>
              <a:buFontTx/>
              <a:buBlip>
                <a:blip r:embed="rId3"/>
              </a:buBlip>
              <a:defRPr sz="1000" b="1">
                <a:solidFill>
                  <a:schemeClr val="tx1"/>
                </a:solidFill>
              </a:defRPr>
            </a:lvl4pPr>
            <a:lvl5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4"/>
              </a:buBlip>
              <a:defRPr sz="1000" b="1">
                <a:solidFill>
                  <a:schemeClr val="tx1"/>
                </a:solidFill>
              </a:defRPr>
            </a:lvl5pPr>
            <a:lvl6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5"/>
              </a:buBlip>
              <a:defRPr sz="1000" b="1">
                <a:solidFill>
                  <a:schemeClr val="tx1"/>
                </a:solidFill>
              </a:defRPr>
            </a:lvl6pPr>
            <a:lvl7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6"/>
              </a:buBlip>
              <a:defRPr sz="1000" b="1">
                <a:solidFill>
                  <a:schemeClr val="tx1"/>
                </a:solidFill>
              </a:defRPr>
            </a:lvl7pPr>
            <a:lvl8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7"/>
              </a:buBlip>
              <a:defRPr sz="1000" b="1">
                <a:solidFill>
                  <a:schemeClr val="tx1"/>
                </a:solidFill>
              </a:defRPr>
            </a:lvl8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Puce bleu</a:t>
            </a:r>
          </a:p>
          <a:p>
            <a:pPr lvl="3"/>
            <a:r>
              <a:rPr lang="fr-FR" dirty="0"/>
              <a:t>Puce orange</a:t>
            </a:r>
          </a:p>
          <a:p>
            <a:pPr lvl="4"/>
            <a:r>
              <a:rPr lang="fr-FR" dirty="0"/>
              <a:t>Puce rouge</a:t>
            </a:r>
          </a:p>
          <a:p>
            <a:pPr lvl="5"/>
            <a:r>
              <a:rPr lang="fr-FR" dirty="0"/>
              <a:t>Puce vert d’eau</a:t>
            </a:r>
          </a:p>
          <a:p>
            <a:pPr lvl="6"/>
            <a:r>
              <a:rPr lang="fr-FR" dirty="0"/>
              <a:t>Puce verte</a:t>
            </a:r>
          </a:p>
          <a:p>
            <a:pPr lvl="7"/>
            <a:r>
              <a:rPr lang="fr-FR" dirty="0"/>
              <a:t>Puce violette</a:t>
            </a:r>
          </a:p>
        </p:txBody>
      </p:sp>
    </p:spTree>
    <p:extLst>
      <p:ext uri="{BB962C8B-B14F-4D97-AF65-F5344CB8AC3E}">
        <p14:creationId xmlns:p14="http://schemas.microsoft.com/office/powerpoint/2010/main" val="216133811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ur deux lignes + Conten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Forme libre : forme 134">
            <a:extLst>
              <a:ext uri="{FF2B5EF4-FFF2-40B4-BE49-F238E27FC236}">
                <a16:creationId xmlns:a16="http://schemas.microsoft.com/office/drawing/2014/main" id="{BCA8F2DB-0EFB-46C7-BE50-C48C3F133EFC}"/>
              </a:ext>
            </a:extLst>
          </p:cNvPr>
          <p:cNvSpPr/>
          <p:nvPr userDrawn="1"/>
        </p:nvSpPr>
        <p:spPr>
          <a:xfrm>
            <a:off x="629550" y="0"/>
            <a:ext cx="8514451" cy="5143499"/>
          </a:xfrm>
          <a:custGeom>
            <a:avLst/>
            <a:gdLst>
              <a:gd name="connsiteX0" fmla="*/ 685476 w 8514451"/>
              <a:gd name="connsiteY0" fmla="*/ 1246048 h 5143499"/>
              <a:gd name="connsiteX1" fmla="*/ 685476 w 8514451"/>
              <a:gd name="connsiteY1" fmla="*/ 1291767 h 5143499"/>
              <a:gd name="connsiteX2" fmla="*/ 1045476 w 8514451"/>
              <a:gd name="connsiteY2" fmla="*/ 1291767 h 5143499"/>
              <a:gd name="connsiteX3" fmla="*/ 1045476 w 8514451"/>
              <a:gd name="connsiteY3" fmla="*/ 1246048 h 5143499"/>
              <a:gd name="connsiteX4" fmla="*/ 268034 w 8514451"/>
              <a:gd name="connsiteY4" fmla="*/ 0 h 5143499"/>
              <a:gd name="connsiteX5" fmla="*/ 8514451 w 8514451"/>
              <a:gd name="connsiteY5" fmla="*/ 0 h 5143499"/>
              <a:gd name="connsiteX6" fmla="*/ 8514451 w 8514451"/>
              <a:gd name="connsiteY6" fmla="*/ 5143499 h 5143499"/>
              <a:gd name="connsiteX7" fmla="*/ 274758 w 8514451"/>
              <a:gd name="connsiteY7" fmla="*/ 5143499 h 5143499"/>
              <a:gd name="connsiteX8" fmla="*/ 0 w 8514451"/>
              <a:gd name="connsiteY8" fmla="*/ 3148262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514451" h="5143499">
                <a:moveTo>
                  <a:pt x="685476" y="1246048"/>
                </a:moveTo>
                <a:lnTo>
                  <a:pt x="685476" y="1291767"/>
                </a:lnTo>
                <a:lnTo>
                  <a:pt x="1045476" y="1291767"/>
                </a:lnTo>
                <a:lnTo>
                  <a:pt x="1045476" y="1246048"/>
                </a:lnTo>
                <a:close/>
                <a:moveTo>
                  <a:pt x="268034" y="0"/>
                </a:moveTo>
                <a:lnTo>
                  <a:pt x="8514451" y="0"/>
                </a:lnTo>
                <a:lnTo>
                  <a:pt x="8514451" y="5143499"/>
                </a:lnTo>
                <a:lnTo>
                  <a:pt x="274758" y="5143499"/>
                </a:lnTo>
                <a:lnTo>
                  <a:pt x="0" y="31482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48DF42C1-5220-478C-ABAC-92E468D673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8859" y="342566"/>
            <a:ext cx="7316491" cy="757130"/>
          </a:xfrm>
        </p:spPr>
        <p:txBody>
          <a:bodyPr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Titre de la slide</a:t>
            </a:r>
            <a:br>
              <a:rPr lang="fr-FR" dirty="0"/>
            </a:br>
            <a:r>
              <a:rPr lang="fr-FR" dirty="0"/>
              <a:t>sur deux lignes</a:t>
            </a:r>
          </a:p>
        </p:txBody>
      </p:sp>
      <p:grpSp>
        <p:nvGrpSpPr>
          <p:cNvPr id="4" name="Groupe 3">
            <a:extLst>
              <a:ext uri="{FF2B5EF4-FFF2-40B4-BE49-F238E27FC236}">
                <a16:creationId xmlns:a16="http://schemas.microsoft.com/office/drawing/2014/main" id="{7D4448DD-C686-4013-AFB5-FE86795F0079}"/>
              </a:ext>
            </a:extLst>
          </p:cNvPr>
          <p:cNvGrpSpPr/>
          <p:nvPr userDrawn="1"/>
        </p:nvGrpSpPr>
        <p:grpSpPr>
          <a:xfrm>
            <a:off x="-91485" y="-57106"/>
            <a:ext cx="1008300" cy="5190499"/>
            <a:chOff x="-91485" y="-57106"/>
            <a:chExt cx="1008300" cy="5190499"/>
          </a:xfrm>
          <a:solidFill>
            <a:schemeClr val="bg2">
              <a:alpha val="5000"/>
            </a:schemeClr>
          </a:solidFill>
        </p:grpSpPr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4100D4C0-1B0B-4813-97B4-727B3F07A2B3}"/>
                </a:ext>
              </a:extLst>
            </p:cNvPr>
            <p:cNvSpPr/>
            <p:nvPr/>
          </p:nvSpPr>
          <p:spPr>
            <a:xfrm rot="8716295">
              <a:off x="617786" y="1780350"/>
              <a:ext cx="152726" cy="195873"/>
            </a:xfrm>
            <a:custGeom>
              <a:avLst/>
              <a:gdLst>
                <a:gd name="connsiteX0" fmla="*/ 39589 w 152726"/>
                <a:gd name="connsiteY0" fmla="*/ 195873 h 195873"/>
                <a:gd name="connsiteX1" fmla="*/ 0 w 152726"/>
                <a:gd name="connsiteY1" fmla="*/ 122219 h 195873"/>
                <a:gd name="connsiteX2" fmla="*/ 101089 w 152726"/>
                <a:gd name="connsiteY2" fmla="*/ 0 h 195873"/>
                <a:gd name="connsiteX3" fmla="*/ 152726 w 152726"/>
                <a:gd name="connsiteY3" fmla="*/ 0 h 195873"/>
                <a:gd name="connsiteX4" fmla="*/ 152726 w 152726"/>
                <a:gd name="connsiteY4" fmla="*/ 55323 h 195873"/>
                <a:gd name="connsiteX5" fmla="*/ 87934 w 152726"/>
                <a:gd name="connsiteY5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726" h="195873">
                  <a:moveTo>
                    <a:pt x="39589" y="195873"/>
                  </a:moveTo>
                  <a:lnTo>
                    <a:pt x="0" y="122219"/>
                  </a:lnTo>
                  <a:lnTo>
                    <a:pt x="101089" y="0"/>
                  </a:lnTo>
                  <a:lnTo>
                    <a:pt x="152726" y="0"/>
                  </a:lnTo>
                  <a:lnTo>
                    <a:pt x="152726" y="55323"/>
                  </a:lnTo>
                  <a:lnTo>
                    <a:pt x="87934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CB9A2237-374C-411A-AB62-0191ED80FFE2}"/>
                </a:ext>
              </a:extLst>
            </p:cNvPr>
            <p:cNvSpPr/>
            <p:nvPr/>
          </p:nvSpPr>
          <p:spPr>
            <a:xfrm rot="8716295">
              <a:off x="534441" y="1654353"/>
              <a:ext cx="262864" cy="103234"/>
            </a:xfrm>
            <a:custGeom>
              <a:avLst/>
              <a:gdLst>
                <a:gd name="connsiteX0" fmla="*/ 0 w 262864"/>
                <a:gd name="connsiteY0" fmla="*/ 75341 h 103234"/>
                <a:gd name="connsiteX1" fmla="*/ 62316 w 262864"/>
                <a:gd name="connsiteY1" fmla="*/ 0 h 103234"/>
                <a:gd name="connsiteX2" fmla="*/ 65768 w 262864"/>
                <a:gd name="connsiteY2" fmla="*/ 14220 h 103234"/>
                <a:gd name="connsiteX3" fmla="*/ 136369 w 262864"/>
                <a:gd name="connsiteY3" fmla="*/ 53051 h 103234"/>
                <a:gd name="connsiteX4" fmla="*/ 189321 w 262864"/>
                <a:gd name="connsiteY4" fmla="*/ 43637 h 103234"/>
                <a:gd name="connsiteX5" fmla="*/ 261688 w 262864"/>
                <a:gd name="connsiteY5" fmla="*/ 14220 h 103234"/>
                <a:gd name="connsiteX6" fmla="*/ 262864 w 262864"/>
                <a:gd name="connsiteY6" fmla="*/ 21868 h 103234"/>
                <a:gd name="connsiteX7" fmla="*/ 262864 w 262864"/>
                <a:gd name="connsiteY7" fmla="*/ 27752 h 103234"/>
                <a:gd name="connsiteX8" fmla="*/ 69887 w 262864"/>
                <a:gd name="connsiteY8" fmla="*/ 103060 h 103234"/>
                <a:gd name="connsiteX9" fmla="*/ 30615 w 262864"/>
                <a:gd name="connsiteY9" fmla="*/ 96294 h 103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2864" h="103234">
                  <a:moveTo>
                    <a:pt x="0" y="75341"/>
                  </a:moveTo>
                  <a:lnTo>
                    <a:pt x="62316" y="0"/>
                  </a:lnTo>
                  <a:lnTo>
                    <a:pt x="65768" y="14220"/>
                  </a:lnTo>
                  <a:cubicBezTo>
                    <a:pt x="75182" y="40107"/>
                    <a:pt x="99304" y="53051"/>
                    <a:pt x="136369" y="53051"/>
                  </a:cubicBezTo>
                  <a:cubicBezTo>
                    <a:pt x="154609" y="52462"/>
                    <a:pt x="172259" y="48932"/>
                    <a:pt x="189321" y="43637"/>
                  </a:cubicBezTo>
                  <a:cubicBezTo>
                    <a:pt x="214031" y="35988"/>
                    <a:pt x="238154" y="25987"/>
                    <a:pt x="261688" y="14220"/>
                  </a:cubicBezTo>
                  <a:cubicBezTo>
                    <a:pt x="262276" y="16573"/>
                    <a:pt x="262864" y="19515"/>
                    <a:pt x="262864" y="21868"/>
                  </a:cubicBezTo>
                  <a:lnTo>
                    <a:pt x="262864" y="27752"/>
                  </a:lnTo>
                  <a:cubicBezTo>
                    <a:pt x="200500" y="81291"/>
                    <a:pt x="118719" y="100119"/>
                    <a:pt x="69887" y="103060"/>
                  </a:cubicBezTo>
                  <a:cubicBezTo>
                    <a:pt x="56355" y="103943"/>
                    <a:pt x="42970" y="101442"/>
                    <a:pt x="30615" y="9629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8F8A3734-3F77-44C7-9A38-570198540CBC}"/>
                </a:ext>
              </a:extLst>
            </p:cNvPr>
            <p:cNvSpPr/>
            <p:nvPr/>
          </p:nvSpPr>
          <p:spPr>
            <a:xfrm rot="8716295">
              <a:off x="632719" y="1232432"/>
              <a:ext cx="121558" cy="232388"/>
            </a:xfrm>
            <a:custGeom>
              <a:avLst/>
              <a:gdLst>
                <a:gd name="connsiteX0" fmla="*/ 60499 w 121558"/>
                <a:gd name="connsiteY0" fmla="*/ 232388 h 232388"/>
                <a:gd name="connsiteX1" fmla="*/ 60499 w 121558"/>
                <a:gd name="connsiteY1" fmla="*/ 69717 h 232388"/>
                <a:gd name="connsiteX2" fmla="*/ 60499 w 121558"/>
                <a:gd name="connsiteY2" fmla="*/ 65615 h 232388"/>
                <a:gd name="connsiteX3" fmla="*/ 39995 w 121558"/>
                <a:gd name="connsiteY3" fmla="*/ 50123 h 232388"/>
                <a:gd name="connsiteX4" fmla="*/ 0 w 121558"/>
                <a:gd name="connsiteY4" fmla="*/ 50123 h 232388"/>
                <a:gd name="connsiteX5" fmla="*/ 41457 w 121558"/>
                <a:gd name="connsiteY5" fmla="*/ 0 h 232388"/>
                <a:gd name="connsiteX6" fmla="*/ 64601 w 121558"/>
                <a:gd name="connsiteY6" fmla="*/ 0 h 232388"/>
                <a:gd name="connsiteX7" fmla="*/ 121558 w 121558"/>
                <a:gd name="connsiteY7" fmla="*/ 50123 h 232388"/>
                <a:gd name="connsiteX8" fmla="*/ 121558 w 121558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558" h="232388">
                  <a:moveTo>
                    <a:pt x="60499" y="232388"/>
                  </a:moveTo>
                  <a:lnTo>
                    <a:pt x="60499" y="69717"/>
                  </a:lnTo>
                  <a:cubicBezTo>
                    <a:pt x="60499" y="68349"/>
                    <a:pt x="60499" y="66983"/>
                    <a:pt x="60499" y="65615"/>
                  </a:cubicBezTo>
                  <a:cubicBezTo>
                    <a:pt x="59133" y="55591"/>
                    <a:pt x="50019" y="48756"/>
                    <a:pt x="39995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64601" y="0"/>
                  </a:lnTo>
                  <a:cubicBezTo>
                    <a:pt x="101509" y="0"/>
                    <a:pt x="121558" y="15948"/>
                    <a:pt x="121558" y="50123"/>
                  </a:cubicBezTo>
                  <a:lnTo>
                    <a:pt x="121558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70856B7B-717B-4AEA-95A4-A1E79A999538}"/>
                </a:ext>
              </a:extLst>
            </p:cNvPr>
            <p:cNvSpPr/>
            <p:nvPr/>
          </p:nvSpPr>
          <p:spPr>
            <a:xfrm rot="8716295">
              <a:off x="763454" y="1474783"/>
              <a:ext cx="14143" cy="14319"/>
            </a:xfrm>
            <a:custGeom>
              <a:avLst/>
              <a:gdLst>
                <a:gd name="connsiteX0" fmla="*/ 0 w 14143"/>
                <a:gd name="connsiteY0" fmla="*/ 14319 h 14319"/>
                <a:gd name="connsiteX1" fmla="*/ 11843 w 14143"/>
                <a:gd name="connsiteY1" fmla="*/ 0 h 14319"/>
                <a:gd name="connsiteX2" fmla="*/ 14143 w 14143"/>
                <a:gd name="connsiteY2" fmla="*/ 7563 h 14319"/>
                <a:gd name="connsiteX3" fmla="*/ 14143 w 14143"/>
                <a:gd name="connsiteY3" fmla="*/ 13487 h 1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43" h="14319">
                  <a:moveTo>
                    <a:pt x="0" y="14319"/>
                  </a:moveTo>
                  <a:lnTo>
                    <a:pt x="11843" y="0"/>
                  </a:lnTo>
                  <a:lnTo>
                    <a:pt x="14143" y="7563"/>
                  </a:lnTo>
                  <a:lnTo>
                    <a:pt x="14143" y="1348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3E264A51-6081-4342-94AB-E5098D8BEE47}"/>
                </a:ext>
              </a:extLst>
            </p:cNvPr>
            <p:cNvSpPr/>
            <p:nvPr/>
          </p:nvSpPr>
          <p:spPr>
            <a:xfrm rot="8716295">
              <a:off x="672878" y="1171577"/>
              <a:ext cx="183964" cy="137618"/>
            </a:xfrm>
            <a:custGeom>
              <a:avLst/>
              <a:gdLst>
                <a:gd name="connsiteX0" fmla="*/ 0 w 183964"/>
                <a:gd name="connsiteY0" fmla="*/ 137618 h 137618"/>
                <a:gd name="connsiteX1" fmla="*/ 53346 w 183964"/>
                <a:gd name="connsiteY1" fmla="*/ 73121 h 137618"/>
                <a:gd name="connsiteX2" fmla="*/ 101034 w 183964"/>
                <a:gd name="connsiteY2" fmla="*/ 28251 h 137618"/>
                <a:gd name="connsiteX3" fmla="*/ 155713 w 183964"/>
                <a:gd name="connsiteY3" fmla="*/ 0 h 137618"/>
                <a:gd name="connsiteX4" fmla="*/ 183964 w 183964"/>
                <a:gd name="connsiteY4" fmla="*/ 33719 h 137618"/>
                <a:gd name="connsiteX5" fmla="*/ 157536 w 183964"/>
                <a:gd name="connsiteY5" fmla="*/ 69261 h 137618"/>
                <a:gd name="connsiteX6" fmla="*/ 157991 w 183964"/>
                <a:gd name="connsiteY6" fmla="*/ 69261 h 137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3964" h="137618">
                  <a:moveTo>
                    <a:pt x="0" y="137618"/>
                  </a:moveTo>
                  <a:lnTo>
                    <a:pt x="53346" y="73121"/>
                  </a:lnTo>
                  <a:lnTo>
                    <a:pt x="101034" y="28251"/>
                  </a:lnTo>
                  <a:cubicBezTo>
                    <a:pt x="114703" y="12303"/>
                    <a:pt x="134297" y="2278"/>
                    <a:pt x="155713" y="0"/>
                  </a:cubicBezTo>
                  <a:cubicBezTo>
                    <a:pt x="177585" y="0"/>
                    <a:pt x="183964" y="19138"/>
                    <a:pt x="183964" y="33719"/>
                  </a:cubicBezTo>
                  <a:cubicBezTo>
                    <a:pt x="182597" y="49667"/>
                    <a:pt x="172117" y="62881"/>
                    <a:pt x="157536" y="69261"/>
                  </a:cubicBezTo>
                  <a:lnTo>
                    <a:pt x="157991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03D4C536-74A8-424A-B4F4-647CD66813A6}"/>
                </a:ext>
              </a:extLst>
            </p:cNvPr>
            <p:cNvSpPr/>
            <p:nvPr/>
          </p:nvSpPr>
          <p:spPr>
            <a:xfrm rot="8716295">
              <a:off x="519479" y="13148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6C726A65-5764-428F-B78B-B207E19CC8A7}"/>
                </a:ext>
              </a:extLst>
            </p:cNvPr>
            <p:cNvSpPr/>
            <p:nvPr/>
          </p:nvSpPr>
          <p:spPr>
            <a:xfrm rot="8716295">
              <a:off x="394576" y="11061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B057F75B-3923-494B-B65B-A96E682E21D4}"/>
                </a:ext>
              </a:extLst>
            </p:cNvPr>
            <p:cNvSpPr/>
            <p:nvPr/>
          </p:nvSpPr>
          <p:spPr>
            <a:xfrm rot="8716295">
              <a:off x="382524" y="96739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B57FA1DB-CF40-4C3B-8603-B0C589DE9032}"/>
                </a:ext>
              </a:extLst>
            </p:cNvPr>
            <p:cNvSpPr/>
            <p:nvPr/>
          </p:nvSpPr>
          <p:spPr>
            <a:xfrm rot="8716295">
              <a:off x="609657" y="135579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8AA6873E-3CFC-4928-9C0D-5E1C199A6A43}"/>
                </a:ext>
              </a:extLst>
            </p:cNvPr>
            <p:cNvSpPr/>
            <p:nvPr/>
          </p:nvSpPr>
          <p:spPr>
            <a:xfrm rot="8716295">
              <a:off x="683426" y="869567"/>
              <a:ext cx="156000" cy="195873"/>
            </a:xfrm>
            <a:custGeom>
              <a:avLst/>
              <a:gdLst>
                <a:gd name="connsiteX0" fmla="*/ 42863 w 156000"/>
                <a:gd name="connsiteY0" fmla="*/ 195873 h 195873"/>
                <a:gd name="connsiteX1" fmla="*/ 0 w 156000"/>
                <a:gd name="connsiteY1" fmla="*/ 116129 h 195873"/>
                <a:gd name="connsiteX2" fmla="*/ 5100 w 156000"/>
                <a:gd name="connsiteY2" fmla="*/ 101988 h 195873"/>
                <a:gd name="connsiteX3" fmla="*/ 89456 w 156000"/>
                <a:gd name="connsiteY3" fmla="*/ 0 h 195873"/>
                <a:gd name="connsiteX4" fmla="*/ 156000 w 156000"/>
                <a:gd name="connsiteY4" fmla="*/ 0 h 195873"/>
                <a:gd name="connsiteX5" fmla="*/ 156000 w 156000"/>
                <a:gd name="connsiteY5" fmla="*/ 55323 h 195873"/>
                <a:gd name="connsiteX6" fmla="*/ 91208 w 156000"/>
                <a:gd name="connsiteY6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000" h="195873">
                  <a:moveTo>
                    <a:pt x="42863" y="195873"/>
                  </a:moveTo>
                  <a:lnTo>
                    <a:pt x="0" y="116129"/>
                  </a:lnTo>
                  <a:lnTo>
                    <a:pt x="5100" y="101988"/>
                  </a:lnTo>
                  <a:lnTo>
                    <a:pt x="89456" y="0"/>
                  </a:lnTo>
                  <a:lnTo>
                    <a:pt x="156000" y="0"/>
                  </a:lnTo>
                  <a:lnTo>
                    <a:pt x="156000" y="55323"/>
                  </a:lnTo>
                  <a:lnTo>
                    <a:pt x="91208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0609DC7B-52A5-4494-9388-1386F1B7ECA0}"/>
                </a:ext>
              </a:extLst>
            </p:cNvPr>
            <p:cNvSpPr/>
            <p:nvPr/>
          </p:nvSpPr>
          <p:spPr>
            <a:xfrm rot="8716295">
              <a:off x="657305" y="95604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FA9B5438-F371-4C5C-851A-CA35F035D933}"/>
                </a:ext>
              </a:extLst>
            </p:cNvPr>
            <p:cNvSpPr/>
            <p:nvPr/>
          </p:nvSpPr>
          <p:spPr>
            <a:xfrm rot="8716295">
              <a:off x="412774" y="56424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ED2997EF-2C09-4DA3-BB88-8DA5032A40C8}"/>
                </a:ext>
              </a:extLst>
            </p:cNvPr>
            <p:cNvSpPr/>
            <p:nvPr/>
          </p:nvSpPr>
          <p:spPr>
            <a:xfrm rot="8716295">
              <a:off x="502166" y="59348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DBD136C4-820E-4184-B91F-ED5B5690DC24}"/>
                </a:ext>
              </a:extLst>
            </p:cNvPr>
            <p:cNvSpPr/>
            <p:nvPr/>
          </p:nvSpPr>
          <p:spPr>
            <a:xfrm rot="8716295">
              <a:off x="457316" y="50720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8BD8CCA9-A2C8-4634-B0CF-620A635CE67A}"/>
                </a:ext>
              </a:extLst>
            </p:cNvPr>
            <p:cNvSpPr/>
            <p:nvPr/>
          </p:nvSpPr>
          <p:spPr>
            <a:xfrm rot="8716295">
              <a:off x="300540" y="65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33B24AF7-29F7-4408-AE25-97A38660E784}"/>
                </a:ext>
              </a:extLst>
            </p:cNvPr>
            <p:cNvSpPr/>
            <p:nvPr/>
          </p:nvSpPr>
          <p:spPr>
            <a:xfrm rot="8716295">
              <a:off x="175637" y="44411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506A4C62-4148-4841-838F-A205F53AD573}"/>
                </a:ext>
              </a:extLst>
            </p:cNvPr>
            <p:cNvSpPr/>
            <p:nvPr/>
          </p:nvSpPr>
          <p:spPr>
            <a:xfrm rot="8716295">
              <a:off x="163585" y="30533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1C1A41D0-65C3-44E5-8A29-ECCEBE983C62}"/>
                </a:ext>
              </a:extLst>
            </p:cNvPr>
            <p:cNvSpPr/>
            <p:nvPr/>
          </p:nvSpPr>
          <p:spPr>
            <a:xfrm rot="8716295">
              <a:off x="390718" y="69374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A93B008E-5902-4D55-9E1E-85F07149CD35}"/>
                </a:ext>
              </a:extLst>
            </p:cNvPr>
            <p:cNvSpPr/>
            <p:nvPr/>
          </p:nvSpPr>
          <p:spPr>
            <a:xfrm rot="8716295">
              <a:off x="702015" y="317459"/>
              <a:ext cx="131260" cy="232388"/>
            </a:xfrm>
            <a:custGeom>
              <a:avLst/>
              <a:gdLst>
                <a:gd name="connsiteX0" fmla="*/ 70201 w 131260"/>
                <a:gd name="connsiteY0" fmla="*/ 232388 h 232388"/>
                <a:gd name="connsiteX1" fmla="*/ 70201 w 131260"/>
                <a:gd name="connsiteY1" fmla="*/ 69717 h 232388"/>
                <a:gd name="connsiteX2" fmla="*/ 70201 w 131260"/>
                <a:gd name="connsiteY2" fmla="*/ 65615 h 232388"/>
                <a:gd name="connsiteX3" fmla="*/ 49697 w 131260"/>
                <a:gd name="connsiteY3" fmla="*/ 50123 h 232388"/>
                <a:gd name="connsiteX4" fmla="*/ 0 w 131260"/>
                <a:gd name="connsiteY4" fmla="*/ 50123 h 232388"/>
                <a:gd name="connsiteX5" fmla="*/ 41457 w 131260"/>
                <a:gd name="connsiteY5" fmla="*/ 0 h 232388"/>
                <a:gd name="connsiteX6" fmla="*/ 74303 w 131260"/>
                <a:gd name="connsiteY6" fmla="*/ 0 h 232388"/>
                <a:gd name="connsiteX7" fmla="*/ 131260 w 131260"/>
                <a:gd name="connsiteY7" fmla="*/ 50123 h 232388"/>
                <a:gd name="connsiteX8" fmla="*/ 131260 w 131260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1260" h="232388">
                  <a:moveTo>
                    <a:pt x="70201" y="232388"/>
                  </a:moveTo>
                  <a:lnTo>
                    <a:pt x="70201" y="69717"/>
                  </a:lnTo>
                  <a:cubicBezTo>
                    <a:pt x="70201" y="68349"/>
                    <a:pt x="70201" y="66983"/>
                    <a:pt x="70201" y="65615"/>
                  </a:cubicBezTo>
                  <a:cubicBezTo>
                    <a:pt x="68835" y="55591"/>
                    <a:pt x="59721" y="48756"/>
                    <a:pt x="49697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74303" y="0"/>
                  </a:lnTo>
                  <a:cubicBezTo>
                    <a:pt x="111211" y="0"/>
                    <a:pt x="131260" y="15948"/>
                    <a:pt x="131260" y="50123"/>
                  </a:cubicBezTo>
                  <a:lnTo>
                    <a:pt x="131260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8AA688E0-8B68-432D-AC4C-16B34E3E659F}"/>
                </a:ext>
              </a:extLst>
            </p:cNvPr>
            <p:cNvSpPr/>
            <p:nvPr/>
          </p:nvSpPr>
          <p:spPr>
            <a:xfrm rot="8716295">
              <a:off x="834978" y="558357"/>
              <a:ext cx="24341" cy="23495"/>
            </a:xfrm>
            <a:custGeom>
              <a:avLst/>
              <a:gdLst>
                <a:gd name="connsiteX0" fmla="*/ 0 w 24341"/>
                <a:gd name="connsiteY0" fmla="*/ 23495 h 23495"/>
                <a:gd name="connsiteX1" fmla="*/ 19433 w 24341"/>
                <a:gd name="connsiteY1" fmla="*/ 0 h 23495"/>
                <a:gd name="connsiteX2" fmla="*/ 24341 w 24341"/>
                <a:gd name="connsiteY2" fmla="*/ 16139 h 23495"/>
                <a:gd name="connsiteX3" fmla="*/ 24341 w 24341"/>
                <a:gd name="connsiteY3" fmla="*/ 22063 h 23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41" h="23495">
                  <a:moveTo>
                    <a:pt x="0" y="23495"/>
                  </a:moveTo>
                  <a:lnTo>
                    <a:pt x="19433" y="0"/>
                  </a:lnTo>
                  <a:lnTo>
                    <a:pt x="24341" y="16139"/>
                  </a:lnTo>
                  <a:lnTo>
                    <a:pt x="24341" y="220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672AA540-A579-4E8F-A234-CD30C1FF0A89}"/>
                </a:ext>
              </a:extLst>
            </p:cNvPr>
            <p:cNvSpPr/>
            <p:nvPr/>
          </p:nvSpPr>
          <p:spPr>
            <a:xfrm rot="8716295">
              <a:off x="589639" y="40263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C0BAD361-E55B-42F0-893F-014DB3986A10}"/>
                </a:ext>
              </a:extLst>
            </p:cNvPr>
            <p:cNvSpPr/>
            <p:nvPr/>
          </p:nvSpPr>
          <p:spPr>
            <a:xfrm rot="8716295">
              <a:off x="464737" y="19396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C7776BC0-23C7-4489-8F09-E129A530C0CC}"/>
                </a:ext>
              </a:extLst>
            </p:cNvPr>
            <p:cNvSpPr/>
            <p:nvPr/>
          </p:nvSpPr>
          <p:spPr>
            <a:xfrm rot="8716295">
              <a:off x="679817" y="44358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6EC00833-27CA-42E8-A3F4-264B72DC896E}"/>
                </a:ext>
              </a:extLst>
            </p:cNvPr>
            <p:cNvSpPr/>
            <p:nvPr/>
          </p:nvSpPr>
          <p:spPr>
            <a:xfrm rot="8716295">
              <a:off x="438366" y="29398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1FD6DD85-FCBC-4AED-9D6D-4125AB918B1C}"/>
                </a:ext>
              </a:extLst>
            </p:cNvPr>
            <p:cNvSpPr/>
            <p:nvPr/>
          </p:nvSpPr>
          <p:spPr>
            <a:xfrm rot="7484129">
              <a:off x="811674" y="658874"/>
              <a:ext cx="31078" cy="46141"/>
            </a:xfrm>
            <a:custGeom>
              <a:avLst/>
              <a:gdLst>
                <a:gd name="connsiteX0" fmla="*/ 15207 w 31078"/>
                <a:gd name="connsiteY0" fmla="*/ 46141 h 46141"/>
                <a:gd name="connsiteX1" fmla="*/ 0 w 31078"/>
                <a:gd name="connsiteY1" fmla="*/ 17849 h 46141"/>
                <a:gd name="connsiteX2" fmla="*/ 31078 w 31078"/>
                <a:gd name="connsiteY2" fmla="*/ 0 h 46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078" h="46141">
                  <a:moveTo>
                    <a:pt x="15207" y="46141"/>
                  </a:moveTo>
                  <a:lnTo>
                    <a:pt x="0" y="17849"/>
                  </a:lnTo>
                  <a:lnTo>
                    <a:pt x="3107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ED8E04A5-1CCB-474C-BB14-6861F24B92EE}"/>
                </a:ext>
              </a:extLst>
            </p:cNvPr>
            <p:cNvSpPr/>
            <p:nvPr/>
          </p:nvSpPr>
          <p:spPr>
            <a:xfrm rot="8716295">
              <a:off x="780102" y="336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D2589E01-70DB-4980-9D5E-15028C3BF442}"/>
                </a:ext>
              </a:extLst>
            </p:cNvPr>
            <p:cNvSpPr/>
            <p:nvPr/>
          </p:nvSpPr>
          <p:spPr>
            <a:xfrm rot="8716295">
              <a:off x="202348" y="-57106"/>
              <a:ext cx="142167" cy="186494"/>
            </a:xfrm>
            <a:custGeom>
              <a:avLst/>
              <a:gdLst>
                <a:gd name="connsiteX0" fmla="*/ 142167 w 142167"/>
                <a:gd name="connsiteY0" fmla="*/ 186494 h 186494"/>
                <a:gd name="connsiteX1" fmla="*/ 81108 w 142167"/>
                <a:gd name="connsiteY1" fmla="*/ 144170 h 186494"/>
                <a:gd name="connsiteX2" fmla="*/ 81108 w 142167"/>
                <a:gd name="connsiteY2" fmla="*/ 69717 h 186494"/>
                <a:gd name="connsiteX3" fmla="*/ 81108 w 142167"/>
                <a:gd name="connsiteY3" fmla="*/ 65615 h 186494"/>
                <a:gd name="connsiteX4" fmla="*/ 60603 w 142167"/>
                <a:gd name="connsiteY4" fmla="*/ 50123 h 186494"/>
                <a:gd name="connsiteX5" fmla="*/ 0 w 142167"/>
                <a:gd name="connsiteY5" fmla="*/ 50123 h 186494"/>
                <a:gd name="connsiteX6" fmla="*/ 0 w 142167"/>
                <a:gd name="connsiteY6" fmla="*/ 0 h 186494"/>
                <a:gd name="connsiteX7" fmla="*/ 85209 w 142167"/>
                <a:gd name="connsiteY7" fmla="*/ 0 h 186494"/>
                <a:gd name="connsiteX8" fmla="*/ 142167 w 142167"/>
                <a:gd name="connsiteY8" fmla="*/ 50123 h 186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86494">
                  <a:moveTo>
                    <a:pt x="142167" y="186494"/>
                  </a:moveTo>
                  <a:lnTo>
                    <a:pt x="81108" y="144170"/>
                  </a:lnTo>
                  <a:lnTo>
                    <a:pt x="81108" y="69717"/>
                  </a:lnTo>
                  <a:cubicBezTo>
                    <a:pt x="81108" y="68349"/>
                    <a:pt x="81108" y="66983"/>
                    <a:pt x="81108" y="65615"/>
                  </a:cubicBezTo>
                  <a:cubicBezTo>
                    <a:pt x="79741" y="55591"/>
                    <a:pt x="70628" y="48756"/>
                    <a:pt x="60603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2AEF8F7A-52DD-4323-9058-8F5D8BF7C257}"/>
                </a:ext>
              </a:extLst>
            </p:cNvPr>
            <p:cNvSpPr/>
            <p:nvPr/>
          </p:nvSpPr>
          <p:spPr>
            <a:xfrm rot="8716295">
              <a:off x="298766" y="-5395"/>
              <a:ext cx="260639" cy="180054"/>
            </a:xfrm>
            <a:custGeom>
              <a:avLst/>
              <a:gdLst>
                <a:gd name="connsiteX0" fmla="*/ 111638 w 260639"/>
                <a:gd name="connsiteY0" fmla="*/ 180054 h 180054"/>
                <a:gd name="connsiteX1" fmla="*/ 51490 w 260639"/>
                <a:gd name="connsiteY1" fmla="*/ 138362 h 180054"/>
                <a:gd name="connsiteX2" fmla="*/ 51490 w 260639"/>
                <a:gd name="connsiteY2" fmla="*/ 45624 h 180054"/>
                <a:gd name="connsiteX3" fmla="*/ 0 w 260639"/>
                <a:gd name="connsiteY3" fmla="*/ 45624 h 180054"/>
                <a:gd name="connsiteX4" fmla="*/ 0 w 260639"/>
                <a:gd name="connsiteY4" fmla="*/ 1425 h 180054"/>
                <a:gd name="connsiteX5" fmla="*/ 104802 w 260639"/>
                <a:gd name="connsiteY5" fmla="*/ 1425 h 180054"/>
                <a:gd name="connsiteX6" fmla="*/ 104802 w 260639"/>
                <a:gd name="connsiteY6" fmla="*/ 75242 h 180054"/>
                <a:gd name="connsiteX7" fmla="*/ 106169 w 260639"/>
                <a:gd name="connsiteY7" fmla="*/ 75242 h 180054"/>
                <a:gd name="connsiteX8" fmla="*/ 154014 w 260639"/>
                <a:gd name="connsiteY8" fmla="*/ 5981 h 180054"/>
                <a:gd name="connsiteX9" fmla="*/ 185455 w 260639"/>
                <a:gd name="connsiteY9" fmla="*/ 57 h 180054"/>
                <a:gd name="connsiteX10" fmla="*/ 260639 w 260639"/>
                <a:gd name="connsiteY10" fmla="*/ 88456 h 180054"/>
                <a:gd name="connsiteX11" fmla="*/ 260639 w 260639"/>
                <a:gd name="connsiteY11" fmla="*/ 94380 h 180054"/>
                <a:gd name="connsiteX12" fmla="*/ 198669 w 260639"/>
                <a:gd name="connsiteY12" fmla="*/ 98025 h 180054"/>
                <a:gd name="connsiteX13" fmla="*/ 198669 w 260639"/>
                <a:gd name="connsiteY13" fmla="*/ 81621 h 180054"/>
                <a:gd name="connsiteX14" fmla="*/ 164950 w 260639"/>
                <a:gd name="connsiteY14" fmla="*/ 40156 h 180054"/>
                <a:gd name="connsiteX15" fmla="*/ 111638 w 260639"/>
                <a:gd name="connsiteY15" fmla="*/ 127643 h 180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0639" h="180054">
                  <a:moveTo>
                    <a:pt x="111638" y="180054"/>
                  </a:moveTo>
                  <a:lnTo>
                    <a:pt x="51490" y="138362"/>
                  </a:ln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4EA5F182-B436-49C8-8170-C1AD6D2F32D5}"/>
                </a:ext>
              </a:extLst>
            </p:cNvPr>
            <p:cNvSpPr/>
            <p:nvPr/>
          </p:nvSpPr>
          <p:spPr>
            <a:xfrm rot="8716295">
              <a:off x="276903" y="-12823"/>
              <a:ext cx="36272" cy="27982"/>
            </a:xfrm>
            <a:custGeom>
              <a:avLst/>
              <a:gdLst>
                <a:gd name="connsiteX0" fmla="*/ 36272 w 36272"/>
                <a:gd name="connsiteY0" fmla="*/ 27982 h 27982"/>
                <a:gd name="connsiteX1" fmla="*/ 0 w 36272"/>
                <a:gd name="connsiteY1" fmla="*/ 2840 h 27982"/>
                <a:gd name="connsiteX2" fmla="*/ 9543 w 36272"/>
                <a:gd name="connsiteY2" fmla="*/ 0 h 27982"/>
                <a:gd name="connsiteX3" fmla="*/ 31871 w 36272"/>
                <a:gd name="connsiteY3" fmla="*/ 11392 h 27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272" h="27982">
                  <a:moveTo>
                    <a:pt x="36272" y="27982"/>
                  </a:moveTo>
                  <a:lnTo>
                    <a:pt x="0" y="2840"/>
                  </a:lnTo>
                  <a:lnTo>
                    <a:pt x="9543" y="0"/>
                  </a:lnTo>
                  <a:cubicBezTo>
                    <a:pt x="20479" y="0"/>
                    <a:pt x="27542" y="4784"/>
                    <a:pt x="31871" y="113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F421218E-0235-4F72-A3A0-C0DE2686EE65}"/>
                </a:ext>
              </a:extLst>
            </p:cNvPr>
            <p:cNvSpPr/>
            <p:nvPr/>
          </p:nvSpPr>
          <p:spPr>
            <a:xfrm rot="8716295">
              <a:off x="74640" y="-9665"/>
              <a:ext cx="58068" cy="54772"/>
            </a:xfrm>
            <a:custGeom>
              <a:avLst/>
              <a:gdLst>
                <a:gd name="connsiteX0" fmla="*/ 37436 w 58068"/>
                <a:gd name="connsiteY0" fmla="*/ 54772 h 54772"/>
                <a:gd name="connsiteX1" fmla="*/ 0 w 58068"/>
                <a:gd name="connsiteY1" fmla="*/ 28823 h 54772"/>
                <a:gd name="connsiteX2" fmla="*/ 8515 w 58068"/>
                <a:gd name="connsiteY2" fmla="*/ 8658 h 54772"/>
                <a:gd name="connsiteX3" fmla="*/ 29020 w 58068"/>
                <a:gd name="connsiteY3" fmla="*/ 0 h 54772"/>
                <a:gd name="connsiteX4" fmla="*/ 49525 w 58068"/>
                <a:gd name="connsiteY4" fmla="*/ 8658 h 54772"/>
                <a:gd name="connsiteX5" fmla="*/ 49525 w 58068"/>
                <a:gd name="connsiteY5" fmla="*/ 49668 h 5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068" h="54772">
                  <a:moveTo>
                    <a:pt x="37436" y="54772"/>
                  </a:moveTo>
                  <a:lnTo>
                    <a:pt x="0" y="28823"/>
                  </a:lnTo>
                  <a:lnTo>
                    <a:pt x="8515" y="8658"/>
                  </a:lnTo>
                  <a:cubicBezTo>
                    <a:pt x="13983" y="3190"/>
                    <a:pt x="21273" y="0"/>
                    <a:pt x="29020" y="0"/>
                  </a:cubicBezTo>
                  <a:cubicBezTo>
                    <a:pt x="36766" y="0"/>
                    <a:pt x="44057" y="3190"/>
                    <a:pt x="49525" y="8658"/>
                  </a:cubicBezTo>
                  <a:cubicBezTo>
                    <a:pt x="60916" y="19594"/>
                    <a:pt x="60916" y="38276"/>
                    <a:pt x="49525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CE77A4A5-0ECD-4D80-A03D-A10DC965EA39}"/>
                </a:ext>
              </a:extLst>
            </p:cNvPr>
            <p:cNvSpPr/>
            <p:nvPr/>
          </p:nvSpPr>
          <p:spPr>
            <a:xfrm rot="8716295">
              <a:off x="13802" y="-10406"/>
              <a:ext cx="30027" cy="20814"/>
            </a:xfrm>
            <a:custGeom>
              <a:avLst/>
              <a:gdLst>
                <a:gd name="connsiteX0" fmla="*/ 30027 w 30027"/>
                <a:gd name="connsiteY0" fmla="*/ 20814 h 20814"/>
                <a:gd name="connsiteX1" fmla="*/ 0 w 30027"/>
                <a:gd name="connsiteY1" fmla="*/ 0 h 20814"/>
                <a:gd name="connsiteX2" fmla="*/ 30027 w 30027"/>
                <a:gd name="connsiteY2" fmla="*/ 0 h 20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027" h="20814">
                  <a:moveTo>
                    <a:pt x="30027" y="20814"/>
                  </a:moveTo>
                  <a:lnTo>
                    <a:pt x="0" y="0"/>
                  </a:lnTo>
                  <a:lnTo>
                    <a:pt x="3002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403799C4-A408-4325-A92C-9E809B8BB4D4}"/>
                </a:ext>
              </a:extLst>
            </p:cNvPr>
            <p:cNvSpPr/>
            <p:nvPr/>
          </p:nvSpPr>
          <p:spPr>
            <a:xfrm rot="8716295">
              <a:off x="168048" y="3032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01FB23B7-9B20-4D2E-83CD-6A7A68C9BDC4}"/>
                </a:ext>
              </a:extLst>
            </p:cNvPr>
            <p:cNvSpPr/>
            <p:nvPr/>
          </p:nvSpPr>
          <p:spPr>
            <a:xfrm rot="7484129">
              <a:off x="562078" y="-284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ACF32F9A-0344-4E5B-A601-5E2A5DCEE676}"/>
                </a:ext>
              </a:extLst>
            </p:cNvPr>
            <p:cNvSpPr/>
            <p:nvPr/>
          </p:nvSpPr>
          <p:spPr>
            <a:xfrm rot="13089394">
              <a:off x="767127" y="-2787"/>
              <a:ext cx="149688" cy="301067"/>
            </a:xfrm>
            <a:custGeom>
              <a:avLst/>
              <a:gdLst>
                <a:gd name="connsiteX0" fmla="*/ 149688 w 149688"/>
                <a:gd name="connsiteY0" fmla="*/ 279622 h 301067"/>
                <a:gd name="connsiteX1" fmla="*/ 122393 w 149688"/>
                <a:gd name="connsiteY1" fmla="*/ 301067 h 301067"/>
                <a:gd name="connsiteX2" fmla="*/ 0 w 149688"/>
                <a:gd name="connsiteY2" fmla="*/ 114672 h 301067"/>
                <a:gd name="connsiteX3" fmla="*/ 0 w 149688"/>
                <a:gd name="connsiteY3" fmla="*/ 38074 h 301067"/>
                <a:gd name="connsiteX4" fmla="*/ 73388 w 149688"/>
                <a:gd name="connsiteY4" fmla="*/ 0 h 301067"/>
                <a:gd name="connsiteX5" fmla="*/ 74492 w 149688"/>
                <a:gd name="connsiteY5" fmla="*/ 153950 h 301067"/>
                <a:gd name="connsiteX6" fmla="*/ 87734 w 149688"/>
                <a:gd name="connsiteY6" fmla="*/ 245547 h 301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9688" h="301067">
                  <a:moveTo>
                    <a:pt x="149688" y="279622"/>
                  </a:moveTo>
                  <a:lnTo>
                    <a:pt x="122393" y="301067"/>
                  </a:lnTo>
                  <a:lnTo>
                    <a:pt x="0" y="114672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2836" y="184850"/>
                    <a:pt x="77802" y="216302"/>
                    <a:pt x="87734" y="2455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9B540A9C-752F-4966-AE11-E0DA13D5676A}"/>
                </a:ext>
              </a:extLst>
            </p:cNvPr>
            <p:cNvSpPr/>
            <p:nvPr/>
          </p:nvSpPr>
          <p:spPr>
            <a:xfrm rot="8716295">
              <a:off x="212141" y="304502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27352092-3B53-44B3-ABC2-E6A268F28524}"/>
                </a:ext>
              </a:extLst>
            </p:cNvPr>
            <p:cNvSpPr/>
            <p:nvPr/>
          </p:nvSpPr>
          <p:spPr>
            <a:xfrm rot="8716295">
              <a:off x="301533" y="307427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1A1EEC7B-8896-4B95-9A1A-B0F21E6748C1}"/>
                </a:ext>
              </a:extLst>
            </p:cNvPr>
            <p:cNvSpPr/>
            <p:nvPr/>
          </p:nvSpPr>
          <p:spPr>
            <a:xfrm rot="8716295">
              <a:off x="256683" y="298799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4FA7D1EC-A217-4326-8F37-649F5ADE83EB}"/>
                </a:ext>
              </a:extLst>
            </p:cNvPr>
            <p:cNvSpPr/>
            <p:nvPr/>
          </p:nvSpPr>
          <p:spPr>
            <a:xfrm rot="8716295">
              <a:off x="99907" y="31335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33C99497-0B48-43C7-BD1A-0279E44CA612}"/>
                </a:ext>
              </a:extLst>
            </p:cNvPr>
            <p:cNvSpPr/>
            <p:nvPr/>
          </p:nvSpPr>
          <p:spPr>
            <a:xfrm rot="8716295">
              <a:off x="-24996" y="29248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A93858F0-0010-48FE-BF9C-AFE6080030D7}"/>
                </a:ext>
              </a:extLst>
            </p:cNvPr>
            <p:cNvSpPr/>
            <p:nvPr/>
          </p:nvSpPr>
          <p:spPr>
            <a:xfrm rot="8716295">
              <a:off x="51899" y="2754602"/>
              <a:ext cx="189488" cy="350829"/>
            </a:xfrm>
            <a:custGeom>
              <a:avLst/>
              <a:gdLst>
                <a:gd name="connsiteX0" fmla="*/ 25299 w 189488"/>
                <a:gd name="connsiteY0" fmla="*/ 321238 h 350829"/>
                <a:gd name="connsiteX1" fmla="*/ 0 w 189488"/>
                <a:gd name="connsiteY1" fmla="*/ 220042 h 350829"/>
                <a:gd name="connsiteX2" fmla="*/ 0 w 189488"/>
                <a:gd name="connsiteY2" fmla="*/ 40596 h 350829"/>
                <a:gd name="connsiteX3" fmla="*/ 78250 w 189488"/>
                <a:gd name="connsiteY3" fmla="*/ 0 h 350829"/>
                <a:gd name="connsiteX4" fmla="*/ 79427 w 189488"/>
                <a:gd name="connsiteY4" fmla="*/ 164149 h 350829"/>
                <a:gd name="connsiteX5" fmla="*/ 93547 w 189488"/>
                <a:gd name="connsiteY5" fmla="*/ 261815 h 350829"/>
                <a:gd name="connsiteX6" fmla="*/ 164148 w 189488"/>
                <a:gd name="connsiteY6" fmla="*/ 300646 h 350829"/>
                <a:gd name="connsiteX7" fmla="*/ 189488 w 189488"/>
                <a:gd name="connsiteY7" fmla="*/ 296141 h 350829"/>
                <a:gd name="connsiteX8" fmla="*/ 160617 w 189488"/>
                <a:gd name="connsiteY8" fmla="*/ 337791 h 350829"/>
                <a:gd name="connsiteX9" fmla="*/ 97666 w 189488"/>
                <a:gd name="connsiteY9" fmla="*/ 350655 h 350829"/>
                <a:gd name="connsiteX10" fmla="*/ 25299 w 189488"/>
                <a:gd name="connsiteY10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9488" h="350829">
                  <a:moveTo>
                    <a:pt x="25299" y="321238"/>
                  </a:moveTo>
                  <a:cubicBezTo>
                    <a:pt x="5295" y="301823"/>
                    <a:pt x="0" y="268286"/>
                    <a:pt x="0" y="220042"/>
                  </a:cubicBez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8" y="300646"/>
                  </a:cubicBezTo>
                  <a:lnTo>
                    <a:pt x="189488" y="296141"/>
                  </a:lnTo>
                  <a:lnTo>
                    <a:pt x="160617" y="337791"/>
                  </a:lnTo>
                  <a:lnTo>
                    <a:pt x="97666" y="350655"/>
                  </a:ln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CAFD1C73-118C-42A8-A6D1-F7527C0F98CE}"/>
                </a:ext>
              </a:extLst>
            </p:cNvPr>
            <p:cNvSpPr/>
            <p:nvPr/>
          </p:nvSpPr>
          <p:spPr>
            <a:xfrm rot="8716295">
              <a:off x="190085" y="317452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E7F4D18B-0BB2-451B-AA77-2B268E142A91}"/>
                </a:ext>
              </a:extLst>
            </p:cNvPr>
            <p:cNvSpPr/>
            <p:nvPr/>
          </p:nvSpPr>
          <p:spPr>
            <a:xfrm rot="8716295">
              <a:off x="502599" y="2802136"/>
              <a:ext cx="117588" cy="232388"/>
            </a:xfrm>
            <a:custGeom>
              <a:avLst/>
              <a:gdLst>
                <a:gd name="connsiteX0" fmla="*/ 56529 w 117588"/>
                <a:gd name="connsiteY0" fmla="*/ 232388 h 232388"/>
                <a:gd name="connsiteX1" fmla="*/ 56529 w 117588"/>
                <a:gd name="connsiteY1" fmla="*/ 69717 h 232388"/>
                <a:gd name="connsiteX2" fmla="*/ 56529 w 117588"/>
                <a:gd name="connsiteY2" fmla="*/ 65615 h 232388"/>
                <a:gd name="connsiteX3" fmla="*/ 36025 w 117588"/>
                <a:gd name="connsiteY3" fmla="*/ 50123 h 232388"/>
                <a:gd name="connsiteX4" fmla="*/ 0 w 117588"/>
                <a:gd name="connsiteY4" fmla="*/ 50123 h 232388"/>
                <a:gd name="connsiteX5" fmla="*/ 41458 w 117588"/>
                <a:gd name="connsiteY5" fmla="*/ 0 h 232388"/>
                <a:gd name="connsiteX6" fmla="*/ 60630 w 117588"/>
                <a:gd name="connsiteY6" fmla="*/ 0 h 232388"/>
                <a:gd name="connsiteX7" fmla="*/ 117588 w 117588"/>
                <a:gd name="connsiteY7" fmla="*/ 50123 h 232388"/>
                <a:gd name="connsiteX8" fmla="*/ 117588 w 117588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7588" h="232388">
                  <a:moveTo>
                    <a:pt x="56529" y="232388"/>
                  </a:moveTo>
                  <a:lnTo>
                    <a:pt x="56529" y="69717"/>
                  </a:lnTo>
                  <a:cubicBezTo>
                    <a:pt x="56529" y="68349"/>
                    <a:pt x="56529" y="66983"/>
                    <a:pt x="56529" y="65615"/>
                  </a:cubicBezTo>
                  <a:cubicBezTo>
                    <a:pt x="55163" y="55591"/>
                    <a:pt x="46049" y="48756"/>
                    <a:pt x="36025" y="50123"/>
                  </a:cubicBezTo>
                  <a:lnTo>
                    <a:pt x="0" y="50123"/>
                  </a:lnTo>
                  <a:lnTo>
                    <a:pt x="41458" y="0"/>
                  </a:lnTo>
                  <a:lnTo>
                    <a:pt x="60630" y="0"/>
                  </a:lnTo>
                  <a:cubicBezTo>
                    <a:pt x="97539" y="0"/>
                    <a:pt x="117588" y="15948"/>
                    <a:pt x="117588" y="50123"/>
                  </a:cubicBezTo>
                  <a:lnTo>
                    <a:pt x="117588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6F67DBA9-AD6C-4780-AA17-98BCE9381DC5}"/>
                </a:ext>
              </a:extLst>
            </p:cNvPr>
            <p:cNvSpPr/>
            <p:nvPr/>
          </p:nvSpPr>
          <p:spPr>
            <a:xfrm rot="8716295">
              <a:off x="389006" y="2883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60CE2A9A-219E-42C9-9F53-FED763C7A971}"/>
                </a:ext>
              </a:extLst>
            </p:cNvPr>
            <p:cNvSpPr/>
            <p:nvPr/>
          </p:nvSpPr>
          <p:spPr>
            <a:xfrm rot="8716295">
              <a:off x="264104" y="267474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5F47A361-80F1-4C02-906B-845AB367B960}"/>
                </a:ext>
              </a:extLst>
            </p:cNvPr>
            <p:cNvSpPr/>
            <p:nvPr/>
          </p:nvSpPr>
          <p:spPr>
            <a:xfrm rot="8716295">
              <a:off x="479184" y="292437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2CC40EA3-7663-4B10-9112-24251EC60BEA}"/>
                </a:ext>
              </a:extLst>
            </p:cNvPr>
            <p:cNvSpPr/>
            <p:nvPr/>
          </p:nvSpPr>
          <p:spPr>
            <a:xfrm rot="8716295">
              <a:off x="237733" y="277477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96946020-930E-406D-ABEE-7096E7CB1426}"/>
                </a:ext>
              </a:extLst>
            </p:cNvPr>
            <p:cNvSpPr/>
            <p:nvPr/>
          </p:nvSpPr>
          <p:spPr>
            <a:xfrm rot="7484129">
              <a:off x="609980" y="3142825"/>
              <a:ext cx="20881" cy="31001"/>
            </a:xfrm>
            <a:custGeom>
              <a:avLst/>
              <a:gdLst>
                <a:gd name="connsiteX0" fmla="*/ 10218 w 20881"/>
                <a:gd name="connsiteY0" fmla="*/ 31001 h 31001"/>
                <a:gd name="connsiteX1" fmla="*/ 0 w 20881"/>
                <a:gd name="connsiteY1" fmla="*/ 11992 h 31001"/>
                <a:gd name="connsiteX2" fmla="*/ 20881 w 20881"/>
                <a:gd name="connsiteY2" fmla="*/ 0 h 31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881" h="31001">
                  <a:moveTo>
                    <a:pt x="10218" y="31001"/>
                  </a:moveTo>
                  <a:lnTo>
                    <a:pt x="0" y="11992"/>
                  </a:lnTo>
                  <a:lnTo>
                    <a:pt x="2088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9709EEED-4F73-41F3-A069-C965126CECA4}"/>
                </a:ext>
              </a:extLst>
            </p:cNvPr>
            <p:cNvSpPr/>
            <p:nvPr/>
          </p:nvSpPr>
          <p:spPr>
            <a:xfrm rot="8716295">
              <a:off x="579469" y="28172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AB7C8B58-13F0-4FCC-99DC-3B3AAD65E69B}"/>
                </a:ext>
              </a:extLst>
            </p:cNvPr>
            <p:cNvSpPr/>
            <p:nvPr/>
          </p:nvSpPr>
          <p:spPr>
            <a:xfrm rot="8716295">
              <a:off x="437995" y="3716235"/>
              <a:ext cx="102679" cy="232388"/>
            </a:xfrm>
            <a:custGeom>
              <a:avLst/>
              <a:gdLst>
                <a:gd name="connsiteX0" fmla="*/ 41620 w 102679"/>
                <a:gd name="connsiteY0" fmla="*/ 232388 h 232388"/>
                <a:gd name="connsiteX1" fmla="*/ 41620 w 102679"/>
                <a:gd name="connsiteY1" fmla="*/ 69717 h 232388"/>
                <a:gd name="connsiteX2" fmla="*/ 41620 w 102679"/>
                <a:gd name="connsiteY2" fmla="*/ 65615 h 232388"/>
                <a:gd name="connsiteX3" fmla="*/ 21116 w 102679"/>
                <a:gd name="connsiteY3" fmla="*/ 50123 h 232388"/>
                <a:gd name="connsiteX4" fmla="*/ 0 w 102679"/>
                <a:gd name="connsiteY4" fmla="*/ 50123 h 232388"/>
                <a:gd name="connsiteX5" fmla="*/ 41457 w 102679"/>
                <a:gd name="connsiteY5" fmla="*/ 0 h 232388"/>
                <a:gd name="connsiteX6" fmla="*/ 45721 w 102679"/>
                <a:gd name="connsiteY6" fmla="*/ 0 h 232388"/>
                <a:gd name="connsiteX7" fmla="*/ 102679 w 102679"/>
                <a:gd name="connsiteY7" fmla="*/ 50123 h 232388"/>
                <a:gd name="connsiteX8" fmla="*/ 102679 w 102679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2679" h="232388">
                  <a:moveTo>
                    <a:pt x="41620" y="232388"/>
                  </a:moveTo>
                  <a:lnTo>
                    <a:pt x="41620" y="69717"/>
                  </a:lnTo>
                  <a:cubicBezTo>
                    <a:pt x="41620" y="68349"/>
                    <a:pt x="41620" y="66983"/>
                    <a:pt x="41620" y="65615"/>
                  </a:cubicBezTo>
                  <a:cubicBezTo>
                    <a:pt x="40254" y="55591"/>
                    <a:pt x="31140" y="48756"/>
                    <a:pt x="21116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45721" y="0"/>
                  </a:lnTo>
                  <a:cubicBezTo>
                    <a:pt x="82630" y="0"/>
                    <a:pt x="102679" y="15948"/>
                    <a:pt x="102679" y="50123"/>
                  </a:cubicBezTo>
                  <a:lnTo>
                    <a:pt x="102679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9C4DC6CC-AFAA-4414-8BA6-D58CC891D657}"/>
                </a:ext>
              </a:extLst>
            </p:cNvPr>
            <p:cNvSpPr/>
            <p:nvPr/>
          </p:nvSpPr>
          <p:spPr>
            <a:xfrm rot="8716295">
              <a:off x="482715" y="3669965"/>
              <a:ext cx="154563" cy="124897"/>
            </a:xfrm>
            <a:custGeom>
              <a:avLst/>
              <a:gdLst>
                <a:gd name="connsiteX0" fmla="*/ 0 w 154563"/>
                <a:gd name="connsiteY0" fmla="*/ 124897 h 124897"/>
                <a:gd name="connsiteX1" fmla="*/ 95474 w 154563"/>
                <a:gd name="connsiteY1" fmla="*/ 9467 h 124897"/>
                <a:gd name="connsiteX2" fmla="*/ 96067 w 154563"/>
                <a:gd name="connsiteY2" fmla="*/ 9000 h 124897"/>
                <a:gd name="connsiteX3" fmla="*/ 126312 w 154563"/>
                <a:gd name="connsiteY3" fmla="*/ 0 h 124897"/>
                <a:gd name="connsiteX4" fmla="*/ 154563 w 154563"/>
                <a:gd name="connsiteY4" fmla="*/ 33719 h 124897"/>
                <a:gd name="connsiteX5" fmla="*/ 128135 w 154563"/>
                <a:gd name="connsiteY5" fmla="*/ 69261 h 124897"/>
                <a:gd name="connsiteX6" fmla="*/ 128590 w 154563"/>
                <a:gd name="connsiteY6" fmla="*/ 69261 h 12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4563" h="124897">
                  <a:moveTo>
                    <a:pt x="0" y="124897"/>
                  </a:moveTo>
                  <a:lnTo>
                    <a:pt x="95474" y="9467"/>
                  </a:lnTo>
                  <a:lnTo>
                    <a:pt x="96067" y="9000"/>
                  </a:lnTo>
                  <a:cubicBezTo>
                    <a:pt x="105351" y="4215"/>
                    <a:pt x="115604" y="1139"/>
                    <a:pt x="126312" y="0"/>
                  </a:cubicBezTo>
                  <a:cubicBezTo>
                    <a:pt x="148184" y="0"/>
                    <a:pt x="154563" y="19138"/>
                    <a:pt x="154563" y="33719"/>
                  </a:cubicBezTo>
                  <a:cubicBezTo>
                    <a:pt x="153196" y="49668"/>
                    <a:pt x="142715" y="62882"/>
                    <a:pt x="128135" y="69261"/>
                  </a:cubicBezTo>
                  <a:lnTo>
                    <a:pt x="128590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orme libre : forme 58">
              <a:extLst>
                <a:ext uri="{FF2B5EF4-FFF2-40B4-BE49-F238E27FC236}">
                  <a16:creationId xmlns:a16="http://schemas.microsoft.com/office/drawing/2014/main" id="{4EE0C0AC-519B-4FC6-8231-6D03F18E647C}"/>
                </a:ext>
              </a:extLst>
            </p:cNvPr>
            <p:cNvSpPr/>
            <p:nvPr/>
          </p:nvSpPr>
          <p:spPr>
            <a:xfrm rot="8716295">
              <a:off x="323074" y="379327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orme libre : forme 59">
              <a:extLst>
                <a:ext uri="{FF2B5EF4-FFF2-40B4-BE49-F238E27FC236}">
                  <a16:creationId xmlns:a16="http://schemas.microsoft.com/office/drawing/2014/main" id="{D6F59EA5-8316-4C20-AADC-7D706ECCBE6F}"/>
                </a:ext>
              </a:extLst>
            </p:cNvPr>
            <p:cNvSpPr/>
            <p:nvPr/>
          </p:nvSpPr>
          <p:spPr>
            <a:xfrm rot="8716295">
              <a:off x="198171" y="358459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orme libre : forme 60">
              <a:extLst>
                <a:ext uri="{FF2B5EF4-FFF2-40B4-BE49-F238E27FC236}">
                  <a16:creationId xmlns:a16="http://schemas.microsoft.com/office/drawing/2014/main" id="{B0440107-C1DF-4CF9-A961-BF836C4847FA}"/>
                </a:ext>
              </a:extLst>
            </p:cNvPr>
            <p:cNvSpPr/>
            <p:nvPr/>
          </p:nvSpPr>
          <p:spPr>
            <a:xfrm rot="8716295">
              <a:off x="186119" y="344581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orme libre : forme 61">
              <a:extLst>
                <a:ext uri="{FF2B5EF4-FFF2-40B4-BE49-F238E27FC236}">
                  <a16:creationId xmlns:a16="http://schemas.microsoft.com/office/drawing/2014/main" id="{FAD20847-20DA-4661-A963-D2C01E523D8E}"/>
                </a:ext>
              </a:extLst>
            </p:cNvPr>
            <p:cNvSpPr/>
            <p:nvPr/>
          </p:nvSpPr>
          <p:spPr>
            <a:xfrm rot="8716295">
              <a:off x="410218" y="3834716"/>
              <a:ext cx="103435" cy="219174"/>
            </a:xfrm>
            <a:custGeom>
              <a:avLst/>
              <a:gdLst>
                <a:gd name="connsiteX0" fmla="*/ 103435 w 103435"/>
                <a:gd name="connsiteY0" fmla="*/ 219174 h 219174"/>
                <a:gd name="connsiteX1" fmla="*/ 43288 w 103435"/>
                <a:gd name="connsiteY1" fmla="*/ 161305 h 219174"/>
                <a:gd name="connsiteX2" fmla="*/ 43288 w 103435"/>
                <a:gd name="connsiteY2" fmla="*/ 16404 h 219174"/>
                <a:gd name="connsiteX3" fmla="*/ 0 w 103435"/>
                <a:gd name="connsiteY3" fmla="*/ 16404 h 219174"/>
                <a:gd name="connsiteX4" fmla="*/ 0 w 103435"/>
                <a:gd name="connsiteY4" fmla="*/ 16028 h 219174"/>
                <a:gd name="connsiteX5" fmla="*/ 11583 w 103435"/>
                <a:gd name="connsiteY5" fmla="*/ 2023 h 219174"/>
                <a:gd name="connsiteX6" fmla="*/ 103435 w 103435"/>
                <a:gd name="connsiteY6" fmla="*/ 0 h 219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19174">
                  <a:moveTo>
                    <a:pt x="103435" y="219174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16028"/>
                  </a:lnTo>
                  <a:lnTo>
                    <a:pt x="11583" y="2023"/>
                  </a:lnTo>
                  <a:lnTo>
                    <a:pt x="10343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orme libre : forme 62">
              <a:extLst>
                <a:ext uri="{FF2B5EF4-FFF2-40B4-BE49-F238E27FC236}">
                  <a16:creationId xmlns:a16="http://schemas.microsoft.com/office/drawing/2014/main" id="{28D4D932-7CCD-4A1C-82BE-BDC6C863C34D}"/>
                </a:ext>
              </a:extLst>
            </p:cNvPr>
            <p:cNvSpPr/>
            <p:nvPr/>
          </p:nvSpPr>
          <p:spPr>
            <a:xfrm rot="8716295">
              <a:off x="487452" y="3349370"/>
              <a:ext cx="151162" cy="195873"/>
            </a:xfrm>
            <a:custGeom>
              <a:avLst/>
              <a:gdLst>
                <a:gd name="connsiteX0" fmla="*/ 38025 w 151162"/>
                <a:gd name="connsiteY0" fmla="*/ 195873 h 195873"/>
                <a:gd name="connsiteX1" fmla="*/ 0 w 151162"/>
                <a:gd name="connsiteY1" fmla="*/ 125130 h 195873"/>
                <a:gd name="connsiteX2" fmla="*/ 103497 w 151162"/>
                <a:gd name="connsiteY2" fmla="*/ 0 h 195873"/>
                <a:gd name="connsiteX3" fmla="*/ 151162 w 151162"/>
                <a:gd name="connsiteY3" fmla="*/ 0 h 195873"/>
                <a:gd name="connsiteX4" fmla="*/ 151162 w 151162"/>
                <a:gd name="connsiteY4" fmla="*/ 55323 h 195873"/>
                <a:gd name="connsiteX5" fmla="*/ 86370 w 151162"/>
                <a:gd name="connsiteY5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1162" h="195873">
                  <a:moveTo>
                    <a:pt x="38025" y="195873"/>
                  </a:moveTo>
                  <a:lnTo>
                    <a:pt x="0" y="125130"/>
                  </a:lnTo>
                  <a:lnTo>
                    <a:pt x="103497" y="0"/>
                  </a:lnTo>
                  <a:lnTo>
                    <a:pt x="151162" y="0"/>
                  </a:lnTo>
                  <a:lnTo>
                    <a:pt x="151162" y="55323"/>
                  </a:lnTo>
                  <a:lnTo>
                    <a:pt x="86370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orme libre : forme 63">
              <a:extLst>
                <a:ext uri="{FF2B5EF4-FFF2-40B4-BE49-F238E27FC236}">
                  <a16:creationId xmlns:a16="http://schemas.microsoft.com/office/drawing/2014/main" id="{CC6BD8CB-3AAF-4232-9DAB-6067219DB083}"/>
                </a:ext>
              </a:extLst>
            </p:cNvPr>
            <p:cNvSpPr/>
            <p:nvPr/>
          </p:nvSpPr>
          <p:spPr>
            <a:xfrm rot="8716295">
              <a:off x="460900" y="343447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orme libre : forme 64">
              <a:extLst>
                <a:ext uri="{FF2B5EF4-FFF2-40B4-BE49-F238E27FC236}">
                  <a16:creationId xmlns:a16="http://schemas.microsoft.com/office/drawing/2014/main" id="{C4402BE5-EFA1-455E-87AA-2CF0F2131AB9}"/>
                </a:ext>
              </a:extLst>
            </p:cNvPr>
            <p:cNvSpPr/>
            <p:nvPr/>
          </p:nvSpPr>
          <p:spPr>
            <a:xfrm rot="8716295">
              <a:off x="417336" y="4258920"/>
              <a:ext cx="147637" cy="195874"/>
            </a:xfrm>
            <a:custGeom>
              <a:avLst/>
              <a:gdLst>
                <a:gd name="connsiteX0" fmla="*/ 34500 w 147637"/>
                <a:gd name="connsiteY0" fmla="*/ 195874 h 195874"/>
                <a:gd name="connsiteX1" fmla="*/ 0 w 147637"/>
                <a:gd name="connsiteY1" fmla="*/ 131688 h 195874"/>
                <a:gd name="connsiteX2" fmla="*/ 108921 w 147637"/>
                <a:gd name="connsiteY2" fmla="*/ 0 h 195874"/>
                <a:gd name="connsiteX3" fmla="*/ 147637 w 147637"/>
                <a:gd name="connsiteY3" fmla="*/ 0 h 195874"/>
                <a:gd name="connsiteX4" fmla="*/ 147637 w 147637"/>
                <a:gd name="connsiteY4" fmla="*/ 55323 h 195874"/>
                <a:gd name="connsiteX5" fmla="*/ 82845 w 147637"/>
                <a:gd name="connsiteY5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7637" h="195874">
                  <a:moveTo>
                    <a:pt x="34500" y="195874"/>
                  </a:moveTo>
                  <a:lnTo>
                    <a:pt x="0" y="131688"/>
                  </a:lnTo>
                  <a:lnTo>
                    <a:pt x="108921" y="0"/>
                  </a:lnTo>
                  <a:lnTo>
                    <a:pt x="147637" y="0"/>
                  </a:lnTo>
                  <a:lnTo>
                    <a:pt x="147637" y="55323"/>
                  </a:lnTo>
                  <a:lnTo>
                    <a:pt x="8284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orme libre : forme 65">
              <a:extLst>
                <a:ext uri="{FF2B5EF4-FFF2-40B4-BE49-F238E27FC236}">
                  <a16:creationId xmlns:a16="http://schemas.microsoft.com/office/drawing/2014/main" id="{61A670F2-3CC6-425A-A67F-3F30EE51B04A}"/>
                </a:ext>
              </a:extLst>
            </p:cNvPr>
            <p:cNvSpPr/>
            <p:nvPr/>
          </p:nvSpPr>
          <p:spPr>
            <a:xfrm rot="8716295">
              <a:off x="330834" y="4134902"/>
              <a:ext cx="254613" cy="91157"/>
            </a:xfrm>
            <a:custGeom>
              <a:avLst/>
              <a:gdLst>
                <a:gd name="connsiteX0" fmla="*/ 0 w 254613"/>
                <a:gd name="connsiteY0" fmla="*/ 68911 h 91157"/>
                <a:gd name="connsiteX1" fmla="*/ 56997 w 254613"/>
                <a:gd name="connsiteY1" fmla="*/ 0 h 91157"/>
                <a:gd name="connsiteX2" fmla="*/ 57517 w 254613"/>
                <a:gd name="connsiteY2" fmla="*/ 2143 h 91157"/>
                <a:gd name="connsiteX3" fmla="*/ 128118 w 254613"/>
                <a:gd name="connsiteY3" fmla="*/ 40974 h 91157"/>
                <a:gd name="connsiteX4" fmla="*/ 181070 w 254613"/>
                <a:gd name="connsiteY4" fmla="*/ 31560 h 91157"/>
                <a:gd name="connsiteX5" fmla="*/ 253437 w 254613"/>
                <a:gd name="connsiteY5" fmla="*/ 2143 h 91157"/>
                <a:gd name="connsiteX6" fmla="*/ 254613 w 254613"/>
                <a:gd name="connsiteY6" fmla="*/ 9791 h 91157"/>
                <a:gd name="connsiteX7" fmla="*/ 254613 w 254613"/>
                <a:gd name="connsiteY7" fmla="*/ 15674 h 91157"/>
                <a:gd name="connsiteX8" fmla="*/ 61636 w 254613"/>
                <a:gd name="connsiteY8" fmla="*/ 90983 h 91157"/>
                <a:gd name="connsiteX9" fmla="*/ 22363 w 254613"/>
                <a:gd name="connsiteY9" fmla="*/ 84217 h 91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4613" h="91157">
                  <a:moveTo>
                    <a:pt x="0" y="68911"/>
                  </a:moveTo>
                  <a:lnTo>
                    <a:pt x="56997" y="0"/>
                  </a:lnTo>
                  <a:lnTo>
                    <a:pt x="57517" y="2143"/>
                  </a:lnTo>
                  <a:cubicBezTo>
                    <a:pt x="66931" y="28030"/>
                    <a:pt x="91053" y="40974"/>
                    <a:pt x="128118" y="40974"/>
                  </a:cubicBezTo>
                  <a:cubicBezTo>
                    <a:pt x="146357" y="40385"/>
                    <a:pt x="164008" y="36855"/>
                    <a:pt x="181070" y="31560"/>
                  </a:cubicBezTo>
                  <a:cubicBezTo>
                    <a:pt x="205780" y="23912"/>
                    <a:pt x="229903" y="13910"/>
                    <a:pt x="253437" y="2143"/>
                  </a:cubicBezTo>
                  <a:cubicBezTo>
                    <a:pt x="254025" y="4496"/>
                    <a:pt x="254613" y="7438"/>
                    <a:pt x="254613" y="9791"/>
                  </a:cubicBezTo>
                  <a:lnTo>
                    <a:pt x="254613" y="15674"/>
                  </a:lnTo>
                  <a:cubicBezTo>
                    <a:pt x="192249" y="69215"/>
                    <a:pt x="110468" y="88042"/>
                    <a:pt x="61636" y="90983"/>
                  </a:cubicBezTo>
                  <a:cubicBezTo>
                    <a:pt x="48104" y="91866"/>
                    <a:pt x="34719" y="89365"/>
                    <a:pt x="22363" y="842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orme libre : forme 66">
              <a:extLst>
                <a:ext uri="{FF2B5EF4-FFF2-40B4-BE49-F238E27FC236}">
                  <a16:creationId xmlns:a16="http://schemas.microsoft.com/office/drawing/2014/main" id="{8311F45B-46D1-4E93-B5FB-C96A0B131FB3}"/>
                </a:ext>
              </a:extLst>
            </p:cNvPr>
            <p:cNvSpPr/>
            <p:nvPr/>
          </p:nvSpPr>
          <p:spPr>
            <a:xfrm rot="8716295">
              <a:off x="-3428" y="2405990"/>
              <a:ext cx="142167" cy="208592"/>
            </a:xfrm>
            <a:custGeom>
              <a:avLst/>
              <a:gdLst>
                <a:gd name="connsiteX0" fmla="*/ 81108 w 142167"/>
                <a:gd name="connsiteY0" fmla="*/ 208592 h 208592"/>
                <a:gd name="connsiteX1" fmla="*/ 81108 w 142167"/>
                <a:gd name="connsiteY1" fmla="*/ 69717 h 208592"/>
                <a:gd name="connsiteX2" fmla="*/ 81108 w 142167"/>
                <a:gd name="connsiteY2" fmla="*/ 65615 h 208592"/>
                <a:gd name="connsiteX3" fmla="*/ 60604 w 142167"/>
                <a:gd name="connsiteY3" fmla="*/ 50123 h 208592"/>
                <a:gd name="connsiteX4" fmla="*/ 0 w 142167"/>
                <a:gd name="connsiteY4" fmla="*/ 50123 h 208592"/>
                <a:gd name="connsiteX5" fmla="*/ 0 w 142167"/>
                <a:gd name="connsiteY5" fmla="*/ 0 h 208592"/>
                <a:gd name="connsiteX6" fmla="*/ 85210 w 142167"/>
                <a:gd name="connsiteY6" fmla="*/ 0 h 208592"/>
                <a:gd name="connsiteX7" fmla="*/ 142167 w 142167"/>
                <a:gd name="connsiteY7" fmla="*/ 50123 h 208592"/>
                <a:gd name="connsiteX8" fmla="*/ 142167 w 142167"/>
                <a:gd name="connsiteY8" fmla="*/ 120504 h 20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08592">
                  <a:moveTo>
                    <a:pt x="81108" y="208592"/>
                  </a:moveTo>
                  <a:lnTo>
                    <a:pt x="81108" y="69717"/>
                  </a:lnTo>
                  <a:cubicBezTo>
                    <a:pt x="81108" y="68350"/>
                    <a:pt x="81108" y="66983"/>
                    <a:pt x="81108" y="65615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10" y="0"/>
                  </a:lnTo>
                  <a:cubicBezTo>
                    <a:pt x="122118" y="0"/>
                    <a:pt x="142167" y="15948"/>
                    <a:pt x="142167" y="50123"/>
                  </a:cubicBezTo>
                  <a:lnTo>
                    <a:pt x="142167" y="1205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FBB49843-79D6-49E9-8512-3ED8074BAF49}"/>
                </a:ext>
              </a:extLst>
            </p:cNvPr>
            <p:cNvSpPr/>
            <p:nvPr/>
          </p:nvSpPr>
          <p:spPr>
            <a:xfrm rot="8716295">
              <a:off x="80015" y="241329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orme libre : forme 68">
              <a:extLst>
                <a:ext uri="{FF2B5EF4-FFF2-40B4-BE49-F238E27FC236}">
                  <a16:creationId xmlns:a16="http://schemas.microsoft.com/office/drawing/2014/main" id="{2588E0D5-81C5-4973-87D7-DBF7607FAFF4}"/>
                </a:ext>
              </a:extLst>
            </p:cNvPr>
            <p:cNvSpPr/>
            <p:nvPr/>
          </p:nvSpPr>
          <p:spPr>
            <a:xfrm rot="8716295">
              <a:off x="35165" y="232701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orme libre : forme 69">
              <a:extLst>
                <a:ext uri="{FF2B5EF4-FFF2-40B4-BE49-F238E27FC236}">
                  <a16:creationId xmlns:a16="http://schemas.microsoft.com/office/drawing/2014/main" id="{4C19B60F-0DA9-4BC3-BAAD-2E7DE57F5376}"/>
                </a:ext>
              </a:extLst>
            </p:cNvPr>
            <p:cNvSpPr/>
            <p:nvPr/>
          </p:nvSpPr>
          <p:spPr>
            <a:xfrm rot="8716295">
              <a:off x="-20257" y="2217087"/>
              <a:ext cx="78731" cy="180665"/>
            </a:xfrm>
            <a:custGeom>
              <a:avLst/>
              <a:gdLst>
                <a:gd name="connsiteX0" fmla="*/ 0 w 78731"/>
                <a:gd name="connsiteY0" fmla="*/ 180665 h 180665"/>
                <a:gd name="connsiteX1" fmla="*/ 0 w 78731"/>
                <a:gd name="connsiteY1" fmla="*/ 40596 h 180665"/>
                <a:gd name="connsiteX2" fmla="*/ 78250 w 78731"/>
                <a:gd name="connsiteY2" fmla="*/ 0 h 180665"/>
                <a:gd name="connsiteX3" fmla="*/ 78731 w 78731"/>
                <a:gd name="connsiteY3" fmla="*/ 67083 h 180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731" h="180665">
                  <a:moveTo>
                    <a:pt x="0" y="180665"/>
                  </a:moveTo>
                  <a:lnTo>
                    <a:pt x="0" y="40596"/>
                  </a:lnTo>
                  <a:lnTo>
                    <a:pt x="78250" y="0"/>
                  </a:lnTo>
                  <a:lnTo>
                    <a:pt x="78731" y="670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orme libre : forme 70">
              <a:extLst>
                <a:ext uri="{FF2B5EF4-FFF2-40B4-BE49-F238E27FC236}">
                  <a16:creationId xmlns:a16="http://schemas.microsoft.com/office/drawing/2014/main" id="{6EC16758-5536-44AA-B18E-D5428BFF36DA}"/>
                </a:ext>
              </a:extLst>
            </p:cNvPr>
            <p:cNvSpPr/>
            <p:nvPr/>
          </p:nvSpPr>
          <p:spPr>
            <a:xfrm rot="8716295">
              <a:off x="-15341" y="2575209"/>
              <a:ext cx="103435" cy="152027"/>
            </a:xfrm>
            <a:custGeom>
              <a:avLst/>
              <a:gdLst>
                <a:gd name="connsiteX0" fmla="*/ 43288 w 103435"/>
                <a:gd name="connsiteY0" fmla="*/ 152027 h 152027"/>
                <a:gd name="connsiteX1" fmla="*/ 43288 w 103435"/>
                <a:gd name="connsiteY1" fmla="*/ 16404 h 152027"/>
                <a:gd name="connsiteX2" fmla="*/ 0 w 103435"/>
                <a:gd name="connsiteY2" fmla="*/ 16404 h 152027"/>
                <a:gd name="connsiteX3" fmla="*/ 0 w 103435"/>
                <a:gd name="connsiteY3" fmla="*/ 2278 h 152027"/>
                <a:gd name="connsiteX4" fmla="*/ 103435 w 103435"/>
                <a:gd name="connsiteY4" fmla="*/ 0 h 152027"/>
                <a:gd name="connsiteX5" fmla="*/ 103435 w 103435"/>
                <a:gd name="connsiteY5" fmla="*/ 65255 h 152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152027">
                  <a:moveTo>
                    <a:pt x="43288" y="152027"/>
                  </a:move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652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orme libre : forme 71">
              <a:extLst>
                <a:ext uri="{FF2B5EF4-FFF2-40B4-BE49-F238E27FC236}">
                  <a16:creationId xmlns:a16="http://schemas.microsoft.com/office/drawing/2014/main" id="{F8CD2FD6-8E29-4A7B-A6E7-A08269AC0224}"/>
                </a:ext>
              </a:extLst>
            </p:cNvPr>
            <p:cNvSpPr/>
            <p:nvPr/>
          </p:nvSpPr>
          <p:spPr>
            <a:xfrm rot="8716295">
              <a:off x="279722" y="21339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orme libre : forme 72">
              <a:extLst>
                <a:ext uri="{FF2B5EF4-FFF2-40B4-BE49-F238E27FC236}">
                  <a16:creationId xmlns:a16="http://schemas.microsoft.com/office/drawing/2014/main" id="{B8E4BE1C-C619-4E1A-8472-B00AFC43BA29}"/>
                </a:ext>
              </a:extLst>
            </p:cNvPr>
            <p:cNvSpPr/>
            <p:nvPr/>
          </p:nvSpPr>
          <p:spPr>
            <a:xfrm rot="8716295">
              <a:off x="369114" y="21631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" name="Forme libre : forme 73">
              <a:extLst>
                <a:ext uri="{FF2B5EF4-FFF2-40B4-BE49-F238E27FC236}">
                  <a16:creationId xmlns:a16="http://schemas.microsoft.com/office/drawing/2014/main" id="{E00D5309-AD7C-43C7-8A0B-B7211B97E879}"/>
                </a:ext>
              </a:extLst>
            </p:cNvPr>
            <p:cNvSpPr/>
            <p:nvPr/>
          </p:nvSpPr>
          <p:spPr>
            <a:xfrm rot="8716295">
              <a:off x="167488" y="22224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" name="Forme libre : forme 74">
              <a:extLst>
                <a:ext uri="{FF2B5EF4-FFF2-40B4-BE49-F238E27FC236}">
                  <a16:creationId xmlns:a16="http://schemas.microsoft.com/office/drawing/2014/main" id="{569B59A1-12B4-4886-9F85-B0AFCE236D87}"/>
                </a:ext>
              </a:extLst>
            </p:cNvPr>
            <p:cNvSpPr/>
            <p:nvPr/>
          </p:nvSpPr>
          <p:spPr>
            <a:xfrm rot="8716295">
              <a:off x="42586" y="20137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" name="Forme libre : forme 75">
              <a:extLst>
                <a:ext uri="{FF2B5EF4-FFF2-40B4-BE49-F238E27FC236}">
                  <a16:creationId xmlns:a16="http://schemas.microsoft.com/office/drawing/2014/main" id="{F564295A-16CC-45A5-86A1-4CEC6CD90425}"/>
                </a:ext>
              </a:extLst>
            </p:cNvPr>
            <p:cNvSpPr/>
            <p:nvPr/>
          </p:nvSpPr>
          <p:spPr>
            <a:xfrm rot="8716295">
              <a:off x="257666" y="226339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" name="Forme libre : forme 76">
              <a:extLst>
                <a:ext uri="{FF2B5EF4-FFF2-40B4-BE49-F238E27FC236}">
                  <a16:creationId xmlns:a16="http://schemas.microsoft.com/office/drawing/2014/main" id="{2384700C-00D8-4B4D-ABDF-BE0456A14505}"/>
                </a:ext>
              </a:extLst>
            </p:cNvPr>
            <p:cNvSpPr/>
            <p:nvPr/>
          </p:nvSpPr>
          <p:spPr>
            <a:xfrm rot="8716295">
              <a:off x="16215" y="211379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" name="Forme libre : forme 77">
              <a:extLst>
                <a:ext uri="{FF2B5EF4-FFF2-40B4-BE49-F238E27FC236}">
                  <a16:creationId xmlns:a16="http://schemas.microsoft.com/office/drawing/2014/main" id="{D8BA4606-ED26-402C-93D7-D77E55C056EF}"/>
                </a:ext>
              </a:extLst>
            </p:cNvPr>
            <p:cNvSpPr/>
            <p:nvPr/>
          </p:nvSpPr>
          <p:spPr>
            <a:xfrm rot="7484129">
              <a:off x="362597" y="245474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orme libre : forme 78">
              <a:extLst>
                <a:ext uri="{FF2B5EF4-FFF2-40B4-BE49-F238E27FC236}">
                  <a16:creationId xmlns:a16="http://schemas.microsoft.com/office/drawing/2014/main" id="{3CCE9711-ABFF-417D-B3E6-0BDB1263FCD1}"/>
                </a:ext>
              </a:extLst>
            </p:cNvPr>
            <p:cNvSpPr/>
            <p:nvPr/>
          </p:nvSpPr>
          <p:spPr>
            <a:xfrm rot="13089394">
              <a:off x="463440" y="2426400"/>
              <a:ext cx="272584" cy="319064"/>
            </a:xfrm>
            <a:custGeom>
              <a:avLst/>
              <a:gdLst>
                <a:gd name="connsiteX0" fmla="*/ 80445 w 272584"/>
                <a:gd name="connsiteY0" fmla="*/ 215518 h 319064"/>
                <a:gd name="connsiteX1" fmla="*/ 0 w 272584"/>
                <a:gd name="connsiteY1" fmla="*/ 93007 h 319064"/>
                <a:gd name="connsiteX2" fmla="*/ 0 w 272584"/>
                <a:gd name="connsiteY2" fmla="*/ 38074 h 319064"/>
                <a:gd name="connsiteX3" fmla="*/ 73388 w 272584"/>
                <a:gd name="connsiteY3" fmla="*/ 0 h 319064"/>
                <a:gd name="connsiteX4" fmla="*/ 74492 w 272584"/>
                <a:gd name="connsiteY4" fmla="*/ 153950 h 319064"/>
                <a:gd name="connsiteX5" fmla="*/ 76768 w 272584"/>
                <a:gd name="connsiteY5" fmla="*/ 200369 h 319064"/>
                <a:gd name="connsiteX6" fmla="*/ 272584 w 272584"/>
                <a:gd name="connsiteY6" fmla="*/ 258238 h 319064"/>
                <a:gd name="connsiteX7" fmla="*/ 177331 w 272584"/>
                <a:gd name="connsiteY7" fmla="*/ 311347 h 319064"/>
                <a:gd name="connsiteX8" fmla="*/ 148437 w 272584"/>
                <a:gd name="connsiteY8" fmla="*/ 319064 h 319064"/>
                <a:gd name="connsiteX9" fmla="*/ 119231 w 272584"/>
                <a:gd name="connsiteY9" fmla="*/ 274585 h 319064"/>
                <a:gd name="connsiteX10" fmla="*/ 153949 w 272584"/>
                <a:gd name="connsiteY10" fmla="*/ 281965 h 319064"/>
                <a:gd name="connsiteX11" fmla="*/ 203610 w 272584"/>
                <a:gd name="connsiteY11" fmla="*/ 273136 h 319064"/>
                <a:gd name="connsiteX12" fmla="*/ 271481 w 272584"/>
                <a:gd name="connsiteY12" fmla="*/ 245547 h 319064"/>
                <a:gd name="connsiteX13" fmla="*/ 272584 w 272584"/>
                <a:gd name="connsiteY13" fmla="*/ 252720 h 319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2584" h="319064">
                  <a:moveTo>
                    <a:pt x="80445" y="215518"/>
                  </a:moveTo>
                  <a:lnTo>
                    <a:pt x="0" y="93007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3664" y="169400"/>
                    <a:pt x="74492" y="184988"/>
                    <a:pt x="76768" y="200369"/>
                  </a:cubicBezTo>
                  <a:close/>
                  <a:moveTo>
                    <a:pt x="272584" y="258238"/>
                  </a:moveTo>
                  <a:cubicBezTo>
                    <a:pt x="243339" y="283344"/>
                    <a:pt x="209542" y="300312"/>
                    <a:pt x="177331" y="311347"/>
                  </a:cubicBezTo>
                  <a:lnTo>
                    <a:pt x="148437" y="319064"/>
                  </a:lnTo>
                  <a:lnTo>
                    <a:pt x="119231" y="274585"/>
                  </a:lnTo>
                  <a:lnTo>
                    <a:pt x="153949" y="281965"/>
                  </a:lnTo>
                  <a:cubicBezTo>
                    <a:pt x="171055" y="281413"/>
                    <a:pt x="187609" y="278102"/>
                    <a:pt x="203610" y="273136"/>
                  </a:cubicBezTo>
                  <a:cubicBezTo>
                    <a:pt x="226785" y="265963"/>
                    <a:pt x="249409" y="256583"/>
                    <a:pt x="271481" y="245547"/>
                  </a:cubicBezTo>
                  <a:cubicBezTo>
                    <a:pt x="272032" y="247754"/>
                    <a:pt x="272584" y="250513"/>
                    <a:pt x="272584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Forme libre : forme 79">
              <a:extLst>
                <a:ext uri="{FF2B5EF4-FFF2-40B4-BE49-F238E27FC236}">
                  <a16:creationId xmlns:a16="http://schemas.microsoft.com/office/drawing/2014/main" id="{6E12610B-6A34-4C00-8EC5-09F9F5AEEEF0}"/>
                </a:ext>
              </a:extLst>
            </p:cNvPr>
            <p:cNvSpPr/>
            <p:nvPr/>
          </p:nvSpPr>
          <p:spPr>
            <a:xfrm rot="8716295">
              <a:off x="675867" y="2357327"/>
              <a:ext cx="38012" cy="45752"/>
            </a:xfrm>
            <a:custGeom>
              <a:avLst/>
              <a:gdLst>
                <a:gd name="connsiteX0" fmla="*/ 0 w 38012"/>
                <a:gd name="connsiteY0" fmla="*/ 45752 h 45752"/>
                <a:gd name="connsiteX1" fmla="*/ 37842 w 38012"/>
                <a:gd name="connsiteY1" fmla="*/ 0 h 45752"/>
                <a:gd name="connsiteX2" fmla="*/ 38012 w 38012"/>
                <a:gd name="connsiteY2" fmla="*/ 641 h 45752"/>
                <a:gd name="connsiteX3" fmla="*/ 6841 w 38012"/>
                <a:gd name="connsiteY3" fmla="*/ 42560 h 45752"/>
                <a:gd name="connsiteX4" fmla="*/ 7378 w 38012"/>
                <a:gd name="connsiteY4" fmla="*/ 42560 h 45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012" h="45752">
                  <a:moveTo>
                    <a:pt x="0" y="45752"/>
                  </a:moveTo>
                  <a:lnTo>
                    <a:pt x="37842" y="0"/>
                  </a:lnTo>
                  <a:lnTo>
                    <a:pt x="38012" y="641"/>
                  </a:lnTo>
                  <a:cubicBezTo>
                    <a:pt x="36400" y="19451"/>
                    <a:pt x="24039" y="35036"/>
                    <a:pt x="6841" y="42560"/>
                  </a:cubicBezTo>
                  <a:lnTo>
                    <a:pt x="7378" y="425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" name="Forme libre : forme 80">
              <a:extLst>
                <a:ext uri="{FF2B5EF4-FFF2-40B4-BE49-F238E27FC236}">
                  <a16:creationId xmlns:a16="http://schemas.microsoft.com/office/drawing/2014/main" id="{04C60C27-7F84-4DDC-864F-602B18A26BC5}"/>
                </a:ext>
              </a:extLst>
            </p:cNvPr>
            <p:cNvSpPr/>
            <p:nvPr/>
          </p:nvSpPr>
          <p:spPr>
            <a:xfrm rot="8716295">
              <a:off x="601197" y="21260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orme libre : forme 81">
              <a:extLst>
                <a:ext uri="{FF2B5EF4-FFF2-40B4-BE49-F238E27FC236}">
                  <a16:creationId xmlns:a16="http://schemas.microsoft.com/office/drawing/2014/main" id="{603BCEF5-66FB-4B3A-9672-2C4F09A114FA}"/>
                </a:ext>
              </a:extLst>
            </p:cNvPr>
            <p:cNvSpPr/>
            <p:nvPr/>
          </p:nvSpPr>
          <p:spPr>
            <a:xfrm rot="8716295">
              <a:off x="357951" y="21562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Forme libre : forme 82">
              <a:extLst>
                <a:ext uri="{FF2B5EF4-FFF2-40B4-BE49-F238E27FC236}">
                  <a16:creationId xmlns:a16="http://schemas.microsoft.com/office/drawing/2014/main" id="{47C10671-5456-47FF-825A-4447688D4139}"/>
                </a:ext>
              </a:extLst>
            </p:cNvPr>
            <p:cNvSpPr/>
            <p:nvPr/>
          </p:nvSpPr>
          <p:spPr>
            <a:xfrm rot="8716295">
              <a:off x="535403" y="199698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4" name="Forme libre : forme 83">
              <a:extLst>
                <a:ext uri="{FF2B5EF4-FFF2-40B4-BE49-F238E27FC236}">
                  <a16:creationId xmlns:a16="http://schemas.microsoft.com/office/drawing/2014/main" id="{DB34C374-02D3-4583-9890-9C27CA821837}"/>
                </a:ext>
              </a:extLst>
            </p:cNvPr>
            <p:cNvSpPr/>
            <p:nvPr/>
          </p:nvSpPr>
          <p:spPr>
            <a:xfrm rot="8716295">
              <a:off x="-76043" y="1768178"/>
              <a:ext cx="197178" cy="215049"/>
            </a:xfrm>
            <a:custGeom>
              <a:avLst/>
              <a:gdLst>
                <a:gd name="connsiteX0" fmla="*/ 51490 w 197178"/>
                <a:gd name="connsiteY0" fmla="*/ 215049 h 215049"/>
                <a:gd name="connsiteX1" fmla="*/ 51490 w 197178"/>
                <a:gd name="connsiteY1" fmla="*/ 45624 h 215049"/>
                <a:gd name="connsiteX2" fmla="*/ 0 w 197178"/>
                <a:gd name="connsiteY2" fmla="*/ 45624 h 215049"/>
                <a:gd name="connsiteX3" fmla="*/ 0 w 197178"/>
                <a:gd name="connsiteY3" fmla="*/ 1424 h 215049"/>
                <a:gd name="connsiteX4" fmla="*/ 104803 w 197178"/>
                <a:gd name="connsiteY4" fmla="*/ 1425 h 215049"/>
                <a:gd name="connsiteX5" fmla="*/ 104803 w 197178"/>
                <a:gd name="connsiteY5" fmla="*/ 75242 h 215049"/>
                <a:gd name="connsiteX6" fmla="*/ 106169 w 197178"/>
                <a:gd name="connsiteY6" fmla="*/ 75242 h 215049"/>
                <a:gd name="connsiteX7" fmla="*/ 154014 w 197178"/>
                <a:gd name="connsiteY7" fmla="*/ 5981 h 215049"/>
                <a:gd name="connsiteX8" fmla="*/ 185455 w 197178"/>
                <a:gd name="connsiteY8" fmla="*/ 57 h 215049"/>
                <a:gd name="connsiteX9" fmla="*/ 197178 w 197178"/>
                <a:gd name="connsiteY9" fmla="*/ 4872 h 215049"/>
                <a:gd name="connsiteX10" fmla="*/ 170795 w 197178"/>
                <a:gd name="connsiteY10" fmla="*/ 42934 h 215049"/>
                <a:gd name="connsiteX11" fmla="*/ 164950 w 197178"/>
                <a:gd name="connsiteY11" fmla="*/ 40156 h 215049"/>
                <a:gd name="connsiteX12" fmla="*/ 111638 w 197178"/>
                <a:gd name="connsiteY12" fmla="*/ 127643 h 215049"/>
                <a:gd name="connsiteX13" fmla="*/ 111638 w 197178"/>
                <a:gd name="connsiteY13" fmla="*/ 128277 h 21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178" h="215049">
                  <a:moveTo>
                    <a:pt x="51490" y="215049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4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lnTo>
                    <a:pt x="197178" y="4872"/>
                  </a:lnTo>
                  <a:lnTo>
                    <a:pt x="170795" y="42934"/>
                  </a:lnTo>
                  <a:lnTo>
                    <a:pt x="164950" y="40156"/>
                  </a:ln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1282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5" name="Forme libre : forme 84">
              <a:extLst>
                <a:ext uri="{FF2B5EF4-FFF2-40B4-BE49-F238E27FC236}">
                  <a16:creationId xmlns:a16="http://schemas.microsoft.com/office/drawing/2014/main" id="{F27A5053-248B-4729-A180-CFD83FBA8C7D}"/>
                </a:ext>
              </a:extLst>
            </p:cNvPr>
            <p:cNvSpPr/>
            <p:nvPr/>
          </p:nvSpPr>
          <p:spPr>
            <a:xfrm rot="8716295">
              <a:off x="56555" y="14742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6" name="Forme libre : forme 85">
              <a:extLst>
                <a:ext uri="{FF2B5EF4-FFF2-40B4-BE49-F238E27FC236}">
                  <a16:creationId xmlns:a16="http://schemas.microsoft.com/office/drawing/2014/main" id="{9918622A-7E96-4EC8-A35B-CBCD19A79AE2}"/>
                </a:ext>
              </a:extLst>
            </p:cNvPr>
            <p:cNvSpPr/>
            <p:nvPr/>
          </p:nvSpPr>
          <p:spPr>
            <a:xfrm rot="8716295">
              <a:off x="145947" y="15034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7" name="Forme libre : forme 86">
              <a:extLst>
                <a:ext uri="{FF2B5EF4-FFF2-40B4-BE49-F238E27FC236}">
                  <a16:creationId xmlns:a16="http://schemas.microsoft.com/office/drawing/2014/main" id="{0ECD9757-2AFD-4623-9C3D-24E52F11F047}"/>
                </a:ext>
              </a:extLst>
            </p:cNvPr>
            <p:cNvSpPr/>
            <p:nvPr/>
          </p:nvSpPr>
          <p:spPr>
            <a:xfrm rot="8716295">
              <a:off x="-21870" y="1443501"/>
              <a:ext cx="68614" cy="55323"/>
            </a:xfrm>
            <a:custGeom>
              <a:avLst/>
              <a:gdLst>
                <a:gd name="connsiteX0" fmla="*/ 0 w 68614"/>
                <a:gd name="connsiteY0" fmla="*/ 55323 h 55323"/>
                <a:gd name="connsiteX1" fmla="*/ 0 w 68614"/>
                <a:gd name="connsiteY1" fmla="*/ 0 h 55323"/>
                <a:gd name="connsiteX2" fmla="*/ 68614 w 68614"/>
                <a:gd name="connsiteY2" fmla="*/ 0 h 55323"/>
                <a:gd name="connsiteX3" fmla="*/ 30266 w 68614"/>
                <a:gd name="connsiteY3" fmla="*/ 55323 h 55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614" h="55323">
                  <a:moveTo>
                    <a:pt x="0" y="55323"/>
                  </a:moveTo>
                  <a:lnTo>
                    <a:pt x="0" y="0"/>
                  </a:lnTo>
                  <a:lnTo>
                    <a:pt x="68614" y="0"/>
                  </a:lnTo>
                  <a:lnTo>
                    <a:pt x="30266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8" name="Forme libre : forme 87">
              <a:extLst>
                <a:ext uri="{FF2B5EF4-FFF2-40B4-BE49-F238E27FC236}">
                  <a16:creationId xmlns:a16="http://schemas.microsoft.com/office/drawing/2014/main" id="{661ED1FA-7FC0-427E-9226-6E31215700D9}"/>
                </a:ext>
              </a:extLst>
            </p:cNvPr>
            <p:cNvSpPr/>
            <p:nvPr/>
          </p:nvSpPr>
          <p:spPr>
            <a:xfrm rot="8716295">
              <a:off x="35817" y="1618109"/>
              <a:ext cx="103435" cy="203897"/>
            </a:xfrm>
            <a:custGeom>
              <a:avLst/>
              <a:gdLst>
                <a:gd name="connsiteX0" fmla="*/ 87556 w 103435"/>
                <a:gd name="connsiteY0" fmla="*/ 203897 h 203897"/>
                <a:gd name="connsiteX1" fmla="*/ 43288 w 103435"/>
                <a:gd name="connsiteY1" fmla="*/ 161305 h 203897"/>
                <a:gd name="connsiteX2" fmla="*/ 43288 w 103435"/>
                <a:gd name="connsiteY2" fmla="*/ 16404 h 203897"/>
                <a:gd name="connsiteX3" fmla="*/ 0 w 103435"/>
                <a:gd name="connsiteY3" fmla="*/ 16404 h 203897"/>
                <a:gd name="connsiteX4" fmla="*/ 0 w 103435"/>
                <a:gd name="connsiteY4" fmla="*/ 2278 h 203897"/>
                <a:gd name="connsiteX5" fmla="*/ 103435 w 103435"/>
                <a:gd name="connsiteY5" fmla="*/ 0 h 203897"/>
                <a:gd name="connsiteX6" fmla="*/ 103435 w 103435"/>
                <a:gd name="connsiteY6" fmla="*/ 180989 h 203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03897">
                  <a:moveTo>
                    <a:pt x="87556" y="203897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1809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9" name="Forme libre : forme 88">
              <a:extLst>
                <a:ext uri="{FF2B5EF4-FFF2-40B4-BE49-F238E27FC236}">
                  <a16:creationId xmlns:a16="http://schemas.microsoft.com/office/drawing/2014/main" id="{A1295F39-BDBB-432C-B32B-C5B551977FC2}"/>
                </a:ext>
              </a:extLst>
            </p:cNvPr>
            <p:cNvSpPr/>
            <p:nvPr/>
          </p:nvSpPr>
          <p:spPr>
            <a:xfrm rot="7484129">
              <a:off x="139430" y="17950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" name="Forme libre : forme 89">
              <a:extLst>
                <a:ext uri="{FF2B5EF4-FFF2-40B4-BE49-F238E27FC236}">
                  <a16:creationId xmlns:a16="http://schemas.microsoft.com/office/drawing/2014/main" id="{F2E91B5E-C359-4716-9781-DAEDAFFE884C}"/>
                </a:ext>
              </a:extLst>
            </p:cNvPr>
            <p:cNvSpPr/>
            <p:nvPr/>
          </p:nvSpPr>
          <p:spPr>
            <a:xfrm rot="13089394">
              <a:off x="244250" y="17615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" name="Forme libre : forme 90">
              <a:extLst>
                <a:ext uri="{FF2B5EF4-FFF2-40B4-BE49-F238E27FC236}">
                  <a16:creationId xmlns:a16="http://schemas.microsoft.com/office/drawing/2014/main" id="{4C9CCC26-5417-41E7-B753-3B7D59038FBD}"/>
                </a:ext>
              </a:extLst>
            </p:cNvPr>
            <p:cNvSpPr/>
            <p:nvPr/>
          </p:nvSpPr>
          <p:spPr>
            <a:xfrm rot="8716295">
              <a:off x="429835" y="15699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" name="Forme libre : forme 91">
              <a:extLst>
                <a:ext uri="{FF2B5EF4-FFF2-40B4-BE49-F238E27FC236}">
                  <a16:creationId xmlns:a16="http://schemas.microsoft.com/office/drawing/2014/main" id="{D6712892-AD9E-4694-AEF5-3D17C5AEEE1D}"/>
                </a:ext>
              </a:extLst>
            </p:cNvPr>
            <p:cNvSpPr/>
            <p:nvPr/>
          </p:nvSpPr>
          <p:spPr>
            <a:xfrm rot="8716295">
              <a:off x="378030" y="14663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" name="Forme libre : forme 92">
              <a:extLst>
                <a:ext uri="{FF2B5EF4-FFF2-40B4-BE49-F238E27FC236}">
                  <a16:creationId xmlns:a16="http://schemas.microsoft.com/office/drawing/2014/main" id="{8DA7EFED-D0A6-45D4-A875-2F1DCEFC57C8}"/>
                </a:ext>
              </a:extLst>
            </p:cNvPr>
            <p:cNvSpPr/>
            <p:nvPr/>
          </p:nvSpPr>
          <p:spPr>
            <a:xfrm rot="8716295">
              <a:off x="134784" y="14965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" name="Forme libre : forme 93">
              <a:extLst>
                <a:ext uri="{FF2B5EF4-FFF2-40B4-BE49-F238E27FC236}">
                  <a16:creationId xmlns:a16="http://schemas.microsoft.com/office/drawing/2014/main" id="{32971A81-1820-4964-A66E-2FD721A16F56}"/>
                </a:ext>
              </a:extLst>
            </p:cNvPr>
            <p:cNvSpPr/>
            <p:nvPr/>
          </p:nvSpPr>
          <p:spPr>
            <a:xfrm rot="8716295">
              <a:off x="312236" y="13372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orme libre : forme 94">
              <a:extLst>
                <a:ext uri="{FF2B5EF4-FFF2-40B4-BE49-F238E27FC236}">
                  <a16:creationId xmlns:a16="http://schemas.microsoft.com/office/drawing/2014/main" id="{BC42F9C8-99E7-4F04-B258-C142D2DE142F}"/>
                </a:ext>
              </a:extLst>
            </p:cNvPr>
            <p:cNvSpPr/>
            <p:nvPr/>
          </p:nvSpPr>
          <p:spPr>
            <a:xfrm rot="8716295">
              <a:off x="-17798" y="949199"/>
              <a:ext cx="39526" cy="50123"/>
            </a:xfrm>
            <a:custGeom>
              <a:avLst/>
              <a:gdLst>
                <a:gd name="connsiteX0" fmla="*/ 0 w 39526"/>
                <a:gd name="connsiteY0" fmla="*/ 50123 h 50123"/>
                <a:gd name="connsiteX1" fmla="*/ 0 w 39526"/>
                <a:gd name="connsiteY1" fmla="*/ 0 h 50123"/>
                <a:gd name="connsiteX2" fmla="*/ 39526 w 39526"/>
                <a:gd name="connsiteY2" fmla="*/ 0 h 50123"/>
                <a:gd name="connsiteX3" fmla="*/ 4782 w 39526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26" h="50123">
                  <a:moveTo>
                    <a:pt x="0" y="50123"/>
                  </a:moveTo>
                  <a:lnTo>
                    <a:pt x="0" y="0"/>
                  </a:lnTo>
                  <a:lnTo>
                    <a:pt x="39526" y="0"/>
                  </a:lnTo>
                  <a:lnTo>
                    <a:pt x="4782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Forme libre : forme 95">
              <a:extLst>
                <a:ext uri="{FF2B5EF4-FFF2-40B4-BE49-F238E27FC236}">
                  <a16:creationId xmlns:a16="http://schemas.microsoft.com/office/drawing/2014/main" id="{D29A62DB-0DC5-407D-A1DF-C8A39BAC784A}"/>
                </a:ext>
              </a:extLst>
            </p:cNvPr>
            <p:cNvSpPr/>
            <p:nvPr/>
          </p:nvSpPr>
          <p:spPr>
            <a:xfrm rot="8716295">
              <a:off x="-64996" y="834728"/>
              <a:ext cx="249650" cy="254774"/>
            </a:xfrm>
            <a:custGeom>
              <a:avLst/>
              <a:gdLst>
                <a:gd name="connsiteX0" fmla="*/ 51490 w 249650"/>
                <a:gd name="connsiteY0" fmla="*/ 254774 h 254774"/>
                <a:gd name="connsiteX1" fmla="*/ 51490 w 249650"/>
                <a:gd name="connsiteY1" fmla="*/ 45624 h 254774"/>
                <a:gd name="connsiteX2" fmla="*/ 0 w 249650"/>
                <a:gd name="connsiteY2" fmla="*/ 45624 h 254774"/>
                <a:gd name="connsiteX3" fmla="*/ 0 w 249650"/>
                <a:gd name="connsiteY3" fmla="*/ 1425 h 254774"/>
                <a:gd name="connsiteX4" fmla="*/ 104803 w 249650"/>
                <a:gd name="connsiteY4" fmla="*/ 1425 h 254774"/>
                <a:gd name="connsiteX5" fmla="*/ 104803 w 249650"/>
                <a:gd name="connsiteY5" fmla="*/ 75242 h 254774"/>
                <a:gd name="connsiteX6" fmla="*/ 106169 w 249650"/>
                <a:gd name="connsiteY6" fmla="*/ 75242 h 254774"/>
                <a:gd name="connsiteX7" fmla="*/ 154014 w 249650"/>
                <a:gd name="connsiteY7" fmla="*/ 5981 h 254774"/>
                <a:gd name="connsiteX8" fmla="*/ 185455 w 249650"/>
                <a:gd name="connsiteY8" fmla="*/ 57 h 254774"/>
                <a:gd name="connsiteX9" fmla="*/ 240647 w 249650"/>
                <a:gd name="connsiteY9" fmla="*/ 22727 h 254774"/>
                <a:gd name="connsiteX10" fmla="*/ 249650 w 249650"/>
                <a:gd name="connsiteY10" fmla="*/ 52327 h 254774"/>
                <a:gd name="connsiteX11" fmla="*/ 218795 w 249650"/>
                <a:gd name="connsiteY11" fmla="*/ 96841 h 254774"/>
                <a:gd name="connsiteX12" fmla="*/ 198669 w 249650"/>
                <a:gd name="connsiteY12" fmla="*/ 98025 h 254774"/>
                <a:gd name="connsiteX13" fmla="*/ 198669 w 249650"/>
                <a:gd name="connsiteY13" fmla="*/ 81621 h 254774"/>
                <a:gd name="connsiteX14" fmla="*/ 164950 w 249650"/>
                <a:gd name="connsiteY14" fmla="*/ 40156 h 254774"/>
                <a:gd name="connsiteX15" fmla="*/ 111638 w 249650"/>
                <a:gd name="connsiteY15" fmla="*/ 127643 h 254774"/>
                <a:gd name="connsiteX16" fmla="*/ 111638 w 249650"/>
                <a:gd name="connsiteY16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9650" h="254774">
                  <a:moveTo>
                    <a:pt x="51490" y="254774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08922" y="-398"/>
                    <a:pt x="227718" y="7576"/>
                    <a:pt x="240647" y="22727"/>
                  </a:cubicBezTo>
                  <a:lnTo>
                    <a:pt x="249650" y="52327"/>
                  </a:lnTo>
                  <a:lnTo>
                    <a:pt x="218795" y="96841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" name="Forme libre : forme 96">
              <a:extLst>
                <a:ext uri="{FF2B5EF4-FFF2-40B4-BE49-F238E27FC236}">
                  <a16:creationId xmlns:a16="http://schemas.microsoft.com/office/drawing/2014/main" id="{4160A2B5-61C4-44D3-8FA4-49A1FCD41A0C}"/>
                </a:ext>
              </a:extLst>
            </p:cNvPr>
            <p:cNvSpPr/>
            <p:nvPr/>
          </p:nvSpPr>
          <p:spPr>
            <a:xfrm rot="7484129">
              <a:off x="-63314" y="1172497"/>
              <a:ext cx="203848" cy="146395"/>
            </a:xfrm>
            <a:custGeom>
              <a:avLst/>
              <a:gdLst>
                <a:gd name="connsiteX0" fmla="*/ 0 w 203848"/>
                <a:gd name="connsiteY0" fmla="*/ 55323 h 146395"/>
                <a:gd name="connsiteX1" fmla="*/ 0 w 203848"/>
                <a:gd name="connsiteY1" fmla="*/ 0 h 146395"/>
                <a:gd name="connsiteX2" fmla="*/ 203848 w 203848"/>
                <a:gd name="connsiteY2" fmla="*/ 0 h 146395"/>
                <a:gd name="connsiteX3" fmla="*/ 203847 w 203848"/>
                <a:gd name="connsiteY3" fmla="*/ 49512 h 146395"/>
                <a:gd name="connsiteX4" fmla="*/ 195466 w 203848"/>
                <a:gd name="connsiteY4" fmla="*/ 55323 h 146395"/>
                <a:gd name="connsiteX5" fmla="*/ 139055 w 203848"/>
                <a:gd name="connsiteY5" fmla="*/ 55323 h 146395"/>
                <a:gd name="connsiteX6" fmla="*/ 121388 w 203848"/>
                <a:gd name="connsiteY6" fmla="*/ 106685 h 146395"/>
                <a:gd name="connsiteX7" fmla="*/ 64115 w 203848"/>
                <a:gd name="connsiteY7" fmla="*/ 146395 h 146395"/>
                <a:gd name="connsiteX8" fmla="*/ 47847 w 203848"/>
                <a:gd name="connsiteY8" fmla="*/ 116129 h 146395"/>
                <a:gd name="connsiteX9" fmla="*/ 69777 w 203848"/>
                <a:gd name="connsiteY9" fmla="*/ 55323 h 146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848" h="146395">
                  <a:moveTo>
                    <a:pt x="0" y="55323"/>
                  </a:moveTo>
                  <a:lnTo>
                    <a:pt x="0" y="0"/>
                  </a:lnTo>
                  <a:lnTo>
                    <a:pt x="203848" y="0"/>
                  </a:lnTo>
                  <a:lnTo>
                    <a:pt x="203847" y="49512"/>
                  </a:lnTo>
                  <a:lnTo>
                    <a:pt x="195466" y="55323"/>
                  </a:lnTo>
                  <a:lnTo>
                    <a:pt x="139055" y="55323"/>
                  </a:lnTo>
                  <a:lnTo>
                    <a:pt x="121388" y="106685"/>
                  </a:lnTo>
                  <a:lnTo>
                    <a:pt x="64115" y="146395"/>
                  </a:lnTo>
                  <a:lnTo>
                    <a:pt x="47847" y="116129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" name="Forme libre : forme 97">
              <a:extLst>
                <a:ext uri="{FF2B5EF4-FFF2-40B4-BE49-F238E27FC236}">
                  <a16:creationId xmlns:a16="http://schemas.microsoft.com/office/drawing/2014/main" id="{0F651F8F-312F-4D1A-9E4B-A79B81999918}"/>
                </a:ext>
              </a:extLst>
            </p:cNvPr>
            <p:cNvSpPr/>
            <p:nvPr/>
          </p:nvSpPr>
          <p:spPr>
            <a:xfrm rot="13089394">
              <a:off x="25311" y="109952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" name="Forme libre : forme 98">
              <a:extLst>
                <a:ext uri="{FF2B5EF4-FFF2-40B4-BE49-F238E27FC236}">
                  <a16:creationId xmlns:a16="http://schemas.microsoft.com/office/drawing/2014/main" id="{12E33E54-ECAF-462B-B069-F233780DF121}"/>
                </a:ext>
              </a:extLst>
            </p:cNvPr>
            <p:cNvSpPr/>
            <p:nvPr/>
          </p:nvSpPr>
          <p:spPr>
            <a:xfrm rot="8716295">
              <a:off x="210896" y="90784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orme libre : forme 99">
              <a:extLst>
                <a:ext uri="{FF2B5EF4-FFF2-40B4-BE49-F238E27FC236}">
                  <a16:creationId xmlns:a16="http://schemas.microsoft.com/office/drawing/2014/main" id="{42ACC1F1-A8E1-420C-B7DE-55FFEE501260}"/>
                </a:ext>
              </a:extLst>
            </p:cNvPr>
            <p:cNvSpPr/>
            <p:nvPr/>
          </p:nvSpPr>
          <p:spPr>
            <a:xfrm rot="8716295">
              <a:off x="159091" y="80425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Forme libre : forme 100">
              <a:extLst>
                <a:ext uri="{FF2B5EF4-FFF2-40B4-BE49-F238E27FC236}">
                  <a16:creationId xmlns:a16="http://schemas.microsoft.com/office/drawing/2014/main" id="{B902C445-D42B-4D0E-8897-FDE236E78375}"/>
                </a:ext>
              </a:extLst>
            </p:cNvPr>
            <p:cNvSpPr/>
            <p:nvPr/>
          </p:nvSpPr>
          <p:spPr>
            <a:xfrm rot="8716295">
              <a:off x="93297" y="67523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" name="Forme libre : forme 101">
              <a:extLst>
                <a:ext uri="{FF2B5EF4-FFF2-40B4-BE49-F238E27FC236}">
                  <a16:creationId xmlns:a16="http://schemas.microsoft.com/office/drawing/2014/main" id="{4EDB9DFE-AA44-492B-9D2C-70F199FD6162}"/>
                </a:ext>
              </a:extLst>
            </p:cNvPr>
            <p:cNvSpPr/>
            <p:nvPr/>
          </p:nvSpPr>
          <p:spPr>
            <a:xfrm rot="8716295">
              <a:off x="-7001" y="316701"/>
              <a:ext cx="14001" cy="20198"/>
            </a:xfrm>
            <a:custGeom>
              <a:avLst/>
              <a:gdLst>
                <a:gd name="connsiteX0" fmla="*/ 0 w 14001"/>
                <a:gd name="connsiteY0" fmla="*/ 20198 h 20198"/>
                <a:gd name="connsiteX1" fmla="*/ 0 w 14001"/>
                <a:gd name="connsiteY1" fmla="*/ 0 h 20198"/>
                <a:gd name="connsiteX2" fmla="*/ 14001 w 14001"/>
                <a:gd name="connsiteY2" fmla="*/ 0 h 2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01" h="20198">
                  <a:moveTo>
                    <a:pt x="0" y="20198"/>
                  </a:moveTo>
                  <a:lnTo>
                    <a:pt x="0" y="0"/>
                  </a:lnTo>
                  <a:lnTo>
                    <a:pt x="1400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" name="Forme libre : forme 102">
              <a:extLst>
                <a:ext uri="{FF2B5EF4-FFF2-40B4-BE49-F238E27FC236}">
                  <a16:creationId xmlns:a16="http://schemas.microsoft.com/office/drawing/2014/main" id="{9B8E4668-5129-4061-833F-DDB8DC144C55}"/>
                </a:ext>
              </a:extLst>
            </p:cNvPr>
            <p:cNvSpPr/>
            <p:nvPr/>
          </p:nvSpPr>
          <p:spPr>
            <a:xfrm rot="13089394">
              <a:off x="-81658" y="472652"/>
              <a:ext cx="173631" cy="237684"/>
            </a:xfrm>
            <a:custGeom>
              <a:avLst/>
              <a:gdLst>
                <a:gd name="connsiteX0" fmla="*/ 173631 w 173631"/>
                <a:gd name="connsiteY0" fmla="*/ 220990 h 237684"/>
                <a:gd name="connsiteX1" fmla="*/ 130972 w 173631"/>
                <a:gd name="connsiteY1" fmla="*/ 232382 h 237684"/>
                <a:gd name="connsiteX2" fmla="*/ 91597 w 173631"/>
                <a:gd name="connsiteY2" fmla="*/ 237521 h 237684"/>
                <a:gd name="connsiteX3" fmla="*/ 23727 w 173631"/>
                <a:gd name="connsiteY3" fmla="*/ 209931 h 237684"/>
                <a:gd name="connsiteX4" fmla="*/ 0 w 173631"/>
                <a:gd name="connsiteY4" fmla="*/ 115023 h 237684"/>
                <a:gd name="connsiteX5" fmla="*/ 0 w 173631"/>
                <a:gd name="connsiteY5" fmla="*/ 0 h 237684"/>
                <a:gd name="connsiteX6" fmla="*/ 76176 w 173631"/>
                <a:gd name="connsiteY6" fmla="*/ 96953 h 237684"/>
                <a:gd name="connsiteX7" fmla="*/ 76768 w 173631"/>
                <a:gd name="connsiteY7" fmla="*/ 109023 h 237684"/>
                <a:gd name="connsiteX8" fmla="*/ 87734 w 173631"/>
                <a:gd name="connsiteY8" fmla="*/ 154201 h 237684"/>
                <a:gd name="connsiteX9" fmla="*/ 111117 w 173631"/>
                <a:gd name="connsiteY9" fmla="*/ 181514 h 237684"/>
                <a:gd name="connsiteX10" fmla="*/ 148930 w 173631"/>
                <a:gd name="connsiteY10" fmla="*/ 189552 h 237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3631" h="237684">
                  <a:moveTo>
                    <a:pt x="173631" y="220990"/>
                  </a:moveTo>
                  <a:lnTo>
                    <a:pt x="130972" y="232382"/>
                  </a:lnTo>
                  <a:cubicBezTo>
                    <a:pt x="116428" y="235210"/>
                    <a:pt x="103047" y="236831"/>
                    <a:pt x="91597" y="237521"/>
                  </a:cubicBezTo>
                  <a:cubicBezTo>
                    <a:pt x="66215" y="239176"/>
                    <a:pt x="41384" y="228141"/>
                    <a:pt x="23727" y="209931"/>
                  </a:cubicBezTo>
                  <a:cubicBezTo>
                    <a:pt x="4966" y="191722"/>
                    <a:pt x="0" y="160270"/>
                    <a:pt x="0" y="115023"/>
                  </a:cubicBezTo>
                  <a:lnTo>
                    <a:pt x="0" y="0"/>
                  </a:lnTo>
                  <a:lnTo>
                    <a:pt x="76176" y="96953"/>
                  </a:lnTo>
                  <a:lnTo>
                    <a:pt x="76768" y="109023"/>
                  </a:lnTo>
                  <a:cubicBezTo>
                    <a:pt x="79044" y="124404"/>
                    <a:pt x="82768" y="139578"/>
                    <a:pt x="87734" y="154201"/>
                  </a:cubicBezTo>
                  <a:cubicBezTo>
                    <a:pt x="92149" y="166340"/>
                    <a:pt x="100012" y="175445"/>
                    <a:pt x="111117" y="181514"/>
                  </a:cubicBezTo>
                  <a:lnTo>
                    <a:pt x="148930" y="1895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" name="Forme libre : forme 103">
              <a:extLst>
                <a:ext uri="{FF2B5EF4-FFF2-40B4-BE49-F238E27FC236}">
                  <a16:creationId xmlns:a16="http://schemas.microsoft.com/office/drawing/2014/main" id="{99FF5E45-909E-4FF2-B754-B344F6F11F69}"/>
                </a:ext>
              </a:extLst>
            </p:cNvPr>
            <p:cNvSpPr/>
            <p:nvPr/>
          </p:nvSpPr>
          <p:spPr>
            <a:xfrm rot="8716295">
              <a:off x="-11774" y="24443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" name="Forme libre : forme 104">
              <a:extLst>
                <a:ext uri="{FF2B5EF4-FFF2-40B4-BE49-F238E27FC236}">
                  <a16:creationId xmlns:a16="http://schemas.microsoft.com/office/drawing/2014/main" id="{EB79107E-889E-47A5-A1AB-E4F4B49C7BFA}"/>
                </a:ext>
              </a:extLst>
            </p:cNvPr>
            <p:cNvSpPr/>
            <p:nvPr/>
          </p:nvSpPr>
          <p:spPr>
            <a:xfrm rot="8716295">
              <a:off x="-30092" y="143486"/>
              <a:ext cx="77721" cy="97260"/>
            </a:xfrm>
            <a:custGeom>
              <a:avLst/>
              <a:gdLst>
                <a:gd name="connsiteX0" fmla="*/ 15821 w 77721"/>
                <a:gd name="connsiteY0" fmla="*/ 97260 h 97260"/>
                <a:gd name="connsiteX1" fmla="*/ 0 w 77721"/>
                <a:gd name="connsiteY1" fmla="*/ 59790 h 97260"/>
                <a:gd name="connsiteX2" fmla="*/ 0 w 77721"/>
                <a:gd name="connsiteY2" fmla="*/ 58869 h 97260"/>
                <a:gd name="connsiteX3" fmla="*/ 17477 w 77721"/>
                <a:gd name="connsiteY3" fmla="*/ 17477 h 97260"/>
                <a:gd name="connsiteX4" fmla="*/ 58869 w 77721"/>
                <a:gd name="connsiteY4" fmla="*/ 0 h 97260"/>
                <a:gd name="connsiteX5" fmla="*/ 77721 w 77721"/>
                <a:gd name="connsiteY5" fmla="*/ 7960 h 97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721" h="97260">
                  <a:moveTo>
                    <a:pt x="15821" y="97260"/>
                  </a:moveTo>
                  <a:lnTo>
                    <a:pt x="0" y="59790"/>
                  </a:ln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lnTo>
                    <a:pt x="77721" y="79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" name="Forme libre : forme 105">
              <a:extLst>
                <a:ext uri="{FF2B5EF4-FFF2-40B4-BE49-F238E27FC236}">
                  <a16:creationId xmlns:a16="http://schemas.microsoft.com/office/drawing/2014/main" id="{D8EC7674-F8C4-4C98-B223-FB48E7028D2B}"/>
                </a:ext>
              </a:extLst>
            </p:cNvPr>
            <p:cNvSpPr/>
            <p:nvPr/>
          </p:nvSpPr>
          <p:spPr>
            <a:xfrm rot="8716295">
              <a:off x="-17797" y="3452694"/>
              <a:ext cx="58455" cy="44199"/>
            </a:xfrm>
            <a:custGeom>
              <a:avLst/>
              <a:gdLst>
                <a:gd name="connsiteX0" fmla="*/ 0 w 58455"/>
                <a:gd name="connsiteY0" fmla="*/ 44199 h 44199"/>
                <a:gd name="connsiteX1" fmla="*/ 0 w 58455"/>
                <a:gd name="connsiteY1" fmla="*/ 0 h 44199"/>
                <a:gd name="connsiteX2" fmla="*/ 58455 w 58455"/>
                <a:gd name="connsiteY2" fmla="*/ 0 h 44199"/>
                <a:gd name="connsiteX3" fmla="*/ 27817 w 58455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55" h="44199">
                  <a:moveTo>
                    <a:pt x="0" y="44199"/>
                  </a:moveTo>
                  <a:lnTo>
                    <a:pt x="0" y="0"/>
                  </a:lnTo>
                  <a:lnTo>
                    <a:pt x="58455" y="0"/>
                  </a:lnTo>
                  <a:lnTo>
                    <a:pt x="27817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" name="Forme libre : forme 106">
              <a:extLst>
                <a:ext uri="{FF2B5EF4-FFF2-40B4-BE49-F238E27FC236}">
                  <a16:creationId xmlns:a16="http://schemas.microsoft.com/office/drawing/2014/main" id="{4367C4D5-414D-49AB-A590-D84D23E38E78}"/>
                </a:ext>
              </a:extLst>
            </p:cNvPr>
            <p:cNvSpPr/>
            <p:nvPr/>
          </p:nvSpPr>
          <p:spPr>
            <a:xfrm rot="13089394">
              <a:off x="-91485" y="3601812"/>
              <a:ext cx="206527" cy="292654"/>
            </a:xfrm>
            <a:custGeom>
              <a:avLst/>
              <a:gdLst>
                <a:gd name="connsiteX0" fmla="*/ 206527 w 206527"/>
                <a:gd name="connsiteY0" fmla="*/ 258693 h 292654"/>
                <a:gd name="connsiteX1" fmla="*/ 177331 w 206527"/>
                <a:gd name="connsiteY1" fmla="*/ 274971 h 292654"/>
                <a:gd name="connsiteX2" fmla="*/ 91597 w 206527"/>
                <a:gd name="connsiteY2" fmla="*/ 292491 h 292654"/>
                <a:gd name="connsiteX3" fmla="*/ 23727 w 206527"/>
                <a:gd name="connsiteY3" fmla="*/ 264901 h 292654"/>
                <a:gd name="connsiteX4" fmla="*/ 0 w 206527"/>
                <a:gd name="connsiteY4" fmla="*/ 169993 h 292654"/>
                <a:gd name="connsiteX5" fmla="*/ 0 w 206527"/>
                <a:gd name="connsiteY5" fmla="*/ 1698 h 292654"/>
                <a:gd name="connsiteX6" fmla="*/ 3273 w 206527"/>
                <a:gd name="connsiteY6" fmla="*/ 0 h 292654"/>
                <a:gd name="connsiteX7" fmla="*/ 74297 w 206527"/>
                <a:gd name="connsiteY7" fmla="*/ 90396 h 292654"/>
                <a:gd name="connsiteX8" fmla="*/ 74492 w 206527"/>
                <a:gd name="connsiteY8" fmla="*/ 117574 h 292654"/>
                <a:gd name="connsiteX9" fmla="*/ 87734 w 206527"/>
                <a:gd name="connsiteY9" fmla="*/ 209171 h 292654"/>
                <a:gd name="connsiteX10" fmla="*/ 153949 w 206527"/>
                <a:gd name="connsiteY10" fmla="*/ 245589 h 292654"/>
                <a:gd name="connsiteX11" fmla="*/ 191049 w 206527"/>
                <a:gd name="connsiteY11" fmla="*/ 238993 h 292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527" h="292654">
                  <a:moveTo>
                    <a:pt x="206527" y="258693"/>
                  </a:moveTo>
                  <a:lnTo>
                    <a:pt x="177331" y="274971"/>
                  </a:lnTo>
                  <a:cubicBezTo>
                    <a:pt x="145121" y="286007"/>
                    <a:pt x="114496" y="291111"/>
                    <a:pt x="91597" y="292491"/>
                  </a:cubicBezTo>
                  <a:cubicBezTo>
                    <a:pt x="66215" y="294146"/>
                    <a:pt x="41385" y="283111"/>
                    <a:pt x="23727" y="264901"/>
                  </a:cubicBezTo>
                  <a:cubicBezTo>
                    <a:pt x="4966" y="246692"/>
                    <a:pt x="0" y="215240"/>
                    <a:pt x="0" y="169993"/>
                  </a:cubicBezTo>
                  <a:lnTo>
                    <a:pt x="0" y="1698"/>
                  </a:lnTo>
                  <a:lnTo>
                    <a:pt x="3273" y="0"/>
                  </a:lnTo>
                  <a:lnTo>
                    <a:pt x="74297" y="90396"/>
                  </a:lnTo>
                  <a:lnTo>
                    <a:pt x="74492" y="117574"/>
                  </a:lnTo>
                  <a:cubicBezTo>
                    <a:pt x="72836" y="148474"/>
                    <a:pt x="77802" y="179926"/>
                    <a:pt x="87734" y="209171"/>
                  </a:cubicBezTo>
                  <a:cubicBezTo>
                    <a:pt x="96564" y="233450"/>
                    <a:pt x="119187" y="245589"/>
                    <a:pt x="153949" y="245589"/>
                  </a:cubicBezTo>
                  <a:lnTo>
                    <a:pt x="191049" y="2389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" name="Forme libre : forme 107">
              <a:extLst>
                <a:ext uri="{FF2B5EF4-FFF2-40B4-BE49-F238E27FC236}">
                  <a16:creationId xmlns:a16="http://schemas.microsoft.com/office/drawing/2014/main" id="{C0F2930B-1B76-4127-88A5-3C45B984D36E}"/>
                </a:ext>
              </a:extLst>
            </p:cNvPr>
            <p:cNvSpPr/>
            <p:nvPr/>
          </p:nvSpPr>
          <p:spPr>
            <a:xfrm rot="8716295">
              <a:off x="24761" y="33896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" name="Forme libre : forme 108">
              <a:extLst>
                <a:ext uri="{FF2B5EF4-FFF2-40B4-BE49-F238E27FC236}">
                  <a16:creationId xmlns:a16="http://schemas.microsoft.com/office/drawing/2014/main" id="{5D516E03-78DF-4FFF-8FB2-A397635DD48F}"/>
                </a:ext>
              </a:extLst>
            </p:cNvPr>
            <p:cNvSpPr/>
            <p:nvPr/>
          </p:nvSpPr>
          <p:spPr>
            <a:xfrm rot="8716295">
              <a:off x="-24047" y="3281741"/>
              <a:ext cx="106042" cy="113733"/>
            </a:xfrm>
            <a:custGeom>
              <a:avLst/>
              <a:gdLst>
                <a:gd name="connsiteX0" fmla="*/ 17477 w 106042"/>
                <a:gd name="connsiteY0" fmla="*/ 101182 h 113733"/>
                <a:gd name="connsiteX1" fmla="*/ 0 w 106042"/>
                <a:gd name="connsiteY1" fmla="*/ 59790 h 113733"/>
                <a:gd name="connsiteX2" fmla="*/ 0 w 106042"/>
                <a:gd name="connsiteY2" fmla="*/ 58869 h 113733"/>
                <a:gd name="connsiteX3" fmla="*/ 17477 w 106042"/>
                <a:gd name="connsiteY3" fmla="*/ 17477 h 113733"/>
                <a:gd name="connsiteX4" fmla="*/ 58869 w 106042"/>
                <a:gd name="connsiteY4" fmla="*/ 0 h 113733"/>
                <a:gd name="connsiteX5" fmla="*/ 100262 w 106042"/>
                <a:gd name="connsiteY5" fmla="*/ 17477 h 113733"/>
                <a:gd name="connsiteX6" fmla="*/ 106042 w 106042"/>
                <a:gd name="connsiteY6" fmla="*/ 31234 h 113733"/>
                <a:gd name="connsiteX7" fmla="*/ 48856 w 106042"/>
                <a:gd name="connsiteY7" fmla="*/ 113733 h 11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042" h="113733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cubicBezTo>
                    <a:pt x="74507" y="0"/>
                    <a:pt x="89224" y="6439"/>
                    <a:pt x="100262" y="17477"/>
                  </a:cubicBezTo>
                  <a:lnTo>
                    <a:pt x="106042" y="31234"/>
                  </a:lnTo>
                  <a:lnTo>
                    <a:pt x="48856" y="1137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" name="Forme libre : forme 109">
              <a:extLst>
                <a:ext uri="{FF2B5EF4-FFF2-40B4-BE49-F238E27FC236}">
                  <a16:creationId xmlns:a16="http://schemas.microsoft.com/office/drawing/2014/main" id="{4709179C-E348-4A89-8150-2CCBA6DE45C5}"/>
                </a:ext>
              </a:extLst>
            </p:cNvPr>
            <p:cNvSpPr/>
            <p:nvPr/>
          </p:nvSpPr>
          <p:spPr>
            <a:xfrm rot="8716295">
              <a:off x="-21924" y="3179872"/>
              <a:ext cx="45776" cy="62656"/>
            </a:xfrm>
            <a:custGeom>
              <a:avLst/>
              <a:gdLst>
                <a:gd name="connsiteX0" fmla="*/ 2345 w 45776"/>
                <a:gd name="connsiteY0" fmla="*/ 62656 h 62656"/>
                <a:gd name="connsiteX1" fmla="*/ 0 w 45776"/>
                <a:gd name="connsiteY1" fmla="*/ 57104 h 62656"/>
                <a:gd name="connsiteX2" fmla="*/ 0 w 45776"/>
                <a:gd name="connsiteY2" fmla="*/ 56183 h 62656"/>
                <a:gd name="connsiteX3" fmla="*/ 17477 w 45776"/>
                <a:gd name="connsiteY3" fmla="*/ 14791 h 62656"/>
                <a:gd name="connsiteX4" fmla="*/ 36449 w 45776"/>
                <a:gd name="connsiteY4" fmla="*/ 1913 h 62656"/>
                <a:gd name="connsiteX5" fmla="*/ 45776 w 45776"/>
                <a:gd name="connsiteY5" fmla="*/ 0 h 62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776" h="62656">
                  <a:moveTo>
                    <a:pt x="2345" y="62656"/>
                  </a:moveTo>
                  <a:lnTo>
                    <a:pt x="0" y="57104"/>
                  </a:lnTo>
                  <a:lnTo>
                    <a:pt x="0" y="56183"/>
                  </a:lnTo>
                  <a:cubicBezTo>
                    <a:pt x="0" y="40547"/>
                    <a:pt x="6439" y="25829"/>
                    <a:pt x="17477" y="14791"/>
                  </a:cubicBezTo>
                  <a:cubicBezTo>
                    <a:pt x="22996" y="9272"/>
                    <a:pt x="29435" y="4903"/>
                    <a:pt x="36449" y="1913"/>
                  </a:cubicBezTo>
                  <a:lnTo>
                    <a:pt x="4577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" name="Forme libre : forme 110">
              <a:extLst>
                <a:ext uri="{FF2B5EF4-FFF2-40B4-BE49-F238E27FC236}">
                  <a16:creationId xmlns:a16="http://schemas.microsoft.com/office/drawing/2014/main" id="{E216B864-0116-44B5-A0E9-8D6C9FB4451C}"/>
                </a:ext>
              </a:extLst>
            </p:cNvPr>
            <p:cNvSpPr/>
            <p:nvPr/>
          </p:nvSpPr>
          <p:spPr>
            <a:xfrm rot="8716295">
              <a:off x="-21324" y="4100649"/>
              <a:ext cx="79113" cy="50123"/>
            </a:xfrm>
            <a:custGeom>
              <a:avLst/>
              <a:gdLst>
                <a:gd name="connsiteX0" fmla="*/ 0 w 79113"/>
                <a:gd name="connsiteY0" fmla="*/ 50123 h 50123"/>
                <a:gd name="connsiteX1" fmla="*/ 0 w 79113"/>
                <a:gd name="connsiteY1" fmla="*/ 0 h 50123"/>
                <a:gd name="connsiteX2" fmla="*/ 79113 w 79113"/>
                <a:gd name="connsiteY2" fmla="*/ 0 h 50123"/>
                <a:gd name="connsiteX3" fmla="*/ 44369 w 79113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113" h="50123">
                  <a:moveTo>
                    <a:pt x="0" y="50123"/>
                  </a:moveTo>
                  <a:lnTo>
                    <a:pt x="0" y="0"/>
                  </a:lnTo>
                  <a:lnTo>
                    <a:pt x="79113" y="0"/>
                  </a:lnTo>
                  <a:lnTo>
                    <a:pt x="44369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" name="Forme libre : forme 111">
              <a:extLst>
                <a:ext uri="{FF2B5EF4-FFF2-40B4-BE49-F238E27FC236}">
                  <a16:creationId xmlns:a16="http://schemas.microsoft.com/office/drawing/2014/main" id="{E81DDFAA-1A06-4A18-8287-C68132D6876A}"/>
                </a:ext>
              </a:extLst>
            </p:cNvPr>
            <p:cNvSpPr/>
            <p:nvPr/>
          </p:nvSpPr>
          <p:spPr>
            <a:xfrm rot="8716295">
              <a:off x="-40457" y="398156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" name="Forme libre : forme 112">
              <a:extLst>
                <a:ext uri="{FF2B5EF4-FFF2-40B4-BE49-F238E27FC236}">
                  <a16:creationId xmlns:a16="http://schemas.microsoft.com/office/drawing/2014/main" id="{1D567C73-1317-457C-BAF4-E866C8E84479}"/>
                </a:ext>
              </a:extLst>
            </p:cNvPr>
            <p:cNvSpPr/>
            <p:nvPr/>
          </p:nvSpPr>
          <p:spPr>
            <a:xfrm rot="7484129">
              <a:off x="-46974" y="427316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" name="Forme libre : forme 113">
              <a:extLst>
                <a:ext uri="{FF2B5EF4-FFF2-40B4-BE49-F238E27FC236}">
                  <a16:creationId xmlns:a16="http://schemas.microsoft.com/office/drawing/2014/main" id="{4B07308E-D0A0-4D3E-9DEB-C235BB5B8299}"/>
                </a:ext>
              </a:extLst>
            </p:cNvPr>
            <p:cNvSpPr/>
            <p:nvPr/>
          </p:nvSpPr>
          <p:spPr>
            <a:xfrm rot="13089394">
              <a:off x="57846" y="423970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" name="Forme libre : forme 114">
              <a:extLst>
                <a:ext uri="{FF2B5EF4-FFF2-40B4-BE49-F238E27FC236}">
                  <a16:creationId xmlns:a16="http://schemas.microsoft.com/office/drawing/2014/main" id="{B3D02E0E-617A-4DDE-855C-BECF0834C305}"/>
                </a:ext>
              </a:extLst>
            </p:cNvPr>
            <p:cNvSpPr/>
            <p:nvPr/>
          </p:nvSpPr>
          <p:spPr>
            <a:xfrm rot="8716295">
              <a:off x="243431" y="404801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" name="Forme libre : forme 115">
              <a:extLst>
                <a:ext uri="{FF2B5EF4-FFF2-40B4-BE49-F238E27FC236}">
                  <a16:creationId xmlns:a16="http://schemas.microsoft.com/office/drawing/2014/main" id="{FCFFBDC4-0942-4E6E-9EF4-22477617D5C9}"/>
                </a:ext>
              </a:extLst>
            </p:cNvPr>
            <p:cNvSpPr/>
            <p:nvPr/>
          </p:nvSpPr>
          <p:spPr>
            <a:xfrm rot="8716295">
              <a:off x="191626" y="39444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" name="Forme libre : forme 116">
              <a:extLst>
                <a:ext uri="{FF2B5EF4-FFF2-40B4-BE49-F238E27FC236}">
                  <a16:creationId xmlns:a16="http://schemas.microsoft.com/office/drawing/2014/main" id="{6779D405-E211-4D4D-B286-FEED219E73DF}"/>
                </a:ext>
              </a:extLst>
            </p:cNvPr>
            <p:cNvSpPr/>
            <p:nvPr/>
          </p:nvSpPr>
          <p:spPr>
            <a:xfrm rot="8716295">
              <a:off x="125832" y="381540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" name="Forme libre : forme 117">
              <a:extLst>
                <a:ext uri="{FF2B5EF4-FFF2-40B4-BE49-F238E27FC236}">
                  <a16:creationId xmlns:a16="http://schemas.microsoft.com/office/drawing/2014/main" id="{1B98413D-C7CC-484D-AF71-C6706295A09F}"/>
                </a:ext>
              </a:extLst>
            </p:cNvPr>
            <p:cNvSpPr/>
            <p:nvPr/>
          </p:nvSpPr>
          <p:spPr>
            <a:xfrm rot="8716295">
              <a:off x="-73048" y="4876828"/>
              <a:ext cx="221382" cy="253349"/>
            </a:xfrm>
            <a:custGeom>
              <a:avLst/>
              <a:gdLst>
                <a:gd name="connsiteX0" fmla="*/ 51490 w 221382"/>
                <a:gd name="connsiteY0" fmla="*/ 253349 h 253349"/>
                <a:gd name="connsiteX1" fmla="*/ 51490 w 221382"/>
                <a:gd name="connsiteY1" fmla="*/ 44199 h 253349"/>
                <a:gd name="connsiteX2" fmla="*/ 0 w 221382"/>
                <a:gd name="connsiteY2" fmla="*/ 44199 h 253349"/>
                <a:gd name="connsiteX3" fmla="*/ 0 w 221382"/>
                <a:gd name="connsiteY3" fmla="*/ 0 h 253349"/>
                <a:gd name="connsiteX4" fmla="*/ 104803 w 221382"/>
                <a:gd name="connsiteY4" fmla="*/ 0 h 253349"/>
                <a:gd name="connsiteX5" fmla="*/ 104802 w 221382"/>
                <a:gd name="connsiteY5" fmla="*/ 73817 h 253349"/>
                <a:gd name="connsiteX6" fmla="*/ 106169 w 221382"/>
                <a:gd name="connsiteY6" fmla="*/ 73817 h 253349"/>
                <a:gd name="connsiteX7" fmla="*/ 154014 w 221382"/>
                <a:gd name="connsiteY7" fmla="*/ 4556 h 253349"/>
                <a:gd name="connsiteX8" fmla="*/ 174650 w 221382"/>
                <a:gd name="connsiteY8" fmla="*/ 668 h 253349"/>
                <a:gd name="connsiteX9" fmla="*/ 214075 w 221382"/>
                <a:gd name="connsiteY9" fmla="*/ 27996 h 253349"/>
                <a:gd name="connsiteX10" fmla="*/ 221382 w 221382"/>
                <a:gd name="connsiteY10" fmla="*/ 33060 h 253349"/>
                <a:gd name="connsiteX11" fmla="*/ 195540 w 221382"/>
                <a:gd name="connsiteY11" fmla="*/ 70341 h 253349"/>
                <a:gd name="connsiteX12" fmla="*/ 189157 w 221382"/>
                <a:gd name="connsiteY12" fmla="*/ 50236 h 253349"/>
                <a:gd name="connsiteX13" fmla="*/ 164950 w 221382"/>
                <a:gd name="connsiteY13" fmla="*/ 38731 h 253349"/>
                <a:gd name="connsiteX14" fmla="*/ 111638 w 221382"/>
                <a:gd name="connsiteY14" fmla="*/ 126218 h 253349"/>
                <a:gd name="connsiteX15" fmla="*/ 111638 w 221382"/>
                <a:gd name="connsiteY15" fmla="*/ 191383 h 253349"/>
                <a:gd name="connsiteX16" fmla="*/ 84096 w 221382"/>
                <a:gd name="connsiteY16" fmla="*/ 231117 h 253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1382" h="253349">
                  <a:moveTo>
                    <a:pt x="51490" y="253349"/>
                  </a:moveTo>
                  <a:lnTo>
                    <a:pt x="51490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104803" y="0"/>
                  </a:lnTo>
                  <a:lnTo>
                    <a:pt x="104802" y="73817"/>
                  </a:lnTo>
                  <a:lnTo>
                    <a:pt x="106169" y="73817"/>
                  </a:lnTo>
                  <a:cubicBezTo>
                    <a:pt x="120751" y="30529"/>
                    <a:pt x="132142" y="13670"/>
                    <a:pt x="154014" y="4556"/>
                  </a:cubicBezTo>
                  <a:lnTo>
                    <a:pt x="174650" y="668"/>
                  </a:lnTo>
                  <a:lnTo>
                    <a:pt x="214075" y="27996"/>
                  </a:lnTo>
                  <a:lnTo>
                    <a:pt x="221382" y="33060"/>
                  </a:lnTo>
                  <a:lnTo>
                    <a:pt x="195540" y="70341"/>
                  </a:lnTo>
                  <a:lnTo>
                    <a:pt x="189157" y="50236"/>
                  </a:lnTo>
                  <a:cubicBezTo>
                    <a:pt x="183177" y="42946"/>
                    <a:pt x="174747" y="38731"/>
                    <a:pt x="164950" y="38731"/>
                  </a:cubicBezTo>
                  <a:cubicBezTo>
                    <a:pt x="135788" y="38731"/>
                    <a:pt x="111638" y="77463"/>
                    <a:pt x="111638" y="126218"/>
                  </a:cubicBezTo>
                  <a:lnTo>
                    <a:pt x="111638" y="191383"/>
                  </a:lnTo>
                  <a:lnTo>
                    <a:pt x="84096" y="2311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" name="Forme libre : forme 118">
              <a:extLst>
                <a:ext uri="{FF2B5EF4-FFF2-40B4-BE49-F238E27FC236}">
                  <a16:creationId xmlns:a16="http://schemas.microsoft.com/office/drawing/2014/main" id="{6176F84A-9766-45D5-91E9-4847B60A5CD4}"/>
                </a:ext>
              </a:extLst>
            </p:cNvPr>
            <p:cNvSpPr/>
            <p:nvPr/>
          </p:nvSpPr>
          <p:spPr>
            <a:xfrm rot="8716295">
              <a:off x="93318" y="46120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" name="Forme libre : forme 119">
              <a:extLst>
                <a:ext uri="{FF2B5EF4-FFF2-40B4-BE49-F238E27FC236}">
                  <a16:creationId xmlns:a16="http://schemas.microsoft.com/office/drawing/2014/main" id="{3DA54937-5DEF-4122-B904-83A03268CA89}"/>
                </a:ext>
              </a:extLst>
            </p:cNvPr>
            <p:cNvSpPr/>
            <p:nvPr/>
          </p:nvSpPr>
          <p:spPr>
            <a:xfrm rot="8716295">
              <a:off x="182710" y="46412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" name="Forme libre : forme 120">
              <a:extLst>
                <a:ext uri="{FF2B5EF4-FFF2-40B4-BE49-F238E27FC236}">
                  <a16:creationId xmlns:a16="http://schemas.microsoft.com/office/drawing/2014/main" id="{24CD3C2A-51CB-4CA4-A2B4-FE03D227C422}"/>
                </a:ext>
              </a:extLst>
            </p:cNvPr>
            <p:cNvSpPr/>
            <p:nvPr/>
          </p:nvSpPr>
          <p:spPr>
            <a:xfrm rot="8716295">
              <a:off x="-14524" y="4699631"/>
              <a:ext cx="49997" cy="54238"/>
            </a:xfrm>
            <a:custGeom>
              <a:avLst/>
              <a:gdLst>
                <a:gd name="connsiteX0" fmla="*/ 8658 w 49997"/>
                <a:gd name="connsiteY0" fmla="*/ 50123 h 54238"/>
                <a:gd name="connsiteX1" fmla="*/ 0 w 49997"/>
                <a:gd name="connsiteY1" fmla="*/ 29619 h 54238"/>
                <a:gd name="connsiteX2" fmla="*/ 0 w 49997"/>
                <a:gd name="connsiteY2" fmla="*/ 29162 h 54238"/>
                <a:gd name="connsiteX3" fmla="*/ 8658 w 49997"/>
                <a:gd name="connsiteY3" fmla="*/ 8658 h 54238"/>
                <a:gd name="connsiteX4" fmla="*/ 29163 w 49997"/>
                <a:gd name="connsiteY4" fmla="*/ 0 h 54238"/>
                <a:gd name="connsiteX5" fmla="*/ 49668 w 49997"/>
                <a:gd name="connsiteY5" fmla="*/ 8658 h 54238"/>
                <a:gd name="connsiteX6" fmla="*/ 49997 w 49997"/>
                <a:gd name="connsiteY6" fmla="*/ 9441 h 54238"/>
                <a:gd name="connsiteX7" fmla="*/ 18945 w 49997"/>
                <a:gd name="connsiteY7" fmla="*/ 54238 h 54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997" h="54238">
                  <a:moveTo>
                    <a:pt x="8658" y="50123"/>
                  </a:moveTo>
                  <a:cubicBezTo>
                    <a:pt x="3190" y="44655"/>
                    <a:pt x="0" y="37365"/>
                    <a:pt x="0" y="29619"/>
                  </a:cubicBezTo>
                  <a:lnTo>
                    <a:pt x="0" y="29162"/>
                  </a:lnTo>
                  <a:cubicBezTo>
                    <a:pt x="0" y="21417"/>
                    <a:pt x="3190" y="14126"/>
                    <a:pt x="8658" y="8658"/>
                  </a:cubicBezTo>
                  <a:cubicBezTo>
                    <a:pt x="14126" y="3190"/>
                    <a:pt x="21416" y="0"/>
                    <a:pt x="29163" y="0"/>
                  </a:cubicBezTo>
                  <a:cubicBezTo>
                    <a:pt x="36909" y="0"/>
                    <a:pt x="44200" y="3190"/>
                    <a:pt x="49668" y="8658"/>
                  </a:cubicBezTo>
                  <a:lnTo>
                    <a:pt x="49997" y="9441"/>
                  </a:lnTo>
                  <a:lnTo>
                    <a:pt x="18945" y="54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" name="Forme libre : forme 121">
              <a:extLst>
                <a:ext uri="{FF2B5EF4-FFF2-40B4-BE49-F238E27FC236}">
                  <a16:creationId xmlns:a16="http://schemas.microsoft.com/office/drawing/2014/main" id="{7A46CCF0-E67A-4E1E-9549-23C0DBDB68E2}"/>
                </a:ext>
              </a:extLst>
            </p:cNvPr>
            <p:cNvSpPr/>
            <p:nvPr/>
          </p:nvSpPr>
          <p:spPr>
            <a:xfrm rot="8716295">
              <a:off x="-30327" y="4579755"/>
              <a:ext cx="113346" cy="71024"/>
            </a:xfrm>
            <a:custGeom>
              <a:avLst/>
              <a:gdLst>
                <a:gd name="connsiteX0" fmla="*/ 0 w 113346"/>
                <a:gd name="connsiteY0" fmla="*/ 55323 h 71024"/>
                <a:gd name="connsiteX1" fmla="*/ 0 w 113346"/>
                <a:gd name="connsiteY1" fmla="*/ 0 h 71024"/>
                <a:gd name="connsiteX2" fmla="*/ 113346 w 113346"/>
                <a:gd name="connsiteY2" fmla="*/ 0 h 71024"/>
                <a:gd name="connsiteX3" fmla="*/ 64114 w 113346"/>
                <a:gd name="connsiteY3" fmla="*/ 71024 h 71024"/>
                <a:gd name="connsiteX4" fmla="*/ 69777 w 113346"/>
                <a:gd name="connsiteY4" fmla="*/ 55323 h 7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346" h="71024">
                  <a:moveTo>
                    <a:pt x="0" y="55323"/>
                  </a:moveTo>
                  <a:lnTo>
                    <a:pt x="0" y="0"/>
                  </a:lnTo>
                  <a:lnTo>
                    <a:pt x="113346" y="0"/>
                  </a:lnTo>
                  <a:lnTo>
                    <a:pt x="64114" y="71024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" name="Forme libre : forme 122">
              <a:extLst>
                <a:ext uri="{FF2B5EF4-FFF2-40B4-BE49-F238E27FC236}">
                  <a16:creationId xmlns:a16="http://schemas.microsoft.com/office/drawing/2014/main" id="{01D04BC1-282A-4CFE-BF99-5B57F855BCBC}"/>
                </a:ext>
              </a:extLst>
            </p:cNvPr>
            <p:cNvSpPr/>
            <p:nvPr/>
          </p:nvSpPr>
          <p:spPr>
            <a:xfrm rot="8716295">
              <a:off x="71262" y="47415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" name="Forme libre : forme 123">
              <a:extLst>
                <a:ext uri="{FF2B5EF4-FFF2-40B4-BE49-F238E27FC236}">
                  <a16:creationId xmlns:a16="http://schemas.microsoft.com/office/drawing/2014/main" id="{A04953EA-5C79-45C4-9757-065EFCA47539}"/>
                </a:ext>
              </a:extLst>
            </p:cNvPr>
            <p:cNvSpPr/>
            <p:nvPr/>
          </p:nvSpPr>
          <p:spPr>
            <a:xfrm rot="7484129">
              <a:off x="172059" y="493353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170341 w 203847"/>
                <a:gd name="connsiteY5" fmla="*/ 0 h 195874"/>
                <a:gd name="connsiteX6" fmla="*/ 203847 w 203847"/>
                <a:gd name="connsiteY6" fmla="*/ 48325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170341" y="0"/>
                  </a:lnTo>
                  <a:lnTo>
                    <a:pt x="203847" y="48325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" name="Forme libre : forme 124">
              <a:extLst>
                <a:ext uri="{FF2B5EF4-FFF2-40B4-BE49-F238E27FC236}">
                  <a16:creationId xmlns:a16="http://schemas.microsoft.com/office/drawing/2014/main" id="{49CB50EA-8DFB-4219-A82A-979E56D219DC}"/>
                </a:ext>
              </a:extLst>
            </p:cNvPr>
            <p:cNvSpPr/>
            <p:nvPr/>
          </p:nvSpPr>
          <p:spPr>
            <a:xfrm rot="13089394">
              <a:off x="313551" y="4906246"/>
              <a:ext cx="221827" cy="205098"/>
            </a:xfrm>
            <a:custGeom>
              <a:avLst/>
              <a:gdLst>
                <a:gd name="connsiteX0" fmla="*/ 24153 w 221827"/>
                <a:gd name="connsiteY0" fmla="*/ 55168 h 205098"/>
                <a:gd name="connsiteX1" fmla="*/ 0 w 221827"/>
                <a:gd name="connsiteY1" fmla="*/ 18385 h 205098"/>
                <a:gd name="connsiteX2" fmla="*/ 23400 w 221827"/>
                <a:gd name="connsiteY2" fmla="*/ 0 h 205098"/>
                <a:gd name="connsiteX3" fmla="*/ 23735 w 221827"/>
                <a:gd name="connsiteY3" fmla="*/ 46640 h 205098"/>
                <a:gd name="connsiteX4" fmla="*/ 221827 w 221827"/>
                <a:gd name="connsiteY4" fmla="*/ 150928 h 205098"/>
                <a:gd name="connsiteX5" fmla="*/ 126574 w 221827"/>
                <a:gd name="connsiteY5" fmla="*/ 204038 h 205098"/>
                <a:gd name="connsiteX6" fmla="*/ 122603 w 221827"/>
                <a:gd name="connsiteY6" fmla="*/ 205098 h 205098"/>
                <a:gd name="connsiteX7" fmla="*/ 102519 w 221827"/>
                <a:gd name="connsiteY7" fmla="*/ 174512 h 205098"/>
                <a:gd name="connsiteX8" fmla="*/ 103192 w 221827"/>
                <a:gd name="connsiteY8" fmla="*/ 174655 h 205098"/>
                <a:gd name="connsiteX9" fmla="*/ 152853 w 221827"/>
                <a:gd name="connsiteY9" fmla="*/ 165826 h 205098"/>
                <a:gd name="connsiteX10" fmla="*/ 220723 w 221827"/>
                <a:gd name="connsiteY10" fmla="*/ 138237 h 205098"/>
                <a:gd name="connsiteX11" fmla="*/ 221827 w 221827"/>
                <a:gd name="connsiteY11" fmla="*/ 145410 h 205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1827" h="205098">
                  <a:moveTo>
                    <a:pt x="24153" y="55168"/>
                  </a:moveTo>
                  <a:lnTo>
                    <a:pt x="0" y="18385"/>
                  </a:lnTo>
                  <a:lnTo>
                    <a:pt x="23400" y="0"/>
                  </a:lnTo>
                  <a:lnTo>
                    <a:pt x="23735" y="46640"/>
                  </a:lnTo>
                  <a:close/>
                  <a:moveTo>
                    <a:pt x="221827" y="150928"/>
                  </a:moveTo>
                  <a:cubicBezTo>
                    <a:pt x="192582" y="176035"/>
                    <a:pt x="158785" y="193002"/>
                    <a:pt x="126574" y="204038"/>
                  </a:cubicBezTo>
                  <a:lnTo>
                    <a:pt x="122603" y="205098"/>
                  </a:lnTo>
                  <a:lnTo>
                    <a:pt x="102519" y="174512"/>
                  </a:lnTo>
                  <a:lnTo>
                    <a:pt x="103192" y="174655"/>
                  </a:lnTo>
                  <a:cubicBezTo>
                    <a:pt x="120298" y="174103"/>
                    <a:pt x="136851" y="170792"/>
                    <a:pt x="152853" y="165826"/>
                  </a:cubicBezTo>
                  <a:cubicBezTo>
                    <a:pt x="176028" y="158653"/>
                    <a:pt x="198652" y="149273"/>
                    <a:pt x="220723" y="138237"/>
                  </a:cubicBezTo>
                  <a:cubicBezTo>
                    <a:pt x="221275" y="140444"/>
                    <a:pt x="221827" y="143203"/>
                    <a:pt x="221827" y="1454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" name="Forme libre : forme 125">
              <a:extLst>
                <a:ext uri="{FF2B5EF4-FFF2-40B4-BE49-F238E27FC236}">
                  <a16:creationId xmlns:a16="http://schemas.microsoft.com/office/drawing/2014/main" id="{5146513B-5632-4832-9AF5-1E4051EECD28}"/>
                </a:ext>
              </a:extLst>
            </p:cNvPr>
            <p:cNvSpPr/>
            <p:nvPr/>
          </p:nvSpPr>
          <p:spPr>
            <a:xfrm rot="8716295">
              <a:off x="406370" y="4600606"/>
              <a:ext cx="113655" cy="117117"/>
            </a:xfrm>
            <a:custGeom>
              <a:avLst/>
              <a:gdLst>
                <a:gd name="connsiteX0" fmla="*/ 13623 w 113655"/>
                <a:gd name="connsiteY0" fmla="*/ 100559 h 117117"/>
                <a:gd name="connsiteX1" fmla="*/ 0 w 113655"/>
                <a:gd name="connsiteY1" fmla="*/ 68296 h 117117"/>
                <a:gd name="connsiteX2" fmla="*/ 56488 w 113655"/>
                <a:gd name="connsiteY2" fmla="*/ 0 h 117117"/>
                <a:gd name="connsiteX3" fmla="*/ 96408 w 113655"/>
                <a:gd name="connsiteY3" fmla="*/ 16856 h 117117"/>
                <a:gd name="connsiteX4" fmla="*/ 96408 w 113655"/>
                <a:gd name="connsiteY4" fmla="*/ 99640 h 117117"/>
                <a:gd name="connsiteX5" fmla="*/ 55015 w 113655"/>
                <a:gd name="connsiteY5" fmla="*/ 117117 h 117117"/>
                <a:gd name="connsiteX6" fmla="*/ 13623 w 113655"/>
                <a:gd name="connsiteY6" fmla="*/ 100559 h 117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655" h="117117">
                  <a:moveTo>
                    <a:pt x="13623" y="100559"/>
                  </a:moveTo>
                  <a:lnTo>
                    <a:pt x="0" y="68296"/>
                  </a:lnTo>
                  <a:lnTo>
                    <a:pt x="56488" y="0"/>
                  </a:lnTo>
                  <a:lnTo>
                    <a:pt x="96408" y="16856"/>
                  </a:lnTo>
                  <a:cubicBezTo>
                    <a:pt x="119404" y="38931"/>
                    <a:pt x="119404" y="76644"/>
                    <a:pt x="96408" y="99640"/>
                  </a:cubicBezTo>
                  <a:cubicBezTo>
                    <a:pt x="85370" y="110678"/>
                    <a:pt x="70653" y="117116"/>
                    <a:pt x="55015" y="117117"/>
                  </a:cubicBezTo>
                  <a:cubicBezTo>
                    <a:pt x="39378" y="117117"/>
                    <a:pt x="24661" y="111597"/>
                    <a:pt x="13623" y="10055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" name="Forme libre : forme 126">
              <a:extLst>
                <a:ext uri="{FF2B5EF4-FFF2-40B4-BE49-F238E27FC236}">
                  <a16:creationId xmlns:a16="http://schemas.microsoft.com/office/drawing/2014/main" id="{FE3150CC-51A0-4255-BE10-7C4DD2D82ED1}"/>
                </a:ext>
              </a:extLst>
            </p:cNvPr>
            <p:cNvSpPr/>
            <p:nvPr/>
          </p:nvSpPr>
          <p:spPr>
            <a:xfrm rot="8716295">
              <a:off x="171547" y="46343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" name="Forme libre : forme 127">
              <a:extLst>
                <a:ext uri="{FF2B5EF4-FFF2-40B4-BE49-F238E27FC236}">
                  <a16:creationId xmlns:a16="http://schemas.microsoft.com/office/drawing/2014/main" id="{3071C62B-77D8-4A0E-86A6-83549F6B4AD6}"/>
                </a:ext>
              </a:extLst>
            </p:cNvPr>
            <p:cNvSpPr/>
            <p:nvPr/>
          </p:nvSpPr>
          <p:spPr>
            <a:xfrm rot="8716295">
              <a:off x="348999" y="44751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131" name="Rectangle 130">
            <a:extLst>
              <a:ext uri="{FF2B5EF4-FFF2-40B4-BE49-F238E27FC236}">
                <a16:creationId xmlns:a16="http://schemas.microsoft.com/office/drawing/2014/main" id="{37E36065-AEDE-402C-AFB2-AFD8D421B3D5}"/>
              </a:ext>
            </a:extLst>
          </p:cNvPr>
          <p:cNvSpPr/>
          <p:nvPr/>
        </p:nvSpPr>
        <p:spPr>
          <a:xfrm>
            <a:off x="1675026" y="1246048"/>
            <a:ext cx="360000" cy="45719"/>
          </a:xfrm>
          <a:prstGeom prst="rect">
            <a:avLst/>
          </a:prstGeom>
          <a:solidFill>
            <a:srgbClr val="3A1B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41" name="Espace réservé du texte 533">
            <a:extLst>
              <a:ext uri="{FF2B5EF4-FFF2-40B4-BE49-F238E27FC236}">
                <a16:creationId xmlns:a16="http://schemas.microsoft.com/office/drawing/2014/main" id="{9CC94730-7BAA-423F-882E-35EC64D162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97959" y="1685677"/>
            <a:ext cx="7316491" cy="295060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300"/>
              </a:spcBef>
              <a:spcAft>
                <a:spcPts val="1000"/>
              </a:spcAft>
              <a:buNone/>
              <a:defRPr sz="1100">
                <a:solidFill>
                  <a:schemeClr val="tx1"/>
                </a:solidFill>
              </a:defRPr>
            </a:lvl2pPr>
            <a:lvl3pPr marL="270000" indent="-270000" algn="l" defTabSz="457200" rtl="0" eaLnBrk="1" latinLnBrk="0" hangingPunct="1">
              <a:spcBef>
                <a:spcPts val="400"/>
              </a:spcBef>
              <a:spcAft>
                <a:spcPts val="1000"/>
              </a:spcAft>
              <a:buSzPct val="100000"/>
              <a:buFontTx/>
              <a:buBlip>
                <a:blip r:embed="rId2"/>
              </a:buBlip>
              <a:defRPr lang="fr-FR" sz="1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0000" indent="-269875">
              <a:spcBef>
                <a:spcPts val="400"/>
              </a:spcBef>
              <a:spcAft>
                <a:spcPts val="1000"/>
              </a:spcAft>
              <a:buFontTx/>
              <a:buBlip>
                <a:blip r:embed="rId3"/>
              </a:buBlip>
              <a:defRPr sz="1000" b="1">
                <a:solidFill>
                  <a:schemeClr val="tx1"/>
                </a:solidFill>
              </a:defRPr>
            </a:lvl4pPr>
            <a:lvl5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4"/>
              </a:buBlip>
              <a:defRPr sz="1000" b="1">
                <a:solidFill>
                  <a:schemeClr val="tx1"/>
                </a:solidFill>
              </a:defRPr>
            </a:lvl5pPr>
            <a:lvl6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5"/>
              </a:buBlip>
              <a:defRPr sz="1000" b="1">
                <a:solidFill>
                  <a:schemeClr val="tx1"/>
                </a:solidFill>
              </a:defRPr>
            </a:lvl6pPr>
            <a:lvl7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6"/>
              </a:buBlip>
              <a:defRPr sz="1000" b="1">
                <a:solidFill>
                  <a:schemeClr val="tx1"/>
                </a:solidFill>
              </a:defRPr>
            </a:lvl7pPr>
            <a:lvl8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7"/>
              </a:buBlip>
              <a:defRPr sz="1000" b="1">
                <a:solidFill>
                  <a:schemeClr val="tx1"/>
                </a:solidFill>
              </a:defRPr>
            </a:lvl8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Puce bleu</a:t>
            </a:r>
          </a:p>
          <a:p>
            <a:pPr lvl="3"/>
            <a:r>
              <a:rPr lang="fr-FR" dirty="0"/>
              <a:t>Puce orange</a:t>
            </a:r>
          </a:p>
          <a:p>
            <a:pPr lvl="4"/>
            <a:r>
              <a:rPr lang="fr-FR" dirty="0"/>
              <a:t>Puce rouge</a:t>
            </a:r>
          </a:p>
          <a:p>
            <a:pPr lvl="5"/>
            <a:r>
              <a:rPr lang="fr-FR" dirty="0"/>
              <a:t>Puce vert d’eau</a:t>
            </a:r>
          </a:p>
          <a:p>
            <a:pPr lvl="6"/>
            <a:r>
              <a:rPr lang="fr-FR" dirty="0"/>
              <a:t>Puce verte</a:t>
            </a:r>
          </a:p>
          <a:p>
            <a:pPr lvl="7"/>
            <a:r>
              <a:rPr lang="fr-FR" dirty="0"/>
              <a:t>Puce violette</a:t>
            </a:r>
          </a:p>
        </p:txBody>
      </p:sp>
      <p:sp>
        <p:nvSpPr>
          <p:cNvPr id="129" name="Espace réservé du numéro de diapositive 128">
            <a:extLst>
              <a:ext uri="{FF2B5EF4-FFF2-40B4-BE49-F238E27FC236}">
                <a16:creationId xmlns:a16="http://schemas.microsoft.com/office/drawing/2014/main" id="{9351D048-E652-4E14-9A68-6779614909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9681" y="3148262"/>
            <a:ext cx="444626" cy="1995238"/>
          </a:xfrm>
          <a:custGeom>
            <a:avLst/>
            <a:gdLst>
              <a:gd name="connsiteX0" fmla="*/ 169868 w 444626"/>
              <a:gd name="connsiteY0" fmla="*/ 0 h 1995238"/>
              <a:gd name="connsiteX1" fmla="*/ 444626 w 444626"/>
              <a:gd name="connsiteY1" fmla="*/ 1995238 h 1995238"/>
              <a:gd name="connsiteX2" fmla="*/ 0 w 444626"/>
              <a:gd name="connsiteY2" fmla="*/ 1995238 h 1995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4626" h="1995238">
                <a:moveTo>
                  <a:pt x="169868" y="0"/>
                </a:moveTo>
                <a:lnTo>
                  <a:pt x="444626" y="1995238"/>
                </a:lnTo>
                <a:lnTo>
                  <a:pt x="0" y="199523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180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037900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ur une lign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Forme libre : forme 137">
            <a:extLst>
              <a:ext uri="{FF2B5EF4-FFF2-40B4-BE49-F238E27FC236}">
                <a16:creationId xmlns:a16="http://schemas.microsoft.com/office/drawing/2014/main" id="{0FDE4FE4-FDFC-41B3-BDA4-CE918EEAE71E}"/>
              </a:ext>
            </a:extLst>
          </p:cNvPr>
          <p:cNvSpPr/>
          <p:nvPr userDrawn="1"/>
        </p:nvSpPr>
        <p:spPr>
          <a:xfrm>
            <a:off x="629550" y="0"/>
            <a:ext cx="8514451" cy="5143499"/>
          </a:xfrm>
          <a:custGeom>
            <a:avLst/>
            <a:gdLst>
              <a:gd name="connsiteX0" fmla="*/ 689595 w 8514451"/>
              <a:gd name="connsiteY0" fmla="*/ 884098 h 5143499"/>
              <a:gd name="connsiteX1" fmla="*/ 689595 w 8514451"/>
              <a:gd name="connsiteY1" fmla="*/ 929817 h 5143499"/>
              <a:gd name="connsiteX2" fmla="*/ 1049595 w 8514451"/>
              <a:gd name="connsiteY2" fmla="*/ 929817 h 5143499"/>
              <a:gd name="connsiteX3" fmla="*/ 1049595 w 8514451"/>
              <a:gd name="connsiteY3" fmla="*/ 884098 h 5143499"/>
              <a:gd name="connsiteX4" fmla="*/ 268034 w 8514451"/>
              <a:gd name="connsiteY4" fmla="*/ 0 h 5143499"/>
              <a:gd name="connsiteX5" fmla="*/ 8514451 w 8514451"/>
              <a:gd name="connsiteY5" fmla="*/ 0 h 5143499"/>
              <a:gd name="connsiteX6" fmla="*/ 8514451 w 8514451"/>
              <a:gd name="connsiteY6" fmla="*/ 5143499 h 5143499"/>
              <a:gd name="connsiteX7" fmla="*/ 274758 w 8514451"/>
              <a:gd name="connsiteY7" fmla="*/ 5143499 h 5143499"/>
              <a:gd name="connsiteX8" fmla="*/ 0 w 8514451"/>
              <a:gd name="connsiteY8" fmla="*/ 3148262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514451" h="5143499">
                <a:moveTo>
                  <a:pt x="689595" y="884098"/>
                </a:moveTo>
                <a:lnTo>
                  <a:pt x="689595" y="929817"/>
                </a:lnTo>
                <a:lnTo>
                  <a:pt x="1049595" y="929817"/>
                </a:lnTo>
                <a:lnTo>
                  <a:pt x="1049595" y="884098"/>
                </a:lnTo>
                <a:close/>
                <a:moveTo>
                  <a:pt x="268034" y="0"/>
                </a:moveTo>
                <a:lnTo>
                  <a:pt x="8514451" y="0"/>
                </a:lnTo>
                <a:lnTo>
                  <a:pt x="8514451" y="5143499"/>
                </a:lnTo>
                <a:lnTo>
                  <a:pt x="274758" y="5143499"/>
                </a:lnTo>
                <a:lnTo>
                  <a:pt x="0" y="31482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48DF42C1-5220-478C-ABAC-92E468D673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Titre de la slide sur une ligne</a:t>
            </a:r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EE6FDC8C-3CED-409B-A90D-CC766521C58C}"/>
              </a:ext>
            </a:extLst>
          </p:cNvPr>
          <p:cNvGrpSpPr/>
          <p:nvPr userDrawn="1"/>
        </p:nvGrpSpPr>
        <p:grpSpPr>
          <a:xfrm>
            <a:off x="-91485" y="-57106"/>
            <a:ext cx="1008300" cy="5190499"/>
            <a:chOff x="-91485" y="-57106"/>
            <a:chExt cx="1008300" cy="5190499"/>
          </a:xfrm>
        </p:grpSpPr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4100D4C0-1B0B-4813-97B4-727B3F07A2B3}"/>
                </a:ext>
              </a:extLst>
            </p:cNvPr>
            <p:cNvSpPr/>
            <p:nvPr/>
          </p:nvSpPr>
          <p:spPr>
            <a:xfrm rot="8716295">
              <a:off x="617786" y="1780350"/>
              <a:ext cx="152726" cy="195873"/>
            </a:xfrm>
            <a:custGeom>
              <a:avLst/>
              <a:gdLst>
                <a:gd name="connsiteX0" fmla="*/ 39589 w 152726"/>
                <a:gd name="connsiteY0" fmla="*/ 195873 h 195873"/>
                <a:gd name="connsiteX1" fmla="*/ 0 w 152726"/>
                <a:gd name="connsiteY1" fmla="*/ 122219 h 195873"/>
                <a:gd name="connsiteX2" fmla="*/ 101089 w 152726"/>
                <a:gd name="connsiteY2" fmla="*/ 0 h 195873"/>
                <a:gd name="connsiteX3" fmla="*/ 152726 w 152726"/>
                <a:gd name="connsiteY3" fmla="*/ 0 h 195873"/>
                <a:gd name="connsiteX4" fmla="*/ 152726 w 152726"/>
                <a:gd name="connsiteY4" fmla="*/ 55323 h 195873"/>
                <a:gd name="connsiteX5" fmla="*/ 87934 w 152726"/>
                <a:gd name="connsiteY5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726" h="195873">
                  <a:moveTo>
                    <a:pt x="39589" y="195873"/>
                  </a:moveTo>
                  <a:lnTo>
                    <a:pt x="0" y="122219"/>
                  </a:lnTo>
                  <a:lnTo>
                    <a:pt x="101089" y="0"/>
                  </a:lnTo>
                  <a:lnTo>
                    <a:pt x="152726" y="0"/>
                  </a:lnTo>
                  <a:lnTo>
                    <a:pt x="152726" y="55323"/>
                  </a:lnTo>
                  <a:lnTo>
                    <a:pt x="87934" y="5532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CB9A2237-374C-411A-AB62-0191ED80FFE2}"/>
                </a:ext>
              </a:extLst>
            </p:cNvPr>
            <p:cNvSpPr/>
            <p:nvPr/>
          </p:nvSpPr>
          <p:spPr>
            <a:xfrm rot="8716295">
              <a:off x="534441" y="1654353"/>
              <a:ext cx="262864" cy="103234"/>
            </a:xfrm>
            <a:custGeom>
              <a:avLst/>
              <a:gdLst>
                <a:gd name="connsiteX0" fmla="*/ 0 w 262864"/>
                <a:gd name="connsiteY0" fmla="*/ 75341 h 103234"/>
                <a:gd name="connsiteX1" fmla="*/ 62316 w 262864"/>
                <a:gd name="connsiteY1" fmla="*/ 0 h 103234"/>
                <a:gd name="connsiteX2" fmla="*/ 65768 w 262864"/>
                <a:gd name="connsiteY2" fmla="*/ 14220 h 103234"/>
                <a:gd name="connsiteX3" fmla="*/ 136369 w 262864"/>
                <a:gd name="connsiteY3" fmla="*/ 53051 h 103234"/>
                <a:gd name="connsiteX4" fmla="*/ 189321 w 262864"/>
                <a:gd name="connsiteY4" fmla="*/ 43637 h 103234"/>
                <a:gd name="connsiteX5" fmla="*/ 261688 w 262864"/>
                <a:gd name="connsiteY5" fmla="*/ 14220 h 103234"/>
                <a:gd name="connsiteX6" fmla="*/ 262864 w 262864"/>
                <a:gd name="connsiteY6" fmla="*/ 21868 h 103234"/>
                <a:gd name="connsiteX7" fmla="*/ 262864 w 262864"/>
                <a:gd name="connsiteY7" fmla="*/ 27752 h 103234"/>
                <a:gd name="connsiteX8" fmla="*/ 69887 w 262864"/>
                <a:gd name="connsiteY8" fmla="*/ 103060 h 103234"/>
                <a:gd name="connsiteX9" fmla="*/ 30615 w 262864"/>
                <a:gd name="connsiteY9" fmla="*/ 96294 h 103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2864" h="103234">
                  <a:moveTo>
                    <a:pt x="0" y="75341"/>
                  </a:moveTo>
                  <a:lnTo>
                    <a:pt x="62316" y="0"/>
                  </a:lnTo>
                  <a:lnTo>
                    <a:pt x="65768" y="14220"/>
                  </a:lnTo>
                  <a:cubicBezTo>
                    <a:pt x="75182" y="40107"/>
                    <a:pt x="99304" y="53051"/>
                    <a:pt x="136369" y="53051"/>
                  </a:cubicBezTo>
                  <a:cubicBezTo>
                    <a:pt x="154609" y="52462"/>
                    <a:pt x="172259" y="48932"/>
                    <a:pt x="189321" y="43637"/>
                  </a:cubicBezTo>
                  <a:cubicBezTo>
                    <a:pt x="214031" y="35988"/>
                    <a:pt x="238154" y="25987"/>
                    <a:pt x="261688" y="14220"/>
                  </a:cubicBezTo>
                  <a:cubicBezTo>
                    <a:pt x="262276" y="16573"/>
                    <a:pt x="262864" y="19515"/>
                    <a:pt x="262864" y="21868"/>
                  </a:cubicBezTo>
                  <a:lnTo>
                    <a:pt x="262864" y="27752"/>
                  </a:lnTo>
                  <a:cubicBezTo>
                    <a:pt x="200500" y="81291"/>
                    <a:pt x="118719" y="100119"/>
                    <a:pt x="69887" y="103060"/>
                  </a:cubicBezTo>
                  <a:cubicBezTo>
                    <a:pt x="56355" y="103943"/>
                    <a:pt x="42970" y="101442"/>
                    <a:pt x="30615" y="96294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8F8A3734-3F77-44C7-9A38-570198540CBC}"/>
                </a:ext>
              </a:extLst>
            </p:cNvPr>
            <p:cNvSpPr/>
            <p:nvPr/>
          </p:nvSpPr>
          <p:spPr>
            <a:xfrm rot="8716295">
              <a:off x="632719" y="1232432"/>
              <a:ext cx="121558" cy="232388"/>
            </a:xfrm>
            <a:custGeom>
              <a:avLst/>
              <a:gdLst>
                <a:gd name="connsiteX0" fmla="*/ 60499 w 121558"/>
                <a:gd name="connsiteY0" fmla="*/ 232388 h 232388"/>
                <a:gd name="connsiteX1" fmla="*/ 60499 w 121558"/>
                <a:gd name="connsiteY1" fmla="*/ 69717 h 232388"/>
                <a:gd name="connsiteX2" fmla="*/ 60499 w 121558"/>
                <a:gd name="connsiteY2" fmla="*/ 65615 h 232388"/>
                <a:gd name="connsiteX3" fmla="*/ 39995 w 121558"/>
                <a:gd name="connsiteY3" fmla="*/ 50123 h 232388"/>
                <a:gd name="connsiteX4" fmla="*/ 0 w 121558"/>
                <a:gd name="connsiteY4" fmla="*/ 50123 h 232388"/>
                <a:gd name="connsiteX5" fmla="*/ 41457 w 121558"/>
                <a:gd name="connsiteY5" fmla="*/ 0 h 232388"/>
                <a:gd name="connsiteX6" fmla="*/ 64601 w 121558"/>
                <a:gd name="connsiteY6" fmla="*/ 0 h 232388"/>
                <a:gd name="connsiteX7" fmla="*/ 121558 w 121558"/>
                <a:gd name="connsiteY7" fmla="*/ 50123 h 232388"/>
                <a:gd name="connsiteX8" fmla="*/ 121558 w 121558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558" h="232388">
                  <a:moveTo>
                    <a:pt x="60499" y="232388"/>
                  </a:moveTo>
                  <a:lnTo>
                    <a:pt x="60499" y="69717"/>
                  </a:lnTo>
                  <a:cubicBezTo>
                    <a:pt x="60499" y="68349"/>
                    <a:pt x="60499" y="66983"/>
                    <a:pt x="60499" y="65615"/>
                  </a:cubicBezTo>
                  <a:cubicBezTo>
                    <a:pt x="59133" y="55591"/>
                    <a:pt x="50019" y="48756"/>
                    <a:pt x="39995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64601" y="0"/>
                  </a:lnTo>
                  <a:cubicBezTo>
                    <a:pt x="101509" y="0"/>
                    <a:pt x="121558" y="15948"/>
                    <a:pt x="121558" y="50123"/>
                  </a:cubicBezTo>
                  <a:lnTo>
                    <a:pt x="121558" y="208238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70856B7B-717B-4AEA-95A4-A1E79A999538}"/>
                </a:ext>
              </a:extLst>
            </p:cNvPr>
            <p:cNvSpPr/>
            <p:nvPr/>
          </p:nvSpPr>
          <p:spPr>
            <a:xfrm rot="8716295">
              <a:off x="763454" y="1474783"/>
              <a:ext cx="14143" cy="14319"/>
            </a:xfrm>
            <a:custGeom>
              <a:avLst/>
              <a:gdLst>
                <a:gd name="connsiteX0" fmla="*/ 0 w 14143"/>
                <a:gd name="connsiteY0" fmla="*/ 14319 h 14319"/>
                <a:gd name="connsiteX1" fmla="*/ 11843 w 14143"/>
                <a:gd name="connsiteY1" fmla="*/ 0 h 14319"/>
                <a:gd name="connsiteX2" fmla="*/ 14143 w 14143"/>
                <a:gd name="connsiteY2" fmla="*/ 7563 h 14319"/>
                <a:gd name="connsiteX3" fmla="*/ 14143 w 14143"/>
                <a:gd name="connsiteY3" fmla="*/ 13487 h 1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43" h="14319">
                  <a:moveTo>
                    <a:pt x="0" y="14319"/>
                  </a:moveTo>
                  <a:lnTo>
                    <a:pt x="11843" y="0"/>
                  </a:lnTo>
                  <a:lnTo>
                    <a:pt x="14143" y="7563"/>
                  </a:lnTo>
                  <a:lnTo>
                    <a:pt x="14143" y="13487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3E264A51-6081-4342-94AB-E5098D8BEE47}"/>
                </a:ext>
              </a:extLst>
            </p:cNvPr>
            <p:cNvSpPr/>
            <p:nvPr/>
          </p:nvSpPr>
          <p:spPr>
            <a:xfrm rot="8716295">
              <a:off x="672878" y="1171577"/>
              <a:ext cx="183964" cy="137618"/>
            </a:xfrm>
            <a:custGeom>
              <a:avLst/>
              <a:gdLst>
                <a:gd name="connsiteX0" fmla="*/ 0 w 183964"/>
                <a:gd name="connsiteY0" fmla="*/ 137618 h 137618"/>
                <a:gd name="connsiteX1" fmla="*/ 53346 w 183964"/>
                <a:gd name="connsiteY1" fmla="*/ 73121 h 137618"/>
                <a:gd name="connsiteX2" fmla="*/ 101034 w 183964"/>
                <a:gd name="connsiteY2" fmla="*/ 28251 h 137618"/>
                <a:gd name="connsiteX3" fmla="*/ 155713 w 183964"/>
                <a:gd name="connsiteY3" fmla="*/ 0 h 137618"/>
                <a:gd name="connsiteX4" fmla="*/ 183964 w 183964"/>
                <a:gd name="connsiteY4" fmla="*/ 33719 h 137618"/>
                <a:gd name="connsiteX5" fmla="*/ 157536 w 183964"/>
                <a:gd name="connsiteY5" fmla="*/ 69261 h 137618"/>
                <a:gd name="connsiteX6" fmla="*/ 157991 w 183964"/>
                <a:gd name="connsiteY6" fmla="*/ 69261 h 137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3964" h="137618">
                  <a:moveTo>
                    <a:pt x="0" y="137618"/>
                  </a:moveTo>
                  <a:lnTo>
                    <a:pt x="53346" y="73121"/>
                  </a:lnTo>
                  <a:lnTo>
                    <a:pt x="101034" y="28251"/>
                  </a:lnTo>
                  <a:cubicBezTo>
                    <a:pt x="114703" y="12303"/>
                    <a:pt x="134297" y="2278"/>
                    <a:pt x="155713" y="0"/>
                  </a:cubicBezTo>
                  <a:cubicBezTo>
                    <a:pt x="177585" y="0"/>
                    <a:pt x="183964" y="19138"/>
                    <a:pt x="183964" y="33719"/>
                  </a:cubicBezTo>
                  <a:cubicBezTo>
                    <a:pt x="182597" y="49667"/>
                    <a:pt x="172117" y="62881"/>
                    <a:pt x="157536" y="69261"/>
                  </a:cubicBezTo>
                  <a:lnTo>
                    <a:pt x="157991" y="69261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03D4C536-74A8-424A-B4F4-647CD66813A6}"/>
                </a:ext>
              </a:extLst>
            </p:cNvPr>
            <p:cNvSpPr/>
            <p:nvPr/>
          </p:nvSpPr>
          <p:spPr>
            <a:xfrm rot="8716295">
              <a:off x="519479" y="13148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6C726A65-5764-428F-B78B-B207E19CC8A7}"/>
                </a:ext>
              </a:extLst>
            </p:cNvPr>
            <p:cNvSpPr/>
            <p:nvPr/>
          </p:nvSpPr>
          <p:spPr>
            <a:xfrm rot="8716295">
              <a:off x="394576" y="11061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B057F75B-3923-494B-B65B-A96E682E21D4}"/>
                </a:ext>
              </a:extLst>
            </p:cNvPr>
            <p:cNvSpPr/>
            <p:nvPr/>
          </p:nvSpPr>
          <p:spPr>
            <a:xfrm rot="8716295">
              <a:off x="382524" y="96739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B57FA1DB-CF40-4C3B-8603-B0C589DE9032}"/>
                </a:ext>
              </a:extLst>
            </p:cNvPr>
            <p:cNvSpPr/>
            <p:nvPr/>
          </p:nvSpPr>
          <p:spPr>
            <a:xfrm rot="8716295">
              <a:off x="609657" y="135579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8AA6873E-3CFC-4928-9C0D-5E1C199A6A43}"/>
                </a:ext>
              </a:extLst>
            </p:cNvPr>
            <p:cNvSpPr/>
            <p:nvPr/>
          </p:nvSpPr>
          <p:spPr>
            <a:xfrm rot="8716295">
              <a:off x="683426" y="869567"/>
              <a:ext cx="156000" cy="195873"/>
            </a:xfrm>
            <a:custGeom>
              <a:avLst/>
              <a:gdLst>
                <a:gd name="connsiteX0" fmla="*/ 42863 w 156000"/>
                <a:gd name="connsiteY0" fmla="*/ 195873 h 195873"/>
                <a:gd name="connsiteX1" fmla="*/ 0 w 156000"/>
                <a:gd name="connsiteY1" fmla="*/ 116129 h 195873"/>
                <a:gd name="connsiteX2" fmla="*/ 5100 w 156000"/>
                <a:gd name="connsiteY2" fmla="*/ 101988 h 195873"/>
                <a:gd name="connsiteX3" fmla="*/ 89456 w 156000"/>
                <a:gd name="connsiteY3" fmla="*/ 0 h 195873"/>
                <a:gd name="connsiteX4" fmla="*/ 156000 w 156000"/>
                <a:gd name="connsiteY4" fmla="*/ 0 h 195873"/>
                <a:gd name="connsiteX5" fmla="*/ 156000 w 156000"/>
                <a:gd name="connsiteY5" fmla="*/ 55323 h 195873"/>
                <a:gd name="connsiteX6" fmla="*/ 91208 w 156000"/>
                <a:gd name="connsiteY6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000" h="195873">
                  <a:moveTo>
                    <a:pt x="42863" y="195873"/>
                  </a:moveTo>
                  <a:lnTo>
                    <a:pt x="0" y="116129"/>
                  </a:lnTo>
                  <a:lnTo>
                    <a:pt x="5100" y="101988"/>
                  </a:lnTo>
                  <a:lnTo>
                    <a:pt x="89456" y="0"/>
                  </a:lnTo>
                  <a:lnTo>
                    <a:pt x="156000" y="0"/>
                  </a:lnTo>
                  <a:lnTo>
                    <a:pt x="156000" y="55323"/>
                  </a:lnTo>
                  <a:lnTo>
                    <a:pt x="91208" y="5532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0609DC7B-52A5-4494-9388-1386F1B7ECA0}"/>
                </a:ext>
              </a:extLst>
            </p:cNvPr>
            <p:cNvSpPr/>
            <p:nvPr/>
          </p:nvSpPr>
          <p:spPr>
            <a:xfrm rot="8716295">
              <a:off x="657305" y="95604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FA9B5438-F371-4C5C-851A-CA35F035D933}"/>
                </a:ext>
              </a:extLst>
            </p:cNvPr>
            <p:cNvSpPr/>
            <p:nvPr/>
          </p:nvSpPr>
          <p:spPr>
            <a:xfrm rot="8716295">
              <a:off x="412774" y="56424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ED2997EF-2C09-4DA3-BB88-8DA5032A40C8}"/>
                </a:ext>
              </a:extLst>
            </p:cNvPr>
            <p:cNvSpPr/>
            <p:nvPr/>
          </p:nvSpPr>
          <p:spPr>
            <a:xfrm rot="8716295">
              <a:off x="502166" y="59348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DBD136C4-820E-4184-B91F-ED5B5690DC24}"/>
                </a:ext>
              </a:extLst>
            </p:cNvPr>
            <p:cNvSpPr/>
            <p:nvPr/>
          </p:nvSpPr>
          <p:spPr>
            <a:xfrm rot="8716295">
              <a:off x="457316" y="50720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8BD8CCA9-A2C8-4634-B0CF-620A635CE67A}"/>
                </a:ext>
              </a:extLst>
            </p:cNvPr>
            <p:cNvSpPr/>
            <p:nvPr/>
          </p:nvSpPr>
          <p:spPr>
            <a:xfrm rot="8716295">
              <a:off x="300540" y="65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33B24AF7-29F7-4408-AE25-97A38660E784}"/>
                </a:ext>
              </a:extLst>
            </p:cNvPr>
            <p:cNvSpPr/>
            <p:nvPr/>
          </p:nvSpPr>
          <p:spPr>
            <a:xfrm rot="8716295">
              <a:off x="175637" y="44411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506A4C62-4148-4841-838F-A205F53AD573}"/>
                </a:ext>
              </a:extLst>
            </p:cNvPr>
            <p:cNvSpPr/>
            <p:nvPr/>
          </p:nvSpPr>
          <p:spPr>
            <a:xfrm rot="8716295">
              <a:off x="163585" y="30533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1C1A41D0-65C3-44E5-8A29-ECCEBE983C62}"/>
                </a:ext>
              </a:extLst>
            </p:cNvPr>
            <p:cNvSpPr/>
            <p:nvPr/>
          </p:nvSpPr>
          <p:spPr>
            <a:xfrm rot="8716295">
              <a:off x="390718" y="69374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A93B008E-5902-4D55-9E1E-85F07149CD35}"/>
                </a:ext>
              </a:extLst>
            </p:cNvPr>
            <p:cNvSpPr/>
            <p:nvPr/>
          </p:nvSpPr>
          <p:spPr>
            <a:xfrm rot="8716295">
              <a:off x="702015" y="317459"/>
              <a:ext cx="131260" cy="232388"/>
            </a:xfrm>
            <a:custGeom>
              <a:avLst/>
              <a:gdLst>
                <a:gd name="connsiteX0" fmla="*/ 70201 w 131260"/>
                <a:gd name="connsiteY0" fmla="*/ 232388 h 232388"/>
                <a:gd name="connsiteX1" fmla="*/ 70201 w 131260"/>
                <a:gd name="connsiteY1" fmla="*/ 69717 h 232388"/>
                <a:gd name="connsiteX2" fmla="*/ 70201 w 131260"/>
                <a:gd name="connsiteY2" fmla="*/ 65615 h 232388"/>
                <a:gd name="connsiteX3" fmla="*/ 49697 w 131260"/>
                <a:gd name="connsiteY3" fmla="*/ 50123 h 232388"/>
                <a:gd name="connsiteX4" fmla="*/ 0 w 131260"/>
                <a:gd name="connsiteY4" fmla="*/ 50123 h 232388"/>
                <a:gd name="connsiteX5" fmla="*/ 41457 w 131260"/>
                <a:gd name="connsiteY5" fmla="*/ 0 h 232388"/>
                <a:gd name="connsiteX6" fmla="*/ 74303 w 131260"/>
                <a:gd name="connsiteY6" fmla="*/ 0 h 232388"/>
                <a:gd name="connsiteX7" fmla="*/ 131260 w 131260"/>
                <a:gd name="connsiteY7" fmla="*/ 50123 h 232388"/>
                <a:gd name="connsiteX8" fmla="*/ 131260 w 131260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1260" h="232388">
                  <a:moveTo>
                    <a:pt x="70201" y="232388"/>
                  </a:moveTo>
                  <a:lnTo>
                    <a:pt x="70201" y="69717"/>
                  </a:lnTo>
                  <a:cubicBezTo>
                    <a:pt x="70201" y="68349"/>
                    <a:pt x="70201" y="66983"/>
                    <a:pt x="70201" y="65615"/>
                  </a:cubicBezTo>
                  <a:cubicBezTo>
                    <a:pt x="68835" y="55591"/>
                    <a:pt x="59721" y="48756"/>
                    <a:pt x="49697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74303" y="0"/>
                  </a:lnTo>
                  <a:cubicBezTo>
                    <a:pt x="111211" y="0"/>
                    <a:pt x="131260" y="15948"/>
                    <a:pt x="131260" y="50123"/>
                  </a:cubicBezTo>
                  <a:lnTo>
                    <a:pt x="131260" y="208238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8AA688E0-8B68-432D-AC4C-16B34E3E659F}"/>
                </a:ext>
              </a:extLst>
            </p:cNvPr>
            <p:cNvSpPr/>
            <p:nvPr/>
          </p:nvSpPr>
          <p:spPr>
            <a:xfrm rot="8716295">
              <a:off x="834978" y="558357"/>
              <a:ext cx="24341" cy="23495"/>
            </a:xfrm>
            <a:custGeom>
              <a:avLst/>
              <a:gdLst>
                <a:gd name="connsiteX0" fmla="*/ 0 w 24341"/>
                <a:gd name="connsiteY0" fmla="*/ 23495 h 23495"/>
                <a:gd name="connsiteX1" fmla="*/ 19433 w 24341"/>
                <a:gd name="connsiteY1" fmla="*/ 0 h 23495"/>
                <a:gd name="connsiteX2" fmla="*/ 24341 w 24341"/>
                <a:gd name="connsiteY2" fmla="*/ 16139 h 23495"/>
                <a:gd name="connsiteX3" fmla="*/ 24341 w 24341"/>
                <a:gd name="connsiteY3" fmla="*/ 22063 h 23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41" h="23495">
                  <a:moveTo>
                    <a:pt x="0" y="23495"/>
                  </a:moveTo>
                  <a:lnTo>
                    <a:pt x="19433" y="0"/>
                  </a:lnTo>
                  <a:lnTo>
                    <a:pt x="24341" y="16139"/>
                  </a:lnTo>
                  <a:lnTo>
                    <a:pt x="24341" y="2206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672AA540-A579-4E8F-A234-CD30C1FF0A89}"/>
                </a:ext>
              </a:extLst>
            </p:cNvPr>
            <p:cNvSpPr/>
            <p:nvPr/>
          </p:nvSpPr>
          <p:spPr>
            <a:xfrm rot="8716295">
              <a:off x="589639" y="40263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C0BAD361-E55B-42F0-893F-014DB3986A10}"/>
                </a:ext>
              </a:extLst>
            </p:cNvPr>
            <p:cNvSpPr/>
            <p:nvPr/>
          </p:nvSpPr>
          <p:spPr>
            <a:xfrm rot="8716295">
              <a:off x="464737" y="19396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C7776BC0-23C7-4489-8F09-E129A530C0CC}"/>
                </a:ext>
              </a:extLst>
            </p:cNvPr>
            <p:cNvSpPr/>
            <p:nvPr/>
          </p:nvSpPr>
          <p:spPr>
            <a:xfrm rot="8716295">
              <a:off x="679817" y="44358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6EC00833-27CA-42E8-A3F4-264B72DC896E}"/>
                </a:ext>
              </a:extLst>
            </p:cNvPr>
            <p:cNvSpPr/>
            <p:nvPr/>
          </p:nvSpPr>
          <p:spPr>
            <a:xfrm rot="8716295">
              <a:off x="438366" y="29398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1FD6DD85-FCBC-4AED-9D6D-4125AB918B1C}"/>
                </a:ext>
              </a:extLst>
            </p:cNvPr>
            <p:cNvSpPr/>
            <p:nvPr/>
          </p:nvSpPr>
          <p:spPr>
            <a:xfrm rot="7484129">
              <a:off x="811674" y="658874"/>
              <a:ext cx="31078" cy="46141"/>
            </a:xfrm>
            <a:custGeom>
              <a:avLst/>
              <a:gdLst>
                <a:gd name="connsiteX0" fmla="*/ 15207 w 31078"/>
                <a:gd name="connsiteY0" fmla="*/ 46141 h 46141"/>
                <a:gd name="connsiteX1" fmla="*/ 0 w 31078"/>
                <a:gd name="connsiteY1" fmla="*/ 17849 h 46141"/>
                <a:gd name="connsiteX2" fmla="*/ 31078 w 31078"/>
                <a:gd name="connsiteY2" fmla="*/ 0 h 46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078" h="46141">
                  <a:moveTo>
                    <a:pt x="15207" y="46141"/>
                  </a:moveTo>
                  <a:lnTo>
                    <a:pt x="0" y="17849"/>
                  </a:lnTo>
                  <a:lnTo>
                    <a:pt x="31078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ED8E04A5-1CCB-474C-BB14-6861F24B92EE}"/>
                </a:ext>
              </a:extLst>
            </p:cNvPr>
            <p:cNvSpPr/>
            <p:nvPr/>
          </p:nvSpPr>
          <p:spPr>
            <a:xfrm rot="8716295">
              <a:off x="780102" y="336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D2589E01-70DB-4980-9D5E-15028C3BF442}"/>
                </a:ext>
              </a:extLst>
            </p:cNvPr>
            <p:cNvSpPr/>
            <p:nvPr/>
          </p:nvSpPr>
          <p:spPr>
            <a:xfrm rot="8716295">
              <a:off x="202348" y="-57106"/>
              <a:ext cx="142167" cy="186494"/>
            </a:xfrm>
            <a:custGeom>
              <a:avLst/>
              <a:gdLst>
                <a:gd name="connsiteX0" fmla="*/ 142167 w 142167"/>
                <a:gd name="connsiteY0" fmla="*/ 186494 h 186494"/>
                <a:gd name="connsiteX1" fmla="*/ 81108 w 142167"/>
                <a:gd name="connsiteY1" fmla="*/ 144170 h 186494"/>
                <a:gd name="connsiteX2" fmla="*/ 81108 w 142167"/>
                <a:gd name="connsiteY2" fmla="*/ 69717 h 186494"/>
                <a:gd name="connsiteX3" fmla="*/ 81108 w 142167"/>
                <a:gd name="connsiteY3" fmla="*/ 65615 h 186494"/>
                <a:gd name="connsiteX4" fmla="*/ 60603 w 142167"/>
                <a:gd name="connsiteY4" fmla="*/ 50123 h 186494"/>
                <a:gd name="connsiteX5" fmla="*/ 0 w 142167"/>
                <a:gd name="connsiteY5" fmla="*/ 50123 h 186494"/>
                <a:gd name="connsiteX6" fmla="*/ 0 w 142167"/>
                <a:gd name="connsiteY6" fmla="*/ 0 h 186494"/>
                <a:gd name="connsiteX7" fmla="*/ 85209 w 142167"/>
                <a:gd name="connsiteY7" fmla="*/ 0 h 186494"/>
                <a:gd name="connsiteX8" fmla="*/ 142167 w 142167"/>
                <a:gd name="connsiteY8" fmla="*/ 50123 h 186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86494">
                  <a:moveTo>
                    <a:pt x="142167" y="186494"/>
                  </a:moveTo>
                  <a:lnTo>
                    <a:pt x="81108" y="144170"/>
                  </a:lnTo>
                  <a:lnTo>
                    <a:pt x="81108" y="69717"/>
                  </a:lnTo>
                  <a:cubicBezTo>
                    <a:pt x="81108" y="68349"/>
                    <a:pt x="81108" y="66983"/>
                    <a:pt x="81108" y="65615"/>
                  </a:cubicBezTo>
                  <a:cubicBezTo>
                    <a:pt x="79741" y="55591"/>
                    <a:pt x="70628" y="48756"/>
                    <a:pt x="60603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2AEF8F7A-52DD-4323-9058-8F5D8BF7C257}"/>
                </a:ext>
              </a:extLst>
            </p:cNvPr>
            <p:cNvSpPr/>
            <p:nvPr/>
          </p:nvSpPr>
          <p:spPr>
            <a:xfrm rot="8716295">
              <a:off x="298766" y="-5395"/>
              <a:ext cx="260639" cy="180054"/>
            </a:xfrm>
            <a:custGeom>
              <a:avLst/>
              <a:gdLst>
                <a:gd name="connsiteX0" fmla="*/ 111638 w 260639"/>
                <a:gd name="connsiteY0" fmla="*/ 180054 h 180054"/>
                <a:gd name="connsiteX1" fmla="*/ 51490 w 260639"/>
                <a:gd name="connsiteY1" fmla="*/ 138362 h 180054"/>
                <a:gd name="connsiteX2" fmla="*/ 51490 w 260639"/>
                <a:gd name="connsiteY2" fmla="*/ 45624 h 180054"/>
                <a:gd name="connsiteX3" fmla="*/ 0 w 260639"/>
                <a:gd name="connsiteY3" fmla="*/ 45624 h 180054"/>
                <a:gd name="connsiteX4" fmla="*/ 0 w 260639"/>
                <a:gd name="connsiteY4" fmla="*/ 1425 h 180054"/>
                <a:gd name="connsiteX5" fmla="*/ 104802 w 260639"/>
                <a:gd name="connsiteY5" fmla="*/ 1425 h 180054"/>
                <a:gd name="connsiteX6" fmla="*/ 104802 w 260639"/>
                <a:gd name="connsiteY6" fmla="*/ 75242 h 180054"/>
                <a:gd name="connsiteX7" fmla="*/ 106169 w 260639"/>
                <a:gd name="connsiteY7" fmla="*/ 75242 h 180054"/>
                <a:gd name="connsiteX8" fmla="*/ 154014 w 260639"/>
                <a:gd name="connsiteY8" fmla="*/ 5981 h 180054"/>
                <a:gd name="connsiteX9" fmla="*/ 185455 w 260639"/>
                <a:gd name="connsiteY9" fmla="*/ 57 h 180054"/>
                <a:gd name="connsiteX10" fmla="*/ 260639 w 260639"/>
                <a:gd name="connsiteY10" fmla="*/ 88456 h 180054"/>
                <a:gd name="connsiteX11" fmla="*/ 260639 w 260639"/>
                <a:gd name="connsiteY11" fmla="*/ 94380 h 180054"/>
                <a:gd name="connsiteX12" fmla="*/ 198669 w 260639"/>
                <a:gd name="connsiteY12" fmla="*/ 98025 h 180054"/>
                <a:gd name="connsiteX13" fmla="*/ 198669 w 260639"/>
                <a:gd name="connsiteY13" fmla="*/ 81621 h 180054"/>
                <a:gd name="connsiteX14" fmla="*/ 164950 w 260639"/>
                <a:gd name="connsiteY14" fmla="*/ 40156 h 180054"/>
                <a:gd name="connsiteX15" fmla="*/ 111638 w 260639"/>
                <a:gd name="connsiteY15" fmla="*/ 127643 h 180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0639" h="180054">
                  <a:moveTo>
                    <a:pt x="111638" y="180054"/>
                  </a:moveTo>
                  <a:lnTo>
                    <a:pt x="51490" y="138362"/>
                  </a:ln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4EA5F182-B436-49C8-8170-C1AD6D2F32D5}"/>
                </a:ext>
              </a:extLst>
            </p:cNvPr>
            <p:cNvSpPr/>
            <p:nvPr/>
          </p:nvSpPr>
          <p:spPr>
            <a:xfrm rot="8716295">
              <a:off x="276903" y="-12823"/>
              <a:ext cx="36272" cy="27982"/>
            </a:xfrm>
            <a:custGeom>
              <a:avLst/>
              <a:gdLst>
                <a:gd name="connsiteX0" fmla="*/ 36272 w 36272"/>
                <a:gd name="connsiteY0" fmla="*/ 27982 h 27982"/>
                <a:gd name="connsiteX1" fmla="*/ 0 w 36272"/>
                <a:gd name="connsiteY1" fmla="*/ 2840 h 27982"/>
                <a:gd name="connsiteX2" fmla="*/ 9543 w 36272"/>
                <a:gd name="connsiteY2" fmla="*/ 0 h 27982"/>
                <a:gd name="connsiteX3" fmla="*/ 31871 w 36272"/>
                <a:gd name="connsiteY3" fmla="*/ 11392 h 27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272" h="27982">
                  <a:moveTo>
                    <a:pt x="36272" y="27982"/>
                  </a:moveTo>
                  <a:lnTo>
                    <a:pt x="0" y="2840"/>
                  </a:lnTo>
                  <a:lnTo>
                    <a:pt x="9543" y="0"/>
                  </a:lnTo>
                  <a:cubicBezTo>
                    <a:pt x="20479" y="0"/>
                    <a:pt x="27542" y="4784"/>
                    <a:pt x="31871" y="11392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F421218E-0235-4F72-A3A0-C0DE2686EE65}"/>
                </a:ext>
              </a:extLst>
            </p:cNvPr>
            <p:cNvSpPr/>
            <p:nvPr/>
          </p:nvSpPr>
          <p:spPr>
            <a:xfrm rot="8716295">
              <a:off x="74640" y="-9665"/>
              <a:ext cx="58068" cy="54772"/>
            </a:xfrm>
            <a:custGeom>
              <a:avLst/>
              <a:gdLst>
                <a:gd name="connsiteX0" fmla="*/ 37436 w 58068"/>
                <a:gd name="connsiteY0" fmla="*/ 54772 h 54772"/>
                <a:gd name="connsiteX1" fmla="*/ 0 w 58068"/>
                <a:gd name="connsiteY1" fmla="*/ 28823 h 54772"/>
                <a:gd name="connsiteX2" fmla="*/ 8515 w 58068"/>
                <a:gd name="connsiteY2" fmla="*/ 8658 h 54772"/>
                <a:gd name="connsiteX3" fmla="*/ 29020 w 58068"/>
                <a:gd name="connsiteY3" fmla="*/ 0 h 54772"/>
                <a:gd name="connsiteX4" fmla="*/ 49525 w 58068"/>
                <a:gd name="connsiteY4" fmla="*/ 8658 h 54772"/>
                <a:gd name="connsiteX5" fmla="*/ 49525 w 58068"/>
                <a:gd name="connsiteY5" fmla="*/ 49668 h 5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068" h="54772">
                  <a:moveTo>
                    <a:pt x="37436" y="54772"/>
                  </a:moveTo>
                  <a:lnTo>
                    <a:pt x="0" y="28823"/>
                  </a:lnTo>
                  <a:lnTo>
                    <a:pt x="8515" y="8658"/>
                  </a:lnTo>
                  <a:cubicBezTo>
                    <a:pt x="13983" y="3190"/>
                    <a:pt x="21273" y="0"/>
                    <a:pt x="29020" y="0"/>
                  </a:cubicBezTo>
                  <a:cubicBezTo>
                    <a:pt x="36766" y="0"/>
                    <a:pt x="44057" y="3190"/>
                    <a:pt x="49525" y="8658"/>
                  </a:cubicBezTo>
                  <a:cubicBezTo>
                    <a:pt x="60916" y="19594"/>
                    <a:pt x="60916" y="38276"/>
                    <a:pt x="49525" y="49668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CE77A4A5-0ECD-4D80-A03D-A10DC965EA39}"/>
                </a:ext>
              </a:extLst>
            </p:cNvPr>
            <p:cNvSpPr/>
            <p:nvPr/>
          </p:nvSpPr>
          <p:spPr>
            <a:xfrm rot="8716295">
              <a:off x="13802" y="-10406"/>
              <a:ext cx="30027" cy="20814"/>
            </a:xfrm>
            <a:custGeom>
              <a:avLst/>
              <a:gdLst>
                <a:gd name="connsiteX0" fmla="*/ 30027 w 30027"/>
                <a:gd name="connsiteY0" fmla="*/ 20814 h 20814"/>
                <a:gd name="connsiteX1" fmla="*/ 0 w 30027"/>
                <a:gd name="connsiteY1" fmla="*/ 0 h 20814"/>
                <a:gd name="connsiteX2" fmla="*/ 30027 w 30027"/>
                <a:gd name="connsiteY2" fmla="*/ 0 h 20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027" h="20814">
                  <a:moveTo>
                    <a:pt x="30027" y="20814"/>
                  </a:moveTo>
                  <a:lnTo>
                    <a:pt x="0" y="0"/>
                  </a:lnTo>
                  <a:lnTo>
                    <a:pt x="30027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403799C4-A408-4325-A92C-9E809B8BB4D4}"/>
                </a:ext>
              </a:extLst>
            </p:cNvPr>
            <p:cNvSpPr/>
            <p:nvPr/>
          </p:nvSpPr>
          <p:spPr>
            <a:xfrm rot="8716295">
              <a:off x="168048" y="3032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01FB23B7-9B20-4D2E-83CD-6A7A68C9BDC4}"/>
                </a:ext>
              </a:extLst>
            </p:cNvPr>
            <p:cNvSpPr/>
            <p:nvPr/>
          </p:nvSpPr>
          <p:spPr>
            <a:xfrm rot="7484129">
              <a:off x="562078" y="-284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ACF32F9A-0344-4E5B-A601-5E2A5DCEE676}"/>
                </a:ext>
              </a:extLst>
            </p:cNvPr>
            <p:cNvSpPr/>
            <p:nvPr/>
          </p:nvSpPr>
          <p:spPr>
            <a:xfrm rot="13089394">
              <a:off x="767127" y="-2787"/>
              <a:ext cx="149688" cy="301067"/>
            </a:xfrm>
            <a:custGeom>
              <a:avLst/>
              <a:gdLst>
                <a:gd name="connsiteX0" fmla="*/ 149688 w 149688"/>
                <a:gd name="connsiteY0" fmla="*/ 279622 h 301067"/>
                <a:gd name="connsiteX1" fmla="*/ 122393 w 149688"/>
                <a:gd name="connsiteY1" fmla="*/ 301067 h 301067"/>
                <a:gd name="connsiteX2" fmla="*/ 0 w 149688"/>
                <a:gd name="connsiteY2" fmla="*/ 114672 h 301067"/>
                <a:gd name="connsiteX3" fmla="*/ 0 w 149688"/>
                <a:gd name="connsiteY3" fmla="*/ 38074 h 301067"/>
                <a:gd name="connsiteX4" fmla="*/ 73388 w 149688"/>
                <a:gd name="connsiteY4" fmla="*/ 0 h 301067"/>
                <a:gd name="connsiteX5" fmla="*/ 74492 w 149688"/>
                <a:gd name="connsiteY5" fmla="*/ 153950 h 301067"/>
                <a:gd name="connsiteX6" fmla="*/ 87734 w 149688"/>
                <a:gd name="connsiteY6" fmla="*/ 245547 h 301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9688" h="301067">
                  <a:moveTo>
                    <a:pt x="149688" y="279622"/>
                  </a:moveTo>
                  <a:lnTo>
                    <a:pt x="122393" y="301067"/>
                  </a:lnTo>
                  <a:lnTo>
                    <a:pt x="0" y="114672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2836" y="184850"/>
                    <a:pt x="77802" y="216302"/>
                    <a:pt x="87734" y="245547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9B540A9C-752F-4966-AE11-E0DA13D5676A}"/>
                </a:ext>
              </a:extLst>
            </p:cNvPr>
            <p:cNvSpPr/>
            <p:nvPr/>
          </p:nvSpPr>
          <p:spPr>
            <a:xfrm rot="8716295">
              <a:off x="212141" y="304502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27352092-3B53-44B3-ABC2-E6A268F28524}"/>
                </a:ext>
              </a:extLst>
            </p:cNvPr>
            <p:cNvSpPr/>
            <p:nvPr/>
          </p:nvSpPr>
          <p:spPr>
            <a:xfrm rot="8716295">
              <a:off x="301533" y="307427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1A1EEC7B-8896-4B95-9A1A-B0F21E6748C1}"/>
                </a:ext>
              </a:extLst>
            </p:cNvPr>
            <p:cNvSpPr/>
            <p:nvPr/>
          </p:nvSpPr>
          <p:spPr>
            <a:xfrm rot="8716295">
              <a:off x="256683" y="298799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4FA7D1EC-A217-4326-8F37-649F5ADE83EB}"/>
                </a:ext>
              </a:extLst>
            </p:cNvPr>
            <p:cNvSpPr/>
            <p:nvPr/>
          </p:nvSpPr>
          <p:spPr>
            <a:xfrm rot="8716295">
              <a:off x="99907" y="31335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33C99497-0B48-43C7-BD1A-0279E44CA612}"/>
                </a:ext>
              </a:extLst>
            </p:cNvPr>
            <p:cNvSpPr/>
            <p:nvPr/>
          </p:nvSpPr>
          <p:spPr>
            <a:xfrm rot="8716295">
              <a:off x="-24996" y="29248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A93858F0-0010-48FE-BF9C-AFE6080030D7}"/>
                </a:ext>
              </a:extLst>
            </p:cNvPr>
            <p:cNvSpPr/>
            <p:nvPr/>
          </p:nvSpPr>
          <p:spPr>
            <a:xfrm rot="8716295">
              <a:off x="51899" y="2754602"/>
              <a:ext cx="189488" cy="350829"/>
            </a:xfrm>
            <a:custGeom>
              <a:avLst/>
              <a:gdLst>
                <a:gd name="connsiteX0" fmla="*/ 25299 w 189488"/>
                <a:gd name="connsiteY0" fmla="*/ 321238 h 350829"/>
                <a:gd name="connsiteX1" fmla="*/ 0 w 189488"/>
                <a:gd name="connsiteY1" fmla="*/ 220042 h 350829"/>
                <a:gd name="connsiteX2" fmla="*/ 0 w 189488"/>
                <a:gd name="connsiteY2" fmla="*/ 40596 h 350829"/>
                <a:gd name="connsiteX3" fmla="*/ 78250 w 189488"/>
                <a:gd name="connsiteY3" fmla="*/ 0 h 350829"/>
                <a:gd name="connsiteX4" fmla="*/ 79427 w 189488"/>
                <a:gd name="connsiteY4" fmla="*/ 164149 h 350829"/>
                <a:gd name="connsiteX5" fmla="*/ 93547 w 189488"/>
                <a:gd name="connsiteY5" fmla="*/ 261815 h 350829"/>
                <a:gd name="connsiteX6" fmla="*/ 164148 w 189488"/>
                <a:gd name="connsiteY6" fmla="*/ 300646 h 350829"/>
                <a:gd name="connsiteX7" fmla="*/ 189488 w 189488"/>
                <a:gd name="connsiteY7" fmla="*/ 296141 h 350829"/>
                <a:gd name="connsiteX8" fmla="*/ 160617 w 189488"/>
                <a:gd name="connsiteY8" fmla="*/ 337791 h 350829"/>
                <a:gd name="connsiteX9" fmla="*/ 97666 w 189488"/>
                <a:gd name="connsiteY9" fmla="*/ 350655 h 350829"/>
                <a:gd name="connsiteX10" fmla="*/ 25299 w 189488"/>
                <a:gd name="connsiteY10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9488" h="350829">
                  <a:moveTo>
                    <a:pt x="25299" y="321238"/>
                  </a:moveTo>
                  <a:cubicBezTo>
                    <a:pt x="5295" y="301823"/>
                    <a:pt x="0" y="268286"/>
                    <a:pt x="0" y="220042"/>
                  </a:cubicBez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8" y="300646"/>
                  </a:cubicBezTo>
                  <a:lnTo>
                    <a:pt x="189488" y="296141"/>
                  </a:lnTo>
                  <a:lnTo>
                    <a:pt x="160617" y="337791"/>
                  </a:lnTo>
                  <a:lnTo>
                    <a:pt x="97666" y="350655"/>
                  </a:ln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CAFD1C73-118C-42A8-A6D1-F7527C0F98CE}"/>
                </a:ext>
              </a:extLst>
            </p:cNvPr>
            <p:cNvSpPr/>
            <p:nvPr/>
          </p:nvSpPr>
          <p:spPr>
            <a:xfrm rot="8716295">
              <a:off x="190085" y="317452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E7F4D18B-0BB2-451B-AA77-2B268E142A91}"/>
                </a:ext>
              </a:extLst>
            </p:cNvPr>
            <p:cNvSpPr/>
            <p:nvPr/>
          </p:nvSpPr>
          <p:spPr>
            <a:xfrm rot="8716295">
              <a:off x="502599" y="2802136"/>
              <a:ext cx="117588" cy="232388"/>
            </a:xfrm>
            <a:custGeom>
              <a:avLst/>
              <a:gdLst>
                <a:gd name="connsiteX0" fmla="*/ 56529 w 117588"/>
                <a:gd name="connsiteY0" fmla="*/ 232388 h 232388"/>
                <a:gd name="connsiteX1" fmla="*/ 56529 w 117588"/>
                <a:gd name="connsiteY1" fmla="*/ 69717 h 232388"/>
                <a:gd name="connsiteX2" fmla="*/ 56529 w 117588"/>
                <a:gd name="connsiteY2" fmla="*/ 65615 h 232388"/>
                <a:gd name="connsiteX3" fmla="*/ 36025 w 117588"/>
                <a:gd name="connsiteY3" fmla="*/ 50123 h 232388"/>
                <a:gd name="connsiteX4" fmla="*/ 0 w 117588"/>
                <a:gd name="connsiteY4" fmla="*/ 50123 h 232388"/>
                <a:gd name="connsiteX5" fmla="*/ 41458 w 117588"/>
                <a:gd name="connsiteY5" fmla="*/ 0 h 232388"/>
                <a:gd name="connsiteX6" fmla="*/ 60630 w 117588"/>
                <a:gd name="connsiteY6" fmla="*/ 0 h 232388"/>
                <a:gd name="connsiteX7" fmla="*/ 117588 w 117588"/>
                <a:gd name="connsiteY7" fmla="*/ 50123 h 232388"/>
                <a:gd name="connsiteX8" fmla="*/ 117588 w 117588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7588" h="232388">
                  <a:moveTo>
                    <a:pt x="56529" y="232388"/>
                  </a:moveTo>
                  <a:lnTo>
                    <a:pt x="56529" y="69717"/>
                  </a:lnTo>
                  <a:cubicBezTo>
                    <a:pt x="56529" y="68349"/>
                    <a:pt x="56529" y="66983"/>
                    <a:pt x="56529" y="65615"/>
                  </a:cubicBezTo>
                  <a:cubicBezTo>
                    <a:pt x="55163" y="55591"/>
                    <a:pt x="46049" y="48756"/>
                    <a:pt x="36025" y="50123"/>
                  </a:cubicBezTo>
                  <a:lnTo>
                    <a:pt x="0" y="50123"/>
                  </a:lnTo>
                  <a:lnTo>
                    <a:pt x="41458" y="0"/>
                  </a:lnTo>
                  <a:lnTo>
                    <a:pt x="60630" y="0"/>
                  </a:lnTo>
                  <a:cubicBezTo>
                    <a:pt x="97539" y="0"/>
                    <a:pt x="117588" y="15948"/>
                    <a:pt x="117588" y="50123"/>
                  </a:cubicBezTo>
                  <a:lnTo>
                    <a:pt x="117588" y="208238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6F67DBA9-AD6C-4780-AA17-98BCE9381DC5}"/>
                </a:ext>
              </a:extLst>
            </p:cNvPr>
            <p:cNvSpPr/>
            <p:nvPr/>
          </p:nvSpPr>
          <p:spPr>
            <a:xfrm rot="8716295">
              <a:off x="389006" y="2883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60CE2A9A-219E-42C9-9F53-FED763C7A971}"/>
                </a:ext>
              </a:extLst>
            </p:cNvPr>
            <p:cNvSpPr/>
            <p:nvPr/>
          </p:nvSpPr>
          <p:spPr>
            <a:xfrm rot="8716295">
              <a:off x="264104" y="267474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5F47A361-80F1-4C02-906B-845AB367B960}"/>
                </a:ext>
              </a:extLst>
            </p:cNvPr>
            <p:cNvSpPr/>
            <p:nvPr/>
          </p:nvSpPr>
          <p:spPr>
            <a:xfrm rot="8716295">
              <a:off x="479184" y="292437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2CC40EA3-7663-4B10-9112-24251EC60BEA}"/>
                </a:ext>
              </a:extLst>
            </p:cNvPr>
            <p:cNvSpPr/>
            <p:nvPr/>
          </p:nvSpPr>
          <p:spPr>
            <a:xfrm rot="8716295">
              <a:off x="237733" y="277477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96946020-930E-406D-ABEE-7096E7CB1426}"/>
                </a:ext>
              </a:extLst>
            </p:cNvPr>
            <p:cNvSpPr/>
            <p:nvPr/>
          </p:nvSpPr>
          <p:spPr>
            <a:xfrm rot="7484129">
              <a:off x="609980" y="3142825"/>
              <a:ext cx="20881" cy="31001"/>
            </a:xfrm>
            <a:custGeom>
              <a:avLst/>
              <a:gdLst>
                <a:gd name="connsiteX0" fmla="*/ 10218 w 20881"/>
                <a:gd name="connsiteY0" fmla="*/ 31001 h 31001"/>
                <a:gd name="connsiteX1" fmla="*/ 0 w 20881"/>
                <a:gd name="connsiteY1" fmla="*/ 11992 h 31001"/>
                <a:gd name="connsiteX2" fmla="*/ 20881 w 20881"/>
                <a:gd name="connsiteY2" fmla="*/ 0 h 31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881" h="31001">
                  <a:moveTo>
                    <a:pt x="10218" y="31001"/>
                  </a:moveTo>
                  <a:lnTo>
                    <a:pt x="0" y="11992"/>
                  </a:lnTo>
                  <a:lnTo>
                    <a:pt x="20881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9709EEED-4F73-41F3-A069-C965126CECA4}"/>
                </a:ext>
              </a:extLst>
            </p:cNvPr>
            <p:cNvSpPr/>
            <p:nvPr/>
          </p:nvSpPr>
          <p:spPr>
            <a:xfrm rot="8716295">
              <a:off x="579469" y="28172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AB7C8B58-13F0-4FCC-99DC-3B3AAD65E69B}"/>
                </a:ext>
              </a:extLst>
            </p:cNvPr>
            <p:cNvSpPr/>
            <p:nvPr/>
          </p:nvSpPr>
          <p:spPr>
            <a:xfrm rot="8716295">
              <a:off x="437995" y="3716235"/>
              <a:ext cx="102679" cy="232388"/>
            </a:xfrm>
            <a:custGeom>
              <a:avLst/>
              <a:gdLst>
                <a:gd name="connsiteX0" fmla="*/ 41620 w 102679"/>
                <a:gd name="connsiteY0" fmla="*/ 232388 h 232388"/>
                <a:gd name="connsiteX1" fmla="*/ 41620 w 102679"/>
                <a:gd name="connsiteY1" fmla="*/ 69717 h 232388"/>
                <a:gd name="connsiteX2" fmla="*/ 41620 w 102679"/>
                <a:gd name="connsiteY2" fmla="*/ 65615 h 232388"/>
                <a:gd name="connsiteX3" fmla="*/ 21116 w 102679"/>
                <a:gd name="connsiteY3" fmla="*/ 50123 h 232388"/>
                <a:gd name="connsiteX4" fmla="*/ 0 w 102679"/>
                <a:gd name="connsiteY4" fmla="*/ 50123 h 232388"/>
                <a:gd name="connsiteX5" fmla="*/ 41457 w 102679"/>
                <a:gd name="connsiteY5" fmla="*/ 0 h 232388"/>
                <a:gd name="connsiteX6" fmla="*/ 45721 w 102679"/>
                <a:gd name="connsiteY6" fmla="*/ 0 h 232388"/>
                <a:gd name="connsiteX7" fmla="*/ 102679 w 102679"/>
                <a:gd name="connsiteY7" fmla="*/ 50123 h 232388"/>
                <a:gd name="connsiteX8" fmla="*/ 102679 w 102679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2679" h="232388">
                  <a:moveTo>
                    <a:pt x="41620" y="232388"/>
                  </a:moveTo>
                  <a:lnTo>
                    <a:pt x="41620" y="69717"/>
                  </a:lnTo>
                  <a:cubicBezTo>
                    <a:pt x="41620" y="68349"/>
                    <a:pt x="41620" y="66983"/>
                    <a:pt x="41620" y="65615"/>
                  </a:cubicBezTo>
                  <a:cubicBezTo>
                    <a:pt x="40254" y="55591"/>
                    <a:pt x="31140" y="48756"/>
                    <a:pt x="21116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45721" y="0"/>
                  </a:lnTo>
                  <a:cubicBezTo>
                    <a:pt x="82630" y="0"/>
                    <a:pt x="102679" y="15948"/>
                    <a:pt x="102679" y="50123"/>
                  </a:cubicBezTo>
                  <a:lnTo>
                    <a:pt x="102679" y="208238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9C4DC6CC-AFAA-4414-8BA6-D58CC891D657}"/>
                </a:ext>
              </a:extLst>
            </p:cNvPr>
            <p:cNvSpPr/>
            <p:nvPr/>
          </p:nvSpPr>
          <p:spPr>
            <a:xfrm rot="8716295">
              <a:off x="482715" y="3669965"/>
              <a:ext cx="154563" cy="124897"/>
            </a:xfrm>
            <a:custGeom>
              <a:avLst/>
              <a:gdLst>
                <a:gd name="connsiteX0" fmla="*/ 0 w 154563"/>
                <a:gd name="connsiteY0" fmla="*/ 124897 h 124897"/>
                <a:gd name="connsiteX1" fmla="*/ 95474 w 154563"/>
                <a:gd name="connsiteY1" fmla="*/ 9467 h 124897"/>
                <a:gd name="connsiteX2" fmla="*/ 96067 w 154563"/>
                <a:gd name="connsiteY2" fmla="*/ 9000 h 124897"/>
                <a:gd name="connsiteX3" fmla="*/ 126312 w 154563"/>
                <a:gd name="connsiteY3" fmla="*/ 0 h 124897"/>
                <a:gd name="connsiteX4" fmla="*/ 154563 w 154563"/>
                <a:gd name="connsiteY4" fmla="*/ 33719 h 124897"/>
                <a:gd name="connsiteX5" fmla="*/ 128135 w 154563"/>
                <a:gd name="connsiteY5" fmla="*/ 69261 h 124897"/>
                <a:gd name="connsiteX6" fmla="*/ 128590 w 154563"/>
                <a:gd name="connsiteY6" fmla="*/ 69261 h 12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4563" h="124897">
                  <a:moveTo>
                    <a:pt x="0" y="124897"/>
                  </a:moveTo>
                  <a:lnTo>
                    <a:pt x="95474" y="9467"/>
                  </a:lnTo>
                  <a:lnTo>
                    <a:pt x="96067" y="9000"/>
                  </a:lnTo>
                  <a:cubicBezTo>
                    <a:pt x="105351" y="4215"/>
                    <a:pt x="115604" y="1139"/>
                    <a:pt x="126312" y="0"/>
                  </a:cubicBezTo>
                  <a:cubicBezTo>
                    <a:pt x="148184" y="0"/>
                    <a:pt x="154563" y="19138"/>
                    <a:pt x="154563" y="33719"/>
                  </a:cubicBezTo>
                  <a:cubicBezTo>
                    <a:pt x="153196" y="49668"/>
                    <a:pt x="142715" y="62882"/>
                    <a:pt x="128135" y="69261"/>
                  </a:cubicBezTo>
                  <a:lnTo>
                    <a:pt x="128590" y="69261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orme libre : forme 58">
              <a:extLst>
                <a:ext uri="{FF2B5EF4-FFF2-40B4-BE49-F238E27FC236}">
                  <a16:creationId xmlns:a16="http://schemas.microsoft.com/office/drawing/2014/main" id="{4EE0C0AC-519B-4FC6-8231-6D03F18E647C}"/>
                </a:ext>
              </a:extLst>
            </p:cNvPr>
            <p:cNvSpPr/>
            <p:nvPr/>
          </p:nvSpPr>
          <p:spPr>
            <a:xfrm rot="8716295">
              <a:off x="323074" y="379327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orme libre : forme 59">
              <a:extLst>
                <a:ext uri="{FF2B5EF4-FFF2-40B4-BE49-F238E27FC236}">
                  <a16:creationId xmlns:a16="http://schemas.microsoft.com/office/drawing/2014/main" id="{D6F59EA5-8316-4C20-AADC-7D706ECCBE6F}"/>
                </a:ext>
              </a:extLst>
            </p:cNvPr>
            <p:cNvSpPr/>
            <p:nvPr/>
          </p:nvSpPr>
          <p:spPr>
            <a:xfrm rot="8716295">
              <a:off x="198171" y="358459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orme libre : forme 60">
              <a:extLst>
                <a:ext uri="{FF2B5EF4-FFF2-40B4-BE49-F238E27FC236}">
                  <a16:creationId xmlns:a16="http://schemas.microsoft.com/office/drawing/2014/main" id="{B0440107-C1DF-4CF9-A961-BF836C4847FA}"/>
                </a:ext>
              </a:extLst>
            </p:cNvPr>
            <p:cNvSpPr/>
            <p:nvPr/>
          </p:nvSpPr>
          <p:spPr>
            <a:xfrm rot="8716295">
              <a:off x="186119" y="344581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orme libre : forme 61">
              <a:extLst>
                <a:ext uri="{FF2B5EF4-FFF2-40B4-BE49-F238E27FC236}">
                  <a16:creationId xmlns:a16="http://schemas.microsoft.com/office/drawing/2014/main" id="{FAD20847-20DA-4661-A963-D2C01E523D8E}"/>
                </a:ext>
              </a:extLst>
            </p:cNvPr>
            <p:cNvSpPr/>
            <p:nvPr/>
          </p:nvSpPr>
          <p:spPr>
            <a:xfrm rot="8716295">
              <a:off x="410218" y="3834716"/>
              <a:ext cx="103435" cy="219174"/>
            </a:xfrm>
            <a:custGeom>
              <a:avLst/>
              <a:gdLst>
                <a:gd name="connsiteX0" fmla="*/ 103435 w 103435"/>
                <a:gd name="connsiteY0" fmla="*/ 219174 h 219174"/>
                <a:gd name="connsiteX1" fmla="*/ 43288 w 103435"/>
                <a:gd name="connsiteY1" fmla="*/ 161305 h 219174"/>
                <a:gd name="connsiteX2" fmla="*/ 43288 w 103435"/>
                <a:gd name="connsiteY2" fmla="*/ 16404 h 219174"/>
                <a:gd name="connsiteX3" fmla="*/ 0 w 103435"/>
                <a:gd name="connsiteY3" fmla="*/ 16404 h 219174"/>
                <a:gd name="connsiteX4" fmla="*/ 0 w 103435"/>
                <a:gd name="connsiteY4" fmla="*/ 16028 h 219174"/>
                <a:gd name="connsiteX5" fmla="*/ 11583 w 103435"/>
                <a:gd name="connsiteY5" fmla="*/ 2023 h 219174"/>
                <a:gd name="connsiteX6" fmla="*/ 103435 w 103435"/>
                <a:gd name="connsiteY6" fmla="*/ 0 h 219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19174">
                  <a:moveTo>
                    <a:pt x="103435" y="219174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16028"/>
                  </a:lnTo>
                  <a:lnTo>
                    <a:pt x="11583" y="2023"/>
                  </a:lnTo>
                  <a:lnTo>
                    <a:pt x="103435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orme libre : forme 62">
              <a:extLst>
                <a:ext uri="{FF2B5EF4-FFF2-40B4-BE49-F238E27FC236}">
                  <a16:creationId xmlns:a16="http://schemas.microsoft.com/office/drawing/2014/main" id="{28D4D932-7CCD-4A1C-82BE-BDC6C863C34D}"/>
                </a:ext>
              </a:extLst>
            </p:cNvPr>
            <p:cNvSpPr/>
            <p:nvPr/>
          </p:nvSpPr>
          <p:spPr>
            <a:xfrm rot="8716295">
              <a:off x="487452" y="3349370"/>
              <a:ext cx="151162" cy="195873"/>
            </a:xfrm>
            <a:custGeom>
              <a:avLst/>
              <a:gdLst>
                <a:gd name="connsiteX0" fmla="*/ 38025 w 151162"/>
                <a:gd name="connsiteY0" fmla="*/ 195873 h 195873"/>
                <a:gd name="connsiteX1" fmla="*/ 0 w 151162"/>
                <a:gd name="connsiteY1" fmla="*/ 125130 h 195873"/>
                <a:gd name="connsiteX2" fmla="*/ 103497 w 151162"/>
                <a:gd name="connsiteY2" fmla="*/ 0 h 195873"/>
                <a:gd name="connsiteX3" fmla="*/ 151162 w 151162"/>
                <a:gd name="connsiteY3" fmla="*/ 0 h 195873"/>
                <a:gd name="connsiteX4" fmla="*/ 151162 w 151162"/>
                <a:gd name="connsiteY4" fmla="*/ 55323 h 195873"/>
                <a:gd name="connsiteX5" fmla="*/ 86370 w 151162"/>
                <a:gd name="connsiteY5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1162" h="195873">
                  <a:moveTo>
                    <a:pt x="38025" y="195873"/>
                  </a:moveTo>
                  <a:lnTo>
                    <a:pt x="0" y="125130"/>
                  </a:lnTo>
                  <a:lnTo>
                    <a:pt x="103497" y="0"/>
                  </a:lnTo>
                  <a:lnTo>
                    <a:pt x="151162" y="0"/>
                  </a:lnTo>
                  <a:lnTo>
                    <a:pt x="151162" y="55323"/>
                  </a:lnTo>
                  <a:lnTo>
                    <a:pt x="86370" y="5532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orme libre : forme 63">
              <a:extLst>
                <a:ext uri="{FF2B5EF4-FFF2-40B4-BE49-F238E27FC236}">
                  <a16:creationId xmlns:a16="http://schemas.microsoft.com/office/drawing/2014/main" id="{CC6BD8CB-3AAF-4232-9DAB-6067219DB083}"/>
                </a:ext>
              </a:extLst>
            </p:cNvPr>
            <p:cNvSpPr/>
            <p:nvPr/>
          </p:nvSpPr>
          <p:spPr>
            <a:xfrm rot="8716295">
              <a:off x="460900" y="343447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orme libre : forme 64">
              <a:extLst>
                <a:ext uri="{FF2B5EF4-FFF2-40B4-BE49-F238E27FC236}">
                  <a16:creationId xmlns:a16="http://schemas.microsoft.com/office/drawing/2014/main" id="{C4402BE5-EFA1-455E-87AA-2CF0F2131AB9}"/>
                </a:ext>
              </a:extLst>
            </p:cNvPr>
            <p:cNvSpPr/>
            <p:nvPr/>
          </p:nvSpPr>
          <p:spPr>
            <a:xfrm rot="8716295">
              <a:off x="417336" y="4258920"/>
              <a:ext cx="147637" cy="195874"/>
            </a:xfrm>
            <a:custGeom>
              <a:avLst/>
              <a:gdLst>
                <a:gd name="connsiteX0" fmla="*/ 34500 w 147637"/>
                <a:gd name="connsiteY0" fmla="*/ 195874 h 195874"/>
                <a:gd name="connsiteX1" fmla="*/ 0 w 147637"/>
                <a:gd name="connsiteY1" fmla="*/ 131688 h 195874"/>
                <a:gd name="connsiteX2" fmla="*/ 108921 w 147637"/>
                <a:gd name="connsiteY2" fmla="*/ 0 h 195874"/>
                <a:gd name="connsiteX3" fmla="*/ 147637 w 147637"/>
                <a:gd name="connsiteY3" fmla="*/ 0 h 195874"/>
                <a:gd name="connsiteX4" fmla="*/ 147637 w 147637"/>
                <a:gd name="connsiteY4" fmla="*/ 55323 h 195874"/>
                <a:gd name="connsiteX5" fmla="*/ 82845 w 147637"/>
                <a:gd name="connsiteY5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7637" h="195874">
                  <a:moveTo>
                    <a:pt x="34500" y="195874"/>
                  </a:moveTo>
                  <a:lnTo>
                    <a:pt x="0" y="131688"/>
                  </a:lnTo>
                  <a:lnTo>
                    <a:pt x="108921" y="0"/>
                  </a:lnTo>
                  <a:lnTo>
                    <a:pt x="147637" y="0"/>
                  </a:lnTo>
                  <a:lnTo>
                    <a:pt x="147637" y="55323"/>
                  </a:lnTo>
                  <a:lnTo>
                    <a:pt x="82845" y="5532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orme libre : forme 65">
              <a:extLst>
                <a:ext uri="{FF2B5EF4-FFF2-40B4-BE49-F238E27FC236}">
                  <a16:creationId xmlns:a16="http://schemas.microsoft.com/office/drawing/2014/main" id="{61A670F2-3CC6-425A-A67F-3F30EE51B04A}"/>
                </a:ext>
              </a:extLst>
            </p:cNvPr>
            <p:cNvSpPr/>
            <p:nvPr/>
          </p:nvSpPr>
          <p:spPr>
            <a:xfrm rot="8716295">
              <a:off x="330834" y="4134902"/>
              <a:ext cx="254613" cy="91157"/>
            </a:xfrm>
            <a:custGeom>
              <a:avLst/>
              <a:gdLst>
                <a:gd name="connsiteX0" fmla="*/ 0 w 254613"/>
                <a:gd name="connsiteY0" fmla="*/ 68911 h 91157"/>
                <a:gd name="connsiteX1" fmla="*/ 56997 w 254613"/>
                <a:gd name="connsiteY1" fmla="*/ 0 h 91157"/>
                <a:gd name="connsiteX2" fmla="*/ 57517 w 254613"/>
                <a:gd name="connsiteY2" fmla="*/ 2143 h 91157"/>
                <a:gd name="connsiteX3" fmla="*/ 128118 w 254613"/>
                <a:gd name="connsiteY3" fmla="*/ 40974 h 91157"/>
                <a:gd name="connsiteX4" fmla="*/ 181070 w 254613"/>
                <a:gd name="connsiteY4" fmla="*/ 31560 h 91157"/>
                <a:gd name="connsiteX5" fmla="*/ 253437 w 254613"/>
                <a:gd name="connsiteY5" fmla="*/ 2143 h 91157"/>
                <a:gd name="connsiteX6" fmla="*/ 254613 w 254613"/>
                <a:gd name="connsiteY6" fmla="*/ 9791 h 91157"/>
                <a:gd name="connsiteX7" fmla="*/ 254613 w 254613"/>
                <a:gd name="connsiteY7" fmla="*/ 15674 h 91157"/>
                <a:gd name="connsiteX8" fmla="*/ 61636 w 254613"/>
                <a:gd name="connsiteY8" fmla="*/ 90983 h 91157"/>
                <a:gd name="connsiteX9" fmla="*/ 22363 w 254613"/>
                <a:gd name="connsiteY9" fmla="*/ 84217 h 91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4613" h="91157">
                  <a:moveTo>
                    <a:pt x="0" y="68911"/>
                  </a:moveTo>
                  <a:lnTo>
                    <a:pt x="56997" y="0"/>
                  </a:lnTo>
                  <a:lnTo>
                    <a:pt x="57517" y="2143"/>
                  </a:lnTo>
                  <a:cubicBezTo>
                    <a:pt x="66931" y="28030"/>
                    <a:pt x="91053" y="40974"/>
                    <a:pt x="128118" y="40974"/>
                  </a:cubicBezTo>
                  <a:cubicBezTo>
                    <a:pt x="146357" y="40385"/>
                    <a:pt x="164008" y="36855"/>
                    <a:pt x="181070" y="31560"/>
                  </a:cubicBezTo>
                  <a:cubicBezTo>
                    <a:pt x="205780" y="23912"/>
                    <a:pt x="229903" y="13910"/>
                    <a:pt x="253437" y="2143"/>
                  </a:cubicBezTo>
                  <a:cubicBezTo>
                    <a:pt x="254025" y="4496"/>
                    <a:pt x="254613" y="7438"/>
                    <a:pt x="254613" y="9791"/>
                  </a:cubicBezTo>
                  <a:lnTo>
                    <a:pt x="254613" y="15674"/>
                  </a:lnTo>
                  <a:cubicBezTo>
                    <a:pt x="192249" y="69215"/>
                    <a:pt x="110468" y="88042"/>
                    <a:pt x="61636" y="90983"/>
                  </a:cubicBezTo>
                  <a:cubicBezTo>
                    <a:pt x="48104" y="91866"/>
                    <a:pt x="34719" y="89365"/>
                    <a:pt x="22363" y="84217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orme libre : forme 66">
              <a:extLst>
                <a:ext uri="{FF2B5EF4-FFF2-40B4-BE49-F238E27FC236}">
                  <a16:creationId xmlns:a16="http://schemas.microsoft.com/office/drawing/2014/main" id="{8311F45B-46D1-4E93-B5FB-C96A0B131FB3}"/>
                </a:ext>
              </a:extLst>
            </p:cNvPr>
            <p:cNvSpPr/>
            <p:nvPr/>
          </p:nvSpPr>
          <p:spPr>
            <a:xfrm rot="8716295">
              <a:off x="-3428" y="2405990"/>
              <a:ext cx="142167" cy="208592"/>
            </a:xfrm>
            <a:custGeom>
              <a:avLst/>
              <a:gdLst>
                <a:gd name="connsiteX0" fmla="*/ 81108 w 142167"/>
                <a:gd name="connsiteY0" fmla="*/ 208592 h 208592"/>
                <a:gd name="connsiteX1" fmla="*/ 81108 w 142167"/>
                <a:gd name="connsiteY1" fmla="*/ 69717 h 208592"/>
                <a:gd name="connsiteX2" fmla="*/ 81108 w 142167"/>
                <a:gd name="connsiteY2" fmla="*/ 65615 h 208592"/>
                <a:gd name="connsiteX3" fmla="*/ 60604 w 142167"/>
                <a:gd name="connsiteY3" fmla="*/ 50123 h 208592"/>
                <a:gd name="connsiteX4" fmla="*/ 0 w 142167"/>
                <a:gd name="connsiteY4" fmla="*/ 50123 h 208592"/>
                <a:gd name="connsiteX5" fmla="*/ 0 w 142167"/>
                <a:gd name="connsiteY5" fmla="*/ 0 h 208592"/>
                <a:gd name="connsiteX6" fmla="*/ 85210 w 142167"/>
                <a:gd name="connsiteY6" fmla="*/ 0 h 208592"/>
                <a:gd name="connsiteX7" fmla="*/ 142167 w 142167"/>
                <a:gd name="connsiteY7" fmla="*/ 50123 h 208592"/>
                <a:gd name="connsiteX8" fmla="*/ 142167 w 142167"/>
                <a:gd name="connsiteY8" fmla="*/ 120504 h 20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08592">
                  <a:moveTo>
                    <a:pt x="81108" y="208592"/>
                  </a:moveTo>
                  <a:lnTo>
                    <a:pt x="81108" y="69717"/>
                  </a:lnTo>
                  <a:cubicBezTo>
                    <a:pt x="81108" y="68350"/>
                    <a:pt x="81108" y="66983"/>
                    <a:pt x="81108" y="65615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10" y="0"/>
                  </a:lnTo>
                  <a:cubicBezTo>
                    <a:pt x="122118" y="0"/>
                    <a:pt x="142167" y="15948"/>
                    <a:pt x="142167" y="50123"/>
                  </a:cubicBezTo>
                  <a:lnTo>
                    <a:pt x="142167" y="120504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FBB49843-79D6-49E9-8512-3ED8074BAF49}"/>
                </a:ext>
              </a:extLst>
            </p:cNvPr>
            <p:cNvSpPr/>
            <p:nvPr/>
          </p:nvSpPr>
          <p:spPr>
            <a:xfrm rot="8716295">
              <a:off x="80015" y="241329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orme libre : forme 68">
              <a:extLst>
                <a:ext uri="{FF2B5EF4-FFF2-40B4-BE49-F238E27FC236}">
                  <a16:creationId xmlns:a16="http://schemas.microsoft.com/office/drawing/2014/main" id="{2588E0D5-81C5-4973-87D7-DBF7607FAFF4}"/>
                </a:ext>
              </a:extLst>
            </p:cNvPr>
            <p:cNvSpPr/>
            <p:nvPr/>
          </p:nvSpPr>
          <p:spPr>
            <a:xfrm rot="8716295">
              <a:off x="35165" y="232701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orme libre : forme 69">
              <a:extLst>
                <a:ext uri="{FF2B5EF4-FFF2-40B4-BE49-F238E27FC236}">
                  <a16:creationId xmlns:a16="http://schemas.microsoft.com/office/drawing/2014/main" id="{4C19B60F-0DA9-4BC3-BAAD-2E7DE57F5376}"/>
                </a:ext>
              </a:extLst>
            </p:cNvPr>
            <p:cNvSpPr/>
            <p:nvPr/>
          </p:nvSpPr>
          <p:spPr>
            <a:xfrm rot="8716295">
              <a:off x="-20257" y="2217087"/>
              <a:ext cx="78731" cy="180665"/>
            </a:xfrm>
            <a:custGeom>
              <a:avLst/>
              <a:gdLst>
                <a:gd name="connsiteX0" fmla="*/ 0 w 78731"/>
                <a:gd name="connsiteY0" fmla="*/ 180665 h 180665"/>
                <a:gd name="connsiteX1" fmla="*/ 0 w 78731"/>
                <a:gd name="connsiteY1" fmla="*/ 40596 h 180665"/>
                <a:gd name="connsiteX2" fmla="*/ 78250 w 78731"/>
                <a:gd name="connsiteY2" fmla="*/ 0 h 180665"/>
                <a:gd name="connsiteX3" fmla="*/ 78731 w 78731"/>
                <a:gd name="connsiteY3" fmla="*/ 67083 h 180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731" h="180665">
                  <a:moveTo>
                    <a:pt x="0" y="180665"/>
                  </a:moveTo>
                  <a:lnTo>
                    <a:pt x="0" y="40596"/>
                  </a:lnTo>
                  <a:lnTo>
                    <a:pt x="78250" y="0"/>
                  </a:lnTo>
                  <a:lnTo>
                    <a:pt x="78731" y="6708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orme libre : forme 70">
              <a:extLst>
                <a:ext uri="{FF2B5EF4-FFF2-40B4-BE49-F238E27FC236}">
                  <a16:creationId xmlns:a16="http://schemas.microsoft.com/office/drawing/2014/main" id="{6EC16758-5536-44AA-B18E-D5428BFF36DA}"/>
                </a:ext>
              </a:extLst>
            </p:cNvPr>
            <p:cNvSpPr/>
            <p:nvPr/>
          </p:nvSpPr>
          <p:spPr>
            <a:xfrm rot="8716295">
              <a:off x="-15341" y="2575209"/>
              <a:ext cx="103435" cy="152027"/>
            </a:xfrm>
            <a:custGeom>
              <a:avLst/>
              <a:gdLst>
                <a:gd name="connsiteX0" fmla="*/ 43288 w 103435"/>
                <a:gd name="connsiteY0" fmla="*/ 152027 h 152027"/>
                <a:gd name="connsiteX1" fmla="*/ 43288 w 103435"/>
                <a:gd name="connsiteY1" fmla="*/ 16404 h 152027"/>
                <a:gd name="connsiteX2" fmla="*/ 0 w 103435"/>
                <a:gd name="connsiteY2" fmla="*/ 16404 h 152027"/>
                <a:gd name="connsiteX3" fmla="*/ 0 w 103435"/>
                <a:gd name="connsiteY3" fmla="*/ 2278 h 152027"/>
                <a:gd name="connsiteX4" fmla="*/ 103435 w 103435"/>
                <a:gd name="connsiteY4" fmla="*/ 0 h 152027"/>
                <a:gd name="connsiteX5" fmla="*/ 103435 w 103435"/>
                <a:gd name="connsiteY5" fmla="*/ 65255 h 152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152027">
                  <a:moveTo>
                    <a:pt x="43288" y="152027"/>
                  </a:move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65255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orme libre : forme 71">
              <a:extLst>
                <a:ext uri="{FF2B5EF4-FFF2-40B4-BE49-F238E27FC236}">
                  <a16:creationId xmlns:a16="http://schemas.microsoft.com/office/drawing/2014/main" id="{F8CD2FD6-8E29-4A7B-A6E7-A08269AC0224}"/>
                </a:ext>
              </a:extLst>
            </p:cNvPr>
            <p:cNvSpPr/>
            <p:nvPr/>
          </p:nvSpPr>
          <p:spPr>
            <a:xfrm rot="8716295">
              <a:off x="279722" y="21339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orme libre : forme 72">
              <a:extLst>
                <a:ext uri="{FF2B5EF4-FFF2-40B4-BE49-F238E27FC236}">
                  <a16:creationId xmlns:a16="http://schemas.microsoft.com/office/drawing/2014/main" id="{B8E4BE1C-C619-4E1A-8472-B00AFC43BA29}"/>
                </a:ext>
              </a:extLst>
            </p:cNvPr>
            <p:cNvSpPr/>
            <p:nvPr/>
          </p:nvSpPr>
          <p:spPr>
            <a:xfrm rot="8716295">
              <a:off x="369114" y="21631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" name="Forme libre : forme 73">
              <a:extLst>
                <a:ext uri="{FF2B5EF4-FFF2-40B4-BE49-F238E27FC236}">
                  <a16:creationId xmlns:a16="http://schemas.microsoft.com/office/drawing/2014/main" id="{E00D5309-AD7C-43C7-8A0B-B7211B97E879}"/>
                </a:ext>
              </a:extLst>
            </p:cNvPr>
            <p:cNvSpPr/>
            <p:nvPr/>
          </p:nvSpPr>
          <p:spPr>
            <a:xfrm rot="8716295">
              <a:off x="167488" y="22224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" name="Forme libre : forme 74">
              <a:extLst>
                <a:ext uri="{FF2B5EF4-FFF2-40B4-BE49-F238E27FC236}">
                  <a16:creationId xmlns:a16="http://schemas.microsoft.com/office/drawing/2014/main" id="{569B59A1-12B4-4886-9F85-B0AFCE236D87}"/>
                </a:ext>
              </a:extLst>
            </p:cNvPr>
            <p:cNvSpPr/>
            <p:nvPr/>
          </p:nvSpPr>
          <p:spPr>
            <a:xfrm rot="8716295">
              <a:off x="42586" y="20137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" name="Forme libre : forme 75">
              <a:extLst>
                <a:ext uri="{FF2B5EF4-FFF2-40B4-BE49-F238E27FC236}">
                  <a16:creationId xmlns:a16="http://schemas.microsoft.com/office/drawing/2014/main" id="{F564295A-16CC-45A5-86A1-4CEC6CD90425}"/>
                </a:ext>
              </a:extLst>
            </p:cNvPr>
            <p:cNvSpPr/>
            <p:nvPr/>
          </p:nvSpPr>
          <p:spPr>
            <a:xfrm rot="8716295">
              <a:off x="257666" y="226339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" name="Forme libre : forme 76">
              <a:extLst>
                <a:ext uri="{FF2B5EF4-FFF2-40B4-BE49-F238E27FC236}">
                  <a16:creationId xmlns:a16="http://schemas.microsoft.com/office/drawing/2014/main" id="{2384700C-00D8-4B4D-ABDF-BE0456A14505}"/>
                </a:ext>
              </a:extLst>
            </p:cNvPr>
            <p:cNvSpPr/>
            <p:nvPr/>
          </p:nvSpPr>
          <p:spPr>
            <a:xfrm rot="8716295">
              <a:off x="16215" y="211379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" name="Forme libre : forme 77">
              <a:extLst>
                <a:ext uri="{FF2B5EF4-FFF2-40B4-BE49-F238E27FC236}">
                  <a16:creationId xmlns:a16="http://schemas.microsoft.com/office/drawing/2014/main" id="{D8BA4606-ED26-402C-93D7-D77E55C056EF}"/>
                </a:ext>
              </a:extLst>
            </p:cNvPr>
            <p:cNvSpPr/>
            <p:nvPr/>
          </p:nvSpPr>
          <p:spPr>
            <a:xfrm rot="7484129">
              <a:off x="362597" y="245474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orme libre : forme 78">
              <a:extLst>
                <a:ext uri="{FF2B5EF4-FFF2-40B4-BE49-F238E27FC236}">
                  <a16:creationId xmlns:a16="http://schemas.microsoft.com/office/drawing/2014/main" id="{3CCE9711-ABFF-417D-B3E6-0BDB1263FCD1}"/>
                </a:ext>
              </a:extLst>
            </p:cNvPr>
            <p:cNvSpPr/>
            <p:nvPr/>
          </p:nvSpPr>
          <p:spPr>
            <a:xfrm rot="13089394">
              <a:off x="463440" y="2426400"/>
              <a:ext cx="272584" cy="319064"/>
            </a:xfrm>
            <a:custGeom>
              <a:avLst/>
              <a:gdLst>
                <a:gd name="connsiteX0" fmla="*/ 80445 w 272584"/>
                <a:gd name="connsiteY0" fmla="*/ 215518 h 319064"/>
                <a:gd name="connsiteX1" fmla="*/ 0 w 272584"/>
                <a:gd name="connsiteY1" fmla="*/ 93007 h 319064"/>
                <a:gd name="connsiteX2" fmla="*/ 0 w 272584"/>
                <a:gd name="connsiteY2" fmla="*/ 38074 h 319064"/>
                <a:gd name="connsiteX3" fmla="*/ 73388 w 272584"/>
                <a:gd name="connsiteY3" fmla="*/ 0 h 319064"/>
                <a:gd name="connsiteX4" fmla="*/ 74492 w 272584"/>
                <a:gd name="connsiteY4" fmla="*/ 153950 h 319064"/>
                <a:gd name="connsiteX5" fmla="*/ 76768 w 272584"/>
                <a:gd name="connsiteY5" fmla="*/ 200369 h 319064"/>
                <a:gd name="connsiteX6" fmla="*/ 272584 w 272584"/>
                <a:gd name="connsiteY6" fmla="*/ 258238 h 319064"/>
                <a:gd name="connsiteX7" fmla="*/ 177331 w 272584"/>
                <a:gd name="connsiteY7" fmla="*/ 311347 h 319064"/>
                <a:gd name="connsiteX8" fmla="*/ 148437 w 272584"/>
                <a:gd name="connsiteY8" fmla="*/ 319064 h 319064"/>
                <a:gd name="connsiteX9" fmla="*/ 119231 w 272584"/>
                <a:gd name="connsiteY9" fmla="*/ 274585 h 319064"/>
                <a:gd name="connsiteX10" fmla="*/ 153949 w 272584"/>
                <a:gd name="connsiteY10" fmla="*/ 281965 h 319064"/>
                <a:gd name="connsiteX11" fmla="*/ 203610 w 272584"/>
                <a:gd name="connsiteY11" fmla="*/ 273136 h 319064"/>
                <a:gd name="connsiteX12" fmla="*/ 271481 w 272584"/>
                <a:gd name="connsiteY12" fmla="*/ 245547 h 319064"/>
                <a:gd name="connsiteX13" fmla="*/ 272584 w 272584"/>
                <a:gd name="connsiteY13" fmla="*/ 252720 h 319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2584" h="319064">
                  <a:moveTo>
                    <a:pt x="80445" y="215518"/>
                  </a:moveTo>
                  <a:lnTo>
                    <a:pt x="0" y="93007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3664" y="169400"/>
                    <a:pt x="74492" y="184988"/>
                    <a:pt x="76768" y="200369"/>
                  </a:cubicBezTo>
                  <a:close/>
                  <a:moveTo>
                    <a:pt x="272584" y="258238"/>
                  </a:moveTo>
                  <a:cubicBezTo>
                    <a:pt x="243339" y="283344"/>
                    <a:pt x="209542" y="300312"/>
                    <a:pt x="177331" y="311347"/>
                  </a:cubicBezTo>
                  <a:lnTo>
                    <a:pt x="148437" y="319064"/>
                  </a:lnTo>
                  <a:lnTo>
                    <a:pt x="119231" y="274585"/>
                  </a:lnTo>
                  <a:lnTo>
                    <a:pt x="153949" y="281965"/>
                  </a:lnTo>
                  <a:cubicBezTo>
                    <a:pt x="171055" y="281413"/>
                    <a:pt x="187609" y="278102"/>
                    <a:pt x="203610" y="273136"/>
                  </a:cubicBezTo>
                  <a:cubicBezTo>
                    <a:pt x="226785" y="265963"/>
                    <a:pt x="249409" y="256583"/>
                    <a:pt x="271481" y="245547"/>
                  </a:cubicBezTo>
                  <a:cubicBezTo>
                    <a:pt x="272032" y="247754"/>
                    <a:pt x="272584" y="250513"/>
                    <a:pt x="272584" y="25272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Forme libre : forme 79">
              <a:extLst>
                <a:ext uri="{FF2B5EF4-FFF2-40B4-BE49-F238E27FC236}">
                  <a16:creationId xmlns:a16="http://schemas.microsoft.com/office/drawing/2014/main" id="{6E12610B-6A34-4C00-8EC5-09F9F5AEEEF0}"/>
                </a:ext>
              </a:extLst>
            </p:cNvPr>
            <p:cNvSpPr/>
            <p:nvPr/>
          </p:nvSpPr>
          <p:spPr>
            <a:xfrm rot="8716295">
              <a:off x="675867" y="2357327"/>
              <a:ext cx="38012" cy="45752"/>
            </a:xfrm>
            <a:custGeom>
              <a:avLst/>
              <a:gdLst>
                <a:gd name="connsiteX0" fmla="*/ 0 w 38012"/>
                <a:gd name="connsiteY0" fmla="*/ 45752 h 45752"/>
                <a:gd name="connsiteX1" fmla="*/ 37842 w 38012"/>
                <a:gd name="connsiteY1" fmla="*/ 0 h 45752"/>
                <a:gd name="connsiteX2" fmla="*/ 38012 w 38012"/>
                <a:gd name="connsiteY2" fmla="*/ 641 h 45752"/>
                <a:gd name="connsiteX3" fmla="*/ 6841 w 38012"/>
                <a:gd name="connsiteY3" fmla="*/ 42560 h 45752"/>
                <a:gd name="connsiteX4" fmla="*/ 7378 w 38012"/>
                <a:gd name="connsiteY4" fmla="*/ 42560 h 45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012" h="45752">
                  <a:moveTo>
                    <a:pt x="0" y="45752"/>
                  </a:moveTo>
                  <a:lnTo>
                    <a:pt x="37842" y="0"/>
                  </a:lnTo>
                  <a:lnTo>
                    <a:pt x="38012" y="641"/>
                  </a:lnTo>
                  <a:cubicBezTo>
                    <a:pt x="36400" y="19451"/>
                    <a:pt x="24039" y="35036"/>
                    <a:pt x="6841" y="42560"/>
                  </a:cubicBezTo>
                  <a:lnTo>
                    <a:pt x="7378" y="4256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" name="Forme libre : forme 80">
              <a:extLst>
                <a:ext uri="{FF2B5EF4-FFF2-40B4-BE49-F238E27FC236}">
                  <a16:creationId xmlns:a16="http://schemas.microsoft.com/office/drawing/2014/main" id="{04C60C27-7F84-4DDC-864F-602B18A26BC5}"/>
                </a:ext>
              </a:extLst>
            </p:cNvPr>
            <p:cNvSpPr/>
            <p:nvPr/>
          </p:nvSpPr>
          <p:spPr>
            <a:xfrm rot="8716295">
              <a:off x="601197" y="21260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orme libre : forme 81">
              <a:extLst>
                <a:ext uri="{FF2B5EF4-FFF2-40B4-BE49-F238E27FC236}">
                  <a16:creationId xmlns:a16="http://schemas.microsoft.com/office/drawing/2014/main" id="{603BCEF5-66FB-4B3A-9672-2C4F09A114FA}"/>
                </a:ext>
              </a:extLst>
            </p:cNvPr>
            <p:cNvSpPr/>
            <p:nvPr/>
          </p:nvSpPr>
          <p:spPr>
            <a:xfrm rot="8716295">
              <a:off x="357951" y="21562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Forme libre : forme 82">
              <a:extLst>
                <a:ext uri="{FF2B5EF4-FFF2-40B4-BE49-F238E27FC236}">
                  <a16:creationId xmlns:a16="http://schemas.microsoft.com/office/drawing/2014/main" id="{47C10671-5456-47FF-825A-4447688D4139}"/>
                </a:ext>
              </a:extLst>
            </p:cNvPr>
            <p:cNvSpPr/>
            <p:nvPr/>
          </p:nvSpPr>
          <p:spPr>
            <a:xfrm rot="8716295">
              <a:off x="535403" y="199698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4" name="Forme libre : forme 83">
              <a:extLst>
                <a:ext uri="{FF2B5EF4-FFF2-40B4-BE49-F238E27FC236}">
                  <a16:creationId xmlns:a16="http://schemas.microsoft.com/office/drawing/2014/main" id="{DB34C374-02D3-4583-9890-9C27CA821837}"/>
                </a:ext>
              </a:extLst>
            </p:cNvPr>
            <p:cNvSpPr/>
            <p:nvPr/>
          </p:nvSpPr>
          <p:spPr>
            <a:xfrm rot="8716295">
              <a:off x="-76043" y="1768178"/>
              <a:ext cx="197178" cy="215049"/>
            </a:xfrm>
            <a:custGeom>
              <a:avLst/>
              <a:gdLst>
                <a:gd name="connsiteX0" fmla="*/ 51490 w 197178"/>
                <a:gd name="connsiteY0" fmla="*/ 215049 h 215049"/>
                <a:gd name="connsiteX1" fmla="*/ 51490 w 197178"/>
                <a:gd name="connsiteY1" fmla="*/ 45624 h 215049"/>
                <a:gd name="connsiteX2" fmla="*/ 0 w 197178"/>
                <a:gd name="connsiteY2" fmla="*/ 45624 h 215049"/>
                <a:gd name="connsiteX3" fmla="*/ 0 w 197178"/>
                <a:gd name="connsiteY3" fmla="*/ 1424 h 215049"/>
                <a:gd name="connsiteX4" fmla="*/ 104803 w 197178"/>
                <a:gd name="connsiteY4" fmla="*/ 1425 h 215049"/>
                <a:gd name="connsiteX5" fmla="*/ 104803 w 197178"/>
                <a:gd name="connsiteY5" fmla="*/ 75242 h 215049"/>
                <a:gd name="connsiteX6" fmla="*/ 106169 w 197178"/>
                <a:gd name="connsiteY6" fmla="*/ 75242 h 215049"/>
                <a:gd name="connsiteX7" fmla="*/ 154014 w 197178"/>
                <a:gd name="connsiteY7" fmla="*/ 5981 h 215049"/>
                <a:gd name="connsiteX8" fmla="*/ 185455 w 197178"/>
                <a:gd name="connsiteY8" fmla="*/ 57 h 215049"/>
                <a:gd name="connsiteX9" fmla="*/ 197178 w 197178"/>
                <a:gd name="connsiteY9" fmla="*/ 4872 h 215049"/>
                <a:gd name="connsiteX10" fmla="*/ 170795 w 197178"/>
                <a:gd name="connsiteY10" fmla="*/ 42934 h 215049"/>
                <a:gd name="connsiteX11" fmla="*/ 164950 w 197178"/>
                <a:gd name="connsiteY11" fmla="*/ 40156 h 215049"/>
                <a:gd name="connsiteX12" fmla="*/ 111638 w 197178"/>
                <a:gd name="connsiteY12" fmla="*/ 127643 h 215049"/>
                <a:gd name="connsiteX13" fmla="*/ 111638 w 197178"/>
                <a:gd name="connsiteY13" fmla="*/ 128277 h 21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178" h="215049">
                  <a:moveTo>
                    <a:pt x="51490" y="215049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4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lnTo>
                    <a:pt x="197178" y="4872"/>
                  </a:lnTo>
                  <a:lnTo>
                    <a:pt x="170795" y="42934"/>
                  </a:lnTo>
                  <a:lnTo>
                    <a:pt x="164950" y="40156"/>
                  </a:ln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128277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5" name="Forme libre : forme 84">
              <a:extLst>
                <a:ext uri="{FF2B5EF4-FFF2-40B4-BE49-F238E27FC236}">
                  <a16:creationId xmlns:a16="http://schemas.microsoft.com/office/drawing/2014/main" id="{F27A5053-248B-4729-A180-CFD83FBA8C7D}"/>
                </a:ext>
              </a:extLst>
            </p:cNvPr>
            <p:cNvSpPr/>
            <p:nvPr/>
          </p:nvSpPr>
          <p:spPr>
            <a:xfrm rot="8716295">
              <a:off x="56555" y="14742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6" name="Forme libre : forme 85">
              <a:extLst>
                <a:ext uri="{FF2B5EF4-FFF2-40B4-BE49-F238E27FC236}">
                  <a16:creationId xmlns:a16="http://schemas.microsoft.com/office/drawing/2014/main" id="{9918622A-7E96-4EC8-A35B-CBCD19A79AE2}"/>
                </a:ext>
              </a:extLst>
            </p:cNvPr>
            <p:cNvSpPr/>
            <p:nvPr/>
          </p:nvSpPr>
          <p:spPr>
            <a:xfrm rot="8716295">
              <a:off x="145947" y="15034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7" name="Forme libre : forme 86">
              <a:extLst>
                <a:ext uri="{FF2B5EF4-FFF2-40B4-BE49-F238E27FC236}">
                  <a16:creationId xmlns:a16="http://schemas.microsoft.com/office/drawing/2014/main" id="{0ECD9757-2AFD-4623-9C3D-24E52F11F047}"/>
                </a:ext>
              </a:extLst>
            </p:cNvPr>
            <p:cNvSpPr/>
            <p:nvPr/>
          </p:nvSpPr>
          <p:spPr>
            <a:xfrm rot="8716295">
              <a:off x="-21870" y="1443501"/>
              <a:ext cx="68614" cy="55323"/>
            </a:xfrm>
            <a:custGeom>
              <a:avLst/>
              <a:gdLst>
                <a:gd name="connsiteX0" fmla="*/ 0 w 68614"/>
                <a:gd name="connsiteY0" fmla="*/ 55323 h 55323"/>
                <a:gd name="connsiteX1" fmla="*/ 0 w 68614"/>
                <a:gd name="connsiteY1" fmla="*/ 0 h 55323"/>
                <a:gd name="connsiteX2" fmla="*/ 68614 w 68614"/>
                <a:gd name="connsiteY2" fmla="*/ 0 h 55323"/>
                <a:gd name="connsiteX3" fmla="*/ 30266 w 68614"/>
                <a:gd name="connsiteY3" fmla="*/ 55323 h 55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614" h="55323">
                  <a:moveTo>
                    <a:pt x="0" y="55323"/>
                  </a:moveTo>
                  <a:lnTo>
                    <a:pt x="0" y="0"/>
                  </a:lnTo>
                  <a:lnTo>
                    <a:pt x="68614" y="0"/>
                  </a:lnTo>
                  <a:lnTo>
                    <a:pt x="30266" y="5532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8" name="Forme libre : forme 87">
              <a:extLst>
                <a:ext uri="{FF2B5EF4-FFF2-40B4-BE49-F238E27FC236}">
                  <a16:creationId xmlns:a16="http://schemas.microsoft.com/office/drawing/2014/main" id="{661ED1FA-7FC0-427E-9226-6E31215700D9}"/>
                </a:ext>
              </a:extLst>
            </p:cNvPr>
            <p:cNvSpPr/>
            <p:nvPr/>
          </p:nvSpPr>
          <p:spPr>
            <a:xfrm rot="8716295">
              <a:off x="35817" y="1618109"/>
              <a:ext cx="103435" cy="203897"/>
            </a:xfrm>
            <a:custGeom>
              <a:avLst/>
              <a:gdLst>
                <a:gd name="connsiteX0" fmla="*/ 87556 w 103435"/>
                <a:gd name="connsiteY0" fmla="*/ 203897 h 203897"/>
                <a:gd name="connsiteX1" fmla="*/ 43288 w 103435"/>
                <a:gd name="connsiteY1" fmla="*/ 161305 h 203897"/>
                <a:gd name="connsiteX2" fmla="*/ 43288 w 103435"/>
                <a:gd name="connsiteY2" fmla="*/ 16404 h 203897"/>
                <a:gd name="connsiteX3" fmla="*/ 0 w 103435"/>
                <a:gd name="connsiteY3" fmla="*/ 16404 h 203897"/>
                <a:gd name="connsiteX4" fmla="*/ 0 w 103435"/>
                <a:gd name="connsiteY4" fmla="*/ 2278 h 203897"/>
                <a:gd name="connsiteX5" fmla="*/ 103435 w 103435"/>
                <a:gd name="connsiteY5" fmla="*/ 0 h 203897"/>
                <a:gd name="connsiteX6" fmla="*/ 103435 w 103435"/>
                <a:gd name="connsiteY6" fmla="*/ 180989 h 203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03897">
                  <a:moveTo>
                    <a:pt x="87556" y="203897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180989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9" name="Forme libre : forme 88">
              <a:extLst>
                <a:ext uri="{FF2B5EF4-FFF2-40B4-BE49-F238E27FC236}">
                  <a16:creationId xmlns:a16="http://schemas.microsoft.com/office/drawing/2014/main" id="{A1295F39-BDBB-432C-B32B-C5B551977FC2}"/>
                </a:ext>
              </a:extLst>
            </p:cNvPr>
            <p:cNvSpPr/>
            <p:nvPr/>
          </p:nvSpPr>
          <p:spPr>
            <a:xfrm rot="7484129">
              <a:off x="139430" y="17950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" name="Forme libre : forme 89">
              <a:extLst>
                <a:ext uri="{FF2B5EF4-FFF2-40B4-BE49-F238E27FC236}">
                  <a16:creationId xmlns:a16="http://schemas.microsoft.com/office/drawing/2014/main" id="{F2E91B5E-C359-4716-9781-DAEDAFFE884C}"/>
                </a:ext>
              </a:extLst>
            </p:cNvPr>
            <p:cNvSpPr/>
            <p:nvPr/>
          </p:nvSpPr>
          <p:spPr>
            <a:xfrm rot="13089394">
              <a:off x="244250" y="17615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" name="Forme libre : forme 90">
              <a:extLst>
                <a:ext uri="{FF2B5EF4-FFF2-40B4-BE49-F238E27FC236}">
                  <a16:creationId xmlns:a16="http://schemas.microsoft.com/office/drawing/2014/main" id="{4C9CCC26-5417-41E7-B753-3B7D59038FBD}"/>
                </a:ext>
              </a:extLst>
            </p:cNvPr>
            <p:cNvSpPr/>
            <p:nvPr/>
          </p:nvSpPr>
          <p:spPr>
            <a:xfrm rot="8716295">
              <a:off x="429835" y="15699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" name="Forme libre : forme 91">
              <a:extLst>
                <a:ext uri="{FF2B5EF4-FFF2-40B4-BE49-F238E27FC236}">
                  <a16:creationId xmlns:a16="http://schemas.microsoft.com/office/drawing/2014/main" id="{D6712892-AD9E-4694-AEF5-3D17C5AEEE1D}"/>
                </a:ext>
              </a:extLst>
            </p:cNvPr>
            <p:cNvSpPr/>
            <p:nvPr/>
          </p:nvSpPr>
          <p:spPr>
            <a:xfrm rot="8716295">
              <a:off x="378030" y="14663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" name="Forme libre : forme 92">
              <a:extLst>
                <a:ext uri="{FF2B5EF4-FFF2-40B4-BE49-F238E27FC236}">
                  <a16:creationId xmlns:a16="http://schemas.microsoft.com/office/drawing/2014/main" id="{8DA7EFED-D0A6-45D4-A875-2F1DCEFC57C8}"/>
                </a:ext>
              </a:extLst>
            </p:cNvPr>
            <p:cNvSpPr/>
            <p:nvPr/>
          </p:nvSpPr>
          <p:spPr>
            <a:xfrm rot="8716295">
              <a:off x="134784" y="14965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" name="Forme libre : forme 93">
              <a:extLst>
                <a:ext uri="{FF2B5EF4-FFF2-40B4-BE49-F238E27FC236}">
                  <a16:creationId xmlns:a16="http://schemas.microsoft.com/office/drawing/2014/main" id="{32971A81-1820-4964-A66E-2FD721A16F56}"/>
                </a:ext>
              </a:extLst>
            </p:cNvPr>
            <p:cNvSpPr/>
            <p:nvPr/>
          </p:nvSpPr>
          <p:spPr>
            <a:xfrm rot="8716295">
              <a:off x="312236" y="13372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orme libre : forme 94">
              <a:extLst>
                <a:ext uri="{FF2B5EF4-FFF2-40B4-BE49-F238E27FC236}">
                  <a16:creationId xmlns:a16="http://schemas.microsoft.com/office/drawing/2014/main" id="{BC42F9C8-99E7-4F04-B258-C142D2DE142F}"/>
                </a:ext>
              </a:extLst>
            </p:cNvPr>
            <p:cNvSpPr/>
            <p:nvPr/>
          </p:nvSpPr>
          <p:spPr>
            <a:xfrm rot="8716295">
              <a:off x="-17798" y="949199"/>
              <a:ext cx="39526" cy="50123"/>
            </a:xfrm>
            <a:custGeom>
              <a:avLst/>
              <a:gdLst>
                <a:gd name="connsiteX0" fmla="*/ 0 w 39526"/>
                <a:gd name="connsiteY0" fmla="*/ 50123 h 50123"/>
                <a:gd name="connsiteX1" fmla="*/ 0 w 39526"/>
                <a:gd name="connsiteY1" fmla="*/ 0 h 50123"/>
                <a:gd name="connsiteX2" fmla="*/ 39526 w 39526"/>
                <a:gd name="connsiteY2" fmla="*/ 0 h 50123"/>
                <a:gd name="connsiteX3" fmla="*/ 4782 w 39526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26" h="50123">
                  <a:moveTo>
                    <a:pt x="0" y="50123"/>
                  </a:moveTo>
                  <a:lnTo>
                    <a:pt x="0" y="0"/>
                  </a:lnTo>
                  <a:lnTo>
                    <a:pt x="39526" y="0"/>
                  </a:lnTo>
                  <a:lnTo>
                    <a:pt x="4782" y="5012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Forme libre : forme 95">
              <a:extLst>
                <a:ext uri="{FF2B5EF4-FFF2-40B4-BE49-F238E27FC236}">
                  <a16:creationId xmlns:a16="http://schemas.microsoft.com/office/drawing/2014/main" id="{D29A62DB-0DC5-407D-A1DF-C8A39BAC784A}"/>
                </a:ext>
              </a:extLst>
            </p:cNvPr>
            <p:cNvSpPr/>
            <p:nvPr/>
          </p:nvSpPr>
          <p:spPr>
            <a:xfrm rot="8716295">
              <a:off x="-64996" y="834728"/>
              <a:ext cx="249650" cy="254774"/>
            </a:xfrm>
            <a:custGeom>
              <a:avLst/>
              <a:gdLst>
                <a:gd name="connsiteX0" fmla="*/ 51490 w 249650"/>
                <a:gd name="connsiteY0" fmla="*/ 254774 h 254774"/>
                <a:gd name="connsiteX1" fmla="*/ 51490 w 249650"/>
                <a:gd name="connsiteY1" fmla="*/ 45624 h 254774"/>
                <a:gd name="connsiteX2" fmla="*/ 0 w 249650"/>
                <a:gd name="connsiteY2" fmla="*/ 45624 h 254774"/>
                <a:gd name="connsiteX3" fmla="*/ 0 w 249650"/>
                <a:gd name="connsiteY3" fmla="*/ 1425 h 254774"/>
                <a:gd name="connsiteX4" fmla="*/ 104803 w 249650"/>
                <a:gd name="connsiteY4" fmla="*/ 1425 h 254774"/>
                <a:gd name="connsiteX5" fmla="*/ 104803 w 249650"/>
                <a:gd name="connsiteY5" fmla="*/ 75242 h 254774"/>
                <a:gd name="connsiteX6" fmla="*/ 106169 w 249650"/>
                <a:gd name="connsiteY6" fmla="*/ 75242 h 254774"/>
                <a:gd name="connsiteX7" fmla="*/ 154014 w 249650"/>
                <a:gd name="connsiteY7" fmla="*/ 5981 h 254774"/>
                <a:gd name="connsiteX8" fmla="*/ 185455 w 249650"/>
                <a:gd name="connsiteY8" fmla="*/ 57 h 254774"/>
                <a:gd name="connsiteX9" fmla="*/ 240647 w 249650"/>
                <a:gd name="connsiteY9" fmla="*/ 22727 h 254774"/>
                <a:gd name="connsiteX10" fmla="*/ 249650 w 249650"/>
                <a:gd name="connsiteY10" fmla="*/ 52327 h 254774"/>
                <a:gd name="connsiteX11" fmla="*/ 218795 w 249650"/>
                <a:gd name="connsiteY11" fmla="*/ 96841 h 254774"/>
                <a:gd name="connsiteX12" fmla="*/ 198669 w 249650"/>
                <a:gd name="connsiteY12" fmla="*/ 98025 h 254774"/>
                <a:gd name="connsiteX13" fmla="*/ 198669 w 249650"/>
                <a:gd name="connsiteY13" fmla="*/ 81621 h 254774"/>
                <a:gd name="connsiteX14" fmla="*/ 164950 w 249650"/>
                <a:gd name="connsiteY14" fmla="*/ 40156 h 254774"/>
                <a:gd name="connsiteX15" fmla="*/ 111638 w 249650"/>
                <a:gd name="connsiteY15" fmla="*/ 127643 h 254774"/>
                <a:gd name="connsiteX16" fmla="*/ 111638 w 249650"/>
                <a:gd name="connsiteY16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9650" h="254774">
                  <a:moveTo>
                    <a:pt x="51490" y="254774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08922" y="-398"/>
                    <a:pt x="227718" y="7576"/>
                    <a:pt x="240647" y="22727"/>
                  </a:cubicBezTo>
                  <a:lnTo>
                    <a:pt x="249650" y="52327"/>
                  </a:lnTo>
                  <a:lnTo>
                    <a:pt x="218795" y="96841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213764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" name="Forme libre : forme 96">
              <a:extLst>
                <a:ext uri="{FF2B5EF4-FFF2-40B4-BE49-F238E27FC236}">
                  <a16:creationId xmlns:a16="http://schemas.microsoft.com/office/drawing/2014/main" id="{4160A2B5-61C4-44D3-8FA4-49A1FCD41A0C}"/>
                </a:ext>
              </a:extLst>
            </p:cNvPr>
            <p:cNvSpPr/>
            <p:nvPr/>
          </p:nvSpPr>
          <p:spPr>
            <a:xfrm rot="7484129">
              <a:off x="-63314" y="1172497"/>
              <a:ext cx="203848" cy="146395"/>
            </a:xfrm>
            <a:custGeom>
              <a:avLst/>
              <a:gdLst>
                <a:gd name="connsiteX0" fmla="*/ 0 w 203848"/>
                <a:gd name="connsiteY0" fmla="*/ 55323 h 146395"/>
                <a:gd name="connsiteX1" fmla="*/ 0 w 203848"/>
                <a:gd name="connsiteY1" fmla="*/ 0 h 146395"/>
                <a:gd name="connsiteX2" fmla="*/ 203848 w 203848"/>
                <a:gd name="connsiteY2" fmla="*/ 0 h 146395"/>
                <a:gd name="connsiteX3" fmla="*/ 203847 w 203848"/>
                <a:gd name="connsiteY3" fmla="*/ 49512 h 146395"/>
                <a:gd name="connsiteX4" fmla="*/ 195466 w 203848"/>
                <a:gd name="connsiteY4" fmla="*/ 55323 h 146395"/>
                <a:gd name="connsiteX5" fmla="*/ 139055 w 203848"/>
                <a:gd name="connsiteY5" fmla="*/ 55323 h 146395"/>
                <a:gd name="connsiteX6" fmla="*/ 121388 w 203848"/>
                <a:gd name="connsiteY6" fmla="*/ 106685 h 146395"/>
                <a:gd name="connsiteX7" fmla="*/ 64115 w 203848"/>
                <a:gd name="connsiteY7" fmla="*/ 146395 h 146395"/>
                <a:gd name="connsiteX8" fmla="*/ 47847 w 203848"/>
                <a:gd name="connsiteY8" fmla="*/ 116129 h 146395"/>
                <a:gd name="connsiteX9" fmla="*/ 69777 w 203848"/>
                <a:gd name="connsiteY9" fmla="*/ 55323 h 146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848" h="146395">
                  <a:moveTo>
                    <a:pt x="0" y="55323"/>
                  </a:moveTo>
                  <a:lnTo>
                    <a:pt x="0" y="0"/>
                  </a:lnTo>
                  <a:lnTo>
                    <a:pt x="203848" y="0"/>
                  </a:lnTo>
                  <a:lnTo>
                    <a:pt x="203847" y="49512"/>
                  </a:lnTo>
                  <a:lnTo>
                    <a:pt x="195466" y="55323"/>
                  </a:lnTo>
                  <a:lnTo>
                    <a:pt x="139055" y="55323"/>
                  </a:lnTo>
                  <a:lnTo>
                    <a:pt x="121388" y="106685"/>
                  </a:lnTo>
                  <a:lnTo>
                    <a:pt x="64115" y="146395"/>
                  </a:lnTo>
                  <a:lnTo>
                    <a:pt x="47847" y="116129"/>
                  </a:lnTo>
                  <a:lnTo>
                    <a:pt x="69777" y="5532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" name="Forme libre : forme 97">
              <a:extLst>
                <a:ext uri="{FF2B5EF4-FFF2-40B4-BE49-F238E27FC236}">
                  <a16:creationId xmlns:a16="http://schemas.microsoft.com/office/drawing/2014/main" id="{0F651F8F-312F-4D1A-9E4B-A79B81999918}"/>
                </a:ext>
              </a:extLst>
            </p:cNvPr>
            <p:cNvSpPr/>
            <p:nvPr/>
          </p:nvSpPr>
          <p:spPr>
            <a:xfrm rot="13089394">
              <a:off x="25311" y="109952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" name="Forme libre : forme 98">
              <a:extLst>
                <a:ext uri="{FF2B5EF4-FFF2-40B4-BE49-F238E27FC236}">
                  <a16:creationId xmlns:a16="http://schemas.microsoft.com/office/drawing/2014/main" id="{12E33E54-ECAF-462B-B069-F233780DF121}"/>
                </a:ext>
              </a:extLst>
            </p:cNvPr>
            <p:cNvSpPr/>
            <p:nvPr/>
          </p:nvSpPr>
          <p:spPr>
            <a:xfrm rot="8716295">
              <a:off x="210896" y="90784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orme libre : forme 99">
              <a:extLst>
                <a:ext uri="{FF2B5EF4-FFF2-40B4-BE49-F238E27FC236}">
                  <a16:creationId xmlns:a16="http://schemas.microsoft.com/office/drawing/2014/main" id="{42ACC1F1-A8E1-420C-B7DE-55FFEE501260}"/>
                </a:ext>
              </a:extLst>
            </p:cNvPr>
            <p:cNvSpPr/>
            <p:nvPr/>
          </p:nvSpPr>
          <p:spPr>
            <a:xfrm rot="8716295">
              <a:off x="159091" y="80425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Forme libre : forme 100">
              <a:extLst>
                <a:ext uri="{FF2B5EF4-FFF2-40B4-BE49-F238E27FC236}">
                  <a16:creationId xmlns:a16="http://schemas.microsoft.com/office/drawing/2014/main" id="{B902C445-D42B-4D0E-8897-FDE236E78375}"/>
                </a:ext>
              </a:extLst>
            </p:cNvPr>
            <p:cNvSpPr/>
            <p:nvPr/>
          </p:nvSpPr>
          <p:spPr>
            <a:xfrm rot="8716295">
              <a:off x="93297" y="67523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" name="Forme libre : forme 101">
              <a:extLst>
                <a:ext uri="{FF2B5EF4-FFF2-40B4-BE49-F238E27FC236}">
                  <a16:creationId xmlns:a16="http://schemas.microsoft.com/office/drawing/2014/main" id="{4EDB9DFE-AA44-492B-9D2C-70F199FD6162}"/>
                </a:ext>
              </a:extLst>
            </p:cNvPr>
            <p:cNvSpPr/>
            <p:nvPr/>
          </p:nvSpPr>
          <p:spPr>
            <a:xfrm rot="8716295">
              <a:off x="-7001" y="316701"/>
              <a:ext cx="14001" cy="20198"/>
            </a:xfrm>
            <a:custGeom>
              <a:avLst/>
              <a:gdLst>
                <a:gd name="connsiteX0" fmla="*/ 0 w 14001"/>
                <a:gd name="connsiteY0" fmla="*/ 20198 h 20198"/>
                <a:gd name="connsiteX1" fmla="*/ 0 w 14001"/>
                <a:gd name="connsiteY1" fmla="*/ 0 h 20198"/>
                <a:gd name="connsiteX2" fmla="*/ 14001 w 14001"/>
                <a:gd name="connsiteY2" fmla="*/ 0 h 2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01" h="20198">
                  <a:moveTo>
                    <a:pt x="0" y="20198"/>
                  </a:moveTo>
                  <a:lnTo>
                    <a:pt x="0" y="0"/>
                  </a:lnTo>
                  <a:lnTo>
                    <a:pt x="14001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" name="Forme libre : forme 102">
              <a:extLst>
                <a:ext uri="{FF2B5EF4-FFF2-40B4-BE49-F238E27FC236}">
                  <a16:creationId xmlns:a16="http://schemas.microsoft.com/office/drawing/2014/main" id="{9B8E4668-5129-4061-833F-DDB8DC144C55}"/>
                </a:ext>
              </a:extLst>
            </p:cNvPr>
            <p:cNvSpPr/>
            <p:nvPr/>
          </p:nvSpPr>
          <p:spPr>
            <a:xfrm rot="13089394">
              <a:off x="-81658" y="472652"/>
              <a:ext cx="173631" cy="237684"/>
            </a:xfrm>
            <a:custGeom>
              <a:avLst/>
              <a:gdLst>
                <a:gd name="connsiteX0" fmla="*/ 173631 w 173631"/>
                <a:gd name="connsiteY0" fmla="*/ 220990 h 237684"/>
                <a:gd name="connsiteX1" fmla="*/ 130972 w 173631"/>
                <a:gd name="connsiteY1" fmla="*/ 232382 h 237684"/>
                <a:gd name="connsiteX2" fmla="*/ 91597 w 173631"/>
                <a:gd name="connsiteY2" fmla="*/ 237521 h 237684"/>
                <a:gd name="connsiteX3" fmla="*/ 23727 w 173631"/>
                <a:gd name="connsiteY3" fmla="*/ 209931 h 237684"/>
                <a:gd name="connsiteX4" fmla="*/ 0 w 173631"/>
                <a:gd name="connsiteY4" fmla="*/ 115023 h 237684"/>
                <a:gd name="connsiteX5" fmla="*/ 0 w 173631"/>
                <a:gd name="connsiteY5" fmla="*/ 0 h 237684"/>
                <a:gd name="connsiteX6" fmla="*/ 76176 w 173631"/>
                <a:gd name="connsiteY6" fmla="*/ 96953 h 237684"/>
                <a:gd name="connsiteX7" fmla="*/ 76768 w 173631"/>
                <a:gd name="connsiteY7" fmla="*/ 109023 h 237684"/>
                <a:gd name="connsiteX8" fmla="*/ 87734 w 173631"/>
                <a:gd name="connsiteY8" fmla="*/ 154201 h 237684"/>
                <a:gd name="connsiteX9" fmla="*/ 111117 w 173631"/>
                <a:gd name="connsiteY9" fmla="*/ 181514 h 237684"/>
                <a:gd name="connsiteX10" fmla="*/ 148930 w 173631"/>
                <a:gd name="connsiteY10" fmla="*/ 189552 h 237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3631" h="237684">
                  <a:moveTo>
                    <a:pt x="173631" y="220990"/>
                  </a:moveTo>
                  <a:lnTo>
                    <a:pt x="130972" y="232382"/>
                  </a:lnTo>
                  <a:cubicBezTo>
                    <a:pt x="116428" y="235210"/>
                    <a:pt x="103047" y="236831"/>
                    <a:pt x="91597" y="237521"/>
                  </a:cubicBezTo>
                  <a:cubicBezTo>
                    <a:pt x="66215" y="239176"/>
                    <a:pt x="41384" y="228141"/>
                    <a:pt x="23727" y="209931"/>
                  </a:cubicBezTo>
                  <a:cubicBezTo>
                    <a:pt x="4966" y="191722"/>
                    <a:pt x="0" y="160270"/>
                    <a:pt x="0" y="115023"/>
                  </a:cubicBezTo>
                  <a:lnTo>
                    <a:pt x="0" y="0"/>
                  </a:lnTo>
                  <a:lnTo>
                    <a:pt x="76176" y="96953"/>
                  </a:lnTo>
                  <a:lnTo>
                    <a:pt x="76768" y="109023"/>
                  </a:lnTo>
                  <a:cubicBezTo>
                    <a:pt x="79044" y="124404"/>
                    <a:pt x="82768" y="139578"/>
                    <a:pt x="87734" y="154201"/>
                  </a:cubicBezTo>
                  <a:cubicBezTo>
                    <a:pt x="92149" y="166340"/>
                    <a:pt x="100012" y="175445"/>
                    <a:pt x="111117" y="181514"/>
                  </a:cubicBezTo>
                  <a:lnTo>
                    <a:pt x="148930" y="189552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" name="Forme libre : forme 103">
              <a:extLst>
                <a:ext uri="{FF2B5EF4-FFF2-40B4-BE49-F238E27FC236}">
                  <a16:creationId xmlns:a16="http://schemas.microsoft.com/office/drawing/2014/main" id="{99FF5E45-909E-4FF2-B754-B344F6F11F69}"/>
                </a:ext>
              </a:extLst>
            </p:cNvPr>
            <p:cNvSpPr/>
            <p:nvPr/>
          </p:nvSpPr>
          <p:spPr>
            <a:xfrm rot="8716295">
              <a:off x="-11774" y="24443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" name="Forme libre : forme 104">
              <a:extLst>
                <a:ext uri="{FF2B5EF4-FFF2-40B4-BE49-F238E27FC236}">
                  <a16:creationId xmlns:a16="http://schemas.microsoft.com/office/drawing/2014/main" id="{EB79107E-889E-47A5-A1AB-E4F4B49C7BFA}"/>
                </a:ext>
              </a:extLst>
            </p:cNvPr>
            <p:cNvSpPr/>
            <p:nvPr/>
          </p:nvSpPr>
          <p:spPr>
            <a:xfrm rot="8716295">
              <a:off x="-30092" y="143486"/>
              <a:ext cx="77721" cy="97260"/>
            </a:xfrm>
            <a:custGeom>
              <a:avLst/>
              <a:gdLst>
                <a:gd name="connsiteX0" fmla="*/ 15821 w 77721"/>
                <a:gd name="connsiteY0" fmla="*/ 97260 h 97260"/>
                <a:gd name="connsiteX1" fmla="*/ 0 w 77721"/>
                <a:gd name="connsiteY1" fmla="*/ 59790 h 97260"/>
                <a:gd name="connsiteX2" fmla="*/ 0 w 77721"/>
                <a:gd name="connsiteY2" fmla="*/ 58869 h 97260"/>
                <a:gd name="connsiteX3" fmla="*/ 17477 w 77721"/>
                <a:gd name="connsiteY3" fmla="*/ 17477 h 97260"/>
                <a:gd name="connsiteX4" fmla="*/ 58869 w 77721"/>
                <a:gd name="connsiteY4" fmla="*/ 0 h 97260"/>
                <a:gd name="connsiteX5" fmla="*/ 77721 w 77721"/>
                <a:gd name="connsiteY5" fmla="*/ 7960 h 97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721" h="97260">
                  <a:moveTo>
                    <a:pt x="15821" y="97260"/>
                  </a:moveTo>
                  <a:lnTo>
                    <a:pt x="0" y="59790"/>
                  </a:ln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lnTo>
                    <a:pt x="77721" y="796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" name="Forme libre : forme 105">
              <a:extLst>
                <a:ext uri="{FF2B5EF4-FFF2-40B4-BE49-F238E27FC236}">
                  <a16:creationId xmlns:a16="http://schemas.microsoft.com/office/drawing/2014/main" id="{D8EC7674-F8C4-4C98-B223-FB48E7028D2B}"/>
                </a:ext>
              </a:extLst>
            </p:cNvPr>
            <p:cNvSpPr/>
            <p:nvPr/>
          </p:nvSpPr>
          <p:spPr>
            <a:xfrm rot="8716295">
              <a:off x="-17797" y="3452694"/>
              <a:ext cx="58455" cy="44199"/>
            </a:xfrm>
            <a:custGeom>
              <a:avLst/>
              <a:gdLst>
                <a:gd name="connsiteX0" fmla="*/ 0 w 58455"/>
                <a:gd name="connsiteY0" fmla="*/ 44199 h 44199"/>
                <a:gd name="connsiteX1" fmla="*/ 0 w 58455"/>
                <a:gd name="connsiteY1" fmla="*/ 0 h 44199"/>
                <a:gd name="connsiteX2" fmla="*/ 58455 w 58455"/>
                <a:gd name="connsiteY2" fmla="*/ 0 h 44199"/>
                <a:gd name="connsiteX3" fmla="*/ 27817 w 58455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55" h="44199">
                  <a:moveTo>
                    <a:pt x="0" y="44199"/>
                  </a:moveTo>
                  <a:lnTo>
                    <a:pt x="0" y="0"/>
                  </a:lnTo>
                  <a:lnTo>
                    <a:pt x="58455" y="0"/>
                  </a:lnTo>
                  <a:lnTo>
                    <a:pt x="27817" y="44199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" name="Forme libre : forme 106">
              <a:extLst>
                <a:ext uri="{FF2B5EF4-FFF2-40B4-BE49-F238E27FC236}">
                  <a16:creationId xmlns:a16="http://schemas.microsoft.com/office/drawing/2014/main" id="{4367C4D5-414D-49AB-A590-D84D23E38E78}"/>
                </a:ext>
              </a:extLst>
            </p:cNvPr>
            <p:cNvSpPr/>
            <p:nvPr/>
          </p:nvSpPr>
          <p:spPr>
            <a:xfrm rot="13089394">
              <a:off x="-91485" y="3601812"/>
              <a:ext cx="206527" cy="292654"/>
            </a:xfrm>
            <a:custGeom>
              <a:avLst/>
              <a:gdLst>
                <a:gd name="connsiteX0" fmla="*/ 206527 w 206527"/>
                <a:gd name="connsiteY0" fmla="*/ 258693 h 292654"/>
                <a:gd name="connsiteX1" fmla="*/ 177331 w 206527"/>
                <a:gd name="connsiteY1" fmla="*/ 274971 h 292654"/>
                <a:gd name="connsiteX2" fmla="*/ 91597 w 206527"/>
                <a:gd name="connsiteY2" fmla="*/ 292491 h 292654"/>
                <a:gd name="connsiteX3" fmla="*/ 23727 w 206527"/>
                <a:gd name="connsiteY3" fmla="*/ 264901 h 292654"/>
                <a:gd name="connsiteX4" fmla="*/ 0 w 206527"/>
                <a:gd name="connsiteY4" fmla="*/ 169993 h 292654"/>
                <a:gd name="connsiteX5" fmla="*/ 0 w 206527"/>
                <a:gd name="connsiteY5" fmla="*/ 1698 h 292654"/>
                <a:gd name="connsiteX6" fmla="*/ 3273 w 206527"/>
                <a:gd name="connsiteY6" fmla="*/ 0 h 292654"/>
                <a:gd name="connsiteX7" fmla="*/ 74297 w 206527"/>
                <a:gd name="connsiteY7" fmla="*/ 90396 h 292654"/>
                <a:gd name="connsiteX8" fmla="*/ 74492 w 206527"/>
                <a:gd name="connsiteY8" fmla="*/ 117574 h 292654"/>
                <a:gd name="connsiteX9" fmla="*/ 87734 w 206527"/>
                <a:gd name="connsiteY9" fmla="*/ 209171 h 292654"/>
                <a:gd name="connsiteX10" fmla="*/ 153949 w 206527"/>
                <a:gd name="connsiteY10" fmla="*/ 245589 h 292654"/>
                <a:gd name="connsiteX11" fmla="*/ 191049 w 206527"/>
                <a:gd name="connsiteY11" fmla="*/ 238993 h 292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527" h="292654">
                  <a:moveTo>
                    <a:pt x="206527" y="258693"/>
                  </a:moveTo>
                  <a:lnTo>
                    <a:pt x="177331" y="274971"/>
                  </a:lnTo>
                  <a:cubicBezTo>
                    <a:pt x="145121" y="286007"/>
                    <a:pt x="114496" y="291111"/>
                    <a:pt x="91597" y="292491"/>
                  </a:cubicBezTo>
                  <a:cubicBezTo>
                    <a:pt x="66215" y="294146"/>
                    <a:pt x="41385" y="283111"/>
                    <a:pt x="23727" y="264901"/>
                  </a:cubicBezTo>
                  <a:cubicBezTo>
                    <a:pt x="4966" y="246692"/>
                    <a:pt x="0" y="215240"/>
                    <a:pt x="0" y="169993"/>
                  </a:cubicBezTo>
                  <a:lnTo>
                    <a:pt x="0" y="1698"/>
                  </a:lnTo>
                  <a:lnTo>
                    <a:pt x="3273" y="0"/>
                  </a:lnTo>
                  <a:lnTo>
                    <a:pt x="74297" y="90396"/>
                  </a:lnTo>
                  <a:lnTo>
                    <a:pt x="74492" y="117574"/>
                  </a:lnTo>
                  <a:cubicBezTo>
                    <a:pt x="72836" y="148474"/>
                    <a:pt x="77802" y="179926"/>
                    <a:pt x="87734" y="209171"/>
                  </a:cubicBezTo>
                  <a:cubicBezTo>
                    <a:pt x="96564" y="233450"/>
                    <a:pt x="119187" y="245589"/>
                    <a:pt x="153949" y="245589"/>
                  </a:cubicBezTo>
                  <a:lnTo>
                    <a:pt x="191049" y="23899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" name="Forme libre : forme 107">
              <a:extLst>
                <a:ext uri="{FF2B5EF4-FFF2-40B4-BE49-F238E27FC236}">
                  <a16:creationId xmlns:a16="http://schemas.microsoft.com/office/drawing/2014/main" id="{C0F2930B-1B76-4127-88A5-3C45B984D36E}"/>
                </a:ext>
              </a:extLst>
            </p:cNvPr>
            <p:cNvSpPr/>
            <p:nvPr/>
          </p:nvSpPr>
          <p:spPr>
            <a:xfrm rot="8716295">
              <a:off x="24761" y="33896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" name="Forme libre : forme 108">
              <a:extLst>
                <a:ext uri="{FF2B5EF4-FFF2-40B4-BE49-F238E27FC236}">
                  <a16:creationId xmlns:a16="http://schemas.microsoft.com/office/drawing/2014/main" id="{5D516E03-78DF-4FFF-8FB2-A397635DD48F}"/>
                </a:ext>
              </a:extLst>
            </p:cNvPr>
            <p:cNvSpPr/>
            <p:nvPr/>
          </p:nvSpPr>
          <p:spPr>
            <a:xfrm rot="8716295">
              <a:off x="-24047" y="3281741"/>
              <a:ext cx="106042" cy="113733"/>
            </a:xfrm>
            <a:custGeom>
              <a:avLst/>
              <a:gdLst>
                <a:gd name="connsiteX0" fmla="*/ 17477 w 106042"/>
                <a:gd name="connsiteY0" fmla="*/ 101182 h 113733"/>
                <a:gd name="connsiteX1" fmla="*/ 0 w 106042"/>
                <a:gd name="connsiteY1" fmla="*/ 59790 h 113733"/>
                <a:gd name="connsiteX2" fmla="*/ 0 w 106042"/>
                <a:gd name="connsiteY2" fmla="*/ 58869 h 113733"/>
                <a:gd name="connsiteX3" fmla="*/ 17477 w 106042"/>
                <a:gd name="connsiteY3" fmla="*/ 17477 h 113733"/>
                <a:gd name="connsiteX4" fmla="*/ 58869 w 106042"/>
                <a:gd name="connsiteY4" fmla="*/ 0 h 113733"/>
                <a:gd name="connsiteX5" fmla="*/ 100262 w 106042"/>
                <a:gd name="connsiteY5" fmla="*/ 17477 h 113733"/>
                <a:gd name="connsiteX6" fmla="*/ 106042 w 106042"/>
                <a:gd name="connsiteY6" fmla="*/ 31234 h 113733"/>
                <a:gd name="connsiteX7" fmla="*/ 48856 w 106042"/>
                <a:gd name="connsiteY7" fmla="*/ 113733 h 11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042" h="113733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cubicBezTo>
                    <a:pt x="74507" y="0"/>
                    <a:pt x="89224" y="6439"/>
                    <a:pt x="100262" y="17477"/>
                  </a:cubicBezTo>
                  <a:lnTo>
                    <a:pt x="106042" y="31234"/>
                  </a:lnTo>
                  <a:lnTo>
                    <a:pt x="48856" y="11373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" name="Forme libre : forme 109">
              <a:extLst>
                <a:ext uri="{FF2B5EF4-FFF2-40B4-BE49-F238E27FC236}">
                  <a16:creationId xmlns:a16="http://schemas.microsoft.com/office/drawing/2014/main" id="{4709179C-E348-4A89-8150-2CCBA6DE45C5}"/>
                </a:ext>
              </a:extLst>
            </p:cNvPr>
            <p:cNvSpPr/>
            <p:nvPr/>
          </p:nvSpPr>
          <p:spPr>
            <a:xfrm rot="8716295">
              <a:off x="-21924" y="3179872"/>
              <a:ext cx="45776" cy="62656"/>
            </a:xfrm>
            <a:custGeom>
              <a:avLst/>
              <a:gdLst>
                <a:gd name="connsiteX0" fmla="*/ 2345 w 45776"/>
                <a:gd name="connsiteY0" fmla="*/ 62656 h 62656"/>
                <a:gd name="connsiteX1" fmla="*/ 0 w 45776"/>
                <a:gd name="connsiteY1" fmla="*/ 57104 h 62656"/>
                <a:gd name="connsiteX2" fmla="*/ 0 w 45776"/>
                <a:gd name="connsiteY2" fmla="*/ 56183 h 62656"/>
                <a:gd name="connsiteX3" fmla="*/ 17477 w 45776"/>
                <a:gd name="connsiteY3" fmla="*/ 14791 h 62656"/>
                <a:gd name="connsiteX4" fmla="*/ 36449 w 45776"/>
                <a:gd name="connsiteY4" fmla="*/ 1913 h 62656"/>
                <a:gd name="connsiteX5" fmla="*/ 45776 w 45776"/>
                <a:gd name="connsiteY5" fmla="*/ 0 h 62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776" h="62656">
                  <a:moveTo>
                    <a:pt x="2345" y="62656"/>
                  </a:moveTo>
                  <a:lnTo>
                    <a:pt x="0" y="57104"/>
                  </a:lnTo>
                  <a:lnTo>
                    <a:pt x="0" y="56183"/>
                  </a:lnTo>
                  <a:cubicBezTo>
                    <a:pt x="0" y="40547"/>
                    <a:pt x="6439" y="25829"/>
                    <a:pt x="17477" y="14791"/>
                  </a:cubicBezTo>
                  <a:cubicBezTo>
                    <a:pt x="22996" y="9272"/>
                    <a:pt x="29435" y="4903"/>
                    <a:pt x="36449" y="1913"/>
                  </a:cubicBezTo>
                  <a:lnTo>
                    <a:pt x="45776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" name="Forme libre : forme 110">
              <a:extLst>
                <a:ext uri="{FF2B5EF4-FFF2-40B4-BE49-F238E27FC236}">
                  <a16:creationId xmlns:a16="http://schemas.microsoft.com/office/drawing/2014/main" id="{E216B864-0116-44B5-A0E9-8D6C9FB4451C}"/>
                </a:ext>
              </a:extLst>
            </p:cNvPr>
            <p:cNvSpPr/>
            <p:nvPr/>
          </p:nvSpPr>
          <p:spPr>
            <a:xfrm rot="8716295">
              <a:off x="-21324" y="4100649"/>
              <a:ext cx="79113" cy="50123"/>
            </a:xfrm>
            <a:custGeom>
              <a:avLst/>
              <a:gdLst>
                <a:gd name="connsiteX0" fmla="*/ 0 w 79113"/>
                <a:gd name="connsiteY0" fmla="*/ 50123 h 50123"/>
                <a:gd name="connsiteX1" fmla="*/ 0 w 79113"/>
                <a:gd name="connsiteY1" fmla="*/ 0 h 50123"/>
                <a:gd name="connsiteX2" fmla="*/ 79113 w 79113"/>
                <a:gd name="connsiteY2" fmla="*/ 0 h 50123"/>
                <a:gd name="connsiteX3" fmla="*/ 44369 w 79113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113" h="50123">
                  <a:moveTo>
                    <a:pt x="0" y="50123"/>
                  </a:moveTo>
                  <a:lnTo>
                    <a:pt x="0" y="0"/>
                  </a:lnTo>
                  <a:lnTo>
                    <a:pt x="79113" y="0"/>
                  </a:lnTo>
                  <a:lnTo>
                    <a:pt x="44369" y="5012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" name="Forme libre : forme 111">
              <a:extLst>
                <a:ext uri="{FF2B5EF4-FFF2-40B4-BE49-F238E27FC236}">
                  <a16:creationId xmlns:a16="http://schemas.microsoft.com/office/drawing/2014/main" id="{E81DDFAA-1A06-4A18-8287-C68132D6876A}"/>
                </a:ext>
              </a:extLst>
            </p:cNvPr>
            <p:cNvSpPr/>
            <p:nvPr/>
          </p:nvSpPr>
          <p:spPr>
            <a:xfrm rot="8716295">
              <a:off x="-40457" y="398156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" name="Forme libre : forme 112">
              <a:extLst>
                <a:ext uri="{FF2B5EF4-FFF2-40B4-BE49-F238E27FC236}">
                  <a16:creationId xmlns:a16="http://schemas.microsoft.com/office/drawing/2014/main" id="{1D567C73-1317-457C-BAF4-E866C8E84479}"/>
                </a:ext>
              </a:extLst>
            </p:cNvPr>
            <p:cNvSpPr/>
            <p:nvPr/>
          </p:nvSpPr>
          <p:spPr>
            <a:xfrm rot="7484129">
              <a:off x="-46974" y="427316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" name="Forme libre : forme 113">
              <a:extLst>
                <a:ext uri="{FF2B5EF4-FFF2-40B4-BE49-F238E27FC236}">
                  <a16:creationId xmlns:a16="http://schemas.microsoft.com/office/drawing/2014/main" id="{4B07308E-D0A0-4D3E-9DEB-C235BB5B8299}"/>
                </a:ext>
              </a:extLst>
            </p:cNvPr>
            <p:cNvSpPr/>
            <p:nvPr/>
          </p:nvSpPr>
          <p:spPr>
            <a:xfrm rot="13089394">
              <a:off x="57846" y="423970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" name="Forme libre : forme 114">
              <a:extLst>
                <a:ext uri="{FF2B5EF4-FFF2-40B4-BE49-F238E27FC236}">
                  <a16:creationId xmlns:a16="http://schemas.microsoft.com/office/drawing/2014/main" id="{B3D02E0E-617A-4DDE-855C-BECF0834C305}"/>
                </a:ext>
              </a:extLst>
            </p:cNvPr>
            <p:cNvSpPr/>
            <p:nvPr/>
          </p:nvSpPr>
          <p:spPr>
            <a:xfrm rot="8716295">
              <a:off x="243431" y="404801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" name="Forme libre : forme 115">
              <a:extLst>
                <a:ext uri="{FF2B5EF4-FFF2-40B4-BE49-F238E27FC236}">
                  <a16:creationId xmlns:a16="http://schemas.microsoft.com/office/drawing/2014/main" id="{FCFFBDC4-0942-4E6E-9EF4-22477617D5C9}"/>
                </a:ext>
              </a:extLst>
            </p:cNvPr>
            <p:cNvSpPr/>
            <p:nvPr/>
          </p:nvSpPr>
          <p:spPr>
            <a:xfrm rot="8716295">
              <a:off x="191626" y="39444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" name="Forme libre : forme 116">
              <a:extLst>
                <a:ext uri="{FF2B5EF4-FFF2-40B4-BE49-F238E27FC236}">
                  <a16:creationId xmlns:a16="http://schemas.microsoft.com/office/drawing/2014/main" id="{6779D405-E211-4D4D-B286-FEED219E73DF}"/>
                </a:ext>
              </a:extLst>
            </p:cNvPr>
            <p:cNvSpPr/>
            <p:nvPr/>
          </p:nvSpPr>
          <p:spPr>
            <a:xfrm rot="8716295">
              <a:off x="125832" y="381540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" name="Forme libre : forme 117">
              <a:extLst>
                <a:ext uri="{FF2B5EF4-FFF2-40B4-BE49-F238E27FC236}">
                  <a16:creationId xmlns:a16="http://schemas.microsoft.com/office/drawing/2014/main" id="{1B98413D-C7CC-484D-AF71-C6706295A09F}"/>
                </a:ext>
              </a:extLst>
            </p:cNvPr>
            <p:cNvSpPr/>
            <p:nvPr/>
          </p:nvSpPr>
          <p:spPr>
            <a:xfrm rot="8716295">
              <a:off x="-73048" y="4876828"/>
              <a:ext cx="221382" cy="253349"/>
            </a:xfrm>
            <a:custGeom>
              <a:avLst/>
              <a:gdLst>
                <a:gd name="connsiteX0" fmla="*/ 51490 w 221382"/>
                <a:gd name="connsiteY0" fmla="*/ 253349 h 253349"/>
                <a:gd name="connsiteX1" fmla="*/ 51490 w 221382"/>
                <a:gd name="connsiteY1" fmla="*/ 44199 h 253349"/>
                <a:gd name="connsiteX2" fmla="*/ 0 w 221382"/>
                <a:gd name="connsiteY2" fmla="*/ 44199 h 253349"/>
                <a:gd name="connsiteX3" fmla="*/ 0 w 221382"/>
                <a:gd name="connsiteY3" fmla="*/ 0 h 253349"/>
                <a:gd name="connsiteX4" fmla="*/ 104803 w 221382"/>
                <a:gd name="connsiteY4" fmla="*/ 0 h 253349"/>
                <a:gd name="connsiteX5" fmla="*/ 104802 w 221382"/>
                <a:gd name="connsiteY5" fmla="*/ 73817 h 253349"/>
                <a:gd name="connsiteX6" fmla="*/ 106169 w 221382"/>
                <a:gd name="connsiteY6" fmla="*/ 73817 h 253349"/>
                <a:gd name="connsiteX7" fmla="*/ 154014 w 221382"/>
                <a:gd name="connsiteY7" fmla="*/ 4556 h 253349"/>
                <a:gd name="connsiteX8" fmla="*/ 174650 w 221382"/>
                <a:gd name="connsiteY8" fmla="*/ 668 h 253349"/>
                <a:gd name="connsiteX9" fmla="*/ 214075 w 221382"/>
                <a:gd name="connsiteY9" fmla="*/ 27996 h 253349"/>
                <a:gd name="connsiteX10" fmla="*/ 221382 w 221382"/>
                <a:gd name="connsiteY10" fmla="*/ 33060 h 253349"/>
                <a:gd name="connsiteX11" fmla="*/ 195540 w 221382"/>
                <a:gd name="connsiteY11" fmla="*/ 70341 h 253349"/>
                <a:gd name="connsiteX12" fmla="*/ 189157 w 221382"/>
                <a:gd name="connsiteY12" fmla="*/ 50236 h 253349"/>
                <a:gd name="connsiteX13" fmla="*/ 164950 w 221382"/>
                <a:gd name="connsiteY13" fmla="*/ 38731 h 253349"/>
                <a:gd name="connsiteX14" fmla="*/ 111638 w 221382"/>
                <a:gd name="connsiteY14" fmla="*/ 126218 h 253349"/>
                <a:gd name="connsiteX15" fmla="*/ 111638 w 221382"/>
                <a:gd name="connsiteY15" fmla="*/ 191383 h 253349"/>
                <a:gd name="connsiteX16" fmla="*/ 84096 w 221382"/>
                <a:gd name="connsiteY16" fmla="*/ 231117 h 253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1382" h="253349">
                  <a:moveTo>
                    <a:pt x="51490" y="253349"/>
                  </a:moveTo>
                  <a:lnTo>
                    <a:pt x="51490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104803" y="0"/>
                  </a:lnTo>
                  <a:lnTo>
                    <a:pt x="104802" y="73817"/>
                  </a:lnTo>
                  <a:lnTo>
                    <a:pt x="106169" y="73817"/>
                  </a:lnTo>
                  <a:cubicBezTo>
                    <a:pt x="120751" y="30529"/>
                    <a:pt x="132142" y="13670"/>
                    <a:pt x="154014" y="4556"/>
                  </a:cubicBezTo>
                  <a:lnTo>
                    <a:pt x="174650" y="668"/>
                  </a:lnTo>
                  <a:lnTo>
                    <a:pt x="214075" y="27996"/>
                  </a:lnTo>
                  <a:lnTo>
                    <a:pt x="221382" y="33060"/>
                  </a:lnTo>
                  <a:lnTo>
                    <a:pt x="195540" y="70341"/>
                  </a:lnTo>
                  <a:lnTo>
                    <a:pt x="189157" y="50236"/>
                  </a:lnTo>
                  <a:cubicBezTo>
                    <a:pt x="183177" y="42946"/>
                    <a:pt x="174747" y="38731"/>
                    <a:pt x="164950" y="38731"/>
                  </a:cubicBezTo>
                  <a:cubicBezTo>
                    <a:pt x="135788" y="38731"/>
                    <a:pt x="111638" y="77463"/>
                    <a:pt x="111638" y="126218"/>
                  </a:cubicBezTo>
                  <a:lnTo>
                    <a:pt x="111638" y="191383"/>
                  </a:lnTo>
                  <a:lnTo>
                    <a:pt x="84096" y="231117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" name="Forme libre : forme 118">
              <a:extLst>
                <a:ext uri="{FF2B5EF4-FFF2-40B4-BE49-F238E27FC236}">
                  <a16:creationId xmlns:a16="http://schemas.microsoft.com/office/drawing/2014/main" id="{6176F84A-9766-45D5-91E9-4847B60A5CD4}"/>
                </a:ext>
              </a:extLst>
            </p:cNvPr>
            <p:cNvSpPr/>
            <p:nvPr/>
          </p:nvSpPr>
          <p:spPr>
            <a:xfrm rot="8716295">
              <a:off x="93318" y="46120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" name="Forme libre : forme 119">
              <a:extLst>
                <a:ext uri="{FF2B5EF4-FFF2-40B4-BE49-F238E27FC236}">
                  <a16:creationId xmlns:a16="http://schemas.microsoft.com/office/drawing/2014/main" id="{3DA54937-5DEF-4122-B904-83A03268CA89}"/>
                </a:ext>
              </a:extLst>
            </p:cNvPr>
            <p:cNvSpPr/>
            <p:nvPr/>
          </p:nvSpPr>
          <p:spPr>
            <a:xfrm rot="8716295">
              <a:off x="182710" y="46412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" name="Forme libre : forme 120">
              <a:extLst>
                <a:ext uri="{FF2B5EF4-FFF2-40B4-BE49-F238E27FC236}">
                  <a16:creationId xmlns:a16="http://schemas.microsoft.com/office/drawing/2014/main" id="{24CD3C2A-51CB-4CA4-A2B4-FE03D227C422}"/>
                </a:ext>
              </a:extLst>
            </p:cNvPr>
            <p:cNvSpPr/>
            <p:nvPr/>
          </p:nvSpPr>
          <p:spPr>
            <a:xfrm rot="8716295">
              <a:off x="-14524" y="4699631"/>
              <a:ext cx="49997" cy="54238"/>
            </a:xfrm>
            <a:custGeom>
              <a:avLst/>
              <a:gdLst>
                <a:gd name="connsiteX0" fmla="*/ 8658 w 49997"/>
                <a:gd name="connsiteY0" fmla="*/ 50123 h 54238"/>
                <a:gd name="connsiteX1" fmla="*/ 0 w 49997"/>
                <a:gd name="connsiteY1" fmla="*/ 29619 h 54238"/>
                <a:gd name="connsiteX2" fmla="*/ 0 w 49997"/>
                <a:gd name="connsiteY2" fmla="*/ 29162 h 54238"/>
                <a:gd name="connsiteX3" fmla="*/ 8658 w 49997"/>
                <a:gd name="connsiteY3" fmla="*/ 8658 h 54238"/>
                <a:gd name="connsiteX4" fmla="*/ 29163 w 49997"/>
                <a:gd name="connsiteY4" fmla="*/ 0 h 54238"/>
                <a:gd name="connsiteX5" fmla="*/ 49668 w 49997"/>
                <a:gd name="connsiteY5" fmla="*/ 8658 h 54238"/>
                <a:gd name="connsiteX6" fmla="*/ 49997 w 49997"/>
                <a:gd name="connsiteY6" fmla="*/ 9441 h 54238"/>
                <a:gd name="connsiteX7" fmla="*/ 18945 w 49997"/>
                <a:gd name="connsiteY7" fmla="*/ 54238 h 54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997" h="54238">
                  <a:moveTo>
                    <a:pt x="8658" y="50123"/>
                  </a:moveTo>
                  <a:cubicBezTo>
                    <a:pt x="3190" y="44655"/>
                    <a:pt x="0" y="37365"/>
                    <a:pt x="0" y="29619"/>
                  </a:cubicBezTo>
                  <a:lnTo>
                    <a:pt x="0" y="29162"/>
                  </a:lnTo>
                  <a:cubicBezTo>
                    <a:pt x="0" y="21417"/>
                    <a:pt x="3190" y="14126"/>
                    <a:pt x="8658" y="8658"/>
                  </a:cubicBezTo>
                  <a:cubicBezTo>
                    <a:pt x="14126" y="3190"/>
                    <a:pt x="21416" y="0"/>
                    <a:pt x="29163" y="0"/>
                  </a:cubicBezTo>
                  <a:cubicBezTo>
                    <a:pt x="36909" y="0"/>
                    <a:pt x="44200" y="3190"/>
                    <a:pt x="49668" y="8658"/>
                  </a:cubicBezTo>
                  <a:lnTo>
                    <a:pt x="49997" y="9441"/>
                  </a:lnTo>
                  <a:lnTo>
                    <a:pt x="18945" y="54238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" name="Forme libre : forme 121">
              <a:extLst>
                <a:ext uri="{FF2B5EF4-FFF2-40B4-BE49-F238E27FC236}">
                  <a16:creationId xmlns:a16="http://schemas.microsoft.com/office/drawing/2014/main" id="{7A46CCF0-E67A-4E1E-9549-23C0DBDB68E2}"/>
                </a:ext>
              </a:extLst>
            </p:cNvPr>
            <p:cNvSpPr/>
            <p:nvPr/>
          </p:nvSpPr>
          <p:spPr>
            <a:xfrm rot="8716295">
              <a:off x="-30327" y="4579755"/>
              <a:ext cx="113346" cy="71024"/>
            </a:xfrm>
            <a:custGeom>
              <a:avLst/>
              <a:gdLst>
                <a:gd name="connsiteX0" fmla="*/ 0 w 113346"/>
                <a:gd name="connsiteY0" fmla="*/ 55323 h 71024"/>
                <a:gd name="connsiteX1" fmla="*/ 0 w 113346"/>
                <a:gd name="connsiteY1" fmla="*/ 0 h 71024"/>
                <a:gd name="connsiteX2" fmla="*/ 113346 w 113346"/>
                <a:gd name="connsiteY2" fmla="*/ 0 h 71024"/>
                <a:gd name="connsiteX3" fmla="*/ 64114 w 113346"/>
                <a:gd name="connsiteY3" fmla="*/ 71024 h 71024"/>
                <a:gd name="connsiteX4" fmla="*/ 69777 w 113346"/>
                <a:gd name="connsiteY4" fmla="*/ 55323 h 7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346" h="71024">
                  <a:moveTo>
                    <a:pt x="0" y="55323"/>
                  </a:moveTo>
                  <a:lnTo>
                    <a:pt x="0" y="0"/>
                  </a:lnTo>
                  <a:lnTo>
                    <a:pt x="113346" y="0"/>
                  </a:lnTo>
                  <a:lnTo>
                    <a:pt x="64114" y="71024"/>
                  </a:lnTo>
                  <a:lnTo>
                    <a:pt x="69777" y="5532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" name="Forme libre : forme 122">
              <a:extLst>
                <a:ext uri="{FF2B5EF4-FFF2-40B4-BE49-F238E27FC236}">
                  <a16:creationId xmlns:a16="http://schemas.microsoft.com/office/drawing/2014/main" id="{01D04BC1-282A-4CFE-BF99-5B57F855BCBC}"/>
                </a:ext>
              </a:extLst>
            </p:cNvPr>
            <p:cNvSpPr/>
            <p:nvPr/>
          </p:nvSpPr>
          <p:spPr>
            <a:xfrm rot="8716295">
              <a:off x="71262" y="47415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" name="Forme libre : forme 123">
              <a:extLst>
                <a:ext uri="{FF2B5EF4-FFF2-40B4-BE49-F238E27FC236}">
                  <a16:creationId xmlns:a16="http://schemas.microsoft.com/office/drawing/2014/main" id="{A04953EA-5C79-45C4-9757-065EFCA47539}"/>
                </a:ext>
              </a:extLst>
            </p:cNvPr>
            <p:cNvSpPr/>
            <p:nvPr/>
          </p:nvSpPr>
          <p:spPr>
            <a:xfrm rot="7484129">
              <a:off x="172059" y="493353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170341 w 203847"/>
                <a:gd name="connsiteY5" fmla="*/ 0 h 195874"/>
                <a:gd name="connsiteX6" fmla="*/ 203847 w 203847"/>
                <a:gd name="connsiteY6" fmla="*/ 48325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170341" y="0"/>
                  </a:lnTo>
                  <a:lnTo>
                    <a:pt x="203847" y="48325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" name="Forme libre : forme 124">
              <a:extLst>
                <a:ext uri="{FF2B5EF4-FFF2-40B4-BE49-F238E27FC236}">
                  <a16:creationId xmlns:a16="http://schemas.microsoft.com/office/drawing/2014/main" id="{49CB50EA-8DFB-4219-A82A-979E56D219DC}"/>
                </a:ext>
              </a:extLst>
            </p:cNvPr>
            <p:cNvSpPr/>
            <p:nvPr/>
          </p:nvSpPr>
          <p:spPr>
            <a:xfrm rot="13089394">
              <a:off x="313551" y="4906246"/>
              <a:ext cx="221827" cy="205098"/>
            </a:xfrm>
            <a:custGeom>
              <a:avLst/>
              <a:gdLst>
                <a:gd name="connsiteX0" fmla="*/ 24153 w 221827"/>
                <a:gd name="connsiteY0" fmla="*/ 55168 h 205098"/>
                <a:gd name="connsiteX1" fmla="*/ 0 w 221827"/>
                <a:gd name="connsiteY1" fmla="*/ 18385 h 205098"/>
                <a:gd name="connsiteX2" fmla="*/ 23400 w 221827"/>
                <a:gd name="connsiteY2" fmla="*/ 0 h 205098"/>
                <a:gd name="connsiteX3" fmla="*/ 23735 w 221827"/>
                <a:gd name="connsiteY3" fmla="*/ 46640 h 205098"/>
                <a:gd name="connsiteX4" fmla="*/ 221827 w 221827"/>
                <a:gd name="connsiteY4" fmla="*/ 150928 h 205098"/>
                <a:gd name="connsiteX5" fmla="*/ 126574 w 221827"/>
                <a:gd name="connsiteY5" fmla="*/ 204038 h 205098"/>
                <a:gd name="connsiteX6" fmla="*/ 122603 w 221827"/>
                <a:gd name="connsiteY6" fmla="*/ 205098 h 205098"/>
                <a:gd name="connsiteX7" fmla="*/ 102519 w 221827"/>
                <a:gd name="connsiteY7" fmla="*/ 174512 h 205098"/>
                <a:gd name="connsiteX8" fmla="*/ 103192 w 221827"/>
                <a:gd name="connsiteY8" fmla="*/ 174655 h 205098"/>
                <a:gd name="connsiteX9" fmla="*/ 152853 w 221827"/>
                <a:gd name="connsiteY9" fmla="*/ 165826 h 205098"/>
                <a:gd name="connsiteX10" fmla="*/ 220723 w 221827"/>
                <a:gd name="connsiteY10" fmla="*/ 138237 h 205098"/>
                <a:gd name="connsiteX11" fmla="*/ 221827 w 221827"/>
                <a:gd name="connsiteY11" fmla="*/ 145410 h 205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1827" h="205098">
                  <a:moveTo>
                    <a:pt x="24153" y="55168"/>
                  </a:moveTo>
                  <a:lnTo>
                    <a:pt x="0" y="18385"/>
                  </a:lnTo>
                  <a:lnTo>
                    <a:pt x="23400" y="0"/>
                  </a:lnTo>
                  <a:lnTo>
                    <a:pt x="23735" y="46640"/>
                  </a:lnTo>
                  <a:close/>
                  <a:moveTo>
                    <a:pt x="221827" y="150928"/>
                  </a:moveTo>
                  <a:cubicBezTo>
                    <a:pt x="192582" y="176035"/>
                    <a:pt x="158785" y="193002"/>
                    <a:pt x="126574" y="204038"/>
                  </a:cubicBezTo>
                  <a:lnTo>
                    <a:pt x="122603" y="205098"/>
                  </a:lnTo>
                  <a:lnTo>
                    <a:pt x="102519" y="174512"/>
                  </a:lnTo>
                  <a:lnTo>
                    <a:pt x="103192" y="174655"/>
                  </a:lnTo>
                  <a:cubicBezTo>
                    <a:pt x="120298" y="174103"/>
                    <a:pt x="136851" y="170792"/>
                    <a:pt x="152853" y="165826"/>
                  </a:cubicBezTo>
                  <a:cubicBezTo>
                    <a:pt x="176028" y="158653"/>
                    <a:pt x="198652" y="149273"/>
                    <a:pt x="220723" y="138237"/>
                  </a:cubicBezTo>
                  <a:cubicBezTo>
                    <a:pt x="221275" y="140444"/>
                    <a:pt x="221827" y="143203"/>
                    <a:pt x="221827" y="14541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" name="Forme libre : forme 125">
              <a:extLst>
                <a:ext uri="{FF2B5EF4-FFF2-40B4-BE49-F238E27FC236}">
                  <a16:creationId xmlns:a16="http://schemas.microsoft.com/office/drawing/2014/main" id="{5146513B-5632-4832-9AF5-1E4051EECD28}"/>
                </a:ext>
              </a:extLst>
            </p:cNvPr>
            <p:cNvSpPr/>
            <p:nvPr/>
          </p:nvSpPr>
          <p:spPr>
            <a:xfrm rot="8716295">
              <a:off x="406370" y="4600606"/>
              <a:ext cx="113655" cy="117117"/>
            </a:xfrm>
            <a:custGeom>
              <a:avLst/>
              <a:gdLst>
                <a:gd name="connsiteX0" fmla="*/ 13623 w 113655"/>
                <a:gd name="connsiteY0" fmla="*/ 100559 h 117117"/>
                <a:gd name="connsiteX1" fmla="*/ 0 w 113655"/>
                <a:gd name="connsiteY1" fmla="*/ 68296 h 117117"/>
                <a:gd name="connsiteX2" fmla="*/ 56488 w 113655"/>
                <a:gd name="connsiteY2" fmla="*/ 0 h 117117"/>
                <a:gd name="connsiteX3" fmla="*/ 96408 w 113655"/>
                <a:gd name="connsiteY3" fmla="*/ 16856 h 117117"/>
                <a:gd name="connsiteX4" fmla="*/ 96408 w 113655"/>
                <a:gd name="connsiteY4" fmla="*/ 99640 h 117117"/>
                <a:gd name="connsiteX5" fmla="*/ 55015 w 113655"/>
                <a:gd name="connsiteY5" fmla="*/ 117117 h 117117"/>
                <a:gd name="connsiteX6" fmla="*/ 13623 w 113655"/>
                <a:gd name="connsiteY6" fmla="*/ 100559 h 117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655" h="117117">
                  <a:moveTo>
                    <a:pt x="13623" y="100559"/>
                  </a:moveTo>
                  <a:lnTo>
                    <a:pt x="0" y="68296"/>
                  </a:lnTo>
                  <a:lnTo>
                    <a:pt x="56488" y="0"/>
                  </a:lnTo>
                  <a:lnTo>
                    <a:pt x="96408" y="16856"/>
                  </a:lnTo>
                  <a:cubicBezTo>
                    <a:pt x="119404" y="38931"/>
                    <a:pt x="119404" y="76644"/>
                    <a:pt x="96408" y="99640"/>
                  </a:cubicBezTo>
                  <a:cubicBezTo>
                    <a:pt x="85370" y="110678"/>
                    <a:pt x="70653" y="117116"/>
                    <a:pt x="55015" y="117117"/>
                  </a:cubicBezTo>
                  <a:cubicBezTo>
                    <a:pt x="39378" y="117117"/>
                    <a:pt x="24661" y="111597"/>
                    <a:pt x="13623" y="100559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" name="Forme libre : forme 126">
              <a:extLst>
                <a:ext uri="{FF2B5EF4-FFF2-40B4-BE49-F238E27FC236}">
                  <a16:creationId xmlns:a16="http://schemas.microsoft.com/office/drawing/2014/main" id="{FE3150CC-51A0-4255-BE10-7C4DD2D82ED1}"/>
                </a:ext>
              </a:extLst>
            </p:cNvPr>
            <p:cNvSpPr/>
            <p:nvPr/>
          </p:nvSpPr>
          <p:spPr>
            <a:xfrm rot="8716295">
              <a:off x="171547" y="46343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" name="Forme libre : forme 127">
              <a:extLst>
                <a:ext uri="{FF2B5EF4-FFF2-40B4-BE49-F238E27FC236}">
                  <a16:creationId xmlns:a16="http://schemas.microsoft.com/office/drawing/2014/main" id="{3071C62B-77D8-4A0E-86A6-83549F6B4AD6}"/>
                </a:ext>
              </a:extLst>
            </p:cNvPr>
            <p:cNvSpPr/>
            <p:nvPr/>
          </p:nvSpPr>
          <p:spPr>
            <a:xfrm rot="8716295">
              <a:off x="348999" y="44751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137" name="Rectangle 136">
            <a:extLst>
              <a:ext uri="{FF2B5EF4-FFF2-40B4-BE49-F238E27FC236}">
                <a16:creationId xmlns:a16="http://schemas.microsoft.com/office/drawing/2014/main" id="{BED9834D-49E7-4AFD-BEE4-8AB20B969F92}"/>
              </a:ext>
            </a:extLst>
          </p:cNvPr>
          <p:cNvSpPr/>
          <p:nvPr/>
        </p:nvSpPr>
        <p:spPr>
          <a:xfrm>
            <a:off x="1675026" y="884098"/>
            <a:ext cx="360000" cy="457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29" name="Espace réservé du numéro de diapositive 128">
            <a:extLst>
              <a:ext uri="{FF2B5EF4-FFF2-40B4-BE49-F238E27FC236}">
                <a16:creationId xmlns:a16="http://schemas.microsoft.com/office/drawing/2014/main" id="{DC511B95-0CDE-42B1-A913-D72AAC6127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9681" y="3148262"/>
            <a:ext cx="444626" cy="1995238"/>
          </a:xfrm>
          <a:custGeom>
            <a:avLst/>
            <a:gdLst>
              <a:gd name="connsiteX0" fmla="*/ 169868 w 444626"/>
              <a:gd name="connsiteY0" fmla="*/ 0 h 1995238"/>
              <a:gd name="connsiteX1" fmla="*/ 444626 w 444626"/>
              <a:gd name="connsiteY1" fmla="*/ 1995238 h 1995238"/>
              <a:gd name="connsiteX2" fmla="*/ 0 w 444626"/>
              <a:gd name="connsiteY2" fmla="*/ 1995238 h 1995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4626" h="1995238">
                <a:moveTo>
                  <a:pt x="169868" y="0"/>
                </a:moveTo>
                <a:lnTo>
                  <a:pt x="444626" y="1995238"/>
                </a:lnTo>
                <a:lnTo>
                  <a:pt x="0" y="199523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180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094197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e 4">
            <a:extLst>
              <a:ext uri="{FF2B5EF4-FFF2-40B4-BE49-F238E27FC236}">
                <a16:creationId xmlns:a16="http://schemas.microsoft.com/office/drawing/2014/main" id="{DDCE9304-D911-423A-A19F-03B0F7F07569}"/>
              </a:ext>
            </a:extLst>
          </p:cNvPr>
          <p:cNvGrpSpPr/>
          <p:nvPr userDrawn="1"/>
        </p:nvGrpSpPr>
        <p:grpSpPr>
          <a:xfrm>
            <a:off x="-91485" y="-57106"/>
            <a:ext cx="1008300" cy="5190499"/>
            <a:chOff x="-91485" y="-57106"/>
            <a:chExt cx="1008300" cy="5190499"/>
          </a:xfrm>
          <a:solidFill>
            <a:schemeClr val="bg2">
              <a:alpha val="5000"/>
            </a:schemeClr>
          </a:solidFill>
        </p:grpSpPr>
        <p:sp>
          <p:nvSpPr>
            <p:cNvPr id="6" name="Forme libre : forme 5">
              <a:extLst>
                <a:ext uri="{FF2B5EF4-FFF2-40B4-BE49-F238E27FC236}">
                  <a16:creationId xmlns:a16="http://schemas.microsoft.com/office/drawing/2014/main" id="{8BF43435-37FA-4F29-AABD-F905029537BD}"/>
                </a:ext>
              </a:extLst>
            </p:cNvPr>
            <p:cNvSpPr/>
            <p:nvPr/>
          </p:nvSpPr>
          <p:spPr>
            <a:xfrm rot="8716295">
              <a:off x="617786" y="1780350"/>
              <a:ext cx="152726" cy="195873"/>
            </a:xfrm>
            <a:custGeom>
              <a:avLst/>
              <a:gdLst>
                <a:gd name="connsiteX0" fmla="*/ 39589 w 152726"/>
                <a:gd name="connsiteY0" fmla="*/ 195873 h 195873"/>
                <a:gd name="connsiteX1" fmla="*/ 0 w 152726"/>
                <a:gd name="connsiteY1" fmla="*/ 122219 h 195873"/>
                <a:gd name="connsiteX2" fmla="*/ 101089 w 152726"/>
                <a:gd name="connsiteY2" fmla="*/ 0 h 195873"/>
                <a:gd name="connsiteX3" fmla="*/ 152726 w 152726"/>
                <a:gd name="connsiteY3" fmla="*/ 0 h 195873"/>
                <a:gd name="connsiteX4" fmla="*/ 152726 w 152726"/>
                <a:gd name="connsiteY4" fmla="*/ 55323 h 195873"/>
                <a:gd name="connsiteX5" fmla="*/ 87934 w 152726"/>
                <a:gd name="connsiteY5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726" h="195873">
                  <a:moveTo>
                    <a:pt x="39589" y="195873"/>
                  </a:moveTo>
                  <a:lnTo>
                    <a:pt x="0" y="122219"/>
                  </a:lnTo>
                  <a:lnTo>
                    <a:pt x="101089" y="0"/>
                  </a:lnTo>
                  <a:lnTo>
                    <a:pt x="152726" y="0"/>
                  </a:lnTo>
                  <a:lnTo>
                    <a:pt x="152726" y="55323"/>
                  </a:lnTo>
                  <a:lnTo>
                    <a:pt x="87934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" name="Forme libre : forme 6">
              <a:extLst>
                <a:ext uri="{FF2B5EF4-FFF2-40B4-BE49-F238E27FC236}">
                  <a16:creationId xmlns:a16="http://schemas.microsoft.com/office/drawing/2014/main" id="{8B995644-775E-4EEC-A2B1-C17BB27E6FAF}"/>
                </a:ext>
              </a:extLst>
            </p:cNvPr>
            <p:cNvSpPr/>
            <p:nvPr/>
          </p:nvSpPr>
          <p:spPr>
            <a:xfrm rot="8716295">
              <a:off x="534441" y="1654353"/>
              <a:ext cx="262864" cy="103234"/>
            </a:xfrm>
            <a:custGeom>
              <a:avLst/>
              <a:gdLst>
                <a:gd name="connsiteX0" fmla="*/ 0 w 262864"/>
                <a:gd name="connsiteY0" fmla="*/ 75341 h 103234"/>
                <a:gd name="connsiteX1" fmla="*/ 62316 w 262864"/>
                <a:gd name="connsiteY1" fmla="*/ 0 h 103234"/>
                <a:gd name="connsiteX2" fmla="*/ 65768 w 262864"/>
                <a:gd name="connsiteY2" fmla="*/ 14220 h 103234"/>
                <a:gd name="connsiteX3" fmla="*/ 136369 w 262864"/>
                <a:gd name="connsiteY3" fmla="*/ 53051 h 103234"/>
                <a:gd name="connsiteX4" fmla="*/ 189321 w 262864"/>
                <a:gd name="connsiteY4" fmla="*/ 43637 h 103234"/>
                <a:gd name="connsiteX5" fmla="*/ 261688 w 262864"/>
                <a:gd name="connsiteY5" fmla="*/ 14220 h 103234"/>
                <a:gd name="connsiteX6" fmla="*/ 262864 w 262864"/>
                <a:gd name="connsiteY6" fmla="*/ 21868 h 103234"/>
                <a:gd name="connsiteX7" fmla="*/ 262864 w 262864"/>
                <a:gd name="connsiteY7" fmla="*/ 27752 h 103234"/>
                <a:gd name="connsiteX8" fmla="*/ 69887 w 262864"/>
                <a:gd name="connsiteY8" fmla="*/ 103060 h 103234"/>
                <a:gd name="connsiteX9" fmla="*/ 30615 w 262864"/>
                <a:gd name="connsiteY9" fmla="*/ 96294 h 103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2864" h="103234">
                  <a:moveTo>
                    <a:pt x="0" y="75341"/>
                  </a:moveTo>
                  <a:lnTo>
                    <a:pt x="62316" y="0"/>
                  </a:lnTo>
                  <a:lnTo>
                    <a:pt x="65768" y="14220"/>
                  </a:lnTo>
                  <a:cubicBezTo>
                    <a:pt x="75182" y="40107"/>
                    <a:pt x="99304" y="53051"/>
                    <a:pt x="136369" y="53051"/>
                  </a:cubicBezTo>
                  <a:cubicBezTo>
                    <a:pt x="154609" y="52462"/>
                    <a:pt x="172259" y="48932"/>
                    <a:pt x="189321" y="43637"/>
                  </a:cubicBezTo>
                  <a:cubicBezTo>
                    <a:pt x="214031" y="35988"/>
                    <a:pt x="238154" y="25987"/>
                    <a:pt x="261688" y="14220"/>
                  </a:cubicBezTo>
                  <a:cubicBezTo>
                    <a:pt x="262276" y="16573"/>
                    <a:pt x="262864" y="19515"/>
                    <a:pt x="262864" y="21868"/>
                  </a:cubicBezTo>
                  <a:lnTo>
                    <a:pt x="262864" y="27752"/>
                  </a:lnTo>
                  <a:cubicBezTo>
                    <a:pt x="200500" y="81291"/>
                    <a:pt x="118719" y="100119"/>
                    <a:pt x="69887" y="103060"/>
                  </a:cubicBezTo>
                  <a:cubicBezTo>
                    <a:pt x="56355" y="103943"/>
                    <a:pt x="42970" y="101442"/>
                    <a:pt x="30615" y="9629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ECEF6D56-E3A3-4A1A-A07B-637782F55FFB}"/>
                </a:ext>
              </a:extLst>
            </p:cNvPr>
            <p:cNvSpPr/>
            <p:nvPr/>
          </p:nvSpPr>
          <p:spPr>
            <a:xfrm rot="8716295">
              <a:off x="632719" y="1232432"/>
              <a:ext cx="121558" cy="232388"/>
            </a:xfrm>
            <a:custGeom>
              <a:avLst/>
              <a:gdLst>
                <a:gd name="connsiteX0" fmla="*/ 60499 w 121558"/>
                <a:gd name="connsiteY0" fmla="*/ 232388 h 232388"/>
                <a:gd name="connsiteX1" fmla="*/ 60499 w 121558"/>
                <a:gd name="connsiteY1" fmla="*/ 69717 h 232388"/>
                <a:gd name="connsiteX2" fmla="*/ 60499 w 121558"/>
                <a:gd name="connsiteY2" fmla="*/ 65615 h 232388"/>
                <a:gd name="connsiteX3" fmla="*/ 39995 w 121558"/>
                <a:gd name="connsiteY3" fmla="*/ 50123 h 232388"/>
                <a:gd name="connsiteX4" fmla="*/ 0 w 121558"/>
                <a:gd name="connsiteY4" fmla="*/ 50123 h 232388"/>
                <a:gd name="connsiteX5" fmla="*/ 41457 w 121558"/>
                <a:gd name="connsiteY5" fmla="*/ 0 h 232388"/>
                <a:gd name="connsiteX6" fmla="*/ 64601 w 121558"/>
                <a:gd name="connsiteY6" fmla="*/ 0 h 232388"/>
                <a:gd name="connsiteX7" fmla="*/ 121558 w 121558"/>
                <a:gd name="connsiteY7" fmla="*/ 50123 h 232388"/>
                <a:gd name="connsiteX8" fmla="*/ 121558 w 121558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558" h="232388">
                  <a:moveTo>
                    <a:pt x="60499" y="232388"/>
                  </a:moveTo>
                  <a:lnTo>
                    <a:pt x="60499" y="69717"/>
                  </a:lnTo>
                  <a:cubicBezTo>
                    <a:pt x="60499" y="68349"/>
                    <a:pt x="60499" y="66983"/>
                    <a:pt x="60499" y="65615"/>
                  </a:cubicBezTo>
                  <a:cubicBezTo>
                    <a:pt x="59133" y="55591"/>
                    <a:pt x="50019" y="48756"/>
                    <a:pt x="39995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64601" y="0"/>
                  </a:lnTo>
                  <a:cubicBezTo>
                    <a:pt x="101509" y="0"/>
                    <a:pt x="121558" y="15948"/>
                    <a:pt x="121558" y="50123"/>
                  </a:cubicBezTo>
                  <a:lnTo>
                    <a:pt x="121558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C210E3DF-2FB4-4CAE-8361-8A940B0AC92D}"/>
                </a:ext>
              </a:extLst>
            </p:cNvPr>
            <p:cNvSpPr/>
            <p:nvPr/>
          </p:nvSpPr>
          <p:spPr>
            <a:xfrm rot="8716295">
              <a:off x="763454" y="1474783"/>
              <a:ext cx="14143" cy="14319"/>
            </a:xfrm>
            <a:custGeom>
              <a:avLst/>
              <a:gdLst>
                <a:gd name="connsiteX0" fmla="*/ 0 w 14143"/>
                <a:gd name="connsiteY0" fmla="*/ 14319 h 14319"/>
                <a:gd name="connsiteX1" fmla="*/ 11843 w 14143"/>
                <a:gd name="connsiteY1" fmla="*/ 0 h 14319"/>
                <a:gd name="connsiteX2" fmla="*/ 14143 w 14143"/>
                <a:gd name="connsiteY2" fmla="*/ 7563 h 14319"/>
                <a:gd name="connsiteX3" fmla="*/ 14143 w 14143"/>
                <a:gd name="connsiteY3" fmla="*/ 13487 h 1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43" h="14319">
                  <a:moveTo>
                    <a:pt x="0" y="14319"/>
                  </a:moveTo>
                  <a:lnTo>
                    <a:pt x="11843" y="0"/>
                  </a:lnTo>
                  <a:lnTo>
                    <a:pt x="14143" y="7563"/>
                  </a:lnTo>
                  <a:lnTo>
                    <a:pt x="14143" y="1348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F29133E2-23FE-4A05-8C3E-06E82B2EE756}"/>
                </a:ext>
              </a:extLst>
            </p:cNvPr>
            <p:cNvSpPr/>
            <p:nvPr/>
          </p:nvSpPr>
          <p:spPr>
            <a:xfrm rot="8716295">
              <a:off x="672878" y="1171577"/>
              <a:ext cx="183964" cy="137618"/>
            </a:xfrm>
            <a:custGeom>
              <a:avLst/>
              <a:gdLst>
                <a:gd name="connsiteX0" fmla="*/ 0 w 183964"/>
                <a:gd name="connsiteY0" fmla="*/ 137618 h 137618"/>
                <a:gd name="connsiteX1" fmla="*/ 53346 w 183964"/>
                <a:gd name="connsiteY1" fmla="*/ 73121 h 137618"/>
                <a:gd name="connsiteX2" fmla="*/ 101034 w 183964"/>
                <a:gd name="connsiteY2" fmla="*/ 28251 h 137618"/>
                <a:gd name="connsiteX3" fmla="*/ 155713 w 183964"/>
                <a:gd name="connsiteY3" fmla="*/ 0 h 137618"/>
                <a:gd name="connsiteX4" fmla="*/ 183964 w 183964"/>
                <a:gd name="connsiteY4" fmla="*/ 33719 h 137618"/>
                <a:gd name="connsiteX5" fmla="*/ 157536 w 183964"/>
                <a:gd name="connsiteY5" fmla="*/ 69261 h 137618"/>
                <a:gd name="connsiteX6" fmla="*/ 157991 w 183964"/>
                <a:gd name="connsiteY6" fmla="*/ 69261 h 137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3964" h="137618">
                  <a:moveTo>
                    <a:pt x="0" y="137618"/>
                  </a:moveTo>
                  <a:lnTo>
                    <a:pt x="53346" y="73121"/>
                  </a:lnTo>
                  <a:lnTo>
                    <a:pt x="101034" y="28251"/>
                  </a:lnTo>
                  <a:cubicBezTo>
                    <a:pt x="114703" y="12303"/>
                    <a:pt x="134297" y="2278"/>
                    <a:pt x="155713" y="0"/>
                  </a:cubicBezTo>
                  <a:cubicBezTo>
                    <a:pt x="177585" y="0"/>
                    <a:pt x="183964" y="19138"/>
                    <a:pt x="183964" y="33719"/>
                  </a:cubicBezTo>
                  <a:cubicBezTo>
                    <a:pt x="182597" y="49667"/>
                    <a:pt x="172117" y="62881"/>
                    <a:pt x="157536" y="69261"/>
                  </a:cubicBezTo>
                  <a:lnTo>
                    <a:pt x="157991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5E79E2F7-FE77-428C-929F-4D7C8FB066A9}"/>
                </a:ext>
              </a:extLst>
            </p:cNvPr>
            <p:cNvSpPr/>
            <p:nvPr/>
          </p:nvSpPr>
          <p:spPr>
            <a:xfrm rot="8716295">
              <a:off x="519479" y="13148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AC49361A-028A-4CA3-A2A1-A372F544DB33}"/>
                </a:ext>
              </a:extLst>
            </p:cNvPr>
            <p:cNvSpPr/>
            <p:nvPr/>
          </p:nvSpPr>
          <p:spPr>
            <a:xfrm rot="8716295">
              <a:off x="394576" y="11061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CAB08DB6-35D5-40DF-BB68-8D985BEBA2F5}"/>
                </a:ext>
              </a:extLst>
            </p:cNvPr>
            <p:cNvSpPr/>
            <p:nvPr/>
          </p:nvSpPr>
          <p:spPr>
            <a:xfrm rot="8716295">
              <a:off x="382524" y="96739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EF0B79A4-ED29-4509-A025-0FDBC80DDF4D}"/>
                </a:ext>
              </a:extLst>
            </p:cNvPr>
            <p:cNvSpPr/>
            <p:nvPr/>
          </p:nvSpPr>
          <p:spPr>
            <a:xfrm rot="8716295">
              <a:off x="609657" y="135579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8A5B8AD6-0C7B-4FD4-A763-E4D6A3665D82}"/>
                </a:ext>
              </a:extLst>
            </p:cNvPr>
            <p:cNvSpPr/>
            <p:nvPr/>
          </p:nvSpPr>
          <p:spPr>
            <a:xfrm rot="8716295">
              <a:off x="683426" y="869567"/>
              <a:ext cx="156000" cy="195873"/>
            </a:xfrm>
            <a:custGeom>
              <a:avLst/>
              <a:gdLst>
                <a:gd name="connsiteX0" fmla="*/ 42863 w 156000"/>
                <a:gd name="connsiteY0" fmla="*/ 195873 h 195873"/>
                <a:gd name="connsiteX1" fmla="*/ 0 w 156000"/>
                <a:gd name="connsiteY1" fmla="*/ 116129 h 195873"/>
                <a:gd name="connsiteX2" fmla="*/ 5100 w 156000"/>
                <a:gd name="connsiteY2" fmla="*/ 101988 h 195873"/>
                <a:gd name="connsiteX3" fmla="*/ 89456 w 156000"/>
                <a:gd name="connsiteY3" fmla="*/ 0 h 195873"/>
                <a:gd name="connsiteX4" fmla="*/ 156000 w 156000"/>
                <a:gd name="connsiteY4" fmla="*/ 0 h 195873"/>
                <a:gd name="connsiteX5" fmla="*/ 156000 w 156000"/>
                <a:gd name="connsiteY5" fmla="*/ 55323 h 195873"/>
                <a:gd name="connsiteX6" fmla="*/ 91208 w 156000"/>
                <a:gd name="connsiteY6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000" h="195873">
                  <a:moveTo>
                    <a:pt x="42863" y="195873"/>
                  </a:moveTo>
                  <a:lnTo>
                    <a:pt x="0" y="116129"/>
                  </a:lnTo>
                  <a:lnTo>
                    <a:pt x="5100" y="101988"/>
                  </a:lnTo>
                  <a:lnTo>
                    <a:pt x="89456" y="0"/>
                  </a:lnTo>
                  <a:lnTo>
                    <a:pt x="156000" y="0"/>
                  </a:lnTo>
                  <a:lnTo>
                    <a:pt x="156000" y="55323"/>
                  </a:lnTo>
                  <a:lnTo>
                    <a:pt x="91208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7DFCEA7D-F372-4371-803B-1BDFB976A5FE}"/>
                </a:ext>
              </a:extLst>
            </p:cNvPr>
            <p:cNvSpPr/>
            <p:nvPr/>
          </p:nvSpPr>
          <p:spPr>
            <a:xfrm rot="8716295">
              <a:off x="657305" y="95604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813AE7E0-5367-40AE-8648-A812F3FCEFB0}"/>
                </a:ext>
              </a:extLst>
            </p:cNvPr>
            <p:cNvSpPr/>
            <p:nvPr/>
          </p:nvSpPr>
          <p:spPr>
            <a:xfrm rot="8716295">
              <a:off x="412774" y="56424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4F0C8F89-3692-4CD2-AB49-0CA987B88CD5}"/>
                </a:ext>
              </a:extLst>
            </p:cNvPr>
            <p:cNvSpPr/>
            <p:nvPr/>
          </p:nvSpPr>
          <p:spPr>
            <a:xfrm rot="8716295">
              <a:off x="502166" y="59348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284418CA-40AC-4E29-8D1E-8E40819DE436}"/>
                </a:ext>
              </a:extLst>
            </p:cNvPr>
            <p:cNvSpPr/>
            <p:nvPr/>
          </p:nvSpPr>
          <p:spPr>
            <a:xfrm rot="8716295">
              <a:off x="457316" y="50720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19514F15-38A0-4598-8B03-DA5265616C1F}"/>
                </a:ext>
              </a:extLst>
            </p:cNvPr>
            <p:cNvSpPr/>
            <p:nvPr/>
          </p:nvSpPr>
          <p:spPr>
            <a:xfrm rot="8716295">
              <a:off x="300540" y="65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35129A39-F7B1-40CB-9723-42A8577DE4D8}"/>
                </a:ext>
              </a:extLst>
            </p:cNvPr>
            <p:cNvSpPr/>
            <p:nvPr/>
          </p:nvSpPr>
          <p:spPr>
            <a:xfrm rot="8716295">
              <a:off x="175637" y="44411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C7017F0B-1736-4A46-A863-13134C22DD70}"/>
                </a:ext>
              </a:extLst>
            </p:cNvPr>
            <p:cNvSpPr/>
            <p:nvPr/>
          </p:nvSpPr>
          <p:spPr>
            <a:xfrm rot="8716295">
              <a:off x="163585" y="30533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E31096BD-DD71-4593-87A9-9B536F3877A9}"/>
                </a:ext>
              </a:extLst>
            </p:cNvPr>
            <p:cNvSpPr/>
            <p:nvPr/>
          </p:nvSpPr>
          <p:spPr>
            <a:xfrm rot="8716295">
              <a:off x="390718" y="69374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489E6E27-B2DC-4644-8C61-0B68592B9997}"/>
                </a:ext>
              </a:extLst>
            </p:cNvPr>
            <p:cNvSpPr/>
            <p:nvPr/>
          </p:nvSpPr>
          <p:spPr>
            <a:xfrm rot="8716295">
              <a:off x="702015" y="317459"/>
              <a:ext cx="131260" cy="232388"/>
            </a:xfrm>
            <a:custGeom>
              <a:avLst/>
              <a:gdLst>
                <a:gd name="connsiteX0" fmla="*/ 70201 w 131260"/>
                <a:gd name="connsiteY0" fmla="*/ 232388 h 232388"/>
                <a:gd name="connsiteX1" fmla="*/ 70201 w 131260"/>
                <a:gd name="connsiteY1" fmla="*/ 69717 h 232388"/>
                <a:gd name="connsiteX2" fmla="*/ 70201 w 131260"/>
                <a:gd name="connsiteY2" fmla="*/ 65615 h 232388"/>
                <a:gd name="connsiteX3" fmla="*/ 49697 w 131260"/>
                <a:gd name="connsiteY3" fmla="*/ 50123 h 232388"/>
                <a:gd name="connsiteX4" fmla="*/ 0 w 131260"/>
                <a:gd name="connsiteY4" fmla="*/ 50123 h 232388"/>
                <a:gd name="connsiteX5" fmla="*/ 41457 w 131260"/>
                <a:gd name="connsiteY5" fmla="*/ 0 h 232388"/>
                <a:gd name="connsiteX6" fmla="*/ 74303 w 131260"/>
                <a:gd name="connsiteY6" fmla="*/ 0 h 232388"/>
                <a:gd name="connsiteX7" fmla="*/ 131260 w 131260"/>
                <a:gd name="connsiteY7" fmla="*/ 50123 h 232388"/>
                <a:gd name="connsiteX8" fmla="*/ 131260 w 131260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1260" h="232388">
                  <a:moveTo>
                    <a:pt x="70201" y="232388"/>
                  </a:moveTo>
                  <a:lnTo>
                    <a:pt x="70201" y="69717"/>
                  </a:lnTo>
                  <a:cubicBezTo>
                    <a:pt x="70201" y="68349"/>
                    <a:pt x="70201" y="66983"/>
                    <a:pt x="70201" y="65615"/>
                  </a:cubicBezTo>
                  <a:cubicBezTo>
                    <a:pt x="68835" y="55591"/>
                    <a:pt x="59721" y="48756"/>
                    <a:pt x="49697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74303" y="0"/>
                  </a:lnTo>
                  <a:cubicBezTo>
                    <a:pt x="111211" y="0"/>
                    <a:pt x="131260" y="15948"/>
                    <a:pt x="131260" y="50123"/>
                  </a:cubicBezTo>
                  <a:lnTo>
                    <a:pt x="131260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64B1D5CD-AA1A-4511-A70C-3D1648AA7620}"/>
                </a:ext>
              </a:extLst>
            </p:cNvPr>
            <p:cNvSpPr/>
            <p:nvPr/>
          </p:nvSpPr>
          <p:spPr>
            <a:xfrm rot="8716295">
              <a:off x="834978" y="558357"/>
              <a:ext cx="24341" cy="23495"/>
            </a:xfrm>
            <a:custGeom>
              <a:avLst/>
              <a:gdLst>
                <a:gd name="connsiteX0" fmla="*/ 0 w 24341"/>
                <a:gd name="connsiteY0" fmla="*/ 23495 h 23495"/>
                <a:gd name="connsiteX1" fmla="*/ 19433 w 24341"/>
                <a:gd name="connsiteY1" fmla="*/ 0 h 23495"/>
                <a:gd name="connsiteX2" fmla="*/ 24341 w 24341"/>
                <a:gd name="connsiteY2" fmla="*/ 16139 h 23495"/>
                <a:gd name="connsiteX3" fmla="*/ 24341 w 24341"/>
                <a:gd name="connsiteY3" fmla="*/ 22063 h 23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41" h="23495">
                  <a:moveTo>
                    <a:pt x="0" y="23495"/>
                  </a:moveTo>
                  <a:lnTo>
                    <a:pt x="19433" y="0"/>
                  </a:lnTo>
                  <a:lnTo>
                    <a:pt x="24341" y="16139"/>
                  </a:lnTo>
                  <a:lnTo>
                    <a:pt x="24341" y="220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C7E6623E-E147-4C70-B4C9-2964958B77BB}"/>
                </a:ext>
              </a:extLst>
            </p:cNvPr>
            <p:cNvSpPr/>
            <p:nvPr/>
          </p:nvSpPr>
          <p:spPr>
            <a:xfrm rot="8716295">
              <a:off x="589639" y="40263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4DE4261E-A052-44C0-B4E1-A4180EFF5C4E}"/>
                </a:ext>
              </a:extLst>
            </p:cNvPr>
            <p:cNvSpPr/>
            <p:nvPr/>
          </p:nvSpPr>
          <p:spPr>
            <a:xfrm rot="8716295">
              <a:off x="464737" y="19396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088943E8-6233-4A69-B579-FE8F6D2031DE}"/>
                </a:ext>
              </a:extLst>
            </p:cNvPr>
            <p:cNvSpPr/>
            <p:nvPr/>
          </p:nvSpPr>
          <p:spPr>
            <a:xfrm rot="8716295">
              <a:off x="679817" y="44358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C9608DDB-F100-4197-8B1F-FCABCA12152A}"/>
                </a:ext>
              </a:extLst>
            </p:cNvPr>
            <p:cNvSpPr/>
            <p:nvPr/>
          </p:nvSpPr>
          <p:spPr>
            <a:xfrm rot="8716295">
              <a:off x="438366" y="29398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D82830A6-34DE-41A5-85EB-BBC1292CFD2D}"/>
                </a:ext>
              </a:extLst>
            </p:cNvPr>
            <p:cNvSpPr/>
            <p:nvPr/>
          </p:nvSpPr>
          <p:spPr>
            <a:xfrm rot="7484129">
              <a:off x="811674" y="658874"/>
              <a:ext cx="31078" cy="46141"/>
            </a:xfrm>
            <a:custGeom>
              <a:avLst/>
              <a:gdLst>
                <a:gd name="connsiteX0" fmla="*/ 15207 w 31078"/>
                <a:gd name="connsiteY0" fmla="*/ 46141 h 46141"/>
                <a:gd name="connsiteX1" fmla="*/ 0 w 31078"/>
                <a:gd name="connsiteY1" fmla="*/ 17849 h 46141"/>
                <a:gd name="connsiteX2" fmla="*/ 31078 w 31078"/>
                <a:gd name="connsiteY2" fmla="*/ 0 h 46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078" h="46141">
                  <a:moveTo>
                    <a:pt x="15207" y="46141"/>
                  </a:moveTo>
                  <a:lnTo>
                    <a:pt x="0" y="17849"/>
                  </a:lnTo>
                  <a:lnTo>
                    <a:pt x="3107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F95DC290-4BE0-47A6-9E13-46128747A546}"/>
                </a:ext>
              </a:extLst>
            </p:cNvPr>
            <p:cNvSpPr/>
            <p:nvPr/>
          </p:nvSpPr>
          <p:spPr>
            <a:xfrm rot="8716295">
              <a:off x="780102" y="336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2DFDD14A-8BE6-4683-84E9-692286466F04}"/>
                </a:ext>
              </a:extLst>
            </p:cNvPr>
            <p:cNvSpPr/>
            <p:nvPr/>
          </p:nvSpPr>
          <p:spPr>
            <a:xfrm rot="8716295">
              <a:off x="202348" y="-57106"/>
              <a:ext cx="142167" cy="186494"/>
            </a:xfrm>
            <a:custGeom>
              <a:avLst/>
              <a:gdLst>
                <a:gd name="connsiteX0" fmla="*/ 142167 w 142167"/>
                <a:gd name="connsiteY0" fmla="*/ 186494 h 186494"/>
                <a:gd name="connsiteX1" fmla="*/ 81108 w 142167"/>
                <a:gd name="connsiteY1" fmla="*/ 144170 h 186494"/>
                <a:gd name="connsiteX2" fmla="*/ 81108 w 142167"/>
                <a:gd name="connsiteY2" fmla="*/ 69717 h 186494"/>
                <a:gd name="connsiteX3" fmla="*/ 81108 w 142167"/>
                <a:gd name="connsiteY3" fmla="*/ 65615 h 186494"/>
                <a:gd name="connsiteX4" fmla="*/ 60603 w 142167"/>
                <a:gd name="connsiteY4" fmla="*/ 50123 h 186494"/>
                <a:gd name="connsiteX5" fmla="*/ 0 w 142167"/>
                <a:gd name="connsiteY5" fmla="*/ 50123 h 186494"/>
                <a:gd name="connsiteX6" fmla="*/ 0 w 142167"/>
                <a:gd name="connsiteY6" fmla="*/ 0 h 186494"/>
                <a:gd name="connsiteX7" fmla="*/ 85209 w 142167"/>
                <a:gd name="connsiteY7" fmla="*/ 0 h 186494"/>
                <a:gd name="connsiteX8" fmla="*/ 142167 w 142167"/>
                <a:gd name="connsiteY8" fmla="*/ 50123 h 186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86494">
                  <a:moveTo>
                    <a:pt x="142167" y="186494"/>
                  </a:moveTo>
                  <a:lnTo>
                    <a:pt x="81108" y="144170"/>
                  </a:lnTo>
                  <a:lnTo>
                    <a:pt x="81108" y="69717"/>
                  </a:lnTo>
                  <a:cubicBezTo>
                    <a:pt x="81108" y="68349"/>
                    <a:pt x="81108" y="66983"/>
                    <a:pt x="81108" y="65615"/>
                  </a:cubicBezTo>
                  <a:cubicBezTo>
                    <a:pt x="79741" y="55591"/>
                    <a:pt x="70628" y="48756"/>
                    <a:pt x="60603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1290DDF0-32AF-49C1-9855-D4608A5165C7}"/>
                </a:ext>
              </a:extLst>
            </p:cNvPr>
            <p:cNvSpPr/>
            <p:nvPr/>
          </p:nvSpPr>
          <p:spPr>
            <a:xfrm rot="8716295">
              <a:off x="298766" y="-5395"/>
              <a:ext cx="260639" cy="180054"/>
            </a:xfrm>
            <a:custGeom>
              <a:avLst/>
              <a:gdLst>
                <a:gd name="connsiteX0" fmla="*/ 111638 w 260639"/>
                <a:gd name="connsiteY0" fmla="*/ 180054 h 180054"/>
                <a:gd name="connsiteX1" fmla="*/ 51490 w 260639"/>
                <a:gd name="connsiteY1" fmla="*/ 138362 h 180054"/>
                <a:gd name="connsiteX2" fmla="*/ 51490 w 260639"/>
                <a:gd name="connsiteY2" fmla="*/ 45624 h 180054"/>
                <a:gd name="connsiteX3" fmla="*/ 0 w 260639"/>
                <a:gd name="connsiteY3" fmla="*/ 45624 h 180054"/>
                <a:gd name="connsiteX4" fmla="*/ 0 w 260639"/>
                <a:gd name="connsiteY4" fmla="*/ 1425 h 180054"/>
                <a:gd name="connsiteX5" fmla="*/ 104802 w 260639"/>
                <a:gd name="connsiteY5" fmla="*/ 1425 h 180054"/>
                <a:gd name="connsiteX6" fmla="*/ 104802 w 260639"/>
                <a:gd name="connsiteY6" fmla="*/ 75242 h 180054"/>
                <a:gd name="connsiteX7" fmla="*/ 106169 w 260639"/>
                <a:gd name="connsiteY7" fmla="*/ 75242 h 180054"/>
                <a:gd name="connsiteX8" fmla="*/ 154014 w 260639"/>
                <a:gd name="connsiteY8" fmla="*/ 5981 h 180054"/>
                <a:gd name="connsiteX9" fmla="*/ 185455 w 260639"/>
                <a:gd name="connsiteY9" fmla="*/ 57 h 180054"/>
                <a:gd name="connsiteX10" fmla="*/ 260639 w 260639"/>
                <a:gd name="connsiteY10" fmla="*/ 88456 h 180054"/>
                <a:gd name="connsiteX11" fmla="*/ 260639 w 260639"/>
                <a:gd name="connsiteY11" fmla="*/ 94380 h 180054"/>
                <a:gd name="connsiteX12" fmla="*/ 198669 w 260639"/>
                <a:gd name="connsiteY12" fmla="*/ 98025 h 180054"/>
                <a:gd name="connsiteX13" fmla="*/ 198669 w 260639"/>
                <a:gd name="connsiteY13" fmla="*/ 81621 h 180054"/>
                <a:gd name="connsiteX14" fmla="*/ 164950 w 260639"/>
                <a:gd name="connsiteY14" fmla="*/ 40156 h 180054"/>
                <a:gd name="connsiteX15" fmla="*/ 111638 w 260639"/>
                <a:gd name="connsiteY15" fmla="*/ 127643 h 180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0639" h="180054">
                  <a:moveTo>
                    <a:pt x="111638" y="180054"/>
                  </a:moveTo>
                  <a:lnTo>
                    <a:pt x="51490" y="138362"/>
                  </a:ln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35F53667-6F8A-4DCE-969D-0E4C74C133AE}"/>
                </a:ext>
              </a:extLst>
            </p:cNvPr>
            <p:cNvSpPr/>
            <p:nvPr/>
          </p:nvSpPr>
          <p:spPr>
            <a:xfrm rot="8716295">
              <a:off x="276903" y="-12823"/>
              <a:ext cx="36272" cy="27982"/>
            </a:xfrm>
            <a:custGeom>
              <a:avLst/>
              <a:gdLst>
                <a:gd name="connsiteX0" fmla="*/ 36272 w 36272"/>
                <a:gd name="connsiteY0" fmla="*/ 27982 h 27982"/>
                <a:gd name="connsiteX1" fmla="*/ 0 w 36272"/>
                <a:gd name="connsiteY1" fmla="*/ 2840 h 27982"/>
                <a:gd name="connsiteX2" fmla="*/ 9543 w 36272"/>
                <a:gd name="connsiteY2" fmla="*/ 0 h 27982"/>
                <a:gd name="connsiteX3" fmla="*/ 31871 w 36272"/>
                <a:gd name="connsiteY3" fmla="*/ 11392 h 27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272" h="27982">
                  <a:moveTo>
                    <a:pt x="36272" y="27982"/>
                  </a:moveTo>
                  <a:lnTo>
                    <a:pt x="0" y="2840"/>
                  </a:lnTo>
                  <a:lnTo>
                    <a:pt x="9543" y="0"/>
                  </a:lnTo>
                  <a:cubicBezTo>
                    <a:pt x="20479" y="0"/>
                    <a:pt x="27542" y="4784"/>
                    <a:pt x="31871" y="113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7EAA08B2-D955-4718-8A05-F3FD6783C060}"/>
                </a:ext>
              </a:extLst>
            </p:cNvPr>
            <p:cNvSpPr/>
            <p:nvPr/>
          </p:nvSpPr>
          <p:spPr>
            <a:xfrm rot="8716295">
              <a:off x="74640" y="-9665"/>
              <a:ext cx="58068" cy="54772"/>
            </a:xfrm>
            <a:custGeom>
              <a:avLst/>
              <a:gdLst>
                <a:gd name="connsiteX0" fmla="*/ 37436 w 58068"/>
                <a:gd name="connsiteY0" fmla="*/ 54772 h 54772"/>
                <a:gd name="connsiteX1" fmla="*/ 0 w 58068"/>
                <a:gd name="connsiteY1" fmla="*/ 28823 h 54772"/>
                <a:gd name="connsiteX2" fmla="*/ 8515 w 58068"/>
                <a:gd name="connsiteY2" fmla="*/ 8658 h 54772"/>
                <a:gd name="connsiteX3" fmla="*/ 29020 w 58068"/>
                <a:gd name="connsiteY3" fmla="*/ 0 h 54772"/>
                <a:gd name="connsiteX4" fmla="*/ 49525 w 58068"/>
                <a:gd name="connsiteY4" fmla="*/ 8658 h 54772"/>
                <a:gd name="connsiteX5" fmla="*/ 49525 w 58068"/>
                <a:gd name="connsiteY5" fmla="*/ 49668 h 5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068" h="54772">
                  <a:moveTo>
                    <a:pt x="37436" y="54772"/>
                  </a:moveTo>
                  <a:lnTo>
                    <a:pt x="0" y="28823"/>
                  </a:lnTo>
                  <a:lnTo>
                    <a:pt x="8515" y="8658"/>
                  </a:lnTo>
                  <a:cubicBezTo>
                    <a:pt x="13983" y="3190"/>
                    <a:pt x="21273" y="0"/>
                    <a:pt x="29020" y="0"/>
                  </a:cubicBezTo>
                  <a:cubicBezTo>
                    <a:pt x="36766" y="0"/>
                    <a:pt x="44057" y="3190"/>
                    <a:pt x="49525" y="8658"/>
                  </a:cubicBezTo>
                  <a:cubicBezTo>
                    <a:pt x="60916" y="19594"/>
                    <a:pt x="60916" y="38276"/>
                    <a:pt x="49525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91D311A3-3988-4CE3-A999-8E18D0FD85FD}"/>
                </a:ext>
              </a:extLst>
            </p:cNvPr>
            <p:cNvSpPr/>
            <p:nvPr/>
          </p:nvSpPr>
          <p:spPr>
            <a:xfrm rot="8716295">
              <a:off x="13802" y="-10406"/>
              <a:ext cx="30027" cy="20814"/>
            </a:xfrm>
            <a:custGeom>
              <a:avLst/>
              <a:gdLst>
                <a:gd name="connsiteX0" fmla="*/ 30027 w 30027"/>
                <a:gd name="connsiteY0" fmla="*/ 20814 h 20814"/>
                <a:gd name="connsiteX1" fmla="*/ 0 w 30027"/>
                <a:gd name="connsiteY1" fmla="*/ 0 h 20814"/>
                <a:gd name="connsiteX2" fmla="*/ 30027 w 30027"/>
                <a:gd name="connsiteY2" fmla="*/ 0 h 20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027" h="20814">
                  <a:moveTo>
                    <a:pt x="30027" y="20814"/>
                  </a:moveTo>
                  <a:lnTo>
                    <a:pt x="0" y="0"/>
                  </a:lnTo>
                  <a:lnTo>
                    <a:pt x="3002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7D873286-5EB5-4CF8-8AF6-196B8CFE1B78}"/>
                </a:ext>
              </a:extLst>
            </p:cNvPr>
            <p:cNvSpPr/>
            <p:nvPr/>
          </p:nvSpPr>
          <p:spPr>
            <a:xfrm rot="8716295">
              <a:off x="168048" y="3032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7A821114-A2EA-43FA-A71F-B45BB20754C5}"/>
                </a:ext>
              </a:extLst>
            </p:cNvPr>
            <p:cNvSpPr/>
            <p:nvPr/>
          </p:nvSpPr>
          <p:spPr>
            <a:xfrm rot="7484129">
              <a:off x="562078" y="-284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3685BB38-9BA5-4418-8C8D-FBEB60E347A8}"/>
                </a:ext>
              </a:extLst>
            </p:cNvPr>
            <p:cNvSpPr/>
            <p:nvPr/>
          </p:nvSpPr>
          <p:spPr>
            <a:xfrm rot="13089394">
              <a:off x="767127" y="-2787"/>
              <a:ext cx="149688" cy="301067"/>
            </a:xfrm>
            <a:custGeom>
              <a:avLst/>
              <a:gdLst>
                <a:gd name="connsiteX0" fmla="*/ 149688 w 149688"/>
                <a:gd name="connsiteY0" fmla="*/ 279622 h 301067"/>
                <a:gd name="connsiteX1" fmla="*/ 122393 w 149688"/>
                <a:gd name="connsiteY1" fmla="*/ 301067 h 301067"/>
                <a:gd name="connsiteX2" fmla="*/ 0 w 149688"/>
                <a:gd name="connsiteY2" fmla="*/ 114672 h 301067"/>
                <a:gd name="connsiteX3" fmla="*/ 0 w 149688"/>
                <a:gd name="connsiteY3" fmla="*/ 38074 h 301067"/>
                <a:gd name="connsiteX4" fmla="*/ 73388 w 149688"/>
                <a:gd name="connsiteY4" fmla="*/ 0 h 301067"/>
                <a:gd name="connsiteX5" fmla="*/ 74492 w 149688"/>
                <a:gd name="connsiteY5" fmla="*/ 153950 h 301067"/>
                <a:gd name="connsiteX6" fmla="*/ 87734 w 149688"/>
                <a:gd name="connsiteY6" fmla="*/ 245547 h 301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9688" h="301067">
                  <a:moveTo>
                    <a:pt x="149688" y="279622"/>
                  </a:moveTo>
                  <a:lnTo>
                    <a:pt x="122393" y="301067"/>
                  </a:lnTo>
                  <a:lnTo>
                    <a:pt x="0" y="114672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2836" y="184850"/>
                    <a:pt x="77802" y="216302"/>
                    <a:pt x="87734" y="2455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114D5DAD-A121-412D-8EC9-36550D867937}"/>
                </a:ext>
              </a:extLst>
            </p:cNvPr>
            <p:cNvSpPr/>
            <p:nvPr/>
          </p:nvSpPr>
          <p:spPr>
            <a:xfrm rot="8716295">
              <a:off x="212141" y="304502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61E96B9A-4D28-4F84-A968-91920B4F682F}"/>
                </a:ext>
              </a:extLst>
            </p:cNvPr>
            <p:cNvSpPr/>
            <p:nvPr/>
          </p:nvSpPr>
          <p:spPr>
            <a:xfrm rot="8716295">
              <a:off x="301533" y="307427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EFBE6CB5-44BD-4FB1-964B-F9876CB1F02D}"/>
                </a:ext>
              </a:extLst>
            </p:cNvPr>
            <p:cNvSpPr/>
            <p:nvPr/>
          </p:nvSpPr>
          <p:spPr>
            <a:xfrm rot="8716295">
              <a:off x="256683" y="298799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38E45A1E-C02E-4B0D-9660-74BB6C6525C0}"/>
                </a:ext>
              </a:extLst>
            </p:cNvPr>
            <p:cNvSpPr/>
            <p:nvPr/>
          </p:nvSpPr>
          <p:spPr>
            <a:xfrm rot="8716295">
              <a:off x="99907" y="31335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6D3358CE-572A-49E2-A96A-A71EBB4EE87B}"/>
                </a:ext>
              </a:extLst>
            </p:cNvPr>
            <p:cNvSpPr/>
            <p:nvPr/>
          </p:nvSpPr>
          <p:spPr>
            <a:xfrm rot="8716295">
              <a:off x="-24996" y="29248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FD4661B5-95D9-433F-BEC2-9F56D7A1586B}"/>
                </a:ext>
              </a:extLst>
            </p:cNvPr>
            <p:cNvSpPr/>
            <p:nvPr/>
          </p:nvSpPr>
          <p:spPr>
            <a:xfrm rot="8716295">
              <a:off x="51899" y="2754602"/>
              <a:ext cx="189488" cy="350829"/>
            </a:xfrm>
            <a:custGeom>
              <a:avLst/>
              <a:gdLst>
                <a:gd name="connsiteX0" fmla="*/ 25299 w 189488"/>
                <a:gd name="connsiteY0" fmla="*/ 321238 h 350829"/>
                <a:gd name="connsiteX1" fmla="*/ 0 w 189488"/>
                <a:gd name="connsiteY1" fmla="*/ 220042 h 350829"/>
                <a:gd name="connsiteX2" fmla="*/ 0 w 189488"/>
                <a:gd name="connsiteY2" fmla="*/ 40596 h 350829"/>
                <a:gd name="connsiteX3" fmla="*/ 78250 w 189488"/>
                <a:gd name="connsiteY3" fmla="*/ 0 h 350829"/>
                <a:gd name="connsiteX4" fmla="*/ 79427 w 189488"/>
                <a:gd name="connsiteY4" fmla="*/ 164149 h 350829"/>
                <a:gd name="connsiteX5" fmla="*/ 93547 w 189488"/>
                <a:gd name="connsiteY5" fmla="*/ 261815 h 350829"/>
                <a:gd name="connsiteX6" fmla="*/ 164148 w 189488"/>
                <a:gd name="connsiteY6" fmla="*/ 300646 h 350829"/>
                <a:gd name="connsiteX7" fmla="*/ 189488 w 189488"/>
                <a:gd name="connsiteY7" fmla="*/ 296141 h 350829"/>
                <a:gd name="connsiteX8" fmla="*/ 160617 w 189488"/>
                <a:gd name="connsiteY8" fmla="*/ 337791 h 350829"/>
                <a:gd name="connsiteX9" fmla="*/ 97666 w 189488"/>
                <a:gd name="connsiteY9" fmla="*/ 350655 h 350829"/>
                <a:gd name="connsiteX10" fmla="*/ 25299 w 189488"/>
                <a:gd name="connsiteY10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9488" h="350829">
                  <a:moveTo>
                    <a:pt x="25299" y="321238"/>
                  </a:moveTo>
                  <a:cubicBezTo>
                    <a:pt x="5295" y="301823"/>
                    <a:pt x="0" y="268286"/>
                    <a:pt x="0" y="220042"/>
                  </a:cubicBez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8" y="300646"/>
                  </a:cubicBezTo>
                  <a:lnTo>
                    <a:pt x="189488" y="296141"/>
                  </a:lnTo>
                  <a:lnTo>
                    <a:pt x="160617" y="337791"/>
                  </a:lnTo>
                  <a:lnTo>
                    <a:pt x="97666" y="350655"/>
                  </a:ln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B2B32B95-C256-448F-A1B2-6C67C09DF5AE}"/>
                </a:ext>
              </a:extLst>
            </p:cNvPr>
            <p:cNvSpPr/>
            <p:nvPr/>
          </p:nvSpPr>
          <p:spPr>
            <a:xfrm rot="8716295">
              <a:off x="190085" y="317452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E877EB14-51C5-4A81-B0BF-26680B1F705F}"/>
                </a:ext>
              </a:extLst>
            </p:cNvPr>
            <p:cNvSpPr/>
            <p:nvPr/>
          </p:nvSpPr>
          <p:spPr>
            <a:xfrm rot="8716295">
              <a:off x="502599" y="2802136"/>
              <a:ext cx="117588" cy="232388"/>
            </a:xfrm>
            <a:custGeom>
              <a:avLst/>
              <a:gdLst>
                <a:gd name="connsiteX0" fmla="*/ 56529 w 117588"/>
                <a:gd name="connsiteY0" fmla="*/ 232388 h 232388"/>
                <a:gd name="connsiteX1" fmla="*/ 56529 w 117588"/>
                <a:gd name="connsiteY1" fmla="*/ 69717 h 232388"/>
                <a:gd name="connsiteX2" fmla="*/ 56529 w 117588"/>
                <a:gd name="connsiteY2" fmla="*/ 65615 h 232388"/>
                <a:gd name="connsiteX3" fmla="*/ 36025 w 117588"/>
                <a:gd name="connsiteY3" fmla="*/ 50123 h 232388"/>
                <a:gd name="connsiteX4" fmla="*/ 0 w 117588"/>
                <a:gd name="connsiteY4" fmla="*/ 50123 h 232388"/>
                <a:gd name="connsiteX5" fmla="*/ 41458 w 117588"/>
                <a:gd name="connsiteY5" fmla="*/ 0 h 232388"/>
                <a:gd name="connsiteX6" fmla="*/ 60630 w 117588"/>
                <a:gd name="connsiteY6" fmla="*/ 0 h 232388"/>
                <a:gd name="connsiteX7" fmla="*/ 117588 w 117588"/>
                <a:gd name="connsiteY7" fmla="*/ 50123 h 232388"/>
                <a:gd name="connsiteX8" fmla="*/ 117588 w 117588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7588" h="232388">
                  <a:moveTo>
                    <a:pt x="56529" y="232388"/>
                  </a:moveTo>
                  <a:lnTo>
                    <a:pt x="56529" y="69717"/>
                  </a:lnTo>
                  <a:cubicBezTo>
                    <a:pt x="56529" y="68349"/>
                    <a:pt x="56529" y="66983"/>
                    <a:pt x="56529" y="65615"/>
                  </a:cubicBezTo>
                  <a:cubicBezTo>
                    <a:pt x="55163" y="55591"/>
                    <a:pt x="46049" y="48756"/>
                    <a:pt x="36025" y="50123"/>
                  </a:cubicBezTo>
                  <a:lnTo>
                    <a:pt x="0" y="50123"/>
                  </a:lnTo>
                  <a:lnTo>
                    <a:pt x="41458" y="0"/>
                  </a:lnTo>
                  <a:lnTo>
                    <a:pt x="60630" y="0"/>
                  </a:lnTo>
                  <a:cubicBezTo>
                    <a:pt x="97539" y="0"/>
                    <a:pt x="117588" y="15948"/>
                    <a:pt x="117588" y="50123"/>
                  </a:cubicBezTo>
                  <a:lnTo>
                    <a:pt x="117588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AE770E37-12A5-49E8-A852-2213359AF064}"/>
                </a:ext>
              </a:extLst>
            </p:cNvPr>
            <p:cNvSpPr/>
            <p:nvPr/>
          </p:nvSpPr>
          <p:spPr>
            <a:xfrm rot="8716295">
              <a:off x="389006" y="2883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575CB7EC-73D6-440C-8D11-02C25DB1B58E}"/>
                </a:ext>
              </a:extLst>
            </p:cNvPr>
            <p:cNvSpPr/>
            <p:nvPr/>
          </p:nvSpPr>
          <p:spPr>
            <a:xfrm rot="8716295">
              <a:off x="264104" y="267474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3E6E4B66-1F26-432C-A14D-A0BFBE670784}"/>
                </a:ext>
              </a:extLst>
            </p:cNvPr>
            <p:cNvSpPr/>
            <p:nvPr/>
          </p:nvSpPr>
          <p:spPr>
            <a:xfrm rot="8716295">
              <a:off x="479184" y="292437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8324BF72-C5F2-44D4-8888-E752B7FEDC5D}"/>
                </a:ext>
              </a:extLst>
            </p:cNvPr>
            <p:cNvSpPr/>
            <p:nvPr/>
          </p:nvSpPr>
          <p:spPr>
            <a:xfrm rot="8716295">
              <a:off x="237733" y="277477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8239F27B-FC1E-4A05-9289-AB74F556DCB2}"/>
                </a:ext>
              </a:extLst>
            </p:cNvPr>
            <p:cNvSpPr/>
            <p:nvPr/>
          </p:nvSpPr>
          <p:spPr>
            <a:xfrm rot="7484129">
              <a:off x="609980" y="3142825"/>
              <a:ext cx="20881" cy="31001"/>
            </a:xfrm>
            <a:custGeom>
              <a:avLst/>
              <a:gdLst>
                <a:gd name="connsiteX0" fmla="*/ 10218 w 20881"/>
                <a:gd name="connsiteY0" fmla="*/ 31001 h 31001"/>
                <a:gd name="connsiteX1" fmla="*/ 0 w 20881"/>
                <a:gd name="connsiteY1" fmla="*/ 11992 h 31001"/>
                <a:gd name="connsiteX2" fmla="*/ 20881 w 20881"/>
                <a:gd name="connsiteY2" fmla="*/ 0 h 31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881" h="31001">
                  <a:moveTo>
                    <a:pt x="10218" y="31001"/>
                  </a:moveTo>
                  <a:lnTo>
                    <a:pt x="0" y="11992"/>
                  </a:lnTo>
                  <a:lnTo>
                    <a:pt x="2088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F966E638-4286-459E-B12F-23BB9A1D87B8}"/>
                </a:ext>
              </a:extLst>
            </p:cNvPr>
            <p:cNvSpPr/>
            <p:nvPr/>
          </p:nvSpPr>
          <p:spPr>
            <a:xfrm rot="8716295">
              <a:off x="579469" y="28172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B2C65482-1A23-4074-8C10-932297BE6093}"/>
                </a:ext>
              </a:extLst>
            </p:cNvPr>
            <p:cNvSpPr/>
            <p:nvPr/>
          </p:nvSpPr>
          <p:spPr>
            <a:xfrm rot="8716295">
              <a:off x="437995" y="3716235"/>
              <a:ext cx="102679" cy="232388"/>
            </a:xfrm>
            <a:custGeom>
              <a:avLst/>
              <a:gdLst>
                <a:gd name="connsiteX0" fmla="*/ 41620 w 102679"/>
                <a:gd name="connsiteY0" fmla="*/ 232388 h 232388"/>
                <a:gd name="connsiteX1" fmla="*/ 41620 w 102679"/>
                <a:gd name="connsiteY1" fmla="*/ 69717 h 232388"/>
                <a:gd name="connsiteX2" fmla="*/ 41620 w 102679"/>
                <a:gd name="connsiteY2" fmla="*/ 65615 h 232388"/>
                <a:gd name="connsiteX3" fmla="*/ 21116 w 102679"/>
                <a:gd name="connsiteY3" fmla="*/ 50123 h 232388"/>
                <a:gd name="connsiteX4" fmla="*/ 0 w 102679"/>
                <a:gd name="connsiteY4" fmla="*/ 50123 h 232388"/>
                <a:gd name="connsiteX5" fmla="*/ 41457 w 102679"/>
                <a:gd name="connsiteY5" fmla="*/ 0 h 232388"/>
                <a:gd name="connsiteX6" fmla="*/ 45721 w 102679"/>
                <a:gd name="connsiteY6" fmla="*/ 0 h 232388"/>
                <a:gd name="connsiteX7" fmla="*/ 102679 w 102679"/>
                <a:gd name="connsiteY7" fmla="*/ 50123 h 232388"/>
                <a:gd name="connsiteX8" fmla="*/ 102679 w 102679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2679" h="232388">
                  <a:moveTo>
                    <a:pt x="41620" y="232388"/>
                  </a:moveTo>
                  <a:lnTo>
                    <a:pt x="41620" y="69717"/>
                  </a:lnTo>
                  <a:cubicBezTo>
                    <a:pt x="41620" y="68349"/>
                    <a:pt x="41620" y="66983"/>
                    <a:pt x="41620" y="65615"/>
                  </a:cubicBezTo>
                  <a:cubicBezTo>
                    <a:pt x="40254" y="55591"/>
                    <a:pt x="31140" y="48756"/>
                    <a:pt x="21116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45721" y="0"/>
                  </a:lnTo>
                  <a:cubicBezTo>
                    <a:pt x="82630" y="0"/>
                    <a:pt x="102679" y="15948"/>
                    <a:pt x="102679" y="50123"/>
                  </a:cubicBezTo>
                  <a:lnTo>
                    <a:pt x="102679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3086E34F-1198-4AFB-9061-33B48AB15AF3}"/>
                </a:ext>
              </a:extLst>
            </p:cNvPr>
            <p:cNvSpPr/>
            <p:nvPr/>
          </p:nvSpPr>
          <p:spPr>
            <a:xfrm rot="8716295">
              <a:off x="482715" y="3669965"/>
              <a:ext cx="154563" cy="124897"/>
            </a:xfrm>
            <a:custGeom>
              <a:avLst/>
              <a:gdLst>
                <a:gd name="connsiteX0" fmla="*/ 0 w 154563"/>
                <a:gd name="connsiteY0" fmla="*/ 124897 h 124897"/>
                <a:gd name="connsiteX1" fmla="*/ 95474 w 154563"/>
                <a:gd name="connsiteY1" fmla="*/ 9467 h 124897"/>
                <a:gd name="connsiteX2" fmla="*/ 96067 w 154563"/>
                <a:gd name="connsiteY2" fmla="*/ 9000 h 124897"/>
                <a:gd name="connsiteX3" fmla="*/ 126312 w 154563"/>
                <a:gd name="connsiteY3" fmla="*/ 0 h 124897"/>
                <a:gd name="connsiteX4" fmla="*/ 154563 w 154563"/>
                <a:gd name="connsiteY4" fmla="*/ 33719 h 124897"/>
                <a:gd name="connsiteX5" fmla="*/ 128135 w 154563"/>
                <a:gd name="connsiteY5" fmla="*/ 69261 h 124897"/>
                <a:gd name="connsiteX6" fmla="*/ 128590 w 154563"/>
                <a:gd name="connsiteY6" fmla="*/ 69261 h 12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4563" h="124897">
                  <a:moveTo>
                    <a:pt x="0" y="124897"/>
                  </a:moveTo>
                  <a:lnTo>
                    <a:pt x="95474" y="9467"/>
                  </a:lnTo>
                  <a:lnTo>
                    <a:pt x="96067" y="9000"/>
                  </a:lnTo>
                  <a:cubicBezTo>
                    <a:pt x="105351" y="4215"/>
                    <a:pt x="115604" y="1139"/>
                    <a:pt x="126312" y="0"/>
                  </a:cubicBezTo>
                  <a:cubicBezTo>
                    <a:pt x="148184" y="0"/>
                    <a:pt x="154563" y="19138"/>
                    <a:pt x="154563" y="33719"/>
                  </a:cubicBezTo>
                  <a:cubicBezTo>
                    <a:pt x="153196" y="49668"/>
                    <a:pt x="142715" y="62882"/>
                    <a:pt x="128135" y="69261"/>
                  </a:cubicBezTo>
                  <a:lnTo>
                    <a:pt x="128590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34D8ECB7-8525-4B33-96F7-6EC94DA1622C}"/>
                </a:ext>
              </a:extLst>
            </p:cNvPr>
            <p:cNvSpPr/>
            <p:nvPr/>
          </p:nvSpPr>
          <p:spPr>
            <a:xfrm rot="8716295">
              <a:off x="323074" y="379327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F43D6D3D-6C35-4427-9A74-A2D3472F3BCC}"/>
                </a:ext>
              </a:extLst>
            </p:cNvPr>
            <p:cNvSpPr/>
            <p:nvPr/>
          </p:nvSpPr>
          <p:spPr>
            <a:xfrm rot="8716295">
              <a:off x="198171" y="358459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4464E862-CB30-4363-9C1D-B97AACD89182}"/>
                </a:ext>
              </a:extLst>
            </p:cNvPr>
            <p:cNvSpPr/>
            <p:nvPr/>
          </p:nvSpPr>
          <p:spPr>
            <a:xfrm rot="8716295">
              <a:off x="186119" y="344581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orme libre : forme 58">
              <a:extLst>
                <a:ext uri="{FF2B5EF4-FFF2-40B4-BE49-F238E27FC236}">
                  <a16:creationId xmlns:a16="http://schemas.microsoft.com/office/drawing/2014/main" id="{88BD8233-E48E-4089-A094-B851A84F1E37}"/>
                </a:ext>
              </a:extLst>
            </p:cNvPr>
            <p:cNvSpPr/>
            <p:nvPr/>
          </p:nvSpPr>
          <p:spPr>
            <a:xfrm rot="8716295">
              <a:off x="410218" y="3834716"/>
              <a:ext cx="103435" cy="219174"/>
            </a:xfrm>
            <a:custGeom>
              <a:avLst/>
              <a:gdLst>
                <a:gd name="connsiteX0" fmla="*/ 103435 w 103435"/>
                <a:gd name="connsiteY0" fmla="*/ 219174 h 219174"/>
                <a:gd name="connsiteX1" fmla="*/ 43288 w 103435"/>
                <a:gd name="connsiteY1" fmla="*/ 161305 h 219174"/>
                <a:gd name="connsiteX2" fmla="*/ 43288 w 103435"/>
                <a:gd name="connsiteY2" fmla="*/ 16404 h 219174"/>
                <a:gd name="connsiteX3" fmla="*/ 0 w 103435"/>
                <a:gd name="connsiteY3" fmla="*/ 16404 h 219174"/>
                <a:gd name="connsiteX4" fmla="*/ 0 w 103435"/>
                <a:gd name="connsiteY4" fmla="*/ 16028 h 219174"/>
                <a:gd name="connsiteX5" fmla="*/ 11583 w 103435"/>
                <a:gd name="connsiteY5" fmla="*/ 2023 h 219174"/>
                <a:gd name="connsiteX6" fmla="*/ 103435 w 103435"/>
                <a:gd name="connsiteY6" fmla="*/ 0 h 219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19174">
                  <a:moveTo>
                    <a:pt x="103435" y="219174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16028"/>
                  </a:lnTo>
                  <a:lnTo>
                    <a:pt x="11583" y="2023"/>
                  </a:lnTo>
                  <a:lnTo>
                    <a:pt x="10343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orme libre : forme 59">
              <a:extLst>
                <a:ext uri="{FF2B5EF4-FFF2-40B4-BE49-F238E27FC236}">
                  <a16:creationId xmlns:a16="http://schemas.microsoft.com/office/drawing/2014/main" id="{D72BA86C-11E8-4C7D-A93A-11E890905CBF}"/>
                </a:ext>
              </a:extLst>
            </p:cNvPr>
            <p:cNvSpPr/>
            <p:nvPr/>
          </p:nvSpPr>
          <p:spPr>
            <a:xfrm rot="8716295">
              <a:off x="487452" y="3349370"/>
              <a:ext cx="151162" cy="195873"/>
            </a:xfrm>
            <a:custGeom>
              <a:avLst/>
              <a:gdLst>
                <a:gd name="connsiteX0" fmla="*/ 38025 w 151162"/>
                <a:gd name="connsiteY0" fmla="*/ 195873 h 195873"/>
                <a:gd name="connsiteX1" fmla="*/ 0 w 151162"/>
                <a:gd name="connsiteY1" fmla="*/ 125130 h 195873"/>
                <a:gd name="connsiteX2" fmla="*/ 103497 w 151162"/>
                <a:gd name="connsiteY2" fmla="*/ 0 h 195873"/>
                <a:gd name="connsiteX3" fmla="*/ 151162 w 151162"/>
                <a:gd name="connsiteY3" fmla="*/ 0 h 195873"/>
                <a:gd name="connsiteX4" fmla="*/ 151162 w 151162"/>
                <a:gd name="connsiteY4" fmla="*/ 55323 h 195873"/>
                <a:gd name="connsiteX5" fmla="*/ 86370 w 151162"/>
                <a:gd name="connsiteY5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1162" h="195873">
                  <a:moveTo>
                    <a:pt x="38025" y="195873"/>
                  </a:moveTo>
                  <a:lnTo>
                    <a:pt x="0" y="125130"/>
                  </a:lnTo>
                  <a:lnTo>
                    <a:pt x="103497" y="0"/>
                  </a:lnTo>
                  <a:lnTo>
                    <a:pt x="151162" y="0"/>
                  </a:lnTo>
                  <a:lnTo>
                    <a:pt x="151162" y="55323"/>
                  </a:lnTo>
                  <a:lnTo>
                    <a:pt x="86370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orme libre : forme 60">
              <a:extLst>
                <a:ext uri="{FF2B5EF4-FFF2-40B4-BE49-F238E27FC236}">
                  <a16:creationId xmlns:a16="http://schemas.microsoft.com/office/drawing/2014/main" id="{BE142581-218C-47B8-9F20-81B808628CD1}"/>
                </a:ext>
              </a:extLst>
            </p:cNvPr>
            <p:cNvSpPr/>
            <p:nvPr/>
          </p:nvSpPr>
          <p:spPr>
            <a:xfrm rot="8716295">
              <a:off x="460900" y="343447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orme libre : forme 61">
              <a:extLst>
                <a:ext uri="{FF2B5EF4-FFF2-40B4-BE49-F238E27FC236}">
                  <a16:creationId xmlns:a16="http://schemas.microsoft.com/office/drawing/2014/main" id="{DB847D65-EDE7-4D20-A3B5-D7E0E2A3E756}"/>
                </a:ext>
              </a:extLst>
            </p:cNvPr>
            <p:cNvSpPr/>
            <p:nvPr/>
          </p:nvSpPr>
          <p:spPr>
            <a:xfrm rot="8716295">
              <a:off x="417336" y="4258920"/>
              <a:ext cx="147637" cy="195874"/>
            </a:xfrm>
            <a:custGeom>
              <a:avLst/>
              <a:gdLst>
                <a:gd name="connsiteX0" fmla="*/ 34500 w 147637"/>
                <a:gd name="connsiteY0" fmla="*/ 195874 h 195874"/>
                <a:gd name="connsiteX1" fmla="*/ 0 w 147637"/>
                <a:gd name="connsiteY1" fmla="*/ 131688 h 195874"/>
                <a:gd name="connsiteX2" fmla="*/ 108921 w 147637"/>
                <a:gd name="connsiteY2" fmla="*/ 0 h 195874"/>
                <a:gd name="connsiteX3" fmla="*/ 147637 w 147637"/>
                <a:gd name="connsiteY3" fmla="*/ 0 h 195874"/>
                <a:gd name="connsiteX4" fmla="*/ 147637 w 147637"/>
                <a:gd name="connsiteY4" fmla="*/ 55323 h 195874"/>
                <a:gd name="connsiteX5" fmla="*/ 82845 w 147637"/>
                <a:gd name="connsiteY5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7637" h="195874">
                  <a:moveTo>
                    <a:pt x="34500" y="195874"/>
                  </a:moveTo>
                  <a:lnTo>
                    <a:pt x="0" y="131688"/>
                  </a:lnTo>
                  <a:lnTo>
                    <a:pt x="108921" y="0"/>
                  </a:lnTo>
                  <a:lnTo>
                    <a:pt x="147637" y="0"/>
                  </a:lnTo>
                  <a:lnTo>
                    <a:pt x="147637" y="55323"/>
                  </a:lnTo>
                  <a:lnTo>
                    <a:pt x="8284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orme libre : forme 62">
              <a:extLst>
                <a:ext uri="{FF2B5EF4-FFF2-40B4-BE49-F238E27FC236}">
                  <a16:creationId xmlns:a16="http://schemas.microsoft.com/office/drawing/2014/main" id="{C9478417-E8D6-452F-A916-ED7E53424518}"/>
                </a:ext>
              </a:extLst>
            </p:cNvPr>
            <p:cNvSpPr/>
            <p:nvPr/>
          </p:nvSpPr>
          <p:spPr>
            <a:xfrm rot="8716295">
              <a:off x="330834" y="4134902"/>
              <a:ext cx="254613" cy="91157"/>
            </a:xfrm>
            <a:custGeom>
              <a:avLst/>
              <a:gdLst>
                <a:gd name="connsiteX0" fmla="*/ 0 w 254613"/>
                <a:gd name="connsiteY0" fmla="*/ 68911 h 91157"/>
                <a:gd name="connsiteX1" fmla="*/ 56997 w 254613"/>
                <a:gd name="connsiteY1" fmla="*/ 0 h 91157"/>
                <a:gd name="connsiteX2" fmla="*/ 57517 w 254613"/>
                <a:gd name="connsiteY2" fmla="*/ 2143 h 91157"/>
                <a:gd name="connsiteX3" fmla="*/ 128118 w 254613"/>
                <a:gd name="connsiteY3" fmla="*/ 40974 h 91157"/>
                <a:gd name="connsiteX4" fmla="*/ 181070 w 254613"/>
                <a:gd name="connsiteY4" fmla="*/ 31560 h 91157"/>
                <a:gd name="connsiteX5" fmla="*/ 253437 w 254613"/>
                <a:gd name="connsiteY5" fmla="*/ 2143 h 91157"/>
                <a:gd name="connsiteX6" fmla="*/ 254613 w 254613"/>
                <a:gd name="connsiteY6" fmla="*/ 9791 h 91157"/>
                <a:gd name="connsiteX7" fmla="*/ 254613 w 254613"/>
                <a:gd name="connsiteY7" fmla="*/ 15674 h 91157"/>
                <a:gd name="connsiteX8" fmla="*/ 61636 w 254613"/>
                <a:gd name="connsiteY8" fmla="*/ 90983 h 91157"/>
                <a:gd name="connsiteX9" fmla="*/ 22363 w 254613"/>
                <a:gd name="connsiteY9" fmla="*/ 84217 h 91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4613" h="91157">
                  <a:moveTo>
                    <a:pt x="0" y="68911"/>
                  </a:moveTo>
                  <a:lnTo>
                    <a:pt x="56997" y="0"/>
                  </a:lnTo>
                  <a:lnTo>
                    <a:pt x="57517" y="2143"/>
                  </a:lnTo>
                  <a:cubicBezTo>
                    <a:pt x="66931" y="28030"/>
                    <a:pt x="91053" y="40974"/>
                    <a:pt x="128118" y="40974"/>
                  </a:cubicBezTo>
                  <a:cubicBezTo>
                    <a:pt x="146357" y="40385"/>
                    <a:pt x="164008" y="36855"/>
                    <a:pt x="181070" y="31560"/>
                  </a:cubicBezTo>
                  <a:cubicBezTo>
                    <a:pt x="205780" y="23912"/>
                    <a:pt x="229903" y="13910"/>
                    <a:pt x="253437" y="2143"/>
                  </a:cubicBezTo>
                  <a:cubicBezTo>
                    <a:pt x="254025" y="4496"/>
                    <a:pt x="254613" y="7438"/>
                    <a:pt x="254613" y="9791"/>
                  </a:cubicBezTo>
                  <a:lnTo>
                    <a:pt x="254613" y="15674"/>
                  </a:lnTo>
                  <a:cubicBezTo>
                    <a:pt x="192249" y="69215"/>
                    <a:pt x="110468" y="88042"/>
                    <a:pt x="61636" y="90983"/>
                  </a:cubicBezTo>
                  <a:cubicBezTo>
                    <a:pt x="48104" y="91866"/>
                    <a:pt x="34719" y="89365"/>
                    <a:pt x="22363" y="842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orme libre : forme 63">
              <a:extLst>
                <a:ext uri="{FF2B5EF4-FFF2-40B4-BE49-F238E27FC236}">
                  <a16:creationId xmlns:a16="http://schemas.microsoft.com/office/drawing/2014/main" id="{59F2B7E5-77D6-489A-B472-1F63C4176A21}"/>
                </a:ext>
              </a:extLst>
            </p:cNvPr>
            <p:cNvSpPr/>
            <p:nvPr/>
          </p:nvSpPr>
          <p:spPr>
            <a:xfrm rot="8716295">
              <a:off x="-3428" y="2405990"/>
              <a:ext cx="142167" cy="208592"/>
            </a:xfrm>
            <a:custGeom>
              <a:avLst/>
              <a:gdLst>
                <a:gd name="connsiteX0" fmla="*/ 81108 w 142167"/>
                <a:gd name="connsiteY0" fmla="*/ 208592 h 208592"/>
                <a:gd name="connsiteX1" fmla="*/ 81108 w 142167"/>
                <a:gd name="connsiteY1" fmla="*/ 69717 h 208592"/>
                <a:gd name="connsiteX2" fmla="*/ 81108 w 142167"/>
                <a:gd name="connsiteY2" fmla="*/ 65615 h 208592"/>
                <a:gd name="connsiteX3" fmla="*/ 60604 w 142167"/>
                <a:gd name="connsiteY3" fmla="*/ 50123 h 208592"/>
                <a:gd name="connsiteX4" fmla="*/ 0 w 142167"/>
                <a:gd name="connsiteY4" fmla="*/ 50123 h 208592"/>
                <a:gd name="connsiteX5" fmla="*/ 0 w 142167"/>
                <a:gd name="connsiteY5" fmla="*/ 0 h 208592"/>
                <a:gd name="connsiteX6" fmla="*/ 85210 w 142167"/>
                <a:gd name="connsiteY6" fmla="*/ 0 h 208592"/>
                <a:gd name="connsiteX7" fmla="*/ 142167 w 142167"/>
                <a:gd name="connsiteY7" fmla="*/ 50123 h 208592"/>
                <a:gd name="connsiteX8" fmla="*/ 142167 w 142167"/>
                <a:gd name="connsiteY8" fmla="*/ 120504 h 20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08592">
                  <a:moveTo>
                    <a:pt x="81108" y="208592"/>
                  </a:moveTo>
                  <a:lnTo>
                    <a:pt x="81108" y="69717"/>
                  </a:lnTo>
                  <a:cubicBezTo>
                    <a:pt x="81108" y="68350"/>
                    <a:pt x="81108" y="66983"/>
                    <a:pt x="81108" y="65615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10" y="0"/>
                  </a:lnTo>
                  <a:cubicBezTo>
                    <a:pt x="122118" y="0"/>
                    <a:pt x="142167" y="15948"/>
                    <a:pt x="142167" y="50123"/>
                  </a:cubicBezTo>
                  <a:lnTo>
                    <a:pt x="142167" y="1205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orme libre : forme 64">
              <a:extLst>
                <a:ext uri="{FF2B5EF4-FFF2-40B4-BE49-F238E27FC236}">
                  <a16:creationId xmlns:a16="http://schemas.microsoft.com/office/drawing/2014/main" id="{58CACDEB-619D-4E1A-8308-201ECECE7C5B}"/>
                </a:ext>
              </a:extLst>
            </p:cNvPr>
            <p:cNvSpPr/>
            <p:nvPr/>
          </p:nvSpPr>
          <p:spPr>
            <a:xfrm rot="8716295">
              <a:off x="80015" y="241329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orme libre : forme 65">
              <a:extLst>
                <a:ext uri="{FF2B5EF4-FFF2-40B4-BE49-F238E27FC236}">
                  <a16:creationId xmlns:a16="http://schemas.microsoft.com/office/drawing/2014/main" id="{121B25A8-5A69-4AD6-9F92-752EBBD3BB04}"/>
                </a:ext>
              </a:extLst>
            </p:cNvPr>
            <p:cNvSpPr/>
            <p:nvPr/>
          </p:nvSpPr>
          <p:spPr>
            <a:xfrm rot="8716295">
              <a:off x="35165" y="232701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orme libre : forme 66">
              <a:extLst>
                <a:ext uri="{FF2B5EF4-FFF2-40B4-BE49-F238E27FC236}">
                  <a16:creationId xmlns:a16="http://schemas.microsoft.com/office/drawing/2014/main" id="{123E728A-9EE1-481E-BA1E-5D72AE6CC637}"/>
                </a:ext>
              </a:extLst>
            </p:cNvPr>
            <p:cNvSpPr/>
            <p:nvPr/>
          </p:nvSpPr>
          <p:spPr>
            <a:xfrm rot="8716295">
              <a:off x="-20257" y="2217087"/>
              <a:ext cx="78731" cy="180665"/>
            </a:xfrm>
            <a:custGeom>
              <a:avLst/>
              <a:gdLst>
                <a:gd name="connsiteX0" fmla="*/ 0 w 78731"/>
                <a:gd name="connsiteY0" fmla="*/ 180665 h 180665"/>
                <a:gd name="connsiteX1" fmla="*/ 0 w 78731"/>
                <a:gd name="connsiteY1" fmla="*/ 40596 h 180665"/>
                <a:gd name="connsiteX2" fmla="*/ 78250 w 78731"/>
                <a:gd name="connsiteY2" fmla="*/ 0 h 180665"/>
                <a:gd name="connsiteX3" fmla="*/ 78731 w 78731"/>
                <a:gd name="connsiteY3" fmla="*/ 67083 h 180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731" h="180665">
                  <a:moveTo>
                    <a:pt x="0" y="180665"/>
                  </a:moveTo>
                  <a:lnTo>
                    <a:pt x="0" y="40596"/>
                  </a:lnTo>
                  <a:lnTo>
                    <a:pt x="78250" y="0"/>
                  </a:lnTo>
                  <a:lnTo>
                    <a:pt x="78731" y="670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078C7082-EAB5-441A-B46A-D723C18E0F9C}"/>
                </a:ext>
              </a:extLst>
            </p:cNvPr>
            <p:cNvSpPr/>
            <p:nvPr/>
          </p:nvSpPr>
          <p:spPr>
            <a:xfrm rot="8716295">
              <a:off x="-15341" y="2575209"/>
              <a:ext cx="103435" cy="152027"/>
            </a:xfrm>
            <a:custGeom>
              <a:avLst/>
              <a:gdLst>
                <a:gd name="connsiteX0" fmla="*/ 43288 w 103435"/>
                <a:gd name="connsiteY0" fmla="*/ 152027 h 152027"/>
                <a:gd name="connsiteX1" fmla="*/ 43288 w 103435"/>
                <a:gd name="connsiteY1" fmla="*/ 16404 h 152027"/>
                <a:gd name="connsiteX2" fmla="*/ 0 w 103435"/>
                <a:gd name="connsiteY2" fmla="*/ 16404 h 152027"/>
                <a:gd name="connsiteX3" fmla="*/ 0 w 103435"/>
                <a:gd name="connsiteY3" fmla="*/ 2278 h 152027"/>
                <a:gd name="connsiteX4" fmla="*/ 103435 w 103435"/>
                <a:gd name="connsiteY4" fmla="*/ 0 h 152027"/>
                <a:gd name="connsiteX5" fmla="*/ 103435 w 103435"/>
                <a:gd name="connsiteY5" fmla="*/ 65255 h 152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152027">
                  <a:moveTo>
                    <a:pt x="43288" y="152027"/>
                  </a:move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652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orme libre : forme 68">
              <a:extLst>
                <a:ext uri="{FF2B5EF4-FFF2-40B4-BE49-F238E27FC236}">
                  <a16:creationId xmlns:a16="http://schemas.microsoft.com/office/drawing/2014/main" id="{74837562-030E-4828-9572-DEE64E263932}"/>
                </a:ext>
              </a:extLst>
            </p:cNvPr>
            <p:cNvSpPr/>
            <p:nvPr/>
          </p:nvSpPr>
          <p:spPr>
            <a:xfrm rot="8716295">
              <a:off x="279722" y="21339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orme libre : forme 69">
              <a:extLst>
                <a:ext uri="{FF2B5EF4-FFF2-40B4-BE49-F238E27FC236}">
                  <a16:creationId xmlns:a16="http://schemas.microsoft.com/office/drawing/2014/main" id="{DB4BA735-F92E-4D5D-ABB4-34ABAF286FF1}"/>
                </a:ext>
              </a:extLst>
            </p:cNvPr>
            <p:cNvSpPr/>
            <p:nvPr/>
          </p:nvSpPr>
          <p:spPr>
            <a:xfrm rot="8716295">
              <a:off x="369114" y="21631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orme libre : forme 70">
              <a:extLst>
                <a:ext uri="{FF2B5EF4-FFF2-40B4-BE49-F238E27FC236}">
                  <a16:creationId xmlns:a16="http://schemas.microsoft.com/office/drawing/2014/main" id="{2E20AC3A-A861-46F6-BDD8-390DF4BE3CED}"/>
                </a:ext>
              </a:extLst>
            </p:cNvPr>
            <p:cNvSpPr/>
            <p:nvPr/>
          </p:nvSpPr>
          <p:spPr>
            <a:xfrm rot="8716295">
              <a:off x="167488" y="22224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orme libre : forme 71">
              <a:extLst>
                <a:ext uri="{FF2B5EF4-FFF2-40B4-BE49-F238E27FC236}">
                  <a16:creationId xmlns:a16="http://schemas.microsoft.com/office/drawing/2014/main" id="{C0645F34-CD0D-494F-A821-08AC0632B9BD}"/>
                </a:ext>
              </a:extLst>
            </p:cNvPr>
            <p:cNvSpPr/>
            <p:nvPr/>
          </p:nvSpPr>
          <p:spPr>
            <a:xfrm rot="8716295">
              <a:off x="42586" y="20137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orme libre : forme 72">
              <a:extLst>
                <a:ext uri="{FF2B5EF4-FFF2-40B4-BE49-F238E27FC236}">
                  <a16:creationId xmlns:a16="http://schemas.microsoft.com/office/drawing/2014/main" id="{D42C02D3-67F7-4963-8807-40F86032EE07}"/>
                </a:ext>
              </a:extLst>
            </p:cNvPr>
            <p:cNvSpPr/>
            <p:nvPr/>
          </p:nvSpPr>
          <p:spPr>
            <a:xfrm rot="8716295">
              <a:off x="257666" y="226339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" name="Forme libre : forme 73">
              <a:extLst>
                <a:ext uri="{FF2B5EF4-FFF2-40B4-BE49-F238E27FC236}">
                  <a16:creationId xmlns:a16="http://schemas.microsoft.com/office/drawing/2014/main" id="{E5391012-9EC2-494D-B5E3-A045F6898117}"/>
                </a:ext>
              </a:extLst>
            </p:cNvPr>
            <p:cNvSpPr/>
            <p:nvPr/>
          </p:nvSpPr>
          <p:spPr>
            <a:xfrm rot="8716295">
              <a:off x="16215" y="211379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" name="Forme libre : forme 74">
              <a:extLst>
                <a:ext uri="{FF2B5EF4-FFF2-40B4-BE49-F238E27FC236}">
                  <a16:creationId xmlns:a16="http://schemas.microsoft.com/office/drawing/2014/main" id="{3E9CDE54-D663-4CD6-BAFF-9CD31B4515CC}"/>
                </a:ext>
              </a:extLst>
            </p:cNvPr>
            <p:cNvSpPr/>
            <p:nvPr/>
          </p:nvSpPr>
          <p:spPr>
            <a:xfrm rot="7484129">
              <a:off x="362597" y="245474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" name="Forme libre : forme 75">
              <a:extLst>
                <a:ext uri="{FF2B5EF4-FFF2-40B4-BE49-F238E27FC236}">
                  <a16:creationId xmlns:a16="http://schemas.microsoft.com/office/drawing/2014/main" id="{1542052B-ACD1-4069-A62D-DB3DE17F9DFB}"/>
                </a:ext>
              </a:extLst>
            </p:cNvPr>
            <p:cNvSpPr/>
            <p:nvPr/>
          </p:nvSpPr>
          <p:spPr>
            <a:xfrm rot="13089394">
              <a:off x="463440" y="2426400"/>
              <a:ext cx="272584" cy="319064"/>
            </a:xfrm>
            <a:custGeom>
              <a:avLst/>
              <a:gdLst>
                <a:gd name="connsiteX0" fmla="*/ 80445 w 272584"/>
                <a:gd name="connsiteY0" fmla="*/ 215518 h 319064"/>
                <a:gd name="connsiteX1" fmla="*/ 0 w 272584"/>
                <a:gd name="connsiteY1" fmla="*/ 93007 h 319064"/>
                <a:gd name="connsiteX2" fmla="*/ 0 w 272584"/>
                <a:gd name="connsiteY2" fmla="*/ 38074 h 319064"/>
                <a:gd name="connsiteX3" fmla="*/ 73388 w 272584"/>
                <a:gd name="connsiteY3" fmla="*/ 0 h 319064"/>
                <a:gd name="connsiteX4" fmla="*/ 74492 w 272584"/>
                <a:gd name="connsiteY4" fmla="*/ 153950 h 319064"/>
                <a:gd name="connsiteX5" fmla="*/ 76768 w 272584"/>
                <a:gd name="connsiteY5" fmla="*/ 200369 h 319064"/>
                <a:gd name="connsiteX6" fmla="*/ 272584 w 272584"/>
                <a:gd name="connsiteY6" fmla="*/ 258238 h 319064"/>
                <a:gd name="connsiteX7" fmla="*/ 177331 w 272584"/>
                <a:gd name="connsiteY7" fmla="*/ 311347 h 319064"/>
                <a:gd name="connsiteX8" fmla="*/ 148437 w 272584"/>
                <a:gd name="connsiteY8" fmla="*/ 319064 h 319064"/>
                <a:gd name="connsiteX9" fmla="*/ 119231 w 272584"/>
                <a:gd name="connsiteY9" fmla="*/ 274585 h 319064"/>
                <a:gd name="connsiteX10" fmla="*/ 153949 w 272584"/>
                <a:gd name="connsiteY10" fmla="*/ 281965 h 319064"/>
                <a:gd name="connsiteX11" fmla="*/ 203610 w 272584"/>
                <a:gd name="connsiteY11" fmla="*/ 273136 h 319064"/>
                <a:gd name="connsiteX12" fmla="*/ 271481 w 272584"/>
                <a:gd name="connsiteY12" fmla="*/ 245547 h 319064"/>
                <a:gd name="connsiteX13" fmla="*/ 272584 w 272584"/>
                <a:gd name="connsiteY13" fmla="*/ 252720 h 319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2584" h="319064">
                  <a:moveTo>
                    <a:pt x="80445" y="215518"/>
                  </a:moveTo>
                  <a:lnTo>
                    <a:pt x="0" y="93007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3664" y="169400"/>
                    <a:pt x="74492" y="184988"/>
                    <a:pt x="76768" y="200369"/>
                  </a:cubicBezTo>
                  <a:close/>
                  <a:moveTo>
                    <a:pt x="272584" y="258238"/>
                  </a:moveTo>
                  <a:cubicBezTo>
                    <a:pt x="243339" y="283344"/>
                    <a:pt x="209542" y="300312"/>
                    <a:pt x="177331" y="311347"/>
                  </a:cubicBezTo>
                  <a:lnTo>
                    <a:pt x="148437" y="319064"/>
                  </a:lnTo>
                  <a:lnTo>
                    <a:pt x="119231" y="274585"/>
                  </a:lnTo>
                  <a:lnTo>
                    <a:pt x="153949" y="281965"/>
                  </a:lnTo>
                  <a:cubicBezTo>
                    <a:pt x="171055" y="281413"/>
                    <a:pt x="187609" y="278102"/>
                    <a:pt x="203610" y="273136"/>
                  </a:cubicBezTo>
                  <a:cubicBezTo>
                    <a:pt x="226785" y="265963"/>
                    <a:pt x="249409" y="256583"/>
                    <a:pt x="271481" y="245547"/>
                  </a:cubicBezTo>
                  <a:cubicBezTo>
                    <a:pt x="272032" y="247754"/>
                    <a:pt x="272584" y="250513"/>
                    <a:pt x="272584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" name="Forme libre : forme 76">
              <a:extLst>
                <a:ext uri="{FF2B5EF4-FFF2-40B4-BE49-F238E27FC236}">
                  <a16:creationId xmlns:a16="http://schemas.microsoft.com/office/drawing/2014/main" id="{008086AB-D1B5-4A02-9688-BF0E6F507FBE}"/>
                </a:ext>
              </a:extLst>
            </p:cNvPr>
            <p:cNvSpPr/>
            <p:nvPr/>
          </p:nvSpPr>
          <p:spPr>
            <a:xfrm rot="8716295">
              <a:off x="675867" y="2357327"/>
              <a:ext cx="38012" cy="45752"/>
            </a:xfrm>
            <a:custGeom>
              <a:avLst/>
              <a:gdLst>
                <a:gd name="connsiteX0" fmla="*/ 0 w 38012"/>
                <a:gd name="connsiteY0" fmla="*/ 45752 h 45752"/>
                <a:gd name="connsiteX1" fmla="*/ 37842 w 38012"/>
                <a:gd name="connsiteY1" fmla="*/ 0 h 45752"/>
                <a:gd name="connsiteX2" fmla="*/ 38012 w 38012"/>
                <a:gd name="connsiteY2" fmla="*/ 641 h 45752"/>
                <a:gd name="connsiteX3" fmla="*/ 6841 w 38012"/>
                <a:gd name="connsiteY3" fmla="*/ 42560 h 45752"/>
                <a:gd name="connsiteX4" fmla="*/ 7378 w 38012"/>
                <a:gd name="connsiteY4" fmla="*/ 42560 h 45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012" h="45752">
                  <a:moveTo>
                    <a:pt x="0" y="45752"/>
                  </a:moveTo>
                  <a:lnTo>
                    <a:pt x="37842" y="0"/>
                  </a:lnTo>
                  <a:lnTo>
                    <a:pt x="38012" y="641"/>
                  </a:lnTo>
                  <a:cubicBezTo>
                    <a:pt x="36400" y="19451"/>
                    <a:pt x="24039" y="35036"/>
                    <a:pt x="6841" y="42560"/>
                  </a:cubicBezTo>
                  <a:lnTo>
                    <a:pt x="7378" y="425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" name="Forme libre : forme 77">
              <a:extLst>
                <a:ext uri="{FF2B5EF4-FFF2-40B4-BE49-F238E27FC236}">
                  <a16:creationId xmlns:a16="http://schemas.microsoft.com/office/drawing/2014/main" id="{9B2F10B6-851C-47E9-B83A-9B630209C4B4}"/>
                </a:ext>
              </a:extLst>
            </p:cNvPr>
            <p:cNvSpPr/>
            <p:nvPr/>
          </p:nvSpPr>
          <p:spPr>
            <a:xfrm rot="8716295">
              <a:off x="601197" y="21260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orme libre : forme 78">
              <a:extLst>
                <a:ext uri="{FF2B5EF4-FFF2-40B4-BE49-F238E27FC236}">
                  <a16:creationId xmlns:a16="http://schemas.microsoft.com/office/drawing/2014/main" id="{6C363324-5366-4BE0-9D94-DFCC2BE5B63F}"/>
                </a:ext>
              </a:extLst>
            </p:cNvPr>
            <p:cNvSpPr/>
            <p:nvPr/>
          </p:nvSpPr>
          <p:spPr>
            <a:xfrm rot="8716295">
              <a:off x="357951" y="21562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Forme libre : forme 79">
              <a:extLst>
                <a:ext uri="{FF2B5EF4-FFF2-40B4-BE49-F238E27FC236}">
                  <a16:creationId xmlns:a16="http://schemas.microsoft.com/office/drawing/2014/main" id="{9E637F42-3062-43A4-9D13-33DD5D4E936B}"/>
                </a:ext>
              </a:extLst>
            </p:cNvPr>
            <p:cNvSpPr/>
            <p:nvPr/>
          </p:nvSpPr>
          <p:spPr>
            <a:xfrm rot="8716295">
              <a:off x="535403" y="199698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" name="Forme libre : forme 80">
              <a:extLst>
                <a:ext uri="{FF2B5EF4-FFF2-40B4-BE49-F238E27FC236}">
                  <a16:creationId xmlns:a16="http://schemas.microsoft.com/office/drawing/2014/main" id="{B543A244-6E3B-4DEA-9891-1869B5B7D6A2}"/>
                </a:ext>
              </a:extLst>
            </p:cNvPr>
            <p:cNvSpPr/>
            <p:nvPr/>
          </p:nvSpPr>
          <p:spPr>
            <a:xfrm rot="8716295">
              <a:off x="-76043" y="1768178"/>
              <a:ext cx="197178" cy="215049"/>
            </a:xfrm>
            <a:custGeom>
              <a:avLst/>
              <a:gdLst>
                <a:gd name="connsiteX0" fmla="*/ 51490 w 197178"/>
                <a:gd name="connsiteY0" fmla="*/ 215049 h 215049"/>
                <a:gd name="connsiteX1" fmla="*/ 51490 w 197178"/>
                <a:gd name="connsiteY1" fmla="*/ 45624 h 215049"/>
                <a:gd name="connsiteX2" fmla="*/ 0 w 197178"/>
                <a:gd name="connsiteY2" fmla="*/ 45624 h 215049"/>
                <a:gd name="connsiteX3" fmla="*/ 0 w 197178"/>
                <a:gd name="connsiteY3" fmla="*/ 1424 h 215049"/>
                <a:gd name="connsiteX4" fmla="*/ 104803 w 197178"/>
                <a:gd name="connsiteY4" fmla="*/ 1425 h 215049"/>
                <a:gd name="connsiteX5" fmla="*/ 104803 w 197178"/>
                <a:gd name="connsiteY5" fmla="*/ 75242 h 215049"/>
                <a:gd name="connsiteX6" fmla="*/ 106169 w 197178"/>
                <a:gd name="connsiteY6" fmla="*/ 75242 h 215049"/>
                <a:gd name="connsiteX7" fmla="*/ 154014 w 197178"/>
                <a:gd name="connsiteY7" fmla="*/ 5981 h 215049"/>
                <a:gd name="connsiteX8" fmla="*/ 185455 w 197178"/>
                <a:gd name="connsiteY8" fmla="*/ 57 h 215049"/>
                <a:gd name="connsiteX9" fmla="*/ 197178 w 197178"/>
                <a:gd name="connsiteY9" fmla="*/ 4872 h 215049"/>
                <a:gd name="connsiteX10" fmla="*/ 170795 w 197178"/>
                <a:gd name="connsiteY10" fmla="*/ 42934 h 215049"/>
                <a:gd name="connsiteX11" fmla="*/ 164950 w 197178"/>
                <a:gd name="connsiteY11" fmla="*/ 40156 h 215049"/>
                <a:gd name="connsiteX12" fmla="*/ 111638 w 197178"/>
                <a:gd name="connsiteY12" fmla="*/ 127643 h 215049"/>
                <a:gd name="connsiteX13" fmla="*/ 111638 w 197178"/>
                <a:gd name="connsiteY13" fmla="*/ 128277 h 21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178" h="215049">
                  <a:moveTo>
                    <a:pt x="51490" y="215049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4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lnTo>
                    <a:pt x="197178" y="4872"/>
                  </a:lnTo>
                  <a:lnTo>
                    <a:pt x="170795" y="42934"/>
                  </a:lnTo>
                  <a:lnTo>
                    <a:pt x="164950" y="40156"/>
                  </a:ln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1282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orme libre : forme 81">
              <a:extLst>
                <a:ext uri="{FF2B5EF4-FFF2-40B4-BE49-F238E27FC236}">
                  <a16:creationId xmlns:a16="http://schemas.microsoft.com/office/drawing/2014/main" id="{5E1EF854-2162-442F-89D8-C209E584C6CD}"/>
                </a:ext>
              </a:extLst>
            </p:cNvPr>
            <p:cNvSpPr/>
            <p:nvPr/>
          </p:nvSpPr>
          <p:spPr>
            <a:xfrm rot="8716295">
              <a:off x="56555" y="14742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Forme libre : forme 82">
              <a:extLst>
                <a:ext uri="{FF2B5EF4-FFF2-40B4-BE49-F238E27FC236}">
                  <a16:creationId xmlns:a16="http://schemas.microsoft.com/office/drawing/2014/main" id="{18D9B3DC-64EA-4A25-9936-D0DEB0918428}"/>
                </a:ext>
              </a:extLst>
            </p:cNvPr>
            <p:cNvSpPr/>
            <p:nvPr/>
          </p:nvSpPr>
          <p:spPr>
            <a:xfrm rot="8716295">
              <a:off x="145947" y="15034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4" name="Forme libre : forme 83">
              <a:extLst>
                <a:ext uri="{FF2B5EF4-FFF2-40B4-BE49-F238E27FC236}">
                  <a16:creationId xmlns:a16="http://schemas.microsoft.com/office/drawing/2014/main" id="{09DE79A5-7E6F-42F4-BAE3-86955C2B68BA}"/>
                </a:ext>
              </a:extLst>
            </p:cNvPr>
            <p:cNvSpPr/>
            <p:nvPr/>
          </p:nvSpPr>
          <p:spPr>
            <a:xfrm rot="8716295">
              <a:off x="-21870" y="1443501"/>
              <a:ext cx="68614" cy="55323"/>
            </a:xfrm>
            <a:custGeom>
              <a:avLst/>
              <a:gdLst>
                <a:gd name="connsiteX0" fmla="*/ 0 w 68614"/>
                <a:gd name="connsiteY0" fmla="*/ 55323 h 55323"/>
                <a:gd name="connsiteX1" fmla="*/ 0 w 68614"/>
                <a:gd name="connsiteY1" fmla="*/ 0 h 55323"/>
                <a:gd name="connsiteX2" fmla="*/ 68614 w 68614"/>
                <a:gd name="connsiteY2" fmla="*/ 0 h 55323"/>
                <a:gd name="connsiteX3" fmla="*/ 30266 w 68614"/>
                <a:gd name="connsiteY3" fmla="*/ 55323 h 55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614" h="55323">
                  <a:moveTo>
                    <a:pt x="0" y="55323"/>
                  </a:moveTo>
                  <a:lnTo>
                    <a:pt x="0" y="0"/>
                  </a:lnTo>
                  <a:lnTo>
                    <a:pt x="68614" y="0"/>
                  </a:lnTo>
                  <a:lnTo>
                    <a:pt x="30266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5" name="Forme libre : forme 84">
              <a:extLst>
                <a:ext uri="{FF2B5EF4-FFF2-40B4-BE49-F238E27FC236}">
                  <a16:creationId xmlns:a16="http://schemas.microsoft.com/office/drawing/2014/main" id="{BF3B0698-561F-4C4D-847E-2B32780BA604}"/>
                </a:ext>
              </a:extLst>
            </p:cNvPr>
            <p:cNvSpPr/>
            <p:nvPr/>
          </p:nvSpPr>
          <p:spPr>
            <a:xfrm rot="8716295">
              <a:off x="35817" y="1618109"/>
              <a:ext cx="103435" cy="203897"/>
            </a:xfrm>
            <a:custGeom>
              <a:avLst/>
              <a:gdLst>
                <a:gd name="connsiteX0" fmla="*/ 87556 w 103435"/>
                <a:gd name="connsiteY0" fmla="*/ 203897 h 203897"/>
                <a:gd name="connsiteX1" fmla="*/ 43288 w 103435"/>
                <a:gd name="connsiteY1" fmla="*/ 161305 h 203897"/>
                <a:gd name="connsiteX2" fmla="*/ 43288 w 103435"/>
                <a:gd name="connsiteY2" fmla="*/ 16404 h 203897"/>
                <a:gd name="connsiteX3" fmla="*/ 0 w 103435"/>
                <a:gd name="connsiteY3" fmla="*/ 16404 h 203897"/>
                <a:gd name="connsiteX4" fmla="*/ 0 w 103435"/>
                <a:gd name="connsiteY4" fmla="*/ 2278 h 203897"/>
                <a:gd name="connsiteX5" fmla="*/ 103435 w 103435"/>
                <a:gd name="connsiteY5" fmla="*/ 0 h 203897"/>
                <a:gd name="connsiteX6" fmla="*/ 103435 w 103435"/>
                <a:gd name="connsiteY6" fmla="*/ 180989 h 203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03897">
                  <a:moveTo>
                    <a:pt x="87556" y="203897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1809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6" name="Forme libre : forme 85">
              <a:extLst>
                <a:ext uri="{FF2B5EF4-FFF2-40B4-BE49-F238E27FC236}">
                  <a16:creationId xmlns:a16="http://schemas.microsoft.com/office/drawing/2014/main" id="{7C271A8B-9C78-428F-B810-6F06C7D59A76}"/>
                </a:ext>
              </a:extLst>
            </p:cNvPr>
            <p:cNvSpPr/>
            <p:nvPr/>
          </p:nvSpPr>
          <p:spPr>
            <a:xfrm rot="7484129">
              <a:off x="139430" y="17950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7" name="Forme libre : forme 86">
              <a:extLst>
                <a:ext uri="{FF2B5EF4-FFF2-40B4-BE49-F238E27FC236}">
                  <a16:creationId xmlns:a16="http://schemas.microsoft.com/office/drawing/2014/main" id="{D36DE129-2836-4CBE-AD58-6C1713D6B3EE}"/>
                </a:ext>
              </a:extLst>
            </p:cNvPr>
            <p:cNvSpPr/>
            <p:nvPr/>
          </p:nvSpPr>
          <p:spPr>
            <a:xfrm rot="13089394">
              <a:off x="244250" y="17615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8" name="Forme libre : forme 87">
              <a:extLst>
                <a:ext uri="{FF2B5EF4-FFF2-40B4-BE49-F238E27FC236}">
                  <a16:creationId xmlns:a16="http://schemas.microsoft.com/office/drawing/2014/main" id="{79EA854C-B4CC-4CA7-8B2A-6C6BC24B199C}"/>
                </a:ext>
              </a:extLst>
            </p:cNvPr>
            <p:cNvSpPr/>
            <p:nvPr/>
          </p:nvSpPr>
          <p:spPr>
            <a:xfrm rot="8716295">
              <a:off x="429835" y="15699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9" name="Forme libre : forme 88">
              <a:extLst>
                <a:ext uri="{FF2B5EF4-FFF2-40B4-BE49-F238E27FC236}">
                  <a16:creationId xmlns:a16="http://schemas.microsoft.com/office/drawing/2014/main" id="{6B913878-9B85-4AB9-9126-9F632954B90F}"/>
                </a:ext>
              </a:extLst>
            </p:cNvPr>
            <p:cNvSpPr/>
            <p:nvPr/>
          </p:nvSpPr>
          <p:spPr>
            <a:xfrm rot="8716295">
              <a:off x="378030" y="14663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" name="Forme libre : forme 89">
              <a:extLst>
                <a:ext uri="{FF2B5EF4-FFF2-40B4-BE49-F238E27FC236}">
                  <a16:creationId xmlns:a16="http://schemas.microsoft.com/office/drawing/2014/main" id="{F162DFE3-5AFB-43AF-B410-9A244C9F4B59}"/>
                </a:ext>
              </a:extLst>
            </p:cNvPr>
            <p:cNvSpPr/>
            <p:nvPr/>
          </p:nvSpPr>
          <p:spPr>
            <a:xfrm rot="8716295">
              <a:off x="134784" y="14965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" name="Forme libre : forme 90">
              <a:extLst>
                <a:ext uri="{FF2B5EF4-FFF2-40B4-BE49-F238E27FC236}">
                  <a16:creationId xmlns:a16="http://schemas.microsoft.com/office/drawing/2014/main" id="{AC3582EB-A41A-446C-B180-6765259FBCEA}"/>
                </a:ext>
              </a:extLst>
            </p:cNvPr>
            <p:cNvSpPr/>
            <p:nvPr/>
          </p:nvSpPr>
          <p:spPr>
            <a:xfrm rot="8716295">
              <a:off x="312236" y="13372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" name="Forme libre : forme 91">
              <a:extLst>
                <a:ext uri="{FF2B5EF4-FFF2-40B4-BE49-F238E27FC236}">
                  <a16:creationId xmlns:a16="http://schemas.microsoft.com/office/drawing/2014/main" id="{B7D17BE7-3087-4D16-B830-BE754FB16667}"/>
                </a:ext>
              </a:extLst>
            </p:cNvPr>
            <p:cNvSpPr/>
            <p:nvPr/>
          </p:nvSpPr>
          <p:spPr>
            <a:xfrm rot="8716295">
              <a:off x="-17798" y="949199"/>
              <a:ext cx="39526" cy="50123"/>
            </a:xfrm>
            <a:custGeom>
              <a:avLst/>
              <a:gdLst>
                <a:gd name="connsiteX0" fmla="*/ 0 w 39526"/>
                <a:gd name="connsiteY0" fmla="*/ 50123 h 50123"/>
                <a:gd name="connsiteX1" fmla="*/ 0 w 39526"/>
                <a:gd name="connsiteY1" fmla="*/ 0 h 50123"/>
                <a:gd name="connsiteX2" fmla="*/ 39526 w 39526"/>
                <a:gd name="connsiteY2" fmla="*/ 0 h 50123"/>
                <a:gd name="connsiteX3" fmla="*/ 4782 w 39526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26" h="50123">
                  <a:moveTo>
                    <a:pt x="0" y="50123"/>
                  </a:moveTo>
                  <a:lnTo>
                    <a:pt x="0" y="0"/>
                  </a:lnTo>
                  <a:lnTo>
                    <a:pt x="39526" y="0"/>
                  </a:lnTo>
                  <a:lnTo>
                    <a:pt x="4782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" name="Forme libre : forme 92">
              <a:extLst>
                <a:ext uri="{FF2B5EF4-FFF2-40B4-BE49-F238E27FC236}">
                  <a16:creationId xmlns:a16="http://schemas.microsoft.com/office/drawing/2014/main" id="{2B1FCA7E-1DA9-4BE4-ACE8-6A5B3C76B12F}"/>
                </a:ext>
              </a:extLst>
            </p:cNvPr>
            <p:cNvSpPr/>
            <p:nvPr/>
          </p:nvSpPr>
          <p:spPr>
            <a:xfrm rot="8716295">
              <a:off x="-64996" y="834728"/>
              <a:ext cx="249650" cy="254774"/>
            </a:xfrm>
            <a:custGeom>
              <a:avLst/>
              <a:gdLst>
                <a:gd name="connsiteX0" fmla="*/ 51490 w 249650"/>
                <a:gd name="connsiteY0" fmla="*/ 254774 h 254774"/>
                <a:gd name="connsiteX1" fmla="*/ 51490 w 249650"/>
                <a:gd name="connsiteY1" fmla="*/ 45624 h 254774"/>
                <a:gd name="connsiteX2" fmla="*/ 0 w 249650"/>
                <a:gd name="connsiteY2" fmla="*/ 45624 h 254774"/>
                <a:gd name="connsiteX3" fmla="*/ 0 w 249650"/>
                <a:gd name="connsiteY3" fmla="*/ 1425 h 254774"/>
                <a:gd name="connsiteX4" fmla="*/ 104803 w 249650"/>
                <a:gd name="connsiteY4" fmla="*/ 1425 h 254774"/>
                <a:gd name="connsiteX5" fmla="*/ 104803 w 249650"/>
                <a:gd name="connsiteY5" fmla="*/ 75242 h 254774"/>
                <a:gd name="connsiteX6" fmla="*/ 106169 w 249650"/>
                <a:gd name="connsiteY6" fmla="*/ 75242 h 254774"/>
                <a:gd name="connsiteX7" fmla="*/ 154014 w 249650"/>
                <a:gd name="connsiteY7" fmla="*/ 5981 h 254774"/>
                <a:gd name="connsiteX8" fmla="*/ 185455 w 249650"/>
                <a:gd name="connsiteY8" fmla="*/ 57 h 254774"/>
                <a:gd name="connsiteX9" fmla="*/ 240647 w 249650"/>
                <a:gd name="connsiteY9" fmla="*/ 22727 h 254774"/>
                <a:gd name="connsiteX10" fmla="*/ 249650 w 249650"/>
                <a:gd name="connsiteY10" fmla="*/ 52327 h 254774"/>
                <a:gd name="connsiteX11" fmla="*/ 218795 w 249650"/>
                <a:gd name="connsiteY11" fmla="*/ 96841 h 254774"/>
                <a:gd name="connsiteX12" fmla="*/ 198669 w 249650"/>
                <a:gd name="connsiteY12" fmla="*/ 98025 h 254774"/>
                <a:gd name="connsiteX13" fmla="*/ 198669 w 249650"/>
                <a:gd name="connsiteY13" fmla="*/ 81621 h 254774"/>
                <a:gd name="connsiteX14" fmla="*/ 164950 w 249650"/>
                <a:gd name="connsiteY14" fmla="*/ 40156 h 254774"/>
                <a:gd name="connsiteX15" fmla="*/ 111638 w 249650"/>
                <a:gd name="connsiteY15" fmla="*/ 127643 h 254774"/>
                <a:gd name="connsiteX16" fmla="*/ 111638 w 249650"/>
                <a:gd name="connsiteY16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9650" h="254774">
                  <a:moveTo>
                    <a:pt x="51490" y="254774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08922" y="-398"/>
                    <a:pt x="227718" y="7576"/>
                    <a:pt x="240647" y="22727"/>
                  </a:cubicBezTo>
                  <a:lnTo>
                    <a:pt x="249650" y="52327"/>
                  </a:lnTo>
                  <a:lnTo>
                    <a:pt x="218795" y="96841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" name="Forme libre : forme 93">
              <a:extLst>
                <a:ext uri="{FF2B5EF4-FFF2-40B4-BE49-F238E27FC236}">
                  <a16:creationId xmlns:a16="http://schemas.microsoft.com/office/drawing/2014/main" id="{0E9593F0-A5A3-4981-A2E1-BBA808D790D1}"/>
                </a:ext>
              </a:extLst>
            </p:cNvPr>
            <p:cNvSpPr/>
            <p:nvPr/>
          </p:nvSpPr>
          <p:spPr>
            <a:xfrm rot="7484129">
              <a:off x="-63314" y="1172497"/>
              <a:ext cx="203848" cy="146395"/>
            </a:xfrm>
            <a:custGeom>
              <a:avLst/>
              <a:gdLst>
                <a:gd name="connsiteX0" fmla="*/ 0 w 203848"/>
                <a:gd name="connsiteY0" fmla="*/ 55323 h 146395"/>
                <a:gd name="connsiteX1" fmla="*/ 0 w 203848"/>
                <a:gd name="connsiteY1" fmla="*/ 0 h 146395"/>
                <a:gd name="connsiteX2" fmla="*/ 203848 w 203848"/>
                <a:gd name="connsiteY2" fmla="*/ 0 h 146395"/>
                <a:gd name="connsiteX3" fmla="*/ 203847 w 203848"/>
                <a:gd name="connsiteY3" fmla="*/ 49512 h 146395"/>
                <a:gd name="connsiteX4" fmla="*/ 195466 w 203848"/>
                <a:gd name="connsiteY4" fmla="*/ 55323 h 146395"/>
                <a:gd name="connsiteX5" fmla="*/ 139055 w 203848"/>
                <a:gd name="connsiteY5" fmla="*/ 55323 h 146395"/>
                <a:gd name="connsiteX6" fmla="*/ 121388 w 203848"/>
                <a:gd name="connsiteY6" fmla="*/ 106685 h 146395"/>
                <a:gd name="connsiteX7" fmla="*/ 64115 w 203848"/>
                <a:gd name="connsiteY7" fmla="*/ 146395 h 146395"/>
                <a:gd name="connsiteX8" fmla="*/ 47847 w 203848"/>
                <a:gd name="connsiteY8" fmla="*/ 116129 h 146395"/>
                <a:gd name="connsiteX9" fmla="*/ 69777 w 203848"/>
                <a:gd name="connsiteY9" fmla="*/ 55323 h 146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848" h="146395">
                  <a:moveTo>
                    <a:pt x="0" y="55323"/>
                  </a:moveTo>
                  <a:lnTo>
                    <a:pt x="0" y="0"/>
                  </a:lnTo>
                  <a:lnTo>
                    <a:pt x="203848" y="0"/>
                  </a:lnTo>
                  <a:lnTo>
                    <a:pt x="203847" y="49512"/>
                  </a:lnTo>
                  <a:lnTo>
                    <a:pt x="195466" y="55323"/>
                  </a:lnTo>
                  <a:lnTo>
                    <a:pt x="139055" y="55323"/>
                  </a:lnTo>
                  <a:lnTo>
                    <a:pt x="121388" y="106685"/>
                  </a:lnTo>
                  <a:lnTo>
                    <a:pt x="64115" y="146395"/>
                  </a:lnTo>
                  <a:lnTo>
                    <a:pt x="47847" y="116129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orme libre : forme 94">
              <a:extLst>
                <a:ext uri="{FF2B5EF4-FFF2-40B4-BE49-F238E27FC236}">
                  <a16:creationId xmlns:a16="http://schemas.microsoft.com/office/drawing/2014/main" id="{A6E76600-79D9-426B-9766-916282D4ABFE}"/>
                </a:ext>
              </a:extLst>
            </p:cNvPr>
            <p:cNvSpPr/>
            <p:nvPr/>
          </p:nvSpPr>
          <p:spPr>
            <a:xfrm rot="13089394">
              <a:off x="25311" y="109952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Forme libre : forme 95">
              <a:extLst>
                <a:ext uri="{FF2B5EF4-FFF2-40B4-BE49-F238E27FC236}">
                  <a16:creationId xmlns:a16="http://schemas.microsoft.com/office/drawing/2014/main" id="{1F255997-FD45-4250-B7D1-37AA1C212612}"/>
                </a:ext>
              </a:extLst>
            </p:cNvPr>
            <p:cNvSpPr/>
            <p:nvPr/>
          </p:nvSpPr>
          <p:spPr>
            <a:xfrm rot="8716295">
              <a:off x="210896" y="90784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" name="Forme libre : forme 96">
              <a:extLst>
                <a:ext uri="{FF2B5EF4-FFF2-40B4-BE49-F238E27FC236}">
                  <a16:creationId xmlns:a16="http://schemas.microsoft.com/office/drawing/2014/main" id="{6A36727B-2BE2-4161-AC0F-4C17D31824EA}"/>
                </a:ext>
              </a:extLst>
            </p:cNvPr>
            <p:cNvSpPr/>
            <p:nvPr/>
          </p:nvSpPr>
          <p:spPr>
            <a:xfrm rot="8716295">
              <a:off x="159091" y="80425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" name="Forme libre : forme 97">
              <a:extLst>
                <a:ext uri="{FF2B5EF4-FFF2-40B4-BE49-F238E27FC236}">
                  <a16:creationId xmlns:a16="http://schemas.microsoft.com/office/drawing/2014/main" id="{68E6EB3F-C519-4331-8DEC-97189DA5A2F9}"/>
                </a:ext>
              </a:extLst>
            </p:cNvPr>
            <p:cNvSpPr/>
            <p:nvPr/>
          </p:nvSpPr>
          <p:spPr>
            <a:xfrm rot="8716295">
              <a:off x="93297" y="67523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" name="Forme libre : forme 98">
              <a:extLst>
                <a:ext uri="{FF2B5EF4-FFF2-40B4-BE49-F238E27FC236}">
                  <a16:creationId xmlns:a16="http://schemas.microsoft.com/office/drawing/2014/main" id="{D6679E24-2A30-4105-9E55-76CEB4537132}"/>
                </a:ext>
              </a:extLst>
            </p:cNvPr>
            <p:cNvSpPr/>
            <p:nvPr/>
          </p:nvSpPr>
          <p:spPr>
            <a:xfrm rot="8716295">
              <a:off x="-7001" y="316701"/>
              <a:ext cx="14001" cy="20198"/>
            </a:xfrm>
            <a:custGeom>
              <a:avLst/>
              <a:gdLst>
                <a:gd name="connsiteX0" fmla="*/ 0 w 14001"/>
                <a:gd name="connsiteY0" fmla="*/ 20198 h 20198"/>
                <a:gd name="connsiteX1" fmla="*/ 0 w 14001"/>
                <a:gd name="connsiteY1" fmla="*/ 0 h 20198"/>
                <a:gd name="connsiteX2" fmla="*/ 14001 w 14001"/>
                <a:gd name="connsiteY2" fmla="*/ 0 h 2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01" h="20198">
                  <a:moveTo>
                    <a:pt x="0" y="20198"/>
                  </a:moveTo>
                  <a:lnTo>
                    <a:pt x="0" y="0"/>
                  </a:lnTo>
                  <a:lnTo>
                    <a:pt x="1400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orme libre : forme 99">
              <a:extLst>
                <a:ext uri="{FF2B5EF4-FFF2-40B4-BE49-F238E27FC236}">
                  <a16:creationId xmlns:a16="http://schemas.microsoft.com/office/drawing/2014/main" id="{0A78184A-E22F-4398-9ADF-6D98FA09F99E}"/>
                </a:ext>
              </a:extLst>
            </p:cNvPr>
            <p:cNvSpPr/>
            <p:nvPr/>
          </p:nvSpPr>
          <p:spPr>
            <a:xfrm rot="13089394">
              <a:off x="-81658" y="472652"/>
              <a:ext cx="173631" cy="237684"/>
            </a:xfrm>
            <a:custGeom>
              <a:avLst/>
              <a:gdLst>
                <a:gd name="connsiteX0" fmla="*/ 173631 w 173631"/>
                <a:gd name="connsiteY0" fmla="*/ 220990 h 237684"/>
                <a:gd name="connsiteX1" fmla="*/ 130972 w 173631"/>
                <a:gd name="connsiteY1" fmla="*/ 232382 h 237684"/>
                <a:gd name="connsiteX2" fmla="*/ 91597 w 173631"/>
                <a:gd name="connsiteY2" fmla="*/ 237521 h 237684"/>
                <a:gd name="connsiteX3" fmla="*/ 23727 w 173631"/>
                <a:gd name="connsiteY3" fmla="*/ 209931 h 237684"/>
                <a:gd name="connsiteX4" fmla="*/ 0 w 173631"/>
                <a:gd name="connsiteY4" fmla="*/ 115023 h 237684"/>
                <a:gd name="connsiteX5" fmla="*/ 0 w 173631"/>
                <a:gd name="connsiteY5" fmla="*/ 0 h 237684"/>
                <a:gd name="connsiteX6" fmla="*/ 76176 w 173631"/>
                <a:gd name="connsiteY6" fmla="*/ 96953 h 237684"/>
                <a:gd name="connsiteX7" fmla="*/ 76768 w 173631"/>
                <a:gd name="connsiteY7" fmla="*/ 109023 h 237684"/>
                <a:gd name="connsiteX8" fmla="*/ 87734 w 173631"/>
                <a:gd name="connsiteY8" fmla="*/ 154201 h 237684"/>
                <a:gd name="connsiteX9" fmla="*/ 111117 w 173631"/>
                <a:gd name="connsiteY9" fmla="*/ 181514 h 237684"/>
                <a:gd name="connsiteX10" fmla="*/ 148930 w 173631"/>
                <a:gd name="connsiteY10" fmla="*/ 189552 h 237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3631" h="237684">
                  <a:moveTo>
                    <a:pt x="173631" y="220990"/>
                  </a:moveTo>
                  <a:lnTo>
                    <a:pt x="130972" y="232382"/>
                  </a:lnTo>
                  <a:cubicBezTo>
                    <a:pt x="116428" y="235210"/>
                    <a:pt x="103047" y="236831"/>
                    <a:pt x="91597" y="237521"/>
                  </a:cubicBezTo>
                  <a:cubicBezTo>
                    <a:pt x="66215" y="239176"/>
                    <a:pt x="41384" y="228141"/>
                    <a:pt x="23727" y="209931"/>
                  </a:cubicBezTo>
                  <a:cubicBezTo>
                    <a:pt x="4966" y="191722"/>
                    <a:pt x="0" y="160270"/>
                    <a:pt x="0" y="115023"/>
                  </a:cubicBezTo>
                  <a:lnTo>
                    <a:pt x="0" y="0"/>
                  </a:lnTo>
                  <a:lnTo>
                    <a:pt x="76176" y="96953"/>
                  </a:lnTo>
                  <a:lnTo>
                    <a:pt x="76768" y="109023"/>
                  </a:lnTo>
                  <a:cubicBezTo>
                    <a:pt x="79044" y="124404"/>
                    <a:pt x="82768" y="139578"/>
                    <a:pt x="87734" y="154201"/>
                  </a:cubicBezTo>
                  <a:cubicBezTo>
                    <a:pt x="92149" y="166340"/>
                    <a:pt x="100012" y="175445"/>
                    <a:pt x="111117" y="181514"/>
                  </a:cubicBezTo>
                  <a:lnTo>
                    <a:pt x="148930" y="1895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Forme libre : forme 100">
              <a:extLst>
                <a:ext uri="{FF2B5EF4-FFF2-40B4-BE49-F238E27FC236}">
                  <a16:creationId xmlns:a16="http://schemas.microsoft.com/office/drawing/2014/main" id="{AD07E803-83BA-4CC0-BF0B-A773586C07A0}"/>
                </a:ext>
              </a:extLst>
            </p:cNvPr>
            <p:cNvSpPr/>
            <p:nvPr/>
          </p:nvSpPr>
          <p:spPr>
            <a:xfrm rot="8716295">
              <a:off x="-11774" y="24443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" name="Forme libre : forme 101">
              <a:extLst>
                <a:ext uri="{FF2B5EF4-FFF2-40B4-BE49-F238E27FC236}">
                  <a16:creationId xmlns:a16="http://schemas.microsoft.com/office/drawing/2014/main" id="{D7DD021A-277F-41FC-B62D-7AD8FCE94AB8}"/>
                </a:ext>
              </a:extLst>
            </p:cNvPr>
            <p:cNvSpPr/>
            <p:nvPr/>
          </p:nvSpPr>
          <p:spPr>
            <a:xfrm rot="8716295">
              <a:off x="-30092" y="143486"/>
              <a:ext cx="77721" cy="97260"/>
            </a:xfrm>
            <a:custGeom>
              <a:avLst/>
              <a:gdLst>
                <a:gd name="connsiteX0" fmla="*/ 15821 w 77721"/>
                <a:gd name="connsiteY0" fmla="*/ 97260 h 97260"/>
                <a:gd name="connsiteX1" fmla="*/ 0 w 77721"/>
                <a:gd name="connsiteY1" fmla="*/ 59790 h 97260"/>
                <a:gd name="connsiteX2" fmla="*/ 0 w 77721"/>
                <a:gd name="connsiteY2" fmla="*/ 58869 h 97260"/>
                <a:gd name="connsiteX3" fmla="*/ 17477 w 77721"/>
                <a:gd name="connsiteY3" fmla="*/ 17477 h 97260"/>
                <a:gd name="connsiteX4" fmla="*/ 58869 w 77721"/>
                <a:gd name="connsiteY4" fmla="*/ 0 h 97260"/>
                <a:gd name="connsiteX5" fmla="*/ 77721 w 77721"/>
                <a:gd name="connsiteY5" fmla="*/ 7960 h 97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721" h="97260">
                  <a:moveTo>
                    <a:pt x="15821" y="97260"/>
                  </a:moveTo>
                  <a:lnTo>
                    <a:pt x="0" y="59790"/>
                  </a:ln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lnTo>
                    <a:pt x="77721" y="79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" name="Forme libre : forme 102">
              <a:extLst>
                <a:ext uri="{FF2B5EF4-FFF2-40B4-BE49-F238E27FC236}">
                  <a16:creationId xmlns:a16="http://schemas.microsoft.com/office/drawing/2014/main" id="{4776F911-AFBC-41FE-BE2B-77BA9B6B6148}"/>
                </a:ext>
              </a:extLst>
            </p:cNvPr>
            <p:cNvSpPr/>
            <p:nvPr/>
          </p:nvSpPr>
          <p:spPr>
            <a:xfrm rot="8716295">
              <a:off x="-17797" y="3452694"/>
              <a:ext cx="58455" cy="44199"/>
            </a:xfrm>
            <a:custGeom>
              <a:avLst/>
              <a:gdLst>
                <a:gd name="connsiteX0" fmla="*/ 0 w 58455"/>
                <a:gd name="connsiteY0" fmla="*/ 44199 h 44199"/>
                <a:gd name="connsiteX1" fmla="*/ 0 w 58455"/>
                <a:gd name="connsiteY1" fmla="*/ 0 h 44199"/>
                <a:gd name="connsiteX2" fmla="*/ 58455 w 58455"/>
                <a:gd name="connsiteY2" fmla="*/ 0 h 44199"/>
                <a:gd name="connsiteX3" fmla="*/ 27817 w 58455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55" h="44199">
                  <a:moveTo>
                    <a:pt x="0" y="44199"/>
                  </a:moveTo>
                  <a:lnTo>
                    <a:pt x="0" y="0"/>
                  </a:lnTo>
                  <a:lnTo>
                    <a:pt x="58455" y="0"/>
                  </a:lnTo>
                  <a:lnTo>
                    <a:pt x="27817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" name="Forme libre : forme 103">
              <a:extLst>
                <a:ext uri="{FF2B5EF4-FFF2-40B4-BE49-F238E27FC236}">
                  <a16:creationId xmlns:a16="http://schemas.microsoft.com/office/drawing/2014/main" id="{33763C32-3833-42AB-BA5F-981A96FDD6C2}"/>
                </a:ext>
              </a:extLst>
            </p:cNvPr>
            <p:cNvSpPr/>
            <p:nvPr/>
          </p:nvSpPr>
          <p:spPr>
            <a:xfrm rot="13089394">
              <a:off x="-91485" y="3601812"/>
              <a:ext cx="206527" cy="292654"/>
            </a:xfrm>
            <a:custGeom>
              <a:avLst/>
              <a:gdLst>
                <a:gd name="connsiteX0" fmla="*/ 206527 w 206527"/>
                <a:gd name="connsiteY0" fmla="*/ 258693 h 292654"/>
                <a:gd name="connsiteX1" fmla="*/ 177331 w 206527"/>
                <a:gd name="connsiteY1" fmla="*/ 274971 h 292654"/>
                <a:gd name="connsiteX2" fmla="*/ 91597 w 206527"/>
                <a:gd name="connsiteY2" fmla="*/ 292491 h 292654"/>
                <a:gd name="connsiteX3" fmla="*/ 23727 w 206527"/>
                <a:gd name="connsiteY3" fmla="*/ 264901 h 292654"/>
                <a:gd name="connsiteX4" fmla="*/ 0 w 206527"/>
                <a:gd name="connsiteY4" fmla="*/ 169993 h 292654"/>
                <a:gd name="connsiteX5" fmla="*/ 0 w 206527"/>
                <a:gd name="connsiteY5" fmla="*/ 1698 h 292654"/>
                <a:gd name="connsiteX6" fmla="*/ 3273 w 206527"/>
                <a:gd name="connsiteY6" fmla="*/ 0 h 292654"/>
                <a:gd name="connsiteX7" fmla="*/ 74297 w 206527"/>
                <a:gd name="connsiteY7" fmla="*/ 90396 h 292654"/>
                <a:gd name="connsiteX8" fmla="*/ 74492 w 206527"/>
                <a:gd name="connsiteY8" fmla="*/ 117574 h 292654"/>
                <a:gd name="connsiteX9" fmla="*/ 87734 w 206527"/>
                <a:gd name="connsiteY9" fmla="*/ 209171 h 292654"/>
                <a:gd name="connsiteX10" fmla="*/ 153949 w 206527"/>
                <a:gd name="connsiteY10" fmla="*/ 245589 h 292654"/>
                <a:gd name="connsiteX11" fmla="*/ 191049 w 206527"/>
                <a:gd name="connsiteY11" fmla="*/ 238993 h 292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527" h="292654">
                  <a:moveTo>
                    <a:pt x="206527" y="258693"/>
                  </a:moveTo>
                  <a:lnTo>
                    <a:pt x="177331" y="274971"/>
                  </a:lnTo>
                  <a:cubicBezTo>
                    <a:pt x="145121" y="286007"/>
                    <a:pt x="114496" y="291111"/>
                    <a:pt x="91597" y="292491"/>
                  </a:cubicBezTo>
                  <a:cubicBezTo>
                    <a:pt x="66215" y="294146"/>
                    <a:pt x="41385" y="283111"/>
                    <a:pt x="23727" y="264901"/>
                  </a:cubicBezTo>
                  <a:cubicBezTo>
                    <a:pt x="4966" y="246692"/>
                    <a:pt x="0" y="215240"/>
                    <a:pt x="0" y="169993"/>
                  </a:cubicBezTo>
                  <a:lnTo>
                    <a:pt x="0" y="1698"/>
                  </a:lnTo>
                  <a:lnTo>
                    <a:pt x="3273" y="0"/>
                  </a:lnTo>
                  <a:lnTo>
                    <a:pt x="74297" y="90396"/>
                  </a:lnTo>
                  <a:lnTo>
                    <a:pt x="74492" y="117574"/>
                  </a:lnTo>
                  <a:cubicBezTo>
                    <a:pt x="72836" y="148474"/>
                    <a:pt x="77802" y="179926"/>
                    <a:pt x="87734" y="209171"/>
                  </a:cubicBezTo>
                  <a:cubicBezTo>
                    <a:pt x="96564" y="233450"/>
                    <a:pt x="119187" y="245589"/>
                    <a:pt x="153949" y="245589"/>
                  </a:cubicBezTo>
                  <a:lnTo>
                    <a:pt x="191049" y="2389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" name="Forme libre : forme 104">
              <a:extLst>
                <a:ext uri="{FF2B5EF4-FFF2-40B4-BE49-F238E27FC236}">
                  <a16:creationId xmlns:a16="http://schemas.microsoft.com/office/drawing/2014/main" id="{2884ED04-80A3-4E4F-8446-F1E8822CAE35}"/>
                </a:ext>
              </a:extLst>
            </p:cNvPr>
            <p:cNvSpPr/>
            <p:nvPr/>
          </p:nvSpPr>
          <p:spPr>
            <a:xfrm rot="8716295">
              <a:off x="24761" y="33896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" name="Forme libre : forme 105">
              <a:extLst>
                <a:ext uri="{FF2B5EF4-FFF2-40B4-BE49-F238E27FC236}">
                  <a16:creationId xmlns:a16="http://schemas.microsoft.com/office/drawing/2014/main" id="{31CC9695-68DF-410B-864E-7B9EA5DA2286}"/>
                </a:ext>
              </a:extLst>
            </p:cNvPr>
            <p:cNvSpPr/>
            <p:nvPr/>
          </p:nvSpPr>
          <p:spPr>
            <a:xfrm rot="8716295">
              <a:off x="-24047" y="3281741"/>
              <a:ext cx="106042" cy="113733"/>
            </a:xfrm>
            <a:custGeom>
              <a:avLst/>
              <a:gdLst>
                <a:gd name="connsiteX0" fmla="*/ 17477 w 106042"/>
                <a:gd name="connsiteY0" fmla="*/ 101182 h 113733"/>
                <a:gd name="connsiteX1" fmla="*/ 0 w 106042"/>
                <a:gd name="connsiteY1" fmla="*/ 59790 h 113733"/>
                <a:gd name="connsiteX2" fmla="*/ 0 w 106042"/>
                <a:gd name="connsiteY2" fmla="*/ 58869 h 113733"/>
                <a:gd name="connsiteX3" fmla="*/ 17477 w 106042"/>
                <a:gd name="connsiteY3" fmla="*/ 17477 h 113733"/>
                <a:gd name="connsiteX4" fmla="*/ 58869 w 106042"/>
                <a:gd name="connsiteY4" fmla="*/ 0 h 113733"/>
                <a:gd name="connsiteX5" fmla="*/ 100262 w 106042"/>
                <a:gd name="connsiteY5" fmla="*/ 17477 h 113733"/>
                <a:gd name="connsiteX6" fmla="*/ 106042 w 106042"/>
                <a:gd name="connsiteY6" fmla="*/ 31234 h 113733"/>
                <a:gd name="connsiteX7" fmla="*/ 48856 w 106042"/>
                <a:gd name="connsiteY7" fmla="*/ 113733 h 11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042" h="113733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cubicBezTo>
                    <a:pt x="74507" y="0"/>
                    <a:pt x="89224" y="6439"/>
                    <a:pt x="100262" y="17477"/>
                  </a:cubicBezTo>
                  <a:lnTo>
                    <a:pt x="106042" y="31234"/>
                  </a:lnTo>
                  <a:lnTo>
                    <a:pt x="48856" y="1137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" name="Forme libre : forme 106">
              <a:extLst>
                <a:ext uri="{FF2B5EF4-FFF2-40B4-BE49-F238E27FC236}">
                  <a16:creationId xmlns:a16="http://schemas.microsoft.com/office/drawing/2014/main" id="{1798CCB7-EC4B-437B-AB85-16FA76906419}"/>
                </a:ext>
              </a:extLst>
            </p:cNvPr>
            <p:cNvSpPr/>
            <p:nvPr/>
          </p:nvSpPr>
          <p:spPr>
            <a:xfrm rot="8716295">
              <a:off x="-21924" y="3179872"/>
              <a:ext cx="45776" cy="62656"/>
            </a:xfrm>
            <a:custGeom>
              <a:avLst/>
              <a:gdLst>
                <a:gd name="connsiteX0" fmla="*/ 2345 w 45776"/>
                <a:gd name="connsiteY0" fmla="*/ 62656 h 62656"/>
                <a:gd name="connsiteX1" fmla="*/ 0 w 45776"/>
                <a:gd name="connsiteY1" fmla="*/ 57104 h 62656"/>
                <a:gd name="connsiteX2" fmla="*/ 0 w 45776"/>
                <a:gd name="connsiteY2" fmla="*/ 56183 h 62656"/>
                <a:gd name="connsiteX3" fmla="*/ 17477 w 45776"/>
                <a:gd name="connsiteY3" fmla="*/ 14791 h 62656"/>
                <a:gd name="connsiteX4" fmla="*/ 36449 w 45776"/>
                <a:gd name="connsiteY4" fmla="*/ 1913 h 62656"/>
                <a:gd name="connsiteX5" fmla="*/ 45776 w 45776"/>
                <a:gd name="connsiteY5" fmla="*/ 0 h 62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776" h="62656">
                  <a:moveTo>
                    <a:pt x="2345" y="62656"/>
                  </a:moveTo>
                  <a:lnTo>
                    <a:pt x="0" y="57104"/>
                  </a:lnTo>
                  <a:lnTo>
                    <a:pt x="0" y="56183"/>
                  </a:lnTo>
                  <a:cubicBezTo>
                    <a:pt x="0" y="40547"/>
                    <a:pt x="6439" y="25829"/>
                    <a:pt x="17477" y="14791"/>
                  </a:cubicBezTo>
                  <a:cubicBezTo>
                    <a:pt x="22996" y="9272"/>
                    <a:pt x="29435" y="4903"/>
                    <a:pt x="36449" y="1913"/>
                  </a:cubicBezTo>
                  <a:lnTo>
                    <a:pt x="4577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" name="Forme libre : forme 107">
              <a:extLst>
                <a:ext uri="{FF2B5EF4-FFF2-40B4-BE49-F238E27FC236}">
                  <a16:creationId xmlns:a16="http://schemas.microsoft.com/office/drawing/2014/main" id="{6EA1D3A3-3395-441B-A805-B0DD713086F0}"/>
                </a:ext>
              </a:extLst>
            </p:cNvPr>
            <p:cNvSpPr/>
            <p:nvPr/>
          </p:nvSpPr>
          <p:spPr>
            <a:xfrm rot="8716295">
              <a:off x="-21324" y="4100649"/>
              <a:ext cx="79113" cy="50123"/>
            </a:xfrm>
            <a:custGeom>
              <a:avLst/>
              <a:gdLst>
                <a:gd name="connsiteX0" fmla="*/ 0 w 79113"/>
                <a:gd name="connsiteY0" fmla="*/ 50123 h 50123"/>
                <a:gd name="connsiteX1" fmla="*/ 0 w 79113"/>
                <a:gd name="connsiteY1" fmla="*/ 0 h 50123"/>
                <a:gd name="connsiteX2" fmla="*/ 79113 w 79113"/>
                <a:gd name="connsiteY2" fmla="*/ 0 h 50123"/>
                <a:gd name="connsiteX3" fmla="*/ 44369 w 79113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113" h="50123">
                  <a:moveTo>
                    <a:pt x="0" y="50123"/>
                  </a:moveTo>
                  <a:lnTo>
                    <a:pt x="0" y="0"/>
                  </a:lnTo>
                  <a:lnTo>
                    <a:pt x="79113" y="0"/>
                  </a:lnTo>
                  <a:lnTo>
                    <a:pt x="44369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" name="Forme libre : forme 108">
              <a:extLst>
                <a:ext uri="{FF2B5EF4-FFF2-40B4-BE49-F238E27FC236}">
                  <a16:creationId xmlns:a16="http://schemas.microsoft.com/office/drawing/2014/main" id="{441E37C8-B014-48F8-9D8A-E28C0A81E8F3}"/>
                </a:ext>
              </a:extLst>
            </p:cNvPr>
            <p:cNvSpPr/>
            <p:nvPr/>
          </p:nvSpPr>
          <p:spPr>
            <a:xfrm rot="8716295">
              <a:off x="-40457" y="398156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" name="Forme libre : forme 109">
              <a:extLst>
                <a:ext uri="{FF2B5EF4-FFF2-40B4-BE49-F238E27FC236}">
                  <a16:creationId xmlns:a16="http://schemas.microsoft.com/office/drawing/2014/main" id="{F00696DB-228C-441B-90E6-48605040C93E}"/>
                </a:ext>
              </a:extLst>
            </p:cNvPr>
            <p:cNvSpPr/>
            <p:nvPr/>
          </p:nvSpPr>
          <p:spPr>
            <a:xfrm rot="7484129">
              <a:off x="-46974" y="427316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" name="Forme libre : forme 110">
              <a:extLst>
                <a:ext uri="{FF2B5EF4-FFF2-40B4-BE49-F238E27FC236}">
                  <a16:creationId xmlns:a16="http://schemas.microsoft.com/office/drawing/2014/main" id="{9A6E1EC7-4FA0-43D8-BEC4-78E0A6587EAD}"/>
                </a:ext>
              </a:extLst>
            </p:cNvPr>
            <p:cNvSpPr/>
            <p:nvPr/>
          </p:nvSpPr>
          <p:spPr>
            <a:xfrm rot="13089394">
              <a:off x="57846" y="423970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" name="Forme libre : forme 111">
              <a:extLst>
                <a:ext uri="{FF2B5EF4-FFF2-40B4-BE49-F238E27FC236}">
                  <a16:creationId xmlns:a16="http://schemas.microsoft.com/office/drawing/2014/main" id="{80389F25-A4FB-4DBD-9B89-4F2BFC751AF3}"/>
                </a:ext>
              </a:extLst>
            </p:cNvPr>
            <p:cNvSpPr/>
            <p:nvPr/>
          </p:nvSpPr>
          <p:spPr>
            <a:xfrm rot="8716295">
              <a:off x="243431" y="404801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" name="Forme libre : forme 112">
              <a:extLst>
                <a:ext uri="{FF2B5EF4-FFF2-40B4-BE49-F238E27FC236}">
                  <a16:creationId xmlns:a16="http://schemas.microsoft.com/office/drawing/2014/main" id="{04EEF1E4-3A54-4E97-9251-258A8E514A0A}"/>
                </a:ext>
              </a:extLst>
            </p:cNvPr>
            <p:cNvSpPr/>
            <p:nvPr/>
          </p:nvSpPr>
          <p:spPr>
            <a:xfrm rot="8716295">
              <a:off x="191626" y="39444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" name="Forme libre : forme 113">
              <a:extLst>
                <a:ext uri="{FF2B5EF4-FFF2-40B4-BE49-F238E27FC236}">
                  <a16:creationId xmlns:a16="http://schemas.microsoft.com/office/drawing/2014/main" id="{6E5BBE1F-D3AC-46AF-8453-7400C641EAAA}"/>
                </a:ext>
              </a:extLst>
            </p:cNvPr>
            <p:cNvSpPr/>
            <p:nvPr/>
          </p:nvSpPr>
          <p:spPr>
            <a:xfrm rot="8716295">
              <a:off x="125832" y="381540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" name="Forme libre : forme 114">
              <a:extLst>
                <a:ext uri="{FF2B5EF4-FFF2-40B4-BE49-F238E27FC236}">
                  <a16:creationId xmlns:a16="http://schemas.microsoft.com/office/drawing/2014/main" id="{8071E294-ECD8-45A0-992E-907B1B9AB08E}"/>
                </a:ext>
              </a:extLst>
            </p:cNvPr>
            <p:cNvSpPr/>
            <p:nvPr/>
          </p:nvSpPr>
          <p:spPr>
            <a:xfrm rot="8716295">
              <a:off x="-73048" y="4876828"/>
              <a:ext cx="221382" cy="253349"/>
            </a:xfrm>
            <a:custGeom>
              <a:avLst/>
              <a:gdLst>
                <a:gd name="connsiteX0" fmla="*/ 51490 w 221382"/>
                <a:gd name="connsiteY0" fmla="*/ 253349 h 253349"/>
                <a:gd name="connsiteX1" fmla="*/ 51490 w 221382"/>
                <a:gd name="connsiteY1" fmla="*/ 44199 h 253349"/>
                <a:gd name="connsiteX2" fmla="*/ 0 w 221382"/>
                <a:gd name="connsiteY2" fmla="*/ 44199 h 253349"/>
                <a:gd name="connsiteX3" fmla="*/ 0 w 221382"/>
                <a:gd name="connsiteY3" fmla="*/ 0 h 253349"/>
                <a:gd name="connsiteX4" fmla="*/ 104803 w 221382"/>
                <a:gd name="connsiteY4" fmla="*/ 0 h 253349"/>
                <a:gd name="connsiteX5" fmla="*/ 104802 w 221382"/>
                <a:gd name="connsiteY5" fmla="*/ 73817 h 253349"/>
                <a:gd name="connsiteX6" fmla="*/ 106169 w 221382"/>
                <a:gd name="connsiteY6" fmla="*/ 73817 h 253349"/>
                <a:gd name="connsiteX7" fmla="*/ 154014 w 221382"/>
                <a:gd name="connsiteY7" fmla="*/ 4556 h 253349"/>
                <a:gd name="connsiteX8" fmla="*/ 174650 w 221382"/>
                <a:gd name="connsiteY8" fmla="*/ 668 h 253349"/>
                <a:gd name="connsiteX9" fmla="*/ 214075 w 221382"/>
                <a:gd name="connsiteY9" fmla="*/ 27996 h 253349"/>
                <a:gd name="connsiteX10" fmla="*/ 221382 w 221382"/>
                <a:gd name="connsiteY10" fmla="*/ 33060 h 253349"/>
                <a:gd name="connsiteX11" fmla="*/ 195540 w 221382"/>
                <a:gd name="connsiteY11" fmla="*/ 70341 h 253349"/>
                <a:gd name="connsiteX12" fmla="*/ 189157 w 221382"/>
                <a:gd name="connsiteY12" fmla="*/ 50236 h 253349"/>
                <a:gd name="connsiteX13" fmla="*/ 164950 w 221382"/>
                <a:gd name="connsiteY13" fmla="*/ 38731 h 253349"/>
                <a:gd name="connsiteX14" fmla="*/ 111638 w 221382"/>
                <a:gd name="connsiteY14" fmla="*/ 126218 h 253349"/>
                <a:gd name="connsiteX15" fmla="*/ 111638 w 221382"/>
                <a:gd name="connsiteY15" fmla="*/ 191383 h 253349"/>
                <a:gd name="connsiteX16" fmla="*/ 84096 w 221382"/>
                <a:gd name="connsiteY16" fmla="*/ 231117 h 253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1382" h="253349">
                  <a:moveTo>
                    <a:pt x="51490" y="253349"/>
                  </a:moveTo>
                  <a:lnTo>
                    <a:pt x="51490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104803" y="0"/>
                  </a:lnTo>
                  <a:lnTo>
                    <a:pt x="104802" y="73817"/>
                  </a:lnTo>
                  <a:lnTo>
                    <a:pt x="106169" y="73817"/>
                  </a:lnTo>
                  <a:cubicBezTo>
                    <a:pt x="120751" y="30529"/>
                    <a:pt x="132142" y="13670"/>
                    <a:pt x="154014" y="4556"/>
                  </a:cubicBezTo>
                  <a:lnTo>
                    <a:pt x="174650" y="668"/>
                  </a:lnTo>
                  <a:lnTo>
                    <a:pt x="214075" y="27996"/>
                  </a:lnTo>
                  <a:lnTo>
                    <a:pt x="221382" y="33060"/>
                  </a:lnTo>
                  <a:lnTo>
                    <a:pt x="195540" y="70341"/>
                  </a:lnTo>
                  <a:lnTo>
                    <a:pt x="189157" y="50236"/>
                  </a:lnTo>
                  <a:cubicBezTo>
                    <a:pt x="183177" y="42946"/>
                    <a:pt x="174747" y="38731"/>
                    <a:pt x="164950" y="38731"/>
                  </a:cubicBezTo>
                  <a:cubicBezTo>
                    <a:pt x="135788" y="38731"/>
                    <a:pt x="111638" y="77463"/>
                    <a:pt x="111638" y="126218"/>
                  </a:cubicBezTo>
                  <a:lnTo>
                    <a:pt x="111638" y="191383"/>
                  </a:lnTo>
                  <a:lnTo>
                    <a:pt x="84096" y="2311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" name="Forme libre : forme 115">
              <a:extLst>
                <a:ext uri="{FF2B5EF4-FFF2-40B4-BE49-F238E27FC236}">
                  <a16:creationId xmlns:a16="http://schemas.microsoft.com/office/drawing/2014/main" id="{E67B14CE-B3ED-42B6-983E-18D9D51B5069}"/>
                </a:ext>
              </a:extLst>
            </p:cNvPr>
            <p:cNvSpPr/>
            <p:nvPr/>
          </p:nvSpPr>
          <p:spPr>
            <a:xfrm rot="8716295">
              <a:off x="93318" y="46120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" name="Forme libre : forme 116">
              <a:extLst>
                <a:ext uri="{FF2B5EF4-FFF2-40B4-BE49-F238E27FC236}">
                  <a16:creationId xmlns:a16="http://schemas.microsoft.com/office/drawing/2014/main" id="{5F92E036-918D-4A69-A634-EF67D2AA85CF}"/>
                </a:ext>
              </a:extLst>
            </p:cNvPr>
            <p:cNvSpPr/>
            <p:nvPr/>
          </p:nvSpPr>
          <p:spPr>
            <a:xfrm rot="8716295">
              <a:off x="182710" y="46412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" name="Forme libre : forme 117">
              <a:extLst>
                <a:ext uri="{FF2B5EF4-FFF2-40B4-BE49-F238E27FC236}">
                  <a16:creationId xmlns:a16="http://schemas.microsoft.com/office/drawing/2014/main" id="{51C689BA-330C-44EA-8320-9417DA402819}"/>
                </a:ext>
              </a:extLst>
            </p:cNvPr>
            <p:cNvSpPr/>
            <p:nvPr/>
          </p:nvSpPr>
          <p:spPr>
            <a:xfrm rot="8716295">
              <a:off x="-14524" y="4699631"/>
              <a:ext cx="49997" cy="54238"/>
            </a:xfrm>
            <a:custGeom>
              <a:avLst/>
              <a:gdLst>
                <a:gd name="connsiteX0" fmla="*/ 8658 w 49997"/>
                <a:gd name="connsiteY0" fmla="*/ 50123 h 54238"/>
                <a:gd name="connsiteX1" fmla="*/ 0 w 49997"/>
                <a:gd name="connsiteY1" fmla="*/ 29619 h 54238"/>
                <a:gd name="connsiteX2" fmla="*/ 0 w 49997"/>
                <a:gd name="connsiteY2" fmla="*/ 29162 h 54238"/>
                <a:gd name="connsiteX3" fmla="*/ 8658 w 49997"/>
                <a:gd name="connsiteY3" fmla="*/ 8658 h 54238"/>
                <a:gd name="connsiteX4" fmla="*/ 29163 w 49997"/>
                <a:gd name="connsiteY4" fmla="*/ 0 h 54238"/>
                <a:gd name="connsiteX5" fmla="*/ 49668 w 49997"/>
                <a:gd name="connsiteY5" fmla="*/ 8658 h 54238"/>
                <a:gd name="connsiteX6" fmla="*/ 49997 w 49997"/>
                <a:gd name="connsiteY6" fmla="*/ 9441 h 54238"/>
                <a:gd name="connsiteX7" fmla="*/ 18945 w 49997"/>
                <a:gd name="connsiteY7" fmla="*/ 54238 h 54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997" h="54238">
                  <a:moveTo>
                    <a:pt x="8658" y="50123"/>
                  </a:moveTo>
                  <a:cubicBezTo>
                    <a:pt x="3190" y="44655"/>
                    <a:pt x="0" y="37365"/>
                    <a:pt x="0" y="29619"/>
                  </a:cubicBezTo>
                  <a:lnTo>
                    <a:pt x="0" y="29162"/>
                  </a:lnTo>
                  <a:cubicBezTo>
                    <a:pt x="0" y="21417"/>
                    <a:pt x="3190" y="14126"/>
                    <a:pt x="8658" y="8658"/>
                  </a:cubicBezTo>
                  <a:cubicBezTo>
                    <a:pt x="14126" y="3190"/>
                    <a:pt x="21416" y="0"/>
                    <a:pt x="29163" y="0"/>
                  </a:cubicBezTo>
                  <a:cubicBezTo>
                    <a:pt x="36909" y="0"/>
                    <a:pt x="44200" y="3190"/>
                    <a:pt x="49668" y="8658"/>
                  </a:cubicBezTo>
                  <a:lnTo>
                    <a:pt x="49997" y="9441"/>
                  </a:lnTo>
                  <a:lnTo>
                    <a:pt x="18945" y="54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" name="Forme libre : forme 118">
              <a:extLst>
                <a:ext uri="{FF2B5EF4-FFF2-40B4-BE49-F238E27FC236}">
                  <a16:creationId xmlns:a16="http://schemas.microsoft.com/office/drawing/2014/main" id="{F2474D32-2245-427E-9F4C-2458D31C5E60}"/>
                </a:ext>
              </a:extLst>
            </p:cNvPr>
            <p:cNvSpPr/>
            <p:nvPr/>
          </p:nvSpPr>
          <p:spPr>
            <a:xfrm rot="8716295">
              <a:off x="-30327" y="4579755"/>
              <a:ext cx="113346" cy="71024"/>
            </a:xfrm>
            <a:custGeom>
              <a:avLst/>
              <a:gdLst>
                <a:gd name="connsiteX0" fmla="*/ 0 w 113346"/>
                <a:gd name="connsiteY0" fmla="*/ 55323 h 71024"/>
                <a:gd name="connsiteX1" fmla="*/ 0 w 113346"/>
                <a:gd name="connsiteY1" fmla="*/ 0 h 71024"/>
                <a:gd name="connsiteX2" fmla="*/ 113346 w 113346"/>
                <a:gd name="connsiteY2" fmla="*/ 0 h 71024"/>
                <a:gd name="connsiteX3" fmla="*/ 64114 w 113346"/>
                <a:gd name="connsiteY3" fmla="*/ 71024 h 71024"/>
                <a:gd name="connsiteX4" fmla="*/ 69777 w 113346"/>
                <a:gd name="connsiteY4" fmla="*/ 55323 h 7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346" h="71024">
                  <a:moveTo>
                    <a:pt x="0" y="55323"/>
                  </a:moveTo>
                  <a:lnTo>
                    <a:pt x="0" y="0"/>
                  </a:lnTo>
                  <a:lnTo>
                    <a:pt x="113346" y="0"/>
                  </a:lnTo>
                  <a:lnTo>
                    <a:pt x="64114" y="71024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" name="Forme libre : forme 119">
              <a:extLst>
                <a:ext uri="{FF2B5EF4-FFF2-40B4-BE49-F238E27FC236}">
                  <a16:creationId xmlns:a16="http://schemas.microsoft.com/office/drawing/2014/main" id="{D5E32DFA-FE41-4DBB-9EA3-322E61838D6F}"/>
                </a:ext>
              </a:extLst>
            </p:cNvPr>
            <p:cNvSpPr/>
            <p:nvPr/>
          </p:nvSpPr>
          <p:spPr>
            <a:xfrm rot="8716295">
              <a:off x="71262" y="47415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" name="Forme libre : forme 120">
              <a:extLst>
                <a:ext uri="{FF2B5EF4-FFF2-40B4-BE49-F238E27FC236}">
                  <a16:creationId xmlns:a16="http://schemas.microsoft.com/office/drawing/2014/main" id="{98C82C88-21C9-41B9-8186-F52C472D7412}"/>
                </a:ext>
              </a:extLst>
            </p:cNvPr>
            <p:cNvSpPr/>
            <p:nvPr/>
          </p:nvSpPr>
          <p:spPr>
            <a:xfrm rot="7484129">
              <a:off x="172059" y="493353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170341 w 203847"/>
                <a:gd name="connsiteY5" fmla="*/ 0 h 195874"/>
                <a:gd name="connsiteX6" fmla="*/ 203847 w 203847"/>
                <a:gd name="connsiteY6" fmla="*/ 48325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170341" y="0"/>
                  </a:lnTo>
                  <a:lnTo>
                    <a:pt x="203847" y="48325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" name="Forme libre : forme 121">
              <a:extLst>
                <a:ext uri="{FF2B5EF4-FFF2-40B4-BE49-F238E27FC236}">
                  <a16:creationId xmlns:a16="http://schemas.microsoft.com/office/drawing/2014/main" id="{A66417E9-C757-466D-8994-1F366AA16F5B}"/>
                </a:ext>
              </a:extLst>
            </p:cNvPr>
            <p:cNvSpPr/>
            <p:nvPr/>
          </p:nvSpPr>
          <p:spPr>
            <a:xfrm rot="13089394">
              <a:off x="313551" y="4906246"/>
              <a:ext cx="221827" cy="205098"/>
            </a:xfrm>
            <a:custGeom>
              <a:avLst/>
              <a:gdLst>
                <a:gd name="connsiteX0" fmla="*/ 24153 w 221827"/>
                <a:gd name="connsiteY0" fmla="*/ 55168 h 205098"/>
                <a:gd name="connsiteX1" fmla="*/ 0 w 221827"/>
                <a:gd name="connsiteY1" fmla="*/ 18385 h 205098"/>
                <a:gd name="connsiteX2" fmla="*/ 23400 w 221827"/>
                <a:gd name="connsiteY2" fmla="*/ 0 h 205098"/>
                <a:gd name="connsiteX3" fmla="*/ 23735 w 221827"/>
                <a:gd name="connsiteY3" fmla="*/ 46640 h 205098"/>
                <a:gd name="connsiteX4" fmla="*/ 221827 w 221827"/>
                <a:gd name="connsiteY4" fmla="*/ 150928 h 205098"/>
                <a:gd name="connsiteX5" fmla="*/ 126574 w 221827"/>
                <a:gd name="connsiteY5" fmla="*/ 204038 h 205098"/>
                <a:gd name="connsiteX6" fmla="*/ 122603 w 221827"/>
                <a:gd name="connsiteY6" fmla="*/ 205098 h 205098"/>
                <a:gd name="connsiteX7" fmla="*/ 102519 w 221827"/>
                <a:gd name="connsiteY7" fmla="*/ 174512 h 205098"/>
                <a:gd name="connsiteX8" fmla="*/ 103192 w 221827"/>
                <a:gd name="connsiteY8" fmla="*/ 174655 h 205098"/>
                <a:gd name="connsiteX9" fmla="*/ 152853 w 221827"/>
                <a:gd name="connsiteY9" fmla="*/ 165826 h 205098"/>
                <a:gd name="connsiteX10" fmla="*/ 220723 w 221827"/>
                <a:gd name="connsiteY10" fmla="*/ 138237 h 205098"/>
                <a:gd name="connsiteX11" fmla="*/ 221827 w 221827"/>
                <a:gd name="connsiteY11" fmla="*/ 145410 h 205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1827" h="205098">
                  <a:moveTo>
                    <a:pt x="24153" y="55168"/>
                  </a:moveTo>
                  <a:lnTo>
                    <a:pt x="0" y="18385"/>
                  </a:lnTo>
                  <a:lnTo>
                    <a:pt x="23400" y="0"/>
                  </a:lnTo>
                  <a:lnTo>
                    <a:pt x="23735" y="46640"/>
                  </a:lnTo>
                  <a:close/>
                  <a:moveTo>
                    <a:pt x="221827" y="150928"/>
                  </a:moveTo>
                  <a:cubicBezTo>
                    <a:pt x="192582" y="176035"/>
                    <a:pt x="158785" y="193002"/>
                    <a:pt x="126574" y="204038"/>
                  </a:cubicBezTo>
                  <a:lnTo>
                    <a:pt x="122603" y="205098"/>
                  </a:lnTo>
                  <a:lnTo>
                    <a:pt x="102519" y="174512"/>
                  </a:lnTo>
                  <a:lnTo>
                    <a:pt x="103192" y="174655"/>
                  </a:lnTo>
                  <a:cubicBezTo>
                    <a:pt x="120298" y="174103"/>
                    <a:pt x="136851" y="170792"/>
                    <a:pt x="152853" y="165826"/>
                  </a:cubicBezTo>
                  <a:cubicBezTo>
                    <a:pt x="176028" y="158653"/>
                    <a:pt x="198652" y="149273"/>
                    <a:pt x="220723" y="138237"/>
                  </a:cubicBezTo>
                  <a:cubicBezTo>
                    <a:pt x="221275" y="140444"/>
                    <a:pt x="221827" y="143203"/>
                    <a:pt x="221827" y="1454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" name="Forme libre : forme 122">
              <a:extLst>
                <a:ext uri="{FF2B5EF4-FFF2-40B4-BE49-F238E27FC236}">
                  <a16:creationId xmlns:a16="http://schemas.microsoft.com/office/drawing/2014/main" id="{A36747DA-F5EA-42E3-9BB6-64441C3802E9}"/>
                </a:ext>
              </a:extLst>
            </p:cNvPr>
            <p:cNvSpPr/>
            <p:nvPr/>
          </p:nvSpPr>
          <p:spPr>
            <a:xfrm rot="8716295">
              <a:off x="406370" y="4600606"/>
              <a:ext cx="113655" cy="117117"/>
            </a:xfrm>
            <a:custGeom>
              <a:avLst/>
              <a:gdLst>
                <a:gd name="connsiteX0" fmla="*/ 13623 w 113655"/>
                <a:gd name="connsiteY0" fmla="*/ 100559 h 117117"/>
                <a:gd name="connsiteX1" fmla="*/ 0 w 113655"/>
                <a:gd name="connsiteY1" fmla="*/ 68296 h 117117"/>
                <a:gd name="connsiteX2" fmla="*/ 56488 w 113655"/>
                <a:gd name="connsiteY2" fmla="*/ 0 h 117117"/>
                <a:gd name="connsiteX3" fmla="*/ 96408 w 113655"/>
                <a:gd name="connsiteY3" fmla="*/ 16856 h 117117"/>
                <a:gd name="connsiteX4" fmla="*/ 96408 w 113655"/>
                <a:gd name="connsiteY4" fmla="*/ 99640 h 117117"/>
                <a:gd name="connsiteX5" fmla="*/ 55015 w 113655"/>
                <a:gd name="connsiteY5" fmla="*/ 117117 h 117117"/>
                <a:gd name="connsiteX6" fmla="*/ 13623 w 113655"/>
                <a:gd name="connsiteY6" fmla="*/ 100559 h 117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655" h="117117">
                  <a:moveTo>
                    <a:pt x="13623" y="100559"/>
                  </a:moveTo>
                  <a:lnTo>
                    <a:pt x="0" y="68296"/>
                  </a:lnTo>
                  <a:lnTo>
                    <a:pt x="56488" y="0"/>
                  </a:lnTo>
                  <a:lnTo>
                    <a:pt x="96408" y="16856"/>
                  </a:lnTo>
                  <a:cubicBezTo>
                    <a:pt x="119404" y="38931"/>
                    <a:pt x="119404" y="76644"/>
                    <a:pt x="96408" y="99640"/>
                  </a:cubicBezTo>
                  <a:cubicBezTo>
                    <a:pt x="85370" y="110678"/>
                    <a:pt x="70653" y="117116"/>
                    <a:pt x="55015" y="117117"/>
                  </a:cubicBezTo>
                  <a:cubicBezTo>
                    <a:pt x="39378" y="117117"/>
                    <a:pt x="24661" y="111597"/>
                    <a:pt x="13623" y="10055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" name="Forme libre : forme 123">
              <a:extLst>
                <a:ext uri="{FF2B5EF4-FFF2-40B4-BE49-F238E27FC236}">
                  <a16:creationId xmlns:a16="http://schemas.microsoft.com/office/drawing/2014/main" id="{AD73B6BA-63FC-484E-8F99-0F24CBA78B87}"/>
                </a:ext>
              </a:extLst>
            </p:cNvPr>
            <p:cNvSpPr/>
            <p:nvPr/>
          </p:nvSpPr>
          <p:spPr>
            <a:xfrm rot="8716295">
              <a:off x="171547" y="46343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" name="Forme libre : forme 124">
              <a:extLst>
                <a:ext uri="{FF2B5EF4-FFF2-40B4-BE49-F238E27FC236}">
                  <a16:creationId xmlns:a16="http://schemas.microsoft.com/office/drawing/2014/main" id="{066AF92B-6B4A-4726-9E49-C3D23D71D48B}"/>
                </a:ext>
              </a:extLst>
            </p:cNvPr>
            <p:cNvSpPr/>
            <p:nvPr/>
          </p:nvSpPr>
          <p:spPr>
            <a:xfrm rot="8716295">
              <a:off x="348999" y="44751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127" name="Forme libre : forme 126">
            <a:extLst>
              <a:ext uri="{FF2B5EF4-FFF2-40B4-BE49-F238E27FC236}">
                <a16:creationId xmlns:a16="http://schemas.microsoft.com/office/drawing/2014/main" id="{3DCAAB30-E6A5-4696-B938-B81AECA9B049}"/>
              </a:ext>
            </a:extLst>
          </p:cNvPr>
          <p:cNvSpPr/>
          <p:nvPr userDrawn="1"/>
        </p:nvSpPr>
        <p:spPr>
          <a:xfrm>
            <a:off x="629550" y="0"/>
            <a:ext cx="8514451" cy="5143499"/>
          </a:xfrm>
          <a:custGeom>
            <a:avLst/>
            <a:gdLst>
              <a:gd name="connsiteX0" fmla="*/ 268034 w 8514451"/>
              <a:gd name="connsiteY0" fmla="*/ 0 h 5143499"/>
              <a:gd name="connsiteX1" fmla="*/ 8514451 w 8514451"/>
              <a:gd name="connsiteY1" fmla="*/ 0 h 5143499"/>
              <a:gd name="connsiteX2" fmla="*/ 8514451 w 8514451"/>
              <a:gd name="connsiteY2" fmla="*/ 5143499 h 5143499"/>
              <a:gd name="connsiteX3" fmla="*/ 274758 w 8514451"/>
              <a:gd name="connsiteY3" fmla="*/ 5143499 h 5143499"/>
              <a:gd name="connsiteX4" fmla="*/ 0 w 8514451"/>
              <a:gd name="connsiteY4" fmla="*/ 3148262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14451" h="5143499">
                <a:moveTo>
                  <a:pt x="268034" y="0"/>
                </a:moveTo>
                <a:lnTo>
                  <a:pt x="8514451" y="0"/>
                </a:lnTo>
                <a:lnTo>
                  <a:pt x="8514451" y="5143499"/>
                </a:lnTo>
                <a:lnTo>
                  <a:pt x="274758" y="5143499"/>
                </a:lnTo>
                <a:lnTo>
                  <a:pt x="0" y="31482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26" name="Espace réservé du numéro de diapositive 125">
            <a:extLst>
              <a:ext uri="{FF2B5EF4-FFF2-40B4-BE49-F238E27FC236}">
                <a16:creationId xmlns:a16="http://schemas.microsoft.com/office/drawing/2014/main" id="{EB3A4323-AB23-411F-A098-2140921A34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9681" y="3148262"/>
            <a:ext cx="444626" cy="1995238"/>
          </a:xfrm>
          <a:custGeom>
            <a:avLst/>
            <a:gdLst>
              <a:gd name="connsiteX0" fmla="*/ 169868 w 444626"/>
              <a:gd name="connsiteY0" fmla="*/ 0 h 1995238"/>
              <a:gd name="connsiteX1" fmla="*/ 444626 w 444626"/>
              <a:gd name="connsiteY1" fmla="*/ 1995238 h 1995238"/>
              <a:gd name="connsiteX2" fmla="*/ 0 w 444626"/>
              <a:gd name="connsiteY2" fmla="*/ 1995238 h 1995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4626" h="1995238">
                <a:moveTo>
                  <a:pt x="169868" y="0"/>
                </a:moveTo>
                <a:lnTo>
                  <a:pt x="444626" y="1995238"/>
                </a:lnTo>
                <a:lnTo>
                  <a:pt x="0" y="199523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180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01109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itre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>
            <a:extLst>
              <a:ext uri="{FF2B5EF4-FFF2-40B4-BE49-F238E27FC236}">
                <a16:creationId xmlns:a16="http://schemas.microsoft.com/office/drawing/2014/main" id="{6A348ADD-AB0E-41AD-9203-40019D501D09}"/>
              </a:ext>
            </a:extLst>
          </p:cNvPr>
          <p:cNvGrpSpPr/>
          <p:nvPr userDrawn="1"/>
        </p:nvGrpSpPr>
        <p:grpSpPr>
          <a:xfrm>
            <a:off x="-134707" y="-108618"/>
            <a:ext cx="6284502" cy="5381969"/>
            <a:chOff x="-134707" y="-108618"/>
            <a:chExt cx="6284502" cy="5381969"/>
          </a:xfrm>
          <a:solidFill>
            <a:schemeClr val="bg2">
              <a:alpha val="10000"/>
            </a:schemeClr>
          </a:solidFill>
        </p:grpSpPr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4588E603-EA6D-4A8D-ABC7-9DE29315EF7F}"/>
                </a:ext>
              </a:extLst>
            </p:cNvPr>
            <p:cNvSpPr/>
            <p:nvPr/>
          </p:nvSpPr>
          <p:spPr>
            <a:xfrm rot="8716295">
              <a:off x="1460344" y="348006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8D98135C-BBC2-4D16-96A0-7D0791CBF234}"/>
                </a:ext>
              </a:extLst>
            </p:cNvPr>
            <p:cNvSpPr/>
            <p:nvPr/>
          </p:nvSpPr>
          <p:spPr>
            <a:xfrm rot="8716295">
              <a:off x="1595642" y="352432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99CC6255-5792-4F9C-BE71-CF421386A627}"/>
                </a:ext>
              </a:extLst>
            </p:cNvPr>
            <p:cNvSpPr/>
            <p:nvPr/>
          </p:nvSpPr>
          <p:spPr>
            <a:xfrm rot="8716295">
              <a:off x="1527760" y="339373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4D44D8C2-4775-4ED6-AF57-EBCE00D0B723}"/>
                </a:ext>
              </a:extLst>
            </p:cNvPr>
            <p:cNvSpPr/>
            <p:nvPr/>
          </p:nvSpPr>
          <p:spPr>
            <a:xfrm rot="8716295">
              <a:off x="1290473" y="361408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EC13E85B-F308-4A84-A6BC-C18C71386F58}"/>
                </a:ext>
              </a:extLst>
            </p:cNvPr>
            <p:cNvSpPr/>
            <p:nvPr/>
          </p:nvSpPr>
          <p:spPr>
            <a:xfrm rot="8716295">
              <a:off x="1101427" y="329824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6E015BB2-4D35-4CF4-A5C2-59649EEBFF40}"/>
                </a:ext>
              </a:extLst>
            </p:cNvPr>
            <p:cNvSpPr/>
            <p:nvPr/>
          </p:nvSpPr>
          <p:spPr>
            <a:xfrm rot="8716295">
              <a:off x="1083185" y="3088198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9BFD4E55-95DB-4948-9F11-510807EC9D8A}"/>
                </a:ext>
              </a:extLst>
            </p:cNvPr>
            <p:cNvSpPr/>
            <p:nvPr/>
          </p:nvSpPr>
          <p:spPr>
            <a:xfrm rot="8716295">
              <a:off x="1426961" y="367606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4A110395-765E-4DD5-AC3E-A28545974AAB}"/>
                </a:ext>
              </a:extLst>
            </p:cNvPr>
            <p:cNvSpPr/>
            <p:nvPr/>
          </p:nvSpPr>
          <p:spPr>
            <a:xfrm rot="8716295">
              <a:off x="1897908" y="310145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752DD23B-ED4C-4692-9CB0-792B6E8C38E8}"/>
                </a:ext>
              </a:extLst>
            </p:cNvPr>
            <p:cNvSpPr/>
            <p:nvPr/>
          </p:nvSpPr>
          <p:spPr>
            <a:xfrm rot="8716295">
              <a:off x="2033206" y="314571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407B9478-6D17-4EBC-AE18-7FD28A2FC874}"/>
                </a:ext>
              </a:extLst>
            </p:cNvPr>
            <p:cNvSpPr/>
            <p:nvPr/>
          </p:nvSpPr>
          <p:spPr>
            <a:xfrm rot="8716295">
              <a:off x="1728037" y="323546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DDF2324E-ABD3-44DC-8D06-AD3B881C1A39}"/>
                </a:ext>
              </a:extLst>
            </p:cNvPr>
            <p:cNvSpPr/>
            <p:nvPr/>
          </p:nvSpPr>
          <p:spPr>
            <a:xfrm rot="8716295">
              <a:off x="1538992" y="291963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EF0C42E5-DDE5-4434-B96B-A910A8DADC60}"/>
                </a:ext>
              </a:extLst>
            </p:cNvPr>
            <p:cNvSpPr/>
            <p:nvPr/>
          </p:nvSpPr>
          <p:spPr>
            <a:xfrm rot="8716295">
              <a:off x="1864525" y="329745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1AF80BC5-2FE2-47AB-8E9C-E26EB916D016}"/>
                </a:ext>
              </a:extLst>
            </p:cNvPr>
            <p:cNvSpPr/>
            <p:nvPr/>
          </p:nvSpPr>
          <p:spPr>
            <a:xfrm rot="8716295">
              <a:off x="1499078" y="307102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B1E25E5F-E250-4318-97CF-E3EF2CD18D72}"/>
                </a:ext>
              </a:extLst>
            </p:cNvPr>
            <p:cNvSpPr/>
            <p:nvPr/>
          </p:nvSpPr>
          <p:spPr>
            <a:xfrm rot="7484129">
              <a:off x="2023343" y="358706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3240DB54-B585-4364-A4CC-E94E9F63B7D1}"/>
                </a:ext>
              </a:extLst>
            </p:cNvPr>
            <p:cNvSpPr/>
            <p:nvPr/>
          </p:nvSpPr>
          <p:spPr>
            <a:xfrm rot="13089394">
              <a:off x="2181992" y="353641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273F70D5-0FDD-4CE1-814B-D9312EE2ED7C}"/>
                </a:ext>
              </a:extLst>
            </p:cNvPr>
            <p:cNvSpPr/>
            <p:nvPr/>
          </p:nvSpPr>
          <p:spPr>
            <a:xfrm rot="8716295">
              <a:off x="2462883" y="3246298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C7DAFD7E-6F4A-40E6-A59C-00BDC917B87B}"/>
                </a:ext>
              </a:extLst>
            </p:cNvPr>
            <p:cNvSpPr/>
            <p:nvPr/>
          </p:nvSpPr>
          <p:spPr>
            <a:xfrm rot="8716295">
              <a:off x="2384474" y="308950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48BC9105-C681-433B-8AF1-4FE2E6AF7484}"/>
                </a:ext>
              </a:extLst>
            </p:cNvPr>
            <p:cNvSpPr/>
            <p:nvPr/>
          </p:nvSpPr>
          <p:spPr>
            <a:xfrm rot="8716295">
              <a:off x="2016311" y="313524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1A014423-3778-467F-945D-40491D2DDC50}"/>
                </a:ext>
              </a:extLst>
            </p:cNvPr>
            <p:cNvSpPr/>
            <p:nvPr/>
          </p:nvSpPr>
          <p:spPr>
            <a:xfrm rot="8716295">
              <a:off x="2284892" y="289422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754E4A02-6646-4EF0-8CC5-B9030AE2C233}"/>
                </a:ext>
              </a:extLst>
            </p:cNvPr>
            <p:cNvSpPr/>
            <p:nvPr/>
          </p:nvSpPr>
          <p:spPr>
            <a:xfrm rot="8716295">
              <a:off x="1798117" y="447855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84764706-CB95-4A07-B328-B801005B7146}"/>
                </a:ext>
              </a:extLst>
            </p:cNvPr>
            <p:cNvSpPr/>
            <p:nvPr/>
          </p:nvSpPr>
          <p:spPr>
            <a:xfrm rot="8716295">
              <a:off x="1933415" y="452281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B1C7133F-9245-4557-9366-3880E57EEB00}"/>
                </a:ext>
              </a:extLst>
            </p:cNvPr>
            <p:cNvSpPr/>
            <p:nvPr/>
          </p:nvSpPr>
          <p:spPr>
            <a:xfrm rot="8716295">
              <a:off x="1865533" y="439222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34C731BB-8709-4827-B371-DEB3D84B9346}"/>
                </a:ext>
              </a:extLst>
            </p:cNvPr>
            <p:cNvSpPr/>
            <p:nvPr/>
          </p:nvSpPr>
          <p:spPr>
            <a:xfrm rot="8716295">
              <a:off x="1628246" y="461256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800CC594-61C3-4799-9C62-0BE95617F0FD}"/>
                </a:ext>
              </a:extLst>
            </p:cNvPr>
            <p:cNvSpPr/>
            <p:nvPr/>
          </p:nvSpPr>
          <p:spPr>
            <a:xfrm rot="8716295">
              <a:off x="1439200" y="42967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6F690A0E-19E3-4512-B7F9-01EE4EBA9F6E}"/>
                </a:ext>
              </a:extLst>
            </p:cNvPr>
            <p:cNvSpPr/>
            <p:nvPr/>
          </p:nvSpPr>
          <p:spPr>
            <a:xfrm rot="8716295">
              <a:off x="1420958" y="408668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2D91E14E-69D9-458E-AA57-95A8078F1A19}"/>
                </a:ext>
              </a:extLst>
            </p:cNvPr>
            <p:cNvSpPr/>
            <p:nvPr/>
          </p:nvSpPr>
          <p:spPr>
            <a:xfrm rot="8716295">
              <a:off x="1764734" y="467454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4AA00D19-4A76-4DED-BF30-5DD56557E862}"/>
                </a:ext>
              </a:extLst>
            </p:cNvPr>
            <p:cNvSpPr/>
            <p:nvPr/>
          </p:nvSpPr>
          <p:spPr>
            <a:xfrm rot="8716295">
              <a:off x="2235681" y="409993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CBB48ABD-C4EA-4731-A8E5-5C6B6C5A0C84}"/>
                </a:ext>
              </a:extLst>
            </p:cNvPr>
            <p:cNvSpPr/>
            <p:nvPr/>
          </p:nvSpPr>
          <p:spPr>
            <a:xfrm rot="8716295">
              <a:off x="2370979" y="414419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FCD4CF90-F0E0-483F-9CE2-EAEE6404C598}"/>
                </a:ext>
              </a:extLst>
            </p:cNvPr>
            <p:cNvSpPr/>
            <p:nvPr/>
          </p:nvSpPr>
          <p:spPr>
            <a:xfrm rot="8716295">
              <a:off x="2065810" y="423395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F3A52091-BF4B-4E28-BD12-E3FE0875DBCF}"/>
                </a:ext>
              </a:extLst>
            </p:cNvPr>
            <p:cNvSpPr/>
            <p:nvPr/>
          </p:nvSpPr>
          <p:spPr>
            <a:xfrm rot="8716295">
              <a:off x="1876765" y="391811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75F64C77-DBE2-4786-9809-DB042689E4B6}"/>
                </a:ext>
              </a:extLst>
            </p:cNvPr>
            <p:cNvSpPr/>
            <p:nvPr/>
          </p:nvSpPr>
          <p:spPr>
            <a:xfrm rot="8716295">
              <a:off x="2202298" y="4295933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12F37080-96E6-4BE1-9E48-2B02CD2E20C4}"/>
                </a:ext>
              </a:extLst>
            </p:cNvPr>
            <p:cNvSpPr/>
            <p:nvPr/>
          </p:nvSpPr>
          <p:spPr>
            <a:xfrm rot="8716295">
              <a:off x="1836851" y="406950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BA151B90-2B5B-4D4D-A2AA-26322C46F857}"/>
                </a:ext>
              </a:extLst>
            </p:cNvPr>
            <p:cNvSpPr/>
            <p:nvPr/>
          </p:nvSpPr>
          <p:spPr>
            <a:xfrm rot="7484129">
              <a:off x="2361116" y="458555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0655C4A9-132B-4E8E-AB50-E63B4234234E}"/>
                </a:ext>
              </a:extLst>
            </p:cNvPr>
            <p:cNvSpPr/>
            <p:nvPr/>
          </p:nvSpPr>
          <p:spPr>
            <a:xfrm rot="13089394">
              <a:off x="2519765" y="4534899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51BD05F6-BFFD-42CC-A6C8-403F5F81023E}"/>
                </a:ext>
              </a:extLst>
            </p:cNvPr>
            <p:cNvSpPr/>
            <p:nvPr/>
          </p:nvSpPr>
          <p:spPr>
            <a:xfrm rot="8716295">
              <a:off x="2800656" y="4244781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609B85C6-C9FE-4876-9C99-F8DA190549CF}"/>
                </a:ext>
              </a:extLst>
            </p:cNvPr>
            <p:cNvSpPr/>
            <p:nvPr/>
          </p:nvSpPr>
          <p:spPr>
            <a:xfrm rot="8716295">
              <a:off x="2722247" y="4087989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AB57FACB-9405-4A22-84F1-4CDEB84773AC}"/>
                </a:ext>
              </a:extLst>
            </p:cNvPr>
            <p:cNvSpPr/>
            <p:nvPr/>
          </p:nvSpPr>
          <p:spPr>
            <a:xfrm rot="8716295">
              <a:off x="2354084" y="413373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65AC372A-885B-4835-966A-B09A3AC7B1A3}"/>
                </a:ext>
              </a:extLst>
            </p:cNvPr>
            <p:cNvSpPr/>
            <p:nvPr/>
          </p:nvSpPr>
          <p:spPr>
            <a:xfrm rot="8716295">
              <a:off x="2622665" y="389271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16EC5E3E-C2D3-4E46-B9F8-A7FD4A85025F}"/>
                </a:ext>
              </a:extLst>
            </p:cNvPr>
            <p:cNvSpPr/>
            <p:nvPr/>
          </p:nvSpPr>
          <p:spPr>
            <a:xfrm rot="8716295">
              <a:off x="1836002" y="5051565"/>
              <a:ext cx="229466" cy="172677"/>
            </a:xfrm>
            <a:custGeom>
              <a:avLst/>
              <a:gdLst>
                <a:gd name="connsiteX0" fmla="*/ 37429 w 229466"/>
                <a:gd name="connsiteY0" fmla="*/ 127889 h 172677"/>
                <a:gd name="connsiteX1" fmla="*/ 864 w 229466"/>
                <a:gd name="connsiteY1" fmla="*/ 25330 h 172677"/>
                <a:gd name="connsiteX2" fmla="*/ 0 w 229466"/>
                <a:gd name="connsiteY2" fmla="*/ 0 h 172677"/>
                <a:gd name="connsiteX3" fmla="*/ 229466 w 229466"/>
                <a:gd name="connsiteY3" fmla="*/ 159058 h 172677"/>
                <a:gd name="connsiteX4" fmla="*/ 210504 w 229466"/>
                <a:gd name="connsiteY4" fmla="*/ 164122 h 172677"/>
                <a:gd name="connsiteX5" fmla="*/ 146960 w 229466"/>
                <a:gd name="connsiteY5" fmla="*/ 172414 h 172677"/>
                <a:gd name="connsiteX6" fmla="*/ 37429 w 229466"/>
                <a:gd name="connsiteY6" fmla="*/ 127889 h 172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9466" h="172677">
                  <a:moveTo>
                    <a:pt x="37429" y="127889"/>
                  </a:moveTo>
                  <a:cubicBezTo>
                    <a:pt x="14722" y="105850"/>
                    <a:pt x="4537" y="71789"/>
                    <a:pt x="864" y="25330"/>
                  </a:cubicBezTo>
                  <a:lnTo>
                    <a:pt x="0" y="0"/>
                  </a:lnTo>
                  <a:lnTo>
                    <a:pt x="229466" y="159058"/>
                  </a:lnTo>
                  <a:lnTo>
                    <a:pt x="210504" y="164122"/>
                  </a:lnTo>
                  <a:cubicBezTo>
                    <a:pt x="187032" y="168685"/>
                    <a:pt x="165437" y="171301"/>
                    <a:pt x="146960" y="172414"/>
                  </a:cubicBezTo>
                  <a:cubicBezTo>
                    <a:pt x="105998" y="175086"/>
                    <a:pt x="65926" y="157276"/>
                    <a:pt x="37429" y="12788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F08DD499-2506-4E8C-B26B-EF1D8CEA3AA9}"/>
                </a:ext>
              </a:extLst>
            </p:cNvPr>
            <p:cNvSpPr/>
            <p:nvPr/>
          </p:nvSpPr>
          <p:spPr>
            <a:xfrm rot="8716295">
              <a:off x="2865171" y="5107739"/>
              <a:ext cx="36955" cy="50812"/>
            </a:xfrm>
            <a:custGeom>
              <a:avLst/>
              <a:gdLst>
                <a:gd name="connsiteX0" fmla="*/ 0 w 36955"/>
                <a:gd name="connsiteY0" fmla="*/ 50812 h 50812"/>
                <a:gd name="connsiteX1" fmla="*/ 0 w 36955"/>
                <a:gd name="connsiteY1" fmla="*/ 0 h 50812"/>
                <a:gd name="connsiteX2" fmla="*/ 36955 w 36955"/>
                <a:gd name="connsiteY2" fmla="*/ 25616 h 50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955" h="50812">
                  <a:moveTo>
                    <a:pt x="0" y="50812"/>
                  </a:moveTo>
                  <a:lnTo>
                    <a:pt x="0" y="0"/>
                  </a:lnTo>
                  <a:lnTo>
                    <a:pt x="36955" y="256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D6EEB4E8-6237-4C85-A670-00A3A02268AB}"/>
                </a:ext>
              </a:extLst>
            </p:cNvPr>
            <p:cNvSpPr/>
            <p:nvPr/>
          </p:nvSpPr>
          <p:spPr>
            <a:xfrm rot="8716295">
              <a:off x="2291544" y="4886156"/>
              <a:ext cx="209028" cy="296463"/>
            </a:xfrm>
            <a:custGeom>
              <a:avLst/>
              <a:gdLst>
                <a:gd name="connsiteX0" fmla="*/ 137293 w 209028"/>
                <a:gd name="connsiteY0" fmla="*/ 296463 h 296463"/>
                <a:gd name="connsiteX1" fmla="*/ 72418 w 209028"/>
                <a:gd name="connsiteY1" fmla="*/ 175766 h 296463"/>
                <a:gd name="connsiteX2" fmla="*/ 105610 w 209028"/>
                <a:gd name="connsiteY2" fmla="*/ 83734 h 296463"/>
                <a:gd name="connsiteX3" fmla="*/ 0 w 209028"/>
                <a:gd name="connsiteY3" fmla="*/ 83734 h 296463"/>
                <a:gd name="connsiteX4" fmla="*/ 0 w 209028"/>
                <a:gd name="connsiteY4" fmla="*/ 0 h 296463"/>
                <a:gd name="connsiteX5" fmla="*/ 82199 w 209028"/>
                <a:gd name="connsiteY5" fmla="*/ 0 h 296463"/>
                <a:gd name="connsiteX6" fmla="*/ 209028 w 209028"/>
                <a:gd name="connsiteY6" fmla="*/ 87913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028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82199" y="0"/>
                  </a:lnTo>
                  <a:lnTo>
                    <a:pt x="209028" y="8791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75A29BD1-A3F5-48BC-80D8-DAC3DEE5842D}"/>
                </a:ext>
              </a:extLst>
            </p:cNvPr>
            <p:cNvSpPr/>
            <p:nvPr/>
          </p:nvSpPr>
          <p:spPr>
            <a:xfrm rot="8716295">
              <a:off x="2159594" y="5061280"/>
              <a:ext cx="112869" cy="105684"/>
            </a:xfrm>
            <a:custGeom>
              <a:avLst/>
              <a:gdLst>
                <a:gd name="connsiteX0" fmla="*/ 17362 w 112869"/>
                <a:gd name="connsiteY0" fmla="*/ 89236 h 105684"/>
                <a:gd name="connsiteX1" fmla="*/ 0 w 112869"/>
                <a:gd name="connsiteY1" fmla="*/ 48117 h 105684"/>
                <a:gd name="connsiteX2" fmla="*/ 0 w 112869"/>
                <a:gd name="connsiteY2" fmla="*/ 47203 h 105684"/>
                <a:gd name="connsiteX3" fmla="*/ 17362 w 112869"/>
                <a:gd name="connsiteY3" fmla="*/ 6084 h 105684"/>
                <a:gd name="connsiteX4" fmla="*/ 31771 w 112869"/>
                <a:gd name="connsiteY4" fmla="*/ 0 h 105684"/>
                <a:gd name="connsiteX5" fmla="*/ 112869 w 112869"/>
                <a:gd name="connsiteY5" fmla="*/ 56215 h 105684"/>
                <a:gd name="connsiteX6" fmla="*/ 99601 w 112869"/>
                <a:gd name="connsiteY6" fmla="*/ 88323 h 105684"/>
                <a:gd name="connsiteX7" fmla="*/ 58481 w 112869"/>
                <a:gd name="connsiteY7" fmla="*/ 105684 h 105684"/>
                <a:gd name="connsiteX8" fmla="*/ 17362 w 112869"/>
                <a:gd name="connsiteY8" fmla="*/ 89236 h 105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869" h="105684">
                  <a:moveTo>
                    <a:pt x="17362" y="89236"/>
                  </a:moveTo>
                  <a:cubicBezTo>
                    <a:pt x="6397" y="78271"/>
                    <a:pt x="0" y="63651"/>
                    <a:pt x="0" y="48117"/>
                  </a:cubicBezTo>
                  <a:lnTo>
                    <a:pt x="0" y="47203"/>
                  </a:lnTo>
                  <a:cubicBezTo>
                    <a:pt x="0" y="31669"/>
                    <a:pt x="6397" y="17049"/>
                    <a:pt x="17362" y="6084"/>
                  </a:cubicBezTo>
                  <a:lnTo>
                    <a:pt x="31771" y="0"/>
                  </a:lnTo>
                  <a:lnTo>
                    <a:pt x="112869" y="56215"/>
                  </a:lnTo>
                  <a:lnTo>
                    <a:pt x="99601" y="88323"/>
                  </a:lnTo>
                  <a:cubicBezTo>
                    <a:pt x="88636" y="99288"/>
                    <a:pt x="74015" y="105684"/>
                    <a:pt x="58481" y="105684"/>
                  </a:cubicBezTo>
                  <a:cubicBezTo>
                    <a:pt x="42947" y="105684"/>
                    <a:pt x="28327" y="100202"/>
                    <a:pt x="17362" y="8923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758380ED-469C-45F2-855D-EE8309CFADD8}"/>
                </a:ext>
              </a:extLst>
            </p:cNvPr>
            <p:cNvSpPr/>
            <p:nvPr/>
          </p:nvSpPr>
          <p:spPr>
            <a:xfrm rot="8716295">
              <a:off x="3051941" y="5073759"/>
              <a:ext cx="145251" cy="115110"/>
            </a:xfrm>
            <a:custGeom>
              <a:avLst/>
              <a:gdLst>
                <a:gd name="connsiteX0" fmla="*/ 26453 w 145251"/>
                <a:gd name="connsiteY0" fmla="*/ 90050 h 115110"/>
                <a:gd name="connsiteX1" fmla="*/ 0 w 145251"/>
                <a:gd name="connsiteY1" fmla="*/ 27401 h 115110"/>
                <a:gd name="connsiteX2" fmla="*/ 0 w 145251"/>
                <a:gd name="connsiteY2" fmla="*/ 26008 h 115110"/>
                <a:gd name="connsiteX3" fmla="*/ 10982 w 145251"/>
                <a:gd name="connsiteY3" fmla="*/ 0 h 115110"/>
                <a:gd name="connsiteX4" fmla="*/ 145251 w 145251"/>
                <a:gd name="connsiteY4" fmla="*/ 93071 h 115110"/>
                <a:gd name="connsiteX5" fmla="*/ 123037 w 145251"/>
                <a:gd name="connsiteY5" fmla="*/ 108149 h 115110"/>
                <a:gd name="connsiteX6" fmla="*/ 89101 w 145251"/>
                <a:gd name="connsiteY6" fmla="*/ 115110 h 115110"/>
                <a:gd name="connsiteX7" fmla="*/ 26453 w 145251"/>
                <a:gd name="connsiteY7" fmla="*/ 90050 h 11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5251" h="115110">
                  <a:moveTo>
                    <a:pt x="26453" y="90050"/>
                  </a:moveTo>
                  <a:cubicBezTo>
                    <a:pt x="9746" y="73344"/>
                    <a:pt x="0" y="51068"/>
                    <a:pt x="0" y="27401"/>
                  </a:cubicBezTo>
                  <a:lnTo>
                    <a:pt x="0" y="26008"/>
                  </a:lnTo>
                  <a:lnTo>
                    <a:pt x="10982" y="0"/>
                  </a:lnTo>
                  <a:lnTo>
                    <a:pt x="145251" y="93071"/>
                  </a:lnTo>
                  <a:lnTo>
                    <a:pt x="123037" y="108149"/>
                  </a:lnTo>
                  <a:cubicBezTo>
                    <a:pt x="112421" y="112674"/>
                    <a:pt x="100936" y="115110"/>
                    <a:pt x="89101" y="115110"/>
                  </a:cubicBezTo>
                  <a:cubicBezTo>
                    <a:pt x="65434" y="115110"/>
                    <a:pt x="43159" y="106756"/>
                    <a:pt x="26453" y="900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D2FD6770-3791-4A82-87D2-F41D30AA61F3}"/>
                </a:ext>
              </a:extLst>
            </p:cNvPr>
            <p:cNvSpPr/>
            <p:nvPr/>
          </p:nvSpPr>
          <p:spPr>
            <a:xfrm rot="8716295">
              <a:off x="2953631" y="488922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109B9DB6-A180-42FF-BEBB-6114EE67841E}"/>
                </a:ext>
              </a:extLst>
            </p:cNvPr>
            <p:cNvSpPr/>
            <p:nvPr/>
          </p:nvSpPr>
          <p:spPr>
            <a:xfrm rot="8716295">
              <a:off x="1125067" y="247965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D4702D56-6C32-4790-8116-5036F59380ED}"/>
                </a:ext>
              </a:extLst>
            </p:cNvPr>
            <p:cNvSpPr/>
            <p:nvPr/>
          </p:nvSpPr>
          <p:spPr>
            <a:xfrm rot="8716295">
              <a:off x="1260365" y="252391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55878CEF-C667-4CA0-83B8-66D034466A4C}"/>
                </a:ext>
              </a:extLst>
            </p:cNvPr>
            <p:cNvSpPr/>
            <p:nvPr/>
          </p:nvSpPr>
          <p:spPr>
            <a:xfrm rot="8716295">
              <a:off x="1192483" y="2393326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E6E1C2BC-10AA-4F2A-83E2-85D799983A4B}"/>
                </a:ext>
              </a:extLst>
            </p:cNvPr>
            <p:cNvSpPr/>
            <p:nvPr/>
          </p:nvSpPr>
          <p:spPr>
            <a:xfrm rot="8716295">
              <a:off x="955196" y="261367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6DA02057-79DE-4340-93FA-D8616C8993CD}"/>
                </a:ext>
              </a:extLst>
            </p:cNvPr>
            <p:cNvSpPr/>
            <p:nvPr/>
          </p:nvSpPr>
          <p:spPr>
            <a:xfrm rot="8716295">
              <a:off x="766149" y="229783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F3D3F9A3-B786-4BB9-92E8-BAA2206B9AFB}"/>
                </a:ext>
              </a:extLst>
            </p:cNvPr>
            <p:cNvSpPr/>
            <p:nvPr/>
          </p:nvSpPr>
          <p:spPr>
            <a:xfrm rot="8716295">
              <a:off x="747908" y="2087785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777BD4C8-2DD8-47D0-9247-9DDE2E15298C}"/>
                </a:ext>
              </a:extLst>
            </p:cNvPr>
            <p:cNvSpPr/>
            <p:nvPr/>
          </p:nvSpPr>
          <p:spPr>
            <a:xfrm rot="8716295">
              <a:off x="1091684" y="2675653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orme libre : forme 58">
              <a:extLst>
                <a:ext uri="{FF2B5EF4-FFF2-40B4-BE49-F238E27FC236}">
                  <a16:creationId xmlns:a16="http://schemas.microsoft.com/office/drawing/2014/main" id="{A1948EB1-3E61-48E9-872F-CED3F8D5CC5E}"/>
                </a:ext>
              </a:extLst>
            </p:cNvPr>
            <p:cNvSpPr/>
            <p:nvPr/>
          </p:nvSpPr>
          <p:spPr>
            <a:xfrm rot="8716295">
              <a:off x="1562630" y="210103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orme libre : forme 59">
              <a:extLst>
                <a:ext uri="{FF2B5EF4-FFF2-40B4-BE49-F238E27FC236}">
                  <a16:creationId xmlns:a16="http://schemas.microsoft.com/office/drawing/2014/main" id="{AF9F2A1A-5C85-4204-9B23-373EE49CB276}"/>
                </a:ext>
              </a:extLst>
            </p:cNvPr>
            <p:cNvSpPr/>
            <p:nvPr/>
          </p:nvSpPr>
          <p:spPr>
            <a:xfrm rot="8716295">
              <a:off x="1697929" y="214529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orme libre : forme 60">
              <a:extLst>
                <a:ext uri="{FF2B5EF4-FFF2-40B4-BE49-F238E27FC236}">
                  <a16:creationId xmlns:a16="http://schemas.microsoft.com/office/drawing/2014/main" id="{4763868B-B7EF-4B8B-B818-D645A2592C05}"/>
                </a:ext>
              </a:extLst>
            </p:cNvPr>
            <p:cNvSpPr/>
            <p:nvPr/>
          </p:nvSpPr>
          <p:spPr>
            <a:xfrm rot="8716295">
              <a:off x="1392759" y="223505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orme libre : forme 61">
              <a:extLst>
                <a:ext uri="{FF2B5EF4-FFF2-40B4-BE49-F238E27FC236}">
                  <a16:creationId xmlns:a16="http://schemas.microsoft.com/office/drawing/2014/main" id="{046CA86F-6D3D-407A-B321-54764D2D59CB}"/>
                </a:ext>
              </a:extLst>
            </p:cNvPr>
            <p:cNvSpPr/>
            <p:nvPr/>
          </p:nvSpPr>
          <p:spPr>
            <a:xfrm rot="8716295">
              <a:off x="1203715" y="191921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orme libre : forme 62">
              <a:extLst>
                <a:ext uri="{FF2B5EF4-FFF2-40B4-BE49-F238E27FC236}">
                  <a16:creationId xmlns:a16="http://schemas.microsoft.com/office/drawing/2014/main" id="{AFD12AFD-CB5D-4640-9FE9-92C355A72778}"/>
                </a:ext>
              </a:extLst>
            </p:cNvPr>
            <p:cNvSpPr/>
            <p:nvPr/>
          </p:nvSpPr>
          <p:spPr>
            <a:xfrm rot="8716295">
              <a:off x="1529248" y="2297037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orme libre : forme 63">
              <a:extLst>
                <a:ext uri="{FF2B5EF4-FFF2-40B4-BE49-F238E27FC236}">
                  <a16:creationId xmlns:a16="http://schemas.microsoft.com/office/drawing/2014/main" id="{59BA9B88-1225-4DFD-8724-1F80AE18C3C2}"/>
                </a:ext>
              </a:extLst>
            </p:cNvPr>
            <p:cNvSpPr/>
            <p:nvPr/>
          </p:nvSpPr>
          <p:spPr>
            <a:xfrm rot="8716295">
              <a:off x="1163801" y="2070611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orme libre : forme 64">
              <a:extLst>
                <a:ext uri="{FF2B5EF4-FFF2-40B4-BE49-F238E27FC236}">
                  <a16:creationId xmlns:a16="http://schemas.microsoft.com/office/drawing/2014/main" id="{1F6A3148-93CD-4912-914F-8421DD424A09}"/>
                </a:ext>
              </a:extLst>
            </p:cNvPr>
            <p:cNvSpPr/>
            <p:nvPr/>
          </p:nvSpPr>
          <p:spPr>
            <a:xfrm rot="7484129">
              <a:off x="1688065" y="258665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orme libre : forme 65">
              <a:extLst>
                <a:ext uri="{FF2B5EF4-FFF2-40B4-BE49-F238E27FC236}">
                  <a16:creationId xmlns:a16="http://schemas.microsoft.com/office/drawing/2014/main" id="{0BDE36BD-7206-4F9A-9356-56E83345F790}"/>
                </a:ext>
              </a:extLst>
            </p:cNvPr>
            <p:cNvSpPr/>
            <p:nvPr/>
          </p:nvSpPr>
          <p:spPr>
            <a:xfrm rot="13089394">
              <a:off x="1846715" y="2536003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orme libre : forme 66">
              <a:extLst>
                <a:ext uri="{FF2B5EF4-FFF2-40B4-BE49-F238E27FC236}">
                  <a16:creationId xmlns:a16="http://schemas.microsoft.com/office/drawing/2014/main" id="{6239D104-F777-403D-9315-E21DA6A3EEC6}"/>
                </a:ext>
              </a:extLst>
            </p:cNvPr>
            <p:cNvSpPr/>
            <p:nvPr/>
          </p:nvSpPr>
          <p:spPr>
            <a:xfrm rot="8716295">
              <a:off x="2127606" y="2245885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7D0AE68E-C325-4D34-A9E9-2281E6887FAE}"/>
                </a:ext>
              </a:extLst>
            </p:cNvPr>
            <p:cNvSpPr/>
            <p:nvPr/>
          </p:nvSpPr>
          <p:spPr>
            <a:xfrm rot="8716295">
              <a:off x="2049197" y="208909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orme libre : forme 68">
              <a:extLst>
                <a:ext uri="{FF2B5EF4-FFF2-40B4-BE49-F238E27FC236}">
                  <a16:creationId xmlns:a16="http://schemas.microsoft.com/office/drawing/2014/main" id="{951597CD-8FD0-420C-8BE6-25D28A25DDE8}"/>
                </a:ext>
              </a:extLst>
            </p:cNvPr>
            <p:cNvSpPr/>
            <p:nvPr/>
          </p:nvSpPr>
          <p:spPr>
            <a:xfrm rot="8716295">
              <a:off x="1681033" y="21348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orme libre : forme 69">
              <a:extLst>
                <a:ext uri="{FF2B5EF4-FFF2-40B4-BE49-F238E27FC236}">
                  <a16:creationId xmlns:a16="http://schemas.microsoft.com/office/drawing/2014/main" id="{A7CD329F-8CED-4DA2-A304-EE2009E4062D}"/>
                </a:ext>
              </a:extLst>
            </p:cNvPr>
            <p:cNvSpPr/>
            <p:nvPr/>
          </p:nvSpPr>
          <p:spPr>
            <a:xfrm rot="8716295">
              <a:off x="1949615" y="189381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orme libre : forme 70">
              <a:extLst>
                <a:ext uri="{FF2B5EF4-FFF2-40B4-BE49-F238E27FC236}">
                  <a16:creationId xmlns:a16="http://schemas.microsoft.com/office/drawing/2014/main" id="{D4BADD55-B2B9-4053-A92A-A804648D0A9D}"/>
                </a:ext>
              </a:extLst>
            </p:cNvPr>
            <p:cNvSpPr/>
            <p:nvPr/>
          </p:nvSpPr>
          <p:spPr>
            <a:xfrm rot="8716295">
              <a:off x="787294" y="148117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orme libre : forme 71">
              <a:extLst>
                <a:ext uri="{FF2B5EF4-FFF2-40B4-BE49-F238E27FC236}">
                  <a16:creationId xmlns:a16="http://schemas.microsoft.com/office/drawing/2014/main" id="{313FE4B5-4E98-415B-AE99-26EEB0846C87}"/>
                </a:ext>
              </a:extLst>
            </p:cNvPr>
            <p:cNvSpPr/>
            <p:nvPr/>
          </p:nvSpPr>
          <p:spPr>
            <a:xfrm rot="8716295">
              <a:off x="922592" y="152543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orme libre : forme 72">
              <a:extLst>
                <a:ext uri="{FF2B5EF4-FFF2-40B4-BE49-F238E27FC236}">
                  <a16:creationId xmlns:a16="http://schemas.microsoft.com/office/drawing/2014/main" id="{2E069437-A0B3-49B8-BC79-1EE3FD296BEA}"/>
                </a:ext>
              </a:extLst>
            </p:cNvPr>
            <p:cNvSpPr/>
            <p:nvPr/>
          </p:nvSpPr>
          <p:spPr>
            <a:xfrm rot="8716295">
              <a:off x="854710" y="1394843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" name="Forme libre : forme 73">
              <a:extLst>
                <a:ext uri="{FF2B5EF4-FFF2-40B4-BE49-F238E27FC236}">
                  <a16:creationId xmlns:a16="http://schemas.microsoft.com/office/drawing/2014/main" id="{6B76B21D-C865-4228-A4DA-51B112FED31F}"/>
                </a:ext>
              </a:extLst>
            </p:cNvPr>
            <p:cNvSpPr/>
            <p:nvPr/>
          </p:nvSpPr>
          <p:spPr>
            <a:xfrm rot="8716295">
              <a:off x="617423" y="161518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" name="Forme libre : forme 74">
              <a:extLst>
                <a:ext uri="{FF2B5EF4-FFF2-40B4-BE49-F238E27FC236}">
                  <a16:creationId xmlns:a16="http://schemas.microsoft.com/office/drawing/2014/main" id="{9C509C7D-5C6F-42FB-9A15-E611792EFEA1}"/>
                </a:ext>
              </a:extLst>
            </p:cNvPr>
            <p:cNvSpPr/>
            <p:nvPr/>
          </p:nvSpPr>
          <p:spPr>
            <a:xfrm rot="8716295">
              <a:off x="428376" y="129935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" name="Forme libre : forme 75">
              <a:extLst>
                <a:ext uri="{FF2B5EF4-FFF2-40B4-BE49-F238E27FC236}">
                  <a16:creationId xmlns:a16="http://schemas.microsoft.com/office/drawing/2014/main" id="{25514701-F05E-45CE-9E8C-F263D950578E}"/>
                </a:ext>
              </a:extLst>
            </p:cNvPr>
            <p:cNvSpPr/>
            <p:nvPr/>
          </p:nvSpPr>
          <p:spPr>
            <a:xfrm rot="8716295">
              <a:off x="410135" y="1089302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" name="Forme libre : forme 76">
              <a:extLst>
                <a:ext uri="{FF2B5EF4-FFF2-40B4-BE49-F238E27FC236}">
                  <a16:creationId xmlns:a16="http://schemas.microsoft.com/office/drawing/2014/main" id="{4F1DD0BF-A36A-4AF7-BAF7-588D33FE30E2}"/>
                </a:ext>
              </a:extLst>
            </p:cNvPr>
            <p:cNvSpPr/>
            <p:nvPr/>
          </p:nvSpPr>
          <p:spPr>
            <a:xfrm rot="8716295">
              <a:off x="753911" y="1677170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" name="Forme libre : forme 77">
              <a:extLst>
                <a:ext uri="{FF2B5EF4-FFF2-40B4-BE49-F238E27FC236}">
                  <a16:creationId xmlns:a16="http://schemas.microsoft.com/office/drawing/2014/main" id="{86EB67B0-A057-4D07-8844-7A83556C99CC}"/>
                </a:ext>
              </a:extLst>
            </p:cNvPr>
            <p:cNvSpPr/>
            <p:nvPr/>
          </p:nvSpPr>
          <p:spPr>
            <a:xfrm rot="8716295">
              <a:off x="1224858" y="1102556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orme libre : forme 78">
              <a:extLst>
                <a:ext uri="{FF2B5EF4-FFF2-40B4-BE49-F238E27FC236}">
                  <a16:creationId xmlns:a16="http://schemas.microsoft.com/office/drawing/2014/main" id="{8B1E7611-C4A8-43A8-BF26-46C4341A14DB}"/>
                </a:ext>
              </a:extLst>
            </p:cNvPr>
            <p:cNvSpPr/>
            <p:nvPr/>
          </p:nvSpPr>
          <p:spPr>
            <a:xfrm rot="8716295">
              <a:off x="1360156" y="1146815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Forme libre : forme 79">
              <a:extLst>
                <a:ext uri="{FF2B5EF4-FFF2-40B4-BE49-F238E27FC236}">
                  <a16:creationId xmlns:a16="http://schemas.microsoft.com/office/drawing/2014/main" id="{BEBD671E-1FA5-4603-8F2B-FA9516AF8638}"/>
                </a:ext>
              </a:extLst>
            </p:cNvPr>
            <p:cNvSpPr/>
            <p:nvPr/>
          </p:nvSpPr>
          <p:spPr>
            <a:xfrm rot="8716295">
              <a:off x="1054986" y="123657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" name="Forme libre : forme 80">
              <a:extLst>
                <a:ext uri="{FF2B5EF4-FFF2-40B4-BE49-F238E27FC236}">
                  <a16:creationId xmlns:a16="http://schemas.microsoft.com/office/drawing/2014/main" id="{F6AD6C56-BF4C-4518-8F9A-D5095F4E40C8}"/>
                </a:ext>
              </a:extLst>
            </p:cNvPr>
            <p:cNvSpPr/>
            <p:nvPr/>
          </p:nvSpPr>
          <p:spPr>
            <a:xfrm rot="8716295">
              <a:off x="865942" y="92073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orme libre : forme 81">
              <a:extLst>
                <a:ext uri="{FF2B5EF4-FFF2-40B4-BE49-F238E27FC236}">
                  <a16:creationId xmlns:a16="http://schemas.microsoft.com/office/drawing/2014/main" id="{4181F286-2CA0-4AF5-9316-EE2B4FDBB08E}"/>
                </a:ext>
              </a:extLst>
            </p:cNvPr>
            <p:cNvSpPr/>
            <p:nvPr/>
          </p:nvSpPr>
          <p:spPr>
            <a:xfrm rot="8716295">
              <a:off x="1191475" y="1298554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Forme libre : forme 82">
              <a:extLst>
                <a:ext uri="{FF2B5EF4-FFF2-40B4-BE49-F238E27FC236}">
                  <a16:creationId xmlns:a16="http://schemas.microsoft.com/office/drawing/2014/main" id="{6E154404-167F-4146-9BEC-311C41267A4F}"/>
                </a:ext>
              </a:extLst>
            </p:cNvPr>
            <p:cNvSpPr/>
            <p:nvPr/>
          </p:nvSpPr>
          <p:spPr>
            <a:xfrm rot="8716295">
              <a:off x="826028" y="1072128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4" name="Forme libre : forme 83">
              <a:extLst>
                <a:ext uri="{FF2B5EF4-FFF2-40B4-BE49-F238E27FC236}">
                  <a16:creationId xmlns:a16="http://schemas.microsoft.com/office/drawing/2014/main" id="{E6806809-8D8F-4EE1-BB26-3F2C826B2E90}"/>
                </a:ext>
              </a:extLst>
            </p:cNvPr>
            <p:cNvSpPr/>
            <p:nvPr/>
          </p:nvSpPr>
          <p:spPr>
            <a:xfrm rot="7484129">
              <a:off x="1350292" y="158817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5" name="Forme libre : forme 84">
              <a:extLst>
                <a:ext uri="{FF2B5EF4-FFF2-40B4-BE49-F238E27FC236}">
                  <a16:creationId xmlns:a16="http://schemas.microsoft.com/office/drawing/2014/main" id="{8AA32DBC-713F-46C2-9609-C454BB2EBAAE}"/>
                </a:ext>
              </a:extLst>
            </p:cNvPr>
            <p:cNvSpPr/>
            <p:nvPr/>
          </p:nvSpPr>
          <p:spPr>
            <a:xfrm rot="13089394">
              <a:off x="1508942" y="1537520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6" name="Forme libre : forme 85">
              <a:extLst>
                <a:ext uri="{FF2B5EF4-FFF2-40B4-BE49-F238E27FC236}">
                  <a16:creationId xmlns:a16="http://schemas.microsoft.com/office/drawing/2014/main" id="{51EBFD3A-7611-46FF-AE7D-0AC9AF9511B5}"/>
                </a:ext>
              </a:extLst>
            </p:cNvPr>
            <p:cNvSpPr/>
            <p:nvPr/>
          </p:nvSpPr>
          <p:spPr>
            <a:xfrm rot="8716295">
              <a:off x="1789833" y="1247402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7" name="Forme libre : forme 86">
              <a:extLst>
                <a:ext uri="{FF2B5EF4-FFF2-40B4-BE49-F238E27FC236}">
                  <a16:creationId xmlns:a16="http://schemas.microsoft.com/office/drawing/2014/main" id="{7BC619E6-2AA2-4557-84AC-D6D182B996C5}"/>
                </a:ext>
              </a:extLst>
            </p:cNvPr>
            <p:cNvSpPr/>
            <p:nvPr/>
          </p:nvSpPr>
          <p:spPr>
            <a:xfrm rot="8716295">
              <a:off x="1711424" y="109061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8" name="Forme libre : forme 87">
              <a:extLst>
                <a:ext uri="{FF2B5EF4-FFF2-40B4-BE49-F238E27FC236}">
                  <a16:creationId xmlns:a16="http://schemas.microsoft.com/office/drawing/2014/main" id="{F81A7437-8336-4876-95A7-BD572FAED152}"/>
                </a:ext>
              </a:extLst>
            </p:cNvPr>
            <p:cNvSpPr/>
            <p:nvPr/>
          </p:nvSpPr>
          <p:spPr>
            <a:xfrm rot="8716295">
              <a:off x="1343261" y="113635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9" name="Forme libre : forme 88">
              <a:extLst>
                <a:ext uri="{FF2B5EF4-FFF2-40B4-BE49-F238E27FC236}">
                  <a16:creationId xmlns:a16="http://schemas.microsoft.com/office/drawing/2014/main" id="{B70DD9BD-1FC9-4B98-8769-B37CAAFCEC17}"/>
                </a:ext>
              </a:extLst>
            </p:cNvPr>
            <p:cNvSpPr/>
            <p:nvPr/>
          </p:nvSpPr>
          <p:spPr>
            <a:xfrm rot="8716295">
              <a:off x="1611842" y="89533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" name="Forme libre : forme 89">
              <a:extLst>
                <a:ext uri="{FF2B5EF4-FFF2-40B4-BE49-F238E27FC236}">
                  <a16:creationId xmlns:a16="http://schemas.microsoft.com/office/drawing/2014/main" id="{DC2940E5-7415-40BB-B706-4016B27C3DB2}"/>
                </a:ext>
              </a:extLst>
            </p:cNvPr>
            <p:cNvSpPr/>
            <p:nvPr/>
          </p:nvSpPr>
          <p:spPr>
            <a:xfrm rot="8716295">
              <a:off x="455920" y="47911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" name="Forme libre : forme 90">
              <a:extLst>
                <a:ext uri="{FF2B5EF4-FFF2-40B4-BE49-F238E27FC236}">
                  <a16:creationId xmlns:a16="http://schemas.microsoft.com/office/drawing/2014/main" id="{52585AAE-B2D0-438C-BC9F-C750F15F890C}"/>
                </a:ext>
              </a:extLst>
            </p:cNvPr>
            <p:cNvSpPr/>
            <p:nvPr/>
          </p:nvSpPr>
          <p:spPr>
            <a:xfrm rot="8716295">
              <a:off x="591219" y="52337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" name="Forme libre : forme 91">
              <a:extLst>
                <a:ext uri="{FF2B5EF4-FFF2-40B4-BE49-F238E27FC236}">
                  <a16:creationId xmlns:a16="http://schemas.microsoft.com/office/drawing/2014/main" id="{E63C71D8-D175-46A8-AA42-AB77BF57CFF3}"/>
                </a:ext>
              </a:extLst>
            </p:cNvPr>
            <p:cNvSpPr/>
            <p:nvPr/>
          </p:nvSpPr>
          <p:spPr>
            <a:xfrm rot="8716295">
              <a:off x="523336" y="39278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" name="Forme libre : forme 92">
              <a:extLst>
                <a:ext uri="{FF2B5EF4-FFF2-40B4-BE49-F238E27FC236}">
                  <a16:creationId xmlns:a16="http://schemas.microsoft.com/office/drawing/2014/main" id="{C200F3C8-A4FA-4E06-9F43-7329A49AF0A1}"/>
                </a:ext>
              </a:extLst>
            </p:cNvPr>
            <p:cNvSpPr/>
            <p:nvPr/>
          </p:nvSpPr>
          <p:spPr>
            <a:xfrm rot="8716295">
              <a:off x="286049" y="6131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" name="Forme libre : forme 93">
              <a:extLst>
                <a:ext uri="{FF2B5EF4-FFF2-40B4-BE49-F238E27FC236}">
                  <a16:creationId xmlns:a16="http://schemas.microsoft.com/office/drawing/2014/main" id="{154A22C5-EC1E-43BA-ACAF-79BC6F3D576D}"/>
                </a:ext>
              </a:extLst>
            </p:cNvPr>
            <p:cNvSpPr/>
            <p:nvPr/>
          </p:nvSpPr>
          <p:spPr>
            <a:xfrm rot="8716295">
              <a:off x="97003" y="2972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orme libre : forme 94">
              <a:extLst>
                <a:ext uri="{FF2B5EF4-FFF2-40B4-BE49-F238E27FC236}">
                  <a16:creationId xmlns:a16="http://schemas.microsoft.com/office/drawing/2014/main" id="{046AC798-93FA-43CE-B018-2724737AFAB7}"/>
                </a:ext>
              </a:extLst>
            </p:cNvPr>
            <p:cNvSpPr/>
            <p:nvPr/>
          </p:nvSpPr>
          <p:spPr>
            <a:xfrm rot="8716295">
              <a:off x="78761" y="87249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Forme libre : forme 95">
              <a:extLst>
                <a:ext uri="{FF2B5EF4-FFF2-40B4-BE49-F238E27FC236}">
                  <a16:creationId xmlns:a16="http://schemas.microsoft.com/office/drawing/2014/main" id="{7EB63D12-C97A-4806-9B7E-492DAF5A8D97}"/>
                </a:ext>
              </a:extLst>
            </p:cNvPr>
            <p:cNvSpPr/>
            <p:nvPr/>
          </p:nvSpPr>
          <p:spPr>
            <a:xfrm rot="8716295">
              <a:off x="422537" y="67511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" name="Forme libre : forme 96">
              <a:extLst>
                <a:ext uri="{FF2B5EF4-FFF2-40B4-BE49-F238E27FC236}">
                  <a16:creationId xmlns:a16="http://schemas.microsoft.com/office/drawing/2014/main" id="{1806B75B-8705-4074-AEFF-3715A3B4A58C}"/>
                </a:ext>
              </a:extLst>
            </p:cNvPr>
            <p:cNvSpPr/>
            <p:nvPr/>
          </p:nvSpPr>
          <p:spPr>
            <a:xfrm rot="8716295">
              <a:off x="893484" y="10050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" name="Forme libre : forme 97">
              <a:extLst>
                <a:ext uri="{FF2B5EF4-FFF2-40B4-BE49-F238E27FC236}">
                  <a16:creationId xmlns:a16="http://schemas.microsoft.com/office/drawing/2014/main" id="{AB690B93-68A6-412B-BE9D-7BF4A62DFBAE}"/>
                </a:ext>
              </a:extLst>
            </p:cNvPr>
            <p:cNvSpPr/>
            <p:nvPr/>
          </p:nvSpPr>
          <p:spPr>
            <a:xfrm rot="8716295">
              <a:off x="1028783" y="14476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" name="Forme libre : forme 98">
              <a:extLst>
                <a:ext uri="{FF2B5EF4-FFF2-40B4-BE49-F238E27FC236}">
                  <a16:creationId xmlns:a16="http://schemas.microsoft.com/office/drawing/2014/main" id="{CF4399C2-6A4B-4B09-A803-90528B9B6BB5}"/>
                </a:ext>
              </a:extLst>
            </p:cNvPr>
            <p:cNvSpPr/>
            <p:nvPr/>
          </p:nvSpPr>
          <p:spPr>
            <a:xfrm rot="8716295">
              <a:off x="723613" y="23451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orme libre : forme 99">
              <a:extLst>
                <a:ext uri="{FF2B5EF4-FFF2-40B4-BE49-F238E27FC236}">
                  <a16:creationId xmlns:a16="http://schemas.microsoft.com/office/drawing/2014/main" id="{244D8443-8208-40F5-B1CF-110ABB79D7E7}"/>
                </a:ext>
              </a:extLst>
            </p:cNvPr>
            <p:cNvSpPr/>
            <p:nvPr/>
          </p:nvSpPr>
          <p:spPr>
            <a:xfrm rot="8716295">
              <a:off x="547803" y="-17289"/>
              <a:ext cx="308531" cy="226033"/>
            </a:xfrm>
            <a:custGeom>
              <a:avLst/>
              <a:gdLst>
                <a:gd name="connsiteX0" fmla="*/ 106716 w 203847"/>
                <a:gd name="connsiteY0" fmla="*/ 149340 h 149340"/>
                <a:gd name="connsiteX1" fmla="*/ 50038 w 203847"/>
                <a:gd name="connsiteY1" fmla="*/ 110053 h 149340"/>
                <a:gd name="connsiteX2" fmla="*/ 69777 w 203847"/>
                <a:gd name="connsiteY2" fmla="*/ 55323 h 149340"/>
                <a:gd name="connsiteX3" fmla="*/ 0 w 203847"/>
                <a:gd name="connsiteY3" fmla="*/ 55323 h 149340"/>
                <a:gd name="connsiteX4" fmla="*/ 0 w 203847"/>
                <a:gd name="connsiteY4" fmla="*/ 0 h 149340"/>
                <a:gd name="connsiteX5" fmla="*/ 203847 w 203847"/>
                <a:gd name="connsiteY5" fmla="*/ 0 h 149340"/>
                <a:gd name="connsiteX6" fmla="*/ 203847 w 203847"/>
                <a:gd name="connsiteY6" fmla="*/ 55323 h 149340"/>
                <a:gd name="connsiteX7" fmla="*/ 139055 w 203847"/>
                <a:gd name="connsiteY7" fmla="*/ 55323 h 14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49340">
                  <a:moveTo>
                    <a:pt x="106716" y="149340"/>
                  </a:moveTo>
                  <a:lnTo>
                    <a:pt x="50038" y="110053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Forme libre : forme 100">
              <a:extLst>
                <a:ext uri="{FF2B5EF4-FFF2-40B4-BE49-F238E27FC236}">
                  <a16:creationId xmlns:a16="http://schemas.microsoft.com/office/drawing/2014/main" id="{1DC1AB77-DFBD-48D5-BA47-D445EDCA0CEF}"/>
                </a:ext>
              </a:extLst>
            </p:cNvPr>
            <p:cNvSpPr/>
            <p:nvPr/>
          </p:nvSpPr>
          <p:spPr>
            <a:xfrm rot="8716295">
              <a:off x="860101" y="29650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" name="Forme libre : forme 101">
              <a:extLst>
                <a:ext uri="{FF2B5EF4-FFF2-40B4-BE49-F238E27FC236}">
                  <a16:creationId xmlns:a16="http://schemas.microsoft.com/office/drawing/2014/main" id="{F59B8FC1-4AE7-4990-AF75-539F5B58458B}"/>
                </a:ext>
              </a:extLst>
            </p:cNvPr>
            <p:cNvSpPr/>
            <p:nvPr/>
          </p:nvSpPr>
          <p:spPr>
            <a:xfrm rot="8716295">
              <a:off x="494655" y="7007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" name="Forme libre : forme 102">
              <a:extLst>
                <a:ext uri="{FF2B5EF4-FFF2-40B4-BE49-F238E27FC236}">
                  <a16:creationId xmlns:a16="http://schemas.microsoft.com/office/drawing/2014/main" id="{868AEFC4-250F-471C-A43A-28F6923BB61D}"/>
                </a:ext>
              </a:extLst>
            </p:cNvPr>
            <p:cNvSpPr/>
            <p:nvPr/>
          </p:nvSpPr>
          <p:spPr>
            <a:xfrm rot="7484129">
              <a:off x="1018919" y="58611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" name="Forme libre : forme 103">
              <a:extLst>
                <a:ext uri="{FF2B5EF4-FFF2-40B4-BE49-F238E27FC236}">
                  <a16:creationId xmlns:a16="http://schemas.microsoft.com/office/drawing/2014/main" id="{7720FECD-8541-443F-AFBA-99868EB29B55}"/>
                </a:ext>
              </a:extLst>
            </p:cNvPr>
            <p:cNvSpPr/>
            <p:nvPr/>
          </p:nvSpPr>
          <p:spPr>
            <a:xfrm rot="13089394">
              <a:off x="1177568" y="53546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" name="Forme libre : forme 104">
              <a:extLst>
                <a:ext uri="{FF2B5EF4-FFF2-40B4-BE49-F238E27FC236}">
                  <a16:creationId xmlns:a16="http://schemas.microsoft.com/office/drawing/2014/main" id="{EC21D4C1-E07B-4E45-A18C-FDC88EB32F75}"/>
                </a:ext>
              </a:extLst>
            </p:cNvPr>
            <p:cNvSpPr/>
            <p:nvPr/>
          </p:nvSpPr>
          <p:spPr>
            <a:xfrm rot="8716295">
              <a:off x="1458459" y="24534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" name="Forme libre : forme 105">
              <a:extLst>
                <a:ext uri="{FF2B5EF4-FFF2-40B4-BE49-F238E27FC236}">
                  <a16:creationId xmlns:a16="http://schemas.microsoft.com/office/drawing/2014/main" id="{F27332C2-A714-4595-B5C0-9F2B9BA6FD2B}"/>
                </a:ext>
              </a:extLst>
            </p:cNvPr>
            <p:cNvSpPr/>
            <p:nvPr/>
          </p:nvSpPr>
          <p:spPr>
            <a:xfrm rot="8716295">
              <a:off x="1380050" y="8855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" name="Forme libre : forme 106">
              <a:extLst>
                <a:ext uri="{FF2B5EF4-FFF2-40B4-BE49-F238E27FC236}">
                  <a16:creationId xmlns:a16="http://schemas.microsoft.com/office/drawing/2014/main" id="{674A78BA-4944-4138-B4F5-A2FBC8048D50}"/>
                </a:ext>
              </a:extLst>
            </p:cNvPr>
            <p:cNvSpPr/>
            <p:nvPr/>
          </p:nvSpPr>
          <p:spPr>
            <a:xfrm rot="8716295">
              <a:off x="1011887" y="13429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" name="Forme libre : forme 107">
              <a:extLst>
                <a:ext uri="{FF2B5EF4-FFF2-40B4-BE49-F238E27FC236}">
                  <a16:creationId xmlns:a16="http://schemas.microsoft.com/office/drawing/2014/main" id="{7D76DD03-F270-4ACF-B774-06410BC28EE6}"/>
                </a:ext>
              </a:extLst>
            </p:cNvPr>
            <p:cNvSpPr/>
            <p:nvPr/>
          </p:nvSpPr>
          <p:spPr>
            <a:xfrm rot="8716295">
              <a:off x="1291652" y="-36449"/>
              <a:ext cx="134197" cy="106947"/>
            </a:xfrm>
            <a:custGeom>
              <a:avLst/>
              <a:gdLst>
                <a:gd name="connsiteX0" fmla="*/ 83649 w 88664"/>
                <a:gd name="connsiteY0" fmla="*/ 70660 h 70660"/>
                <a:gd name="connsiteX1" fmla="*/ 0 w 88664"/>
                <a:gd name="connsiteY1" fmla="*/ 12677 h 70660"/>
                <a:gd name="connsiteX2" fmla="*/ 30024 w 88664"/>
                <a:gd name="connsiteY2" fmla="*/ 0 h 70660"/>
                <a:gd name="connsiteX3" fmla="*/ 71417 w 88664"/>
                <a:gd name="connsiteY3" fmla="*/ 17477 h 70660"/>
                <a:gd name="connsiteX4" fmla="*/ 88664 w 88664"/>
                <a:gd name="connsiteY4" fmla="*/ 58525 h 70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664" h="70660">
                  <a:moveTo>
                    <a:pt x="83649" y="70660"/>
                  </a:moveTo>
                  <a:lnTo>
                    <a:pt x="0" y="12677"/>
                  </a:lnTo>
                  <a:lnTo>
                    <a:pt x="30024" y="0"/>
                  </a:lnTo>
                  <a:cubicBezTo>
                    <a:pt x="45662" y="0"/>
                    <a:pt x="60379" y="6439"/>
                    <a:pt x="71417" y="17477"/>
                  </a:cubicBezTo>
                  <a:cubicBezTo>
                    <a:pt x="82915" y="28515"/>
                    <a:pt x="88664" y="43462"/>
                    <a:pt x="88664" y="58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" name="Forme libre : forme 108">
              <a:extLst>
                <a:ext uri="{FF2B5EF4-FFF2-40B4-BE49-F238E27FC236}">
                  <a16:creationId xmlns:a16="http://schemas.microsoft.com/office/drawing/2014/main" id="{3E28A378-29F9-4E63-8D2F-7910EE2CA370}"/>
                </a:ext>
              </a:extLst>
            </p:cNvPr>
            <p:cNvSpPr/>
            <p:nvPr/>
          </p:nvSpPr>
          <p:spPr>
            <a:xfrm rot="13089394">
              <a:off x="990163" y="-39748"/>
              <a:ext cx="111277" cy="115595"/>
            </a:xfrm>
            <a:custGeom>
              <a:avLst/>
              <a:gdLst>
                <a:gd name="connsiteX0" fmla="*/ 73521 w 73521"/>
                <a:gd name="connsiteY0" fmla="*/ 18609 h 76374"/>
                <a:gd name="connsiteX1" fmla="*/ 0 w 73521"/>
                <a:gd name="connsiteY1" fmla="*/ 76374 h 76374"/>
                <a:gd name="connsiteX2" fmla="*/ 0 w 73521"/>
                <a:gd name="connsiteY2" fmla="*/ 38074 h 76374"/>
                <a:gd name="connsiteX3" fmla="*/ 73388 w 73521"/>
                <a:gd name="connsiteY3" fmla="*/ 0 h 7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521" h="76374">
                  <a:moveTo>
                    <a:pt x="73521" y="18609"/>
                  </a:moveTo>
                  <a:lnTo>
                    <a:pt x="0" y="76374"/>
                  </a:lnTo>
                  <a:lnTo>
                    <a:pt x="0" y="38074"/>
                  </a:lnTo>
                  <a:lnTo>
                    <a:pt x="7338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" name="Forme libre : forme 109">
              <a:extLst>
                <a:ext uri="{FF2B5EF4-FFF2-40B4-BE49-F238E27FC236}">
                  <a16:creationId xmlns:a16="http://schemas.microsoft.com/office/drawing/2014/main" id="{F1CC83E5-A4EB-42DD-9A17-370BFA21AAE9}"/>
                </a:ext>
              </a:extLst>
            </p:cNvPr>
            <p:cNvSpPr/>
            <p:nvPr/>
          </p:nvSpPr>
          <p:spPr>
            <a:xfrm rot="8716295">
              <a:off x="121288" y="414134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" name="Forme libre : forme 110">
              <a:extLst>
                <a:ext uri="{FF2B5EF4-FFF2-40B4-BE49-F238E27FC236}">
                  <a16:creationId xmlns:a16="http://schemas.microsoft.com/office/drawing/2014/main" id="{9526DB8B-159A-416E-9CE4-0D6F2D18F32F}"/>
                </a:ext>
              </a:extLst>
            </p:cNvPr>
            <p:cNvSpPr/>
            <p:nvPr/>
          </p:nvSpPr>
          <p:spPr>
            <a:xfrm rot="8716295">
              <a:off x="256586" y="418560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" name="Forme libre : forme 111">
              <a:extLst>
                <a:ext uri="{FF2B5EF4-FFF2-40B4-BE49-F238E27FC236}">
                  <a16:creationId xmlns:a16="http://schemas.microsoft.com/office/drawing/2014/main" id="{8B12B296-AAE6-463A-B5CB-324F979AE957}"/>
                </a:ext>
              </a:extLst>
            </p:cNvPr>
            <p:cNvSpPr/>
            <p:nvPr/>
          </p:nvSpPr>
          <p:spPr>
            <a:xfrm rot="8716295">
              <a:off x="188704" y="405501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" name="Forme libre : forme 112">
              <a:extLst>
                <a:ext uri="{FF2B5EF4-FFF2-40B4-BE49-F238E27FC236}">
                  <a16:creationId xmlns:a16="http://schemas.microsoft.com/office/drawing/2014/main" id="{9A3F4C45-E84E-45F4-A1D8-E67A24057076}"/>
                </a:ext>
              </a:extLst>
            </p:cNvPr>
            <p:cNvSpPr/>
            <p:nvPr/>
          </p:nvSpPr>
          <p:spPr>
            <a:xfrm rot="8716295">
              <a:off x="-22408" y="4278013"/>
              <a:ext cx="57413" cy="71926"/>
            </a:xfrm>
            <a:custGeom>
              <a:avLst/>
              <a:gdLst>
                <a:gd name="connsiteX0" fmla="*/ 11441 w 57413"/>
                <a:gd name="connsiteY0" fmla="*/ 71926 h 71926"/>
                <a:gd name="connsiteX1" fmla="*/ 0 w 57413"/>
                <a:gd name="connsiteY1" fmla="*/ 44829 h 71926"/>
                <a:gd name="connsiteX2" fmla="*/ 0 w 57413"/>
                <a:gd name="connsiteY2" fmla="*/ 44139 h 71926"/>
                <a:gd name="connsiteX3" fmla="*/ 13104 w 57413"/>
                <a:gd name="connsiteY3" fmla="*/ 13104 h 71926"/>
                <a:gd name="connsiteX4" fmla="*/ 44139 w 57413"/>
                <a:gd name="connsiteY4" fmla="*/ 0 h 71926"/>
                <a:gd name="connsiteX5" fmla="*/ 57413 w 57413"/>
                <a:gd name="connsiteY5" fmla="*/ 5605 h 71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413" h="71926">
                  <a:moveTo>
                    <a:pt x="11441" y="71926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lnTo>
                    <a:pt x="57413" y="5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" name="Forme libre : forme 113">
              <a:extLst>
                <a:ext uri="{FF2B5EF4-FFF2-40B4-BE49-F238E27FC236}">
                  <a16:creationId xmlns:a16="http://schemas.microsoft.com/office/drawing/2014/main" id="{9EDF78AD-4158-4BDF-B490-2317803ACA6E}"/>
                </a:ext>
              </a:extLst>
            </p:cNvPr>
            <p:cNvSpPr/>
            <p:nvPr/>
          </p:nvSpPr>
          <p:spPr>
            <a:xfrm rot="8716295">
              <a:off x="-36969" y="4107248"/>
              <a:ext cx="147272" cy="83734"/>
            </a:xfrm>
            <a:custGeom>
              <a:avLst/>
              <a:gdLst>
                <a:gd name="connsiteX0" fmla="*/ 0 w 147272"/>
                <a:gd name="connsiteY0" fmla="*/ 83734 h 83734"/>
                <a:gd name="connsiteX1" fmla="*/ 0 w 147272"/>
                <a:gd name="connsiteY1" fmla="*/ 0 h 83734"/>
                <a:gd name="connsiteX2" fmla="*/ 147272 w 147272"/>
                <a:gd name="connsiteY2" fmla="*/ 0 h 83734"/>
                <a:gd name="connsiteX3" fmla="*/ 89230 w 147272"/>
                <a:gd name="connsiteY3" fmla="*/ 83734 h 83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272" h="83734">
                  <a:moveTo>
                    <a:pt x="0" y="83734"/>
                  </a:moveTo>
                  <a:lnTo>
                    <a:pt x="0" y="0"/>
                  </a:lnTo>
                  <a:lnTo>
                    <a:pt x="147272" y="0"/>
                  </a:lnTo>
                  <a:lnTo>
                    <a:pt x="89230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" name="Forme libre : forme 114">
              <a:extLst>
                <a:ext uri="{FF2B5EF4-FFF2-40B4-BE49-F238E27FC236}">
                  <a16:creationId xmlns:a16="http://schemas.microsoft.com/office/drawing/2014/main" id="{18A6ED0C-2A06-421B-B360-5120C1917E60}"/>
                </a:ext>
              </a:extLst>
            </p:cNvPr>
            <p:cNvSpPr/>
            <p:nvPr/>
          </p:nvSpPr>
          <p:spPr>
            <a:xfrm rot="8716295">
              <a:off x="43378" y="3712531"/>
              <a:ext cx="125537" cy="468763"/>
            </a:xfrm>
            <a:custGeom>
              <a:avLst/>
              <a:gdLst>
                <a:gd name="connsiteX0" fmla="*/ 29455 w 125537"/>
                <a:gd name="connsiteY0" fmla="*/ 468763 h 468763"/>
                <a:gd name="connsiteX1" fmla="*/ 7792 w 125537"/>
                <a:gd name="connsiteY1" fmla="*/ 425988 h 468763"/>
                <a:gd name="connsiteX2" fmla="*/ 0 w 125537"/>
                <a:gd name="connsiteY2" fmla="*/ 333043 h 468763"/>
                <a:gd name="connsiteX3" fmla="*/ 0 w 125537"/>
                <a:gd name="connsiteY3" fmla="*/ 61444 h 468763"/>
                <a:gd name="connsiteX4" fmla="*/ 118434 w 125537"/>
                <a:gd name="connsiteY4" fmla="*/ 0 h 468763"/>
                <a:gd name="connsiteX5" fmla="*/ 120216 w 125537"/>
                <a:gd name="connsiteY5" fmla="*/ 248447 h 468763"/>
                <a:gd name="connsiteX6" fmla="*/ 123889 w 125537"/>
                <a:gd name="connsiteY6" fmla="*/ 323359 h 468763"/>
                <a:gd name="connsiteX7" fmla="*/ 125537 w 125537"/>
                <a:gd name="connsiteY7" fmla="*/ 330150 h 468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537" h="468763">
                  <a:moveTo>
                    <a:pt x="29455" y="468763"/>
                  </a:moveTo>
                  <a:lnTo>
                    <a:pt x="7792" y="425988"/>
                  </a:lnTo>
                  <a:cubicBezTo>
                    <a:pt x="2003" y="400498"/>
                    <a:pt x="0" y="369553"/>
                    <a:pt x="0" y="333043"/>
                  </a:cubicBezTo>
                  <a:lnTo>
                    <a:pt x="0" y="61444"/>
                  </a:lnTo>
                  <a:lnTo>
                    <a:pt x="118434" y="0"/>
                  </a:lnTo>
                  <a:lnTo>
                    <a:pt x="120216" y="248447"/>
                  </a:lnTo>
                  <a:cubicBezTo>
                    <a:pt x="118880" y="273381"/>
                    <a:pt x="120216" y="298537"/>
                    <a:pt x="123889" y="323359"/>
                  </a:cubicBezTo>
                  <a:lnTo>
                    <a:pt x="125537" y="3301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" name="Forme libre : forme 115">
              <a:extLst>
                <a:ext uri="{FF2B5EF4-FFF2-40B4-BE49-F238E27FC236}">
                  <a16:creationId xmlns:a16="http://schemas.microsoft.com/office/drawing/2014/main" id="{E0FDC8EF-8848-4C0A-9102-11E05499477A}"/>
                </a:ext>
              </a:extLst>
            </p:cNvPr>
            <p:cNvSpPr/>
            <p:nvPr/>
          </p:nvSpPr>
          <p:spPr>
            <a:xfrm rot="8716295">
              <a:off x="87905" y="4337347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" name="Forme libre : forme 116">
              <a:extLst>
                <a:ext uri="{FF2B5EF4-FFF2-40B4-BE49-F238E27FC236}">
                  <a16:creationId xmlns:a16="http://schemas.microsoft.com/office/drawing/2014/main" id="{5A06B087-2ED7-4364-B770-117460F6509C}"/>
                </a:ext>
              </a:extLst>
            </p:cNvPr>
            <p:cNvSpPr/>
            <p:nvPr/>
          </p:nvSpPr>
          <p:spPr>
            <a:xfrm rot="8716295">
              <a:off x="558851" y="376273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" name="Forme libre : forme 117">
              <a:extLst>
                <a:ext uri="{FF2B5EF4-FFF2-40B4-BE49-F238E27FC236}">
                  <a16:creationId xmlns:a16="http://schemas.microsoft.com/office/drawing/2014/main" id="{A9CE4EB9-9050-492E-8BE3-E347F06FFDC2}"/>
                </a:ext>
              </a:extLst>
            </p:cNvPr>
            <p:cNvSpPr/>
            <p:nvPr/>
          </p:nvSpPr>
          <p:spPr>
            <a:xfrm rot="8716295">
              <a:off x="694150" y="380699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" name="Forme libre : forme 118">
              <a:extLst>
                <a:ext uri="{FF2B5EF4-FFF2-40B4-BE49-F238E27FC236}">
                  <a16:creationId xmlns:a16="http://schemas.microsoft.com/office/drawing/2014/main" id="{760AB253-194C-499B-8D42-794DA9755956}"/>
                </a:ext>
              </a:extLst>
            </p:cNvPr>
            <p:cNvSpPr/>
            <p:nvPr/>
          </p:nvSpPr>
          <p:spPr>
            <a:xfrm rot="8716295">
              <a:off x="388980" y="389674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" name="Forme libre : forme 119">
              <a:extLst>
                <a:ext uri="{FF2B5EF4-FFF2-40B4-BE49-F238E27FC236}">
                  <a16:creationId xmlns:a16="http://schemas.microsoft.com/office/drawing/2014/main" id="{40898D3E-1FCF-4F50-8E01-1AFEA6AF3C33}"/>
                </a:ext>
              </a:extLst>
            </p:cNvPr>
            <p:cNvSpPr/>
            <p:nvPr/>
          </p:nvSpPr>
          <p:spPr>
            <a:xfrm rot="8716295">
              <a:off x="199936" y="358091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" name="Forme libre : forme 120">
              <a:extLst>
                <a:ext uri="{FF2B5EF4-FFF2-40B4-BE49-F238E27FC236}">
                  <a16:creationId xmlns:a16="http://schemas.microsoft.com/office/drawing/2014/main" id="{D3FAD429-F566-4023-B7BD-D5217FAA5D96}"/>
                </a:ext>
              </a:extLst>
            </p:cNvPr>
            <p:cNvSpPr/>
            <p:nvPr/>
          </p:nvSpPr>
          <p:spPr>
            <a:xfrm rot="8716295">
              <a:off x="525469" y="3958731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" name="Forme libre : forme 121">
              <a:extLst>
                <a:ext uri="{FF2B5EF4-FFF2-40B4-BE49-F238E27FC236}">
                  <a16:creationId xmlns:a16="http://schemas.microsoft.com/office/drawing/2014/main" id="{D20A67B5-6AA2-4AB0-B207-C07057BDE093}"/>
                </a:ext>
              </a:extLst>
            </p:cNvPr>
            <p:cNvSpPr/>
            <p:nvPr/>
          </p:nvSpPr>
          <p:spPr>
            <a:xfrm rot="8716295">
              <a:off x="160022" y="3732305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" name="Forme libre : forme 122">
              <a:extLst>
                <a:ext uri="{FF2B5EF4-FFF2-40B4-BE49-F238E27FC236}">
                  <a16:creationId xmlns:a16="http://schemas.microsoft.com/office/drawing/2014/main" id="{91FEBD80-6813-4F8F-ACF7-9087BB051204}"/>
                </a:ext>
              </a:extLst>
            </p:cNvPr>
            <p:cNvSpPr/>
            <p:nvPr/>
          </p:nvSpPr>
          <p:spPr>
            <a:xfrm rot="7484129">
              <a:off x="684286" y="424834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" name="Forme libre : forme 123">
              <a:extLst>
                <a:ext uri="{FF2B5EF4-FFF2-40B4-BE49-F238E27FC236}">
                  <a16:creationId xmlns:a16="http://schemas.microsoft.com/office/drawing/2014/main" id="{4CAAD98F-1BEB-4716-B4A0-F4F1C4393647}"/>
                </a:ext>
              </a:extLst>
            </p:cNvPr>
            <p:cNvSpPr/>
            <p:nvPr/>
          </p:nvSpPr>
          <p:spPr>
            <a:xfrm rot="13089394">
              <a:off x="842936" y="4197697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" name="Forme libre : forme 124">
              <a:extLst>
                <a:ext uri="{FF2B5EF4-FFF2-40B4-BE49-F238E27FC236}">
                  <a16:creationId xmlns:a16="http://schemas.microsoft.com/office/drawing/2014/main" id="{B934D86F-56B5-4940-9189-1F845F67AF3D}"/>
                </a:ext>
              </a:extLst>
            </p:cNvPr>
            <p:cNvSpPr/>
            <p:nvPr/>
          </p:nvSpPr>
          <p:spPr>
            <a:xfrm rot="8716295">
              <a:off x="1123827" y="390757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" name="Forme libre : forme 125">
              <a:extLst>
                <a:ext uri="{FF2B5EF4-FFF2-40B4-BE49-F238E27FC236}">
                  <a16:creationId xmlns:a16="http://schemas.microsoft.com/office/drawing/2014/main" id="{0BB740E0-5261-47F5-A043-EC9887338951}"/>
                </a:ext>
              </a:extLst>
            </p:cNvPr>
            <p:cNvSpPr/>
            <p:nvPr/>
          </p:nvSpPr>
          <p:spPr>
            <a:xfrm rot="8716295">
              <a:off x="1045418" y="375078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" name="Forme libre : forme 126">
              <a:extLst>
                <a:ext uri="{FF2B5EF4-FFF2-40B4-BE49-F238E27FC236}">
                  <a16:creationId xmlns:a16="http://schemas.microsoft.com/office/drawing/2014/main" id="{07B02AA0-438E-4A9F-9E86-C7798EAE77E1}"/>
                </a:ext>
              </a:extLst>
            </p:cNvPr>
            <p:cNvSpPr/>
            <p:nvPr/>
          </p:nvSpPr>
          <p:spPr>
            <a:xfrm rot="8716295">
              <a:off x="677254" y="379652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" name="Forme libre : forme 127">
              <a:extLst>
                <a:ext uri="{FF2B5EF4-FFF2-40B4-BE49-F238E27FC236}">
                  <a16:creationId xmlns:a16="http://schemas.microsoft.com/office/drawing/2014/main" id="{500903EF-2A49-42E8-AD78-049F43A296FF}"/>
                </a:ext>
              </a:extLst>
            </p:cNvPr>
            <p:cNvSpPr/>
            <p:nvPr/>
          </p:nvSpPr>
          <p:spPr>
            <a:xfrm rot="8716295">
              <a:off x="945836" y="355550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" name="Forme libre : forme 128">
              <a:extLst>
                <a:ext uri="{FF2B5EF4-FFF2-40B4-BE49-F238E27FC236}">
                  <a16:creationId xmlns:a16="http://schemas.microsoft.com/office/drawing/2014/main" id="{480AF78A-BA1A-4D97-9E00-1B9DCCFB07D3}"/>
                </a:ext>
              </a:extLst>
            </p:cNvPr>
            <p:cNvSpPr/>
            <p:nvPr/>
          </p:nvSpPr>
          <p:spPr>
            <a:xfrm rot="8716295">
              <a:off x="601570" y="5027951"/>
              <a:ext cx="169680" cy="113030"/>
            </a:xfrm>
            <a:custGeom>
              <a:avLst/>
              <a:gdLst>
                <a:gd name="connsiteX0" fmla="*/ 8965 w 169680"/>
                <a:gd name="connsiteY0" fmla="*/ 113030 h 113030"/>
                <a:gd name="connsiteX1" fmla="*/ 0 w 169680"/>
                <a:gd name="connsiteY1" fmla="*/ 100616 h 113030"/>
                <a:gd name="connsiteX2" fmla="*/ 106933 w 169680"/>
                <a:gd name="connsiteY2" fmla="*/ 0 h 113030"/>
                <a:gd name="connsiteX3" fmla="*/ 169680 w 169680"/>
                <a:gd name="connsiteY3" fmla="*/ 43494 h 113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680" h="113030">
                  <a:moveTo>
                    <a:pt x="8965" y="113030"/>
                  </a:moveTo>
                  <a:lnTo>
                    <a:pt x="0" y="100616"/>
                  </a:lnTo>
                  <a:lnTo>
                    <a:pt x="106933" y="0"/>
                  </a:lnTo>
                  <a:lnTo>
                    <a:pt x="169680" y="434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" name="Forme libre : forme 129">
              <a:extLst>
                <a:ext uri="{FF2B5EF4-FFF2-40B4-BE49-F238E27FC236}">
                  <a16:creationId xmlns:a16="http://schemas.microsoft.com/office/drawing/2014/main" id="{EE8617F6-3CC3-49C7-A836-7CB9E4E540AD}"/>
                </a:ext>
              </a:extLst>
            </p:cNvPr>
            <p:cNvSpPr/>
            <p:nvPr/>
          </p:nvSpPr>
          <p:spPr>
            <a:xfrm rot="8716295">
              <a:off x="197311" y="4925365"/>
              <a:ext cx="194366" cy="296463"/>
            </a:xfrm>
            <a:custGeom>
              <a:avLst/>
              <a:gdLst>
                <a:gd name="connsiteX0" fmla="*/ 137293 w 194366"/>
                <a:gd name="connsiteY0" fmla="*/ 296463 h 296463"/>
                <a:gd name="connsiteX1" fmla="*/ 72418 w 194366"/>
                <a:gd name="connsiteY1" fmla="*/ 175766 h 296463"/>
                <a:gd name="connsiteX2" fmla="*/ 105610 w 194366"/>
                <a:gd name="connsiteY2" fmla="*/ 83734 h 296463"/>
                <a:gd name="connsiteX3" fmla="*/ 0 w 194366"/>
                <a:gd name="connsiteY3" fmla="*/ 83734 h 296463"/>
                <a:gd name="connsiteX4" fmla="*/ 0 w 194366"/>
                <a:gd name="connsiteY4" fmla="*/ 0 h 296463"/>
                <a:gd name="connsiteX5" fmla="*/ 6043 w 194366"/>
                <a:gd name="connsiteY5" fmla="*/ 0 h 296463"/>
                <a:gd name="connsiteX6" fmla="*/ 194366 w 194366"/>
                <a:gd name="connsiteY6" fmla="*/ 130539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4366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6043" y="0"/>
                  </a:lnTo>
                  <a:lnTo>
                    <a:pt x="194366" y="1305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" name="Forme libre : forme 130">
              <a:extLst>
                <a:ext uri="{FF2B5EF4-FFF2-40B4-BE49-F238E27FC236}">
                  <a16:creationId xmlns:a16="http://schemas.microsoft.com/office/drawing/2014/main" id="{7A3770F8-0F14-4D5B-BC93-8BDF0237ED5F}"/>
                </a:ext>
              </a:extLst>
            </p:cNvPr>
            <p:cNvSpPr/>
            <p:nvPr/>
          </p:nvSpPr>
          <p:spPr>
            <a:xfrm rot="8716295">
              <a:off x="81902" y="4747962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" name="Forme libre : forme 131">
              <a:extLst>
                <a:ext uri="{FF2B5EF4-FFF2-40B4-BE49-F238E27FC236}">
                  <a16:creationId xmlns:a16="http://schemas.microsoft.com/office/drawing/2014/main" id="{6F3531E0-325E-4C4E-9F22-978D3BA0B1C2}"/>
                </a:ext>
              </a:extLst>
            </p:cNvPr>
            <p:cNvSpPr/>
            <p:nvPr/>
          </p:nvSpPr>
          <p:spPr>
            <a:xfrm rot="8716295">
              <a:off x="896624" y="4761216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" name="Forme libre : forme 132">
              <a:extLst>
                <a:ext uri="{FF2B5EF4-FFF2-40B4-BE49-F238E27FC236}">
                  <a16:creationId xmlns:a16="http://schemas.microsoft.com/office/drawing/2014/main" id="{0B981DC2-26C2-44B6-A24A-4014CF42843D}"/>
                </a:ext>
              </a:extLst>
            </p:cNvPr>
            <p:cNvSpPr/>
            <p:nvPr/>
          </p:nvSpPr>
          <p:spPr>
            <a:xfrm rot="8716295">
              <a:off x="1032483" y="4799006"/>
              <a:ext cx="389853" cy="383455"/>
            </a:xfrm>
            <a:custGeom>
              <a:avLst/>
              <a:gdLst>
                <a:gd name="connsiteX0" fmla="*/ 77932 w 389853"/>
                <a:gd name="connsiteY0" fmla="*/ 383455 h 383455"/>
                <a:gd name="connsiteX1" fmla="*/ 77932 w 389853"/>
                <a:gd name="connsiteY1" fmla="*/ 66898 h 383455"/>
                <a:gd name="connsiteX2" fmla="*/ 0 w 389853"/>
                <a:gd name="connsiteY2" fmla="*/ 66898 h 383455"/>
                <a:gd name="connsiteX3" fmla="*/ 0 w 389853"/>
                <a:gd name="connsiteY3" fmla="*/ 0 h 383455"/>
                <a:gd name="connsiteX4" fmla="*/ 158623 w 389853"/>
                <a:gd name="connsiteY4" fmla="*/ 0 h 383455"/>
                <a:gd name="connsiteX5" fmla="*/ 158623 w 389853"/>
                <a:gd name="connsiteY5" fmla="*/ 111726 h 383455"/>
                <a:gd name="connsiteX6" fmla="*/ 160692 w 389853"/>
                <a:gd name="connsiteY6" fmla="*/ 111726 h 383455"/>
                <a:gd name="connsiteX7" fmla="*/ 192762 w 389853"/>
                <a:gd name="connsiteY7" fmla="*/ 39914 h 383455"/>
                <a:gd name="connsiteX8" fmla="*/ 216292 w 389853"/>
                <a:gd name="connsiteY8" fmla="*/ 20658 h 383455"/>
                <a:gd name="connsiteX9" fmla="*/ 389853 w 389853"/>
                <a:gd name="connsiteY9" fmla="*/ 140965 h 383455"/>
                <a:gd name="connsiteX10" fmla="*/ 300695 w 389853"/>
                <a:gd name="connsiteY10" fmla="*/ 146210 h 383455"/>
                <a:gd name="connsiteX11" fmla="*/ 300694 w 389853"/>
                <a:gd name="connsiteY11" fmla="*/ 121382 h 383455"/>
                <a:gd name="connsiteX12" fmla="*/ 249659 w 389853"/>
                <a:gd name="connsiteY12" fmla="*/ 58622 h 383455"/>
                <a:gd name="connsiteX13" fmla="*/ 168969 w 389853"/>
                <a:gd name="connsiteY13" fmla="*/ 191038 h 383455"/>
                <a:gd name="connsiteX14" fmla="*/ 168969 w 389853"/>
                <a:gd name="connsiteY14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9853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71727" y="78967"/>
                    <a:pt x="181555" y="56208"/>
                    <a:pt x="192762" y="39914"/>
                  </a:cubicBezTo>
                  <a:lnTo>
                    <a:pt x="216292" y="20658"/>
                  </a:lnTo>
                  <a:lnTo>
                    <a:pt x="389853" y="140965"/>
                  </a:lnTo>
                  <a:lnTo>
                    <a:pt x="300695" y="146210"/>
                  </a:lnTo>
                  <a:lnTo>
                    <a:pt x="300694" y="121382"/>
                  </a:lnTo>
                  <a:cubicBezTo>
                    <a:pt x="300695" y="84140"/>
                    <a:pt x="279315" y="58621"/>
                    <a:pt x="249659" y="58622"/>
                  </a:cubicBezTo>
                  <a:cubicBezTo>
                    <a:pt x="205521" y="58621"/>
                    <a:pt x="168969" y="117244"/>
                    <a:pt x="168969" y="191038"/>
                  </a:cubicBez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" name="Forme libre : forme 133">
              <a:extLst>
                <a:ext uri="{FF2B5EF4-FFF2-40B4-BE49-F238E27FC236}">
                  <a16:creationId xmlns:a16="http://schemas.microsoft.com/office/drawing/2014/main" id="{A3972FDD-BF94-4723-9E5F-9672CBFB9038}"/>
                </a:ext>
              </a:extLst>
            </p:cNvPr>
            <p:cNvSpPr/>
            <p:nvPr/>
          </p:nvSpPr>
          <p:spPr>
            <a:xfrm rot="8716295">
              <a:off x="726753" y="489523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" name="Forme libre : forme 134">
              <a:extLst>
                <a:ext uri="{FF2B5EF4-FFF2-40B4-BE49-F238E27FC236}">
                  <a16:creationId xmlns:a16="http://schemas.microsoft.com/office/drawing/2014/main" id="{53E7288B-8855-433D-88B5-BB9A05F8E9B6}"/>
                </a:ext>
              </a:extLst>
            </p:cNvPr>
            <p:cNvSpPr/>
            <p:nvPr/>
          </p:nvSpPr>
          <p:spPr>
            <a:xfrm rot="8716295">
              <a:off x="537709" y="457939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" name="Forme libre : forme 135">
              <a:extLst>
                <a:ext uri="{FF2B5EF4-FFF2-40B4-BE49-F238E27FC236}">
                  <a16:creationId xmlns:a16="http://schemas.microsoft.com/office/drawing/2014/main" id="{6D0BADDB-ADF9-4A5A-9268-3F374A71F372}"/>
                </a:ext>
              </a:extLst>
            </p:cNvPr>
            <p:cNvSpPr/>
            <p:nvPr/>
          </p:nvSpPr>
          <p:spPr>
            <a:xfrm rot="8716295">
              <a:off x="826576" y="4988476"/>
              <a:ext cx="91035" cy="198648"/>
            </a:xfrm>
            <a:custGeom>
              <a:avLst/>
              <a:gdLst>
                <a:gd name="connsiteX0" fmla="*/ 91035 w 91035"/>
                <a:gd name="connsiteY0" fmla="*/ 198648 h 198648"/>
                <a:gd name="connsiteX1" fmla="*/ 0 w 91035"/>
                <a:gd name="connsiteY1" fmla="*/ 111060 h 198648"/>
                <a:gd name="connsiteX2" fmla="*/ 0 w 91035"/>
                <a:gd name="connsiteY2" fmla="*/ 0 h 198648"/>
                <a:gd name="connsiteX3" fmla="*/ 91035 w 91035"/>
                <a:gd name="connsiteY3" fmla="*/ 63103 h 198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198648">
                  <a:moveTo>
                    <a:pt x="91035" y="198648"/>
                  </a:moveTo>
                  <a:lnTo>
                    <a:pt x="0" y="111060"/>
                  </a:lnTo>
                  <a:lnTo>
                    <a:pt x="0" y="0"/>
                  </a:lnTo>
                  <a:lnTo>
                    <a:pt x="91035" y="631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" name="Forme libre : forme 136">
              <a:extLst>
                <a:ext uri="{FF2B5EF4-FFF2-40B4-BE49-F238E27FC236}">
                  <a16:creationId xmlns:a16="http://schemas.microsoft.com/office/drawing/2014/main" id="{7A0A28EA-B520-49BA-800F-B4282BF0ECB8}"/>
                </a:ext>
              </a:extLst>
            </p:cNvPr>
            <p:cNvSpPr/>
            <p:nvPr/>
          </p:nvSpPr>
          <p:spPr>
            <a:xfrm rot="8716295">
              <a:off x="497795" y="4730788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" name="Forme libre : forme 137">
              <a:extLst>
                <a:ext uri="{FF2B5EF4-FFF2-40B4-BE49-F238E27FC236}">
                  <a16:creationId xmlns:a16="http://schemas.microsoft.com/office/drawing/2014/main" id="{8781DCBF-8301-4C81-B93D-E186016AF47F}"/>
                </a:ext>
              </a:extLst>
            </p:cNvPr>
            <p:cNvSpPr/>
            <p:nvPr/>
          </p:nvSpPr>
          <p:spPr>
            <a:xfrm rot="8716295">
              <a:off x="1459248" y="4904357"/>
              <a:ext cx="328004" cy="223069"/>
            </a:xfrm>
            <a:custGeom>
              <a:avLst/>
              <a:gdLst>
                <a:gd name="connsiteX0" fmla="*/ 10574 w 328004"/>
                <a:gd name="connsiteY0" fmla="*/ 223069 h 223069"/>
                <a:gd name="connsiteX1" fmla="*/ 0 w 328004"/>
                <a:gd name="connsiteY1" fmla="*/ 208428 h 223069"/>
                <a:gd name="connsiteX2" fmla="*/ 192781 w 328004"/>
                <a:gd name="connsiteY2" fmla="*/ 27035 h 223069"/>
                <a:gd name="connsiteX3" fmla="*/ 227094 w 328004"/>
                <a:gd name="connsiteY3" fmla="*/ 0 h 223069"/>
                <a:gd name="connsiteX4" fmla="*/ 328004 w 328004"/>
                <a:gd name="connsiteY4" fmla="*/ 69948 h 223069"/>
                <a:gd name="connsiteX5" fmla="*/ 326080 w 328004"/>
                <a:gd name="connsiteY5" fmla="*/ 74925 h 223069"/>
                <a:gd name="connsiteX6" fmla="*/ 293645 w 328004"/>
                <a:gd name="connsiteY6" fmla="*/ 100243 h 223069"/>
                <a:gd name="connsiteX7" fmla="*/ 294458 w 328004"/>
                <a:gd name="connsiteY7" fmla="*/ 100243 h 223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8004" h="223069">
                  <a:moveTo>
                    <a:pt x="10574" y="223069"/>
                  </a:moveTo>
                  <a:lnTo>
                    <a:pt x="0" y="208428"/>
                  </a:lnTo>
                  <a:lnTo>
                    <a:pt x="192781" y="27035"/>
                  </a:lnTo>
                  <a:lnTo>
                    <a:pt x="227094" y="0"/>
                  </a:lnTo>
                  <a:lnTo>
                    <a:pt x="328004" y="69948"/>
                  </a:lnTo>
                  <a:lnTo>
                    <a:pt x="326080" y="74925"/>
                  </a:lnTo>
                  <a:cubicBezTo>
                    <a:pt x="317843" y="85805"/>
                    <a:pt x="306659" y="94549"/>
                    <a:pt x="293645" y="100243"/>
                  </a:cubicBezTo>
                  <a:lnTo>
                    <a:pt x="294458" y="10024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" name="Forme libre : forme 138">
              <a:extLst>
                <a:ext uri="{FF2B5EF4-FFF2-40B4-BE49-F238E27FC236}">
                  <a16:creationId xmlns:a16="http://schemas.microsoft.com/office/drawing/2014/main" id="{3ED78FC6-709C-4AA3-BB63-2CC979D6E8FB}"/>
                </a:ext>
              </a:extLst>
            </p:cNvPr>
            <p:cNvSpPr/>
            <p:nvPr/>
          </p:nvSpPr>
          <p:spPr>
            <a:xfrm rot="8716295">
              <a:off x="1383191" y="474927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" name="Forme libre : forme 139">
              <a:extLst>
                <a:ext uri="{FF2B5EF4-FFF2-40B4-BE49-F238E27FC236}">
                  <a16:creationId xmlns:a16="http://schemas.microsoft.com/office/drawing/2014/main" id="{AC25FEFC-06C2-45EF-9330-9EAB676F1680}"/>
                </a:ext>
              </a:extLst>
            </p:cNvPr>
            <p:cNvSpPr/>
            <p:nvPr/>
          </p:nvSpPr>
          <p:spPr>
            <a:xfrm rot="8716295">
              <a:off x="1015027" y="479501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" name="Forme libre : forme 140">
              <a:extLst>
                <a:ext uri="{FF2B5EF4-FFF2-40B4-BE49-F238E27FC236}">
                  <a16:creationId xmlns:a16="http://schemas.microsoft.com/office/drawing/2014/main" id="{6FCEE809-B78B-468F-8A4F-11AD6B5B5DFE}"/>
                </a:ext>
              </a:extLst>
            </p:cNvPr>
            <p:cNvSpPr/>
            <p:nvPr/>
          </p:nvSpPr>
          <p:spPr>
            <a:xfrm rot="8716295">
              <a:off x="1283609" y="455399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" name="Forme libre : forme 141">
              <a:extLst>
                <a:ext uri="{FF2B5EF4-FFF2-40B4-BE49-F238E27FC236}">
                  <a16:creationId xmlns:a16="http://schemas.microsoft.com/office/drawing/2014/main" id="{4D7B8EF3-5C2F-4403-A58E-C6455E9DC2F8}"/>
                </a:ext>
              </a:extLst>
            </p:cNvPr>
            <p:cNvSpPr/>
            <p:nvPr/>
          </p:nvSpPr>
          <p:spPr>
            <a:xfrm rot="8716295">
              <a:off x="-30381" y="3359388"/>
              <a:ext cx="98497" cy="75863"/>
            </a:xfrm>
            <a:custGeom>
              <a:avLst/>
              <a:gdLst>
                <a:gd name="connsiteX0" fmla="*/ 0 w 98497"/>
                <a:gd name="connsiteY0" fmla="*/ 75863 h 75863"/>
                <a:gd name="connsiteX1" fmla="*/ 0 w 98497"/>
                <a:gd name="connsiteY1" fmla="*/ 0 h 75863"/>
                <a:gd name="connsiteX2" fmla="*/ 98497 w 98497"/>
                <a:gd name="connsiteY2" fmla="*/ 0 h 75863"/>
                <a:gd name="connsiteX3" fmla="*/ 45911 w 98497"/>
                <a:gd name="connsiteY3" fmla="*/ 75863 h 75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497" h="75863">
                  <a:moveTo>
                    <a:pt x="0" y="75863"/>
                  </a:moveTo>
                  <a:lnTo>
                    <a:pt x="0" y="0"/>
                  </a:lnTo>
                  <a:lnTo>
                    <a:pt x="98497" y="0"/>
                  </a:lnTo>
                  <a:lnTo>
                    <a:pt x="45911" y="758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" name="Forme libre : forme 142">
              <a:extLst>
                <a:ext uri="{FF2B5EF4-FFF2-40B4-BE49-F238E27FC236}">
                  <a16:creationId xmlns:a16="http://schemas.microsoft.com/office/drawing/2014/main" id="{E1CB3E01-5CB9-4779-88E3-4FF297370B3E}"/>
                </a:ext>
              </a:extLst>
            </p:cNvPr>
            <p:cNvSpPr/>
            <p:nvPr/>
          </p:nvSpPr>
          <p:spPr>
            <a:xfrm rot="8716295">
              <a:off x="-77334" y="3178477"/>
              <a:ext cx="389652" cy="385611"/>
            </a:xfrm>
            <a:custGeom>
              <a:avLst/>
              <a:gdLst>
                <a:gd name="connsiteX0" fmla="*/ 77932 w 389652"/>
                <a:gd name="connsiteY0" fmla="*/ 385611 h 385611"/>
                <a:gd name="connsiteX1" fmla="*/ 77932 w 389652"/>
                <a:gd name="connsiteY1" fmla="*/ 69054 h 385611"/>
                <a:gd name="connsiteX2" fmla="*/ 0 w 389652"/>
                <a:gd name="connsiteY2" fmla="*/ 69054 h 385611"/>
                <a:gd name="connsiteX3" fmla="*/ 0 w 389652"/>
                <a:gd name="connsiteY3" fmla="*/ 2156 h 385611"/>
                <a:gd name="connsiteX4" fmla="*/ 158623 w 389652"/>
                <a:gd name="connsiteY4" fmla="*/ 2156 h 385611"/>
                <a:gd name="connsiteX5" fmla="*/ 158623 w 389652"/>
                <a:gd name="connsiteY5" fmla="*/ 113882 h 385611"/>
                <a:gd name="connsiteX6" fmla="*/ 160692 w 389652"/>
                <a:gd name="connsiteY6" fmla="*/ 113882 h 385611"/>
                <a:gd name="connsiteX7" fmla="*/ 233107 w 389652"/>
                <a:gd name="connsiteY7" fmla="*/ 9053 h 385611"/>
                <a:gd name="connsiteX8" fmla="*/ 280694 w 389652"/>
                <a:gd name="connsiteY8" fmla="*/ 87 h 385611"/>
                <a:gd name="connsiteX9" fmla="*/ 364230 w 389652"/>
                <a:gd name="connsiteY9" fmla="*/ 34398 h 385611"/>
                <a:gd name="connsiteX10" fmla="*/ 389652 w 389652"/>
                <a:gd name="connsiteY10" fmla="*/ 117977 h 385611"/>
                <a:gd name="connsiteX11" fmla="*/ 371473 w 389652"/>
                <a:gd name="connsiteY11" fmla="*/ 144202 h 385611"/>
                <a:gd name="connsiteX12" fmla="*/ 300695 w 389652"/>
                <a:gd name="connsiteY12" fmla="*/ 148366 h 385611"/>
                <a:gd name="connsiteX13" fmla="*/ 300695 w 389652"/>
                <a:gd name="connsiteY13" fmla="*/ 123538 h 385611"/>
                <a:gd name="connsiteX14" fmla="*/ 249659 w 389652"/>
                <a:gd name="connsiteY14" fmla="*/ 60778 h 385611"/>
                <a:gd name="connsiteX15" fmla="*/ 168969 w 389652"/>
                <a:gd name="connsiteY15" fmla="*/ 193194 h 385611"/>
                <a:gd name="connsiteX16" fmla="*/ 168969 w 389652"/>
                <a:gd name="connsiteY16" fmla="*/ 323541 h 385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89652" h="385611">
                  <a:moveTo>
                    <a:pt x="77932" y="385611"/>
                  </a:moveTo>
                  <a:lnTo>
                    <a:pt x="77932" y="69054"/>
                  </a:lnTo>
                  <a:lnTo>
                    <a:pt x="0" y="69054"/>
                  </a:lnTo>
                  <a:lnTo>
                    <a:pt x="0" y="2156"/>
                  </a:lnTo>
                  <a:lnTo>
                    <a:pt x="158623" y="2156"/>
                  </a:lnTo>
                  <a:lnTo>
                    <a:pt x="158623" y="113882"/>
                  </a:lnTo>
                  <a:lnTo>
                    <a:pt x="160692" y="113882"/>
                  </a:lnTo>
                  <a:cubicBezTo>
                    <a:pt x="182762" y="48364"/>
                    <a:pt x="200003" y="22846"/>
                    <a:pt x="233107" y="9053"/>
                  </a:cubicBezTo>
                  <a:cubicBezTo>
                    <a:pt x="248280" y="2846"/>
                    <a:pt x="264142" y="-602"/>
                    <a:pt x="280694" y="87"/>
                  </a:cubicBezTo>
                  <a:cubicBezTo>
                    <a:pt x="316212" y="-603"/>
                    <a:pt x="344661" y="11466"/>
                    <a:pt x="364230" y="34398"/>
                  </a:cubicBezTo>
                  <a:lnTo>
                    <a:pt x="389652" y="117977"/>
                  </a:lnTo>
                  <a:lnTo>
                    <a:pt x="371473" y="144202"/>
                  </a:lnTo>
                  <a:lnTo>
                    <a:pt x="300695" y="148366"/>
                  </a:lnTo>
                  <a:lnTo>
                    <a:pt x="300695" y="123538"/>
                  </a:lnTo>
                  <a:cubicBezTo>
                    <a:pt x="300695" y="86296"/>
                    <a:pt x="279315" y="60778"/>
                    <a:pt x="249659" y="60778"/>
                  </a:cubicBezTo>
                  <a:cubicBezTo>
                    <a:pt x="205521" y="60778"/>
                    <a:pt x="168969" y="119400"/>
                    <a:pt x="168969" y="193194"/>
                  </a:cubicBezTo>
                  <a:lnTo>
                    <a:pt x="168969" y="3235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4" name="Forme libre : forme 143">
              <a:extLst>
                <a:ext uri="{FF2B5EF4-FFF2-40B4-BE49-F238E27FC236}">
                  <a16:creationId xmlns:a16="http://schemas.microsoft.com/office/drawing/2014/main" id="{693C3616-465F-40B5-99BD-A4355895EC1C}"/>
                </a:ext>
              </a:extLst>
            </p:cNvPr>
            <p:cNvSpPr/>
            <p:nvPr/>
          </p:nvSpPr>
          <p:spPr>
            <a:xfrm rot="8716295">
              <a:off x="-71352" y="3029015"/>
              <a:ext cx="193594" cy="189959"/>
            </a:xfrm>
            <a:custGeom>
              <a:avLst/>
              <a:gdLst>
                <a:gd name="connsiteX0" fmla="*/ 8965 w 193594"/>
                <a:gd name="connsiteY0" fmla="*/ 189959 h 189959"/>
                <a:gd name="connsiteX1" fmla="*/ 0 w 193594"/>
                <a:gd name="connsiteY1" fmla="*/ 177545 h 189959"/>
                <a:gd name="connsiteX2" fmla="*/ 163451 w 193594"/>
                <a:gd name="connsiteY2" fmla="*/ 23749 h 189959"/>
                <a:gd name="connsiteX3" fmla="*/ 193594 w 193594"/>
                <a:gd name="connsiteY3" fmla="*/ 0 h 189959"/>
                <a:gd name="connsiteX4" fmla="*/ 84606 w 193594"/>
                <a:gd name="connsiteY4" fmla="*/ 157232 h 189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594" h="189959">
                  <a:moveTo>
                    <a:pt x="8965" y="189959"/>
                  </a:moveTo>
                  <a:lnTo>
                    <a:pt x="0" y="177545"/>
                  </a:lnTo>
                  <a:lnTo>
                    <a:pt x="163451" y="23749"/>
                  </a:lnTo>
                  <a:lnTo>
                    <a:pt x="193594" y="0"/>
                  </a:lnTo>
                  <a:lnTo>
                    <a:pt x="84606" y="15723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5" name="Forme libre : forme 144">
              <a:extLst>
                <a:ext uri="{FF2B5EF4-FFF2-40B4-BE49-F238E27FC236}">
                  <a16:creationId xmlns:a16="http://schemas.microsoft.com/office/drawing/2014/main" id="{24B29AA9-322C-494E-97CF-CB28B697D24F}"/>
                </a:ext>
              </a:extLst>
            </p:cNvPr>
            <p:cNvSpPr/>
            <p:nvPr/>
          </p:nvSpPr>
          <p:spPr>
            <a:xfrm rot="8716295">
              <a:off x="223574" y="276232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6" name="Forme libre : forme 145">
              <a:extLst>
                <a:ext uri="{FF2B5EF4-FFF2-40B4-BE49-F238E27FC236}">
                  <a16:creationId xmlns:a16="http://schemas.microsoft.com/office/drawing/2014/main" id="{F8DE088E-7554-4812-9E9E-4D30E041F578}"/>
                </a:ext>
              </a:extLst>
            </p:cNvPr>
            <p:cNvSpPr/>
            <p:nvPr/>
          </p:nvSpPr>
          <p:spPr>
            <a:xfrm rot="8716295">
              <a:off x="358873" y="2806579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7" name="Forme libre : forme 146">
              <a:extLst>
                <a:ext uri="{FF2B5EF4-FFF2-40B4-BE49-F238E27FC236}">
                  <a16:creationId xmlns:a16="http://schemas.microsoft.com/office/drawing/2014/main" id="{B9E26502-E7AD-4DA1-9955-0A4E18FDB87E}"/>
                </a:ext>
              </a:extLst>
            </p:cNvPr>
            <p:cNvSpPr/>
            <p:nvPr/>
          </p:nvSpPr>
          <p:spPr>
            <a:xfrm rot="8716295">
              <a:off x="53703" y="2896335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8" name="Forme libre : forme 147">
              <a:extLst>
                <a:ext uri="{FF2B5EF4-FFF2-40B4-BE49-F238E27FC236}">
                  <a16:creationId xmlns:a16="http://schemas.microsoft.com/office/drawing/2014/main" id="{916CFE5B-3405-43DB-8C30-699019D1BD67}"/>
                </a:ext>
              </a:extLst>
            </p:cNvPr>
            <p:cNvSpPr/>
            <p:nvPr/>
          </p:nvSpPr>
          <p:spPr>
            <a:xfrm rot="8716295">
              <a:off x="-92201" y="2622488"/>
              <a:ext cx="271732" cy="238722"/>
            </a:xfrm>
            <a:custGeom>
              <a:avLst/>
              <a:gdLst>
                <a:gd name="connsiteX0" fmla="*/ 106257 w 271732"/>
                <a:gd name="connsiteY0" fmla="*/ 238722 h 238722"/>
                <a:gd name="connsiteX1" fmla="*/ 72418 w 271732"/>
                <a:gd name="connsiteY1" fmla="*/ 175766 h 238722"/>
                <a:gd name="connsiteX2" fmla="*/ 105610 w 271732"/>
                <a:gd name="connsiteY2" fmla="*/ 83734 h 238722"/>
                <a:gd name="connsiteX3" fmla="*/ 0 w 271732"/>
                <a:gd name="connsiteY3" fmla="*/ 83734 h 238722"/>
                <a:gd name="connsiteX4" fmla="*/ 0 w 271732"/>
                <a:gd name="connsiteY4" fmla="*/ 0 h 238722"/>
                <a:gd name="connsiteX5" fmla="*/ 271732 w 271732"/>
                <a:gd name="connsiteY5" fmla="*/ 0 h 238722"/>
                <a:gd name="connsiteX6" fmla="*/ 213690 w 271732"/>
                <a:gd name="connsiteY6" fmla="*/ 83734 h 238722"/>
                <a:gd name="connsiteX7" fmla="*/ 210465 w 271732"/>
                <a:gd name="connsiteY7" fmla="*/ 83734 h 238722"/>
                <a:gd name="connsiteX8" fmla="*/ 207289 w 271732"/>
                <a:gd name="connsiteY8" fmla="*/ 92969 h 238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1732" h="238722">
                  <a:moveTo>
                    <a:pt x="106257" y="238722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71732" y="0"/>
                  </a:lnTo>
                  <a:lnTo>
                    <a:pt x="213690" y="83734"/>
                  </a:lnTo>
                  <a:lnTo>
                    <a:pt x="210465" y="83734"/>
                  </a:lnTo>
                  <a:lnTo>
                    <a:pt x="207289" y="929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9" name="Forme libre : forme 148">
              <a:extLst>
                <a:ext uri="{FF2B5EF4-FFF2-40B4-BE49-F238E27FC236}">
                  <a16:creationId xmlns:a16="http://schemas.microsoft.com/office/drawing/2014/main" id="{D3C330C6-8ED8-4019-9D23-534F7E32B7C3}"/>
                </a:ext>
              </a:extLst>
            </p:cNvPr>
            <p:cNvSpPr/>
            <p:nvPr/>
          </p:nvSpPr>
          <p:spPr>
            <a:xfrm rot="8716295">
              <a:off x="190192" y="2958318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0" name="Forme libre : forme 149">
              <a:extLst>
                <a:ext uri="{FF2B5EF4-FFF2-40B4-BE49-F238E27FC236}">
                  <a16:creationId xmlns:a16="http://schemas.microsoft.com/office/drawing/2014/main" id="{7556479F-3BE7-4641-97C7-A31999C980CD}"/>
                </a:ext>
              </a:extLst>
            </p:cNvPr>
            <p:cNvSpPr/>
            <p:nvPr/>
          </p:nvSpPr>
          <p:spPr>
            <a:xfrm rot="7484129">
              <a:off x="349009" y="324793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1" name="Forme libre : forme 150">
              <a:extLst>
                <a:ext uri="{FF2B5EF4-FFF2-40B4-BE49-F238E27FC236}">
                  <a16:creationId xmlns:a16="http://schemas.microsoft.com/office/drawing/2014/main" id="{C9126667-6906-4254-B833-2535AC138F99}"/>
                </a:ext>
              </a:extLst>
            </p:cNvPr>
            <p:cNvSpPr/>
            <p:nvPr/>
          </p:nvSpPr>
          <p:spPr>
            <a:xfrm rot="13089394">
              <a:off x="507659" y="3197284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2" name="Forme libre : forme 151">
              <a:extLst>
                <a:ext uri="{FF2B5EF4-FFF2-40B4-BE49-F238E27FC236}">
                  <a16:creationId xmlns:a16="http://schemas.microsoft.com/office/drawing/2014/main" id="{EB63A53B-C558-41C6-87D3-6E3EEB414D38}"/>
                </a:ext>
              </a:extLst>
            </p:cNvPr>
            <p:cNvSpPr/>
            <p:nvPr/>
          </p:nvSpPr>
          <p:spPr>
            <a:xfrm rot="8716295">
              <a:off x="788550" y="2907166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3" name="Forme libre : forme 152">
              <a:extLst>
                <a:ext uri="{FF2B5EF4-FFF2-40B4-BE49-F238E27FC236}">
                  <a16:creationId xmlns:a16="http://schemas.microsoft.com/office/drawing/2014/main" id="{EBE3A45E-76C2-41F7-84F5-A2A181D50E91}"/>
                </a:ext>
              </a:extLst>
            </p:cNvPr>
            <p:cNvSpPr/>
            <p:nvPr/>
          </p:nvSpPr>
          <p:spPr>
            <a:xfrm rot="8716295">
              <a:off x="710141" y="275037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4" name="Forme libre : forme 153">
              <a:extLst>
                <a:ext uri="{FF2B5EF4-FFF2-40B4-BE49-F238E27FC236}">
                  <a16:creationId xmlns:a16="http://schemas.microsoft.com/office/drawing/2014/main" id="{871F770F-4D72-4427-86D1-F18744993E05}"/>
                </a:ext>
              </a:extLst>
            </p:cNvPr>
            <p:cNvSpPr/>
            <p:nvPr/>
          </p:nvSpPr>
          <p:spPr>
            <a:xfrm rot="8716295">
              <a:off x="341977" y="279611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5" name="Forme libre : forme 154">
              <a:extLst>
                <a:ext uri="{FF2B5EF4-FFF2-40B4-BE49-F238E27FC236}">
                  <a16:creationId xmlns:a16="http://schemas.microsoft.com/office/drawing/2014/main" id="{CBA9ADD5-0B79-42BB-A803-7DD5C3582812}"/>
                </a:ext>
              </a:extLst>
            </p:cNvPr>
            <p:cNvSpPr/>
            <p:nvPr/>
          </p:nvSpPr>
          <p:spPr>
            <a:xfrm rot="8716295">
              <a:off x="610559" y="2555095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6" name="Forme libre : forme 155">
              <a:extLst>
                <a:ext uri="{FF2B5EF4-FFF2-40B4-BE49-F238E27FC236}">
                  <a16:creationId xmlns:a16="http://schemas.microsoft.com/office/drawing/2014/main" id="{7B5F712C-46C4-40C0-B35F-823DEC5DC95D}"/>
                </a:ext>
              </a:extLst>
            </p:cNvPr>
            <p:cNvSpPr/>
            <p:nvPr/>
          </p:nvSpPr>
          <p:spPr>
            <a:xfrm rot="8716295">
              <a:off x="-24305" y="2374348"/>
              <a:ext cx="58950" cy="66898"/>
            </a:xfrm>
            <a:custGeom>
              <a:avLst/>
              <a:gdLst>
                <a:gd name="connsiteX0" fmla="*/ 0 w 58950"/>
                <a:gd name="connsiteY0" fmla="*/ 66898 h 66898"/>
                <a:gd name="connsiteX1" fmla="*/ 0 w 58950"/>
                <a:gd name="connsiteY1" fmla="*/ 0 h 66898"/>
                <a:gd name="connsiteX2" fmla="*/ 58950 w 58950"/>
                <a:gd name="connsiteY2" fmla="*/ 0 h 66898"/>
                <a:gd name="connsiteX3" fmla="*/ 12579 w 58950"/>
                <a:gd name="connsiteY3" fmla="*/ 66898 h 6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950" h="66898">
                  <a:moveTo>
                    <a:pt x="0" y="66898"/>
                  </a:moveTo>
                  <a:lnTo>
                    <a:pt x="0" y="0"/>
                  </a:lnTo>
                  <a:lnTo>
                    <a:pt x="58950" y="0"/>
                  </a:lnTo>
                  <a:lnTo>
                    <a:pt x="12579" y="668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7" name="Forme libre : forme 156">
              <a:extLst>
                <a:ext uri="{FF2B5EF4-FFF2-40B4-BE49-F238E27FC236}">
                  <a16:creationId xmlns:a16="http://schemas.microsoft.com/office/drawing/2014/main" id="{7F46186A-3310-4CD5-864B-686D76F3E8C2}"/>
                </a:ext>
              </a:extLst>
            </p:cNvPr>
            <p:cNvSpPr/>
            <p:nvPr/>
          </p:nvSpPr>
          <p:spPr>
            <a:xfrm rot="8716295">
              <a:off x="-39593" y="1952072"/>
              <a:ext cx="198050" cy="140164"/>
            </a:xfrm>
            <a:custGeom>
              <a:avLst/>
              <a:gdLst>
                <a:gd name="connsiteX0" fmla="*/ 0 w 198050"/>
                <a:gd name="connsiteY0" fmla="*/ 75863 h 140164"/>
                <a:gd name="connsiteX1" fmla="*/ 0 w 198050"/>
                <a:gd name="connsiteY1" fmla="*/ 0 h 140164"/>
                <a:gd name="connsiteX2" fmla="*/ 128968 w 198050"/>
                <a:gd name="connsiteY2" fmla="*/ 0 h 140164"/>
                <a:gd name="connsiteX3" fmla="*/ 193021 w 198050"/>
                <a:gd name="connsiteY3" fmla="*/ 18535 h 140164"/>
                <a:gd name="connsiteX4" fmla="*/ 198050 w 198050"/>
                <a:gd name="connsiteY4" fmla="*/ 31548 h 140164"/>
                <a:gd name="connsiteX5" fmla="*/ 122761 w 198050"/>
                <a:gd name="connsiteY5" fmla="*/ 140164 h 140164"/>
                <a:gd name="connsiteX6" fmla="*/ 122761 w 198050"/>
                <a:gd name="connsiteY6" fmla="*/ 105519 h 140164"/>
                <a:gd name="connsiteX7" fmla="*/ 122761 w 198050"/>
                <a:gd name="connsiteY7" fmla="*/ 99312 h 140164"/>
                <a:gd name="connsiteX8" fmla="*/ 91726 w 198050"/>
                <a:gd name="connsiteY8" fmla="*/ 75863 h 140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8050" h="140164">
                  <a:moveTo>
                    <a:pt x="0" y="75863"/>
                  </a:moveTo>
                  <a:lnTo>
                    <a:pt x="0" y="0"/>
                  </a:lnTo>
                  <a:lnTo>
                    <a:pt x="128968" y="0"/>
                  </a:lnTo>
                  <a:cubicBezTo>
                    <a:pt x="156900" y="0"/>
                    <a:pt x="178452" y="6034"/>
                    <a:pt x="193021" y="18535"/>
                  </a:cubicBezTo>
                  <a:lnTo>
                    <a:pt x="198050" y="31548"/>
                  </a:lnTo>
                  <a:lnTo>
                    <a:pt x="122761" y="140164"/>
                  </a:ln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4"/>
                    <a:pt x="91726" y="758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8" name="Forme libre : forme 157">
              <a:extLst>
                <a:ext uri="{FF2B5EF4-FFF2-40B4-BE49-F238E27FC236}">
                  <a16:creationId xmlns:a16="http://schemas.microsoft.com/office/drawing/2014/main" id="{A7D40018-F0E5-4DC0-8F24-CC5DD724ED71}"/>
                </a:ext>
              </a:extLst>
            </p:cNvPr>
            <p:cNvSpPr/>
            <p:nvPr/>
          </p:nvSpPr>
          <p:spPr>
            <a:xfrm rot="8716295">
              <a:off x="21100" y="1808096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9" name="Forme libre : forme 158">
              <a:extLst>
                <a:ext uri="{FF2B5EF4-FFF2-40B4-BE49-F238E27FC236}">
                  <a16:creationId xmlns:a16="http://schemas.microsoft.com/office/drawing/2014/main" id="{DE6A0D39-0B43-4DC3-9F56-137223FC9AF7}"/>
                </a:ext>
              </a:extLst>
            </p:cNvPr>
            <p:cNvSpPr/>
            <p:nvPr/>
          </p:nvSpPr>
          <p:spPr>
            <a:xfrm rot="8716295">
              <a:off x="-24330" y="2197782"/>
              <a:ext cx="102508" cy="53362"/>
            </a:xfrm>
            <a:custGeom>
              <a:avLst/>
              <a:gdLst>
                <a:gd name="connsiteX0" fmla="*/ 0 w 102508"/>
                <a:gd name="connsiteY0" fmla="*/ 23637 h 53362"/>
                <a:gd name="connsiteX1" fmla="*/ 0 w 102508"/>
                <a:gd name="connsiteY1" fmla="*/ 2258 h 53362"/>
                <a:gd name="connsiteX2" fmla="*/ 102508 w 102508"/>
                <a:gd name="connsiteY2" fmla="*/ 0 h 53362"/>
                <a:gd name="connsiteX3" fmla="*/ 65519 w 102508"/>
                <a:gd name="connsiteY3" fmla="*/ 53362 h 53362"/>
                <a:gd name="connsiteX4" fmla="*/ 65519 w 102508"/>
                <a:gd name="connsiteY4" fmla="*/ 23637 h 5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508" h="53362">
                  <a:moveTo>
                    <a:pt x="0" y="23637"/>
                  </a:moveTo>
                  <a:lnTo>
                    <a:pt x="0" y="2258"/>
                  </a:lnTo>
                  <a:lnTo>
                    <a:pt x="102508" y="0"/>
                  </a:lnTo>
                  <a:lnTo>
                    <a:pt x="65519" y="53362"/>
                  </a:lnTo>
                  <a:lnTo>
                    <a:pt x="65519" y="2363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0" name="Forme libre : forme 159">
              <a:extLst>
                <a:ext uri="{FF2B5EF4-FFF2-40B4-BE49-F238E27FC236}">
                  <a16:creationId xmlns:a16="http://schemas.microsoft.com/office/drawing/2014/main" id="{53869A83-F18C-41C3-A8D6-8AA2F169F6A9}"/>
                </a:ext>
              </a:extLst>
            </p:cNvPr>
            <p:cNvSpPr/>
            <p:nvPr/>
          </p:nvSpPr>
          <p:spPr>
            <a:xfrm rot="7484129">
              <a:off x="11236" y="224945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1" name="Forme libre : forme 160">
              <a:extLst>
                <a:ext uri="{FF2B5EF4-FFF2-40B4-BE49-F238E27FC236}">
                  <a16:creationId xmlns:a16="http://schemas.microsoft.com/office/drawing/2014/main" id="{47FF6EA9-61FE-4C53-86BC-F03ADA0CF577}"/>
                </a:ext>
              </a:extLst>
            </p:cNvPr>
            <p:cNvSpPr/>
            <p:nvPr/>
          </p:nvSpPr>
          <p:spPr>
            <a:xfrm rot="13089394">
              <a:off x="169886" y="2198801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2" name="Forme libre : forme 161">
              <a:extLst>
                <a:ext uri="{FF2B5EF4-FFF2-40B4-BE49-F238E27FC236}">
                  <a16:creationId xmlns:a16="http://schemas.microsoft.com/office/drawing/2014/main" id="{6ED294D2-DD3A-4323-ADB4-4D2A485D31FA}"/>
                </a:ext>
              </a:extLst>
            </p:cNvPr>
            <p:cNvSpPr/>
            <p:nvPr/>
          </p:nvSpPr>
          <p:spPr>
            <a:xfrm rot="8716295">
              <a:off x="450777" y="1908683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3" name="Forme libre : forme 162">
              <a:extLst>
                <a:ext uri="{FF2B5EF4-FFF2-40B4-BE49-F238E27FC236}">
                  <a16:creationId xmlns:a16="http://schemas.microsoft.com/office/drawing/2014/main" id="{4D7140F9-06B5-4BA8-BEAB-23BD75B9DD53}"/>
                </a:ext>
              </a:extLst>
            </p:cNvPr>
            <p:cNvSpPr/>
            <p:nvPr/>
          </p:nvSpPr>
          <p:spPr>
            <a:xfrm rot="8716295">
              <a:off x="372368" y="175189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4" name="Forme libre : forme 163">
              <a:extLst>
                <a:ext uri="{FF2B5EF4-FFF2-40B4-BE49-F238E27FC236}">
                  <a16:creationId xmlns:a16="http://schemas.microsoft.com/office/drawing/2014/main" id="{068812F1-37A6-4A0A-A392-F4B3E8D2782D}"/>
                </a:ext>
              </a:extLst>
            </p:cNvPr>
            <p:cNvSpPr/>
            <p:nvPr/>
          </p:nvSpPr>
          <p:spPr>
            <a:xfrm rot="8716295">
              <a:off x="4204" y="179763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5" name="Forme libre : forme 164">
              <a:extLst>
                <a:ext uri="{FF2B5EF4-FFF2-40B4-BE49-F238E27FC236}">
                  <a16:creationId xmlns:a16="http://schemas.microsoft.com/office/drawing/2014/main" id="{B62F2753-FDB5-4835-8322-FC678E060DC4}"/>
                </a:ext>
              </a:extLst>
            </p:cNvPr>
            <p:cNvSpPr/>
            <p:nvPr/>
          </p:nvSpPr>
          <p:spPr>
            <a:xfrm rot="8716295">
              <a:off x="272786" y="155661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6" name="Forme libre : forme 165">
              <a:extLst>
                <a:ext uri="{FF2B5EF4-FFF2-40B4-BE49-F238E27FC236}">
                  <a16:creationId xmlns:a16="http://schemas.microsoft.com/office/drawing/2014/main" id="{16BB8F81-6062-4A6D-AD9A-0C3CC09E65D3}"/>
                </a:ext>
              </a:extLst>
            </p:cNvPr>
            <p:cNvSpPr/>
            <p:nvPr/>
          </p:nvSpPr>
          <p:spPr>
            <a:xfrm rot="8716295">
              <a:off x="-35149" y="938156"/>
              <a:ext cx="158623" cy="159016"/>
            </a:xfrm>
            <a:custGeom>
              <a:avLst/>
              <a:gdLst>
                <a:gd name="connsiteX0" fmla="*/ 77932 w 158623"/>
                <a:gd name="connsiteY0" fmla="*/ 159016 h 159016"/>
                <a:gd name="connsiteX1" fmla="*/ 77932 w 158623"/>
                <a:gd name="connsiteY1" fmla="*/ 66898 h 159016"/>
                <a:gd name="connsiteX2" fmla="*/ 0 w 158623"/>
                <a:gd name="connsiteY2" fmla="*/ 66898 h 159016"/>
                <a:gd name="connsiteX3" fmla="*/ 0 w 158623"/>
                <a:gd name="connsiteY3" fmla="*/ 0 h 159016"/>
                <a:gd name="connsiteX4" fmla="*/ 158623 w 158623"/>
                <a:gd name="connsiteY4" fmla="*/ 0 h 159016"/>
                <a:gd name="connsiteX5" fmla="*/ 158623 w 158623"/>
                <a:gd name="connsiteY5" fmla="*/ 42606 h 15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8623" h="159016">
                  <a:moveTo>
                    <a:pt x="77932" y="159016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4260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7" name="Forme libre : forme 166">
              <a:extLst>
                <a:ext uri="{FF2B5EF4-FFF2-40B4-BE49-F238E27FC236}">
                  <a16:creationId xmlns:a16="http://schemas.microsoft.com/office/drawing/2014/main" id="{102294D5-AEAF-4B56-AF06-6647D3303B85}"/>
                </a:ext>
              </a:extLst>
            </p:cNvPr>
            <p:cNvSpPr/>
            <p:nvPr/>
          </p:nvSpPr>
          <p:spPr>
            <a:xfrm rot="7484129">
              <a:off x="-32979" y="1345537"/>
              <a:ext cx="65961" cy="45734"/>
            </a:xfrm>
            <a:custGeom>
              <a:avLst/>
              <a:gdLst>
                <a:gd name="connsiteX0" fmla="*/ 0 w 65961"/>
                <a:gd name="connsiteY0" fmla="*/ 45734 h 45734"/>
                <a:gd name="connsiteX1" fmla="*/ 0 w 65961"/>
                <a:gd name="connsiteY1" fmla="*/ 0 h 45734"/>
                <a:gd name="connsiteX2" fmla="*/ 65961 w 65961"/>
                <a:gd name="connsiteY2" fmla="*/ 0 h 45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5961" h="45734">
                  <a:moveTo>
                    <a:pt x="0" y="45734"/>
                  </a:moveTo>
                  <a:lnTo>
                    <a:pt x="0" y="0"/>
                  </a:lnTo>
                  <a:lnTo>
                    <a:pt x="6596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8" name="Forme libre : forme 167">
              <a:extLst>
                <a:ext uri="{FF2B5EF4-FFF2-40B4-BE49-F238E27FC236}">
                  <a16:creationId xmlns:a16="http://schemas.microsoft.com/office/drawing/2014/main" id="{6A1A2358-10CF-4FD5-A4AA-FC64164263AF}"/>
                </a:ext>
              </a:extLst>
            </p:cNvPr>
            <p:cNvSpPr/>
            <p:nvPr/>
          </p:nvSpPr>
          <p:spPr>
            <a:xfrm rot="13089394">
              <a:off x="-134707" y="1200752"/>
              <a:ext cx="386820" cy="481345"/>
            </a:xfrm>
            <a:custGeom>
              <a:avLst/>
              <a:gdLst>
                <a:gd name="connsiteX0" fmla="*/ 386820 w 386820"/>
                <a:gd name="connsiteY0" fmla="*/ 391818 h 481345"/>
                <a:gd name="connsiteX1" fmla="*/ 342166 w 386820"/>
                <a:gd name="connsiteY1" fmla="*/ 422376 h 481345"/>
                <a:gd name="connsiteX2" fmla="*/ 138636 w 386820"/>
                <a:gd name="connsiteY2" fmla="*/ 481098 h 481345"/>
                <a:gd name="connsiteX3" fmla="*/ 35911 w 386820"/>
                <a:gd name="connsiteY3" fmla="*/ 439340 h 481345"/>
                <a:gd name="connsiteX4" fmla="*/ 0 w 386820"/>
                <a:gd name="connsiteY4" fmla="*/ 295693 h 481345"/>
                <a:gd name="connsiteX5" fmla="*/ 0 w 386820"/>
                <a:gd name="connsiteY5" fmla="*/ 40970 h 481345"/>
                <a:gd name="connsiteX6" fmla="*/ 78970 w 386820"/>
                <a:gd name="connsiteY6" fmla="*/ 0 h 481345"/>
                <a:gd name="connsiteX7" fmla="*/ 111492 w 386820"/>
                <a:gd name="connsiteY7" fmla="*/ 41392 h 481345"/>
                <a:gd name="connsiteX8" fmla="*/ 112747 w 386820"/>
                <a:gd name="connsiteY8" fmla="*/ 216353 h 481345"/>
                <a:gd name="connsiteX9" fmla="*/ 132789 w 386820"/>
                <a:gd name="connsiteY9" fmla="*/ 354990 h 481345"/>
                <a:gd name="connsiteX10" fmla="*/ 233008 w 386820"/>
                <a:gd name="connsiteY10" fmla="*/ 410110 h 481345"/>
                <a:gd name="connsiteX11" fmla="*/ 308173 w 386820"/>
                <a:gd name="connsiteY11" fmla="*/ 396747 h 481345"/>
                <a:gd name="connsiteX12" fmla="*/ 370717 w 386820"/>
                <a:gd name="connsiteY12" fmla="*/ 371323 h 481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6820" h="481345">
                  <a:moveTo>
                    <a:pt x="386820" y="391818"/>
                  </a:moveTo>
                  <a:lnTo>
                    <a:pt x="342166" y="422376"/>
                  </a:lnTo>
                  <a:cubicBezTo>
                    <a:pt x="268920" y="462151"/>
                    <a:pt x="190624" y="477966"/>
                    <a:pt x="138636" y="481098"/>
                  </a:cubicBezTo>
                  <a:cubicBezTo>
                    <a:pt x="100219" y="483604"/>
                    <a:pt x="62637" y="466901"/>
                    <a:pt x="35911" y="439340"/>
                  </a:cubicBezTo>
                  <a:cubicBezTo>
                    <a:pt x="7516" y="411780"/>
                    <a:pt x="0" y="364176"/>
                    <a:pt x="0" y="295693"/>
                  </a:cubicBezTo>
                  <a:lnTo>
                    <a:pt x="0" y="40970"/>
                  </a:lnTo>
                  <a:lnTo>
                    <a:pt x="78970" y="0"/>
                  </a:lnTo>
                  <a:lnTo>
                    <a:pt x="111492" y="41392"/>
                  </a:lnTo>
                  <a:lnTo>
                    <a:pt x="112747" y="216353"/>
                  </a:lnTo>
                  <a:cubicBezTo>
                    <a:pt x="110241" y="263122"/>
                    <a:pt x="117757" y="310726"/>
                    <a:pt x="132789" y="354990"/>
                  </a:cubicBezTo>
                  <a:cubicBezTo>
                    <a:pt x="146153" y="391736"/>
                    <a:pt x="180394" y="410110"/>
                    <a:pt x="233008" y="410110"/>
                  </a:cubicBezTo>
                  <a:cubicBezTo>
                    <a:pt x="258899" y="409274"/>
                    <a:pt x="283953" y="404263"/>
                    <a:pt x="308173" y="396747"/>
                  </a:cubicBezTo>
                  <a:lnTo>
                    <a:pt x="370717" y="371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9" name="Forme libre : forme 168">
              <a:extLst>
                <a:ext uri="{FF2B5EF4-FFF2-40B4-BE49-F238E27FC236}">
                  <a16:creationId xmlns:a16="http://schemas.microsoft.com/office/drawing/2014/main" id="{EA80D635-6F53-4857-9F50-4111495DC12C}"/>
                </a:ext>
              </a:extLst>
            </p:cNvPr>
            <p:cNvSpPr/>
            <p:nvPr/>
          </p:nvSpPr>
          <p:spPr>
            <a:xfrm rot="8716295">
              <a:off x="119403" y="90662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0" name="Forme libre : forme 169">
              <a:extLst>
                <a:ext uri="{FF2B5EF4-FFF2-40B4-BE49-F238E27FC236}">
                  <a16:creationId xmlns:a16="http://schemas.microsoft.com/office/drawing/2014/main" id="{40670C43-A49A-4C3B-A39B-628E23BE1E4B}"/>
                </a:ext>
              </a:extLst>
            </p:cNvPr>
            <p:cNvSpPr/>
            <p:nvPr/>
          </p:nvSpPr>
          <p:spPr>
            <a:xfrm rot="8716295">
              <a:off x="40994" y="74983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1" name="Forme libre : forme 170">
              <a:extLst>
                <a:ext uri="{FF2B5EF4-FFF2-40B4-BE49-F238E27FC236}">
                  <a16:creationId xmlns:a16="http://schemas.microsoft.com/office/drawing/2014/main" id="{A1E0B69E-7457-4A6E-B80C-0CDACC682BEC}"/>
                </a:ext>
              </a:extLst>
            </p:cNvPr>
            <p:cNvSpPr/>
            <p:nvPr/>
          </p:nvSpPr>
          <p:spPr>
            <a:xfrm rot="8716295">
              <a:off x="-44934" y="551941"/>
              <a:ext cx="152592" cy="165412"/>
            </a:xfrm>
            <a:custGeom>
              <a:avLst/>
              <a:gdLst>
                <a:gd name="connsiteX0" fmla="*/ 26453 w 152592"/>
                <a:gd name="connsiteY0" fmla="*/ 153143 h 165412"/>
                <a:gd name="connsiteX1" fmla="*/ 0 w 152592"/>
                <a:gd name="connsiteY1" fmla="*/ 90494 h 165412"/>
                <a:gd name="connsiteX2" fmla="*/ 0 w 152592"/>
                <a:gd name="connsiteY2" fmla="*/ 89101 h 165412"/>
                <a:gd name="connsiteX3" fmla="*/ 26453 w 152592"/>
                <a:gd name="connsiteY3" fmla="*/ 26453 h 165412"/>
                <a:gd name="connsiteX4" fmla="*/ 89101 w 152592"/>
                <a:gd name="connsiteY4" fmla="*/ 0 h 165412"/>
                <a:gd name="connsiteX5" fmla="*/ 151752 w 152592"/>
                <a:gd name="connsiteY5" fmla="*/ 26453 h 165412"/>
                <a:gd name="connsiteX6" fmla="*/ 152592 w 152592"/>
                <a:gd name="connsiteY6" fmla="*/ 27688 h 165412"/>
                <a:gd name="connsiteX7" fmla="*/ 57126 w 152592"/>
                <a:gd name="connsiteY7" fmla="*/ 165412 h 165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592" h="165412">
                  <a:moveTo>
                    <a:pt x="26453" y="153143"/>
                  </a:moveTo>
                  <a:cubicBezTo>
                    <a:pt x="9746" y="136436"/>
                    <a:pt x="0" y="114161"/>
                    <a:pt x="0" y="90494"/>
                  </a:cubicBezTo>
                  <a:lnTo>
                    <a:pt x="0" y="89101"/>
                  </a:lnTo>
                  <a:cubicBezTo>
                    <a:pt x="0" y="65434"/>
                    <a:pt x="9746" y="43159"/>
                    <a:pt x="26453" y="26453"/>
                  </a:cubicBezTo>
                  <a:cubicBezTo>
                    <a:pt x="43159" y="9746"/>
                    <a:pt x="65435" y="0"/>
                    <a:pt x="89101" y="0"/>
                  </a:cubicBezTo>
                  <a:cubicBezTo>
                    <a:pt x="112770" y="0"/>
                    <a:pt x="135045" y="9746"/>
                    <a:pt x="151752" y="26453"/>
                  </a:cubicBezTo>
                  <a:lnTo>
                    <a:pt x="152592" y="27688"/>
                  </a:lnTo>
                  <a:lnTo>
                    <a:pt x="57126" y="1654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2" name="Forme libre : forme 171">
              <a:extLst>
                <a:ext uri="{FF2B5EF4-FFF2-40B4-BE49-F238E27FC236}">
                  <a16:creationId xmlns:a16="http://schemas.microsoft.com/office/drawing/2014/main" id="{8305DDDC-A62B-4F5B-99D8-968A303BB880}"/>
                </a:ext>
              </a:extLst>
            </p:cNvPr>
            <p:cNvSpPr/>
            <p:nvPr/>
          </p:nvSpPr>
          <p:spPr>
            <a:xfrm rot="8716295">
              <a:off x="-69806" y="4587027"/>
              <a:ext cx="183810" cy="187594"/>
            </a:xfrm>
            <a:custGeom>
              <a:avLst/>
              <a:gdLst>
                <a:gd name="connsiteX0" fmla="*/ 10574 w 183810"/>
                <a:gd name="connsiteY0" fmla="*/ 187594 h 187594"/>
                <a:gd name="connsiteX1" fmla="*/ 0 w 183810"/>
                <a:gd name="connsiteY1" fmla="*/ 172952 h 187594"/>
                <a:gd name="connsiteX2" fmla="*/ 183810 w 183810"/>
                <a:gd name="connsiteY2" fmla="*/ 0 h 187594"/>
                <a:gd name="connsiteX3" fmla="*/ 72284 w 183810"/>
                <a:gd name="connsiteY3" fmla="*/ 160894 h 187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810" h="187594">
                  <a:moveTo>
                    <a:pt x="10574" y="187594"/>
                  </a:moveTo>
                  <a:lnTo>
                    <a:pt x="0" y="172952"/>
                  </a:lnTo>
                  <a:lnTo>
                    <a:pt x="183810" y="0"/>
                  </a:lnTo>
                  <a:lnTo>
                    <a:pt x="72284" y="1608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3" name="Forme libre : forme 172">
              <a:extLst>
                <a:ext uri="{FF2B5EF4-FFF2-40B4-BE49-F238E27FC236}">
                  <a16:creationId xmlns:a16="http://schemas.microsoft.com/office/drawing/2014/main" id="{1A0E6ECB-8294-4BA3-8422-8334524ECB58}"/>
                </a:ext>
              </a:extLst>
            </p:cNvPr>
            <p:cNvSpPr/>
            <p:nvPr/>
          </p:nvSpPr>
          <p:spPr>
            <a:xfrm rot="8716295">
              <a:off x="4450621" y="307495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4" name="Forme libre : forme 173">
              <a:extLst>
                <a:ext uri="{FF2B5EF4-FFF2-40B4-BE49-F238E27FC236}">
                  <a16:creationId xmlns:a16="http://schemas.microsoft.com/office/drawing/2014/main" id="{01833036-FD07-46D7-82C2-88C1FC05C85F}"/>
                </a:ext>
              </a:extLst>
            </p:cNvPr>
            <p:cNvSpPr/>
            <p:nvPr/>
          </p:nvSpPr>
          <p:spPr>
            <a:xfrm rot="8716295">
              <a:off x="4585920" y="3119209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5" name="Forme libre : forme 174">
              <a:extLst>
                <a:ext uri="{FF2B5EF4-FFF2-40B4-BE49-F238E27FC236}">
                  <a16:creationId xmlns:a16="http://schemas.microsoft.com/office/drawing/2014/main" id="{B278615F-BCB7-43C6-82A0-33FD907351F5}"/>
                </a:ext>
              </a:extLst>
            </p:cNvPr>
            <p:cNvSpPr/>
            <p:nvPr/>
          </p:nvSpPr>
          <p:spPr>
            <a:xfrm rot="8716295">
              <a:off x="4518038" y="2988621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6" name="Forme libre : forme 175">
              <a:extLst>
                <a:ext uri="{FF2B5EF4-FFF2-40B4-BE49-F238E27FC236}">
                  <a16:creationId xmlns:a16="http://schemas.microsoft.com/office/drawing/2014/main" id="{A4CB9629-4E70-40F0-ADB7-98AF33E8FA82}"/>
                </a:ext>
              </a:extLst>
            </p:cNvPr>
            <p:cNvSpPr/>
            <p:nvPr/>
          </p:nvSpPr>
          <p:spPr>
            <a:xfrm rot="8716295">
              <a:off x="4280750" y="3208965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7" name="Forme libre : forme 176">
              <a:extLst>
                <a:ext uri="{FF2B5EF4-FFF2-40B4-BE49-F238E27FC236}">
                  <a16:creationId xmlns:a16="http://schemas.microsoft.com/office/drawing/2014/main" id="{DCB1DF66-902F-43AF-B912-90C47BAC4CD5}"/>
                </a:ext>
              </a:extLst>
            </p:cNvPr>
            <p:cNvSpPr/>
            <p:nvPr/>
          </p:nvSpPr>
          <p:spPr>
            <a:xfrm rot="8716295">
              <a:off x="4091704" y="289313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8" name="Forme libre : forme 177">
              <a:extLst>
                <a:ext uri="{FF2B5EF4-FFF2-40B4-BE49-F238E27FC236}">
                  <a16:creationId xmlns:a16="http://schemas.microsoft.com/office/drawing/2014/main" id="{206347F6-E053-48F4-AFC6-9C0856F4BFCC}"/>
                </a:ext>
              </a:extLst>
            </p:cNvPr>
            <p:cNvSpPr/>
            <p:nvPr/>
          </p:nvSpPr>
          <p:spPr>
            <a:xfrm rot="8716295">
              <a:off x="4073463" y="2683080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9" name="Forme libre : forme 178">
              <a:extLst>
                <a:ext uri="{FF2B5EF4-FFF2-40B4-BE49-F238E27FC236}">
                  <a16:creationId xmlns:a16="http://schemas.microsoft.com/office/drawing/2014/main" id="{8D2A26C7-C64C-4331-AB8E-BC64F42E6746}"/>
                </a:ext>
              </a:extLst>
            </p:cNvPr>
            <p:cNvSpPr/>
            <p:nvPr/>
          </p:nvSpPr>
          <p:spPr>
            <a:xfrm rot="8716295">
              <a:off x="4417239" y="327094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0" name="Forme libre : forme 179">
              <a:extLst>
                <a:ext uri="{FF2B5EF4-FFF2-40B4-BE49-F238E27FC236}">
                  <a16:creationId xmlns:a16="http://schemas.microsoft.com/office/drawing/2014/main" id="{71D50DC1-7D15-42D6-980A-E78799DC451B}"/>
                </a:ext>
              </a:extLst>
            </p:cNvPr>
            <p:cNvSpPr/>
            <p:nvPr/>
          </p:nvSpPr>
          <p:spPr>
            <a:xfrm rot="8716295">
              <a:off x="4888185" y="2696334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" name="Forme libre : forme 180">
              <a:extLst>
                <a:ext uri="{FF2B5EF4-FFF2-40B4-BE49-F238E27FC236}">
                  <a16:creationId xmlns:a16="http://schemas.microsoft.com/office/drawing/2014/main" id="{EB82C4E3-BE8E-4F27-B36D-E48F91D55981}"/>
                </a:ext>
              </a:extLst>
            </p:cNvPr>
            <p:cNvSpPr/>
            <p:nvPr/>
          </p:nvSpPr>
          <p:spPr>
            <a:xfrm rot="8716295">
              <a:off x="5023484" y="2740593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" name="Forme libre : forme 181">
              <a:extLst>
                <a:ext uri="{FF2B5EF4-FFF2-40B4-BE49-F238E27FC236}">
                  <a16:creationId xmlns:a16="http://schemas.microsoft.com/office/drawing/2014/main" id="{8CF0FAB3-0C6A-450B-9525-29BB7A59C040}"/>
                </a:ext>
              </a:extLst>
            </p:cNvPr>
            <p:cNvSpPr/>
            <p:nvPr/>
          </p:nvSpPr>
          <p:spPr>
            <a:xfrm rot="8716295">
              <a:off x="4718314" y="283034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" name="Forme libre : forme 182">
              <a:extLst>
                <a:ext uri="{FF2B5EF4-FFF2-40B4-BE49-F238E27FC236}">
                  <a16:creationId xmlns:a16="http://schemas.microsoft.com/office/drawing/2014/main" id="{10FB87B4-C488-45C6-AE08-E0AAB6025014}"/>
                </a:ext>
              </a:extLst>
            </p:cNvPr>
            <p:cNvSpPr/>
            <p:nvPr/>
          </p:nvSpPr>
          <p:spPr>
            <a:xfrm rot="8716295">
              <a:off x="4529270" y="251451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" name="Forme libre : forme 183">
              <a:extLst>
                <a:ext uri="{FF2B5EF4-FFF2-40B4-BE49-F238E27FC236}">
                  <a16:creationId xmlns:a16="http://schemas.microsoft.com/office/drawing/2014/main" id="{780E062E-8239-40E1-A336-E5540670A1BD}"/>
                </a:ext>
              </a:extLst>
            </p:cNvPr>
            <p:cNvSpPr/>
            <p:nvPr/>
          </p:nvSpPr>
          <p:spPr>
            <a:xfrm rot="8716295">
              <a:off x="4854803" y="2892332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" name="Forme libre : forme 184">
              <a:extLst>
                <a:ext uri="{FF2B5EF4-FFF2-40B4-BE49-F238E27FC236}">
                  <a16:creationId xmlns:a16="http://schemas.microsoft.com/office/drawing/2014/main" id="{DF4CDF9E-3E83-42B9-8060-460760813751}"/>
                </a:ext>
              </a:extLst>
            </p:cNvPr>
            <p:cNvSpPr/>
            <p:nvPr/>
          </p:nvSpPr>
          <p:spPr>
            <a:xfrm rot="8716295">
              <a:off x="4489356" y="2665906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" name="Forme libre : forme 185">
              <a:extLst>
                <a:ext uri="{FF2B5EF4-FFF2-40B4-BE49-F238E27FC236}">
                  <a16:creationId xmlns:a16="http://schemas.microsoft.com/office/drawing/2014/main" id="{0A35FA8D-2DA5-4890-87D4-1B3451916FA9}"/>
                </a:ext>
              </a:extLst>
            </p:cNvPr>
            <p:cNvSpPr/>
            <p:nvPr/>
          </p:nvSpPr>
          <p:spPr>
            <a:xfrm rot="7484129">
              <a:off x="5013620" y="318195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" name="Forme libre : forme 186">
              <a:extLst>
                <a:ext uri="{FF2B5EF4-FFF2-40B4-BE49-F238E27FC236}">
                  <a16:creationId xmlns:a16="http://schemas.microsoft.com/office/drawing/2014/main" id="{E6A0D96F-008F-4023-A0B6-38102FB3F884}"/>
                </a:ext>
              </a:extLst>
            </p:cNvPr>
            <p:cNvSpPr/>
            <p:nvPr/>
          </p:nvSpPr>
          <p:spPr>
            <a:xfrm rot="13089394">
              <a:off x="5172270" y="3131298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" name="Forme libre : forme 187">
              <a:extLst>
                <a:ext uri="{FF2B5EF4-FFF2-40B4-BE49-F238E27FC236}">
                  <a16:creationId xmlns:a16="http://schemas.microsoft.com/office/drawing/2014/main" id="{34516B6B-1C6B-4061-A441-0A96C5F85F2D}"/>
                </a:ext>
              </a:extLst>
            </p:cNvPr>
            <p:cNvSpPr/>
            <p:nvPr/>
          </p:nvSpPr>
          <p:spPr>
            <a:xfrm rot="8716295">
              <a:off x="5453161" y="2841180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" name="Forme libre : forme 188">
              <a:extLst>
                <a:ext uri="{FF2B5EF4-FFF2-40B4-BE49-F238E27FC236}">
                  <a16:creationId xmlns:a16="http://schemas.microsoft.com/office/drawing/2014/main" id="{25C5FA48-0926-4D19-8036-167D5A8A0B0F}"/>
                </a:ext>
              </a:extLst>
            </p:cNvPr>
            <p:cNvSpPr/>
            <p:nvPr/>
          </p:nvSpPr>
          <p:spPr>
            <a:xfrm rot="8716295">
              <a:off x="5374752" y="268438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" name="Forme libre : forme 189">
              <a:extLst>
                <a:ext uri="{FF2B5EF4-FFF2-40B4-BE49-F238E27FC236}">
                  <a16:creationId xmlns:a16="http://schemas.microsoft.com/office/drawing/2014/main" id="{DAF894AD-B4B7-410F-8EC1-02725EF382CF}"/>
                </a:ext>
              </a:extLst>
            </p:cNvPr>
            <p:cNvSpPr/>
            <p:nvPr/>
          </p:nvSpPr>
          <p:spPr>
            <a:xfrm rot="8716295">
              <a:off x="5006588" y="273012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" name="Forme libre : forme 190">
              <a:extLst>
                <a:ext uri="{FF2B5EF4-FFF2-40B4-BE49-F238E27FC236}">
                  <a16:creationId xmlns:a16="http://schemas.microsoft.com/office/drawing/2014/main" id="{050039E8-AFBF-4BD9-96DB-778F55B5F2C4}"/>
                </a:ext>
              </a:extLst>
            </p:cNvPr>
            <p:cNvSpPr/>
            <p:nvPr/>
          </p:nvSpPr>
          <p:spPr>
            <a:xfrm rot="8716295">
              <a:off x="5275170" y="2489109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" name="Forme libre : forme 191">
              <a:extLst>
                <a:ext uri="{FF2B5EF4-FFF2-40B4-BE49-F238E27FC236}">
                  <a16:creationId xmlns:a16="http://schemas.microsoft.com/office/drawing/2014/main" id="{BAF5AA66-DC18-43A5-AAAE-6EB312E4E790}"/>
                </a:ext>
              </a:extLst>
            </p:cNvPr>
            <p:cNvSpPr/>
            <p:nvPr/>
          </p:nvSpPr>
          <p:spPr>
            <a:xfrm rot="8716295">
              <a:off x="4788394" y="407343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" name="Forme libre : forme 192">
              <a:extLst>
                <a:ext uri="{FF2B5EF4-FFF2-40B4-BE49-F238E27FC236}">
                  <a16:creationId xmlns:a16="http://schemas.microsoft.com/office/drawing/2014/main" id="{780EC621-519F-489B-BFBA-B49F228A0641}"/>
                </a:ext>
              </a:extLst>
            </p:cNvPr>
            <p:cNvSpPr/>
            <p:nvPr/>
          </p:nvSpPr>
          <p:spPr>
            <a:xfrm rot="8716295">
              <a:off x="4923693" y="411769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" name="Forme libre : forme 193">
              <a:extLst>
                <a:ext uri="{FF2B5EF4-FFF2-40B4-BE49-F238E27FC236}">
                  <a16:creationId xmlns:a16="http://schemas.microsoft.com/office/drawing/2014/main" id="{56C02974-8A88-4B14-998C-3296551B1E9D}"/>
                </a:ext>
              </a:extLst>
            </p:cNvPr>
            <p:cNvSpPr/>
            <p:nvPr/>
          </p:nvSpPr>
          <p:spPr>
            <a:xfrm rot="8716295">
              <a:off x="4855811" y="3987104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" name="Forme libre : forme 194">
              <a:extLst>
                <a:ext uri="{FF2B5EF4-FFF2-40B4-BE49-F238E27FC236}">
                  <a16:creationId xmlns:a16="http://schemas.microsoft.com/office/drawing/2014/main" id="{1315A3F8-95CA-4F67-BF42-435167A25A7A}"/>
                </a:ext>
              </a:extLst>
            </p:cNvPr>
            <p:cNvSpPr/>
            <p:nvPr/>
          </p:nvSpPr>
          <p:spPr>
            <a:xfrm rot="8716295">
              <a:off x="4618523" y="420744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" name="Forme libre : forme 195">
              <a:extLst>
                <a:ext uri="{FF2B5EF4-FFF2-40B4-BE49-F238E27FC236}">
                  <a16:creationId xmlns:a16="http://schemas.microsoft.com/office/drawing/2014/main" id="{5FBA9E77-EEAF-4196-9EB3-AAB7591C02B4}"/>
                </a:ext>
              </a:extLst>
            </p:cNvPr>
            <p:cNvSpPr/>
            <p:nvPr/>
          </p:nvSpPr>
          <p:spPr>
            <a:xfrm rot="8716295">
              <a:off x="4429477" y="389161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" name="Forme libre : forme 196">
              <a:extLst>
                <a:ext uri="{FF2B5EF4-FFF2-40B4-BE49-F238E27FC236}">
                  <a16:creationId xmlns:a16="http://schemas.microsoft.com/office/drawing/2014/main" id="{9640743B-2A63-41D0-B596-466D8A1999D1}"/>
                </a:ext>
              </a:extLst>
            </p:cNvPr>
            <p:cNvSpPr/>
            <p:nvPr/>
          </p:nvSpPr>
          <p:spPr>
            <a:xfrm rot="8716295">
              <a:off x="4411236" y="3681563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" name="Forme libre : forme 197">
              <a:extLst>
                <a:ext uri="{FF2B5EF4-FFF2-40B4-BE49-F238E27FC236}">
                  <a16:creationId xmlns:a16="http://schemas.microsoft.com/office/drawing/2014/main" id="{58E0BAB6-4A71-4FD6-9833-700BF9E78B7C}"/>
                </a:ext>
              </a:extLst>
            </p:cNvPr>
            <p:cNvSpPr/>
            <p:nvPr/>
          </p:nvSpPr>
          <p:spPr>
            <a:xfrm rot="8716295">
              <a:off x="4755012" y="4269431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" name="Forme libre : forme 198">
              <a:extLst>
                <a:ext uri="{FF2B5EF4-FFF2-40B4-BE49-F238E27FC236}">
                  <a16:creationId xmlns:a16="http://schemas.microsoft.com/office/drawing/2014/main" id="{75BB7597-AEE7-44BA-A895-6BF134870ADB}"/>
                </a:ext>
              </a:extLst>
            </p:cNvPr>
            <p:cNvSpPr/>
            <p:nvPr/>
          </p:nvSpPr>
          <p:spPr>
            <a:xfrm rot="8716295">
              <a:off x="5225958" y="3694817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" name="Forme libre : forme 199">
              <a:extLst>
                <a:ext uri="{FF2B5EF4-FFF2-40B4-BE49-F238E27FC236}">
                  <a16:creationId xmlns:a16="http://schemas.microsoft.com/office/drawing/2014/main" id="{EEB3834C-1DBD-4E8A-80F2-2243D4B0C7C6}"/>
                </a:ext>
              </a:extLst>
            </p:cNvPr>
            <p:cNvSpPr/>
            <p:nvPr/>
          </p:nvSpPr>
          <p:spPr>
            <a:xfrm rot="8716295">
              <a:off x="5364349" y="3753375"/>
              <a:ext cx="325540" cy="385611"/>
            </a:xfrm>
            <a:custGeom>
              <a:avLst/>
              <a:gdLst>
                <a:gd name="connsiteX0" fmla="*/ 8983 w 325540"/>
                <a:gd name="connsiteY0" fmla="*/ 385611 h 385611"/>
                <a:gd name="connsiteX1" fmla="*/ 8983 w 325540"/>
                <a:gd name="connsiteY1" fmla="*/ 69053 h 385611"/>
                <a:gd name="connsiteX2" fmla="*/ 0 w 325540"/>
                <a:gd name="connsiteY2" fmla="*/ 69053 h 385611"/>
                <a:gd name="connsiteX3" fmla="*/ 55019 w 325540"/>
                <a:gd name="connsiteY3" fmla="*/ 2157 h 385611"/>
                <a:gd name="connsiteX4" fmla="*/ 89675 w 325540"/>
                <a:gd name="connsiteY4" fmla="*/ 2156 h 385611"/>
                <a:gd name="connsiteX5" fmla="*/ 89674 w 325540"/>
                <a:gd name="connsiteY5" fmla="*/ 113882 h 385611"/>
                <a:gd name="connsiteX6" fmla="*/ 91743 w 325540"/>
                <a:gd name="connsiteY6" fmla="*/ 113882 h 385611"/>
                <a:gd name="connsiteX7" fmla="*/ 164159 w 325540"/>
                <a:gd name="connsiteY7" fmla="*/ 9053 h 385611"/>
                <a:gd name="connsiteX8" fmla="*/ 211745 w 325540"/>
                <a:gd name="connsiteY8" fmla="*/ 87 h 385611"/>
                <a:gd name="connsiteX9" fmla="*/ 325540 w 325540"/>
                <a:gd name="connsiteY9" fmla="*/ 133882 h 385611"/>
                <a:gd name="connsiteX10" fmla="*/ 325540 w 325540"/>
                <a:gd name="connsiteY10" fmla="*/ 142848 h 385611"/>
                <a:gd name="connsiteX11" fmla="*/ 231746 w 325540"/>
                <a:gd name="connsiteY11" fmla="*/ 148366 h 385611"/>
                <a:gd name="connsiteX12" fmla="*/ 231746 w 325540"/>
                <a:gd name="connsiteY12" fmla="*/ 123538 h 385611"/>
                <a:gd name="connsiteX13" fmla="*/ 180710 w 325540"/>
                <a:gd name="connsiteY13" fmla="*/ 60778 h 385611"/>
                <a:gd name="connsiteX14" fmla="*/ 100020 w 325540"/>
                <a:gd name="connsiteY14" fmla="*/ 193194 h 385611"/>
                <a:gd name="connsiteX15" fmla="*/ 100020 w 325540"/>
                <a:gd name="connsiteY15" fmla="*/ 323541 h 385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5540" h="385611">
                  <a:moveTo>
                    <a:pt x="8983" y="385611"/>
                  </a:moveTo>
                  <a:lnTo>
                    <a:pt x="8983" y="69053"/>
                  </a:lnTo>
                  <a:lnTo>
                    <a:pt x="0" y="69053"/>
                  </a:lnTo>
                  <a:lnTo>
                    <a:pt x="55019" y="2157"/>
                  </a:lnTo>
                  <a:lnTo>
                    <a:pt x="89675" y="2156"/>
                  </a:lnTo>
                  <a:lnTo>
                    <a:pt x="89674" y="113882"/>
                  </a:lnTo>
                  <a:lnTo>
                    <a:pt x="91743" y="113882"/>
                  </a:lnTo>
                  <a:cubicBezTo>
                    <a:pt x="113813" y="48363"/>
                    <a:pt x="131055" y="22846"/>
                    <a:pt x="164159" y="9053"/>
                  </a:cubicBezTo>
                  <a:cubicBezTo>
                    <a:pt x="179331" y="2846"/>
                    <a:pt x="195193" y="-602"/>
                    <a:pt x="211745" y="87"/>
                  </a:cubicBezTo>
                  <a:cubicBezTo>
                    <a:pt x="282781" y="-1293"/>
                    <a:pt x="325540" y="48363"/>
                    <a:pt x="325540" y="133882"/>
                  </a:cubicBezTo>
                  <a:lnTo>
                    <a:pt x="325540" y="142848"/>
                  </a:lnTo>
                  <a:lnTo>
                    <a:pt x="231746" y="148366"/>
                  </a:lnTo>
                  <a:lnTo>
                    <a:pt x="231746" y="123538"/>
                  </a:lnTo>
                  <a:cubicBezTo>
                    <a:pt x="231746" y="86296"/>
                    <a:pt x="210367" y="60778"/>
                    <a:pt x="180710" y="60778"/>
                  </a:cubicBezTo>
                  <a:cubicBezTo>
                    <a:pt x="136572" y="60777"/>
                    <a:pt x="100020" y="119400"/>
                    <a:pt x="100020" y="193194"/>
                  </a:cubicBezTo>
                  <a:lnTo>
                    <a:pt x="100020" y="3235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" name="Forme libre : forme 200">
              <a:extLst>
                <a:ext uri="{FF2B5EF4-FFF2-40B4-BE49-F238E27FC236}">
                  <a16:creationId xmlns:a16="http://schemas.microsoft.com/office/drawing/2014/main" id="{372D1467-D2E3-4216-9E90-20982CF5734F}"/>
                </a:ext>
              </a:extLst>
            </p:cNvPr>
            <p:cNvSpPr/>
            <p:nvPr/>
          </p:nvSpPr>
          <p:spPr>
            <a:xfrm rot="8716295">
              <a:off x="5056087" y="382883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" name="Forme libre : forme 201">
              <a:extLst>
                <a:ext uri="{FF2B5EF4-FFF2-40B4-BE49-F238E27FC236}">
                  <a16:creationId xmlns:a16="http://schemas.microsoft.com/office/drawing/2014/main" id="{B604E5DA-CBD2-466D-A47E-4EAA9B5B7623}"/>
                </a:ext>
              </a:extLst>
            </p:cNvPr>
            <p:cNvSpPr/>
            <p:nvPr/>
          </p:nvSpPr>
          <p:spPr>
            <a:xfrm rot="8716295">
              <a:off x="4867043" y="351299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" name="Forme libre : forme 202">
              <a:extLst>
                <a:ext uri="{FF2B5EF4-FFF2-40B4-BE49-F238E27FC236}">
                  <a16:creationId xmlns:a16="http://schemas.microsoft.com/office/drawing/2014/main" id="{E20F76FB-79A8-44FD-A97E-07BAE8CB93F0}"/>
                </a:ext>
              </a:extLst>
            </p:cNvPr>
            <p:cNvSpPr/>
            <p:nvPr/>
          </p:nvSpPr>
          <p:spPr>
            <a:xfrm rot="8716295">
              <a:off x="5192576" y="3890815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" name="Forme libre : forme 203">
              <a:extLst>
                <a:ext uri="{FF2B5EF4-FFF2-40B4-BE49-F238E27FC236}">
                  <a16:creationId xmlns:a16="http://schemas.microsoft.com/office/drawing/2014/main" id="{07DA70CF-480A-435C-9C90-6F5E70E02F28}"/>
                </a:ext>
              </a:extLst>
            </p:cNvPr>
            <p:cNvSpPr/>
            <p:nvPr/>
          </p:nvSpPr>
          <p:spPr>
            <a:xfrm rot="8716295">
              <a:off x="4827129" y="3664389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" name="Forme libre : forme 204">
              <a:extLst>
                <a:ext uri="{FF2B5EF4-FFF2-40B4-BE49-F238E27FC236}">
                  <a16:creationId xmlns:a16="http://schemas.microsoft.com/office/drawing/2014/main" id="{EFCDF1BC-CE63-46A7-BBB7-A0FD6C01682D}"/>
                </a:ext>
              </a:extLst>
            </p:cNvPr>
            <p:cNvSpPr/>
            <p:nvPr/>
          </p:nvSpPr>
          <p:spPr>
            <a:xfrm rot="7484129">
              <a:off x="5351393" y="418043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" name="Forme libre : forme 205">
              <a:extLst>
                <a:ext uri="{FF2B5EF4-FFF2-40B4-BE49-F238E27FC236}">
                  <a16:creationId xmlns:a16="http://schemas.microsoft.com/office/drawing/2014/main" id="{DC92A656-7063-4EB8-9B18-5A621F03BDBB}"/>
                </a:ext>
              </a:extLst>
            </p:cNvPr>
            <p:cNvSpPr/>
            <p:nvPr/>
          </p:nvSpPr>
          <p:spPr>
            <a:xfrm rot="13089394">
              <a:off x="5497067" y="4157639"/>
              <a:ext cx="336155" cy="433969"/>
            </a:xfrm>
            <a:custGeom>
              <a:avLst/>
              <a:gdLst>
                <a:gd name="connsiteX0" fmla="*/ 23241 w 222098"/>
                <a:gd name="connsiteY0" fmla="*/ 47275 h 286724"/>
                <a:gd name="connsiteX1" fmla="*/ 0 w 222098"/>
                <a:gd name="connsiteY1" fmla="*/ 11882 h 286724"/>
                <a:gd name="connsiteX2" fmla="*/ 22902 w 222098"/>
                <a:gd name="connsiteY2" fmla="*/ 0 h 286724"/>
                <a:gd name="connsiteX3" fmla="*/ 222098 w 222098"/>
                <a:gd name="connsiteY3" fmla="*/ 258238 h 286724"/>
                <a:gd name="connsiteX4" fmla="*/ 180472 w 222098"/>
                <a:gd name="connsiteY4" fmla="*/ 286724 h 286724"/>
                <a:gd name="connsiteX5" fmla="*/ 167667 w 222098"/>
                <a:gd name="connsiteY5" fmla="*/ 267224 h 286724"/>
                <a:gd name="connsiteX6" fmla="*/ 220995 w 222098"/>
                <a:gd name="connsiteY6" fmla="*/ 245547 h 286724"/>
                <a:gd name="connsiteX7" fmla="*/ 222098 w 222098"/>
                <a:gd name="connsiteY7" fmla="*/ 252720 h 286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2098" h="286724">
                  <a:moveTo>
                    <a:pt x="23241" y="47275"/>
                  </a:moveTo>
                  <a:lnTo>
                    <a:pt x="0" y="11882"/>
                  </a:lnTo>
                  <a:lnTo>
                    <a:pt x="22902" y="0"/>
                  </a:lnTo>
                  <a:close/>
                  <a:moveTo>
                    <a:pt x="222098" y="258238"/>
                  </a:moveTo>
                  <a:lnTo>
                    <a:pt x="180472" y="286724"/>
                  </a:lnTo>
                  <a:lnTo>
                    <a:pt x="167667" y="267224"/>
                  </a:lnTo>
                  <a:lnTo>
                    <a:pt x="220995" y="245547"/>
                  </a:lnTo>
                  <a:cubicBezTo>
                    <a:pt x="221546" y="247754"/>
                    <a:pt x="222098" y="250513"/>
                    <a:pt x="222098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" name="Forme libre : forme 206">
              <a:extLst>
                <a:ext uri="{FF2B5EF4-FFF2-40B4-BE49-F238E27FC236}">
                  <a16:creationId xmlns:a16="http://schemas.microsoft.com/office/drawing/2014/main" id="{5B6131FF-A409-4EA9-81CC-0C3D2782942F}"/>
                </a:ext>
              </a:extLst>
            </p:cNvPr>
            <p:cNvSpPr/>
            <p:nvPr/>
          </p:nvSpPr>
          <p:spPr>
            <a:xfrm rot="8716295">
              <a:off x="5689139" y="3701707"/>
              <a:ext cx="105382" cy="119090"/>
            </a:xfrm>
            <a:custGeom>
              <a:avLst/>
              <a:gdLst>
                <a:gd name="connsiteX0" fmla="*/ 0 w 69626"/>
                <a:gd name="connsiteY0" fmla="*/ 74288 h 78683"/>
                <a:gd name="connsiteX1" fmla="*/ 61446 w 69626"/>
                <a:gd name="connsiteY1" fmla="*/ 0 h 78683"/>
                <a:gd name="connsiteX2" fmla="*/ 69626 w 69626"/>
                <a:gd name="connsiteY2" fmla="*/ 19468 h 78683"/>
                <a:gd name="connsiteX3" fmla="*/ 52380 w 69626"/>
                <a:gd name="connsiteY3" fmla="*/ 61206 h 78683"/>
                <a:gd name="connsiteX4" fmla="*/ 10986 w 69626"/>
                <a:gd name="connsiteY4" fmla="*/ 78683 h 78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626" h="78683">
                  <a:moveTo>
                    <a:pt x="0" y="74288"/>
                  </a:moveTo>
                  <a:lnTo>
                    <a:pt x="61446" y="0"/>
                  </a:lnTo>
                  <a:lnTo>
                    <a:pt x="69626" y="19468"/>
                  </a:lnTo>
                  <a:cubicBezTo>
                    <a:pt x="69626" y="34531"/>
                    <a:pt x="63877" y="49708"/>
                    <a:pt x="52380" y="61206"/>
                  </a:cubicBezTo>
                  <a:cubicBezTo>
                    <a:pt x="41341" y="72244"/>
                    <a:pt x="26624" y="78683"/>
                    <a:pt x="10986" y="786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" name="Forme libre : forme 207">
              <a:extLst>
                <a:ext uri="{FF2B5EF4-FFF2-40B4-BE49-F238E27FC236}">
                  <a16:creationId xmlns:a16="http://schemas.microsoft.com/office/drawing/2014/main" id="{F418276D-8E57-4C97-A0E3-69608568D520}"/>
                </a:ext>
              </a:extLst>
            </p:cNvPr>
            <p:cNvSpPr/>
            <p:nvPr/>
          </p:nvSpPr>
          <p:spPr>
            <a:xfrm rot="8716295">
              <a:off x="5344361" y="372861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" name="Forme libre : forme 208">
              <a:extLst>
                <a:ext uri="{FF2B5EF4-FFF2-40B4-BE49-F238E27FC236}">
                  <a16:creationId xmlns:a16="http://schemas.microsoft.com/office/drawing/2014/main" id="{18CB7434-4843-4498-9ECE-196E31359917}"/>
                </a:ext>
              </a:extLst>
            </p:cNvPr>
            <p:cNvSpPr/>
            <p:nvPr/>
          </p:nvSpPr>
          <p:spPr>
            <a:xfrm rot="8716295">
              <a:off x="5599943" y="3480521"/>
              <a:ext cx="177855" cy="178203"/>
            </a:xfrm>
            <a:custGeom>
              <a:avLst/>
              <a:gdLst>
                <a:gd name="connsiteX0" fmla="*/ 17477 w 117509"/>
                <a:gd name="connsiteY0" fmla="*/ 101182 h 117739"/>
                <a:gd name="connsiteX1" fmla="*/ 0 w 117509"/>
                <a:gd name="connsiteY1" fmla="*/ 59790 h 117739"/>
                <a:gd name="connsiteX2" fmla="*/ 0 w 117509"/>
                <a:gd name="connsiteY2" fmla="*/ 58869 h 117739"/>
                <a:gd name="connsiteX3" fmla="*/ 2091 w 117509"/>
                <a:gd name="connsiteY3" fmla="*/ 48678 h 117739"/>
                <a:gd name="connsiteX4" fmla="*/ 38978 w 117509"/>
                <a:gd name="connsiteY4" fmla="*/ 4080 h 117739"/>
                <a:gd name="connsiteX5" fmla="*/ 58869 w 117509"/>
                <a:gd name="connsiteY5" fmla="*/ 0 h 117739"/>
                <a:gd name="connsiteX6" fmla="*/ 100263 w 117509"/>
                <a:gd name="connsiteY6" fmla="*/ 17477 h 117739"/>
                <a:gd name="connsiteX7" fmla="*/ 100263 w 117509"/>
                <a:gd name="connsiteY7" fmla="*/ 100262 h 117739"/>
                <a:gd name="connsiteX8" fmla="*/ 58869 w 117509"/>
                <a:gd name="connsiteY8" fmla="*/ 117739 h 117739"/>
                <a:gd name="connsiteX9" fmla="*/ 17477 w 117509"/>
                <a:gd name="connsiteY9" fmla="*/ 101182 h 117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09" h="117739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lnTo>
                    <a:pt x="2091" y="48678"/>
                  </a:lnTo>
                  <a:lnTo>
                    <a:pt x="38978" y="4080"/>
                  </a:lnTo>
                  <a:lnTo>
                    <a:pt x="58869" y="0"/>
                  </a:lnTo>
                  <a:cubicBezTo>
                    <a:pt x="74507" y="0"/>
                    <a:pt x="89224" y="6439"/>
                    <a:pt x="100263" y="17477"/>
                  </a:cubicBezTo>
                  <a:cubicBezTo>
                    <a:pt x="123258" y="39553"/>
                    <a:pt x="123258" y="77266"/>
                    <a:pt x="100263" y="100262"/>
                  </a:cubicBezTo>
                  <a:cubicBezTo>
                    <a:pt x="89224" y="111300"/>
                    <a:pt x="74507" y="117739"/>
                    <a:pt x="58869" y="117739"/>
                  </a:cubicBezTo>
                  <a:cubicBezTo>
                    <a:pt x="43233" y="117739"/>
                    <a:pt x="28515" y="112220"/>
                    <a:pt x="17477" y="10118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" name="Forme libre : forme 209">
              <a:extLst>
                <a:ext uri="{FF2B5EF4-FFF2-40B4-BE49-F238E27FC236}">
                  <a16:creationId xmlns:a16="http://schemas.microsoft.com/office/drawing/2014/main" id="{80007C47-775F-43EE-9BFF-1043A7C3649A}"/>
                </a:ext>
              </a:extLst>
            </p:cNvPr>
            <p:cNvSpPr/>
            <p:nvPr/>
          </p:nvSpPr>
          <p:spPr>
            <a:xfrm rot="8716295">
              <a:off x="5090746" y="5117279"/>
              <a:ext cx="37096" cy="40385"/>
            </a:xfrm>
            <a:custGeom>
              <a:avLst/>
              <a:gdLst>
                <a:gd name="connsiteX0" fmla="*/ 0 w 37096"/>
                <a:gd name="connsiteY0" fmla="*/ 40385 h 40385"/>
                <a:gd name="connsiteX1" fmla="*/ 0 w 37096"/>
                <a:gd name="connsiteY1" fmla="*/ 0 h 40385"/>
                <a:gd name="connsiteX2" fmla="*/ 37096 w 37096"/>
                <a:gd name="connsiteY2" fmla="*/ 25713 h 40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096" h="40385">
                  <a:moveTo>
                    <a:pt x="0" y="40385"/>
                  </a:moveTo>
                  <a:lnTo>
                    <a:pt x="0" y="0"/>
                  </a:lnTo>
                  <a:lnTo>
                    <a:pt x="37096" y="2571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" name="Forme libre : forme 210">
              <a:extLst>
                <a:ext uri="{FF2B5EF4-FFF2-40B4-BE49-F238E27FC236}">
                  <a16:creationId xmlns:a16="http://schemas.microsoft.com/office/drawing/2014/main" id="{5820CA8C-9225-440D-B86D-A9CE799D1C39}"/>
                </a:ext>
              </a:extLst>
            </p:cNvPr>
            <p:cNvSpPr/>
            <p:nvPr/>
          </p:nvSpPr>
          <p:spPr>
            <a:xfrm rot="8716295">
              <a:off x="5405706" y="5085046"/>
              <a:ext cx="60406" cy="83058"/>
            </a:xfrm>
            <a:custGeom>
              <a:avLst/>
              <a:gdLst>
                <a:gd name="connsiteX0" fmla="*/ 0 w 60406"/>
                <a:gd name="connsiteY0" fmla="*/ 83058 h 83058"/>
                <a:gd name="connsiteX1" fmla="*/ 0 w 60406"/>
                <a:gd name="connsiteY1" fmla="*/ 0 h 83058"/>
                <a:gd name="connsiteX2" fmla="*/ 60406 w 60406"/>
                <a:gd name="connsiteY2" fmla="*/ 41872 h 83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406" h="83058">
                  <a:moveTo>
                    <a:pt x="0" y="83058"/>
                  </a:moveTo>
                  <a:lnTo>
                    <a:pt x="0" y="0"/>
                  </a:lnTo>
                  <a:lnTo>
                    <a:pt x="60406" y="4187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" name="Forme libre : forme 211">
              <a:extLst>
                <a:ext uri="{FF2B5EF4-FFF2-40B4-BE49-F238E27FC236}">
                  <a16:creationId xmlns:a16="http://schemas.microsoft.com/office/drawing/2014/main" id="{14119B8B-36AC-4498-96E0-570BA8C54C01}"/>
                </a:ext>
              </a:extLst>
            </p:cNvPr>
            <p:cNvSpPr/>
            <p:nvPr/>
          </p:nvSpPr>
          <p:spPr>
            <a:xfrm rot="8716295">
              <a:off x="5207014" y="4975218"/>
              <a:ext cx="245211" cy="161994"/>
            </a:xfrm>
            <a:custGeom>
              <a:avLst/>
              <a:gdLst>
                <a:gd name="connsiteX0" fmla="*/ 8965 w 245211"/>
                <a:gd name="connsiteY0" fmla="*/ 161994 h 161994"/>
                <a:gd name="connsiteX1" fmla="*/ 0 w 245211"/>
                <a:gd name="connsiteY1" fmla="*/ 149580 h 161994"/>
                <a:gd name="connsiteX2" fmla="*/ 158971 w 245211"/>
                <a:gd name="connsiteY2" fmla="*/ 0 h 161994"/>
                <a:gd name="connsiteX3" fmla="*/ 245211 w 245211"/>
                <a:gd name="connsiteY3" fmla="*/ 59779 h 161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211" h="161994">
                  <a:moveTo>
                    <a:pt x="8965" y="161994"/>
                  </a:moveTo>
                  <a:lnTo>
                    <a:pt x="0" y="149580"/>
                  </a:lnTo>
                  <a:lnTo>
                    <a:pt x="158971" y="0"/>
                  </a:lnTo>
                  <a:lnTo>
                    <a:pt x="245211" y="5977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" name="Forme libre : forme 212">
              <a:extLst>
                <a:ext uri="{FF2B5EF4-FFF2-40B4-BE49-F238E27FC236}">
                  <a16:creationId xmlns:a16="http://schemas.microsoft.com/office/drawing/2014/main" id="{4FCFFEE2-AEF7-46AC-BCAB-E4AB6356A9CD}"/>
                </a:ext>
              </a:extLst>
            </p:cNvPr>
            <p:cNvSpPr/>
            <p:nvPr/>
          </p:nvSpPr>
          <p:spPr>
            <a:xfrm rot="8716295">
              <a:off x="4807372" y="4871188"/>
              <a:ext cx="249519" cy="296463"/>
            </a:xfrm>
            <a:custGeom>
              <a:avLst/>
              <a:gdLst>
                <a:gd name="connsiteX0" fmla="*/ 137293 w 249519"/>
                <a:gd name="connsiteY0" fmla="*/ 296463 h 296463"/>
                <a:gd name="connsiteX1" fmla="*/ 72418 w 249519"/>
                <a:gd name="connsiteY1" fmla="*/ 175766 h 296463"/>
                <a:gd name="connsiteX2" fmla="*/ 105610 w 249519"/>
                <a:gd name="connsiteY2" fmla="*/ 83734 h 296463"/>
                <a:gd name="connsiteX3" fmla="*/ 0 w 249519"/>
                <a:gd name="connsiteY3" fmla="*/ 83734 h 296463"/>
                <a:gd name="connsiteX4" fmla="*/ 0 w 249519"/>
                <a:gd name="connsiteY4" fmla="*/ 0 h 296463"/>
                <a:gd name="connsiteX5" fmla="*/ 128719 w 249519"/>
                <a:gd name="connsiteY5" fmla="*/ 0 h 296463"/>
                <a:gd name="connsiteX6" fmla="*/ 249519 w 249519"/>
                <a:gd name="connsiteY6" fmla="*/ 83734 h 296463"/>
                <a:gd name="connsiteX7" fmla="*/ 210465 w 249519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9519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128719" y="0"/>
                  </a:lnTo>
                  <a:lnTo>
                    <a:pt x="249519" y="83734"/>
                  </a:lnTo>
                  <a:lnTo>
                    <a:pt x="210465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" name="Forme libre : forme 213">
              <a:extLst>
                <a:ext uri="{FF2B5EF4-FFF2-40B4-BE49-F238E27FC236}">
                  <a16:creationId xmlns:a16="http://schemas.microsoft.com/office/drawing/2014/main" id="{1B41E071-0693-46BD-92E2-292036356EEC}"/>
                </a:ext>
              </a:extLst>
            </p:cNvPr>
            <p:cNvSpPr/>
            <p:nvPr/>
          </p:nvSpPr>
          <p:spPr>
            <a:xfrm rot="8716295">
              <a:off x="4742203" y="467807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" name="Forme libre : forme 214">
              <a:extLst>
                <a:ext uri="{FF2B5EF4-FFF2-40B4-BE49-F238E27FC236}">
                  <a16:creationId xmlns:a16="http://schemas.microsoft.com/office/drawing/2014/main" id="{3D04A71D-E109-4B4F-89C3-FA4AB19F4E1D}"/>
                </a:ext>
              </a:extLst>
            </p:cNvPr>
            <p:cNvSpPr/>
            <p:nvPr/>
          </p:nvSpPr>
          <p:spPr>
            <a:xfrm rot="8716295">
              <a:off x="5548192" y="4732447"/>
              <a:ext cx="92415" cy="287093"/>
            </a:xfrm>
            <a:custGeom>
              <a:avLst/>
              <a:gdLst>
                <a:gd name="connsiteX0" fmla="*/ 0 w 61059"/>
                <a:gd name="connsiteY0" fmla="*/ 189683 h 189683"/>
                <a:gd name="connsiteX1" fmla="*/ 1 w 61059"/>
                <a:gd name="connsiteY1" fmla="*/ 70355 h 189683"/>
                <a:gd name="connsiteX2" fmla="*/ 58192 w 61059"/>
                <a:gd name="connsiteY2" fmla="*/ 0 h 189683"/>
                <a:gd name="connsiteX3" fmla="*/ 61059 w 61059"/>
                <a:gd name="connsiteY3" fmla="*/ 7418 h 189683"/>
                <a:gd name="connsiteX4" fmla="*/ 61059 w 61059"/>
                <a:gd name="connsiteY4" fmla="*/ 165533 h 189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59" h="189683">
                  <a:moveTo>
                    <a:pt x="0" y="189683"/>
                  </a:moveTo>
                  <a:lnTo>
                    <a:pt x="1" y="70355"/>
                  </a:lnTo>
                  <a:lnTo>
                    <a:pt x="58192" y="0"/>
                  </a:lnTo>
                  <a:lnTo>
                    <a:pt x="61059" y="7418"/>
                  </a:lnTo>
                  <a:lnTo>
                    <a:pt x="61059" y="1655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" name="Forme libre : forme 215">
              <a:extLst>
                <a:ext uri="{FF2B5EF4-FFF2-40B4-BE49-F238E27FC236}">
                  <a16:creationId xmlns:a16="http://schemas.microsoft.com/office/drawing/2014/main" id="{AAC7FAB2-F735-42A2-BE55-7C8B153DECE5}"/>
                </a:ext>
              </a:extLst>
            </p:cNvPr>
            <p:cNvSpPr/>
            <p:nvPr/>
          </p:nvSpPr>
          <p:spPr>
            <a:xfrm rot="8716295">
              <a:off x="5387054" y="482534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" name="Forme libre : forme 216">
              <a:extLst>
                <a:ext uri="{FF2B5EF4-FFF2-40B4-BE49-F238E27FC236}">
                  <a16:creationId xmlns:a16="http://schemas.microsoft.com/office/drawing/2014/main" id="{4B03EBBE-E237-4565-BE6F-56E70942310E}"/>
                </a:ext>
              </a:extLst>
            </p:cNvPr>
            <p:cNvSpPr/>
            <p:nvPr/>
          </p:nvSpPr>
          <p:spPr>
            <a:xfrm rot="8716295">
              <a:off x="5198009" y="450950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" name="Forme libre : forme 217">
              <a:extLst>
                <a:ext uri="{FF2B5EF4-FFF2-40B4-BE49-F238E27FC236}">
                  <a16:creationId xmlns:a16="http://schemas.microsoft.com/office/drawing/2014/main" id="{230714BC-B4D4-483B-9F0B-D1990593F59D}"/>
                </a:ext>
              </a:extLst>
            </p:cNvPr>
            <p:cNvSpPr/>
            <p:nvPr/>
          </p:nvSpPr>
          <p:spPr>
            <a:xfrm rot="8716295">
              <a:off x="5503997" y="4913234"/>
              <a:ext cx="91035" cy="258752"/>
            </a:xfrm>
            <a:custGeom>
              <a:avLst/>
              <a:gdLst>
                <a:gd name="connsiteX0" fmla="*/ 91035 w 91035"/>
                <a:gd name="connsiteY0" fmla="*/ 258752 h 258752"/>
                <a:gd name="connsiteX1" fmla="*/ 0 w 91035"/>
                <a:gd name="connsiteY1" fmla="*/ 171163 h 258752"/>
                <a:gd name="connsiteX2" fmla="*/ 0 w 91035"/>
                <a:gd name="connsiteY2" fmla="*/ 43487 h 258752"/>
                <a:gd name="connsiteX3" fmla="*/ 35968 w 91035"/>
                <a:gd name="connsiteY3" fmla="*/ 0 h 258752"/>
                <a:gd name="connsiteX4" fmla="*/ 91035 w 91035"/>
                <a:gd name="connsiteY4" fmla="*/ 38170 h 258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035" h="258752">
                  <a:moveTo>
                    <a:pt x="91035" y="258752"/>
                  </a:moveTo>
                  <a:lnTo>
                    <a:pt x="0" y="171163"/>
                  </a:lnTo>
                  <a:lnTo>
                    <a:pt x="0" y="43487"/>
                  </a:lnTo>
                  <a:lnTo>
                    <a:pt x="35968" y="0"/>
                  </a:lnTo>
                  <a:lnTo>
                    <a:pt x="91035" y="3817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" name="Forme libre : forme 218">
              <a:extLst>
                <a:ext uri="{FF2B5EF4-FFF2-40B4-BE49-F238E27FC236}">
                  <a16:creationId xmlns:a16="http://schemas.microsoft.com/office/drawing/2014/main" id="{14A36AFC-3634-423C-BC16-BDB2283C28B3}"/>
                </a:ext>
              </a:extLst>
            </p:cNvPr>
            <p:cNvSpPr/>
            <p:nvPr/>
          </p:nvSpPr>
          <p:spPr>
            <a:xfrm rot="8716295">
              <a:off x="5158096" y="466090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" name="Forme libre : forme 219">
              <a:extLst>
                <a:ext uri="{FF2B5EF4-FFF2-40B4-BE49-F238E27FC236}">
                  <a16:creationId xmlns:a16="http://schemas.microsoft.com/office/drawing/2014/main" id="{BC237E43-FDD5-4FDC-8C88-3D3E992DDCCE}"/>
                </a:ext>
              </a:extLst>
            </p:cNvPr>
            <p:cNvSpPr/>
            <p:nvPr/>
          </p:nvSpPr>
          <p:spPr>
            <a:xfrm rot="8716295">
              <a:off x="4115344" y="2074537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" name="Forme libre : forme 220">
              <a:extLst>
                <a:ext uri="{FF2B5EF4-FFF2-40B4-BE49-F238E27FC236}">
                  <a16:creationId xmlns:a16="http://schemas.microsoft.com/office/drawing/2014/main" id="{74F2CD5F-27E1-4B05-BDE3-F9CAEE63E34B}"/>
                </a:ext>
              </a:extLst>
            </p:cNvPr>
            <p:cNvSpPr/>
            <p:nvPr/>
          </p:nvSpPr>
          <p:spPr>
            <a:xfrm rot="8716295">
              <a:off x="4250643" y="2118796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" name="Forme libre : forme 221">
              <a:extLst>
                <a:ext uri="{FF2B5EF4-FFF2-40B4-BE49-F238E27FC236}">
                  <a16:creationId xmlns:a16="http://schemas.microsoft.com/office/drawing/2014/main" id="{3D2EAE98-2CEC-4E31-BF79-1D13D51EDB3B}"/>
                </a:ext>
              </a:extLst>
            </p:cNvPr>
            <p:cNvSpPr/>
            <p:nvPr/>
          </p:nvSpPr>
          <p:spPr>
            <a:xfrm rot="8716295">
              <a:off x="4182761" y="1988208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" name="Forme libre : forme 222">
              <a:extLst>
                <a:ext uri="{FF2B5EF4-FFF2-40B4-BE49-F238E27FC236}">
                  <a16:creationId xmlns:a16="http://schemas.microsoft.com/office/drawing/2014/main" id="{F7C21745-E98A-49A1-BB89-EF4C58D2B535}"/>
                </a:ext>
              </a:extLst>
            </p:cNvPr>
            <p:cNvSpPr/>
            <p:nvPr/>
          </p:nvSpPr>
          <p:spPr>
            <a:xfrm rot="8716295">
              <a:off x="3945473" y="220855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" name="Forme libre : forme 223">
              <a:extLst>
                <a:ext uri="{FF2B5EF4-FFF2-40B4-BE49-F238E27FC236}">
                  <a16:creationId xmlns:a16="http://schemas.microsoft.com/office/drawing/2014/main" id="{3C933A0E-48CB-40A4-AD69-869889C9C116}"/>
                </a:ext>
              </a:extLst>
            </p:cNvPr>
            <p:cNvSpPr/>
            <p:nvPr/>
          </p:nvSpPr>
          <p:spPr>
            <a:xfrm rot="8716295">
              <a:off x="3756427" y="189271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" name="Forme libre : forme 224">
              <a:extLst>
                <a:ext uri="{FF2B5EF4-FFF2-40B4-BE49-F238E27FC236}">
                  <a16:creationId xmlns:a16="http://schemas.microsoft.com/office/drawing/2014/main" id="{A02DB2FC-04B5-4966-BEE6-FB30AD9722F6}"/>
                </a:ext>
              </a:extLst>
            </p:cNvPr>
            <p:cNvSpPr/>
            <p:nvPr/>
          </p:nvSpPr>
          <p:spPr>
            <a:xfrm rot="8716295">
              <a:off x="3738186" y="1682667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" name="Forme libre : forme 225">
              <a:extLst>
                <a:ext uri="{FF2B5EF4-FFF2-40B4-BE49-F238E27FC236}">
                  <a16:creationId xmlns:a16="http://schemas.microsoft.com/office/drawing/2014/main" id="{F8510F0D-1176-4749-A0F4-7938F16AABD4}"/>
                </a:ext>
              </a:extLst>
            </p:cNvPr>
            <p:cNvSpPr/>
            <p:nvPr/>
          </p:nvSpPr>
          <p:spPr>
            <a:xfrm rot="8716295">
              <a:off x="4081962" y="2270535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" name="Forme libre : forme 226">
              <a:extLst>
                <a:ext uri="{FF2B5EF4-FFF2-40B4-BE49-F238E27FC236}">
                  <a16:creationId xmlns:a16="http://schemas.microsoft.com/office/drawing/2014/main" id="{7359A2E2-1A1C-4AB5-9888-9A67C8F381ED}"/>
                </a:ext>
              </a:extLst>
            </p:cNvPr>
            <p:cNvSpPr/>
            <p:nvPr/>
          </p:nvSpPr>
          <p:spPr>
            <a:xfrm rot="8716295">
              <a:off x="4552908" y="169592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" name="Forme libre : forme 227">
              <a:extLst>
                <a:ext uri="{FF2B5EF4-FFF2-40B4-BE49-F238E27FC236}">
                  <a16:creationId xmlns:a16="http://schemas.microsoft.com/office/drawing/2014/main" id="{F162CF17-3696-46D1-BBA9-E595114BD290}"/>
                </a:ext>
              </a:extLst>
            </p:cNvPr>
            <p:cNvSpPr/>
            <p:nvPr/>
          </p:nvSpPr>
          <p:spPr>
            <a:xfrm rot="8716295">
              <a:off x="4688207" y="174018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" name="Forme libre : forme 228">
              <a:extLst>
                <a:ext uri="{FF2B5EF4-FFF2-40B4-BE49-F238E27FC236}">
                  <a16:creationId xmlns:a16="http://schemas.microsoft.com/office/drawing/2014/main" id="{CB7640C0-A77D-4C20-99F3-99AC8C5EA399}"/>
                </a:ext>
              </a:extLst>
            </p:cNvPr>
            <p:cNvSpPr/>
            <p:nvPr/>
          </p:nvSpPr>
          <p:spPr>
            <a:xfrm rot="8716295">
              <a:off x="4383037" y="182993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" name="Forme libre : forme 229">
              <a:extLst>
                <a:ext uri="{FF2B5EF4-FFF2-40B4-BE49-F238E27FC236}">
                  <a16:creationId xmlns:a16="http://schemas.microsoft.com/office/drawing/2014/main" id="{7221721D-60FE-4C4C-9396-20240CB24747}"/>
                </a:ext>
              </a:extLst>
            </p:cNvPr>
            <p:cNvSpPr/>
            <p:nvPr/>
          </p:nvSpPr>
          <p:spPr>
            <a:xfrm rot="8716295">
              <a:off x="4193993" y="151410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" name="Forme libre : forme 230">
              <a:extLst>
                <a:ext uri="{FF2B5EF4-FFF2-40B4-BE49-F238E27FC236}">
                  <a16:creationId xmlns:a16="http://schemas.microsoft.com/office/drawing/2014/main" id="{72815BA9-45F4-424C-8C61-85FB1E0CD670}"/>
                </a:ext>
              </a:extLst>
            </p:cNvPr>
            <p:cNvSpPr/>
            <p:nvPr/>
          </p:nvSpPr>
          <p:spPr>
            <a:xfrm rot="8716295">
              <a:off x="4519525" y="1891919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" name="Forme libre : forme 231">
              <a:extLst>
                <a:ext uri="{FF2B5EF4-FFF2-40B4-BE49-F238E27FC236}">
                  <a16:creationId xmlns:a16="http://schemas.microsoft.com/office/drawing/2014/main" id="{2386F46E-7D0B-4733-83CE-A3BA85A841D0}"/>
                </a:ext>
              </a:extLst>
            </p:cNvPr>
            <p:cNvSpPr/>
            <p:nvPr/>
          </p:nvSpPr>
          <p:spPr>
            <a:xfrm rot="8716295">
              <a:off x="4154079" y="1665493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" name="Forme libre : forme 232">
              <a:extLst>
                <a:ext uri="{FF2B5EF4-FFF2-40B4-BE49-F238E27FC236}">
                  <a16:creationId xmlns:a16="http://schemas.microsoft.com/office/drawing/2014/main" id="{7C49EAA5-EA80-4FD2-B8EE-8A5326A137F1}"/>
                </a:ext>
              </a:extLst>
            </p:cNvPr>
            <p:cNvSpPr/>
            <p:nvPr/>
          </p:nvSpPr>
          <p:spPr>
            <a:xfrm rot="7484129">
              <a:off x="4678343" y="218153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" name="Forme libre : forme 233">
              <a:extLst>
                <a:ext uri="{FF2B5EF4-FFF2-40B4-BE49-F238E27FC236}">
                  <a16:creationId xmlns:a16="http://schemas.microsoft.com/office/drawing/2014/main" id="{E5F42144-89A8-465A-AA8E-5830C7BF1E60}"/>
                </a:ext>
              </a:extLst>
            </p:cNvPr>
            <p:cNvSpPr/>
            <p:nvPr/>
          </p:nvSpPr>
          <p:spPr>
            <a:xfrm rot="13089394">
              <a:off x="4836993" y="2130885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" name="Forme libre : forme 234">
              <a:extLst>
                <a:ext uri="{FF2B5EF4-FFF2-40B4-BE49-F238E27FC236}">
                  <a16:creationId xmlns:a16="http://schemas.microsoft.com/office/drawing/2014/main" id="{4B643A7D-0F4D-44EF-8082-E475252D919E}"/>
                </a:ext>
              </a:extLst>
            </p:cNvPr>
            <p:cNvSpPr/>
            <p:nvPr/>
          </p:nvSpPr>
          <p:spPr>
            <a:xfrm rot="8716295">
              <a:off x="5117884" y="1840767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" name="Forme libre : forme 235">
              <a:extLst>
                <a:ext uri="{FF2B5EF4-FFF2-40B4-BE49-F238E27FC236}">
                  <a16:creationId xmlns:a16="http://schemas.microsoft.com/office/drawing/2014/main" id="{A286EB77-2A92-49EB-B662-F67A780E72C3}"/>
                </a:ext>
              </a:extLst>
            </p:cNvPr>
            <p:cNvSpPr/>
            <p:nvPr/>
          </p:nvSpPr>
          <p:spPr>
            <a:xfrm rot="8716295">
              <a:off x="5039475" y="1683975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" name="Forme libre : forme 236">
              <a:extLst>
                <a:ext uri="{FF2B5EF4-FFF2-40B4-BE49-F238E27FC236}">
                  <a16:creationId xmlns:a16="http://schemas.microsoft.com/office/drawing/2014/main" id="{D76415DF-3D0E-46A1-A992-CAEF6C90F935}"/>
                </a:ext>
              </a:extLst>
            </p:cNvPr>
            <p:cNvSpPr/>
            <p:nvPr/>
          </p:nvSpPr>
          <p:spPr>
            <a:xfrm rot="8716295">
              <a:off x="4671311" y="172971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" name="Forme libre : forme 237">
              <a:extLst>
                <a:ext uri="{FF2B5EF4-FFF2-40B4-BE49-F238E27FC236}">
                  <a16:creationId xmlns:a16="http://schemas.microsoft.com/office/drawing/2014/main" id="{22B5BB48-3533-4C75-B095-5C6392290E1E}"/>
                </a:ext>
              </a:extLst>
            </p:cNvPr>
            <p:cNvSpPr/>
            <p:nvPr/>
          </p:nvSpPr>
          <p:spPr>
            <a:xfrm rot="8716295">
              <a:off x="4939893" y="148869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" name="Forme libre : forme 238">
              <a:extLst>
                <a:ext uri="{FF2B5EF4-FFF2-40B4-BE49-F238E27FC236}">
                  <a16:creationId xmlns:a16="http://schemas.microsoft.com/office/drawing/2014/main" id="{D4F7953A-EB21-471D-9CE6-DFD037BB3D9B}"/>
                </a:ext>
              </a:extLst>
            </p:cNvPr>
            <p:cNvSpPr/>
            <p:nvPr/>
          </p:nvSpPr>
          <p:spPr>
            <a:xfrm rot="8716295">
              <a:off x="3777571" y="1076054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" name="Forme libre : forme 239">
              <a:extLst>
                <a:ext uri="{FF2B5EF4-FFF2-40B4-BE49-F238E27FC236}">
                  <a16:creationId xmlns:a16="http://schemas.microsoft.com/office/drawing/2014/main" id="{B31F3CAF-6E5C-4883-9D56-37A77E8E54A5}"/>
                </a:ext>
              </a:extLst>
            </p:cNvPr>
            <p:cNvSpPr/>
            <p:nvPr/>
          </p:nvSpPr>
          <p:spPr>
            <a:xfrm rot="8716295">
              <a:off x="3912870" y="1120313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" name="Forme libre : forme 240">
              <a:extLst>
                <a:ext uri="{FF2B5EF4-FFF2-40B4-BE49-F238E27FC236}">
                  <a16:creationId xmlns:a16="http://schemas.microsoft.com/office/drawing/2014/main" id="{C147FD5B-3693-4B4F-88B4-175EF4DCAB5D}"/>
                </a:ext>
              </a:extLst>
            </p:cNvPr>
            <p:cNvSpPr/>
            <p:nvPr/>
          </p:nvSpPr>
          <p:spPr>
            <a:xfrm rot="8716295">
              <a:off x="3844988" y="989725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" name="Forme libre : forme 241">
              <a:extLst>
                <a:ext uri="{FF2B5EF4-FFF2-40B4-BE49-F238E27FC236}">
                  <a16:creationId xmlns:a16="http://schemas.microsoft.com/office/drawing/2014/main" id="{ADDA2175-F82B-4C1C-A775-DCF7ED389EE1}"/>
                </a:ext>
              </a:extLst>
            </p:cNvPr>
            <p:cNvSpPr/>
            <p:nvPr/>
          </p:nvSpPr>
          <p:spPr>
            <a:xfrm rot="8716295">
              <a:off x="3607700" y="121006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" name="Forme libre : forme 242">
              <a:extLst>
                <a:ext uri="{FF2B5EF4-FFF2-40B4-BE49-F238E27FC236}">
                  <a16:creationId xmlns:a16="http://schemas.microsoft.com/office/drawing/2014/main" id="{3DA66E2A-B271-4CA4-B9FF-6AFE032DC966}"/>
                </a:ext>
              </a:extLst>
            </p:cNvPr>
            <p:cNvSpPr/>
            <p:nvPr/>
          </p:nvSpPr>
          <p:spPr>
            <a:xfrm rot="8716295">
              <a:off x="3418654" y="89423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" name="Forme libre : forme 243">
              <a:extLst>
                <a:ext uri="{FF2B5EF4-FFF2-40B4-BE49-F238E27FC236}">
                  <a16:creationId xmlns:a16="http://schemas.microsoft.com/office/drawing/2014/main" id="{5F0B065E-4F1B-43F1-9813-90200634675E}"/>
                </a:ext>
              </a:extLst>
            </p:cNvPr>
            <p:cNvSpPr/>
            <p:nvPr/>
          </p:nvSpPr>
          <p:spPr>
            <a:xfrm rot="8716295">
              <a:off x="3400413" y="68418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" name="Forme libre : forme 244">
              <a:extLst>
                <a:ext uri="{FF2B5EF4-FFF2-40B4-BE49-F238E27FC236}">
                  <a16:creationId xmlns:a16="http://schemas.microsoft.com/office/drawing/2014/main" id="{20854BC4-5849-4EDA-A9AD-8A9CB02779EC}"/>
                </a:ext>
              </a:extLst>
            </p:cNvPr>
            <p:cNvSpPr/>
            <p:nvPr/>
          </p:nvSpPr>
          <p:spPr>
            <a:xfrm rot="8716295">
              <a:off x="3744189" y="1272052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" name="Forme libre : forme 245">
              <a:extLst>
                <a:ext uri="{FF2B5EF4-FFF2-40B4-BE49-F238E27FC236}">
                  <a16:creationId xmlns:a16="http://schemas.microsoft.com/office/drawing/2014/main" id="{7833AF6E-AF2A-42B3-84D3-9F8F342AAC2A}"/>
                </a:ext>
              </a:extLst>
            </p:cNvPr>
            <p:cNvSpPr/>
            <p:nvPr/>
          </p:nvSpPr>
          <p:spPr>
            <a:xfrm rot="8716295">
              <a:off x="4215135" y="69743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" name="Forme libre : forme 246">
              <a:extLst>
                <a:ext uri="{FF2B5EF4-FFF2-40B4-BE49-F238E27FC236}">
                  <a16:creationId xmlns:a16="http://schemas.microsoft.com/office/drawing/2014/main" id="{5CCDB5E7-FFA9-4665-85A4-71445280D93D}"/>
                </a:ext>
              </a:extLst>
            </p:cNvPr>
            <p:cNvSpPr/>
            <p:nvPr/>
          </p:nvSpPr>
          <p:spPr>
            <a:xfrm rot="8716295">
              <a:off x="4350434" y="74169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" name="Forme libre : forme 247">
              <a:extLst>
                <a:ext uri="{FF2B5EF4-FFF2-40B4-BE49-F238E27FC236}">
                  <a16:creationId xmlns:a16="http://schemas.microsoft.com/office/drawing/2014/main" id="{2DD39E77-D511-475C-B9A4-1F96A0A8FEEA}"/>
                </a:ext>
              </a:extLst>
            </p:cNvPr>
            <p:cNvSpPr/>
            <p:nvPr/>
          </p:nvSpPr>
          <p:spPr>
            <a:xfrm rot="8716295">
              <a:off x="4045264" y="83145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" name="Forme libre : forme 248">
              <a:extLst>
                <a:ext uri="{FF2B5EF4-FFF2-40B4-BE49-F238E27FC236}">
                  <a16:creationId xmlns:a16="http://schemas.microsoft.com/office/drawing/2014/main" id="{37119436-3DF5-44F0-88C8-59BCDF9BA3E8}"/>
                </a:ext>
              </a:extLst>
            </p:cNvPr>
            <p:cNvSpPr/>
            <p:nvPr/>
          </p:nvSpPr>
          <p:spPr>
            <a:xfrm rot="8716295">
              <a:off x="3856220" y="51561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" name="Forme libre : forme 249">
              <a:extLst>
                <a:ext uri="{FF2B5EF4-FFF2-40B4-BE49-F238E27FC236}">
                  <a16:creationId xmlns:a16="http://schemas.microsoft.com/office/drawing/2014/main" id="{5EFF1AF7-D116-4A78-8A60-0881E3BE9924}"/>
                </a:ext>
              </a:extLst>
            </p:cNvPr>
            <p:cNvSpPr/>
            <p:nvPr/>
          </p:nvSpPr>
          <p:spPr>
            <a:xfrm rot="8716295">
              <a:off x="4181753" y="893436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" name="Forme libre : forme 250">
              <a:extLst>
                <a:ext uri="{FF2B5EF4-FFF2-40B4-BE49-F238E27FC236}">
                  <a16:creationId xmlns:a16="http://schemas.microsoft.com/office/drawing/2014/main" id="{C38BBAB8-EA94-46A9-B44D-F77A303742D6}"/>
                </a:ext>
              </a:extLst>
            </p:cNvPr>
            <p:cNvSpPr/>
            <p:nvPr/>
          </p:nvSpPr>
          <p:spPr>
            <a:xfrm rot="8716295">
              <a:off x="3816306" y="66701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" name="Forme libre : forme 251">
              <a:extLst>
                <a:ext uri="{FF2B5EF4-FFF2-40B4-BE49-F238E27FC236}">
                  <a16:creationId xmlns:a16="http://schemas.microsoft.com/office/drawing/2014/main" id="{726FB4EE-DE4A-475E-B9CA-BDA728B96056}"/>
                </a:ext>
              </a:extLst>
            </p:cNvPr>
            <p:cNvSpPr/>
            <p:nvPr/>
          </p:nvSpPr>
          <p:spPr>
            <a:xfrm rot="7484129">
              <a:off x="4340570" y="118305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" name="Forme libre : forme 252">
              <a:extLst>
                <a:ext uri="{FF2B5EF4-FFF2-40B4-BE49-F238E27FC236}">
                  <a16:creationId xmlns:a16="http://schemas.microsoft.com/office/drawing/2014/main" id="{3778C4A8-DD8F-40FB-BF36-85A62335E025}"/>
                </a:ext>
              </a:extLst>
            </p:cNvPr>
            <p:cNvSpPr/>
            <p:nvPr/>
          </p:nvSpPr>
          <p:spPr>
            <a:xfrm rot="13089394">
              <a:off x="4499220" y="1132402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" name="Forme libre : forme 253">
              <a:extLst>
                <a:ext uri="{FF2B5EF4-FFF2-40B4-BE49-F238E27FC236}">
                  <a16:creationId xmlns:a16="http://schemas.microsoft.com/office/drawing/2014/main" id="{E67B04C4-DF6C-4AF3-A306-EC57702A7EA7}"/>
                </a:ext>
              </a:extLst>
            </p:cNvPr>
            <p:cNvSpPr/>
            <p:nvPr/>
          </p:nvSpPr>
          <p:spPr>
            <a:xfrm rot="8716295">
              <a:off x="4780111" y="842284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" name="Forme libre : forme 254">
              <a:extLst>
                <a:ext uri="{FF2B5EF4-FFF2-40B4-BE49-F238E27FC236}">
                  <a16:creationId xmlns:a16="http://schemas.microsoft.com/office/drawing/2014/main" id="{0C3B947F-A89B-45FB-9A8F-3A9BCC6CD484}"/>
                </a:ext>
              </a:extLst>
            </p:cNvPr>
            <p:cNvSpPr/>
            <p:nvPr/>
          </p:nvSpPr>
          <p:spPr>
            <a:xfrm rot="8716295">
              <a:off x="4701702" y="68549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" name="Forme libre : forme 255">
              <a:extLst>
                <a:ext uri="{FF2B5EF4-FFF2-40B4-BE49-F238E27FC236}">
                  <a16:creationId xmlns:a16="http://schemas.microsoft.com/office/drawing/2014/main" id="{65FF4858-B1A0-42D2-ADCA-DB484EB1FE6D}"/>
                </a:ext>
              </a:extLst>
            </p:cNvPr>
            <p:cNvSpPr/>
            <p:nvPr/>
          </p:nvSpPr>
          <p:spPr>
            <a:xfrm rot="8716295">
              <a:off x="4333538" y="73123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" name="Forme libre : forme 256">
              <a:extLst>
                <a:ext uri="{FF2B5EF4-FFF2-40B4-BE49-F238E27FC236}">
                  <a16:creationId xmlns:a16="http://schemas.microsoft.com/office/drawing/2014/main" id="{28C1BE2D-A511-4E2F-AC16-ED6DA95D0016}"/>
                </a:ext>
              </a:extLst>
            </p:cNvPr>
            <p:cNvSpPr/>
            <p:nvPr/>
          </p:nvSpPr>
          <p:spPr>
            <a:xfrm rot="8716295">
              <a:off x="4602120" y="49021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" name="Forme libre : forme 257">
              <a:extLst>
                <a:ext uri="{FF2B5EF4-FFF2-40B4-BE49-F238E27FC236}">
                  <a16:creationId xmlns:a16="http://schemas.microsoft.com/office/drawing/2014/main" id="{414A6022-94D3-4CA0-800F-BAEAE0FC105C}"/>
                </a:ext>
              </a:extLst>
            </p:cNvPr>
            <p:cNvSpPr/>
            <p:nvPr/>
          </p:nvSpPr>
          <p:spPr>
            <a:xfrm rot="8716295">
              <a:off x="3446198" y="7400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" name="Forme libre : forme 258">
              <a:extLst>
                <a:ext uri="{FF2B5EF4-FFF2-40B4-BE49-F238E27FC236}">
                  <a16:creationId xmlns:a16="http://schemas.microsoft.com/office/drawing/2014/main" id="{2CDD9144-31FA-487A-AF8B-34A135FB089A}"/>
                </a:ext>
              </a:extLst>
            </p:cNvPr>
            <p:cNvSpPr/>
            <p:nvPr/>
          </p:nvSpPr>
          <p:spPr>
            <a:xfrm rot="8716295">
              <a:off x="3581496" y="11826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" name="Forme libre : forme 259">
              <a:extLst>
                <a:ext uri="{FF2B5EF4-FFF2-40B4-BE49-F238E27FC236}">
                  <a16:creationId xmlns:a16="http://schemas.microsoft.com/office/drawing/2014/main" id="{7FE16051-BF2A-4B51-837A-7B2C211B57E4}"/>
                </a:ext>
              </a:extLst>
            </p:cNvPr>
            <p:cNvSpPr/>
            <p:nvPr/>
          </p:nvSpPr>
          <p:spPr>
            <a:xfrm rot="8716295">
              <a:off x="3522597" y="36248"/>
              <a:ext cx="234675" cy="172489"/>
            </a:xfrm>
            <a:custGeom>
              <a:avLst/>
              <a:gdLst>
                <a:gd name="connsiteX0" fmla="*/ 25756 w 155050"/>
                <a:gd name="connsiteY0" fmla="*/ 113964 h 113964"/>
                <a:gd name="connsiteX1" fmla="*/ 0 w 155050"/>
                <a:gd name="connsiteY1" fmla="*/ 96110 h 113964"/>
                <a:gd name="connsiteX2" fmla="*/ 72120 w 155050"/>
                <a:gd name="connsiteY2" fmla="*/ 28251 h 113964"/>
                <a:gd name="connsiteX3" fmla="*/ 126799 w 155050"/>
                <a:gd name="connsiteY3" fmla="*/ 0 h 113964"/>
                <a:gd name="connsiteX4" fmla="*/ 155050 w 155050"/>
                <a:gd name="connsiteY4" fmla="*/ 33719 h 113964"/>
                <a:gd name="connsiteX5" fmla="*/ 128622 w 155050"/>
                <a:gd name="connsiteY5" fmla="*/ 69261 h 113964"/>
                <a:gd name="connsiteX6" fmla="*/ 129077 w 155050"/>
                <a:gd name="connsiteY6" fmla="*/ 69261 h 113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5050" h="113964">
                  <a:moveTo>
                    <a:pt x="25756" y="113964"/>
                  </a:moveTo>
                  <a:lnTo>
                    <a:pt x="0" y="96110"/>
                  </a:lnTo>
                  <a:lnTo>
                    <a:pt x="72120" y="28251"/>
                  </a:lnTo>
                  <a:cubicBezTo>
                    <a:pt x="85790" y="12303"/>
                    <a:pt x="105383" y="2279"/>
                    <a:pt x="126799" y="0"/>
                  </a:cubicBezTo>
                  <a:cubicBezTo>
                    <a:pt x="148671" y="0"/>
                    <a:pt x="155050" y="19138"/>
                    <a:pt x="155050" y="33719"/>
                  </a:cubicBezTo>
                  <a:cubicBezTo>
                    <a:pt x="153683" y="49668"/>
                    <a:pt x="143203" y="62882"/>
                    <a:pt x="128622" y="69261"/>
                  </a:cubicBezTo>
                  <a:lnTo>
                    <a:pt x="129077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" name="Forme libre : forme 260">
              <a:extLst>
                <a:ext uri="{FF2B5EF4-FFF2-40B4-BE49-F238E27FC236}">
                  <a16:creationId xmlns:a16="http://schemas.microsoft.com/office/drawing/2014/main" id="{FB6AA26B-D49A-416A-8CAC-16E489B31447}"/>
                </a:ext>
              </a:extLst>
            </p:cNvPr>
            <p:cNvSpPr/>
            <p:nvPr/>
          </p:nvSpPr>
          <p:spPr>
            <a:xfrm rot="8716295">
              <a:off x="3276327" y="20801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" name="Forme libre : forme 261">
              <a:extLst>
                <a:ext uri="{FF2B5EF4-FFF2-40B4-BE49-F238E27FC236}">
                  <a16:creationId xmlns:a16="http://schemas.microsoft.com/office/drawing/2014/main" id="{28AC6B7B-6FBF-49BE-A75A-A0128A514084}"/>
                </a:ext>
              </a:extLst>
            </p:cNvPr>
            <p:cNvSpPr/>
            <p:nvPr/>
          </p:nvSpPr>
          <p:spPr>
            <a:xfrm rot="8716295">
              <a:off x="3107933" y="-20072"/>
              <a:ext cx="308531" cy="199994"/>
            </a:xfrm>
            <a:custGeom>
              <a:avLst/>
              <a:gdLst>
                <a:gd name="connsiteX0" fmla="*/ 112633 w 203847"/>
                <a:gd name="connsiteY0" fmla="*/ 132136 h 132136"/>
                <a:gd name="connsiteX1" fmla="*/ 56185 w 203847"/>
                <a:gd name="connsiteY1" fmla="*/ 93008 h 132136"/>
                <a:gd name="connsiteX2" fmla="*/ 69777 w 203847"/>
                <a:gd name="connsiteY2" fmla="*/ 55323 h 132136"/>
                <a:gd name="connsiteX3" fmla="*/ 1818 w 203847"/>
                <a:gd name="connsiteY3" fmla="*/ 55323 h 132136"/>
                <a:gd name="connsiteX4" fmla="*/ 0 w 203847"/>
                <a:gd name="connsiteY4" fmla="*/ 54062 h 132136"/>
                <a:gd name="connsiteX5" fmla="*/ 0 w 203847"/>
                <a:gd name="connsiteY5" fmla="*/ 0 h 132136"/>
                <a:gd name="connsiteX6" fmla="*/ 203847 w 203847"/>
                <a:gd name="connsiteY6" fmla="*/ 0 h 132136"/>
                <a:gd name="connsiteX7" fmla="*/ 203847 w 203847"/>
                <a:gd name="connsiteY7" fmla="*/ 55323 h 132136"/>
                <a:gd name="connsiteX8" fmla="*/ 139055 w 203847"/>
                <a:gd name="connsiteY8" fmla="*/ 55323 h 132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32136">
                  <a:moveTo>
                    <a:pt x="112633" y="132136"/>
                  </a:moveTo>
                  <a:lnTo>
                    <a:pt x="56185" y="93008"/>
                  </a:lnTo>
                  <a:lnTo>
                    <a:pt x="69777" y="55323"/>
                  </a:lnTo>
                  <a:lnTo>
                    <a:pt x="1818" y="55323"/>
                  </a:lnTo>
                  <a:lnTo>
                    <a:pt x="0" y="54062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" name="Forme libre : forme 262">
              <a:extLst>
                <a:ext uri="{FF2B5EF4-FFF2-40B4-BE49-F238E27FC236}">
                  <a16:creationId xmlns:a16="http://schemas.microsoft.com/office/drawing/2014/main" id="{CE04BDAF-0764-44CB-B173-496F062D8434}"/>
                </a:ext>
              </a:extLst>
            </p:cNvPr>
            <p:cNvSpPr/>
            <p:nvPr/>
          </p:nvSpPr>
          <p:spPr>
            <a:xfrm rot="8716295">
              <a:off x="3475628" y="-31540"/>
              <a:ext cx="98161" cy="118527"/>
            </a:xfrm>
            <a:custGeom>
              <a:avLst/>
              <a:gdLst>
                <a:gd name="connsiteX0" fmla="*/ 64855 w 64855"/>
                <a:gd name="connsiteY0" fmla="*/ 78311 h 78311"/>
                <a:gd name="connsiteX1" fmla="*/ 0 w 64855"/>
                <a:gd name="connsiteY1" fmla="*/ 33356 h 78311"/>
                <a:gd name="connsiteX2" fmla="*/ 64294 w 64855"/>
                <a:gd name="connsiteY2" fmla="*/ 0 h 78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855" h="78311">
                  <a:moveTo>
                    <a:pt x="64855" y="78311"/>
                  </a:moveTo>
                  <a:lnTo>
                    <a:pt x="0" y="33356"/>
                  </a:lnTo>
                  <a:lnTo>
                    <a:pt x="64294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" name="Forme libre : forme 263">
              <a:extLst>
                <a:ext uri="{FF2B5EF4-FFF2-40B4-BE49-F238E27FC236}">
                  <a16:creationId xmlns:a16="http://schemas.microsoft.com/office/drawing/2014/main" id="{79FA5AFC-AB70-4D92-BC44-1181877F58C8}"/>
                </a:ext>
              </a:extLst>
            </p:cNvPr>
            <p:cNvSpPr/>
            <p:nvPr/>
          </p:nvSpPr>
          <p:spPr>
            <a:xfrm rot="8716295">
              <a:off x="3412815" y="26999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" name="Forme libre : forme 264">
              <a:extLst>
                <a:ext uri="{FF2B5EF4-FFF2-40B4-BE49-F238E27FC236}">
                  <a16:creationId xmlns:a16="http://schemas.microsoft.com/office/drawing/2014/main" id="{3C1D95D8-2F29-45A0-9BA8-42D88BD37B32}"/>
                </a:ext>
              </a:extLst>
            </p:cNvPr>
            <p:cNvSpPr/>
            <p:nvPr/>
          </p:nvSpPr>
          <p:spPr>
            <a:xfrm rot="8716295">
              <a:off x="3966406" y="-35912"/>
              <a:ext cx="123741" cy="85774"/>
            </a:xfrm>
            <a:custGeom>
              <a:avLst/>
              <a:gdLst>
                <a:gd name="connsiteX0" fmla="*/ 81756 w 81756"/>
                <a:gd name="connsiteY0" fmla="*/ 56671 h 56671"/>
                <a:gd name="connsiteX1" fmla="*/ 0 w 81756"/>
                <a:gd name="connsiteY1" fmla="*/ 0 h 56671"/>
                <a:gd name="connsiteX2" fmla="*/ 24798 w 81756"/>
                <a:gd name="connsiteY2" fmla="*/ 0 h 56671"/>
                <a:gd name="connsiteX3" fmla="*/ 81756 w 81756"/>
                <a:gd name="connsiteY3" fmla="*/ 50123 h 56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1756" h="56671">
                  <a:moveTo>
                    <a:pt x="81756" y="56671"/>
                  </a:moveTo>
                  <a:lnTo>
                    <a:pt x="0" y="0"/>
                  </a:lnTo>
                  <a:lnTo>
                    <a:pt x="24798" y="0"/>
                  </a:lnTo>
                  <a:cubicBezTo>
                    <a:pt x="61707" y="0"/>
                    <a:pt x="81756" y="15949"/>
                    <a:pt x="81756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" name="Forme libre : forme 265">
              <a:extLst>
                <a:ext uri="{FF2B5EF4-FFF2-40B4-BE49-F238E27FC236}">
                  <a16:creationId xmlns:a16="http://schemas.microsoft.com/office/drawing/2014/main" id="{58EB0588-BD8B-459E-AF8B-F1A7C9A84E72}"/>
                </a:ext>
              </a:extLst>
            </p:cNvPr>
            <p:cNvSpPr/>
            <p:nvPr/>
          </p:nvSpPr>
          <p:spPr>
            <a:xfrm rot="8716295">
              <a:off x="4089146" y="-31808"/>
              <a:ext cx="332088" cy="148365"/>
            </a:xfrm>
            <a:custGeom>
              <a:avLst/>
              <a:gdLst>
                <a:gd name="connsiteX0" fmla="*/ 63575 w 219411"/>
                <a:gd name="connsiteY0" fmla="*/ 45493 h 98025"/>
                <a:gd name="connsiteX1" fmla="*/ 0 w 219411"/>
                <a:gd name="connsiteY1" fmla="*/ 1425 h 98025"/>
                <a:gd name="connsiteX2" fmla="*/ 63575 w 219411"/>
                <a:gd name="connsiteY2" fmla="*/ 1425 h 98025"/>
                <a:gd name="connsiteX3" fmla="*/ 88634 w 219411"/>
                <a:gd name="connsiteY3" fmla="*/ 62863 h 98025"/>
                <a:gd name="connsiteX4" fmla="*/ 73596 w 219411"/>
                <a:gd name="connsiteY4" fmla="*/ 52439 h 98025"/>
                <a:gd name="connsiteX5" fmla="*/ 75493 w 219411"/>
                <a:gd name="connsiteY5" fmla="*/ 47439 h 98025"/>
                <a:gd name="connsiteX6" fmla="*/ 112786 w 219411"/>
                <a:gd name="connsiteY6" fmla="*/ 5981 h 98025"/>
                <a:gd name="connsiteX7" fmla="*/ 144227 w 219411"/>
                <a:gd name="connsiteY7" fmla="*/ 57 h 98025"/>
                <a:gd name="connsiteX8" fmla="*/ 219411 w 219411"/>
                <a:gd name="connsiteY8" fmla="*/ 88456 h 98025"/>
                <a:gd name="connsiteX9" fmla="*/ 219411 w 219411"/>
                <a:gd name="connsiteY9" fmla="*/ 94380 h 98025"/>
                <a:gd name="connsiteX10" fmla="*/ 157441 w 219411"/>
                <a:gd name="connsiteY10" fmla="*/ 98025 h 98025"/>
                <a:gd name="connsiteX11" fmla="*/ 157441 w 219411"/>
                <a:gd name="connsiteY11" fmla="*/ 81621 h 98025"/>
                <a:gd name="connsiteX12" fmla="*/ 123722 w 219411"/>
                <a:gd name="connsiteY12" fmla="*/ 40156 h 98025"/>
                <a:gd name="connsiteX13" fmla="*/ 103089 w 219411"/>
                <a:gd name="connsiteY13" fmla="*/ 46969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9411" h="98025">
                  <a:moveTo>
                    <a:pt x="63575" y="45493"/>
                  </a:moveTo>
                  <a:lnTo>
                    <a:pt x="0" y="1425"/>
                  </a:lnTo>
                  <a:lnTo>
                    <a:pt x="63575" y="1425"/>
                  </a:lnTo>
                  <a:close/>
                  <a:moveTo>
                    <a:pt x="88634" y="62863"/>
                  </a:moveTo>
                  <a:lnTo>
                    <a:pt x="73596" y="52439"/>
                  </a:lnTo>
                  <a:lnTo>
                    <a:pt x="75493" y="47439"/>
                  </a:lnTo>
                  <a:cubicBezTo>
                    <a:pt x="85874" y="24008"/>
                    <a:pt x="96382" y="12816"/>
                    <a:pt x="112786" y="5981"/>
                  </a:cubicBezTo>
                  <a:cubicBezTo>
                    <a:pt x="122811" y="1880"/>
                    <a:pt x="133291" y="-398"/>
                    <a:pt x="144227" y="57"/>
                  </a:cubicBezTo>
                  <a:cubicBezTo>
                    <a:pt x="191160" y="-854"/>
                    <a:pt x="219411" y="31954"/>
                    <a:pt x="219411" y="88456"/>
                  </a:cubicBezTo>
                  <a:lnTo>
                    <a:pt x="219411" y="94380"/>
                  </a:lnTo>
                  <a:lnTo>
                    <a:pt x="157441" y="98025"/>
                  </a:lnTo>
                  <a:lnTo>
                    <a:pt x="157441" y="81621"/>
                  </a:lnTo>
                  <a:cubicBezTo>
                    <a:pt x="157441" y="57016"/>
                    <a:pt x="143316" y="40156"/>
                    <a:pt x="123722" y="40156"/>
                  </a:cubicBezTo>
                  <a:cubicBezTo>
                    <a:pt x="116431" y="40156"/>
                    <a:pt x="109454" y="42577"/>
                    <a:pt x="103089" y="4696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" name="Forme libre : forme 266">
              <a:extLst>
                <a:ext uri="{FF2B5EF4-FFF2-40B4-BE49-F238E27FC236}">
                  <a16:creationId xmlns:a16="http://schemas.microsoft.com/office/drawing/2014/main" id="{8BF71B65-6E28-4BBD-90CF-EB6990FA2B3D}"/>
                </a:ext>
              </a:extLst>
            </p:cNvPr>
            <p:cNvSpPr/>
            <p:nvPr/>
          </p:nvSpPr>
          <p:spPr>
            <a:xfrm rot="8716295">
              <a:off x="3850379" y="-108618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" name="Forme libre : forme 267">
              <a:extLst>
                <a:ext uri="{FF2B5EF4-FFF2-40B4-BE49-F238E27FC236}">
                  <a16:creationId xmlns:a16="http://schemas.microsoft.com/office/drawing/2014/main" id="{C234B460-A852-4BC6-9223-625373ACE475}"/>
                </a:ext>
              </a:extLst>
            </p:cNvPr>
            <p:cNvSpPr/>
            <p:nvPr/>
          </p:nvSpPr>
          <p:spPr>
            <a:xfrm rot="7484129">
              <a:off x="4009196" y="18100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" name="Forme libre : forme 268">
              <a:extLst>
                <a:ext uri="{FF2B5EF4-FFF2-40B4-BE49-F238E27FC236}">
                  <a16:creationId xmlns:a16="http://schemas.microsoft.com/office/drawing/2014/main" id="{ED1521F3-7A8A-439A-8C00-B7EE31751298}"/>
                </a:ext>
              </a:extLst>
            </p:cNvPr>
            <p:cNvSpPr/>
            <p:nvPr/>
          </p:nvSpPr>
          <p:spPr>
            <a:xfrm rot="13089394">
              <a:off x="4167846" y="130348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0" name="Forme libre : forme 269">
              <a:extLst>
                <a:ext uri="{FF2B5EF4-FFF2-40B4-BE49-F238E27FC236}">
                  <a16:creationId xmlns:a16="http://schemas.microsoft.com/office/drawing/2014/main" id="{33189A82-B861-4219-AF6A-9F08FA6A03EE}"/>
                </a:ext>
              </a:extLst>
            </p:cNvPr>
            <p:cNvSpPr/>
            <p:nvPr/>
          </p:nvSpPr>
          <p:spPr>
            <a:xfrm rot="8716295">
              <a:off x="4488057" y="-10608"/>
              <a:ext cx="169580" cy="136116"/>
            </a:xfrm>
            <a:custGeom>
              <a:avLst/>
              <a:gdLst>
                <a:gd name="connsiteX0" fmla="*/ 62355 w 112042"/>
                <a:gd name="connsiteY0" fmla="*/ 89932 h 89932"/>
                <a:gd name="connsiteX1" fmla="*/ 0 w 112042"/>
                <a:gd name="connsiteY1" fmla="*/ 46710 h 89932"/>
                <a:gd name="connsiteX2" fmla="*/ 14231 w 112042"/>
                <a:gd name="connsiteY2" fmla="*/ 33321 h 89932"/>
                <a:gd name="connsiteX3" fmla="*/ 78722 w 112042"/>
                <a:gd name="connsiteY3" fmla="*/ 0 h 89932"/>
                <a:gd name="connsiteX4" fmla="*/ 112042 w 112042"/>
                <a:gd name="connsiteY4" fmla="*/ 39770 h 89932"/>
                <a:gd name="connsiteX5" fmla="*/ 80872 w 112042"/>
                <a:gd name="connsiteY5" fmla="*/ 81689 h 89932"/>
                <a:gd name="connsiteX6" fmla="*/ 81408 w 112042"/>
                <a:gd name="connsiteY6" fmla="*/ 81689 h 89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2042" h="89932">
                  <a:moveTo>
                    <a:pt x="62355" y="89932"/>
                  </a:moveTo>
                  <a:lnTo>
                    <a:pt x="0" y="46710"/>
                  </a:lnTo>
                  <a:lnTo>
                    <a:pt x="14231" y="33321"/>
                  </a:lnTo>
                  <a:cubicBezTo>
                    <a:pt x="30353" y="14511"/>
                    <a:pt x="53462" y="2687"/>
                    <a:pt x="78722" y="0"/>
                  </a:cubicBezTo>
                  <a:cubicBezTo>
                    <a:pt x="104518" y="0"/>
                    <a:pt x="112042" y="22572"/>
                    <a:pt x="112042" y="39770"/>
                  </a:cubicBezTo>
                  <a:cubicBezTo>
                    <a:pt x="110429" y="58580"/>
                    <a:pt x="98068" y="74165"/>
                    <a:pt x="80872" y="81689"/>
                  </a:cubicBezTo>
                  <a:lnTo>
                    <a:pt x="81408" y="816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1" name="Forme libre : forme 270">
              <a:extLst>
                <a:ext uri="{FF2B5EF4-FFF2-40B4-BE49-F238E27FC236}">
                  <a16:creationId xmlns:a16="http://schemas.microsoft.com/office/drawing/2014/main" id="{1EF7387F-9F93-4D5B-AD0B-A9B5B150D750}"/>
                </a:ext>
              </a:extLst>
            </p:cNvPr>
            <p:cNvSpPr/>
            <p:nvPr/>
          </p:nvSpPr>
          <p:spPr>
            <a:xfrm rot="8716295">
              <a:off x="3111565" y="373623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2" name="Forme libre : forme 271">
              <a:extLst>
                <a:ext uri="{FF2B5EF4-FFF2-40B4-BE49-F238E27FC236}">
                  <a16:creationId xmlns:a16="http://schemas.microsoft.com/office/drawing/2014/main" id="{B4768996-8D29-4ED8-9892-576EE6810B22}"/>
                </a:ext>
              </a:extLst>
            </p:cNvPr>
            <p:cNvSpPr/>
            <p:nvPr/>
          </p:nvSpPr>
          <p:spPr>
            <a:xfrm rot="8716295">
              <a:off x="3246864" y="378049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3" name="Forme libre : forme 272">
              <a:extLst>
                <a:ext uri="{FF2B5EF4-FFF2-40B4-BE49-F238E27FC236}">
                  <a16:creationId xmlns:a16="http://schemas.microsoft.com/office/drawing/2014/main" id="{303FB1DD-DCD5-4C62-8A14-00277F3DAA40}"/>
                </a:ext>
              </a:extLst>
            </p:cNvPr>
            <p:cNvSpPr/>
            <p:nvPr/>
          </p:nvSpPr>
          <p:spPr>
            <a:xfrm rot="8716295">
              <a:off x="3178981" y="3649901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4" name="Forme libre : forme 273">
              <a:extLst>
                <a:ext uri="{FF2B5EF4-FFF2-40B4-BE49-F238E27FC236}">
                  <a16:creationId xmlns:a16="http://schemas.microsoft.com/office/drawing/2014/main" id="{FE02E440-C3F4-4D87-B8DD-6EFE0A4EF84D}"/>
                </a:ext>
              </a:extLst>
            </p:cNvPr>
            <p:cNvSpPr/>
            <p:nvPr/>
          </p:nvSpPr>
          <p:spPr>
            <a:xfrm rot="8716295">
              <a:off x="2941694" y="387024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5" name="Forme libre : forme 274">
              <a:extLst>
                <a:ext uri="{FF2B5EF4-FFF2-40B4-BE49-F238E27FC236}">
                  <a16:creationId xmlns:a16="http://schemas.microsoft.com/office/drawing/2014/main" id="{79A8277D-0F31-4A40-BC3D-FDA2697AD79E}"/>
                </a:ext>
              </a:extLst>
            </p:cNvPr>
            <p:cNvSpPr/>
            <p:nvPr/>
          </p:nvSpPr>
          <p:spPr>
            <a:xfrm rot="8716295">
              <a:off x="2752648" y="355441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6" name="Forme libre : forme 275">
              <a:extLst>
                <a:ext uri="{FF2B5EF4-FFF2-40B4-BE49-F238E27FC236}">
                  <a16:creationId xmlns:a16="http://schemas.microsoft.com/office/drawing/2014/main" id="{FDF6C6F6-1950-4480-853C-710CE9CA14A1}"/>
                </a:ext>
              </a:extLst>
            </p:cNvPr>
            <p:cNvSpPr/>
            <p:nvPr/>
          </p:nvSpPr>
          <p:spPr>
            <a:xfrm rot="8716295">
              <a:off x="2734407" y="334436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7" name="Forme libre : forme 276">
              <a:extLst>
                <a:ext uri="{FF2B5EF4-FFF2-40B4-BE49-F238E27FC236}">
                  <a16:creationId xmlns:a16="http://schemas.microsoft.com/office/drawing/2014/main" id="{F7DE91C7-8472-4B32-8DA3-B40AD12704F7}"/>
                </a:ext>
              </a:extLst>
            </p:cNvPr>
            <p:cNvSpPr/>
            <p:nvPr/>
          </p:nvSpPr>
          <p:spPr>
            <a:xfrm rot="8716295">
              <a:off x="3078183" y="393222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8" name="Forme libre : forme 277">
              <a:extLst>
                <a:ext uri="{FF2B5EF4-FFF2-40B4-BE49-F238E27FC236}">
                  <a16:creationId xmlns:a16="http://schemas.microsoft.com/office/drawing/2014/main" id="{56FC047B-D272-4172-A288-45148C4BFE0D}"/>
                </a:ext>
              </a:extLst>
            </p:cNvPr>
            <p:cNvSpPr/>
            <p:nvPr/>
          </p:nvSpPr>
          <p:spPr>
            <a:xfrm rot="8716295">
              <a:off x="3549129" y="335761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9" name="Forme libre : forme 278">
              <a:extLst>
                <a:ext uri="{FF2B5EF4-FFF2-40B4-BE49-F238E27FC236}">
                  <a16:creationId xmlns:a16="http://schemas.microsoft.com/office/drawing/2014/main" id="{B13EC7A5-2676-4C63-B64E-8B2F38021996}"/>
                </a:ext>
              </a:extLst>
            </p:cNvPr>
            <p:cNvSpPr/>
            <p:nvPr/>
          </p:nvSpPr>
          <p:spPr>
            <a:xfrm rot="8716295">
              <a:off x="3684428" y="340187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0" name="Forme libre : forme 279">
              <a:extLst>
                <a:ext uri="{FF2B5EF4-FFF2-40B4-BE49-F238E27FC236}">
                  <a16:creationId xmlns:a16="http://schemas.microsoft.com/office/drawing/2014/main" id="{6ECF7C58-1973-4F69-8DD3-556AA77C8D04}"/>
                </a:ext>
              </a:extLst>
            </p:cNvPr>
            <p:cNvSpPr/>
            <p:nvPr/>
          </p:nvSpPr>
          <p:spPr>
            <a:xfrm rot="8716295">
              <a:off x="3379258" y="349163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1" name="Forme libre : forme 280">
              <a:extLst>
                <a:ext uri="{FF2B5EF4-FFF2-40B4-BE49-F238E27FC236}">
                  <a16:creationId xmlns:a16="http://schemas.microsoft.com/office/drawing/2014/main" id="{2B29EFE5-ACFF-4048-807E-18A0A68A503E}"/>
                </a:ext>
              </a:extLst>
            </p:cNvPr>
            <p:cNvSpPr/>
            <p:nvPr/>
          </p:nvSpPr>
          <p:spPr>
            <a:xfrm rot="8716295">
              <a:off x="3190213" y="317579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2" name="Forme libre : forme 281">
              <a:extLst>
                <a:ext uri="{FF2B5EF4-FFF2-40B4-BE49-F238E27FC236}">
                  <a16:creationId xmlns:a16="http://schemas.microsoft.com/office/drawing/2014/main" id="{09E572E1-09FC-45A6-A1BF-D06157BE552F}"/>
                </a:ext>
              </a:extLst>
            </p:cNvPr>
            <p:cNvSpPr/>
            <p:nvPr/>
          </p:nvSpPr>
          <p:spPr>
            <a:xfrm rot="8716295">
              <a:off x="3515746" y="3553613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3" name="Forme libre : forme 282">
              <a:extLst>
                <a:ext uri="{FF2B5EF4-FFF2-40B4-BE49-F238E27FC236}">
                  <a16:creationId xmlns:a16="http://schemas.microsoft.com/office/drawing/2014/main" id="{85DB8E68-2D02-4177-B998-21F4EDDAA547}"/>
                </a:ext>
              </a:extLst>
            </p:cNvPr>
            <p:cNvSpPr/>
            <p:nvPr/>
          </p:nvSpPr>
          <p:spPr>
            <a:xfrm rot="8716295">
              <a:off x="3150300" y="332718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4" name="Forme libre : forme 283">
              <a:extLst>
                <a:ext uri="{FF2B5EF4-FFF2-40B4-BE49-F238E27FC236}">
                  <a16:creationId xmlns:a16="http://schemas.microsoft.com/office/drawing/2014/main" id="{833C9746-3293-4FB8-8420-FBDB2ADD8FDE}"/>
                </a:ext>
              </a:extLst>
            </p:cNvPr>
            <p:cNvSpPr/>
            <p:nvPr/>
          </p:nvSpPr>
          <p:spPr>
            <a:xfrm rot="7484129">
              <a:off x="3674564" y="38432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5" name="Forme libre : forme 284">
              <a:extLst>
                <a:ext uri="{FF2B5EF4-FFF2-40B4-BE49-F238E27FC236}">
                  <a16:creationId xmlns:a16="http://schemas.microsoft.com/office/drawing/2014/main" id="{F36C90B8-C19D-40C0-9F6E-8BC40DAF6680}"/>
                </a:ext>
              </a:extLst>
            </p:cNvPr>
            <p:cNvSpPr/>
            <p:nvPr/>
          </p:nvSpPr>
          <p:spPr>
            <a:xfrm rot="13089394">
              <a:off x="3833214" y="3792578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6" name="Forme libre : forme 285">
              <a:extLst>
                <a:ext uri="{FF2B5EF4-FFF2-40B4-BE49-F238E27FC236}">
                  <a16:creationId xmlns:a16="http://schemas.microsoft.com/office/drawing/2014/main" id="{25D579E4-7F89-49C7-A73E-844BD68A125D}"/>
                </a:ext>
              </a:extLst>
            </p:cNvPr>
            <p:cNvSpPr/>
            <p:nvPr/>
          </p:nvSpPr>
          <p:spPr>
            <a:xfrm rot="8716295">
              <a:off x="4114105" y="3502461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7" name="Forme libre : forme 286">
              <a:extLst>
                <a:ext uri="{FF2B5EF4-FFF2-40B4-BE49-F238E27FC236}">
                  <a16:creationId xmlns:a16="http://schemas.microsoft.com/office/drawing/2014/main" id="{3F032AF9-E492-4124-9A15-3F5109B4E944}"/>
                </a:ext>
              </a:extLst>
            </p:cNvPr>
            <p:cNvSpPr/>
            <p:nvPr/>
          </p:nvSpPr>
          <p:spPr>
            <a:xfrm rot="8716295">
              <a:off x="4035696" y="334566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8" name="Forme libre : forme 287">
              <a:extLst>
                <a:ext uri="{FF2B5EF4-FFF2-40B4-BE49-F238E27FC236}">
                  <a16:creationId xmlns:a16="http://schemas.microsoft.com/office/drawing/2014/main" id="{AB866341-425E-43E2-A992-45F1B8F969FA}"/>
                </a:ext>
              </a:extLst>
            </p:cNvPr>
            <p:cNvSpPr/>
            <p:nvPr/>
          </p:nvSpPr>
          <p:spPr>
            <a:xfrm rot="8716295">
              <a:off x="3667532" y="339140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9" name="Forme libre : forme 288">
              <a:extLst>
                <a:ext uri="{FF2B5EF4-FFF2-40B4-BE49-F238E27FC236}">
                  <a16:creationId xmlns:a16="http://schemas.microsoft.com/office/drawing/2014/main" id="{6CDA98C5-481F-4686-9DE1-F1AA20FC6223}"/>
                </a:ext>
              </a:extLst>
            </p:cNvPr>
            <p:cNvSpPr/>
            <p:nvPr/>
          </p:nvSpPr>
          <p:spPr>
            <a:xfrm rot="8716295">
              <a:off x="3936113" y="315039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0" name="Forme libre : forme 289">
              <a:extLst>
                <a:ext uri="{FF2B5EF4-FFF2-40B4-BE49-F238E27FC236}">
                  <a16:creationId xmlns:a16="http://schemas.microsoft.com/office/drawing/2014/main" id="{13373414-24F1-4D1B-ADBB-1E220625DF7D}"/>
                </a:ext>
              </a:extLst>
            </p:cNvPr>
            <p:cNvSpPr/>
            <p:nvPr/>
          </p:nvSpPr>
          <p:spPr>
            <a:xfrm rot="8716295">
              <a:off x="3449338" y="4734714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1" name="Forme libre : forme 290">
              <a:extLst>
                <a:ext uri="{FF2B5EF4-FFF2-40B4-BE49-F238E27FC236}">
                  <a16:creationId xmlns:a16="http://schemas.microsoft.com/office/drawing/2014/main" id="{B70E33AD-70BB-4576-ADCA-5363A243B741}"/>
                </a:ext>
              </a:extLst>
            </p:cNvPr>
            <p:cNvSpPr/>
            <p:nvPr/>
          </p:nvSpPr>
          <p:spPr>
            <a:xfrm rot="8716295">
              <a:off x="3580975" y="4773824"/>
              <a:ext cx="394489" cy="383455"/>
            </a:xfrm>
            <a:custGeom>
              <a:avLst/>
              <a:gdLst>
                <a:gd name="connsiteX0" fmla="*/ 77932 w 394489"/>
                <a:gd name="connsiteY0" fmla="*/ 383455 h 383455"/>
                <a:gd name="connsiteX1" fmla="*/ 77932 w 394489"/>
                <a:gd name="connsiteY1" fmla="*/ 66898 h 383455"/>
                <a:gd name="connsiteX2" fmla="*/ 0 w 394489"/>
                <a:gd name="connsiteY2" fmla="*/ 66898 h 383455"/>
                <a:gd name="connsiteX3" fmla="*/ 0 w 394489"/>
                <a:gd name="connsiteY3" fmla="*/ 0 h 383455"/>
                <a:gd name="connsiteX4" fmla="*/ 158623 w 394489"/>
                <a:gd name="connsiteY4" fmla="*/ 0 h 383455"/>
                <a:gd name="connsiteX5" fmla="*/ 158623 w 394489"/>
                <a:gd name="connsiteY5" fmla="*/ 111726 h 383455"/>
                <a:gd name="connsiteX6" fmla="*/ 160692 w 394489"/>
                <a:gd name="connsiteY6" fmla="*/ 111726 h 383455"/>
                <a:gd name="connsiteX7" fmla="*/ 233107 w 394489"/>
                <a:gd name="connsiteY7" fmla="*/ 6897 h 383455"/>
                <a:gd name="connsiteX8" fmla="*/ 240854 w 394489"/>
                <a:gd name="connsiteY8" fmla="*/ 5438 h 383455"/>
                <a:gd name="connsiteX9" fmla="*/ 391511 w 394489"/>
                <a:gd name="connsiteY9" fmla="*/ 109868 h 383455"/>
                <a:gd name="connsiteX10" fmla="*/ 394489 w 394489"/>
                <a:gd name="connsiteY10" fmla="*/ 131726 h 383455"/>
                <a:gd name="connsiteX11" fmla="*/ 394489 w 394489"/>
                <a:gd name="connsiteY11" fmla="*/ 140692 h 383455"/>
                <a:gd name="connsiteX12" fmla="*/ 300695 w 394489"/>
                <a:gd name="connsiteY12" fmla="*/ 146210 h 383455"/>
                <a:gd name="connsiteX13" fmla="*/ 300695 w 394489"/>
                <a:gd name="connsiteY13" fmla="*/ 121382 h 383455"/>
                <a:gd name="connsiteX14" fmla="*/ 249659 w 394489"/>
                <a:gd name="connsiteY14" fmla="*/ 58622 h 383455"/>
                <a:gd name="connsiteX15" fmla="*/ 168969 w 394489"/>
                <a:gd name="connsiteY15" fmla="*/ 191038 h 383455"/>
                <a:gd name="connsiteX16" fmla="*/ 168969 w 394489"/>
                <a:gd name="connsiteY16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4489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82762" y="46208"/>
                    <a:pt x="200003" y="20690"/>
                    <a:pt x="233107" y="6897"/>
                  </a:cubicBezTo>
                  <a:lnTo>
                    <a:pt x="240854" y="5438"/>
                  </a:lnTo>
                  <a:lnTo>
                    <a:pt x="391511" y="109868"/>
                  </a:lnTo>
                  <a:lnTo>
                    <a:pt x="394489" y="131726"/>
                  </a:lnTo>
                  <a:lnTo>
                    <a:pt x="394489" y="140692"/>
                  </a:lnTo>
                  <a:lnTo>
                    <a:pt x="300695" y="146210"/>
                  </a:lnTo>
                  <a:lnTo>
                    <a:pt x="300695" y="121382"/>
                  </a:lnTo>
                  <a:cubicBezTo>
                    <a:pt x="300695" y="84140"/>
                    <a:pt x="279315" y="58621"/>
                    <a:pt x="249659" y="58622"/>
                  </a:cubicBezTo>
                  <a:cubicBezTo>
                    <a:pt x="205521" y="58622"/>
                    <a:pt x="168969" y="117244"/>
                    <a:pt x="168969" y="191038"/>
                  </a:cubicBez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2" name="Forme libre : forme 291">
              <a:extLst>
                <a:ext uri="{FF2B5EF4-FFF2-40B4-BE49-F238E27FC236}">
                  <a16:creationId xmlns:a16="http://schemas.microsoft.com/office/drawing/2014/main" id="{00B826E8-9537-4128-8AFA-9DB695ED94E7}"/>
                </a:ext>
              </a:extLst>
            </p:cNvPr>
            <p:cNvSpPr/>
            <p:nvPr/>
          </p:nvSpPr>
          <p:spPr>
            <a:xfrm rot="8716295">
              <a:off x="3516754" y="4648384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3" name="Forme libre : forme 292">
              <a:extLst>
                <a:ext uri="{FF2B5EF4-FFF2-40B4-BE49-F238E27FC236}">
                  <a16:creationId xmlns:a16="http://schemas.microsoft.com/office/drawing/2014/main" id="{FFE48F5E-5149-4118-92C8-4116821F574B}"/>
                </a:ext>
              </a:extLst>
            </p:cNvPr>
            <p:cNvSpPr/>
            <p:nvPr/>
          </p:nvSpPr>
          <p:spPr>
            <a:xfrm rot="8716295">
              <a:off x="3279467" y="486872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4" name="Forme libre : forme 293">
              <a:extLst>
                <a:ext uri="{FF2B5EF4-FFF2-40B4-BE49-F238E27FC236}">
                  <a16:creationId xmlns:a16="http://schemas.microsoft.com/office/drawing/2014/main" id="{890C4AC4-E0F9-4914-B99E-81FA866D2C0A}"/>
                </a:ext>
              </a:extLst>
            </p:cNvPr>
            <p:cNvSpPr/>
            <p:nvPr/>
          </p:nvSpPr>
          <p:spPr>
            <a:xfrm rot="8716295">
              <a:off x="3090421" y="455289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5" name="Forme libre : forme 294">
              <a:extLst>
                <a:ext uri="{FF2B5EF4-FFF2-40B4-BE49-F238E27FC236}">
                  <a16:creationId xmlns:a16="http://schemas.microsoft.com/office/drawing/2014/main" id="{9E7C0995-D53C-4E22-B438-2332B5C132C7}"/>
                </a:ext>
              </a:extLst>
            </p:cNvPr>
            <p:cNvSpPr/>
            <p:nvPr/>
          </p:nvSpPr>
          <p:spPr>
            <a:xfrm rot="8716295">
              <a:off x="3072180" y="434284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6" name="Forme libre : forme 295">
              <a:extLst>
                <a:ext uri="{FF2B5EF4-FFF2-40B4-BE49-F238E27FC236}">
                  <a16:creationId xmlns:a16="http://schemas.microsoft.com/office/drawing/2014/main" id="{B2DA7643-AE8F-4F78-929C-4968C3EC4902}"/>
                </a:ext>
              </a:extLst>
            </p:cNvPr>
            <p:cNvSpPr/>
            <p:nvPr/>
          </p:nvSpPr>
          <p:spPr>
            <a:xfrm rot="8716295">
              <a:off x="3388475" y="4959102"/>
              <a:ext cx="91035" cy="230894"/>
            </a:xfrm>
            <a:custGeom>
              <a:avLst/>
              <a:gdLst>
                <a:gd name="connsiteX0" fmla="*/ 91035 w 91035"/>
                <a:gd name="connsiteY0" fmla="*/ 230894 h 230894"/>
                <a:gd name="connsiteX1" fmla="*/ 0 w 91035"/>
                <a:gd name="connsiteY1" fmla="*/ 143306 h 230894"/>
                <a:gd name="connsiteX2" fmla="*/ 0 w 91035"/>
                <a:gd name="connsiteY2" fmla="*/ 0 h 230894"/>
                <a:gd name="connsiteX3" fmla="*/ 91035 w 91035"/>
                <a:gd name="connsiteY3" fmla="*/ 63103 h 230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230894">
                  <a:moveTo>
                    <a:pt x="91035" y="230894"/>
                  </a:moveTo>
                  <a:lnTo>
                    <a:pt x="0" y="143306"/>
                  </a:lnTo>
                  <a:lnTo>
                    <a:pt x="0" y="0"/>
                  </a:lnTo>
                  <a:lnTo>
                    <a:pt x="91035" y="631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7" name="Forme libre : forme 296">
              <a:extLst>
                <a:ext uri="{FF2B5EF4-FFF2-40B4-BE49-F238E27FC236}">
                  <a16:creationId xmlns:a16="http://schemas.microsoft.com/office/drawing/2014/main" id="{93603EC3-AC55-411D-BFDF-9FDB7506B4C7}"/>
                </a:ext>
              </a:extLst>
            </p:cNvPr>
            <p:cNvSpPr/>
            <p:nvPr/>
          </p:nvSpPr>
          <p:spPr>
            <a:xfrm rot="8716295">
              <a:off x="3886902" y="435609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8" name="Forme libre : forme 297">
              <a:extLst>
                <a:ext uri="{FF2B5EF4-FFF2-40B4-BE49-F238E27FC236}">
                  <a16:creationId xmlns:a16="http://schemas.microsoft.com/office/drawing/2014/main" id="{08CBBA4D-FF43-40D2-8BFA-84CB4DCCF31B}"/>
                </a:ext>
              </a:extLst>
            </p:cNvPr>
            <p:cNvSpPr/>
            <p:nvPr/>
          </p:nvSpPr>
          <p:spPr>
            <a:xfrm rot="8716295">
              <a:off x="4022201" y="440035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9" name="Forme libre : forme 298">
              <a:extLst>
                <a:ext uri="{FF2B5EF4-FFF2-40B4-BE49-F238E27FC236}">
                  <a16:creationId xmlns:a16="http://schemas.microsoft.com/office/drawing/2014/main" id="{835E253D-33C4-431B-B8C8-357E6AAC9C52}"/>
                </a:ext>
              </a:extLst>
            </p:cNvPr>
            <p:cNvSpPr/>
            <p:nvPr/>
          </p:nvSpPr>
          <p:spPr>
            <a:xfrm rot="8716295">
              <a:off x="3717031" y="44901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0" name="Forme libre : forme 299">
              <a:extLst>
                <a:ext uri="{FF2B5EF4-FFF2-40B4-BE49-F238E27FC236}">
                  <a16:creationId xmlns:a16="http://schemas.microsoft.com/office/drawing/2014/main" id="{22AF57EC-DC68-40A4-9C71-BCBD0C50FBE3}"/>
                </a:ext>
              </a:extLst>
            </p:cNvPr>
            <p:cNvSpPr/>
            <p:nvPr/>
          </p:nvSpPr>
          <p:spPr>
            <a:xfrm rot="8716295">
              <a:off x="3527986" y="417427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1" name="Forme libre : forme 300">
              <a:extLst>
                <a:ext uri="{FF2B5EF4-FFF2-40B4-BE49-F238E27FC236}">
                  <a16:creationId xmlns:a16="http://schemas.microsoft.com/office/drawing/2014/main" id="{7AC81511-7180-4392-A0BB-C0785E6FFDB2}"/>
                </a:ext>
              </a:extLst>
            </p:cNvPr>
            <p:cNvSpPr/>
            <p:nvPr/>
          </p:nvSpPr>
          <p:spPr>
            <a:xfrm rot="8716295">
              <a:off x="3853519" y="4552096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2" name="Forme libre : forme 301">
              <a:extLst>
                <a:ext uri="{FF2B5EF4-FFF2-40B4-BE49-F238E27FC236}">
                  <a16:creationId xmlns:a16="http://schemas.microsoft.com/office/drawing/2014/main" id="{1EACC1C7-884B-4139-9EC6-9BA9AA34D223}"/>
                </a:ext>
              </a:extLst>
            </p:cNvPr>
            <p:cNvSpPr/>
            <p:nvPr/>
          </p:nvSpPr>
          <p:spPr>
            <a:xfrm rot="8716295">
              <a:off x="3488073" y="432567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3" name="Forme libre : forme 302">
              <a:extLst>
                <a:ext uri="{FF2B5EF4-FFF2-40B4-BE49-F238E27FC236}">
                  <a16:creationId xmlns:a16="http://schemas.microsoft.com/office/drawing/2014/main" id="{8A54AD41-7272-4697-A5DB-CEFCE19789FC}"/>
                </a:ext>
              </a:extLst>
            </p:cNvPr>
            <p:cNvSpPr/>
            <p:nvPr/>
          </p:nvSpPr>
          <p:spPr>
            <a:xfrm rot="7484129">
              <a:off x="4016569" y="4837237"/>
              <a:ext cx="295167" cy="296463"/>
            </a:xfrm>
            <a:custGeom>
              <a:avLst/>
              <a:gdLst>
                <a:gd name="connsiteX0" fmla="*/ 137293 w 295167"/>
                <a:gd name="connsiteY0" fmla="*/ 296463 h 296463"/>
                <a:gd name="connsiteX1" fmla="*/ 72418 w 295167"/>
                <a:gd name="connsiteY1" fmla="*/ 175766 h 296463"/>
                <a:gd name="connsiteX2" fmla="*/ 105610 w 295167"/>
                <a:gd name="connsiteY2" fmla="*/ 83734 h 296463"/>
                <a:gd name="connsiteX3" fmla="*/ 0 w 295167"/>
                <a:gd name="connsiteY3" fmla="*/ 83734 h 296463"/>
                <a:gd name="connsiteX4" fmla="*/ 0 w 295167"/>
                <a:gd name="connsiteY4" fmla="*/ 0 h 296463"/>
                <a:gd name="connsiteX5" fmla="*/ 237110 w 295167"/>
                <a:gd name="connsiteY5" fmla="*/ 0 h 296463"/>
                <a:gd name="connsiteX6" fmla="*/ 295167 w 295167"/>
                <a:gd name="connsiteY6" fmla="*/ 83734 h 296463"/>
                <a:gd name="connsiteX7" fmla="*/ 210466 w 295167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5167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37110" y="0"/>
                  </a:lnTo>
                  <a:lnTo>
                    <a:pt x="295167" y="83734"/>
                  </a:lnTo>
                  <a:lnTo>
                    <a:pt x="210466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4" name="Forme libre : forme 303">
              <a:extLst>
                <a:ext uri="{FF2B5EF4-FFF2-40B4-BE49-F238E27FC236}">
                  <a16:creationId xmlns:a16="http://schemas.microsoft.com/office/drawing/2014/main" id="{B0BB4A2B-6236-4AB8-8AEF-499FEFD9934C}"/>
                </a:ext>
              </a:extLst>
            </p:cNvPr>
            <p:cNvSpPr/>
            <p:nvPr/>
          </p:nvSpPr>
          <p:spPr>
            <a:xfrm rot="13089394">
              <a:off x="4226447" y="4804985"/>
              <a:ext cx="412568" cy="314062"/>
            </a:xfrm>
            <a:custGeom>
              <a:avLst/>
              <a:gdLst>
                <a:gd name="connsiteX0" fmla="*/ 412568 w 412568"/>
                <a:gd name="connsiteY0" fmla="*/ 206915 h 314062"/>
                <a:gd name="connsiteX1" fmla="*/ 138636 w 412568"/>
                <a:gd name="connsiteY1" fmla="*/ 313815 h 314062"/>
                <a:gd name="connsiteX2" fmla="*/ 35911 w 412568"/>
                <a:gd name="connsiteY2" fmla="*/ 272057 h 314062"/>
                <a:gd name="connsiteX3" fmla="*/ 0 w 412568"/>
                <a:gd name="connsiteY3" fmla="*/ 128410 h 314062"/>
                <a:gd name="connsiteX4" fmla="*/ 0 w 412568"/>
                <a:gd name="connsiteY4" fmla="*/ 88308 h 314062"/>
                <a:gd name="connsiteX5" fmla="*/ 112395 w 412568"/>
                <a:gd name="connsiteY5" fmla="*/ 0 h 314062"/>
                <a:gd name="connsiteX6" fmla="*/ 112747 w 412568"/>
                <a:gd name="connsiteY6" fmla="*/ 49070 h 314062"/>
                <a:gd name="connsiteX7" fmla="*/ 132789 w 412568"/>
                <a:gd name="connsiteY7" fmla="*/ 187707 h 314062"/>
                <a:gd name="connsiteX8" fmla="*/ 233008 w 412568"/>
                <a:gd name="connsiteY8" fmla="*/ 242827 h 314062"/>
                <a:gd name="connsiteX9" fmla="*/ 308172 w 412568"/>
                <a:gd name="connsiteY9" fmla="*/ 229465 h 314062"/>
                <a:gd name="connsiteX10" fmla="*/ 410898 w 412568"/>
                <a:gd name="connsiteY10" fmla="*/ 187707 h 314062"/>
                <a:gd name="connsiteX11" fmla="*/ 412568 w 412568"/>
                <a:gd name="connsiteY11" fmla="*/ 198563 h 314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2568" h="314062">
                  <a:moveTo>
                    <a:pt x="412568" y="206915"/>
                  </a:moveTo>
                  <a:cubicBezTo>
                    <a:pt x="324041" y="282914"/>
                    <a:pt x="207954" y="309640"/>
                    <a:pt x="138636" y="313815"/>
                  </a:cubicBezTo>
                  <a:cubicBezTo>
                    <a:pt x="100219" y="316321"/>
                    <a:pt x="62637" y="299618"/>
                    <a:pt x="35911" y="272057"/>
                  </a:cubicBezTo>
                  <a:cubicBezTo>
                    <a:pt x="7516" y="244497"/>
                    <a:pt x="0" y="196893"/>
                    <a:pt x="0" y="128410"/>
                  </a:cubicBezTo>
                  <a:lnTo>
                    <a:pt x="0" y="88308"/>
                  </a:lnTo>
                  <a:lnTo>
                    <a:pt x="112395" y="0"/>
                  </a:lnTo>
                  <a:lnTo>
                    <a:pt x="112747" y="49070"/>
                  </a:lnTo>
                  <a:cubicBezTo>
                    <a:pt x="110241" y="95839"/>
                    <a:pt x="117756" y="143443"/>
                    <a:pt x="132789" y="187707"/>
                  </a:cubicBezTo>
                  <a:cubicBezTo>
                    <a:pt x="146153" y="224453"/>
                    <a:pt x="180394" y="242827"/>
                    <a:pt x="233008" y="242827"/>
                  </a:cubicBezTo>
                  <a:cubicBezTo>
                    <a:pt x="258899" y="241992"/>
                    <a:pt x="283953" y="236980"/>
                    <a:pt x="308172" y="229465"/>
                  </a:cubicBezTo>
                  <a:cubicBezTo>
                    <a:pt x="343249" y="218607"/>
                    <a:pt x="377491" y="204410"/>
                    <a:pt x="410898" y="187707"/>
                  </a:cubicBezTo>
                  <a:cubicBezTo>
                    <a:pt x="411732" y="191047"/>
                    <a:pt x="412568" y="195223"/>
                    <a:pt x="412568" y="1985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5" name="Forme libre : forme 304">
              <a:extLst>
                <a:ext uri="{FF2B5EF4-FFF2-40B4-BE49-F238E27FC236}">
                  <a16:creationId xmlns:a16="http://schemas.microsoft.com/office/drawing/2014/main" id="{41417B88-C9BD-4BA9-91EE-73AA587DB73F}"/>
                </a:ext>
              </a:extLst>
            </p:cNvPr>
            <p:cNvSpPr/>
            <p:nvPr/>
          </p:nvSpPr>
          <p:spPr>
            <a:xfrm rot="8716295">
              <a:off x="4451878" y="4500944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6" name="Forme libre : forme 305">
              <a:extLst>
                <a:ext uri="{FF2B5EF4-FFF2-40B4-BE49-F238E27FC236}">
                  <a16:creationId xmlns:a16="http://schemas.microsoft.com/office/drawing/2014/main" id="{BE88A8B4-3593-449C-B0AC-26CECAA3950B}"/>
                </a:ext>
              </a:extLst>
            </p:cNvPr>
            <p:cNvSpPr/>
            <p:nvPr/>
          </p:nvSpPr>
          <p:spPr>
            <a:xfrm rot="8716295">
              <a:off x="4373469" y="434415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7" name="Forme libre : forme 306">
              <a:extLst>
                <a:ext uri="{FF2B5EF4-FFF2-40B4-BE49-F238E27FC236}">
                  <a16:creationId xmlns:a16="http://schemas.microsoft.com/office/drawing/2014/main" id="{3E1F62FF-668F-4B24-81E3-7F413DC37761}"/>
                </a:ext>
              </a:extLst>
            </p:cNvPr>
            <p:cNvSpPr/>
            <p:nvPr/>
          </p:nvSpPr>
          <p:spPr>
            <a:xfrm rot="8716295">
              <a:off x="4005305" y="438989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8" name="Forme libre : forme 307">
              <a:extLst>
                <a:ext uri="{FF2B5EF4-FFF2-40B4-BE49-F238E27FC236}">
                  <a16:creationId xmlns:a16="http://schemas.microsoft.com/office/drawing/2014/main" id="{271936E6-CFC4-4CBF-80D3-0DD03A6DA43A}"/>
                </a:ext>
              </a:extLst>
            </p:cNvPr>
            <p:cNvSpPr/>
            <p:nvPr/>
          </p:nvSpPr>
          <p:spPr>
            <a:xfrm rot="8716295">
              <a:off x="4273886" y="414887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9" name="Forme libre : forme 308">
              <a:extLst>
                <a:ext uri="{FF2B5EF4-FFF2-40B4-BE49-F238E27FC236}">
                  <a16:creationId xmlns:a16="http://schemas.microsoft.com/office/drawing/2014/main" id="{BA906EC6-3DC5-4DE2-8F95-209D99503493}"/>
                </a:ext>
              </a:extLst>
            </p:cNvPr>
            <p:cNvSpPr/>
            <p:nvPr/>
          </p:nvSpPr>
          <p:spPr>
            <a:xfrm rot="8716295">
              <a:off x="2776288" y="273581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0" name="Forme libre : forme 309">
              <a:extLst>
                <a:ext uri="{FF2B5EF4-FFF2-40B4-BE49-F238E27FC236}">
                  <a16:creationId xmlns:a16="http://schemas.microsoft.com/office/drawing/2014/main" id="{86353AD3-86B9-454E-8316-ED48EDD5C43A}"/>
                </a:ext>
              </a:extLst>
            </p:cNvPr>
            <p:cNvSpPr/>
            <p:nvPr/>
          </p:nvSpPr>
          <p:spPr>
            <a:xfrm rot="8716295">
              <a:off x="2911587" y="278007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1" name="Forme libre : forme 310">
              <a:extLst>
                <a:ext uri="{FF2B5EF4-FFF2-40B4-BE49-F238E27FC236}">
                  <a16:creationId xmlns:a16="http://schemas.microsoft.com/office/drawing/2014/main" id="{0B2A58FB-010E-417B-8E1C-9997876763AE}"/>
                </a:ext>
              </a:extLst>
            </p:cNvPr>
            <p:cNvSpPr/>
            <p:nvPr/>
          </p:nvSpPr>
          <p:spPr>
            <a:xfrm rot="8716295">
              <a:off x="2843704" y="2649488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2" name="Forme libre : forme 311">
              <a:extLst>
                <a:ext uri="{FF2B5EF4-FFF2-40B4-BE49-F238E27FC236}">
                  <a16:creationId xmlns:a16="http://schemas.microsoft.com/office/drawing/2014/main" id="{487219BD-DC26-4E15-BDA1-CA5CCE916C41}"/>
                </a:ext>
              </a:extLst>
            </p:cNvPr>
            <p:cNvSpPr/>
            <p:nvPr/>
          </p:nvSpPr>
          <p:spPr>
            <a:xfrm rot="8716295">
              <a:off x="2606417" y="286983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3" name="Forme libre : forme 312">
              <a:extLst>
                <a:ext uri="{FF2B5EF4-FFF2-40B4-BE49-F238E27FC236}">
                  <a16:creationId xmlns:a16="http://schemas.microsoft.com/office/drawing/2014/main" id="{E49C695E-663D-4558-8A6D-FAB5771CCDF7}"/>
                </a:ext>
              </a:extLst>
            </p:cNvPr>
            <p:cNvSpPr/>
            <p:nvPr/>
          </p:nvSpPr>
          <p:spPr>
            <a:xfrm rot="8716295">
              <a:off x="2417371" y="255399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4" name="Forme libre : forme 313">
              <a:extLst>
                <a:ext uri="{FF2B5EF4-FFF2-40B4-BE49-F238E27FC236}">
                  <a16:creationId xmlns:a16="http://schemas.microsoft.com/office/drawing/2014/main" id="{33F36FCD-6977-4A63-8D14-D1E1625E9D31}"/>
                </a:ext>
              </a:extLst>
            </p:cNvPr>
            <p:cNvSpPr/>
            <p:nvPr/>
          </p:nvSpPr>
          <p:spPr>
            <a:xfrm rot="8716295">
              <a:off x="2399130" y="2343948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5" name="Forme libre : forme 314">
              <a:extLst>
                <a:ext uri="{FF2B5EF4-FFF2-40B4-BE49-F238E27FC236}">
                  <a16:creationId xmlns:a16="http://schemas.microsoft.com/office/drawing/2014/main" id="{B3474DC3-02FE-406E-A9DB-66680A910D3C}"/>
                </a:ext>
              </a:extLst>
            </p:cNvPr>
            <p:cNvSpPr/>
            <p:nvPr/>
          </p:nvSpPr>
          <p:spPr>
            <a:xfrm rot="8716295">
              <a:off x="2742905" y="293181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6" name="Forme libre : forme 315">
              <a:extLst>
                <a:ext uri="{FF2B5EF4-FFF2-40B4-BE49-F238E27FC236}">
                  <a16:creationId xmlns:a16="http://schemas.microsoft.com/office/drawing/2014/main" id="{A49C2E0F-EE8D-44EF-9BA8-BEBCE07245A7}"/>
                </a:ext>
              </a:extLst>
            </p:cNvPr>
            <p:cNvSpPr/>
            <p:nvPr/>
          </p:nvSpPr>
          <p:spPr>
            <a:xfrm rot="8716295">
              <a:off x="3213852" y="235720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7" name="Forme libre : forme 316">
              <a:extLst>
                <a:ext uri="{FF2B5EF4-FFF2-40B4-BE49-F238E27FC236}">
                  <a16:creationId xmlns:a16="http://schemas.microsoft.com/office/drawing/2014/main" id="{F24F931D-D0BA-4754-8EFA-1E41547520B4}"/>
                </a:ext>
              </a:extLst>
            </p:cNvPr>
            <p:cNvSpPr/>
            <p:nvPr/>
          </p:nvSpPr>
          <p:spPr>
            <a:xfrm rot="8716295">
              <a:off x="3349151" y="240146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8" name="Forme libre : forme 317">
              <a:extLst>
                <a:ext uri="{FF2B5EF4-FFF2-40B4-BE49-F238E27FC236}">
                  <a16:creationId xmlns:a16="http://schemas.microsoft.com/office/drawing/2014/main" id="{77E8D478-ED04-4063-AB60-82AA395CE7E1}"/>
                </a:ext>
              </a:extLst>
            </p:cNvPr>
            <p:cNvSpPr/>
            <p:nvPr/>
          </p:nvSpPr>
          <p:spPr>
            <a:xfrm rot="8716295">
              <a:off x="3043981" y="249121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9" name="Forme libre : forme 318">
              <a:extLst>
                <a:ext uri="{FF2B5EF4-FFF2-40B4-BE49-F238E27FC236}">
                  <a16:creationId xmlns:a16="http://schemas.microsoft.com/office/drawing/2014/main" id="{D68F4A66-E6DC-4D6F-A05F-B0ED1AAF9752}"/>
                </a:ext>
              </a:extLst>
            </p:cNvPr>
            <p:cNvSpPr/>
            <p:nvPr/>
          </p:nvSpPr>
          <p:spPr>
            <a:xfrm rot="8716295">
              <a:off x="2854936" y="217538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0" name="Forme libre : forme 319">
              <a:extLst>
                <a:ext uri="{FF2B5EF4-FFF2-40B4-BE49-F238E27FC236}">
                  <a16:creationId xmlns:a16="http://schemas.microsoft.com/office/drawing/2014/main" id="{2E7E02DC-19A7-4427-8DD0-9CBD70741C55}"/>
                </a:ext>
              </a:extLst>
            </p:cNvPr>
            <p:cNvSpPr/>
            <p:nvPr/>
          </p:nvSpPr>
          <p:spPr>
            <a:xfrm rot="8716295">
              <a:off x="3180469" y="255320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1" name="Forme libre : forme 320">
              <a:extLst>
                <a:ext uri="{FF2B5EF4-FFF2-40B4-BE49-F238E27FC236}">
                  <a16:creationId xmlns:a16="http://schemas.microsoft.com/office/drawing/2014/main" id="{5F22C34B-662E-4288-A98A-07600645D826}"/>
                </a:ext>
              </a:extLst>
            </p:cNvPr>
            <p:cNvSpPr/>
            <p:nvPr/>
          </p:nvSpPr>
          <p:spPr>
            <a:xfrm rot="8716295">
              <a:off x="2815023" y="232677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2" name="Forme libre : forme 321">
              <a:extLst>
                <a:ext uri="{FF2B5EF4-FFF2-40B4-BE49-F238E27FC236}">
                  <a16:creationId xmlns:a16="http://schemas.microsoft.com/office/drawing/2014/main" id="{F9C4954F-8E31-441D-8E0D-8B0514C0CCEA}"/>
                </a:ext>
              </a:extLst>
            </p:cNvPr>
            <p:cNvSpPr/>
            <p:nvPr/>
          </p:nvSpPr>
          <p:spPr>
            <a:xfrm rot="7484129">
              <a:off x="3339287" y="284281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3" name="Forme libre : forme 322">
              <a:extLst>
                <a:ext uri="{FF2B5EF4-FFF2-40B4-BE49-F238E27FC236}">
                  <a16:creationId xmlns:a16="http://schemas.microsoft.com/office/drawing/2014/main" id="{96BDAC49-7C90-455C-A6A8-F21767004646}"/>
                </a:ext>
              </a:extLst>
            </p:cNvPr>
            <p:cNvSpPr/>
            <p:nvPr/>
          </p:nvSpPr>
          <p:spPr>
            <a:xfrm rot="13089394">
              <a:off x="3497937" y="279216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4" name="Forme libre : forme 323">
              <a:extLst>
                <a:ext uri="{FF2B5EF4-FFF2-40B4-BE49-F238E27FC236}">
                  <a16:creationId xmlns:a16="http://schemas.microsoft.com/office/drawing/2014/main" id="{EE32A375-D70E-46A2-83EF-D2C25C11FC27}"/>
                </a:ext>
              </a:extLst>
            </p:cNvPr>
            <p:cNvSpPr/>
            <p:nvPr/>
          </p:nvSpPr>
          <p:spPr>
            <a:xfrm rot="8716295">
              <a:off x="3778828" y="2502048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5" name="Forme libre : forme 324">
              <a:extLst>
                <a:ext uri="{FF2B5EF4-FFF2-40B4-BE49-F238E27FC236}">
                  <a16:creationId xmlns:a16="http://schemas.microsoft.com/office/drawing/2014/main" id="{1FF92686-85A8-4017-922B-2458FE401EB8}"/>
                </a:ext>
              </a:extLst>
            </p:cNvPr>
            <p:cNvSpPr/>
            <p:nvPr/>
          </p:nvSpPr>
          <p:spPr>
            <a:xfrm rot="8716295">
              <a:off x="3700418" y="234525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6" name="Forme libre : forme 325">
              <a:extLst>
                <a:ext uri="{FF2B5EF4-FFF2-40B4-BE49-F238E27FC236}">
                  <a16:creationId xmlns:a16="http://schemas.microsoft.com/office/drawing/2014/main" id="{D45E52B0-C4FD-4155-A0DD-45195433970C}"/>
                </a:ext>
              </a:extLst>
            </p:cNvPr>
            <p:cNvSpPr/>
            <p:nvPr/>
          </p:nvSpPr>
          <p:spPr>
            <a:xfrm rot="8716295">
              <a:off x="3332255" y="239099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7" name="Forme libre : forme 326">
              <a:extLst>
                <a:ext uri="{FF2B5EF4-FFF2-40B4-BE49-F238E27FC236}">
                  <a16:creationId xmlns:a16="http://schemas.microsoft.com/office/drawing/2014/main" id="{F21AB6E7-AC7E-4350-A5BF-CDF7EE2573C5}"/>
                </a:ext>
              </a:extLst>
            </p:cNvPr>
            <p:cNvSpPr/>
            <p:nvPr/>
          </p:nvSpPr>
          <p:spPr>
            <a:xfrm rot="8716295">
              <a:off x="3600836" y="214997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8" name="Forme libre : forme 327">
              <a:extLst>
                <a:ext uri="{FF2B5EF4-FFF2-40B4-BE49-F238E27FC236}">
                  <a16:creationId xmlns:a16="http://schemas.microsoft.com/office/drawing/2014/main" id="{81ADFF02-63EB-4A30-B800-167FCE598798}"/>
                </a:ext>
              </a:extLst>
            </p:cNvPr>
            <p:cNvSpPr/>
            <p:nvPr/>
          </p:nvSpPr>
          <p:spPr>
            <a:xfrm rot="8716295">
              <a:off x="2438515" y="173733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9" name="Forme libre : forme 328">
              <a:extLst>
                <a:ext uri="{FF2B5EF4-FFF2-40B4-BE49-F238E27FC236}">
                  <a16:creationId xmlns:a16="http://schemas.microsoft.com/office/drawing/2014/main" id="{FEEE40D0-1ED4-4D89-A553-8246351195B7}"/>
                </a:ext>
              </a:extLst>
            </p:cNvPr>
            <p:cNvSpPr/>
            <p:nvPr/>
          </p:nvSpPr>
          <p:spPr>
            <a:xfrm rot="8716295">
              <a:off x="2573814" y="178159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0" name="Forme libre : forme 329">
              <a:extLst>
                <a:ext uri="{FF2B5EF4-FFF2-40B4-BE49-F238E27FC236}">
                  <a16:creationId xmlns:a16="http://schemas.microsoft.com/office/drawing/2014/main" id="{AA5B5D88-69C3-43FC-A9FF-1BC20CA01055}"/>
                </a:ext>
              </a:extLst>
            </p:cNvPr>
            <p:cNvSpPr/>
            <p:nvPr/>
          </p:nvSpPr>
          <p:spPr>
            <a:xfrm rot="8716295">
              <a:off x="2505931" y="1651005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1" name="Forme libre : forme 330">
              <a:extLst>
                <a:ext uri="{FF2B5EF4-FFF2-40B4-BE49-F238E27FC236}">
                  <a16:creationId xmlns:a16="http://schemas.microsoft.com/office/drawing/2014/main" id="{3433A715-4852-4C6F-BD57-E5BFC48256EE}"/>
                </a:ext>
              </a:extLst>
            </p:cNvPr>
            <p:cNvSpPr/>
            <p:nvPr/>
          </p:nvSpPr>
          <p:spPr>
            <a:xfrm rot="8716295">
              <a:off x="2268644" y="187135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2" name="Forme libre : forme 331">
              <a:extLst>
                <a:ext uri="{FF2B5EF4-FFF2-40B4-BE49-F238E27FC236}">
                  <a16:creationId xmlns:a16="http://schemas.microsoft.com/office/drawing/2014/main" id="{AA3826BF-36B5-4F42-9A9C-0857F8AFC9E9}"/>
                </a:ext>
              </a:extLst>
            </p:cNvPr>
            <p:cNvSpPr/>
            <p:nvPr/>
          </p:nvSpPr>
          <p:spPr>
            <a:xfrm rot="8716295">
              <a:off x="2079598" y="155551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3" name="Forme libre : forme 332">
              <a:extLst>
                <a:ext uri="{FF2B5EF4-FFF2-40B4-BE49-F238E27FC236}">
                  <a16:creationId xmlns:a16="http://schemas.microsoft.com/office/drawing/2014/main" id="{6B18E7D7-D7AA-4E20-850E-3799436161FA}"/>
                </a:ext>
              </a:extLst>
            </p:cNvPr>
            <p:cNvSpPr/>
            <p:nvPr/>
          </p:nvSpPr>
          <p:spPr>
            <a:xfrm rot="8716295">
              <a:off x="2061357" y="1345465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4" name="Forme libre : forme 333">
              <a:extLst>
                <a:ext uri="{FF2B5EF4-FFF2-40B4-BE49-F238E27FC236}">
                  <a16:creationId xmlns:a16="http://schemas.microsoft.com/office/drawing/2014/main" id="{43032E37-9C7A-492A-8A2C-109CA7245F5F}"/>
                </a:ext>
              </a:extLst>
            </p:cNvPr>
            <p:cNvSpPr/>
            <p:nvPr/>
          </p:nvSpPr>
          <p:spPr>
            <a:xfrm rot="8716295">
              <a:off x="2405132" y="1933333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5" name="Forme libre : forme 334">
              <a:extLst>
                <a:ext uri="{FF2B5EF4-FFF2-40B4-BE49-F238E27FC236}">
                  <a16:creationId xmlns:a16="http://schemas.microsoft.com/office/drawing/2014/main" id="{17B53965-E3A1-4010-BB29-B66E80C0AA24}"/>
                </a:ext>
              </a:extLst>
            </p:cNvPr>
            <p:cNvSpPr/>
            <p:nvPr/>
          </p:nvSpPr>
          <p:spPr>
            <a:xfrm rot="8716295">
              <a:off x="2876079" y="135871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6" name="Forme libre : forme 335">
              <a:extLst>
                <a:ext uri="{FF2B5EF4-FFF2-40B4-BE49-F238E27FC236}">
                  <a16:creationId xmlns:a16="http://schemas.microsoft.com/office/drawing/2014/main" id="{5A10F28E-8329-4CB2-9E8E-AF5ADC5D984D}"/>
                </a:ext>
              </a:extLst>
            </p:cNvPr>
            <p:cNvSpPr/>
            <p:nvPr/>
          </p:nvSpPr>
          <p:spPr>
            <a:xfrm rot="8716295">
              <a:off x="3011378" y="140297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7" name="Forme libre : forme 336">
              <a:extLst>
                <a:ext uri="{FF2B5EF4-FFF2-40B4-BE49-F238E27FC236}">
                  <a16:creationId xmlns:a16="http://schemas.microsoft.com/office/drawing/2014/main" id="{A3E6B7D3-30F0-4F00-9AE4-FB7C5336C17B}"/>
                </a:ext>
              </a:extLst>
            </p:cNvPr>
            <p:cNvSpPr/>
            <p:nvPr/>
          </p:nvSpPr>
          <p:spPr>
            <a:xfrm rot="8716295">
              <a:off x="2706208" y="14927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8" name="Forme libre : forme 337">
              <a:extLst>
                <a:ext uri="{FF2B5EF4-FFF2-40B4-BE49-F238E27FC236}">
                  <a16:creationId xmlns:a16="http://schemas.microsoft.com/office/drawing/2014/main" id="{632D1FEF-F08F-4C8C-8E0E-3985E6CFB126}"/>
                </a:ext>
              </a:extLst>
            </p:cNvPr>
            <p:cNvSpPr/>
            <p:nvPr/>
          </p:nvSpPr>
          <p:spPr>
            <a:xfrm rot="8716295">
              <a:off x="2517163" y="11768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9" name="Forme libre : forme 338">
              <a:extLst>
                <a:ext uri="{FF2B5EF4-FFF2-40B4-BE49-F238E27FC236}">
                  <a16:creationId xmlns:a16="http://schemas.microsoft.com/office/drawing/2014/main" id="{12813E1E-715D-4101-9BCD-409373887F04}"/>
                </a:ext>
              </a:extLst>
            </p:cNvPr>
            <p:cNvSpPr/>
            <p:nvPr/>
          </p:nvSpPr>
          <p:spPr>
            <a:xfrm rot="8716295">
              <a:off x="2842696" y="1554717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0" name="Forme libre : forme 339">
              <a:extLst>
                <a:ext uri="{FF2B5EF4-FFF2-40B4-BE49-F238E27FC236}">
                  <a16:creationId xmlns:a16="http://schemas.microsoft.com/office/drawing/2014/main" id="{AA2FCEEA-252F-42A1-A6F0-2BDC14E98266}"/>
                </a:ext>
              </a:extLst>
            </p:cNvPr>
            <p:cNvSpPr/>
            <p:nvPr/>
          </p:nvSpPr>
          <p:spPr>
            <a:xfrm rot="8716295">
              <a:off x="2477250" y="1328291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1" name="Forme libre : forme 340">
              <a:extLst>
                <a:ext uri="{FF2B5EF4-FFF2-40B4-BE49-F238E27FC236}">
                  <a16:creationId xmlns:a16="http://schemas.microsoft.com/office/drawing/2014/main" id="{884AD109-F04C-43C6-A88C-32CD36BAA4FA}"/>
                </a:ext>
              </a:extLst>
            </p:cNvPr>
            <p:cNvSpPr/>
            <p:nvPr/>
          </p:nvSpPr>
          <p:spPr>
            <a:xfrm rot="7484129">
              <a:off x="3001514" y="184433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2" name="Forme libre : forme 341">
              <a:extLst>
                <a:ext uri="{FF2B5EF4-FFF2-40B4-BE49-F238E27FC236}">
                  <a16:creationId xmlns:a16="http://schemas.microsoft.com/office/drawing/2014/main" id="{E48D40E2-82AD-4B99-AF4E-871FA4B10FDC}"/>
                </a:ext>
              </a:extLst>
            </p:cNvPr>
            <p:cNvSpPr/>
            <p:nvPr/>
          </p:nvSpPr>
          <p:spPr>
            <a:xfrm rot="13089394">
              <a:off x="3160164" y="1793683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3" name="Forme libre : forme 342">
              <a:extLst>
                <a:ext uri="{FF2B5EF4-FFF2-40B4-BE49-F238E27FC236}">
                  <a16:creationId xmlns:a16="http://schemas.microsoft.com/office/drawing/2014/main" id="{5110A4C9-803C-4F01-A8FB-E8911DB784FA}"/>
                </a:ext>
              </a:extLst>
            </p:cNvPr>
            <p:cNvSpPr/>
            <p:nvPr/>
          </p:nvSpPr>
          <p:spPr>
            <a:xfrm rot="8716295">
              <a:off x="3441055" y="1503565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4" name="Forme libre : forme 343">
              <a:extLst>
                <a:ext uri="{FF2B5EF4-FFF2-40B4-BE49-F238E27FC236}">
                  <a16:creationId xmlns:a16="http://schemas.microsoft.com/office/drawing/2014/main" id="{4B71D1CA-954E-40F5-BAE1-391BC7E00EAC}"/>
                </a:ext>
              </a:extLst>
            </p:cNvPr>
            <p:cNvSpPr/>
            <p:nvPr/>
          </p:nvSpPr>
          <p:spPr>
            <a:xfrm rot="8716295">
              <a:off x="3362645" y="134677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5" name="Forme libre : forme 344">
              <a:extLst>
                <a:ext uri="{FF2B5EF4-FFF2-40B4-BE49-F238E27FC236}">
                  <a16:creationId xmlns:a16="http://schemas.microsoft.com/office/drawing/2014/main" id="{778C13D4-A0D9-47A6-97AC-A7265054F880}"/>
                </a:ext>
              </a:extLst>
            </p:cNvPr>
            <p:cNvSpPr/>
            <p:nvPr/>
          </p:nvSpPr>
          <p:spPr>
            <a:xfrm rot="8716295">
              <a:off x="2994482" y="13925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6" name="Forme libre : forme 345">
              <a:extLst>
                <a:ext uri="{FF2B5EF4-FFF2-40B4-BE49-F238E27FC236}">
                  <a16:creationId xmlns:a16="http://schemas.microsoft.com/office/drawing/2014/main" id="{018BC788-46BE-420C-AA9D-351862A75FA9}"/>
                </a:ext>
              </a:extLst>
            </p:cNvPr>
            <p:cNvSpPr/>
            <p:nvPr/>
          </p:nvSpPr>
          <p:spPr>
            <a:xfrm rot="8716295">
              <a:off x="3263063" y="115149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7" name="Forme libre : forme 346">
              <a:extLst>
                <a:ext uri="{FF2B5EF4-FFF2-40B4-BE49-F238E27FC236}">
                  <a16:creationId xmlns:a16="http://schemas.microsoft.com/office/drawing/2014/main" id="{0E9463B7-1F06-4DEB-A058-446E8844EA8B}"/>
                </a:ext>
              </a:extLst>
            </p:cNvPr>
            <p:cNvSpPr/>
            <p:nvPr/>
          </p:nvSpPr>
          <p:spPr>
            <a:xfrm rot="8716295">
              <a:off x="2107141" y="73528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8" name="Forme libre : forme 347">
              <a:extLst>
                <a:ext uri="{FF2B5EF4-FFF2-40B4-BE49-F238E27FC236}">
                  <a16:creationId xmlns:a16="http://schemas.microsoft.com/office/drawing/2014/main" id="{73CCCCE8-C732-40A3-953D-8C4E26ECE894}"/>
                </a:ext>
              </a:extLst>
            </p:cNvPr>
            <p:cNvSpPr/>
            <p:nvPr/>
          </p:nvSpPr>
          <p:spPr>
            <a:xfrm rot="8716295">
              <a:off x="2242440" y="77954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9" name="Forme libre : forme 348">
              <a:extLst>
                <a:ext uri="{FF2B5EF4-FFF2-40B4-BE49-F238E27FC236}">
                  <a16:creationId xmlns:a16="http://schemas.microsoft.com/office/drawing/2014/main" id="{46418248-47C2-468E-8F48-18C4C7CDB219}"/>
                </a:ext>
              </a:extLst>
            </p:cNvPr>
            <p:cNvSpPr/>
            <p:nvPr/>
          </p:nvSpPr>
          <p:spPr>
            <a:xfrm rot="8716295">
              <a:off x="2174558" y="64895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0" name="Forme libre : forme 349">
              <a:extLst>
                <a:ext uri="{FF2B5EF4-FFF2-40B4-BE49-F238E27FC236}">
                  <a16:creationId xmlns:a16="http://schemas.microsoft.com/office/drawing/2014/main" id="{CF6485DD-C84B-431E-B394-8EC27CA6D055}"/>
                </a:ext>
              </a:extLst>
            </p:cNvPr>
            <p:cNvSpPr/>
            <p:nvPr/>
          </p:nvSpPr>
          <p:spPr>
            <a:xfrm rot="8716295">
              <a:off x="1937270" y="86929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1" name="Forme libre : forme 350">
              <a:extLst>
                <a:ext uri="{FF2B5EF4-FFF2-40B4-BE49-F238E27FC236}">
                  <a16:creationId xmlns:a16="http://schemas.microsoft.com/office/drawing/2014/main" id="{C462C7C6-AFD1-4D6E-868F-DFD5908371AE}"/>
                </a:ext>
              </a:extLst>
            </p:cNvPr>
            <p:cNvSpPr/>
            <p:nvPr/>
          </p:nvSpPr>
          <p:spPr>
            <a:xfrm rot="8716295">
              <a:off x="1748224" y="55346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2" name="Forme libre : forme 351">
              <a:extLst>
                <a:ext uri="{FF2B5EF4-FFF2-40B4-BE49-F238E27FC236}">
                  <a16:creationId xmlns:a16="http://schemas.microsoft.com/office/drawing/2014/main" id="{3BF602CB-BB96-4BFD-9890-5020E5C70107}"/>
                </a:ext>
              </a:extLst>
            </p:cNvPr>
            <p:cNvSpPr/>
            <p:nvPr/>
          </p:nvSpPr>
          <p:spPr>
            <a:xfrm rot="8716295">
              <a:off x="1729983" y="34341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3" name="Forme libre : forme 352">
              <a:extLst>
                <a:ext uri="{FF2B5EF4-FFF2-40B4-BE49-F238E27FC236}">
                  <a16:creationId xmlns:a16="http://schemas.microsoft.com/office/drawing/2014/main" id="{D123FE48-43A2-4EF2-A75E-82641468BE05}"/>
                </a:ext>
              </a:extLst>
            </p:cNvPr>
            <p:cNvSpPr/>
            <p:nvPr/>
          </p:nvSpPr>
          <p:spPr>
            <a:xfrm rot="8716295">
              <a:off x="2073759" y="93127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4" name="Forme libre : forme 353">
              <a:extLst>
                <a:ext uri="{FF2B5EF4-FFF2-40B4-BE49-F238E27FC236}">
                  <a16:creationId xmlns:a16="http://schemas.microsoft.com/office/drawing/2014/main" id="{9368862D-396D-4FD2-B4BF-9090111F2572}"/>
                </a:ext>
              </a:extLst>
            </p:cNvPr>
            <p:cNvSpPr/>
            <p:nvPr/>
          </p:nvSpPr>
          <p:spPr>
            <a:xfrm rot="8716295">
              <a:off x="2544705" y="35666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5" name="Forme libre : forme 354">
              <a:extLst>
                <a:ext uri="{FF2B5EF4-FFF2-40B4-BE49-F238E27FC236}">
                  <a16:creationId xmlns:a16="http://schemas.microsoft.com/office/drawing/2014/main" id="{08DA4440-5C40-4A9D-A195-E7F5A36FB8E5}"/>
                </a:ext>
              </a:extLst>
            </p:cNvPr>
            <p:cNvSpPr/>
            <p:nvPr/>
          </p:nvSpPr>
          <p:spPr>
            <a:xfrm rot="8716295">
              <a:off x="2680004" y="40092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6" name="Forme libre : forme 355">
              <a:extLst>
                <a:ext uri="{FF2B5EF4-FFF2-40B4-BE49-F238E27FC236}">
                  <a16:creationId xmlns:a16="http://schemas.microsoft.com/office/drawing/2014/main" id="{499C4215-CE78-4D06-B1F1-0EFC66D2B8A8}"/>
                </a:ext>
              </a:extLst>
            </p:cNvPr>
            <p:cNvSpPr/>
            <p:nvPr/>
          </p:nvSpPr>
          <p:spPr>
            <a:xfrm rot="8716295">
              <a:off x="2374834" y="49068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7" name="Forme libre : forme 356">
              <a:extLst>
                <a:ext uri="{FF2B5EF4-FFF2-40B4-BE49-F238E27FC236}">
                  <a16:creationId xmlns:a16="http://schemas.microsoft.com/office/drawing/2014/main" id="{0DF46042-A994-48E9-AACA-0079FAE5D34F}"/>
                </a:ext>
              </a:extLst>
            </p:cNvPr>
            <p:cNvSpPr/>
            <p:nvPr/>
          </p:nvSpPr>
          <p:spPr>
            <a:xfrm rot="8716295">
              <a:off x="2185790" y="17484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8" name="Forme libre : forme 357">
              <a:extLst>
                <a:ext uri="{FF2B5EF4-FFF2-40B4-BE49-F238E27FC236}">
                  <a16:creationId xmlns:a16="http://schemas.microsoft.com/office/drawing/2014/main" id="{C56CBFD7-CE58-4F68-AE5F-EEAC0B0B2F26}"/>
                </a:ext>
              </a:extLst>
            </p:cNvPr>
            <p:cNvSpPr/>
            <p:nvPr/>
          </p:nvSpPr>
          <p:spPr>
            <a:xfrm rot="8716295">
              <a:off x="2511323" y="552663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9" name="Forme libre : forme 358">
              <a:extLst>
                <a:ext uri="{FF2B5EF4-FFF2-40B4-BE49-F238E27FC236}">
                  <a16:creationId xmlns:a16="http://schemas.microsoft.com/office/drawing/2014/main" id="{5026E243-7CAA-469D-B3FD-2DEEF3B52A6D}"/>
                </a:ext>
              </a:extLst>
            </p:cNvPr>
            <p:cNvSpPr/>
            <p:nvPr/>
          </p:nvSpPr>
          <p:spPr>
            <a:xfrm rot="8716295">
              <a:off x="2145876" y="32623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0" name="Forme libre : forme 359">
              <a:extLst>
                <a:ext uri="{FF2B5EF4-FFF2-40B4-BE49-F238E27FC236}">
                  <a16:creationId xmlns:a16="http://schemas.microsoft.com/office/drawing/2014/main" id="{69635373-7069-4076-9294-1FD2A4827397}"/>
                </a:ext>
              </a:extLst>
            </p:cNvPr>
            <p:cNvSpPr/>
            <p:nvPr/>
          </p:nvSpPr>
          <p:spPr>
            <a:xfrm rot="7484129">
              <a:off x="2670140" y="84228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1" name="Forme libre : forme 360">
              <a:extLst>
                <a:ext uri="{FF2B5EF4-FFF2-40B4-BE49-F238E27FC236}">
                  <a16:creationId xmlns:a16="http://schemas.microsoft.com/office/drawing/2014/main" id="{65F0089C-08D4-41A5-B19D-05C5D2A763BC}"/>
                </a:ext>
              </a:extLst>
            </p:cNvPr>
            <p:cNvSpPr/>
            <p:nvPr/>
          </p:nvSpPr>
          <p:spPr>
            <a:xfrm rot="13089394">
              <a:off x="2828790" y="791629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2" name="Forme libre : forme 361">
              <a:extLst>
                <a:ext uri="{FF2B5EF4-FFF2-40B4-BE49-F238E27FC236}">
                  <a16:creationId xmlns:a16="http://schemas.microsoft.com/office/drawing/2014/main" id="{10F0587B-FBC8-4526-B416-2C74092E74E3}"/>
                </a:ext>
              </a:extLst>
            </p:cNvPr>
            <p:cNvSpPr/>
            <p:nvPr/>
          </p:nvSpPr>
          <p:spPr>
            <a:xfrm rot="8716295">
              <a:off x="3109681" y="501511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3" name="Forme libre : forme 362">
              <a:extLst>
                <a:ext uri="{FF2B5EF4-FFF2-40B4-BE49-F238E27FC236}">
                  <a16:creationId xmlns:a16="http://schemas.microsoft.com/office/drawing/2014/main" id="{2065DAB7-B994-4ECC-90EA-43FF767C9150}"/>
                </a:ext>
              </a:extLst>
            </p:cNvPr>
            <p:cNvSpPr/>
            <p:nvPr/>
          </p:nvSpPr>
          <p:spPr>
            <a:xfrm rot="8716295">
              <a:off x="3031272" y="344719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4" name="Forme libre : forme 363">
              <a:extLst>
                <a:ext uri="{FF2B5EF4-FFF2-40B4-BE49-F238E27FC236}">
                  <a16:creationId xmlns:a16="http://schemas.microsoft.com/office/drawing/2014/main" id="{06C29BA8-D38F-498C-9EF2-99B1FD452BF5}"/>
                </a:ext>
              </a:extLst>
            </p:cNvPr>
            <p:cNvSpPr/>
            <p:nvPr/>
          </p:nvSpPr>
          <p:spPr>
            <a:xfrm rot="8716295">
              <a:off x="2663108" y="39046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5" name="Forme libre : forme 364">
              <a:extLst>
                <a:ext uri="{FF2B5EF4-FFF2-40B4-BE49-F238E27FC236}">
                  <a16:creationId xmlns:a16="http://schemas.microsoft.com/office/drawing/2014/main" id="{19957925-F105-47F6-A52F-63EE7BCADA72}"/>
                </a:ext>
              </a:extLst>
            </p:cNvPr>
            <p:cNvSpPr/>
            <p:nvPr/>
          </p:nvSpPr>
          <p:spPr>
            <a:xfrm rot="8716295">
              <a:off x="2931690" y="14944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6" name="Forme libre : forme 365">
              <a:extLst>
                <a:ext uri="{FF2B5EF4-FFF2-40B4-BE49-F238E27FC236}">
                  <a16:creationId xmlns:a16="http://schemas.microsoft.com/office/drawing/2014/main" id="{E0E33F2F-8222-4600-9D1F-1A85DBD9DDB6}"/>
                </a:ext>
              </a:extLst>
            </p:cNvPr>
            <p:cNvSpPr/>
            <p:nvPr/>
          </p:nvSpPr>
          <p:spPr>
            <a:xfrm rot="8716295">
              <a:off x="1834766" y="-57684"/>
              <a:ext cx="186564" cy="129320"/>
            </a:xfrm>
            <a:custGeom>
              <a:avLst/>
              <a:gdLst>
                <a:gd name="connsiteX0" fmla="*/ 123263 w 123263"/>
                <a:gd name="connsiteY0" fmla="*/ 85442 h 85442"/>
                <a:gd name="connsiteX1" fmla="*/ 0 w 123263"/>
                <a:gd name="connsiteY1" fmla="*/ 0 h 85442"/>
                <a:gd name="connsiteX2" fmla="*/ 66305 w 123263"/>
                <a:gd name="connsiteY2" fmla="*/ 0 h 85442"/>
                <a:gd name="connsiteX3" fmla="*/ 123263 w 123263"/>
                <a:gd name="connsiteY3" fmla="*/ 50123 h 85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63" h="85442">
                  <a:moveTo>
                    <a:pt x="123263" y="85442"/>
                  </a:moveTo>
                  <a:lnTo>
                    <a:pt x="0" y="0"/>
                  </a:lnTo>
                  <a:lnTo>
                    <a:pt x="66305" y="0"/>
                  </a:lnTo>
                  <a:cubicBezTo>
                    <a:pt x="103214" y="0"/>
                    <a:pt x="123263" y="15948"/>
                    <a:pt x="123263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7" name="Forme libre : forme 366">
              <a:extLst>
                <a:ext uri="{FF2B5EF4-FFF2-40B4-BE49-F238E27FC236}">
                  <a16:creationId xmlns:a16="http://schemas.microsoft.com/office/drawing/2014/main" id="{85E9DB2D-8095-4090-AC49-070A81C428A4}"/>
                </a:ext>
              </a:extLst>
            </p:cNvPr>
            <p:cNvSpPr/>
            <p:nvPr/>
          </p:nvSpPr>
          <p:spPr>
            <a:xfrm rot="8716295">
              <a:off x="1969949" y="-13794"/>
              <a:ext cx="394488" cy="148365"/>
            </a:xfrm>
            <a:custGeom>
              <a:avLst/>
              <a:gdLst>
                <a:gd name="connsiteX0" fmla="*/ 104802 w 260639"/>
                <a:gd name="connsiteY0" fmla="*/ 74264 h 98025"/>
                <a:gd name="connsiteX1" fmla="*/ 0 w 260639"/>
                <a:gd name="connsiteY1" fmla="*/ 1618 h 98025"/>
                <a:gd name="connsiteX2" fmla="*/ 0 w 260639"/>
                <a:gd name="connsiteY2" fmla="*/ 1425 h 98025"/>
                <a:gd name="connsiteX3" fmla="*/ 104803 w 260639"/>
                <a:gd name="connsiteY3" fmla="*/ 1425 h 98025"/>
                <a:gd name="connsiteX4" fmla="*/ 122123 w 260639"/>
                <a:gd name="connsiteY4" fmla="*/ 86270 h 98025"/>
                <a:gd name="connsiteX5" fmla="*/ 106178 w 260639"/>
                <a:gd name="connsiteY5" fmla="*/ 75218 h 98025"/>
                <a:gd name="connsiteX6" fmla="*/ 116721 w 260639"/>
                <a:gd name="connsiteY6" fmla="*/ 47439 h 98025"/>
                <a:gd name="connsiteX7" fmla="*/ 154014 w 260639"/>
                <a:gd name="connsiteY7" fmla="*/ 5981 h 98025"/>
                <a:gd name="connsiteX8" fmla="*/ 185455 w 260639"/>
                <a:gd name="connsiteY8" fmla="*/ 57 h 98025"/>
                <a:gd name="connsiteX9" fmla="*/ 260639 w 260639"/>
                <a:gd name="connsiteY9" fmla="*/ 88456 h 98025"/>
                <a:gd name="connsiteX10" fmla="*/ 260639 w 260639"/>
                <a:gd name="connsiteY10" fmla="*/ 94380 h 98025"/>
                <a:gd name="connsiteX11" fmla="*/ 198669 w 260639"/>
                <a:gd name="connsiteY11" fmla="*/ 98025 h 98025"/>
                <a:gd name="connsiteX12" fmla="*/ 198669 w 260639"/>
                <a:gd name="connsiteY12" fmla="*/ 81621 h 98025"/>
                <a:gd name="connsiteX13" fmla="*/ 164950 w 260639"/>
                <a:gd name="connsiteY13" fmla="*/ 40156 h 98025"/>
                <a:gd name="connsiteX14" fmla="*/ 127358 w 260639"/>
                <a:gd name="connsiteY14" fmla="*/ 65616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60639" h="98025">
                  <a:moveTo>
                    <a:pt x="104802" y="74264"/>
                  </a:moveTo>
                  <a:lnTo>
                    <a:pt x="0" y="1618"/>
                  </a:lnTo>
                  <a:lnTo>
                    <a:pt x="0" y="1425"/>
                  </a:lnTo>
                  <a:lnTo>
                    <a:pt x="104803" y="1425"/>
                  </a:lnTo>
                  <a:close/>
                  <a:moveTo>
                    <a:pt x="122123" y="86270"/>
                  </a:moveTo>
                  <a:lnTo>
                    <a:pt x="106178" y="75218"/>
                  </a:lnTo>
                  <a:lnTo>
                    <a:pt x="116721" y="47439"/>
                  </a:lnTo>
                  <a:cubicBezTo>
                    <a:pt x="127102" y="24008"/>
                    <a:pt x="137610" y="12816"/>
                    <a:pt x="154014" y="5981"/>
                  </a:cubicBezTo>
                  <a:cubicBezTo>
                    <a:pt x="164038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50369" y="40156"/>
                    <a:pt x="137041" y="49839"/>
                    <a:pt x="127358" y="656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8" name="Forme libre : forme 367">
              <a:extLst>
                <a:ext uri="{FF2B5EF4-FFF2-40B4-BE49-F238E27FC236}">
                  <a16:creationId xmlns:a16="http://schemas.microsoft.com/office/drawing/2014/main" id="{2112AB6E-ECBC-48CC-8F85-503CE29BF697}"/>
                </a:ext>
              </a:extLst>
            </p:cNvPr>
            <p:cNvSpPr/>
            <p:nvPr/>
          </p:nvSpPr>
          <p:spPr>
            <a:xfrm rot="8716295">
              <a:off x="1736738" y="-7282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9" name="Forme libre : forme 368">
              <a:extLst>
                <a:ext uri="{FF2B5EF4-FFF2-40B4-BE49-F238E27FC236}">
                  <a16:creationId xmlns:a16="http://schemas.microsoft.com/office/drawing/2014/main" id="{0CED55EE-2402-40E1-B7FC-4C64963DE5BE}"/>
                </a:ext>
              </a:extLst>
            </p:cNvPr>
            <p:cNvSpPr/>
            <p:nvPr/>
          </p:nvSpPr>
          <p:spPr>
            <a:xfrm rot="7484129">
              <a:off x="2399917" y="-21262"/>
              <a:ext cx="233243" cy="158079"/>
            </a:xfrm>
            <a:custGeom>
              <a:avLst/>
              <a:gdLst>
                <a:gd name="connsiteX0" fmla="*/ 72416 w 154104"/>
                <a:gd name="connsiteY0" fmla="*/ 104443 h 104443"/>
                <a:gd name="connsiteX1" fmla="*/ 0 w 154104"/>
                <a:gd name="connsiteY1" fmla="*/ 0 h 104443"/>
                <a:gd name="connsiteX2" fmla="*/ 154104 w 154104"/>
                <a:gd name="connsiteY2" fmla="*/ 0 h 104443"/>
                <a:gd name="connsiteX3" fmla="*/ 154104 w 154104"/>
                <a:gd name="connsiteY3" fmla="*/ 55323 h 104443"/>
                <a:gd name="connsiteX4" fmla="*/ 89312 w 154104"/>
                <a:gd name="connsiteY4" fmla="*/ 55323 h 104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4104" h="104443">
                  <a:moveTo>
                    <a:pt x="72416" y="104443"/>
                  </a:moveTo>
                  <a:lnTo>
                    <a:pt x="0" y="0"/>
                  </a:lnTo>
                  <a:lnTo>
                    <a:pt x="154104" y="0"/>
                  </a:lnTo>
                  <a:lnTo>
                    <a:pt x="154104" y="55323"/>
                  </a:lnTo>
                  <a:lnTo>
                    <a:pt x="89312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0" name="Forme libre : forme 369">
              <a:extLst>
                <a:ext uri="{FF2B5EF4-FFF2-40B4-BE49-F238E27FC236}">
                  <a16:creationId xmlns:a16="http://schemas.microsoft.com/office/drawing/2014/main" id="{2AB77741-1425-4B03-9370-5D34269ACC61}"/>
                </a:ext>
              </a:extLst>
            </p:cNvPr>
            <p:cNvSpPr/>
            <p:nvPr/>
          </p:nvSpPr>
          <p:spPr>
            <a:xfrm rot="13089394">
              <a:off x="2721869" y="-65503"/>
              <a:ext cx="128296" cy="425348"/>
            </a:xfrm>
            <a:custGeom>
              <a:avLst/>
              <a:gdLst>
                <a:gd name="connsiteX0" fmla="*/ 84765 w 84765"/>
                <a:gd name="connsiteY0" fmla="*/ 225012 h 281028"/>
                <a:gd name="connsiteX1" fmla="*/ 13471 w 84765"/>
                <a:gd name="connsiteY1" fmla="*/ 281028 h 281028"/>
                <a:gd name="connsiteX2" fmla="*/ 4828 w 84765"/>
                <a:gd name="connsiteY2" fmla="*/ 263963 h 281028"/>
                <a:gd name="connsiteX3" fmla="*/ 0 w 84765"/>
                <a:gd name="connsiteY3" fmla="*/ 206370 h 281028"/>
                <a:gd name="connsiteX4" fmla="*/ 0 w 84765"/>
                <a:gd name="connsiteY4" fmla="*/ 38074 h 281028"/>
                <a:gd name="connsiteX5" fmla="*/ 73388 w 84765"/>
                <a:gd name="connsiteY5" fmla="*/ 0 h 281028"/>
                <a:gd name="connsiteX6" fmla="*/ 74492 w 84765"/>
                <a:gd name="connsiteY6" fmla="*/ 153950 h 281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4765" h="281028">
                  <a:moveTo>
                    <a:pt x="84765" y="225012"/>
                  </a:moveTo>
                  <a:lnTo>
                    <a:pt x="13471" y="281028"/>
                  </a:lnTo>
                  <a:lnTo>
                    <a:pt x="4828" y="263963"/>
                  </a:lnTo>
                  <a:cubicBezTo>
                    <a:pt x="1241" y="248168"/>
                    <a:pt x="0" y="228993"/>
                    <a:pt x="0" y="206370"/>
                  </a:cubicBez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1" name="Forme libre : forme 370">
              <a:extLst>
                <a:ext uri="{FF2B5EF4-FFF2-40B4-BE49-F238E27FC236}">
                  <a16:creationId xmlns:a16="http://schemas.microsoft.com/office/drawing/2014/main" id="{FAA815E1-BD11-411E-A301-A66D6E5B5B5D}"/>
                </a:ext>
              </a:extLst>
            </p:cNvPr>
            <p:cNvSpPr/>
            <p:nvPr/>
          </p:nvSpPr>
          <p:spPr>
            <a:xfrm rot="8716295">
              <a:off x="5604774" y="3024342"/>
              <a:ext cx="274455" cy="132163"/>
            </a:xfrm>
            <a:custGeom>
              <a:avLst/>
              <a:gdLst>
                <a:gd name="connsiteX0" fmla="*/ 0 w 181333"/>
                <a:gd name="connsiteY0" fmla="*/ 87320 h 87320"/>
                <a:gd name="connsiteX1" fmla="*/ 42309 w 181333"/>
                <a:gd name="connsiteY1" fmla="*/ 36168 h 87320"/>
                <a:gd name="connsiteX2" fmla="*/ 54839 w 181333"/>
                <a:gd name="connsiteY2" fmla="*/ 38831 h 87320"/>
                <a:gd name="connsiteX3" fmla="*/ 107790 w 181333"/>
                <a:gd name="connsiteY3" fmla="*/ 29417 h 87320"/>
                <a:gd name="connsiteX4" fmla="*/ 180157 w 181333"/>
                <a:gd name="connsiteY4" fmla="*/ 0 h 87320"/>
                <a:gd name="connsiteX5" fmla="*/ 181333 w 181333"/>
                <a:gd name="connsiteY5" fmla="*/ 7648 h 87320"/>
                <a:gd name="connsiteX6" fmla="*/ 181333 w 181333"/>
                <a:gd name="connsiteY6" fmla="*/ 13532 h 87320"/>
                <a:gd name="connsiteX7" fmla="*/ 30340 w 181333"/>
                <a:gd name="connsiteY7" fmla="*/ 83361 h 87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333" h="87320">
                  <a:moveTo>
                    <a:pt x="0" y="87320"/>
                  </a:moveTo>
                  <a:lnTo>
                    <a:pt x="42309" y="36168"/>
                  </a:lnTo>
                  <a:lnTo>
                    <a:pt x="54839" y="38831"/>
                  </a:lnTo>
                  <a:cubicBezTo>
                    <a:pt x="73078" y="38242"/>
                    <a:pt x="90728" y="34712"/>
                    <a:pt x="107790" y="29417"/>
                  </a:cubicBezTo>
                  <a:cubicBezTo>
                    <a:pt x="132500" y="21768"/>
                    <a:pt x="156623" y="11767"/>
                    <a:pt x="180157" y="0"/>
                  </a:cubicBezTo>
                  <a:cubicBezTo>
                    <a:pt x="180745" y="2353"/>
                    <a:pt x="181333" y="5295"/>
                    <a:pt x="181333" y="7648"/>
                  </a:cubicBezTo>
                  <a:lnTo>
                    <a:pt x="181333" y="13532"/>
                  </a:lnTo>
                  <a:cubicBezTo>
                    <a:pt x="134560" y="53687"/>
                    <a:pt x="76865" y="74315"/>
                    <a:pt x="30340" y="833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2" name="Forme libre : forme 371">
              <a:extLst>
                <a:ext uri="{FF2B5EF4-FFF2-40B4-BE49-F238E27FC236}">
                  <a16:creationId xmlns:a16="http://schemas.microsoft.com/office/drawing/2014/main" id="{0B206B84-4FE5-4D53-9D1E-DD02DB41D254}"/>
                </a:ext>
              </a:extLst>
            </p:cNvPr>
            <p:cNvSpPr/>
            <p:nvPr/>
          </p:nvSpPr>
          <p:spPr>
            <a:xfrm rot="8716295">
              <a:off x="5742786" y="2375436"/>
              <a:ext cx="92417" cy="296278"/>
            </a:xfrm>
            <a:custGeom>
              <a:avLst/>
              <a:gdLst>
                <a:gd name="connsiteX0" fmla="*/ 0 w 61060"/>
                <a:gd name="connsiteY0" fmla="*/ 195751 h 195751"/>
                <a:gd name="connsiteX1" fmla="*/ 0 w 61060"/>
                <a:gd name="connsiteY1" fmla="*/ 67520 h 195751"/>
                <a:gd name="connsiteX2" fmla="*/ 55847 w 61060"/>
                <a:gd name="connsiteY2" fmla="*/ 0 h 195751"/>
                <a:gd name="connsiteX3" fmla="*/ 61059 w 61060"/>
                <a:gd name="connsiteY3" fmla="*/ 13486 h 195751"/>
                <a:gd name="connsiteX4" fmla="*/ 61060 w 61060"/>
                <a:gd name="connsiteY4" fmla="*/ 171601 h 195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60" h="195751">
                  <a:moveTo>
                    <a:pt x="0" y="195751"/>
                  </a:moveTo>
                  <a:lnTo>
                    <a:pt x="0" y="67520"/>
                  </a:lnTo>
                  <a:lnTo>
                    <a:pt x="55847" y="0"/>
                  </a:lnTo>
                  <a:lnTo>
                    <a:pt x="61059" y="13486"/>
                  </a:lnTo>
                  <a:lnTo>
                    <a:pt x="61060" y="17160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3" name="Forme libre : forme 372">
              <a:extLst>
                <a:ext uri="{FF2B5EF4-FFF2-40B4-BE49-F238E27FC236}">
                  <a16:creationId xmlns:a16="http://schemas.microsoft.com/office/drawing/2014/main" id="{77194E30-CE70-4AEC-BB0F-106D75678D26}"/>
                </a:ext>
              </a:extLst>
            </p:cNvPr>
            <p:cNvSpPr/>
            <p:nvPr/>
          </p:nvSpPr>
          <p:spPr>
            <a:xfrm rot="8716295">
              <a:off x="5579033" y="246915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4" name="Forme libre : forme 373">
              <a:extLst>
                <a:ext uri="{FF2B5EF4-FFF2-40B4-BE49-F238E27FC236}">
                  <a16:creationId xmlns:a16="http://schemas.microsoft.com/office/drawing/2014/main" id="{F8F32B20-B35C-4702-8768-E6EC077080C3}"/>
                </a:ext>
              </a:extLst>
            </p:cNvPr>
            <p:cNvSpPr/>
            <p:nvPr/>
          </p:nvSpPr>
          <p:spPr>
            <a:xfrm rot="8716295">
              <a:off x="5389987" y="215331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5" name="Forme libre : forme 374">
              <a:extLst>
                <a:ext uri="{FF2B5EF4-FFF2-40B4-BE49-F238E27FC236}">
                  <a16:creationId xmlns:a16="http://schemas.microsoft.com/office/drawing/2014/main" id="{03FB5FAB-F686-40AC-9940-1E92242C962D}"/>
                </a:ext>
              </a:extLst>
            </p:cNvPr>
            <p:cNvSpPr/>
            <p:nvPr/>
          </p:nvSpPr>
          <p:spPr>
            <a:xfrm rot="8716295">
              <a:off x="5371746" y="194326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6" name="Forme libre : forme 375">
              <a:extLst>
                <a:ext uri="{FF2B5EF4-FFF2-40B4-BE49-F238E27FC236}">
                  <a16:creationId xmlns:a16="http://schemas.microsoft.com/office/drawing/2014/main" id="{7697AE3D-D280-4B41-97E4-E67BBE2838D4}"/>
                </a:ext>
              </a:extLst>
            </p:cNvPr>
            <p:cNvSpPr/>
            <p:nvPr/>
          </p:nvSpPr>
          <p:spPr>
            <a:xfrm rot="8716295">
              <a:off x="5716764" y="2550542"/>
              <a:ext cx="91035" cy="331729"/>
            </a:xfrm>
            <a:custGeom>
              <a:avLst/>
              <a:gdLst>
                <a:gd name="connsiteX0" fmla="*/ 60147 w 60147"/>
                <a:gd name="connsiteY0" fmla="*/ 219174 h 219174"/>
                <a:gd name="connsiteX1" fmla="*/ 0 w 60147"/>
                <a:gd name="connsiteY1" fmla="*/ 161304 h 219174"/>
                <a:gd name="connsiteX2" fmla="*/ 0 w 60147"/>
                <a:gd name="connsiteY2" fmla="*/ 68045 h 219174"/>
                <a:gd name="connsiteX3" fmla="*/ 56210 w 60147"/>
                <a:gd name="connsiteY3" fmla="*/ 87 h 219174"/>
                <a:gd name="connsiteX4" fmla="*/ 60147 w 60147"/>
                <a:gd name="connsiteY4" fmla="*/ 0 h 219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47" h="219174">
                  <a:moveTo>
                    <a:pt x="60147" y="219174"/>
                  </a:moveTo>
                  <a:lnTo>
                    <a:pt x="0" y="161304"/>
                  </a:lnTo>
                  <a:lnTo>
                    <a:pt x="0" y="68045"/>
                  </a:lnTo>
                  <a:lnTo>
                    <a:pt x="56210" y="87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7" name="Forme libre : forme 376">
              <a:extLst>
                <a:ext uri="{FF2B5EF4-FFF2-40B4-BE49-F238E27FC236}">
                  <a16:creationId xmlns:a16="http://schemas.microsoft.com/office/drawing/2014/main" id="{46E8B4E6-46F9-4CF4-A6B7-A87039F21F77}"/>
                </a:ext>
              </a:extLst>
            </p:cNvPr>
            <p:cNvSpPr/>
            <p:nvPr/>
          </p:nvSpPr>
          <p:spPr>
            <a:xfrm rot="8716295">
              <a:off x="5787639" y="192609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8" name="Forme libre : forme 377">
              <a:extLst>
                <a:ext uri="{FF2B5EF4-FFF2-40B4-BE49-F238E27FC236}">
                  <a16:creationId xmlns:a16="http://schemas.microsoft.com/office/drawing/2014/main" id="{CE3A86F3-9EF3-4CAC-BAE7-301BACB20DC2}"/>
                </a:ext>
              </a:extLst>
            </p:cNvPr>
            <p:cNvSpPr/>
            <p:nvPr/>
          </p:nvSpPr>
          <p:spPr>
            <a:xfrm rot="8716295">
              <a:off x="5411131" y="133665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9" name="Forme libre : forme 378">
              <a:extLst>
                <a:ext uri="{FF2B5EF4-FFF2-40B4-BE49-F238E27FC236}">
                  <a16:creationId xmlns:a16="http://schemas.microsoft.com/office/drawing/2014/main" id="{5ADA9701-4026-4003-B92A-BE45A4B58CA1}"/>
                </a:ext>
              </a:extLst>
            </p:cNvPr>
            <p:cNvSpPr/>
            <p:nvPr/>
          </p:nvSpPr>
          <p:spPr>
            <a:xfrm rot="8716295">
              <a:off x="5547629" y="1389153"/>
              <a:ext cx="346795" cy="385612"/>
            </a:xfrm>
            <a:custGeom>
              <a:avLst/>
              <a:gdLst>
                <a:gd name="connsiteX0" fmla="*/ 19979 w 229128"/>
                <a:gd name="connsiteY0" fmla="*/ 254774 h 254774"/>
                <a:gd name="connsiteX1" fmla="*/ 19979 w 229128"/>
                <a:gd name="connsiteY1" fmla="*/ 45624 h 254774"/>
                <a:gd name="connsiteX2" fmla="*/ 0 w 229128"/>
                <a:gd name="connsiteY2" fmla="*/ 45624 h 254774"/>
                <a:gd name="connsiteX3" fmla="*/ 36558 w 229128"/>
                <a:gd name="connsiteY3" fmla="*/ 1425 h 254774"/>
                <a:gd name="connsiteX4" fmla="*/ 73292 w 229128"/>
                <a:gd name="connsiteY4" fmla="*/ 1425 h 254774"/>
                <a:gd name="connsiteX5" fmla="*/ 73292 w 229128"/>
                <a:gd name="connsiteY5" fmla="*/ 75242 h 254774"/>
                <a:gd name="connsiteX6" fmla="*/ 74658 w 229128"/>
                <a:gd name="connsiteY6" fmla="*/ 75242 h 254774"/>
                <a:gd name="connsiteX7" fmla="*/ 122503 w 229128"/>
                <a:gd name="connsiteY7" fmla="*/ 5981 h 254774"/>
                <a:gd name="connsiteX8" fmla="*/ 153944 w 229128"/>
                <a:gd name="connsiteY8" fmla="*/ 57 h 254774"/>
                <a:gd name="connsiteX9" fmla="*/ 229128 w 229128"/>
                <a:gd name="connsiteY9" fmla="*/ 88456 h 254774"/>
                <a:gd name="connsiteX10" fmla="*/ 229128 w 229128"/>
                <a:gd name="connsiteY10" fmla="*/ 94380 h 254774"/>
                <a:gd name="connsiteX11" fmla="*/ 167158 w 229128"/>
                <a:gd name="connsiteY11" fmla="*/ 98025 h 254774"/>
                <a:gd name="connsiteX12" fmla="*/ 167158 w 229128"/>
                <a:gd name="connsiteY12" fmla="*/ 81621 h 254774"/>
                <a:gd name="connsiteX13" fmla="*/ 133439 w 229128"/>
                <a:gd name="connsiteY13" fmla="*/ 40156 h 254774"/>
                <a:gd name="connsiteX14" fmla="*/ 80127 w 229128"/>
                <a:gd name="connsiteY14" fmla="*/ 127643 h 254774"/>
                <a:gd name="connsiteX15" fmla="*/ 80127 w 229128"/>
                <a:gd name="connsiteY15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29128" h="254774">
                  <a:moveTo>
                    <a:pt x="19979" y="254774"/>
                  </a:moveTo>
                  <a:lnTo>
                    <a:pt x="19979" y="45624"/>
                  </a:lnTo>
                  <a:lnTo>
                    <a:pt x="0" y="45624"/>
                  </a:lnTo>
                  <a:lnTo>
                    <a:pt x="36558" y="1425"/>
                  </a:lnTo>
                  <a:lnTo>
                    <a:pt x="73292" y="1425"/>
                  </a:lnTo>
                  <a:lnTo>
                    <a:pt x="73292" y="75242"/>
                  </a:lnTo>
                  <a:lnTo>
                    <a:pt x="74658" y="75242"/>
                  </a:lnTo>
                  <a:cubicBezTo>
                    <a:pt x="89240" y="31954"/>
                    <a:pt x="100631" y="15094"/>
                    <a:pt x="122503" y="5981"/>
                  </a:cubicBezTo>
                  <a:cubicBezTo>
                    <a:pt x="132528" y="1880"/>
                    <a:pt x="143008" y="-398"/>
                    <a:pt x="153944" y="57"/>
                  </a:cubicBezTo>
                  <a:cubicBezTo>
                    <a:pt x="200877" y="-854"/>
                    <a:pt x="229128" y="31954"/>
                    <a:pt x="229128" y="88456"/>
                  </a:cubicBezTo>
                  <a:lnTo>
                    <a:pt x="229128" y="94380"/>
                  </a:lnTo>
                  <a:lnTo>
                    <a:pt x="167158" y="98025"/>
                  </a:lnTo>
                  <a:lnTo>
                    <a:pt x="167158" y="81621"/>
                  </a:lnTo>
                  <a:cubicBezTo>
                    <a:pt x="167158" y="57016"/>
                    <a:pt x="153033" y="40156"/>
                    <a:pt x="133439" y="40156"/>
                  </a:cubicBezTo>
                  <a:cubicBezTo>
                    <a:pt x="104277" y="40156"/>
                    <a:pt x="80127" y="78887"/>
                    <a:pt x="80127" y="127643"/>
                  </a:cubicBezTo>
                  <a:lnTo>
                    <a:pt x="80127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0" name="Forme libre : forme 379">
              <a:extLst>
                <a:ext uri="{FF2B5EF4-FFF2-40B4-BE49-F238E27FC236}">
                  <a16:creationId xmlns:a16="http://schemas.microsoft.com/office/drawing/2014/main" id="{3801A8FD-71D9-43D4-9A13-F62B93652117}"/>
                </a:ext>
              </a:extLst>
            </p:cNvPr>
            <p:cNvSpPr/>
            <p:nvPr/>
          </p:nvSpPr>
          <p:spPr>
            <a:xfrm rot="8716295">
              <a:off x="5478548" y="125032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1" name="Forme libre : forme 380">
              <a:extLst>
                <a:ext uri="{FF2B5EF4-FFF2-40B4-BE49-F238E27FC236}">
                  <a16:creationId xmlns:a16="http://schemas.microsoft.com/office/drawing/2014/main" id="{4CC9B929-E3B4-4677-AB6A-C1B0E025204C}"/>
                </a:ext>
              </a:extLst>
            </p:cNvPr>
            <p:cNvSpPr/>
            <p:nvPr/>
          </p:nvSpPr>
          <p:spPr>
            <a:xfrm rot="8716295">
              <a:off x="5241260" y="147066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2" name="Forme libre : forme 381">
              <a:extLst>
                <a:ext uri="{FF2B5EF4-FFF2-40B4-BE49-F238E27FC236}">
                  <a16:creationId xmlns:a16="http://schemas.microsoft.com/office/drawing/2014/main" id="{43D5D927-BA42-496D-BC4E-8674E3CE6A51}"/>
                </a:ext>
              </a:extLst>
            </p:cNvPr>
            <p:cNvSpPr/>
            <p:nvPr/>
          </p:nvSpPr>
          <p:spPr>
            <a:xfrm rot="8716295">
              <a:off x="5052214" y="11548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3" name="Forme libre : forme 382">
              <a:extLst>
                <a:ext uri="{FF2B5EF4-FFF2-40B4-BE49-F238E27FC236}">
                  <a16:creationId xmlns:a16="http://schemas.microsoft.com/office/drawing/2014/main" id="{A9CA7264-4BDA-4273-8C76-8511057A1B85}"/>
                </a:ext>
              </a:extLst>
            </p:cNvPr>
            <p:cNvSpPr/>
            <p:nvPr/>
          </p:nvSpPr>
          <p:spPr>
            <a:xfrm rot="8716295">
              <a:off x="5033973" y="94478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4" name="Forme libre : forme 383">
              <a:extLst>
                <a:ext uri="{FF2B5EF4-FFF2-40B4-BE49-F238E27FC236}">
                  <a16:creationId xmlns:a16="http://schemas.microsoft.com/office/drawing/2014/main" id="{5E95C0C0-B211-4D78-A1DF-BE4FC385DAC5}"/>
                </a:ext>
              </a:extLst>
            </p:cNvPr>
            <p:cNvSpPr/>
            <p:nvPr/>
          </p:nvSpPr>
          <p:spPr>
            <a:xfrm rot="8716295">
              <a:off x="5377749" y="153264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5" name="Forme libre : forme 384">
              <a:extLst>
                <a:ext uri="{FF2B5EF4-FFF2-40B4-BE49-F238E27FC236}">
                  <a16:creationId xmlns:a16="http://schemas.microsoft.com/office/drawing/2014/main" id="{299B9701-5011-4B98-BC25-888CE3D4A261}"/>
                </a:ext>
              </a:extLst>
            </p:cNvPr>
            <p:cNvSpPr/>
            <p:nvPr/>
          </p:nvSpPr>
          <p:spPr>
            <a:xfrm rot="8716295">
              <a:off x="5847873" y="996679"/>
              <a:ext cx="92417" cy="314872"/>
            </a:xfrm>
            <a:custGeom>
              <a:avLst/>
              <a:gdLst>
                <a:gd name="connsiteX0" fmla="*/ 0 w 61060"/>
                <a:gd name="connsiteY0" fmla="*/ 208036 h 208036"/>
                <a:gd name="connsiteX1" fmla="*/ 1 w 61060"/>
                <a:gd name="connsiteY1" fmla="*/ 61780 h 208036"/>
                <a:gd name="connsiteX2" fmla="*/ 51100 w 61060"/>
                <a:gd name="connsiteY2" fmla="*/ 0 h 208036"/>
                <a:gd name="connsiteX3" fmla="*/ 61059 w 61060"/>
                <a:gd name="connsiteY3" fmla="*/ 25771 h 208036"/>
                <a:gd name="connsiteX4" fmla="*/ 61060 w 61060"/>
                <a:gd name="connsiteY4" fmla="*/ 183886 h 208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60" h="208036">
                  <a:moveTo>
                    <a:pt x="0" y="208036"/>
                  </a:moveTo>
                  <a:lnTo>
                    <a:pt x="1" y="61780"/>
                  </a:lnTo>
                  <a:lnTo>
                    <a:pt x="51100" y="0"/>
                  </a:lnTo>
                  <a:lnTo>
                    <a:pt x="61059" y="25771"/>
                  </a:lnTo>
                  <a:lnTo>
                    <a:pt x="61060" y="18388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6" name="Forme libre : forme 385">
              <a:extLst>
                <a:ext uri="{FF2B5EF4-FFF2-40B4-BE49-F238E27FC236}">
                  <a16:creationId xmlns:a16="http://schemas.microsoft.com/office/drawing/2014/main" id="{D1B55AC6-0E14-4AD6-A463-2BC5AB8BBB90}"/>
                </a:ext>
              </a:extLst>
            </p:cNvPr>
            <p:cNvSpPr/>
            <p:nvPr/>
          </p:nvSpPr>
          <p:spPr>
            <a:xfrm rot="8716295">
              <a:off x="5678824" y="109205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7" name="Forme libre : forme 386">
              <a:extLst>
                <a:ext uri="{FF2B5EF4-FFF2-40B4-BE49-F238E27FC236}">
                  <a16:creationId xmlns:a16="http://schemas.microsoft.com/office/drawing/2014/main" id="{35C0CB49-4515-4D6B-805D-6EE1D83F55CD}"/>
                </a:ext>
              </a:extLst>
            </p:cNvPr>
            <p:cNvSpPr/>
            <p:nvPr/>
          </p:nvSpPr>
          <p:spPr>
            <a:xfrm rot="8716295">
              <a:off x="5489780" y="77621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8" name="Forme libre : forme 387">
              <a:extLst>
                <a:ext uri="{FF2B5EF4-FFF2-40B4-BE49-F238E27FC236}">
                  <a16:creationId xmlns:a16="http://schemas.microsoft.com/office/drawing/2014/main" id="{393CE68B-9315-410C-84F0-0D845DB03A75}"/>
                </a:ext>
              </a:extLst>
            </p:cNvPr>
            <p:cNvSpPr/>
            <p:nvPr/>
          </p:nvSpPr>
          <p:spPr>
            <a:xfrm rot="8716295">
              <a:off x="5816554" y="1173443"/>
              <a:ext cx="91037" cy="331731"/>
            </a:xfrm>
            <a:custGeom>
              <a:avLst/>
              <a:gdLst>
                <a:gd name="connsiteX0" fmla="*/ 60148 w 60148"/>
                <a:gd name="connsiteY0" fmla="*/ 219175 h 219175"/>
                <a:gd name="connsiteX1" fmla="*/ 0 w 60148"/>
                <a:gd name="connsiteY1" fmla="*/ 161305 h 219175"/>
                <a:gd name="connsiteX2" fmla="*/ 0 w 60148"/>
                <a:gd name="connsiteY2" fmla="*/ 50021 h 219175"/>
                <a:gd name="connsiteX3" fmla="*/ 41025 w 60148"/>
                <a:gd name="connsiteY3" fmla="*/ 421 h 219175"/>
                <a:gd name="connsiteX4" fmla="*/ 60147 w 60148"/>
                <a:gd name="connsiteY4" fmla="*/ 0 h 219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48" h="219175">
                  <a:moveTo>
                    <a:pt x="60148" y="219175"/>
                  </a:moveTo>
                  <a:lnTo>
                    <a:pt x="0" y="161305"/>
                  </a:lnTo>
                  <a:lnTo>
                    <a:pt x="0" y="50021"/>
                  </a:lnTo>
                  <a:lnTo>
                    <a:pt x="41025" y="421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9" name="Forme libre : forme 388">
              <a:extLst>
                <a:ext uri="{FF2B5EF4-FFF2-40B4-BE49-F238E27FC236}">
                  <a16:creationId xmlns:a16="http://schemas.microsoft.com/office/drawing/2014/main" id="{B917A23A-4403-425A-9C2A-27DE35CB443E}"/>
                </a:ext>
              </a:extLst>
            </p:cNvPr>
            <p:cNvSpPr/>
            <p:nvPr/>
          </p:nvSpPr>
          <p:spPr>
            <a:xfrm rot="8716295">
              <a:off x="5449866" y="92760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0" name="Forme libre : forme 389">
              <a:extLst>
                <a:ext uri="{FF2B5EF4-FFF2-40B4-BE49-F238E27FC236}">
                  <a16:creationId xmlns:a16="http://schemas.microsoft.com/office/drawing/2014/main" id="{8689535D-A8DA-4F0E-9DBC-CBAFC078B2CB}"/>
                </a:ext>
              </a:extLst>
            </p:cNvPr>
            <p:cNvSpPr/>
            <p:nvPr/>
          </p:nvSpPr>
          <p:spPr>
            <a:xfrm rot="8716295">
              <a:off x="5954717" y="1002572"/>
              <a:ext cx="48491" cy="55034"/>
            </a:xfrm>
            <a:custGeom>
              <a:avLst/>
              <a:gdLst>
                <a:gd name="connsiteX0" fmla="*/ 0 w 32038"/>
                <a:gd name="connsiteY0" fmla="*/ 35166 h 36361"/>
                <a:gd name="connsiteX1" fmla="*/ 29086 w 32038"/>
                <a:gd name="connsiteY1" fmla="*/ 0 h 36361"/>
                <a:gd name="connsiteX2" fmla="*/ 32038 w 32038"/>
                <a:gd name="connsiteY2" fmla="*/ 7028 h 36361"/>
                <a:gd name="connsiteX3" fmla="*/ 23495 w 32038"/>
                <a:gd name="connsiteY3" fmla="*/ 27704 h 36361"/>
                <a:gd name="connsiteX4" fmla="*/ 2990 w 32038"/>
                <a:gd name="connsiteY4" fmla="*/ 36361 h 36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038" h="36361">
                  <a:moveTo>
                    <a:pt x="0" y="35166"/>
                  </a:moveTo>
                  <a:lnTo>
                    <a:pt x="29086" y="0"/>
                  </a:lnTo>
                  <a:lnTo>
                    <a:pt x="32038" y="7028"/>
                  </a:lnTo>
                  <a:cubicBezTo>
                    <a:pt x="32039" y="14489"/>
                    <a:pt x="29191" y="22008"/>
                    <a:pt x="23495" y="27704"/>
                  </a:cubicBezTo>
                  <a:cubicBezTo>
                    <a:pt x="18027" y="33172"/>
                    <a:pt x="10736" y="36361"/>
                    <a:pt x="2990" y="363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1" name="Forme libre : forme 390">
              <a:extLst>
                <a:ext uri="{FF2B5EF4-FFF2-40B4-BE49-F238E27FC236}">
                  <a16:creationId xmlns:a16="http://schemas.microsoft.com/office/drawing/2014/main" id="{4277FFB2-58A8-4A02-AADF-E018D5998562}"/>
                </a:ext>
              </a:extLst>
            </p:cNvPr>
            <p:cNvSpPr/>
            <p:nvPr/>
          </p:nvSpPr>
          <p:spPr>
            <a:xfrm rot="8716295">
              <a:off x="5079758" y="33459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2" name="Forme libre : forme 391">
              <a:extLst>
                <a:ext uri="{FF2B5EF4-FFF2-40B4-BE49-F238E27FC236}">
                  <a16:creationId xmlns:a16="http://schemas.microsoft.com/office/drawing/2014/main" id="{EA35B526-89AB-4A06-AA35-B12BC8F0AB1F}"/>
                </a:ext>
              </a:extLst>
            </p:cNvPr>
            <p:cNvSpPr/>
            <p:nvPr/>
          </p:nvSpPr>
          <p:spPr>
            <a:xfrm rot="8716295">
              <a:off x="5215056" y="37885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3" name="Forme libre : forme 392">
              <a:extLst>
                <a:ext uri="{FF2B5EF4-FFF2-40B4-BE49-F238E27FC236}">
                  <a16:creationId xmlns:a16="http://schemas.microsoft.com/office/drawing/2014/main" id="{0E946C4C-ED44-46D8-8F43-896DC93007DB}"/>
                </a:ext>
              </a:extLst>
            </p:cNvPr>
            <p:cNvSpPr/>
            <p:nvPr/>
          </p:nvSpPr>
          <p:spPr>
            <a:xfrm rot="8716295">
              <a:off x="5147174" y="248268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4" name="Forme libre : forme 393">
              <a:extLst>
                <a:ext uri="{FF2B5EF4-FFF2-40B4-BE49-F238E27FC236}">
                  <a16:creationId xmlns:a16="http://schemas.microsoft.com/office/drawing/2014/main" id="{8B9BAAAD-4871-45E0-9808-B6AF30F7C6CF}"/>
                </a:ext>
              </a:extLst>
            </p:cNvPr>
            <p:cNvSpPr/>
            <p:nvPr/>
          </p:nvSpPr>
          <p:spPr>
            <a:xfrm rot="8716295">
              <a:off x="4909887" y="4686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5" name="Forme libre : forme 394">
              <a:extLst>
                <a:ext uri="{FF2B5EF4-FFF2-40B4-BE49-F238E27FC236}">
                  <a16:creationId xmlns:a16="http://schemas.microsoft.com/office/drawing/2014/main" id="{7D346B9D-669B-40E6-8A36-5A7046F06D7F}"/>
                </a:ext>
              </a:extLst>
            </p:cNvPr>
            <p:cNvSpPr/>
            <p:nvPr/>
          </p:nvSpPr>
          <p:spPr>
            <a:xfrm rot="8716295">
              <a:off x="4720840" y="15277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6" name="Forme libre : forme 395">
              <a:extLst>
                <a:ext uri="{FF2B5EF4-FFF2-40B4-BE49-F238E27FC236}">
                  <a16:creationId xmlns:a16="http://schemas.microsoft.com/office/drawing/2014/main" id="{66103F96-93DC-4231-9A89-20615F9DAE20}"/>
                </a:ext>
              </a:extLst>
            </p:cNvPr>
            <p:cNvSpPr/>
            <p:nvPr/>
          </p:nvSpPr>
          <p:spPr>
            <a:xfrm rot="8716295">
              <a:off x="4702019" y="-47743"/>
              <a:ext cx="439901" cy="516041"/>
            </a:xfrm>
            <a:custGeom>
              <a:avLst/>
              <a:gdLst>
                <a:gd name="connsiteX0" fmla="*/ 155476 w 290643"/>
                <a:gd name="connsiteY0" fmla="*/ 340949 h 340949"/>
                <a:gd name="connsiteX1" fmla="*/ 1169 w 290643"/>
                <a:gd name="connsiteY1" fmla="*/ 233989 h 340949"/>
                <a:gd name="connsiteX2" fmla="*/ 0 w 290643"/>
                <a:gd name="connsiteY2" fmla="*/ 220042 h 340949"/>
                <a:gd name="connsiteX3" fmla="*/ 0 w 290643"/>
                <a:gd name="connsiteY3" fmla="*/ 40596 h 340949"/>
                <a:gd name="connsiteX4" fmla="*/ 78250 w 290643"/>
                <a:gd name="connsiteY4" fmla="*/ 0 h 340949"/>
                <a:gd name="connsiteX5" fmla="*/ 79427 w 290643"/>
                <a:gd name="connsiteY5" fmla="*/ 164149 h 340949"/>
                <a:gd name="connsiteX6" fmla="*/ 93547 w 290643"/>
                <a:gd name="connsiteY6" fmla="*/ 261815 h 340949"/>
                <a:gd name="connsiteX7" fmla="*/ 164149 w 290643"/>
                <a:gd name="connsiteY7" fmla="*/ 300646 h 340949"/>
                <a:gd name="connsiteX8" fmla="*/ 217100 w 290643"/>
                <a:gd name="connsiteY8" fmla="*/ 291232 h 340949"/>
                <a:gd name="connsiteX9" fmla="*/ 289467 w 290643"/>
                <a:gd name="connsiteY9" fmla="*/ 261815 h 340949"/>
                <a:gd name="connsiteX10" fmla="*/ 290643 w 290643"/>
                <a:gd name="connsiteY10" fmla="*/ 269463 h 340949"/>
                <a:gd name="connsiteX11" fmla="*/ 290643 w 290643"/>
                <a:gd name="connsiteY11" fmla="*/ 275347 h 340949"/>
                <a:gd name="connsiteX12" fmla="*/ 189080 w 290643"/>
                <a:gd name="connsiteY12" fmla="*/ 331975 h 340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0643" h="340949">
                  <a:moveTo>
                    <a:pt x="155476" y="340949"/>
                  </a:moveTo>
                  <a:lnTo>
                    <a:pt x="1169" y="233989"/>
                  </a:lnTo>
                  <a:lnTo>
                    <a:pt x="0" y="220042"/>
                  </a:ln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9" y="300646"/>
                  </a:cubicBezTo>
                  <a:cubicBezTo>
                    <a:pt x="182388" y="300057"/>
                    <a:pt x="200038" y="296527"/>
                    <a:pt x="217100" y="291232"/>
                  </a:cubicBezTo>
                  <a:cubicBezTo>
                    <a:pt x="241810" y="283584"/>
                    <a:pt x="265933" y="273582"/>
                    <a:pt x="289467" y="261815"/>
                  </a:cubicBezTo>
                  <a:cubicBezTo>
                    <a:pt x="290055" y="264168"/>
                    <a:pt x="290643" y="267110"/>
                    <a:pt x="290643" y="269463"/>
                  </a:cubicBezTo>
                  <a:lnTo>
                    <a:pt x="290643" y="275347"/>
                  </a:lnTo>
                  <a:cubicBezTo>
                    <a:pt x="259461" y="302117"/>
                    <a:pt x="223425" y="320208"/>
                    <a:pt x="189080" y="3319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7" name="Forme libre : forme 396">
              <a:extLst>
                <a:ext uri="{FF2B5EF4-FFF2-40B4-BE49-F238E27FC236}">
                  <a16:creationId xmlns:a16="http://schemas.microsoft.com/office/drawing/2014/main" id="{E7200A70-679E-46A4-89BB-E2CFE2F1D7AE}"/>
                </a:ext>
              </a:extLst>
            </p:cNvPr>
            <p:cNvSpPr/>
            <p:nvPr/>
          </p:nvSpPr>
          <p:spPr>
            <a:xfrm rot="8716295">
              <a:off x="5046375" y="53059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8" name="Forme libre : forme 397">
              <a:extLst>
                <a:ext uri="{FF2B5EF4-FFF2-40B4-BE49-F238E27FC236}">
                  <a16:creationId xmlns:a16="http://schemas.microsoft.com/office/drawing/2014/main" id="{5D528D3B-7826-4D4D-96B5-43ADE18F1EA6}"/>
                </a:ext>
              </a:extLst>
            </p:cNvPr>
            <p:cNvSpPr/>
            <p:nvPr/>
          </p:nvSpPr>
          <p:spPr>
            <a:xfrm rot="8716295">
              <a:off x="5517321" y="-4401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9" name="Forme libre : forme 398">
              <a:extLst>
                <a:ext uri="{FF2B5EF4-FFF2-40B4-BE49-F238E27FC236}">
                  <a16:creationId xmlns:a16="http://schemas.microsoft.com/office/drawing/2014/main" id="{2614F3E9-F724-4FC2-90FF-F1B58DCC0522}"/>
                </a:ext>
              </a:extLst>
            </p:cNvPr>
            <p:cNvSpPr/>
            <p:nvPr/>
          </p:nvSpPr>
          <p:spPr>
            <a:xfrm rot="8716295">
              <a:off x="5660365" y="29418"/>
              <a:ext cx="361480" cy="358038"/>
            </a:xfrm>
            <a:custGeom>
              <a:avLst/>
              <a:gdLst>
                <a:gd name="connsiteX0" fmla="*/ 56401 w 238830"/>
                <a:gd name="connsiteY0" fmla="*/ 236556 h 236556"/>
                <a:gd name="connsiteX1" fmla="*/ 29681 w 238830"/>
                <a:gd name="connsiteY1" fmla="*/ 218034 h 236556"/>
                <a:gd name="connsiteX2" fmla="*/ 29681 w 238830"/>
                <a:gd name="connsiteY2" fmla="*/ 45624 h 236556"/>
                <a:gd name="connsiteX3" fmla="*/ 0 w 238830"/>
                <a:gd name="connsiteY3" fmla="*/ 45624 h 236556"/>
                <a:gd name="connsiteX4" fmla="*/ 36558 w 238830"/>
                <a:gd name="connsiteY4" fmla="*/ 1425 h 236556"/>
                <a:gd name="connsiteX5" fmla="*/ 82994 w 238830"/>
                <a:gd name="connsiteY5" fmla="*/ 1425 h 236556"/>
                <a:gd name="connsiteX6" fmla="*/ 82994 w 238830"/>
                <a:gd name="connsiteY6" fmla="*/ 75242 h 236556"/>
                <a:gd name="connsiteX7" fmla="*/ 84360 w 238830"/>
                <a:gd name="connsiteY7" fmla="*/ 75242 h 236556"/>
                <a:gd name="connsiteX8" fmla="*/ 132205 w 238830"/>
                <a:gd name="connsiteY8" fmla="*/ 5981 h 236556"/>
                <a:gd name="connsiteX9" fmla="*/ 163646 w 238830"/>
                <a:gd name="connsiteY9" fmla="*/ 57 h 236556"/>
                <a:gd name="connsiteX10" fmla="*/ 238830 w 238830"/>
                <a:gd name="connsiteY10" fmla="*/ 88456 h 236556"/>
                <a:gd name="connsiteX11" fmla="*/ 238830 w 238830"/>
                <a:gd name="connsiteY11" fmla="*/ 94380 h 236556"/>
                <a:gd name="connsiteX12" fmla="*/ 176860 w 238830"/>
                <a:gd name="connsiteY12" fmla="*/ 98025 h 236556"/>
                <a:gd name="connsiteX13" fmla="*/ 176860 w 238830"/>
                <a:gd name="connsiteY13" fmla="*/ 81621 h 236556"/>
                <a:gd name="connsiteX14" fmla="*/ 143141 w 238830"/>
                <a:gd name="connsiteY14" fmla="*/ 40156 h 236556"/>
                <a:gd name="connsiteX15" fmla="*/ 89829 w 238830"/>
                <a:gd name="connsiteY15" fmla="*/ 127643 h 236556"/>
                <a:gd name="connsiteX16" fmla="*/ 89829 w 238830"/>
                <a:gd name="connsiteY16" fmla="*/ 213764 h 236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8830" h="236556">
                  <a:moveTo>
                    <a:pt x="56401" y="236556"/>
                  </a:moveTo>
                  <a:lnTo>
                    <a:pt x="29681" y="218034"/>
                  </a:lnTo>
                  <a:lnTo>
                    <a:pt x="29681" y="45624"/>
                  </a:lnTo>
                  <a:lnTo>
                    <a:pt x="0" y="45624"/>
                  </a:lnTo>
                  <a:lnTo>
                    <a:pt x="36558" y="1425"/>
                  </a:lnTo>
                  <a:lnTo>
                    <a:pt x="82994" y="1425"/>
                  </a:lnTo>
                  <a:lnTo>
                    <a:pt x="82994" y="75242"/>
                  </a:lnTo>
                  <a:lnTo>
                    <a:pt x="84360" y="75242"/>
                  </a:lnTo>
                  <a:cubicBezTo>
                    <a:pt x="98942" y="31954"/>
                    <a:pt x="110333" y="15095"/>
                    <a:pt x="132205" y="5981"/>
                  </a:cubicBezTo>
                  <a:cubicBezTo>
                    <a:pt x="142230" y="1880"/>
                    <a:pt x="152710" y="-398"/>
                    <a:pt x="163646" y="57"/>
                  </a:cubicBezTo>
                  <a:cubicBezTo>
                    <a:pt x="210579" y="-854"/>
                    <a:pt x="238830" y="31954"/>
                    <a:pt x="238830" y="88456"/>
                  </a:cubicBezTo>
                  <a:lnTo>
                    <a:pt x="238830" y="94380"/>
                  </a:lnTo>
                  <a:lnTo>
                    <a:pt x="176860" y="98025"/>
                  </a:lnTo>
                  <a:lnTo>
                    <a:pt x="176860" y="81621"/>
                  </a:lnTo>
                  <a:cubicBezTo>
                    <a:pt x="176860" y="57016"/>
                    <a:pt x="162735" y="40156"/>
                    <a:pt x="143141" y="40156"/>
                  </a:cubicBezTo>
                  <a:cubicBezTo>
                    <a:pt x="113979" y="40156"/>
                    <a:pt x="89829" y="78887"/>
                    <a:pt x="89829" y="127643"/>
                  </a:cubicBezTo>
                  <a:lnTo>
                    <a:pt x="89829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0" name="Forme libre : forme 399">
              <a:extLst>
                <a:ext uri="{FF2B5EF4-FFF2-40B4-BE49-F238E27FC236}">
                  <a16:creationId xmlns:a16="http://schemas.microsoft.com/office/drawing/2014/main" id="{30961414-E4AD-4BB3-9FB3-626F7F1FE23D}"/>
                </a:ext>
              </a:extLst>
            </p:cNvPr>
            <p:cNvSpPr/>
            <p:nvPr/>
          </p:nvSpPr>
          <p:spPr>
            <a:xfrm rot="8716295">
              <a:off x="5347450" y="8999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1" name="Forme libre : forme 400">
              <a:extLst>
                <a:ext uri="{FF2B5EF4-FFF2-40B4-BE49-F238E27FC236}">
                  <a16:creationId xmlns:a16="http://schemas.microsoft.com/office/drawing/2014/main" id="{30769E12-B50E-4874-9A5A-F158D8D6A603}"/>
                </a:ext>
              </a:extLst>
            </p:cNvPr>
            <p:cNvSpPr/>
            <p:nvPr/>
          </p:nvSpPr>
          <p:spPr>
            <a:xfrm rot="8716295">
              <a:off x="5220022" y="-7080"/>
              <a:ext cx="219414" cy="84041"/>
            </a:xfrm>
            <a:custGeom>
              <a:avLst/>
              <a:gdLst>
                <a:gd name="connsiteX0" fmla="*/ 80105 w 144967"/>
                <a:gd name="connsiteY0" fmla="*/ 55526 h 55526"/>
                <a:gd name="connsiteX1" fmla="*/ 0 w 144967"/>
                <a:gd name="connsiteY1" fmla="*/ 0 h 55526"/>
                <a:gd name="connsiteX2" fmla="*/ 144967 w 144967"/>
                <a:gd name="connsiteY2" fmla="*/ 0 h 55526"/>
                <a:gd name="connsiteX3" fmla="*/ 144967 w 144967"/>
                <a:gd name="connsiteY3" fmla="*/ 55323 h 55526"/>
                <a:gd name="connsiteX4" fmla="*/ 80175 w 144967"/>
                <a:gd name="connsiteY4" fmla="*/ 55323 h 55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967" h="55526">
                  <a:moveTo>
                    <a:pt x="80105" y="55526"/>
                  </a:moveTo>
                  <a:lnTo>
                    <a:pt x="0" y="0"/>
                  </a:lnTo>
                  <a:lnTo>
                    <a:pt x="144967" y="0"/>
                  </a:lnTo>
                  <a:lnTo>
                    <a:pt x="144967" y="55323"/>
                  </a:lnTo>
                  <a:lnTo>
                    <a:pt x="8017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2" name="Forme libre : forme 401">
              <a:extLst>
                <a:ext uri="{FF2B5EF4-FFF2-40B4-BE49-F238E27FC236}">
                  <a16:creationId xmlns:a16="http://schemas.microsoft.com/office/drawing/2014/main" id="{DED468EA-B834-46DE-9EEF-86FA34FB4D87}"/>
                </a:ext>
              </a:extLst>
            </p:cNvPr>
            <p:cNvSpPr/>
            <p:nvPr/>
          </p:nvSpPr>
          <p:spPr>
            <a:xfrm rot="8716295">
              <a:off x="5483939" y="15198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3" name="Forme libre : forme 402">
              <a:extLst>
                <a:ext uri="{FF2B5EF4-FFF2-40B4-BE49-F238E27FC236}">
                  <a16:creationId xmlns:a16="http://schemas.microsoft.com/office/drawing/2014/main" id="{3C1561C2-2060-4974-8514-2DC34975F6D4}"/>
                </a:ext>
              </a:extLst>
            </p:cNvPr>
            <p:cNvSpPr/>
            <p:nvPr/>
          </p:nvSpPr>
          <p:spPr>
            <a:xfrm rot="8716295">
              <a:off x="5128323" y="-20358"/>
              <a:ext cx="80664" cy="63766"/>
            </a:xfrm>
            <a:custGeom>
              <a:avLst/>
              <a:gdLst>
                <a:gd name="connsiteX0" fmla="*/ 51759 w 53295"/>
                <a:gd name="connsiteY0" fmla="*/ 42130 h 42130"/>
                <a:gd name="connsiteX1" fmla="*/ 0 w 53295"/>
                <a:gd name="connsiteY1" fmla="*/ 6252 h 42130"/>
                <a:gd name="connsiteX2" fmla="*/ 14807 w 53295"/>
                <a:gd name="connsiteY2" fmla="*/ 0 h 42130"/>
                <a:gd name="connsiteX3" fmla="*/ 41975 w 53295"/>
                <a:gd name="connsiteY3" fmla="*/ 11471 h 42130"/>
                <a:gd name="connsiteX4" fmla="*/ 53295 w 53295"/>
                <a:gd name="connsiteY4" fmla="*/ 38412 h 42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295" h="42130">
                  <a:moveTo>
                    <a:pt x="51759" y="42130"/>
                  </a:moveTo>
                  <a:lnTo>
                    <a:pt x="0" y="6252"/>
                  </a:lnTo>
                  <a:lnTo>
                    <a:pt x="14807" y="0"/>
                  </a:lnTo>
                  <a:cubicBezTo>
                    <a:pt x="25071" y="0"/>
                    <a:pt x="34731" y="4226"/>
                    <a:pt x="41975" y="11471"/>
                  </a:cubicBezTo>
                  <a:cubicBezTo>
                    <a:pt x="49522" y="18716"/>
                    <a:pt x="53295" y="28526"/>
                    <a:pt x="53295" y="3841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4" name="Forme libre : forme 403">
              <a:extLst>
                <a:ext uri="{FF2B5EF4-FFF2-40B4-BE49-F238E27FC236}">
                  <a16:creationId xmlns:a16="http://schemas.microsoft.com/office/drawing/2014/main" id="{BE3C9C9C-FBEC-4353-AF9E-1F8508D75B04}"/>
                </a:ext>
              </a:extLst>
            </p:cNvPr>
            <p:cNvSpPr/>
            <p:nvPr/>
          </p:nvSpPr>
          <p:spPr>
            <a:xfrm rot="7484129">
              <a:off x="5642756" y="4415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5" name="Forme libre : forme 404">
              <a:extLst>
                <a:ext uri="{FF2B5EF4-FFF2-40B4-BE49-F238E27FC236}">
                  <a16:creationId xmlns:a16="http://schemas.microsoft.com/office/drawing/2014/main" id="{8A4BC53C-40CB-4B8B-A2E3-E4599AA1DEB7}"/>
                </a:ext>
              </a:extLst>
            </p:cNvPr>
            <p:cNvSpPr/>
            <p:nvPr/>
          </p:nvSpPr>
          <p:spPr>
            <a:xfrm rot="13089394">
              <a:off x="5789679" y="415199"/>
              <a:ext cx="360116" cy="446294"/>
            </a:xfrm>
            <a:custGeom>
              <a:avLst/>
              <a:gdLst>
                <a:gd name="connsiteX0" fmla="*/ 39306 w 237929"/>
                <a:gd name="connsiteY0" fmla="*/ 79955 h 294867"/>
                <a:gd name="connsiteX1" fmla="*/ 0 w 237929"/>
                <a:gd name="connsiteY1" fmla="*/ 20095 h 294867"/>
                <a:gd name="connsiteX2" fmla="*/ 38733 w 237929"/>
                <a:gd name="connsiteY2" fmla="*/ 0 h 294867"/>
                <a:gd name="connsiteX3" fmla="*/ 237929 w 237929"/>
                <a:gd name="connsiteY3" fmla="*/ 258238 h 294867"/>
                <a:gd name="connsiteX4" fmla="*/ 191415 w 237929"/>
                <a:gd name="connsiteY4" fmla="*/ 290069 h 294867"/>
                <a:gd name="connsiteX5" fmla="*/ 180425 w 237929"/>
                <a:gd name="connsiteY5" fmla="*/ 294867 h 294867"/>
                <a:gd name="connsiteX6" fmla="*/ 166448 w 237929"/>
                <a:gd name="connsiteY6" fmla="*/ 273582 h 294867"/>
                <a:gd name="connsiteX7" fmla="*/ 168955 w 237929"/>
                <a:gd name="connsiteY7" fmla="*/ 273136 h 294867"/>
                <a:gd name="connsiteX8" fmla="*/ 236826 w 237929"/>
                <a:gd name="connsiteY8" fmla="*/ 245547 h 294867"/>
                <a:gd name="connsiteX9" fmla="*/ 237929 w 237929"/>
                <a:gd name="connsiteY9" fmla="*/ 252720 h 294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7929" h="294867">
                  <a:moveTo>
                    <a:pt x="39306" y="79955"/>
                  </a:moveTo>
                  <a:lnTo>
                    <a:pt x="0" y="20095"/>
                  </a:lnTo>
                  <a:lnTo>
                    <a:pt x="38733" y="0"/>
                  </a:lnTo>
                  <a:close/>
                  <a:moveTo>
                    <a:pt x="237929" y="258238"/>
                  </a:moveTo>
                  <a:cubicBezTo>
                    <a:pt x="223307" y="270791"/>
                    <a:pt x="207546" y="281309"/>
                    <a:pt x="191415" y="290069"/>
                  </a:cubicBezTo>
                  <a:lnTo>
                    <a:pt x="180425" y="294867"/>
                  </a:lnTo>
                  <a:lnTo>
                    <a:pt x="166448" y="273582"/>
                  </a:lnTo>
                  <a:lnTo>
                    <a:pt x="168955" y="273136"/>
                  </a:lnTo>
                  <a:cubicBezTo>
                    <a:pt x="192130" y="265963"/>
                    <a:pt x="214754" y="256582"/>
                    <a:pt x="236826" y="245547"/>
                  </a:cubicBezTo>
                  <a:cubicBezTo>
                    <a:pt x="237377" y="247754"/>
                    <a:pt x="237929" y="250513"/>
                    <a:pt x="237929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6" name="Forme libre : forme 405">
              <a:extLst>
                <a:ext uri="{FF2B5EF4-FFF2-40B4-BE49-F238E27FC236}">
                  <a16:creationId xmlns:a16="http://schemas.microsoft.com/office/drawing/2014/main" id="{800D034F-ECF4-4F0F-8FF6-C97DAD2143D3}"/>
                </a:ext>
              </a:extLst>
            </p:cNvPr>
            <p:cNvSpPr/>
            <p:nvPr/>
          </p:nvSpPr>
          <p:spPr>
            <a:xfrm rot="8716295">
              <a:off x="5996886" y="-12676"/>
              <a:ext cx="90399" cy="122140"/>
            </a:xfrm>
            <a:custGeom>
              <a:avLst/>
              <a:gdLst>
                <a:gd name="connsiteX0" fmla="*/ 0 w 59727"/>
                <a:gd name="connsiteY0" fmla="*/ 52945 h 80698"/>
                <a:gd name="connsiteX1" fmla="*/ 43791 w 59727"/>
                <a:gd name="connsiteY1" fmla="*/ 0 h 80698"/>
                <a:gd name="connsiteX2" fmla="*/ 59727 w 59727"/>
                <a:gd name="connsiteY2" fmla="*/ 37928 h 80698"/>
                <a:gd name="connsiteX3" fmla="*/ 42480 w 59727"/>
                <a:gd name="connsiteY3" fmla="*/ 79666 h 80698"/>
                <a:gd name="connsiteX4" fmla="*/ 40038 w 59727"/>
                <a:gd name="connsiteY4" fmla="*/ 80698 h 80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727" h="80698">
                  <a:moveTo>
                    <a:pt x="0" y="52945"/>
                  </a:moveTo>
                  <a:lnTo>
                    <a:pt x="43791" y="0"/>
                  </a:lnTo>
                  <a:lnTo>
                    <a:pt x="59727" y="37928"/>
                  </a:lnTo>
                  <a:cubicBezTo>
                    <a:pt x="59727" y="52991"/>
                    <a:pt x="53978" y="68168"/>
                    <a:pt x="42480" y="79666"/>
                  </a:cubicBezTo>
                  <a:lnTo>
                    <a:pt x="40038" y="806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7" name="Forme libre : forme 406">
              <a:extLst>
                <a:ext uri="{FF2B5EF4-FFF2-40B4-BE49-F238E27FC236}">
                  <a16:creationId xmlns:a16="http://schemas.microsoft.com/office/drawing/2014/main" id="{3B32A0F8-96EA-444F-A5F3-4315A6F0F2B6}"/>
                </a:ext>
              </a:extLst>
            </p:cNvPr>
            <p:cNvSpPr/>
            <p:nvPr/>
          </p:nvSpPr>
          <p:spPr>
            <a:xfrm rot="8716295">
              <a:off x="5631023" y="-8174"/>
              <a:ext cx="87445" cy="82387"/>
            </a:xfrm>
            <a:custGeom>
              <a:avLst/>
              <a:gdLst>
                <a:gd name="connsiteX0" fmla="*/ 37946 w 57775"/>
                <a:gd name="connsiteY0" fmla="*/ 54433 h 54433"/>
                <a:gd name="connsiteX1" fmla="*/ 0 w 57775"/>
                <a:gd name="connsiteY1" fmla="*/ 28130 h 54433"/>
                <a:gd name="connsiteX2" fmla="*/ 8222 w 57775"/>
                <a:gd name="connsiteY2" fmla="*/ 8658 h 54433"/>
                <a:gd name="connsiteX3" fmla="*/ 28726 w 57775"/>
                <a:gd name="connsiteY3" fmla="*/ 0 h 54433"/>
                <a:gd name="connsiteX4" fmla="*/ 49232 w 57775"/>
                <a:gd name="connsiteY4" fmla="*/ 8658 h 54433"/>
                <a:gd name="connsiteX5" fmla="*/ 49232 w 57775"/>
                <a:gd name="connsiteY5" fmla="*/ 49668 h 54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775" h="54433">
                  <a:moveTo>
                    <a:pt x="37946" y="54433"/>
                  </a:moveTo>
                  <a:lnTo>
                    <a:pt x="0" y="28130"/>
                  </a:lnTo>
                  <a:lnTo>
                    <a:pt x="8222" y="8658"/>
                  </a:lnTo>
                  <a:cubicBezTo>
                    <a:pt x="13690" y="3190"/>
                    <a:pt x="20981" y="0"/>
                    <a:pt x="28726" y="0"/>
                  </a:cubicBezTo>
                  <a:cubicBezTo>
                    <a:pt x="36473" y="0"/>
                    <a:pt x="43764" y="3190"/>
                    <a:pt x="49232" y="8658"/>
                  </a:cubicBezTo>
                  <a:cubicBezTo>
                    <a:pt x="60624" y="19594"/>
                    <a:pt x="60623" y="38276"/>
                    <a:pt x="49232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pic>
        <p:nvPicPr>
          <p:cNvPr id="408" name="Graphique 407">
            <a:extLst>
              <a:ext uri="{FF2B5EF4-FFF2-40B4-BE49-F238E27FC236}">
                <a16:creationId xmlns:a16="http://schemas.microsoft.com/office/drawing/2014/main" id="{448F94F4-8E31-46DD-9D3E-E96498FF82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97194" y="3988359"/>
            <a:ext cx="2255854" cy="673200"/>
          </a:xfrm>
          <a:prstGeom prst="rect">
            <a:avLst/>
          </a:prstGeom>
        </p:spPr>
      </p:pic>
      <p:sp>
        <p:nvSpPr>
          <p:cNvPr id="411" name="Espace réservé du texte 410">
            <a:extLst>
              <a:ext uri="{FF2B5EF4-FFF2-40B4-BE49-F238E27FC236}">
                <a16:creationId xmlns:a16="http://schemas.microsoft.com/office/drawing/2014/main" id="{E014E6DC-AD19-40E5-A2B7-DF68385EE1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3141" y="526470"/>
            <a:ext cx="7379432" cy="29918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1pPr>
            <a:lvl2pPr marL="0" indent="0" algn="r">
              <a:buNone/>
              <a:defRPr sz="5400" b="1" cap="all" normalizeH="0" baseline="0">
                <a:solidFill>
                  <a:srgbClr val="009FE3"/>
                </a:solidFill>
              </a:defRPr>
            </a:lvl2pPr>
          </a:lstStyle>
          <a:p>
            <a:pPr lvl="0"/>
            <a:r>
              <a:rPr lang="fr-FR" dirty="0"/>
              <a:t>Titre de la présentation</a:t>
            </a:r>
          </a:p>
          <a:p>
            <a:pPr lvl="1"/>
            <a:r>
              <a:rPr lang="fr-FR" dirty="0"/>
              <a:t>exergue</a:t>
            </a:r>
          </a:p>
        </p:txBody>
      </p:sp>
    </p:spTree>
    <p:extLst>
      <p:ext uri="{BB962C8B-B14F-4D97-AF65-F5344CB8AC3E}">
        <p14:creationId xmlns:p14="http://schemas.microsoft.com/office/powerpoint/2010/main" val="356831797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Conten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8" name="Espace réservé du numéro de diapositive 517">
            <a:extLst>
              <a:ext uri="{FF2B5EF4-FFF2-40B4-BE49-F238E27FC236}">
                <a16:creationId xmlns:a16="http://schemas.microsoft.com/office/drawing/2014/main" id="{FFC307C1-4A5E-4267-B3FA-6564E6513B0C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3048000" y="2811362"/>
            <a:ext cx="519702" cy="2332138"/>
          </a:xfrm>
          <a:custGeom>
            <a:avLst/>
            <a:gdLst>
              <a:gd name="connsiteX0" fmla="*/ 198551 w 519702"/>
              <a:gd name="connsiteY0" fmla="*/ 0 h 2332138"/>
              <a:gd name="connsiteX1" fmla="*/ 519702 w 519702"/>
              <a:gd name="connsiteY1" fmla="*/ 2332138 h 2332138"/>
              <a:gd name="connsiteX2" fmla="*/ 0 w 519702"/>
              <a:gd name="connsiteY2" fmla="*/ 2332138 h 2332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19702" h="2332138">
                <a:moveTo>
                  <a:pt x="198551" y="0"/>
                </a:moveTo>
                <a:lnTo>
                  <a:pt x="519702" y="2332138"/>
                </a:lnTo>
                <a:lnTo>
                  <a:pt x="0" y="233213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180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523" name="Forme libre : forme 522">
            <a:extLst>
              <a:ext uri="{FF2B5EF4-FFF2-40B4-BE49-F238E27FC236}">
                <a16:creationId xmlns:a16="http://schemas.microsoft.com/office/drawing/2014/main" id="{C7F1D93A-4718-405C-AAEF-810045870EFB}"/>
              </a:ext>
            </a:extLst>
          </p:cNvPr>
          <p:cNvSpPr/>
          <p:nvPr userDrawn="1"/>
        </p:nvSpPr>
        <p:spPr>
          <a:xfrm>
            <a:off x="0" y="-1"/>
            <a:ext cx="9144000" cy="5143501"/>
          </a:xfrm>
          <a:custGeom>
            <a:avLst/>
            <a:gdLst>
              <a:gd name="connsiteX0" fmla="*/ 0 w 9144000"/>
              <a:gd name="connsiteY0" fmla="*/ 0 h 5143501"/>
              <a:gd name="connsiteX1" fmla="*/ 9144000 w 9144000"/>
              <a:gd name="connsiteY1" fmla="*/ 0 h 5143501"/>
              <a:gd name="connsiteX2" fmla="*/ 9144000 w 9144000"/>
              <a:gd name="connsiteY2" fmla="*/ 5143501 h 5143501"/>
              <a:gd name="connsiteX3" fmla="*/ 3567702 w 9144000"/>
              <a:gd name="connsiteY3" fmla="*/ 5143501 h 5143501"/>
              <a:gd name="connsiteX4" fmla="*/ 3246551 w 9144000"/>
              <a:gd name="connsiteY4" fmla="*/ 2811363 h 5143501"/>
              <a:gd name="connsiteX5" fmla="*/ 3485902 w 9144000"/>
              <a:gd name="connsiteY5" fmla="*/ 1 h 5143501"/>
              <a:gd name="connsiteX6" fmla="*/ 3048000 w 9144000"/>
              <a:gd name="connsiteY6" fmla="*/ 1 h 5143501"/>
              <a:gd name="connsiteX7" fmla="*/ 2859408 w 9144000"/>
              <a:gd name="connsiteY7" fmla="*/ 1 h 5143501"/>
              <a:gd name="connsiteX8" fmla="*/ 0 w 9144000"/>
              <a:gd name="connsiteY8" fmla="*/ 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4000" h="5143501">
                <a:moveTo>
                  <a:pt x="0" y="0"/>
                </a:moveTo>
                <a:lnTo>
                  <a:pt x="9144000" y="0"/>
                </a:lnTo>
                <a:lnTo>
                  <a:pt x="9144000" y="5143501"/>
                </a:lnTo>
                <a:lnTo>
                  <a:pt x="3567702" y="5143501"/>
                </a:lnTo>
                <a:lnTo>
                  <a:pt x="3246551" y="2811363"/>
                </a:lnTo>
                <a:lnTo>
                  <a:pt x="3485902" y="1"/>
                </a:lnTo>
                <a:lnTo>
                  <a:pt x="3048000" y="1"/>
                </a:lnTo>
                <a:lnTo>
                  <a:pt x="2859408" y="1"/>
                </a:lnTo>
                <a:lnTo>
                  <a:pt x="0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6CB10B59-8983-482C-BCD8-596396CF9E36}"/>
              </a:ext>
            </a:extLst>
          </p:cNvPr>
          <p:cNvGrpSpPr/>
          <p:nvPr userDrawn="1"/>
        </p:nvGrpSpPr>
        <p:grpSpPr>
          <a:xfrm>
            <a:off x="-91485" y="-107301"/>
            <a:ext cx="3580993" cy="5352842"/>
            <a:chOff x="-91485" y="-107301"/>
            <a:chExt cx="3580993" cy="5352842"/>
          </a:xfrm>
          <a:solidFill>
            <a:schemeClr val="bg2">
              <a:alpha val="5000"/>
            </a:schemeClr>
          </a:solidFill>
        </p:grpSpPr>
        <p:sp>
          <p:nvSpPr>
            <p:cNvPr id="7" name="Forme libre : forme 6">
              <a:extLst>
                <a:ext uri="{FF2B5EF4-FFF2-40B4-BE49-F238E27FC236}">
                  <a16:creationId xmlns:a16="http://schemas.microsoft.com/office/drawing/2014/main" id="{FB10E9E7-487F-4046-97FA-383A90CB2678}"/>
                </a:ext>
              </a:extLst>
            </p:cNvPr>
            <p:cNvSpPr/>
            <p:nvPr/>
          </p:nvSpPr>
          <p:spPr>
            <a:xfrm rot="8716295">
              <a:off x="3051469" y="229467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857E0B3E-CF84-4275-8769-4FA84ACE4C3B}"/>
                </a:ext>
              </a:extLst>
            </p:cNvPr>
            <p:cNvSpPr/>
            <p:nvPr/>
          </p:nvSpPr>
          <p:spPr>
            <a:xfrm rot="8716295">
              <a:off x="3141426" y="2335684"/>
              <a:ext cx="209149" cy="247728"/>
            </a:xfrm>
            <a:custGeom>
              <a:avLst/>
              <a:gdLst>
                <a:gd name="connsiteX0" fmla="*/ 147179 w 209149"/>
                <a:gd name="connsiteY0" fmla="*/ 90980 h 247728"/>
                <a:gd name="connsiteX1" fmla="*/ 147179 w 209149"/>
                <a:gd name="connsiteY1" fmla="*/ 74577 h 247728"/>
                <a:gd name="connsiteX2" fmla="*/ 137667 w 209149"/>
                <a:gd name="connsiteY2" fmla="*/ 44616 h 247728"/>
                <a:gd name="connsiteX3" fmla="*/ 132652 w 209149"/>
                <a:gd name="connsiteY3" fmla="*/ 42232 h 247728"/>
                <a:gd name="connsiteX4" fmla="*/ 167583 w 209149"/>
                <a:gd name="connsiteY4" fmla="*/ 0 h 247728"/>
                <a:gd name="connsiteX5" fmla="*/ 189157 w 209149"/>
                <a:gd name="connsiteY5" fmla="*/ 15682 h 247728"/>
                <a:gd name="connsiteX6" fmla="*/ 209149 w 209149"/>
                <a:gd name="connsiteY6" fmla="*/ 81411 h 247728"/>
                <a:gd name="connsiteX7" fmla="*/ 209149 w 209149"/>
                <a:gd name="connsiteY7" fmla="*/ 87335 h 247728"/>
                <a:gd name="connsiteX8" fmla="*/ 0 w 209149"/>
                <a:gd name="connsiteY8" fmla="*/ 247728 h 247728"/>
                <a:gd name="connsiteX9" fmla="*/ 0 w 209149"/>
                <a:gd name="connsiteY9" fmla="*/ 202611 h 247728"/>
                <a:gd name="connsiteX10" fmla="*/ 60148 w 209149"/>
                <a:gd name="connsiteY10" fmla="*/ 129891 h 247728"/>
                <a:gd name="connsiteX11" fmla="*/ 60148 w 209149"/>
                <a:gd name="connsiteY11" fmla="*/ 206719 h 24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9149" h="247728">
                  <a:moveTo>
                    <a:pt x="147179" y="90980"/>
                  </a:moveTo>
                  <a:lnTo>
                    <a:pt x="147179" y="74577"/>
                  </a:lnTo>
                  <a:cubicBezTo>
                    <a:pt x="147179" y="62273"/>
                    <a:pt x="143648" y="51907"/>
                    <a:pt x="137667" y="44616"/>
                  </a:cubicBezTo>
                  <a:lnTo>
                    <a:pt x="132652" y="42232"/>
                  </a:lnTo>
                  <a:lnTo>
                    <a:pt x="167583" y="0"/>
                  </a:lnTo>
                  <a:lnTo>
                    <a:pt x="189157" y="15682"/>
                  </a:lnTo>
                  <a:cubicBezTo>
                    <a:pt x="202086" y="30833"/>
                    <a:pt x="209149" y="53160"/>
                    <a:pt x="209149" y="81411"/>
                  </a:cubicBezTo>
                  <a:lnTo>
                    <a:pt x="209149" y="87335"/>
                  </a:lnTo>
                  <a:close/>
                  <a:moveTo>
                    <a:pt x="0" y="247728"/>
                  </a:moveTo>
                  <a:lnTo>
                    <a:pt x="0" y="202611"/>
                  </a:lnTo>
                  <a:lnTo>
                    <a:pt x="60148" y="129891"/>
                  </a:lnTo>
                  <a:lnTo>
                    <a:pt x="60148" y="20671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CA2EC427-A3CB-46EB-8802-9FA3F8105B5A}"/>
                </a:ext>
              </a:extLst>
            </p:cNvPr>
            <p:cNvSpPr/>
            <p:nvPr/>
          </p:nvSpPr>
          <p:spPr>
            <a:xfrm rot="8716295">
              <a:off x="3096011" y="2237639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474F4DDA-4FC2-4669-AB5F-02BB5506B529}"/>
                </a:ext>
              </a:extLst>
            </p:cNvPr>
            <p:cNvSpPr/>
            <p:nvPr/>
          </p:nvSpPr>
          <p:spPr>
            <a:xfrm rot="8716295">
              <a:off x="2939235" y="238322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D8FF9A2A-12F4-4D4A-838C-2EA6068FA2AB}"/>
                </a:ext>
              </a:extLst>
            </p:cNvPr>
            <p:cNvSpPr/>
            <p:nvPr/>
          </p:nvSpPr>
          <p:spPr>
            <a:xfrm rot="8716295">
              <a:off x="2814332" y="217454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56247F38-2BB4-4C4A-A842-2BBC34C00B4B}"/>
                </a:ext>
              </a:extLst>
            </p:cNvPr>
            <p:cNvSpPr/>
            <p:nvPr/>
          </p:nvSpPr>
          <p:spPr>
            <a:xfrm rot="8716295">
              <a:off x="2802280" y="203576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6B40DCDD-1ED3-48EB-9DB0-DEE21DA8FE29}"/>
                </a:ext>
              </a:extLst>
            </p:cNvPr>
            <p:cNvSpPr/>
            <p:nvPr/>
          </p:nvSpPr>
          <p:spPr>
            <a:xfrm rot="8716295">
              <a:off x="3029413" y="2424173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EEC2D8FD-062C-4F42-B8C0-F129DEB5F20C}"/>
                </a:ext>
              </a:extLst>
            </p:cNvPr>
            <p:cNvSpPr/>
            <p:nvPr/>
          </p:nvSpPr>
          <p:spPr>
            <a:xfrm rot="8716295">
              <a:off x="3300250" y="2118999"/>
              <a:ext cx="9515" cy="11504"/>
            </a:xfrm>
            <a:custGeom>
              <a:avLst/>
              <a:gdLst>
                <a:gd name="connsiteX0" fmla="*/ 0 w 9515"/>
                <a:gd name="connsiteY0" fmla="*/ 11504 h 11504"/>
                <a:gd name="connsiteX1" fmla="*/ 9515 w 9515"/>
                <a:gd name="connsiteY1" fmla="*/ 0 h 11504"/>
                <a:gd name="connsiteX2" fmla="*/ 9515 w 9515"/>
                <a:gd name="connsiteY2" fmla="*/ 7741 h 11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15" h="11504">
                  <a:moveTo>
                    <a:pt x="0" y="11504"/>
                  </a:moveTo>
                  <a:lnTo>
                    <a:pt x="9515" y="0"/>
                  </a:lnTo>
                  <a:lnTo>
                    <a:pt x="9515" y="77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15A33F8C-9B7A-4D6A-854E-3D326335591D}"/>
                </a:ext>
              </a:extLst>
            </p:cNvPr>
            <p:cNvSpPr/>
            <p:nvPr/>
          </p:nvSpPr>
          <p:spPr>
            <a:xfrm rot="8716295">
              <a:off x="3228334" y="213306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949EEDA1-3E93-4DFB-8B0F-8D57B83C540E}"/>
                </a:ext>
              </a:extLst>
            </p:cNvPr>
            <p:cNvSpPr/>
            <p:nvPr/>
          </p:nvSpPr>
          <p:spPr>
            <a:xfrm rot="8716295">
              <a:off x="3098921" y="1924310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44680 h 195874"/>
                <a:gd name="connsiteX5" fmla="*/ 36955 w 203847"/>
                <a:gd name="connsiteY5" fmla="*/ 0 h 195874"/>
                <a:gd name="connsiteX6" fmla="*/ 203847 w 203847"/>
                <a:gd name="connsiteY6" fmla="*/ 0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44680"/>
                  </a:lnTo>
                  <a:lnTo>
                    <a:pt x="36955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513E3AB2-D8F3-4D40-BC3C-53ABB60A2331}"/>
                </a:ext>
              </a:extLst>
            </p:cNvPr>
            <p:cNvSpPr/>
            <p:nvPr/>
          </p:nvSpPr>
          <p:spPr>
            <a:xfrm rot="8716295">
              <a:off x="3275349" y="2211673"/>
              <a:ext cx="24727" cy="53686"/>
            </a:xfrm>
            <a:custGeom>
              <a:avLst/>
              <a:gdLst>
                <a:gd name="connsiteX0" fmla="*/ 24727 w 24727"/>
                <a:gd name="connsiteY0" fmla="*/ 53686 h 53686"/>
                <a:gd name="connsiteX1" fmla="*/ 0 w 24727"/>
                <a:gd name="connsiteY1" fmla="*/ 29895 h 53686"/>
                <a:gd name="connsiteX2" fmla="*/ 24727 w 24727"/>
                <a:gd name="connsiteY2" fmla="*/ 0 h 53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27" h="53686">
                  <a:moveTo>
                    <a:pt x="24727" y="53686"/>
                  </a:moveTo>
                  <a:lnTo>
                    <a:pt x="0" y="29895"/>
                  </a:lnTo>
                  <a:lnTo>
                    <a:pt x="2472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69A3C0F4-2579-479E-90C6-255E973C947C}"/>
                </a:ext>
              </a:extLst>
            </p:cNvPr>
            <p:cNvSpPr/>
            <p:nvPr/>
          </p:nvSpPr>
          <p:spPr>
            <a:xfrm rot="8716295">
              <a:off x="3077061" y="202442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9022B708-F9CE-40AF-852D-9A004CAB7675}"/>
                </a:ext>
              </a:extLst>
            </p:cNvPr>
            <p:cNvSpPr/>
            <p:nvPr/>
          </p:nvSpPr>
          <p:spPr>
            <a:xfrm rot="8716295">
              <a:off x="3162402" y="30429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19F4F78B-5673-4710-BAF3-3B1975D1B861}"/>
                </a:ext>
              </a:extLst>
            </p:cNvPr>
            <p:cNvSpPr/>
            <p:nvPr/>
          </p:nvSpPr>
          <p:spPr>
            <a:xfrm rot="8716295">
              <a:off x="3033531" y="2835902"/>
              <a:ext cx="197743" cy="195873"/>
            </a:xfrm>
            <a:custGeom>
              <a:avLst/>
              <a:gdLst>
                <a:gd name="connsiteX0" fmla="*/ 84606 w 197743"/>
                <a:gd name="connsiteY0" fmla="*/ 195873 h 195873"/>
                <a:gd name="connsiteX1" fmla="*/ 41743 w 197743"/>
                <a:gd name="connsiteY1" fmla="*/ 116129 h 195873"/>
                <a:gd name="connsiteX2" fmla="*/ 63673 w 197743"/>
                <a:gd name="connsiteY2" fmla="*/ 55323 h 195873"/>
                <a:gd name="connsiteX3" fmla="*/ 0 w 197743"/>
                <a:gd name="connsiteY3" fmla="*/ 55323 h 195873"/>
                <a:gd name="connsiteX4" fmla="*/ 45759 w 197743"/>
                <a:gd name="connsiteY4" fmla="*/ 0 h 195873"/>
                <a:gd name="connsiteX5" fmla="*/ 197743 w 197743"/>
                <a:gd name="connsiteY5" fmla="*/ 0 h 195873"/>
                <a:gd name="connsiteX6" fmla="*/ 197743 w 197743"/>
                <a:gd name="connsiteY6" fmla="*/ 55323 h 195873"/>
                <a:gd name="connsiteX7" fmla="*/ 132951 w 197743"/>
                <a:gd name="connsiteY7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7743" h="195873">
                  <a:moveTo>
                    <a:pt x="84606" y="195873"/>
                  </a:moveTo>
                  <a:lnTo>
                    <a:pt x="41743" y="116129"/>
                  </a:lnTo>
                  <a:lnTo>
                    <a:pt x="63673" y="55323"/>
                  </a:lnTo>
                  <a:lnTo>
                    <a:pt x="0" y="55323"/>
                  </a:lnTo>
                  <a:lnTo>
                    <a:pt x="45759" y="0"/>
                  </a:lnTo>
                  <a:lnTo>
                    <a:pt x="197743" y="0"/>
                  </a:lnTo>
                  <a:lnTo>
                    <a:pt x="197743" y="55323"/>
                  </a:lnTo>
                  <a:lnTo>
                    <a:pt x="132951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0BB66207-2F6B-4469-9703-071564C7D57B}"/>
                </a:ext>
              </a:extLst>
            </p:cNvPr>
            <p:cNvSpPr/>
            <p:nvPr/>
          </p:nvSpPr>
          <p:spPr>
            <a:xfrm rot="8716295">
              <a:off x="2982649" y="2705505"/>
              <a:ext cx="289489" cy="211444"/>
            </a:xfrm>
            <a:custGeom>
              <a:avLst/>
              <a:gdLst>
                <a:gd name="connsiteX0" fmla="*/ 24145 w 289489"/>
                <a:gd name="connsiteY0" fmla="*/ 181853 h 211444"/>
                <a:gd name="connsiteX1" fmla="*/ 3994 w 289489"/>
                <a:gd name="connsiteY1" fmla="*/ 142066 h 211444"/>
                <a:gd name="connsiteX2" fmla="*/ 0 w 289489"/>
                <a:gd name="connsiteY2" fmla="*/ 94419 h 211444"/>
                <a:gd name="connsiteX3" fmla="*/ 78096 w 289489"/>
                <a:gd name="connsiteY3" fmla="*/ 0 h 211444"/>
                <a:gd name="connsiteX4" fmla="*/ 78273 w 289489"/>
                <a:gd name="connsiteY4" fmla="*/ 24764 h 211444"/>
                <a:gd name="connsiteX5" fmla="*/ 92393 w 289489"/>
                <a:gd name="connsiteY5" fmla="*/ 122430 h 211444"/>
                <a:gd name="connsiteX6" fmla="*/ 162994 w 289489"/>
                <a:gd name="connsiteY6" fmla="*/ 161261 h 211444"/>
                <a:gd name="connsiteX7" fmla="*/ 215946 w 289489"/>
                <a:gd name="connsiteY7" fmla="*/ 151847 h 211444"/>
                <a:gd name="connsiteX8" fmla="*/ 288313 w 289489"/>
                <a:gd name="connsiteY8" fmla="*/ 122430 h 211444"/>
                <a:gd name="connsiteX9" fmla="*/ 289489 w 289489"/>
                <a:gd name="connsiteY9" fmla="*/ 130078 h 211444"/>
                <a:gd name="connsiteX10" fmla="*/ 289489 w 289489"/>
                <a:gd name="connsiteY10" fmla="*/ 135962 h 211444"/>
                <a:gd name="connsiteX11" fmla="*/ 96512 w 289489"/>
                <a:gd name="connsiteY11" fmla="*/ 211270 h 211444"/>
                <a:gd name="connsiteX12" fmla="*/ 24145 w 289489"/>
                <a:gd name="connsiteY12" fmla="*/ 181853 h 211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9489" h="211444">
                  <a:moveTo>
                    <a:pt x="24145" y="181853"/>
                  </a:moveTo>
                  <a:cubicBezTo>
                    <a:pt x="14143" y="172145"/>
                    <a:pt x="7818" y="158907"/>
                    <a:pt x="3994" y="142066"/>
                  </a:cubicBezTo>
                  <a:lnTo>
                    <a:pt x="0" y="94419"/>
                  </a:lnTo>
                  <a:lnTo>
                    <a:pt x="78096" y="0"/>
                  </a:lnTo>
                  <a:lnTo>
                    <a:pt x="78273" y="24764"/>
                  </a:lnTo>
                  <a:cubicBezTo>
                    <a:pt x="76508" y="57712"/>
                    <a:pt x="81803" y="91247"/>
                    <a:pt x="92393" y="122430"/>
                  </a:cubicBezTo>
                  <a:cubicBezTo>
                    <a:pt x="101807" y="148317"/>
                    <a:pt x="125929" y="161261"/>
                    <a:pt x="162994" y="161261"/>
                  </a:cubicBezTo>
                  <a:cubicBezTo>
                    <a:pt x="181234" y="160672"/>
                    <a:pt x="198884" y="157142"/>
                    <a:pt x="215946" y="151847"/>
                  </a:cubicBezTo>
                  <a:cubicBezTo>
                    <a:pt x="240656" y="144198"/>
                    <a:pt x="264779" y="134197"/>
                    <a:pt x="288313" y="122430"/>
                  </a:cubicBezTo>
                  <a:cubicBezTo>
                    <a:pt x="288901" y="124783"/>
                    <a:pt x="289489" y="127725"/>
                    <a:pt x="289489" y="130078"/>
                  </a:cubicBezTo>
                  <a:lnTo>
                    <a:pt x="289489" y="135962"/>
                  </a:lnTo>
                  <a:cubicBezTo>
                    <a:pt x="227125" y="189501"/>
                    <a:pt x="145344" y="208329"/>
                    <a:pt x="96512" y="211270"/>
                  </a:cubicBezTo>
                  <a:cubicBezTo>
                    <a:pt x="69448" y="213035"/>
                    <a:pt x="42972" y="201268"/>
                    <a:pt x="24145" y="18185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4BE2CE41-0D24-49C7-BC05-1CA24F174056}"/>
                </a:ext>
              </a:extLst>
            </p:cNvPr>
            <p:cNvSpPr/>
            <p:nvPr/>
          </p:nvSpPr>
          <p:spPr>
            <a:xfrm rot="8716295">
              <a:off x="3205022" y="3125495"/>
              <a:ext cx="16424" cy="35661"/>
            </a:xfrm>
            <a:custGeom>
              <a:avLst/>
              <a:gdLst>
                <a:gd name="connsiteX0" fmla="*/ 16424 w 16424"/>
                <a:gd name="connsiteY0" fmla="*/ 35661 h 35661"/>
                <a:gd name="connsiteX1" fmla="*/ 0 w 16424"/>
                <a:gd name="connsiteY1" fmla="*/ 19858 h 35661"/>
                <a:gd name="connsiteX2" fmla="*/ 16424 w 16424"/>
                <a:gd name="connsiteY2" fmla="*/ 0 h 35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24" h="35661">
                  <a:moveTo>
                    <a:pt x="16424" y="35661"/>
                  </a:moveTo>
                  <a:lnTo>
                    <a:pt x="0" y="19858"/>
                  </a:lnTo>
                  <a:lnTo>
                    <a:pt x="16424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3C113F76-2275-4CD3-8629-730BFE6915AD}"/>
                </a:ext>
              </a:extLst>
            </p:cNvPr>
            <p:cNvSpPr/>
            <p:nvPr/>
          </p:nvSpPr>
          <p:spPr>
            <a:xfrm rot="8716295">
              <a:off x="2829951" y="16337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7B2BDFC9-A5B6-45EA-A262-AC19DCF358A2}"/>
                </a:ext>
              </a:extLst>
            </p:cNvPr>
            <p:cNvSpPr/>
            <p:nvPr/>
          </p:nvSpPr>
          <p:spPr>
            <a:xfrm rot="8716295">
              <a:off x="2919343" y="16629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2A249ED1-9FC2-465F-B1C2-CE832E06DAAB}"/>
                </a:ext>
              </a:extLst>
            </p:cNvPr>
            <p:cNvSpPr/>
            <p:nvPr/>
          </p:nvSpPr>
          <p:spPr>
            <a:xfrm rot="8716295">
              <a:off x="2874493" y="157666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D737513C-09E2-4A85-9268-7028FEA47AEC}"/>
                </a:ext>
              </a:extLst>
            </p:cNvPr>
            <p:cNvSpPr/>
            <p:nvPr/>
          </p:nvSpPr>
          <p:spPr>
            <a:xfrm rot="8716295">
              <a:off x="2717717" y="172224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B6E113ED-200A-42D1-8A9B-64F2EA6FEC37}"/>
                </a:ext>
              </a:extLst>
            </p:cNvPr>
            <p:cNvSpPr/>
            <p:nvPr/>
          </p:nvSpPr>
          <p:spPr>
            <a:xfrm rot="8716295">
              <a:off x="2592814" y="151357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C7386AEF-343D-4F67-937B-2D8AE784432C}"/>
                </a:ext>
              </a:extLst>
            </p:cNvPr>
            <p:cNvSpPr/>
            <p:nvPr/>
          </p:nvSpPr>
          <p:spPr>
            <a:xfrm rot="8716295">
              <a:off x="2580762" y="137479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D18230E6-6046-4801-9551-295B7C3DC9AE}"/>
                </a:ext>
              </a:extLst>
            </p:cNvPr>
            <p:cNvSpPr/>
            <p:nvPr/>
          </p:nvSpPr>
          <p:spPr>
            <a:xfrm rot="8716295">
              <a:off x="2807895" y="176319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AA767CF2-B25B-4F2C-8315-830DDA4419B8}"/>
                </a:ext>
              </a:extLst>
            </p:cNvPr>
            <p:cNvSpPr/>
            <p:nvPr/>
          </p:nvSpPr>
          <p:spPr>
            <a:xfrm rot="8716295">
              <a:off x="3119050" y="138355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AAABA641-3338-40FA-9C39-41C30A22033E}"/>
                </a:ext>
              </a:extLst>
            </p:cNvPr>
            <p:cNvSpPr/>
            <p:nvPr/>
          </p:nvSpPr>
          <p:spPr>
            <a:xfrm rot="8716295">
              <a:off x="3209851" y="1424295"/>
              <a:ext cx="209149" cy="250692"/>
            </a:xfrm>
            <a:custGeom>
              <a:avLst/>
              <a:gdLst>
                <a:gd name="connsiteX0" fmla="*/ 147179 w 209149"/>
                <a:gd name="connsiteY0" fmla="*/ 93944 h 250692"/>
                <a:gd name="connsiteX1" fmla="*/ 147179 w 209149"/>
                <a:gd name="connsiteY1" fmla="*/ 77540 h 250692"/>
                <a:gd name="connsiteX2" fmla="*/ 137667 w 209149"/>
                <a:gd name="connsiteY2" fmla="*/ 47580 h 250692"/>
                <a:gd name="connsiteX3" fmla="*/ 123379 w 209149"/>
                <a:gd name="connsiteY3" fmla="*/ 40789 h 250692"/>
                <a:gd name="connsiteX4" fmla="*/ 157117 w 209149"/>
                <a:gd name="connsiteY4" fmla="*/ 0 h 250692"/>
                <a:gd name="connsiteX5" fmla="*/ 165512 w 209149"/>
                <a:gd name="connsiteY5" fmla="*/ 1459 h 250692"/>
                <a:gd name="connsiteX6" fmla="*/ 209149 w 209149"/>
                <a:gd name="connsiteY6" fmla="*/ 84375 h 250692"/>
                <a:gd name="connsiteX7" fmla="*/ 209149 w 209149"/>
                <a:gd name="connsiteY7" fmla="*/ 90299 h 250692"/>
                <a:gd name="connsiteX8" fmla="*/ 0 w 209149"/>
                <a:gd name="connsiteY8" fmla="*/ 250692 h 250692"/>
                <a:gd name="connsiteX9" fmla="*/ 0 w 209149"/>
                <a:gd name="connsiteY9" fmla="*/ 189958 h 250692"/>
                <a:gd name="connsiteX10" fmla="*/ 61066 w 209149"/>
                <a:gd name="connsiteY10" fmla="*/ 116127 h 250692"/>
                <a:gd name="connsiteX11" fmla="*/ 60148 w 209149"/>
                <a:gd name="connsiteY11" fmla="*/ 123562 h 250692"/>
                <a:gd name="connsiteX12" fmla="*/ 60148 w 209149"/>
                <a:gd name="connsiteY12" fmla="*/ 209683 h 250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9149" h="250692">
                  <a:moveTo>
                    <a:pt x="147179" y="93944"/>
                  </a:moveTo>
                  <a:lnTo>
                    <a:pt x="147179" y="77540"/>
                  </a:lnTo>
                  <a:cubicBezTo>
                    <a:pt x="147179" y="65237"/>
                    <a:pt x="143648" y="54871"/>
                    <a:pt x="137667" y="47580"/>
                  </a:cubicBezTo>
                  <a:lnTo>
                    <a:pt x="123379" y="40789"/>
                  </a:lnTo>
                  <a:lnTo>
                    <a:pt x="157117" y="0"/>
                  </a:lnTo>
                  <a:lnTo>
                    <a:pt x="165512" y="1459"/>
                  </a:lnTo>
                  <a:cubicBezTo>
                    <a:pt x="193258" y="12950"/>
                    <a:pt x="209149" y="41998"/>
                    <a:pt x="209149" y="84375"/>
                  </a:cubicBezTo>
                  <a:lnTo>
                    <a:pt x="209149" y="90299"/>
                  </a:lnTo>
                  <a:close/>
                  <a:moveTo>
                    <a:pt x="0" y="250692"/>
                  </a:moveTo>
                  <a:lnTo>
                    <a:pt x="0" y="189958"/>
                  </a:lnTo>
                  <a:lnTo>
                    <a:pt x="61066" y="116127"/>
                  </a:lnTo>
                  <a:lnTo>
                    <a:pt x="60148" y="123562"/>
                  </a:lnTo>
                  <a:lnTo>
                    <a:pt x="60148" y="2096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B2896D46-0FA6-4563-B073-9C0C36686641}"/>
                </a:ext>
              </a:extLst>
            </p:cNvPr>
            <p:cNvSpPr/>
            <p:nvPr/>
          </p:nvSpPr>
          <p:spPr>
            <a:xfrm rot="8716295">
              <a:off x="3006816" y="147209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6EEB717B-FEDB-4989-BE8E-3CB6F80A9A3D}"/>
                </a:ext>
              </a:extLst>
            </p:cNvPr>
            <p:cNvSpPr/>
            <p:nvPr/>
          </p:nvSpPr>
          <p:spPr>
            <a:xfrm rot="8716295">
              <a:off x="2881914" y="126342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F9A3D111-F2E6-4EEC-BA5F-E3F48E1BC144}"/>
                </a:ext>
              </a:extLst>
            </p:cNvPr>
            <p:cNvSpPr/>
            <p:nvPr/>
          </p:nvSpPr>
          <p:spPr>
            <a:xfrm rot="8716295">
              <a:off x="3096994" y="151304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F60E79F3-84EF-445B-800D-9716EB35B924}"/>
                </a:ext>
              </a:extLst>
            </p:cNvPr>
            <p:cNvSpPr/>
            <p:nvPr/>
          </p:nvSpPr>
          <p:spPr>
            <a:xfrm rot="8716295">
              <a:off x="2855543" y="136344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FDB4A4C0-E883-499D-A6D3-A301318DCD73}"/>
                </a:ext>
              </a:extLst>
            </p:cNvPr>
            <p:cNvSpPr/>
            <p:nvPr/>
          </p:nvSpPr>
          <p:spPr>
            <a:xfrm rot="7484129">
              <a:off x="3207325" y="1725125"/>
              <a:ext cx="156001" cy="194030"/>
            </a:xfrm>
            <a:custGeom>
              <a:avLst/>
              <a:gdLst>
                <a:gd name="connsiteX0" fmla="*/ 42863 w 156001"/>
                <a:gd name="connsiteY0" fmla="*/ 194030 h 194030"/>
                <a:gd name="connsiteX1" fmla="*/ 0 w 156001"/>
                <a:gd name="connsiteY1" fmla="*/ 114286 h 194030"/>
                <a:gd name="connsiteX2" fmla="*/ 11232 w 156001"/>
                <a:gd name="connsiteY2" fmla="*/ 83143 h 194030"/>
                <a:gd name="connsiteX3" fmla="*/ 156000 w 156001"/>
                <a:gd name="connsiteY3" fmla="*/ 0 h 194030"/>
                <a:gd name="connsiteX4" fmla="*/ 156001 w 156001"/>
                <a:gd name="connsiteY4" fmla="*/ 53480 h 194030"/>
                <a:gd name="connsiteX5" fmla="*/ 91208 w 156001"/>
                <a:gd name="connsiteY5" fmla="*/ 53480 h 194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6001" h="194030">
                  <a:moveTo>
                    <a:pt x="42863" y="194030"/>
                  </a:moveTo>
                  <a:lnTo>
                    <a:pt x="0" y="114286"/>
                  </a:lnTo>
                  <a:lnTo>
                    <a:pt x="11232" y="83143"/>
                  </a:lnTo>
                  <a:lnTo>
                    <a:pt x="156000" y="0"/>
                  </a:lnTo>
                  <a:lnTo>
                    <a:pt x="156001" y="53480"/>
                  </a:lnTo>
                  <a:lnTo>
                    <a:pt x="91208" y="5348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0B787B40-9B3B-4DF6-B826-D34E59D7A748}"/>
                </a:ext>
              </a:extLst>
            </p:cNvPr>
            <p:cNvSpPr/>
            <p:nvPr/>
          </p:nvSpPr>
          <p:spPr>
            <a:xfrm rot="8716295">
              <a:off x="3197279" y="140587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0A8098AC-35DA-4C71-BDFA-C584261AED79}"/>
                </a:ext>
              </a:extLst>
            </p:cNvPr>
            <p:cNvSpPr/>
            <p:nvPr/>
          </p:nvSpPr>
          <p:spPr>
            <a:xfrm rot="8716295">
              <a:off x="3356472" y="1273070"/>
              <a:ext cx="38162" cy="46138"/>
            </a:xfrm>
            <a:custGeom>
              <a:avLst/>
              <a:gdLst>
                <a:gd name="connsiteX0" fmla="*/ 0 w 38162"/>
                <a:gd name="connsiteY0" fmla="*/ 46138 h 46138"/>
                <a:gd name="connsiteX1" fmla="*/ 38162 w 38162"/>
                <a:gd name="connsiteY1" fmla="*/ 0 h 46138"/>
                <a:gd name="connsiteX2" fmla="*/ 35645 w 38162"/>
                <a:gd name="connsiteY2" fmla="*/ 12962 h 46138"/>
                <a:gd name="connsiteX3" fmla="*/ 22710 w 38162"/>
                <a:gd name="connsiteY3" fmla="*/ 32494 h 46138"/>
                <a:gd name="connsiteX4" fmla="*/ 3739 w 38162"/>
                <a:gd name="connsiteY4" fmla="*/ 45372 h 46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62" h="46138">
                  <a:moveTo>
                    <a:pt x="0" y="46138"/>
                  </a:moveTo>
                  <a:lnTo>
                    <a:pt x="38162" y="0"/>
                  </a:lnTo>
                  <a:lnTo>
                    <a:pt x="35645" y="12962"/>
                  </a:lnTo>
                  <a:cubicBezTo>
                    <a:pt x="32771" y="20076"/>
                    <a:pt x="28459" y="26745"/>
                    <a:pt x="22710" y="32494"/>
                  </a:cubicBezTo>
                  <a:cubicBezTo>
                    <a:pt x="17191" y="38013"/>
                    <a:pt x="10753" y="42382"/>
                    <a:pt x="3739" y="4537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C5475FFB-2FE6-47F1-ADB1-3564B7362FBC}"/>
                </a:ext>
              </a:extLst>
            </p:cNvPr>
            <p:cNvSpPr/>
            <p:nvPr/>
          </p:nvSpPr>
          <p:spPr>
            <a:xfrm rot="8716295">
              <a:off x="2606784" y="97400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9DEC1430-749E-4073-9884-D3917B891663}"/>
                </a:ext>
              </a:extLst>
            </p:cNvPr>
            <p:cNvSpPr/>
            <p:nvPr/>
          </p:nvSpPr>
          <p:spPr>
            <a:xfrm rot="8716295">
              <a:off x="2696176" y="100324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626F965F-1168-4906-A312-B88FB685E6C8}"/>
                </a:ext>
              </a:extLst>
            </p:cNvPr>
            <p:cNvSpPr/>
            <p:nvPr/>
          </p:nvSpPr>
          <p:spPr>
            <a:xfrm rot="8716295">
              <a:off x="2651326" y="91696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63FEE4FF-1D87-4CAE-9FA8-9CF6A9D96EFB}"/>
                </a:ext>
              </a:extLst>
            </p:cNvPr>
            <p:cNvSpPr/>
            <p:nvPr/>
          </p:nvSpPr>
          <p:spPr>
            <a:xfrm rot="8716295">
              <a:off x="2494550" y="106254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BC11557D-3B0F-4F99-BB1C-10D4CD358771}"/>
                </a:ext>
              </a:extLst>
            </p:cNvPr>
            <p:cNvSpPr/>
            <p:nvPr/>
          </p:nvSpPr>
          <p:spPr>
            <a:xfrm rot="8716295">
              <a:off x="2369647" y="85387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1BF9B5DD-16B3-4C9A-A0CB-19167186C695}"/>
                </a:ext>
              </a:extLst>
            </p:cNvPr>
            <p:cNvSpPr/>
            <p:nvPr/>
          </p:nvSpPr>
          <p:spPr>
            <a:xfrm rot="8716295">
              <a:off x="2357595" y="71509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4BDAD41E-2E62-46D5-8972-DD9B42CE139E}"/>
                </a:ext>
              </a:extLst>
            </p:cNvPr>
            <p:cNvSpPr/>
            <p:nvPr/>
          </p:nvSpPr>
          <p:spPr>
            <a:xfrm rot="8716295">
              <a:off x="2584728" y="110350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49E7137B-1AE9-4612-BDE2-1AD75C253D82}"/>
                </a:ext>
              </a:extLst>
            </p:cNvPr>
            <p:cNvSpPr/>
            <p:nvPr/>
          </p:nvSpPr>
          <p:spPr>
            <a:xfrm rot="8716295">
              <a:off x="2895883" y="72385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FB51623D-A683-4809-B6F7-B7284C8425E7}"/>
                </a:ext>
              </a:extLst>
            </p:cNvPr>
            <p:cNvSpPr/>
            <p:nvPr/>
          </p:nvSpPr>
          <p:spPr>
            <a:xfrm rot="8716295">
              <a:off x="2985275" y="75309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281173AB-108D-4FE0-B6D3-50708833EE4A}"/>
                </a:ext>
              </a:extLst>
            </p:cNvPr>
            <p:cNvSpPr/>
            <p:nvPr/>
          </p:nvSpPr>
          <p:spPr>
            <a:xfrm rot="8716295">
              <a:off x="2783649" y="81239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BF07C4A0-5324-4C7F-B4EC-CC1184768828}"/>
                </a:ext>
              </a:extLst>
            </p:cNvPr>
            <p:cNvSpPr/>
            <p:nvPr/>
          </p:nvSpPr>
          <p:spPr>
            <a:xfrm rot="8716295">
              <a:off x="2658747" y="60372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6C1ACB1E-5691-49AE-AB29-06C5DC240D79}"/>
                </a:ext>
              </a:extLst>
            </p:cNvPr>
            <p:cNvSpPr/>
            <p:nvPr/>
          </p:nvSpPr>
          <p:spPr>
            <a:xfrm rot="8716295">
              <a:off x="2873827" y="85334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BBA32666-AB2E-4FC3-AC66-C412DC6DB6FE}"/>
                </a:ext>
              </a:extLst>
            </p:cNvPr>
            <p:cNvSpPr/>
            <p:nvPr/>
          </p:nvSpPr>
          <p:spPr>
            <a:xfrm rot="8716295">
              <a:off x="2632376" y="70374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446CB3B3-0538-4236-9A2B-B81F3C70F649}"/>
                </a:ext>
              </a:extLst>
            </p:cNvPr>
            <p:cNvSpPr/>
            <p:nvPr/>
          </p:nvSpPr>
          <p:spPr>
            <a:xfrm rot="7484129">
              <a:off x="2978758" y="10446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6FEF6605-DD46-4B6F-9434-E75F685EB3F1}"/>
                </a:ext>
              </a:extLst>
            </p:cNvPr>
            <p:cNvSpPr/>
            <p:nvPr/>
          </p:nvSpPr>
          <p:spPr>
            <a:xfrm rot="13089394">
              <a:off x="3083578" y="101123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5FAEA535-E5DC-4ECD-AC87-B4CF523A4E30}"/>
                </a:ext>
              </a:extLst>
            </p:cNvPr>
            <p:cNvSpPr/>
            <p:nvPr/>
          </p:nvSpPr>
          <p:spPr>
            <a:xfrm rot="8716295">
              <a:off x="3269163" y="81955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C4FD16EB-0DAD-4759-8354-258732BCDC6A}"/>
                </a:ext>
              </a:extLst>
            </p:cNvPr>
            <p:cNvSpPr/>
            <p:nvPr/>
          </p:nvSpPr>
          <p:spPr>
            <a:xfrm rot="8716295">
              <a:off x="3217358" y="71595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C79D5733-4C6C-4FFD-A38D-A89F64FE54C8}"/>
                </a:ext>
              </a:extLst>
            </p:cNvPr>
            <p:cNvSpPr/>
            <p:nvPr/>
          </p:nvSpPr>
          <p:spPr>
            <a:xfrm rot="8716295">
              <a:off x="2974112" y="74618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133AF81E-5F8E-4D81-87C0-011CC96E3CC9}"/>
                </a:ext>
              </a:extLst>
            </p:cNvPr>
            <p:cNvSpPr/>
            <p:nvPr/>
          </p:nvSpPr>
          <p:spPr>
            <a:xfrm rot="8716295">
              <a:off x="3151564" y="58693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F5BAA1B0-C7A6-44B2-8867-FEAE18AC26E8}"/>
                </a:ext>
              </a:extLst>
            </p:cNvPr>
            <p:cNvSpPr/>
            <p:nvPr/>
          </p:nvSpPr>
          <p:spPr>
            <a:xfrm rot="8716295">
              <a:off x="2387845" y="31194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orme libre : forme 58">
              <a:extLst>
                <a:ext uri="{FF2B5EF4-FFF2-40B4-BE49-F238E27FC236}">
                  <a16:creationId xmlns:a16="http://schemas.microsoft.com/office/drawing/2014/main" id="{B51F8FF7-DB45-4A7D-B87B-E8E0B15A9D38}"/>
                </a:ext>
              </a:extLst>
            </p:cNvPr>
            <p:cNvSpPr/>
            <p:nvPr/>
          </p:nvSpPr>
          <p:spPr>
            <a:xfrm rot="8716295">
              <a:off x="2477237" y="34118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orme libre : forme 59">
              <a:extLst>
                <a:ext uri="{FF2B5EF4-FFF2-40B4-BE49-F238E27FC236}">
                  <a16:creationId xmlns:a16="http://schemas.microsoft.com/office/drawing/2014/main" id="{1950BE25-03A0-4561-B14B-331445B0D0C3}"/>
                </a:ext>
              </a:extLst>
            </p:cNvPr>
            <p:cNvSpPr/>
            <p:nvPr/>
          </p:nvSpPr>
          <p:spPr>
            <a:xfrm rot="8716295">
              <a:off x="2432387" y="254908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orme libre : forme 60">
              <a:extLst>
                <a:ext uri="{FF2B5EF4-FFF2-40B4-BE49-F238E27FC236}">
                  <a16:creationId xmlns:a16="http://schemas.microsoft.com/office/drawing/2014/main" id="{1E041962-91AE-4D89-B179-1A31E1910CF1}"/>
                </a:ext>
              </a:extLst>
            </p:cNvPr>
            <p:cNvSpPr/>
            <p:nvPr/>
          </p:nvSpPr>
          <p:spPr>
            <a:xfrm rot="8716295">
              <a:off x="2275611" y="40049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orme libre : forme 61">
              <a:extLst>
                <a:ext uri="{FF2B5EF4-FFF2-40B4-BE49-F238E27FC236}">
                  <a16:creationId xmlns:a16="http://schemas.microsoft.com/office/drawing/2014/main" id="{376CFCCF-38DC-4A35-AA3F-E03998AD805A}"/>
                </a:ext>
              </a:extLst>
            </p:cNvPr>
            <p:cNvSpPr/>
            <p:nvPr/>
          </p:nvSpPr>
          <p:spPr>
            <a:xfrm rot="8716295">
              <a:off x="2150708" y="19181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orme libre : forme 62">
              <a:extLst>
                <a:ext uri="{FF2B5EF4-FFF2-40B4-BE49-F238E27FC236}">
                  <a16:creationId xmlns:a16="http://schemas.microsoft.com/office/drawing/2014/main" id="{68D158FE-3FEF-4222-A8A6-28BC2EB41760}"/>
                </a:ext>
              </a:extLst>
            </p:cNvPr>
            <p:cNvSpPr/>
            <p:nvPr/>
          </p:nvSpPr>
          <p:spPr>
            <a:xfrm rot="8716295">
              <a:off x="2138656" y="53037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orme libre : forme 63">
              <a:extLst>
                <a:ext uri="{FF2B5EF4-FFF2-40B4-BE49-F238E27FC236}">
                  <a16:creationId xmlns:a16="http://schemas.microsoft.com/office/drawing/2014/main" id="{DC9E9862-78FC-4213-B2E2-61DF3173636D}"/>
                </a:ext>
              </a:extLst>
            </p:cNvPr>
            <p:cNvSpPr/>
            <p:nvPr/>
          </p:nvSpPr>
          <p:spPr>
            <a:xfrm rot="8716295">
              <a:off x="2365789" y="441442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orme libre : forme 64">
              <a:extLst>
                <a:ext uri="{FF2B5EF4-FFF2-40B4-BE49-F238E27FC236}">
                  <a16:creationId xmlns:a16="http://schemas.microsoft.com/office/drawing/2014/main" id="{8722DBD7-5E81-4E3D-870A-6CD5E129D96B}"/>
                </a:ext>
              </a:extLst>
            </p:cNvPr>
            <p:cNvSpPr/>
            <p:nvPr/>
          </p:nvSpPr>
          <p:spPr>
            <a:xfrm rot="8716295">
              <a:off x="2676944" y="6179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orme libre : forme 65">
              <a:extLst>
                <a:ext uri="{FF2B5EF4-FFF2-40B4-BE49-F238E27FC236}">
                  <a16:creationId xmlns:a16="http://schemas.microsoft.com/office/drawing/2014/main" id="{43ED8C5C-290C-4E36-A603-A668764D918E}"/>
                </a:ext>
              </a:extLst>
            </p:cNvPr>
            <p:cNvSpPr/>
            <p:nvPr/>
          </p:nvSpPr>
          <p:spPr>
            <a:xfrm rot="8716295">
              <a:off x="2766336" y="9103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orme libre : forme 66">
              <a:extLst>
                <a:ext uri="{FF2B5EF4-FFF2-40B4-BE49-F238E27FC236}">
                  <a16:creationId xmlns:a16="http://schemas.microsoft.com/office/drawing/2014/main" id="{143AD9CC-AEFC-4AE6-ADAB-C03B27727981}"/>
                </a:ext>
              </a:extLst>
            </p:cNvPr>
            <p:cNvSpPr/>
            <p:nvPr/>
          </p:nvSpPr>
          <p:spPr>
            <a:xfrm rot="8716295">
              <a:off x="2564710" y="15033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03CE5A8E-699E-421E-ABA5-42929237719B}"/>
                </a:ext>
              </a:extLst>
            </p:cNvPr>
            <p:cNvSpPr/>
            <p:nvPr/>
          </p:nvSpPr>
          <p:spPr>
            <a:xfrm rot="8716295">
              <a:off x="2448552" y="-16031"/>
              <a:ext cx="203847" cy="149340"/>
            </a:xfrm>
            <a:custGeom>
              <a:avLst/>
              <a:gdLst>
                <a:gd name="connsiteX0" fmla="*/ 106716 w 203847"/>
                <a:gd name="connsiteY0" fmla="*/ 149340 h 149340"/>
                <a:gd name="connsiteX1" fmla="*/ 50038 w 203847"/>
                <a:gd name="connsiteY1" fmla="*/ 110053 h 149340"/>
                <a:gd name="connsiteX2" fmla="*/ 69777 w 203847"/>
                <a:gd name="connsiteY2" fmla="*/ 55323 h 149340"/>
                <a:gd name="connsiteX3" fmla="*/ 0 w 203847"/>
                <a:gd name="connsiteY3" fmla="*/ 55323 h 149340"/>
                <a:gd name="connsiteX4" fmla="*/ 0 w 203847"/>
                <a:gd name="connsiteY4" fmla="*/ 0 h 149340"/>
                <a:gd name="connsiteX5" fmla="*/ 203847 w 203847"/>
                <a:gd name="connsiteY5" fmla="*/ 0 h 149340"/>
                <a:gd name="connsiteX6" fmla="*/ 203847 w 203847"/>
                <a:gd name="connsiteY6" fmla="*/ 55323 h 149340"/>
                <a:gd name="connsiteX7" fmla="*/ 139055 w 203847"/>
                <a:gd name="connsiteY7" fmla="*/ 55323 h 14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49340">
                  <a:moveTo>
                    <a:pt x="106716" y="149340"/>
                  </a:moveTo>
                  <a:lnTo>
                    <a:pt x="50038" y="110053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orme libre : forme 68">
              <a:extLst>
                <a:ext uri="{FF2B5EF4-FFF2-40B4-BE49-F238E27FC236}">
                  <a16:creationId xmlns:a16="http://schemas.microsoft.com/office/drawing/2014/main" id="{4F51AFD5-9DB6-4DCA-8489-09E9C4297801}"/>
                </a:ext>
              </a:extLst>
            </p:cNvPr>
            <p:cNvSpPr/>
            <p:nvPr/>
          </p:nvSpPr>
          <p:spPr>
            <a:xfrm rot="8716295">
              <a:off x="2654888" y="191290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orme libre : forme 69">
              <a:extLst>
                <a:ext uri="{FF2B5EF4-FFF2-40B4-BE49-F238E27FC236}">
                  <a16:creationId xmlns:a16="http://schemas.microsoft.com/office/drawing/2014/main" id="{A2ECF224-799C-4DC5-AB51-FEB15AA2B828}"/>
                </a:ext>
              </a:extLst>
            </p:cNvPr>
            <p:cNvSpPr/>
            <p:nvPr/>
          </p:nvSpPr>
          <p:spPr>
            <a:xfrm rot="8716295">
              <a:off x="2413437" y="41690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orme libre : forme 70">
              <a:extLst>
                <a:ext uri="{FF2B5EF4-FFF2-40B4-BE49-F238E27FC236}">
                  <a16:creationId xmlns:a16="http://schemas.microsoft.com/office/drawing/2014/main" id="{1302BF26-B64E-4C90-894D-A7C67007EE36}"/>
                </a:ext>
              </a:extLst>
            </p:cNvPr>
            <p:cNvSpPr/>
            <p:nvPr/>
          </p:nvSpPr>
          <p:spPr>
            <a:xfrm rot="7484129">
              <a:off x="2759819" y="38264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orme libre : forme 71">
              <a:extLst>
                <a:ext uri="{FF2B5EF4-FFF2-40B4-BE49-F238E27FC236}">
                  <a16:creationId xmlns:a16="http://schemas.microsoft.com/office/drawing/2014/main" id="{170CE256-57E7-488F-BBB2-5B7F98B8FB76}"/>
                </a:ext>
              </a:extLst>
            </p:cNvPr>
            <p:cNvSpPr/>
            <p:nvPr/>
          </p:nvSpPr>
          <p:spPr>
            <a:xfrm rot="13089394">
              <a:off x="2864639" y="349175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orme libre : forme 72">
              <a:extLst>
                <a:ext uri="{FF2B5EF4-FFF2-40B4-BE49-F238E27FC236}">
                  <a16:creationId xmlns:a16="http://schemas.microsoft.com/office/drawing/2014/main" id="{5E848AEE-AD50-4EC7-B6E2-006804A78B57}"/>
                </a:ext>
              </a:extLst>
            </p:cNvPr>
            <p:cNvSpPr/>
            <p:nvPr/>
          </p:nvSpPr>
          <p:spPr>
            <a:xfrm rot="8716295">
              <a:off x="3050224" y="157494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" name="Forme libre : forme 73">
              <a:extLst>
                <a:ext uri="{FF2B5EF4-FFF2-40B4-BE49-F238E27FC236}">
                  <a16:creationId xmlns:a16="http://schemas.microsoft.com/office/drawing/2014/main" id="{BEE1CAE8-6503-4A10-B1BA-C6183C9E0E74}"/>
                </a:ext>
              </a:extLst>
            </p:cNvPr>
            <p:cNvSpPr/>
            <p:nvPr/>
          </p:nvSpPr>
          <p:spPr>
            <a:xfrm rot="8716295">
              <a:off x="2998419" y="5390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" name="Forme libre : forme 74">
              <a:extLst>
                <a:ext uri="{FF2B5EF4-FFF2-40B4-BE49-F238E27FC236}">
                  <a16:creationId xmlns:a16="http://schemas.microsoft.com/office/drawing/2014/main" id="{34A8E996-3975-4581-B536-E2CE9D88EBFE}"/>
                </a:ext>
              </a:extLst>
            </p:cNvPr>
            <p:cNvSpPr/>
            <p:nvPr/>
          </p:nvSpPr>
          <p:spPr>
            <a:xfrm rot="8716295">
              <a:off x="2755173" y="8412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" name="Forme libre : forme 75">
              <a:extLst>
                <a:ext uri="{FF2B5EF4-FFF2-40B4-BE49-F238E27FC236}">
                  <a16:creationId xmlns:a16="http://schemas.microsoft.com/office/drawing/2014/main" id="{3BE41751-0FE9-4A5C-97A5-9AF2319641D6}"/>
                </a:ext>
              </a:extLst>
            </p:cNvPr>
            <p:cNvSpPr/>
            <p:nvPr/>
          </p:nvSpPr>
          <p:spPr>
            <a:xfrm rot="8716295">
              <a:off x="2940014" y="-28690"/>
              <a:ext cx="88664" cy="70660"/>
            </a:xfrm>
            <a:custGeom>
              <a:avLst/>
              <a:gdLst>
                <a:gd name="connsiteX0" fmla="*/ 83649 w 88664"/>
                <a:gd name="connsiteY0" fmla="*/ 70660 h 70660"/>
                <a:gd name="connsiteX1" fmla="*/ 0 w 88664"/>
                <a:gd name="connsiteY1" fmla="*/ 12677 h 70660"/>
                <a:gd name="connsiteX2" fmla="*/ 30024 w 88664"/>
                <a:gd name="connsiteY2" fmla="*/ 0 h 70660"/>
                <a:gd name="connsiteX3" fmla="*/ 71417 w 88664"/>
                <a:gd name="connsiteY3" fmla="*/ 17477 h 70660"/>
                <a:gd name="connsiteX4" fmla="*/ 88664 w 88664"/>
                <a:gd name="connsiteY4" fmla="*/ 58525 h 70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664" h="70660">
                  <a:moveTo>
                    <a:pt x="83649" y="70660"/>
                  </a:moveTo>
                  <a:lnTo>
                    <a:pt x="0" y="12677"/>
                  </a:lnTo>
                  <a:lnTo>
                    <a:pt x="30024" y="0"/>
                  </a:lnTo>
                  <a:cubicBezTo>
                    <a:pt x="45662" y="0"/>
                    <a:pt x="60379" y="6439"/>
                    <a:pt x="71417" y="17477"/>
                  </a:cubicBezTo>
                  <a:cubicBezTo>
                    <a:pt x="82915" y="28515"/>
                    <a:pt x="88664" y="43462"/>
                    <a:pt x="88664" y="58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" name="Forme libre : forme 76">
              <a:extLst>
                <a:ext uri="{FF2B5EF4-FFF2-40B4-BE49-F238E27FC236}">
                  <a16:creationId xmlns:a16="http://schemas.microsoft.com/office/drawing/2014/main" id="{7C593DEA-1D52-4373-8D6B-6BD1BBF8835C}"/>
                </a:ext>
              </a:extLst>
            </p:cNvPr>
            <p:cNvSpPr/>
            <p:nvPr/>
          </p:nvSpPr>
          <p:spPr>
            <a:xfrm rot="13089394">
              <a:off x="2740820" y="-30870"/>
              <a:ext cx="73521" cy="76374"/>
            </a:xfrm>
            <a:custGeom>
              <a:avLst/>
              <a:gdLst>
                <a:gd name="connsiteX0" fmla="*/ 73521 w 73521"/>
                <a:gd name="connsiteY0" fmla="*/ 18609 h 76374"/>
                <a:gd name="connsiteX1" fmla="*/ 0 w 73521"/>
                <a:gd name="connsiteY1" fmla="*/ 76374 h 76374"/>
                <a:gd name="connsiteX2" fmla="*/ 0 w 73521"/>
                <a:gd name="connsiteY2" fmla="*/ 38074 h 76374"/>
                <a:gd name="connsiteX3" fmla="*/ 73388 w 73521"/>
                <a:gd name="connsiteY3" fmla="*/ 0 h 7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521" h="76374">
                  <a:moveTo>
                    <a:pt x="73521" y="18609"/>
                  </a:moveTo>
                  <a:lnTo>
                    <a:pt x="0" y="76374"/>
                  </a:lnTo>
                  <a:lnTo>
                    <a:pt x="0" y="38074"/>
                  </a:lnTo>
                  <a:lnTo>
                    <a:pt x="7338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" name="Forme libre : forme 77">
              <a:extLst>
                <a:ext uri="{FF2B5EF4-FFF2-40B4-BE49-F238E27FC236}">
                  <a16:creationId xmlns:a16="http://schemas.microsoft.com/office/drawing/2014/main" id="{31F42A73-BF6E-4A9E-A2F6-7111DF0FD878}"/>
                </a:ext>
              </a:extLst>
            </p:cNvPr>
            <p:cNvSpPr/>
            <p:nvPr/>
          </p:nvSpPr>
          <p:spPr>
            <a:xfrm rot="8716295">
              <a:off x="2166753" y="273158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orme libre : forme 78">
              <a:extLst>
                <a:ext uri="{FF2B5EF4-FFF2-40B4-BE49-F238E27FC236}">
                  <a16:creationId xmlns:a16="http://schemas.microsoft.com/office/drawing/2014/main" id="{863BEFD8-472A-4A82-B952-ACFEE2251E69}"/>
                </a:ext>
              </a:extLst>
            </p:cNvPr>
            <p:cNvSpPr/>
            <p:nvPr/>
          </p:nvSpPr>
          <p:spPr>
            <a:xfrm rot="8716295">
              <a:off x="2256145" y="276082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Forme libre : forme 79">
              <a:extLst>
                <a:ext uri="{FF2B5EF4-FFF2-40B4-BE49-F238E27FC236}">
                  <a16:creationId xmlns:a16="http://schemas.microsoft.com/office/drawing/2014/main" id="{9D41F395-157D-4566-AD0B-619CCA4FE6BE}"/>
                </a:ext>
              </a:extLst>
            </p:cNvPr>
            <p:cNvSpPr/>
            <p:nvPr/>
          </p:nvSpPr>
          <p:spPr>
            <a:xfrm rot="8716295">
              <a:off x="2211295" y="2674548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" name="Forme libre : forme 80">
              <a:extLst>
                <a:ext uri="{FF2B5EF4-FFF2-40B4-BE49-F238E27FC236}">
                  <a16:creationId xmlns:a16="http://schemas.microsoft.com/office/drawing/2014/main" id="{BF76F399-DC6B-4DE2-9E3A-1FFB94BB6465}"/>
                </a:ext>
              </a:extLst>
            </p:cNvPr>
            <p:cNvSpPr/>
            <p:nvPr/>
          </p:nvSpPr>
          <p:spPr>
            <a:xfrm rot="8716295">
              <a:off x="2054519" y="28201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orme libre : forme 81">
              <a:extLst>
                <a:ext uri="{FF2B5EF4-FFF2-40B4-BE49-F238E27FC236}">
                  <a16:creationId xmlns:a16="http://schemas.microsoft.com/office/drawing/2014/main" id="{3065D63F-B336-46ED-922F-641AF1B7B83C}"/>
                </a:ext>
              </a:extLst>
            </p:cNvPr>
            <p:cNvSpPr/>
            <p:nvPr/>
          </p:nvSpPr>
          <p:spPr>
            <a:xfrm rot="8716295">
              <a:off x="1929616" y="261145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Forme libre : forme 82">
              <a:extLst>
                <a:ext uri="{FF2B5EF4-FFF2-40B4-BE49-F238E27FC236}">
                  <a16:creationId xmlns:a16="http://schemas.microsoft.com/office/drawing/2014/main" id="{68BC6F5F-0186-40DD-8404-566D70BB9E99}"/>
                </a:ext>
              </a:extLst>
            </p:cNvPr>
            <p:cNvSpPr/>
            <p:nvPr/>
          </p:nvSpPr>
          <p:spPr>
            <a:xfrm rot="8716295">
              <a:off x="1917564" y="2472677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4" name="Forme libre : forme 83">
              <a:extLst>
                <a:ext uri="{FF2B5EF4-FFF2-40B4-BE49-F238E27FC236}">
                  <a16:creationId xmlns:a16="http://schemas.microsoft.com/office/drawing/2014/main" id="{E12469CC-5FF5-4C57-A661-5C5E14481CD9}"/>
                </a:ext>
              </a:extLst>
            </p:cNvPr>
            <p:cNvSpPr/>
            <p:nvPr/>
          </p:nvSpPr>
          <p:spPr>
            <a:xfrm rot="8716295">
              <a:off x="2144697" y="2861082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5" name="Forme libre : forme 84">
              <a:extLst>
                <a:ext uri="{FF2B5EF4-FFF2-40B4-BE49-F238E27FC236}">
                  <a16:creationId xmlns:a16="http://schemas.microsoft.com/office/drawing/2014/main" id="{30210F38-CF8D-4D63-B79E-43CAC77B4950}"/>
                </a:ext>
              </a:extLst>
            </p:cNvPr>
            <p:cNvSpPr/>
            <p:nvPr/>
          </p:nvSpPr>
          <p:spPr>
            <a:xfrm rot="8716295">
              <a:off x="2455852" y="248143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6" name="Forme libre : forme 85">
              <a:extLst>
                <a:ext uri="{FF2B5EF4-FFF2-40B4-BE49-F238E27FC236}">
                  <a16:creationId xmlns:a16="http://schemas.microsoft.com/office/drawing/2014/main" id="{695A233A-6503-484C-8F4F-186E71E5B99E}"/>
                </a:ext>
              </a:extLst>
            </p:cNvPr>
            <p:cNvSpPr/>
            <p:nvPr/>
          </p:nvSpPr>
          <p:spPr>
            <a:xfrm rot="8716295">
              <a:off x="2545244" y="251067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7" name="Forme libre : forme 86">
              <a:extLst>
                <a:ext uri="{FF2B5EF4-FFF2-40B4-BE49-F238E27FC236}">
                  <a16:creationId xmlns:a16="http://schemas.microsoft.com/office/drawing/2014/main" id="{C4016FC8-3862-4EDD-AD90-D27F3C486D6C}"/>
                </a:ext>
              </a:extLst>
            </p:cNvPr>
            <p:cNvSpPr/>
            <p:nvPr/>
          </p:nvSpPr>
          <p:spPr>
            <a:xfrm rot="8716295">
              <a:off x="2343618" y="256997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8" name="Forme libre : forme 87">
              <a:extLst>
                <a:ext uri="{FF2B5EF4-FFF2-40B4-BE49-F238E27FC236}">
                  <a16:creationId xmlns:a16="http://schemas.microsoft.com/office/drawing/2014/main" id="{841AD7D6-9A1D-47F3-B8D0-0F3912F8A2E1}"/>
                </a:ext>
              </a:extLst>
            </p:cNvPr>
            <p:cNvSpPr/>
            <p:nvPr/>
          </p:nvSpPr>
          <p:spPr>
            <a:xfrm rot="8716295">
              <a:off x="2218716" y="236130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9" name="Forme libre : forme 88">
              <a:extLst>
                <a:ext uri="{FF2B5EF4-FFF2-40B4-BE49-F238E27FC236}">
                  <a16:creationId xmlns:a16="http://schemas.microsoft.com/office/drawing/2014/main" id="{70BCC5A3-9952-4F01-975F-6F986E6B55DD}"/>
                </a:ext>
              </a:extLst>
            </p:cNvPr>
            <p:cNvSpPr/>
            <p:nvPr/>
          </p:nvSpPr>
          <p:spPr>
            <a:xfrm rot="8716295">
              <a:off x="2433796" y="2610930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" name="Forme libre : forme 89">
              <a:extLst>
                <a:ext uri="{FF2B5EF4-FFF2-40B4-BE49-F238E27FC236}">
                  <a16:creationId xmlns:a16="http://schemas.microsoft.com/office/drawing/2014/main" id="{48292A7A-33E9-4FF2-9525-C481018D3541}"/>
                </a:ext>
              </a:extLst>
            </p:cNvPr>
            <p:cNvSpPr/>
            <p:nvPr/>
          </p:nvSpPr>
          <p:spPr>
            <a:xfrm rot="8716295">
              <a:off x="2192345" y="2461330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" name="Forme libre : forme 90">
              <a:extLst>
                <a:ext uri="{FF2B5EF4-FFF2-40B4-BE49-F238E27FC236}">
                  <a16:creationId xmlns:a16="http://schemas.microsoft.com/office/drawing/2014/main" id="{3C5BF462-E2E4-4E2E-A187-F82081942730}"/>
                </a:ext>
              </a:extLst>
            </p:cNvPr>
            <p:cNvSpPr/>
            <p:nvPr/>
          </p:nvSpPr>
          <p:spPr>
            <a:xfrm rot="7484129">
              <a:off x="2538727" y="280228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" name="Forme libre : forme 91">
              <a:extLst>
                <a:ext uri="{FF2B5EF4-FFF2-40B4-BE49-F238E27FC236}">
                  <a16:creationId xmlns:a16="http://schemas.microsoft.com/office/drawing/2014/main" id="{53F93EE7-2FCB-4993-A211-9ABCA8AB16A1}"/>
                </a:ext>
              </a:extLst>
            </p:cNvPr>
            <p:cNvSpPr/>
            <p:nvPr/>
          </p:nvSpPr>
          <p:spPr>
            <a:xfrm rot="13089394">
              <a:off x="2643547" y="2768815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" name="Forme libre : forme 92">
              <a:extLst>
                <a:ext uri="{FF2B5EF4-FFF2-40B4-BE49-F238E27FC236}">
                  <a16:creationId xmlns:a16="http://schemas.microsoft.com/office/drawing/2014/main" id="{ACCCC6BB-9AC5-40F1-8FDF-2D7AAA4F97CC}"/>
                </a:ext>
              </a:extLst>
            </p:cNvPr>
            <p:cNvSpPr/>
            <p:nvPr/>
          </p:nvSpPr>
          <p:spPr>
            <a:xfrm rot="8716295">
              <a:off x="2829132" y="2577134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" name="Forme libre : forme 93">
              <a:extLst>
                <a:ext uri="{FF2B5EF4-FFF2-40B4-BE49-F238E27FC236}">
                  <a16:creationId xmlns:a16="http://schemas.microsoft.com/office/drawing/2014/main" id="{C83E96A9-D46F-4FBD-BA31-A3DDCAF05013}"/>
                </a:ext>
              </a:extLst>
            </p:cNvPr>
            <p:cNvSpPr/>
            <p:nvPr/>
          </p:nvSpPr>
          <p:spPr>
            <a:xfrm rot="8716295">
              <a:off x="2777327" y="247354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orme libre : forme 94">
              <a:extLst>
                <a:ext uri="{FF2B5EF4-FFF2-40B4-BE49-F238E27FC236}">
                  <a16:creationId xmlns:a16="http://schemas.microsoft.com/office/drawing/2014/main" id="{819524D5-42FD-49C2-A52C-138204093572}"/>
                </a:ext>
              </a:extLst>
            </p:cNvPr>
            <p:cNvSpPr/>
            <p:nvPr/>
          </p:nvSpPr>
          <p:spPr>
            <a:xfrm rot="8716295">
              <a:off x="2534081" y="250376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Forme libre : forme 95">
              <a:extLst>
                <a:ext uri="{FF2B5EF4-FFF2-40B4-BE49-F238E27FC236}">
                  <a16:creationId xmlns:a16="http://schemas.microsoft.com/office/drawing/2014/main" id="{D4292037-242B-4F99-8EE6-4056BF8CE17A}"/>
                </a:ext>
              </a:extLst>
            </p:cNvPr>
            <p:cNvSpPr/>
            <p:nvPr/>
          </p:nvSpPr>
          <p:spPr>
            <a:xfrm rot="8716295">
              <a:off x="2711533" y="234452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" name="Forme libre : forme 96">
              <a:extLst>
                <a:ext uri="{FF2B5EF4-FFF2-40B4-BE49-F238E27FC236}">
                  <a16:creationId xmlns:a16="http://schemas.microsoft.com/office/drawing/2014/main" id="{B300D5E8-99AD-4100-BBB0-F9335C60ABF1}"/>
                </a:ext>
              </a:extLst>
            </p:cNvPr>
            <p:cNvSpPr/>
            <p:nvPr/>
          </p:nvSpPr>
          <p:spPr>
            <a:xfrm rot="8716295">
              <a:off x="2389920" y="339128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" name="Forme libre : forme 97">
              <a:extLst>
                <a:ext uri="{FF2B5EF4-FFF2-40B4-BE49-F238E27FC236}">
                  <a16:creationId xmlns:a16="http://schemas.microsoft.com/office/drawing/2014/main" id="{050E0B4C-4868-4ECB-B52A-F4534FB3428C}"/>
                </a:ext>
              </a:extLst>
            </p:cNvPr>
            <p:cNvSpPr/>
            <p:nvPr/>
          </p:nvSpPr>
          <p:spPr>
            <a:xfrm rot="8716295">
              <a:off x="2479312" y="342052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" name="Forme libre : forme 98">
              <a:extLst>
                <a:ext uri="{FF2B5EF4-FFF2-40B4-BE49-F238E27FC236}">
                  <a16:creationId xmlns:a16="http://schemas.microsoft.com/office/drawing/2014/main" id="{2B753CAD-2E05-40BF-8117-865D3F8A49DD}"/>
                </a:ext>
              </a:extLst>
            </p:cNvPr>
            <p:cNvSpPr/>
            <p:nvPr/>
          </p:nvSpPr>
          <p:spPr>
            <a:xfrm rot="8716295">
              <a:off x="2434462" y="333424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orme libre : forme 99">
              <a:extLst>
                <a:ext uri="{FF2B5EF4-FFF2-40B4-BE49-F238E27FC236}">
                  <a16:creationId xmlns:a16="http://schemas.microsoft.com/office/drawing/2014/main" id="{5C8FF835-B7A5-4E03-BDCA-7B70EA22A6CB}"/>
                </a:ext>
              </a:extLst>
            </p:cNvPr>
            <p:cNvSpPr/>
            <p:nvPr/>
          </p:nvSpPr>
          <p:spPr>
            <a:xfrm rot="8716295">
              <a:off x="2277686" y="347982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Forme libre : forme 100">
              <a:extLst>
                <a:ext uri="{FF2B5EF4-FFF2-40B4-BE49-F238E27FC236}">
                  <a16:creationId xmlns:a16="http://schemas.microsoft.com/office/drawing/2014/main" id="{E640627F-DD46-4D4D-BFB7-C32CE4CD2C6E}"/>
                </a:ext>
              </a:extLst>
            </p:cNvPr>
            <p:cNvSpPr/>
            <p:nvPr/>
          </p:nvSpPr>
          <p:spPr>
            <a:xfrm rot="8716295">
              <a:off x="2152783" y="327115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" name="Forme libre : forme 101">
              <a:extLst>
                <a:ext uri="{FF2B5EF4-FFF2-40B4-BE49-F238E27FC236}">
                  <a16:creationId xmlns:a16="http://schemas.microsoft.com/office/drawing/2014/main" id="{D6CFC66E-117A-4E7B-A1B3-B61883DBC87C}"/>
                </a:ext>
              </a:extLst>
            </p:cNvPr>
            <p:cNvSpPr/>
            <p:nvPr/>
          </p:nvSpPr>
          <p:spPr>
            <a:xfrm rot="8716295">
              <a:off x="2140731" y="313237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" name="Forme libre : forme 102">
              <a:extLst>
                <a:ext uri="{FF2B5EF4-FFF2-40B4-BE49-F238E27FC236}">
                  <a16:creationId xmlns:a16="http://schemas.microsoft.com/office/drawing/2014/main" id="{44370D0A-70C8-47DE-B919-BD8689E5F0BD}"/>
                </a:ext>
              </a:extLst>
            </p:cNvPr>
            <p:cNvSpPr/>
            <p:nvPr/>
          </p:nvSpPr>
          <p:spPr>
            <a:xfrm rot="8716295">
              <a:off x="2367864" y="352078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" name="Forme libre : forme 103">
              <a:extLst>
                <a:ext uri="{FF2B5EF4-FFF2-40B4-BE49-F238E27FC236}">
                  <a16:creationId xmlns:a16="http://schemas.microsoft.com/office/drawing/2014/main" id="{6021BDC8-861D-486E-B439-FE7F06960030}"/>
                </a:ext>
              </a:extLst>
            </p:cNvPr>
            <p:cNvSpPr/>
            <p:nvPr/>
          </p:nvSpPr>
          <p:spPr>
            <a:xfrm rot="8716295">
              <a:off x="2679019" y="314113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" name="Forme libre : forme 104">
              <a:extLst>
                <a:ext uri="{FF2B5EF4-FFF2-40B4-BE49-F238E27FC236}">
                  <a16:creationId xmlns:a16="http://schemas.microsoft.com/office/drawing/2014/main" id="{0F608F19-E3BE-4D17-880D-C88146244ED4}"/>
                </a:ext>
              </a:extLst>
            </p:cNvPr>
            <p:cNvSpPr/>
            <p:nvPr/>
          </p:nvSpPr>
          <p:spPr>
            <a:xfrm rot="8716295">
              <a:off x="2768411" y="317037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" name="Forme libre : forme 105">
              <a:extLst>
                <a:ext uri="{FF2B5EF4-FFF2-40B4-BE49-F238E27FC236}">
                  <a16:creationId xmlns:a16="http://schemas.microsoft.com/office/drawing/2014/main" id="{64944F3B-C664-4365-A1CE-C418E167A34E}"/>
                </a:ext>
              </a:extLst>
            </p:cNvPr>
            <p:cNvSpPr/>
            <p:nvPr/>
          </p:nvSpPr>
          <p:spPr>
            <a:xfrm rot="8716295">
              <a:off x="2566785" y="322967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" name="Forme libre : forme 106">
              <a:extLst>
                <a:ext uri="{FF2B5EF4-FFF2-40B4-BE49-F238E27FC236}">
                  <a16:creationId xmlns:a16="http://schemas.microsoft.com/office/drawing/2014/main" id="{58328446-A7EA-46E8-B0B2-5078B627604C}"/>
                </a:ext>
              </a:extLst>
            </p:cNvPr>
            <p:cNvSpPr/>
            <p:nvPr/>
          </p:nvSpPr>
          <p:spPr>
            <a:xfrm rot="8716295">
              <a:off x="2441883" y="302100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" name="Forme libre : forme 107">
              <a:extLst>
                <a:ext uri="{FF2B5EF4-FFF2-40B4-BE49-F238E27FC236}">
                  <a16:creationId xmlns:a16="http://schemas.microsoft.com/office/drawing/2014/main" id="{358F3EE5-D858-432A-A907-9710D31351C8}"/>
                </a:ext>
              </a:extLst>
            </p:cNvPr>
            <p:cNvSpPr/>
            <p:nvPr/>
          </p:nvSpPr>
          <p:spPr>
            <a:xfrm rot="8716295">
              <a:off x="2656963" y="327062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" name="Forme libre : forme 108">
              <a:extLst>
                <a:ext uri="{FF2B5EF4-FFF2-40B4-BE49-F238E27FC236}">
                  <a16:creationId xmlns:a16="http://schemas.microsoft.com/office/drawing/2014/main" id="{B0966A7E-6D89-444C-8034-A9352897C897}"/>
                </a:ext>
              </a:extLst>
            </p:cNvPr>
            <p:cNvSpPr/>
            <p:nvPr/>
          </p:nvSpPr>
          <p:spPr>
            <a:xfrm rot="8716295">
              <a:off x="2415512" y="312102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" name="Forme libre : forme 109">
              <a:extLst>
                <a:ext uri="{FF2B5EF4-FFF2-40B4-BE49-F238E27FC236}">
                  <a16:creationId xmlns:a16="http://schemas.microsoft.com/office/drawing/2014/main" id="{37222F27-8DF7-4207-88C1-2429DD93BED2}"/>
                </a:ext>
              </a:extLst>
            </p:cNvPr>
            <p:cNvSpPr/>
            <p:nvPr/>
          </p:nvSpPr>
          <p:spPr>
            <a:xfrm rot="7484129">
              <a:off x="2761894" y="346198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" name="Forme libre : forme 110">
              <a:extLst>
                <a:ext uri="{FF2B5EF4-FFF2-40B4-BE49-F238E27FC236}">
                  <a16:creationId xmlns:a16="http://schemas.microsoft.com/office/drawing/2014/main" id="{993939CC-3AE4-419F-A9EE-0969EF61AE9B}"/>
                </a:ext>
              </a:extLst>
            </p:cNvPr>
            <p:cNvSpPr/>
            <p:nvPr/>
          </p:nvSpPr>
          <p:spPr>
            <a:xfrm rot="13089394">
              <a:off x="2866714" y="342851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" name="Forme libre : forme 111">
              <a:extLst>
                <a:ext uri="{FF2B5EF4-FFF2-40B4-BE49-F238E27FC236}">
                  <a16:creationId xmlns:a16="http://schemas.microsoft.com/office/drawing/2014/main" id="{A6A63E2F-4261-4DBF-8276-418D86D19210}"/>
                </a:ext>
              </a:extLst>
            </p:cNvPr>
            <p:cNvSpPr/>
            <p:nvPr/>
          </p:nvSpPr>
          <p:spPr>
            <a:xfrm rot="8716295">
              <a:off x="3052299" y="323683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" name="Forme libre : forme 112">
              <a:extLst>
                <a:ext uri="{FF2B5EF4-FFF2-40B4-BE49-F238E27FC236}">
                  <a16:creationId xmlns:a16="http://schemas.microsoft.com/office/drawing/2014/main" id="{1F2896C9-A0C7-4B2C-B1EE-DCCCD9009233}"/>
                </a:ext>
              </a:extLst>
            </p:cNvPr>
            <p:cNvSpPr/>
            <p:nvPr/>
          </p:nvSpPr>
          <p:spPr>
            <a:xfrm rot="8716295">
              <a:off x="3000494" y="313324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" name="Forme libre : forme 113">
              <a:extLst>
                <a:ext uri="{FF2B5EF4-FFF2-40B4-BE49-F238E27FC236}">
                  <a16:creationId xmlns:a16="http://schemas.microsoft.com/office/drawing/2014/main" id="{BFC2A5AA-74CC-447F-BCB7-82C53A9C1EBE}"/>
                </a:ext>
              </a:extLst>
            </p:cNvPr>
            <p:cNvSpPr/>
            <p:nvPr/>
          </p:nvSpPr>
          <p:spPr>
            <a:xfrm rot="8716295">
              <a:off x="2757248" y="316346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" name="Forme libre : forme 114">
              <a:extLst>
                <a:ext uri="{FF2B5EF4-FFF2-40B4-BE49-F238E27FC236}">
                  <a16:creationId xmlns:a16="http://schemas.microsoft.com/office/drawing/2014/main" id="{7736B671-8666-4922-9305-32A24DFDD7BC}"/>
                </a:ext>
              </a:extLst>
            </p:cNvPr>
            <p:cNvSpPr/>
            <p:nvPr/>
          </p:nvSpPr>
          <p:spPr>
            <a:xfrm rot="8716295">
              <a:off x="2934700" y="300421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" name="Forme libre : forme 115">
              <a:extLst>
                <a:ext uri="{FF2B5EF4-FFF2-40B4-BE49-F238E27FC236}">
                  <a16:creationId xmlns:a16="http://schemas.microsoft.com/office/drawing/2014/main" id="{4CF00AFF-9FDA-4C59-A1DE-7CCCB194DEA5}"/>
                </a:ext>
              </a:extLst>
            </p:cNvPr>
            <p:cNvSpPr/>
            <p:nvPr/>
          </p:nvSpPr>
          <p:spPr>
            <a:xfrm rot="8716295">
              <a:off x="2865744" y="5089178"/>
              <a:ext cx="140009" cy="103412"/>
            </a:xfrm>
            <a:custGeom>
              <a:avLst/>
              <a:gdLst>
                <a:gd name="connsiteX0" fmla="*/ 23004 w 140009"/>
                <a:gd name="connsiteY0" fmla="*/ 73821 h 103412"/>
                <a:gd name="connsiteX1" fmla="*/ 2853 w 140009"/>
                <a:gd name="connsiteY1" fmla="*/ 34034 h 103412"/>
                <a:gd name="connsiteX2" fmla="*/ 0 w 140009"/>
                <a:gd name="connsiteY2" fmla="*/ 0 h 103412"/>
                <a:gd name="connsiteX3" fmla="*/ 140009 w 140009"/>
                <a:gd name="connsiteY3" fmla="*/ 97050 h 103412"/>
                <a:gd name="connsiteX4" fmla="*/ 137354 w 140009"/>
                <a:gd name="connsiteY4" fmla="*/ 97759 h 103412"/>
                <a:gd name="connsiteX5" fmla="*/ 95370 w 140009"/>
                <a:gd name="connsiteY5" fmla="*/ 103238 h 103412"/>
                <a:gd name="connsiteX6" fmla="*/ 23004 w 140009"/>
                <a:gd name="connsiteY6" fmla="*/ 73821 h 103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0009" h="103412">
                  <a:moveTo>
                    <a:pt x="23004" y="73821"/>
                  </a:moveTo>
                  <a:cubicBezTo>
                    <a:pt x="13002" y="64113"/>
                    <a:pt x="6677" y="50875"/>
                    <a:pt x="2853" y="34034"/>
                  </a:cubicBezTo>
                  <a:lnTo>
                    <a:pt x="0" y="0"/>
                  </a:lnTo>
                  <a:lnTo>
                    <a:pt x="140009" y="97050"/>
                  </a:lnTo>
                  <a:lnTo>
                    <a:pt x="137354" y="97759"/>
                  </a:lnTo>
                  <a:cubicBezTo>
                    <a:pt x="121846" y="100775"/>
                    <a:pt x="107579" y="102502"/>
                    <a:pt x="95370" y="103238"/>
                  </a:cubicBezTo>
                  <a:cubicBezTo>
                    <a:pt x="68307" y="105003"/>
                    <a:pt x="41831" y="93236"/>
                    <a:pt x="23004" y="7382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" name="Forme libre : forme 116">
              <a:extLst>
                <a:ext uri="{FF2B5EF4-FFF2-40B4-BE49-F238E27FC236}">
                  <a16:creationId xmlns:a16="http://schemas.microsoft.com/office/drawing/2014/main" id="{7486FE8B-6DC8-400F-8B49-3D0FF59EDA59}"/>
                </a:ext>
              </a:extLst>
            </p:cNvPr>
            <p:cNvSpPr/>
            <p:nvPr/>
          </p:nvSpPr>
          <p:spPr>
            <a:xfrm rot="8716295">
              <a:off x="2608590" y="404968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" name="Forme libre : forme 117">
              <a:extLst>
                <a:ext uri="{FF2B5EF4-FFF2-40B4-BE49-F238E27FC236}">
                  <a16:creationId xmlns:a16="http://schemas.microsoft.com/office/drawing/2014/main" id="{409E4F60-3261-496F-85E7-0CED778B23AA}"/>
                </a:ext>
              </a:extLst>
            </p:cNvPr>
            <p:cNvSpPr/>
            <p:nvPr/>
          </p:nvSpPr>
          <p:spPr>
            <a:xfrm rot="8716295">
              <a:off x="2697982" y="407892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" name="Forme libre : forme 118">
              <a:extLst>
                <a:ext uri="{FF2B5EF4-FFF2-40B4-BE49-F238E27FC236}">
                  <a16:creationId xmlns:a16="http://schemas.microsoft.com/office/drawing/2014/main" id="{B4A7442C-1C02-4AB6-8CC3-22865B34D758}"/>
                </a:ext>
              </a:extLst>
            </p:cNvPr>
            <p:cNvSpPr/>
            <p:nvPr/>
          </p:nvSpPr>
          <p:spPr>
            <a:xfrm rot="8716295">
              <a:off x="2653132" y="399264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" name="Forme libre : forme 119">
              <a:extLst>
                <a:ext uri="{FF2B5EF4-FFF2-40B4-BE49-F238E27FC236}">
                  <a16:creationId xmlns:a16="http://schemas.microsoft.com/office/drawing/2014/main" id="{84547BFC-5C73-4C79-BC1E-65D2DA2F8F0F}"/>
                </a:ext>
              </a:extLst>
            </p:cNvPr>
            <p:cNvSpPr/>
            <p:nvPr/>
          </p:nvSpPr>
          <p:spPr>
            <a:xfrm rot="8716295">
              <a:off x="2496356" y="413822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" name="Forme libre : forme 120">
              <a:extLst>
                <a:ext uri="{FF2B5EF4-FFF2-40B4-BE49-F238E27FC236}">
                  <a16:creationId xmlns:a16="http://schemas.microsoft.com/office/drawing/2014/main" id="{1433A272-01C5-407E-A681-F11EFA1E77DE}"/>
                </a:ext>
              </a:extLst>
            </p:cNvPr>
            <p:cNvSpPr/>
            <p:nvPr/>
          </p:nvSpPr>
          <p:spPr>
            <a:xfrm rot="8716295">
              <a:off x="2371453" y="392955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" name="Forme libre : forme 121">
              <a:extLst>
                <a:ext uri="{FF2B5EF4-FFF2-40B4-BE49-F238E27FC236}">
                  <a16:creationId xmlns:a16="http://schemas.microsoft.com/office/drawing/2014/main" id="{B66B2FCE-B89D-4CFE-947C-F30A5386F13E}"/>
                </a:ext>
              </a:extLst>
            </p:cNvPr>
            <p:cNvSpPr/>
            <p:nvPr/>
          </p:nvSpPr>
          <p:spPr>
            <a:xfrm rot="8716295">
              <a:off x="2359401" y="379077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" name="Forme libre : forme 122">
              <a:extLst>
                <a:ext uri="{FF2B5EF4-FFF2-40B4-BE49-F238E27FC236}">
                  <a16:creationId xmlns:a16="http://schemas.microsoft.com/office/drawing/2014/main" id="{CB1F906C-3F04-489D-B712-86F36DCF301D}"/>
                </a:ext>
              </a:extLst>
            </p:cNvPr>
            <p:cNvSpPr/>
            <p:nvPr/>
          </p:nvSpPr>
          <p:spPr>
            <a:xfrm rot="8716295">
              <a:off x="2586534" y="417917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" name="Forme libre : forme 123">
              <a:extLst>
                <a:ext uri="{FF2B5EF4-FFF2-40B4-BE49-F238E27FC236}">
                  <a16:creationId xmlns:a16="http://schemas.microsoft.com/office/drawing/2014/main" id="{BA0DE2D1-2098-4B24-BF1D-8B4133E050A7}"/>
                </a:ext>
              </a:extLst>
            </p:cNvPr>
            <p:cNvSpPr/>
            <p:nvPr/>
          </p:nvSpPr>
          <p:spPr>
            <a:xfrm rot="8716295">
              <a:off x="2897689" y="379952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" name="Forme libre : forme 124">
              <a:extLst>
                <a:ext uri="{FF2B5EF4-FFF2-40B4-BE49-F238E27FC236}">
                  <a16:creationId xmlns:a16="http://schemas.microsoft.com/office/drawing/2014/main" id="{280C5645-8889-4114-AA92-3C2F280AAAB1}"/>
                </a:ext>
              </a:extLst>
            </p:cNvPr>
            <p:cNvSpPr/>
            <p:nvPr/>
          </p:nvSpPr>
          <p:spPr>
            <a:xfrm rot="8716295">
              <a:off x="2989368" y="3839999"/>
              <a:ext cx="209149" cy="253771"/>
            </a:xfrm>
            <a:custGeom>
              <a:avLst/>
              <a:gdLst>
                <a:gd name="connsiteX0" fmla="*/ 147179 w 209149"/>
                <a:gd name="connsiteY0" fmla="*/ 97023 h 253771"/>
                <a:gd name="connsiteX1" fmla="*/ 147179 w 209149"/>
                <a:gd name="connsiteY1" fmla="*/ 80620 h 253771"/>
                <a:gd name="connsiteX2" fmla="*/ 113460 w 209149"/>
                <a:gd name="connsiteY2" fmla="*/ 39154 h 253771"/>
                <a:gd name="connsiteX3" fmla="*/ 104592 w 209149"/>
                <a:gd name="connsiteY3" fmla="*/ 42082 h 253771"/>
                <a:gd name="connsiteX4" fmla="*/ 139399 w 209149"/>
                <a:gd name="connsiteY4" fmla="*/ 0 h 253771"/>
                <a:gd name="connsiteX5" fmla="*/ 165512 w 209149"/>
                <a:gd name="connsiteY5" fmla="*/ 4538 h 253771"/>
                <a:gd name="connsiteX6" fmla="*/ 209149 w 209149"/>
                <a:gd name="connsiteY6" fmla="*/ 87454 h 253771"/>
                <a:gd name="connsiteX7" fmla="*/ 209149 w 209149"/>
                <a:gd name="connsiteY7" fmla="*/ 93378 h 253771"/>
                <a:gd name="connsiteX8" fmla="*/ 0 w 209149"/>
                <a:gd name="connsiteY8" fmla="*/ 253771 h 253771"/>
                <a:gd name="connsiteX9" fmla="*/ 0 w 209149"/>
                <a:gd name="connsiteY9" fmla="*/ 168537 h 253771"/>
                <a:gd name="connsiteX10" fmla="*/ 65782 w 209149"/>
                <a:gd name="connsiteY10" fmla="*/ 89005 h 253771"/>
                <a:gd name="connsiteX11" fmla="*/ 64377 w 209149"/>
                <a:gd name="connsiteY11" fmla="*/ 92403 h 253771"/>
                <a:gd name="connsiteX12" fmla="*/ 60148 w 209149"/>
                <a:gd name="connsiteY12" fmla="*/ 126641 h 253771"/>
                <a:gd name="connsiteX13" fmla="*/ 60148 w 209149"/>
                <a:gd name="connsiteY13" fmla="*/ 212762 h 253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9149" h="253771">
                  <a:moveTo>
                    <a:pt x="147179" y="97023"/>
                  </a:moveTo>
                  <a:lnTo>
                    <a:pt x="147179" y="80620"/>
                  </a:lnTo>
                  <a:cubicBezTo>
                    <a:pt x="147179" y="56013"/>
                    <a:pt x="133054" y="39154"/>
                    <a:pt x="113460" y="39154"/>
                  </a:cubicBezTo>
                  <a:lnTo>
                    <a:pt x="104592" y="42082"/>
                  </a:lnTo>
                  <a:lnTo>
                    <a:pt x="139399" y="0"/>
                  </a:lnTo>
                  <a:lnTo>
                    <a:pt x="165512" y="4538"/>
                  </a:lnTo>
                  <a:cubicBezTo>
                    <a:pt x="193258" y="16029"/>
                    <a:pt x="209149" y="45077"/>
                    <a:pt x="209149" y="87454"/>
                  </a:cubicBezTo>
                  <a:lnTo>
                    <a:pt x="209149" y="93378"/>
                  </a:lnTo>
                  <a:close/>
                  <a:moveTo>
                    <a:pt x="0" y="253771"/>
                  </a:moveTo>
                  <a:lnTo>
                    <a:pt x="0" y="168537"/>
                  </a:lnTo>
                  <a:lnTo>
                    <a:pt x="65782" y="89005"/>
                  </a:lnTo>
                  <a:lnTo>
                    <a:pt x="64377" y="92403"/>
                  </a:lnTo>
                  <a:cubicBezTo>
                    <a:pt x="61657" y="102890"/>
                    <a:pt x="60148" y="114452"/>
                    <a:pt x="60148" y="126641"/>
                  </a:cubicBezTo>
                  <a:lnTo>
                    <a:pt x="60148" y="2127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" name="Forme libre : forme 125">
              <a:extLst>
                <a:ext uri="{FF2B5EF4-FFF2-40B4-BE49-F238E27FC236}">
                  <a16:creationId xmlns:a16="http://schemas.microsoft.com/office/drawing/2014/main" id="{12C74CA9-7295-4DD3-B257-BC02E33DC169}"/>
                </a:ext>
              </a:extLst>
            </p:cNvPr>
            <p:cNvSpPr/>
            <p:nvPr/>
          </p:nvSpPr>
          <p:spPr>
            <a:xfrm rot="8716295">
              <a:off x="2785455" y="388807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" name="Forme libre : forme 126">
              <a:extLst>
                <a:ext uri="{FF2B5EF4-FFF2-40B4-BE49-F238E27FC236}">
                  <a16:creationId xmlns:a16="http://schemas.microsoft.com/office/drawing/2014/main" id="{5EABE596-751A-434B-B681-D5C7A4015BC8}"/>
                </a:ext>
              </a:extLst>
            </p:cNvPr>
            <p:cNvSpPr/>
            <p:nvPr/>
          </p:nvSpPr>
          <p:spPr>
            <a:xfrm rot="8716295">
              <a:off x="2660553" y="367940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" name="Forme libre : forme 127">
              <a:extLst>
                <a:ext uri="{FF2B5EF4-FFF2-40B4-BE49-F238E27FC236}">
                  <a16:creationId xmlns:a16="http://schemas.microsoft.com/office/drawing/2014/main" id="{34A25BB8-E5A6-43A3-A6BE-6CBEBC3F2CD9}"/>
                </a:ext>
              </a:extLst>
            </p:cNvPr>
            <p:cNvSpPr/>
            <p:nvPr/>
          </p:nvSpPr>
          <p:spPr>
            <a:xfrm rot="8716295">
              <a:off x="2875633" y="392902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" name="Forme libre : forme 128">
              <a:extLst>
                <a:ext uri="{FF2B5EF4-FFF2-40B4-BE49-F238E27FC236}">
                  <a16:creationId xmlns:a16="http://schemas.microsoft.com/office/drawing/2014/main" id="{BC27C288-1E66-4F8B-924C-4EDB2BC25294}"/>
                </a:ext>
              </a:extLst>
            </p:cNvPr>
            <p:cNvSpPr/>
            <p:nvPr/>
          </p:nvSpPr>
          <p:spPr>
            <a:xfrm rot="8716295">
              <a:off x="2634182" y="377942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" name="Forme libre : forme 129">
              <a:extLst>
                <a:ext uri="{FF2B5EF4-FFF2-40B4-BE49-F238E27FC236}">
                  <a16:creationId xmlns:a16="http://schemas.microsoft.com/office/drawing/2014/main" id="{C22A0888-0C9E-4945-82D7-7EE608C46CC7}"/>
                </a:ext>
              </a:extLst>
            </p:cNvPr>
            <p:cNvSpPr/>
            <p:nvPr/>
          </p:nvSpPr>
          <p:spPr>
            <a:xfrm rot="7484129">
              <a:off x="2986722" y="4140706"/>
              <a:ext cx="156000" cy="195873"/>
            </a:xfrm>
            <a:custGeom>
              <a:avLst/>
              <a:gdLst>
                <a:gd name="connsiteX0" fmla="*/ 42863 w 156000"/>
                <a:gd name="connsiteY0" fmla="*/ 195873 h 195873"/>
                <a:gd name="connsiteX1" fmla="*/ 0 w 156000"/>
                <a:gd name="connsiteY1" fmla="*/ 116129 h 195873"/>
                <a:gd name="connsiteX2" fmla="*/ 19423 w 156000"/>
                <a:gd name="connsiteY2" fmla="*/ 62274 h 195873"/>
                <a:gd name="connsiteX3" fmla="*/ 127856 w 156000"/>
                <a:gd name="connsiteY3" fmla="*/ 0 h 195873"/>
                <a:gd name="connsiteX4" fmla="*/ 156000 w 156000"/>
                <a:gd name="connsiteY4" fmla="*/ 0 h 195873"/>
                <a:gd name="connsiteX5" fmla="*/ 156000 w 156000"/>
                <a:gd name="connsiteY5" fmla="*/ 55323 h 195873"/>
                <a:gd name="connsiteX6" fmla="*/ 91208 w 156000"/>
                <a:gd name="connsiteY6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000" h="195873">
                  <a:moveTo>
                    <a:pt x="42863" y="195873"/>
                  </a:moveTo>
                  <a:lnTo>
                    <a:pt x="0" y="116129"/>
                  </a:lnTo>
                  <a:lnTo>
                    <a:pt x="19423" y="62274"/>
                  </a:lnTo>
                  <a:lnTo>
                    <a:pt x="127856" y="0"/>
                  </a:lnTo>
                  <a:lnTo>
                    <a:pt x="156000" y="0"/>
                  </a:lnTo>
                  <a:lnTo>
                    <a:pt x="156000" y="55323"/>
                  </a:lnTo>
                  <a:lnTo>
                    <a:pt x="91208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" name="Forme libre : forme 130">
              <a:extLst>
                <a:ext uri="{FF2B5EF4-FFF2-40B4-BE49-F238E27FC236}">
                  <a16:creationId xmlns:a16="http://schemas.microsoft.com/office/drawing/2014/main" id="{B1E3FE16-8016-4EF3-8614-3D1D60105986}"/>
                </a:ext>
              </a:extLst>
            </p:cNvPr>
            <p:cNvSpPr/>
            <p:nvPr/>
          </p:nvSpPr>
          <p:spPr>
            <a:xfrm rot="8716295">
              <a:off x="2975918" y="382185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" name="Forme libre : forme 131">
              <a:extLst>
                <a:ext uri="{FF2B5EF4-FFF2-40B4-BE49-F238E27FC236}">
                  <a16:creationId xmlns:a16="http://schemas.microsoft.com/office/drawing/2014/main" id="{E69AE829-0E6B-4637-B9A4-FB76BF7CE509}"/>
                </a:ext>
              </a:extLst>
            </p:cNvPr>
            <p:cNvSpPr/>
            <p:nvPr/>
          </p:nvSpPr>
          <p:spPr>
            <a:xfrm rot="8716295">
              <a:off x="3136327" y="3677877"/>
              <a:ext cx="62210" cy="70771"/>
            </a:xfrm>
            <a:custGeom>
              <a:avLst/>
              <a:gdLst>
                <a:gd name="connsiteX0" fmla="*/ 0 w 62210"/>
                <a:gd name="connsiteY0" fmla="*/ 69343 h 70771"/>
                <a:gd name="connsiteX1" fmla="*/ 57354 w 62210"/>
                <a:gd name="connsiteY1" fmla="*/ 0 h 70771"/>
                <a:gd name="connsiteX2" fmla="*/ 62210 w 62210"/>
                <a:gd name="connsiteY2" fmla="*/ 11557 h 70771"/>
                <a:gd name="connsiteX3" fmla="*/ 44963 w 62210"/>
                <a:gd name="connsiteY3" fmla="*/ 53294 h 70771"/>
                <a:gd name="connsiteX4" fmla="*/ 3570 w 62210"/>
                <a:gd name="connsiteY4" fmla="*/ 70771 h 70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210" h="70771">
                  <a:moveTo>
                    <a:pt x="0" y="69343"/>
                  </a:moveTo>
                  <a:lnTo>
                    <a:pt x="57354" y="0"/>
                  </a:lnTo>
                  <a:lnTo>
                    <a:pt x="62210" y="11557"/>
                  </a:lnTo>
                  <a:cubicBezTo>
                    <a:pt x="62210" y="26619"/>
                    <a:pt x="56461" y="41796"/>
                    <a:pt x="44963" y="53294"/>
                  </a:cubicBezTo>
                  <a:cubicBezTo>
                    <a:pt x="33925" y="64332"/>
                    <a:pt x="19208" y="70771"/>
                    <a:pt x="3570" y="7077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" name="Forme libre : forme 132">
              <a:extLst>
                <a:ext uri="{FF2B5EF4-FFF2-40B4-BE49-F238E27FC236}">
                  <a16:creationId xmlns:a16="http://schemas.microsoft.com/office/drawing/2014/main" id="{D37688C2-C0A6-4E05-B609-4CB494CE709C}"/>
                </a:ext>
              </a:extLst>
            </p:cNvPr>
            <p:cNvSpPr/>
            <p:nvPr/>
          </p:nvSpPr>
          <p:spPr>
            <a:xfrm rot="8716295">
              <a:off x="2831757" y="470938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" name="Forme libre : forme 133">
              <a:extLst>
                <a:ext uri="{FF2B5EF4-FFF2-40B4-BE49-F238E27FC236}">
                  <a16:creationId xmlns:a16="http://schemas.microsoft.com/office/drawing/2014/main" id="{A3A6BF4C-1E72-4FF3-8FB3-699E9245E152}"/>
                </a:ext>
              </a:extLst>
            </p:cNvPr>
            <p:cNvSpPr/>
            <p:nvPr/>
          </p:nvSpPr>
          <p:spPr>
            <a:xfrm rot="8716295">
              <a:off x="2922791" y="4750051"/>
              <a:ext cx="209149" cy="251506"/>
            </a:xfrm>
            <a:custGeom>
              <a:avLst/>
              <a:gdLst>
                <a:gd name="connsiteX0" fmla="*/ 147179 w 209149"/>
                <a:gd name="connsiteY0" fmla="*/ 94758 h 251506"/>
                <a:gd name="connsiteX1" fmla="*/ 147179 w 209149"/>
                <a:gd name="connsiteY1" fmla="*/ 78354 h 251506"/>
                <a:gd name="connsiteX2" fmla="*/ 137667 w 209149"/>
                <a:gd name="connsiteY2" fmla="*/ 48394 h 251506"/>
                <a:gd name="connsiteX3" fmla="*/ 119535 w 209149"/>
                <a:gd name="connsiteY3" fmla="*/ 39776 h 251506"/>
                <a:gd name="connsiteX4" fmla="*/ 152434 w 209149"/>
                <a:gd name="connsiteY4" fmla="*/ 0 h 251506"/>
                <a:gd name="connsiteX5" fmla="*/ 165512 w 209149"/>
                <a:gd name="connsiteY5" fmla="*/ 2273 h 251506"/>
                <a:gd name="connsiteX6" fmla="*/ 209149 w 209149"/>
                <a:gd name="connsiteY6" fmla="*/ 85189 h 251506"/>
                <a:gd name="connsiteX7" fmla="*/ 209149 w 209149"/>
                <a:gd name="connsiteY7" fmla="*/ 91113 h 251506"/>
                <a:gd name="connsiteX8" fmla="*/ 0 w 209149"/>
                <a:gd name="connsiteY8" fmla="*/ 251506 h 251506"/>
                <a:gd name="connsiteX9" fmla="*/ 0 w 209149"/>
                <a:gd name="connsiteY9" fmla="*/ 184297 h 251506"/>
                <a:gd name="connsiteX10" fmla="*/ 62006 w 209149"/>
                <a:gd name="connsiteY10" fmla="*/ 109330 h 251506"/>
                <a:gd name="connsiteX11" fmla="*/ 60148 w 209149"/>
                <a:gd name="connsiteY11" fmla="*/ 124376 h 251506"/>
                <a:gd name="connsiteX12" fmla="*/ 60148 w 209149"/>
                <a:gd name="connsiteY12" fmla="*/ 210497 h 251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9149" h="251506">
                  <a:moveTo>
                    <a:pt x="147179" y="94758"/>
                  </a:moveTo>
                  <a:lnTo>
                    <a:pt x="147179" y="78354"/>
                  </a:lnTo>
                  <a:cubicBezTo>
                    <a:pt x="147179" y="66051"/>
                    <a:pt x="143648" y="55685"/>
                    <a:pt x="137667" y="48394"/>
                  </a:cubicBezTo>
                  <a:lnTo>
                    <a:pt x="119535" y="39776"/>
                  </a:lnTo>
                  <a:lnTo>
                    <a:pt x="152434" y="0"/>
                  </a:lnTo>
                  <a:lnTo>
                    <a:pt x="165512" y="2273"/>
                  </a:lnTo>
                  <a:cubicBezTo>
                    <a:pt x="193258" y="13764"/>
                    <a:pt x="209149" y="42812"/>
                    <a:pt x="209149" y="85189"/>
                  </a:cubicBezTo>
                  <a:lnTo>
                    <a:pt x="209149" y="91113"/>
                  </a:lnTo>
                  <a:close/>
                  <a:moveTo>
                    <a:pt x="0" y="251506"/>
                  </a:moveTo>
                  <a:lnTo>
                    <a:pt x="0" y="184297"/>
                  </a:lnTo>
                  <a:lnTo>
                    <a:pt x="62006" y="109330"/>
                  </a:lnTo>
                  <a:lnTo>
                    <a:pt x="60148" y="124376"/>
                  </a:lnTo>
                  <a:lnTo>
                    <a:pt x="60148" y="21049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" name="Forme libre : forme 134">
              <a:extLst>
                <a:ext uri="{FF2B5EF4-FFF2-40B4-BE49-F238E27FC236}">
                  <a16:creationId xmlns:a16="http://schemas.microsoft.com/office/drawing/2014/main" id="{5140B893-7827-4D80-AD77-FD3E70DDBAED}"/>
                </a:ext>
              </a:extLst>
            </p:cNvPr>
            <p:cNvSpPr/>
            <p:nvPr/>
          </p:nvSpPr>
          <p:spPr>
            <a:xfrm rot="8716295">
              <a:off x="2876299" y="465234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" name="Forme libre : forme 135">
              <a:extLst>
                <a:ext uri="{FF2B5EF4-FFF2-40B4-BE49-F238E27FC236}">
                  <a16:creationId xmlns:a16="http://schemas.microsoft.com/office/drawing/2014/main" id="{CEF19F0C-E18C-48D8-9AB5-6885668C7FC0}"/>
                </a:ext>
              </a:extLst>
            </p:cNvPr>
            <p:cNvSpPr/>
            <p:nvPr/>
          </p:nvSpPr>
          <p:spPr>
            <a:xfrm rot="8716295">
              <a:off x="2719523" y="479792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" name="Forme libre : forme 136">
              <a:extLst>
                <a:ext uri="{FF2B5EF4-FFF2-40B4-BE49-F238E27FC236}">
                  <a16:creationId xmlns:a16="http://schemas.microsoft.com/office/drawing/2014/main" id="{0BB22A70-3803-482F-84FC-984B6EC6C374}"/>
                </a:ext>
              </a:extLst>
            </p:cNvPr>
            <p:cNvSpPr/>
            <p:nvPr/>
          </p:nvSpPr>
          <p:spPr>
            <a:xfrm rot="8716295">
              <a:off x="2594620" y="458925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" name="Forme libre : forme 137">
              <a:extLst>
                <a:ext uri="{FF2B5EF4-FFF2-40B4-BE49-F238E27FC236}">
                  <a16:creationId xmlns:a16="http://schemas.microsoft.com/office/drawing/2014/main" id="{BB66996B-CABF-4C18-97CF-8361430CCC5E}"/>
                </a:ext>
              </a:extLst>
            </p:cNvPr>
            <p:cNvSpPr/>
            <p:nvPr/>
          </p:nvSpPr>
          <p:spPr>
            <a:xfrm rot="8716295">
              <a:off x="2582568" y="4450471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" name="Forme libre : forme 138">
              <a:extLst>
                <a:ext uri="{FF2B5EF4-FFF2-40B4-BE49-F238E27FC236}">
                  <a16:creationId xmlns:a16="http://schemas.microsoft.com/office/drawing/2014/main" id="{EE47147C-71F2-4045-A9A2-5EC38820966E}"/>
                </a:ext>
              </a:extLst>
            </p:cNvPr>
            <p:cNvSpPr/>
            <p:nvPr/>
          </p:nvSpPr>
          <p:spPr>
            <a:xfrm rot="8716295">
              <a:off x="2809701" y="483887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" name="Forme libre : forme 139">
              <a:extLst>
                <a:ext uri="{FF2B5EF4-FFF2-40B4-BE49-F238E27FC236}">
                  <a16:creationId xmlns:a16="http://schemas.microsoft.com/office/drawing/2014/main" id="{89BAF661-43F0-4B4A-A23C-BA7CE46BDD71}"/>
                </a:ext>
              </a:extLst>
            </p:cNvPr>
            <p:cNvSpPr/>
            <p:nvPr/>
          </p:nvSpPr>
          <p:spPr>
            <a:xfrm rot="8716295">
              <a:off x="3081353" y="4514214"/>
              <a:ext cx="36672" cy="44337"/>
            </a:xfrm>
            <a:custGeom>
              <a:avLst/>
              <a:gdLst>
                <a:gd name="connsiteX0" fmla="*/ 0 w 36672"/>
                <a:gd name="connsiteY0" fmla="*/ 44337 h 44337"/>
                <a:gd name="connsiteX1" fmla="*/ 36672 w 36672"/>
                <a:gd name="connsiteY1" fmla="*/ 0 h 44337"/>
                <a:gd name="connsiteX2" fmla="*/ 36672 w 36672"/>
                <a:gd name="connsiteY2" fmla="*/ 29833 h 44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672" h="44337">
                  <a:moveTo>
                    <a:pt x="0" y="44337"/>
                  </a:moveTo>
                  <a:lnTo>
                    <a:pt x="36672" y="0"/>
                  </a:lnTo>
                  <a:lnTo>
                    <a:pt x="36672" y="298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" name="Forme libre : forme 140">
              <a:extLst>
                <a:ext uri="{FF2B5EF4-FFF2-40B4-BE49-F238E27FC236}">
                  <a16:creationId xmlns:a16="http://schemas.microsoft.com/office/drawing/2014/main" id="{63A651C5-5D05-4459-83FE-EB640DC8F382}"/>
                </a:ext>
              </a:extLst>
            </p:cNvPr>
            <p:cNvSpPr/>
            <p:nvPr/>
          </p:nvSpPr>
          <p:spPr>
            <a:xfrm rot="8716295">
              <a:off x="3008622" y="45477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" name="Forme libre : forme 141">
              <a:extLst>
                <a:ext uri="{FF2B5EF4-FFF2-40B4-BE49-F238E27FC236}">
                  <a16:creationId xmlns:a16="http://schemas.microsoft.com/office/drawing/2014/main" id="{092AE7DF-4653-4199-BFAC-73916EFC860A}"/>
                </a:ext>
              </a:extLst>
            </p:cNvPr>
            <p:cNvSpPr/>
            <p:nvPr/>
          </p:nvSpPr>
          <p:spPr>
            <a:xfrm rot="8716295">
              <a:off x="2879209" y="433901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22587 h 195874"/>
                <a:gd name="connsiteX5" fmla="*/ 18682 w 203847"/>
                <a:gd name="connsiteY5" fmla="*/ 0 h 195874"/>
                <a:gd name="connsiteX6" fmla="*/ 203847 w 203847"/>
                <a:gd name="connsiteY6" fmla="*/ 0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22587"/>
                  </a:lnTo>
                  <a:lnTo>
                    <a:pt x="18682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" name="Forme libre : forme 142">
              <a:extLst>
                <a:ext uri="{FF2B5EF4-FFF2-40B4-BE49-F238E27FC236}">
                  <a16:creationId xmlns:a16="http://schemas.microsoft.com/office/drawing/2014/main" id="{D41ED30F-3026-421E-ABA6-358575487EBA}"/>
                </a:ext>
              </a:extLst>
            </p:cNvPr>
            <p:cNvSpPr/>
            <p:nvPr/>
          </p:nvSpPr>
          <p:spPr>
            <a:xfrm rot="8716295">
              <a:off x="3061023" y="4621511"/>
              <a:ext cx="34902" cy="75779"/>
            </a:xfrm>
            <a:custGeom>
              <a:avLst/>
              <a:gdLst>
                <a:gd name="connsiteX0" fmla="*/ 34902 w 34902"/>
                <a:gd name="connsiteY0" fmla="*/ 75779 h 75779"/>
                <a:gd name="connsiteX1" fmla="*/ 0 w 34902"/>
                <a:gd name="connsiteY1" fmla="*/ 42198 h 75779"/>
                <a:gd name="connsiteX2" fmla="*/ 34902 w 34902"/>
                <a:gd name="connsiteY2" fmla="*/ 0 h 75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902" h="75779">
                  <a:moveTo>
                    <a:pt x="34902" y="75779"/>
                  </a:moveTo>
                  <a:lnTo>
                    <a:pt x="0" y="42198"/>
                  </a:lnTo>
                  <a:lnTo>
                    <a:pt x="3490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4" name="Forme libre : forme 143">
              <a:extLst>
                <a:ext uri="{FF2B5EF4-FFF2-40B4-BE49-F238E27FC236}">
                  <a16:creationId xmlns:a16="http://schemas.microsoft.com/office/drawing/2014/main" id="{3F91EA7A-2760-47AB-B973-A377384BFCEB}"/>
                </a:ext>
              </a:extLst>
            </p:cNvPr>
            <p:cNvSpPr/>
            <p:nvPr/>
          </p:nvSpPr>
          <p:spPr>
            <a:xfrm rot="8716295">
              <a:off x="2857349" y="443912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5" name="Forme libre : forme 144">
              <a:extLst>
                <a:ext uri="{FF2B5EF4-FFF2-40B4-BE49-F238E27FC236}">
                  <a16:creationId xmlns:a16="http://schemas.microsoft.com/office/drawing/2014/main" id="{41EE0DAC-E1CD-4DF6-B038-DF99C017AF47}"/>
                </a:ext>
              </a:extLst>
            </p:cNvPr>
            <p:cNvSpPr/>
            <p:nvPr/>
          </p:nvSpPr>
          <p:spPr>
            <a:xfrm rot="8716295">
              <a:off x="1945235" y="207061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6" name="Forme libre : forme 145">
              <a:extLst>
                <a:ext uri="{FF2B5EF4-FFF2-40B4-BE49-F238E27FC236}">
                  <a16:creationId xmlns:a16="http://schemas.microsoft.com/office/drawing/2014/main" id="{280B0FCB-6B6E-4C11-92C1-4D7A5EC1D4AD}"/>
                </a:ext>
              </a:extLst>
            </p:cNvPr>
            <p:cNvSpPr/>
            <p:nvPr/>
          </p:nvSpPr>
          <p:spPr>
            <a:xfrm rot="8716295">
              <a:off x="2034627" y="209985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7" name="Forme libre : forme 146">
              <a:extLst>
                <a:ext uri="{FF2B5EF4-FFF2-40B4-BE49-F238E27FC236}">
                  <a16:creationId xmlns:a16="http://schemas.microsoft.com/office/drawing/2014/main" id="{9891BA28-484A-4733-8CF3-53CE88879C65}"/>
                </a:ext>
              </a:extLst>
            </p:cNvPr>
            <p:cNvSpPr/>
            <p:nvPr/>
          </p:nvSpPr>
          <p:spPr>
            <a:xfrm rot="8716295">
              <a:off x="1989777" y="201357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8" name="Forme libre : forme 147">
              <a:extLst>
                <a:ext uri="{FF2B5EF4-FFF2-40B4-BE49-F238E27FC236}">
                  <a16:creationId xmlns:a16="http://schemas.microsoft.com/office/drawing/2014/main" id="{9E43636F-0BE6-4C9B-B96D-D3D316F85163}"/>
                </a:ext>
              </a:extLst>
            </p:cNvPr>
            <p:cNvSpPr/>
            <p:nvPr/>
          </p:nvSpPr>
          <p:spPr>
            <a:xfrm rot="8716295">
              <a:off x="1833001" y="215915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9" name="Forme libre : forme 148">
              <a:extLst>
                <a:ext uri="{FF2B5EF4-FFF2-40B4-BE49-F238E27FC236}">
                  <a16:creationId xmlns:a16="http://schemas.microsoft.com/office/drawing/2014/main" id="{E5C5D07F-1F3F-49A7-9D1F-45F1F92DDF33}"/>
                </a:ext>
              </a:extLst>
            </p:cNvPr>
            <p:cNvSpPr/>
            <p:nvPr/>
          </p:nvSpPr>
          <p:spPr>
            <a:xfrm rot="8716295">
              <a:off x="1708098" y="195048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0" name="Forme libre : forme 149">
              <a:extLst>
                <a:ext uri="{FF2B5EF4-FFF2-40B4-BE49-F238E27FC236}">
                  <a16:creationId xmlns:a16="http://schemas.microsoft.com/office/drawing/2014/main" id="{207E57C6-B2AE-4BC9-A0BC-164A405D607B}"/>
                </a:ext>
              </a:extLst>
            </p:cNvPr>
            <p:cNvSpPr/>
            <p:nvPr/>
          </p:nvSpPr>
          <p:spPr>
            <a:xfrm rot="8716295">
              <a:off x="1696046" y="181170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1" name="Forme libre : forme 150">
              <a:extLst>
                <a:ext uri="{FF2B5EF4-FFF2-40B4-BE49-F238E27FC236}">
                  <a16:creationId xmlns:a16="http://schemas.microsoft.com/office/drawing/2014/main" id="{FD7783C5-00B3-479F-9977-DAF07693A1CC}"/>
                </a:ext>
              </a:extLst>
            </p:cNvPr>
            <p:cNvSpPr/>
            <p:nvPr/>
          </p:nvSpPr>
          <p:spPr>
            <a:xfrm rot="8716295">
              <a:off x="1923179" y="220010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2" name="Forme libre : forme 151">
              <a:extLst>
                <a:ext uri="{FF2B5EF4-FFF2-40B4-BE49-F238E27FC236}">
                  <a16:creationId xmlns:a16="http://schemas.microsoft.com/office/drawing/2014/main" id="{DEFBD7BA-14F9-43E3-A392-63B2C3EB3D89}"/>
                </a:ext>
              </a:extLst>
            </p:cNvPr>
            <p:cNvSpPr/>
            <p:nvPr/>
          </p:nvSpPr>
          <p:spPr>
            <a:xfrm rot="8716295">
              <a:off x="2234334" y="182046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3" name="Forme libre : forme 152">
              <a:extLst>
                <a:ext uri="{FF2B5EF4-FFF2-40B4-BE49-F238E27FC236}">
                  <a16:creationId xmlns:a16="http://schemas.microsoft.com/office/drawing/2014/main" id="{FA5B5BF3-F8F8-4C26-90BE-9AB63A9858C0}"/>
                </a:ext>
              </a:extLst>
            </p:cNvPr>
            <p:cNvSpPr/>
            <p:nvPr/>
          </p:nvSpPr>
          <p:spPr>
            <a:xfrm rot="8716295">
              <a:off x="2323726" y="184970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4" name="Forme libre : forme 153">
              <a:extLst>
                <a:ext uri="{FF2B5EF4-FFF2-40B4-BE49-F238E27FC236}">
                  <a16:creationId xmlns:a16="http://schemas.microsoft.com/office/drawing/2014/main" id="{7D4A76DD-C0C6-4680-9B5E-C0F67CFE2306}"/>
                </a:ext>
              </a:extLst>
            </p:cNvPr>
            <p:cNvSpPr/>
            <p:nvPr/>
          </p:nvSpPr>
          <p:spPr>
            <a:xfrm rot="8716295">
              <a:off x="2122100" y="19090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5" name="Forme libre : forme 154">
              <a:extLst>
                <a:ext uri="{FF2B5EF4-FFF2-40B4-BE49-F238E27FC236}">
                  <a16:creationId xmlns:a16="http://schemas.microsoft.com/office/drawing/2014/main" id="{6F20D922-BA49-4338-8552-0E24349BE40F}"/>
                </a:ext>
              </a:extLst>
            </p:cNvPr>
            <p:cNvSpPr/>
            <p:nvPr/>
          </p:nvSpPr>
          <p:spPr>
            <a:xfrm rot="8716295">
              <a:off x="1997198" y="170033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6" name="Forme libre : forme 155">
              <a:extLst>
                <a:ext uri="{FF2B5EF4-FFF2-40B4-BE49-F238E27FC236}">
                  <a16:creationId xmlns:a16="http://schemas.microsoft.com/office/drawing/2014/main" id="{C49CE272-F4B5-48DE-8F4E-72BDDD64982A}"/>
                </a:ext>
              </a:extLst>
            </p:cNvPr>
            <p:cNvSpPr/>
            <p:nvPr/>
          </p:nvSpPr>
          <p:spPr>
            <a:xfrm rot="8716295">
              <a:off x="2212278" y="194995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7" name="Forme libre : forme 156">
              <a:extLst>
                <a:ext uri="{FF2B5EF4-FFF2-40B4-BE49-F238E27FC236}">
                  <a16:creationId xmlns:a16="http://schemas.microsoft.com/office/drawing/2014/main" id="{89A0B9F3-EFEE-493B-B0C9-5CE4EF3AC015}"/>
                </a:ext>
              </a:extLst>
            </p:cNvPr>
            <p:cNvSpPr/>
            <p:nvPr/>
          </p:nvSpPr>
          <p:spPr>
            <a:xfrm rot="8716295">
              <a:off x="1970827" y="180035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8" name="Forme libre : forme 157">
              <a:extLst>
                <a:ext uri="{FF2B5EF4-FFF2-40B4-BE49-F238E27FC236}">
                  <a16:creationId xmlns:a16="http://schemas.microsoft.com/office/drawing/2014/main" id="{381186EF-923B-4BA3-A64F-0BC643A96F05}"/>
                </a:ext>
              </a:extLst>
            </p:cNvPr>
            <p:cNvSpPr/>
            <p:nvPr/>
          </p:nvSpPr>
          <p:spPr>
            <a:xfrm rot="7484129">
              <a:off x="2317209" y="214130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9" name="Forme libre : forme 158">
              <a:extLst>
                <a:ext uri="{FF2B5EF4-FFF2-40B4-BE49-F238E27FC236}">
                  <a16:creationId xmlns:a16="http://schemas.microsoft.com/office/drawing/2014/main" id="{788393C8-C36C-4E12-8713-6D9894A034E5}"/>
                </a:ext>
              </a:extLst>
            </p:cNvPr>
            <p:cNvSpPr/>
            <p:nvPr/>
          </p:nvSpPr>
          <p:spPr>
            <a:xfrm rot="13089394">
              <a:off x="2422029" y="2107841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0" name="Forme libre : forme 159">
              <a:extLst>
                <a:ext uri="{FF2B5EF4-FFF2-40B4-BE49-F238E27FC236}">
                  <a16:creationId xmlns:a16="http://schemas.microsoft.com/office/drawing/2014/main" id="{C4FA5850-C1BD-4E2E-921F-011D1E41FA44}"/>
                </a:ext>
              </a:extLst>
            </p:cNvPr>
            <p:cNvSpPr/>
            <p:nvPr/>
          </p:nvSpPr>
          <p:spPr>
            <a:xfrm rot="8716295">
              <a:off x="2607614" y="191616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1" name="Forme libre : forme 160">
              <a:extLst>
                <a:ext uri="{FF2B5EF4-FFF2-40B4-BE49-F238E27FC236}">
                  <a16:creationId xmlns:a16="http://schemas.microsoft.com/office/drawing/2014/main" id="{D19371A5-FFF2-4505-BA78-FDBD81E756C8}"/>
                </a:ext>
              </a:extLst>
            </p:cNvPr>
            <p:cNvSpPr/>
            <p:nvPr/>
          </p:nvSpPr>
          <p:spPr>
            <a:xfrm rot="8716295">
              <a:off x="2555809" y="181256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2" name="Forme libre : forme 161">
              <a:extLst>
                <a:ext uri="{FF2B5EF4-FFF2-40B4-BE49-F238E27FC236}">
                  <a16:creationId xmlns:a16="http://schemas.microsoft.com/office/drawing/2014/main" id="{A15BB5DD-2D34-4EE6-A86F-363F8D953409}"/>
                </a:ext>
              </a:extLst>
            </p:cNvPr>
            <p:cNvSpPr/>
            <p:nvPr/>
          </p:nvSpPr>
          <p:spPr>
            <a:xfrm rot="8716295">
              <a:off x="2312563" y="184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3" name="Forme libre : forme 162">
              <a:extLst>
                <a:ext uri="{FF2B5EF4-FFF2-40B4-BE49-F238E27FC236}">
                  <a16:creationId xmlns:a16="http://schemas.microsoft.com/office/drawing/2014/main" id="{EA840678-0C4C-427E-B930-90E4B3D4F4F5}"/>
                </a:ext>
              </a:extLst>
            </p:cNvPr>
            <p:cNvSpPr/>
            <p:nvPr/>
          </p:nvSpPr>
          <p:spPr>
            <a:xfrm rot="8716295">
              <a:off x="2490015" y="168354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4" name="Forme libre : forme 163">
              <a:extLst>
                <a:ext uri="{FF2B5EF4-FFF2-40B4-BE49-F238E27FC236}">
                  <a16:creationId xmlns:a16="http://schemas.microsoft.com/office/drawing/2014/main" id="{D24A7F84-D7C5-48B5-A2D9-046539552BF1}"/>
                </a:ext>
              </a:extLst>
            </p:cNvPr>
            <p:cNvSpPr/>
            <p:nvPr/>
          </p:nvSpPr>
          <p:spPr>
            <a:xfrm rot="8716295">
              <a:off x="1722068" y="141091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5" name="Forme libre : forme 164">
              <a:extLst>
                <a:ext uri="{FF2B5EF4-FFF2-40B4-BE49-F238E27FC236}">
                  <a16:creationId xmlns:a16="http://schemas.microsoft.com/office/drawing/2014/main" id="{5057A8E5-18E1-48A6-876F-42538393E91C}"/>
                </a:ext>
              </a:extLst>
            </p:cNvPr>
            <p:cNvSpPr/>
            <p:nvPr/>
          </p:nvSpPr>
          <p:spPr>
            <a:xfrm rot="8716295">
              <a:off x="1811460" y="144015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6" name="Forme libre : forme 165">
              <a:extLst>
                <a:ext uri="{FF2B5EF4-FFF2-40B4-BE49-F238E27FC236}">
                  <a16:creationId xmlns:a16="http://schemas.microsoft.com/office/drawing/2014/main" id="{F17BAF41-442E-4918-95C6-E19EEA6D7525}"/>
                </a:ext>
              </a:extLst>
            </p:cNvPr>
            <p:cNvSpPr/>
            <p:nvPr/>
          </p:nvSpPr>
          <p:spPr>
            <a:xfrm rot="8716295">
              <a:off x="1766610" y="135387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7" name="Forme libre : forme 166">
              <a:extLst>
                <a:ext uri="{FF2B5EF4-FFF2-40B4-BE49-F238E27FC236}">
                  <a16:creationId xmlns:a16="http://schemas.microsoft.com/office/drawing/2014/main" id="{62988CCC-AFDA-4601-89EC-2DCFE47EF1C9}"/>
                </a:ext>
              </a:extLst>
            </p:cNvPr>
            <p:cNvSpPr/>
            <p:nvPr/>
          </p:nvSpPr>
          <p:spPr>
            <a:xfrm rot="8716295">
              <a:off x="1609834" y="149945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8" name="Forme libre : forme 167">
              <a:extLst>
                <a:ext uri="{FF2B5EF4-FFF2-40B4-BE49-F238E27FC236}">
                  <a16:creationId xmlns:a16="http://schemas.microsoft.com/office/drawing/2014/main" id="{5054FA74-E8B8-46F3-A02A-768107F93576}"/>
                </a:ext>
              </a:extLst>
            </p:cNvPr>
            <p:cNvSpPr/>
            <p:nvPr/>
          </p:nvSpPr>
          <p:spPr>
            <a:xfrm rot="8716295">
              <a:off x="1484931" y="129078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9" name="Forme libre : forme 168">
              <a:extLst>
                <a:ext uri="{FF2B5EF4-FFF2-40B4-BE49-F238E27FC236}">
                  <a16:creationId xmlns:a16="http://schemas.microsoft.com/office/drawing/2014/main" id="{A04E0DF6-BDC7-4FC4-B1B7-F62238D08C5B}"/>
                </a:ext>
              </a:extLst>
            </p:cNvPr>
            <p:cNvSpPr/>
            <p:nvPr/>
          </p:nvSpPr>
          <p:spPr>
            <a:xfrm rot="8716295">
              <a:off x="1472879" y="115200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0" name="Forme libre : forme 169">
              <a:extLst>
                <a:ext uri="{FF2B5EF4-FFF2-40B4-BE49-F238E27FC236}">
                  <a16:creationId xmlns:a16="http://schemas.microsoft.com/office/drawing/2014/main" id="{57389608-4676-4687-8ECB-4D71B8133D4F}"/>
                </a:ext>
              </a:extLst>
            </p:cNvPr>
            <p:cNvSpPr/>
            <p:nvPr/>
          </p:nvSpPr>
          <p:spPr>
            <a:xfrm rot="8716295">
              <a:off x="1700012" y="154040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1" name="Forme libre : forme 170">
              <a:extLst>
                <a:ext uri="{FF2B5EF4-FFF2-40B4-BE49-F238E27FC236}">
                  <a16:creationId xmlns:a16="http://schemas.microsoft.com/office/drawing/2014/main" id="{B4719429-3450-446C-9492-3B4DE807655B}"/>
                </a:ext>
              </a:extLst>
            </p:cNvPr>
            <p:cNvSpPr/>
            <p:nvPr/>
          </p:nvSpPr>
          <p:spPr>
            <a:xfrm rot="8716295">
              <a:off x="2011167" y="116076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2" name="Forme libre : forme 171">
              <a:extLst>
                <a:ext uri="{FF2B5EF4-FFF2-40B4-BE49-F238E27FC236}">
                  <a16:creationId xmlns:a16="http://schemas.microsoft.com/office/drawing/2014/main" id="{1BD21CA5-EDB3-4B1C-9DA6-85A17C61C7E0}"/>
                </a:ext>
              </a:extLst>
            </p:cNvPr>
            <p:cNvSpPr/>
            <p:nvPr/>
          </p:nvSpPr>
          <p:spPr>
            <a:xfrm rot="8716295">
              <a:off x="2100559" y="119000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3" name="Forme libre : forme 172">
              <a:extLst>
                <a:ext uri="{FF2B5EF4-FFF2-40B4-BE49-F238E27FC236}">
                  <a16:creationId xmlns:a16="http://schemas.microsoft.com/office/drawing/2014/main" id="{7CA91DF5-20FD-481D-801E-1A30383F35AF}"/>
                </a:ext>
              </a:extLst>
            </p:cNvPr>
            <p:cNvSpPr/>
            <p:nvPr/>
          </p:nvSpPr>
          <p:spPr>
            <a:xfrm rot="8716295">
              <a:off x="1898933" y="124930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4" name="Forme libre : forme 173">
              <a:extLst>
                <a:ext uri="{FF2B5EF4-FFF2-40B4-BE49-F238E27FC236}">
                  <a16:creationId xmlns:a16="http://schemas.microsoft.com/office/drawing/2014/main" id="{14C3D20C-5774-494C-8893-5288670D0889}"/>
                </a:ext>
              </a:extLst>
            </p:cNvPr>
            <p:cNvSpPr/>
            <p:nvPr/>
          </p:nvSpPr>
          <p:spPr>
            <a:xfrm rot="8716295">
              <a:off x="1774031" y="104063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5" name="Forme libre : forme 174">
              <a:extLst>
                <a:ext uri="{FF2B5EF4-FFF2-40B4-BE49-F238E27FC236}">
                  <a16:creationId xmlns:a16="http://schemas.microsoft.com/office/drawing/2014/main" id="{921096A6-36F4-49A7-A062-8CA8DFB2FA2B}"/>
                </a:ext>
              </a:extLst>
            </p:cNvPr>
            <p:cNvSpPr/>
            <p:nvPr/>
          </p:nvSpPr>
          <p:spPr>
            <a:xfrm rot="8716295">
              <a:off x="1989111" y="129025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6" name="Forme libre : forme 175">
              <a:extLst>
                <a:ext uri="{FF2B5EF4-FFF2-40B4-BE49-F238E27FC236}">
                  <a16:creationId xmlns:a16="http://schemas.microsoft.com/office/drawing/2014/main" id="{B0920127-DB05-4341-ACD2-55A82DB831D0}"/>
                </a:ext>
              </a:extLst>
            </p:cNvPr>
            <p:cNvSpPr/>
            <p:nvPr/>
          </p:nvSpPr>
          <p:spPr>
            <a:xfrm rot="8716295">
              <a:off x="1747660" y="114065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7" name="Forme libre : forme 176">
              <a:extLst>
                <a:ext uri="{FF2B5EF4-FFF2-40B4-BE49-F238E27FC236}">
                  <a16:creationId xmlns:a16="http://schemas.microsoft.com/office/drawing/2014/main" id="{247E137A-2962-45C6-854D-3C335B97D942}"/>
                </a:ext>
              </a:extLst>
            </p:cNvPr>
            <p:cNvSpPr/>
            <p:nvPr/>
          </p:nvSpPr>
          <p:spPr>
            <a:xfrm rot="7484129">
              <a:off x="2094042" y="148160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8" name="Forme libre : forme 177">
              <a:extLst>
                <a:ext uri="{FF2B5EF4-FFF2-40B4-BE49-F238E27FC236}">
                  <a16:creationId xmlns:a16="http://schemas.microsoft.com/office/drawing/2014/main" id="{AF26B0FA-FC69-4100-A938-0778F8E044BC}"/>
                </a:ext>
              </a:extLst>
            </p:cNvPr>
            <p:cNvSpPr/>
            <p:nvPr/>
          </p:nvSpPr>
          <p:spPr>
            <a:xfrm rot="13089394">
              <a:off x="2198862" y="144814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9" name="Forme libre : forme 178">
              <a:extLst>
                <a:ext uri="{FF2B5EF4-FFF2-40B4-BE49-F238E27FC236}">
                  <a16:creationId xmlns:a16="http://schemas.microsoft.com/office/drawing/2014/main" id="{39EC1976-14A4-4281-9016-8D042C84E539}"/>
                </a:ext>
              </a:extLst>
            </p:cNvPr>
            <p:cNvSpPr/>
            <p:nvPr/>
          </p:nvSpPr>
          <p:spPr>
            <a:xfrm rot="8716295">
              <a:off x="2384447" y="125646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0" name="Forme libre : forme 179">
              <a:extLst>
                <a:ext uri="{FF2B5EF4-FFF2-40B4-BE49-F238E27FC236}">
                  <a16:creationId xmlns:a16="http://schemas.microsoft.com/office/drawing/2014/main" id="{C3D1445E-47EC-4B9A-86DA-68830C5A9003}"/>
                </a:ext>
              </a:extLst>
            </p:cNvPr>
            <p:cNvSpPr/>
            <p:nvPr/>
          </p:nvSpPr>
          <p:spPr>
            <a:xfrm rot="8716295">
              <a:off x="2332642" y="115286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" name="Forme libre : forme 180">
              <a:extLst>
                <a:ext uri="{FF2B5EF4-FFF2-40B4-BE49-F238E27FC236}">
                  <a16:creationId xmlns:a16="http://schemas.microsoft.com/office/drawing/2014/main" id="{6D64B041-AA03-4C2C-B195-E69DDAF61BCF}"/>
                </a:ext>
              </a:extLst>
            </p:cNvPr>
            <p:cNvSpPr/>
            <p:nvPr/>
          </p:nvSpPr>
          <p:spPr>
            <a:xfrm rot="8716295">
              <a:off x="2089396" y="118308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" name="Forme libre : forme 181">
              <a:extLst>
                <a:ext uri="{FF2B5EF4-FFF2-40B4-BE49-F238E27FC236}">
                  <a16:creationId xmlns:a16="http://schemas.microsoft.com/office/drawing/2014/main" id="{6929DCAA-A61B-45A7-8707-91162650FFF3}"/>
                </a:ext>
              </a:extLst>
            </p:cNvPr>
            <p:cNvSpPr/>
            <p:nvPr/>
          </p:nvSpPr>
          <p:spPr>
            <a:xfrm rot="8716295">
              <a:off x="2266848" y="102384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" name="Forme libre : forme 182">
              <a:extLst>
                <a:ext uri="{FF2B5EF4-FFF2-40B4-BE49-F238E27FC236}">
                  <a16:creationId xmlns:a16="http://schemas.microsoft.com/office/drawing/2014/main" id="{606C2101-E652-4D30-867F-39388545E11E}"/>
                </a:ext>
              </a:extLst>
            </p:cNvPr>
            <p:cNvSpPr/>
            <p:nvPr/>
          </p:nvSpPr>
          <p:spPr>
            <a:xfrm rot="8716295">
              <a:off x="1503129" y="74885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" name="Forme libre : forme 183">
              <a:extLst>
                <a:ext uri="{FF2B5EF4-FFF2-40B4-BE49-F238E27FC236}">
                  <a16:creationId xmlns:a16="http://schemas.microsoft.com/office/drawing/2014/main" id="{BCCF4C0A-B226-447A-AED6-6E411077F313}"/>
                </a:ext>
              </a:extLst>
            </p:cNvPr>
            <p:cNvSpPr/>
            <p:nvPr/>
          </p:nvSpPr>
          <p:spPr>
            <a:xfrm rot="8716295">
              <a:off x="1592521" y="77809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" name="Forme libre : forme 184">
              <a:extLst>
                <a:ext uri="{FF2B5EF4-FFF2-40B4-BE49-F238E27FC236}">
                  <a16:creationId xmlns:a16="http://schemas.microsoft.com/office/drawing/2014/main" id="{1047FAEE-E0A8-4DC0-AF81-D0262E51D58E}"/>
                </a:ext>
              </a:extLst>
            </p:cNvPr>
            <p:cNvSpPr/>
            <p:nvPr/>
          </p:nvSpPr>
          <p:spPr>
            <a:xfrm rot="8716295">
              <a:off x="1547671" y="69181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" name="Forme libre : forme 185">
              <a:extLst>
                <a:ext uri="{FF2B5EF4-FFF2-40B4-BE49-F238E27FC236}">
                  <a16:creationId xmlns:a16="http://schemas.microsoft.com/office/drawing/2014/main" id="{30E94405-5131-4E4F-8725-C67590E30DB2}"/>
                </a:ext>
              </a:extLst>
            </p:cNvPr>
            <p:cNvSpPr/>
            <p:nvPr/>
          </p:nvSpPr>
          <p:spPr>
            <a:xfrm rot="8716295">
              <a:off x="1390895" y="83739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" name="Forme libre : forme 186">
              <a:extLst>
                <a:ext uri="{FF2B5EF4-FFF2-40B4-BE49-F238E27FC236}">
                  <a16:creationId xmlns:a16="http://schemas.microsoft.com/office/drawing/2014/main" id="{3592B2BF-462B-42D1-B159-935FE013A746}"/>
                </a:ext>
              </a:extLst>
            </p:cNvPr>
            <p:cNvSpPr/>
            <p:nvPr/>
          </p:nvSpPr>
          <p:spPr>
            <a:xfrm rot="8716295">
              <a:off x="1265992" y="62872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" name="Forme libre : forme 187">
              <a:extLst>
                <a:ext uri="{FF2B5EF4-FFF2-40B4-BE49-F238E27FC236}">
                  <a16:creationId xmlns:a16="http://schemas.microsoft.com/office/drawing/2014/main" id="{1E56EF9D-6FEF-4D8D-A155-3A26210B9301}"/>
                </a:ext>
              </a:extLst>
            </p:cNvPr>
            <p:cNvSpPr/>
            <p:nvPr/>
          </p:nvSpPr>
          <p:spPr>
            <a:xfrm rot="8716295">
              <a:off x="1253940" y="48994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" name="Forme libre : forme 188">
              <a:extLst>
                <a:ext uri="{FF2B5EF4-FFF2-40B4-BE49-F238E27FC236}">
                  <a16:creationId xmlns:a16="http://schemas.microsoft.com/office/drawing/2014/main" id="{ABF55A8B-11D0-49F1-BB9C-9578891D6FAC}"/>
                </a:ext>
              </a:extLst>
            </p:cNvPr>
            <p:cNvSpPr/>
            <p:nvPr/>
          </p:nvSpPr>
          <p:spPr>
            <a:xfrm rot="8716295">
              <a:off x="1481073" y="87835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" name="Forme libre : forme 189">
              <a:extLst>
                <a:ext uri="{FF2B5EF4-FFF2-40B4-BE49-F238E27FC236}">
                  <a16:creationId xmlns:a16="http://schemas.microsoft.com/office/drawing/2014/main" id="{946D037D-9BA1-48DA-87EF-5EF5B831A0E1}"/>
                </a:ext>
              </a:extLst>
            </p:cNvPr>
            <p:cNvSpPr/>
            <p:nvPr/>
          </p:nvSpPr>
          <p:spPr>
            <a:xfrm rot="8716295">
              <a:off x="1792228" y="4987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" name="Forme libre : forme 190">
              <a:extLst>
                <a:ext uri="{FF2B5EF4-FFF2-40B4-BE49-F238E27FC236}">
                  <a16:creationId xmlns:a16="http://schemas.microsoft.com/office/drawing/2014/main" id="{27B82C76-9BEA-43A1-96FA-84295CCF0AA5}"/>
                </a:ext>
              </a:extLst>
            </p:cNvPr>
            <p:cNvSpPr/>
            <p:nvPr/>
          </p:nvSpPr>
          <p:spPr>
            <a:xfrm rot="8716295">
              <a:off x="1881620" y="5279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" name="Forme libre : forme 191">
              <a:extLst>
                <a:ext uri="{FF2B5EF4-FFF2-40B4-BE49-F238E27FC236}">
                  <a16:creationId xmlns:a16="http://schemas.microsoft.com/office/drawing/2014/main" id="{C9AF6FC6-301E-4498-93BF-1A9EB1439FE6}"/>
                </a:ext>
              </a:extLst>
            </p:cNvPr>
            <p:cNvSpPr/>
            <p:nvPr/>
          </p:nvSpPr>
          <p:spPr>
            <a:xfrm rot="8716295">
              <a:off x="1679994" y="58724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" name="Forme libre : forme 192">
              <a:extLst>
                <a:ext uri="{FF2B5EF4-FFF2-40B4-BE49-F238E27FC236}">
                  <a16:creationId xmlns:a16="http://schemas.microsoft.com/office/drawing/2014/main" id="{988C10D0-6B50-41AB-B9B5-23D20681103E}"/>
                </a:ext>
              </a:extLst>
            </p:cNvPr>
            <p:cNvSpPr/>
            <p:nvPr/>
          </p:nvSpPr>
          <p:spPr>
            <a:xfrm rot="8716295">
              <a:off x="1555092" y="37857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" name="Forme libre : forme 193">
              <a:extLst>
                <a:ext uri="{FF2B5EF4-FFF2-40B4-BE49-F238E27FC236}">
                  <a16:creationId xmlns:a16="http://schemas.microsoft.com/office/drawing/2014/main" id="{BA88EE97-63F0-4D28-BDD9-E175569D56C8}"/>
                </a:ext>
              </a:extLst>
            </p:cNvPr>
            <p:cNvSpPr/>
            <p:nvPr/>
          </p:nvSpPr>
          <p:spPr>
            <a:xfrm rot="8716295">
              <a:off x="1770172" y="62819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" name="Forme libre : forme 194">
              <a:extLst>
                <a:ext uri="{FF2B5EF4-FFF2-40B4-BE49-F238E27FC236}">
                  <a16:creationId xmlns:a16="http://schemas.microsoft.com/office/drawing/2014/main" id="{7DB936D3-752D-4426-96C6-451097B40A6E}"/>
                </a:ext>
              </a:extLst>
            </p:cNvPr>
            <p:cNvSpPr/>
            <p:nvPr/>
          </p:nvSpPr>
          <p:spPr>
            <a:xfrm rot="8716295">
              <a:off x="1528721" y="47859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" name="Forme libre : forme 195">
              <a:extLst>
                <a:ext uri="{FF2B5EF4-FFF2-40B4-BE49-F238E27FC236}">
                  <a16:creationId xmlns:a16="http://schemas.microsoft.com/office/drawing/2014/main" id="{6E95CB13-89AC-4C2B-9D9A-140661272E61}"/>
                </a:ext>
              </a:extLst>
            </p:cNvPr>
            <p:cNvSpPr/>
            <p:nvPr/>
          </p:nvSpPr>
          <p:spPr>
            <a:xfrm rot="7484129">
              <a:off x="1875103" y="8195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" name="Forme libre : forme 196">
              <a:extLst>
                <a:ext uri="{FF2B5EF4-FFF2-40B4-BE49-F238E27FC236}">
                  <a16:creationId xmlns:a16="http://schemas.microsoft.com/office/drawing/2014/main" id="{E94CA442-8190-4409-8D0E-996A3C13C977}"/>
                </a:ext>
              </a:extLst>
            </p:cNvPr>
            <p:cNvSpPr/>
            <p:nvPr/>
          </p:nvSpPr>
          <p:spPr>
            <a:xfrm rot="13089394">
              <a:off x="1979923" y="7860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" name="Forme libre : forme 197">
              <a:extLst>
                <a:ext uri="{FF2B5EF4-FFF2-40B4-BE49-F238E27FC236}">
                  <a16:creationId xmlns:a16="http://schemas.microsoft.com/office/drawing/2014/main" id="{52184F7E-FD35-4373-B77A-668CA5FF6983}"/>
                </a:ext>
              </a:extLst>
            </p:cNvPr>
            <p:cNvSpPr/>
            <p:nvPr/>
          </p:nvSpPr>
          <p:spPr>
            <a:xfrm rot="8716295">
              <a:off x="2165508" y="5944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" name="Forme libre : forme 198">
              <a:extLst>
                <a:ext uri="{FF2B5EF4-FFF2-40B4-BE49-F238E27FC236}">
                  <a16:creationId xmlns:a16="http://schemas.microsoft.com/office/drawing/2014/main" id="{203E9F12-3C6B-465D-9FDE-0F57C68E6794}"/>
                </a:ext>
              </a:extLst>
            </p:cNvPr>
            <p:cNvSpPr/>
            <p:nvPr/>
          </p:nvSpPr>
          <p:spPr>
            <a:xfrm rot="8716295">
              <a:off x="2113703" y="4908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" name="Forme libre : forme 199">
              <a:extLst>
                <a:ext uri="{FF2B5EF4-FFF2-40B4-BE49-F238E27FC236}">
                  <a16:creationId xmlns:a16="http://schemas.microsoft.com/office/drawing/2014/main" id="{3A4792DF-206D-4745-96BF-57BE9528DC29}"/>
                </a:ext>
              </a:extLst>
            </p:cNvPr>
            <p:cNvSpPr/>
            <p:nvPr/>
          </p:nvSpPr>
          <p:spPr>
            <a:xfrm rot="8716295">
              <a:off x="1870457" y="5210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" name="Forme libre : forme 200">
              <a:extLst>
                <a:ext uri="{FF2B5EF4-FFF2-40B4-BE49-F238E27FC236}">
                  <a16:creationId xmlns:a16="http://schemas.microsoft.com/office/drawing/2014/main" id="{D95C5BFF-0992-4FE2-933F-F0F5A8B60014}"/>
                </a:ext>
              </a:extLst>
            </p:cNvPr>
            <p:cNvSpPr/>
            <p:nvPr/>
          </p:nvSpPr>
          <p:spPr>
            <a:xfrm rot="8716295">
              <a:off x="2047909" y="3617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" name="Forme libre : forme 201">
              <a:extLst>
                <a:ext uri="{FF2B5EF4-FFF2-40B4-BE49-F238E27FC236}">
                  <a16:creationId xmlns:a16="http://schemas.microsoft.com/office/drawing/2014/main" id="{20C3FF4D-8F7D-4FCE-A8F6-F7C60C54B616}"/>
                </a:ext>
              </a:extLst>
            </p:cNvPr>
            <p:cNvSpPr/>
            <p:nvPr/>
          </p:nvSpPr>
          <p:spPr>
            <a:xfrm rot="8716295">
              <a:off x="1280459" y="8544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" name="Forme libre : forme 202">
              <a:extLst>
                <a:ext uri="{FF2B5EF4-FFF2-40B4-BE49-F238E27FC236}">
                  <a16:creationId xmlns:a16="http://schemas.microsoft.com/office/drawing/2014/main" id="{4A2EE2E0-D7CF-43D6-ACB3-BE33DBCC49BB}"/>
                </a:ext>
              </a:extLst>
            </p:cNvPr>
            <p:cNvSpPr/>
            <p:nvPr/>
          </p:nvSpPr>
          <p:spPr>
            <a:xfrm rot="8716295">
              <a:off x="1369851" y="11468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" name="Forme libre : forme 203">
              <a:extLst>
                <a:ext uri="{FF2B5EF4-FFF2-40B4-BE49-F238E27FC236}">
                  <a16:creationId xmlns:a16="http://schemas.microsoft.com/office/drawing/2014/main" id="{ADCFE50E-B4B9-4301-A613-96CD6C8E76F5}"/>
                </a:ext>
              </a:extLst>
            </p:cNvPr>
            <p:cNvSpPr/>
            <p:nvPr/>
          </p:nvSpPr>
          <p:spPr>
            <a:xfrm rot="8716295">
              <a:off x="1325001" y="2840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" name="Forme libre : forme 204">
              <a:extLst>
                <a:ext uri="{FF2B5EF4-FFF2-40B4-BE49-F238E27FC236}">
                  <a16:creationId xmlns:a16="http://schemas.microsoft.com/office/drawing/2014/main" id="{1C78DD3D-BA43-491E-A425-4F726ABF99F2}"/>
                </a:ext>
              </a:extLst>
            </p:cNvPr>
            <p:cNvSpPr/>
            <p:nvPr/>
          </p:nvSpPr>
          <p:spPr>
            <a:xfrm rot="8716295">
              <a:off x="1168225" y="17398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" name="Forme libre : forme 205">
              <a:extLst>
                <a:ext uri="{FF2B5EF4-FFF2-40B4-BE49-F238E27FC236}">
                  <a16:creationId xmlns:a16="http://schemas.microsoft.com/office/drawing/2014/main" id="{58A93461-0B09-4176-BDF3-87683487BEBD}"/>
                </a:ext>
              </a:extLst>
            </p:cNvPr>
            <p:cNvSpPr/>
            <p:nvPr/>
          </p:nvSpPr>
          <p:spPr>
            <a:xfrm rot="8716295">
              <a:off x="1045449" y="-13548"/>
              <a:ext cx="203847" cy="172572"/>
            </a:xfrm>
            <a:custGeom>
              <a:avLst/>
              <a:gdLst>
                <a:gd name="connsiteX0" fmla="*/ 98725 w 203847"/>
                <a:gd name="connsiteY0" fmla="*/ 172572 h 172572"/>
                <a:gd name="connsiteX1" fmla="*/ 65988 w 203847"/>
                <a:gd name="connsiteY1" fmla="*/ 149880 h 172572"/>
                <a:gd name="connsiteX2" fmla="*/ 47847 w 203847"/>
                <a:gd name="connsiteY2" fmla="*/ 116129 h 172572"/>
                <a:gd name="connsiteX3" fmla="*/ 69777 w 203847"/>
                <a:gd name="connsiteY3" fmla="*/ 55323 h 172572"/>
                <a:gd name="connsiteX4" fmla="*/ 0 w 203847"/>
                <a:gd name="connsiteY4" fmla="*/ 55323 h 172572"/>
                <a:gd name="connsiteX5" fmla="*/ 0 w 203847"/>
                <a:gd name="connsiteY5" fmla="*/ 0 h 172572"/>
                <a:gd name="connsiteX6" fmla="*/ 203847 w 203847"/>
                <a:gd name="connsiteY6" fmla="*/ 0 h 172572"/>
                <a:gd name="connsiteX7" fmla="*/ 203847 w 203847"/>
                <a:gd name="connsiteY7" fmla="*/ 55323 h 172572"/>
                <a:gd name="connsiteX8" fmla="*/ 139055 w 203847"/>
                <a:gd name="connsiteY8" fmla="*/ 55323 h 172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72572">
                  <a:moveTo>
                    <a:pt x="98725" y="172572"/>
                  </a:moveTo>
                  <a:lnTo>
                    <a:pt x="65988" y="149880"/>
                  </a:ln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" name="Forme libre : forme 206">
              <a:extLst>
                <a:ext uri="{FF2B5EF4-FFF2-40B4-BE49-F238E27FC236}">
                  <a16:creationId xmlns:a16="http://schemas.microsoft.com/office/drawing/2014/main" id="{F6E141F6-F3D7-4382-A5A9-B9DC46311949}"/>
                </a:ext>
              </a:extLst>
            </p:cNvPr>
            <p:cNvSpPr/>
            <p:nvPr/>
          </p:nvSpPr>
          <p:spPr>
            <a:xfrm rot="8716295">
              <a:off x="1049608" y="-107301"/>
              <a:ext cx="290643" cy="275223"/>
            </a:xfrm>
            <a:custGeom>
              <a:avLst/>
              <a:gdLst>
                <a:gd name="connsiteX0" fmla="*/ 79172 w 290643"/>
                <a:gd name="connsiteY0" fmla="*/ 128638 h 275223"/>
                <a:gd name="connsiteX1" fmla="*/ 0 w 290643"/>
                <a:gd name="connsiteY1" fmla="*/ 73758 h 275223"/>
                <a:gd name="connsiteX2" fmla="*/ 0 w 290643"/>
                <a:gd name="connsiteY2" fmla="*/ 40596 h 275223"/>
                <a:gd name="connsiteX3" fmla="*/ 78250 w 290643"/>
                <a:gd name="connsiteY3" fmla="*/ 0 h 275223"/>
                <a:gd name="connsiteX4" fmla="*/ 290643 w 290643"/>
                <a:gd name="connsiteY4" fmla="*/ 275223 h 275223"/>
                <a:gd name="connsiteX5" fmla="*/ 278016 w 290643"/>
                <a:gd name="connsiteY5" fmla="*/ 266470 h 275223"/>
                <a:gd name="connsiteX6" fmla="*/ 289467 w 290643"/>
                <a:gd name="connsiteY6" fmla="*/ 261815 h 275223"/>
                <a:gd name="connsiteX7" fmla="*/ 290643 w 290643"/>
                <a:gd name="connsiteY7" fmla="*/ 269463 h 27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0643" h="275223">
                  <a:moveTo>
                    <a:pt x="79172" y="128638"/>
                  </a:moveTo>
                  <a:lnTo>
                    <a:pt x="0" y="73758"/>
                  </a:lnTo>
                  <a:lnTo>
                    <a:pt x="0" y="40596"/>
                  </a:lnTo>
                  <a:lnTo>
                    <a:pt x="78250" y="0"/>
                  </a:lnTo>
                  <a:close/>
                  <a:moveTo>
                    <a:pt x="290643" y="275223"/>
                  </a:moveTo>
                  <a:lnTo>
                    <a:pt x="278016" y="266470"/>
                  </a:lnTo>
                  <a:lnTo>
                    <a:pt x="289467" y="261815"/>
                  </a:lnTo>
                  <a:cubicBezTo>
                    <a:pt x="290055" y="264168"/>
                    <a:pt x="290643" y="267110"/>
                    <a:pt x="290643" y="2694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" name="Forme libre : forme 207">
              <a:extLst>
                <a:ext uri="{FF2B5EF4-FFF2-40B4-BE49-F238E27FC236}">
                  <a16:creationId xmlns:a16="http://schemas.microsoft.com/office/drawing/2014/main" id="{4C5F5C19-6F05-476E-8B4C-2E1271E3709B}"/>
                </a:ext>
              </a:extLst>
            </p:cNvPr>
            <p:cNvSpPr/>
            <p:nvPr/>
          </p:nvSpPr>
          <p:spPr>
            <a:xfrm rot="8716295">
              <a:off x="1258403" y="21493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" name="Forme libre : forme 208">
              <a:extLst>
                <a:ext uri="{FF2B5EF4-FFF2-40B4-BE49-F238E27FC236}">
                  <a16:creationId xmlns:a16="http://schemas.microsoft.com/office/drawing/2014/main" id="{99462675-4E20-4299-99A1-8C989AC1AC7A}"/>
                </a:ext>
              </a:extLst>
            </p:cNvPr>
            <p:cNvSpPr/>
            <p:nvPr/>
          </p:nvSpPr>
          <p:spPr>
            <a:xfrm rot="8716295">
              <a:off x="1604517" y="-50002"/>
              <a:ext cx="142167" cy="106747"/>
            </a:xfrm>
            <a:custGeom>
              <a:avLst/>
              <a:gdLst>
                <a:gd name="connsiteX0" fmla="*/ 142167 w 142167"/>
                <a:gd name="connsiteY0" fmla="*/ 106747 h 106747"/>
                <a:gd name="connsiteX1" fmla="*/ 79942 w 142167"/>
                <a:gd name="connsiteY1" fmla="*/ 63615 h 106747"/>
                <a:gd name="connsiteX2" fmla="*/ 74103 w 142167"/>
                <a:gd name="connsiteY2" fmla="*/ 53597 h 106747"/>
                <a:gd name="connsiteX3" fmla="*/ 60604 w 142167"/>
                <a:gd name="connsiteY3" fmla="*/ 50123 h 106747"/>
                <a:gd name="connsiteX4" fmla="*/ 60478 w 142167"/>
                <a:gd name="connsiteY4" fmla="*/ 50123 h 106747"/>
                <a:gd name="connsiteX5" fmla="*/ 0 w 142167"/>
                <a:gd name="connsiteY5" fmla="*/ 8201 h 106747"/>
                <a:gd name="connsiteX6" fmla="*/ 0 w 142167"/>
                <a:gd name="connsiteY6" fmla="*/ 0 h 106747"/>
                <a:gd name="connsiteX7" fmla="*/ 85209 w 142167"/>
                <a:gd name="connsiteY7" fmla="*/ 0 h 106747"/>
                <a:gd name="connsiteX8" fmla="*/ 142167 w 142167"/>
                <a:gd name="connsiteY8" fmla="*/ 50123 h 10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06747">
                  <a:moveTo>
                    <a:pt x="142167" y="106747"/>
                  </a:moveTo>
                  <a:lnTo>
                    <a:pt x="79942" y="63615"/>
                  </a:lnTo>
                  <a:lnTo>
                    <a:pt x="74103" y="53597"/>
                  </a:lnTo>
                  <a:cubicBezTo>
                    <a:pt x="70400" y="50806"/>
                    <a:pt x="65616" y="49439"/>
                    <a:pt x="60604" y="50123"/>
                  </a:cubicBezTo>
                  <a:lnTo>
                    <a:pt x="60478" y="50123"/>
                  </a:lnTo>
                  <a:lnTo>
                    <a:pt x="0" y="8201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" name="Forme libre : forme 209">
              <a:extLst>
                <a:ext uri="{FF2B5EF4-FFF2-40B4-BE49-F238E27FC236}">
                  <a16:creationId xmlns:a16="http://schemas.microsoft.com/office/drawing/2014/main" id="{F18E365A-DFDC-47DB-8B33-290827288FD8}"/>
                </a:ext>
              </a:extLst>
            </p:cNvPr>
            <p:cNvSpPr/>
            <p:nvPr/>
          </p:nvSpPr>
          <p:spPr>
            <a:xfrm rot="8716295">
              <a:off x="1699771" y="-2013"/>
              <a:ext cx="260639" cy="104392"/>
            </a:xfrm>
            <a:custGeom>
              <a:avLst/>
              <a:gdLst>
                <a:gd name="connsiteX0" fmla="*/ 117530 w 260639"/>
                <a:gd name="connsiteY0" fmla="*/ 104392 h 104392"/>
                <a:gd name="connsiteX1" fmla="*/ 51490 w 260639"/>
                <a:gd name="connsiteY1" fmla="*/ 58614 h 104392"/>
                <a:gd name="connsiteX2" fmla="*/ 51490 w 260639"/>
                <a:gd name="connsiteY2" fmla="*/ 45624 h 104392"/>
                <a:gd name="connsiteX3" fmla="*/ 32748 w 260639"/>
                <a:gd name="connsiteY3" fmla="*/ 45624 h 104392"/>
                <a:gd name="connsiteX4" fmla="*/ 0 w 260639"/>
                <a:gd name="connsiteY4" fmla="*/ 22924 h 104392"/>
                <a:gd name="connsiteX5" fmla="*/ 0 w 260639"/>
                <a:gd name="connsiteY5" fmla="*/ 1425 h 104392"/>
                <a:gd name="connsiteX6" fmla="*/ 104802 w 260639"/>
                <a:gd name="connsiteY6" fmla="*/ 1425 h 104392"/>
                <a:gd name="connsiteX7" fmla="*/ 104802 w 260639"/>
                <a:gd name="connsiteY7" fmla="*/ 75242 h 104392"/>
                <a:gd name="connsiteX8" fmla="*/ 106169 w 260639"/>
                <a:gd name="connsiteY8" fmla="*/ 75242 h 104392"/>
                <a:gd name="connsiteX9" fmla="*/ 154014 w 260639"/>
                <a:gd name="connsiteY9" fmla="*/ 5981 h 104392"/>
                <a:gd name="connsiteX10" fmla="*/ 185455 w 260639"/>
                <a:gd name="connsiteY10" fmla="*/ 57 h 104392"/>
                <a:gd name="connsiteX11" fmla="*/ 260639 w 260639"/>
                <a:gd name="connsiteY11" fmla="*/ 88456 h 104392"/>
                <a:gd name="connsiteX12" fmla="*/ 260639 w 260639"/>
                <a:gd name="connsiteY12" fmla="*/ 94380 h 104392"/>
                <a:gd name="connsiteX13" fmla="*/ 198669 w 260639"/>
                <a:gd name="connsiteY13" fmla="*/ 98025 h 104392"/>
                <a:gd name="connsiteX14" fmla="*/ 198669 w 260639"/>
                <a:gd name="connsiteY14" fmla="*/ 81621 h 104392"/>
                <a:gd name="connsiteX15" fmla="*/ 164950 w 260639"/>
                <a:gd name="connsiteY15" fmla="*/ 40156 h 104392"/>
                <a:gd name="connsiteX16" fmla="*/ 127358 w 260639"/>
                <a:gd name="connsiteY16" fmla="*/ 65616 h 104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60639" h="104392">
                  <a:moveTo>
                    <a:pt x="117530" y="104392"/>
                  </a:moveTo>
                  <a:lnTo>
                    <a:pt x="51490" y="58614"/>
                  </a:lnTo>
                  <a:lnTo>
                    <a:pt x="51490" y="45624"/>
                  </a:lnTo>
                  <a:lnTo>
                    <a:pt x="32748" y="45624"/>
                  </a:lnTo>
                  <a:lnTo>
                    <a:pt x="0" y="229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5"/>
                    <a:pt x="184544" y="40156"/>
                    <a:pt x="164950" y="40156"/>
                  </a:cubicBezTo>
                  <a:cubicBezTo>
                    <a:pt x="150369" y="40156"/>
                    <a:pt x="137041" y="49839"/>
                    <a:pt x="127358" y="656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" name="Forme libre : forme 210">
              <a:extLst>
                <a:ext uri="{FF2B5EF4-FFF2-40B4-BE49-F238E27FC236}">
                  <a16:creationId xmlns:a16="http://schemas.microsoft.com/office/drawing/2014/main" id="{BD9DBA5B-B938-49AE-B4FF-DC0E17DDD56F}"/>
                </a:ext>
              </a:extLst>
            </p:cNvPr>
            <p:cNvSpPr/>
            <p:nvPr/>
          </p:nvSpPr>
          <p:spPr>
            <a:xfrm rot="8716295">
              <a:off x="1547502" y="-3521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" name="Forme libre : forme 211">
              <a:extLst>
                <a:ext uri="{FF2B5EF4-FFF2-40B4-BE49-F238E27FC236}">
                  <a16:creationId xmlns:a16="http://schemas.microsoft.com/office/drawing/2014/main" id="{8C64BFA5-88D5-4B19-8DD4-8DB6B59A61D8}"/>
                </a:ext>
              </a:extLst>
            </p:cNvPr>
            <p:cNvSpPr/>
            <p:nvPr/>
          </p:nvSpPr>
          <p:spPr>
            <a:xfrm rot="7484129">
              <a:off x="1652433" y="15613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" name="Forme libre : forme 212">
              <a:extLst>
                <a:ext uri="{FF2B5EF4-FFF2-40B4-BE49-F238E27FC236}">
                  <a16:creationId xmlns:a16="http://schemas.microsoft.com/office/drawing/2014/main" id="{034CC524-D8AC-40AF-8EAB-AB1B464A30AF}"/>
                </a:ext>
              </a:extLst>
            </p:cNvPr>
            <p:cNvSpPr/>
            <p:nvPr/>
          </p:nvSpPr>
          <p:spPr>
            <a:xfrm rot="13089394">
              <a:off x="1757253" y="122669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" name="Forme libre : forme 213">
              <a:extLst>
                <a:ext uri="{FF2B5EF4-FFF2-40B4-BE49-F238E27FC236}">
                  <a16:creationId xmlns:a16="http://schemas.microsoft.com/office/drawing/2014/main" id="{D78ECCFB-E224-46B7-92F0-42F89F972C82}"/>
                </a:ext>
              </a:extLst>
            </p:cNvPr>
            <p:cNvSpPr/>
            <p:nvPr/>
          </p:nvSpPr>
          <p:spPr>
            <a:xfrm rot="8716295">
              <a:off x="1960606" y="3279"/>
              <a:ext cx="142687" cy="109177"/>
            </a:xfrm>
            <a:custGeom>
              <a:avLst/>
              <a:gdLst>
                <a:gd name="connsiteX0" fmla="*/ 48521 w 142687"/>
                <a:gd name="connsiteY0" fmla="*/ 109177 h 109177"/>
                <a:gd name="connsiteX1" fmla="*/ 0 w 142687"/>
                <a:gd name="connsiteY1" fmla="*/ 75545 h 109177"/>
                <a:gd name="connsiteX2" fmla="*/ 44875 w 142687"/>
                <a:gd name="connsiteY2" fmla="*/ 33320 h 109177"/>
                <a:gd name="connsiteX3" fmla="*/ 109367 w 142687"/>
                <a:gd name="connsiteY3" fmla="*/ 0 h 109177"/>
                <a:gd name="connsiteX4" fmla="*/ 142687 w 142687"/>
                <a:gd name="connsiteY4" fmla="*/ 39770 h 109177"/>
                <a:gd name="connsiteX5" fmla="*/ 111516 w 142687"/>
                <a:gd name="connsiteY5" fmla="*/ 81689 h 109177"/>
                <a:gd name="connsiteX6" fmla="*/ 112053 w 142687"/>
                <a:gd name="connsiteY6" fmla="*/ 81689 h 109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687" h="109177">
                  <a:moveTo>
                    <a:pt x="48521" y="109177"/>
                  </a:moveTo>
                  <a:lnTo>
                    <a:pt x="0" y="75545"/>
                  </a:lnTo>
                  <a:lnTo>
                    <a:pt x="44875" y="33320"/>
                  </a:lnTo>
                  <a:cubicBezTo>
                    <a:pt x="60998" y="14511"/>
                    <a:pt x="84107" y="2687"/>
                    <a:pt x="109367" y="0"/>
                  </a:cubicBezTo>
                  <a:cubicBezTo>
                    <a:pt x="135163" y="0"/>
                    <a:pt x="142687" y="22572"/>
                    <a:pt x="142687" y="39770"/>
                  </a:cubicBezTo>
                  <a:cubicBezTo>
                    <a:pt x="141074" y="58580"/>
                    <a:pt x="128713" y="74165"/>
                    <a:pt x="111516" y="81689"/>
                  </a:cubicBezTo>
                  <a:lnTo>
                    <a:pt x="112053" y="816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" name="Forme libre : forme 214">
              <a:extLst>
                <a:ext uri="{FF2B5EF4-FFF2-40B4-BE49-F238E27FC236}">
                  <a16:creationId xmlns:a16="http://schemas.microsoft.com/office/drawing/2014/main" id="{30980170-BFE4-4DA8-B94E-3A74F835E666}"/>
                </a:ext>
              </a:extLst>
            </p:cNvPr>
            <p:cNvSpPr/>
            <p:nvPr/>
          </p:nvSpPr>
          <p:spPr>
            <a:xfrm rot="8716295">
              <a:off x="1076398" y="254697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" name="Forme libre : forme 215">
              <a:extLst>
                <a:ext uri="{FF2B5EF4-FFF2-40B4-BE49-F238E27FC236}">
                  <a16:creationId xmlns:a16="http://schemas.microsoft.com/office/drawing/2014/main" id="{EF36344D-9704-4C2C-BC8B-34C87B25880E}"/>
                </a:ext>
              </a:extLst>
            </p:cNvPr>
            <p:cNvSpPr/>
            <p:nvPr/>
          </p:nvSpPr>
          <p:spPr>
            <a:xfrm rot="8716295">
              <a:off x="1165790" y="257621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" name="Forme libre : forme 216">
              <a:extLst>
                <a:ext uri="{FF2B5EF4-FFF2-40B4-BE49-F238E27FC236}">
                  <a16:creationId xmlns:a16="http://schemas.microsoft.com/office/drawing/2014/main" id="{58A38589-98F6-451E-A434-58B30914CF96}"/>
                </a:ext>
              </a:extLst>
            </p:cNvPr>
            <p:cNvSpPr/>
            <p:nvPr/>
          </p:nvSpPr>
          <p:spPr>
            <a:xfrm rot="8716295">
              <a:off x="1120940" y="248993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" name="Forme libre : forme 217">
              <a:extLst>
                <a:ext uri="{FF2B5EF4-FFF2-40B4-BE49-F238E27FC236}">
                  <a16:creationId xmlns:a16="http://schemas.microsoft.com/office/drawing/2014/main" id="{1BBAB649-0D47-451B-AEA7-D99D438CCB67}"/>
                </a:ext>
              </a:extLst>
            </p:cNvPr>
            <p:cNvSpPr/>
            <p:nvPr/>
          </p:nvSpPr>
          <p:spPr>
            <a:xfrm rot="8716295">
              <a:off x="964164" y="263551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" name="Forme libre : forme 218">
              <a:extLst>
                <a:ext uri="{FF2B5EF4-FFF2-40B4-BE49-F238E27FC236}">
                  <a16:creationId xmlns:a16="http://schemas.microsoft.com/office/drawing/2014/main" id="{9ABD39F9-0013-4B66-B07C-F120985F94DF}"/>
                </a:ext>
              </a:extLst>
            </p:cNvPr>
            <p:cNvSpPr/>
            <p:nvPr/>
          </p:nvSpPr>
          <p:spPr>
            <a:xfrm rot="8716295">
              <a:off x="839261" y="242684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" name="Forme libre : forme 219">
              <a:extLst>
                <a:ext uri="{FF2B5EF4-FFF2-40B4-BE49-F238E27FC236}">
                  <a16:creationId xmlns:a16="http://schemas.microsoft.com/office/drawing/2014/main" id="{4B771D9C-DFA4-430F-84AF-9AE075F83BC7}"/>
                </a:ext>
              </a:extLst>
            </p:cNvPr>
            <p:cNvSpPr/>
            <p:nvPr/>
          </p:nvSpPr>
          <p:spPr>
            <a:xfrm rot="8716295">
              <a:off x="827209" y="228806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" name="Forme libre : forme 220">
              <a:extLst>
                <a:ext uri="{FF2B5EF4-FFF2-40B4-BE49-F238E27FC236}">
                  <a16:creationId xmlns:a16="http://schemas.microsoft.com/office/drawing/2014/main" id="{7FEF96BC-C543-4B58-AE20-95C6DC72AE3F}"/>
                </a:ext>
              </a:extLst>
            </p:cNvPr>
            <p:cNvSpPr/>
            <p:nvPr/>
          </p:nvSpPr>
          <p:spPr>
            <a:xfrm rot="8716295">
              <a:off x="1054342" y="267647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" name="Forme libre : forme 221">
              <a:extLst>
                <a:ext uri="{FF2B5EF4-FFF2-40B4-BE49-F238E27FC236}">
                  <a16:creationId xmlns:a16="http://schemas.microsoft.com/office/drawing/2014/main" id="{68891634-5A93-4AAD-9989-2DE5CE062379}"/>
                </a:ext>
              </a:extLst>
            </p:cNvPr>
            <p:cNvSpPr/>
            <p:nvPr/>
          </p:nvSpPr>
          <p:spPr>
            <a:xfrm rot="8716295">
              <a:off x="1365497" y="229682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" name="Forme libre : forme 222">
              <a:extLst>
                <a:ext uri="{FF2B5EF4-FFF2-40B4-BE49-F238E27FC236}">
                  <a16:creationId xmlns:a16="http://schemas.microsoft.com/office/drawing/2014/main" id="{39D665A4-4F4E-441C-B55C-726916A4039E}"/>
                </a:ext>
              </a:extLst>
            </p:cNvPr>
            <p:cNvSpPr/>
            <p:nvPr/>
          </p:nvSpPr>
          <p:spPr>
            <a:xfrm rot="8716295">
              <a:off x="1454889" y="232606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" name="Forme libre : forme 223">
              <a:extLst>
                <a:ext uri="{FF2B5EF4-FFF2-40B4-BE49-F238E27FC236}">
                  <a16:creationId xmlns:a16="http://schemas.microsoft.com/office/drawing/2014/main" id="{8AF4C94D-DC68-46A4-BF2C-889E3D6B62EC}"/>
                </a:ext>
              </a:extLst>
            </p:cNvPr>
            <p:cNvSpPr/>
            <p:nvPr/>
          </p:nvSpPr>
          <p:spPr>
            <a:xfrm rot="8716295">
              <a:off x="1253263" y="238536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" name="Forme libre : forme 224">
              <a:extLst>
                <a:ext uri="{FF2B5EF4-FFF2-40B4-BE49-F238E27FC236}">
                  <a16:creationId xmlns:a16="http://schemas.microsoft.com/office/drawing/2014/main" id="{C1408C1D-6D03-4994-BD3B-49E299BEE8DA}"/>
                </a:ext>
              </a:extLst>
            </p:cNvPr>
            <p:cNvSpPr/>
            <p:nvPr/>
          </p:nvSpPr>
          <p:spPr>
            <a:xfrm rot="8716295">
              <a:off x="1128361" y="217669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" name="Forme libre : forme 225">
              <a:extLst>
                <a:ext uri="{FF2B5EF4-FFF2-40B4-BE49-F238E27FC236}">
                  <a16:creationId xmlns:a16="http://schemas.microsoft.com/office/drawing/2014/main" id="{EB108B47-7607-4350-BAC7-848269D45EA1}"/>
                </a:ext>
              </a:extLst>
            </p:cNvPr>
            <p:cNvSpPr/>
            <p:nvPr/>
          </p:nvSpPr>
          <p:spPr>
            <a:xfrm rot="8716295">
              <a:off x="1343441" y="242631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" name="Forme libre : forme 226">
              <a:extLst>
                <a:ext uri="{FF2B5EF4-FFF2-40B4-BE49-F238E27FC236}">
                  <a16:creationId xmlns:a16="http://schemas.microsoft.com/office/drawing/2014/main" id="{016BF330-2E65-471B-BA9A-203A297FAFCE}"/>
                </a:ext>
              </a:extLst>
            </p:cNvPr>
            <p:cNvSpPr/>
            <p:nvPr/>
          </p:nvSpPr>
          <p:spPr>
            <a:xfrm rot="8716295">
              <a:off x="1101990" y="227671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" name="Forme libre : forme 227">
              <a:extLst>
                <a:ext uri="{FF2B5EF4-FFF2-40B4-BE49-F238E27FC236}">
                  <a16:creationId xmlns:a16="http://schemas.microsoft.com/office/drawing/2014/main" id="{20DF741A-5A82-48D0-A9BB-E29A7DA079B2}"/>
                </a:ext>
              </a:extLst>
            </p:cNvPr>
            <p:cNvSpPr/>
            <p:nvPr/>
          </p:nvSpPr>
          <p:spPr>
            <a:xfrm rot="7484129">
              <a:off x="1448372" y="261767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" name="Forme libre : forme 228">
              <a:extLst>
                <a:ext uri="{FF2B5EF4-FFF2-40B4-BE49-F238E27FC236}">
                  <a16:creationId xmlns:a16="http://schemas.microsoft.com/office/drawing/2014/main" id="{FBBC9382-FE3D-4581-90F5-934825D4E890}"/>
                </a:ext>
              </a:extLst>
            </p:cNvPr>
            <p:cNvSpPr/>
            <p:nvPr/>
          </p:nvSpPr>
          <p:spPr>
            <a:xfrm rot="13089394">
              <a:off x="1553192" y="258420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" name="Forme libre : forme 229">
              <a:extLst>
                <a:ext uri="{FF2B5EF4-FFF2-40B4-BE49-F238E27FC236}">
                  <a16:creationId xmlns:a16="http://schemas.microsoft.com/office/drawing/2014/main" id="{1722850A-0379-4FB9-9C9B-E45F998A47BD}"/>
                </a:ext>
              </a:extLst>
            </p:cNvPr>
            <p:cNvSpPr/>
            <p:nvPr/>
          </p:nvSpPr>
          <p:spPr>
            <a:xfrm rot="8716295">
              <a:off x="1738777" y="23925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" name="Forme libre : forme 230">
              <a:extLst>
                <a:ext uri="{FF2B5EF4-FFF2-40B4-BE49-F238E27FC236}">
                  <a16:creationId xmlns:a16="http://schemas.microsoft.com/office/drawing/2014/main" id="{BF511EF9-A49C-4AE3-8280-5A5B1337EE62}"/>
                </a:ext>
              </a:extLst>
            </p:cNvPr>
            <p:cNvSpPr/>
            <p:nvPr/>
          </p:nvSpPr>
          <p:spPr>
            <a:xfrm rot="8716295">
              <a:off x="1686972" y="228893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" name="Forme libre : forme 231">
              <a:extLst>
                <a:ext uri="{FF2B5EF4-FFF2-40B4-BE49-F238E27FC236}">
                  <a16:creationId xmlns:a16="http://schemas.microsoft.com/office/drawing/2014/main" id="{D138BF00-ED92-4133-ADF5-E9C66056A424}"/>
                </a:ext>
              </a:extLst>
            </p:cNvPr>
            <p:cNvSpPr/>
            <p:nvPr/>
          </p:nvSpPr>
          <p:spPr>
            <a:xfrm rot="8716295">
              <a:off x="1443726" y="231915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" name="Forme libre : forme 232">
              <a:extLst>
                <a:ext uri="{FF2B5EF4-FFF2-40B4-BE49-F238E27FC236}">
                  <a16:creationId xmlns:a16="http://schemas.microsoft.com/office/drawing/2014/main" id="{8E358CEB-AF06-484E-8852-BAE0311E02CC}"/>
                </a:ext>
              </a:extLst>
            </p:cNvPr>
            <p:cNvSpPr/>
            <p:nvPr/>
          </p:nvSpPr>
          <p:spPr>
            <a:xfrm rot="8716295">
              <a:off x="1621178" y="21599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" name="Forme libre : forme 233">
              <a:extLst>
                <a:ext uri="{FF2B5EF4-FFF2-40B4-BE49-F238E27FC236}">
                  <a16:creationId xmlns:a16="http://schemas.microsoft.com/office/drawing/2014/main" id="{9EBAEBBD-0226-432C-8DB2-1DA1060129B8}"/>
                </a:ext>
              </a:extLst>
            </p:cNvPr>
            <p:cNvSpPr/>
            <p:nvPr/>
          </p:nvSpPr>
          <p:spPr>
            <a:xfrm rot="8716295">
              <a:off x="1299565" y="320667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" name="Forme libre : forme 234">
              <a:extLst>
                <a:ext uri="{FF2B5EF4-FFF2-40B4-BE49-F238E27FC236}">
                  <a16:creationId xmlns:a16="http://schemas.microsoft.com/office/drawing/2014/main" id="{B666620F-F3D0-4B5D-9685-3CAB27EBF061}"/>
                </a:ext>
              </a:extLst>
            </p:cNvPr>
            <p:cNvSpPr/>
            <p:nvPr/>
          </p:nvSpPr>
          <p:spPr>
            <a:xfrm rot="8716295">
              <a:off x="1388957" y="323591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" name="Forme libre : forme 235">
              <a:extLst>
                <a:ext uri="{FF2B5EF4-FFF2-40B4-BE49-F238E27FC236}">
                  <a16:creationId xmlns:a16="http://schemas.microsoft.com/office/drawing/2014/main" id="{88947540-8C6A-4BF5-BB71-6D60ADEAEBA1}"/>
                </a:ext>
              </a:extLst>
            </p:cNvPr>
            <p:cNvSpPr/>
            <p:nvPr/>
          </p:nvSpPr>
          <p:spPr>
            <a:xfrm rot="8716295">
              <a:off x="1344107" y="314963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" name="Forme libre : forme 236">
              <a:extLst>
                <a:ext uri="{FF2B5EF4-FFF2-40B4-BE49-F238E27FC236}">
                  <a16:creationId xmlns:a16="http://schemas.microsoft.com/office/drawing/2014/main" id="{55A70DC6-65F6-4764-AD9C-C9CC5AC38D47}"/>
                </a:ext>
              </a:extLst>
            </p:cNvPr>
            <p:cNvSpPr/>
            <p:nvPr/>
          </p:nvSpPr>
          <p:spPr>
            <a:xfrm rot="8716295">
              <a:off x="1187331" y="329521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" name="Forme libre : forme 237">
              <a:extLst>
                <a:ext uri="{FF2B5EF4-FFF2-40B4-BE49-F238E27FC236}">
                  <a16:creationId xmlns:a16="http://schemas.microsoft.com/office/drawing/2014/main" id="{BB754C94-5023-48F1-A098-74F43CE79231}"/>
                </a:ext>
              </a:extLst>
            </p:cNvPr>
            <p:cNvSpPr/>
            <p:nvPr/>
          </p:nvSpPr>
          <p:spPr>
            <a:xfrm rot="8716295">
              <a:off x="1062428" y="308654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" name="Forme libre : forme 238">
              <a:extLst>
                <a:ext uri="{FF2B5EF4-FFF2-40B4-BE49-F238E27FC236}">
                  <a16:creationId xmlns:a16="http://schemas.microsoft.com/office/drawing/2014/main" id="{76EDC7DE-4ED0-41EE-BBDC-2D4CD0BE6E51}"/>
                </a:ext>
              </a:extLst>
            </p:cNvPr>
            <p:cNvSpPr/>
            <p:nvPr/>
          </p:nvSpPr>
          <p:spPr>
            <a:xfrm rot="8716295">
              <a:off x="1050376" y="294776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" name="Forme libre : forme 239">
              <a:extLst>
                <a:ext uri="{FF2B5EF4-FFF2-40B4-BE49-F238E27FC236}">
                  <a16:creationId xmlns:a16="http://schemas.microsoft.com/office/drawing/2014/main" id="{ABABCCB1-DB29-40D3-B384-2DA707723441}"/>
                </a:ext>
              </a:extLst>
            </p:cNvPr>
            <p:cNvSpPr/>
            <p:nvPr/>
          </p:nvSpPr>
          <p:spPr>
            <a:xfrm rot="8716295">
              <a:off x="1277509" y="333617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" name="Forme libre : forme 240">
              <a:extLst>
                <a:ext uri="{FF2B5EF4-FFF2-40B4-BE49-F238E27FC236}">
                  <a16:creationId xmlns:a16="http://schemas.microsoft.com/office/drawing/2014/main" id="{D86BE233-1E89-4884-9471-90ABF15AC049}"/>
                </a:ext>
              </a:extLst>
            </p:cNvPr>
            <p:cNvSpPr/>
            <p:nvPr/>
          </p:nvSpPr>
          <p:spPr>
            <a:xfrm rot="8716295">
              <a:off x="1588664" y="295652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" name="Forme libre : forme 241">
              <a:extLst>
                <a:ext uri="{FF2B5EF4-FFF2-40B4-BE49-F238E27FC236}">
                  <a16:creationId xmlns:a16="http://schemas.microsoft.com/office/drawing/2014/main" id="{1E4464D3-58E9-4A03-BB6A-8B83E3881142}"/>
                </a:ext>
              </a:extLst>
            </p:cNvPr>
            <p:cNvSpPr/>
            <p:nvPr/>
          </p:nvSpPr>
          <p:spPr>
            <a:xfrm rot="8716295">
              <a:off x="1678056" y="298576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" name="Forme libre : forme 242">
              <a:extLst>
                <a:ext uri="{FF2B5EF4-FFF2-40B4-BE49-F238E27FC236}">
                  <a16:creationId xmlns:a16="http://schemas.microsoft.com/office/drawing/2014/main" id="{17781F1F-DB19-4442-B92A-C7711450A6C2}"/>
                </a:ext>
              </a:extLst>
            </p:cNvPr>
            <p:cNvSpPr/>
            <p:nvPr/>
          </p:nvSpPr>
          <p:spPr>
            <a:xfrm rot="8716295">
              <a:off x="1476430" y="304506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" name="Forme libre : forme 243">
              <a:extLst>
                <a:ext uri="{FF2B5EF4-FFF2-40B4-BE49-F238E27FC236}">
                  <a16:creationId xmlns:a16="http://schemas.microsoft.com/office/drawing/2014/main" id="{DBD406CA-7502-44B6-87AF-2C3CFA35CDED}"/>
                </a:ext>
              </a:extLst>
            </p:cNvPr>
            <p:cNvSpPr/>
            <p:nvPr/>
          </p:nvSpPr>
          <p:spPr>
            <a:xfrm rot="8716295">
              <a:off x="1351528" y="283639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" name="Forme libre : forme 244">
              <a:extLst>
                <a:ext uri="{FF2B5EF4-FFF2-40B4-BE49-F238E27FC236}">
                  <a16:creationId xmlns:a16="http://schemas.microsoft.com/office/drawing/2014/main" id="{1D9F6882-BBB8-4C9A-BDD7-FAB6F4D5F59D}"/>
                </a:ext>
              </a:extLst>
            </p:cNvPr>
            <p:cNvSpPr/>
            <p:nvPr/>
          </p:nvSpPr>
          <p:spPr>
            <a:xfrm rot="8716295">
              <a:off x="1566608" y="308601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" name="Forme libre : forme 245">
              <a:extLst>
                <a:ext uri="{FF2B5EF4-FFF2-40B4-BE49-F238E27FC236}">
                  <a16:creationId xmlns:a16="http://schemas.microsoft.com/office/drawing/2014/main" id="{D03B605A-3C15-4096-9741-AEE20EFC39A1}"/>
                </a:ext>
              </a:extLst>
            </p:cNvPr>
            <p:cNvSpPr/>
            <p:nvPr/>
          </p:nvSpPr>
          <p:spPr>
            <a:xfrm rot="8716295">
              <a:off x="1325157" y="293641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" name="Forme libre : forme 246">
              <a:extLst>
                <a:ext uri="{FF2B5EF4-FFF2-40B4-BE49-F238E27FC236}">
                  <a16:creationId xmlns:a16="http://schemas.microsoft.com/office/drawing/2014/main" id="{38898AE8-B829-47A3-880A-38C78C89B9DE}"/>
                </a:ext>
              </a:extLst>
            </p:cNvPr>
            <p:cNvSpPr/>
            <p:nvPr/>
          </p:nvSpPr>
          <p:spPr>
            <a:xfrm rot="7484129">
              <a:off x="1671539" y="327736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" name="Forme libre : forme 247">
              <a:extLst>
                <a:ext uri="{FF2B5EF4-FFF2-40B4-BE49-F238E27FC236}">
                  <a16:creationId xmlns:a16="http://schemas.microsoft.com/office/drawing/2014/main" id="{6C94EF82-BA2B-46A8-965C-6EF68064713F}"/>
                </a:ext>
              </a:extLst>
            </p:cNvPr>
            <p:cNvSpPr/>
            <p:nvPr/>
          </p:nvSpPr>
          <p:spPr>
            <a:xfrm rot="13089394">
              <a:off x="1776359" y="324390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" name="Forme libre : forme 248">
              <a:extLst>
                <a:ext uri="{FF2B5EF4-FFF2-40B4-BE49-F238E27FC236}">
                  <a16:creationId xmlns:a16="http://schemas.microsoft.com/office/drawing/2014/main" id="{551D5950-1E6B-4DD0-AB72-CBFF9866A44D}"/>
                </a:ext>
              </a:extLst>
            </p:cNvPr>
            <p:cNvSpPr/>
            <p:nvPr/>
          </p:nvSpPr>
          <p:spPr>
            <a:xfrm rot="8716295">
              <a:off x="1961944" y="305222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" name="Forme libre : forme 249">
              <a:extLst>
                <a:ext uri="{FF2B5EF4-FFF2-40B4-BE49-F238E27FC236}">
                  <a16:creationId xmlns:a16="http://schemas.microsoft.com/office/drawing/2014/main" id="{B6B88D31-2E44-4166-86AB-E9E6ECCAF3B0}"/>
                </a:ext>
              </a:extLst>
            </p:cNvPr>
            <p:cNvSpPr/>
            <p:nvPr/>
          </p:nvSpPr>
          <p:spPr>
            <a:xfrm rot="8716295">
              <a:off x="1910139" y="294862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" name="Forme libre : forme 250">
              <a:extLst>
                <a:ext uri="{FF2B5EF4-FFF2-40B4-BE49-F238E27FC236}">
                  <a16:creationId xmlns:a16="http://schemas.microsoft.com/office/drawing/2014/main" id="{811032A2-B40D-4E18-A5FE-1E40E940D0A3}"/>
                </a:ext>
              </a:extLst>
            </p:cNvPr>
            <p:cNvSpPr/>
            <p:nvPr/>
          </p:nvSpPr>
          <p:spPr>
            <a:xfrm rot="8716295">
              <a:off x="1666893" y="297885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" name="Forme libre : forme 251">
              <a:extLst>
                <a:ext uri="{FF2B5EF4-FFF2-40B4-BE49-F238E27FC236}">
                  <a16:creationId xmlns:a16="http://schemas.microsoft.com/office/drawing/2014/main" id="{10E9AA39-FF6D-4519-822E-A935B8BFBA5C}"/>
                </a:ext>
              </a:extLst>
            </p:cNvPr>
            <p:cNvSpPr/>
            <p:nvPr/>
          </p:nvSpPr>
          <p:spPr>
            <a:xfrm rot="8716295">
              <a:off x="1844345" y="281960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" name="Forme libre : forme 252">
              <a:extLst>
                <a:ext uri="{FF2B5EF4-FFF2-40B4-BE49-F238E27FC236}">
                  <a16:creationId xmlns:a16="http://schemas.microsoft.com/office/drawing/2014/main" id="{6C0C2891-B5CF-43D2-8AFF-62DA18792308}"/>
                </a:ext>
              </a:extLst>
            </p:cNvPr>
            <p:cNvSpPr/>
            <p:nvPr/>
          </p:nvSpPr>
          <p:spPr>
            <a:xfrm rot="8716295">
              <a:off x="2092137" y="5100860"/>
              <a:ext cx="63833" cy="43384"/>
            </a:xfrm>
            <a:custGeom>
              <a:avLst/>
              <a:gdLst>
                <a:gd name="connsiteX0" fmla="*/ 5923 w 63833"/>
                <a:gd name="connsiteY0" fmla="*/ 43384 h 43384"/>
                <a:gd name="connsiteX1" fmla="*/ 0 w 63833"/>
                <a:gd name="connsiteY1" fmla="*/ 35182 h 43384"/>
                <a:gd name="connsiteX2" fmla="*/ 37391 w 63833"/>
                <a:gd name="connsiteY2" fmla="*/ 0 h 43384"/>
                <a:gd name="connsiteX3" fmla="*/ 63833 w 63833"/>
                <a:gd name="connsiteY3" fmla="*/ 18329 h 4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833" h="43384">
                  <a:moveTo>
                    <a:pt x="5923" y="43384"/>
                  </a:moveTo>
                  <a:lnTo>
                    <a:pt x="0" y="35182"/>
                  </a:lnTo>
                  <a:lnTo>
                    <a:pt x="37391" y="0"/>
                  </a:lnTo>
                  <a:lnTo>
                    <a:pt x="63833" y="1832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" name="Forme libre : forme 253">
              <a:extLst>
                <a:ext uri="{FF2B5EF4-FFF2-40B4-BE49-F238E27FC236}">
                  <a16:creationId xmlns:a16="http://schemas.microsoft.com/office/drawing/2014/main" id="{D0590309-C5C9-415B-B4DB-187E6398C8E2}"/>
                </a:ext>
              </a:extLst>
            </p:cNvPr>
            <p:cNvSpPr/>
            <p:nvPr/>
          </p:nvSpPr>
          <p:spPr>
            <a:xfrm rot="8716295">
              <a:off x="1789040" y="5044339"/>
              <a:ext cx="113322" cy="144291"/>
            </a:xfrm>
            <a:custGeom>
              <a:avLst/>
              <a:gdLst>
                <a:gd name="connsiteX0" fmla="*/ 0 w 113322"/>
                <a:gd name="connsiteY0" fmla="*/ 3741 h 144291"/>
                <a:gd name="connsiteX1" fmla="*/ 0 w 113322"/>
                <a:gd name="connsiteY1" fmla="*/ 0 h 144291"/>
                <a:gd name="connsiteX2" fmla="*/ 5398 w 113322"/>
                <a:gd name="connsiteY2" fmla="*/ 3741 h 144291"/>
                <a:gd name="connsiteX3" fmla="*/ 90709 w 113322"/>
                <a:gd name="connsiteY3" fmla="*/ 144291 h 144291"/>
                <a:gd name="connsiteX4" fmla="*/ 47847 w 113322"/>
                <a:gd name="connsiteY4" fmla="*/ 64547 h 144291"/>
                <a:gd name="connsiteX5" fmla="*/ 56901 w 113322"/>
                <a:gd name="connsiteY5" fmla="*/ 39441 h 144291"/>
                <a:gd name="connsiteX6" fmla="*/ 113322 w 113322"/>
                <a:gd name="connsiteY6" fmla="*/ 78551 h 144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322" h="144291">
                  <a:moveTo>
                    <a:pt x="0" y="3741"/>
                  </a:moveTo>
                  <a:lnTo>
                    <a:pt x="0" y="0"/>
                  </a:lnTo>
                  <a:lnTo>
                    <a:pt x="5398" y="3741"/>
                  </a:lnTo>
                  <a:close/>
                  <a:moveTo>
                    <a:pt x="90709" y="144291"/>
                  </a:moveTo>
                  <a:lnTo>
                    <a:pt x="47847" y="64547"/>
                  </a:lnTo>
                  <a:lnTo>
                    <a:pt x="56901" y="39441"/>
                  </a:lnTo>
                  <a:lnTo>
                    <a:pt x="113322" y="7855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" name="Forme libre : forme 254">
              <a:extLst>
                <a:ext uri="{FF2B5EF4-FFF2-40B4-BE49-F238E27FC236}">
                  <a16:creationId xmlns:a16="http://schemas.microsoft.com/office/drawing/2014/main" id="{5BD5D859-B6BE-4272-BEBA-C49F2EB86FA8}"/>
                </a:ext>
              </a:extLst>
            </p:cNvPr>
            <p:cNvSpPr/>
            <p:nvPr/>
          </p:nvSpPr>
          <p:spPr>
            <a:xfrm rot="8716295">
              <a:off x="1701335" y="4927006"/>
              <a:ext cx="290643" cy="318535"/>
            </a:xfrm>
            <a:custGeom>
              <a:avLst/>
              <a:gdLst>
                <a:gd name="connsiteX0" fmla="*/ 25298 w 290643"/>
                <a:gd name="connsiteY0" fmla="*/ 288944 h 318535"/>
                <a:gd name="connsiteX1" fmla="*/ 0 w 290643"/>
                <a:gd name="connsiteY1" fmla="*/ 187748 h 318535"/>
                <a:gd name="connsiteX2" fmla="*/ 0 w 290643"/>
                <a:gd name="connsiteY2" fmla="*/ 8302 h 318535"/>
                <a:gd name="connsiteX3" fmla="*/ 16003 w 290643"/>
                <a:gd name="connsiteY3" fmla="*/ 0 h 318535"/>
                <a:gd name="connsiteX4" fmla="*/ 78793 w 290643"/>
                <a:gd name="connsiteY4" fmla="*/ 43524 h 318535"/>
                <a:gd name="connsiteX5" fmla="*/ 79427 w 290643"/>
                <a:gd name="connsiteY5" fmla="*/ 131855 h 318535"/>
                <a:gd name="connsiteX6" fmla="*/ 93547 w 290643"/>
                <a:gd name="connsiteY6" fmla="*/ 229521 h 318535"/>
                <a:gd name="connsiteX7" fmla="*/ 164149 w 290643"/>
                <a:gd name="connsiteY7" fmla="*/ 268352 h 318535"/>
                <a:gd name="connsiteX8" fmla="*/ 217100 w 290643"/>
                <a:gd name="connsiteY8" fmla="*/ 258938 h 318535"/>
                <a:gd name="connsiteX9" fmla="*/ 289467 w 290643"/>
                <a:gd name="connsiteY9" fmla="*/ 229521 h 318535"/>
                <a:gd name="connsiteX10" fmla="*/ 290643 w 290643"/>
                <a:gd name="connsiteY10" fmla="*/ 237169 h 318535"/>
                <a:gd name="connsiteX11" fmla="*/ 290643 w 290643"/>
                <a:gd name="connsiteY11" fmla="*/ 243052 h 318535"/>
                <a:gd name="connsiteX12" fmla="*/ 97665 w 290643"/>
                <a:gd name="connsiteY12" fmla="*/ 318361 h 318535"/>
                <a:gd name="connsiteX13" fmla="*/ 25298 w 290643"/>
                <a:gd name="connsiteY13" fmla="*/ 288944 h 318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90643" h="318535">
                  <a:moveTo>
                    <a:pt x="25298" y="288944"/>
                  </a:moveTo>
                  <a:cubicBezTo>
                    <a:pt x="5295" y="269528"/>
                    <a:pt x="0" y="235992"/>
                    <a:pt x="0" y="187748"/>
                  </a:cubicBezTo>
                  <a:lnTo>
                    <a:pt x="0" y="8302"/>
                  </a:lnTo>
                  <a:lnTo>
                    <a:pt x="16003" y="0"/>
                  </a:lnTo>
                  <a:lnTo>
                    <a:pt x="78793" y="43524"/>
                  </a:lnTo>
                  <a:lnTo>
                    <a:pt x="79427" y="131855"/>
                  </a:lnTo>
                  <a:cubicBezTo>
                    <a:pt x="77662" y="164803"/>
                    <a:pt x="82957" y="198338"/>
                    <a:pt x="93547" y="229521"/>
                  </a:cubicBezTo>
                  <a:cubicBezTo>
                    <a:pt x="102961" y="255408"/>
                    <a:pt x="127083" y="268352"/>
                    <a:pt x="164149" y="268352"/>
                  </a:cubicBezTo>
                  <a:cubicBezTo>
                    <a:pt x="182387" y="267763"/>
                    <a:pt x="200038" y="264233"/>
                    <a:pt x="217100" y="258938"/>
                  </a:cubicBezTo>
                  <a:cubicBezTo>
                    <a:pt x="241810" y="251290"/>
                    <a:pt x="265933" y="241288"/>
                    <a:pt x="289467" y="229521"/>
                  </a:cubicBezTo>
                  <a:cubicBezTo>
                    <a:pt x="290055" y="231874"/>
                    <a:pt x="290643" y="234816"/>
                    <a:pt x="290643" y="237169"/>
                  </a:cubicBezTo>
                  <a:lnTo>
                    <a:pt x="290643" y="243052"/>
                  </a:lnTo>
                  <a:cubicBezTo>
                    <a:pt x="228278" y="296592"/>
                    <a:pt x="146498" y="315419"/>
                    <a:pt x="97665" y="318361"/>
                  </a:cubicBezTo>
                  <a:cubicBezTo>
                    <a:pt x="70602" y="320126"/>
                    <a:pt x="44126" y="308359"/>
                    <a:pt x="25298" y="28894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" name="Forme libre : forme 255">
              <a:extLst>
                <a:ext uri="{FF2B5EF4-FFF2-40B4-BE49-F238E27FC236}">
                  <a16:creationId xmlns:a16="http://schemas.microsoft.com/office/drawing/2014/main" id="{DF6324B6-1146-4A58-A87B-58A99832DFC5}"/>
                </a:ext>
              </a:extLst>
            </p:cNvPr>
            <p:cNvSpPr/>
            <p:nvPr/>
          </p:nvSpPr>
          <p:spPr>
            <a:xfrm rot="8716295">
              <a:off x="2251190" y="4935850"/>
              <a:ext cx="142167" cy="232388"/>
            </a:xfrm>
            <a:custGeom>
              <a:avLst/>
              <a:gdLst>
                <a:gd name="connsiteX0" fmla="*/ 81108 w 142167"/>
                <a:gd name="connsiteY0" fmla="*/ 232388 h 232388"/>
                <a:gd name="connsiteX1" fmla="*/ 81108 w 142167"/>
                <a:gd name="connsiteY1" fmla="*/ 69716 h 232388"/>
                <a:gd name="connsiteX2" fmla="*/ 81108 w 142167"/>
                <a:gd name="connsiteY2" fmla="*/ 65616 h 232388"/>
                <a:gd name="connsiteX3" fmla="*/ 60604 w 142167"/>
                <a:gd name="connsiteY3" fmla="*/ 50123 h 232388"/>
                <a:gd name="connsiteX4" fmla="*/ 0 w 142167"/>
                <a:gd name="connsiteY4" fmla="*/ 50123 h 232388"/>
                <a:gd name="connsiteX5" fmla="*/ 0 w 142167"/>
                <a:gd name="connsiteY5" fmla="*/ 0 h 232388"/>
                <a:gd name="connsiteX6" fmla="*/ 63990 w 142167"/>
                <a:gd name="connsiteY6" fmla="*/ 0 h 232388"/>
                <a:gd name="connsiteX7" fmla="*/ 142167 w 142167"/>
                <a:gd name="connsiteY7" fmla="*/ 54190 h 232388"/>
                <a:gd name="connsiteX8" fmla="*/ 142167 w 142167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32388">
                  <a:moveTo>
                    <a:pt x="81108" y="232388"/>
                  </a:moveTo>
                  <a:lnTo>
                    <a:pt x="81108" y="69716"/>
                  </a:lnTo>
                  <a:cubicBezTo>
                    <a:pt x="81108" y="68350"/>
                    <a:pt x="81108" y="66983"/>
                    <a:pt x="81108" y="65616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63990" y="0"/>
                  </a:lnTo>
                  <a:lnTo>
                    <a:pt x="142167" y="54190"/>
                  </a:lnTo>
                  <a:lnTo>
                    <a:pt x="142167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" name="Forme libre : forme 256">
              <a:extLst>
                <a:ext uri="{FF2B5EF4-FFF2-40B4-BE49-F238E27FC236}">
                  <a16:creationId xmlns:a16="http://schemas.microsoft.com/office/drawing/2014/main" id="{646EF66B-E595-4EAF-98DD-AFED25A9F1D2}"/>
                </a:ext>
              </a:extLst>
            </p:cNvPr>
            <p:cNvSpPr/>
            <p:nvPr/>
          </p:nvSpPr>
          <p:spPr>
            <a:xfrm rot="8716295">
              <a:off x="2456859" y="4924575"/>
              <a:ext cx="131246" cy="253348"/>
            </a:xfrm>
            <a:custGeom>
              <a:avLst/>
              <a:gdLst>
                <a:gd name="connsiteX0" fmla="*/ 51490 w 131246"/>
                <a:gd name="connsiteY0" fmla="*/ 253348 h 253348"/>
                <a:gd name="connsiteX1" fmla="*/ 51489 w 131246"/>
                <a:gd name="connsiteY1" fmla="*/ 44199 h 253348"/>
                <a:gd name="connsiteX2" fmla="*/ 0 w 131246"/>
                <a:gd name="connsiteY2" fmla="*/ 44199 h 253348"/>
                <a:gd name="connsiteX3" fmla="*/ 0 w 131246"/>
                <a:gd name="connsiteY3" fmla="*/ 0 h 253348"/>
                <a:gd name="connsiteX4" fmla="*/ 44807 w 131246"/>
                <a:gd name="connsiteY4" fmla="*/ 0 h 253348"/>
                <a:gd name="connsiteX5" fmla="*/ 104802 w 131246"/>
                <a:gd name="connsiteY5" fmla="*/ 41587 h 253348"/>
                <a:gd name="connsiteX6" fmla="*/ 104802 w 131246"/>
                <a:gd name="connsiteY6" fmla="*/ 73817 h 253348"/>
                <a:gd name="connsiteX7" fmla="*/ 106169 w 131246"/>
                <a:gd name="connsiteY7" fmla="*/ 73817 h 253348"/>
                <a:gd name="connsiteX8" fmla="*/ 115569 w 131246"/>
                <a:gd name="connsiteY8" fmla="*/ 49050 h 253348"/>
                <a:gd name="connsiteX9" fmla="*/ 131246 w 131246"/>
                <a:gd name="connsiteY9" fmla="*/ 59916 h 253348"/>
                <a:gd name="connsiteX10" fmla="*/ 127358 w 131246"/>
                <a:gd name="connsiteY10" fmla="*/ 64191 h 253348"/>
                <a:gd name="connsiteX11" fmla="*/ 111638 w 131246"/>
                <a:gd name="connsiteY11" fmla="*/ 126218 h 253348"/>
                <a:gd name="connsiteX12" fmla="*/ 111638 w 131246"/>
                <a:gd name="connsiteY12" fmla="*/ 212339 h 253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1246" h="253348">
                  <a:moveTo>
                    <a:pt x="51490" y="253348"/>
                  </a:moveTo>
                  <a:lnTo>
                    <a:pt x="51489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44807" y="0"/>
                  </a:lnTo>
                  <a:lnTo>
                    <a:pt x="104802" y="41587"/>
                  </a:lnTo>
                  <a:lnTo>
                    <a:pt x="104802" y="73817"/>
                  </a:lnTo>
                  <a:lnTo>
                    <a:pt x="106169" y="73817"/>
                  </a:lnTo>
                  <a:lnTo>
                    <a:pt x="115569" y="49050"/>
                  </a:lnTo>
                  <a:lnTo>
                    <a:pt x="131246" y="59916"/>
                  </a:lnTo>
                  <a:lnTo>
                    <a:pt x="127358" y="64191"/>
                  </a:lnTo>
                  <a:cubicBezTo>
                    <a:pt x="117675" y="79968"/>
                    <a:pt x="111638" y="101840"/>
                    <a:pt x="111638" y="126218"/>
                  </a:cubicBezTo>
                  <a:lnTo>
                    <a:pt x="111638" y="2123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" name="Forme libre : forme 257">
              <a:extLst>
                <a:ext uri="{FF2B5EF4-FFF2-40B4-BE49-F238E27FC236}">
                  <a16:creationId xmlns:a16="http://schemas.microsoft.com/office/drawing/2014/main" id="{BBB2A0DE-B613-4103-A446-00FD5673FDA7}"/>
                </a:ext>
              </a:extLst>
            </p:cNvPr>
            <p:cNvSpPr/>
            <p:nvPr/>
          </p:nvSpPr>
          <p:spPr>
            <a:xfrm rot="8716295">
              <a:off x="2139785" y="502413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" name="Forme libre : forme 258">
              <a:extLst>
                <a:ext uri="{FF2B5EF4-FFF2-40B4-BE49-F238E27FC236}">
                  <a16:creationId xmlns:a16="http://schemas.microsoft.com/office/drawing/2014/main" id="{CE0B209D-C132-46B3-A7D3-E99A86963D83}"/>
                </a:ext>
              </a:extLst>
            </p:cNvPr>
            <p:cNvSpPr/>
            <p:nvPr/>
          </p:nvSpPr>
          <p:spPr>
            <a:xfrm rot="8716295">
              <a:off x="2014883" y="481546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" name="Forme libre : forme 259">
              <a:extLst>
                <a:ext uri="{FF2B5EF4-FFF2-40B4-BE49-F238E27FC236}">
                  <a16:creationId xmlns:a16="http://schemas.microsoft.com/office/drawing/2014/main" id="{46BBD1CB-80EF-4DD7-9CA4-1F270A6D433D}"/>
                </a:ext>
              </a:extLst>
            </p:cNvPr>
            <p:cNvSpPr/>
            <p:nvPr/>
          </p:nvSpPr>
          <p:spPr>
            <a:xfrm rot="8716295">
              <a:off x="2190257" y="5090583"/>
              <a:ext cx="60147" cy="76898"/>
            </a:xfrm>
            <a:custGeom>
              <a:avLst/>
              <a:gdLst>
                <a:gd name="connsiteX0" fmla="*/ 60147 w 60147"/>
                <a:gd name="connsiteY0" fmla="*/ 76898 h 76898"/>
                <a:gd name="connsiteX1" fmla="*/ 0 w 60147"/>
                <a:gd name="connsiteY1" fmla="*/ 19028 h 76898"/>
                <a:gd name="connsiteX2" fmla="*/ 0 w 60147"/>
                <a:gd name="connsiteY2" fmla="*/ 0 h 76898"/>
                <a:gd name="connsiteX3" fmla="*/ 60147 w 60147"/>
                <a:gd name="connsiteY3" fmla="*/ 41692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7" h="76898">
                  <a:moveTo>
                    <a:pt x="60147" y="76898"/>
                  </a:moveTo>
                  <a:lnTo>
                    <a:pt x="0" y="19028"/>
                  </a:lnTo>
                  <a:lnTo>
                    <a:pt x="0" y="0"/>
                  </a:lnTo>
                  <a:lnTo>
                    <a:pt x="60147" y="416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" name="Forme libre : forme 260">
              <a:extLst>
                <a:ext uri="{FF2B5EF4-FFF2-40B4-BE49-F238E27FC236}">
                  <a16:creationId xmlns:a16="http://schemas.microsoft.com/office/drawing/2014/main" id="{A32DFF69-92E6-43D9-A847-4B37531C0FC1}"/>
                </a:ext>
              </a:extLst>
            </p:cNvPr>
            <p:cNvSpPr/>
            <p:nvPr/>
          </p:nvSpPr>
          <p:spPr>
            <a:xfrm rot="8716295">
              <a:off x="1988512" y="491548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" name="Forme libre : forme 261">
              <a:extLst>
                <a:ext uri="{FF2B5EF4-FFF2-40B4-BE49-F238E27FC236}">
                  <a16:creationId xmlns:a16="http://schemas.microsoft.com/office/drawing/2014/main" id="{8232E004-724D-4398-A64A-AF1F94C033B6}"/>
                </a:ext>
              </a:extLst>
            </p:cNvPr>
            <p:cNvSpPr/>
            <p:nvPr/>
          </p:nvSpPr>
          <p:spPr>
            <a:xfrm rot="8716295">
              <a:off x="2650789" y="5021708"/>
              <a:ext cx="177699" cy="117559"/>
            </a:xfrm>
            <a:custGeom>
              <a:avLst/>
              <a:gdLst>
                <a:gd name="connsiteX0" fmla="*/ 6986 w 177699"/>
                <a:gd name="connsiteY0" fmla="*/ 117559 h 117559"/>
                <a:gd name="connsiteX1" fmla="*/ 0 w 177699"/>
                <a:gd name="connsiteY1" fmla="*/ 107886 h 117559"/>
                <a:gd name="connsiteX2" fmla="*/ 114658 w 177699"/>
                <a:gd name="connsiteY2" fmla="*/ 0 h 117559"/>
                <a:gd name="connsiteX3" fmla="*/ 177699 w 177699"/>
                <a:gd name="connsiteY3" fmla="*/ 43698 h 117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7699" h="117559">
                  <a:moveTo>
                    <a:pt x="6986" y="117559"/>
                  </a:moveTo>
                  <a:lnTo>
                    <a:pt x="0" y="107886"/>
                  </a:lnTo>
                  <a:lnTo>
                    <a:pt x="114658" y="0"/>
                  </a:lnTo>
                  <a:lnTo>
                    <a:pt x="177699" y="436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" name="Forme libre : forme 262">
              <a:extLst>
                <a:ext uri="{FF2B5EF4-FFF2-40B4-BE49-F238E27FC236}">
                  <a16:creationId xmlns:a16="http://schemas.microsoft.com/office/drawing/2014/main" id="{FBFBE439-377B-4FDF-9911-15B61D5AC250}"/>
                </a:ext>
              </a:extLst>
            </p:cNvPr>
            <p:cNvSpPr/>
            <p:nvPr/>
          </p:nvSpPr>
          <p:spPr>
            <a:xfrm rot="8716295">
              <a:off x="2573494" y="492769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" name="Forme libre : forme 263">
              <a:extLst>
                <a:ext uri="{FF2B5EF4-FFF2-40B4-BE49-F238E27FC236}">
                  <a16:creationId xmlns:a16="http://schemas.microsoft.com/office/drawing/2014/main" id="{8F5A7FC6-58AF-4BF6-9769-158D9D43A4A8}"/>
                </a:ext>
              </a:extLst>
            </p:cNvPr>
            <p:cNvSpPr/>
            <p:nvPr/>
          </p:nvSpPr>
          <p:spPr>
            <a:xfrm rot="8716295">
              <a:off x="2330248" y="495791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" name="Forme libre : forme 264">
              <a:extLst>
                <a:ext uri="{FF2B5EF4-FFF2-40B4-BE49-F238E27FC236}">
                  <a16:creationId xmlns:a16="http://schemas.microsoft.com/office/drawing/2014/main" id="{0B99B4B3-E447-449D-B6F2-40AFC1232903}"/>
                </a:ext>
              </a:extLst>
            </p:cNvPr>
            <p:cNvSpPr/>
            <p:nvPr/>
          </p:nvSpPr>
          <p:spPr>
            <a:xfrm rot="8716295">
              <a:off x="2507700" y="479867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" name="Forme libre : forme 265">
              <a:extLst>
                <a:ext uri="{FF2B5EF4-FFF2-40B4-BE49-F238E27FC236}">
                  <a16:creationId xmlns:a16="http://schemas.microsoft.com/office/drawing/2014/main" id="{9FDE555B-22C7-4972-A03C-9A881E9F494C}"/>
                </a:ext>
              </a:extLst>
            </p:cNvPr>
            <p:cNvSpPr/>
            <p:nvPr/>
          </p:nvSpPr>
          <p:spPr>
            <a:xfrm rot="8716295">
              <a:off x="1518235" y="386507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" name="Forme libre : forme 266">
              <a:extLst>
                <a:ext uri="{FF2B5EF4-FFF2-40B4-BE49-F238E27FC236}">
                  <a16:creationId xmlns:a16="http://schemas.microsoft.com/office/drawing/2014/main" id="{47023A4A-E9A4-4E7C-9A1F-7F050E215658}"/>
                </a:ext>
              </a:extLst>
            </p:cNvPr>
            <p:cNvSpPr/>
            <p:nvPr/>
          </p:nvSpPr>
          <p:spPr>
            <a:xfrm rot="8716295">
              <a:off x="1607627" y="389431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" name="Forme libre : forme 267">
              <a:extLst>
                <a:ext uri="{FF2B5EF4-FFF2-40B4-BE49-F238E27FC236}">
                  <a16:creationId xmlns:a16="http://schemas.microsoft.com/office/drawing/2014/main" id="{721AE192-0DE9-44CE-AFE7-60EAD2184BA9}"/>
                </a:ext>
              </a:extLst>
            </p:cNvPr>
            <p:cNvSpPr/>
            <p:nvPr/>
          </p:nvSpPr>
          <p:spPr>
            <a:xfrm rot="8716295">
              <a:off x="1562777" y="380803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" name="Forme libre : forme 268">
              <a:extLst>
                <a:ext uri="{FF2B5EF4-FFF2-40B4-BE49-F238E27FC236}">
                  <a16:creationId xmlns:a16="http://schemas.microsoft.com/office/drawing/2014/main" id="{C1003FCB-894D-4CB7-9C82-85789FE9B276}"/>
                </a:ext>
              </a:extLst>
            </p:cNvPr>
            <p:cNvSpPr/>
            <p:nvPr/>
          </p:nvSpPr>
          <p:spPr>
            <a:xfrm rot="8716295">
              <a:off x="1406001" y="395361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0" name="Forme libre : forme 269">
              <a:extLst>
                <a:ext uri="{FF2B5EF4-FFF2-40B4-BE49-F238E27FC236}">
                  <a16:creationId xmlns:a16="http://schemas.microsoft.com/office/drawing/2014/main" id="{7F48A554-D952-4BC7-8F60-7FBDCE05FE70}"/>
                </a:ext>
              </a:extLst>
            </p:cNvPr>
            <p:cNvSpPr/>
            <p:nvPr/>
          </p:nvSpPr>
          <p:spPr>
            <a:xfrm rot="8716295">
              <a:off x="1281098" y="374494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1" name="Forme libre : forme 270">
              <a:extLst>
                <a:ext uri="{FF2B5EF4-FFF2-40B4-BE49-F238E27FC236}">
                  <a16:creationId xmlns:a16="http://schemas.microsoft.com/office/drawing/2014/main" id="{B64659B2-F8CD-4B3D-8353-ED1AAF15923F}"/>
                </a:ext>
              </a:extLst>
            </p:cNvPr>
            <p:cNvSpPr/>
            <p:nvPr/>
          </p:nvSpPr>
          <p:spPr>
            <a:xfrm rot="8716295">
              <a:off x="1269046" y="3606161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2" name="Forme libre : forme 271">
              <a:extLst>
                <a:ext uri="{FF2B5EF4-FFF2-40B4-BE49-F238E27FC236}">
                  <a16:creationId xmlns:a16="http://schemas.microsoft.com/office/drawing/2014/main" id="{C1336409-0E83-4F9F-AE44-B0095CEBE127}"/>
                </a:ext>
              </a:extLst>
            </p:cNvPr>
            <p:cNvSpPr/>
            <p:nvPr/>
          </p:nvSpPr>
          <p:spPr>
            <a:xfrm rot="8716295">
              <a:off x="1496179" y="399456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3" name="Forme libre : forme 272">
              <a:extLst>
                <a:ext uri="{FF2B5EF4-FFF2-40B4-BE49-F238E27FC236}">
                  <a16:creationId xmlns:a16="http://schemas.microsoft.com/office/drawing/2014/main" id="{11163225-7511-4602-A804-B9D156B88F47}"/>
                </a:ext>
              </a:extLst>
            </p:cNvPr>
            <p:cNvSpPr/>
            <p:nvPr/>
          </p:nvSpPr>
          <p:spPr>
            <a:xfrm rot="8716295">
              <a:off x="1807334" y="36149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4" name="Forme libre : forme 273">
              <a:extLst>
                <a:ext uri="{FF2B5EF4-FFF2-40B4-BE49-F238E27FC236}">
                  <a16:creationId xmlns:a16="http://schemas.microsoft.com/office/drawing/2014/main" id="{81961769-D6FF-4365-87D3-0FF20F673A4A}"/>
                </a:ext>
              </a:extLst>
            </p:cNvPr>
            <p:cNvSpPr/>
            <p:nvPr/>
          </p:nvSpPr>
          <p:spPr>
            <a:xfrm rot="8716295">
              <a:off x="1896726" y="36441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5" name="Forme libre : forme 274">
              <a:extLst>
                <a:ext uri="{FF2B5EF4-FFF2-40B4-BE49-F238E27FC236}">
                  <a16:creationId xmlns:a16="http://schemas.microsoft.com/office/drawing/2014/main" id="{D838E7DA-A3D8-4733-90D9-56C4006640C1}"/>
                </a:ext>
              </a:extLst>
            </p:cNvPr>
            <p:cNvSpPr/>
            <p:nvPr/>
          </p:nvSpPr>
          <p:spPr>
            <a:xfrm rot="8716295">
              <a:off x="1695100" y="370346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6" name="Forme libre : forme 275">
              <a:extLst>
                <a:ext uri="{FF2B5EF4-FFF2-40B4-BE49-F238E27FC236}">
                  <a16:creationId xmlns:a16="http://schemas.microsoft.com/office/drawing/2014/main" id="{BE48505C-4A3C-41E8-805D-3F3964663DC3}"/>
                </a:ext>
              </a:extLst>
            </p:cNvPr>
            <p:cNvSpPr/>
            <p:nvPr/>
          </p:nvSpPr>
          <p:spPr>
            <a:xfrm rot="8716295">
              <a:off x="1570198" y="349478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7" name="Forme libre : forme 276">
              <a:extLst>
                <a:ext uri="{FF2B5EF4-FFF2-40B4-BE49-F238E27FC236}">
                  <a16:creationId xmlns:a16="http://schemas.microsoft.com/office/drawing/2014/main" id="{74C1AFD3-7B5D-49B6-B346-37FFDE5D01C0}"/>
                </a:ext>
              </a:extLst>
            </p:cNvPr>
            <p:cNvSpPr/>
            <p:nvPr/>
          </p:nvSpPr>
          <p:spPr>
            <a:xfrm rot="8716295">
              <a:off x="1785278" y="37444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8" name="Forme libre : forme 277">
              <a:extLst>
                <a:ext uri="{FF2B5EF4-FFF2-40B4-BE49-F238E27FC236}">
                  <a16:creationId xmlns:a16="http://schemas.microsoft.com/office/drawing/2014/main" id="{B918BF38-28D0-4E79-852B-01ED43D79B29}"/>
                </a:ext>
              </a:extLst>
            </p:cNvPr>
            <p:cNvSpPr/>
            <p:nvPr/>
          </p:nvSpPr>
          <p:spPr>
            <a:xfrm rot="8716295">
              <a:off x="1543827" y="359481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9" name="Forme libre : forme 278">
              <a:extLst>
                <a:ext uri="{FF2B5EF4-FFF2-40B4-BE49-F238E27FC236}">
                  <a16:creationId xmlns:a16="http://schemas.microsoft.com/office/drawing/2014/main" id="{9821C7DC-A0EE-43BB-82AD-2D73FD4DEC58}"/>
                </a:ext>
              </a:extLst>
            </p:cNvPr>
            <p:cNvSpPr/>
            <p:nvPr/>
          </p:nvSpPr>
          <p:spPr>
            <a:xfrm rot="7484129">
              <a:off x="1890209" y="393576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0" name="Forme libre : forme 279">
              <a:extLst>
                <a:ext uri="{FF2B5EF4-FFF2-40B4-BE49-F238E27FC236}">
                  <a16:creationId xmlns:a16="http://schemas.microsoft.com/office/drawing/2014/main" id="{CE9B832D-CDB0-4485-83A6-7D7ED44A3320}"/>
                </a:ext>
              </a:extLst>
            </p:cNvPr>
            <p:cNvSpPr/>
            <p:nvPr/>
          </p:nvSpPr>
          <p:spPr>
            <a:xfrm rot="13089394">
              <a:off x="1995029" y="3902299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1" name="Forme libre : forme 280">
              <a:extLst>
                <a:ext uri="{FF2B5EF4-FFF2-40B4-BE49-F238E27FC236}">
                  <a16:creationId xmlns:a16="http://schemas.microsoft.com/office/drawing/2014/main" id="{B39230A2-1C21-4062-B5E2-4E3B7D0C88CD}"/>
                </a:ext>
              </a:extLst>
            </p:cNvPr>
            <p:cNvSpPr/>
            <p:nvPr/>
          </p:nvSpPr>
          <p:spPr>
            <a:xfrm rot="8716295">
              <a:off x="2180614" y="371061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2" name="Forme libre : forme 281">
              <a:extLst>
                <a:ext uri="{FF2B5EF4-FFF2-40B4-BE49-F238E27FC236}">
                  <a16:creationId xmlns:a16="http://schemas.microsoft.com/office/drawing/2014/main" id="{81DCB6A5-C857-4E79-932B-EE7CD6E9E80D}"/>
                </a:ext>
              </a:extLst>
            </p:cNvPr>
            <p:cNvSpPr/>
            <p:nvPr/>
          </p:nvSpPr>
          <p:spPr>
            <a:xfrm rot="8716295">
              <a:off x="2128809" y="360702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3" name="Forme libre : forme 282">
              <a:extLst>
                <a:ext uri="{FF2B5EF4-FFF2-40B4-BE49-F238E27FC236}">
                  <a16:creationId xmlns:a16="http://schemas.microsoft.com/office/drawing/2014/main" id="{DE2E55F0-E1D2-42EF-81BE-5B9CF56A8B16}"/>
                </a:ext>
              </a:extLst>
            </p:cNvPr>
            <p:cNvSpPr/>
            <p:nvPr/>
          </p:nvSpPr>
          <p:spPr>
            <a:xfrm rot="8716295">
              <a:off x="1885563" y="36372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4" name="Forme libre : forme 283">
              <a:extLst>
                <a:ext uri="{FF2B5EF4-FFF2-40B4-BE49-F238E27FC236}">
                  <a16:creationId xmlns:a16="http://schemas.microsoft.com/office/drawing/2014/main" id="{14AD1449-9E25-4F42-B0CB-B7AB7DA137A1}"/>
                </a:ext>
              </a:extLst>
            </p:cNvPr>
            <p:cNvSpPr/>
            <p:nvPr/>
          </p:nvSpPr>
          <p:spPr>
            <a:xfrm rot="8716295">
              <a:off x="2063015" y="34780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5" name="Forme libre : forme 284">
              <a:extLst>
                <a:ext uri="{FF2B5EF4-FFF2-40B4-BE49-F238E27FC236}">
                  <a16:creationId xmlns:a16="http://schemas.microsoft.com/office/drawing/2014/main" id="{9459C257-BD83-4EA3-A67A-64F2E29D2444}"/>
                </a:ext>
              </a:extLst>
            </p:cNvPr>
            <p:cNvSpPr/>
            <p:nvPr/>
          </p:nvSpPr>
          <p:spPr>
            <a:xfrm rot="8716295">
              <a:off x="1741402" y="452476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6" name="Forme libre : forme 285">
              <a:extLst>
                <a:ext uri="{FF2B5EF4-FFF2-40B4-BE49-F238E27FC236}">
                  <a16:creationId xmlns:a16="http://schemas.microsoft.com/office/drawing/2014/main" id="{776DF04A-9E10-40B0-8F87-C3176DFB0655}"/>
                </a:ext>
              </a:extLst>
            </p:cNvPr>
            <p:cNvSpPr/>
            <p:nvPr/>
          </p:nvSpPr>
          <p:spPr>
            <a:xfrm rot="8716295">
              <a:off x="1830794" y="455401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7" name="Forme libre : forme 286">
              <a:extLst>
                <a:ext uri="{FF2B5EF4-FFF2-40B4-BE49-F238E27FC236}">
                  <a16:creationId xmlns:a16="http://schemas.microsoft.com/office/drawing/2014/main" id="{1BCF78D3-72E0-4C34-AE46-85492A03A633}"/>
                </a:ext>
              </a:extLst>
            </p:cNvPr>
            <p:cNvSpPr/>
            <p:nvPr/>
          </p:nvSpPr>
          <p:spPr>
            <a:xfrm rot="8716295">
              <a:off x="1785944" y="4467731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8" name="Forme libre : forme 287">
              <a:extLst>
                <a:ext uri="{FF2B5EF4-FFF2-40B4-BE49-F238E27FC236}">
                  <a16:creationId xmlns:a16="http://schemas.microsoft.com/office/drawing/2014/main" id="{40DD2911-8E83-41A0-92FE-163A6FA95009}"/>
                </a:ext>
              </a:extLst>
            </p:cNvPr>
            <p:cNvSpPr/>
            <p:nvPr/>
          </p:nvSpPr>
          <p:spPr>
            <a:xfrm rot="8716295">
              <a:off x="1629168" y="461331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9" name="Forme libre : forme 288">
              <a:extLst>
                <a:ext uri="{FF2B5EF4-FFF2-40B4-BE49-F238E27FC236}">
                  <a16:creationId xmlns:a16="http://schemas.microsoft.com/office/drawing/2014/main" id="{E686274E-624B-4FD1-9536-D2B4D790F806}"/>
                </a:ext>
              </a:extLst>
            </p:cNvPr>
            <p:cNvSpPr/>
            <p:nvPr/>
          </p:nvSpPr>
          <p:spPr>
            <a:xfrm rot="8716295">
              <a:off x="1504265" y="440464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0" name="Forme libre : forme 289">
              <a:extLst>
                <a:ext uri="{FF2B5EF4-FFF2-40B4-BE49-F238E27FC236}">
                  <a16:creationId xmlns:a16="http://schemas.microsoft.com/office/drawing/2014/main" id="{DA92638D-CC75-4944-B78B-61E3B22A12E3}"/>
                </a:ext>
              </a:extLst>
            </p:cNvPr>
            <p:cNvSpPr/>
            <p:nvPr/>
          </p:nvSpPr>
          <p:spPr>
            <a:xfrm rot="8716295">
              <a:off x="1492213" y="4265860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1" name="Forme libre : forme 290">
              <a:extLst>
                <a:ext uri="{FF2B5EF4-FFF2-40B4-BE49-F238E27FC236}">
                  <a16:creationId xmlns:a16="http://schemas.microsoft.com/office/drawing/2014/main" id="{17950727-3BF3-4A34-9F11-5322F5CFB8F3}"/>
                </a:ext>
              </a:extLst>
            </p:cNvPr>
            <p:cNvSpPr/>
            <p:nvPr/>
          </p:nvSpPr>
          <p:spPr>
            <a:xfrm rot="8716295">
              <a:off x="1719346" y="465426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2" name="Forme libre : forme 291">
              <a:extLst>
                <a:ext uri="{FF2B5EF4-FFF2-40B4-BE49-F238E27FC236}">
                  <a16:creationId xmlns:a16="http://schemas.microsoft.com/office/drawing/2014/main" id="{9010FFF3-701E-491D-97A1-527670851B3C}"/>
                </a:ext>
              </a:extLst>
            </p:cNvPr>
            <p:cNvSpPr/>
            <p:nvPr/>
          </p:nvSpPr>
          <p:spPr>
            <a:xfrm rot="8716295">
              <a:off x="2030501" y="427461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3" name="Forme libre : forme 292">
              <a:extLst>
                <a:ext uri="{FF2B5EF4-FFF2-40B4-BE49-F238E27FC236}">
                  <a16:creationId xmlns:a16="http://schemas.microsoft.com/office/drawing/2014/main" id="{8E50FB82-1555-41A1-B55B-D3699A1B10A3}"/>
                </a:ext>
              </a:extLst>
            </p:cNvPr>
            <p:cNvSpPr/>
            <p:nvPr/>
          </p:nvSpPr>
          <p:spPr>
            <a:xfrm rot="8716295">
              <a:off x="2119893" y="430385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4" name="Forme libre : forme 293">
              <a:extLst>
                <a:ext uri="{FF2B5EF4-FFF2-40B4-BE49-F238E27FC236}">
                  <a16:creationId xmlns:a16="http://schemas.microsoft.com/office/drawing/2014/main" id="{ECB71CB3-C9D6-4612-8036-4BC5560F17FE}"/>
                </a:ext>
              </a:extLst>
            </p:cNvPr>
            <p:cNvSpPr/>
            <p:nvPr/>
          </p:nvSpPr>
          <p:spPr>
            <a:xfrm rot="8716295">
              <a:off x="1918267" y="436316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5" name="Forme libre : forme 294">
              <a:extLst>
                <a:ext uri="{FF2B5EF4-FFF2-40B4-BE49-F238E27FC236}">
                  <a16:creationId xmlns:a16="http://schemas.microsoft.com/office/drawing/2014/main" id="{23C3947C-E5CD-4C04-A462-D000016701AE}"/>
                </a:ext>
              </a:extLst>
            </p:cNvPr>
            <p:cNvSpPr/>
            <p:nvPr/>
          </p:nvSpPr>
          <p:spPr>
            <a:xfrm rot="8716295">
              <a:off x="1793365" y="415448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6" name="Forme libre : forme 295">
              <a:extLst>
                <a:ext uri="{FF2B5EF4-FFF2-40B4-BE49-F238E27FC236}">
                  <a16:creationId xmlns:a16="http://schemas.microsoft.com/office/drawing/2014/main" id="{36960960-0C32-4C59-8462-A2186C943B16}"/>
                </a:ext>
              </a:extLst>
            </p:cNvPr>
            <p:cNvSpPr/>
            <p:nvPr/>
          </p:nvSpPr>
          <p:spPr>
            <a:xfrm rot="8716295">
              <a:off x="2008445" y="4404113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7" name="Forme libre : forme 296">
              <a:extLst>
                <a:ext uri="{FF2B5EF4-FFF2-40B4-BE49-F238E27FC236}">
                  <a16:creationId xmlns:a16="http://schemas.microsoft.com/office/drawing/2014/main" id="{A017DED6-0DF0-4954-AA17-FAF145052546}"/>
                </a:ext>
              </a:extLst>
            </p:cNvPr>
            <p:cNvSpPr/>
            <p:nvPr/>
          </p:nvSpPr>
          <p:spPr>
            <a:xfrm rot="8716295">
              <a:off x="1766994" y="4254513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8" name="Forme libre : forme 297">
              <a:extLst>
                <a:ext uri="{FF2B5EF4-FFF2-40B4-BE49-F238E27FC236}">
                  <a16:creationId xmlns:a16="http://schemas.microsoft.com/office/drawing/2014/main" id="{5CC2F812-5E9A-4217-955F-4164466B5C25}"/>
                </a:ext>
              </a:extLst>
            </p:cNvPr>
            <p:cNvSpPr/>
            <p:nvPr/>
          </p:nvSpPr>
          <p:spPr>
            <a:xfrm rot="7484129">
              <a:off x="2113376" y="459546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9" name="Forme libre : forme 298">
              <a:extLst>
                <a:ext uri="{FF2B5EF4-FFF2-40B4-BE49-F238E27FC236}">
                  <a16:creationId xmlns:a16="http://schemas.microsoft.com/office/drawing/2014/main" id="{C4DB3C3C-7923-468B-A1D6-C35736B5F055}"/>
                </a:ext>
              </a:extLst>
            </p:cNvPr>
            <p:cNvSpPr/>
            <p:nvPr/>
          </p:nvSpPr>
          <p:spPr>
            <a:xfrm rot="13089394">
              <a:off x="2218196" y="4561998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0" name="Forme libre : forme 299">
              <a:extLst>
                <a:ext uri="{FF2B5EF4-FFF2-40B4-BE49-F238E27FC236}">
                  <a16:creationId xmlns:a16="http://schemas.microsoft.com/office/drawing/2014/main" id="{4DB3A68B-6594-48A3-9ED1-B19E13D1C859}"/>
                </a:ext>
              </a:extLst>
            </p:cNvPr>
            <p:cNvSpPr/>
            <p:nvPr/>
          </p:nvSpPr>
          <p:spPr>
            <a:xfrm rot="8716295">
              <a:off x="2403781" y="4370317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1" name="Forme libre : forme 300">
              <a:extLst>
                <a:ext uri="{FF2B5EF4-FFF2-40B4-BE49-F238E27FC236}">
                  <a16:creationId xmlns:a16="http://schemas.microsoft.com/office/drawing/2014/main" id="{257847A5-8115-45F6-B365-C04D26B7A465}"/>
                </a:ext>
              </a:extLst>
            </p:cNvPr>
            <p:cNvSpPr/>
            <p:nvPr/>
          </p:nvSpPr>
          <p:spPr>
            <a:xfrm rot="8716295">
              <a:off x="2351976" y="426672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2" name="Forme libre : forme 301">
              <a:extLst>
                <a:ext uri="{FF2B5EF4-FFF2-40B4-BE49-F238E27FC236}">
                  <a16:creationId xmlns:a16="http://schemas.microsoft.com/office/drawing/2014/main" id="{8F6B8004-8361-41BA-B532-27BD701A55E8}"/>
                </a:ext>
              </a:extLst>
            </p:cNvPr>
            <p:cNvSpPr/>
            <p:nvPr/>
          </p:nvSpPr>
          <p:spPr>
            <a:xfrm rot="8716295">
              <a:off x="2108730" y="429694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3" name="Forme libre : forme 302">
              <a:extLst>
                <a:ext uri="{FF2B5EF4-FFF2-40B4-BE49-F238E27FC236}">
                  <a16:creationId xmlns:a16="http://schemas.microsoft.com/office/drawing/2014/main" id="{A2707731-9E6E-4897-BF1C-AD23EDDF33B9}"/>
                </a:ext>
              </a:extLst>
            </p:cNvPr>
            <p:cNvSpPr/>
            <p:nvPr/>
          </p:nvSpPr>
          <p:spPr>
            <a:xfrm rot="8716295">
              <a:off x="2286182" y="413770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4" name="Forme libre : forme 303">
              <a:extLst>
                <a:ext uri="{FF2B5EF4-FFF2-40B4-BE49-F238E27FC236}">
                  <a16:creationId xmlns:a16="http://schemas.microsoft.com/office/drawing/2014/main" id="{71585C5B-7ACF-4291-A3CC-77CF6C2FAF80}"/>
                </a:ext>
              </a:extLst>
            </p:cNvPr>
            <p:cNvSpPr/>
            <p:nvPr/>
          </p:nvSpPr>
          <p:spPr>
            <a:xfrm rot="8716295">
              <a:off x="854880" y="188600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5" name="Forme libre : forme 304">
              <a:extLst>
                <a:ext uri="{FF2B5EF4-FFF2-40B4-BE49-F238E27FC236}">
                  <a16:creationId xmlns:a16="http://schemas.microsoft.com/office/drawing/2014/main" id="{825A50BE-E198-461A-AE4C-E99B0DB548B8}"/>
                </a:ext>
              </a:extLst>
            </p:cNvPr>
            <p:cNvSpPr/>
            <p:nvPr/>
          </p:nvSpPr>
          <p:spPr>
            <a:xfrm rot="8716295">
              <a:off x="944272" y="191524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6" name="Forme libre : forme 305">
              <a:extLst>
                <a:ext uri="{FF2B5EF4-FFF2-40B4-BE49-F238E27FC236}">
                  <a16:creationId xmlns:a16="http://schemas.microsoft.com/office/drawing/2014/main" id="{A7FBDA8A-DF94-413D-B047-17E3CE1805C0}"/>
                </a:ext>
              </a:extLst>
            </p:cNvPr>
            <p:cNvSpPr/>
            <p:nvPr/>
          </p:nvSpPr>
          <p:spPr>
            <a:xfrm rot="8716295">
              <a:off x="899422" y="182896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7" name="Forme libre : forme 306">
              <a:extLst>
                <a:ext uri="{FF2B5EF4-FFF2-40B4-BE49-F238E27FC236}">
                  <a16:creationId xmlns:a16="http://schemas.microsoft.com/office/drawing/2014/main" id="{8DB66338-D210-4BFA-9092-FF348569CC52}"/>
                </a:ext>
              </a:extLst>
            </p:cNvPr>
            <p:cNvSpPr/>
            <p:nvPr/>
          </p:nvSpPr>
          <p:spPr>
            <a:xfrm rot="8716295">
              <a:off x="742646" y="197454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8" name="Forme libre : forme 307">
              <a:extLst>
                <a:ext uri="{FF2B5EF4-FFF2-40B4-BE49-F238E27FC236}">
                  <a16:creationId xmlns:a16="http://schemas.microsoft.com/office/drawing/2014/main" id="{74B60F54-C3F2-4334-BC7E-D49FA3ACE1ED}"/>
                </a:ext>
              </a:extLst>
            </p:cNvPr>
            <p:cNvSpPr/>
            <p:nvPr/>
          </p:nvSpPr>
          <p:spPr>
            <a:xfrm rot="8716295">
              <a:off x="617743" y="176587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9" name="Forme libre : forme 308">
              <a:extLst>
                <a:ext uri="{FF2B5EF4-FFF2-40B4-BE49-F238E27FC236}">
                  <a16:creationId xmlns:a16="http://schemas.microsoft.com/office/drawing/2014/main" id="{CA3E19C2-F96C-48A0-9D2C-698B32CA8895}"/>
                </a:ext>
              </a:extLst>
            </p:cNvPr>
            <p:cNvSpPr/>
            <p:nvPr/>
          </p:nvSpPr>
          <p:spPr>
            <a:xfrm rot="8716295">
              <a:off x="605691" y="162709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0" name="Forme libre : forme 309">
              <a:extLst>
                <a:ext uri="{FF2B5EF4-FFF2-40B4-BE49-F238E27FC236}">
                  <a16:creationId xmlns:a16="http://schemas.microsoft.com/office/drawing/2014/main" id="{9A0D5CB1-8D83-4AFE-B1BE-9F0F522C0D2B}"/>
                </a:ext>
              </a:extLst>
            </p:cNvPr>
            <p:cNvSpPr/>
            <p:nvPr/>
          </p:nvSpPr>
          <p:spPr>
            <a:xfrm rot="8716295">
              <a:off x="832824" y="201549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1" name="Forme libre : forme 310">
              <a:extLst>
                <a:ext uri="{FF2B5EF4-FFF2-40B4-BE49-F238E27FC236}">
                  <a16:creationId xmlns:a16="http://schemas.microsoft.com/office/drawing/2014/main" id="{7A50FCE7-03C8-4853-B73F-CE26795DB2CC}"/>
                </a:ext>
              </a:extLst>
            </p:cNvPr>
            <p:cNvSpPr/>
            <p:nvPr/>
          </p:nvSpPr>
          <p:spPr>
            <a:xfrm rot="8716295">
              <a:off x="1143979" y="163584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2" name="Forme libre : forme 311">
              <a:extLst>
                <a:ext uri="{FF2B5EF4-FFF2-40B4-BE49-F238E27FC236}">
                  <a16:creationId xmlns:a16="http://schemas.microsoft.com/office/drawing/2014/main" id="{457A7093-695D-4C41-85A0-782C2CD8BC44}"/>
                </a:ext>
              </a:extLst>
            </p:cNvPr>
            <p:cNvSpPr/>
            <p:nvPr/>
          </p:nvSpPr>
          <p:spPr>
            <a:xfrm rot="8716295">
              <a:off x="1233371" y="166509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3" name="Forme libre : forme 312">
              <a:extLst>
                <a:ext uri="{FF2B5EF4-FFF2-40B4-BE49-F238E27FC236}">
                  <a16:creationId xmlns:a16="http://schemas.microsoft.com/office/drawing/2014/main" id="{704E3047-55DF-4CDA-9182-C95BBA17BD9B}"/>
                </a:ext>
              </a:extLst>
            </p:cNvPr>
            <p:cNvSpPr/>
            <p:nvPr/>
          </p:nvSpPr>
          <p:spPr>
            <a:xfrm rot="8716295">
              <a:off x="1031745" y="172439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4" name="Forme libre : forme 313">
              <a:extLst>
                <a:ext uri="{FF2B5EF4-FFF2-40B4-BE49-F238E27FC236}">
                  <a16:creationId xmlns:a16="http://schemas.microsoft.com/office/drawing/2014/main" id="{75BDC6A2-BB14-4847-BB83-0C2ABA630806}"/>
                </a:ext>
              </a:extLst>
            </p:cNvPr>
            <p:cNvSpPr/>
            <p:nvPr/>
          </p:nvSpPr>
          <p:spPr>
            <a:xfrm rot="8716295">
              <a:off x="906843" y="151572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5" name="Forme libre : forme 314">
              <a:extLst>
                <a:ext uri="{FF2B5EF4-FFF2-40B4-BE49-F238E27FC236}">
                  <a16:creationId xmlns:a16="http://schemas.microsoft.com/office/drawing/2014/main" id="{7B4C3322-60E4-483D-8950-104BAFBDD71B}"/>
                </a:ext>
              </a:extLst>
            </p:cNvPr>
            <p:cNvSpPr/>
            <p:nvPr/>
          </p:nvSpPr>
          <p:spPr>
            <a:xfrm rot="8716295">
              <a:off x="1121923" y="176534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6" name="Forme libre : forme 315">
              <a:extLst>
                <a:ext uri="{FF2B5EF4-FFF2-40B4-BE49-F238E27FC236}">
                  <a16:creationId xmlns:a16="http://schemas.microsoft.com/office/drawing/2014/main" id="{2CCC10C4-A47F-46B3-9A5E-2B69B8F95724}"/>
                </a:ext>
              </a:extLst>
            </p:cNvPr>
            <p:cNvSpPr/>
            <p:nvPr/>
          </p:nvSpPr>
          <p:spPr>
            <a:xfrm rot="8716295">
              <a:off x="880472" y="161574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7" name="Forme libre : forme 316">
              <a:extLst>
                <a:ext uri="{FF2B5EF4-FFF2-40B4-BE49-F238E27FC236}">
                  <a16:creationId xmlns:a16="http://schemas.microsoft.com/office/drawing/2014/main" id="{C3F47D9C-5F75-4589-82C5-2EB76DD8C333}"/>
                </a:ext>
              </a:extLst>
            </p:cNvPr>
            <p:cNvSpPr/>
            <p:nvPr/>
          </p:nvSpPr>
          <p:spPr>
            <a:xfrm rot="7484129">
              <a:off x="1226854" y="195669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8" name="Forme libre : forme 317">
              <a:extLst>
                <a:ext uri="{FF2B5EF4-FFF2-40B4-BE49-F238E27FC236}">
                  <a16:creationId xmlns:a16="http://schemas.microsoft.com/office/drawing/2014/main" id="{06EDA617-7C34-4BCB-8273-6505201538B5}"/>
                </a:ext>
              </a:extLst>
            </p:cNvPr>
            <p:cNvSpPr/>
            <p:nvPr/>
          </p:nvSpPr>
          <p:spPr>
            <a:xfrm rot="13089394">
              <a:off x="1331674" y="192323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9" name="Forme libre : forme 318">
              <a:extLst>
                <a:ext uri="{FF2B5EF4-FFF2-40B4-BE49-F238E27FC236}">
                  <a16:creationId xmlns:a16="http://schemas.microsoft.com/office/drawing/2014/main" id="{8C00C036-C8B0-4F77-B0BC-B732FD327F08}"/>
                </a:ext>
              </a:extLst>
            </p:cNvPr>
            <p:cNvSpPr/>
            <p:nvPr/>
          </p:nvSpPr>
          <p:spPr>
            <a:xfrm rot="8716295">
              <a:off x="1517259" y="173154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0" name="Forme libre : forme 319">
              <a:extLst>
                <a:ext uri="{FF2B5EF4-FFF2-40B4-BE49-F238E27FC236}">
                  <a16:creationId xmlns:a16="http://schemas.microsoft.com/office/drawing/2014/main" id="{079E7D4D-7CBC-4E80-9ADD-66D10F53D00A}"/>
                </a:ext>
              </a:extLst>
            </p:cNvPr>
            <p:cNvSpPr/>
            <p:nvPr/>
          </p:nvSpPr>
          <p:spPr>
            <a:xfrm rot="8716295">
              <a:off x="1465454" y="162795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1" name="Forme libre : forme 320">
              <a:extLst>
                <a:ext uri="{FF2B5EF4-FFF2-40B4-BE49-F238E27FC236}">
                  <a16:creationId xmlns:a16="http://schemas.microsoft.com/office/drawing/2014/main" id="{F6CBC04A-ACBC-43B1-86C9-792F0278AE9C}"/>
                </a:ext>
              </a:extLst>
            </p:cNvPr>
            <p:cNvSpPr/>
            <p:nvPr/>
          </p:nvSpPr>
          <p:spPr>
            <a:xfrm rot="8716295">
              <a:off x="1222208" y="165817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2" name="Forme libre : forme 321">
              <a:extLst>
                <a:ext uri="{FF2B5EF4-FFF2-40B4-BE49-F238E27FC236}">
                  <a16:creationId xmlns:a16="http://schemas.microsoft.com/office/drawing/2014/main" id="{877F1B10-A111-4EDF-9C97-C64DD5E5FC2D}"/>
                </a:ext>
              </a:extLst>
            </p:cNvPr>
            <p:cNvSpPr/>
            <p:nvPr/>
          </p:nvSpPr>
          <p:spPr>
            <a:xfrm rot="8716295">
              <a:off x="1399660" y="149893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3" name="Forme libre : forme 322">
              <a:extLst>
                <a:ext uri="{FF2B5EF4-FFF2-40B4-BE49-F238E27FC236}">
                  <a16:creationId xmlns:a16="http://schemas.microsoft.com/office/drawing/2014/main" id="{247A35DD-1AE0-4F8F-91F1-39A539F5145A}"/>
                </a:ext>
              </a:extLst>
            </p:cNvPr>
            <p:cNvSpPr/>
            <p:nvPr/>
          </p:nvSpPr>
          <p:spPr>
            <a:xfrm rot="8716295">
              <a:off x="631713" y="12263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4" name="Forme libre : forme 323">
              <a:extLst>
                <a:ext uri="{FF2B5EF4-FFF2-40B4-BE49-F238E27FC236}">
                  <a16:creationId xmlns:a16="http://schemas.microsoft.com/office/drawing/2014/main" id="{B2057DA7-CDDF-43BB-8EAC-22466BE1F259}"/>
                </a:ext>
              </a:extLst>
            </p:cNvPr>
            <p:cNvSpPr/>
            <p:nvPr/>
          </p:nvSpPr>
          <p:spPr>
            <a:xfrm rot="8716295">
              <a:off x="721105" y="12555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5" name="Forme libre : forme 324">
              <a:extLst>
                <a:ext uri="{FF2B5EF4-FFF2-40B4-BE49-F238E27FC236}">
                  <a16:creationId xmlns:a16="http://schemas.microsoft.com/office/drawing/2014/main" id="{E77CA785-1459-4C27-B776-D857A8D4B013}"/>
                </a:ext>
              </a:extLst>
            </p:cNvPr>
            <p:cNvSpPr/>
            <p:nvPr/>
          </p:nvSpPr>
          <p:spPr>
            <a:xfrm rot="8716295">
              <a:off x="676255" y="116926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6" name="Forme libre : forme 325">
              <a:extLst>
                <a:ext uri="{FF2B5EF4-FFF2-40B4-BE49-F238E27FC236}">
                  <a16:creationId xmlns:a16="http://schemas.microsoft.com/office/drawing/2014/main" id="{D9BFC3E7-D875-4777-80CD-7BECEB16ED0F}"/>
                </a:ext>
              </a:extLst>
            </p:cNvPr>
            <p:cNvSpPr/>
            <p:nvPr/>
          </p:nvSpPr>
          <p:spPr>
            <a:xfrm rot="8716295">
              <a:off x="519479" y="13148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7" name="Forme libre : forme 326">
              <a:extLst>
                <a:ext uri="{FF2B5EF4-FFF2-40B4-BE49-F238E27FC236}">
                  <a16:creationId xmlns:a16="http://schemas.microsoft.com/office/drawing/2014/main" id="{E87C9BB6-CA72-4C32-8CA3-A029EC77D88B}"/>
                </a:ext>
              </a:extLst>
            </p:cNvPr>
            <p:cNvSpPr/>
            <p:nvPr/>
          </p:nvSpPr>
          <p:spPr>
            <a:xfrm rot="8716295">
              <a:off x="394576" y="11061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8" name="Forme libre : forme 327">
              <a:extLst>
                <a:ext uri="{FF2B5EF4-FFF2-40B4-BE49-F238E27FC236}">
                  <a16:creationId xmlns:a16="http://schemas.microsoft.com/office/drawing/2014/main" id="{40F6441D-9B69-4079-B1A2-720CB6BA2101}"/>
                </a:ext>
              </a:extLst>
            </p:cNvPr>
            <p:cNvSpPr/>
            <p:nvPr/>
          </p:nvSpPr>
          <p:spPr>
            <a:xfrm rot="8716295">
              <a:off x="382524" y="96739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9" name="Forme libre : forme 328">
              <a:extLst>
                <a:ext uri="{FF2B5EF4-FFF2-40B4-BE49-F238E27FC236}">
                  <a16:creationId xmlns:a16="http://schemas.microsoft.com/office/drawing/2014/main" id="{B832EB8F-3703-48E0-A315-AEFC6F1CBB35}"/>
                </a:ext>
              </a:extLst>
            </p:cNvPr>
            <p:cNvSpPr/>
            <p:nvPr/>
          </p:nvSpPr>
          <p:spPr>
            <a:xfrm rot="8716295">
              <a:off x="609657" y="135579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0" name="Forme libre : forme 329">
              <a:extLst>
                <a:ext uri="{FF2B5EF4-FFF2-40B4-BE49-F238E27FC236}">
                  <a16:creationId xmlns:a16="http://schemas.microsoft.com/office/drawing/2014/main" id="{763E69C5-E960-4417-A0EA-1ECCFB8C6C35}"/>
                </a:ext>
              </a:extLst>
            </p:cNvPr>
            <p:cNvSpPr/>
            <p:nvPr/>
          </p:nvSpPr>
          <p:spPr>
            <a:xfrm rot="8716295">
              <a:off x="920812" y="97615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1" name="Forme libre : forme 330">
              <a:extLst>
                <a:ext uri="{FF2B5EF4-FFF2-40B4-BE49-F238E27FC236}">
                  <a16:creationId xmlns:a16="http://schemas.microsoft.com/office/drawing/2014/main" id="{651DF2CF-FEA7-4A17-8C45-74CA1E1691C9}"/>
                </a:ext>
              </a:extLst>
            </p:cNvPr>
            <p:cNvSpPr/>
            <p:nvPr/>
          </p:nvSpPr>
          <p:spPr>
            <a:xfrm rot="8716295">
              <a:off x="1010204" y="100539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2" name="Forme libre : forme 331">
              <a:extLst>
                <a:ext uri="{FF2B5EF4-FFF2-40B4-BE49-F238E27FC236}">
                  <a16:creationId xmlns:a16="http://schemas.microsoft.com/office/drawing/2014/main" id="{F4BE6752-2F2B-4713-BCC2-F5A751451D2F}"/>
                </a:ext>
              </a:extLst>
            </p:cNvPr>
            <p:cNvSpPr/>
            <p:nvPr/>
          </p:nvSpPr>
          <p:spPr>
            <a:xfrm rot="8716295">
              <a:off x="808578" y="106469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3" name="Forme libre : forme 332">
              <a:extLst>
                <a:ext uri="{FF2B5EF4-FFF2-40B4-BE49-F238E27FC236}">
                  <a16:creationId xmlns:a16="http://schemas.microsoft.com/office/drawing/2014/main" id="{F0181337-48BC-4C6E-BF6A-EF75BA2ADF65}"/>
                </a:ext>
              </a:extLst>
            </p:cNvPr>
            <p:cNvSpPr/>
            <p:nvPr/>
          </p:nvSpPr>
          <p:spPr>
            <a:xfrm rot="8716295">
              <a:off x="683676" y="85602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4" name="Forme libre : forme 333">
              <a:extLst>
                <a:ext uri="{FF2B5EF4-FFF2-40B4-BE49-F238E27FC236}">
                  <a16:creationId xmlns:a16="http://schemas.microsoft.com/office/drawing/2014/main" id="{51A8FF0F-FF59-4E76-A691-2074D9AE597E}"/>
                </a:ext>
              </a:extLst>
            </p:cNvPr>
            <p:cNvSpPr/>
            <p:nvPr/>
          </p:nvSpPr>
          <p:spPr>
            <a:xfrm rot="8716295">
              <a:off x="898756" y="110564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5" name="Forme libre : forme 334">
              <a:extLst>
                <a:ext uri="{FF2B5EF4-FFF2-40B4-BE49-F238E27FC236}">
                  <a16:creationId xmlns:a16="http://schemas.microsoft.com/office/drawing/2014/main" id="{D5F2DBF7-EA5E-412E-BE60-C63CE87201BD}"/>
                </a:ext>
              </a:extLst>
            </p:cNvPr>
            <p:cNvSpPr/>
            <p:nvPr/>
          </p:nvSpPr>
          <p:spPr>
            <a:xfrm rot="8716295">
              <a:off x="657305" y="95604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6" name="Forme libre : forme 335">
              <a:extLst>
                <a:ext uri="{FF2B5EF4-FFF2-40B4-BE49-F238E27FC236}">
                  <a16:creationId xmlns:a16="http://schemas.microsoft.com/office/drawing/2014/main" id="{2B86FAAC-284E-4293-B3BE-662E153BEFE7}"/>
                </a:ext>
              </a:extLst>
            </p:cNvPr>
            <p:cNvSpPr/>
            <p:nvPr/>
          </p:nvSpPr>
          <p:spPr>
            <a:xfrm rot="7484129">
              <a:off x="1003687" y="129699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7" name="Forme libre : forme 336">
              <a:extLst>
                <a:ext uri="{FF2B5EF4-FFF2-40B4-BE49-F238E27FC236}">
                  <a16:creationId xmlns:a16="http://schemas.microsoft.com/office/drawing/2014/main" id="{F8C25AEA-BEFD-464B-AC86-4743BA580AF0}"/>
                </a:ext>
              </a:extLst>
            </p:cNvPr>
            <p:cNvSpPr/>
            <p:nvPr/>
          </p:nvSpPr>
          <p:spPr>
            <a:xfrm rot="13089394">
              <a:off x="1108507" y="1263531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8" name="Forme libre : forme 337">
              <a:extLst>
                <a:ext uri="{FF2B5EF4-FFF2-40B4-BE49-F238E27FC236}">
                  <a16:creationId xmlns:a16="http://schemas.microsoft.com/office/drawing/2014/main" id="{C5FC227C-CE0A-4B9A-BEB5-86A5822E13D2}"/>
                </a:ext>
              </a:extLst>
            </p:cNvPr>
            <p:cNvSpPr/>
            <p:nvPr/>
          </p:nvSpPr>
          <p:spPr>
            <a:xfrm rot="8716295">
              <a:off x="1294092" y="107185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9" name="Forme libre : forme 338">
              <a:extLst>
                <a:ext uri="{FF2B5EF4-FFF2-40B4-BE49-F238E27FC236}">
                  <a16:creationId xmlns:a16="http://schemas.microsoft.com/office/drawing/2014/main" id="{2AD54659-FB71-46D1-A755-0BCF081E050A}"/>
                </a:ext>
              </a:extLst>
            </p:cNvPr>
            <p:cNvSpPr/>
            <p:nvPr/>
          </p:nvSpPr>
          <p:spPr>
            <a:xfrm rot="8716295">
              <a:off x="1242287" y="96825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0" name="Forme libre : forme 339">
              <a:extLst>
                <a:ext uri="{FF2B5EF4-FFF2-40B4-BE49-F238E27FC236}">
                  <a16:creationId xmlns:a16="http://schemas.microsoft.com/office/drawing/2014/main" id="{EA0D1B29-AE82-4655-80DE-F5EADED15310}"/>
                </a:ext>
              </a:extLst>
            </p:cNvPr>
            <p:cNvSpPr/>
            <p:nvPr/>
          </p:nvSpPr>
          <p:spPr>
            <a:xfrm rot="8716295">
              <a:off x="999041" y="99847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1" name="Forme libre : forme 340">
              <a:extLst>
                <a:ext uri="{FF2B5EF4-FFF2-40B4-BE49-F238E27FC236}">
                  <a16:creationId xmlns:a16="http://schemas.microsoft.com/office/drawing/2014/main" id="{FE59AAF9-5326-4148-B75B-C59DBA653A58}"/>
                </a:ext>
              </a:extLst>
            </p:cNvPr>
            <p:cNvSpPr/>
            <p:nvPr/>
          </p:nvSpPr>
          <p:spPr>
            <a:xfrm rot="8716295">
              <a:off x="1176493" y="83923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2" name="Forme libre : forme 341">
              <a:extLst>
                <a:ext uri="{FF2B5EF4-FFF2-40B4-BE49-F238E27FC236}">
                  <a16:creationId xmlns:a16="http://schemas.microsoft.com/office/drawing/2014/main" id="{2B5ED39A-BA82-4FB9-B8D1-BFCBF5FCF8AB}"/>
                </a:ext>
              </a:extLst>
            </p:cNvPr>
            <p:cNvSpPr/>
            <p:nvPr/>
          </p:nvSpPr>
          <p:spPr>
            <a:xfrm rot="8716295">
              <a:off x="412774" y="56424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3" name="Forme libre : forme 342">
              <a:extLst>
                <a:ext uri="{FF2B5EF4-FFF2-40B4-BE49-F238E27FC236}">
                  <a16:creationId xmlns:a16="http://schemas.microsoft.com/office/drawing/2014/main" id="{EF04C128-AC77-4E99-970E-568F219D8A8C}"/>
                </a:ext>
              </a:extLst>
            </p:cNvPr>
            <p:cNvSpPr/>
            <p:nvPr/>
          </p:nvSpPr>
          <p:spPr>
            <a:xfrm rot="8716295">
              <a:off x="502166" y="59348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4" name="Forme libre : forme 343">
              <a:extLst>
                <a:ext uri="{FF2B5EF4-FFF2-40B4-BE49-F238E27FC236}">
                  <a16:creationId xmlns:a16="http://schemas.microsoft.com/office/drawing/2014/main" id="{35DEA77E-6D52-40CB-86CA-54607FDC07E9}"/>
                </a:ext>
              </a:extLst>
            </p:cNvPr>
            <p:cNvSpPr/>
            <p:nvPr/>
          </p:nvSpPr>
          <p:spPr>
            <a:xfrm rot="8716295">
              <a:off x="457316" y="50720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5" name="Forme libre : forme 344">
              <a:extLst>
                <a:ext uri="{FF2B5EF4-FFF2-40B4-BE49-F238E27FC236}">
                  <a16:creationId xmlns:a16="http://schemas.microsoft.com/office/drawing/2014/main" id="{7F83C78F-975E-4433-96C7-AC45753DC5C9}"/>
                </a:ext>
              </a:extLst>
            </p:cNvPr>
            <p:cNvSpPr/>
            <p:nvPr/>
          </p:nvSpPr>
          <p:spPr>
            <a:xfrm rot="8716295">
              <a:off x="300540" y="65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6" name="Forme libre : forme 345">
              <a:extLst>
                <a:ext uri="{FF2B5EF4-FFF2-40B4-BE49-F238E27FC236}">
                  <a16:creationId xmlns:a16="http://schemas.microsoft.com/office/drawing/2014/main" id="{FD3979A2-0F0A-4D64-B2D1-D790A7310394}"/>
                </a:ext>
              </a:extLst>
            </p:cNvPr>
            <p:cNvSpPr/>
            <p:nvPr/>
          </p:nvSpPr>
          <p:spPr>
            <a:xfrm rot="8716295">
              <a:off x="175637" y="44411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7" name="Forme libre : forme 346">
              <a:extLst>
                <a:ext uri="{FF2B5EF4-FFF2-40B4-BE49-F238E27FC236}">
                  <a16:creationId xmlns:a16="http://schemas.microsoft.com/office/drawing/2014/main" id="{AA76E107-EED2-43EE-909B-E95F465CE73B}"/>
                </a:ext>
              </a:extLst>
            </p:cNvPr>
            <p:cNvSpPr/>
            <p:nvPr/>
          </p:nvSpPr>
          <p:spPr>
            <a:xfrm rot="8716295">
              <a:off x="163585" y="30533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8" name="Forme libre : forme 347">
              <a:extLst>
                <a:ext uri="{FF2B5EF4-FFF2-40B4-BE49-F238E27FC236}">
                  <a16:creationId xmlns:a16="http://schemas.microsoft.com/office/drawing/2014/main" id="{B9BBA0BC-EEAF-493E-A940-F09587491C29}"/>
                </a:ext>
              </a:extLst>
            </p:cNvPr>
            <p:cNvSpPr/>
            <p:nvPr/>
          </p:nvSpPr>
          <p:spPr>
            <a:xfrm rot="8716295">
              <a:off x="390718" y="69374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9" name="Forme libre : forme 348">
              <a:extLst>
                <a:ext uri="{FF2B5EF4-FFF2-40B4-BE49-F238E27FC236}">
                  <a16:creationId xmlns:a16="http://schemas.microsoft.com/office/drawing/2014/main" id="{C8D30F56-4A06-4C10-B3F2-60FAA4FF4FB6}"/>
                </a:ext>
              </a:extLst>
            </p:cNvPr>
            <p:cNvSpPr/>
            <p:nvPr/>
          </p:nvSpPr>
          <p:spPr>
            <a:xfrm rot="8716295">
              <a:off x="701873" y="31409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0" name="Forme libre : forme 349">
              <a:extLst>
                <a:ext uri="{FF2B5EF4-FFF2-40B4-BE49-F238E27FC236}">
                  <a16:creationId xmlns:a16="http://schemas.microsoft.com/office/drawing/2014/main" id="{5C6936A8-9A95-4204-9D28-D9B75C140322}"/>
                </a:ext>
              </a:extLst>
            </p:cNvPr>
            <p:cNvSpPr/>
            <p:nvPr/>
          </p:nvSpPr>
          <p:spPr>
            <a:xfrm rot="8716295">
              <a:off x="791265" y="34333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1" name="Forme libre : forme 350">
              <a:extLst>
                <a:ext uri="{FF2B5EF4-FFF2-40B4-BE49-F238E27FC236}">
                  <a16:creationId xmlns:a16="http://schemas.microsoft.com/office/drawing/2014/main" id="{FFF2D367-BA47-4EF1-A7BB-098E80C21CBE}"/>
                </a:ext>
              </a:extLst>
            </p:cNvPr>
            <p:cNvSpPr/>
            <p:nvPr/>
          </p:nvSpPr>
          <p:spPr>
            <a:xfrm rot="8716295">
              <a:off x="589639" y="40263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2" name="Forme libre : forme 351">
              <a:extLst>
                <a:ext uri="{FF2B5EF4-FFF2-40B4-BE49-F238E27FC236}">
                  <a16:creationId xmlns:a16="http://schemas.microsoft.com/office/drawing/2014/main" id="{449281FC-8C05-45F5-BEE0-D74C1D2991A0}"/>
                </a:ext>
              </a:extLst>
            </p:cNvPr>
            <p:cNvSpPr/>
            <p:nvPr/>
          </p:nvSpPr>
          <p:spPr>
            <a:xfrm rot="8716295">
              <a:off x="464737" y="19396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3" name="Forme libre : forme 352">
              <a:extLst>
                <a:ext uri="{FF2B5EF4-FFF2-40B4-BE49-F238E27FC236}">
                  <a16:creationId xmlns:a16="http://schemas.microsoft.com/office/drawing/2014/main" id="{AC76B493-44A9-4110-A979-E79DA2DAD0EF}"/>
                </a:ext>
              </a:extLst>
            </p:cNvPr>
            <p:cNvSpPr/>
            <p:nvPr/>
          </p:nvSpPr>
          <p:spPr>
            <a:xfrm rot="8716295">
              <a:off x="679817" y="44358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4" name="Forme libre : forme 353">
              <a:extLst>
                <a:ext uri="{FF2B5EF4-FFF2-40B4-BE49-F238E27FC236}">
                  <a16:creationId xmlns:a16="http://schemas.microsoft.com/office/drawing/2014/main" id="{A1E49731-9881-455E-A515-C358862DEBAE}"/>
                </a:ext>
              </a:extLst>
            </p:cNvPr>
            <p:cNvSpPr/>
            <p:nvPr/>
          </p:nvSpPr>
          <p:spPr>
            <a:xfrm rot="8716295">
              <a:off x="438366" y="29398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5" name="Forme libre : forme 354">
              <a:extLst>
                <a:ext uri="{FF2B5EF4-FFF2-40B4-BE49-F238E27FC236}">
                  <a16:creationId xmlns:a16="http://schemas.microsoft.com/office/drawing/2014/main" id="{8204F475-BA32-42D6-B48D-2BEE0C6DF622}"/>
                </a:ext>
              </a:extLst>
            </p:cNvPr>
            <p:cNvSpPr/>
            <p:nvPr/>
          </p:nvSpPr>
          <p:spPr>
            <a:xfrm rot="7484129">
              <a:off x="784748" y="63493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6" name="Forme libre : forme 355">
              <a:extLst>
                <a:ext uri="{FF2B5EF4-FFF2-40B4-BE49-F238E27FC236}">
                  <a16:creationId xmlns:a16="http://schemas.microsoft.com/office/drawing/2014/main" id="{3407396E-8B17-4E89-82BB-C091E11448DB}"/>
                </a:ext>
              </a:extLst>
            </p:cNvPr>
            <p:cNvSpPr/>
            <p:nvPr/>
          </p:nvSpPr>
          <p:spPr>
            <a:xfrm rot="13089394">
              <a:off x="889568" y="60147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7" name="Forme libre : forme 356">
              <a:extLst>
                <a:ext uri="{FF2B5EF4-FFF2-40B4-BE49-F238E27FC236}">
                  <a16:creationId xmlns:a16="http://schemas.microsoft.com/office/drawing/2014/main" id="{27719725-2BB1-4B94-8AC6-F116861C62F1}"/>
                </a:ext>
              </a:extLst>
            </p:cNvPr>
            <p:cNvSpPr/>
            <p:nvPr/>
          </p:nvSpPr>
          <p:spPr>
            <a:xfrm rot="8716295">
              <a:off x="1075153" y="40979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8" name="Forme libre : forme 357">
              <a:extLst>
                <a:ext uri="{FF2B5EF4-FFF2-40B4-BE49-F238E27FC236}">
                  <a16:creationId xmlns:a16="http://schemas.microsoft.com/office/drawing/2014/main" id="{43C5E8C2-1177-4638-AAC9-C608290C6D73}"/>
                </a:ext>
              </a:extLst>
            </p:cNvPr>
            <p:cNvSpPr/>
            <p:nvPr/>
          </p:nvSpPr>
          <p:spPr>
            <a:xfrm rot="8716295">
              <a:off x="1023348" y="30619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9" name="Forme libre : forme 358">
              <a:extLst>
                <a:ext uri="{FF2B5EF4-FFF2-40B4-BE49-F238E27FC236}">
                  <a16:creationId xmlns:a16="http://schemas.microsoft.com/office/drawing/2014/main" id="{66F400C8-484F-4AA9-9E69-F9DA598D65AC}"/>
                </a:ext>
              </a:extLst>
            </p:cNvPr>
            <p:cNvSpPr/>
            <p:nvPr/>
          </p:nvSpPr>
          <p:spPr>
            <a:xfrm rot="8716295">
              <a:off x="780102" y="336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0" name="Forme libre : forme 359">
              <a:extLst>
                <a:ext uri="{FF2B5EF4-FFF2-40B4-BE49-F238E27FC236}">
                  <a16:creationId xmlns:a16="http://schemas.microsoft.com/office/drawing/2014/main" id="{FD3344B4-1783-4AD8-8B1E-198B5BC45770}"/>
                </a:ext>
              </a:extLst>
            </p:cNvPr>
            <p:cNvSpPr/>
            <p:nvPr/>
          </p:nvSpPr>
          <p:spPr>
            <a:xfrm rot="8716295">
              <a:off x="957554" y="17717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1" name="Forme libre : forme 360">
              <a:extLst>
                <a:ext uri="{FF2B5EF4-FFF2-40B4-BE49-F238E27FC236}">
                  <a16:creationId xmlns:a16="http://schemas.microsoft.com/office/drawing/2014/main" id="{B1F20E97-7F16-49D8-A491-FB12C97898BA}"/>
                </a:ext>
              </a:extLst>
            </p:cNvPr>
            <p:cNvSpPr/>
            <p:nvPr/>
          </p:nvSpPr>
          <p:spPr>
            <a:xfrm rot="8716295">
              <a:off x="202348" y="-57106"/>
              <a:ext cx="142167" cy="186494"/>
            </a:xfrm>
            <a:custGeom>
              <a:avLst/>
              <a:gdLst>
                <a:gd name="connsiteX0" fmla="*/ 142167 w 142167"/>
                <a:gd name="connsiteY0" fmla="*/ 186494 h 186494"/>
                <a:gd name="connsiteX1" fmla="*/ 81108 w 142167"/>
                <a:gd name="connsiteY1" fmla="*/ 144170 h 186494"/>
                <a:gd name="connsiteX2" fmla="*/ 81108 w 142167"/>
                <a:gd name="connsiteY2" fmla="*/ 69717 h 186494"/>
                <a:gd name="connsiteX3" fmla="*/ 81108 w 142167"/>
                <a:gd name="connsiteY3" fmla="*/ 65615 h 186494"/>
                <a:gd name="connsiteX4" fmla="*/ 60603 w 142167"/>
                <a:gd name="connsiteY4" fmla="*/ 50123 h 186494"/>
                <a:gd name="connsiteX5" fmla="*/ 0 w 142167"/>
                <a:gd name="connsiteY5" fmla="*/ 50123 h 186494"/>
                <a:gd name="connsiteX6" fmla="*/ 0 w 142167"/>
                <a:gd name="connsiteY6" fmla="*/ 0 h 186494"/>
                <a:gd name="connsiteX7" fmla="*/ 85209 w 142167"/>
                <a:gd name="connsiteY7" fmla="*/ 0 h 186494"/>
                <a:gd name="connsiteX8" fmla="*/ 142167 w 142167"/>
                <a:gd name="connsiteY8" fmla="*/ 50123 h 186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86494">
                  <a:moveTo>
                    <a:pt x="142167" y="186494"/>
                  </a:moveTo>
                  <a:lnTo>
                    <a:pt x="81108" y="144170"/>
                  </a:lnTo>
                  <a:lnTo>
                    <a:pt x="81108" y="69717"/>
                  </a:lnTo>
                  <a:cubicBezTo>
                    <a:pt x="81108" y="68349"/>
                    <a:pt x="81108" y="66983"/>
                    <a:pt x="81108" y="65615"/>
                  </a:cubicBezTo>
                  <a:cubicBezTo>
                    <a:pt x="79741" y="55591"/>
                    <a:pt x="70628" y="48756"/>
                    <a:pt x="60603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2" name="Forme libre : forme 361">
              <a:extLst>
                <a:ext uri="{FF2B5EF4-FFF2-40B4-BE49-F238E27FC236}">
                  <a16:creationId xmlns:a16="http://schemas.microsoft.com/office/drawing/2014/main" id="{627DF55A-0BF9-412B-B088-58C19C1BDCF8}"/>
                </a:ext>
              </a:extLst>
            </p:cNvPr>
            <p:cNvSpPr/>
            <p:nvPr/>
          </p:nvSpPr>
          <p:spPr>
            <a:xfrm rot="8716295">
              <a:off x="298766" y="-5395"/>
              <a:ext cx="260639" cy="180054"/>
            </a:xfrm>
            <a:custGeom>
              <a:avLst/>
              <a:gdLst>
                <a:gd name="connsiteX0" fmla="*/ 111638 w 260639"/>
                <a:gd name="connsiteY0" fmla="*/ 180054 h 180054"/>
                <a:gd name="connsiteX1" fmla="*/ 51490 w 260639"/>
                <a:gd name="connsiteY1" fmla="*/ 138362 h 180054"/>
                <a:gd name="connsiteX2" fmla="*/ 51490 w 260639"/>
                <a:gd name="connsiteY2" fmla="*/ 45624 h 180054"/>
                <a:gd name="connsiteX3" fmla="*/ 0 w 260639"/>
                <a:gd name="connsiteY3" fmla="*/ 45624 h 180054"/>
                <a:gd name="connsiteX4" fmla="*/ 0 w 260639"/>
                <a:gd name="connsiteY4" fmla="*/ 1425 h 180054"/>
                <a:gd name="connsiteX5" fmla="*/ 104802 w 260639"/>
                <a:gd name="connsiteY5" fmla="*/ 1425 h 180054"/>
                <a:gd name="connsiteX6" fmla="*/ 104802 w 260639"/>
                <a:gd name="connsiteY6" fmla="*/ 75242 h 180054"/>
                <a:gd name="connsiteX7" fmla="*/ 106169 w 260639"/>
                <a:gd name="connsiteY7" fmla="*/ 75242 h 180054"/>
                <a:gd name="connsiteX8" fmla="*/ 154014 w 260639"/>
                <a:gd name="connsiteY8" fmla="*/ 5981 h 180054"/>
                <a:gd name="connsiteX9" fmla="*/ 185455 w 260639"/>
                <a:gd name="connsiteY9" fmla="*/ 57 h 180054"/>
                <a:gd name="connsiteX10" fmla="*/ 260639 w 260639"/>
                <a:gd name="connsiteY10" fmla="*/ 88456 h 180054"/>
                <a:gd name="connsiteX11" fmla="*/ 260639 w 260639"/>
                <a:gd name="connsiteY11" fmla="*/ 94380 h 180054"/>
                <a:gd name="connsiteX12" fmla="*/ 198669 w 260639"/>
                <a:gd name="connsiteY12" fmla="*/ 98025 h 180054"/>
                <a:gd name="connsiteX13" fmla="*/ 198669 w 260639"/>
                <a:gd name="connsiteY13" fmla="*/ 81621 h 180054"/>
                <a:gd name="connsiteX14" fmla="*/ 164950 w 260639"/>
                <a:gd name="connsiteY14" fmla="*/ 40156 h 180054"/>
                <a:gd name="connsiteX15" fmla="*/ 111638 w 260639"/>
                <a:gd name="connsiteY15" fmla="*/ 127643 h 180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0639" h="180054">
                  <a:moveTo>
                    <a:pt x="111638" y="180054"/>
                  </a:moveTo>
                  <a:lnTo>
                    <a:pt x="51490" y="138362"/>
                  </a:ln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3" name="Forme libre : forme 362">
              <a:extLst>
                <a:ext uri="{FF2B5EF4-FFF2-40B4-BE49-F238E27FC236}">
                  <a16:creationId xmlns:a16="http://schemas.microsoft.com/office/drawing/2014/main" id="{B1CC1170-12B9-42E7-B048-36951089B415}"/>
                </a:ext>
              </a:extLst>
            </p:cNvPr>
            <p:cNvSpPr/>
            <p:nvPr/>
          </p:nvSpPr>
          <p:spPr>
            <a:xfrm rot="8716295">
              <a:off x="276903" y="-12823"/>
              <a:ext cx="36272" cy="27982"/>
            </a:xfrm>
            <a:custGeom>
              <a:avLst/>
              <a:gdLst>
                <a:gd name="connsiteX0" fmla="*/ 36272 w 36272"/>
                <a:gd name="connsiteY0" fmla="*/ 27982 h 27982"/>
                <a:gd name="connsiteX1" fmla="*/ 0 w 36272"/>
                <a:gd name="connsiteY1" fmla="*/ 2840 h 27982"/>
                <a:gd name="connsiteX2" fmla="*/ 9543 w 36272"/>
                <a:gd name="connsiteY2" fmla="*/ 0 h 27982"/>
                <a:gd name="connsiteX3" fmla="*/ 31871 w 36272"/>
                <a:gd name="connsiteY3" fmla="*/ 11392 h 27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272" h="27982">
                  <a:moveTo>
                    <a:pt x="36272" y="27982"/>
                  </a:moveTo>
                  <a:lnTo>
                    <a:pt x="0" y="2840"/>
                  </a:lnTo>
                  <a:lnTo>
                    <a:pt x="9543" y="0"/>
                  </a:lnTo>
                  <a:cubicBezTo>
                    <a:pt x="20479" y="0"/>
                    <a:pt x="27542" y="4784"/>
                    <a:pt x="31871" y="113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4" name="Forme libre : forme 363">
              <a:extLst>
                <a:ext uri="{FF2B5EF4-FFF2-40B4-BE49-F238E27FC236}">
                  <a16:creationId xmlns:a16="http://schemas.microsoft.com/office/drawing/2014/main" id="{E033BF19-7D8B-489E-8421-40953085A3CD}"/>
                </a:ext>
              </a:extLst>
            </p:cNvPr>
            <p:cNvSpPr/>
            <p:nvPr/>
          </p:nvSpPr>
          <p:spPr>
            <a:xfrm rot="8716295">
              <a:off x="74640" y="-9665"/>
              <a:ext cx="58068" cy="54772"/>
            </a:xfrm>
            <a:custGeom>
              <a:avLst/>
              <a:gdLst>
                <a:gd name="connsiteX0" fmla="*/ 37436 w 58068"/>
                <a:gd name="connsiteY0" fmla="*/ 54772 h 54772"/>
                <a:gd name="connsiteX1" fmla="*/ 0 w 58068"/>
                <a:gd name="connsiteY1" fmla="*/ 28823 h 54772"/>
                <a:gd name="connsiteX2" fmla="*/ 8515 w 58068"/>
                <a:gd name="connsiteY2" fmla="*/ 8658 h 54772"/>
                <a:gd name="connsiteX3" fmla="*/ 29020 w 58068"/>
                <a:gd name="connsiteY3" fmla="*/ 0 h 54772"/>
                <a:gd name="connsiteX4" fmla="*/ 49525 w 58068"/>
                <a:gd name="connsiteY4" fmla="*/ 8658 h 54772"/>
                <a:gd name="connsiteX5" fmla="*/ 49525 w 58068"/>
                <a:gd name="connsiteY5" fmla="*/ 49668 h 5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068" h="54772">
                  <a:moveTo>
                    <a:pt x="37436" y="54772"/>
                  </a:moveTo>
                  <a:lnTo>
                    <a:pt x="0" y="28823"/>
                  </a:lnTo>
                  <a:lnTo>
                    <a:pt x="8515" y="8658"/>
                  </a:lnTo>
                  <a:cubicBezTo>
                    <a:pt x="13983" y="3190"/>
                    <a:pt x="21273" y="0"/>
                    <a:pt x="29020" y="0"/>
                  </a:cubicBezTo>
                  <a:cubicBezTo>
                    <a:pt x="36766" y="0"/>
                    <a:pt x="44057" y="3190"/>
                    <a:pt x="49525" y="8658"/>
                  </a:cubicBezTo>
                  <a:cubicBezTo>
                    <a:pt x="60916" y="19594"/>
                    <a:pt x="60916" y="38276"/>
                    <a:pt x="49525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5" name="Forme libre : forme 364">
              <a:extLst>
                <a:ext uri="{FF2B5EF4-FFF2-40B4-BE49-F238E27FC236}">
                  <a16:creationId xmlns:a16="http://schemas.microsoft.com/office/drawing/2014/main" id="{CB7A744C-FCCB-4B93-9898-2A2B2B95BBB6}"/>
                </a:ext>
              </a:extLst>
            </p:cNvPr>
            <p:cNvSpPr/>
            <p:nvPr/>
          </p:nvSpPr>
          <p:spPr>
            <a:xfrm rot="8716295">
              <a:off x="13802" y="-10406"/>
              <a:ext cx="30027" cy="20814"/>
            </a:xfrm>
            <a:custGeom>
              <a:avLst/>
              <a:gdLst>
                <a:gd name="connsiteX0" fmla="*/ 30027 w 30027"/>
                <a:gd name="connsiteY0" fmla="*/ 20814 h 20814"/>
                <a:gd name="connsiteX1" fmla="*/ 0 w 30027"/>
                <a:gd name="connsiteY1" fmla="*/ 0 h 20814"/>
                <a:gd name="connsiteX2" fmla="*/ 30027 w 30027"/>
                <a:gd name="connsiteY2" fmla="*/ 0 h 20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027" h="20814">
                  <a:moveTo>
                    <a:pt x="30027" y="20814"/>
                  </a:moveTo>
                  <a:lnTo>
                    <a:pt x="0" y="0"/>
                  </a:lnTo>
                  <a:lnTo>
                    <a:pt x="3002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6" name="Forme libre : forme 365">
              <a:extLst>
                <a:ext uri="{FF2B5EF4-FFF2-40B4-BE49-F238E27FC236}">
                  <a16:creationId xmlns:a16="http://schemas.microsoft.com/office/drawing/2014/main" id="{A7508798-38A9-48C7-9AA8-5A92078CC84B}"/>
                </a:ext>
              </a:extLst>
            </p:cNvPr>
            <p:cNvSpPr/>
            <p:nvPr/>
          </p:nvSpPr>
          <p:spPr>
            <a:xfrm rot="8716295">
              <a:off x="168048" y="3032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7" name="Forme libre : forme 366">
              <a:extLst>
                <a:ext uri="{FF2B5EF4-FFF2-40B4-BE49-F238E27FC236}">
                  <a16:creationId xmlns:a16="http://schemas.microsoft.com/office/drawing/2014/main" id="{0E351C93-E018-436B-9326-CEDEA386B63D}"/>
                </a:ext>
              </a:extLst>
            </p:cNvPr>
            <p:cNvSpPr/>
            <p:nvPr/>
          </p:nvSpPr>
          <p:spPr>
            <a:xfrm rot="7484129">
              <a:off x="562078" y="-284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8" name="Forme libre : forme 367">
              <a:extLst>
                <a:ext uri="{FF2B5EF4-FFF2-40B4-BE49-F238E27FC236}">
                  <a16:creationId xmlns:a16="http://schemas.microsoft.com/office/drawing/2014/main" id="{BDEF799B-C934-4303-874D-CB44161BDCB0}"/>
                </a:ext>
              </a:extLst>
            </p:cNvPr>
            <p:cNvSpPr/>
            <p:nvPr/>
          </p:nvSpPr>
          <p:spPr>
            <a:xfrm rot="13089394">
              <a:off x="775514" y="-27038"/>
              <a:ext cx="149688" cy="328219"/>
            </a:xfrm>
            <a:custGeom>
              <a:avLst/>
              <a:gdLst>
                <a:gd name="connsiteX0" fmla="*/ 149688 w 149688"/>
                <a:gd name="connsiteY0" fmla="*/ 279622 h 328219"/>
                <a:gd name="connsiteX1" fmla="*/ 87835 w 149688"/>
                <a:gd name="connsiteY1" fmla="*/ 328219 h 328219"/>
                <a:gd name="connsiteX2" fmla="*/ 54765 w 149688"/>
                <a:gd name="connsiteY2" fmla="*/ 322521 h 328219"/>
                <a:gd name="connsiteX3" fmla="*/ 23727 w 149688"/>
                <a:gd name="connsiteY3" fmla="*/ 301277 h 328219"/>
                <a:gd name="connsiteX4" fmla="*/ 0 w 149688"/>
                <a:gd name="connsiteY4" fmla="*/ 206369 h 328219"/>
                <a:gd name="connsiteX5" fmla="*/ 0 w 149688"/>
                <a:gd name="connsiteY5" fmla="*/ 38074 h 328219"/>
                <a:gd name="connsiteX6" fmla="*/ 73388 w 149688"/>
                <a:gd name="connsiteY6" fmla="*/ 0 h 328219"/>
                <a:gd name="connsiteX7" fmla="*/ 74492 w 149688"/>
                <a:gd name="connsiteY7" fmla="*/ 153950 h 328219"/>
                <a:gd name="connsiteX8" fmla="*/ 87734 w 149688"/>
                <a:gd name="connsiteY8" fmla="*/ 245547 h 328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9688" h="328219">
                  <a:moveTo>
                    <a:pt x="149688" y="279622"/>
                  </a:moveTo>
                  <a:lnTo>
                    <a:pt x="87835" y="328219"/>
                  </a:lnTo>
                  <a:lnTo>
                    <a:pt x="54765" y="322521"/>
                  </a:lnTo>
                  <a:cubicBezTo>
                    <a:pt x="43178" y="317693"/>
                    <a:pt x="32555" y="310382"/>
                    <a:pt x="23727" y="301277"/>
                  </a:cubicBezTo>
                  <a:cubicBezTo>
                    <a:pt x="4966" y="283069"/>
                    <a:pt x="0" y="251616"/>
                    <a:pt x="0" y="206369"/>
                  </a:cubicBez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2836" y="184850"/>
                    <a:pt x="77802" y="216302"/>
                    <a:pt x="87734" y="2455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9" name="Forme libre : forme 368">
              <a:extLst>
                <a:ext uri="{FF2B5EF4-FFF2-40B4-BE49-F238E27FC236}">
                  <a16:creationId xmlns:a16="http://schemas.microsoft.com/office/drawing/2014/main" id="{85452057-F6AF-4671-A171-74C9DE20E061}"/>
                </a:ext>
              </a:extLst>
            </p:cNvPr>
            <p:cNvSpPr/>
            <p:nvPr/>
          </p:nvSpPr>
          <p:spPr>
            <a:xfrm rot="8716295">
              <a:off x="3366575" y="56973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0" name="Forme libre : forme 369">
              <a:extLst>
                <a:ext uri="{FF2B5EF4-FFF2-40B4-BE49-F238E27FC236}">
                  <a16:creationId xmlns:a16="http://schemas.microsoft.com/office/drawing/2014/main" id="{0B76C80E-592A-400D-A327-9F0390D4B3C2}"/>
                </a:ext>
              </a:extLst>
            </p:cNvPr>
            <p:cNvSpPr/>
            <p:nvPr/>
          </p:nvSpPr>
          <p:spPr>
            <a:xfrm rot="8716295">
              <a:off x="3237162" y="360980"/>
              <a:ext cx="203847" cy="195873"/>
            </a:xfrm>
            <a:custGeom>
              <a:avLst/>
              <a:gdLst>
                <a:gd name="connsiteX0" fmla="*/ 90710 w 203847"/>
                <a:gd name="connsiteY0" fmla="*/ 195873 h 195873"/>
                <a:gd name="connsiteX1" fmla="*/ 47847 w 203847"/>
                <a:gd name="connsiteY1" fmla="*/ 116129 h 195873"/>
                <a:gd name="connsiteX2" fmla="*/ 69777 w 203847"/>
                <a:gd name="connsiteY2" fmla="*/ 55323 h 195873"/>
                <a:gd name="connsiteX3" fmla="*/ 0 w 203847"/>
                <a:gd name="connsiteY3" fmla="*/ 55323 h 195873"/>
                <a:gd name="connsiteX4" fmla="*/ 0 w 203847"/>
                <a:gd name="connsiteY4" fmla="*/ 52719 h 195873"/>
                <a:gd name="connsiteX5" fmla="*/ 43605 w 203847"/>
                <a:gd name="connsiteY5" fmla="*/ 0 h 195873"/>
                <a:gd name="connsiteX6" fmla="*/ 203847 w 203847"/>
                <a:gd name="connsiteY6" fmla="*/ 0 h 195873"/>
                <a:gd name="connsiteX7" fmla="*/ 203847 w 203847"/>
                <a:gd name="connsiteY7" fmla="*/ 55323 h 195873"/>
                <a:gd name="connsiteX8" fmla="*/ 139055 w 203847"/>
                <a:gd name="connsiteY8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3">
                  <a:moveTo>
                    <a:pt x="90710" y="195873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52719"/>
                  </a:lnTo>
                  <a:lnTo>
                    <a:pt x="43605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1" name="Forme libre : forme 370">
              <a:extLst>
                <a:ext uri="{FF2B5EF4-FFF2-40B4-BE49-F238E27FC236}">
                  <a16:creationId xmlns:a16="http://schemas.microsoft.com/office/drawing/2014/main" id="{5150644E-4F20-423C-8383-236544837AE7}"/>
                </a:ext>
              </a:extLst>
            </p:cNvPr>
            <p:cNvSpPr/>
            <p:nvPr/>
          </p:nvSpPr>
          <p:spPr>
            <a:xfrm rot="8716295">
              <a:off x="3189574" y="231224"/>
              <a:ext cx="290249" cy="221342"/>
            </a:xfrm>
            <a:custGeom>
              <a:avLst/>
              <a:gdLst>
                <a:gd name="connsiteX0" fmla="*/ 24905 w 290249"/>
                <a:gd name="connsiteY0" fmla="*/ 191751 h 221342"/>
                <a:gd name="connsiteX1" fmla="*/ 4754 w 290249"/>
                <a:gd name="connsiteY1" fmla="*/ 151964 h 221342"/>
                <a:gd name="connsiteX2" fmla="*/ 0 w 290249"/>
                <a:gd name="connsiteY2" fmla="*/ 95252 h 221342"/>
                <a:gd name="connsiteX3" fmla="*/ 78785 w 290249"/>
                <a:gd name="connsiteY3" fmla="*/ 0 h 221342"/>
                <a:gd name="connsiteX4" fmla="*/ 79033 w 290249"/>
                <a:gd name="connsiteY4" fmla="*/ 34662 h 221342"/>
                <a:gd name="connsiteX5" fmla="*/ 93153 w 290249"/>
                <a:gd name="connsiteY5" fmla="*/ 132328 h 221342"/>
                <a:gd name="connsiteX6" fmla="*/ 163754 w 290249"/>
                <a:gd name="connsiteY6" fmla="*/ 171159 h 221342"/>
                <a:gd name="connsiteX7" fmla="*/ 216706 w 290249"/>
                <a:gd name="connsiteY7" fmla="*/ 161745 h 221342"/>
                <a:gd name="connsiteX8" fmla="*/ 289073 w 290249"/>
                <a:gd name="connsiteY8" fmla="*/ 132328 h 221342"/>
                <a:gd name="connsiteX9" fmla="*/ 290249 w 290249"/>
                <a:gd name="connsiteY9" fmla="*/ 139976 h 221342"/>
                <a:gd name="connsiteX10" fmla="*/ 290249 w 290249"/>
                <a:gd name="connsiteY10" fmla="*/ 145860 h 221342"/>
                <a:gd name="connsiteX11" fmla="*/ 97272 w 290249"/>
                <a:gd name="connsiteY11" fmla="*/ 221168 h 221342"/>
                <a:gd name="connsiteX12" fmla="*/ 24905 w 290249"/>
                <a:gd name="connsiteY12" fmla="*/ 191751 h 221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0249" h="221342">
                  <a:moveTo>
                    <a:pt x="24905" y="191751"/>
                  </a:moveTo>
                  <a:cubicBezTo>
                    <a:pt x="14903" y="182043"/>
                    <a:pt x="8578" y="168805"/>
                    <a:pt x="4754" y="151964"/>
                  </a:cubicBezTo>
                  <a:lnTo>
                    <a:pt x="0" y="95252"/>
                  </a:lnTo>
                  <a:lnTo>
                    <a:pt x="78785" y="0"/>
                  </a:lnTo>
                  <a:lnTo>
                    <a:pt x="79033" y="34662"/>
                  </a:lnTo>
                  <a:cubicBezTo>
                    <a:pt x="77268" y="67610"/>
                    <a:pt x="82563" y="101145"/>
                    <a:pt x="93153" y="132328"/>
                  </a:cubicBezTo>
                  <a:cubicBezTo>
                    <a:pt x="102567" y="158215"/>
                    <a:pt x="126689" y="171159"/>
                    <a:pt x="163754" y="171159"/>
                  </a:cubicBezTo>
                  <a:cubicBezTo>
                    <a:pt x="181994" y="170570"/>
                    <a:pt x="199644" y="167040"/>
                    <a:pt x="216706" y="161745"/>
                  </a:cubicBezTo>
                  <a:cubicBezTo>
                    <a:pt x="241416" y="154096"/>
                    <a:pt x="265539" y="144095"/>
                    <a:pt x="289073" y="132328"/>
                  </a:cubicBezTo>
                  <a:cubicBezTo>
                    <a:pt x="289661" y="134681"/>
                    <a:pt x="290249" y="137623"/>
                    <a:pt x="290249" y="139976"/>
                  </a:cubicBezTo>
                  <a:lnTo>
                    <a:pt x="290249" y="145860"/>
                  </a:lnTo>
                  <a:cubicBezTo>
                    <a:pt x="227885" y="199399"/>
                    <a:pt x="146104" y="218227"/>
                    <a:pt x="97272" y="221168"/>
                  </a:cubicBezTo>
                  <a:cubicBezTo>
                    <a:pt x="70208" y="222933"/>
                    <a:pt x="43732" y="211166"/>
                    <a:pt x="24905" y="19175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2" name="Forme libre : forme 371">
              <a:extLst>
                <a:ext uri="{FF2B5EF4-FFF2-40B4-BE49-F238E27FC236}">
                  <a16:creationId xmlns:a16="http://schemas.microsoft.com/office/drawing/2014/main" id="{9266C455-B545-49CA-BF30-2607C744AB8E}"/>
                </a:ext>
              </a:extLst>
            </p:cNvPr>
            <p:cNvSpPr/>
            <p:nvPr/>
          </p:nvSpPr>
          <p:spPr>
            <a:xfrm rot="8716295">
              <a:off x="3411629" y="650113"/>
              <a:ext cx="21023" cy="45645"/>
            </a:xfrm>
            <a:custGeom>
              <a:avLst/>
              <a:gdLst>
                <a:gd name="connsiteX0" fmla="*/ 21023 w 21023"/>
                <a:gd name="connsiteY0" fmla="*/ 45645 h 45645"/>
                <a:gd name="connsiteX1" fmla="*/ 0 w 21023"/>
                <a:gd name="connsiteY1" fmla="*/ 25418 h 45645"/>
                <a:gd name="connsiteX2" fmla="*/ 21023 w 21023"/>
                <a:gd name="connsiteY2" fmla="*/ 0 h 4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023" h="45645">
                  <a:moveTo>
                    <a:pt x="21023" y="45645"/>
                  </a:moveTo>
                  <a:lnTo>
                    <a:pt x="0" y="25418"/>
                  </a:lnTo>
                  <a:lnTo>
                    <a:pt x="2102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3" name="Forme libre : forme 372">
              <a:extLst>
                <a:ext uri="{FF2B5EF4-FFF2-40B4-BE49-F238E27FC236}">
                  <a16:creationId xmlns:a16="http://schemas.microsoft.com/office/drawing/2014/main" id="{8A8C4152-A6DA-4079-AA7F-C7451551470E}"/>
                </a:ext>
              </a:extLst>
            </p:cNvPr>
            <p:cNvSpPr/>
            <p:nvPr/>
          </p:nvSpPr>
          <p:spPr>
            <a:xfrm rot="8716295">
              <a:off x="3298850" y="-42720"/>
              <a:ext cx="123263" cy="85442"/>
            </a:xfrm>
            <a:custGeom>
              <a:avLst/>
              <a:gdLst>
                <a:gd name="connsiteX0" fmla="*/ 123263 w 123263"/>
                <a:gd name="connsiteY0" fmla="*/ 85442 h 85442"/>
                <a:gd name="connsiteX1" fmla="*/ 0 w 123263"/>
                <a:gd name="connsiteY1" fmla="*/ 0 h 85442"/>
                <a:gd name="connsiteX2" fmla="*/ 66305 w 123263"/>
                <a:gd name="connsiteY2" fmla="*/ 0 h 85442"/>
                <a:gd name="connsiteX3" fmla="*/ 123263 w 123263"/>
                <a:gd name="connsiteY3" fmla="*/ 50123 h 85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63" h="85442">
                  <a:moveTo>
                    <a:pt x="123263" y="85442"/>
                  </a:moveTo>
                  <a:lnTo>
                    <a:pt x="0" y="0"/>
                  </a:lnTo>
                  <a:lnTo>
                    <a:pt x="66305" y="0"/>
                  </a:lnTo>
                  <a:cubicBezTo>
                    <a:pt x="103214" y="0"/>
                    <a:pt x="123263" y="15948"/>
                    <a:pt x="123263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4" name="Forme libre : forme 373">
              <a:extLst>
                <a:ext uri="{FF2B5EF4-FFF2-40B4-BE49-F238E27FC236}">
                  <a16:creationId xmlns:a16="http://schemas.microsoft.com/office/drawing/2014/main" id="{A339289A-5EC3-49A9-9A48-D86927329ED5}"/>
                </a:ext>
              </a:extLst>
            </p:cNvPr>
            <p:cNvSpPr/>
            <p:nvPr/>
          </p:nvSpPr>
          <p:spPr>
            <a:xfrm rot="8716295">
              <a:off x="3402681" y="37518"/>
              <a:ext cx="82257" cy="93201"/>
            </a:xfrm>
            <a:custGeom>
              <a:avLst/>
              <a:gdLst>
                <a:gd name="connsiteX0" fmla="*/ 20287 w 82257"/>
                <a:gd name="connsiteY0" fmla="*/ 93201 h 93201"/>
                <a:gd name="connsiteX1" fmla="*/ 20287 w 82257"/>
                <a:gd name="connsiteY1" fmla="*/ 76797 h 93201"/>
                <a:gd name="connsiteX2" fmla="*/ 10775 w 82257"/>
                <a:gd name="connsiteY2" fmla="*/ 46837 h 93201"/>
                <a:gd name="connsiteX3" fmla="*/ 0 w 82257"/>
                <a:gd name="connsiteY3" fmla="*/ 41716 h 93201"/>
                <a:gd name="connsiteX4" fmla="*/ 34504 w 82257"/>
                <a:gd name="connsiteY4" fmla="*/ 0 h 93201"/>
                <a:gd name="connsiteX5" fmla="*/ 38620 w 82257"/>
                <a:gd name="connsiteY5" fmla="*/ 715 h 93201"/>
                <a:gd name="connsiteX6" fmla="*/ 82257 w 82257"/>
                <a:gd name="connsiteY6" fmla="*/ 83632 h 93201"/>
                <a:gd name="connsiteX7" fmla="*/ 82257 w 82257"/>
                <a:gd name="connsiteY7" fmla="*/ 89556 h 93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2257" h="93201">
                  <a:moveTo>
                    <a:pt x="20287" y="93201"/>
                  </a:moveTo>
                  <a:lnTo>
                    <a:pt x="20287" y="76797"/>
                  </a:lnTo>
                  <a:cubicBezTo>
                    <a:pt x="20287" y="64494"/>
                    <a:pt x="16756" y="54128"/>
                    <a:pt x="10775" y="46837"/>
                  </a:cubicBezTo>
                  <a:lnTo>
                    <a:pt x="0" y="41716"/>
                  </a:lnTo>
                  <a:lnTo>
                    <a:pt x="34504" y="0"/>
                  </a:lnTo>
                  <a:lnTo>
                    <a:pt x="38620" y="715"/>
                  </a:lnTo>
                  <a:cubicBezTo>
                    <a:pt x="66366" y="12207"/>
                    <a:pt x="82257" y="41255"/>
                    <a:pt x="82257" y="83632"/>
                  </a:cubicBezTo>
                  <a:lnTo>
                    <a:pt x="82257" y="8955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5" name="Forme libre : forme 374">
              <a:extLst>
                <a:ext uri="{FF2B5EF4-FFF2-40B4-BE49-F238E27FC236}">
                  <a16:creationId xmlns:a16="http://schemas.microsoft.com/office/drawing/2014/main" id="{FE84117C-0D75-44E5-BDA4-CA1CB1F335CF}"/>
                </a:ext>
              </a:extLst>
            </p:cNvPr>
            <p:cNvSpPr/>
            <p:nvPr/>
          </p:nvSpPr>
          <p:spPr>
            <a:xfrm rot="8716295">
              <a:off x="3234083" y="-5272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6" name="Forme libre : forme 375">
              <a:extLst>
                <a:ext uri="{FF2B5EF4-FFF2-40B4-BE49-F238E27FC236}">
                  <a16:creationId xmlns:a16="http://schemas.microsoft.com/office/drawing/2014/main" id="{12EEAD1F-5DD6-435B-8A93-C66CE1909363}"/>
                </a:ext>
              </a:extLst>
            </p:cNvPr>
            <p:cNvSpPr/>
            <p:nvPr/>
          </p:nvSpPr>
          <p:spPr>
            <a:xfrm rot="8716295">
              <a:off x="212141" y="304502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7" name="Forme libre : forme 376">
              <a:extLst>
                <a:ext uri="{FF2B5EF4-FFF2-40B4-BE49-F238E27FC236}">
                  <a16:creationId xmlns:a16="http://schemas.microsoft.com/office/drawing/2014/main" id="{E2B3F83B-E193-4145-A936-C1756D937D20}"/>
                </a:ext>
              </a:extLst>
            </p:cNvPr>
            <p:cNvSpPr/>
            <p:nvPr/>
          </p:nvSpPr>
          <p:spPr>
            <a:xfrm rot="8716295">
              <a:off x="301533" y="307427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8" name="Forme libre : forme 377">
              <a:extLst>
                <a:ext uri="{FF2B5EF4-FFF2-40B4-BE49-F238E27FC236}">
                  <a16:creationId xmlns:a16="http://schemas.microsoft.com/office/drawing/2014/main" id="{0EBCDD2D-96D0-40D5-832B-9D432203380A}"/>
                </a:ext>
              </a:extLst>
            </p:cNvPr>
            <p:cNvSpPr/>
            <p:nvPr/>
          </p:nvSpPr>
          <p:spPr>
            <a:xfrm rot="8716295">
              <a:off x="256683" y="298799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9" name="Forme libre : forme 378">
              <a:extLst>
                <a:ext uri="{FF2B5EF4-FFF2-40B4-BE49-F238E27FC236}">
                  <a16:creationId xmlns:a16="http://schemas.microsoft.com/office/drawing/2014/main" id="{D7B14EA1-A5A0-49C4-996C-1F9E3834E06F}"/>
                </a:ext>
              </a:extLst>
            </p:cNvPr>
            <p:cNvSpPr/>
            <p:nvPr/>
          </p:nvSpPr>
          <p:spPr>
            <a:xfrm rot="8716295">
              <a:off x="99907" y="31335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0" name="Forme libre : forme 379">
              <a:extLst>
                <a:ext uri="{FF2B5EF4-FFF2-40B4-BE49-F238E27FC236}">
                  <a16:creationId xmlns:a16="http://schemas.microsoft.com/office/drawing/2014/main" id="{736F0423-C826-490E-96A4-CDB0EDE4D27E}"/>
                </a:ext>
              </a:extLst>
            </p:cNvPr>
            <p:cNvSpPr/>
            <p:nvPr/>
          </p:nvSpPr>
          <p:spPr>
            <a:xfrm rot="8716295">
              <a:off x="-24996" y="29248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1" name="Forme libre : forme 380">
              <a:extLst>
                <a:ext uri="{FF2B5EF4-FFF2-40B4-BE49-F238E27FC236}">
                  <a16:creationId xmlns:a16="http://schemas.microsoft.com/office/drawing/2014/main" id="{75D8D9C1-45FD-4A7E-AA8D-777A228E8F1D}"/>
                </a:ext>
              </a:extLst>
            </p:cNvPr>
            <p:cNvSpPr/>
            <p:nvPr/>
          </p:nvSpPr>
          <p:spPr>
            <a:xfrm rot="8716295">
              <a:off x="51899" y="2754602"/>
              <a:ext cx="189488" cy="350829"/>
            </a:xfrm>
            <a:custGeom>
              <a:avLst/>
              <a:gdLst>
                <a:gd name="connsiteX0" fmla="*/ 25299 w 189488"/>
                <a:gd name="connsiteY0" fmla="*/ 321238 h 350829"/>
                <a:gd name="connsiteX1" fmla="*/ 0 w 189488"/>
                <a:gd name="connsiteY1" fmla="*/ 220042 h 350829"/>
                <a:gd name="connsiteX2" fmla="*/ 0 w 189488"/>
                <a:gd name="connsiteY2" fmla="*/ 40596 h 350829"/>
                <a:gd name="connsiteX3" fmla="*/ 78250 w 189488"/>
                <a:gd name="connsiteY3" fmla="*/ 0 h 350829"/>
                <a:gd name="connsiteX4" fmla="*/ 79427 w 189488"/>
                <a:gd name="connsiteY4" fmla="*/ 164149 h 350829"/>
                <a:gd name="connsiteX5" fmla="*/ 93547 w 189488"/>
                <a:gd name="connsiteY5" fmla="*/ 261815 h 350829"/>
                <a:gd name="connsiteX6" fmla="*/ 164148 w 189488"/>
                <a:gd name="connsiteY6" fmla="*/ 300646 h 350829"/>
                <a:gd name="connsiteX7" fmla="*/ 189488 w 189488"/>
                <a:gd name="connsiteY7" fmla="*/ 296141 h 350829"/>
                <a:gd name="connsiteX8" fmla="*/ 160617 w 189488"/>
                <a:gd name="connsiteY8" fmla="*/ 337791 h 350829"/>
                <a:gd name="connsiteX9" fmla="*/ 97666 w 189488"/>
                <a:gd name="connsiteY9" fmla="*/ 350655 h 350829"/>
                <a:gd name="connsiteX10" fmla="*/ 25299 w 189488"/>
                <a:gd name="connsiteY10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9488" h="350829">
                  <a:moveTo>
                    <a:pt x="25299" y="321238"/>
                  </a:moveTo>
                  <a:cubicBezTo>
                    <a:pt x="5295" y="301823"/>
                    <a:pt x="0" y="268286"/>
                    <a:pt x="0" y="220042"/>
                  </a:cubicBez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8" y="300646"/>
                  </a:cubicBezTo>
                  <a:lnTo>
                    <a:pt x="189488" y="296141"/>
                  </a:lnTo>
                  <a:lnTo>
                    <a:pt x="160617" y="337791"/>
                  </a:lnTo>
                  <a:lnTo>
                    <a:pt x="97666" y="350655"/>
                  </a:ln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2" name="Forme libre : forme 381">
              <a:extLst>
                <a:ext uri="{FF2B5EF4-FFF2-40B4-BE49-F238E27FC236}">
                  <a16:creationId xmlns:a16="http://schemas.microsoft.com/office/drawing/2014/main" id="{B4FEB9FE-AF54-49A2-BE6D-72BA7BE2EB18}"/>
                </a:ext>
              </a:extLst>
            </p:cNvPr>
            <p:cNvSpPr/>
            <p:nvPr/>
          </p:nvSpPr>
          <p:spPr>
            <a:xfrm rot="8716295">
              <a:off x="190085" y="317452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3" name="Forme libre : forme 382">
              <a:extLst>
                <a:ext uri="{FF2B5EF4-FFF2-40B4-BE49-F238E27FC236}">
                  <a16:creationId xmlns:a16="http://schemas.microsoft.com/office/drawing/2014/main" id="{8DA05A66-E883-464C-B559-6FC6B28A3E8D}"/>
                </a:ext>
              </a:extLst>
            </p:cNvPr>
            <p:cNvSpPr/>
            <p:nvPr/>
          </p:nvSpPr>
          <p:spPr>
            <a:xfrm rot="8716295">
              <a:off x="501240" y="279487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4" name="Forme libre : forme 383">
              <a:extLst>
                <a:ext uri="{FF2B5EF4-FFF2-40B4-BE49-F238E27FC236}">
                  <a16:creationId xmlns:a16="http://schemas.microsoft.com/office/drawing/2014/main" id="{70D6E3B7-3736-43CC-9D76-86B0F97A5780}"/>
                </a:ext>
              </a:extLst>
            </p:cNvPr>
            <p:cNvSpPr/>
            <p:nvPr/>
          </p:nvSpPr>
          <p:spPr>
            <a:xfrm rot="8716295">
              <a:off x="590632" y="282411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5" name="Forme libre : forme 384">
              <a:extLst>
                <a:ext uri="{FF2B5EF4-FFF2-40B4-BE49-F238E27FC236}">
                  <a16:creationId xmlns:a16="http://schemas.microsoft.com/office/drawing/2014/main" id="{FC4D3741-889D-4E54-B83F-D0BA201DC6A2}"/>
                </a:ext>
              </a:extLst>
            </p:cNvPr>
            <p:cNvSpPr/>
            <p:nvPr/>
          </p:nvSpPr>
          <p:spPr>
            <a:xfrm rot="8716295">
              <a:off x="389006" y="2883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6" name="Forme libre : forme 385">
              <a:extLst>
                <a:ext uri="{FF2B5EF4-FFF2-40B4-BE49-F238E27FC236}">
                  <a16:creationId xmlns:a16="http://schemas.microsoft.com/office/drawing/2014/main" id="{C9BA88DB-9441-45DF-A22F-E12869EF8794}"/>
                </a:ext>
              </a:extLst>
            </p:cNvPr>
            <p:cNvSpPr/>
            <p:nvPr/>
          </p:nvSpPr>
          <p:spPr>
            <a:xfrm rot="8716295">
              <a:off x="264104" y="267474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7" name="Forme libre : forme 386">
              <a:extLst>
                <a:ext uri="{FF2B5EF4-FFF2-40B4-BE49-F238E27FC236}">
                  <a16:creationId xmlns:a16="http://schemas.microsoft.com/office/drawing/2014/main" id="{BBD785FB-255F-47D4-869B-DA2427044735}"/>
                </a:ext>
              </a:extLst>
            </p:cNvPr>
            <p:cNvSpPr/>
            <p:nvPr/>
          </p:nvSpPr>
          <p:spPr>
            <a:xfrm rot="8716295">
              <a:off x="479184" y="292437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8" name="Forme libre : forme 387">
              <a:extLst>
                <a:ext uri="{FF2B5EF4-FFF2-40B4-BE49-F238E27FC236}">
                  <a16:creationId xmlns:a16="http://schemas.microsoft.com/office/drawing/2014/main" id="{04B3E6F0-D035-4122-A08C-156643A27C96}"/>
                </a:ext>
              </a:extLst>
            </p:cNvPr>
            <p:cNvSpPr/>
            <p:nvPr/>
          </p:nvSpPr>
          <p:spPr>
            <a:xfrm rot="8716295">
              <a:off x="237733" y="277477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9" name="Forme libre : forme 388">
              <a:extLst>
                <a:ext uri="{FF2B5EF4-FFF2-40B4-BE49-F238E27FC236}">
                  <a16:creationId xmlns:a16="http://schemas.microsoft.com/office/drawing/2014/main" id="{09952F73-FF5F-406A-8919-7345F484086E}"/>
                </a:ext>
              </a:extLst>
            </p:cNvPr>
            <p:cNvSpPr/>
            <p:nvPr/>
          </p:nvSpPr>
          <p:spPr>
            <a:xfrm rot="7484129">
              <a:off x="584115" y="311572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0" name="Forme libre : forme 389">
              <a:extLst>
                <a:ext uri="{FF2B5EF4-FFF2-40B4-BE49-F238E27FC236}">
                  <a16:creationId xmlns:a16="http://schemas.microsoft.com/office/drawing/2014/main" id="{09ED8664-259A-4F65-B984-54EB26583D37}"/>
                </a:ext>
              </a:extLst>
            </p:cNvPr>
            <p:cNvSpPr/>
            <p:nvPr/>
          </p:nvSpPr>
          <p:spPr>
            <a:xfrm rot="13089394">
              <a:off x="688935" y="3082257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1" name="Forme libre : forme 390">
              <a:extLst>
                <a:ext uri="{FF2B5EF4-FFF2-40B4-BE49-F238E27FC236}">
                  <a16:creationId xmlns:a16="http://schemas.microsoft.com/office/drawing/2014/main" id="{5005AA8C-EF3F-42BB-886F-BDC096F9E2C6}"/>
                </a:ext>
              </a:extLst>
            </p:cNvPr>
            <p:cNvSpPr/>
            <p:nvPr/>
          </p:nvSpPr>
          <p:spPr>
            <a:xfrm rot="8716295">
              <a:off x="874520" y="2890576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2" name="Forme libre : forme 391">
              <a:extLst>
                <a:ext uri="{FF2B5EF4-FFF2-40B4-BE49-F238E27FC236}">
                  <a16:creationId xmlns:a16="http://schemas.microsoft.com/office/drawing/2014/main" id="{F901BAD2-7BC9-4B9B-9AEE-194DC6FC05A0}"/>
                </a:ext>
              </a:extLst>
            </p:cNvPr>
            <p:cNvSpPr/>
            <p:nvPr/>
          </p:nvSpPr>
          <p:spPr>
            <a:xfrm rot="8716295">
              <a:off x="822715" y="278698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3" name="Forme libre : forme 392">
              <a:extLst>
                <a:ext uri="{FF2B5EF4-FFF2-40B4-BE49-F238E27FC236}">
                  <a16:creationId xmlns:a16="http://schemas.microsoft.com/office/drawing/2014/main" id="{9E3F70D1-21EF-4CD2-8FEB-B48B0201A2F5}"/>
                </a:ext>
              </a:extLst>
            </p:cNvPr>
            <p:cNvSpPr/>
            <p:nvPr/>
          </p:nvSpPr>
          <p:spPr>
            <a:xfrm rot="8716295">
              <a:off x="579469" y="28172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4" name="Forme libre : forme 393">
              <a:extLst>
                <a:ext uri="{FF2B5EF4-FFF2-40B4-BE49-F238E27FC236}">
                  <a16:creationId xmlns:a16="http://schemas.microsoft.com/office/drawing/2014/main" id="{EE0D830B-AE35-40E9-8728-E21F6C35586C}"/>
                </a:ext>
              </a:extLst>
            </p:cNvPr>
            <p:cNvSpPr/>
            <p:nvPr/>
          </p:nvSpPr>
          <p:spPr>
            <a:xfrm rot="8716295">
              <a:off x="756921" y="265796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5" name="Forme libre : forme 394">
              <a:extLst>
                <a:ext uri="{FF2B5EF4-FFF2-40B4-BE49-F238E27FC236}">
                  <a16:creationId xmlns:a16="http://schemas.microsoft.com/office/drawing/2014/main" id="{8FFBDF4B-90C1-4FB0-93F5-3CF9CE875883}"/>
                </a:ext>
              </a:extLst>
            </p:cNvPr>
            <p:cNvSpPr/>
            <p:nvPr/>
          </p:nvSpPr>
          <p:spPr>
            <a:xfrm rot="8716295">
              <a:off x="435308" y="370472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6" name="Forme libre : forme 395">
              <a:extLst>
                <a:ext uri="{FF2B5EF4-FFF2-40B4-BE49-F238E27FC236}">
                  <a16:creationId xmlns:a16="http://schemas.microsoft.com/office/drawing/2014/main" id="{4DB3DB14-6327-4A57-8367-203E6F4E011B}"/>
                </a:ext>
              </a:extLst>
            </p:cNvPr>
            <p:cNvSpPr/>
            <p:nvPr/>
          </p:nvSpPr>
          <p:spPr>
            <a:xfrm rot="8716295">
              <a:off x="524700" y="373396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7" name="Forme libre : forme 396">
              <a:extLst>
                <a:ext uri="{FF2B5EF4-FFF2-40B4-BE49-F238E27FC236}">
                  <a16:creationId xmlns:a16="http://schemas.microsoft.com/office/drawing/2014/main" id="{4355D30E-1756-4406-84C9-F6A8049756B3}"/>
                </a:ext>
              </a:extLst>
            </p:cNvPr>
            <p:cNvSpPr/>
            <p:nvPr/>
          </p:nvSpPr>
          <p:spPr>
            <a:xfrm rot="8716295">
              <a:off x="479850" y="3647689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8" name="Forme libre : forme 397">
              <a:extLst>
                <a:ext uri="{FF2B5EF4-FFF2-40B4-BE49-F238E27FC236}">
                  <a16:creationId xmlns:a16="http://schemas.microsoft.com/office/drawing/2014/main" id="{BA4A47C8-0B69-4C29-80A3-E8882E41243E}"/>
                </a:ext>
              </a:extLst>
            </p:cNvPr>
            <p:cNvSpPr/>
            <p:nvPr/>
          </p:nvSpPr>
          <p:spPr>
            <a:xfrm rot="8716295">
              <a:off x="323074" y="379327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9" name="Forme libre : forme 398">
              <a:extLst>
                <a:ext uri="{FF2B5EF4-FFF2-40B4-BE49-F238E27FC236}">
                  <a16:creationId xmlns:a16="http://schemas.microsoft.com/office/drawing/2014/main" id="{C7193D43-8FAD-40C8-B968-D6B7B8EE8D8F}"/>
                </a:ext>
              </a:extLst>
            </p:cNvPr>
            <p:cNvSpPr/>
            <p:nvPr/>
          </p:nvSpPr>
          <p:spPr>
            <a:xfrm rot="8716295">
              <a:off x="198171" y="358459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0" name="Forme libre : forme 399">
              <a:extLst>
                <a:ext uri="{FF2B5EF4-FFF2-40B4-BE49-F238E27FC236}">
                  <a16:creationId xmlns:a16="http://schemas.microsoft.com/office/drawing/2014/main" id="{F68A3447-0210-45C1-9F87-4B1D4BFE9738}"/>
                </a:ext>
              </a:extLst>
            </p:cNvPr>
            <p:cNvSpPr/>
            <p:nvPr/>
          </p:nvSpPr>
          <p:spPr>
            <a:xfrm rot="8716295">
              <a:off x="186119" y="344581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1" name="Forme libre : forme 400">
              <a:extLst>
                <a:ext uri="{FF2B5EF4-FFF2-40B4-BE49-F238E27FC236}">
                  <a16:creationId xmlns:a16="http://schemas.microsoft.com/office/drawing/2014/main" id="{7AF4A353-4506-4959-86A0-C8690BF59E95}"/>
                </a:ext>
              </a:extLst>
            </p:cNvPr>
            <p:cNvSpPr/>
            <p:nvPr/>
          </p:nvSpPr>
          <p:spPr>
            <a:xfrm rot="8716295">
              <a:off x="413252" y="3834223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2" name="Forme libre : forme 401">
              <a:extLst>
                <a:ext uri="{FF2B5EF4-FFF2-40B4-BE49-F238E27FC236}">
                  <a16:creationId xmlns:a16="http://schemas.microsoft.com/office/drawing/2014/main" id="{598CEB9B-8E04-469F-A771-F927470C3F4E}"/>
                </a:ext>
              </a:extLst>
            </p:cNvPr>
            <p:cNvSpPr/>
            <p:nvPr/>
          </p:nvSpPr>
          <p:spPr>
            <a:xfrm rot="8716295">
              <a:off x="724407" y="345457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3" name="Forme libre : forme 402">
              <a:extLst>
                <a:ext uri="{FF2B5EF4-FFF2-40B4-BE49-F238E27FC236}">
                  <a16:creationId xmlns:a16="http://schemas.microsoft.com/office/drawing/2014/main" id="{AB980D08-B340-4454-A274-3AD08D2A9A3A}"/>
                </a:ext>
              </a:extLst>
            </p:cNvPr>
            <p:cNvSpPr/>
            <p:nvPr/>
          </p:nvSpPr>
          <p:spPr>
            <a:xfrm rot="8716295">
              <a:off x="813799" y="348381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4" name="Forme libre : forme 403">
              <a:extLst>
                <a:ext uri="{FF2B5EF4-FFF2-40B4-BE49-F238E27FC236}">
                  <a16:creationId xmlns:a16="http://schemas.microsoft.com/office/drawing/2014/main" id="{2652DA6E-5978-4E5D-A96D-58C298CBA732}"/>
                </a:ext>
              </a:extLst>
            </p:cNvPr>
            <p:cNvSpPr/>
            <p:nvPr/>
          </p:nvSpPr>
          <p:spPr>
            <a:xfrm rot="8716295">
              <a:off x="612173" y="354311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5" name="Forme libre : forme 404">
              <a:extLst>
                <a:ext uri="{FF2B5EF4-FFF2-40B4-BE49-F238E27FC236}">
                  <a16:creationId xmlns:a16="http://schemas.microsoft.com/office/drawing/2014/main" id="{BCA796D3-CCB0-45BE-BB99-D45334DE88BA}"/>
                </a:ext>
              </a:extLst>
            </p:cNvPr>
            <p:cNvSpPr/>
            <p:nvPr/>
          </p:nvSpPr>
          <p:spPr>
            <a:xfrm rot="8716295">
              <a:off x="487271" y="333444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6" name="Forme libre : forme 405">
              <a:extLst>
                <a:ext uri="{FF2B5EF4-FFF2-40B4-BE49-F238E27FC236}">
                  <a16:creationId xmlns:a16="http://schemas.microsoft.com/office/drawing/2014/main" id="{933101B8-7867-420E-81EE-0503A80C6D03}"/>
                </a:ext>
              </a:extLst>
            </p:cNvPr>
            <p:cNvSpPr/>
            <p:nvPr/>
          </p:nvSpPr>
          <p:spPr>
            <a:xfrm rot="8716295">
              <a:off x="702351" y="3584071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7" name="Forme libre : forme 406">
              <a:extLst>
                <a:ext uri="{FF2B5EF4-FFF2-40B4-BE49-F238E27FC236}">
                  <a16:creationId xmlns:a16="http://schemas.microsoft.com/office/drawing/2014/main" id="{5B641A15-3B25-4DD3-9A6C-0FFDEC9A133C}"/>
                </a:ext>
              </a:extLst>
            </p:cNvPr>
            <p:cNvSpPr/>
            <p:nvPr/>
          </p:nvSpPr>
          <p:spPr>
            <a:xfrm rot="8716295">
              <a:off x="460900" y="343447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8" name="Forme libre : forme 407">
              <a:extLst>
                <a:ext uri="{FF2B5EF4-FFF2-40B4-BE49-F238E27FC236}">
                  <a16:creationId xmlns:a16="http://schemas.microsoft.com/office/drawing/2014/main" id="{E763D240-1B00-445A-81E2-30AFA6DA38B9}"/>
                </a:ext>
              </a:extLst>
            </p:cNvPr>
            <p:cNvSpPr/>
            <p:nvPr/>
          </p:nvSpPr>
          <p:spPr>
            <a:xfrm rot="7484129">
              <a:off x="807282" y="377542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9" name="Forme libre : forme 408">
              <a:extLst>
                <a:ext uri="{FF2B5EF4-FFF2-40B4-BE49-F238E27FC236}">
                  <a16:creationId xmlns:a16="http://schemas.microsoft.com/office/drawing/2014/main" id="{73387E34-81D2-4A73-B141-75343A132394}"/>
                </a:ext>
              </a:extLst>
            </p:cNvPr>
            <p:cNvSpPr/>
            <p:nvPr/>
          </p:nvSpPr>
          <p:spPr>
            <a:xfrm rot="13089394">
              <a:off x="912102" y="374195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0" name="Forme libre : forme 409">
              <a:extLst>
                <a:ext uri="{FF2B5EF4-FFF2-40B4-BE49-F238E27FC236}">
                  <a16:creationId xmlns:a16="http://schemas.microsoft.com/office/drawing/2014/main" id="{CCA2FEEB-CE96-44BC-8FB9-EA169A41218A}"/>
                </a:ext>
              </a:extLst>
            </p:cNvPr>
            <p:cNvSpPr/>
            <p:nvPr/>
          </p:nvSpPr>
          <p:spPr>
            <a:xfrm rot="8716295">
              <a:off x="1097687" y="355027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1" name="Forme libre : forme 410">
              <a:extLst>
                <a:ext uri="{FF2B5EF4-FFF2-40B4-BE49-F238E27FC236}">
                  <a16:creationId xmlns:a16="http://schemas.microsoft.com/office/drawing/2014/main" id="{E1A40A9E-A324-487B-A5D9-A64B315CC0DB}"/>
                </a:ext>
              </a:extLst>
            </p:cNvPr>
            <p:cNvSpPr/>
            <p:nvPr/>
          </p:nvSpPr>
          <p:spPr>
            <a:xfrm rot="8716295">
              <a:off x="1045882" y="344668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2" name="Forme libre : forme 411">
              <a:extLst>
                <a:ext uri="{FF2B5EF4-FFF2-40B4-BE49-F238E27FC236}">
                  <a16:creationId xmlns:a16="http://schemas.microsoft.com/office/drawing/2014/main" id="{A6958C47-9B80-4B26-AABB-8FF29B27BC9F}"/>
                </a:ext>
              </a:extLst>
            </p:cNvPr>
            <p:cNvSpPr/>
            <p:nvPr/>
          </p:nvSpPr>
          <p:spPr>
            <a:xfrm rot="8716295">
              <a:off x="802636" y="347690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3" name="Forme libre : forme 412">
              <a:extLst>
                <a:ext uri="{FF2B5EF4-FFF2-40B4-BE49-F238E27FC236}">
                  <a16:creationId xmlns:a16="http://schemas.microsoft.com/office/drawing/2014/main" id="{8E6D0100-AF69-44B2-A5CF-E8C0130AB7E9}"/>
                </a:ext>
              </a:extLst>
            </p:cNvPr>
            <p:cNvSpPr/>
            <p:nvPr/>
          </p:nvSpPr>
          <p:spPr>
            <a:xfrm rot="8716295">
              <a:off x="980088" y="331766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4" name="Forme libre : forme 413">
              <a:extLst>
                <a:ext uri="{FF2B5EF4-FFF2-40B4-BE49-F238E27FC236}">
                  <a16:creationId xmlns:a16="http://schemas.microsoft.com/office/drawing/2014/main" id="{DDF69E8D-616E-4B06-B6E7-5816DA160ADA}"/>
                </a:ext>
              </a:extLst>
            </p:cNvPr>
            <p:cNvSpPr/>
            <p:nvPr/>
          </p:nvSpPr>
          <p:spPr>
            <a:xfrm rot="8716295">
              <a:off x="653978" y="436312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5" name="Forme libre : forme 414">
              <a:extLst>
                <a:ext uri="{FF2B5EF4-FFF2-40B4-BE49-F238E27FC236}">
                  <a16:creationId xmlns:a16="http://schemas.microsoft.com/office/drawing/2014/main" id="{28F41443-BBE2-4975-B85B-8718620F25A2}"/>
                </a:ext>
              </a:extLst>
            </p:cNvPr>
            <p:cNvSpPr/>
            <p:nvPr/>
          </p:nvSpPr>
          <p:spPr>
            <a:xfrm rot="8716295">
              <a:off x="743370" y="439236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6" name="Forme libre : forme 415">
              <a:extLst>
                <a:ext uri="{FF2B5EF4-FFF2-40B4-BE49-F238E27FC236}">
                  <a16:creationId xmlns:a16="http://schemas.microsoft.com/office/drawing/2014/main" id="{66BEE935-162B-468C-A488-08BB53F0E96A}"/>
                </a:ext>
              </a:extLst>
            </p:cNvPr>
            <p:cNvSpPr/>
            <p:nvPr/>
          </p:nvSpPr>
          <p:spPr>
            <a:xfrm rot="8716295">
              <a:off x="698520" y="430608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7" name="Forme libre : forme 416">
              <a:extLst>
                <a:ext uri="{FF2B5EF4-FFF2-40B4-BE49-F238E27FC236}">
                  <a16:creationId xmlns:a16="http://schemas.microsoft.com/office/drawing/2014/main" id="{C6A86155-7B92-42A4-B02E-66184BF812F2}"/>
                </a:ext>
              </a:extLst>
            </p:cNvPr>
            <p:cNvSpPr/>
            <p:nvPr/>
          </p:nvSpPr>
          <p:spPr>
            <a:xfrm rot="8716295">
              <a:off x="541744" y="445166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8" name="Forme libre : forme 417">
              <a:extLst>
                <a:ext uri="{FF2B5EF4-FFF2-40B4-BE49-F238E27FC236}">
                  <a16:creationId xmlns:a16="http://schemas.microsoft.com/office/drawing/2014/main" id="{46BFD870-BFFF-4A29-A35F-C7406F7430F7}"/>
                </a:ext>
              </a:extLst>
            </p:cNvPr>
            <p:cNvSpPr/>
            <p:nvPr/>
          </p:nvSpPr>
          <p:spPr>
            <a:xfrm rot="8716295">
              <a:off x="416841" y="424299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9" name="Forme libre : forme 418">
              <a:extLst>
                <a:ext uri="{FF2B5EF4-FFF2-40B4-BE49-F238E27FC236}">
                  <a16:creationId xmlns:a16="http://schemas.microsoft.com/office/drawing/2014/main" id="{A679BEA0-D0C5-41E0-ADCB-C970608B53F5}"/>
                </a:ext>
              </a:extLst>
            </p:cNvPr>
            <p:cNvSpPr/>
            <p:nvPr/>
          </p:nvSpPr>
          <p:spPr>
            <a:xfrm rot="8716295">
              <a:off x="404789" y="410421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0" name="Forme libre : forme 419">
              <a:extLst>
                <a:ext uri="{FF2B5EF4-FFF2-40B4-BE49-F238E27FC236}">
                  <a16:creationId xmlns:a16="http://schemas.microsoft.com/office/drawing/2014/main" id="{12FE079E-BD6C-4326-BBC6-E7FED6AEB0DE}"/>
                </a:ext>
              </a:extLst>
            </p:cNvPr>
            <p:cNvSpPr/>
            <p:nvPr/>
          </p:nvSpPr>
          <p:spPr>
            <a:xfrm rot="8716295">
              <a:off x="631922" y="449261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1" name="Forme libre : forme 420">
              <a:extLst>
                <a:ext uri="{FF2B5EF4-FFF2-40B4-BE49-F238E27FC236}">
                  <a16:creationId xmlns:a16="http://schemas.microsoft.com/office/drawing/2014/main" id="{ADCC2EDC-1B28-4142-9C4B-B780064981F4}"/>
                </a:ext>
              </a:extLst>
            </p:cNvPr>
            <p:cNvSpPr/>
            <p:nvPr/>
          </p:nvSpPr>
          <p:spPr>
            <a:xfrm rot="8716295">
              <a:off x="943077" y="411297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2" name="Forme libre : forme 421">
              <a:extLst>
                <a:ext uri="{FF2B5EF4-FFF2-40B4-BE49-F238E27FC236}">
                  <a16:creationId xmlns:a16="http://schemas.microsoft.com/office/drawing/2014/main" id="{85A46BE2-B28A-4B10-A98B-E1A4C9718784}"/>
                </a:ext>
              </a:extLst>
            </p:cNvPr>
            <p:cNvSpPr/>
            <p:nvPr/>
          </p:nvSpPr>
          <p:spPr>
            <a:xfrm rot="8716295">
              <a:off x="1032469" y="414221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3" name="Forme libre : forme 422">
              <a:extLst>
                <a:ext uri="{FF2B5EF4-FFF2-40B4-BE49-F238E27FC236}">
                  <a16:creationId xmlns:a16="http://schemas.microsoft.com/office/drawing/2014/main" id="{B997AC73-4A2E-4369-A0A3-B98AEFAEB0D2}"/>
                </a:ext>
              </a:extLst>
            </p:cNvPr>
            <p:cNvSpPr/>
            <p:nvPr/>
          </p:nvSpPr>
          <p:spPr>
            <a:xfrm rot="8716295">
              <a:off x="830843" y="420151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4" name="Forme libre : forme 423">
              <a:extLst>
                <a:ext uri="{FF2B5EF4-FFF2-40B4-BE49-F238E27FC236}">
                  <a16:creationId xmlns:a16="http://schemas.microsoft.com/office/drawing/2014/main" id="{B0F441EE-58D5-406D-84C8-BF6FB45F3E10}"/>
                </a:ext>
              </a:extLst>
            </p:cNvPr>
            <p:cNvSpPr/>
            <p:nvPr/>
          </p:nvSpPr>
          <p:spPr>
            <a:xfrm rot="8716295">
              <a:off x="705941" y="399284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5" name="Forme libre : forme 424">
              <a:extLst>
                <a:ext uri="{FF2B5EF4-FFF2-40B4-BE49-F238E27FC236}">
                  <a16:creationId xmlns:a16="http://schemas.microsoft.com/office/drawing/2014/main" id="{C2116289-0ECD-487D-B988-2550AD513EBC}"/>
                </a:ext>
              </a:extLst>
            </p:cNvPr>
            <p:cNvSpPr/>
            <p:nvPr/>
          </p:nvSpPr>
          <p:spPr>
            <a:xfrm rot="8716295">
              <a:off x="921021" y="424246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6" name="Forme libre : forme 425">
              <a:extLst>
                <a:ext uri="{FF2B5EF4-FFF2-40B4-BE49-F238E27FC236}">
                  <a16:creationId xmlns:a16="http://schemas.microsoft.com/office/drawing/2014/main" id="{BB2DB617-3C2B-44C3-B229-D2E3AF1F6397}"/>
                </a:ext>
              </a:extLst>
            </p:cNvPr>
            <p:cNvSpPr/>
            <p:nvPr/>
          </p:nvSpPr>
          <p:spPr>
            <a:xfrm rot="8716295">
              <a:off x="679570" y="409286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7" name="Forme libre : forme 426">
              <a:extLst>
                <a:ext uri="{FF2B5EF4-FFF2-40B4-BE49-F238E27FC236}">
                  <a16:creationId xmlns:a16="http://schemas.microsoft.com/office/drawing/2014/main" id="{AB1A41E1-EFF1-4B46-86EA-03A5D3137ECE}"/>
                </a:ext>
              </a:extLst>
            </p:cNvPr>
            <p:cNvSpPr/>
            <p:nvPr/>
          </p:nvSpPr>
          <p:spPr>
            <a:xfrm rot="7484129">
              <a:off x="1025952" y="443381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8" name="Forme libre : forme 427">
              <a:extLst>
                <a:ext uri="{FF2B5EF4-FFF2-40B4-BE49-F238E27FC236}">
                  <a16:creationId xmlns:a16="http://schemas.microsoft.com/office/drawing/2014/main" id="{FC716ACC-6F89-47F8-ABE1-58EDBEC4B6CB}"/>
                </a:ext>
              </a:extLst>
            </p:cNvPr>
            <p:cNvSpPr/>
            <p:nvPr/>
          </p:nvSpPr>
          <p:spPr>
            <a:xfrm rot="13089394">
              <a:off x="1130772" y="440035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9" name="Forme libre : forme 428">
              <a:extLst>
                <a:ext uri="{FF2B5EF4-FFF2-40B4-BE49-F238E27FC236}">
                  <a16:creationId xmlns:a16="http://schemas.microsoft.com/office/drawing/2014/main" id="{FBEB36D4-4104-4CEA-A5D9-270F8D790AEC}"/>
                </a:ext>
              </a:extLst>
            </p:cNvPr>
            <p:cNvSpPr/>
            <p:nvPr/>
          </p:nvSpPr>
          <p:spPr>
            <a:xfrm rot="8716295">
              <a:off x="1316357" y="420867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0" name="Forme libre : forme 429">
              <a:extLst>
                <a:ext uri="{FF2B5EF4-FFF2-40B4-BE49-F238E27FC236}">
                  <a16:creationId xmlns:a16="http://schemas.microsoft.com/office/drawing/2014/main" id="{F7950902-6556-4E4C-B905-0DD59A5961CC}"/>
                </a:ext>
              </a:extLst>
            </p:cNvPr>
            <p:cNvSpPr/>
            <p:nvPr/>
          </p:nvSpPr>
          <p:spPr>
            <a:xfrm rot="8716295">
              <a:off x="1264552" y="410507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1" name="Forme libre : forme 430">
              <a:extLst>
                <a:ext uri="{FF2B5EF4-FFF2-40B4-BE49-F238E27FC236}">
                  <a16:creationId xmlns:a16="http://schemas.microsoft.com/office/drawing/2014/main" id="{4F003DDA-355E-4DAE-A8BB-3FB35F5F4EAE}"/>
                </a:ext>
              </a:extLst>
            </p:cNvPr>
            <p:cNvSpPr/>
            <p:nvPr/>
          </p:nvSpPr>
          <p:spPr>
            <a:xfrm rot="8716295">
              <a:off x="1021306" y="413529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2" name="Forme libre : forme 431">
              <a:extLst>
                <a:ext uri="{FF2B5EF4-FFF2-40B4-BE49-F238E27FC236}">
                  <a16:creationId xmlns:a16="http://schemas.microsoft.com/office/drawing/2014/main" id="{3F6E657C-3858-4D98-91AA-063146CE262A}"/>
                </a:ext>
              </a:extLst>
            </p:cNvPr>
            <p:cNvSpPr/>
            <p:nvPr/>
          </p:nvSpPr>
          <p:spPr>
            <a:xfrm rot="8716295">
              <a:off x="1198758" y="397605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3" name="Forme libre : forme 432">
              <a:extLst>
                <a:ext uri="{FF2B5EF4-FFF2-40B4-BE49-F238E27FC236}">
                  <a16:creationId xmlns:a16="http://schemas.microsoft.com/office/drawing/2014/main" id="{6881A455-FC30-4886-9181-EEE1433B5DFF}"/>
                </a:ext>
              </a:extLst>
            </p:cNvPr>
            <p:cNvSpPr/>
            <p:nvPr/>
          </p:nvSpPr>
          <p:spPr>
            <a:xfrm rot="8716295">
              <a:off x="849927" y="5056695"/>
              <a:ext cx="61059" cy="114384"/>
            </a:xfrm>
            <a:custGeom>
              <a:avLst/>
              <a:gdLst>
                <a:gd name="connsiteX0" fmla="*/ 0 w 61059"/>
                <a:gd name="connsiteY0" fmla="*/ 114384 h 114384"/>
                <a:gd name="connsiteX1" fmla="*/ 0 w 61059"/>
                <a:gd name="connsiteY1" fmla="*/ 0 h 114384"/>
                <a:gd name="connsiteX2" fmla="*/ 61059 w 61059"/>
                <a:gd name="connsiteY2" fmla="*/ 42324 h 114384"/>
                <a:gd name="connsiteX3" fmla="*/ 61059 w 61059"/>
                <a:gd name="connsiteY3" fmla="*/ 90234 h 114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059" h="114384">
                  <a:moveTo>
                    <a:pt x="0" y="114384"/>
                  </a:moveTo>
                  <a:lnTo>
                    <a:pt x="0" y="0"/>
                  </a:lnTo>
                  <a:lnTo>
                    <a:pt x="61059" y="42324"/>
                  </a:lnTo>
                  <a:lnTo>
                    <a:pt x="61059" y="902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4" name="Forme libre : forme 433">
              <a:extLst>
                <a:ext uri="{FF2B5EF4-FFF2-40B4-BE49-F238E27FC236}">
                  <a16:creationId xmlns:a16="http://schemas.microsoft.com/office/drawing/2014/main" id="{CE4C8C85-2581-4CDF-9EB4-9C8C2E2C159C}"/>
                </a:ext>
              </a:extLst>
            </p:cNvPr>
            <p:cNvSpPr/>
            <p:nvPr/>
          </p:nvSpPr>
          <p:spPr>
            <a:xfrm rot="8716295">
              <a:off x="1072880" y="5030752"/>
              <a:ext cx="60148" cy="142578"/>
            </a:xfrm>
            <a:custGeom>
              <a:avLst/>
              <a:gdLst>
                <a:gd name="connsiteX0" fmla="*/ 0 w 60148"/>
                <a:gd name="connsiteY0" fmla="*/ 142578 h 142578"/>
                <a:gd name="connsiteX1" fmla="*/ 0 w 60148"/>
                <a:gd name="connsiteY1" fmla="*/ 0 h 142578"/>
                <a:gd name="connsiteX2" fmla="*/ 60148 w 60148"/>
                <a:gd name="connsiteY2" fmla="*/ 41693 h 142578"/>
                <a:gd name="connsiteX3" fmla="*/ 60148 w 60148"/>
                <a:gd name="connsiteY3" fmla="*/ 101569 h 142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8" h="142578">
                  <a:moveTo>
                    <a:pt x="0" y="142578"/>
                  </a:moveTo>
                  <a:lnTo>
                    <a:pt x="0" y="0"/>
                  </a:lnTo>
                  <a:lnTo>
                    <a:pt x="60148" y="41693"/>
                  </a:lnTo>
                  <a:lnTo>
                    <a:pt x="60148" y="1015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5" name="Forme libre : forme 434">
              <a:extLst>
                <a:ext uri="{FF2B5EF4-FFF2-40B4-BE49-F238E27FC236}">
                  <a16:creationId xmlns:a16="http://schemas.microsoft.com/office/drawing/2014/main" id="{683CB711-80B1-4038-ABB6-5DBDA3CAB0C0}"/>
                </a:ext>
              </a:extLst>
            </p:cNvPr>
            <p:cNvSpPr/>
            <p:nvPr/>
          </p:nvSpPr>
          <p:spPr>
            <a:xfrm rot="8716295">
              <a:off x="921687" y="496578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6" name="Forme libre : forme 435">
              <a:extLst>
                <a:ext uri="{FF2B5EF4-FFF2-40B4-BE49-F238E27FC236}">
                  <a16:creationId xmlns:a16="http://schemas.microsoft.com/office/drawing/2014/main" id="{8B993DFE-EE3E-4E92-8884-9A227F7DEAD1}"/>
                </a:ext>
              </a:extLst>
            </p:cNvPr>
            <p:cNvSpPr/>
            <p:nvPr/>
          </p:nvSpPr>
          <p:spPr>
            <a:xfrm rot="8716295">
              <a:off x="762271" y="5108547"/>
              <a:ext cx="53742" cy="49705"/>
            </a:xfrm>
            <a:custGeom>
              <a:avLst/>
              <a:gdLst>
                <a:gd name="connsiteX0" fmla="*/ 8658 w 53742"/>
                <a:gd name="connsiteY0" fmla="*/ 41503 h 49705"/>
                <a:gd name="connsiteX1" fmla="*/ 0 w 53742"/>
                <a:gd name="connsiteY1" fmla="*/ 20999 h 49705"/>
                <a:gd name="connsiteX2" fmla="*/ 0 w 53742"/>
                <a:gd name="connsiteY2" fmla="*/ 20542 h 49705"/>
                <a:gd name="connsiteX3" fmla="*/ 8658 w 53742"/>
                <a:gd name="connsiteY3" fmla="*/ 38 h 49705"/>
                <a:gd name="connsiteX4" fmla="*/ 8747 w 53742"/>
                <a:gd name="connsiteY4" fmla="*/ 0 h 49705"/>
                <a:gd name="connsiteX5" fmla="*/ 53742 w 53742"/>
                <a:gd name="connsiteY5" fmla="*/ 31189 h 49705"/>
                <a:gd name="connsiteX6" fmla="*/ 49668 w 53742"/>
                <a:gd name="connsiteY6" fmla="*/ 41048 h 49705"/>
                <a:gd name="connsiteX7" fmla="*/ 29162 w 53742"/>
                <a:gd name="connsiteY7" fmla="*/ 49705 h 49705"/>
                <a:gd name="connsiteX8" fmla="*/ 8658 w 53742"/>
                <a:gd name="connsiteY8" fmla="*/ 41503 h 49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2" h="49705">
                  <a:moveTo>
                    <a:pt x="8658" y="41503"/>
                  </a:moveTo>
                  <a:cubicBezTo>
                    <a:pt x="3190" y="36035"/>
                    <a:pt x="0" y="28744"/>
                    <a:pt x="0" y="20999"/>
                  </a:cubicBezTo>
                  <a:lnTo>
                    <a:pt x="0" y="20542"/>
                  </a:lnTo>
                  <a:cubicBezTo>
                    <a:pt x="0" y="12796"/>
                    <a:pt x="3190" y="5506"/>
                    <a:pt x="8658" y="38"/>
                  </a:cubicBezTo>
                  <a:lnTo>
                    <a:pt x="8747" y="0"/>
                  </a:lnTo>
                  <a:lnTo>
                    <a:pt x="53742" y="31189"/>
                  </a:lnTo>
                  <a:lnTo>
                    <a:pt x="49668" y="41048"/>
                  </a:lnTo>
                  <a:cubicBezTo>
                    <a:pt x="44200" y="46516"/>
                    <a:pt x="36909" y="49705"/>
                    <a:pt x="29162" y="49705"/>
                  </a:cubicBezTo>
                  <a:cubicBezTo>
                    <a:pt x="21416" y="49705"/>
                    <a:pt x="14126" y="46971"/>
                    <a:pt x="8658" y="415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7" name="Forme libre : forme 436">
              <a:extLst>
                <a:ext uri="{FF2B5EF4-FFF2-40B4-BE49-F238E27FC236}">
                  <a16:creationId xmlns:a16="http://schemas.microsoft.com/office/drawing/2014/main" id="{8DF09363-6B2B-44FC-9677-ED983FC9E371}"/>
                </a:ext>
              </a:extLst>
            </p:cNvPr>
            <p:cNvSpPr/>
            <p:nvPr/>
          </p:nvSpPr>
          <p:spPr>
            <a:xfrm rot="8716295">
              <a:off x="635497" y="4902607"/>
              <a:ext cx="203847" cy="195874"/>
            </a:xfrm>
            <a:custGeom>
              <a:avLst/>
              <a:gdLst>
                <a:gd name="connsiteX0" fmla="*/ 90709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203847 w 203847"/>
                <a:gd name="connsiteY5" fmla="*/ 0 h 195874"/>
                <a:gd name="connsiteX6" fmla="*/ 203847 w 203847"/>
                <a:gd name="connsiteY6" fmla="*/ 55323 h 195874"/>
                <a:gd name="connsiteX7" fmla="*/ 139055 w 203847"/>
                <a:gd name="connsiteY7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95874">
                  <a:moveTo>
                    <a:pt x="90709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8" name="Forme libre : forme 437">
              <a:extLst>
                <a:ext uri="{FF2B5EF4-FFF2-40B4-BE49-F238E27FC236}">
                  <a16:creationId xmlns:a16="http://schemas.microsoft.com/office/drawing/2014/main" id="{532437B6-4FB3-4387-A6A2-9CA74243FC9D}"/>
                </a:ext>
              </a:extLst>
            </p:cNvPr>
            <p:cNvSpPr/>
            <p:nvPr/>
          </p:nvSpPr>
          <p:spPr>
            <a:xfrm rot="8716295">
              <a:off x="627956" y="476391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9" name="Forme libre : forme 438">
              <a:extLst>
                <a:ext uri="{FF2B5EF4-FFF2-40B4-BE49-F238E27FC236}">
                  <a16:creationId xmlns:a16="http://schemas.microsoft.com/office/drawing/2014/main" id="{DC114E70-E891-401E-9C24-8619044C69DA}"/>
                </a:ext>
              </a:extLst>
            </p:cNvPr>
            <p:cNvSpPr/>
            <p:nvPr/>
          </p:nvSpPr>
          <p:spPr>
            <a:xfrm rot="8716295">
              <a:off x="1166244" y="477267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0" name="Forme libre : forme 439">
              <a:extLst>
                <a:ext uri="{FF2B5EF4-FFF2-40B4-BE49-F238E27FC236}">
                  <a16:creationId xmlns:a16="http://schemas.microsoft.com/office/drawing/2014/main" id="{1B83E310-81D3-4935-AA0D-87EA212E2F8C}"/>
                </a:ext>
              </a:extLst>
            </p:cNvPr>
            <p:cNvSpPr/>
            <p:nvPr/>
          </p:nvSpPr>
          <p:spPr>
            <a:xfrm rot="8716295">
              <a:off x="1255636" y="480191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1" name="Forme libre : forme 440">
              <a:extLst>
                <a:ext uri="{FF2B5EF4-FFF2-40B4-BE49-F238E27FC236}">
                  <a16:creationId xmlns:a16="http://schemas.microsoft.com/office/drawing/2014/main" id="{8A0A400D-6D17-4603-B756-25D5B32DB841}"/>
                </a:ext>
              </a:extLst>
            </p:cNvPr>
            <p:cNvSpPr/>
            <p:nvPr/>
          </p:nvSpPr>
          <p:spPr>
            <a:xfrm rot="8716295">
              <a:off x="1054010" y="486121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2" name="Forme libre : forme 441">
              <a:extLst>
                <a:ext uri="{FF2B5EF4-FFF2-40B4-BE49-F238E27FC236}">
                  <a16:creationId xmlns:a16="http://schemas.microsoft.com/office/drawing/2014/main" id="{A46C9B70-DE37-4964-9FA4-17387E1BA45F}"/>
                </a:ext>
              </a:extLst>
            </p:cNvPr>
            <p:cNvSpPr/>
            <p:nvPr/>
          </p:nvSpPr>
          <p:spPr>
            <a:xfrm rot="8716295">
              <a:off x="929108" y="465254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3" name="Forme libre : forme 442">
              <a:extLst>
                <a:ext uri="{FF2B5EF4-FFF2-40B4-BE49-F238E27FC236}">
                  <a16:creationId xmlns:a16="http://schemas.microsoft.com/office/drawing/2014/main" id="{B9F4170A-6E5B-49E4-8193-4286DEBE2EC9}"/>
                </a:ext>
              </a:extLst>
            </p:cNvPr>
            <p:cNvSpPr/>
            <p:nvPr/>
          </p:nvSpPr>
          <p:spPr>
            <a:xfrm rot="8716295">
              <a:off x="1144188" y="490216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4" name="Forme libre : forme 443">
              <a:extLst>
                <a:ext uri="{FF2B5EF4-FFF2-40B4-BE49-F238E27FC236}">
                  <a16:creationId xmlns:a16="http://schemas.microsoft.com/office/drawing/2014/main" id="{9F81EDCD-5E16-426F-9754-D2A37212C8FE}"/>
                </a:ext>
              </a:extLst>
            </p:cNvPr>
            <p:cNvSpPr/>
            <p:nvPr/>
          </p:nvSpPr>
          <p:spPr>
            <a:xfrm rot="8716295">
              <a:off x="902737" y="475256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5" name="Forme libre : forme 444">
              <a:extLst>
                <a:ext uri="{FF2B5EF4-FFF2-40B4-BE49-F238E27FC236}">
                  <a16:creationId xmlns:a16="http://schemas.microsoft.com/office/drawing/2014/main" id="{179F229D-2224-4467-8649-9DF965D65362}"/>
                </a:ext>
              </a:extLst>
            </p:cNvPr>
            <p:cNvSpPr/>
            <p:nvPr/>
          </p:nvSpPr>
          <p:spPr>
            <a:xfrm rot="7484129">
              <a:off x="1313689" y="5058219"/>
              <a:ext cx="97325" cy="159603"/>
            </a:xfrm>
            <a:custGeom>
              <a:avLst/>
              <a:gdLst>
                <a:gd name="connsiteX0" fmla="*/ 0 w 97325"/>
                <a:gd name="connsiteY0" fmla="*/ 19052 h 159603"/>
                <a:gd name="connsiteX1" fmla="*/ 0 w 97325"/>
                <a:gd name="connsiteY1" fmla="*/ 0 h 159603"/>
                <a:gd name="connsiteX2" fmla="*/ 13209 w 97325"/>
                <a:gd name="connsiteY2" fmla="*/ 19052 h 159603"/>
                <a:gd name="connsiteX3" fmla="*/ 90710 w 97325"/>
                <a:gd name="connsiteY3" fmla="*/ 159603 h 159603"/>
                <a:gd name="connsiteX4" fmla="*/ 47847 w 97325"/>
                <a:gd name="connsiteY4" fmla="*/ 79858 h 159603"/>
                <a:gd name="connsiteX5" fmla="*/ 50421 w 97325"/>
                <a:gd name="connsiteY5" fmla="*/ 72721 h 159603"/>
                <a:gd name="connsiteX6" fmla="*/ 97325 w 97325"/>
                <a:gd name="connsiteY6" fmla="*/ 140370 h 159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7325" h="159603">
                  <a:moveTo>
                    <a:pt x="0" y="19052"/>
                  </a:moveTo>
                  <a:lnTo>
                    <a:pt x="0" y="0"/>
                  </a:lnTo>
                  <a:lnTo>
                    <a:pt x="13209" y="19052"/>
                  </a:lnTo>
                  <a:close/>
                  <a:moveTo>
                    <a:pt x="90710" y="159603"/>
                  </a:moveTo>
                  <a:lnTo>
                    <a:pt x="47847" y="79858"/>
                  </a:lnTo>
                  <a:lnTo>
                    <a:pt x="50421" y="72721"/>
                  </a:lnTo>
                  <a:lnTo>
                    <a:pt x="97325" y="14037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6" name="Forme libre : forme 445">
              <a:extLst>
                <a:ext uri="{FF2B5EF4-FFF2-40B4-BE49-F238E27FC236}">
                  <a16:creationId xmlns:a16="http://schemas.microsoft.com/office/drawing/2014/main" id="{0DC6D2C5-5676-4685-B6C7-B0D9124302BA}"/>
                </a:ext>
              </a:extLst>
            </p:cNvPr>
            <p:cNvSpPr/>
            <p:nvPr/>
          </p:nvSpPr>
          <p:spPr>
            <a:xfrm rot="13089394">
              <a:off x="1435176" y="5064332"/>
              <a:ext cx="213297" cy="83320"/>
            </a:xfrm>
            <a:custGeom>
              <a:avLst/>
              <a:gdLst>
                <a:gd name="connsiteX0" fmla="*/ 213297 w 213297"/>
                <a:gd name="connsiteY0" fmla="*/ 12691 h 83320"/>
                <a:gd name="connsiteX1" fmla="*/ 32310 w 213297"/>
                <a:gd name="connsiteY1" fmla="*/ 83320 h 83320"/>
                <a:gd name="connsiteX2" fmla="*/ 0 w 213297"/>
                <a:gd name="connsiteY2" fmla="*/ 77753 h 83320"/>
                <a:gd name="connsiteX3" fmla="*/ 69926 w 213297"/>
                <a:gd name="connsiteY3" fmla="*/ 22813 h 83320"/>
                <a:gd name="connsiteX4" fmla="*/ 94662 w 213297"/>
                <a:gd name="connsiteY4" fmla="*/ 36418 h 83320"/>
                <a:gd name="connsiteX5" fmla="*/ 144323 w 213297"/>
                <a:gd name="connsiteY5" fmla="*/ 27589 h 83320"/>
                <a:gd name="connsiteX6" fmla="*/ 212193 w 213297"/>
                <a:gd name="connsiteY6" fmla="*/ 0 h 83320"/>
                <a:gd name="connsiteX7" fmla="*/ 213297 w 213297"/>
                <a:gd name="connsiteY7" fmla="*/ 7173 h 83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3297" h="83320">
                  <a:moveTo>
                    <a:pt x="213297" y="12691"/>
                  </a:moveTo>
                  <a:cubicBezTo>
                    <a:pt x="154807" y="62904"/>
                    <a:pt x="78108" y="80561"/>
                    <a:pt x="32310" y="83320"/>
                  </a:cubicBezTo>
                  <a:lnTo>
                    <a:pt x="0" y="77753"/>
                  </a:lnTo>
                  <a:lnTo>
                    <a:pt x="69926" y="22813"/>
                  </a:lnTo>
                  <a:lnTo>
                    <a:pt x="94662" y="36418"/>
                  </a:lnTo>
                  <a:cubicBezTo>
                    <a:pt x="111768" y="35866"/>
                    <a:pt x="128321" y="32555"/>
                    <a:pt x="144323" y="27589"/>
                  </a:cubicBezTo>
                  <a:cubicBezTo>
                    <a:pt x="167498" y="20416"/>
                    <a:pt x="190122" y="11036"/>
                    <a:pt x="212193" y="0"/>
                  </a:cubicBezTo>
                  <a:cubicBezTo>
                    <a:pt x="212745" y="2207"/>
                    <a:pt x="213297" y="4966"/>
                    <a:pt x="213297" y="71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7" name="Forme libre : forme 446">
              <a:extLst>
                <a:ext uri="{FF2B5EF4-FFF2-40B4-BE49-F238E27FC236}">
                  <a16:creationId xmlns:a16="http://schemas.microsoft.com/office/drawing/2014/main" id="{933D0F57-4827-4379-ADFC-4E442A7AA9F5}"/>
                </a:ext>
              </a:extLst>
            </p:cNvPr>
            <p:cNvSpPr/>
            <p:nvPr/>
          </p:nvSpPr>
          <p:spPr>
            <a:xfrm rot="8716295">
              <a:off x="1539524" y="486837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8" name="Forme libre : forme 447">
              <a:extLst>
                <a:ext uri="{FF2B5EF4-FFF2-40B4-BE49-F238E27FC236}">
                  <a16:creationId xmlns:a16="http://schemas.microsoft.com/office/drawing/2014/main" id="{F2B3C0A6-3119-4AF6-9904-83AA6D24B4D4}"/>
                </a:ext>
              </a:extLst>
            </p:cNvPr>
            <p:cNvSpPr/>
            <p:nvPr/>
          </p:nvSpPr>
          <p:spPr>
            <a:xfrm rot="8716295">
              <a:off x="1487719" y="476477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9" name="Forme libre : forme 448">
              <a:extLst>
                <a:ext uri="{FF2B5EF4-FFF2-40B4-BE49-F238E27FC236}">
                  <a16:creationId xmlns:a16="http://schemas.microsoft.com/office/drawing/2014/main" id="{A101E396-638E-4D53-9DD4-DFCEEB801BC5}"/>
                </a:ext>
              </a:extLst>
            </p:cNvPr>
            <p:cNvSpPr/>
            <p:nvPr/>
          </p:nvSpPr>
          <p:spPr>
            <a:xfrm rot="8716295">
              <a:off x="1244473" y="479499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0" name="Forme libre : forme 449">
              <a:extLst>
                <a:ext uri="{FF2B5EF4-FFF2-40B4-BE49-F238E27FC236}">
                  <a16:creationId xmlns:a16="http://schemas.microsoft.com/office/drawing/2014/main" id="{67402E49-E65F-45DA-8073-25DB882ECA1B}"/>
                </a:ext>
              </a:extLst>
            </p:cNvPr>
            <p:cNvSpPr/>
            <p:nvPr/>
          </p:nvSpPr>
          <p:spPr>
            <a:xfrm rot="8716295">
              <a:off x="1421925" y="463575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1" name="Forme libre : forme 450">
              <a:extLst>
                <a:ext uri="{FF2B5EF4-FFF2-40B4-BE49-F238E27FC236}">
                  <a16:creationId xmlns:a16="http://schemas.microsoft.com/office/drawing/2014/main" id="{4AD140D5-5D83-48BA-8FB5-0AE18019D236}"/>
                </a:ext>
              </a:extLst>
            </p:cNvPr>
            <p:cNvSpPr/>
            <p:nvPr/>
          </p:nvSpPr>
          <p:spPr>
            <a:xfrm rot="8716295">
              <a:off x="-3428" y="2405990"/>
              <a:ext cx="142167" cy="208592"/>
            </a:xfrm>
            <a:custGeom>
              <a:avLst/>
              <a:gdLst>
                <a:gd name="connsiteX0" fmla="*/ 81108 w 142167"/>
                <a:gd name="connsiteY0" fmla="*/ 208592 h 208592"/>
                <a:gd name="connsiteX1" fmla="*/ 81108 w 142167"/>
                <a:gd name="connsiteY1" fmla="*/ 69717 h 208592"/>
                <a:gd name="connsiteX2" fmla="*/ 81108 w 142167"/>
                <a:gd name="connsiteY2" fmla="*/ 65615 h 208592"/>
                <a:gd name="connsiteX3" fmla="*/ 60604 w 142167"/>
                <a:gd name="connsiteY3" fmla="*/ 50123 h 208592"/>
                <a:gd name="connsiteX4" fmla="*/ 0 w 142167"/>
                <a:gd name="connsiteY4" fmla="*/ 50123 h 208592"/>
                <a:gd name="connsiteX5" fmla="*/ 0 w 142167"/>
                <a:gd name="connsiteY5" fmla="*/ 0 h 208592"/>
                <a:gd name="connsiteX6" fmla="*/ 85210 w 142167"/>
                <a:gd name="connsiteY6" fmla="*/ 0 h 208592"/>
                <a:gd name="connsiteX7" fmla="*/ 142167 w 142167"/>
                <a:gd name="connsiteY7" fmla="*/ 50123 h 208592"/>
                <a:gd name="connsiteX8" fmla="*/ 142167 w 142167"/>
                <a:gd name="connsiteY8" fmla="*/ 120504 h 20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08592">
                  <a:moveTo>
                    <a:pt x="81108" y="208592"/>
                  </a:moveTo>
                  <a:lnTo>
                    <a:pt x="81108" y="69717"/>
                  </a:lnTo>
                  <a:cubicBezTo>
                    <a:pt x="81108" y="68350"/>
                    <a:pt x="81108" y="66983"/>
                    <a:pt x="81108" y="65615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10" y="0"/>
                  </a:lnTo>
                  <a:cubicBezTo>
                    <a:pt x="122118" y="0"/>
                    <a:pt x="142167" y="15948"/>
                    <a:pt x="142167" y="50123"/>
                  </a:cubicBezTo>
                  <a:lnTo>
                    <a:pt x="142167" y="1205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2" name="Forme libre : forme 451">
              <a:extLst>
                <a:ext uri="{FF2B5EF4-FFF2-40B4-BE49-F238E27FC236}">
                  <a16:creationId xmlns:a16="http://schemas.microsoft.com/office/drawing/2014/main" id="{2BA0993E-9FAB-4AEE-B83B-4CF3D7902044}"/>
                </a:ext>
              </a:extLst>
            </p:cNvPr>
            <p:cNvSpPr/>
            <p:nvPr/>
          </p:nvSpPr>
          <p:spPr>
            <a:xfrm rot="8716295">
              <a:off x="80015" y="241329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3" name="Forme libre : forme 452">
              <a:extLst>
                <a:ext uri="{FF2B5EF4-FFF2-40B4-BE49-F238E27FC236}">
                  <a16:creationId xmlns:a16="http://schemas.microsoft.com/office/drawing/2014/main" id="{CCF3EEA8-B3F9-461B-98BC-F35553672A96}"/>
                </a:ext>
              </a:extLst>
            </p:cNvPr>
            <p:cNvSpPr/>
            <p:nvPr/>
          </p:nvSpPr>
          <p:spPr>
            <a:xfrm rot="8716295">
              <a:off x="35165" y="232701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4" name="Forme libre : forme 453">
              <a:extLst>
                <a:ext uri="{FF2B5EF4-FFF2-40B4-BE49-F238E27FC236}">
                  <a16:creationId xmlns:a16="http://schemas.microsoft.com/office/drawing/2014/main" id="{7409E8F1-7A32-4862-9918-61EE35F1B801}"/>
                </a:ext>
              </a:extLst>
            </p:cNvPr>
            <p:cNvSpPr/>
            <p:nvPr/>
          </p:nvSpPr>
          <p:spPr>
            <a:xfrm rot="8716295">
              <a:off x="-20257" y="2217087"/>
              <a:ext cx="78731" cy="180665"/>
            </a:xfrm>
            <a:custGeom>
              <a:avLst/>
              <a:gdLst>
                <a:gd name="connsiteX0" fmla="*/ 0 w 78731"/>
                <a:gd name="connsiteY0" fmla="*/ 180665 h 180665"/>
                <a:gd name="connsiteX1" fmla="*/ 0 w 78731"/>
                <a:gd name="connsiteY1" fmla="*/ 40596 h 180665"/>
                <a:gd name="connsiteX2" fmla="*/ 78250 w 78731"/>
                <a:gd name="connsiteY2" fmla="*/ 0 h 180665"/>
                <a:gd name="connsiteX3" fmla="*/ 78731 w 78731"/>
                <a:gd name="connsiteY3" fmla="*/ 67083 h 180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731" h="180665">
                  <a:moveTo>
                    <a:pt x="0" y="180665"/>
                  </a:moveTo>
                  <a:lnTo>
                    <a:pt x="0" y="40596"/>
                  </a:lnTo>
                  <a:lnTo>
                    <a:pt x="78250" y="0"/>
                  </a:lnTo>
                  <a:lnTo>
                    <a:pt x="78731" y="670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5" name="Forme libre : forme 454">
              <a:extLst>
                <a:ext uri="{FF2B5EF4-FFF2-40B4-BE49-F238E27FC236}">
                  <a16:creationId xmlns:a16="http://schemas.microsoft.com/office/drawing/2014/main" id="{D1FF2FF9-6448-4826-95B6-0FAE856B0348}"/>
                </a:ext>
              </a:extLst>
            </p:cNvPr>
            <p:cNvSpPr/>
            <p:nvPr/>
          </p:nvSpPr>
          <p:spPr>
            <a:xfrm rot="8716295">
              <a:off x="-15341" y="2575209"/>
              <a:ext cx="103435" cy="152027"/>
            </a:xfrm>
            <a:custGeom>
              <a:avLst/>
              <a:gdLst>
                <a:gd name="connsiteX0" fmla="*/ 43288 w 103435"/>
                <a:gd name="connsiteY0" fmla="*/ 152027 h 152027"/>
                <a:gd name="connsiteX1" fmla="*/ 43288 w 103435"/>
                <a:gd name="connsiteY1" fmla="*/ 16404 h 152027"/>
                <a:gd name="connsiteX2" fmla="*/ 0 w 103435"/>
                <a:gd name="connsiteY2" fmla="*/ 16404 h 152027"/>
                <a:gd name="connsiteX3" fmla="*/ 0 w 103435"/>
                <a:gd name="connsiteY3" fmla="*/ 2278 h 152027"/>
                <a:gd name="connsiteX4" fmla="*/ 103435 w 103435"/>
                <a:gd name="connsiteY4" fmla="*/ 0 h 152027"/>
                <a:gd name="connsiteX5" fmla="*/ 103435 w 103435"/>
                <a:gd name="connsiteY5" fmla="*/ 65255 h 152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152027">
                  <a:moveTo>
                    <a:pt x="43288" y="152027"/>
                  </a:move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652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6" name="Forme libre : forme 455">
              <a:extLst>
                <a:ext uri="{FF2B5EF4-FFF2-40B4-BE49-F238E27FC236}">
                  <a16:creationId xmlns:a16="http://schemas.microsoft.com/office/drawing/2014/main" id="{D4422BA3-5FC8-407B-A01D-69AD0749DDD6}"/>
                </a:ext>
              </a:extLst>
            </p:cNvPr>
            <p:cNvSpPr/>
            <p:nvPr/>
          </p:nvSpPr>
          <p:spPr>
            <a:xfrm rot="8716295">
              <a:off x="279722" y="21339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7" name="Forme libre : forme 456">
              <a:extLst>
                <a:ext uri="{FF2B5EF4-FFF2-40B4-BE49-F238E27FC236}">
                  <a16:creationId xmlns:a16="http://schemas.microsoft.com/office/drawing/2014/main" id="{D39FDC20-561D-4627-BA38-506D7FCF7089}"/>
                </a:ext>
              </a:extLst>
            </p:cNvPr>
            <p:cNvSpPr/>
            <p:nvPr/>
          </p:nvSpPr>
          <p:spPr>
            <a:xfrm rot="8716295">
              <a:off x="369114" y="21631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8" name="Forme libre : forme 457">
              <a:extLst>
                <a:ext uri="{FF2B5EF4-FFF2-40B4-BE49-F238E27FC236}">
                  <a16:creationId xmlns:a16="http://schemas.microsoft.com/office/drawing/2014/main" id="{D14C1499-CA5F-496B-8BEC-69E04E19EA0D}"/>
                </a:ext>
              </a:extLst>
            </p:cNvPr>
            <p:cNvSpPr/>
            <p:nvPr/>
          </p:nvSpPr>
          <p:spPr>
            <a:xfrm rot="8716295">
              <a:off x="167488" y="22224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9" name="Forme libre : forme 458">
              <a:extLst>
                <a:ext uri="{FF2B5EF4-FFF2-40B4-BE49-F238E27FC236}">
                  <a16:creationId xmlns:a16="http://schemas.microsoft.com/office/drawing/2014/main" id="{193174EE-CFBC-438F-B1BB-D3ADA063388E}"/>
                </a:ext>
              </a:extLst>
            </p:cNvPr>
            <p:cNvSpPr/>
            <p:nvPr/>
          </p:nvSpPr>
          <p:spPr>
            <a:xfrm rot="8716295">
              <a:off x="42586" y="20137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0" name="Forme libre : forme 459">
              <a:extLst>
                <a:ext uri="{FF2B5EF4-FFF2-40B4-BE49-F238E27FC236}">
                  <a16:creationId xmlns:a16="http://schemas.microsoft.com/office/drawing/2014/main" id="{7E2244BC-364D-47B4-8B77-1ABDEF1DBB36}"/>
                </a:ext>
              </a:extLst>
            </p:cNvPr>
            <p:cNvSpPr/>
            <p:nvPr/>
          </p:nvSpPr>
          <p:spPr>
            <a:xfrm rot="8716295">
              <a:off x="257666" y="226339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1" name="Forme libre : forme 460">
              <a:extLst>
                <a:ext uri="{FF2B5EF4-FFF2-40B4-BE49-F238E27FC236}">
                  <a16:creationId xmlns:a16="http://schemas.microsoft.com/office/drawing/2014/main" id="{88E8FCAA-5A69-41AD-9BBF-E06402368569}"/>
                </a:ext>
              </a:extLst>
            </p:cNvPr>
            <p:cNvSpPr/>
            <p:nvPr/>
          </p:nvSpPr>
          <p:spPr>
            <a:xfrm rot="8716295">
              <a:off x="16215" y="211379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2" name="Forme libre : forme 461">
              <a:extLst>
                <a:ext uri="{FF2B5EF4-FFF2-40B4-BE49-F238E27FC236}">
                  <a16:creationId xmlns:a16="http://schemas.microsoft.com/office/drawing/2014/main" id="{2C0CE443-0100-47A6-BB72-6A7BBA3B084B}"/>
                </a:ext>
              </a:extLst>
            </p:cNvPr>
            <p:cNvSpPr/>
            <p:nvPr/>
          </p:nvSpPr>
          <p:spPr>
            <a:xfrm rot="7484129">
              <a:off x="362597" y="245474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3" name="Forme libre : forme 462">
              <a:extLst>
                <a:ext uri="{FF2B5EF4-FFF2-40B4-BE49-F238E27FC236}">
                  <a16:creationId xmlns:a16="http://schemas.microsoft.com/office/drawing/2014/main" id="{AE6C94D5-06F7-4134-9BDD-8703B8C3642E}"/>
                </a:ext>
              </a:extLst>
            </p:cNvPr>
            <p:cNvSpPr/>
            <p:nvPr/>
          </p:nvSpPr>
          <p:spPr>
            <a:xfrm rot="13089394">
              <a:off x="467417" y="242128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4" name="Forme libre : forme 463">
              <a:extLst>
                <a:ext uri="{FF2B5EF4-FFF2-40B4-BE49-F238E27FC236}">
                  <a16:creationId xmlns:a16="http://schemas.microsoft.com/office/drawing/2014/main" id="{90543D7D-143B-4ADD-B896-F2C09B360BC1}"/>
                </a:ext>
              </a:extLst>
            </p:cNvPr>
            <p:cNvSpPr/>
            <p:nvPr/>
          </p:nvSpPr>
          <p:spPr>
            <a:xfrm rot="8716295">
              <a:off x="653002" y="222960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5" name="Forme libre : forme 464">
              <a:extLst>
                <a:ext uri="{FF2B5EF4-FFF2-40B4-BE49-F238E27FC236}">
                  <a16:creationId xmlns:a16="http://schemas.microsoft.com/office/drawing/2014/main" id="{0A3F3F5B-79C0-41C7-8F17-B5752CC6E817}"/>
                </a:ext>
              </a:extLst>
            </p:cNvPr>
            <p:cNvSpPr/>
            <p:nvPr/>
          </p:nvSpPr>
          <p:spPr>
            <a:xfrm rot="8716295">
              <a:off x="601197" y="21260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6" name="Forme libre : forme 465">
              <a:extLst>
                <a:ext uri="{FF2B5EF4-FFF2-40B4-BE49-F238E27FC236}">
                  <a16:creationId xmlns:a16="http://schemas.microsoft.com/office/drawing/2014/main" id="{69D0AA2C-A5BB-4B7B-BB03-432400F6F2C5}"/>
                </a:ext>
              </a:extLst>
            </p:cNvPr>
            <p:cNvSpPr/>
            <p:nvPr/>
          </p:nvSpPr>
          <p:spPr>
            <a:xfrm rot="8716295">
              <a:off x="357951" y="21562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7" name="Forme libre : forme 466">
              <a:extLst>
                <a:ext uri="{FF2B5EF4-FFF2-40B4-BE49-F238E27FC236}">
                  <a16:creationId xmlns:a16="http://schemas.microsoft.com/office/drawing/2014/main" id="{82D68D60-D905-4F9D-9F1E-9018FDA856E2}"/>
                </a:ext>
              </a:extLst>
            </p:cNvPr>
            <p:cNvSpPr/>
            <p:nvPr/>
          </p:nvSpPr>
          <p:spPr>
            <a:xfrm rot="8716295">
              <a:off x="535403" y="199698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8" name="Forme libre : forme 467">
              <a:extLst>
                <a:ext uri="{FF2B5EF4-FFF2-40B4-BE49-F238E27FC236}">
                  <a16:creationId xmlns:a16="http://schemas.microsoft.com/office/drawing/2014/main" id="{E3253363-EB34-44DB-883A-13B6DE6143A2}"/>
                </a:ext>
              </a:extLst>
            </p:cNvPr>
            <p:cNvSpPr/>
            <p:nvPr/>
          </p:nvSpPr>
          <p:spPr>
            <a:xfrm rot="8716295">
              <a:off x="-76043" y="1768178"/>
              <a:ext cx="197178" cy="215049"/>
            </a:xfrm>
            <a:custGeom>
              <a:avLst/>
              <a:gdLst>
                <a:gd name="connsiteX0" fmla="*/ 51490 w 197178"/>
                <a:gd name="connsiteY0" fmla="*/ 215049 h 215049"/>
                <a:gd name="connsiteX1" fmla="*/ 51490 w 197178"/>
                <a:gd name="connsiteY1" fmla="*/ 45624 h 215049"/>
                <a:gd name="connsiteX2" fmla="*/ 0 w 197178"/>
                <a:gd name="connsiteY2" fmla="*/ 45624 h 215049"/>
                <a:gd name="connsiteX3" fmla="*/ 0 w 197178"/>
                <a:gd name="connsiteY3" fmla="*/ 1424 h 215049"/>
                <a:gd name="connsiteX4" fmla="*/ 104803 w 197178"/>
                <a:gd name="connsiteY4" fmla="*/ 1425 h 215049"/>
                <a:gd name="connsiteX5" fmla="*/ 104803 w 197178"/>
                <a:gd name="connsiteY5" fmla="*/ 75242 h 215049"/>
                <a:gd name="connsiteX6" fmla="*/ 106169 w 197178"/>
                <a:gd name="connsiteY6" fmla="*/ 75242 h 215049"/>
                <a:gd name="connsiteX7" fmla="*/ 154014 w 197178"/>
                <a:gd name="connsiteY7" fmla="*/ 5981 h 215049"/>
                <a:gd name="connsiteX8" fmla="*/ 185455 w 197178"/>
                <a:gd name="connsiteY8" fmla="*/ 57 h 215049"/>
                <a:gd name="connsiteX9" fmla="*/ 197178 w 197178"/>
                <a:gd name="connsiteY9" fmla="*/ 4872 h 215049"/>
                <a:gd name="connsiteX10" fmla="*/ 170795 w 197178"/>
                <a:gd name="connsiteY10" fmla="*/ 42934 h 215049"/>
                <a:gd name="connsiteX11" fmla="*/ 164950 w 197178"/>
                <a:gd name="connsiteY11" fmla="*/ 40156 h 215049"/>
                <a:gd name="connsiteX12" fmla="*/ 111638 w 197178"/>
                <a:gd name="connsiteY12" fmla="*/ 127643 h 215049"/>
                <a:gd name="connsiteX13" fmla="*/ 111638 w 197178"/>
                <a:gd name="connsiteY13" fmla="*/ 128277 h 21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178" h="215049">
                  <a:moveTo>
                    <a:pt x="51490" y="215049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4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lnTo>
                    <a:pt x="197178" y="4872"/>
                  </a:lnTo>
                  <a:lnTo>
                    <a:pt x="170795" y="42934"/>
                  </a:lnTo>
                  <a:lnTo>
                    <a:pt x="164950" y="40156"/>
                  </a:ln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1282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9" name="Forme libre : forme 468">
              <a:extLst>
                <a:ext uri="{FF2B5EF4-FFF2-40B4-BE49-F238E27FC236}">
                  <a16:creationId xmlns:a16="http://schemas.microsoft.com/office/drawing/2014/main" id="{13CAFE6B-0A3E-486D-8691-4D8C7920E841}"/>
                </a:ext>
              </a:extLst>
            </p:cNvPr>
            <p:cNvSpPr/>
            <p:nvPr/>
          </p:nvSpPr>
          <p:spPr>
            <a:xfrm rot="8716295">
              <a:off x="56555" y="14742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0" name="Forme libre : forme 469">
              <a:extLst>
                <a:ext uri="{FF2B5EF4-FFF2-40B4-BE49-F238E27FC236}">
                  <a16:creationId xmlns:a16="http://schemas.microsoft.com/office/drawing/2014/main" id="{AAF44C60-8776-4956-B0ED-2BB1FFCE9812}"/>
                </a:ext>
              </a:extLst>
            </p:cNvPr>
            <p:cNvSpPr/>
            <p:nvPr/>
          </p:nvSpPr>
          <p:spPr>
            <a:xfrm rot="8716295">
              <a:off x="145947" y="15034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1" name="Forme libre : forme 470">
              <a:extLst>
                <a:ext uri="{FF2B5EF4-FFF2-40B4-BE49-F238E27FC236}">
                  <a16:creationId xmlns:a16="http://schemas.microsoft.com/office/drawing/2014/main" id="{5A27D428-CE77-42C1-B8CA-3A227D5DF411}"/>
                </a:ext>
              </a:extLst>
            </p:cNvPr>
            <p:cNvSpPr/>
            <p:nvPr/>
          </p:nvSpPr>
          <p:spPr>
            <a:xfrm rot="8716295">
              <a:off x="-21870" y="1443501"/>
              <a:ext cx="68614" cy="55323"/>
            </a:xfrm>
            <a:custGeom>
              <a:avLst/>
              <a:gdLst>
                <a:gd name="connsiteX0" fmla="*/ 0 w 68614"/>
                <a:gd name="connsiteY0" fmla="*/ 55323 h 55323"/>
                <a:gd name="connsiteX1" fmla="*/ 0 w 68614"/>
                <a:gd name="connsiteY1" fmla="*/ 0 h 55323"/>
                <a:gd name="connsiteX2" fmla="*/ 68614 w 68614"/>
                <a:gd name="connsiteY2" fmla="*/ 0 h 55323"/>
                <a:gd name="connsiteX3" fmla="*/ 30266 w 68614"/>
                <a:gd name="connsiteY3" fmla="*/ 55323 h 55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614" h="55323">
                  <a:moveTo>
                    <a:pt x="0" y="55323"/>
                  </a:moveTo>
                  <a:lnTo>
                    <a:pt x="0" y="0"/>
                  </a:lnTo>
                  <a:lnTo>
                    <a:pt x="68614" y="0"/>
                  </a:lnTo>
                  <a:lnTo>
                    <a:pt x="30266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2" name="Forme libre : forme 471">
              <a:extLst>
                <a:ext uri="{FF2B5EF4-FFF2-40B4-BE49-F238E27FC236}">
                  <a16:creationId xmlns:a16="http://schemas.microsoft.com/office/drawing/2014/main" id="{DF9A3F72-B629-4ECA-8440-27AD7A8DC93E}"/>
                </a:ext>
              </a:extLst>
            </p:cNvPr>
            <p:cNvSpPr/>
            <p:nvPr/>
          </p:nvSpPr>
          <p:spPr>
            <a:xfrm rot="8716295">
              <a:off x="35817" y="1618109"/>
              <a:ext cx="103435" cy="203897"/>
            </a:xfrm>
            <a:custGeom>
              <a:avLst/>
              <a:gdLst>
                <a:gd name="connsiteX0" fmla="*/ 87556 w 103435"/>
                <a:gd name="connsiteY0" fmla="*/ 203897 h 203897"/>
                <a:gd name="connsiteX1" fmla="*/ 43288 w 103435"/>
                <a:gd name="connsiteY1" fmla="*/ 161305 h 203897"/>
                <a:gd name="connsiteX2" fmla="*/ 43288 w 103435"/>
                <a:gd name="connsiteY2" fmla="*/ 16404 h 203897"/>
                <a:gd name="connsiteX3" fmla="*/ 0 w 103435"/>
                <a:gd name="connsiteY3" fmla="*/ 16404 h 203897"/>
                <a:gd name="connsiteX4" fmla="*/ 0 w 103435"/>
                <a:gd name="connsiteY4" fmla="*/ 2278 h 203897"/>
                <a:gd name="connsiteX5" fmla="*/ 103435 w 103435"/>
                <a:gd name="connsiteY5" fmla="*/ 0 h 203897"/>
                <a:gd name="connsiteX6" fmla="*/ 103435 w 103435"/>
                <a:gd name="connsiteY6" fmla="*/ 180989 h 203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03897">
                  <a:moveTo>
                    <a:pt x="87556" y="203897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1809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3" name="Forme libre : forme 472">
              <a:extLst>
                <a:ext uri="{FF2B5EF4-FFF2-40B4-BE49-F238E27FC236}">
                  <a16:creationId xmlns:a16="http://schemas.microsoft.com/office/drawing/2014/main" id="{8E07B202-4136-4FA5-B44B-66518FBBBBA3}"/>
                </a:ext>
              </a:extLst>
            </p:cNvPr>
            <p:cNvSpPr/>
            <p:nvPr/>
          </p:nvSpPr>
          <p:spPr>
            <a:xfrm rot="7484129">
              <a:off x="139430" y="17950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4" name="Forme libre : forme 473">
              <a:extLst>
                <a:ext uri="{FF2B5EF4-FFF2-40B4-BE49-F238E27FC236}">
                  <a16:creationId xmlns:a16="http://schemas.microsoft.com/office/drawing/2014/main" id="{34554139-A9A2-4D5D-81E5-F4C0EE65204A}"/>
                </a:ext>
              </a:extLst>
            </p:cNvPr>
            <p:cNvSpPr/>
            <p:nvPr/>
          </p:nvSpPr>
          <p:spPr>
            <a:xfrm rot="13089394">
              <a:off x="244250" y="17615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5" name="Forme libre : forme 474">
              <a:extLst>
                <a:ext uri="{FF2B5EF4-FFF2-40B4-BE49-F238E27FC236}">
                  <a16:creationId xmlns:a16="http://schemas.microsoft.com/office/drawing/2014/main" id="{AB2F70AF-AA56-4CAD-ADF4-0833FC541883}"/>
                </a:ext>
              </a:extLst>
            </p:cNvPr>
            <p:cNvSpPr/>
            <p:nvPr/>
          </p:nvSpPr>
          <p:spPr>
            <a:xfrm rot="8716295">
              <a:off x="429835" y="15699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6" name="Forme libre : forme 475">
              <a:extLst>
                <a:ext uri="{FF2B5EF4-FFF2-40B4-BE49-F238E27FC236}">
                  <a16:creationId xmlns:a16="http://schemas.microsoft.com/office/drawing/2014/main" id="{75BBDF35-8448-40A6-BE33-7EEF756160B0}"/>
                </a:ext>
              </a:extLst>
            </p:cNvPr>
            <p:cNvSpPr/>
            <p:nvPr/>
          </p:nvSpPr>
          <p:spPr>
            <a:xfrm rot="8716295">
              <a:off x="378030" y="14663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7" name="Forme libre : forme 476">
              <a:extLst>
                <a:ext uri="{FF2B5EF4-FFF2-40B4-BE49-F238E27FC236}">
                  <a16:creationId xmlns:a16="http://schemas.microsoft.com/office/drawing/2014/main" id="{423A5D9B-DC1A-419A-9AFB-176F76ADBA77}"/>
                </a:ext>
              </a:extLst>
            </p:cNvPr>
            <p:cNvSpPr/>
            <p:nvPr/>
          </p:nvSpPr>
          <p:spPr>
            <a:xfrm rot="8716295">
              <a:off x="134784" y="14965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8" name="Forme libre : forme 477">
              <a:extLst>
                <a:ext uri="{FF2B5EF4-FFF2-40B4-BE49-F238E27FC236}">
                  <a16:creationId xmlns:a16="http://schemas.microsoft.com/office/drawing/2014/main" id="{09A04993-945B-4073-A4A3-49D8F429837D}"/>
                </a:ext>
              </a:extLst>
            </p:cNvPr>
            <p:cNvSpPr/>
            <p:nvPr/>
          </p:nvSpPr>
          <p:spPr>
            <a:xfrm rot="8716295">
              <a:off x="312236" y="13372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9" name="Forme libre : forme 478">
              <a:extLst>
                <a:ext uri="{FF2B5EF4-FFF2-40B4-BE49-F238E27FC236}">
                  <a16:creationId xmlns:a16="http://schemas.microsoft.com/office/drawing/2014/main" id="{F26589E4-0AEF-428F-8239-E3EDEF00E7E4}"/>
                </a:ext>
              </a:extLst>
            </p:cNvPr>
            <p:cNvSpPr/>
            <p:nvPr/>
          </p:nvSpPr>
          <p:spPr>
            <a:xfrm rot="8716295">
              <a:off x="-17798" y="949199"/>
              <a:ext cx="39526" cy="50123"/>
            </a:xfrm>
            <a:custGeom>
              <a:avLst/>
              <a:gdLst>
                <a:gd name="connsiteX0" fmla="*/ 0 w 39526"/>
                <a:gd name="connsiteY0" fmla="*/ 50123 h 50123"/>
                <a:gd name="connsiteX1" fmla="*/ 0 w 39526"/>
                <a:gd name="connsiteY1" fmla="*/ 0 h 50123"/>
                <a:gd name="connsiteX2" fmla="*/ 39526 w 39526"/>
                <a:gd name="connsiteY2" fmla="*/ 0 h 50123"/>
                <a:gd name="connsiteX3" fmla="*/ 4782 w 39526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26" h="50123">
                  <a:moveTo>
                    <a:pt x="0" y="50123"/>
                  </a:moveTo>
                  <a:lnTo>
                    <a:pt x="0" y="0"/>
                  </a:lnTo>
                  <a:lnTo>
                    <a:pt x="39526" y="0"/>
                  </a:lnTo>
                  <a:lnTo>
                    <a:pt x="4782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0" name="Forme libre : forme 479">
              <a:extLst>
                <a:ext uri="{FF2B5EF4-FFF2-40B4-BE49-F238E27FC236}">
                  <a16:creationId xmlns:a16="http://schemas.microsoft.com/office/drawing/2014/main" id="{4C4296DE-55F9-4C4A-97B0-A63397A7DF77}"/>
                </a:ext>
              </a:extLst>
            </p:cNvPr>
            <p:cNvSpPr/>
            <p:nvPr/>
          </p:nvSpPr>
          <p:spPr>
            <a:xfrm rot="8716295">
              <a:off x="-64996" y="834728"/>
              <a:ext cx="249650" cy="254774"/>
            </a:xfrm>
            <a:custGeom>
              <a:avLst/>
              <a:gdLst>
                <a:gd name="connsiteX0" fmla="*/ 51490 w 249650"/>
                <a:gd name="connsiteY0" fmla="*/ 254774 h 254774"/>
                <a:gd name="connsiteX1" fmla="*/ 51490 w 249650"/>
                <a:gd name="connsiteY1" fmla="*/ 45624 h 254774"/>
                <a:gd name="connsiteX2" fmla="*/ 0 w 249650"/>
                <a:gd name="connsiteY2" fmla="*/ 45624 h 254774"/>
                <a:gd name="connsiteX3" fmla="*/ 0 w 249650"/>
                <a:gd name="connsiteY3" fmla="*/ 1425 h 254774"/>
                <a:gd name="connsiteX4" fmla="*/ 104803 w 249650"/>
                <a:gd name="connsiteY4" fmla="*/ 1425 h 254774"/>
                <a:gd name="connsiteX5" fmla="*/ 104803 w 249650"/>
                <a:gd name="connsiteY5" fmla="*/ 75242 h 254774"/>
                <a:gd name="connsiteX6" fmla="*/ 106169 w 249650"/>
                <a:gd name="connsiteY6" fmla="*/ 75242 h 254774"/>
                <a:gd name="connsiteX7" fmla="*/ 154014 w 249650"/>
                <a:gd name="connsiteY7" fmla="*/ 5981 h 254774"/>
                <a:gd name="connsiteX8" fmla="*/ 185455 w 249650"/>
                <a:gd name="connsiteY8" fmla="*/ 57 h 254774"/>
                <a:gd name="connsiteX9" fmla="*/ 240647 w 249650"/>
                <a:gd name="connsiteY9" fmla="*/ 22727 h 254774"/>
                <a:gd name="connsiteX10" fmla="*/ 249650 w 249650"/>
                <a:gd name="connsiteY10" fmla="*/ 52327 h 254774"/>
                <a:gd name="connsiteX11" fmla="*/ 218795 w 249650"/>
                <a:gd name="connsiteY11" fmla="*/ 96841 h 254774"/>
                <a:gd name="connsiteX12" fmla="*/ 198669 w 249650"/>
                <a:gd name="connsiteY12" fmla="*/ 98025 h 254774"/>
                <a:gd name="connsiteX13" fmla="*/ 198669 w 249650"/>
                <a:gd name="connsiteY13" fmla="*/ 81621 h 254774"/>
                <a:gd name="connsiteX14" fmla="*/ 164950 w 249650"/>
                <a:gd name="connsiteY14" fmla="*/ 40156 h 254774"/>
                <a:gd name="connsiteX15" fmla="*/ 111638 w 249650"/>
                <a:gd name="connsiteY15" fmla="*/ 127643 h 254774"/>
                <a:gd name="connsiteX16" fmla="*/ 111638 w 249650"/>
                <a:gd name="connsiteY16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9650" h="254774">
                  <a:moveTo>
                    <a:pt x="51490" y="254774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08922" y="-398"/>
                    <a:pt x="227718" y="7576"/>
                    <a:pt x="240647" y="22727"/>
                  </a:cubicBezTo>
                  <a:lnTo>
                    <a:pt x="249650" y="52327"/>
                  </a:lnTo>
                  <a:lnTo>
                    <a:pt x="218795" y="96841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1" name="Forme libre : forme 480">
              <a:extLst>
                <a:ext uri="{FF2B5EF4-FFF2-40B4-BE49-F238E27FC236}">
                  <a16:creationId xmlns:a16="http://schemas.microsoft.com/office/drawing/2014/main" id="{5A2819AD-E741-4041-ACED-C828CEF01D2A}"/>
                </a:ext>
              </a:extLst>
            </p:cNvPr>
            <p:cNvSpPr/>
            <p:nvPr/>
          </p:nvSpPr>
          <p:spPr>
            <a:xfrm rot="7484129">
              <a:off x="-63314" y="1172497"/>
              <a:ext cx="203848" cy="146395"/>
            </a:xfrm>
            <a:custGeom>
              <a:avLst/>
              <a:gdLst>
                <a:gd name="connsiteX0" fmla="*/ 0 w 203848"/>
                <a:gd name="connsiteY0" fmla="*/ 55323 h 146395"/>
                <a:gd name="connsiteX1" fmla="*/ 0 w 203848"/>
                <a:gd name="connsiteY1" fmla="*/ 0 h 146395"/>
                <a:gd name="connsiteX2" fmla="*/ 203848 w 203848"/>
                <a:gd name="connsiteY2" fmla="*/ 0 h 146395"/>
                <a:gd name="connsiteX3" fmla="*/ 203847 w 203848"/>
                <a:gd name="connsiteY3" fmla="*/ 49512 h 146395"/>
                <a:gd name="connsiteX4" fmla="*/ 195466 w 203848"/>
                <a:gd name="connsiteY4" fmla="*/ 55323 h 146395"/>
                <a:gd name="connsiteX5" fmla="*/ 139055 w 203848"/>
                <a:gd name="connsiteY5" fmla="*/ 55323 h 146395"/>
                <a:gd name="connsiteX6" fmla="*/ 121388 w 203848"/>
                <a:gd name="connsiteY6" fmla="*/ 106685 h 146395"/>
                <a:gd name="connsiteX7" fmla="*/ 64115 w 203848"/>
                <a:gd name="connsiteY7" fmla="*/ 146395 h 146395"/>
                <a:gd name="connsiteX8" fmla="*/ 47847 w 203848"/>
                <a:gd name="connsiteY8" fmla="*/ 116129 h 146395"/>
                <a:gd name="connsiteX9" fmla="*/ 69777 w 203848"/>
                <a:gd name="connsiteY9" fmla="*/ 55323 h 146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848" h="146395">
                  <a:moveTo>
                    <a:pt x="0" y="55323"/>
                  </a:moveTo>
                  <a:lnTo>
                    <a:pt x="0" y="0"/>
                  </a:lnTo>
                  <a:lnTo>
                    <a:pt x="203848" y="0"/>
                  </a:lnTo>
                  <a:lnTo>
                    <a:pt x="203847" y="49512"/>
                  </a:lnTo>
                  <a:lnTo>
                    <a:pt x="195466" y="55323"/>
                  </a:lnTo>
                  <a:lnTo>
                    <a:pt x="139055" y="55323"/>
                  </a:lnTo>
                  <a:lnTo>
                    <a:pt x="121388" y="106685"/>
                  </a:lnTo>
                  <a:lnTo>
                    <a:pt x="64115" y="146395"/>
                  </a:lnTo>
                  <a:lnTo>
                    <a:pt x="47847" y="116129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2" name="Forme libre : forme 481">
              <a:extLst>
                <a:ext uri="{FF2B5EF4-FFF2-40B4-BE49-F238E27FC236}">
                  <a16:creationId xmlns:a16="http://schemas.microsoft.com/office/drawing/2014/main" id="{BF19A776-F6DB-4B5F-AAC3-71AD58912554}"/>
                </a:ext>
              </a:extLst>
            </p:cNvPr>
            <p:cNvSpPr/>
            <p:nvPr/>
          </p:nvSpPr>
          <p:spPr>
            <a:xfrm rot="13089394">
              <a:off x="25311" y="109952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3" name="Forme libre : forme 482">
              <a:extLst>
                <a:ext uri="{FF2B5EF4-FFF2-40B4-BE49-F238E27FC236}">
                  <a16:creationId xmlns:a16="http://schemas.microsoft.com/office/drawing/2014/main" id="{1F910699-3B12-45BE-B517-E2166075FFC7}"/>
                </a:ext>
              </a:extLst>
            </p:cNvPr>
            <p:cNvSpPr/>
            <p:nvPr/>
          </p:nvSpPr>
          <p:spPr>
            <a:xfrm rot="8716295">
              <a:off x="210896" y="90784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4" name="Forme libre : forme 483">
              <a:extLst>
                <a:ext uri="{FF2B5EF4-FFF2-40B4-BE49-F238E27FC236}">
                  <a16:creationId xmlns:a16="http://schemas.microsoft.com/office/drawing/2014/main" id="{A819C2A4-F35F-43E8-9AB1-07103AECD990}"/>
                </a:ext>
              </a:extLst>
            </p:cNvPr>
            <p:cNvSpPr/>
            <p:nvPr/>
          </p:nvSpPr>
          <p:spPr>
            <a:xfrm rot="8716295">
              <a:off x="159091" y="80425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5" name="Forme libre : forme 484">
              <a:extLst>
                <a:ext uri="{FF2B5EF4-FFF2-40B4-BE49-F238E27FC236}">
                  <a16:creationId xmlns:a16="http://schemas.microsoft.com/office/drawing/2014/main" id="{F748C402-EDBB-4B63-B49E-2F4080A37ADD}"/>
                </a:ext>
              </a:extLst>
            </p:cNvPr>
            <p:cNvSpPr/>
            <p:nvPr/>
          </p:nvSpPr>
          <p:spPr>
            <a:xfrm rot="8716295">
              <a:off x="93297" y="67523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6" name="Forme libre : forme 485">
              <a:extLst>
                <a:ext uri="{FF2B5EF4-FFF2-40B4-BE49-F238E27FC236}">
                  <a16:creationId xmlns:a16="http://schemas.microsoft.com/office/drawing/2014/main" id="{73609A63-0E69-42A0-8437-604DF28699ED}"/>
                </a:ext>
              </a:extLst>
            </p:cNvPr>
            <p:cNvSpPr/>
            <p:nvPr/>
          </p:nvSpPr>
          <p:spPr>
            <a:xfrm rot="8716295">
              <a:off x="-7001" y="316701"/>
              <a:ext cx="14001" cy="20198"/>
            </a:xfrm>
            <a:custGeom>
              <a:avLst/>
              <a:gdLst>
                <a:gd name="connsiteX0" fmla="*/ 0 w 14001"/>
                <a:gd name="connsiteY0" fmla="*/ 20198 h 20198"/>
                <a:gd name="connsiteX1" fmla="*/ 0 w 14001"/>
                <a:gd name="connsiteY1" fmla="*/ 0 h 20198"/>
                <a:gd name="connsiteX2" fmla="*/ 14001 w 14001"/>
                <a:gd name="connsiteY2" fmla="*/ 0 h 2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01" h="20198">
                  <a:moveTo>
                    <a:pt x="0" y="20198"/>
                  </a:moveTo>
                  <a:lnTo>
                    <a:pt x="0" y="0"/>
                  </a:lnTo>
                  <a:lnTo>
                    <a:pt x="1400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7" name="Forme libre : forme 486">
              <a:extLst>
                <a:ext uri="{FF2B5EF4-FFF2-40B4-BE49-F238E27FC236}">
                  <a16:creationId xmlns:a16="http://schemas.microsoft.com/office/drawing/2014/main" id="{577CC5F5-15C9-4008-90A0-668217098FFB}"/>
                </a:ext>
              </a:extLst>
            </p:cNvPr>
            <p:cNvSpPr/>
            <p:nvPr/>
          </p:nvSpPr>
          <p:spPr>
            <a:xfrm rot="13089394">
              <a:off x="-81658" y="472652"/>
              <a:ext cx="173631" cy="237684"/>
            </a:xfrm>
            <a:custGeom>
              <a:avLst/>
              <a:gdLst>
                <a:gd name="connsiteX0" fmla="*/ 173631 w 173631"/>
                <a:gd name="connsiteY0" fmla="*/ 220990 h 237684"/>
                <a:gd name="connsiteX1" fmla="*/ 130972 w 173631"/>
                <a:gd name="connsiteY1" fmla="*/ 232382 h 237684"/>
                <a:gd name="connsiteX2" fmla="*/ 91597 w 173631"/>
                <a:gd name="connsiteY2" fmla="*/ 237521 h 237684"/>
                <a:gd name="connsiteX3" fmla="*/ 23727 w 173631"/>
                <a:gd name="connsiteY3" fmla="*/ 209931 h 237684"/>
                <a:gd name="connsiteX4" fmla="*/ 0 w 173631"/>
                <a:gd name="connsiteY4" fmla="*/ 115023 h 237684"/>
                <a:gd name="connsiteX5" fmla="*/ 0 w 173631"/>
                <a:gd name="connsiteY5" fmla="*/ 0 h 237684"/>
                <a:gd name="connsiteX6" fmla="*/ 76176 w 173631"/>
                <a:gd name="connsiteY6" fmla="*/ 96953 h 237684"/>
                <a:gd name="connsiteX7" fmla="*/ 76768 w 173631"/>
                <a:gd name="connsiteY7" fmla="*/ 109023 h 237684"/>
                <a:gd name="connsiteX8" fmla="*/ 87734 w 173631"/>
                <a:gd name="connsiteY8" fmla="*/ 154201 h 237684"/>
                <a:gd name="connsiteX9" fmla="*/ 111117 w 173631"/>
                <a:gd name="connsiteY9" fmla="*/ 181514 h 237684"/>
                <a:gd name="connsiteX10" fmla="*/ 148930 w 173631"/>
                <a:gd name="connsiteY10" fmla="*/ 189552 h 237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3631" h="237684">
                  <a:moveTo>
                    <a:pt x="173631" y="220990"/>
                  </a:moveTo>
                  <a:lnTo>
                    <a:pt x="130972" y="232382"/>
                  </a:lnTo>
                  <a:cubicBezTo>
                    <a:pt x="116428" y="235210"/>
                    <a:pt x="103047" y="236831"/>
                    <a:pt x="91597" y="237521"/>
                  </a:cubicBezTo>
                  <a:cubicBezTo>
                    <a:pt x="66215" y="239176"/>
                    <a:pt x="41384" y="228141"/>
                    <a:pt x="23727" y="209931"/>
                  </a:cubicBezTo>
                  <a:cubicBezTo>
                    <a:pt x="4966" y="191722"/>
                    <a:pt x="0" y="160270"/>
                    <a:pt x="0" y="115023"/>
                  </a:cubicBezTo>
                  <a:lnTo>
                    <a:pt x="0" y="0"/>
                  </a:lnTo>
                  <a:lnTo>
                    <a:pt x="76176" y="96953"/>
                  </a:lnTo>
                  <a:lnTo>
                    <a:pt x="76768" y="109023"/>
                  </a:lnTo>
                  <a:cubicBezTo>
                    <a:pt x="79044" y="124404"/>
                    <a:pt x="82768" y="139578"/>
                    <a:pt x="87734" y="154201"/>
                  </a:cubicBezTo>
                  <a:cubicBezTo>
                    <a:pt x="92149" y="166340"/>
                    <a:pt x="100012" y="175445"/>
                    <a:pt x="111117" y="181514"/>
                  </a:cubicBezTo>
                  <a:lnTo>
                    <a:pt x="148930" y="1895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8" name="Forme libre : forme 487">
              <a:extLst>
                <a:ext uri="{FF2B5EF4-FFF2-40B4-BE49-F238E27FC236}">
                  <a16:creationId xmlns:a16="http://schemas.microsoft.com/office/drawing/2014/main" id="{E64C5A14-C3CC-4B02-838F-FD1CD7D882CB}"/>
                </a:ext>
              </a:extLst>
            </p:cNvPr>
            <p:cNvSpPr/>
            <p:nvPr/>
          </p:nvSpPr>
          <p:spPr>
            <a:xfrm rot="8716295">
              <a:off x="-11774" y="24443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9" name="Forme libre : forme 488">
              <a:extLst>
                <a:ext uri="{FF2B5EF4-FFF2-40B4-BE49-F238E27FC236}">
                  <a16:creationId xmlns:a16="http://schemas.microsoft.com/office/drawing/2014/main" id="{26383EB6-3CD6-4688-B5B2-AB6D6EF7025D}"/>
                </a:ext>
              </a:extLst>
            </p:cNvPr>
            <p:cNvSpPr/>
            <p:nvPr/>
          </p:nvSpPr>
          <p:spPr>
            <a:xfrm rot="8716295">
              <a:off x="-30092" y="143486"/>
              <a:ext cx="77721" cy="97260"/>
            </a:xfrm>
            <a:custGeom>
              <a:avLst/>
              <a:gdLst>
                <a:gd name="connsiteX0" fmla="*/ 15821 w 77721"/>
                <a:gd name="connsiteY0" fmla="*/ 97260 h 97260"/>
                <a:gd name="connsiteX1" fmla="*/ 0 w 77721"/>
                <a:gd name="connsiteY1" fmla="*/ 59790 h 97260"/>
                <a:gd name="connsiteX2" fmla="*/ 0 w 77721"/>
                <a:gd name="connsiteY2" fmla="*/ 58869 h 97260"/>
                <a:gd name="connsiteX3" fmla="*/ 17477 w 77721"/>
                <a:gd name="connsiteY3" fmla="*/ 17477 h 97260"/>
                <a:gd name="connsiteX4" fmla="*/ 58869 w 77721"/>
                <a:gd name="connsiteY4" fmla="*/ 0 h 97260"/>
                <a:gd name="connsiteX5" fmla="*/ 77721 w 77721"/>
                <a:gd name="connsiteY5" fmla="*/ 7960 h 97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721" h="97260">
                  <a:moveTo>
                    <a:pt x="15821" y="97260"/>
                  </a:moveTo>
                  <a:lnTo>
                    <a:pt x="0" y="59790"/>
                  </a:ln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lnTo>
                    <a:pt x="77721" y="79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0" name="Forme libre : forme 489">
              <a:extLst>
                <a:ext uri="{FF2B5EF4-FFF2-40B4-BE49-F238E27FC236}">
                  <a16:creationId xmlns:a16="http://schemas.microsoft.com/office/drawing/2014/main" id="{6537CDA1-2216-4877-A848-A93D1F552A9D}"/>
                </a:ext>
              </a:extLst>
            </p:cNvPr>
            <p:cNvSpPr/>
            <p:nvPr/>
          </p:nvSpPr>
          <p:spPr>
            <a:xfrm rot="8716295">
              <a:off x="-17797" y="3452694"/>
              <a:ext cx="58455" cy="44199"/>
            </a:xfrm>
            <a:custGeom>
              <a:avLst/>
              <a:gdLst>
                <a:gd name="connsiteX0" fmla="*/ 0 w 58455"/>
                <a:gd name="connsiteY0" fmla="*/ 44199 h 44199"/>
                <a:gd name="connsiteX1" fmla="*/ 0 w 58455"/>
                <a:gd name="connsiteY1" fmla="*/ 0 h 44199"/>
                <a:gd name="connsiteX2" fmla="*/ 58455 w 58455"/>
                <a:gd name="connsiteY2" fmla="*/ 0 h 44199"/>
                <a:gd name="connsiteX3" fmla="*/ 27817 w 58455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55" h="44199">
                  <a:moveTo>
                    <a:pt x="0" y="44199"/>
                  </a:moveTo>
                  <a:lnTo>
                    <a:pt x="0" y="0"/>
                  </a:lnTo>
                  <a:lnTo>
                    <a:pt x="58455" y="0"/>
                  </a:lnTo>
                  <a:lnTo>
                    <a:pt x="27817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1" name="Forme libre : forme 490">
              <a:extLst>
                <a:ext uri="{FF2B5EF4-FFF2-40B4-BE49-F238E27FC236}">
                  <a16:creationId xmlns:a16="http://schemas.microsoft.com/office/drawing/2014/main" id="{215CC3B1-8089-4D43-97B0-1819B833BE19}"/>
                </a:ext>
              </a:extLst>
            </p:cNvPr>
            <p:cNvSpPr/>
            <p:nvPr/>
          </p:nvSpPr>
          <p:spPr>
            <a:xfrm rot="13089394">
              <a:off x="-91485" y="3601812"/>
              <a:ext cx="206527" cy="292654"/>
            </a:xfrm>
            <a:custGeom>
              <a:avLst/>
              <a:gdLst>
                <a:gd name="connsiteX0" fmla="*/ 206527 w 206527"/>
                <a:gd name="connsiteY0" fmla="*/ 258693 h 292654"/>
                <a:gd name="connsiteX1" fmla="*/ 177331 w 206527"/>
                <a:gd name="connsiteY1" fmla="*/ 274971 h 292654"/>
                <a:gd name="connsiteX2" fmla="*/ 91597 w 206527"/>
                <a:gd name="connsiteY2" fmla="*/ 292491 h 292654"/>
                <a:gd name="connsiteX3" fmla="*/ 23727 w 206527"/>
                <a:gd name="connsiteY3" fmla="*/ 264901 h 292654"/>
                <a:gd name="connsiteX4" fmla="*/ 0 w 206527"/>
                <a:gd name="connsiteY4" fmla="*/ 169993 h 292654"/>
                <a:gd name="connsiteX5" fmla="*/ 0 w 206527"/>
                <a:gd name="connsiteY5" fmla="*/ 1698 h 292654"/>
                <a:gd name="connsiteX6" fmla="*/ 3273 w 206527"/>
                <a:gd name="connsiteY6" fmla="*/ 0 h 292654"/>
                <a:gd name="connsiteX7" fmla="*/ 74297 w 206527"/>
                <a:gd name="connsiteY7" fmla="*/ 90396 h 292654"/>
                <a:gd name="connsiteX8" fmla="*/ 74492 w 206527"/>
                <a:gd name="connsiteY8" fmla="*/ 117574 h 292654"/>
                <a:gd name="connsiteX9" fmla="*/ 87734 w 206527"/>
                <a:gd name="connsiteY9" fmla="*/ 209171 h 292654"/>
                <a:gd name="connsiteX10" fmla="*/ 153949 w 206527"/>
                <a:gd name="connsiteY10" fmla="*/ 245589 h 292654"/>
                <a:gd name="connsiteX11" fmla="*/ 191049 w 206527"/>
                <a:gd name="connsiteY11" fmla="*/ 238993 h 292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527" h="292654">
                  <a:moveTo>
                    <a:pt x="206527" y="258693"/>
                  </a:moveTo>
                  <a:lnTo>
                    <a:pt x="177331" y="274971"/>
                  </a:lnTo>
                  <a:cubicBezTo>
                    <a:pt x="145121" y="286007"/>
                    <a:pt x="114496" y="291111"/>
                    <a:pt x="91597" y="292491"/>
                  </a:cubicBezTo>
                  <a:cubicBezTo>
                    <a:pt x="66215" y="294146"/>
                    <a:pt x="41385" y="283111"/>
                    <a:pt x="23727" y="264901"/>
                  </a:cubicBezTo>
                  <a:cubicBezTo>
                    <a:pt x="4966" y="246692"/>
                    <a:pt x="0" y="215240"/>
                    <a:pt x="0" y="169993"/>
                  </a:cubicBezTo>
                  <a:lnTo>
                    <a:pt x="0" y="1698"/>
                  </a:lnTo>
                  <a:lnTo>
                    <a:pt x="3273" y="0"/>
                  </a:lnTo>
                  <a:lnTo>
                    <a:pt x="74297" y="90396"/>
                  </a:lnTo>
                  <a:lnTo>
                    <a:pt x="74492" y="117574"/>
                  </a:lnTo>
                  <a:cubicBezTo>
                    <a:pt x="72836" y="148474"/>
                    <a:pt x="77802" y="179926"/>
                    <a:pt x="87734" y="209171"/>
                  </a:cubicBezTo>
                  <a:cubicBezTo>
                    <a:pt x="96564" y="233450"/>
                    <a:pt x="119187" y="245589"/>
                    <a:pt x="153949" y="245589"/>
                  </a:cubicBezTo>
                  <a:lnTo>
                    <a:pt x="191049" y="2389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2" name="Forme libre : forme 491">
              <a:extLst>
                <a:ext uri="{FF2B5EF4-FFF2-40B4-BE49-F238E27FC236}">
                  <a16:creationId xmlns:a16="http://schemas.microsoft.com/office/drawing/2014/main" id="{234A14C5-DCBF-4B3D-8912-C2966FB8FAA0}"/>
                </a:ext>
              </a:extLst>
            </p:cNvPr>
            <p:cNvSpPr/>
            <p:nvPr/>
          </p:nvSpPr>
          <p:spPr>
            <a:xfrm rot="8716295">
              <a:off x="24761" y="33896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3" name="Forme libre : forme 492">
              <a:extLst>
                <a:ext uri="{FF2B5EF4-FFF2-40B4-BE49-F238E27FC236}">
                  <a16:creationId xmlns:a16="http://schemas.microsoft.com/office/drawing/2014/main" id="{A8F20E36-ED7E-4DCB-8818-49A4A7E98BE7}"/>
                </a:ext>
              </a:extLst>
            </p:cNvPr>
            <p:cNvSpPr/>
            <p:nvPr/>
          </p:nvSpPr>
          <p:spPr>
            <a:xfrm rot="8716295">
              <a:off x="-24047" y="3281741"/>
              <a:ext cx="106042" cy="113733"/>
            </a:xfrm>
            <a:custGeom>
              <a:avLst/>
              <a:gdLst>
                <a:gd name="connsiteX0" fmla="*/ 17477 w 106042"/>
                <a:gd name="connsiteY0" fmla="*/ 101182 h 113733"/>
                <a:gd name="connsiteX1" fmla="*/ 0 w 106042"/>
                <a:gd name="connsiteY1" fmla="*/ 59790 h 113733"/>
                <a:gd name="connsiteX2" fmla="*/ 0 w 106042"/>
                <a:gd name="connsiteY2" fmla="*/ 58869 h 113733"/>
                <a:gd name="connsiteX3" fmla="*/ 17477 w 106042"/>
                <a:gd name="connsiteY3" fmla="*/ 17477 h 113733"/>
                <a:gd name="connsiteX4" fmla="*/ 58869 w 106042"/>
                <a:gd name="connsiteY4" fmla="*/ 0 h 113733"/>
                <a:gd name="connsiteX5" fmla="*/ 100262 w 106042"/>
                <a:gd name="connsiteY5" fmla="*/ 17477 h 113733"/>
                <a:gd name="connsiteX6" fmla="*/ 106042 w 106042"/>
                <a:gd name="connsiteY6" fmla="*/ 31234 h 113733"/>
                <a:gd name="connsiteX7" fmla="*/ 48856 w 106042"/>
                <a:gd name="connsiteY7" fmla="*/ 113733 h 11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042" h="113733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cubicBezTo>
                    <a:pt x="74507" y="0"/>
                    <a:pt x="89224" y="6439"/>
                    <a:pt x="100262" y="17477"/>
                  </a:cubicBezTo>
                  <a:lnTo>
                    <a:pt x="106042" y="31234"/>
                  </a:lnTo>
                  <a:lnTo>
                    <a:pt x="48856" y="1137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4" name="Forme libre : forme 493">
              <a:extLst>
                <a:ext uri="{FF2B5EF4-FFF2-40B4-BE49-F238E27FC236}">
                  <a16:creationId xmlns:a16="http://schemas.microsoft.com/office/drawing/2014/main" id="{521798C9-8778-477C-89ED-433CF02349E9}"/>
                </a:ext>
              </a:extLst>
            </p:cNvPr>
            <p:cNvSpPr/>
            <p:nvPr/>
          </p:nvSpPr>
          <p:spPr>
            <a:xfrm rot="8716295">
              <a:off x="-21924" y="3179872"/>
              <a:ext cx="45776" cy="62656"/>
            </a:xfrm>
            <a:custGeom>
              <a:avLst/>
              <a:gdLst>
                <a:gd name="connsiteX0" fmla="*/ 2345 w 45776"/>
                <a:gd name="connsiteY0" fmla="*/ 62656 h 62656"/>
                <a:gd name="connsiteX1" fmla="*/ 0 w 45776"/>
                <a:gd name="connsiteY1" fmla="*/ 57104 h 62656"/>
                <a:gd name="connsiteX2" fmla="*/ 0 w 45776"/>
                <a:gd name="connsiteY2" fmla="*/ 56183 h 62656"/>
                <a:gd name="connsiteX3" fmla="*/ 17477 w 45776"/>
                <a:gd name="connsiteY3" fmla="*/ 14791 h 62656"/>
                <a:gd name="connsiteX4" fmla="*/ 36449 w 45776"/>
                <a:gd name="connsiteY4" fmla="*/ 1913 h 62656"/>
                <a:gd name="connsiteX5" fmla="*/ 45776 w 45776"/>
                <a:gd name="connsiteY5" fmla="*/ 0 h 62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776" h="62656">
                  <a:moveTo>
                    <a:pt x="2345" y="62656"/>
                  </a:moveTo>
                  <a:lnTo>
                    <a:pt x="0" y="57104"/>
                  </a:lnTo>
                  <a:lnTo>
                    <a:pt x="0" y="56183"/>
                  </a:lnTo>
                  <a:cubicBezTo>
                    <a:pt x="0" y="40547"/>
                    <a:pt x="6439" y="25829"/>
                    <a:pt x="17477" y="14791"/>
                  </a:cubicBezTo>
                  <a:cubicBezTo>
                    <a:pt x="22996" y="9272"/>
                    <a:pt x="29435" y="4903"/>
                    <a:pt x="36449" y="1913"/>
                  </a:cubicBezTo>
                  <a:lnTo>
                    <a:pt x="4577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5" name="Forme libre : forme 494">
              <a:extLst>
                <a:ext uri="{FF2B5EF4-FFF2-40B4-BE49-F238E27FC236}">
                  <a16:creationId xmlns:a16="http://schemas.microsoft.com/office/drawing/2014/main" id="{BB8A2107-7C61-4B85-8EFA-ABA59720E5DB}"/>
                </a:ext>
              </a:extLst>
            </p:cNvPr>
            <p:cNvSpPr/>
            <p:nvPr/>
          </p:nvSpPr>
          <p:spPr>
            <a:xfrm rot="8716295">
              <a:off x="592036" y="5123131"/>
              <a:ext cx="56900" cy="40151"/>
            </a:xfrm>
            <a:custGeom>
              <a:avLst/>
              <a:gdLst>
                <a:gd name="connsiteX0" fmla="*/ 13826 w 56900"/>
                <a:gd name="connsiteY0" fmla="*/ 23593 h 40151"/>
                <a:gd name="connsiteX1" fmla="*/ 948 w 56900"/>
                <a:gd name="connsiteY1" fmla="*/ 4622 h 40151"/>
                <a:gd name="connsiteX2" fmla="*/ 0 w 56900"/>
                <a:gd name="connsiteY2" fmla="*/ 0 h 40151"/>
                <a:gd name="connsiteX3" fmla="*/ 56900 w 56900"/>
                <a:gd name="connsiteY3" fmla="*/ 39441 h 40151"/>
                <a:gd name="connsiteX4" fmla="*/ 55218 w 56900"/>
                <a:gd name="connsiteY4" fmla="*/ 40151 h 40151"/>
                <a:gd name="connsiteX5" fmla="*/ 13826 w 56900"/>
                <a:gd name="connsiteY5" fmla="*/ 23593 h 40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900" h="40151">
                  <a:moveTo>
                    <a:pt x="13826" y="23593"/>
                  </a:moveTo>
                  <a:cubicBezTo>
                    <a:pt x="8307" y="18074"/>
                    <a:pt x="3938" y="11636"/>
                    <a:pt x="948" y="4622"/>
                  </a:cubicBezTo>
                  <a:lnTo>
                    <a:pt x="0" y="0"/>
                  </a:lnTo>
                  <a:lnTo>
                    <a:pt x="56900" y="39441"/>
                  </a:lnTo>
                  <a:lnTo>
                    <a:pt x="55218" y="40151"/>
                  </a:lnTo>
                  <a:cubicBezTo>
                    <a:pt x="39581" y="40151"/>
                    <a:pt x="24864" y="34631"/>
                    <a:pt x="13826" y="2359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6" name="Forme libre : forme 495">
              <a:extLst>
                <a:ext uri="{FF2B5EF4-FFF2-40B4-BE49-F238E27FC236}">
                  <a16:creationId xmlns:a16="http://schemas.microsoft.com/office/drawing/2014/main" id="{7E303E9D-76C1-4789-8C9D-5012551E179C}"/>
                </a:ext>
              </a:extLst>
            </p:cNvPr>
            <p:cNvSpPr/>
            <p:nvPr/>
          </p:nvSpPr>
          <p:spPr>
            <a:xfrm rot="8716295">
              <a:off x="-21324" y="4100649"/>
              <a:ext cx="79113" cy="50123"/>
            </a:xfrm>
            <a:custGeom>
              <a:avLst/>
              <a:gdLst>
                <a:gd name="connsiteX0" fmla="*/ 0 w 79113"/>
                <a:gd name="connsiteY0" fmla="*/ 50123 h 50123"/>
                <a:gd name="connsiteX1" fmla="*/ 0 w 79113"/>
                <a:gd name="connsiteY1" fmla="*/ 0 h 50123"/>
                <a:gd name="connsiteX2" fmla="*/ 79113 w 79113"/>
                <a:gd name="connsiteY2" fmla="*/ 0 h 50123"/>
                <a:gd name="connsiteX3" fmla="*/ 44369 w 79113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113" h="50123">
                  <a:moveTo>
                    <a:pt x="0" y="50123"/>
                  </a:moveTo>
                  <a:lnTo>
                    <a:pt x="0" y="0"/>
                  </a:lnTo>
                  <a:lnTo>
                    <a:pt x="79113" y="0"/>
                  </a:lnTo>
                  <a:lnTo>
                    <a:pt x="44369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7" name="Forme libre : forme 496">
              <a:extLst>
                <a:ext uri="{FF2B5EF4-FFF2-40B4-BE49-F238E27FC236}">
                  <a16:creationId xmlns:a16="http://schemas.microsoft.com/office/drawing/2014/main" id="{02FDD4B8-F673-41A9-915D-2FF1DD6CBE6F}"/>
                </a:ext>
              </a:extLst>
            </p:cNvPr>
            <p:cNvSpPr/>
            <p:nvPr/>
          </p:nvSpPr>
          <p:spPr>
            <a:xfrm rot="8716295">
              <a:off x="-40457" y="398156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8" name="Forme libre : forme 497">
              <a:extLst>
                <a:ext uri="{FF2B5EF4-FFF2-40B4-BE49-F238E27FC236}">
                  <a16:creationId xmlns:a16="http://schemas.microsoft.com/office/drawing/2014/main" id="{DBB3B685-0513-450E-A467-E28F77542517}"/>
                </a:ext>
              </a:extLst>
            </p:cNvPr>
            <p:cNvSpPr/>
            <p:nvPr/>
          </p:nvSpPr>
          <p:spPr>
            <a:xfrm rot="7484129">
              <a:off x="-46974" y="427316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9" name="Forme libre : forme 498">
              <a:extLst>
                <a:ext uri="{FF2B5EF4-FFF2-40B4-BE49-F238E27FC236}">
                  <a16:creationId xmlns:a16="http://schemas.microsoft.com/office/drawing/2014/main" id="{C5419776-A8A1-4E3C-9093-D945DA9FAC68}"/>
                </a:ext>
              </a:extLst>
            </p:cNvPr>
            <p:cNvSpPr/>
            <p:nvPr/>
          </p:nvSpPr>
          <p:spPr>
            <a:xfrm rot="13089394">
              <a:off x="57846" y="423970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0" name="Forme libre : forme 499">
              <a:extLst>
                <a:ext uri="{FF2B5EF4-FFF2-40B4-BE49-F238E27FC236}">
                  <a16:creationId xmlns:a16="http://schemas.microsoft.com/office/drawing/2014/main" id="{F97D67FD-E4E6-48C4-AEFE-555D34A356DE}"/>
                </a:ext>
              </a:extLst>
            </p:cNvPr>
            <p:cNvSpPr/>
            <p:nvPr/>
          </p:nvSpPr>
          <p:spPr>
            <a:xfrm rot="8716295">
              <a:off x="243431" y="404801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1" name="Forme libre : forme 500">
              <a:extLst>
                <a:ext uri="{FF2B5EF4-FFF2-40B4-BE49-F238E27FC236}">
                  <a16:creationId xmlns:a16="http://schemas.microsoft.com/office/drawing/2014/main" id="{BCE94871-8BA1-45A9-8930-C2F42EF9B5F3}"/>
                </a:ext>
              </a:extLst>
            </p:cNvPr>
            <p:cNvSpPr/>
            <p:nvPr/>
          </p:nvSpPr>
          <p:spPr>
            <a:xfrm rot="8716295">
              <a:off x="191626" y="39444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2" name="Forme libre : forme 501">
              <a:extLst>
                <a:ext uri="{FF2B5EF4-FFF2-40B4-BE49-F238E27FC236}">
                  <a16:creationId xmlns:a16="http://schemas.microsoft.com/office/drawing/2014/main" id="{04CBAE1D-449E-47DE-9709-A831A36DA439}"/>
                </a:ext>
              </a:extLst>
            </p:cNvPr>
            <p:cNvSpPr/>
            <p:nvPr/>
          </p:nvSpPr>
          <p:spPr>
            <a:xfrm rot="8716295">
              <a:off x="125832" y="381540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3" name="Forme libre : forme 502">
              <a:extLst>
                <a:ext uri="{FF2B5EF4-FFF2-40B4-BE49-F238E27FC236}">
                  <a16:creationId xmlns:a16="http://schemas.microsoft.com/office/drawing/2014/main" id="{2F83938F-B075-4593-8D11-BBF0A979A7C6}"/>
                </a:ext>
              </a:extLst>
            </p:cNvPr>
            <p:cNvSpPr/>
            <p:nvPr/>
          </p:nvSpPr>
          <p:spPr>
            <a:xfrm rot="8716295">
              <a:off x="-73048" y="4876828"/>
              <a:ext cx="221382" cy="253349"/>
            </a:xfrm>
            <a:custGeom>
              <a:avLst/>
              <a:gdLst>
                <a:gd name="connsiteX0" fmla="*/ 51490 w 221382"/>
                <a:gd name="connsiteY0" fmla="*/ 253349 h 253349"/>
                <a:gd name="connsiteX1" fmla="*/ 51490 w 221382"/>
                <a:gd name="connsiteY1" fmla="*/ 44199 h 253349"/>
                <a:gd name="connsiteX2" fmla="*/ 0 w 221382"/>
                <a:gd name="connsiteY2" fmla="*/ 44199 h 253349"/>
                <a:gd name="connsiteX3" fmla="*/ 0 w 221382"/>
                <a:gd name="connsiteY3" fmla="*/ 0 h 253349"/>
                <a:gd name="connsiteX4" fmla="*/ 104803 w 221382"/>
                <a:gd name="connsiteY4" fmla="*/ 0 h 253349"/>
                <a:gd name="connsiteX5" fmla="*/ 104802 w 221382"/>
                <a:gd name="connsiteY5" fmla="*/ 73817 h 253349"/>
                <a:gd name="connsiteX6" fmla="*/ 106169 w 221382"/>
                <a:gd name="connsiteY6" fmla="*/ 73817 h 253349"/>
                <a:gd name="connsiteX7" fmla="*/ 154014 w 221382"/>
                <a:gd name="connsiteY7" fmla="*/ 4556 h 253349"/>
                <a:gd name="connsiteX8" fmla="*/ 174650 w 221382"/>
                <a:gd name="connsiteY8" fmla="*/ 668 h 253349"/>
                <a:gd name="connsiteX9" fmla="*/ 214075 w 221382"/>
                <a:gd name="connsiteY9" fmla="*/ 27996 h 253349"/>
                <a:gd name="connsiteX10" fmla="*/ 221382 w 221382"/>
                <a:gd name="connsiteY10" fmla="*/ 33060 h 253349"/>
                <a:gd name="connsiteX11" fmla="*/ 195540 w 221382"/>
                <a:gd name="connsiteY11" fmla="*/ 70341 h 253349"/>
                <a:gd name="connsiteX12" fmla="*/ 189157 w 221382"/>
                <a:gd name="connsiteY12" fmla="*/ 50236 h 253349"/>
                <a:gd name="connsiteX13" fmla="*/ 164950 w 221382"/>
                <a:gd name="connsiteY13" fmla="*/ 38731 h 253349"/>
                <a:gd name="connsiteX14" fmla="*/ 111638 w 221382"/>
                <a:gd name="connsiteY14" fmla="*/ 126218 h 253349"/>
                <a:gd name="connsiteX15" fmla="*/ 111638 w 221382"/>
                <a:gd name="connsiteY15" fmla="*/ 191383 h 253349"/>
                <a:gd name="connsiteX16" fmla="*/ 84096 w 221382"/>
                <a:gd name="connsiteY16" fmla="*/ 231117 h 253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1382" h="253349">
                  <a:moveTo>
                    <a:pt x="51490" y="253349"/>
                  </a:moveTo>
                  <a:lnTo>
                    <a:pt x="51490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104803" y="0"/>
                  </a:lnTo>
                  <a:lnTo>
                    <a:pt x="104802" y="73817"/>
                  </a:lnTo>
                  <a:lnTo>
                    <a:pt x="106169" y="73817"/>
                  </a:lnTo>
                  <a:cubicBezTo>
                    <a:pt x="120751" y="30529"/>
                    <a:pt x="132142" y="13670"/>
                    <a:pt x="154014" y="4556"/>
                  </a:cubicBezTo>
                  <a:lnTo>
                    <a:pt x="174650" y="668"/>
                  </a:lnTo>
                  <a:lnTo>
                    <a:pt x="214075" y="27996"/>
                  </a:lnTo>
                  <a:lnTo>
                    <a:pt x="221382" y="33060"/>
                  </a:lnTo>
                  <a:lnTo>
                    <a:pt x="195540" y="70341"/>
                  </a:lnTo>
                  <a:lnTo>
                    <a:pt x="189157" y="50236"/>
                  </a:lnTo>
                  <a:cubicBezTo>
                    <a:pt x="183177" y="42946"/>
                    <a:pt x="174747" y="38731"/>
                    <a:pt x="164950" y="38731"/>
                  </a:cubicBezTo>
                  <a:cubicBezTo>
                    <a:pt x="135788" y="38731"/>
                    <a:pt x="111638" y="77463"/>
                    <a:pt x="111638" y="126218"/>
                  </a:cubicBezTo>
                  <a:lnTo>
                    <a:pt x="111638" y="191383"/>
                  </a:lnTo>
                  <a:lnTo>
                    <a:pt x="84096" y="2311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4" name="Forme libre : forme 503">
              <a:extLst>
                <a:ext uri="{FF2B5EF4-FFF2-40B4-BE49-F238E27FC236}">
                  <a16:creationId xmlns:a16="http://schemas.microsoft.com/office/drawing/2014/main" id="{BCB8F26A-8D9E-4DAA-BBEC-C72C4F89205F}"/>
                </a:ext>
              </a:extLst>
            </p:cNvPr>
            <p:cNvSpPr/>
            <p:nvPr/>
          </p:nvSpPr>
          <p:spPr>
            <a:xfrm rot="8716295">
              <a:off x="93318" y="46120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5" name="Forme libre : forme 504">
              <a:extLst>
                <a:ext uri="{FF2B5EF4-FFF2-40B4-BE49-F238E27FC236}">
                  <a16:creationId xmlns:a16="http://schemas.microsoft.com/office/drawing/2014/main" id="{81732388-5ACB-454A-B491-3EF6429CC57C}"/>
                </a:ext>
              </a:extLst>
            </p:cNvPr>
            <p:cNvSpPr/>
            <p:nvPr/>
          </p:nvSpPr>
          <p:spPr>
            <a:xfrm rot="8716295">
              <a:off x="182710" y="46412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6" name="Forme libre : forme 505">
              <a:extLst>
                <a:ext uri="{FF2B5EF4-FFF2-40B4-BE49-F238E27FC236}">
                  <a16:creationId xmlns:a16="http://schemas.microsoft.com/office/drawing/2014/main" id="{7C87F3BF-43A4-45FA-839A-23BBD5B5D4BE}"/>
                </a:ext>
              </a:extLst>
            </p:cNvPr>
            <p:cNvSpPr/>
            <p:nvPr/>
          </p:nvSpPr>
          <p:spPr>
            <a:xfrm rot="8716295">
              <a:off x="-14524" y="4699631"/>
              <a:ext cx="49997" cy="54238"/>
            </a:xfrm>
            <a:custGeom>
              <a:avLst/>
              <a:gdLst>
                <a:gd name="connsiteX0" fmla="*/ 8658 w 49997"/>
                <a:gd name="connsiteY0" fmla="*/ 50123 h 54238"/>
                <a:gd name="connsiteX1" fmla="*/ 0 w 49997"/>
                <a:gd name="connsiteY1" fmla="*/ 29619 h 54238"/>
                <a:gd name="connsiteX2" fmla="*/ 0 w 49997"/>
                <a:gd name="connsiteY2" fmla="*/ 29162 h 54238"/>
                <a:gd name="connsiteX3" fmla="*/ 8658 w 49997"/>
                <a:gd name="connsiteY3" fmla="*/ 8658 h 54238"/>
                <a:gd name="connsiteX4" fmla="*/ 29163 w 49997"/>
                <a:gd name="connsiteY4" fmla="*/ 0 h 54238"/>
                <a:gd name="connsiteX5" fmla="*/ 49668 w 49997"/>
                <a:gd name="connsiteY5" fmla="*/ 8658 h 54238"/>
                <a:gd name="connsiteX6" fmla="*/ 49997 w 49997"/>
                <a:gd name="connsiteY6" fmla="*/ 9441 h 54238"/>
                <a:gd name="connsiteX7" fmla="*/ 18945 w 49997"/>
                <a:gd name="connsiteY7" fmla="*/ 54238 h 54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997" h="54238">
                  <a:moveTo>
                    <a:pt x="8658" y="50123"/>
                  </a:moveTo>
                  <a:cubicBezTo>
                    <a:pt x="3190" y="44655"/>
                    <a:pt x="0" y="37365"/>
                    <a:pt x="0" y="29619"/>
                  </a:cubicBezTo>
                  <a:lnTo>
                    <a:pt x="0" y="29162"/>
                  </a:lnTo>
                  <a:cubicBezTo>
                    <a:pt x="0" y="21417"/>
                    <a:pt x="3190" y="14126"/>
                    <a:pt x="8658" y="8658"/>
                  </a:cubicBezTo>
                  <a:cubicBezTo>
                    <a:pt x="14126" y="3190"/>
                    <a:pt x="21416" y="0"/>
                    <a:pt x="29163" y="0"/>
                  </a:cubicBezTo>
                  <a:cubicBezTo>
                    <a:pt x="36909" y="0"/>
                    <a:pt x="44200" y="3190"/>
                    <a:pt x="49668" y="8658"/>
                  </a:cubicBezTo>
                  <a:lnTo>
                    <a:pt x="49997" y="9441"/>
                  </a:lnTo>
                  <a:lnTo>
                    <a:pt x="18945" y="54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7" name="Forme libre : forme 506">
              <a:extLst>
                <a:ext uri="{FF2B5EF4-FFF2-40B4-BE49-F238E27FC236}">
                  <a16:creationId xmlns:a16="http://schemas.microsoft.com/office/drawing/2014/main" id="{462FB9FF-D95F-4684-BB21-FBBABD5DD31F}"/>
                </a:ext>
              </a:extLst>
            </p:cNvPr>
            <p:cNvSpPr/>
            <p:nvPr/>
          </p:nvSpPr>
          <p:spPr>
            <a:xfrm rot="8716295">
              <a:off x="-30327" y="4579755"/>
              <a:ext cx="113346" cy="71024"/>
            </a:xfrm>
            <a:custGeom>
              <a:avLst/>
              <a:gdLst>
                <a:gd name="connsiteX0" fmla="*/ 0 w 113346"/>
                <a:gd name="connsiteY0" fmla="*/ 55323 h 71024"/>
                <a:gd name="connsiteX1" fmla="*/ 0 w 113346"/>
                <a:gd name="connsiteY1" fmla="*/ 0 h 71024"/>
                <a:gd name="connsiteX2" fmla="*/ 113346 w 113346"/>
                <a:gd name="connsiteY2" fmla="*/ 0 h 71024"/>
                <a:gd name="connsiteX3" fmla="*/ 64114 w 113346"/>
                <a:gd name="connsiteY3" fmla="*/ 71024 h 71024"/>
                <a:gd name="connsiteX4" fmla="*/ 69777 w 113346"/>
                <a:gd name="connsiteY4" fmla="*/ 55323 h 7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346" h="71024">
                  <a:moveTo>
                    <a:pt x="0" y="55323"/>
                  </a:moveTo>
                  <a:lnTo>
                    <a:pt x="0" y="0"/>
                  </a:lnTo>
                  <a:lnTo>
                    <a:pt x="113346" y="0"/>
                  </a:lnTo>
                  <a:lnTo>
                    <a:pt x="64114" y="71024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8" name="Forme libre : forme 507">
              <a:extLst>
                <a:ext uri="{FF2B5EF4-FFF2-40B4-BE49-F238E27FC236}">
                  <a16:creationId xmlns:a16="http://schemas.microsoft.com/office/drawing/2014/main" id="{67567764-034B-4A90-A05F-295129068706}"/>
                </a:ext>
              </a:extLst>
            </p:cNvPr>
            <p:cNvSpPr/>
            <p:nvPr/>
          </p:nvSpPr>
          <p:spPr>
            <a:xfrm rot="8716295">
              <a:off x="71262" y="47415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9" name="Forme libre : forme 508">
              <a:extLst>
                <a:ext uri="{FF2B5EF4-FFF2-40B4-BE49-F238E27FC236}">
                  <a16:creationId xmlns:a16="http://schemas.microsoft.com/office/drawing/2014/main" id="{0224BB71-E49A-401D-8E10-A43693404F59}"/>
                </a:ext>
              </a:extLst>
            </p:cNvPr>
            <p:cNvSpPr/>
            <p:nvPr/>
          </p:nvSpPr>
          <p:spPr>
            <a:xfrm rot="7484129">
              <a:off x="172059" y="493353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170341 w 203847"/>
                <a:gd name="connsiteY5" fmla="*/ 0 h 195874"/>
                <a:gd name="connsiteX6" fmla="*/ 203847 w 203847"/>
                <a:gd name="connsiteY6" fmla="*/ 48325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170341" y="0"/>
                  </a:lnTo>
                  <a:lnTo>
                    <a:pt x="203847" y="48325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0" name="Forme libre : forme 509">
              <a:extLst>
                <a:ext uri="{FF2B5EF4-FFF2-40B4-BE49-F238E27FC236}">
                  <a16:creationId xmlns:a16="http://schemas.microsoft.com/office/drawing/2014/main" id="{02C7DC92-22CE-4278-8FF3-A3AB1608AA63}"/>
                </a:ext>
              </a:extLst>
            </p:cNvPr>
            <p:cNvSpPr/>
            <p:nvPr/>
          </p:nvSpPr>
          <p:spPr>
            <a:xfrm rot="13089394">
              <a:off x="313263" y="4907079"/>
              <a:ext cx="272584" cy="221720"/>
            </a:xfrm>
            <a:custGeom>
              <a:avLst/>
              <a:gdLst>
                <a:gd name="connsiteX0" fmla="*/ 272584 w 272584"/>
                <a:gd name="connsiteY0" fmla="*/ 150928 h 221720"/>
                <a:gd name="connsiteX1" fmla="*/ 91597 w 272584"/>
                <a:gd name="connsiteY1" fmla="*/ 221557 h 221720"/>
                <a:gd name="connsiteX2" fmla="*/ 23727 w 272584"/>
                <a:gd name="connsiteY2" fmla="*/ 193967 h 221720"/>
                <a:gd name="connsiteX3" fmla="*/ 0 w 272584"/>
                <a:gd name="connsiteY3" fmla="*/ 99060 h 221720"/>
                <a:gd name="connsiteX4" fmla="*/ 0 w 272584"/>
                <a:gd name="connsiteY4" fmla="*/ 58265 h 221720"/>
                <a:gd name="connsiteX5" fmla="*/ 74157 w 272584"/>
                <a:gd name="connsiteY5" fmla="*/ 0 h 221720"/>
                <a:gd name="connsiteX6" fmla="*/ 74492 w 272584"/>
                <a:gd name="connsiteY6" fmla="*/ 46640 h 221720"/>
                <a:gd name="connsiteX7" fmla="*/ 87734 w 272584"/>
                <a:gd name="connsiteY7" fmla="*/ 138237 h 221720"/>
                <a:gd name="connsiteX8" fmla="*/ 153949 w 272584"/>
                <a:gd name="connsiteY8" fmla="*/ 174655 h 221720"/>
                <a:gd name="connsiteX9" fmla="*/ 203610 w 272584"/>
                <a:gd name="connsiteY9" fmla="*/ 165826 h 221720"/>
                <a:gd name="connsiteX10" fmla="*/ 271480 w 272584"/>
                <a:gd name="connsiteY10" fmla="*/ 138237 h 221720"/>
                <a:gd name="connsiteX11" fmla="*/ 272584 w 272584"/>
                <a:gd name="connsiteY11" fmla="*/ 145410 h 22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2584" h="221720">
                  <a:moveTo>
                    <a:pt x="272584" y="150928"/>
                  </a:moveTo>
                  <a:cubicBezTo>
                    <a:pt x="214094" y="201141"/>
                    <a:pt x="137395" y="218798"/>
                    <a:pt x="91597" y="221557"/>
                  </a:cubicBezTo>
                  <a:cubicBezTo>
                    <a:pt x="66215" y="223213"/>
                    <a:pt x="41384" y="212177"/>
                    <a:pt x="23727" y="193967"/>
                  </a:cubicBezTo>
                  <a:cubicBezTo>
                    <a:pt x="4966" y="175759"/>
                    <a:pt x="0" y="144306"/>
                    <a:pt x="0" y="99060"/>
                  </a:cubicBezTo>
                  <a:lnTo>
                    <a:pt x="0" y="58265"/>
                  </a:lnTo>
                  <a:lnTo>
                    <a:pt x="74157" y="0"/>
                  </a:lnTo>
                  <a:lnTo>
                    <a:pt x="74492" y="46640"/>
                  </a:lnTo>
                  <a:cubicBezTo>
                    <a:pt x="72836" y="77540"/>
                    <a:pt x="77802" y="108992"/>
                    <a:pt x="87734" y="138237"/>
                  </a:cubicBezTo>
                  <a:cubicBezTo>
                    <a:pt x="96563" y="162515"/>
                    <a:pt x="119186" y="174655"/>
                    <a:pt x="153949" y="174655"/>
                  </a:cubicBezTo>
                  <a:cubicBezTo>
                    <a:pt x="171055" y="174103"/>
                    <a:pt x="187608" y="170792"/>
                    <a:pt x="203610" y="165826"/>
                  </a:cubicBezTo>
                  <a:cubicBezTo>
                    <a:pt x="226785" y="158653"/>
                    <a:pt x="249409" y="149273"/>
                    <a:pt x="271480" y="138237"/>
                  </a:cubicBezTo>
                  <a:cubicBezTo>
                    <a:pt x="272032" y="140444"/>
                    <a:pt x="272584" y="143203"/>
                    <a:pt x="272584" y="1454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1" name="Forme libre : forme 510">
              <a:extLst>
                <a:ext uri="{FF2B5EF4-FFF2-40B4-BE49-F238E27FC236}">
                  <a16:creationId xmlns:a16="http://schemas.microsoft.com/office/drawing/2014/main" id="{2684AFDD-CDE2-41B8-A59C-E03D9F5FB899}"/>
                </a:ext>
              </a:extLst>
            </p:cNvPr>
            <p:cNvSpPr/>
            <p:nvPr/>
          </p:nvSpPr>
          <p:spPr>
            <a:xfrm rot="8716295">
              <a:off x="466598" y="470771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2" name="Forme libre : forme 511">
              <a:extLst>
                <a:ext uri="{FF2B5EF4-FFF2-40B4-BE49-F238E27FC236}">
                  <a16:creationId xmlns:a16="http://schemas.microsoft.com/office/drawing/2014/main" id="{874191D1-5A8A-4106-89BC-E4DE3F05FDFC}"/>
                </a:ext>
              </a:extLst>
            </p:cNvPr>
            <p:cNvSpPr/>
            <p:nvPr/>
          </p:nvSpPr>
          <p:spPr>
            <a:xfrm rot="8716295">
              <a:off x="414793" y="460412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3" name="Forme libre : forme 512">
              <a:extLst>
                <a:ext uri="{FF2B5EF4-FFF2-40B4-BE49-F238E27FC236}">
                  <a16:creationId xmlns:a16="http://schemas.microsoft.com/office/drawing/2014/main" id="{8D49479A-E710-4758-BEAF-44161F8FF530}"/>
                </a:ext>
              </a:extLst>
            </p:cNvPr>
            <p:cNvSpPr/>
            <p:nvPr/>
          </p:nvSpPr>
          <p:spPr>
            <a:xfrm rot="8716295">
              <a:off x="171547" y="46343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4" name="Forme libre : forme 513">
              <a:extLst>
                <a:ext uri="{FF2B5EF4-FFF2-40B4-BE49-F238E27FC236}">
                  <a16:creationId xmlns:a16="http://schemas.microsoft.com/office/drawing/2014/main" id="{0D3E5977-ABDE-469A-8B37-82662D2EE7DA}"/>
                </a:ext>
              </a:extLst>
            </p:cNvPr>
            <p:cNvSpPr/>
            <p:nvPr/>
          </p:nvSpPr>
          <p:spPr>
            <a:xfrm rot="8716295">
              <a:off x="348999" y="44751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528" name="Espace réservé du texte 527">
            <a:extLst>
              <a:ext uri="{FF2B5EF4-FFF2-40B4-BE49-F238E27FC236}">
                <a16:creationId xmlns:a16="http://schemas.microsoft.com/office/drawing/2014/main" id="{6A8E0876-8CB4-4156-A0C1-0BC7361D1C40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429470" y="3802408"/>
            <a:ext cx="108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29" name="Espace réservé du texte 528">
            <a:extLst>
              <a:ext uri="{FF2B5EF4-FFF2-40B4-BE49-F238E27FC236}">
                <a16:creationId xmlns:a16="http://schemas.microsoft.com/office/drawing/2014/main" id="{20C5F896-3CE3-44F8-B5B2-F667F9101641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1512561" y="3802408"/>
            <a:ext cx="108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rgbClr val="3A1B0B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31" name="Espace réservé du texte 530">
            <a:extLst>
              <a:ext uri="{FF2B5EF4-FFF2-40B4-BE49-F238E27FC236}">
                <a16:creationId xmlns:a16="http://schemas.microsoft.com/office/drawing/2014/main" id="{70ADA97F-36B2-42A5-9506-18C5EA9C6E0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3993" y="482179"/>
            <a:ext cx="2495932" cy="302805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24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3pPr>
            <a:lvl4pPr marL="0" indent="0">
              <a:buNone/>
              <a:defRPr sz="1000">
                <a:solidFill>
                  <a:schemeClr val="bg1"/>
                </a:solidFill>
              </a:defRPr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Niveau 2</a:t>
            </a:r>
          </a:p>
          <a:p>
            <a:pPr lvl="2"/>
            <a:r>
              <a:rPr lang="fr-FR" dirty="0"/>
              <a:t>Niveau 3</a:t>
            </a:r>
          </a:p>
          <a:p>
            <a:pPr lvl="3"/>
            <a:r>
              <a:rPr lang="fr-FR" dirty="0"/>
              <a:t>Niveau 4</a:t>
            </a:r>
          </a:p>
        </p:txBody>
      </p:sp>
      <p:sp>
        <p:nvSpPr>
          <p:cNvPr id="534" name="Espace réservé du texte 533">
            <a:extLst>
              <a:ext uri="{FF2B5EF4-FFF2-40B4-BE49-F238E27FC236}">
                <a16:creationId xmlns:a16="http://schemas.microsoft.com/office/drawing/2014/main" id="{6A4C2977-D550-4471-9F3E-815F6F49158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11668" y="507082"/>
            <a:ext cx="5068800" cy="4129200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300"/>
              </a:spcBef>
              <a:spcAft>
                <a:spcPts val="1000"/>
              </a:spcAft>
              <a:buNone/>
              <a:defRPr sz="1400">
                <a:solidFill>
                  <a:schemeClr val="tx1"/>
                </a:solidFill>
              </a:defRPr>
            </a:lvl2pPr>
            <a:lvl3pPr marL="270000" indent="-270000" algn="l" defTabSz="457200" rtl="0" eaLnBrk="1" latinLnBrk="0" hangingPunct="1">
              <a:spcBef>
                <a:spcPts val="400"/>
              </a:spcBef>
              <a:spcAft>
                <a:spcPts val="1000"/>
              </a:spcAft>
              <a:buSzPct val="100000"/>
              <a:buFontTx/>
              <a:buBlip>
                <a:blip r:embed="rId2"/>
              </a:buBlip>
              <a:defRPr lang="fr-FR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0000" indent="-269875">
              <a:spcBef>
                <a:spcPts val="400"/>
              </a:spcBef>
              <a:spcAft>
                <a:spcPts val="1000"/>
              </a:spcAft>
              <a:buFontTx/>
              <a:buBlip>
                <a:blip r:embed="rId3"/>
              </a:buBlip>
              <a:defRPr sz="1400" b="1">
                <a:solidFill>
                  <a:schemeClr val="tx1"/>
                </a:solidFill>
              </a:defRPr>
            </a:lvl4pPr>
            <a:lvl5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4"/>
              </a:buBlip>
              <a:defRPr sz="1400" b="1">
                <a:solidFill>
                  <a:schemeClr val="tx1"/>
                </a:solidFill>
              </a:defRPr>
            </a:lvl5pPr>
            <a:lvl6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5"/>
              </a:buBlip>
              <a:defRPr sz="1400" b="1">
                <a:solidFill>
                  <a:schemeClr val="tx1"/>
                </a:solidFill>
              </a:defRPr>
            </a:lvl6pPr>
            <a:lvl7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6"/>
              </a:buBlip>
              <a:defRPr sz="1400" b="1">
                <a:solidFill>
                  <a:schemeClr val="tx1"/>
                </a:solidFill>
              </a:defRPr>
            </a:lvl7pPr>
            <a:lvl8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7"/>
              </a:buBlip>
              <a:defRPr sz="1400" b="1">
                <a:solidFill>
                  <a:schemeClr val="tx1"/>
                </a:solidFill>
              </a:defRPr>
            </a:lvl8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Puce bleu</a:t>
            </a:r>
          </a:p>
          <a:p>
            <a:pPr lvl="3"/>
            <a:r>
              <a:rPr lang="fr-FR" dirty="0"/>
              <a:t>Puce orange</a:t>
            </a:r>
          </a:p>
          <a:p>
            <a:pPr lvl="4"/>
            <a:r>
              <a:rPr lang="fr-FR" dirty="0"/>
              <a:t>Puce rouge</a:t>
            </a:r>
          </a:p>
          <a:p>
            <a:pPr lvl="5"/>
            <a:r>
              <a:rPr lang="fr-FR" dirty="0"/>
              <a:t>Puce vert d’eau</a:t>
            </a:r>
          </a:p>
          <a:p>
            <a:pPr lvl="6"/>
            <a:r>
              <a:rPr lang="fr-FR" dirty="0"/>
              <a:t>Puce verte</a:t>
            </a:r>
          </a:p>
          <a:p>
            <a:pPr lvl="7"/>
            <a:r>
              <a:rPr lang="fr-FR" dirty="0"/>
              <a:t>Puce violette</a:t>
            </a:r>
          </a:p>
        </p:txBody>
      </p:sp>
    </p:spTree>
    <p:extLst>
      <p:ext uri="{BB962C8B-B14F-4D97-AF65-F5344CB8AC3E}">
        <p14:creationId xmlns:p14="http://schemas.microsoft.com/office/powerpoint/2010/main" val="339568018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ayures / Texte + Conten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8" name="Graphique 517">
            <a:extLst>
              <a:ext uri="{FF2B5EF4-FFF2-40B4-BE49-F238E27FC236}">
                <a16:creationId xmlns:a16="http://schemas.microsoft.com/office/drawing/2014/main" id="{9DDE0F79-02B4-4C9D-B3C3-ADF18F103B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3416312" cy="5143500"/>
          </a:xfrm>
          <a:prstGeom prst="rect">
            <a:avLst/>
          </a:prstGeom>
        </p:spPr>
      </p:pic>
      <p:sp>
        <p:nvSpPr>
          <p:cNvPr id="523" name="Forme libre : forme 522">
            <a:extLst>
              <a:ext uri="{FF2B5EF4-FFF2-40B4-BE49-F238E27FC236}">
                <a16:creationId xmlns:a16="http://schemas.microsoft.com/office/drawing/2014/main" id="{C7F1D93A-4718-405C-AAEF-810045870EFB}"/>
              </a:ext>
            </a:extLst>
          </p:cNvPr>
          <p:cNvSpPr/>
          <p:nvPr userDrawn="1"/>
        </p:nvSpPr>
        <p:spPr>
          <a:xfrm>
            <a:off x="0" y="-1"/>
            <a:ext cx="9144000" cy="5143501"/>
          </a:xfrm>
          <a:custGeom>
            <a:avLst/>
            <a:gdLst>
              <a:gd name="connsiteX0" fmla="*/ 0 w 9144000"/>
              <a:gd name="connsiteY0" fmla="*/ 0 h 5143501"/>
              <a:gd name="connsiteX1" fmla="*/ 9144000 w 9144000"/>
              <a:gd name="connsiteY1" fmla="*/ 0 h 5143501"/>
              <a:gd name="connsiteX2" fmla="*/ 9144000 w 9144000"/>
              <a:gd name="connsiteY2" fmla="*/ 5143501 h 5143501"/>
              <a:gd name="connsiteX3" fmla="*/ 3567702 w 9144000"/>
              <a:gd name="connsiteY3" fmla="*/ 5143501 h 5143501"/>
              <a:gd name="connsiteX4" fmla="*/ 3246551 w 9144000"/>
              <a:gd name="connsiteY4" fmla="*/ 2811363 h 5143501"/>
              <a:gd name="connsiteX5" fmla="*/ 3485902 w 9144000"/>
              <a:gd name="connsiteY5" fmla="*/ 1 h 5143501"/>
              <a:gd name="connsiteX6" fmla="*/ 3048000 w 9144000"/>
              <a:gd name="connsiteY6" fmla="*/ 1 h 5143501"/>
              <a:gd name="connsiteX7" fmla="*/ 2859408 w 9144000"/>
              <a:gd name="connsiteY7" fmla="*/ 1 h 5143501"/>
              <a:gd name="connsiteX8" fmla="*/ 0 w 9144000"/>
              <a:gd name="connsiteY8" fmla="*/ 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4000" h="5143501">
                <a:moveTo>
                  <a:pt x="0" y="0"/>
                </a:moveTo>
                <a:lnTo>
                  <a:pt x="9144000" y="0"/>
                </a:lnTo>
                <a:lnTo>
                  <a:pt x="9144000" y="5143501"/>
                </a:lnTo>
                <a:lnTo>
                  <a:pt x="3567702" y="5143501"/>
                </a:lnTo>
                <a:lnTo>
                  <a:pt x="3246551" y="2811363"/>
                </a:lnTo>
                <a:lnTo>
                  <a:pt x="3485902" y="1"/>
                </a:lnTo>
                <a:lnTo>
                  <a:pt x="3048000" y="1"/>
                </a:lnTo>
                <a:lnTo>
                  <a:pt x="2859408" y="1"/>
                </a:lnTo>
                <a:lnTo>
                  <a:pt x="0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528" name="Espace réservé du texte 527">
            <a:extLst>
              <a:ext uri="{FF2B5EF4-FFF2-40B4-BE49-F238E27FC236}">
                <a16:creationId xmlns:a16="http://schemas.microsoft.com/office/drawing/2014/main" id="{6A8E0876-8CB4-4156-A0C1-0BC7361D1C40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429470" y="3802408"/>
            <a:ext cx="108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29" name="Espace réservé du texte 528">
            <a:extLst>
              <a:ext uri="{FF2B5EF4-FFF2-40B4-BE49-F238E27FC236}">
                <a16:creationId xmlns:a16="http://schemas.microsoft.com/office/drawing/2014/main" id="{20C5F896-3CE3-44F8-B5B2-F667F9101641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1512561" y="3802408"/>
            <a:ext cx="108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rgbClr val="3A1B0B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31" name="Espace réservé du texte 530">
            <a:extLst>
              <a:ext uri="{FF2B5EF4-FFF2-40B4-BE49-F238E27FC236}">
                <a16:creationId xmlns:a16="http://schemas.microsoft.com/office/drawing/2014/main" id="{70ADA97F-36B2-42A5-9506-18C5EA9C6E0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3993" y="482179"/>
            <a:ext cx="2495932" cy="302805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24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3pPr>
            <a:lvl4pPr marL="0" indent="0">
              <a:buNone/>
              <a:defRPr sz="1000">
                <a:solidFill>
                  <a:schemeClr val="bg1"/>
                </a:solidFill>
              </a:defRPr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Niveau 2</a:t>
            </a:r>
          </a:p>
          <a:p>
            <a:pPr lvl="2"/>
            <a:r>
              <a:rPr lang="fr-FR" dirty="0"/>
              <a:t>Niveau 3</a:t>
            </a:r>
          </a:p>
          <a:p>
            <a:pPr lvl="3"/>
            <a:r>
              <a:rPr lang="fr-FR" dirty="0"/>
              <a:t>Niveau 4</a:t>
            </a:r>
          </a:p>
        </p:txBody>
      </p:sp>
      <p:sp>
        <p:nvSpPr>
          <p:cNvPr id="534" name="Espace réservé du texte 533">
            <a:extLst>
              <a:ext uri="{FF2B5EF4-FFF2-40B4-BE49-F238E27FC236}">
                <a16:creationId xmlns:a16="http://schemas.microsoft.com/office/drawing/2014/main" id="{6A4C2977-D550-4471-9F3E-815F6F49158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11668" y="507082"/>
            <a:ext cx="5068800" cy="4129200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300"/>
              </a:spcBef>
              <a:spcAft>
                <a:spcPts val="1000"/>
              </a:spcAft>
              <a:buNone/>
              <a:defRPr sz="1400">
                <a:solidFill>
                  <a:schemeClr val="tx1"/>
                </a:solidFill>
              </a:defRPr>
            </a:lvl2pPr>
            <a:lvl3pPr marL="270000" indent="-270000" algn="l" defTabSz="457200" rtl="0" eaLnBrk="1" latinLnBrk="0" hangingPunct="1">
              <a:spcBef>
                <a:spcPts val="400"/>
              </a:spcBef>
              <a:spcAft>
                <a:spcPts val="1000"/>
              </a:spcAft>
              <a:buSzPct val="100000"/>
              <a:buFontTx/>
              <a:buBlip>
                <a:blip r:embed="rId4"/>
              </a:buBlip>
              <a:defRPr lang="fr-FR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0000" indent="-269875">
              <a:spcBef>
                <a:spcPts val="400"/>
              </a:spcBef>
              <a:spcAft>
                <a:spcPts val="1000"/>
              </a:spcAft>
              <a:buFontTx/>
              <a:buBlip>
                <a:blip r:embed="rId5"/>
              </a:buBlip>
              <a:defRPr sz="1400" b="1">
                <a:solidFill>
                  <a:schemeClr val="tx1"/>
                </a:solidFill>
              </a:defRPr>
            </a:lvl4pPr>
            <a:lvl5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6"/>
              </a:buBlip>
              <a:defRPr sz="1400" b="1">
                <a:solidFill>
                  <a:schemeClr val="tx1"/>
                </a:solidFill>
              </a:defRPr>
            </a:lvl5pPr>
            <a:lvl6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7"/>
              </a:buBlip>
              <a:defRPr sz="1400" b="1">
                <a:solidFill>
                  <a:schemeClr val="tx1"/>
                </a:solidFill>
              </a:defRPr>
            </a:lvl6pPr>
            <a:lvl7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8"/>
              </a:buBlip>
              <a:defRPr sz="1400" b="1">
                <a:solidFill>
                  <a:schemeClr val="tx1"/>
                </a:solidFill>
              </a:defRPr>
            </a:lvl7pPr>
            <a:lvl8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9"/>
              </a:buBlip>
              <a:defRPr sz="1400" b="1">
                <a:solidFill>
                  <a:schemeClr val="tx1"/>
                </a:solidFill>
              </a:defRPr>
            </a:lvl8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Puce bleu</a:t>
            </a:r>
          </a:p>
          <a:p>
            <a:pPr lvl="3"/>
            <a:r>
              <a:rPr lang="fr-FR" dirty="0"/>
              <a:t>Puce orange</a:t>
            </a:r>
          </a:p>
          <a:p>
            <a:pPr lvl="4"/>
            <a:r>
              <a:rPr lang="fr-FR" dirty="0"/>
              <a:t>Puce rouge</a:t>
            </a:r>
          </a:p>
          <a:p>
            <a:pPr lvl="5"/>
            <a:r>
              <a:rPr lang="fr-FR" dirty="0"/>
              <a:t>Puce vert d’eau</a:t>
            </a:r>
          </a:p>
          <a:p>
            <a:pPr lvl="6"/>
            <a:r>
              <a:rPr lang="fr-FR" dirty="0"/>
              <a:t>Puce verte</a:t>
            </a:r>
          </a:p>
          <a:p>
            <a:pPr lvl="7"/>
            <a:r>
              <a:rPr lang="fr-FR" dirty="0"/>
              <a:t>Puce violette</a:t>
            </a:r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14363415-6A88-4870-B059-FE46177801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48000" y="2811362"/>
            <a:ext cx="519702" cy="2332138"/>
          </a:xfrm>
          <a:custGeom>
            <a:avLst/>
            <a:gdLst>
              <a:gd name="connsiteX0" fmla="*/ 198551 w 519702"/>
              <a:gd name="connsiteY0" fmla="*/ 0 h 2332138"/>
              <a:gd name="connsiteX1" fmla="*/ 519702 w 519702"/>
              <a:gd name="connsiteY1" fmla="*/ 2332138 h 2332138"/>
              <a:gd name="connsiteX2" fmla="*/ 0 w 519702"/>
              <a:gd name="connsiteY2" fmla="*/ 2332138 h 2332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19702" h="2332138">
                <a:moveTo>
                  <a:pt x="198551" y="0"/>
                </a:moveTo>
                <a:lnTo>
                  <a:pt x="519702" y="2332138"/>
                </a:lnTo>
                <a:lnTo>
                  <a:pt x="0" y="233213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180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979252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filtre bleu + Titre + Contenu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5" name="Espace réservé pour une image  524">
            <a:extLst>
              <a:ext uri="{FF2B5EF4-FFF2-40B4-BE49-F238E27FC236}">
                <a16:creationId xmlns:a16="http://schemas.microsoft.com/office/drawing/2014/main" id="{98410260-974C-4913-B9B1-FBF4231643C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2"/>
            <a:ext cx="3567702" cy="5143499"/>
          </a:xfrm>
          <a:custGeom>
            <a:avLst/>
            <a:gdLst>
              <a:gd name="connsiteX0" fmla="*/ 0 w 3567702"/>
              <a:gd name="connsiteY0" fmla="*/ 0 h 5143499"/>
              <a:gd name="connsiteX1" fmla="*/ 2859408 w 3567702"/>
              <a:gd name="connsiteY1" fmla="*/ 0 h 5143499"/>
              <a:gd name="connsiteX2" fmla="*/ 3048000 w 3567702"/>
              <a:gd name="connsiteY2" fmla="*/ 0 h 5143499"/>
              <a:gd name="connsiteX3" fmla="*/ 3485902 w 3567702"/>
              <a:gd name="connsiteY3" fmla="*/ 0 h 5143499"/>
              <a:gd name="connsiteX4" fmla="*/ 3246551 w 3567702"/>
              <a:gd name="connsiteY4" fmla="*/ 2811361 h 5143499"/>
              <a:gd name="connsiteX5" fmla="*/ 3246551 w 3567702"/>
              <a:gd name="connsiteY5" fmla="*/ 2811360 h 5143499"/>
              <a:gd name="connsiteX6" fmla="*/ 3048000 w 3567702"/>
              <a:gd name="connsiteY6" fmla="*/ 5143498 h 5143499"/>
              <a:gd name="connsiteX7" fmla="*/ 3567702 w 3567702"/>
              <a:gd name="connsiteY7" fmla="*/ 5143498 h 5143499"/>
              <a:gd name="connsiteX8" fmla="*/ 3567702 w 3567702"/>
              <a:gd name="connsiteY8" fmla="*/ 5143499 h 5143499"/>
              <a:gd name="connsiteX9" fmla="*/ 0 w 3567702"/>
              <a:gd name="connsiteY9" fmla="*/ 5143499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67702" h="5143499">
                <a:moveTo>
                  <a:pt x="0" y="0"/>
                </a:moveTo>
                <a:lnTo>
                  <a:pt x="2859408" y="0"/>
                </a:lnTo>
                <a:lnTo>
                  <a:pt x="3048000" y="0"/>
                </a:lnTo>
                <a:lnTo>
                  <a:pt x="3485902" y="0"/>
                </a:lnTo>
                <a:lnTo>
                  <a:pt x="3246551" y="2811361"/>
                </a:lnTo>
                <a:lnTo>
                  <a:pt x="3246551" y="2811360"/>
                </a:lnTo>
                <a:lnTo>
                  <a:pt x="3048000" y="5143498"/>
                </a:lnTo>
                <a:lnTo>
                  <a:pt x="3567702" y="5143498"/>
                </a:lnTo>
                <a:lnTo>
                  <a:pt x="3567702" y="5143499"/>
                </a:lnTo>
                <a:lnTo>
                  <a:pt x="0" y="5143499"/>
                </a:ln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fr-FR" dirty="0"/>
              <a:t>Cliquez sur l’icône</a:t>
            </a:r>
            <a:br>
              <a:rPr lang="fr-FR" dirty="0"/>
            </a:br>
            <a:r>
              <a:rPr lang="fr-FR" dirty="0"/>
              <a:t>pour ajouter une image</a:t>
            </a:r>
          </a:p>
        </p:txBody>
      </p:sp>
      <p:sp>
        <p:nvSpPr>
          <p:cNvPr id="523" name="Forme libre : forme 522">
            <a:extLst>
              <a:ext uri="{FF2B5EF4-FFF2-40B4-BE49-F238E27FC236}">
                <a16:creationId xmlns:a16="http://schemas.microsoft.com/office/drawing/2014/main" id="{C7F1D93A-4718-405C-AAEF-810045870EFB}"/>
              </a:ext>
            </a:extLst>
          </p:cNvPr>
          <p:cNvSpPr/>
          <p:nvPr userDrawn="1"/>
        </p:nvSpPr>
        <p:spPr>
          <a:xfrm>
            <a:off x="3246551" y="-1"/>
            <a:ext cx="5897449" cy="5143501"/>
          </a:xfrm>
          <a:custGeom>
            <a:avLst/>
            <a:gdLst>
              <a:gd name="connsiteX0" fmla="*/ 0 w 9144000"/>
              <a:gd name="connsiteY0" fmla="*/ 0 h 5143501"/>
              <a:gd name="connsiteX1" fmla="*/ 9144000 w 9144000"/>
              <a:gd name="connsiteY1" fmla="*/ 0 h 5143501"/>
              <a:gd name="connsiteX2" fmla="*/ 9144000 w 9144000"/>
              <a:gd name="connsiteY2" fmla="*/ 5143501 h 5143501"/>
              <a:gd name="connsiteX3" fmla="*/ 3567702 w 9144000"/>
              <a:gd name="connsiteY3" fmla="*/ 5143501 h 5143501"/>
              <a:gd name="connsiteX4" fmla="*/ 3246551 w 9144000"/>
              <a:gd name="connsiteY4" fmla="*/ 2811363 h 5143501"/>
              <a:gd name="connsiteX5" fmla="*/ 3485902 w 9144000"/>
              <a:gd name="connsiteY5" fmla="*/ 1 h 5143501"/>
              <a:gd name="connsiteX6" fmla="*/ 3048000 w 9144000"/>
              <a:gd name="connsiteY6" fmla="*/ 1 h 5143501"/>
              <a:gd name="connsiteX7" fmla="*/ 2859408 w 9144000"/>
              <a:gd name="connsiteY7" fmla="*/ 1 h 5143501"/>
              <a:gd name="connsiteX8" fmla="*/ 0 w 9144000"/>
              <a:gd name="connsiteY8" fmla="*/ 1 h 5143501"/>
              <a:gd name="connsiteX0" fmla="*/ 0 w 9144000"/>
              <a:gd name="connsiteY0" fmla="*/ 1 h 5143501"/>
              <a:gd name="connsiteX1" fmla="*/ 9144000 w 9144000"/>
              <a:gd name="connsiteY1" fmla="*/ 0 h 5143501"/>
              <a:gd name="connsiteX2" fmla="*/ 9144000 w 9144000"/>
              <a:gd name="connsiteY2" fmla="*/ 5143501 h 5143501"/>
              <a:gd name="connsiteX3" fmla="*/ 3567702 w 9144000"/>
              <a:gd name="connsiteY3" fmla="*/ 5143501 h 5143501"/>
              <a:gd name="connsiteX4" fmla="*/ 3246551 w 9144000"/>
              <a:gd name="connsiteY4" fmla="*/ 2811363 h 5143501"/>
              <a:gd name="connsiteX5" fmla="*/ 3485902 w 9144000"/>
              <a:gd name="connsiteY5" fmla="*/ 1 h 5143501"/>
              <a:gd name="connsiteX6" fmla="*/ 3048000 w 9144000"/>
              <a:gd name="connsiteY6" fmla="*/ 1 h 5143501"/>
              <a:gd name="connsiteX7" fmla="*/ 2859408 w 9144000"/>
              <a:gd name="connsiteY7" fmla="*/ 1 h 5143501"/>
              <a:gd name="connsiteX8" fmla="*/ 0 w 9144000"/>
              <a:gd name="connsiteY8" fmla="*/ 1 h 5143501"/>
              <a:gd name="connsiteX0" fmla="*/ 0 w 6284592"/>
              <a:gd name="connsiteY0" fmla="*/ 1 h 5143501"/>
              <a:gd name="connsiteX1" fmla="*/ 6284592 w 6284592"/>
              <a:gd name="connsiteY1" fmla="*/ 0 h 5143501"/>
              <a:gd name="connsiteX2" fmla="*/ 6284592 w 6284592"/>
              <a:gd name="connsiteY2" fmla="*/ 5143501 h 5143501"/>
              <a:gd name="connsiteX3" fmla="*/ 708294 w 6284592"/>
              <a:gd name="connsiteY3" fmla="*/ 5143501 h 5143501"/>
              <a:gd name="connsiteX4" fmla="*/ 387143 w 6284592"/>
              <a:gd name="connsiteY4" fmla="*/ 2811363 h 5143501"/>
              <a:gd name="connsiteX5" fmla="*/ 626494 w 6284592"/>
              <a:gd name="connsiteY5" fmla="*/ 1 h 5143501"/>
              <a:gd name="connsiteX6" fmla="*/ 188592 w 6284592"/>
              <a:gd name="connsiteY6" fmla="*/ 1 h 5143501"/>
              <a:gd name="connsiteX7" fmla="*/ 0 w 6284592"/>
              <a:gd name="connsiteY7" fmla="*/ 1 h 5143501"/>
              <a:gd name="connsiteX0" fmla="*/ 0 w 6096000"/>
              <a:gd name="connsiteY0" fmla="*/ 1 h 5143501"/>
              <a:gd name="connsiteX1" fmla="*/ 6096000 w 6096000"/>
              <a:gd name="connsiteY1" fmla="*/ 0 h 5143501"/>
              <a:gd name="connsiteX2" fmla="*/ 6096000 w 6096000"/>
              <a:gd name="connsiteY2" fmla="*/ 5143501 h 5143501"/>
              <a:gd name="connsiteX3" fmla="*/ 519702 w 6096000"/>
              <a:gd name="connsiteY3" fmla="*/ 5143501 h 5143501"/>
              <a:gd name="connsiteX4" fmla="*/ 198551 w 6096000"/>
              <a:gd name="connsiteY4" fmla="*/ 2811363 h 5143501"/>
              <a:gd name="connsiteX5" fmla="*/ 437902 w 6096000"/>
              <a:gd name="connsiteY5" fmla="*/ 1 h 5143501"/>
              <a:gd name="connsiteX6" fmla="*/ 0 w 6096000"/>
              <a:gd name="connsiteY6" fmla="*/ 1 h 5143501"/>
              <a:gd name="connsiteX0" fmla="*/ 239351 w 5897449"/>
              <a:gd name="connsiteY0" fmla="*/ 1 h 5143501"/>
              <a:gd name="connsiteX1" fmla="*/ 5897449 w 5897449"/>
              <a:gd name="connsiteY1" fmla="*/ 0 h 5143501"/>
              <a:gd name="connsiteX2" fmla="*/ 5897449 w 5897449"/>
              <a:gd name="connsiteY2" fmla="*/ 5143501 h 5143501"/>
              <a:gd name="connsiteX3" fmla="*/ 321151 w 5897449"/>
              <a:gd name="connsiteY3" fmla="*/ 5143501 h 5143501"/>
              <a:gd name="connsiteX4" fmla="*/ 0 w 5897449"/>
              <a:gd name="connsiteY4" fmla="*/ 2811363 h 5143501"/>
              <a:gd name="connsiteX5" fmla="*/ 239351 w 5897449"/>
              <a:gd name="connsiteY5" fmla="*/ 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97449" h="5143501">
                <a:moveTo>
                  <a:pt x="239351" y="1"/>
                </a:moveTo>
                <a:lnTo>
                  <a:pt x="5897449" y="0"/>
                </a:lnTo>
                <a:lnTo>
                  <a:pt x="5897449" y="5143501"/>
                </a:lnTo>
                <a:lnTo>
                  <a:pt x="321151" y="5143501"/>
                </a:lnTo>
                <a:lnTo>
                  <a:pt x="0" y="2811363"/>
                </a:lnTo>
                <a:lnTo>
                  <a:pt x="239351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534" name="Espace réservé du texte 533">
            <a:extLst>
              <a:ext uri="{FF2B5EF4-FFF2-40B4-BE49-F238E27FC236}">
                <a16:creationId xmlns:a16="http://schemas.microsoft.com/office/drawing/2014/main" id="{6A4C2977-D550-4471-9F3E-815F6F49158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11668" y="507082"/>
            <a:ext cx="5068800" cy="4129200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300"/>
              </a:spcBef>
              <a:spcAft>
                <a:spcPts val="1000"/>
              </a:spcAft>
              <a:buNone/>
              <a:defRPr sz="1400">
                <a:solidFill>
                  <a:schemeClr val="tx1"/>
                </a:solidFill>
              </a:defRPr>
            </a:lvl2pPr>
            <a:lvl3pPr marL="270000" indent="-270000" algn="l" defTabSz="457200" rtl="0" eaLnBrk="1" latinLnBrk="0" hangingPunct="1">
              <a:spcBef>
                <a:spcPts val="400"/>
              </a:spcBef>
              <a:spcAft>
                <a:spcPts val="1000"/>
              </a:spcAft>
              <a:buSzPct val="100000"/>
              <a:buFontTx/>
              <a:buBlip>
                <a:blip r:embed="rId2"/>
              </a:buBlip>
              <a:defRPr lang="fr-FR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0000" indent="-269875">
              <a:spcBef>
                <a:spcPts val="400"/>
              </a:spcBef>
              <a:spcAft>
                <a:spcPts val="1000"/>
              </a:spcAft>
              <a:buFontTx/>
              <a:buBlip>
                <a:blip r:embed="rId3"/>
              </a:buBlip>
              <a:defRPr sz="1400" b="1">
                <a:solidFill>
                  <a:schemeClr val="tx1"/>
                </a:solidFill>
              </a:defRPr>
            </a:lvl4pPr>
            <a:lvl5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4"/>
              </a:buBlip>
              <a:defRPr sz="1400" b="1">
                <a:solidFill>
                  <a:schemeClr val="tx1"/>
                </a:solidFill>
              </a:defRPr>
            </a:lvl5pPr>
            <a:lvl6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5"/>
              </a:buBlip>
              <a:defRPr sz="1400" b="1">
                <a:solidFill>
                  <a:schemeClr val="tx1"/>
                </a:solidFill>
              </a:defRPr>
            </a:lvl6pPr>
            <a:lvl7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6"/>
              </a:buBlip>
              <a:defRPr sz="1400" b="1">
                <a:solidFill>
                  <a:schemeClr val="tx1"/>
                </a:solidFill>
              </a:defRPr>
            </a:lvl7pPr>
            <a:lvl8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7"/>
              </a:buBlip>
              <a:defRPr sz="1400" b="1">
                <a:solidFill>
                  <a:schemeClr val="tx1"/>
                </a:solidFill>
              </a:defRPr>
            </a:lvl8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Puce bleu</a:t>
            </a:r>
          </a:p>
          <a:p>
            <a:pPr lvl="3"/>
            <a:r>
              <a:rPr lang="fr-FR" dirty="0"/>
              <a:t>Puce orange</a:t>
            </a:r>
          </a:p>
          <a:p>
            <a:pPr lvl="4"/>
            <a:r>
              <a:rPr lang="fr-FR" dirty="0"/>
              <a:t>Puce rouge</a:t>
            </a:r>
          </a:p>
          <a:p>
            <a:pPr lvl="5"/>
            <a:r>
              <a:rPr lang="fr-FR" dirty="0"/>
              <a:t>Puce vert d’eau</a:t>
            </a:r>
          </a:p>
          <a:p>
            <a:pPr lvl="6"/>
            <a:r>
              <a:rPr lang="fr-FR" dirty="0"/>
              <a:t>Puce verte</a:t>
            </a:r>
          </a:p>
          <a:p>
            <a:pPr lvl="7"/>
            <a:r>
              <a:rPr lang="fr-FR" dirty="0"/>
              <a:t>Puce violette</a:t>
            </a:r>
          </a:p>
        </p:txBody>
      </p:sp>
      <p:sp>
        <p:nvSpPr>
          <p:cNvPr id="536" name="Espace réservé du texte 535">
            <a:extLst>
              <a:ext uri="{FF2B5EF4-FFF2-40B4-BE49-F238E27FC236}">
                <a16:creationId xmlns:a16="http://schemas.microsoft.com/office/drawing/2014/main" id="{FDBBC0BA-813C-472C-8014-D20CA63A20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-6824" y="0"/>
            <a:ext cx="3492727" cy="2565779"/>
          </a:xfrm>
          <a:custGeom>
            <a:avLst/>
            <a:gdLst>
              <a:gd name="connsiteX0" fmla="*/ 3353602 w 4086971"/>
              <a:gd name="connsiteY0" fmla="*/ 3588742 h 5143499"/>
              <a:gd name="connsiteX1" fmla="*/ 3567703 w 4086971"/>
              <a:gd name="connsiteY1" fmla="*/ 5143499 h 5143499"/>
              <a:gd name="connsiteX2" fmla="*/ 3567703 w 4086971"/>
              <a:gd name="connsiteY2" fmla="*/ 5143499 h 5143499"/>
              <a:gd name="connsiteX3" fmla="*/ 0 w 4086971"/>
              <a:gd name="connsiteY3" fmla="*/ 0 h 5143499"/>
              <a:gd name="connsiteX4" fmla="*/ 4086971 w 4086971"/>
              <a:gd name="connsiteY4" fmla="*/ 0 h 5143499"/>
              <a:gd name="connsiteX5" fmla="*/ 4086971 w 4086971"/>
              <a:gd name="connsiteY5" fmla="*/ 1 h 5143499"/>
              <a:gd name="connsiteX6" fmla="*/ 1 w 4086971"/>
              <a:gd name="connsiteY6" fmla="*/ 1 h 5143499"/>
              <a:gd name="connsiteX7" fmla="*/ 1 w 4086971"/>
              <a:gd name="connsiteY7" fmla="*/ 2 h 5143499"/>
              <a:gd name="connsiteX8" fmla="*/ 2859409 w 4086971"/>
              <a:gd name="connsiteY8" fmla="*/ 2 h 5143499"/>
              <a:gd name="connsiteX9" fmla="*/ 3048001 w 4086971"/>
              <a:gd name="connsiteY9" fmla="*/ 2 h 5143499"/>
              <a:gd name="connsiteX10" fmla="*/ 3485903 w 4086971"/>
              <a:gd name="connsiteY10" fmla="*/ 2 h 5143499"/>
              <a:gd name="connsiteX11" fmla="*/ 3246552 w 4086971"/>
              <a:gd name="connsiteY11" fmla="*/ 2811363 h 5143499"/>
              <a:gd name="connsiteX12" fmla="*/ 3246552 w 4086971"/>
              <a:gd name="connsiteY12" fmla="*/ 2811363 h 5143499"/>
              <a:gd name="connsiteX13" fmla="*/ 3048001 w 4086971"/>
              <a:gd name="connsiteY13" fmla="*/ 5143499 h 5143499"/>
              <a:gd name="connsiteX14" fmla="*/ 0 w 4086971"/>
              <a:gd name="connsiteY14" fmla="*/ 5143499 h 5143499"/>
              <a:gd name="connsiteX0" fmla="*/ 3353602 w 4086971"/>
              <a:gd name="connsiteY0" fmla="*/ 3588742 h 5143499"/>
              <a:gd name="connsiteX1" fmla="*/ 3567703 w 4086971"/>
              <a:gd name="connsiteY1" fmla="*/ 5143499 h 5143499"/>
              <a:gd name="connsiteX2" fmla="*/ 3567703 w 4086971"/>
              <a:gd name="connsiteY2" fmla="*/ 5143499 h 5143499"/>
              <a:gd name="connsiteX3" fmla="*/ 3353602 w 4086971"/>
              <a:gd name="connsiteY3" fmla="*/ 3588742 h 5143499"/>
              <a:gd name="connsiteX4" fmla="*/ 0 w 4086971"/>
              <a:gd name="connsiteY4" fmla="*/ 0 h 5143499"/>
              <a:gd name="connsiteX5" fmla="*/ 4086971 w 4086971"/>
              <a:gd name="connsiteY5" fmla="*/ 0 h 5143499"/>
              <a:gd name="connsiteX6" fmla="*/ 1 w 4086971"/>
              <a:gd name="connsiteY6" fmla="*/ 1 h 5143499"/>
              <a:gd name="connsiteX7" fmla="*/ 1 w 4086971"/>
              <a:gd name="connsiteY7" fmla="*/ 2 h 5143499"/>
              <a:gd name="connsiteX8" fmla="*/ 2859409 w 4086971"/>
              <a:gd name="connsiteY8" fmla="*/ 2 h 5143499"/>
              <a:gd name="connsiteX9" fmla="*/ 3048001 w 4086971"/>
              <a:gd name="connsiteY9" fmla="*/ 2 h 5143499"/>
              <a:gd name="connsiteX10" fmla="*/ 3485903 w 4086971"/>
              <a:gd name="connsiteY10" fmla="*/ 2 h 5143499"/>
              <a:gd name="connsiteX11" fmla="*/ 3246552 w 4086971"/>
              <a:gd name="connsiteY11" fmla="*/ 2811363 h 5143499"/>
              <a:gd name="connsiteX12" fmla="*/ 3246552 w 4086971"/>
              <a:gd name="connsiteY12" fmla="*/ 2811363 h 5143499"/>
              <a:gd name="connsiteX13" fmla="*/ 3048001 w 4086971"/>
              <a:gd name="connsiteY13" fmla="*/ 5143499 h 5143499"/>
              <a:gd name="connsiteX14" fmla="*/ 0 w 4086971"/>
              <a:gd name="connsiteY14" fmla="*/ 5143499 h 5143499"/>
              <a:gd name="connsiteX15" fmla="*/ 0 w 4086971"/>
              <a:gd name="connsiteY15" fmla="*/ 0 h 5143499"/>
              <a:gd name="connsiteX0" fmla="*/ 3353602 w 3567703"/>
              <a:gd name="connsiteY0" fmla="*/ 3588742 h 5143499"/>
              <a:gd name="connsiteX1" fmla="*/ 3567703 w 3567703"/>
              <a:gd name="connsiteY1" fmla="*/ 5143499 h 5143499"/>
              <a:gd name="connsiteX2" fmla="*/ 3567703 w 3567703"/>
              <a:gd name="connsiteY2" fmla="*/ 5143499 h 5143499"/>
              <a:gd name="connsiteX3" fmla="*/ 3353602 w 3567703"/>
              <a:gd name="connsiteY3" fmla="*/ 3588742 h 5143499"/>
              <a:gd name="connsiteX4" fmla="*/ 0 w 3567703"/>
              <a:gd name="connsiteY4" fmla="*/ 0 h 5143499"/>
              <a:gd name="connsiteX5" fmla="*/ 1 w 3567703"/>
              <a:gd name="connsiteY5" fmla="*/ 1 h 5143499"/>
              <a:gd name="connsiteX6" fmla="*/ 1 w 3567703"/>
              <a:gd name="connsiteY6" fmla="*/ 2 h 5143499"/>
              <a:gd name="connsiteX7" fmla="*/ 2859409 w 3567703"/>
              <a:gd name="connsiteY7" fmla="*/ 2 h 5143499"/>
              <a:gd name="connsiteX8" fmla="*/ 3048001 w 3567703"/>
              <a:gd name="connsiteY8" fmla="*/ 2 h 5143499"/>
              <a:gd name="connsiteX9" fmla="*/ 3485903 w 3567703"/>
              <a:gd name="connsiteY9" fmla="*/ 2 h 5143499"/>
              <a:gd name="connsiteX10" fmla="*/ 3246552 w 3567703"/>
              <a:gd name="connsiteY10" fmla="*/ 2811363 h 5143499"/>
              <a:gd name="connsiteX11" fmla="*/ 3246552 w 3567703"/>
              <a:gd name="connsiteY11" fmla="*/ 2811363 h 5143499"/>
              <a:gd name="connsiteX12" fmla="*/ 3048001 w 3567703"/>
              <a:gd name="connsiteY12" fmla="*/ 5143499 h 5143499"/>
              <a:gd name="connsiteX13" fmla="*/ 0 w 3567703"/>
              <a:gd name="connsiteY13" fmla="*/ 5143499 h 5143499"/>
              <a:gd name="connsiteX14" fmla="*/ 0 w 3567703"/>
              <a:gd name="connsiteY14" fmla="*/ 0 h 5143499"/>
              <a:gd name="connsiteX0" fmla="*/ 3353602 w 3567703"/>
              <a:gd name="connsiteY0" fmla="*/ 3588742 h 5143499"/>
              <a:gd name="connsiteX1" fmla="*/ 3567703 w 3567703"/>
              <a:gd name="connsiteY1" fmla="*/ 5143499 h 5143499"/>
              <a:gd name="connsiteX2" fmla="*/ 3353602 w 3567703"/>
              <a:gd name="connsiteY2" fmla="*/ 3588742 h 5143499"/>
              <a:gd name="connsiteX3" fmla="*/ 0 w 3567703"/>
              <a:gd name="connsiteY3" fmla="*/ 0 h 5143499"/>
              <a:gd name="connsiteX4" fmla="*/ 1 w 3567703"/>
              <a:gd name="connsiteY4" fmla="*/ 1 h 5143499"/>
              <a:gd name="connsiteX5" fmla="*/ 1 w 3567703"/>
              <a:gd name="connsiteY5" fmla="*/ 2 h 5143499"/>
              <a:gd name="connsiteX6" fmla="*/ 2859409 w 3567703"/>
              <a:gd name="connsiteY6" fmla="*/ 2 h 5143499"/>
              <a:gd name="connsiteX7" fmla="*/ 3048001 w 3567703"/>
              <a:gd name="connsiteY7" fmla="*/ 2 h 5143499"/>
              <a:gd name="connsiteX8" fmla="*/ 3485903 w 3567703"/>
              <a:gd name="connsiteY8" fmla="*/ 2 h 5143499"/>
              <a:gd name="connsiteX9" fmla="*/ 3246552 w 3567703"/>
              <a:gd name="connsiteY9" fmla="*/ 2811363 h 5143499"/>
              <a:gd name="connsiteX10" fmla="*/ 3246552 w 3567703"/>
              <a:gd name="connsiteY10" fmla="*/ 2811363 h 5143499"/>
              <a:gd name="connsiteX11" fmla="*/ 3048001 w 3567703"/>
              <a:gd name="connsiteY11" fmla="*/ 5143499 h 5143499"/>
              <a:gd name="connsiteX12" fmla="*/ 0 w 3567703"/>
              <a:gd name="connsiteY12" fmla="*/ 5143499 h 5143499"/>
              <a:gd name="connsiteX13" fmla="*/ 0 w 3567703"/>
              <a:gd name="connsiteY13" fmla="*/ 0 h 5143499"/>
              <a:gd name="connsiteX0" fmla="*/ 0 w 3485903"/>
              <a:gd name="connsiteY0" fmla="*/ 0 h 5143499"/>
              <a:gd name="connsiteX1" fmla="*/ 1 w 3485903"/>
              <a:gd name="connsiteY1" fmla="*/ 1 h 5143499"/>
              <a:gd name="connsiteX2" fmla="*/ 1 w 3485903"/>
              <a:gd name="connsiteY2" fmla="*/ 2 h 5143499"/>
              <a:gd name="connsiteX3" fmla="*/ 2859409 w 3485903"/>
              <a:gd name="connsiteY3" fmla="*/ 2 h 5143499"/>
              <a:gd name="connsiteX4" fmla="*/ 3048001 w 3485903"/>
              <a:gd name="connsiteY4" fmla="*/ 2 h 5143499"/>
              <a:gd name="connsiteX5" fmla="*/ 3485903 w 3485903"/>
              <a:gd name="connsiteY5" fmla="*/ 2 h 5143499"/>
              <a:gd name="connsiteX6" fmla="*/ 3246552 w 3485903"/>
              <a:gd name="connsiteY6" fmla="*/ 2811363 h 5143499"/>
              <a:gd name="connsiteX7" fmla="*/ 3246552 w 3485903"/>
              <a:gd name="connsiteY7" fmla="*/ 2811363 h 5143499"/>
              <a:gd name="connsiteX8" fmla="*/ 3048001 w 3485903"/>
              <a:gd name="connsiteY8" fmla="*/ 5143499 h 5143499"/>
              <a:gd name="connsiteX9" fmla="*/ 0 w 3485903"/>
              <a:gd name="connsiteY9" fmla="*/ 5143499 h 5143499"/>
              <a:gd name="connsiteX10" fmla="*/ 0 w 3485903"/>
              <a:gd name="connsiteY10" fmla="*/ 0 h 5143499"/>
              <a:gd name="connsiteX0" fmla="*/ 0 w 3485903"/>
              <a:gd name="connsiteY0" fmla="*/ 0 h 5143499"/>
              <a:gd name="connsiteX1" fmla="*/ 1 w 3485903"/>
              <a:gd name="connsiteY1" fmla="*/ 1 h 5143499"/>
              <a:gd name="connsiteX2" fmla="*/ 1 w 3485903"/>
              <a:gd name="connsiteY2" fmla="*/ 2 h 5143499"/>
              <a:gd name="connsiteX3" fmla="*/ 2859409 w 3485903"/>
              <a:gd name="connsiteY3" fmla="*/ 2 h 5143499"/>
              <a:gd name="connsiteX4" fmla="*/ 3048001 w 3485903"/>
              <a:gd name="connsiteY4" fmla="*/ 2 h 5143499"/>
              <a:gd name="connsiteX5" fmla="*/ 3485903 w 3485903"/>
              <a:gd name="connsiteY5" fmla="*/ 2 h 5143499"/>
              <a:gd name="connsiteX6" fmla="*/ 3370997 w 3485903"/>
              <a:gd name="connsiteY6" fmla="*/ 1337481 h 5143499"/>
              <a:gd name="connsiteX7" fmla="*/ 3246552 w 3485903"/>
              <a:gd name="connsiteY7" fmla="*/ 2811363 h 5143499"/>
              <a:gd name="connsiteX8" fmla="*/ 3246552 w 3485903"/>
              <a:gd name="connsiteY8" fmla="*/ 2811363 h 5143499"/>
              <a:gd name="connsiteX9" fmla="*/ 3048001 w 3485903"/>
              <a:gd name="connsiteY9" fmla="*/ 5143499 h 5143499"/>
              <a:gd name="connsiteX10" fmla="*/ 0 w 3485903"/>
              <a:gd name="connsiteY10" fmla="*/ 5143499 h 5143499"/>
              <a:gd name="connsiteX11" fmla="*/ 0 w 3485903"/>
              <a:gd name="connsiteY11" fmla="*/ 0 h 5143499"/>
              <a:gd name="connsiteX0" fmla="*/ 6824 w 3492727"/>
              <a:gd name="connsiteY0" fmla="*/ 0 h 5143499"/>
              <a:gd name="connsiteX1" fmla="*/ 6825 w 3492727"/>
              <a:gd name="connsiteY1" fmla="*/ 1 h 5143499"/>
              <a:gd name="connsiteX2" fmla="*/ 6825 w 3492727"/>
              <a:gd name="connsiteY2" fmla="*/ 2 h 5143499"/>
              <a:gd name="connsiteX3" fmla="*/ 2866233 w 3492727"/>
              <a:gd name="connsiteY3" fmla="*/ 2 h 5143499"/>
              <a:gd name="connsiteX4" fmla="*/ 3054825 w 3492727"/>
              <a:gd name="connsiteY4" fmla="*/ 2 h 5143499"/>
              <a:gd name="connsiteX5" fmla="*/ 3492727 w 3492727"/>
              <a:gd name="connsiteY5" fmla="*/ 2 h 5143499"/>
              <a:gd name="connsiteX6" fmla="*/ 3377821 w 3492727"/>
              <a:gd name="connsiteY6" fmla="*/ 1337481 h 5143499"/>
              <a:gd name="connsiteX7" fmla="*/ 3253376 w 3492727"/>
              <a:gd name="connsiteY7" fmla="*/ 2811363 h 5143499"/>
              <a:gd name="connsiteX8" fmla="*/ 3253376 w 3492727"/>
              <a:gd name="connsiteY8" fmla="*/ 2811363 h 5143499"/>
              <a:gd name="connsiteX9" fmla="*/ 3054825 w 3492727"/>
              <a:gd name="connsiteY9" fmla="*/ 5143499 h 5143499"/>
              <a:gd name="connsiteX10" fmla="*/ 6824 w 3492727"/>
              <a:gd name="connsiteY10" fmla="*/ 5143499 h 5143499"/>
              <a:gd name="connsiteX11" fmla="*/ 0 w 3492727"/>
              <a:gd name="connsiteY11" fmla="*/ 2565779 h 5143499"/>
              <a:gd name="connsiteX12" fmla="*/ 6824 w 3492727"/>
              <a:gd name="connsiteY12" fmla="*/ 0 h 5143499"/>
              <a:gd name="connsiteX0" fmla="*/ 6824 w 3492727"/>
              <a:gd name="connsiteY0" fmla="*/ 0 h 5143499"/>
              <a:gd name="connsiteX1" fmla="*/ 6825 w 3492727"/>
              <a:gd name="connsiteY1" fmla="*/ 1 h 5143499"/>
              <a:gd name="connsiteX2" fmla="*/ 6825 w 3492727"/>
              <a:gd name="connsiteY2" fmla="*/ 2 h 5143499"/>
              <a:gd name="connsiteX3" fmla="*/ 2866233 w 3492727"/>
              <a:gd name="connsiteY3" fmla="*/ 2 h 5143499"/>
              <a:gd name="connsiteX4" fmla="*/ 3054825 w 3492727"/>
              <a:gd name="connsiteY4" fmla="*/ 2 h 5143499"/>
              <a:gd name="connsiteX5" fmla="*/ 3492727 w 3492727"/>
              <a:gd name="connsiteY5" fmla="*/ 2 h 5143499"/>
              <a:gd name="connsiteX6" fmla="*/ 3377821 w 3492727"/>
              <a:gd name="connsiteY6" fmla="*/ 1337481 h 5143499"/>
              <a:gd name="connsiteX7" fmla="*/ 3253376 w 3492727"/>
              <a:gd name="connsiteY7" fmla="*/ 2811363 h 5143499"/>
              <a:gd name="connsiteX8" fmla="*/ 3253376 w 3492727"/>
              <a:gd name="connsiteY8" fmla="*/ 2811363 h 5143499"/>
              <a:gd name="connsiteX9" fmla="*/ 3054825 w 3492727"/>
              <a:gd name="connsiteY9" fmla="*/ 5143499 h 5143499"/>
              <a:gd name="connsiteX10" fmla="*/ 0 w 3492727"/>
              <a:gd name="connsiteY10" fmla="*/ 2565779 h 5143499"/>
              <a:gd name="connsiteX11" fmla="*/ 6824 w 3492727"/>
              <a:gd name="connsiteY11" fmla="*/ 0 h 5143499"/>
              <a:gd name="connsiteX0" fmla="*/ 6824 w 3492727"/>
              <a:gd name="connsiteY0" fmla="*/ 0 h 2811363"/>
              <a:gd name="connsiteX1" fmla="*/ 6825 w 3492727"/>
              <a:gd name="connsiteY1" fmla="*/ 1 h 2811363"/>
              <a:gd name="connsiteX2" fmla="*/ 6825 w 3492727"/>
              <a:gd name="connsiteY2" fmla="*/ 2 h 2811363"/>
              <a:gd name="connsiteX3" fmla="*/ 2866233 w 3492727"/>
              <a:gd name="connsiteY3" fmla="*/ 2 h 2811363"/>
              <a:gd name="connsiteX4" fmla="*/ 3054825 w 3492727"/>
              <a:gd name="connsiteY4" fmla="*/ 2 h 2811363"/>
              <a:gd name="connsiteX5" fmla="*/ 3492727 w 3492727"/>
              <a:gd name="connsiteY5" fmla="*/ 2 h 2811363"/>
              <a:gd name="connsiteX6" fmla="*/ 3377821 w 3492727"/>
              <a:gd name="connsiteY6" fmla="*/ 1337481 h 2811363"/>
              <a:gd name="connsiteX7" fmla="*/ 3253376 w 3492727"/>
              <a:gd name="connsiteY7" fmla="*/ 2811363 h 2811363"/>
              <a:gd name="connsiteX8" fmla="*/ 3253376 w 3492727"/>
              <a:gd name="connsiteY8" fmla="*/ 2811363 h 2811363"/>
              <a:gd name="connsiteX9" fmla="*/ 0 w 3492727"/>
              <a:gd name="connsiteY9" fmla="*/ 2565779 h 2811363"/>
              <a:gd name="connsiteX10" fmla="*/ 6824 w 3492727"/>
              <a:gd name="connsiteY10" fmla="*/ 0 h 2811363"/>
              <a:gd name="connsiteX0" fmla="*/ 6824 w 3492727"/>
              <a:gd name="connsiteY0" fmla="*/ 0 h 2811363"/>
              <a:gd name="connsiteX1" fmla="*/ 6825 w 3492727"/>
              <a:gd name="connsiteY1" fmla="*/ 1 h 2811363"/>
              <a:gd name="connsiteX2" fmla="*/ 6825 w 3492727"/>
              <a:gd name="connsiteY2" fmla="*/ 2 h 2811363"/>
              <a:gd name="connsiteX3" fmla="*/ 2866233 w 3492727"/>
              <a:gd name="connsiteY3" fmla="*/ 2 h 2811363"/>
              <a:gd name="connsiteX4" fmla="*/ 3054825 w 3492727"/>
              <a:gd name="connsiteY4" fmla="*/ 2 h 2811363"/>
              <a:gd name="connsiteX5" fmla="*/ 3492727 w 3492727"/>
              <a:gd name="connsiteY5" fmla="*/ 2 h 2811363"/>
              <a:gd name="connsiteX6" fmla="*/ 3377821 w 3492727"/>
              <a:gd name="connsiteY6" fmla="*/ 1337481 h 2811363"/>
              <a:gd name="connsiteX7" fmla="*/ 3253376 w 3492727"/>
              <a:gd name="connsiteY7" fmla="*/ 2811363 h 2811363"/>
              <a:gd name="connsiteX8" fmla="*/ 0 w 3492727"/>
              <a:gd name="connsiteY8" fmla="*/ 2565779 h 2811363"/>
              <a:gd name="connsiteX9" fmla="*/ 6824 w 3492727"/>
              <a:gd name="connsiteY9" fmla="*/ 0 h 2811363"/>
              <a:gd name="connsiteX0" fmla="*/ 6824 w 3492727"/>
              <a:gd name="connsiteY0" fmla="*/ 0 h 2565779"/>
              <a:gd name="connsiteX1" fmla="*/ 6825 w 3492727"/>
              <a:gd name="connsiteY1" fmla="*/ 1 h 2565779"/>
              <a:gd name="connsiteX2" fmla="*/ 6825 w 3492727"/>
              <a:gd name="connsiteY2" fmla="*/ 2 h 2565779"/>
              <a:gd name="connsiteX3" fmla="*/ 2866233 w 3492727"/>
              <a:gd name="connsiteY3" fmla="*/ 2 h 2565779"/>
              <a:gd name="connsiteX4" fmla="*/ 3054825 w 3492727"/>
              <a:gd name="connsiteY4" fmla="*/ 2 h 2565779"/>
              <a:gd name="connsiteX5" fmla="*/ 3492727 w 3492727"/>
              <a:gd name="connsiteY5" fmla="*/ 2 h 2565779"/>
              <a:gd name="connsiteX6" fmla="*/ 3377821 w 3492727"/>
              <a:gd name="connsiteY6" fmla="*/ 1337481 h 2565779"/>
              <a:gd name="connsiteX7" fmla="*/ 0 w 3492727"/>
              <a:gd name="connsiteY7" fmla="*/ 2565779 h 2565779"/>
              <a:gd name="connsiteX8" fmla="*/ 6824 w 3492727"/>
              <a:gd name="connsiteY8" fmla="*/ 0 h 2565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92727" h="2565779">
                <a:moveTo>
                  <a:pt x="6824" y="0"/>
                </a:moveTo>
                <a:lnTo>
                  <a:pt x="6825" y="1"/>
                </a:lnTo>
                <a:lnTo>
                  <a:pt x="6825" y="2"/>
                </a:lnTo>
                <a:lnTo>
                  <a:pt x="2866233" y="2"/>
                </a:lnTo>
                <a:lnTo>
                  <a:pt x="3054825" y="2"/>
                </a:lnTo>
                <a:lnTo>
                  <a:pt x="3492727" y="2"/>
                </a:lnTo>
                <a:lnTo>
                  <a:pt x="3377821" y="1337481"/>
                </a:lnTo>
                <a:lnTo>
                  <a:pt x="0" y="2565779"/>
                </a:lnTo>
                <a:cubicBezTo>
                  <a:pt x="2275" y="1710519"/>
                  <a:pt x="4549" y="855260"/>
                  <a:pt x="6824" y="0"/>
                </a:cubicBezTo>
                <a:close/>
              </a:path>
            </a:pathLst>
          </a:custGeom>
          <a:solidFill>
            <a:schemeClr val="tx2">
              <a:alpha val="80000"/>
            </a:schemeClr>
          </a:solidFill>
        </p:spPr>
        <p:txBody>
          <a:bodyPr vert="horz" wrap="square" lIns="91440" tIns="45720" rIns="91440" bIns="45720" rtlCol="0">
            <a:noAutofit/>
          </a:bodyPr>
          <a:lstStyle>
            <a:lvl1pPr>
              <a:defRPr lang="fr-FR" sz="100" dirty="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28" name="Espace réservé du texte 527">
            <a:extLst>
              <a:ext uri="{FF2B5EF4-FFF2-40B4-BE49-F238E27FC236}">
                <a16:creationId xmlns:a16="http://schemas.microsoft.com/office/drawing/2014/main" id="{6A8E0876-8CB4-4156-A0C1-0BC7361D1C40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429470" y="1194381"/>
            <a:ext cx="108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29" name="Espace réservé du texte 528">
            <a:extLst>
              <a:ext uri="{FF2B5EF4-FFF2-40B4-BE49-F238E27FC236}">
                <a16:creationId xmlns:a16="http://schemas.microsoft.com/office/drawing/2014/main" id="{20C5F896-3CE3-44F8-B5B2-F667F9101641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1512561" y="1194381"/>
            <a:ext cx="108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rgbClr val="3A1B0B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31" name="Espace réservé du texte 530">
            <a:extLst>
              <a:ext uri="{FF2B5EF4-FFF2-40B4-BE49-F238E27FC236}">
                <a16:creationId xmlns:a16="http://schemas.microsoft.com/office/drawing/2014/main" id="{70ADA97F-36B2-42A5-9506-18C5EA9C6E0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3993" y="190831"/>
            <a:ext cx="2495932" cy="92235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3pPr>
            <a:lvl4pPr marL="0" indent="0">
              <a:buNone/>
              <a:defRPr sz="1000">
                <a:solidFill>
                  <a:schemeClr val="bg1"/>
                </a:solidFill>
              </a:defRPr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F07F141A-1265-42D2-9F40-A84C5A069F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48000" y="2811362"/>
            <a:ext cx="519702" cy="2332138"/>
          </a:xfrm>
          <a:custGeom>
            <a:avLst/>
            <a:gdLst>
              <a:gd name="connsiteX0" fmla="*/ 198551 w 519702"/>
              <a:gd name="connsiteY0" fmla="*/ 0 h 2332138"/>
              <a:gd name="connsiteX1" fmla="*/ 519702 w 519702"/>
              <a:gd name="connsiteY1" fmla="*/ 2332138 h 2332138"/>
              <a:gd name="connsiteX2" fmla="*/ 0 w 519702"/>
              <a:gd name="connsiteY2" fmla="*/ 2332138 h 2332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19702" h="2332138">
                <a:moveTo>
                  <a:pt x="198551" y="0"/>
                </a:moveTo>
                <a:lnTo>
                  <a:pt x="519702" y="2332138"/>
                </a:lnTo>
                <a:lnTo>
                  <a:pt x="0" y="233213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180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510776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filtre bleu + Conten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5" name="Espace réservé pour une image  524">
            <a:extLst>
              <a:ext uri="{FF2B5EF4-FFF2-40B4-BE49-F238E27FC236}">
                <a16:creationId xmlns:a16="http://schemas.microsoft.com/office/drawing/2014/main" id="{98410260-974C-4913-B9B1-FBF4231643C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2"/>
            <a:ext cx="3567702" cy="5143499"/>
          </a:xfrm>
          <a:custGeom>
            <a:avLst/>
            <a:gdLst>
              <a:gd name="connsiteX0" fmla="*/ 0 w 3567702"/>
              <a:gd name="connsiteY0" fmla="*/ 0 h 5143499"/>
              <a:gd name="connsiteX1" fmla="*/ 2859408 w 3567702"/>
              <a:gd name="connsiteY1" fmla="*/ 0 h 5143499"/>
              <a:gd name="connsiteX2" fmla="*/ 3048000 w 3567702"/>
              <a:gd name="connsiteY2" fmla="*/ 0 h 5143499"/>
              <a:gd name="connsiteX3" fmla="*/ 3485902 w 3567702"/>
              <a:gd name="connsiteY3" fmla="*/ 0 h 5143499"/>
              <a:gd name="connsiteX4" fmla="*/ 3246551 w 3567702"/>
              <a:gd name="connsiteY4" fmla="*/ 2811361 h 5143499"/>
              <a:gd name="connsiteX5" fmla="*/ 3246551 w 3567702"/>
              <a:gd name="connsiteY5" fmla="*/ 2811360 h 5143499"/>
              <a:gd name="connsiteX6" fmla="*/ 3048000 w 3567702"/>
              <a:gd name="connsiteY6" fmla="*/ 5143498 h 5143499"/>
              <a:gd name="connsiteX7" fmla="*/ 3567702 w 3567702"/>
              <a:gd name="connsiteY7" fmla="*/ 5143498 h 5143499"/>
              <a:gd name="connsiteX8" fmla="*/ 3567702 w 3567702"/>
              <a:gd name="connsiteY8" fmla="*/ 5143499 h 5143499"/>
              <a:gd name="connsiteX9" fmla="*/ 0 w 3567702"/>
              <a:gd name="connsiteY9" fmla="*/ 5143499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67702" h="5143499">
                <a:moveTo>
                  <a:pt x="0" y="0"/>
                </a:moveTo>
                <a:lnTo>
                  <a:pt x="2859408" y="0"/>
                </a:lnTo>
                <a:lnTo>
                  <a:pt x="3048000" y="0"/>
                </a:lnTo>
                <a:lnTo>
                  <a:pt x="3485902" y="0"/>
                </a:lnTo>
                <a:lnTo>
                  <a:pt x="3246551" y="2811361"/>
                </a:lnTo>
                <a:lnTo>
                  <a:pt x="3246551" y="2811360"/>
                </a:lnTo>
                <a:lnTo>
                  <a:pt x="3048000" y="5143498"/>
                </a:lnTo>
                <a:lnTo>
                  <a:pt x="3567702" y="5143498"/>
                </a:lnTo>
                <a:lnTo>
                  <a:pt x="3567702" y="5143499"/>
                </a:lnTo>
                <a:lnTo>
                  <a:pt x="0" y="5143499"/>
                </a:ln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Cliquez sur l’icône</a:t>
            </a:r>
            <a:br>
              <a:rPr lang="fr-FR" dirty="0"/>
            </a:br>
            <a:r>
              <a:rPr lang="fr-FR" dirty="0"/>
              <a:t>pour ajouter une image</a:t>
            </a:r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5CE4A1F0-610C-4E30-853B-8F3E7CCABABE}"/>
              </a:ext>
            </a:extLst>
          </p:cNvPr>
          <p:cNvSpPr/>
          <p:nvPr userDrawn="1"/>
        </p:nvSpPr>
        <p:spPr>
          <a:xfrm>
            <a:off x="3246551" y="-3"/>
            <a:ext cx="5897449" cy="5143501"/>
          </a:xfrm>
          <a:custGeom>
            <a:avLst/>
            <a:gdLst>
              <a:gd name="connsiteX0" fmla="*/ 675524 w 5897449"/>
              <a:gd name="connsiteY0" fmla="*/ 1246049 h 5143501"/>
              <a:gd name="connsiteX1" fmla="*/ 675524 w 5897449"/>
              <a:gd name="connsiteY1" fmla="*/ 1291768 h 5143501"/>
              <a:gd name="connsiteX2" fmla="*/ 1035524 w 5897449"/>
              <a:gd name="connsiteY2" fmla="*/ 1291768 h 5143501"/>
              <a:gd name="connsiteX3" fmla="*/ 1035524 w 5897449"/>
              <a:gd name="connsiteY3" fmla="*/ 1246049 h 5143501"/>
              <a:gd name="connsiteX4" fmla="*/ 5897449 w 5897449"/>
              <a:gd name="connsiteY4" fmla="*/ 0 h 5143501"/>
              <a:gd name="connsiteX5" fmla="*/ 5897449 w 5897449"/>
              <a:gd name="connsiteY5" fmla="*/ 5143501 h 5143501"/>
              <a:gd name="connsiteX6" fmla="*/ 321151 w 5897449"/>
              <a:gd name="connsiteY6" fmla="*/ 5143501 h 5143501"/>
              <a:gd name="connsiteX7" fmla="*/ 0 w 5897449"/>
              <a:gd name="connsiteY7" fmla="*/ 2811363 h 5143501"/>
              <a:gd name="connsiteX8" fmla="*/ 239351 w 5897449"/>
              <a:gd name="connsiteY8" fmla="*/ 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97449" h="5143501">
                <a:moveTo>
                  <a:pt x="675524" y="1246049"/>
                </a:moveTo>
                <a:lnTo>
                  <a:pt x="675524" y="1291768"/>
                </a:lnTo>
                <a:lnTo>
                  <a:pt x="1035524" y="1291768"/>
                </a:lnTo>
                <a:lnTo>
                  <a:pt x="1035524" y="1246049"/>
                </a:lnTo>
                <a:close/>
                <a:moveTo>
                  <a:pt x="5897449" y="0"/>
                </a:moveTo>
                <a:lnTo>
                  <a:pt x="5897449" y="5143501"/>
                </a:lnTo>
                <a:lnTo>
                  <a:pt x="321151" y="5143501"/>
                </a:lnTo>
                <a:lnTo>
                  <a:pt x="0" y="2811363"/>
                </a:lnTo>
                <a:lnTo>
                  <a:pt x="239351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534" name="Espace réservé du texte 533">
            <a:extLst>
              <a:ext uri="{FF2B5EF4-FFF2-40B4-BE49-F238E27FC236}">
                <a16:creationId xmlns:a16="http://schemas.microsoft.com/office/drawing/2014/main" id="{6A4C2977-D550-4471-9F3E-815F6F49158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11668" y="1733384"/>
            <a:ext cx="5068800" cy="2902897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300"/>
              </a:spcBef>
              <a:spcAft>
                <a:spcPts val="1000"/>
              </a:spcAft>
              <a:buNone/>
              <a:defRPr sz="1400">
                <a:solidFill>
                  <a:schemeClr val="tx1"/>
                </a:solidFill>
              </a:defRPr>
            </a:lvl2pPr>
            <a:lvl3pPr marL="270000" indent="-270000" algn="l" defTabSz="457200" rtl="0" eaLnBrk="1" latinLnBrk="0" hangingPunct="1">
              <a:spcBef>
                <a:spcPts val="400"/>
              </a:spcBef>
              <a:spcAft>
                <a:spcPts val="1000"/>
              </a:spcAft>
              <a:buSzPct val="100000"/>
              <a:buFontTx/>
              <a:buBlip>
                <a:blip r:embed="rId2"/>
              </a:buBlip>
              <a:defRPr lang="fr-FR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0000" indent="-269875">
              <a:spcBef>
                <a:spcPts val="400"/>
              </a:spcBef>
              <a:spcAft>
                <a:spcPts val="1000"/>
              </a:spcAft>
              <a:buFontTx/>
              <a:buBlip>
                <a:blip r:embed="rId3"/>
              </a:buBlip>
              <a:defRPr sz="1400" b="1">
                <a:solidFill>
                  <a:schemeClr val="tx1"/>
                </a:solidFill>
              </a:defRPr>
            </a:lvl4pPr>
            <a:lvl5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4"/>
              </a:buBlip>
              <a:defRPr sz="1400" b="1">
                <a:solidFill>
                  <a:schemeClr val="tx1"/>
                </a:solidFill>
              </a:defRPr>
            </a:lvl5pPr>
            <a:lvl6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5"/>
              </a:buBlip>
              <a:defRPr sz="1400" b="1">
                <a:solidFill>
                  <a:schemeClr val="tx1"/>
                </a:solidFill>
              </a:defRPr>
            </a:lvl6pPr>
            <a:lvl7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6"/>
              </a:buBlip>
              <a:defRPr sz="1400" b="1">
                <a:solidFill>
                  <a:schemeClr val="tx1"/>
                </a:solidFill>
              </a:defRPr>
            </a:lvl7pPr>
            <a:lvl8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7"/>
              </a:buBlip>
              <a:defRPr sz="1400" b="1">
                <a:solidFill>
                  <a:schemeClr val="tx1"/>
                </a:solidFill>
              </a:defRPr>
            </a:lvl8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Puce bleu</a:t>
            </a:r>
          </a:p>
          <a:p>
            <a:pPr lvl="3"/>
            <a:r>
              <a:rPr lang="fr-FR" dirty="0"/>
              <a:t>Puce orange</a:t>
            </a:r>
          </a:p>
          <a:p>
            <a:pPr lvl="4"/>
            <a:r>
              <a:rPr lang="fr-FR" dirty="0"/>
              <a:t>Puce rouge</a:t>
            </a:r>
          </a:p>
          <a:p>
            <a:pPr lvl="5"/>
            <a:r>
              <a:rPr lang="fr-FR" dirty="0"/>
              <a:t>Puce vert d’eau</a:t>
            </a:r>
          </a:p>
          <a:p>
            <a:pPr lvl="6"/>
            <a:r>
              <a:rPr lang="fr-FR" dirty="0"/>
              <a:t>Puce verte</a:t>
            </a:r>
          </a:p>
          <a:p>
            <a:pPr lvl="7"/>
            <a:r>
              <a:rPr lang="fr-FR" dirty="0"/>
              <a:t>Puce violette</a:t>
            </a:r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B2156BC2-FC71-4D1F-B37F-36F71AB7D57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129050" y="0"/>
            <a:ext cx="1356852" cy="5143500"/>
          </a:xfrm>
          <a:custGeom>
            <a:avLst/>
            <a:gdLst>
              <a:gd name="connsiteX0" fmla="*/ 0 w 1508264"/>
              <a:gd name="connsiteY0" fmla="*/ 0 h 5125258"/>
              <a:gd name="connsiteX1" fmla="*/ 1508264 w 1508264"/>
              <a:gd name="connsiteY1" fmla="*/ 5160 h 5125258"/>
              <a:gd name="connsiteX2" fmla="*/ 1268913 w 1508264"/>
              <a:gd name="connsiteY2" fmla="*/ 2816519 h 5125258"/>
              <a:gd name="connsiteX3" fmla="*/ 1072354 w 1508264"/>
              <a:gd name="connsiteY3" fmla="*/ 5125258 h 5125258"/>
              <a:gd name="connsiteX4" fmla="*/ 151412 w 1508264"/>
              <a:gd name="connsiteY4" fmla="*/ 5157 h 5125258"/>
              <a:gd name="connsiteX0" fmla="*/ 0 w 1356852"/>
              <a:gd name="connsiteY0" fmla="*/ 0 h 5120101"/>
              <a:gd name="connsiteX1" fmla="*/ 1356852 w 1356852"/>
              <a:gd name="connsiteY1" fmla="*/ 3 h 5120101"/>
              <a:gd name="connsiteX2" fmla="*/ 1117501 w 1356852"/>
              <a:gd name="connsiteY2" fmla="*/ 2811362 h 5120101"/>
              <a:gd name="connsiteX3" fmla="*/ 920942 w 1356852"/>
              <a:gd name="connsiteY3" fmla="*/ 5120101 h 5120101"/>
              <a:gd name="connsiteX4" fmla="*/ 0 w 1356852"/>
              <a:gd name="connsiteY4" fmla="*/ 0 h 5120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56852" h="5120101">
                <a:moveTo>
                  <a:pt x="0" y="0"/>
                </a:moveTo>
                <a:lnTo>
                  <a:pt x="1356852" y="3"/>
                </a:lnTo>
                <a:lnTo>
                  <a:pt x="1117501" y="2811362"/>
                </a:lnTo>
                <a:lnTo>
                  <a:pt x="920942" y="5120101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alpha val="8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11" name="Titre 1">
            <a:extLst>
              <a:ext uri="{FF2B5EF4-FFF2-40B4-BE49-F238E27FC236}">
                <a16:creationId xmlns:a16="http://schemas.microsoft.com/office/drawing/2014/main" id="{77D3BAD7-91CA-45C1-8644-7B0FCB1D2E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1669" y="349390"/>
            <a:ext cx="5068800" cy="757130"/>
          </a:xfrm>
        </p:spPr>
        <p:txBody>
          <a:bodyPr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Titre de la slide</a:t>
            </a:r>
            <a:br>
              <a:rPr lang="fr-FR" dirty="0"/>
            </a:br>
            <a:r>
              <a:rPr lang="fr-FR" dirty="0"/>
              <a:t>sur deux lign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0E9C47C-828D-42F4-8D18-0AAD2F9715E8}"/>
              </a:ext>
            </a:extLst>
          </p:cNvPr>
          <p:cNvSpPr/>
          <p:nvPr userDrawn="1"/>
        </p:nvSpPr>
        <p:spPr>
          <a:xfrm>
            <a:off x="4281011" y="1246048"/>
            <a:ext cx="360000" cy="45719"/>
          </a:xfrm>
          <a:prstGeom prst="rect">
            <a:avLst/>
          </a:prstGeom>
          <a:solidFill>
            <a:srgbClr val="3A1B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71FB6C94-4C94-44CD-8E09-7270E29D7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48000" y="2811362"/>
            <a:ext cx="519702" cy="2332138"/>
          </a:xfrm>
          <a:custGeom>
            <a:avLst/>
            <a:gdLst>
              <a:gd name="connsiteX0" fmla="*/ 198551 w 519702"/>
              <a:gd name="connsiteY0" fmla="*/ 0 h 2332138"/>
              <a:gd name="connsiteX1" fmla="*/ 519702 w 519702"/>
              <a:gd name="connsiteY1" fmla="*/ 2332138 h 2332138"/>
              <a:gd name="connsiteX2" fmla="*/ 0 w 519702"/>
              <a:gd name="connsiteY2" fmla="*/ 2332138 h 2332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19702" h="2332138">
                <a:moveTo>
                  <a:pt x="198551" y="0"/>
                </a:moveTo>
                <a:lnTo>
                  <a:pt x="519702" y="2332138"/>
                </a:lnTo>
                <a:lnTo>
                  <a:pt x="0" y="233213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180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384530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1" name="Espace réservé pour une image  520">
            <a:extLst>
              <a:ext uri="{FF2B5EF4-FFF2-40B4-BE49-F238E27FC236}">
                <a16:creationId xmlns:a16="http://schemas.microsoft.com/office/drawing/2014/main" id="{B8DAB854-64EB-4DD7-A364-5485ED453A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246551" y="-1"/>
            <a:ext cx="5897449" cy="5143501"/>
          </a:xfrm>
          <a:custGeom>
            <a:avLst/>
            <a:gdLst>
              <a:gd name="connsiteX0" fmla="*/ 0 w 6088062"/>
              <a:gd name="connsiteY0" fmla="*/ 0 h 5143501"/>
              <a:gd name="connsiteX1" fmla="*/ 6088062 w 6088062"/>
              <a:gd name="connsiteY1" fmla="*/ 0 h 5143501"/>
              <a:gd name="connsiteX2" fmla="*/ 6088062 w 6088062"/>
              <a:gd name="connsiteY2" fmla="*/ 5143501 h 5143501"/>
              <a:gd name="connsiteX3" fmla="*/ 511764 w 6088062"/>
              <a:gd name="connsiteY3" fmla="*/ 5143501 h 5143501"/>
              <a:gd name="connsiteX4" fmla="*/ 190613 w 6088062"/>
              <a:gd name="connsiteY4" fmla="*/ 2811363 h 5143501"/>
              <a:gd name="connsiteX5" fmla="*/ 429964 w 6088062"/>
              <a:gd name="connsiteY5" fmla="*/ 1 h 5143501"/>
              <a:gd name="connsiteX6" fmla="*/ 0 w 6088062"/>
              <a:gd name="connsiteY6" fmla="*/ 1 h 5143501"/>
              <a:gd name="connsiteX0" fmla="*/ 0 w 6088062"/>
              <a:gd name="connsiteY0" fmla="*/ 1 h 5143501"/>
              <a:gd name="connsiteX1" fmla="*/ 6088062 w 6088062"/>
              <a:gd name="connsiteY1" fmla="*/ 0 h 5143501"/>
              <a:gd name="connsiteX2" fmla="*/ 6088062 w 6088062"/>
              <a:gd name="connsiteY2" fmla="*/ 5143501 h 5143501"/>
              <a:gd name="connsiteX3" fmla="*/ 511764 w 6088062"/>
              <a:gd name="connsiteY3" fmla="*/ 5143501 h 5143501"/>
              <a:gd name="connsiteX4" fmla="*/ 190613 w 6088062"/>
              <a:gd name="connsiteY4" fmla="*/ 2811363 h 5143501"/>
              <a:gd name="connsiteX5" fmla="*/ 429964 w 6088062"/>
              <a:gd name="connsiteY5" fmla="*/ 1 h 5143501"/>
              <a:gd name="connsiteX6" fmla="*/ 0 w 6088062"/>
              <a:gd name="connsiteY6" fmla="*/ 1 h 5143501"/>
              <a:gd name="connsiteX0" fmla="*/ 239351 w 5897449"/>
              <a:gd name="connsiteY0" fmla="*/ 1 h 5143501"/>
              <a:gd name="connsiteX1" fmla="*/ 5897449 w 5897449"/>
              <a:gd name="connsiteY1" fmla="*/ 0 h 5143501"/>
              <a:gd name="connsiteX2" fmla="*/ 5897449 w 5897449"/>
              <a:gd name="connsiteY2" fmla="*/ 5143501 h 5143501"/>
              <a:gd name="connsiteX3" fmla="*/ 321151 w 5897449"/>
              <a:gd name="connsiteY3" fmla="*/ 5143501 h 5143501"/>
              <a:gd name="connsiteX4" fmla="*/ 0 w 5897449"/>
              <a:gd name="connsiteY4" fmla="*/ 2811363 h 5143501"/>
              <a:gd name="connsiteX5" fmla="*/ 239351 w 5897449"/>
              <a:gd name="connsiteY5" fmla="*/ 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97449" h="5143501">
                <a:moveTo>
                  <a:pt x="239351" y="1"/>
                </a:moveTo>
                <a:lnTo>
                  <a:pt x="5897449" y="0"/>
                </a:lnTo>
                <a:lnTo>
                  <a:pt x="5897449" y="5143501"/>
                </a:lnTo>
                <a:lnTo>
                  <a:pt x="321151" y="5143501"/>
                </a:lnTo>
                <a:lnTo>
                  <a:pt x="0" y="2811363"/>
                </a:lnTo>
                <a:lnTo>
                  <a:pt x="239351" y="1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6CB10B59-8983-482C-BCD8-596396CF9E36}"/>
              </a:ext>
            </a:extLst>
          </p:cNvPr>
          <p:cNvGrpSpPr/>
          <p:nvPr userDrawn="1"/>
        </p:nvGrpSpPr>
        <p:grpSpPr>
          <a:xfrm>
            <a:off x="-91485" y="-107301"/>
            <a:ext cx="3580993" cy="5352842"/>
            <a:chOff x="-91485" y="-107301"/>
            <a:chExt cx="3580993" cy="5352842"/>
          </a:xfrm>
          <a:solidFill>
            <a:schemeClr val="bg2">
              <a:alpha val="5000"/>
            </a:schemeClr>
          </a:solidFill>
        </p:grpSpPr>
        <p:sp>
          <p:nvSpPr>
            <p:cNvPr id="7" name="Forme libre : forme 6">
              <a:extLst>
                <a:ext uri="{FF2B5EF4-FFF2-40B4-BE49-F238E27FC236}">
                  <a16:creationId xmlns:a16="http://schemas.microsoft.com/office/drawing/2014/main" id="{FB10E9E7-487F-4046-97FA-383A90CB2678}"/>
                </a:ext>
              </a:extLst>
            </p:cNvPr>
            <p:cNvSpPr/>
            <p:nvPr/>
          </p:nvSpPr>
          <p:spPr>
            <a:xfrm rot="8716295">
              <a:off x="3051469" y="229467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857E0B3E-CF84-4275-8769-4FA84ACE4C3B}"/>
                </a:ext>
              </a:extLst>
            </p:cNvPr>
            <p:cNvSpPr/>
            <p:nvPr/>
          </p:nvSpPr>
          <p:spPr>
            <a:xfrm rot="8716295">
              <a:off x="3141426" y="2335684"/>
              <a:ext cx="209149" cy="247728"/>
            </a:xfrm>
            <a:custGeom>
              <a:avLst/>
              <a:gdLst>
                <a:gd name="connsiteX0" fmla="*/ 147179 w 209149"/>
                <a:gd name="connsiteY0" fmla="*/ 90980 h 247728"/>
                <a:gd name="connsiteX1" fmla="*/ 147179 w 209149"/>
                <a:gd name="connsiteY1" fmla="*/ 74577 h 247728"/>
                <a:gd name="connsiteX2" fmla="*/ 137667 w 209149"/>
                <a:gd name="connsiteY2" fmla="*/ 44616 h 247728"/>
                <a:gd name="connsiteX3" fmla="*/ 132652 w 209149"/>
                <a:gd name="connsiteY3" fmla="*/ 42232 h 247728"/>
                <a:gd name="connsiteX4" fmla="*/ 167583 w 209149"/>
                <a:gd name="connsiteY4" fmla="*/ 0 h 247728"/>
                <a:gd name="connsiteX5" fmla="*/ 189157 w 209149"/>
                <a:gd name="connsiteY5" fmla="*/ 15682 h 247728"/>
                <a:gd name="connsiteX6" fmla="*/ 209149 w 209149"/>
                <a:gd name="connsiteY6" fmla="*/ 81411 h 247728"/>
                <a:gd name="connsiteX7" fmla="*/ 209149 w 209149"/>
                <a:gd name="connsiteY7" fmla="*/ 87335 h 247728"/>
                <a:gd name="connsiteX8" fmla="*/ 0 w 209149"/>
                <a:gd name="connsiteY8" fmla="*/ 247728 h 247728"/>
                <a:gd name="connsiteX9" fmla="*/ 0 w 209149"/>
                <a:gd name="connsiteY9" fmla="*/ 202611 h 247728"/>
                <a:gd name="connsiteX10" fmla="*/ 60148 w 209149"/>
                <a:gd name="connsiteY10" fmla="*/ 129891 h 247728"/>
                <a:gd name="connsiteX11" fmla="*/ 60148 w 209149"/>
                <a:gd name="connsiteY11" fmla="*/ 206719 h 24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9149" h="247728">
                  <a:moveTo>
                    <a:pt x="147179" y="90980"/>
                  </a:moveTo>
                  <a:lnTo>
                    <a:pt x="147179" y="74577"/>
                  </a:lnTo>
                  <a:cubicBezTo>
                    <a:pt x="147179" y="62273"/>
                    <a:pt x="143648" y="51907"/>
                    <a:pt x="137667" y="44616"/>
                  </a:cubicBezTo>
                  <a:lnTo>
                    <a:pt x="132652" y="42232"/>
                  </a:lnTo>
                  <a:lnTo>
                    <a:pt x="167583" y="0"/>
                  </a:lnTo>
                  <a:lnTo>
                    <a:pt x="189157" y="15682"/>
                  </a:lnTo>
                  <a:cubicBezTo>
                    <a:pt x="202086" y="30833"/>
                    <a:pt x="209149" y="53160"/>
                    <a:pt x="209149" y="81411"/>
                  </a:cubicBezTo>
                  <a:lnTo>
                    <a:pt x="209149" y="87335"/>
                  </a:lnTo>
                  <a:close/>
                  <a:moveTo>
                    <a:pt x="0" y="247728"/>
                  </a:moveTo>
                  <a:lnTo>
                    <a:pt x="0" y="202611"/>
                  </a:lnTo>
                  <a:lnTo>
                    <a:pt x="60148" y="129891"/>
                  </a:lnTo>
                  <a:lnTo>
                    <a:pt x="60148" y="20671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CA2EC427-A3CB-46EB-8802-9FA3F8105B5A}"/>
                </a:ext>
              </a:extLst>
            </p:cNvPr>
            <p:cNvSpPr/>
            <p:nvPr/>
          </p:nvSpPr>
          <p:spPr>
            <a:xfrm rot="8716295">
              <a:off x="3096011" y="2237639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474F4DDA-4FC2-4669-AB5F-02BB5506B529}"/>
                </a:ext>
              </a:extLst>
            </p:cNvPr>
            <p:cNvSpPr/>
            <p:nvPr/>
          </p:nvSpPr>
          <p:spPr>
            <a:xfrm rot="8716295">
              <a:off x="2939235" y="238322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D8FF9A2A-12F4-4D4A-838C-2EA6068FA2AB}"/>
                </a:ext>
              </a:extLst>
            </p:cNvPr>
            <p:cNvSpPr/>
            <p:nvPr/>
          </p:nvSpPr>
          <p:spPr>
            <a:xfrm rot="8716295">
              <a:off x="2814332" y="217454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56247F38-2BB4-4C4A-A842-2BBC34C00B4B}"/>
                </a:ext>
              </a:extLst>
            </p:cNvPr>
            <p:cNvSpPr/>
            <p:nvPr/>
          </p:nvSpPr>
          <p:spPr>
            <a:xfrm rot="8716295">
              <a:off x="2802280" y="203576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6B40DCDD-1ED3-48EB-9DB0-DEE21DA8FE29}"/>
                </a:ext>
              </a:extLst>
            </p:cNvPr>
            <p:cNvSpPr/>
            <p:nvPr/>
          </p:nvSpPr>
          <p:spPr>
            <a:xfrm rot="8716295">
              <a:off x="3029413" y="2424173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EEC2D8FD-062C-4F42-B8C0-F129DEB5F20C}"/>
                </a:ext>
              </a:extLst>
            </p:cNvPr>
            <p:cNvSpPr/>
            <p:nvPr/>
          </p:nvSpPr>
          <p:spPr>
            <a:xfrm rot="8716295">
              <a:off x="3300250" y="2118999"/>
              <a:ext cx="9515" cy="11504"/>
            </a:xfrm>
            <a:custGeom>
              <a:avLst/>
              <a:gdLst>
                <a:gd name="connsiteX0" fmla="*/ 0 w 9515"/>
                <a:gd name="connsiteY0" fmla="*/ 11504 h 11504"/>
                <a:gd name="connsiteX1" fmla="*/ 9515 w 9515"/>
                <a:gd name="connsiteY1" fmla="*/ 0 h 11504"/>
                <a:gd name="connsiteX2" fmla="*/ 9515 w 9515"/>
                <a:gd name="connsiteY2" fmla="*/ 7741 h 11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15" h="11504">
                  <a:moveTo>
                    <a:pt x="0" y="11504"/>
                  </a:moveTo>
                  <a:lnTo>
                    <a:pt x="9515" y="0"/>
                  </a:lnTo>
                  <a:lnTo>
                    <a:pt x="9515" y="77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15A33F8C-9B7A-4D6A-854E-3D326335591D}"/>
                </a:ext>
              </a:extLst>
            </p:cNvPr>
            <p:cNvSpPr/>
            <p:nvPr/>
          </p:nvSpPr>
          <p:spPr>
            <a:xfrm rot="8716295">
              <a:off x="3228334" y="213306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949EEDA1-3E93-4DFB-8B0F-8D57B83C540E}"/>
                </a:ext>
              </a:extLst>
            </p:cNvPr>
            <p:cNvSpPr/>
            <p:nvPr/>
          </p:nvSpPr>
          <p:spPr>
            <a:xfrm rot="8716295">
              <a:off x="3098921" y="1924310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44680 h 195874"/>
                <a:gd name="connsiteX5" fmla="*/ 36955 w 203847"/>
                <a:gd name="connsiteY5" fmla="*/ 0 h 195874"/>
                <a:gd name="connsiteX6" fmla="*/ 203847 w 203847"/>
                <a:gd name="connsiteY6" fmla="*/ 0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44680"/>
                  </a:lnTo>
                  <a:lnTo>
                    <a:pt x="36955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513E3AB2-D8F3-4D40-BC3C-53ABB60A2331}"/>
                </a:ext>
              </a:extLst>
            </p:cNvPr>
            <p:cNvSpPr/>
            <p:nvPr/>
          </p:nvSpPr>
          <p:spPr>
            <a:xfrm rot="8716295">
              <a:off x="3275349" y="2211673"/>
              <a:ext cx="24727" cy="53686"/>
            </a:xfrm>
            <a:custGeom>
              <a:avLst/>
              <a:gdLst>
                <a:gd name="connsiteX0" fmla="*/ 24727 w 24727"/>
                <a:gd name="connsiteY0" fmla="*/ 53686 h 53686"/>
                <a:gd name="connsiteX1" fmla="*/ 0 w 24727"/>
                <a:gd name="connsiteY1" fmla="*/ 29895 h 53686"/>
                <a:gd name="connsiteX2" fmla="*/ 24727 w 24727"/>
                <a:gd name="connsiteY2" fmla="*/ 0 h 53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27" h="53686">
                  <a:moveTo>
                    <a:pt x="24727" y="53686"/>
                  </a:moveTo>
                  <a:lnTo>
                    <a:pt x="0" y="29895"/>
                  </a:lnTo>
                  <a:lnTo>
                    <a:pt x="2472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69A3C0F4-2579-479E-90C6-255E973C947C}"/>
                </a:ext>
              </a:extLst>
            </p:cNvPr>
            <p:cNvSpPr/>
            <p:nvPr/>
          </p:nvSpPr>
          <p:spPr>
            <a:xfrm rot="8716295">
              <a:off x="3077061" y="202442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9022B708-F9CE-40AF-852D-9A004CAB7675}"/>
                </a:ext>
              </a:extLst>
            </p:cNvPr>
            <p:cNvSpPr/>
            <p:nvPr/>
          </p:nvSpPr>
          <p:spPr>
            <a:xfrm rot="8716295">
              <a:off x="3162402" y="30429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19F4F78B-5673-4710-BAF3-3B1975D1B861}"/>
                </a:ext>
              </a:extLst>
            </p:cNvPr>
            <p:cNvSpPr/>
            <p:nvPr/>
          </p:nvSpPr>
          <p:spPr>
            <a:xfrm rot="8716295">
              <a:off x="3033531" y="2835902"/>
              <a:ext cx="197743" cy="195873"/>
            </a:xfrm>
            <a:custGeom>
              <a:avLst/>
              <a:gdLst>
                <a:gd name="connsiteX0" fmla="*/ 84606 w 197743"/>
                <a:gd name="connsiteY0" fmla="*/ 195873 h 195873"/>
                <a:gd name="connsiteX1" fmla="*/ 41743 w 197743"/>
                <a:gd name="connsiteY1" fmla="*/ 116129 h 195873"/>
                <a:gd name="connsiteX2" fmla="*/ 63673 w 197743"/>
                <a:gd name="connsiteY2" fmla="*/ 55323 h 195873"/>
                <a:gd name="connsiteX3" fmla="*/ 0 w 197743"/>
                <a:gd name="connsiteY3" fmla="*/ 55323 h 195873"/>
                <a:gd name="connsiteX4" fmla="*/ 45759 w 197743"/>
                <a:gd name="connsiteY4" fmla="*/ 0 h 195873"/>
                <a:gd name="connsiteX5" fmla="*/ 197743 w 197743"/>
                <a:gd name="connsiteY5" fmla="*/ 0 h 195873"/>
                <a:gd name="connsiteX6" fmla="*/ 197743 w 197743"/>
                <a:gd name="connsiteY6" fmla="*/ 55323 h 195873"/>
                <a:gd name="connsiteX7" fmla="*/ 132951 w 197743"/>
                <a:gd name="connsiteY7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7743" h="195873">
                  <a:moveTo>
                    <a:pt x="84606" y="195873"/>
                  </a:moveTo>
                  <a:lnTo>
                    <a:pt x="41743" y="116129"/>
                  </a:lnTo>
                  <a:lnTo>
                    <a:pt x="63673" y="55323"/>
                  </a:lnTo>
                  <a:lnTo>
                    <a:pt x="0" y="55323"/>
                  </a:lnTo>
                  <a:lnTo>
                    <a:pt x="45759" y="0"/>
                  </a:lnTo>
                  <a:lnTo>
                    <a:pt x="197743" y="0"/>
                  </a:lnTo>
                  <a:lnTo>
                    <a:pt x="197743" y="55323"/>
                  </a:lnTo>
                  <a:lnTo>
                    <a:pt x="132951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0BB66207-2F6B-4469-9703-071564C7D57B}"/>
                </a:ext>
              </a:extLst>
            </p:cNvPr>
            <p:cNvSpPr/>
            <p:nvPr/>
          </p:nvSpPr>
          <p:spPr>
            <a:xfrm rot="8716295">
              <a:off x="2982649" y="2705505"/>
              <a:ext cx="289489" cy="211444"/>
            </a:xfrm>
            <a:custGeom>
              <a:avLst/>
              <a:gdLst>
                <a:gd name="connsiteX0" fmla="*/ 24145 w 289489"/>
                <a:gd name="connsiteY0" fmla="*/ 181853 h 211444"/>
                <a:gd name="connsiteX1" fmla="*/ 3994 w 289489"/>
                <a:gd name="connsiteY1" fmla="*/ 142066 h 211444"/>
                <a:gd name="connsiteX2" fmla="*/ 0 w 289489"/>
                <a:gd name="connsiteY2" fmla="*/ 94419 h 211444"/>
                <a:gd name="connsiteX3" fmla="*/ 78096 w 289489"/>
                <a:gd name="connsiteY3" fmla="*/ 0 h 211444"/>
                <a:gd name="connsiteX4" fmla="*/ 78273 w 289489"/>
                <a:gd name="connsiteY4" fmla="*/ 24764 h 211444"/>
                <a:gd name="connsiteX5" fmla="*/ 92393 w 289489"/>
                <a:gd name="connsiteY5" fmla="*/ 122430 h 211444"/>
                <a:gd name="connsiteX6" fmla="*/ 162994 w 289489"/>
                <a:gd name="connsiteY6" fmla="*/ 161261 h 211444"/>
                <a:gd name="connsiteX7" fmla="*/ 215946 w 289489"/>
                <a:gd name="connsiteY7" fmla="*/ 151847 h 211444"/>
                <a:gd name="connsiteX8" fmla="*/ 288313 w 289489"/>
                <a:gd name="connsiteY8" fmla="*/ 122430 h 211444"/>
                <a:gd name="connsiteX9" fmla="*/ 289489 w 289489"/>
                <a:gd name="connsiteY9" fmla="*/ 130078 h 211444"/>
                <a:gd name="connsiteX10" fmla="*/ 289489 w 289489"/>
                <a:gd name="connsiteY10" fmla="*/ 135962 h 211444"/>
                <a:gd name="connsiteX11" fmla="*/ 96512 w 289489"/>
                <a:gd name="connsiteY11" fmla="*/ 211270 h 211444"/>
                <a:gd name="connsiteX12" fmla="*/ 24145 w 289489"/>
                <a:gd name="connsiteY12" fmla="*/ 181853 h 211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9489" h="211444">
                  <a:moveTo>
                    <a:pt x="24145" y="181853"/>
                  </a:moveTo>
                  <a:cubicBezTo>
                    <a:pt x="14143" y="172145"/>
                    <a:pt x="7818" y="158907"/>
                    <a:pt x="3994" y="142066"/>
                  </a:cubicBezTo>
                  <a:lnTo>
                    <a:pt x="0" y="94419"/>
                  </a:lnTo>
                  <a:lnTo>
                    <a:pt x="78096" y="0"/>
                  </a:lnTo>
                  <a:lnTo>
                    <a:pt x="78273" y="24764"/>
                  </a:lnTo>
                  <a:cubicBezTo>
                    <a:pt x="76508" y="57712"/>
                    <a:pt x="81803" y="91247"/>
                    <a:pt x="92393" y="122430"/>
                  </a:cubicBezTo>
                  <a:cubicBezTo>
                    <a:pt x="101807" y="148317"/>
                    <a:pt x="125929" y="161261"/>
                    <a:pt x="162994" y="161261"/>
                  </a:cubicBezTo>
                  <a:cubicBezTo>
                    <a:pt x="181234" y="160672"/>
                    <a:pt x="198884" y="157142"/>
                    <a:pt x="215946" y="151847"/>
                  </a:cubicBezTo>
                  <a:cubicBezTo>
                    <a:pt x="240656" y="144198"/>
                    <a:pt x="264779" y="134197"/>
                    <a:pt x="288313" y="122430"/>
                  </a:cubicBezTo>
                  <a:cubicBezTo>
                    <a:pt x="288901" y="124783"/>
                    <a:pt x="289489" y="127725"/>
                    <a:pt x="289489" y="130078"/>
                  </a:cubicBezTo>
                  <a:lnTo>
                    <a:pt x="289489" y="135962"/>
                  </a:lnTo>
                  <a:cubicBezTo>
                    <a:pt x="227125" y="189501"/>
                    <a:pt x="145344" y="208329"/>
                    <a:pt x="96512" y="211270"/>
                  </a:cubicBezTo>
                  <a:cubicBezTo>
                    <a:pt x="69448" y="213035"/>
                    <a:pt x="42972" y="201268"/>
                    <a:pt x="24145" y="18185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4BE2CE41-0D24-49C7-BC05-1CA24F174056}"/>
                </a:ext>
              </a:extLst>
            </p:cNvPr>
            <p:cNvSpPr/>
            <p:nvPr/>
          </p:nvSpPr>
          <p:spPr>
            <a:xfrm rot="8716295">
              <a:off x="3205022" y="3125495"/>
              <a:ext cx="16424" cy="35661"/>
            </a:xfrm>
            <a:custGeom>
              <a:avLst/>
              <a:gdLst>
                <a:gd name="connsiteX0" fmla="*/ 16424 w 16424"/>
                <a:gd name="connsiteY0" fmla="*/ 35661 h 35661"/>
                <a:gd name="connsiteX1" fmla="*/ 0 w 16424"/>
                <a:gd name="connsiteY1" fmla="*/ 19858 h 35661"/>
                <a:gd name="connsiteX2" fmla="*/ 16424 w 16424"/>
                <a:gd name="connsiteY2" fmla="*/ 0 h 35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24" h="35661">
                  <a:moveTo>
                    <a:pt x="16424" y="35661"/>
                  </a:moveTo>
                  <a:lnTo>
                    <a:pt x="0" y="19858"/>
                  </a:lnTo>
                  <a:lnTo>
                    <a:pt x="16424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3C113F76-2275-4CD3-8629-730BFE6915AD}"/>
                </a:ext>
              </a:extLst>
            </p:cNvPr>
            <p:cNvSpPr/>
            <p:nvPr/>
          </p:nvSpPr>
          <p:spPr>
            <a:xfrm rot="8716295">
              <a:off x="2829951" y="16337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7B2BDFC9-A5B6-45EA-A262-AC19DCF358A2}"/>
                </a:ext>
              </a:extLst>
            </p:cNvPr>
            <p:cNvSpPr/>
            <p:nvPr/>
          </p:nvSpPr>
          <p:spPr>
            <a:xfrm rot="8716295">
              <a:off x="2919343" y="16629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2A249ED1-9FC2-465F-B1C2-CE832E06DAAB}"/>
                </a:ext>
              </a:extLst>
            </p:cNvPr>
            <p:cNvSpPr/>
            <p:nvPr/>
          </p:nvSpPr>
          <p:spPr>
            <a:xfrm rot="8716295">
              <a:off x="2874493" y="157666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D737513C-09E2-4A85-9268-7028FEA47AEC}"/>
                </a:ext>
              </a:extLst>
            </p:cNvPr>
            <p:cNvSpPr/>
            <p:nvPr/>
          </p:nvSpPr>
          <p:spPr>
            <a:xfrm rot="8716295">
              <a:off x="2717717" y="172224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B6E113ED-200A-42D1-8A9B-64F2EA6FEC37}"/>
                </a:ext>
              </a:extLst>
            </p:cNvPr>
            <p:cNvSpPr/>
            <p:nvPr/>
          </p:nvSpPr>
          <p:spPr>
            <a:xfrm rot="8716295">
              <a:off x="2592814" y="151357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C7386AEF-343D-4F67-937B-2D8AE784432C}"/>
                </a:ext>
              </a:extLst>
            </p:cNvPr>
            <p:cNvSpPr/>
            <p:nvPr/>
          </p:nvSpPr>
          <p:spPr>
            <a:xfrm rot="8716295">
              <a:off x="2580762" y="137479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D18230E6-6046-4801-9551-295B7C3DC9AE}"/>
                </a:ext>
              </a:extLst>
            </p:cNvPr>
            <p:cNvSpPr/>
            <p:nvPr/>
          </p:nvSpPr>
          <p:spPr>
            <a:xfrm rot="8716295">
              <a:off x="2807895" y="176319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AA767CF2-B25B-4F2C-8315-830DDA4419B8}"/>
                </a:ext>
              </a:extLst>
            </p:cNvPr>
            <p:cNvSpPr/>
            <p:nvPr/>
          </p:nvSpPr>
          <p:spPr>
            <a:xfrm rot="8716295">
              <a:off x="3119050" y="138355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AAABA641-3338-40FA-9C39-41C30A22033E}"/>
                </a:ext>
              </a:extLst>
            </p:cNvPr>
            <p:cNvSpPr/>
            <p:nvPr/>
          </p:nvSpPr>
          <p:spPr>
            <a:xfrm rot="8716295">
              <a:off x="3209851" y="1424295"/>
              <a:ext cx="209149" cy="250692"/>
            </a:xfrm>
            <a:custGeom>
              <a:avLst/>
              <a:gdLst>
                <a:gd name="connsiteX0" fmla="*/ 147179 w 209149"/>
                <a:gd name="connsiteY0" fmla="*/ 93944 h 250692"/>
                <a:gd name="connsiteX1" fmla="*/ 147179 w 209149"/>
                <a:gd name="connsiteY1" fmla="*/ 77540 h 250692"/>
                <a:gd name="connsiteX2" fmla="*/ 137667 w 209149"/>
                <a:gd name="connsiteY2" fmla="*/ 47580 h 250692"/>
                <a:gd name="connsiteX3" fmla="*/ 123379 w 209149"/>
                <a:gd name="connsiteY3" fmla="*/ 40789 h 250692"/>
                <a:gd name="connsiteX4" fmla="*/ 157117 w 209149"/>
                <a:gd name="connsiteY4" fmla="*/ 0 h 250692"/>
                <a:gd name="connsiteX5" fmla="*/ 165512 w 209149"/>
                <a:gd name="connsiteY5" fmla="*/ 1459 h 250692"/>
                <a:gd name="connsiteX6" fmla="*/ 209149 w 209149"/>
                <a:gd name="connsiteY6" fmla="*/ 84375 h 250692"/>
                <a:gd name="connsiteX7" fmla="*/ 209149 w 209149"/>
                <a:gd name="connsiteY7" fmla="*/ 90299 h 250692"/>
                <a:gd name="connsiteX8" fmla="*/ 0 w 209149"/>
                <a:gd name="connsiteY8" fmla="*/ 250692 h 250692"/>
                <a:gd name="connsiteX9" fmla="*/ 0 w 209149"/>
                <a:gd name="connsiteY9" fmla="*/ 189958 h 250692"/>
                <a:gd name="connsiteX10" fmla="*/ 61066 w 209149"/>
                <a:gd name="connsiteY10" fmla="*/ 116127 h 250692"/>
                <a:gd name="connsiteX11" fmla="*/ 60148 w 209149"/>
                <a:gd name="connsiteY11" fmla="*/ 123562 h 250692"/>
                <a:gd name="connsiteX12" fmla="*/ 60148 w 209149"/>
                <a:gd name="connsiteY12" fmla="*/ 209683 h 250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9149" h="250692">
                  <a:moveTo>
                    <a:pt x="147179" y="93944"/>
                  </a:moveTo>
                  <a:lnTo>
                    <a:pt x="147179" y="77540"/>
                  </a:lnTo>
                  <a:cubicBezTo>
                    <a:pt x="147179" y="65237"/>
                    <a:pt x="143648" y="54871"/>
                    <a:pt x="137667" y="47580"/>
                  </a:cubicBezTo>
                  <a:lnTo>
                    <a:pt x="123379" y="40789"/>
                  </a:lnTo>
                  <a:lnTo>
                    <a:pt x="157117" y="0"/>
                  </a:lnTo>
                  <a:lnTo>
                    <a:pt x="165512" y="1459"/>
                  </a:lnTo>
                  <a:cubicBezTo>
                    <a:pt x="193258" y="12950"/>
                    <a:pt x="209149" y="41998"/>
                    <a:pt x="209149" y="84375"/>
                  </a:cubicBezTo>
                  <a:lnTo>
                    <a:pt x="209149" y="90299"/>
                  </a:lnTo>
                  <a:close/>
                  <a:moveTo>
                    <a:pt x="0" y="250692"/>
                  </a:moveTo>
                  <a:lnTo>
                    <a:pt x="0" y="189958"/>
                  </a:lnTo>
                  <a:lnTo>
                    <a:pt x="61066" y="116127"/>
                  </a:lnTo>
                  <a:lnTo>
                    <a:pt x="60148" y="123562"/>
                  </a:lnTo>
                  <a:lnTo>
                    <a:pt x="60148" y="2096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B2896D46-0FA6-4563-B073-9C0C36686641}"/>
                </a:ext>
              </a:extLst>
            </p:cNvPr>
            <p:cNvSpPr/>
            <p:nvPr/>
          </p:nvSpPr>
          <p:spPr>
            <a:xfrm rot="8716295">
              <a:off x="3006816" y="147209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6EEB717B-FEDB-4989-BE8E-3CB6F80A9A3D}"/>
                </a:ext>
              </a:extLst>
            </p:cNvPr>
            <p:cNvSpPr/>
            <p:nvPr/>
          </p:nvSpPr>
          <p:spPr>
            <a:xfrm rot="8716295">
              <a:off x="2881914" y="126342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F9A3D111-F2E6-4EEC-BA5F-E3F48E1BC144}"/>
                </a:ext>
              </a:extLst>
            </p:cNvPr>
            <p:cNvSpPr/>
            <p:nvPr/>
          </p:nvSpPr>
          <p:spPr>
            <a:xfrm rot="8716295">
              <a:off x="3096994" y="151304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F60E79F3-84EF-445B-800D-9716EB35B924}"/>
                </a:ext>
              </a:extLst>
            </p:cNvPr>
            <p:cNvSpPr/>
            <p:nvPr/>
          </p:nvSpPr>
          <p:spPr>
            <a:xfrm rot="8716295">
              <a:off x="2855543" y="136344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FDB4A4C0-E883-499D-A6D3-A301318DCD73}"/>
                </a:ext>
              </a:extLst>
            </p:cNvPr>
            <p:cNvSpPr/>
            <p:nvPr/>
          </p:nvSpPr>
          <p:spPr>
            <a:xfrm rot="7484129">
              <a:off x="3207325" y="1725125"/>
              <a:ext cx="156001" cy="194030"/>
            </a:xfrm>
            <a:custGeom>
              <a:avLst/>
              <a:gdLst>
                <a:gd name="connsiteX0" fmla="*/ 42863 w 156001"/>
                <a:gd name="connsiteY0" fmla="*/ 194030 h 194030"/>
                <a:gd name="connsiteX1" fmla="*/ 0 w 156001"/>
                <a:gd name="connsiteY1" fmla="*/ 114286 h 194030"/>
                <a:gd name="connsiteX2" fmla="*/ 11232 w 156001"/>
                <a:gd name="connsiteY2" fmla="*/ 83143 h 194030"/>
                <a:gd name="connsiteX3" fmla="*/ 156000 w 156001"/>
                <a:gd name="connsiteY3" fmla="*/ 0 h 194030"/>
                <a:gd name="connsiteX4" fmla="*/ 156001 w 156001"/>
                <a:gd name="connsiteY4" fmla="*/ 53480 h 194030"/>
                <a:gd name="connsiteX5" fmla="*/ 91208 w 156001"/>
                <a:gd name="connsiteY5" fmla="*/ 53480 h 194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6001" h="194030">
                  <a:moveTo>
                    <a:pt x="42863" y="194030"/>
                  </a:moveTo>
                  <a:lnTo>
                    <a:pt x="0" y="114286"/>
                  </a:lnTo>
                  <a:lnTo>
                    <a:pt x="11232" y="83143"/>
                  </a:lnTo>
                  <a:lnTo>
                    <a:pt x="156000" y="0"/>
                  </a:lnTo>
                  <a:lnTo>
                    <a:pt x="156001" y="53480"/>
                  </a:lnTo>
                  <a:lnTo>
                    <a:pt x="91208" y="5348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0B787B40-9B3B-4DF6-B826-D34E59D7A748}"/>
                </a:ext>
              </a:extLst>
            </p:cNvPr>
            <p:cNvSpPr/>
            <p:nvPr/>
          </p:nvSpPr>
          <p:spPr>
            <a:xfrm rot="8716295">
              <a:off x="3197279" y="140587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0A8098AC-35DA-4C71-BDFA-C584261AED79}"/>
                </a:ext>
              </a:extLst>
            </p:cNvPr>
            <p:cNvSpPr/>
            <p:nvPr/>
          </p:nvSpPr>
          <p:spPr>
            <a:xfrm rot="8716295">
              <a:off x="3356472" y="1273070"/>
              <a:ext cx="38162" cy="46138"/>
            </a:xfrm>
            <a:custGeom>
              <a:avLst/>
              <a:gdLst>
                <a:gd name="connsiteX0" fmla="*/ 0 w 38162"/>
                <a:gd name="connsiteY0" fmla="*/ 46138 h 46138"/>
                <a:gd name="connsiteX1" fmla="*/ 38162 w 38162"/>
                <a:gd name="connsiteY1" fmla="*/ 0 h 46138"/>
                <a:gd name="connsiteX2" fmla="*/ 35645 w 38162"/>
                <a:gd name="connsiteY2" fmla="*/ 12962 h 46138"/>
                <a:gd name="connsiteX3" fmla="*/ 22710 w 38162"/>
                <a:gd name="connsiteY3" fmla="*/ 32494 h 46138"/>
                <a:gd name="connsiteX4" fmla="*/ 3739 w 38162"/>
                <a:gd name="connsiteY4" fmla="*/ 45372 h 46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62" h="46138">
                  <a:moveTo>
                    <a:pt x="0" y="46138"/>
                  </a:moveTo>
                  <a:lnTo>
                    <a:pt x="38162" y="0"/>
                  </a:lnTo>
                  <a:lnTo>
                    <a:pt x="35645" y="12962"/>
                  </a:lnTo>
                  <a:cubicBezTo>
                    <a:pt x="32771" y="20076"/>
                    <a:pt x="28459" y="26745"/>
                    <a:pt x="22710" y="32494"/>
                  </a:cubicBezTo>
                  <a:cubicBezTo>
                    <a:pt x="17191" y="38013"/>
                    <a:pt x="10753" y="42382"/>
                    <a:pt x="3739" y="4537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C5475FFB-2FE6-47F1-ADB1-3564B7362FBC}"/>
                </a:ext>
              </a:extLst>
            </p:cNvPr>
            <p:cNvSpPr/>
            <p:nvPr/>
          </p:nvSpPr>
          <p:spPr>
            <a:xfrm rot="8716295">
              <a:off x="2606784" y="97400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9DEC1430-749E-4073-9884-D3917B891663}"/>
                </a:ext>
              </a:extLst>
            </p:cNvPr>
            <p:cNvSpPr/>
            <p:nvPr/>
          </p:nvSpPr>
          <p:spPr>
            <a:xfrm rot="8716295">
              <a:off x="2696176" y="100324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626F965F-1168-4906-A312-B88FB685E6C8}"/>
                </a:ext>
              </a:extLst>
            </p:cNvPr>
            <p:cNvSpPr/>
            <p:nvPr/>
          </p:nvSpPr>
          <p:spPr>
            <a:xfrm rot="8716295">
              <a:off x="2651326" y="91696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63FEE4FF-1D87-4CAE-9FA8-9CF6A9D96EFB}"/>
                </a:ext>
              </a:extLst>
            </p:cNvPr>
            <p:cNvSpPr/>
            <p:nvPr/>
          </p:nvSpPr>
          <p:spPr>
            <a:xfrm rot="8716295">
              <a:off x="2494550" y="106254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BC11557D-3B0F-4F99-BB1C-10D4CD358771}"/>
                </a:ext>
              </a:extLst>
            </p:cNvPr>
            <p:cNvSpPr/>
            <p:nvPr/>
          </p:nvSpPr>
          <p:spPr>
            <a:xfrm rot="8716295">
              <a:off x="2369647" y="85387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1BF9B5DD-16B3-4C9A-A0CB-19167186C695}"/>
                </a:ext>
              </a:extLst>
            </p:cNvPr>
            <p:cNvSpPr/>
            <p:nvPr/>
          </p:nvSpPr>
          <p:spPr>
            <a:xfrm rot="8716295">
              <a:off x="2357595" y="71509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4BDAD41E-2E62-46D5-8972-DD9B42CE139E}"/>
                </a:ext>
              </a:extLst>
            </p:cNvPr>
            <p:cNvSpPr/>
            <p:nvPr/>
          </p:nvSpPr>
          <p:spPr>
            <a:xfrm rot="8716295">
              <a:off x="2584728" y="110350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49E7137B-1AE9-4612-BDE2-1AD75C253D82}"/>
                </a:ext>
              </a:extLst>
            </p:cNvPr>
            <p:cNvSpPr/>
            <p:nvPr/>
          </p:nvSpPr>
          <p:spPr>
            <a:xfrm rot="8716295">
              <a:off x="2895883" y="72385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FB51623D-A683-4809-B6F7-B7284C8425E7}"/>
                </a:ext>
              </a:extLst>
            </p:cNvPr>
            <p:cNvSpPr/>
            <p:nvPr/>
          </p:nvSpPr>
          <p:spPr>
            <a:xfrm rot="8716295">
              <a:off x="2985275" y="75309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281173AB-108D-4FE0-B6D3-50708833EE4A}"/>
                </a:ext>
              </a:extLst>
            </p:cNvPr>
            <p:cNvSpPr/>
            <p:nvPr/>
          </p:nvSpPr>
          <p:spPr>
            <a:xfrm rot="8716295">
              <a:off x="2783649" y="81239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BF07C4A0-5324-4C7F-B4EC-CC1184768828}"/>
                </a:ext>
              </a:extLst>
            </p:cNvPr>
            <p:cNvSpPr/>
            <p:nvPr/>
          </p:nvSpPr>
          <p:spPr>
            <a:xfrm rot="8716295">
              <a:off x="2658747" y="60372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6C1ACB1E-5691-49AE-AB29-06C5DC240D79}"/>
                </a:ext>
              </a:extLst>
            </p:cNvPr>
            <p:cNvSpPr/>
            <p:nvPr/>
          </p:nvSpPr>
          <p:spPr>
            <a:xfrm rot="8716295">
              <a:off x="2873827" y="85334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BBA32666-AB2E-4FC3-AC66-C412DC6DB6FE}"/>
                </a:ext>
              </a:extLst>
            </p:cNvPr>
            <p:cNvSpPr/>
            <p:nvPr/>
          </p:nvSpPr>
          <p:spPr>
            <a:xfrm rot="8716295">
              <a:off x="2632376" y="70374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446CB3B3-0538-4236-9A2B-B81F3C70F649}"/>
                </a:ext>
              </a:extLst>
            </p:cNvPr>
            <p:cNvSpPr/>
            <p:nvPr/>
          </p:nvSpPr>
          <p:spPr>
            <a:xfrm rot="7484129">
              <a:off x="2978758" y="10446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6FEF6605-DD46-4B6F-9434-E75F685EB3F1}"/>
                </a:ext>
              </a:extLst>
            </p:cNvPr>
            <p:cNvSpPr/>
            <p:nvPr/>
          </p:nvSpPr>
          <p:spPr>
            <a:xfrm rot="13089394">
              <a:off x="3083578" y="101123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5FAEA535-E5DC-4ECD-AC87-B4CF523A4E30}"/>
                </a:ext>
              </a:extLst>
            </p:cNvPr>
            <p:cNvSpPr/>
            <p:nvPr/>
          </p:nvSpPr>
          <p:spPr>
            <a:xfrm rot="8716295">
              <a:off x="3269163" y="81955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C4FD16EB-0DAD-4759-8354-258732BCDC6A}"/>
                </a:ext>
              </a:extLst>
            </p:cNvPr>
            <p:cNvSpPr/>
            <p:nvPr/>
          </p:nvSpPr>
          <p:spPr>
            <a:xfrm rot="8716295">
              <a:off x="3217358" y="71595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C79D5733-4C6C-4FFD-A38D-A89F64FE54C8}"/>
                </a:ext>
              </a:extLst>
            </p:cNvPr>
            <p:cNvSpPr/>
            <p:nvPr/>
          </p:nvSpPr>
          <p:spPr>
            <a:xfrm rot="8716295">
              <a:off x="2974112" y="74618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133AF81E-5F8E-4D81-87C0-011CC96E3CC9}"/>
                </a:ext>
              </a:extLst>
            </p:cNvPr>
            <p:cNvSpPr/>
            <p:nvPr/>
          </p:nvSpPr>
          <p:spPr>
            <a:xfrm rot="8716295">
              <a:off x="3151564" y="58693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F5BAA1B0-C7A6-44B2-8867-FEAE18AC26E8}"/>
                </a:ext>
              </a:extLst>
            </p:cNvPr>
            <p:cNvSpPr/>
            <p:nvPr/>
          </p:nvSpPr>
          <p:spPr>
            <a:xfrm rot="8716295">
              <a:off x="2387845" y="31194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orme libre : forme 58">
              <a:extLst>
                <a:ext uri="{FF2B5EF4-FFF2-40B4-BE49-F238E27FC236}">
                  <a16:creationId xmlns:a16="http://schemas.microsoft.com/office/drawing/2014/main" id="{B51F8FF7-DB45-4A7D-B87B-E8E0B15A9D38}"/>
                </a:ext>
              </a:extLst>
            </p:cNvPr>
            <p:cNvSpPr/>
            <p:nvPr/>
          </p:nvSpPr>
          <p:spPr>
            <a:xfrm rot="8716295">
              <a:off x="2477237" y="34118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orme libre : forme 59">
              <a:extLst>
                <a:ext uri="{FF2B5EF4-FFF2-40B4-BE49-F238E27FC236}">
                  <a16:creationId xmlns:a16="http://schemas.microsoft.com/office/drawing/2014/main" id="{1950BE25-03A0-4561-B14B-331445B0D0C3}"/>
                </a:ext>
              </a:extLst>
            </p:cNvPr>
            <p:cNvSpPr/>
            <p:nvPr/>
          </p:nvSpPr>
          <p:spPr>
            <a:xfrm rot="8716295">
              <a:off x="2432387" y="254908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orme libre : forme 60">
              <a:extLst>
                <a:ext uri="{FF2B5EF4-FFF2-40B4-BE49-F238E27FC236}">
                  <a16:creationId xmlns:a16="http://schemas.microsoft.com/office/drawing/2014/main" id="{1E041962-91AE-4D89-B179-1A31E1910CF1}"/>
                </a:ext>
              </a:extLst>
            </p:cNvPr>
            <p:cNvSpPr/>
            <p:nvPr/>
          </p:nvSpPr>
          <p:spPr>
            <a:xfrm rot="8716295">
              <a:off x="2275611" y="40049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orme libre : forme 61">
              <a:extLst>
                <a:ext uri="{FF2B5EF4-FFF2-40B4-BE49-F238E27FC236}">
                  <a16:creationId xmlns:a16="http://schemas.microsoft.com/office/drawing/2014/main" id="{376CFCCF-38DC-4A35-AA3F-E03998AD805A}"/>
                </a:ext>
              </a:extLst>
            </p:cNvPr>
            <p:cNvSpPr/>
            <p:nvPr/>
          </p:nvSpPr>
          <p:spPr>
            <a:xfrm rot="8716295">
              <a:off x="2150708" y="19181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orme libre : forme 62">
              <a:extLst>
                <a:ext uri="{FF2B5EF4-FFF2-40B4-BE49-F238E27FC236}">
                  <a16:creationId xmlns:a16="http://schemas.microsoft.com/office/drawing/2014/main" id="{68D158FE-3FEF-4222-A8A6-28BC2EB41760}"/>
                </a:ext>
              </a:extLst>
            </p:cNvPr>
            <p:cNvSpPr/>
            <p:nvPr/>
          </p:nvSpPr>
          <p:spPr>
            <a:xfrm rot="8716295">
              <a:off x="2138656" y="53037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orme libre : forme 63">
              <a:extLst>
                <a:ext uri="{FF2B5EF4-FFF2-40B4-BE49-F238E27FC236}">
                  <a16:creationId xmlns:a16="http://schemas.microsoft.com/office/drawing/2014/main" id="{DC9E9862-78FC-4213-B2E2-61DF3173636D}"/>
                </a:ext>
              </a:extLst>
            </p:cNvPr>
            <p:cNvSpPr/>
            <p:nvPr/>
          </p:nvSpPr>
          <p:spPr>
            <a:xfrm rot="8716295">
              <a:off x="2365789" y="441442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orme libre : forme 64">
              <a:extLst>
                <a:ext uri="{FF2B5EF4-FFF2-40B4-BE49-F238E27FC236}">
                  <a16:creationId xmlns:a16="http://schemas.microsoft.com/office/drawing/2014/main" id="{8722DBD7-5E81-4E3D-870A-6CD5E129D96B}"/>
                </a:ext>
              </a:extLst>
            </p:cNvPr>
            <p:cNvSpPr/>
            <p:nvPr/>
          </p:nvSpPr>
          <p:spPr>
            <a:xfrm rot="8716295">
              <a:off x="2676944" y="6179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orme libre : forme 65">
              <a:extLst>
                <a:ext uri="{FF2B5EF4-FFF2-40B4-BE49-F238E27FC236}">
                  <a16:creationId xmlns:a16="http://schemas.microsoft.com/office/drawing/2014/main" id="{43ED8C5C-290C-4E36-A603-A668764D918E}"/>
                </a:ext>
              </a:extLst>
            </p:cNvPr>
            <p:cNvSpPr/>
            <p:nvPr/>
          </p:nvSpPr>
          <p:spPr>
            <a:xfrm rot="8716295">
              <a:off x="2766336" y="9103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orme libre : forme 66">
              <a:extLst>
                <a:ext uri="{FF2B5EF4-FFF2-40B4-BE49-F238E27FC236}">
                  <a16:creationId xmlns:a16="http://schemas.microsoft.com/office/drawing/2014/main" id="{143AD9CC-AEFC-4AE6-ADAB-C03B27727981}"/>
                </a:ext>
              </a:extLst>
            </p:cNvPr>
            <p:cNvSpPr/>
            <p:nvPr/>
          </p:nvSpPr>
          <p:spPr>
            <a:xfrm rot="8716295">
              <a:off x="2564710" y="15033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03CE5A8E-699E-421E-ABA5-42929237719B}"/>
                </a:ext>
              </a:extLst>
            </p:cNvPr>
            <p:cNvSpPr/>
            <p:nvPr/>
          </p:nvSpPr>
          <p:spPr>
            <a:xfrm rot="8716295">
              <a:off x="2448552" y="-16031"/>
              <a:ext cx="203847" cy="149340"/>
            </a:xfrm>
            <a:custGeom>
              <a:avLst/>
              <a:gdLst>
                <a:gd name="connsiteX0" fmla="*/ 106716 w 203847"/>
                <a:gd name="connsiteY0" fmla="*/ 149340 h 149340"/>
                <a:gd name="connsiteX1" fmla="*/ 50038 w 203847"/>
                <a:gd name="connsiteY1" fmla="*/ 110053 h 149340"/>
                <a:gd name="connsiteX2" fmla="*/ 69777 w 203847"/>
                <a:gd name="connsiteY2" fmla="*/ 55323 h 149340"/>
                <a:gd name="connsiteX3" fmla="*/ 0 w 203847"/>
                <a:gd name="connsiteY3" fmla="*/ 55323 h 149340"/>
                <a:gd name="connsiteX4" fmla="*/ 0 w 203847"/>
                <a:gd name="connsiteY4" fmla="*/ 0 h 149340"/>
                <a:gd name="connsiteX5" fmla="*/ 203847 w 203847"/>
                <a:gd name="connsiteY5" fmla="*/ 0 h 149340"/>
                <a:gd name="connsiteX6" fmla="*/ 203847 w 203847"/>
                <a:gd name="connsiteY6" fmla="*/ 55323 h 149340"/>
                <a:gd name="connsiteX7" fmla="*/ 139055 w 203847"/>
                <a:gd name="connsiteY7" fmla="*/ 55323 h 14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49340">
                  <a:moveTo>
                    <a:pt x="106716" y="149340"/>
                  </a:moveTo>
                  <a:lnTo>
                    <a:pt x="50038" y="110053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orme libre : forme 68">
              <a:extLst>
                <a:ext uri="{FF2B5EF4-FFF2-40B4-BE49-F238E27FC236}">
                  <a16:creationId xmlns:a16="http://schemas.microsoft.com/office/drawing/2014/main" id="{4F51AFD5-9DB6-4DCA-8489-09E9C4297801}"/>
                </a:ext>
              </a:extLst>
            </p:cNvPr>
            <p:cNvSpPr/>
            <p:nvPr/>
          </p:nvSpPr>
          <p:spPr>
            <a:xfrm rot="8716295">
              <a:off x="2654888" y="191290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orme libre : forme 69">
              <a:extLst>
                <a:ext uri="{FF2B5EF4-FFF2-40B4-BE49-F238E27FC236}">
                  <a16:creationId xmlns:a16="http://schemas.microsoft.com/office/drawing/2014/main" id="{A2ECF224-799C-4DC5-AB51-FEB15AA2B828}"/>
                </a:ext>
              </a:extLst>
            </p:cNvPr>
            <p:cNvSpPr/>
            <p:nvPr/>
          </p:nvSpPr>
          <p:spPr>
            <a:xfrm rot="8716295">
              <a:off x="2413437" y="41690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orme libre : forme 70">
              <a:extLst>
                <a:ext uri="{FF2B5EF4-FFF2-40B4-BE49-F238E27FC236}">
                  <a16:creationId xmlns:a16="http://schemas.microsoft.com/office/drawing/2014/main" id="{1302BF26-B64E-4C90-894D-A7C67007EE36}"/>
                </a:ext>
              </a:extLst>
            </p:cNvPr>
            <p:cNvSpPr/>
            <p:nvPr/>
          </p:nvSpPr>
          <p:spPr>
            <a:xfrm rot="7484129">
              <a:off x="2759819" y="38264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orme libre : forme 71">
              <a:extLst>
                <a:ext uri="{FF2B5EF4-FFF2-40B4-BE49-F238E27FC236}">
                  <a16:creationId xmlns:a16="http://schemas.microsoft.com/office/drawing/2014/main" id="{170CE256-57E7-488F-BBB2-5B7F98B8FB76}"/>
                </a:ext>
              </a:extLst>
            </p:cNvPr>
            <p:cNvSpPr/>
            <p:nvPr/>
          </p:nvSpPr>
          <p:spPr>
            <a:xfrm rot="13089394">
              <a:off x="2864639" y="349175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orme libre : forme 72">
              <a:extLst>
                <a:ext uri="{FF2B5EF4-FFF2-40B4-BE49-F238E27FC236}">
                  <a16:creationId xmlns:a16="http://schemas.microsoft.com/office/drawing/2014/main" id="{5E848AEE-AD50-4EC7-B6E2-006804A78B57}"/>
                </a:ext>
              </a:extLst>
            </p:cNvPr>
            <p:cNvSpPr/>
            <p:nvPr/>
          </p:nvSpPr>
          <p:spPr>
            <a:xfrm rot="8716295">
              <a:off x="3050224" y="157494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" name="Forme libre : forme 73">
              <a:extLst>
                <a:ext uri="{FF2B5EF4-FFF2-40B4-BE49-F238E27FC236}">
                  <a16:creationId xmlns:a16="http://schemas.microsoft.com/office/drawing/2014/main" id="{BEE1CAE8-6503-4A10-B1BA-C6183C9E0E74}"/>
                </a:ext>
              </a:extLst>
            </p:cNvPr>
            <p:cNvSpPr/>
            <p:nvPr/>
          </p:nvSpPr>
          <p:spPr>
            <a:xfrm rot="8716295">
              <a:off x="2998419" y="5390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" name="Forme libre : forme 74">
              <a:extLst>
                <a:ext uri="{FF2B5EF4-FFF2-40B4-BE49-F238E27FC236}">
                  <a16:creationId xmlns:a16="http://schemas.microsoft.com/office/drawing/2014/main" id="{34A8E996-3975-4581-B536-E2CE9D88EBFE}"/>
                </a:ext>
              </a:extLst>
            </p:cNvPr>
            <p:cNvSpPr/>
            <p:nvPr/>
          </p:nvSpPr>
          <p:spPr>
            <a:xfrm rot="8716295">
              <a:off x="2755173" y="8412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" name="Forme libre : forme 75">
              <a:extLst>
                <a:ext uri="{FF2B5EF4-FFF2-40B4-BE49-F238E27FC236}">
                  <a16:creationId xmlns:a16="http://schemas.microsoft.com/office/drawing/2014/main" id="{3BE41751-0FE9-4A5C-97A5-9AF2319641D6}"/>
                </a:ext>
              </a:extLst>
            </p:cNvPr>
            <p:cNvSpPr/>
            <p:nvPr/>
          </p:nvSpPr>
          <p:spPr>
            <a:xfrm rot="8716295">
              <a:off x="2940014" y="-28690"/>
              <a:ext cx="88664" cy="70660"/>
            </a:xfrm>
            <a:custGeom>
              <a:avLst/>
              <a:gdLst>
                <a:gd name="connsiteX0" fmla="*/ 83649 w 88664"/>
                <a:gd name="connsiteY0" fmla="*/ 70660 h 70660"/>
                <a:gd name="connsiteX1" fmla="*/ 0 w 88664"/>
                <a:gd name="connsiteY1" fmla="*/ 12677 h 70660"/>
                <a:gd name="connsiteX2" fmla="*/ 30024 w 88664"/>
                <a:gd name="connsiteY2" fmla="*/ 0 h 70660"/>
                <a:gd name="connsiteX3" fmla="*/ 71417 w 88664"/>
                <a:gd name="connsiteY3" fmla="*/ 17477 h 70660"/>
                <a:gd name="connsiteX4" fmla="*/ 88664 w 88664"/>
                <a:gd name="connsiteY4" fmla="*/ 58525 h 70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664" h="70660">
                  <a:moveTo>
                    <a:pt x="83649" y="70660"/>
                  </a:moveTo>
                  <a:lnTo>
                    <a:pt x="0" y="12677"/>
                  </a:lnTo>
                  <a:lnTo>
                    <a:pt x="30024" y="0"/>
                  </a:lnTo>
                  <a:cubicBezTo>
                    <a:pt x="45662" y="0"/>
                    <a:pt x="60379" y="6439"/>
                    <a:pt x="71417" y="17477"/>
                  </a:cubicBezTo>
                  <a:cubicBezTo>
                    <a:pt x="82915" y="28515"/>
                    <a:pt x="88664" y="43462"/>
                    <a:pt x="88664" y="58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" name="Forme libre : forme 76">
              <a:extLst>
                <a:ext uri="{FF2B5EF4-FFF2-40B4-BE49-F238E27FC236}">
                  <a16:creationId xmlns:a16="http://schemas.microsoft.com/office/drawing/2014/main" id="{7C593DEA-1D52-4373-8D6B-6BD1BBF8835C}"/>
                </a:ext>
              </a:extLst>
            </p:cNvPr>
            <p:cNvSpPr/>
            <p:nvPr/>
          </p:nvSpPr>
          <p:spPr>
            <a:xfrm rot="13089394">
              <a:off x="2740820" y="-30870"/>
              <a:ext cx="73521" cy="76374"/>
            </a:xfrm>
            <a:custGeom>
              <a:avLst/>
              <a:gdLst>
                <a:gd name="connsiteX0" fmla="*/ 73521 w 73521"/>
                <a:gd name="connsiteY0" fmla="*/ 18609 h 76374"/>
                <a:gd name="connsiteX1" fmla="*/ 0 w 73521"/>
                <a:gd name="connsiteY1" fmla="*/ 76374 h 76374"/>
                <a:gd name="connsiteX2" fmla="*/ 0 w 73521"/>
                <a:gd name="connsiteY2" fmla="*/ 38074 h 76374"/>
                <a:gd name="connsiteX3" fmla="*/ 73388 w 73521"/>
                <a:gd name="connsiteY3" fmla="*/ 0 h 7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521" h="76374">
                  <a:moveTo>
                    <a:pt x="73521" y="18609"/>
                  </a:moveTo>
                  <a:lnTo>
                    <a:pt x="0" y="76374"/>
                  </a:lnTo>
                  <a:lnTo>
                    <a:pt x="0" y="38074"/>
                  </a:lnTo>
                  <a:lnTo>
                    <a:pt x="7338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" name="Forme libre : forme 77">
              <a:extLst>
                <a:ext uri="{FF2B5EF4-FFF2-40B4-BE49-F238E27FC236}">
                  <a16:creationId xmlns:a16="http://schemas.microsoft.com/office/drawing/2014/main" id="{31F42A73-BF6E-4A9E-A2F6-7111DF0FD878}"/>
                </a:ext>
              </a:extLst>
            </p:cNvPr>
            <p:cNvSpPr/>
            <p:nvPr/>
          </p:nvSpPr>
          <p:spPr>
            <a:xfrm rot="8716295">
              <a:off x="2166753" y="273158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orme libre : forme 78">
              <a:extLst>
                <a:ext uri="{FF2B5EF4-FFF2-40B4-BE49-F238E27FC236}">
                  <a16:creationId xmlns:a16="http://schemas.microsoft.com/office/drawing/2014/main" id="{863BEFD8-472A-4A82-B952-ACFEE2251E69}"/>
                </a:ext>
              </a:extLst>
            </p:cNvPr>
            <p:cNvSpPr/>
            <p:nvPr/>
          </p:nvSpPr>
          <p:spPr>
            <a:xfrm rot="8716295">
              <a:off x="2256145" y="276082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Forme libre : forme 79">
              <a:extLst>
                <a:ext uri="{FF2B5EF4-FFF2-40B4-BE49-F238E27FC236}">
                  <a16:creationId xmlns:a16="http://schemas.microsoft.com/office/drawing/2014/main" id="{9D41F395-157D-4566-AD0B-619CCA4FE6BE}"/>
                </a:ext>
              </a:extLst>
            </p:cNvPr>
            <p:cNvSpPr/>
            <p:nvPr/>
          </p:nvSpPr>
          <p:spPr>
            <a:xfrm rot="8716295">
              <a:off x="2211295" y="2674548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" name="Forme libre : forme 80">
              <a:extLst>
                <a:ext uri="{FF2B5EF4-FFF2-40B4-BE49-F238E27FC236}">
                  <a16:creationId xmlns:a16="http://schemas.microsoft.com/office/drawing/2014/main" id="{BF76F399-DC6B-4DE2-9E3A-1FFB94BB6465}"/>
                </a:ext>
              </a:extLst>
            </p:cNvPr>
            <p:cNvSpPr/>
            <p:nvPr/>
          </p:nvSpPr>
          <p:spPr>
            <a:xfrm rot="8716295">
              <a:off x="2054519" y="28201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orme libre : forme 81">
              <a:extLst>
                <a:ext uri="{FF2B5EF4-FFF2-40B4-BE49-F238E27FC236}">
                  <a16:creationId xmlns:a16="http://schemas.microsoft.com/office/drawing/2014/main" id="{3065D63F-B336-46ED-922F-641AF1B7B83C}"/>
                </a:ext>
              </a:extLst>
            </p:cNvPr>
            <p:cNvSpPr/>
            <p:nvPr/>
          </p:nvSpPr>
          <p:spPr>
            <a:xfrm rot="8716295">
              <a:off x="1929616" y="261145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Forme libre : forme 82">
              <a:extLst>
                <a:ext uri="{FF2B5EF4-FFF2-40B4-BE49-F238E27FC236}">
                  <a16:creationId xmlns:a16="http://schemas.microsoft.com/office/drawing/2014/main" id="{68BC6F5F-0186-40DD-8404-566D70BB9E99}"/>
                </a:ext>
              </a:extLst>
            </p:cNvPr>
            <p:cNvSpPr/>
            <p:nvPr/>
          </p:nvSpPr>
          <p:spPr>
            <a:xfrm rot="8716295">
              <a:off x="1917564" y="2472677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4" name="Forme libre : forme 83">
              <a:extLst>
                <a:ext uri="{FF2B5EF4-FFF2-40B4-BE49-F238E27FC236}">
                  <a16:creationId xmlns:a16="http://schemas.microsoft.com/office/drawing/2014/main" id="{E12469CC-5FF5-4C57-A661-5C5E14481CD9}"/>
                </a:ext>
              </a:extLst>
            </p:cNvPr>
            <p:cNvSpPr/>
            <p:nvPr/>
          </p:nvSpPr>
          <p:spPr>
            <a:xfrm rot="8716295">
              <a:off x="2144697" y="2861082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5" name="Forme libre : forme 84">
              <a:extLst>
                <a:ext uri="{FF2B5EF4-FFF2-40B4-BE49-F238E27FC236}">
                  <a16:creationId xmlns:a16="http://schemas.microsoft.com/office/drawing/2014/main" id="{30210F38-CF8D-4D63-B79E-43CAC77B4950}"/>
                </a:ext>
              </a:extLst>
            </p:cNvPr>
            <p:cNvSpPr/>
            <p:nvPr/>
          </p:nvSpPr>
          <p:spPr>
            <a:xfrm rot="8716295">
              <a:off x="2455852" y="248143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6" name="Forme libre : forme 85">
              <a:extLst>
                <a:ext uri="{FF2B5EF4-FFF2-40B4-BE49-F238E27FC236}">
                  <a16:creationId xmlns:a16="http://schemas.microsoft.com/office/drawing/2014/main" id="{695A233A-6503-484C-8F4F-186E71E5B99E}"/>
                </a:ext>
              </a:extLst>
            </p:cNvPr>
            <p:cNvSpPr/>
            <p:nvPr/>
          </p:nvSpPr>
          <p:spPr>
            <a:xfrm rot="8716295">
              <a:off x="2545244" y="251067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7" name="Forme libre : forme 86">
              <a:extLst>
                <a:ext uri="{FF2B5EF4-FFF2-40B4-BE49-F238E27FC236}">
                  <a16:creationId xmlns:a16="http://schemas.microsoft.com/office/drawing/2014/main" id="{C4016FC8-3862-4EDD-AD90-D27F3C486D6C}"/>
                </a:ext>
              </a:extLst>
            </p:cNvPr>
            <p:cNvSpPr/>
            <p:nvPr/>
          </p:nvSpPr>
          <p:spPr>
            <a:xfrm rot="8716295">
              <a:off x="2343618" y="256997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8" name="Forme libre : forme 87">
              <a:extLst>
                <a:ext uri="{FF2B5EF4-FFF2-40B4-BE49-F238E27FC236}">
                  <a16:creationId xmlns:a16="http://schemas.microsoft.com/office/drawing/2014/main" id="{841AD7D6-9A1D-47F3-B8D0-0F3912F8A2E1}"/>
                </a:ext>
              </a:extLst>
            </p:cNvPr>
            <p:cNvSpPr/>
            <p:nvPr/>
          </p:nvSpPr>
          <p:spPr>
            <a:xfrm rot="8716295">
              <a:off x="2218716" y="236130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9" name="Forme libre : forme 88">
              <a:extLst>
                <a:ext uri="{FF2B5EF4-FFF2-40B4-BE49-F238E27FC236}">
                  <a16:creationId xmlns:a16="http://schemas.microsoft.com/office/drawing/2014/main" id="{70BCC5A3-9952-4F01-975F-6F986E6B55DD}"/>
                </a:ext>
              </a:extLst>
            </p:cNvPr>
            <p:cNvSpPr/>
            <p:nvPr/>
          </p:nvSpPr>
          <p:spPr>
            <a:xfrm rot="8716295">
              <a:off x="2433796" y="2610930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" name="Forme libre : forme 89">
              <a:extLst>
                <a:ext uri="{FF2B5EF4-FFF2-40B4-BE49-F238E27FC236}">
                  <a16:creationId xmlns:a16="http://schemas.microsoft.com/office/drawing/2014/main" id="{48292A7A-33E9-4FF2-9525-C481018D3541}"/>
                </a:ext>
              </a:extLst>
            </p:cNvPr>
            <p:cNvSpPr/>
            <p:nvPr/>
          </p:nvSpPr>
          <p:spPr>
            <a:xfrm rot="8716295">
              <a:off x="2192345" y="2461330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" name="Forme libre : forme 90">
              <a:extLst>
                <a:ext uri="{FF2B5EF4-FFF2-40B4-BE49-F238E27FC236}">
                  <a16:creationId xmlns:a16="http://schemas.microsoft.com/office/drawing/2014/main" id="{3C5BF462-E2E4-4E2E-A187-F82081942730}"/>
                </a:ext>
              </a:extLst>
            </p:cNvPr>
            <p:cNvSpPr/>
            <p:nvPr/>
          </p:nvSpPr>
          <p:spPr>
            <a:xfrm rot="7484129">
              <a:off x="2538727" y="280228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" name="Forme libre : forme 91">
              <a:extLst>
                <a:ext uri="{FF2B5EF4-FFF2-40B4-BE49-F238E27FC236}">
                  <a16:creationId xmlns:a16="http://schemas.microsoft.com/office/drawing/2014/main" id="{53F93EE7-2FCB-4993-A211-9ABCA8AB16A1}"/>
                </a:ext>
              </a:extLst>
            </p:cNvPr>
            <p:cNvSpPr/>
            <p:nvPr/>
          </p:nvSpPr>
          <p:spPr>
            <a:xfrm rot="13089394">
              <a:off x="2643547" y="2768815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" name="Forme libre : forme 92">
              <a:extLst>
                <a:ext uri="{FF2B5EF4-FFF2-40B4-BE49-F238E27FC236}">
                  <a16:creationId xmlns:a16="http://schemas.microsoft.com/office/drawing/2014/main" id="{ACCCC6BB-9AC5-40F1-8FDF-2D7AAA4F97CC}"/>
                </a:ext>
              </a:extLst>
            </p:cNvPr>
            <p:cNvSpPr/>
            <p:nvPr/>
          </p:nvSpPr>
          <p:spPr>
            <a:xfrm rot="8716295">
              <a:off x="2829132" y="2577134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" name="Forme libre : forme 93">
              <a:extLst>
                <a:ext uri="{FF2B5EF4-FFF2-40B4-BE49-F238E27FC236}">
                  <a16:creationId xmlns:a16="http://schemas.microsoft.com/office/drawing/2014/main" id="{C83E96A9-D46F-4FBD-BA31-A3DDCAF05013}"/>
                </a:ext>
              </a:extLst>
            </p:cNvPr>
            <p:cNvSpPr/>
            <p:nvPr/>
          </p:nvSpPr>
          <p:spPr>
            <a:xfrm rot="8716295">
              <a:off x="2777327" y="247354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orme libre : forme 94">
              <a:extLst>
                <a:ext uri="{FF2B5EF4-FFF2-40B4-BE49-F238E27FC236}">
                  <a16:creationId xmlns:a16="http://schemas.microsoft.com/office/drawing/2014/main" id="{819524D5-42FD-49C2-A52C-138204093572}"/>
                </a:ext>
              </a:extLst>
            </p:cNvPr>
            <p:cNvSpPr/>
            <p:nvPr/>
          </p:nvSpPr>
          <p:spPr>
            <a:xfrm rot="8716295">
              <a:off x="2534081" y="250376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Forme libre : forme 95">
              <a:extLst>
                <a:ext uri="{FF2B5EF4-FFF2-40B4-BE49-F238E27FC236}">
                  <a16:creationId xmlns:a16="http://schemas.microsoft.com/office/drawing/2014/main" id="{D4292037-242B-4F99-8EE6-4056BF8CE17A}"/>
                </a:ext>
              </a:extLst>
            </p:cNvPr>
            <p:cNvSpPr/>
            <p:nvPr/>
          </p:nvSpPr>
          <p:spPr>
            <a:xfrm rot="8716295">
              <a:off x="2711533" y="234452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" name="Forme libre : forme 96">
              <a:extLst>
                <a:ext uri="{FF2B5EF4-FFF2-40B4-BE49-F238E27FC236}">
                  <a16:creationId xmlns:a16="http://schemas.microsoft.com/office/drawing/2014/main" id="{B300D5E8-99AD-4100-BBB0-F9335C60ABF1}"/>
                </a:ext>
              </a:extLst>
            </p:cNvPr>
            <p:cNvSpPr/>
            <p:nvPr/>
          </p:nvSpPr>
          <p:spPr>
            <a:xfrm rot="8716295">
              <a:off x="2389920" y="339128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" name="Forme libre : forme 97">
              <a:extLst>
                <a:ext uri="{FF2B5EF4-FFF2-40B4-BE49-F238E27FC236}">
                  <a16:creationId xmlns:a16="http://schemas.microsoft.com/office/drawing/2014/main" id="{050E0B4C-4868-4ECB-B52A-F4534FB3428C}"/>
                </a:ext>
              </a:extLst>
            </p:cNvPr>
            <p:cNvSpPr/>
            <p:nvPr/>
          </p:nvSpPr>
          <p:spPr>
            <a:xfrm rot="8716295">
              <a:off x="2479312" y="342052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" name="Forme libre : forme 98">
              <a:extLst>
                <a:ext uri="{FF2B5EF4-FFF2-40B4-BE49-F238E27FC236}">
                  <a16:creationId xmlns:a16="http://schemas.microsoft.com/office/drawing/2014/main" id="{2B753CAD-2E05-40BF-8117-865D3F8A49DD}"/>
                </a:ext>
              </a:extLst>
            </p:cNvPr>
            <p:cNvSpPr/>
            <p:nvPr/>
          </p:nvSpPr>
          <p:spPr>
            <a:xfrm rot="8716295">
              <a:off x="2434462" y="333424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orme libre : forme 99">
              <a:extLst>
                <a:ext uri="{FF2B5EF4-FFF2-40B4-BE49-F238E27FC236}">
                  <a16:creationId xmlns:a16="http://schemas.microsoft.com/office/drawing/2014/main" id="{5C8FF835-B7A5-4E03-BDCA-7B70EA22A6CB}"/>
                </a:ext>
              </a:extLst>
            </p:cNvPr>
            <p:cNvSpPr/>
            <p:nvPr/>
          </p:nvSpPr>
          <p:spPr>
            <a:xfrm rot="8716295">
              <a:off x="2277686" y="347982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Forme libre : forme 100">
              <a:extLst>
                <a:ext uri="{FF2B5EF4-FFF2-40B4-BE49-F238E27FC236}">
                  <a16:creationId xmlns:a16="http://schemas.microsoft.com/office/drawing/2014/main" id="{E640627F-DD46-4D4D-BFB7-C32CE4CD2C6E}"/>
                </a:ext>
              </a:extLst>
            </p:cNvPr>
            <p:cNvSpPr/>
            <p:nvPr/>
          </p:nvSpPr>
          <p:spPr>
            <a:xfrm rot="8716295">
              <a:off x="2152783" y="327115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" name="Forme libre : forme 101">
              <a:extLst>
                <a:ext uri="{FF2B5EF4-FFF2-40B4-BE49-F238E27FC236}">
                  <a16:creationId xmlns:a16="http://schemas.microsoft.com/office/drawing/2014/main" id="{D6CFC66E-117A-4E7B-A1B3-B61883DBC87C}"/>
                </a:ext>
              </a:extLst>
            </p:cNvPr>
            <p:cNvSpPr/>
            <p:nvPr/>
          </p:nvSpPr>
          <p:spPr>
            <a:xfrm rot="8716295">
              <a:off x="2140731" y="313237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" name="Forme libre : forme 102">
              <a:extLst>
                <a:ext uri="{FF2B5EF4-FFF2-40B4-BE49-F238E27FC236}">
                  <a16:creationId xmlns:a16="http://schemas.microsoft.com/office/drawing/2014/main" id="{44370D0A-70C8-47DE-B919-BD8689E5F0BD}"/>
                </a:ext>
              </a:extLst>
            </p:cNvPr>
            <p:cNvSpPr/>
            <p:nvPr/>
          </p:nvSpPr>
          <p:spPr>
            <a:xfrm rot="8716295">
              <a:off x="2367864" y="352078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" name="Forme libre : forme 103">
              <a:extLst>
                <a:ext uri="{FF2B5EF4-FFF2-40B4-BE49-F238E27FC236}">
                  <a16:creationId xmlns:a16="http://schemas.microsoft.com/office/drawing/2014/main" id="{6021BDC8-861D-486E-B439-FE7F06960030}"/>
                </a:ext>
              </a:extLst>
            </p:cNvPr>
            <p:cNvSpPr/>
            <p:nvPr/>
          </p:nvSpPr>
          <p:spPr>
            <a:xfrm rot="8716295">
              <a:off x="2679019" y="314113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" name="Forme libre : forme 104">
              <a:extLst>
                <a:ext uri="{FF2B5EF4-FFF2-40B4-BE49-F238E27FC236}">
                  <a16:creationId xmlns:a16="http://schemas.microsoft.com/office/drawing/2014/main" id="{0F608F19-E3BE-4D17-880D-C88146244ED4}"/>
                </a:ext>
              </a:extLst>
            </p:cNvPr>
            <p:cNvSpPr/>
            <p:nvPr/>
          </p:nvSpPr>
          <p:spPr>
            <a:xfrm rot="8716295">
              <a:off x="2768411" y="317037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" name="Forme libre : forme 105">
              <a:extLst>
                <a:ext uri="{FF2B5EF4-FFF2-40B4-BE49-F238E27FC236}">
                  <a16:creationId xmlns:a16="http://schemas.microsoft.com/office/drawing/2014/main" id="{64944F3B-C664-4365-A1CE-C418E167A34E}"/>
                </a:ext>
              </a:extLst>
            </p:cNvPr>
            <p:cNvSpPr/>
            <p:nvPr/>
          </p:nvSpPr>
          <p:spPr>
            <a:xfrm rot="8716295">
              <a:off x="2566785" y="322967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" name="Forme libre : forme 106">
              <a:extLst>
                <a:ext uri="{FF2B5EF4-FFF2-40B4-BE49-F238E27FC236}">
                  <a16:creationId xmlns:a16="http://schemas.microsoft.com/office/drawing/2014/main" id="{58328446-A7EA-46E8-B0B2-5078B627604C}"/>
                </a:ext>
              </a:extLst>
            </p:cNvPr>
            <p:cNvSpPr/>
            <p:nvPr/>
          </p:nvSpPr>
          <p:spPr>
            <a:xfrm rot="8716295">
              <a:off x="2441883" y="302100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" name="Forme libre : forme 107">
              <a:extLst>
                <a:ext uri="{FF2B5EF4-FFF2-40B4-BE49-F238E27FC236}">
                  <a16:creationId xmlns:a16="http://schemas.microsoft.com/office/drawing/2014/main" id="{358F3EE5-D858-432A-A907-9710D31351C8}"/>
                </a:ext>
              </a:extLst>
            </p:cNvPr>
            <p:cNvSpPr/>
            <p:nvPr/>
          </p:nvSpPr>
          <p:spPr>
            <a:xfrm rot="8716295">
              <a:off x="2656963" y="327062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" name="Forme libre : forme 108">
              <a:extLst>
                <a:ext uri="{FF2B5EF4-FFF2-40B4-BE49-F238E27FC236}">
                  <a16:creationId xmlns:a16="http://schemas.microsoft.com/office/drawing/2014/main" id="{B0966A7E-6D89-444C-8034-A9352897C897}"/>
                </a:ext>
              </a:extLst>
            </p:cNvPr>
            <p:cNvSpPr/>
            <p:nvPr/>
          </p:nvSpPr>
          <p:spPr>
            <a:xfrm rot="8716295">
              <a:off x="2415512" y="312102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" name="Forme libre : forme 109">
              <a:extLst>
                <a:ext uri="{FF2B5EF4-FFF2-40B4-BE49-F238E27FC236}">
                  <a16:creationId xmlns:a16="http://schemas.microsoft.com/office/drawing/2014/main" id="{37222F27-8DF7-4207-88C1-2429DD93BED2}"/>
                </a:ext>
              </a:extLst>
            </p:cNvPr>
            <p:cNvSpPr/>
            <p:nvPr/>
          </p:nvSpPr>
          <p:spPr>
            <a:xfrm rot="7484129">
              <a:off x="2761894" y="346198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" name="Forme libre : forme 110">
              <a:extLst>
                <a:ext uri="{FF2B5EF4-FFF2-40B4-BE49-F238E27FC236}">
                  <a16:creationId xmlns:a16="http://schemas.microsoft.com/office/drawing/2014/main" id="{993939CC-3AE4-419F-A9EE-0969EF61AE9B}"/>
                </a:ext>
              </a:extLst>
            </p:cNvPr>
            <p:cNvSpPr/>
            <p:nvPr/>
          </p:nvSpPr>
          <p:spPr>
            <a:xfrm rot="13089394">
              <a:off x="2866714" y="342851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" name="Forme libre : forme 111">
              <a:extLst>
                <a:ext uri="{FF2B5EF4-FFF2-40B4-BE49-F238E27FC236}">
                  <a16:creationId xmlns:a16="http://schemas.microsoft.com/office/drawing/2014/main" id="{A6A63E2F-4261-4DBF-8276-418D86D19210}"/>
                </a:ext>
              </a:extLst>
            </p:cNvPr>
            <p:cNvSpPr/>
            <p:nvPr/>
          </p:nvSpPr>
          <p:spPr>
            <a:xfrm rot="8716295">
              <a:off x="3052299" y="323683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" name="Forme libre : forme 112">
              <a:extLst>
                <a:ext uri="{FF2B5EF4-FFF2-40B4-BE49-F238E27FC236}">
                  <a16:creationId xmlns:a16="http://schemas.microsoft.com/office/drawing/2014/main" id="{1F2896C9-A0C7-4B2C-B1EE-DCCCD9009233}"/>
                </a:ext>
              </a:extLst>
            </p:cNvPr>
            <p:cNvSpPr/>
            <p:nvPr/>
          </p:nvSpPr>
          <p:spPr>
            <a:xfrm rot="8716295">
              <a:off x="3000494" y="313324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" name="Forme libre : forme 113">
              <a:extLst>
                <a:ext uri="{FF2B5EF4-FFF2-40B4-BE49-F238E27FC236}">
                  <a16:creationId xmlns:a16="http://schemas.microsoft.com/office/drawing/2014/main" id="{BFC2A5AA-74CC-447F-BCB7-82C53A9C1EBE}"/>
                </a:ext>
              </a:extLst>
            </p:cNvPr>
            <p:cNvSpPr/>
            <p:nvPr/>
          </p:nvSpPr>
          <p:spPr>
            <a:xfrm rot="8716295">
              <a:off x="2757248" y="316346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" name="Forme libre : forme 114">
              <a:extLst>
                <a:ext uri="{FF2B5EF4-FFF2-40B4-BE49-F238E27FC236}">
                  <a16:creationId xmlns:a16="http://schemas.microsoft.com/office/drawing/2014/main" id="{7736B671-8666-4922-9305-32A24DFDD7BC}"/>
                </a:ext>
              </a:extLst>
            </p:cNvPr>
            <p:cNvSpPr/>
            <p:nvPr/>
          </p:nvSpPr>
          <p:spPr>
            <a:xfrm rot="8716295">
              <a:off x="2934700" y="300421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" name="Forme libre : forme 115">
              <a:extLst>
                <a:ext uri="{FF2B5EF4-FFF2-40B4-BE49-F238E27FC236}">
                  <a16:creationId xmlns:a16="http://schemas.microsoft.com/office/drawing/2014/main" id="{4CF00AFF-9FDA-4C59-A1DE-7CCCB194DEA5}"/>
                </a:ext>
              </a:extLst>
            </p:cNvPr>
            <p:cNvSpPr/>
            <p:nvPr/>
          </p:nvSpPr>
          <p:spPr>
            <a:xfrm rot="8716295">
              <a:off x="2865744" y="5089178"/>
              <a:ext cx="140009" cy="103412"/>
            </a:xfrm>
            <a:custGeom>
              <a:avLst/>
              <a:gdLst>
                <a:gd name="connsiteX0" fmla="*/ 23004 w 140009"/>
                <a:gd name="connsiteY0" fmla="*/ 73821 h 103412"/>
                <a:gd name="connsiteX1" fmla="*/ 2853 w 140009"/>
                <a:gd name="connsiteY1" fmla="*/ 34034 h 103412"/>
                <a:gd name="connsiteX2" fmla="*/ 0 w 140009"/>
                <a:gd name="connsiteY2" fmla="*/ 0 h 103412"/>
                <a:gd name="connsiteX3" fmla="*/ 140009 w 140009"/>
                <a:gd name="connsiteY3" fmla="*/ 97050 h 103412"/>
                <a:gd name="connsiteX4" fmla="*/ 137354 w 140009"/>
                <a:gd name="connsiteY4" fmla="*/ 97759 h 103412"/>
                <a:gd name="connsiteX5" fmla="*/ 95370 w 140009"/>
                <a:gd name="connsiteY5" fmla="*/ 103238 h 103412"/>
                <a:gd name="connsiteX6" fmla="*/ 23004 w 140009"/>
                <a:gd name="connsiteY6" fmla="*/ 73821 h 103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0009" h="103412">
                  <a:moveTo>
                    <a:pt x="23004" y="73821"/>
                  </a:moveTo>
                  <a:cubicBezTo>
                    <a:pt x="13002" y="64113"/>
                    <a:pt x="6677" y="50875"/>
                    <a:pt x="2853" y="34034"/>
                  </a:cubicBezTo>
                  <a:lnTo>
                    <a:pt x="0" y="0"/>
                  </a:lnTo>
                  <a:lnTo>
                    <a:pt x="140009" y="97050"/>
                  </a:lnTo>
                  <a:lnTo>
                    <a:pt x="137354" y="97759"/>
                  </a:lnTo>
                  <a:cubicBezTo>
                    <a:pt x="121846" y="100775"/>
                    <a:pt x="107579" y="102502"/>
                    <a:pt x="95370" y="103238"/>
                  </a:cubicBezTo>
                  <a:cubicBezTo>
                    <a:pt x="68307" y="105003"/>
                    <a:pt x="41831" y="93236"/>
                    <a:pt x="23004" y="7382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" name="Forme libre : forme 116">
              <a:extLst>
                <a:ext uri="{FF2B5EF4-FFF2-40B4-BE49-F238E27FC236}">
                  <a16:creationId xmlns:a16="http://schemas.microsoft.com/office/drawing/2014/main" id="{7486FE8B-6DC8-400F-8B49-3D0FF59EDA59}"/>
                </a:ext>
              </a:extLst>
            </p:cNvPr>
            <p:cNvSpPr/>
            <p:nvPr/>
          </p:nvSpPr>
          <p:spPr>
            <a:xfrm rot="8716295">
              <a:off x="2608590" y="404968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" name="Forme libre : forme 117">
              <a:extLst>
                <a:ext uri="{FF2B5EF4-FFF2-40B4-BE49-F238E27FC236}">
                  <a16:creationId xmlns:a16="http://schemas.microsoft.com/office/drawing/2014/main" id="{409E4F60-3261-496F-85E7-0CED778B23AA}"/>
                </a:ext>
              </a:extLst>
            </p:cNvPr>
            <p:cNvSpPr/>
            <p:nvPr/>
          </p:nvSpPr>
          <p:spPr>
            <a:xfrm rot="8716295">
              <a:off x="2697982" y="407892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" name="Forme libre : forme 118">
              <a:extLst>
                <a:ext uri="{FF2B5EF4-FFF2-40B4-BE49-F238E27FC236}">
                  <a16:creationId xmlns:a16="http://schemas.microsoft.com/office/drawing/2014/main" id="{B4A7442C-1C02-4AB6-8CC3-22865B34D758}"/>
                </a:ext>
              </a:extLst>
            </p:cNvPr>
            <p:cNvSpPr/>
            <p:nvPr/>
          </p:nvSpPr>
          <p:spPr>
            <a:xfrm rot="8716295">
              <a:off x="2653132" y="399264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" name="Forme libre : forme 119">
              <a:extLst>
                <a:ext uri="{FF2B5EF4-FFF2-40B4-BE49-F238E27FC236}">
                  <a16:creationId xmlns:a16="http://schemas.microsoft.com/office/drawing/2014/main" id="{84547BFC-5C73-4C79-BC1E-65D2DA2F8F0F}"/>
                </a:ext>
              </a:extLst>
            </p:cNvPr>
            <p:cNvSpPr/>
            <p:nvPr/>
          </p:nvSpPr>
          <p:spPr>
            <a:xfrm rot="8716295">
              <a:off x="2496356" y="413822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" name="Forme libre : forme 120">
              <a:extLst>
                <a:ext uri="{FF2B5EF4-FFF2-40B4-BE49-F238E27FC236}">
                  <a16:creationId xmlns:a16="http://schemas.microsoft.com/office/drawing/2014/main" id="{1433A272-01C5-407E-A681-F11EFA1E77DE}"/>
                </a:ext>
              </a:extLst>
            </p:cNvPr>
            <p:cNvSpPr/>
            <p:nvPr/>
          </p:nvSpPr>
          <p:spPr>
            <a:xfrm rot="8716295">
              <a:off x="2371453" y="392955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" name="Forme libre : forme 121">
              <a:extLst>
                <a:ext uri="{FF2B5EF4-FFF2-40B4-BE49-F238E27FC236}">
                  <a16:creationId xmlns:a16="http://schemas.microsoft.com/office/drawing/2014/main" id="{B66B2FCE-B89D-4CFE-947C-F30A5386F13E}"/>
                </a:ext>
              </a:extLst>
            </p:cNvPr>
            <p:cNvSpPr/>
            <p:nvPr/>
          </p:nvSpPr>
          <p:spPr>
            <a:xfrm rot="8716295">
              <a:off x="2359401" y="379077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" name="Forme libre : forme 122">
              <a:extLst>
                <a:ext uri="{FF2B5EF4-FFF2-40B4-BE49-F238E27FC236}">
                  <a16:creationId xmlns:a16="http://schemas.microsoft.com/office/drawing/2014/main" id="{CB1F906C-3F04-489D-B712-86F36DCF301D}"/>
                </a:ext>
              </a:extLst>
            </p:cNvPr>
            <p:cNvSpPr/>
            <p:nvPr/>
          </p:nvSpPr>
          <p:spPr>
            <a:xfrm rot="8716295">
              <a:off x="2586534" y="417917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" name="Forme libre : forme 123">
              <a:extLst>
                <a:ext uri="{FF2B5EF4-FFF2-40B4-BE49-F238E27FC236}">
                  <a16:creationId xmlns:a16="http://schemas.microsoft.com/office/drawing/2014/main" id="{BA0DE2D1-2098-4B24-BF1D-8B4133E050A7}"/>
                </a:ext>
              </a:extLst>
            </p:cNvPr>
            <p:cNvSpPr/>
            <p:nvPr/>
          </p:nvSpPr>
          <p:spPr>
            <a:xfrm rot="8716295">
              <a:off x="2897689" y="379952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" name="Forme libre : forme 124">
              <a:extLst>
                <a:ext uri="{FF2B5EF4-FFF2-40B4-BE49-F238E27FC236}">
                  <a16:creationId xmlns:a16="http://schemas.microsoft.com/office/drawing/2014/main" id="{280C5645-8889-4114-AA92-3C2F280AAAB1}"/>
                </a:ext>
              </a:extLst>
            </p:cNvPr>
            <p:cNvSpPr/>
            <p:nvPr/>
          </p:nvSpPr>
          <p:spPr>
            <a:xfrm rot="8716295">
              <a:off x="2989368" y="3839999"/>
              <a:ext cx="209149" cy="253771"/>
            </a:xfrm>
            <a:custGeom>
              <a:avLst/>
              <a:gdLst>
                <a:gd name="connsiteX0" fmla="*/ 147179 w 209149"/>
                <a:gd name="connsiteY0" fmla="*/ 97023 h 253771"/>
                <a:gd name="connsiteX1" fmla="*/ 147179 w 209149"/>
                <a:gd name="connsiteY1" fmla="*/ 80620 h 253771"/>
                <a:gd name="connsiteX2" fmla="*/ 113460 w 209149"/>
                <a:gd name="connsiteY2" fmla="*/ 39154 h 253771"/>
                <a:gd name="connsiteX3" fmla="*/ 104592 w 209149"/>
                <a:gd name="connsiteY3" fmla="*/ 42082 h 253771"/>
                <a:gd name="connsiteX4" fmla="*/ 139399 w 209149"/>
                <a:gd name="connsiteY4" fmla="*/ 0 h 253771"/>
                <a:gd name="connsiteX5" fmla="*/ 165512 w 209149"/>
                <a:gd name="connsiteY5" fmla="*/ 4538 h 253771"/>
                <a:gd name="connsiteX6" fmla="*/ 209149 w 209149"/>
                <a:gd name="connsiteY6" fmla="*/ 87454 h 253771"/>
                <a:gd name="connsiteX7" fmla="*/ 209149 w 209149"/>
                <a:gd name="connsiteY7" fmla="*/ 93378 h 253771"/>
                <a:gd name="connsiteX8" fmla="*/ 0 w 209149"/>
                <a:gd name="connsiteY8" fmla="*/ 253771 h 253771"/>
                <a:gd name="connsiteX9" fmla="*/ 0 w 209149"/>
                <a:gd name="connsiteY9" fmla="*/ 168537 h 253771"/>
                <a:gd name="connsiteX10" fmla="*/ 65782 w 209149"/>
                <a:gd name="connsiteY10" fmla="*/ 89005 h 253771"/>
                <a:gd name="connsiteX11" fmla="*/ 64377 w 209149"/>
                <a:gd name="connsiteY11" fmla="*/ 92403 h 253771"/>
                <a:gd name="connsiteX12" fmla="*/ 60148 w 209149"/>
                <a:gd name="connsiteY12" fmla="*/ 126641 h 253771"/>
                <a:gd name="connsiteX13" fmla="*/ 60148 w 209149"/>
                <a:gd name="connsiteY13" fmla="*/ 212762 h 253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9149" h="253771">
                  <a:moveTo>
                    <a:pt x="147179" y="97023"/>
                  </a:moveTo>
                  <a:lnTo>
                    <a:pt x="147179" y="80620"/>
                  </a:lnTo>
                  <a:cubicBezTo>
                    <a:pt x="147179" y="56013"/>
                    <a:pt x="133054" y="39154"/>
                    <a:pt x="113460" y="39154"/>
                  </a:cubicBezTo>
                  <a:lnTo>
                    <a:pt x="104592" y="42082"/>
                  </a:lnTo>
                  <a:lnTo>
                    <a:pt x="139399" y="0"/>
                  </a:lnTo>
                  <a:lnTo>
                    <a:pt x="165512" y="4538"/>
                  </a:lnTo>
                  <a:cubicBezTo>
                    <a:pt x="193258" y="16029"/>
                    <a:pt x="209149" y="45077"/>
                    <a:pt x="209149" y="87454"/>
                  </a:cubicBezTo>
                  <a:lnTo>
                    <a:pt x="209149" y="93378"/>
                  </a:lnTo>
                  <a:close/>
                  <a:moveTo>
                    <a:pt x="0" y="253771"/>
                  </a:moveTo>
                  <a:lnTo>
                    <a:pt x="0" y="168537"/>
                  </a:lnTo>
                  <a:lnTo>
                    <a:pt x="65782" y="89005"/>
                  </a:lnTo>
                  <a:lnTo>
                    <a:pt x="64377" y="92403"/>
                  </a:lnTo>
                  <a:cubicBezTo>
                    <a:pt x="61657" y="102890"/>
                    <a:pt x="60148" y="114452"/>
                    <a:pt x="60148" y="126641"/>
                  </a:cubicBezTo>
                  <a:lnTo>
                    <a:pt x="60148" y="2127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" name="Forme libre : forme 125">
              <a:extLst>
                <a:ext uri="{FF2B5EF4-FFF2-40B4-BE49-F238E27FC236}">
                  <a16:creationId xmlns:a16="http://schemas.microsoft.com/office/drawing/2014/main" id="{12C74CA9-7295-4DD3-B257-BC02E33DC169}"/>
                </a:ext>
              </a:extLst>
            </p:cNvPr>
            <p:cNvSpPr/>
            <p:nvPr/>
          </p:nvSpPr>
          <p:spPr>
            <a:xfrm rot="8716295">
              <a:off x="2785455" y="388807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" name="Forme libre : forme 126">
              <a:extLst>
                <a:ext uri="{FF2B5EF4-FFF2-40B4-BE49-F238E27FC236}">
                  <a16:creationId xmlns:a16="http://schemas.microsoft.com/office/drawing/2014/main" id="{5EABE596-751A-434B-B681-D5C7A4015BC8}"/>
                </a:ext>
              </a:extLst>
            </p:cNvPr>
            <p:cNvSpPr/>
            <p:nvPr/>
          </p:nvSpPr>
          <p:spPr>
            <a:xfrm rot="8716295">
              <a:off x="2660553" y="367940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" name="Forme libre : forme 127">
              <a:extLst>
                <a:ext uri="{FF2B5EF4-FFF2-40B4-BE49-F238E27FC236}">
                  <a16:creationId xmlns:a16="http://schemas.microsoft.com/office/drawing/2014/main" id="{34A25BB8-E5A6-43A3-A6BE-6CBEBC3F2CD9}"/>
                </a:ext>
              </a:extLst>
            </p:cNvPr>
            <p:cNvSpPr/>
            <p:nvPr/>
          </p:nvSpPr>
          <p:spPr>
            <a:xfrm rot="8716295">
              <a:off x="2875633" y="392902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" name="Forme libre : forme 128">
              <a:extLst>
                <a:ext uri="{FF2B5EF4-FFF2-40B4-BE49-F238E27FC236}">
                  <a16:creationId xmlns:a16="http://schemas.microsoft.com/office/drawing/2014/main" id="{BC27C288-1E66-4F8B-924C-4EDB2BC25294}"/>
                </a:ext>
              </a:extLst>
            </p:cNvPr>
            <p:cNvSpPr/>
            <p:nvPr/>
          </p:nvSpPr>
          <p:spPr>
            <a:xfrm rot="8716295">
              <a:off x="2634182" y="377942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" name="Forme libre : forme 129">
              <a:extLst>
                <a:ext uri="{FF2B5EF4-FFF2-40B4-BE49-F238E27FC236}">
                  <a16:creationId xmlns:a16="http://schemas.microsoft.com/office/drawing/2014/main" id="{C22A0888-0C9E-4945-82D7-7EE608C46CC7}"/>
                </a:ext>
              </a:extLst>
            </p:cNvPr>
            <p:cNvSpPr/>
            <p:nvPr/>
          </p:nvSpPr>
          <p:spPr>
            <a:xfrm rot="7484129">
              <a:off x="2986722" y="4140706"/>
              <a:ext cx="156000" cy="195873"/>
            </a:xfrm>
            <a:custGeom>
              <a:avLst/>
              <a:gdLst>
                <a:gd name="connsiteX0" fmla="*/ 42863 w 156000"/>
                <a:gd name="connsiteY0" fmla="*/ 195873 h 195873"/>
                <a:gd name="connsiteX1" fmla="*/ 0 w 156000"/>
                <a:gd name="connsiteY1" fmla="*/ 116129 h 195873"/>
                <a:gd name="connsiteX2" fmla="*/ 19423 w 156000"/>
                <a:gd name="connsiteY2" fmla="*/ 62274 h 195873"/>
                <a:gd name="connsiteX3" fmla="*/ 127856 w 156000"/>
                <a:gd name="connsiteY3" fmla="*/ 0 h 195873"/>
                <a:gd name="connsiteX4" fmla="*/ 156000 w 156000"/>
                <a:gd name="connsiteY4" fmla="*/ 0 h 195873"/>
                <a:gd name="connsiteX5" fmla="*/ 156000 w 156000"/>
                <a:gd name="connsiteY5" fmla="*/ 55323 h 195873"/>
                <a:gd name="connsiteX6" fmla="*/ 91208 w 156000"/>
                <a:gd name="connsiteY6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000" h="195873">
                  <a:moveTo>
                    <a:pt x="42863" y="195873"/>
                  </a:moveTo>
                  <a:lnTo>
                    <a:pt x="0" y="116129"/>
                  </a:lnTo>
                  <a:lnTo>
                    <a:pt x="19423" y="62274"/>
                  </a:lnTo>
                  <a:lnTo>
                    <a:pt x="127856" y="0"/>
                  </a:lnTo>
                  <a:lnTo>
                    <a:pt x="156000" y="0"/>
                  </a:lnTo>
                  <a:lnTo>
                    <a:pt x="156000" y="55323"/>
                  </a:lnTo>
                  <a:lnTo>
                    <a:pt x="91208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" name="Forme libre : forme 130">
              <a:extLst>
                <a:ext uri="{FF2B5EF4-FFF2-40B4-BE49-F238E27FC236}">
                  <a16:creationId xmlns:a16="http://schemas.microsoft.com/office/drawing/2014/main" id="{B1E3FE16-8016-4EF3-8614-3D1D60105986}"/>
                </a:ext>
              </a:extLst>
            </p:cNvPr>
            <p:cNvSpPr/>
            <p:nvPr/>
          </p:nvSpPr>
          <p:spPr>
            <a:xfrm rot="8716295">
              <a:off x="2975918" y="382185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" name="Forme libre : forme 131">
              <a:extLst>
                <a:ext uri="{FF2B5EF4-FFF2-40B4-BE49-F238E27FC236}">
                  <a16:creationId xmlns:a16="http://schemas.microsoft.com/office/drawing/2014/main" id="{E69AE829-0E6B-4637-B9A4-FB76BF7CE509}"/>
                </a:ext>
              </a:extLst>
            </p:cNvPr>
            <p:cNvSpPr/>
            <p:nvPr/>
          </p:nvSpPr>
          <p:spPr>
            <a:xfrm rot="8716295">
              <a:off x="3136327" y="3677877"/>
              <a:ext cx="62210" cy="70771"/>
            </a:xfrm>
            <a:custGeom>
              <a:avLst/>
              <a:gdLst>
                <a:gd name="connsiteX0" fmla="*/ 0 w 62210"/>
                <a:gd name="connsiteY0" fmla="*/ 69343 h 70771"/>
                <a:gd name="connsiteX1" fmla="*/ 57354 w 62210"/>
                <a:gd name="connsiteY1" fmla="*/ 0 h 70771"/>
                <a:gd name="connsiteX2" fmla="*/ 62210 w 62210"/>
                <a:gd name="connsiteY2" fmla="*/ 11557 h 70771"/>
                <a:gd name="connsiteX3" fmla="*/ 44963 w 62210"/>
                <a:gd name="connsiteY3" fmla="*/ 53294 h 70771"/>
                <a:gd name="connsiteX4" fmla="*/ 3570 w 62210"/>
                <a:gd name="connsiteY4" fmla="*/ 70771 h 70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210" h="70771">
                  <a:moveTo>
                    <a:pt x="0" y="69343"/>
                  </a:moveTo>
                  <a:lnTo>
                    <a:pt x="57354" y="0"/>
                  </a:lnTo>
                  <a:lnTo>
                    <a:pt x="62210" y="11557"/>
                  </a:lnTo>
                  <a:cubicBezTo>
                    <a:pt x="62210" y="26619"/>
                    <a:pt x="56461" y="41796"/>
                    <a:pt x="44963" y="53294"/>
                  </a:cubicBezTo>
                  <a:cubicBezTo>
                    <a:pt x="33925" y="64332"/>
                    <a:pt x="19208" y="70771"/>
                    <a:pt x="3570" y="7077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" name="Forme libre : forme 132">
              <a:extLst>
                <a:ext uri="{FF2B5EF4-FFF2-40B4-BE49-F238E27FC236}">
                  <a16:creationId xmlns:a16="http://schemas.microsoft.com/office/drawing/2014/main" id="{D37688C2-C0A6-4E05-B609-4CB494CE709C}"/>
                </a:ext>
              </a:extLst>
            </p:cNvPr>
            <p:cNvSpPr/>
            <p:nvPr/>
          </p:nvSpPr>
          <p:spPr>
            <a:xfrm rot="8716295">
              <a:off x="2831757" y="470938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" name="Forme libre : forme 133">
              <a:extLst>
                <a:ext uri="{FF2B5EF4-FFF2-40B4-BE49-F238E27FC236}">
                  <a16:creationId xmlns:a16="http://schemas.microsoft.com/office/drawing/2014/main" id="{A3A6BF4C-1E72-4FF3-8FB3-699E9245E152}"/>
                </a:ext>
              </a:extLst>
            </p:cNvPr>
            <p:cNvSpPr/>
            <p:nvPr/>
          </p:nvSpPr>
          <p:spPr>
            <a:xfrm rot="8716295">
              <a:off x="2922791" y="4750051"/>
              <a:ext cx="209149" cy="251506"/>
            </a:xfrm>
            <a:custGeom>
              <a:avLst/>
              <a:gdLst>
                <a:gd name="connsiteX0" fmla="*/ 147179 w 209149"/>
                <a:gd name="connsiteY0" fmla="*/ 94758 h 251506"/>
                <a:gd name="connsiteX1" fmla="*/ 147179 w 209149"/>
                <a:gd name="connsiteY1" fmla="*/ 78354 h 251506"/>
                <a:gd name="connsiteX2" fmla="*/ 137667 w 209149"/>
                <a:gd name="connsiteY2" fmla="*/ 48394 h 251506"/>
                <a:gd name="connsiteX3" fmla="*/ 119535 w 209149"/>
                <a:gd name="connsiteY3" fmla="*/ 39776 h 251506"/>
                <a:gd name="connsiteX4" fmla="*/ 152434 w 209149"/>
                <a:gd name="connsiteY4" fmla="*/ 0 h 251506"/>
                <a:gd name="connsiteX5" fmla="*/ 165512 w 209149"/>
                <a:gd name="connsiteY5" fmla="*/ 2273 h 251506"/>
                <a:gd name="connsiteX6" fmla="*/ 209149 w 209149"/>
                <a:gd name="connsiteY6" fmla="*/ 85189 h 251506"/>
                <a:gd name="connsiteX7" fmla="*/ 209149 w 209149"/>
                <a:gd name="connsiteY7" fmla="*/ 91113 h 251506"/>
                <a:gd name="connsiteX8" fmla="*/ 0 w 209149"/>
                <a:gd name="connsiteY8" fmla="*/ 251506 h 251506"/>
                <a:gd name="connsiteX9" fmla="*/ 0 w 209149"/>
                <a:gd name="connsiteY9" fmla="*/ 184297 h 251506"/>
                <a:gd name="connsiteX10" fmla="*/ 62006 w 209149"/>
                <a:gd name="connsiteY10" fmla="*/ 109330 h 251506"/>
                <a:gd name="connsiteX11" fmla="*/ 60148 w 209149"/>
                <a:gd name="connsiteY11" fmla="*/ 124376 h 251506"/>
                <a:gd name="connsiteX12" fmla="*/ 60148 w 209149"/>
                <a:gd name="connsiteY12" fmla="*/ 210497 h 251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9149" h="251506">
                  <a:moveTo>
                    <a:pt x="147179" y="94758"/>
                  </a:moveTo>
                  <a:lnTo>
                    <a:pt x="147179" y="78354"/>
                  </a:lnTo>
                  <a:cubicBezTo>
                    <a:pt x="147179" y="66051"/>
                    <a:pt x="143648" y="55685"/>
                    <a:pt x="137667" y="48394"/>
                  </a:cubicBezTo>
                  <a:lnTo>
                    <a:pt x="119535" y="39776"/>
                  </a:lnTo>
                  <a:lnTo>
                    <a:pt x="152434" y="0"/>
                  </a:lnTo>
                  <a:lnTo>
                    <a:pt x="165512" y="2273"/>
                  </a:lnTo>
                  <a:cubicBezTo>
                    <a:pt x="193258" y="13764"/>
                    <a:pt x="209149" y="42812"/>
                    <a:pt x="209149" y="85189"/>
                  </a:cubicBezTo>
                  <a:lnTo>
                    <a:pt x="209149" y="91113"/>
                  </a:lnTo>
                  <a:close/>
                  <a:moveTo>
                    <a:pt x="0" y="251506"/>
                  </a:moveTo>
                  <a:lnTo>
                    <a:pt x="0" y="184297"/>
                  </a:lnTo>
                  <a:lnTo>
                    <a:pt x="62006" y="109330"/>
                  </a:lnTo>
                  <a:lnTo>
                    <a:pt x="60148" y="124376"/>
                  </a:lnTo>
                  <a:lnTo>
                    <a:pt x="60148" y="21049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" name="Forme libre : forme 134">
              <a:extLst>
                <a:ext uri="{FF2B5EF4-FFF2-40B4-BE49-F238E27FC236}">
                  <a16:creationId xmlns:a16="http://schemas.microsoft.com/office/drawing/2014/main" id="{5140B893-7827-4D80-AD77-FD3E70DDBAED}"/>
                </a:ext>
              </a:extLst>
            </p:cNvPr>
            <p:cNvSpPr/>
            <p:nvPr/>
          </p:nvSpPr>
          <p:spPr>
            <a:xfrm rot="8716295">
              <a:off x="2876299" y="465234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" name="Forme libre : forme 135">
              <a:extLst>
                <a:ext uri="{FF2B5EF4-FFF2-40B4-BE49-F238E27FC236}">
                  <a16:creationId xmlns:a16="http://schemas.microsoft.com/office/drawing/2014/main" id="{CEF19F0C-E18C-48D8-9AB5-6885668C7FC0}"/>
                </a:ext>
              </a:extLst>
            </p:cNvPr>
            <p:cNvSpPr/>
            <p:nvPr/>
          </p:nvSpPr>
          <p:spPr>
            <a:xfrm rot="8716295">
              <a:off x="2719523" y="479792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" name="Forme libre : forme 136">
              <a:extLst>
                <a:ext uri="{FF2B5EF4-FFF2-40B4-BE49-F238E27FC236}">
                  <a16:creationId xmlns:a16="http://schemas.microsoft.com/office/drawing/2014/main" id="{0BB22A70-3803-482F-84FC-984B6EC6C374}"/>
                </a:ext>
              </a:extLst>
            </p:cNvPr>
            <p:cNvSpPr/>
            <p:nvPr/>
          </p:nvSpPr>
          <p:spPr>
            <a:xfrm rot="8716295">
              <a:off x="2594620" y="458925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" name="Forme libre : forme 137">
              <a:extLst>
                <a:ext uri="{FF2B5EF4-FFF2-40B4-BE49-F238E27FC236}">
                  <a16:creationId xmlns:a16="http://schemas.microsoft.com/office/drawing/2014/main" id="{BB66996B-CABF-4C18-97CF-8361430CCC5E}"/>
                </a:ext>
              </a:extLst>
            </p:cNvPr>
            <p:cNvSpPr/>
            <p:nvPr/>
          </p:nvSpPr>
          <p:spPr>
            <a:xfrm rot="8716295">
              <a:off x="2582568" y="4450471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" name="Forme libre : forme 138">
              <a:extLst>
                <a:ext uri="{FF2B5EF4-FFF2-40B4-BE49-F238E27FC236}">
                  <a16:creationId xmlns:a16="http://schemas.microsoft.com/office/drawing/2014/main" id="{EE47147C-71F2-4045-A9A2-5EC38820966E}"/>
                </a:ext>
              </a:extLst>
            </p:cNvPr>
            <p:cNvSpPr/>
            <p:nvPr/>
          </p:nvSpPr>
          <p:spPr>
            <a:xfrm rot="8716295">
              <a:off x="2809701" y="483887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" name="Forme libre : forme 139">
              <a:extLst>
                <a:ext uri="{FF2B5EF4-FFF2-40B4-BE49-F238E27FC236}">
                  <a16:creationId xmlns:a16="http://schemas.microsoft.com/office/drawing/2014/main" id="{89BAF661-43F0-4B4A-A23C-BA7CE46BDD71}"/>
                </a:ext>
              </a:extLst>
            </p:cNvPr>
            <p:cNvSpPr/>
            <p:nvPr/>
          </p:nvSpPr>
          <p:spPr>
            <a:xfrm rot="8716295">
              <a:off x="3081353" y="4514214"/>
              <a:ext cx="36672" cy="44337"/>
            </a:xfrm>
            <a:custGeom>
              <a:avLst/>
              <a:gdLst>
                <a:gd name="connsiteX0" fmla="*/ 0 w 36672"/>
                <a:gd name="connsiteY0" fmla="*/ 44337 h 44337"/>
                <a:gd name="connsiteX1" fmla="*/ 36672 w 36672"/>
                <a:gd name="connsiteY1" fmla="*/ 0 h 44337"/>
                <a:gd name="connsiteX2" fmla="*/ 36672 w 36672"/>
                <a:gd name="connsiteY2" fmla="*/ 29833 h 44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672" h="44337">
                  <a:moveTo>
                    <a:pt x="0" y="44337"/>
                  </a:moveTo>
                  <a:lnTo>
                    <a:pt x="36672" y="0"/>
                  </a:lnTo>
                  <a:lnTo>
                    <a:pt x="36672" y="298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" name="Forme libre : forme 140">
              <a:extLst>
                <a:ext uri="{FF2B5EF4-FFF2-40B4-BE49-F238E27FC236}">
                  <a16:creationId xmlns:a16="http://schemas.microsoft.com/office/drawing/2014/main" id="{63A651C5-5D05-4459-83FE-EB640DC8F382}"/>
                </a:ext>
              </a:extLst>
            </p:cNvPr>
            <p:cNvSpPr/>
            <p:nvPr/>
          </p:nvSpPr>
          <p:spPr>
            <a:xfrm rot="8716295">
              <a:off x="3008622" y="45477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" name="Forme libre : forme 141">
              <a:extLst>
                <a:ext uri="{FF2B5EF4-FFF2-40B4-BE49-F238E27FC236}">
                  <a16:creationId xmlns:a16="http://schemas.microsoft.com/office/drawing/2014/main" id="{092AE7DF-4653-4199-BFAC-73916EFC860A}"/>
                </a:ext>
              </a:extLst>
            </p:cNvPr>
            <p:cNvSpPr/>
            <p:nvPr/>
          </p:nvSpPr>
          <p:spPr>
            <a:xfrm rot="8716295">
              <a:off x="2879209" y="433901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22587 h 195874"/>
                <a:gd name="connsiteX5" fmla="*/ 18682 w 203847"/>
                <a:gd name="connsiteY5" fmla="*/ 0 h 195874"/>
                <a:gd name="connsiteX6" fmla="*/ 203847 w 203847"/>
                <a:gd name="connsiteY6" fmla="*/ 0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22587"/>
                  </a:lnTo>
                  <a:lnTo>
                    <a:pt x="18682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" name="Forme libre : forme 142">
              <a:extLst>
                <a:ext uri="{FF2B5EF4-FFF2-40B4-BE49-F238E27FC236}">
                  <a16:creationId xmlns:a16="http://schemas.microsoft.com/office/drawing/2014/main" id="{D41ED30F-3026-421E-ABA6-358575487EBA}"/>
                </a:ext>
              </a:extLst>
            </p:cNvPr>
            <p:cNvSpPr/>
            <p:nvPr/>
          </p:nvSpPr>
          <p:spPr>
            <a:xfrm rot="8716295">
              <a:off x="3061023" y="4621511"/>
              <a:ext cx="34902" cy="75779"/>
            </a:xfrm>
            <a:custGeom>
              <a:avLst/>
              <a:gdLst>
                <a:gd name="connsiteX0" fmla="*/ 34902 w 34902"/>
                <a:gd name="connsiteY0" fmla="*/ 75779 h 75779"/>
                <a:gd name="connsiteX1" fmla="*/ 0 w 34902"/>
                <a:gd name="connsiteY1" fmla="*/ 42198 h 75779"/>
                <a:gd name="connsiteX2" fmla="*/ 34902 w 34902"/>
                <a:gd name="connsiteY2" fmla="*/ 0 h 75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902" h="75779">
                  <a:moveTo>
                    <a:pt x="34902" y="75779"/>
                  </a:moveTo>
                  <a:lnTo>
                    <a:pt x="0" y="42198"/>
                  </a:lnTo>
                  <a:lnTo>
                    <a:pt x="3490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4" name="Forme libre : forme 143">
              <a:extLst>
                <a:ext uri="{FF2B5EF4-FFF2-40B4-BE49-F238E27FC236}">
                  <a16:creationId xmlns:a16="http://schemas.microsoft.com/office/drawing/2014/main" id="{3F91EA7A-2760-47AB-B973-A377384BFCEB}"/>
                </a:ext>
              </a:extLst>
            </p:cNvPr>
            <p:cNvSpPr/>
            <p:nvPr/>
          </p:nvSpPr>
          <p:spPr>
            <a:xfrm rot="8716295">
              <a:off x="2857349" y="443912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5" name="Forme libre : forme 144">
              <a:extLst>
                <a:ext uri="{FF2B5EF4-FFF2-40B4-BE49-F238E27FC236}">
                  <a16:creationId xmlns:a16="http://schemas.microsoft.com/office/drawing/2014/main" id="{41EE0DAC-E1CD-4DF6-B038-DF99C017AF47}"/>
                </a:ext>
              </a:extLst>
            </p:cNvPr>
            <p:cNvSpPr/>
            <p:nvPr/>
          </p:nvSpPr>
          <p:spPr>
            <a:xfrm rot="8716295">
              <a:off x="1945235" y="207061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6" name="Forme libre : forme 145">
              <a:extLst>
                <a:ext uri="{FF2B5EF4-FFF2-40B4-BE49-F238E27FC236}">
                  <a16:creationId xmlns:a16="http://schemas.microsoft.com/office/drawing/2014/main" id="{280B0FCB-6B6E-4C11-92C1-4D7A5EC1D4AD}"/>
                </a:ext>
              </a:extLst>
            </p:cNvPr>
            <p:cNvSpPr/>
            <p:nvPr/>
          </p:nvSpPr>
          <p:spPr>
            <a:xfrm rot="8716295">
              <a:off x="2034627" y="209985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7" name="Forme libre : forme 146">
              <a:extLst>
                <a:ext uri="{FF2B5EF4-FFF2-40B4-BE49-F238E27FC236}">
                  <a16:creationId xmlns:a16="http://schemas.microsoft.com/office/drawing/2014/main" id="{9891BA28-484A-4733-8CF3-53CE88879C65}"/>
                </a:ext>
              </a:extLst>
            </p:cNvPr>
            <p:cNvSpPr/>
            <p:nvPr/>
          </p:nvSpPr>
          <p:spPr>
            <a:xfrm rot="8716295">
              <a:off x="1989777" y="201357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8" name="Forme libre : forme 147">
              <a:extLst>
                <a:ext uri="{FF2B5EF4-FFF2-40B4-BE49-F238E27FC236}">
                  <a16:creationId xmlns:a16="http://schemas.microsoft.com/office/drawing/2014/main" id="{9E43636F-0BE6-4C9B-B96D-D3D316F85163}"/>
                </a:ext>
              </a:extLst>
            </p:cNvPr>
            <p:cNvSpPr/>
            <p:nvPr/>
          </p:nvSpPr>
          <p:spPr>
            <a:xfrm rot="8716295">
              <a:off x="1833001" y="215915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9" name="Forme libre : forme 148">
              <a:extLst>
                <a:ext uri="{FF2B5EF4-FFF2-40B4-BE49-F238E27FC236}">
                  <a16:creationId xmlns:a16="http://schemas.microsoft.com/office/drawing/2014/main" id="{E5C5D07F-1F3F-49A7-9D1F-45F1F92DDF33}"/>
                </a:ext>
              </a:extLst>
            </p:cNvPr>
            <p:cNvSpPr/>
            <p:nvPr/>
          </p:nvSpPr>
          <p:spPr>
            <a:xfrm rot="8716295">
              <a:off x="1708098" y="195048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0" name="Forme libre : forme 149">
              <a:extLst>
                <a:ext uri="{FF2B5EF4-FFF2-40B4-BE49-F238E27FC236}">
                  <a16:creationId xmlns:a16="http://schemas.microsoft.com/office/drawing/2014/main" id="{207E57C6-B2AE-4BC9-A0BC-164A405D607B}"/>
                </a:ext>
              </a:extLst>
            </p:cNvPr>
            <p:cNvSpPr/>
            <p:nvPr/>
          </p:nvSpPr>
          <p:spPr>
            <a:xfrm rot="8716295">
              <a:off x="1696046" y="181170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1" name="Forme libre : forme 150">
              <a:extLst>
                <a:ext uri="{FF2B5EF4-FFF2-40B4-BE49-F238E27FC236}">
                  <a16:creationId xmlns:a16="http://schemas.microsoft.com/office/drawing/2014/main" id="{FD7783C5-00B3-479F-9977-DAF07693A1CC}"/>
                </a:ext>
              </a:extLst>
            </p:cNvPr>
            <p:cNvSpPr/>
            <p:nvPr/>
          </p:nvSpPr>
          <p:spPr>
            <a:xfrm rot="8716295">
              <a:off x="1923179" y="220010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2" name="Forme libre : forme 151">
              <a:extLst>
                <a:ext uri="{FF2B5EF4-FFF2-40B4-BE49-F238E27FC236}">
                  <a16:creationId xmlns:a16="http://schemas.microsoft.com/office/drawing/2014/main" id="{DEFBD7BA-14F9-43E3-A392-63B2C3EB3D89}"/>
                </a:ext>
              </a:extLst>
            </p:cNvPr>
            <p:cNvSpPr/>
            <p:nvPr/>
          </p:nvSpPr>
          <p:spPr>
            <a:xfrm rot="8716295">
              <a:off x="2234334" y="182046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3" name="Forme libre : forme 152">
              <a:extLst>
                <a:ext uri="{FF2B5EF4-FFF2-40B4-BE49-F238E27FC236}">
                  <a16:creationId xmlns:a16="http://schemas.microsoft.com/office/drawing/2014/main" id="{FA5B5BF3-F8F8-4C26-90BE-9AB63A9858C0}"/>
                </a:ext>
              </a:extLst>
            </p:cNvPr>
            <p:cNvSpPr/>
            <p:nvPr/>
          </p:nvSpPr>
          <p:spPr>
            <a:xfrm rot="8716295">
              <a:off x="2323726" y="184970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4" name="Forme libre : forme 153">
              <a:extLst>
                <a:ext uri="{FF2B5EF4-FFF2-40B4-BE49-F238E27FC236}">
                  <a16:creationId xmlns:a16="http://schemas.microsoft.com/office/drawing/2014/main" id="{7D4A76DD-C0C6-4680-9B5E-C0F67CFE2306}"/>
                </a:ext>
              </a:extLst>
            </p:cNvPr>
            <p:cNvSpPr/>
            <p:nvPr/>
          </p:nvSpPr>
          <p:spPr>
            <a:xfrm rot="8716295">
              <a:off x="2122100" y="19090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5" name="Forme libre : forme 154">
              <a:extLst>
                <a:ext uri="{FF2B5EF4-FFF2-40B4-BE49-F238E27FC236}">
                  <a16:creationId xmlns:a16="http://schemas.microsoft.com/office/drawing/2014/main" id="{6F20D922-BA49-4338-8552-0E24349BE40F}"/>
                </a:ext>
              </a:extLst>
            </p:cNvPr>
            <p:cNvSpPr/>
            <p:nvPr/>
          </p:nvSpPr>
          <p:spPr>
            <a:xfrm rot="8716295">
              <a:off x="1997198" y="170033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6" name="Forme libre : forme 155">
              <a:extLst>
                <a:ext uri="{FF2B5EF4-FFF2-40B4-BE49-F238E27FC236}">
                  <a16:creationId xmlns:a16="http://schemas.microsoft.com/office/drawing/2014/main" id="{C49CE272-F4B5-48DE-8F4E-72BDDD64982A}"/>
                </a:ext>
              </a:extLst>
            </p:cNvPr>
            <p:cNvSpPr/>
            <p:nvPr/>
          </p:nvSpPr>
          <p:spPr>
            <a:xfrm rot="8716295">
              <a:off x="2212278" y="194995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7" name="Forme libre : forme 156">
              <a:extLst>
                <a:ext uri="{FF2B5EF4-FFF2-40B4-BE49-F238E27FC236}">
                  <a16:creationId xmlns:a16="http://schemas.microsoft.com/office/drawing/2014/main" id="{89A0B9F3-EFEE-493B-B0C9-5CE4EF3AC015}"/>
                </a:ext>
              </a:extLst>
            </p:cNvPr>
            <p:cNvSpPr/>
            <p:nvPr/>
          </p:nvSpPr>
          <p:spPr>
            <a:xfrm rot="8716295">
              <a:off x="1970827" y="180035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8" name="Forme libre : forme 157">
              <a:extLst>
                <a:ext uri="{FF2B5EF4-FFF2-40B4-BE49-F238E27FC236}">
                  <a16:creationId xmlns:a16="http://schemas.microsoft.com/office/drawing/2014/main" id="{381186EF-923B-4BA3-A64F-0BC643A96F05}"/>
                </a:ext>
              </a:extLst>
            </p:cNvPr>
            <p:cNvSpPr/>
            <p:nvPr/>
          </p:nvSpPr>
          <p:spPr>
            <a:xfrm rot="7484129">
              <a:off x="2317209" y="214130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9" name="Forme libre : forme 158">
              <a:extLst>
                <a:ext uri="{FF2B5EF4-FFF2-40B4-BE49-F238E27FC236}">
                  <a16:creationId xmlns:a16="http://schemas.microsoft.com/office/drawing/2014/main" id="{788393C8-C36C-4E12-8713-6D9894A034E5}"/>
                </a:ext>
              </a:extLst>
            </p:cNvPr>
            <p:cNvSpPr/>
            <p:nvPr/>
          </p:nvSpPr>
          <p:spPr>
            <a:xfrm rot="13089394">
              <a:off x="2422029" y="2107841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0" name="Forme libre : forme 159">
              <a:extLst>
                <a:ext uri="{FF2B5EF4-FFF2-40B4-BE49-F238E27FC236}">
                  <a16:creationId xmlns:a16="http://schemas.microsoft.com/office/drawing/2014/main" id="{C4FA5850-C1BD-4E2E-921F-011D1E41FA44}"/>
                </a:ext>
              </a:extLst>
            </p:cNvPr>
            <p:cNvSpPr/>
            <p:nvPr/>
          </p:nvSpPr>
          <p:spPr>
            <a:xfrm rot="8716295">
              <a:off x="2607614" y="191616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1" name="Forme libre : forme 160">
              <a:extLst>
                <a:ext uri="{FF2B5EF4-FFF2-40B4-BE49-F238E27FC236}">
                  <a16:creationId xmlns:a16="http://schemas.microsoft.com/office/drawing/2014/main" id="{D19371A5-FFF2-4505-BA78-FDBD81E756C8}"/>
                </a:ext>
              </a:extLst>
            </p:cNvPr>
            <p:cNvSpPr/>
            <p:nvPr/>
          </p:nvSpPr>
          <p:spPr>
            <a:xfrm rot="8716295">
              <a:off x="2555809" y="181256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2" name="Forme libre : forme 161">
              <a:extLst>
                <a:ext uri="{FF2B5EF4-FFF2-40B4-BE49-F238E27FC236}">
                  <a16:creationId xmlns:a16="http://schemas.microsoft.com/office/drawing/2014/main" id="{A15BB5DD-2D34-4EE6-A86F-363F8D953409}"/>
                </a:ext>
              </a:extLst>
            </p:cNvPr>
            <p:cNvSpPr/>
            <p:nvPr/>
          </p:nvSpPr>
          <p:spPr>
            <a:xfrm rot="8716295">
              <a:off x="2312563" y="184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3" name="Forme libre : forme 162">
              <a:extLst>
                <a:ext uri="{FF2B5EF4-FFF2-40B4-BE49-F238E27FC236}">
                  <a16:creationId xmlns:a16="http://schemas.microsoft.com/office/drawing/2014/main" id="{EA840678-0C4C-427E-B930-90E4B3D4F4F5}"/>
                </a:ext>
              </a:extLst>
            </p:cNvPr>
            <p:cNvSpPr/>
            <p:nvPr/>
          </p:nvSpPr>
          <p:spPr>
            <a:xfrm rot="8716295">
              <a:off x="2490015" y="168354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4" name="Forme libre : forme 163">
              <a:extLst>
                <a:ext uri="{FF2B5EF4-FFF2-40B4-BE49-F238E27FC236}">
                  <a16:creationId xmlns:a16="http://schemas.microsoft.com/office/drawing/2014/main" id="{D24A7F84-D7C5-48B5-A2D9-046539552BF1}"/>
                </a:ext>
              </a:extLst>
            </p:cNvPr>
            <p:cNvSpPr/>
            <p:nvPr/>
          </p:nvSpPr>
          <p:spPr>
            <a:xfrm rot="8716295">
              <a:off x="1722068" y="141091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5" name="Forme libre : forme 164">
              <a:extLst>
                <a:ext uri="{FF2B5EF4-FFF2-40B4-BE49-F238E27FC236}">
                  <a16:creationId xmlns:a16="http://schemas.microsoft.com/office/drawing/2014/main" id="{5057A8E5-18E1-48A6-876F-42538393E91C}"/>
                </a:ext>
              </a:extLst>
            </p:cNvPr>
            <p:cNvSpPr/>
            <p:nvPr/>
          </p:nvSpPr>
          <p:spPr>
            <a:xfrm rot="8716295">
              <a:off x="1811460" y="144015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6" name="Forme libre : forme 165">
              <a:extLst>
                <a:ext uri="{FF2B5EF4-FFF2-40B4-BE49-F238E27FC236}">
                  <a16:creationId xmlns:a16="http://schemas.microsoft.com/office/drawing/2014/main" id="{F17BAF41-442E-4918-95C6-E19EEA6D7525}"/>
                </a:ext>
              </a:extLst>
            </p:cNvPr>
            <p:cNvSpPr/>
            <p:nvPr/>
          </p:nvSpPr>
          <p:spPr>
            <a:xfrm rot="8716295">
              <a:off x="1766610" y="135387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7" name="Forme libre : forme 166">
              <a:extLst>
                <a:ext uri="{FF2B5EF4-FFF2-40B4-BE49-F238E27FC236}">
                  <a16:creationId xmlns:a16="http://schemas.microsoft.com/office/drawing/2014/main" id="{62988CCC-AFDA-4601-89EC-2DCFE47EF1C9}"/>
                </a:ext>
              </a:extLst>
            </p:cNvPr>
            <p:cNvSpPr/>
            <p:nvPr/>
          </p:nvSpPr>
          <p:spPr>
            <a:xfrm rot="8716295">
              <a:off x="1609834" y="149945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8" name="Forme libre : forme 167">
              <a:extLst>
                <a:ext uri="{FF2B5EF4-FFF2-40B4-BE49-F238E27FC236}">
                  <a16:creationId xmlns:a16="http://schemas.microsoft.com/office/drawing/2014/main" id="{5054FA74-E8B8-46F3-A02A-768107F93576}"/>
                </a:ext>
              </a:extLst>
            </p:cNvPr>
            <p:cNvSpPr/>
            <p:nvPr/>
          </p:nvSpPr>
          <p:spPr>
            <a:xfrm rot="8716295">
              <a:off x="1484931" y="129078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9" name="Forme libre : forme 168">
              <a:extLst>
                <a:ext uri="{FF2B5EF4-FFF2-40B4-BE49-F238E27FC236}">
                  <a16:creationId xmlns:a16="http://schemas.microsoft.com/office/drawing/2014/main" id="{A04E0DF6-BDC7-4FC4-B1B7-F62238D08C5B}"/>
                </a:ext>
              </a:extLst>
            </p:cNvPr>
            <p:cNvSpPr/>
            <p:nvPr/>
          </p:nvSpPr>
          <p:spPr>
            <a:xfrm rot="8716295">
              <a:off x="1472879" y="115200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0" name="Forme libre : forme 169">
              <a:extLst>
                <a:ext uri="{FF2B5EF4-FFF2-40B4-BE49-F238E27FC236}">
                  <a16:creationId xmlns:a16="http://schemas.microsoft.com/office/drawing/2014/main" id="{57389608-4676-4687-8ECB-4D71B8133D4F}"/>
                </a:ext>
              </a:extLst>
            </p:cNvPr>
            <p:cNvSpPr/>
            <p:nvPr/>
          </p:nvSpPr>
          <p:spPr>
            <a:xfrm rot="8716295">
              <a:off x="1700012" y="154040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1" name="Forme libre : forme 170">
              <a:extLst>
                <a:ext uri="{FF2B5EF4-FFF2-40B4-BE49-F238E27FC236}">
                  <a16:creationId xmlns:a16="http://schemas.microsoft.com/office/drawing/2014/main" id="{B4719429-3450-446C-9492-3B4DE807655B}"/>
                </a:ext>
              </a:extLst>
            </p:cNvPr>
            <p:cNvSpPr/>
            <p:nvPr/>
          </p:nvSpPr>
          <p:spPr>
            <a:xfrm rot="8716295">
              <a:off x="2011167" y="116076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2" name="Forme libre : forme 171">
              <a:extLst>
                <a:ext uri="{FF2B5EF4-FFF2-40B4-BE49-F238E27FC236}">
                  <a16:creationId xmlns:a16="http://schemas.microsoft.com/office/drawing/2014/main" id="{1BD21CA5-EDB3-4B1C-9DA6-85A17C61C7E0}"/>
                </a:ext>
              </a:extLst>
            </p:cNvPr>
            <p:cNvSpPr/>
            <p:nvPr/>
          </p:nvSpPr>
          <p:spPr>
            <a:xfrm rot="8716295">
              <a:off x="2100559" y="119000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3" name="Forme libre : forme 172">
              <a:extLst>
                <a:ext uri="{FF2B5EF4-FFF2-40B4-BE49-F238E27FC236}">
                  <a16:creationId xmlns:a16="http://schemas.microsoft.com/office/drawing/2014/main" id="{7CA91DF5-20FD-481D-801E-1A30383F35AF}"/>
                </a:ext>
              </a:extLst>
            </p:cNvPr>
            <p:cNvSpPr/>
            <p:nvPr/>
          </p:nvSpPr>
          <p:spPr>
            <a:xfrm rot="8716295">
              <a:off x="1898933" y="124930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4" name="Forme libre : forme 173">
              <a:extLst>
                <a:ext uri="{FF2B5EF4-FFF2-40B4-BE49-F238E27FC236}">
                  <a16:creationId xmlns:a16="http://schemas.microsoft.com/office/drawing/2014/main" id="{14C3D20C-5774-494C-8893-5288670D0889}"/>
                </a:ext>
              </a:extLst>
            </p:cNvPr>
            <p:cNvSpPr/>
            <p:nvPr/>
          </p:nvSpPr>
          <p:spPr>
            <a:xfrm rot="8716295">
              <a:off x="1774031" y="104063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5" name="Forme libre : forme 174">
              <a:extLst>
                <a:ext uri="{FF2B5EF4-FFF2-40B4-BE49-F238E27FC236}">
                  <a16:creationId xmlns:a16="http://schemas.microsoft.com/office/drawing/2014/main" id="{921096A6-36F4-49A7-A062-8CA8DFB2FA2B}"/>
                </a:ext>
              </a:extLst>
            </p:cNvPr>
            <p:cNvSpPr/>
            <p:nvPr/>
          </p:nvSpPr>
          <p:spPr>
            <a:xfrm rot="8716295">
              <a:off x="1989111" y="129025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6" name="Forme libre : forme 175">
              <a:extLst>
                <a:ext uri="{FF2B5EF4-FFF2-40B4-BE49-F238E27FC236}">
                  <a16:creationId xmlns:a16="http://schemas.microsoft.com/office/drawing/2014/main" id="{B0920127-DB05-4341-ACD2-55A82DB831D0}"/>
                </a:ext>
              </a:extLst>
            </p:cNvPr>
            <p:cNvSpPr/>
            <p:nvPr/>
          </p:nvSpPr>
          <p:spPr>
            <a:xfrm rot="8716295">
              <a:off x="1747660" y="114065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7" name="Forme libre : forme 176">
              <a:extLst>
                <a:ext uri="{FF2B5EF4-FFF2-40B4-BE49-F238E27FC236}">
                  <a16:creationId xmlns:a16="http://schemas.microsoft.com/office/drawing/2014/main" id="{247E137A-2962-45C6-854D-3C335B97D942}"/>
                </a:ext>
              </a:extLst>
            </p:cNvPr>
            <p:cNvSpPr/>
            <p:nvPr/>
          </p:nvSpPr>
          <p:spPr>
            <a:xfrm rot="7484129">
              <a:off x="2094042" y="148160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8" name="Forme libre : forme 177">
              <a:extLst>
                <a:ext uri="{FF2B5EF4-FFF2-40B4-BE49-F238E27FC236}">
                  <a16:creationId xmlns:a16="http://schemas.microsoft.com/office/drawing/2014/main" id="{AF26B0FA-FC69-4100-A938-0778F8E044BC}"/>
                </a:ext>
              </a:extLst>
            </p:cNvPr>
            <p:cNvSpPr/>
            <p:nvPr/>
          </p:nvSpPr>
          <p:spPr>
            <a:xfrm rot="13089394">
              <a:off x="2198862" y="144814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9" name="Forme libre : forme 178">
              <a:extLst>
                <a:ext uri="{FF2B5EF4-FFF2-40B4-BE49-F238E27FC236}">
                  <a16:creationId xmlns:a16="http://schemas.microsoft.com/office/drawing/2014/main" id="{39EC1976-14A4-4281-9016-8D042C84E539}"/>
                </a:ext>
              </a:extLst>
            </p:cNvPr>
            <p:cNvSpPr/>
            <p:nvPr/>
          </p:nvSpPr>
          <p:spPr>
            <a:xfrm rot="8716295">
              <a:off x="2384447" y="125646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0" name="Forme libre : forme 179">
              <a:extLst>
                <a:ext uri="{FF2B5EF4-FFF2-40B4-BE49-F238E27FC236}">
                  <a16:creationId xmlns:a16="http://schemas.microsoft.com/office/drawing/2014/main" id="{C3D1445E-47EC-4B9A-86DA-68830C5A9003}"/>
                </a:ext>
              </a:extLst>
            </p:cNvPr>
            <p:cNvSpPr/>
            <p:nvPr/>
          </p:nvSpPr>
          <p:spPr>
            <a:xfrm rot="8716295">
              <a:off x="2332642" y="115286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" name="Forme libre : forme 180">
              <a:extLst>
                <a:ext uri="{FF2B5EF4-FFF2-40B4-BE49-F238E27FC236}">
                  <a16:creationId xmlns:a16="http://schemas.microsoft.com/office/drawing/2014/main" id="{6D64B041-AA03-4C2C-B195-E69DDAF61BCF}"/>
                </a:ext>
              </a:extLst>
            </p:cNvPr>
            <p:cNvSpPr/>
            <p:nvPr/>
          </p:nvSpPr>
          <p:spPr>
            <a:xfrm rot="8716295">
              <a:off x="2089396" y="118308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" name="Forme libre : forme 181">
              <a:extLst>
                <a:ext uri="{FF2B5EF4-FFF2-40B4-BE49-F238E27FC236}">
                  <a16:creationId xmlns:a16="http://schemas.microsoft.com/office/drawing/2014/main" id="{6929DCAA-A61B-45A7-8707-91162650FFF3}"/>
                </a:ext>
              </a:extLst>
            </p:cNvPr>
            <p:cNvSpPr/>
            <p:nvPr/>
          </p:nvSpPr>
          <p:spPr>
            <a:xfrm rot="8716295">
              <a:off x="2266848" y="102384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" name="Forme libre : forme 182">
              <a:extLst>
                <a:ext uri="{FF2B5EF4-FFF2-40B4-BE49-F238E27FC236}">
                  <a16:creationId xmlns:a16="http://schemas.microsoft.com/office/drawing/2014/main" id="{606C2101-E652-4D30-867F-39388545E11E}"/>
                </a:ext>
              </a:extLst>
            </p:cNvPr>
            <p:cNvSpPr/>
            <p:nvPr/>
          </p:nvSpPr>
          <p:spPr>
            <a:xfrm rot="8716295">
              <a:off x="1503129" y="74885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" name="Forme libre : forme 183">
              <a:extLst>
                <a:ext uri="{FF2B5EF4-FFF2-40B4-BE49-F238E27FC236}">
                  <a16:creationId xmlns:a16="http://schemas.microsoft.com/office/drawing/2014/main" id="{BCCF4C0A-B226-447A-AED6-6E411077F313}"/>
                </a:ext>
              </a:extLst>
            </p:cNvPr>
            <p:cNvSpPr/>
            <p:nvPr/>
          </p:nvSpPr>
          <p:spPr>
            <a:xfrm rot="8716295">
              <a:off x="1592521" y="77809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" name="Forme libre : forme 184">
              <a:extLst>
                <a:ext uri="{FF2B5EF4-FFF2-40B4-BE49-F238E27FC236}">
                  <a16:creationId xmlns:a16="http://schemas.microsoft.com/office/drawing/2014/main" id="{1047FAEE-E0A8-4DC0-AF81-D0262E51D58E}"/>
                </a:ext>
              </a:extLst>
            </p:cNvPr>
            <p:cNvSpPr/>
            <p:nvPr/>
          </p:nvSpPr>
          <p:spPr>
            <a:xfrm rot="8716295">
              <a:off x="1547671" y="69181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" name="Forme libre : forme 185">
              <a:extLst>
                <a:ext uri="{FF2B5EF4-FFF2-40B4-BE49-F238E27FC236}">
                  <a16:creationId xmlns:a16="http://schemas.microsoft.com/office/drawing/2014/main" id="{30E94405-5131-4E4F-8725-C67590E30DB2}"/>
                </a:ext>
              </a:extLst>
            </p:cNvPr>
            <p:cNvSpPr/>
            <p:nvPr/>
          </p:nvSpPr>
          <p:spPr>
            <a:xfrm rot="8716295">
              <a:off x="1390895" y="83739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" name="Forme libre : forme 186">
              <a:extLst>
                <a:ext uri="{FF2B5EF4-FFF2-40B4-BE49-F238E27FC236}">
                  <a16:creationId xmlns:a16="http://schemas.microsoft.com/office/drawing/2014/main" id="{3592B2BF-462B-42D1-B159-935FE013A746}"/>
                </a:ext>
              </a:extLst>
            </p:cNvPr>
            <p:cNvSpPr/>
            <p:nvPr/>
          </p:nvSpPr>
          <p:spPr>
            <a:xfrm rot="8716295">
              <a:off x="1265992" y="62872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" name="Forme libre : forme 187">
              <a:extLst>
                <a:ext uri="{FF2B5EF4-FFF2-40B4-BE49-F238E27FC236}">
                  <a16:creationId xmlns:a16="http://schemas.microsoft.com/office/drawing/2014/main" id="{1E56EF9D-6FEF-4D8D-A155-3A26210B9301}"/>
                </a:ext>
              </a:extLst>
            </p:cNvPr>
            <p:cNvSpPr/>
            <p:nvPr/>
          </p:nvSpPr>
          <p:spPr>
            <a:xfrm rot="8716295">
              <a:off x="1253940" y="48994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" name="Forme libre : forme 188">
              <a:extLst>
                <a:ext uri="{FF2B5EF4-FFF2-40B4-BE49-F238E27FC236}">
                  <a16:creationId xmlns:a16="http://schemas.microsoft.com/office/drawing/2014/main" id="{ABF55A8B-11D0-49F1-BB9C-9578891D6FAC}"/>
                </a:ext>
              </a:extLst>
            </p:cNvPr>
            <p:cNvSpPr/>
            <p:nvPr/>
          </p:nvSpPr>
          <p:spPr>
            <a:xfrm rot="8716295">
              <a:off x="1481073" y="87835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" name="Forme libre : forme 189">
              <a:extLst>
                <a:ext uri="{FF2B5EF4-FFF2-40B4-BE49-F238E27FC236}">
                  <a16:creationId xmlns:a16="http://schemas.microsoft.com/office/drawing/2014/main" id="{946D037D-9BA1-48DA-87EF-5EF5B831A0E1}"/>
                </a:ext>
              </a:extLst>
            </p:cNvPr>
            <p:cNvSpPr/>
            <p:nvPr/>
          </p:nvSpPr>
          <p:spPr>
            <a:xfrm rot="8716295">
              <a:off x="1792228" y="4987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" name="Forme libre : forme 190">
              <a:extLst>
                <a:ext uri="{FF2B5EF4-FFF2-40B4-BE49-F238E27FC236}">
                  <a16:creationId xmlns:a16="http://schemas.microsoft.com/office/drawing/2014/main" id="{27B82C76-9BEA-43A1-96FA-84295CCF0AA5}"/>
                </a:ext>
              </a:extLst>
            </p:cNvPr>
            <p:cNvSpPr/>
            <p:nvPr/>
          </p:nvSpPr>
          <p:spPr>
            <a:xfrm rot="8716295">
              <a:off x="1881620" y="5279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" name="Forme libre : forme 191">
              <a:extLst>
                <a:ext uri="{FF2B5EF4-FFF2-40B4-BE49-F238E27FC236}">
                  <a16:creationId xmlns:a16="http://schemas.microsoft.com/office/drawing/2014/main" id="{C9AF6FC6-301E-4498-93BF-1A9EB1439FE6}"/>
                </a:ext>
              </a:extLst>
            </p:cNvPr>
            <p:cNvSpPr/>
            <p:nvPr/>
          </p:nvSpPr>
          <p:spPr>
            <a:xfrm rot="8716295">
              <a:off x="1679994" y="58724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" name="Forme libre : forme 192">
              <a:extLst>
                <a:ext uri="{FF2B5EF4-FFF2-40B4-BE49-F238E27FC236}">
                  <a16:creationId xmlns:a16="http://schemas.microsoft.com/office/drawing/2014/main" id="{988C10D0-6B50-41AB-B9B5-23D20681103E}"/>
                </a:ext>
              </a:extLst>
            </p:cNvPr>
            <p:cNvSpPr/>
            <p:nvPr/>
          </p:nvSpPr>
          <p:spPr>
            <a:xfrm rot="8716295">
              <a:off x="1555092" y="37857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" name="Forme libre : forme 193">
              <a:extLst>
                <a:ext uri="{FF2B5EF4-FFF2-40B4-BE49-F238E27FC236}">
                  <a16:creationId xmlns:a16="http://schemas.microsoft.com/office/drawing/2014/main" id="{BA88EE97-63F0-4D28-BDD9-E175569D56C8}"/>
                </a:ext>
              </a:extLst>
            </p:cNvPr>
            <p:cNvSpPr/>
            <p:nvPr/>
          </p:nvSpPr>
          <p:spPr>
            <a:xfrm rot="8716295">
              <a:off x="1770172" y="62819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" name="Forme libre : forme 194">
              <a:extLst>
                <a:ext uri="{FF2B5EF4-FFF2-40B4-BE49-F238E27FC236}">
                  <a16:creationId xmlns:a16="http://schemas.microsoft.com/office/drawing/2014/main" id="{7DB936D3-752D-4426-96C6-451097B40A6E}"/>
                </a:ext>
              </a:extLst>
            </p:cNvPr>
            <p:cNvSpPr/>
            <p:nvPr/>
          </p:nvSpPr>
          <p:spPr>
            <a:xfrm rot="8716295">
              <a:off x="1528721" y="47859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" name="Forme libre : forme 195">
              <a:extLst>
                <a:ext uri="{FF2B5EF4-FFF2-40B4-BE49-F238E27FC236}">
                  <a16:creationId xmlns:a16="http://schemas.microsoft.com/office/drawing/2014/main" id="{6E95CB13-89AC-4C2B-9D9A-140661272E61}"/>
                </a:ext>
              </a:extLst>
            </p:cNvPr>
            <p:cNvSpPr/>
            <p:nvPr/>
          </p:nvSpPr>
          <p:spPr>
            <a:xfrm rot="7484129">
              <a:off x="1875103" y="8195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" name="Forme libre : forme 196">
              <a:extLst>
                <a:ext uri="{FF2B5EF4-FFF2-40B4-BE49-F238E27FC236}">
                  <a16:creationId xmlns:a16="http://schemas.microsoft.com/office/drawing/2014/main" id="{E94CA442-8190-4409-8D0E-996A3C13C977}"/>
                </a:ext>
              </a:extLst>
            </p:cNvPr>
            <p:cNvSpPr/>
            <p:nvPr/>
          </p:nvSpPr>
          <p:spPr>
            <a:xfrm rot="13089394">
              <a:off x="1979923" y="7860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" name="Forme libre : forme 197">
              <a:extLst>
                <a:ext uri="{FF2B5EF4-FFF2-40B4-BE49-F238E27FC236}">
                  <a16:creationId xmlns:a16="http://schemas.microsoft.com/office/drawing/2014/main" id="{52184F7E-FD35-4373-B77A-668CA5FF6983}"/>
                </a:ext>
              </a:extLst>
            </p:cNvPr>
            <p:cNvSpPr/>
            <p:nvPr/>
          </p:nvSpPr>
          <p:spPr>
            <a:xfrm rot="8716295">
              <a:off x="2165508" y="5944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" name="Forme libre : forme 198">
              <a:extLst>
                <a:ext uri="{FF2B5EF4-FFF2-40B4-BE49-F238E27FC236}">
                  <a16:creationId xmlns:a16="http://schemas.microsoft.com/office/drawing/2014/main" id="{203E9F12-3C6B-465D-9FDE-0F57C68E6794}"/>
                </a:ext>
              </a:extLst>
            </p:cNvPr>
            <p:cNvSpPr/>
            <p:nvPr/>
          </p:nvSpPr>
          <p:spPr>
            <a:xfrm rot="8716295">
              <a:off x="2113703" y="4908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" name="Forme libre : forme 199">
              <a:extLst>
                <a:ext uri="{FF2B5EF4-FFF2-40B4-BE49-F238E27FC236}">
                  <a16:creationId xmlns:a16="http://schemas.microsoft.com/office/drawing/2014/main" id="{3A4792DF-206D-4745-96BF-57BE9528DC29}"/>
                </a:ext>
              </a:extLst>
            </p:cNvPr>
            <p:cNvSpPr/>
            <p:nvPr/>
          </p:nvSpPr>
          <p:spPr>
            <a:xfrm rot="8716295">
              <a:off x="1870457" y="5210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" name="Forme libre : forme 200">
              <a:extLst>
                <a:ext uri="{FF2B5EF4-FFF2-40B4-BE49-F238E27FC236}">
                  <a16:creationId xmlns:a16="http://schemas.microsoft.com/office/drawing/2014/main" id="{D95C5BFF-0992-4FE2-933F-F0F5A8B60014}"/>
                </a:ext>
              </a:extLst>
            </p:cNvPr>
            <p:cNvSpPr/>
            <p:nvPr/>
          </p:nvSpPr>
          <p:spPr>
            <a:xfrm rot="8716295">
              <a:off x="2047909" y="3617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" name="Forme libre : forme 201">
              <a:extLst>
                <a:ext uri="{FF2B5EF4-FFF2-40B4-BE49-F238E27FC236}">
                  <a16:creationId xmlns:a16="http://schemas.microsoft.com/office/drawing/2014/main" id="{20C3FF4D-8F7D-4FCE-A8F6-F7C60C54B616}"/>
                </a:ext>
              </a:extLst>
            </p:cNvPr>
            <p:cNvSpPr/>
            <p:nvPr/>
          </p:nvSpPr>
          <p:spPr>
            <a:xfrm rot="8716295">
              <a:off x="1280459" y="8544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" name="Forme libre : forme 202">
              <a:extLst>
                <a:ext uri="{FF2B5EF4-FFF2-40B4-BE49-F238E27FC236}">
                  <a16:creationId xmlns:a16="http://schemas.microsoft.com/office/drawing/2014/main" id="{4A2EE2E0-D7CF-43D6-ACB3-BE33DBCC49BB}"/>
                </a:ext>
              </a:extLst>
            </p:cNvPr>
            <p:cNvSpPr/>
            <p:nvPr/>
          </p:nvSpPr>
          <p:spPr>
            <a:xfrm rot="8716295">
              <a:off x="1369851" y="11468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" name="Forme libre : forme 203">
              <a:extLst>
                <a:ext uri="{FF2B5EF4-FFF2-40B4-BE49-F238E27FC236}">
                  <a16:creationId xmlns:a16="http://schemas.microsoft.com/office/drawing/2014/main" id="{ADCFE50E-B4B9-4301-A613-96CD6C8E76F5}"/>
                </a:ext>
              </a:extLst>
            </p:cNvPr>
            <p:cNvSpPr/>
            <p:nvPr/>
          </p:nvSpPr>
          <p:spPr>
            <a:xfrm rot="8716295">
              <a:off x="1325001" y="2840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" name="Forme libre : forme 204">
              <a:extLst>
                <a:ext uri="{FF2B5EF4-FFF2-40B4-BE49-F238E27FC236}">
                  <a16:creationId xmlns:a16="http://schemas.microsoft.com/office/drawing/2014/main" id="{1C78DD3D-BA43-491E-A425-4F726ABF99F2}"/>
                </a:ext>
              </a:extLst>
            </p:cNvPr>
            <p:cNvSpPr/>
            <p:nvPr/>
          </p:nvSpPr>
          <p:spPr>
            <a:xfrm rot="8716295">
              <a:off x="1168225" y="17398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" name="Forme libre : forme 205">
              <a:extLst>
                <a:ext uri="{FF2B5EF4-FFF2-40B4-BE49-F238E27FC236}">
                  <a16:creationId xmlns:a16="http://schemas.microsoft.com/office/drawing/2014/main" id="{58A93461-0B09-4176-BDF3-87683487BEBD}"/>
                </a:ext>
              </a:extLst>
            </p:cNvPr>
            <p:cNvSpPr/>
            <p:nvPr/>
          </p:nvSpPr>
          <p:spPr>
            <a:xfrm rot="8716295">
              <a:off x="1045449" y="-13548"/>
              <a:ext cx="203847" cy="172572"/>
            </a:xfrm>
            <a:custGeom>
              <a:avLst/>
              <a:gdLst>
                <a:gd name="connsiteX0" fmla="*/ 98725 w 203847"/>
                <a:gd name="connsiteY0" fmla="*/ 172572 h 172572"/>
                <a:gd name="connsiteX1" fmla="*/ 65988 w 203847"/>
                <a:gd name="connsiteY1" fmla="*/ 149880 h 172572"/>
                <a:gd name="connsiteX2" fmla="*/ 47847 w 203847"/>
                <a:gd name="connsiteY2" fmla="*/ 116129 h 172572"/>
                <a:gd name="connsiteX3" fmla="*/ 69777 w 203847"/>
                <a:gd name="connsiteY3" fmla="*/ 55323 h 172572"/>
                <a:gd name="connsiteX4" fmla="*/ 0 w 203847"/>
                <a:gd name="connsiteY4" fmla="*/ 55323 h 172572"/>
                <a:gd name="connsiteX5" fmla="*/ 0 w 203847"/>
                <a:gd name="connsiteY5" fmla="*/ 0 h 172572"/>
                <a:gd name="connsiteX6" fmla="*/ 203847 w 203847"/>
                <a:gd name="connsiteY6" fmla="*/ 0 h 172572"/>
                <a:gd name="connsiteX7" fmla="*/ 203847 w 203847"/>
                <a:gd name="connsiteY7" fmla="*/ 55323 h 172572"/>
                <a:gd name="connsiteX8" fmla="*/ 139055 w 203847"/>
                <a:gd name="connsiteY8" fmla="*/ 55323 h 172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72572">
                  <a:moveTo>
                    <a:pt x="98725" y="172572"/>
                  </a:moveTo>
                  <a:lnTo>
                    <a:pt x="65988" y="149880"/>
                  </a:ln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" name="Forme libre : forme 206">
              <a:extLst>
                <a:ext uri="{FF2B5EF4-FFF2-40B4-BE49-F238E27FC236}">
                  <a16:creationId xmlns:a16="http://schemas.microsoft.com/office/drawing/2014/main" id="{F6E141F6-F3D7-4382-A5A9-B9DC46311949}"/>
                </a:ext>
              </a:extLst>
            </p:cNvPr>
            <p:cNvSpPr/>
            <p:nvPr/>
          </p:nvSpPr>
          <p:spPr>
            <a:xfrm rot="8716295">
              <a:off x="1049608" y="-107301"/>
              <a:ext cx="290643" cy="275223"/>
            </a:xfrm>
            <a:custGeom>
              <a:avLst/>
              <a:gdLst>
                <a:gd name="connsiteX0" fmla="*/ 79172 w 290643"/>
                <a:gd name="connsiteY0" fmla="*/ 128638 h 275223"/>
                <a:gd name="connsiteX1" fmla="*/ 0 w 290643"/>
                <a:gd name="connsiteY1" fmla="*/ 73758 h 275223"/>
                <a:gd name="connsiteX2" fmla="*/ 0 w 290643"/>
                <a:gd name="connsiteY2" fmla="*/ 40596 h 275223"/>
                <a:gd name="connsiteX3" fmla="*/ 78250 w 290643"/>
                <a:gd name="connsiteY3" fmla="*/ 0 h 275223"/>
                <a:gd name="connsiteX4" fmla="*/ 290643 w 290643"/>
                <a:gd name="connsiteY4" fmla="*/ 275223 h 275223"/>
                <a:gd name="connsiteX5" fmla="*/ 278016 w 290643"/>
                <a:gd name="connsiteY5" fmla="*/ 266470 h 275223"/>
                <a:gd name="connsiteX6" fmla="*/ 289467 w 290643"/>
                <a:gd name="connsiteY6" fmla="*/ 261815 h 275223"/>
                <a:gd name="connsiteX7" fmla="*/ 290643 w 290643"/>
                <a:gd name="connsiteY7" fmla="*/ 269463 h 27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0643" h="275223">
                  <a:moveTo>
                    <a:pt x="79172" y="128638"/>
                  </a:moveTo>
                  <a:lnTo>
                    <a:pt x="0" y="73758"/>
                  </a:lnTo>
                  <a:lnTo>
                    <a:pt x="0" y="40596"/>
                  </a:lnTo>
                  <a:lnTo>
                    <a:pt x="78250" y="0"/>
                  </a:lnTo>
                  <a:close/>
                  <a:moveTo>
                    <a:pt x="290643" y="275223"/>
                  </a:moveTo>
                  <a:lnTo>
                    <a:pt x="278016" y="266470"/>
                  </a:lnTo>
                  <a:lnTo>
                    <a:pt x="289467" y="261815"/>
                  </a:lnTo>
                  <a:cubicBezTo>
                    <a:pt x="290055" y="264168"/>
                    <a:pt x="290643" y="267110"/>
                    <a:pt x="290643" y="2694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" name="Forme libre : forme 207">
              <a:extLst>
                <a:ext uri="{FF2B5EF4-FFF2-40B4-BE49-F238E27FC236}">
                  <a16:creationId xmlns:a16="http://schemas.microsoft.com/office/drawing/2014/main" id="{4C5F5C19-6F05-476E-8B4C-2E1271E3709B}"/>
                </a:ext>
              </a:extLst>
            </p:cNvPr>
            <p:cNvSpPr/>
            <p:nvPr/>
          </p:nvSpPr>
          <p:spPr>
            <a:xfrm rot="8716295">
              <a:off x="1258403" y="21493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" name="Forme libre : forme 208">
              <a:extLst>
                <a:ext uri="{FF2B5EF4-FFF2-40B4-BE49-F238E27FC236}">
                  <a16:creationId xmlns:a16="http://schemas.microsoft.com/office/drawing/2014/main" id="{99462675-4E20-4299-99A1-8C989AC1AC7A}"/>
                </a:ext>
              </a:extLst>
            </p:cNvPr>
            <p:cNvSpPr/>
            <p:nvPr/>
          </p:nvSpPr>
          <p:spPr>
            <a:xfrm rot="8716295">
              <a:off x="1604517" y="-50002"/>
              <a:ext cx="142167" cy="106747"/>
            </a:xfrm>
            <a:custGeom>
              <a:avLst/>
              <a:gdLst>
                <a:gd name="connsiteX0" fmla="*/ 142167 w 142167"/>
                <a:gd name="connsiteY0" fmla="*/ 106747 h 106747"/>
                <a:gd name="connsiteX1" fmla="*/ 79942 w 142167"/>
                <a:gd name="connsiteY1" fmla="*/ 63615 h 106747"/>
                <a:gd name="connsiteX2" fmla="*/ 74103 w 142167"/>
                <a:gd name="connsiteY2" fmla="*/ 53597 h 106747"/>
                <a:gd name="connsiteX3" fmla="*/ 60604 w 142167"/>
                <a:gd name="connsiteY3" fmla="*/ 50123 h 106747"/>
                <a:gd name="connsiteX4" fmla="*/ 60478 w 142167"/>
                <a:gd name="connsiteY4" fmla="*/ 50123 h 106747"/>
                <a:gd name="connsiteX5" fmla="*/ 0 w 142167"/>
                <a:gd name="connsiteY5" fmla="*/ 8201 h 106747"/>
                <a:gd name="connsiteX6" fmla="*/ 0 w 142167"/>
                <a:gd name="connsiteY6" fmla="*/ 0 h 106747"/>
                <a:gd name="connsiteX7" fmla="*/ 85209 w 142167"/>
                <a:gd name="connsiteY7" fmla="*/ 0 h 106747"/>
                <a:gd name="connsiteX8" fmla="*/ 142167 w 142167"/>
                <a:gd name="connsiteY8" fmla="*/ 50123 h 10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06747">
                  <a:moveTo>
                    <a:pt x="142167" y="106747"/>
                  </a:moveTo>
                  <a:lnTo>
                    <a:pt x="79942" y="63615"/>
                  </a:lnTo>
                  <a:lnTo>
                    <a:pt x="74103" y="53597"/>
                  </a:lnTo>
                  <a:cubicBezTo>
                    <a:pt x="70400" y="50806"/>
                    <a:pt x="65616" y="49439"/>
                    <a:pt x="60604" y="50123"/>
                  </a:cubicBezTo>
                  <a:lnTo>
                    <a:pt x="60478" y="50123"/>
                  </a:lnTo>
                  <a:lnTo>
                    <a:pt x="0" y="8201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" name="Forme libre : forme 209">
              <a:extLst>
                <a:ext uri="{FF2B5EF4-FFF2-40B4-BE49-F238E27FC236}">
                  <a16:creationId xmlns:a16="http://schemas.microsoft.com/office/drawing/2014/main" id="{F18E365A-DFDC-47DB-8B33-290827288FD8}"/>
                </a:ext>
              </a:extLst>
            </p:cNvPr>
            <p:cNvSpPr/>
            <p:nvPr/>
          </p:nvSpPr>
          <p:spPr>
            <a:xfrm rot="8716295">
              <a:off x="1699771" y="-2013"/>
              <a:ext cx="260639" cy="104392"/>
            </a:xfrm>
            <a:custGeom>
              <a:avLst/>
              <a:gdLst>
                <a:gd name="connsiteX0" fmla="*/ 117530 w 260639"/>
                <a:gd name="connsiteY0" fmla="*/ 104392 h 104392"/>
                <a:gd name="connsiteX1" fmla="*/ 51490 w 260639"/>
                <a:gd name="connsiteY1" fmla="*/ 58614 h 104392"/>
                <a:gd name="connsiteX2" fmla="*/ 51490 w 260639"/>
                <a:gd name="connsiteY2" fmla="*/ 45624 h 104392"/>
                <a:gd name="connsiteX3" fmla="*/ 32748 w 260639"/>
                <a:gd name="connsiteY3" fmla="*/ 45624 h 104392"/>
                <a:gd name="connsiteX4" fmla="*/ 0 w 260639"/>
                <a:gd name="connsiteY4" fmla="*/ 22924 h 104392"/>
                <a:gd name="connsiteX5" fmla="*/ 0 w 260639"/>
                <a:gd name="connsiteY5" fmla="*/ 1425 h 104392"/>
                <a:gd name="connsiteX6" fmla="*/ 104802 w 260639"/>
                <a:gd name="connsiteY6" fmla="*/ 1425 h 104392"/>
                <a:gd name="connsiteX7" fmla="*/ 104802 w 260639"/>
                <a:gd name="connsiteY7" fmla="*/ 75242 h 104392"/>
                <a:gd name="connsiteX8" fmla="*/ 106169 w 260639"/>
                <a:gd name="connsiteY8" fmla="*/ 75242 h 104392"/>
                <a:gd name="connsiteX9" fmla="*/ 154014 w 260639"/>
                <a:gd name="connsiteY9" fmla="*/ 5981 h 104392"/>
                <a:gd name="connsiteX10" fmla="*/ 185455 w 260639"/>
                <a:gd name="connsiteY10" fmla="*/ 57 h 104392"/>
                <a:gd name="connsiteX11" fmla="*/ 260639 w 260639"/>
                <a:gd name="connsiteY11" fmla="*/ 88456 h 104392"/>
                <a:gd name="connsiteX12" fmla="*/ 260639 w 260639"/>
                <a:gd name="connsiteY12" fmla="*/ 94380 h 104392"/>
                <a:gd name="connsiteX13" fmla="*/ 198669 w 260639"/>
                <a:gd name="connsiteY13" fmla="*/ 98025 h 104392"/>
                <a:gd name="connsiteX14" fmla="*/ 198669 w 260639"/>
                <a:gd name="connsiteY14" fmla="*/ 81621 h 104392"/>
                <a:gd name="connsiteX15" fmla="*/ 164950 w 260639"/>
                <a:gd name="connsiteY15" fmla="*/ 40156 h 104392"/>
                <a:gd name="connsiteX16" fmla="*/ 127358 w 260639"/>
                <a:gd name="connsiteY16" fmla="*/ 65616 h 104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60639" h="104392">
                  <a:moveTo>
                    <a:pt x="117530" y="104392"/>
                  </a:moveTo>
                  <a:lnTo>
                    <a:pt x="51490" y="58614"/>
                  </a:lnTo>
                  <a:lnTo>
                    <a:pt x="51490" y="45624"/>
                  </a:lnTo>
                  <a:lnTo>
                    <a:pt x="32748" y="45624"/>
                  </a:lnTo>
                  <a:lnTo>
                    <a:pt x="0" y="229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5"/>
                    <a:pt x="184544" y="40156"/>
                    <a:pt x="164950" y="40156"/>
                  </a:cubicBezTo>
                  <a:cubicBezTo>
                    <a:pt x="150369" y="40156"/>
                    <a:pt x="137041" y="49839"/>
                    <a:pt x="127358" y="656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" name="Forme libre : forme 210">
              <a:extLst>
                <a:ext uri="{FF2B5EF4-FFF2-40B4-BE49-F238E27FC236}">
                  <a16:creationId xmlns:a16="http://schemas.microsoft.com/office/drawing/2014/main" id="{BD9DBA5B-B938-49AE-B4FF-DC0E17DDD56F}"/>
                </a:ext>
              </a:extLst>
            </p:cNvPr>
            <p:cNvSpPr/>
            <p:nvPr/>
          </p:nvSpPr>
          <p:spPr>
            <a:xfrm rot="8716295">
              <a:off x="1547502" y="-3521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" name="Forme libre : forme 211">
              <a:extLst>
                <a:ext uri="{FF2B5EF4-FFF2-40B4-BE49-F238E27FC236}">
                  <a16:creationId xmlns:a16="http://schemas.microsoft.com/office/drawing/2014/main" id="{8C64BFA5-88D5-4B19-8DD4-8DB6B59A61D8}"/>
                </a:ext>
              </a:extLst>
            </p:cNvPr>
            <p:cNvSpPr/>
            <p:nvPr/>
          </p:nvSpPr>
          <p:spPr>
            <a:xfrm rot="7484129">
              <a:off x="1652433" y="15613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" name="Forme libre : forme 212">
              <a:extLst>
                <a:ext uri="{FF2B5EF4-FFF2-40B4-BE49-F238E27FC236}">
                  <a16:creationId xmlns:a16="http://schemas.microsoft.com/office/drawing/2014/main" id="{034CC524-D8AC-40AF-8EAB-AB1B464A30AF}"/>
                </a:ext>
              </a:extLst>
            </p:cNvPr>
            <p:cNvSpPr/>
            <p:nvPr/>
          </p:nvSpPr>
          <p:spPr>
            <a:xfrm rot="13089394">
              <a:off x="1757253" y="122669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" name="Forme libre : forme 213">
              <a:extLst>
                <a:ext uri="{FF2B5EF4-FFF2-40B4-BE49-F238E27FC236}">
                  <a16:creationId xmlns:a16="http://schemas.microsoft.com/office/drawing/2014/main" id="{D78ECCFB-E224-46B7-92F0-42F89F972C82}"/>
                </a:ext>
              </a:extLst>
            </p:cNvPr>
            <p:cNvSpPr/>
            <p:nvPr/>
          </p:nvSpPr>
          <p:spPr>
            <a:xfrm rot="8716295">
              <a:off x="1960606" y="3279"/>
              <a:ext cx="142687" cy="109177"/>
            </a:xfrm>
            <a:custGeom>
              <a:avLst/>
              <a:gdLst>
                <a:gd name="connsiteX0" fmla="*/ 48521 w 142687"/>
                <a:gd name="connsiteY0" fmla="*/ 109177 h 109177"/>
                <a:gd name="connsiteX1" fmla="*/ 0 w 142687"/>
                <a:gd name="connsiteY1" fmla="*/ 75545 h 109177"/>
                <a:gd name="connsiteX2" fmla="*/ 44875 w 142687"/>
                <a:gd name="connsiteY2" fmla="*/ 33320 h 109177"/>
                <a:gd name="connsiteX3" fmla="*/ 109367 w 142687"/>
                <a:gd name="connsiteY3" fmla="*/ 0 h 109177"/>
                <a:gd name="connsiteX4" fmla="*/ 142687 w 142687"/>
                <a:gd name="connsiteY4" fmla="*/ 39770 h 109177"/>
                <a:gd name="connsiteX5" fmla="*/ 111516 w 142687"/>
                <a:gd name="connsiteY5" fmla="*/ 81689 h 109177"/>
                <a:gd name="connsiteX6" fmla="*/ 112053 w 142687"/>
                <a:gd name="connsiteY6" fmla="*/ 81689 h 109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687" h="109177">
                  <a:moveTo>
                    <a:pt x="48521" y="109177"/>
                  </a:moveTo>
                  <a:lnTo>
                    <a:pt x="0" y="75545"/>
                  </a:lnTo>
                  <a:lnTo>
                    <a:pt x="44875" y="33320"/>
                  </a:lnTo>
                  <a:cubicBezTo>
                    <a:pt x="60998" y="14511"/>
                    <a:pt x="84107" y="2687"/>
                    <a:pt x="109367" y="0"/>
                  </a:cubicBezTo>
                  <a:cubicBezTo>
                    <a:pt x="135163" y="0"/>
                    <a:pt x="142687" y="22572"/>
                    <a:pt x="142687" y="39770"/>
                  </a:cubicBezTo>
                  <a:cubicBezTo>
                    <a:pt x="141074" y="58580"/>
                    <a:pt x="128713" y="74165"/>
                    <a:pt x="111516" y="81689"/>
                  </a:cubicBezTo>
                  <a:lnTo>
                    <a:pt x="112053" y="816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" name="Forme libre : forme 214">
              <a:extLst>
                <a:ext uri="{FF2B5EF4-FFF2-40B4-BE49-F238E27FC236}">
                  <a16:creationId xmlns:a16="http://schemas.microsoft.com/office/drawing/2014/main" id="{30980170-BFE4-4DA8-B94E-3A74F835E666}"/>
                </a:ext>
              </a:extLst>
            </p:cNvPr>
            <p:cNvSpPr/>
            <p:nvPr/>
          </p:nvSpPr>
          <p:spPr>
            <a:xfrm rot="8716295">
              <a:off x="1076398" y="254697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" name="Forme libre : forme 215">
              <a:extLst>
                <a:ext uri="{FF2B5EF4-FFF2-40B4-BE49-F238E27FC236}">
                  <a16:creationId xmlns:a16="http://schemas.microsoft.com/office/drawing/2014/main" id="{EF36344D-9704-4C2C-BC8B-34C87B25880E}"/>
                </a:ext>
              </a:extLst>
            </p:cNvPr>
            <p:cNvSpPr/>
            <p:nvPr/>
          </p:nvSpPr>
          <p:spPr>
            <a:xfrm rot="8716295">
              <a:off x="1165790" y="257621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" name="Forme libre : forme 216">
              <a:extLst>
                <a:ext uri="{FF2B5EF4-FFF2-40B4-BE49-F238E27FC236}">
                  <a16:creationId xmlns:a16="http://schemas.microsoft.com/office/drawing/2014/main" id="{58A38589-98F6-451E-A434-58B30914CF96}"/>
                </a:ext>
              </a:extLst>
            </p:cNvPr>
            <p:cNvSpPr/>
            <p:nvPr/>
          </p:nvSpPr>
          <p:spPr>
            <a:xfrm rot="8716295">
              <a:off x="1120940" y="248993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" name="Forme libre : forme 217">
              <a:extLst>
                <a:ext uri="{FF2B5EF4-FFF2-40B4-BE49-F238E27FC236}">
                  <a16:creationId xmlns:a16="http://schemas.microsoft.com/office/drawing/2014/main" id="{1BBAB649-0D47-451B-AEA7-D99D438CCB67}"/>
                </a:ext>
              </a:extLst>
            </p:cNvPr>
            <p:cNvSpPr/>
            <p:nvPr/>
          </p:nvSpPr>
          <p:spPr>
            <a:xfrm rot="8716295">
              <a:off x="964164" y="263551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" name="Forme libre : forme 218">
              <a:extLst>
                <a:ext uri="{FF2B5EF4-FFF2-40B4-BE49-F238E27FC236}">
                  <a16:creationId xmlns:a16="http://schemas.microsoft.com/office/drawing/2014/main" id="{9ABD39F9-0013-4B66-B07C-F120985F94DF}"/>
                </a:ext>
              </a:extLst>
            </p:cNvPr>
            <p:cNvSpPr/>
            <p:nvPr/>
          </p:nvSpPr>
          <p:spPr>
            <a:xfrm rot="8716295">
              <a:off x="839261" y="242684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" name="Forme libre : forme 219">
              <a:extLst>
                <a:ext uri="{FF2B5EF4-FFF2-40B4-BE49-F238E27FC236}">
                  <a16:creationId xmlns:a16="http://schemas.microsoft.com/office/drawing/2014/main" id="{4B771D9C-DFA4-430F-84AF-9AE075F83BC7}"/>
                </a:ext>
              </a:extLst>
            </p:cNvPr>
            <p:cNvSpPr/>
            <p:nvPr/>
          </p:nvSpPr>
          <p:spPr>
            <a:xfrm rot="8716295">
              <a:off x="827209" y="228806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" name="Forme libre : forme 220">
              <a:extLst>
                <a:ext uri="{FF2B5EF4-FFF2-40B4-BE49-F238E27FC236}">
                  <a16:creationId xmlns:a16="http://schemas.microsoft.com/office/drawing/2014/main" id="{7FEF96BC-C543-4B58-AE20-95C6DC72AE3F}"/>
                </a:ext>
              </a:extLst>
            </p:cNvPr>
            <p:cNvSpPr/>
            <p:nvPr/>
          </p:nvSpPr>
          <p:spPr>
            <a:xfrm rot="8716295">
              <a:off x="1054342" y="267647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" name="Forme libre : forme 221">
              <a:extLst>
                <a:ext uri="{FF2B5EF4-FFF2-40B4-BE49-F238E27FC236}">
                  <a16:creationId xmlns:a16="http://schemas.microsoft.com/office/drawing/2014/main" id="{68891634-5A93-4AAD-9989-2DE5CE062379}"/>
                </a:ext>
              </a:extLst>
            </p:cNvPr>
            <p:cNvSpPr/>
            <p:nvPr/>
          </p:nvSpPr>
          <p:spPr>
            <a:xfrm rot="8716295">
              <a:off x="1365497" y="229682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" name="Forme libre : forme 222">
              <a:extLst>
                <a:ext uri="{FF2B5EF4-FFF2-40B4-BE49-F238E27FC236}">
                  <a16:creationId xmlns:a16="http://schemas.microsoft.com/office/drawing/2014/main" id="{39D665A4-4F4E-441C-B55C-726916A4039E}"/>
                </a:ext>
              </a:extLst>
            </p:cNvPr>
            <p:cNvSpPr/>
            <p:nvPr/>
          </p:nvSpPr>
          <p:spPr>
            <a:xfrm rot="8716295">
              <a:off x="1454889" y="232606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" name="Forme libre : forme 223">
              <a:extLst>
                <a:ext uri="{FF2B5EF4-FFF2-40B4-BE49-F238E27FC236}">
                  <a16:creationId xmlns:a16="http://schemas.microsoft.com/office/drawing/2014/main" id="{8AF4C94D-DC68-46A4-BF2C-889E3D6B62EC}"/>
                </a:ext>
              </a:extLst>
            </p:cNvPr>
            <p:cNvSpPr/>
            <p:nvPr/>
          </p:nvSpPr>
          <p:spPr>
            <a:xfrm rot="8716295">
              <a:off x="1253263" y="238536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" name="Forme libre : forme 224">
              <a:extLst>
                <a:ext uri="{FF2B5EF4-FFF2-40B4-BE49-F238E27FC236}">
                  <a16:creationId xmlns:a16="http://schemas.microsoft.com/office/drawing/2014/main" id="{C1408C1D-6D03-4994-BD3B-49E299BEE8DA}"/>
                </a:ext>
              </a:extLst>
            </p:cNvPr>
            <p:cNvSpPr/>
            <p:nvPr/>
          </p:nvSpPr>
          <p:spPr>
            <a:xfrm rot="8716295">
              <a:off x="1128361" y="217669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" name="Forme libre : forme 225">
              <a:extLst>
                <a:ext uri="{FF2B5EF4-FFF2-40B4-BE49-F238E27FC236}">
                  <a16:creationId xmlns:a16="http://schemas.microsoft.com/office/drawing/2014/main" id="{EB108B47-7607-4350-BAC7-848269D45EA1}"/>
                </a:ext>
              </a:extLst>
            </p:cNvPr>
            <p:cNvSpPr/>
            <p:nvPr/>
          </p:nvSpPr>
          <p:spPr>
            <a:xfrm rot="8716295">
              <a:off x="1343441" y="242631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" name="Forme libre : forme 226">
              <a:extLst>
                <a:ext uri="{FF2B5EF4-FFF2-40B4-BE49-F238E27FC236}">
                  <a16:creationId xmlns:a16="http://schemas.microsoft.com/office/drawing/2014/main" id="{016BF330-2E65-471B-BA9A-203A297FAFCE}"/>
                </a:ext>
              </a:extLst>
            </p:cNvPr>
            <p:cNvSpPr/>
            <p:nvPr/>
          </p:nvSpPr>
          <p:spPr>
            <a:xfrm rot="8716295">
              <a:off x="1101990" y="227671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" name="Forme libre : forme 227">
              <a:extLst>
                <a:ext uri="{FF2B5EF4-FFF2-40B4-BE49-F238E27FC236}">
                  <a16:creationId xmlns:a16="http://schemas.microsoft.com/office/drawing/2014/main" id="{20DF741A-5A82-48D0-A9BB-E29A7DA079B2}"/>
                </a:ext>
              </a:extLst>
            </p:cNvPr>
            <p:cNvSpPr/>
            <p:nvPr/>
          </p:nvSpPr>
          <p:spPr>
            <a:xfrm rot="7484129">
              <a:off x="1448372" y="261767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" name="Forme libre : forme 228">
              <a:extLst>
                <a:ext uri="{FF2B5EF4-FFF2-40B4-BE49-F238E27FC236}">
                  <a16:creationId xmlns:a16="http://schemas.microsoft.com/office/drawing/2014/main" id="{FBBC9382-FE3D-4581-90F5-934825D4E890}"/>
                </a:ext>
              </a:extLst>
            </p:cNvPr>
            <p:cNvSpPr/>
            <p:nvPr/>
          </p:nvSpPr>
          <p:spPr>
            <a:xfrm rot="13089394">
              <a:off x="1553192" y="258420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" name="Forme libre : forme 229">
              <a:extLst>
                <a:ext uri="{FF2B5EF4-FFF2-40B4-BE49-F238E27FC236}">
                  <a16:creationId xmlns:a16="http://schemas.microsoft.com/office/drawing/2014/main" id="{1722850A-0379-4FB9-9C9B-E45F998A47BD}"/>
                </a:ext>
              </a:extLst>
            </p:cNvPr>
            <p:cNvSpPr/>
            <p:nvPr/>
          </p:nvSpPr>
          <p:spPr>
            <a:xfrm rot="8716295">
              <a:off x="1738777" y="23925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" name="Forme libre : forme 230">
              <a:extLst>
                <a:ext uri="{FF2B5EF4-FFF2-40B4-BE49-F238E27FC236}">
                  <a16:creationId xmlns:a16="http://schemas.microsoft.com/office/drawing/2014/main" id="{BF511EF9-A49C-4AE3-8280-5A5B1337EE62}"/>
                </a:ext>
              </a:extLst>
            </p:cNvPr>
            <p:cNvSpPr/>
            <p:nvPr/>
          </p:nvSpPr>
          <p:spPr>
            <a:xfrm rot="8716295">
              <a:off x="1686972" y="228893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" name="Forme libre : forme 231">
              <a:extLst>
                <a:ext uri="{FF2B5EF4-FFF2-40B4-BE49-F238E27FC236}">
                  <a16:creationId xmlns:a16="http://schemas.microsoft.com/office/drawing/2014/main" id="{D138BF00-ED92-4133-ADF5-E9C66056A424}"/>
                </a:ext>
              </a:extLst>
            </p:cNvPr>
            <p:cNvSpPr/>
            <p:nvPr/>
          </p:nvSpPr>
          <p:spPr>
            <a:xfrm rot="8716295">
              <a:off x="1443726" y="231915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" name="Forme libre : forme 232">
              <a:extLst>
                <a:ext uri="{FF2B5EF4-FFF2-40B4-BE49-F238E27FC236}">
                  <a16:creationId xmlns:a16="http://schemas.microsoft.com/office/drawing/2014/main" id="{8E358CEB-AF06-484E-8852-BAE0311E02CC}"/>
                </a:ext>
              </a:extLst>
            </p:cNvPr>
            <p:cNvSpPr/>
            <p:nvPr/>
          </p:nvSpPr>
          <p:spPr>
            <a:xfrm rot="8716295">
              <a:off x="1621178" y="21599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" name="Forme libre : forme 233">
              <a:extLst>
                <a:ext uri="{FF2B5EF4-FFF2-40B4-BE49-F238E27FC236}">
                  <a16:creationId xmlns:a16="http://schemas.microsoft.com/office/drawing/2014/main" id="{9EBAEBBD-0226-432C-8DB2-1DA1060129B8}"/>
                </a:ext>
              </a:extLst>
            </p:cNvPr>
            <p:cNvSpPr/>
            <p:nvPr/>
          </p:nvSpPr>
          <p:spPr>
            <a:xfrm rot="8716295">
              <a:off x="1299565" y="320667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" name="Forme libre : forme 234">
              <a:extLst>
                <a:ext uri="{FF2B5EF4-FFF2-40B4-BE49-F238E27FC236}">
                  <a16:creationId xmlns:a16="http://schemas.microsoft.com/office/drawing/2014/main" id="{B666620F-F3D0-4B5D-9685-3CAB27EBF061}"/>
                </a:ext>
              </a:extLst>
            </p:cNvPr>
            <p:cNvSpPr/>
            <p:nvPr/>
          </p:nvSpPr>
          <p:spPr>
            <a:xfrm rot="8716295">
              <a:off x="1388957" y="323591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" name="Forme libre : forme 235">
              <a:extLst>
                <a:ext uri="{FF2B5EF4-FFF2-40B4-BE49-F238E27FC236}">
                  <a16:creationId xmlns:a16="http://schemas.microsoft.com/office/drawing/2014/main" id="{88947540-8C6A-4BF5-BB71-6D60ADEAEBA1}"/>
                </a:ext>
              </a:extLst>
            </p:cNvPr>
            <p:cNvSpPr/>
            <p:nvPr/>
          </p:nvSpPr>
          <p:spPr>
            <a:xfrm rot="8716295">
              <a:off x="1344107" y="314963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" name="Forme libre : forme 236">
              <a:extLst>
                <a:ext uri="{FF2B5EF4-FFF2-40B4-BE49-F238E27FC236}">
                  <a16:creationId xmlns:a16="http://schemas.microsoft.com/office/drawing/2014/main" id="{55A70DC6-65F6-4764-AD9C-C9CC5AC38D47}"/>
                </a:ext>
              </a:extLst>
            </p:cNvPr>
            <p:cNvSpPr/>
            <p:nvPr/>
          </p:nvSpPr>
          <p:spPr>
            <a:xfrm rot="8716295">
              <a:off x="1187331" y="329521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" name="Forme libre : forme 237">
              <a:extLst>
                <a:ext uri="{FF2B5EF4-FFF2-40B4-BE49-F238E27FC236}">
                  <a16:creationId xmlns:a16="http://schemas.microsoft.com/office/drawing/2014/main" id="{BB754C94-5023-48F1-A098-74F43CE79231}"/>
                </a:ext>
              </a:extLst>
            </p:cNvPr>
            <p:cNvSpPr/>
            <p:nvPr/>
          </p:nvSpPr>
          <p:spPr>
            <a:xfrm rot="8716295">
              <a:off x="1062428" y="308654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" name="Forme libre : forme 238">
              <a:extLst>
                <a:ext uri="{FF2B5EF4-FFF2-40B4-BE49-F238E27FC236}">
                  <a16:creationId xmlns:a16="http://schemas.microsoft.com/office/drawing/2014/main" id="{76EDC7DE-4ED0-41EE-BBDC-2D4CD0BE6E51}"/>
                </a:ext>
              </a:extLst>
            </p:cNvPr>
            <p:cNvSpPr/>
            <p:nvPr/>
          </p:nvSpPr>
          <p:spPr>
            <a:xfrm rot="8716295">
              <a:off x="1050376" y="294776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" name="Forme libre : forme 239">
              <a:extLst>
                <a:ext uri="{FF2B5EF4-FFF2-40B4-BE49-F238E27FC236}">
                  <a16:creationId xmlns:a16="http://schemas.microsoft.com/office/drawing/2014/main" id="{ABABCCB1-DB29-40D3-B384-2DA707723441}"/>
                </a:ext>
              </a:extLst>
            </p:cNvPr>
            <p:cNvSpPr/>
            <p:nvPr/>
          </p:nvSpPr>
          <p:spPr>
            <a:xfrm rot="8716295">
              <a:off x="1277509" y="333617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" name="Forme libre : forme 240">
              <a:extLst>
                <a:ext uri="{FF2B5EF4-FFF2-40B4-BE49-F238E27FC236}">
                  <a16:creationId xmlns:a16="http://schemas.microsoft.com/office/drawing/2014/main" id="{D86BE233-1E89-4884-9471-90ABF15AC049}"/>
                </a:ext>
              </a:extLst>
            </p:cNvPr>
            <p:cNvSpPr/>
            <p:nvPr/>
          </p:nvSpPr>
          <p:spPr>
            <a:xfrm rot="8716295">
              <a:off x="1588664" y="295652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" name="Forme libre : forme 241">
              <a:extLst>
                <a:ext uri="{FF2B5EF4-FFF2-40B4-BE49-F238E27FC236}">
                  <a16:creationId xmlns:a16="http://schemas.microsoft.com/office/drawing/2014/main" id="{1E4464D3-58E9-4A03-BB6A-8B83E3881142}"/>
                </a:ext>
              </a:extLst>
            </p:cNvPr>
            <p:cNvSpPr/>
            <p:nvPr/>
          </p:nvSpPr>
          <p:spPr>
            <a:xfrm rot="8716295">
              <a:off x="1678056" y="298576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" name="Forme libre : forme 242">
              <a:extLst>
                <a:ext uri="{FF2B5EF4-FFF2-40B4-BE49-F238E27FC236}">
                  <a16:creationId xmlns:a16="http://schemas.microsoft.com/office/drawing/2014/main" id="{17781F1F-DB19-4442-B92A-C7711450A6C2}"/>
                </a:ext>
              </a:extLst>
            </p:cNvPr>
            <p:cNvSpPr/>
            <p:nvPr/>
          </p:nvSpPr>
          <p:spPr>
            <a:xfrm rot="8716295">
              <a:off x="1476430" y="304506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" name="Forme libre : forme 243">
              <a:extLst>
                <a:ext uri="{FF2B5EF4-FFF2-40B4-BE49-F238E27FC236}">
                  <a16:creationId xmlns:a16="http://schemas.microsoft.com/office/drawing/2014/main" id="{DBD406CA-7502-44B6-87AF-2C3CFA35CDED}"/>
                </a:ext>
              </a:extLst>
            </p:cNvPr>
            <p:cNvSpPr/>
            <p:nvPr/>
          </p:nvSpPr>
          <p:spPr>
            <a:xfrm rot="8716295">
              <a:off x="1351528" y="283639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" name="Forme libre : forme 244">
              <a:extLst>
                <a:ext uri="{FF2B5EF4-FFF2-40B4-BE49-F238E27FC236}">
                  <a16:creationId xmlns:a16="http://schemas.microsoft.com/office/drawing/2014/main" id="{1D9F6882-BBB8-4C9A-BDD7-FAB6F4D5F59D}"/>
                </a:ext>
              </a:extLst>
            </p:cNvPr>
            <p:cNvSpPr/>
            <p:nvPr/>
          </p:nvSpPr>
          <p:spPr>
            <a:xfrm rot="8716295">
              <a:off x="1566608" y="308601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" name="Forme libre : forme 245">
              <a:extLst>
                <a:ext uri="{FF2B5EF4-FFF2-40B4-BE49-F238E27FC236}">
                  <a16:creationId xmlns:a16="http://schemas.microsoft.com/office/drawing/2014/main" id="{D03B605A-3C15-4096-9741-AEE20EFC39A1}"/>
                </a:ext>
              </a:extLst>
            </p:cNvPr>
            <p:cNvSpPr/>
            <p:nvPr/>
          </p:nvSpPr>
          <p:spPr>
            <a:xfrm rot="8716295">
              <a:off x="1325157" y="293641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" name="Forme libre : forme 246">
              <a:extLst>
                <a:ext uri="{FF2B5EF4-FFF2-40B4-BE49-F238E27FC236}">
                  <a16:creationId xmlns:a16="http://schemas.microsoft.com/office/drawing/2014/main" id="{38898AE8-B829-47A3-880A-38C78C89B9DE}"/>
                </a:ext>
              </a:extLst>
            </p:cNvPr>
            <p:cNvSpPr/>
            <p:nvPr/>
          </p:nvSpPr>
          <p:spPr>
            <a:xfrm rot="7484129">
              <a:off x="1671539" y="327736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" name="Forme libre : forme 247">
              <a:extLst>
                <a:ext uri="{FF2B5EF4-FFF2-40B4-BE49-F238E27FC236}">
                  <a16:creationId xmlns:a16="http://schemas.microsoft.com/office/drawing/2014/main" id="{6C94EF82-BA2B-46A8-965C-6EF68064713F}"/>
                </a:ext>
              </a:extLst>
            </p:cNvPr>
            <p:cNvSpPr/>
            <p:nvPr/>
          </p:nvSpPr>
          <p:spPr>
            <a:xfrm rot="13089394">
              <a:off x="1776359" y="324390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" name="Forme libre : forme 248">
              <a:extLst>
                <a:ext uri="{FF2B5EF4-FFF2-40B4-BE49-F238E27FC236}">
                  <a16:creationId xmlns:a16="http://schemas.microsoft.com/office/drawing/2014/main" id="{551D5950-1E6B-4DD0-AB72-CBFF9866A44D}"/>
                </a:ext>
              </a:extLst>
            </p:cNvPr>
            <p:cNvSpPr/>
            <p:nvPr/>
          </p:nvSpPr>
          <p:spPr>
            <a:xfrm rot="8716295">
              <a:off x="1961944" y="305222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" name="Forme libre : forme 249">
              <a:extLst>
                <a:ext uri="{FF2B5EF4-FFF2-40B4-BE49-F238E27FC236}">
                  <a16:creationId xmlns:a16="http://schemas.microsoft.com/office/drawing/2014/main" id="{B6B88D31-2E44-4166-86AB-E9E6ECCAF3B0}"/>
                </a:ext>
              </a:extLst>
            </p:cNvPr>
            <p:cNvSpPr/>
            <p:nvPr/>
          </p:nvSpPr>
          <p:spPr>
            <a:xfrm rot="8716295">
              <a:off x="1910139" y="294862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" name="Forme libre : forme 250">
              <a:extLst>
                <a:ext uri="{FF2B5EF4-FFF2-40B4-BE49-F238E27FC236}">
                  <a16:creationId xmlns:a16="http://schemas.microsoft.com/office/drawing/2014/main" id="{811032A2-B40D-4E18-A5FE-1E40E940D0A3}"/>
                </a:ext>
              </a:extLst>
            </p:cNvPr>
            <p:cNvSpPr/>
            <p:nvPr/>
          </p:nvSpPr>
          <p:spPr>
            <a:xfrm rot="8716295">
              <a:off x="1666893" y="297885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" name="Forme libre : forme 251">
              <a:extLst>
                <a:ext uri="{FF2B5EF4-FFF2-40B4-BE49-F238E27FC236}">
                  <a16:creationId xmlns:a16="http://schemas.microsoft.com/office/drawing/2014/main" id="{10E9AA39-FF6D-4519-822E-A935B8BFBA5C}"/>
                </a:ext>
              </a:extLst>
            </p:cNvPr>
            <p:cNvSpPr/>
            <p:nvPr/>
          </p:nvSpPr>
          <p:spPr>
            <a:xfrm rot="8716295">
              <a:off x="1844345" y="281960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" name="Forme libre : forme 252">
              <a:extLst>
                <a:ext uri="{FF2B5EF4-FFF2-40B4-BE49-F238E27FC236}">
                  <a16:creationId xmlns:a16="http://schemas.microsoft.com/office/drawing/2014/main" id="{6C0C2891-B5CF-43D2-8AFF-62DA18792308}"/>
                </a:ext>
              </a:extLst>
            </p:cNvPr>
            <p:cNvSpPr/>
            <p:nvPr/>
          </p:nvSpPr>
          <p:spPr>
            <a:xfrm rot="8716295">
              <a:off x="2092137" y="5100860"/>
              <a:ext cx="63833" cy="43384"/>
            </a:xfrm>
            <a:custGeom>
              <a:avLst/>
              <a:gdLst>
                <a:gd name="connsiteX0" fmla="*/ 5923 w 63833"/>
                <a:gd name="connsiteY0" fmla="*/ 43384 h 43384"/>
                <a:gd name="connsiteX1" fmla="*/ 0 w 63833"/>
                <a:gd name="connsiteY1" fmla="*/ 35182 h 43384"/>
                <a:gd name="connsiteX2" fmla="*/ 37391 w 63833"/>
                <a:gd name="connsiteY2" fmla="*/ 0 h 43384"/>
                <a:gd name="connsiteX3" fmla="*/ 63833 w 63833"/>
                <a:gd name="connsiteY3" fmla="*/ 18329 h 4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833" h="43384">
                  <a:moveTo>
                    <a:pt x="5923" y="43384"/>
                  </a:moveTo>
                  <a:lnTo>
                    <a:pt x="0" y="35182"/>
                  </a:lnTo>
                  <a:lnTo>
                    <a:pt x="37391" y="0"/>
                  </a:lnTo>
                  <a:lnTo>
                    <a:pt x="63833" y="1832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" name="Forme libre : forme 253">
              <a:extLst>
                <a:ext uri="{FF2B5EF4-FFF2-40B4-BE49-F238E27FC236}">
                  <a16:creationId xmlns:a16="http://schemas.microsoft.com/office/drawing/2014/main" id="{D0590309-C5C9-415B-B4DB-187E6398C8E2}"/>
                </a:ext>
              </a:extLst>
            </p:cNvPr>
            <p:cNvSpPr/>
            <p:nvPr/>
          </p:nvSpPr>
          <p:spPr>
            <a:xfrm rot="8716295">
              <a:off x="1789040" y="5044339"/>
              <a:ext cx="113322" cy="144291"/>
            </a:xfrm>
            <a:custGeom>
              <a:avLst/>
              <a:gdLst>
                <a:gd name="connsiteX0" fmla="*/ 0 w 113322"/>
                <a:gd name="connsiteY0" fmla="*/ 3741 h 144291"/>
                <a:gd name="connsiteX1" fmla="*/ 0 w 113322"/>
                <a:gd name="connsiteY1" fmla="*/ 0 h 144291"/>
                <a:gd name="connsiteX2" fmla="*/ 5398 w 113322"/>
                <a:gd name="connsiteY2" fmla="*/ 3741 h 144291"/>
                <a:gd name="connsiteX3" fmla="*/ 90709 w 113322"/>
                <a:gd name="connsiteY3" fmla="*/ 144291 h 144291"/>
                <a:gd name="connsiteX4" fmla="*/ 47847 w 113322"/>
                <a:gd name="connsiteY4" fmla="*/ 64547 h 144291"/>
                <a:gd name="connsiteX5" fmla="*/ 56901 w 113322"/>
                <a:gd name="connsiteY5" fmla="*/ 39441 h 144291"/>
                <a:gd name="connsiteX6" fmla="*/ 113322 w 113322"/>
                <a:gd name="connsiteY6" fmla="*/ 78551 h 144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322" h="144291">
                  <a:moveTo>
                    <a:pt x="0" y="3741"/>
                  </a:moveTo>
                  <a:lnTo>
                    <a:pt x="0" y="0"/>
                  </a:lnTo>
                  <a:lnTo>
                    <a:pt x="5398" y="3741"/>
                  </a:lnTo>
                  <a:close/>
                  <a:moveTo>
                    <a:pt x="90709" y="144291"/>
                  </a:moveTo>
                  <a:lnTo>
                    <a:pt x="47847" y="64547"/>
                  </a:lnTo>
                  <a:lnTo>
                    <a:pt x="56901" y="39441"/>
                  </a:lnTo>
                  <a:lnTo>
                    <a:pt x="113322" y="7855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" name="Forme libre : forme 254">
              <a:extLst>
                <a:ext uri="{FF2B5EF4-FFF2-40B4-BE49-F238E27FC236}">
                  <a16:creationId xmlns:a16="http://schemas.microsoft.com/office/drawing/2014/main" id="{5BD5D859-B6BE-4272-BEBA-C49F2EB86FA8}"/>
                </a:ext>
              </a:extLst>
            </p:cNvPr>
            <p:cNvSpPr/>
            <p:nvPr/>
          </p:nvSpPr>
          <p:spPr>
            <a:xfrm rot="8716295">
              <a:off x="1701335" y="4927006"/>
              <a:ext cx="290643" cy="318535"/>
            </a:xfrm>
            <a:custGeom>
              <a:avLst/>
              <a:gdLst>
                <a:gd name="connsiteX0" fmla="*/ 25298 w 290643"/>
                <a:gd name="connsiteY0" fmla="*/ 288944 h 318535"/>
                <a:gd name="connsiteX1" fmla="*/ 0 w 290643"/>
                <a:gd name="connsiteY1" fmla="*/ 187748 h 318535"/>
                <a:gd name="connsiteX2" fmla="*/ 0 w 290643"/>
                <a:gd name="connsiteY2" fmla="*/ 8302 h 318535"/>
                <a:gd name="connsiteX3" fmla="*/ 16003 w 290643"/>
                <a:gd name="connsiteY3" fmla="*/ 0 h 318535"/>
                <a:gd name="connsiteX4" fmla="*/ 78793 w 290643"/>
                <a:gd name="connsiteY4" fmla="*/ 43524 h 318535"/>
                <a:gd name="connsiteX5" fmla="*/ 79427 w 290643"/>
                <a:gd name="connsiteY5" fmla="*/ 131855 h 318535"/>
                <a:gd name="connsiteX6" fmla="*/ 93547 w 290643"/>
                <a:gd name="connsiteY6" fmla="*/ 229521 h 318535"/>
                <a:gd name="connsiteX7" fmla="*/ 164149 w 290643"/>
                <a:gd name="connsiteY7" fmla="*/ 268352 h 318535"/>
                <a:gd name="connsiteX8" fmla="*/ 217100 w 290643"/>
                <a:gd name="connsiteY8" fmla="*/ 258938 h 318535"/>
                <a:gd name="connsiteX9" fmla="*/ 289467 w 290643"/>
                <a:gd name="connsiteY9" fmla="*/ 229521 h 318535"/>
                <a:gd name="connsiteX10" fmla="*/ 290643 w 290643"/>
                <a:gd name="connsiteY10" fmla="*/ 237169 h 318535"/>
                <a:gd name="connsiteX11" fmla="*/ 290643 w 290643"/>
                <a:gd name="connsiteY11" fmla="*/ 243052 h 318535"/>
                <a:gd name="connsiteX12" fmla="*/ 97665 w 290643"/>
                <a:gd name="connsiteY12" fmla="*/ 318361 h 318535"/>
                <a:gd name="connsiteX13" fmla="*/ 25298 w 290643"/>
                <a:gd name="connsiteY13" fmla="*/ 288944 h 318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90643" h="318535">
                  <a:moveTo>
                    <a:pt x="25298" y="288944"/>
                  </a:moveTo>
                  <a:cubicBezTo>
                    <a:pt x="5295" y="269528"/>
                    <a:pt x="0" y="235992"/>
                    <a:pt x="0" y="187748"/>
                  </a:cubicBezTo>
                  <a:lnTo>
                    <a:pt x="0" y="8302"/>
                  </a:lnTo>
                  <a:lnTo>
                    <a:pt x="16003" y="0"/>
                  </a:lnTo>
                  <a:lnTo>
                    <a:pt x="78793" y="43524"/>
                  </a:lnTo>
                  <a:lnTo>
                    <a:pt x="79427" y="131855"/>
                  </a:lnTo>
                  <a:cubicBezTo>
                    <a:pt x="77662" y="164803"/>
                    <a:pt x="82957" y="198338"/>
                    <a:pt x="93547" y="229521"/>
                  </a:cubicBezTo>
                  <a:cubicBezTo>
                    <a:pt x="102961" y="255408"/>
                    <a:pt x="127083" y="268352"/>
                    <a:pt x="164149" y="268352"/>
                  </a:cubicBezTo>
                  <a:cubicBezTo>
                    <a:pt x="182387" y="267763"/>
                    <a:pt x="200038" y="264233"/>
                    <a:pt x="217100" y="258938"/>
                  </a:cubicBezTo>
                  <a:cubicBezTo>
                    <a:pt x="241810" y="251290"/>
                    <a:pt x="265933" y="241288"/>
                    <a:pt x="289467" y="229521"/>
                  </a:cubicBezTo>
                  <a:cubicBezTo>
                    <a:pt x="290055" y="231874"/>
                    <a:pt x="290643" y="234816"/>
                    <a:pt x="290643" y="237169"/>
                  </a:cubicBezTo>
                  <a:lnTo>
                    <a:pt x="290643" y="243052"/>
                  </a:lnTo>
                  <a:cubicBezTo>
                    <a:pt x="228278" y="296592"/>
                    <a:pt x="146498" y="315419"/>
                    <a:pt x="97665" y="318361"/>
                  </a:cubicBezTo>
                  <a:cubicBezTo>
                    <a:pt x="70602" y="320126"/>
                    <a:pt x="44126" y="308359"/>
                    <a:pt x="25298" y="28894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" name="Forme libre : forme 255">
              <a:extLst>
                <a:ext uri="{FF2B5EF4-FFF2-40B4-BE49-F238E27FC236}">
                  <a16:creationId xmlns:a16="http://schemas.microsoft.com/office/drawing/2014/main" id="{DF6324B6-1146-4A58-A87B-58A99832DFC5}"/>
                </a:ext>
              </a:extLst>
            </p:cNvPr>
            <p:cNvSpPr/>
            <p:nvPr/>
          </p:nvSpPr>
          <p:spPr>
            <a:xfrm rot="8716295">
              <a:off x="2251190" y="4935850"/>
              <a:ext cx="142167" cy="232388"/>
            </a:xfrm>
            <a:custGeom>
              <a:avLst/>
              <a:gdLst>
                <a:gd name="connsiteX0" fmla="*/ 81108 w 142167"/>
                <a:gd name="connsiteY0" fmla="*/ 232388 h 232388"/>
                <a:gd name="connsiteX1" fmla="*/ 81108 w 142167"/>
                <a:gd name="connsiteY1" fmla="*/ 69716 h 232388"/>
                <a:gd name="connsiteX2" fmla="*/ 81108 w 142167"/>
                <a:gd name="connsiteY2" fmla="*/ 65616 h 232388"/>
                <a:gd name="connsiteX3" fmla="*/ 60604 w 142167"/>
                <a:gd name="connsiteY3" fmla="*/ 50123 h 232388"/>
                <a:gd name="connsiteX4" fmla="*/ 0 w 142167"/>
                <a:gd name="connsiteY4" fmla="*/ 50123 h 232388"/>
                <a:gd name="connsiteX5" fmla="*/ 0 w 142167"/>
                <a:gd name="connsiteY5" fmla="*/ 0 h 232388"/>
                <a:gd name="connsiteX6" fmla="*/ 63990 w 142167"/>
                <a:gd name="connsiteY6" fmla="*/ 0 h 232388"/>
                <a:gd name="connsiteX7" fmla="*/ 142167 w 142167"/>
                <a:gd name="connsiteY7" fmla="*/ 54190 h 232388"/>
                <a:gd name="connsiteX8" fmla="*/ 142167 w 142167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32388">
                  <a:moveTo>
                    <a:pt x="81108" y="232388"/>
                  </a:moveTo>
                  <a:lnTo>
                    <a:pt x="81108" y="69716"/>
                  </a:lnTo>
                  <a:cubicBezTo>
                    <a:pt x="81108" y="68350"/>
                    <a:pt x="81108" y="66983"/>
                    <a:pt x="81108" y="65616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63990" y="0"/>
                  </a:lnTo>
                  <a:lnTo>
                    <a:pt x="142167" y="54190"/>
                  </a:lnTo>
                  <a:lnTo>
                    <a:pt x="142167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" name="Forme libre : forme 256">
              <a:extLst>
                <a:ext uri="{FF2B5EF4-FFF2-40B4-BE49-F238E27FC236}">
                  <a16:creationId xmlns:a16="http://schemas.microsoft.com/office/drawing/2014/main" id="{646EF66B-E595-4EAF-98DD-AFED25A9F1D2}"/>
                </a:ext>
              </a:extLst>
            </p:cNvPr>
            <p:cNvSpPr/>
            <p:nvPr/>
          </p:nvSpPr>
          <p:spPr>
            <a:xfrm rot="8716295">
              <a:off x="2456859" y="4924575"/>
              <a:ext cx="131246" cy="253348"/>
            </a:xfrm>
            <a:custGeom>
              <a:avLst/>
              <a:gdLst>
                <a:gd name="connsiteX0" fmla="*/ 51490 w 131246"/>
                <a:gd name="connsiteY0" fmla="*/ 253348 h 253348"/>
                <a:gd name="connsiteX1" fmla="*/ 51489 w 131246"/>
                <a:gd name="connsiteY1" fmla="*/ 44199 h 253348"/>
                <a:gd name="connsiteX2" fmla="*/ 0 w 131246"/>
                <a:gd name="connsiteY2" fmla="*/ 44199 h 253348"/>
                <a:gd name="connsiteX3" fmla="*/ 0 w 131246"/>
                <a:gd name="connsiteY3" fmla="*/ 0 h 253348"/>
                <a:gd name="connsiteX4" fmla="*/ 44807 w 131246"/>
                <a:gd name="connsiteY4" fmla="*/ 0 h 253348"/>
                <a:gd name="connsiteX5" fmla="*/ 104802 w 131246"/>
                <a:gd name="connsiteY5" fmla="*/ 41587 h 253348"/>
                <a:gd name="connsiteX6" fmla="*/ 104802 w 131246"/>
                <a:gd name="connsiteY6" fmla="*/ 73817 h 253348"/>
                <a:gd name="connsiteX7" fmla="*/ 106169 w 131246"/>
                <a:gd name="connsiteY7" fmla="*/ 73817 h 253348"/>
                <a:gd name="connsiteX8" fmla="*/ 115569 w 131246"/>
                <a:gd name="connsiteY8" fmla="*/ 49050 h 253348"/>
                <a:gd name="connsiteX9" fmla="*/ 131246 w 131246"/>
                <a:gd name="connsiteY9" fmla="*/ 59916 h 253348"/>
                <a:gd name="connsiteX10" fmla="*/ 127358 w 131246"/>
                <a:gd name="connsiteY10" fmla="*/ 64191 h 253348"/>
                <a:gd name="connsiteX11" fmla="*/ 111638 w 131246"/>
                <a:gd name="connsiteY11" fmla="*/ 126218 h 253348"/>
                <a:gd name="connsiteX12" fmla="*/ 111638 w 131246"/>
                <a:gd name="connsiteY12" fmla="*/ 212339 h 253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1246" h="253348">
                  <a:moveTo>
                    <a:pt x="51490" y="253348"/>
                  </a:moveTo>
                  <a:lnTo>
                    <a:pt x="51489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44807" y="0"/>
                  </a:lnTo>
                  <a:lnTo>
                    <a:pt x="104802" y="41587"/>
                  </a:lnTo>
                  <a:lnTo>
                    <a:pt x="104802" y="73817"/>
                  </a:lnTo>
                  <a:lnTo>
                    <a:pt x="106169" y="73817"/>
                  </a:lnTo>
                  <a:lnTo>
                    <a:pt x="115569" y="49050"/>
                  </a:lnTo>
                  <a:lnTo>
                    <a:pt x="131246" y="59916"/>
                  </a:lnTo>
                  <a:lnTo>
                    <a:pt x="127358" y="64191"/>
                  </a:lnTo>
                  <a:cubicBezTo>
                    <a:pt x="117675" y="79968"/>
                    <a:pt x="111638" y="101840"/>
                    <a:pt x="111638" y="126218"/>
                  </a:cubicBezTo>
                  <a:lnTo>
                    <a:pt x="111638" y="2123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" name="Forme libre : forme 257">
              <a:extLst>
                <a:ext uri="{FF2B5EF4-FFF2-40B4-BE49-F238E27FC236}">
                  <a16:creationId xmlns:a16="http://schemas.microsoft.com/office/drawing/2014/main" id="{BBB2A0DE-B613-4103-A446-00FD5673FDA7}"/>
                </a:ext>
              </a:extLst>
            </p:cNvPr>
            <p:cNvSpPr/>
            <p:nvPr/>
          </p:nvSpPr>
          <p:spPr>
            <a:xfrm rot="8716295">
              <a:off x="2139785" y="502413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" name="Forme libre : forme 258">
              <a:extLst>
                <a:ext uri="{FF2B5EF4-FFF2-40B4-BE49-F238E27FC236}">
                  <a16:creationId xmlns:a16="http://schemas.microsoft.com/office/drawing/2014/main" id="{CE0B209D-C132-46B3-A7D3-E99A86963D83}"/>
                </a:ext>
              </a:extLst>
            </p:cNvPr>
            <p:cNvSpPr/>
            <p:nvPr/>
          </p:nvSpPr>
          <p:spPr>
            <a:xfrm rot="8716295">
              <a:off x="2014883" y="481546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" name="Forme libre : forme 259">
              <a:extLst>
                <a:ext uri="{FF2B5EF4-FFF2-40B4-BE49-F238E27FC236}">
                  <a16:creationId xmlns:a16="http://schemas.microsoft.com/office/drawing/2014/main" id="{46BBD1CB-80EF-4DD7-9CA4-1F270A6D433D}"/>
                </a:ext>
              </a:extLst>
            </p:cNvPr>
            <p:cNvSpPr/>
            <p:nvPr/>
          </p:nvSpPr>
          <p:spPr>
            <a:xfrm rot="8716295">
              <a:off x="2190257" y="5090583"/>
              <a:ext cx="60147" cy="76898"/>
            </a:xfrm>
            <a:custGeom>
              <a:avLst/>
              <a:gdLst>
                <a:gd name="connsiteX0" fmla="*/ 60147 w 60147"/>
                <a:gd name="connsiteY0" fmla="*/ 76898 h 76898"/>
                <a:gd name="connsiteX1" fmla="*/ 0 w 60147"/>
                <a:gd name="connsiteY1" fmla="*/ 19028 h 76898"/>
                <a:gd name="connsiteX2" fmla="*/ 0 w 60147"/>
                <a:gd name="connsiteY2" fmla="*/ 0 h 76898"/>
                <a:gd name="connsiteX3" fmla="*/ 60147 w 60147"/>
                <a:gd name="connsiteY3" fmla="*/ 41692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7" h="76898">
                  <a:moveTo>
                    <a:pt x="60147" y="76898"/>
                  </a:moveTo>
                  <a:lnTo>
                    <a:pt x="0" y="19028"/>
                  </a:lnTo>
                  <a:lnTo>
                    <a:pt x="0" y="0"/>
                  </a:lnTo>
                  <a:lnTo>
                    <a:pt x="60147" y="416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" name="Forme libre : forme 260">
              <a:extLst>
                <a:ext uri="{FF2B5EF4-FFF2-40B4-BE49-F238E27FC236}">
                  <a16:creationId xmlns:a16="http://schemas.microsoft.com/office/drawing/2014/main" id="{A32DFF69-92E6-43D9-A847-4B37531C0FC1}"/>
                </a:ext>
              </a:extLst>
            </p:cNvPr>
            <p:cNvSpPr/>
            <p:nvPr/>
          </p:nvSpPr>
          <p:spPr>
            <a:xfrm rot="8716295">
              <a:off x="1988512" y="491548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" name="Forme libre : forme 261">
              <a:extLst>
                <a:ext uri="{FF2B5EF4-FFF2-40B4-BE49-F238E27FC236}">
                  <a16:creationId xmlns:a16="http://schemas.microsoft.com/office/drawing/2014/main" id="{8232E004-724D-4398-A64A-AF1F94C033B6}"/>
                </a:ext>
              </a:extLst>
            </p:cNvPr>
            <p:cNvSpPr/>
            <p:nvPr/>
          </p:nvSpPr>
          <p:spPr>
            <a:xfrm rot="8716295">
              <a:off x="2650789" y="5021708"/>
              <a:ext cx="177699" cy="117559"/>
            </a:xfrm>
            <a:custGeom>
              <a:avLst/>
              <a:gdLst>
                <a:gd name="connsiteX0" fmla="*/ 6986 w 177699"/>
                <a:gd name="connsiteY0" fmla="*/ 117559 h 117559"/>
                <a:gd name="connsiteX1" fmla="*/ 0 w 177699"/>
                <a:gd name="connsiteY1" fmla="*/ 107886 h 117559"/>
                <a:gd name="connsiteX2" fmla="*/ 114658 w 177699"/>
                <a:gd name="connsiteY2" fmla="*/ 0 h 117559"/>
                <a:gd name="connsiteX3" fmla="*/ 177699 w 177699"/>
                <a:gd name="connsiteY3" fmla="*/ 43698 h 117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7699" h="117559">
                  <a:moveTo>
                    <a:pt x="6986" y="117559"/>
                  </a:moveTo>
                  <a:lnTo>
                    <a:pt x="0" y="107886"/>
                  </a:lnTo>
                  <a:lnTo>
                    <a:pt x="114658" y="0"/>
                  </a:lnTo>
                  <a:lnTo>
                    <a:pt x="177699" y="436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" name="Forme libre : forme 262">
              <a:extLst>
                <a:ext uri="{FF2B5EF4-FFF2-40B4-BE49-F238E27FC236}">
                  <a16:creationId xmlns:a16="http://schemas.microsoft.com/office/drawing/2014/main" id="{FBFBE439-377B-4FDF-9911-15B61D5AC250}"/>
                </a:ext>
              </a:extLst>
            </p:cNvPr>
            <p:cNvSpPr/>
            <p:nvPr/>
          </p:nvSpPr>
          <p:spPr>
            <a:xfrm rot="8716295">
              <a:off x="2573494" y="492769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" name="Forme libre : forme 263">
              <a:extLst>
                <a:ext uri="{FF2B5EF4-FFF2-40B4-BE49-F238E27FC236}">
                  <a16:creationId xmlns:a16="http://schemas.microsoft.com/office/drawing/2014/main" id="{8F5A7FC6-58AF-4BF6-9769-158D9D43A4A8}"/>
                </a:ext>
              </a:extLst>
            </p:cNvPr>
            <p:cNvSpPr/>
            <p:nvPr/>
          </p:nvSpPr>
          <p:spPr>
            <a:xfrm rot="8716295">
              <a:off x="2330248" y="495791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" name="Forme libre : forme 264">
              <a:extLst>
                <a:ext uri="{FF2B5EF4-FFF2-40B4-BE49-F238E27FC236}">
                  <a16:creationId xmlns:a16="http://schemas.microsoft.com/office/drawing/2014/main" id="{0B99B4B3-E447-449D-B6F2-40AFC1232903}"/>
                </a:ext>
              </a:extLst>
            </p:cNvPr>
            <p:cNvSpPr/>
            <p:nvPr/>
          </p:nvSpPr>
          <p:spPr>
            <a:xfrm rot="8716295">
              <a:off x="2507700" y="479867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" name="Forme libre : forme 265">
              <a:extLst>
                <a:ext uri="{FF2B5EF4-FFF2-40B4-BE49-F238E27FC236}">
                  <a16:creationId xmlns:a16="http://schemas.microsoft.com/office/drawing/2014/main" id="{9FDE555B-22C7-4972-A03C-9A881E9F494C}"/>
                </a:ext>
              </a:extLst>
            </p:cNvPr>
            <p:cNvSpPr/>
            <p:nvPr/>
          </p:nvSpPr>
          <p:spPr>
            <a:xfrm rot="8716295">
              <a:off x="1518235" y="386507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" name="Forme libre : forme 266">
              <a:extLst>
                <a:ext uri="{FF2B5EF4-FFF2-40B4-BE49-F238E27FC236}">
                  <a16:creationId xmlns:a16="http://schemas.microsoft.com/office/drawing/2014/main" id="{47023A4A-E9A4-4E7C-9A1F-7F050E215658}"/>
                </a:ext>
              </a:extLst>
            </p:cNvPr>
            <p:cNvSpPr/>
            <p:nvPr/>
          </p:nvSpPr>
          <p:spPr>
            <a:xfrm rot="8716295">
              <a:off x="1607627" y="389431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" name="Forme libre : forme 267">
              <a:extLst>
                <a:ext uri="{FF2B5EF4-FFF2-40B4-BE49-F238E27FC236}">
                  <a16:creationId xmlns:a16="http://schemas.microsoft.com/office/drawing/2014/main" id="{721AE192-0DE9-44CE-AFE7-60EAD2184BA9}"/>
                </a:ext>
              </a:extLst>
            </p:cNvPr>
            <p:cNvSpPr/>
            <p:nvPr/>
          </p:nvSpPr>
          <p:spPr>
            <a:xfrm rot="8716295">
              <a:off x="1562777" y="380803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" name="Forme libre : forme 268">
              <a:extLst>
                <a:ext uri="{FF2B5EF4-FFF2-40B4-BE49-F238E27FC236}">
                  <a16:creationId xmlns:a16="http://schemas.microsoft.com/office/drawing/2014/main" id="{C1003FCB-894D-4CB7-9C82-85789FE9B276}"/>
                </a:ext>
              </a:extLst>
            </p:cNvPr>
            <p:cNvSpPr/>
            <p:nvPr/>
          </p:nvSpPr>
          <p:spPr>
            <a:xfrm rot="8716295">
              <a:off x="1406001" y="395361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0" name="Forme libre : forme 269">
              <a:extLst>
                <a:ext uri="{FF2B5EF4-FFF2-40B4-BE49-F238E27FC236}">
                  <a16:creationId xmlns:a16="http://schemas.microsoft.com/office/drawing/2014/main" id="{7F48A554-D952-4BC7-8F60-7FBDCE05FE70}"/>
                </a:ext>
              </a:extLst>
            </p:cNvPr>
            <p:cNvSpPr/>
            <p:nvPr/>
          </p:nvSpPr>
          <p:spPr>
            <a:xfrm rot="8716295">
              <a:off x="1281098" y="374494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1" name="Forme libre : forme 270">
              <a:extLst>
                <a:ext uri="{FF2B5EF4-FFF2-40B4-BE49-F238E27FC236}">
                  <a16:creationId xmlns:a16="http://schemas.microsoft.com/office/drawing/2014/main" id="{B64659B2-F8CD-4B3D-8353-ED1AAF15923F}"/>
                </a:ext>
              </a:extLst>
            </p:cNvPr>
            <p:cNvSpPr/>
            <p:nvPr/>
          </p:nvSpPr>
          <p:spPr>
            <a:xfrm rot="8716295">
              <a:off x="1269046" y="3606161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2" name="Forme libre : forme 271">
              <a:extLst>
                <a:ext uri="{FF2B5EF4-FFF2-40B4-BE49-F238E27FC236}">
                  <a16:creationId xmlns:a16="http://schemas.microsoft.com/office/drawing/2014/main" id="{C1336409-0E83-4F9F-AE44-B0095CEBE127}"/>
                </a:ext>
              </a:extLst>
            </p:cNvPr>
            <p:cNvSpPr/>
            <p:nvPr/>
          </p:nvSpPr>
          <p:spPr>
            <a:xfrm rot="8716295">
              <a:off x="1496179" y="399456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3" name="Forme libre : forme 272">
              <a:extLst>
                <a:ext uri="{FF2B5EF4-FFF2-40B4-BE49-F238E27FC236}">
                  <a16:creationId xmlns:a16="http://schemas.microsoft.com/office/drawing/2014/main" id="{11163225-7511-4602-A804-B9D156B88F47}"/>
                </a:ext>
              </a:extLst>
            </p:cNvPr>
            <p:cNvSpPr/>
            <p:nvPr/>
          </p:nvSpPr>
          <p:spPr>
            <a:xfrm rot="8716295">
              <a:off x="1807334" y="36149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4" name="Forme libre : forme 273">
              <a:extLst>
                <a:ext uri="{FF2B5EF4-FFF2-40B4-BE49-F238E27FC236}">
                  <a16:creationId xmlns:a16="http://schemas.microsoft.com/office/drawing/2014/main" id="{81961769-D6FF-4365-87D3-0FF20F673A4A}"/>
                </a:ext>
              </a:extLst>
            </p:cNvPr>
            <p:cNvSpPr/>
            <p:nvPr/>
          </p:nvSpPr>
          <p:spPr>
            <a:xfrm rot="8716295">
              <a:off x="1896726" y="36441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5" name="Forme libre : forme 274">
              <a:extLst>
                <a:ext uri="{FF2B5EF4-FFF2-40B4-BE49-F238E27FC236}">
                  <a16:creationId xmlns:a16="http://schemas.microsoft.com/office/drawing/2014/main" id="{D838E7DA-A3D8-4733-90D9-56C4006640C1}"/>
                </a:ext>
              </a:extLst>
            </p:cNvPr>
            <p:cNvSpPr/>
            <p:nvPr/>
          </p:nvSpPr>
          <p:spPr>
            <a:xfrm rot="8716295">
              <a:off x="1695100" y="370346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6" name="Forme libre : forme 275">
              <a:extLst>
                <a:ext uri="{FF2B5EF4-FFF2-40B4-BE49-F238E27FC236}">
                  <a16:creationId xmlns:a16="http://schemas.microsoft.com/office/drawing/2014/main" id="{BE48505C-4A3C-41E8-805D-3F3964663DC3}"/>
                </a:ext>
              </a:extLst>
            </p:cNvPr>
            <p:cNvSpPr/>
            <p:nvPr/>
          </p:nvSpPr>
          <p:spPr>
            <a:xfrm rot="8716295">
              <a:off x="1570198" y="349478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7" name="Forme libre : forme 276">
              <a:extLst>
                <a:ext uri="{FF2B5EF4-FFF2-40B4-BE49-F238E27FC236}">
                  <a16:creationId xmlns:a16="http://schemas.microsoft.com/office/drawing/2014/main" id="{74C1AFD3-7B5D-49B6-B346-37FFDE5D01C0}"/>
                </a:ext>
              </a:extLst>
            </p:cNvPr>
            <p:cNvSpPr/>
            <p:nvPr/>
          </p:nvSpPr>
          <p:spPr>
            <a:xfrm rot="8716295">
              <a:off x="1785278" y="37444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8" name="Forme libre : forme 277">
              <a:extLst>
                <a:ext uri="{FF2B5EF4-FFF2-40B4-BE49-F238E27FC236}">
                  <a16:creationId xmlns:a16="http://schemas.microsoft.com/office/drawing/2014/main" id="{B918BF38-28D0-4E79-852B-01ED43D79B29}"/>
                </a:ext>
              </a:extLst>
            </p:cNvPr>
            <p:cNvSpPr/>
            <p:nvPr/>
          </p:nvSpPr>
          <p:spPr>
            <a:xfrm rot="8716295">
              <a:off x="1543827" y="359481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9" name="Forme libre : forme 278">
              <a:extLst>
                <a:ext uri="{FF2B5EF4-FFF2-40B4-BE49-F238E27FC236}">
                  <a16:creationId xmlns:a16="http://schemas.microsoft.com/office/drawing/2014/main" id="{9821C7DC-A0EE-43BB-82AD-2D73FD4DEC58}"/>
                </a:ext>
              </a:extLst>
            </p:cNvPr>
            <p:cNvSpPr/>
            <p:nvPr/>
          </p:nvSpPr>
          <p:spPr>
            <a:xfrm rot="7484129">
              <a:off x="1890209" y="393576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0" name="Forme libre : forme 279">
              <a:extLst>
                <a:ext uri="{FF2B5EF4-FFF2-40B4-BE49-F238E27FC236}">
                  <a16:creationId xmlns:a16="http://schemas.microsoft.com/office/drawing/2014/main" id="{CE9B832D-CDB0-4485-83A6-7D7ED44A3320}"/>
                </a:ext>
              </a:extLst>
            </p:cNvPr>
            <p:cNvSpPr/>
            <p:nvPr/>
          </p:nvSpPr>
          <p:spPr>
            <a:xfrm rot="13089394">
              <a:off x="1995029" y="3902299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1" name="Forme libre : forme 280">
              <a:extLst>
                <a:ext uri="{FF2B5EF4-FFF2-40B4-BE49-F238E27FC236}">
                  <a16:creationId xmlns:a16="http://schemas.microsoft.com/office/drawing/2014/main" id="{B39230A2-1C21-4062-B5E2-4E3B7D0C88CD}"/>
                </a:ext>
              </a:extLst>
            </p:cNvPr>
            <p:cNvSpPr/>
            <p:nvPr/>
          </p:nvSpPr>
          <p:spPr>
            <a:xfrm rot="8716295">
              <a:off x="2180614" y="371061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2" name="Forme libre : forme 281">
              <a:extLst>
                <a:ext uri="{FF2B5EF4-FFF2-40B4-BE49-F238E27FC236}">
                  <a16:creationId xmlns:a16="http://schemas.microsoft.com/office/drawing/2014/main" id="{81DCB6A5-C857-4E79-932B-EE7CD6E9E80D}"/>
                </a:ext>
              </a:extLst>
            </p:cNvPr>
            <p:cNvSpPr/>
            <p:nvPr/>
          </p:nvSpPr>
          <p:spPr>
            <a:xfrm rot="8716295">
              <a:off x="2128809" y="360702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3" name="Forme libre : forme 282">
              <a:extLst>
                <a:ext uri="{FF2B5EF4-FFF2-40B4-BE49-F238E27FC236}">
                  <a16:creationId xmlns:a16="http://schemas.microsoft.com/office/drawing/2014/main" id="{DE2E55F0-E1D2-42EF-81BE-5B9CF56A8B16}"/>
                </a:ext>
              </a:extLst>
            </p:cNvPr>
            <p:cNvSpPr/>
            <p:nvPr/>
          </p:nvSpPr>
          <p:spPr>
            <a:xfrm rot="8716295">
              <a:off x="1885563" y="36372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4" name="Forme libre : forme 283">
              <a:extLst>
                <a:ext uri="{FF2B5EF4-FFF2-40B4-BE49-F238E27FC236}">
                  <a16:creationId xmlns:a16="http://schemas.microsoft.com/office/drawing/2014/main" id="{14AD1449-9E25-4F42-B0CB-B7AB7DA137A1}"/>
                </a:ext>
              </a:extLst>
            </p:cNvPr>
            <p:cNvSpPr/>
            <p:nvPr/>
          </p:nvSpPr>
          <p:spPr>
            <a:xfrm rot="8716295">
              <a:off x="2063015" y="34780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5" name="Forme libre : forme 284">
              <a:extLst>
                <a:ext uri="{FF2B5EF4-FFF2-40B4-BE49-F238E27FC236}">
                  <a16:creationId xmlns:a16="http://schemas.microsoft.com/office/drawing/2014/main" id="{9459C257-BD83-4EA3-A67A-64F2E29D2444}"/>
                </a:ext>
              </a:extLst>
            </p:cNvPr>
            <p:cNvSpPr/>
            <p:nvPr/>
          </p:nvSpPr>
          <p:spPr>
            <a:xfrm rot="8716295">
              <a:off x="1741402" y="452476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6" name="Forme libre : forme 285">
              <a:extLst>
                <a:ext uri="{FF2B5EF4-FFF2-40B4-BE49-F238E27FC236}">
                  <a16:creationId xmlns:a16="http://schemas.microsoft.com/office/drawing/2014/main" id="{776DF04A-9E10-40B0-8F87-C3176DFB0655}"/>
                </a:ext>
              </a:extLst>
            </p:cNvPr>
            <p:cNvSpPr/>
            <p:nvPr/>
          </p:nvSpPr>
          <p:spPr>
            <a:xfrm rot="8716295">
              <a:off x="1830794" y="455401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7" name="Forme libre : forme 286">
              <a:extLst>
                <a:ext uri="{FF2B5EF4-FFF2-40B4-BE49-F238E27FC236}">
                  <a16:creationId xmlns:a16="http://schemas.microsoft.com/office/drawing/2014/main" id="{1BCF78D3-72E0-4C34-AE46-85492A03A633}"/>
                </a:ext>
              </a:extLst>
            </p:cNvPr>
            <p:cNvSpPr/>
            <p:nvPr/>
          </p:nvSpPr>
          <p:spPr>
            <a:xfrm rot="8716295">
              <a:off x="1785944" y="4467731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8" name="Forme libre : forme 287">
              <a:extLst>
                <a:ext uri="{FF2B5EF4-FFF2-40B4-BE49-F238E27FC236}">
                  <a16:creationId xmlns:a16="http://schemas.microsoft.com/office/drawing/2014/main" id="{40DD2911-8E83-41A0-92FE-163A6FA95009}"/>
                </a:ext>
              </a:extLst>
            </p:cNvPr>
            <p:cNvSpPr/>
            <p:nvPr/>
          </p:nvSpPr>
          <p:spPr>
            <a:xfrm rot="8716295">
              <a:off x="1629168" y="461331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9" name="Forme libre : forme 288">
              <a:extLst>
                <a:ext uri="{FF2B5EF4-FFF2-40B4-BE49-F238E27FC236}">
                  <a16:creationId xmlns:a16="http://schemas.microsoft.com/office/drawing/2014/main" id="{E686274E-624B-4FD1-9536-D2B4D790F806}"/>
                </a:ext>
              </a:extLst>
            </p:cNvPr>
            <p:cNvSpPr/>
            <p:nvPr/>
          </p:nvSpPr>
          <p:spPr>
            <a:xfrm rot="8716295">
              <a:off x="1504265" y="440464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0" name="Forme libre : forme 289">
              <a:extLst>
                <a:ext uri="{FF2B5EF4-FFF2-40B4-BE49-F238E27FC236}">
                  <a16:creationId xmlns:a16="http://schemas.microsoft.com/office/drawing/2014/main" id="{DA92638D-CC75-4944-B78B-61E3B22A12E3}"/>
                </a:ext>
              </a:extLst>
            </p:cNvPr>
            <p:cNvSpPr/>
            <p:nvPr/>
          </p:nvSpPr>
          <p:spPr>
            <a:xfrm rot="8716295">
              <a:off x="1492213" y="4265860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1" name="Forme libre : forme 290">
              <a:extLst>
                <a:ext uri="{FF2B5EF4-FFF2-40B4-BE49-F238E27FC236}">
                  <a16:creationId xmlns:a16="http://schemas.microsoft.com/office/drawing/2014/main" id="{17950727-3BF3-4A34-9F11-5322F5CFB8F3}"/>
                </a:ext>
              </a:extLst>
            </p:cNvPr>
            <p:cNvSpPr/>
            <p:nvPr/>
          </p:nvSpPr>
          <p:spPr>
            <a:xfrm rot="8716295">
              <a:off x="1719346" y="465426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2" name="Forme libre : forme 291">
              <a:extLst>
                <a:ext uri="{FF2B5EF4-FFF2-40B4-BE49-F238E27FC236}">
                  <a16:creationId xmlns:a16="http://schemas.microsoft.com/office/drawing/2014/main" id="{9010FFF3-701E-491D-97A1-527670851B3C}"/>
                </a:ext>
              </a:extLst>
            </p:cNvPr>
            <p:cNvSpPr/>
            <p:nvPr/>
          </p:nvSpPr>
          <p:spPr>
            <a:xfrm rot="8716295">
              <a:off x="2030501" y="427461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3" name="Forme libre : forme 292">
              <a:extLst>
                <a:ext uri="{FF2B5EF4-FFF2-40B4-BE49-F238E27FC236}">
                  <a16:creationId xmlns:a16="http://schemas.microsoft.com/office/drawing/2014/main" id="{8E50FB82-1555-41A1-B55B-D3699A1B10A3}"/>
                </a:ext>
              </a:extLst>
            </p:cNvPr>
            <p:cNvSpPr/>
            <p:nvPr/>
          </p:nvSpPr>
          <p:spPr>
            <a:xfrm rot="8716295">
              <a:off x="2119893" y="430385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4" name="Forme libre : forme 293">
              <a:extLst>
                <a:ext uri="{FF2B5EF4-FFF2-40B4-BE49-F238E27FC236}">
                  <a16:creationId xmlns:a16="http://schemas.microsoft.com/office/drawing/2014/main" id="{ECB71CB3-C9D6-4612-8036-4BC5560F17FE}"/>
                </a:ext>
              </a:extLst>
            </p:cNvPr>
            <p:cNvSpPr/>
            <p:nvPr/>
          </p:nvSpPr>
          <p:spPr>
            <a:xfrm rot="8716295">
              <a:off x="1918267" y="436316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5" name="Forme libre : forme 294">
              <a:extLst>
                <a:ext uri="{FF2B5EF4-FFF2-40B4-BE49-F238E27FC236}">
                  <a16:creationId xmlns:a16="http://schemas.microsoft.com/office/drawing/2014/main" id="{23C3947C-E5CD-4C04-A462-D000016701AE}"/>
                </a:ext>
              </a:extLst>
            </p:cNvPr>
            <p:cNvSpPr/>
            <p:nvPr/>
          </p:nvSpPr>
          <p:spPr>
            <a:xfrm rot="8716295">
              <a:off x="1793365" y="415448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6" name="Forme libre : forme 295">
              <a:extLst>
                <a:ext uri="{FF2B5EF4-FFF2-40B4-BE49-F238E27FC236}">
                  <a16:creationId xmlns:a16="http://schemas.microsoft.com/office/drawing/2014/main" id="{36960960-0C32-4C59-8462-A2186C943B16}"/>
                </a:ext>
              </a:extLst>
            </p:cNvPr>
            <p:cNvSpPr/>
            <p:nvPr/>
          </p:nvSpPr>
          <p:spPr>
            <a:xfrm rot="8716295">
              <a:off x="2008445" y="4404113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7" name="Forme libre : forme 296">
              <a:extLst>
                <a:ext uri="{FF2B5EF4-FFF2-40B4-BE49-F238E27FC236}">
                  <a16:creationId xmlns:a16="http://schemas.microsoft.com/office/drawing/2014/main" id="{A017DED6-0DF0-4954-AA17-FAF145052546}"/>
                </a:ext>
              </a:extLst>
            </p:cNvPr>
            <p:cNvSpPr/>
            <p:nvPr/>
          </p:nvSpPr>
          <p:spPr>
            <a:xfrm rot="8716295">
              <a:off x="1766994" y="4254513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8" name="Forme libre : forme 297">
              <a:extLst>
                <a:ext uri="{FF2B5EF4-FFF2-40B4-BE49-F238E27FC236}">
                  <a16:creationId xmlns:a16="http://schemas.microsoft.com/office/drawing/2014/main" id="{5CC2F812-5E9A-4217-955F-4164466B5C25}"/>
                </a:ext>
              </a:extLst>
            </p:cNvPr>
            <p:cNvSpPr/>
            <p:nvPr/>
          </p:nvSpPr>
          <p:spPr>
            <a:xfrm rot="7484129">
              <a:off x="2113376" y="459546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9" name="Forme libre : forme 298">
              <a:extLst>
                <a:ext uri="{FF2B5EF4-FFF2-40B4-BE49-F238E27FC236}">
                  <a16:creationId xmlns:a16="http://schemas.microsoft.com/office/drawing/2014/main" id="{C4DB3C3C-7923-468B-A1D6-C35736B5F055}"/>
                </a:ext>
              </a:extLst>
            </p:cNvPr>
            <p:cNvSpPr/>
            <p:nvPr/>
          </p:nvSpPr>
          <p:spPr>
            <a:xfrm rot="13089394">
              <a:off x="2218196" y="4561998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0" name="Forme libre : forme 299">
              <a:extLst>
                <a:ext uri="{FF2B5EF4-FFF2-40B4-BE49-F238E27FC236}">
                  <a16:creationId xmlns:a16="http://schemas.microsoft.com/office/drawing/2014/main" id="{4DB3A68B-6594-48A3-9ED1-B19E13D1C859}"/>
                </a:ext>
              </a:extLst>
            </p:cNvPr>
            <p:cNvSpPr/>
            <p:nvPr/>
          </p:nvSpPr>
          <p:spPr>
            <a:xfrm rot="8716295">
              <a:off x="2403781" y="4370317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1" name="Forme libre : forme 300">
              <a:extLst>
                <a:ext uri="{FF2B5EF4-FFF2-40B4-BE49-F238E27FC236}">
                  <a16:creationId xmlns:a16="http://schemas.microsoft.com/office/drawing/2014/main" id="{257847A5-8115-45F6-B365-C04D26B7A465}"/>
                </a:ext>
              </a:extLst>
            </p:cNvPr>
            <p:cNvSpPr/>
            <p:nvPr/>
          </p:nvSpPr>
          <p:spPr>
            <a:xfrm rot="8716295">
              <a:off x="2351976" y="426672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2" name="Forme libre : forme 301">
              <a:extLst>
                <a:ext uri="{FF2B5EF4-FFF2-40B4-BE49-F238E27FC236}">
                  <a16:creationId xmlns:a16="http://schemas.microsoft.com/office/drawing/2014/main" id="{8F6B8004-8361-41BA-B532-27BD701A55E8}"/>
                </a:ext>
              </a:extLst>
            </p:cNvPr>
            <p:cNvSpPr/>
            <p:nvPr/>
          </p:nvSpPr>
          <p:spPr>
            <a:xfrm rot="8716295">
              <a:off x="2108730" y="429694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3" name="Forme libre : forme 302">
              <a:extLst>
                <a:ext uri="{FF2B5EF4-FFF2-40B4-BE49-F238E27FC236}">
                  <a16:creationId xmlns:a16="http://schemas.microsoft.com/office/drawing/2014/main" id="{A2707731-9E6E-4897-BF1C-AD23EDDF33B9}"/>
                </a:ext>
              </a:extLst>
            </p:cNvPr>
            <p:cNvSpPr/>
            <p:nvPr/>
          </p:nvSpPr>
          <p:spPr>
            <a:xfrm rot="8716295">
              <a:off x="2286182" y="413770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4" name="Forme libre : forme 303">
              <a:extLst>
                <a:ext uri="{FF2B5EF4-FFF2-40B4-BE49-F238E27FC236}">
                  <a16:creationId xmlns:a16="http://schemas.microsoft.com/office/drawing/2014/main" id="{71585C5B-7ACF-4291-A3CC-77CF6C2FAF80}"/>
                </a:ext>
              </a:extLst>
            </p:cNvPr>
            <p:cNvSpPr/>
            <p:nvPr/>
          </p:nvSpPr>
          <p:spPr>
            <a:xfrm rot="8716295">
              <a:off x="854880" y="188600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5" name="Forme libre : forme 304">
              <a:extLst>
                <a:ext uri="{FF2B5EF4-FFF2-40B4-BE49-F238E27FC236}">
                  <a16:creationId xmlns:a16="http://schemas.microsoft.com/office/drawing/2014/main" id="{825A50BE-E198-461A-AE4C-E99B0DB548B8}"/>
                </a:ext>
              </a:extLst>
            </p:cNvPr>
            <p:cNvSpPr/>
            <p:nvPr/>
          </p:nvSpPr>
          <p:spPr>
            <a:xfrm rot="8716295">
              <a:off x="944272" y="191524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6" name="Forme libre : forme 305">
              <a:extLst>
                <a:ext uri="{FF2B5EF4-FFF2-40B4-BE49-F238E27FC236}">
                  <a16:creationId xmlns:a16="http://schemas.microsoft.com/office/drawing/2014/main" id="{A7FBDA8A-DF94-413D-B047-17E3CE1805C0}"/>
                </a:ext>
              </a:extLst>
            </p:cNvPr>
            <p:cNvSpPr/>
            <p:nvPr/>
          </p:nvSpPr>
          <p:spPr>
            <a:xfrm rot="8716295">
              <a:off x="899422" y="182896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7" name="Forme libre : forme 306">
              <a:extLst>
                <a:ext uri="{FF2B5EF4-FFF2-40B4-BE49-F238E27FC236}">
                  <a16:creationId xmlns:a16="http://schemas.microsoft.com/office/drawing/2014/main" id="{8DB66338-D210-4BFA-9092-FF348569CC52}"/>
                </a:ext>
              </a:extLst>
            </p:cNvPr>
            <p:cNvSpPr/>
            <p:nvPr/>
          </p:nvSpPr>
          <p:spPr>
            <a:xfrm rot="8716295">
              <a:off x="742646" y="197454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8" name="Forme libre : forme 307">
              <a:extLst>
                <a:ext uri="{FF2B5EF4-FFF2-40B4-BE49-F238E27FC236}">
                  <a16:creationId xmlns:a16="http://schemas.microsoft.com/office/drawing/2014/main" id="{74B60F54-C3F2-4334-BC7E-D49FA3ACE1ED}"/>
                </a:ext>
              </a:extLst>
            </p:cNvPr>
            <p:cNvSpPr/>
            <p:nvPr/>
          </p:nvSpPr>
          <p:spPr>
            <a:xfrm rot="8716295">
              <a:off x="617743" y="176587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9" name="Forme libre : forme 308">
              <a:extLst>
                <a:ext uri="{FF2B5EF4-FFF2-40B4-BE49-F238E27FC236}">
                  <a16:creationId xmlns:a16="http://schemas.microsoft.com/office/drawing/2014/main" id="{CA3E19C2-F96C-48A0-9D2C-698B32CA8895}"/>
                </a:ext>
              </a:extLst>
            </p:cNvPr>
            <p:cNvSpPr/>
            <p:nvPr/>
          </p:nvSpPr>
          <p:spPr>
            <a:xfrm rot="8716295">
              <a:off x="605691" y="162709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0" name="Forme libre : forme 309">
              <a:extLst>
                <a:ext uri="{FF2B5EF4-FFF2-40B4-BE49-F238E27FC236}">
                  <a16:creationId xmlns:a16="http://schemas.microsoft.com/office/drawing/2014/main" id="{9A0D5CB1-8D83-4AFE-B1BE-9F0F522C0D2B}"/>
                </a:ext>
              </a:extLst>
            </p:cNvPr>
            <p:cNvSpPr/>
            <p:nvPr/>
          </p:nvSpPr>
          <p:spPr>
            <a:xfrm rot="8716295">
              <a:off x="832824" y="201549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1" name="Forme libre : forme 310">
              <a:extLst>
                <a:ext uri="{FF2B5EF4-FFF2-40B4-BE49-F238E27FC236}">
                  <a16:creationId xmlns:a16="http://schemas.microsoft.com/office/drawing/2014/main" id="{7A50FCE7-03C8-4853-B73F-CE26795DB2CC}"/>
                </a:ext>
              </a:extLst>
            </p:cNvPr>
            <p:cNvSpPr/>
            <p:nvPr/>
          </p:nvSpPr>
          <p:spPr>
            <a:xfrm rot="8716295">
              <a:off x="1143979" y="163584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2" name="Forme libre : forme 311">
              <a:extLst>
                <a:ext uri="{FF2B5EF4-FFF2-40B4-BE49-F238E27FC236}">
                  <a16:creationId xmlns:a16="http://schemas.microsoft.com/office/drawing/2014/main" id="{457A7093-695D-4C41-85A0-782C2CD8BC44}"/>
                </a:ext>
              </a:extLst>
            </p:cNvPr>
            <p:cNvSpPr/>
            <p:nvPr/>
          </p:nvSpPr>
          <p:spPr>
            <a:xfrm rot="8716295">
              <a:off x="1233371" y="166509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3" name="Forme libre : forme 312">
              <a:extLst>
                <a:ext uri="{FF2B5EF4-FFF2-40B4-BE49-F238E27FC236}">
                  <a16:creationId xmlns:a16="http://schemas.microsoft.com/office/drawing/2014/main" id="{704E3047-55DF-4CDA-9182-C95BBA17BD9B}"/>
                </a:ext>
              </a:extLst>
            </p:cNvPr>
            <p:cNvSpPr/>
            <p:nvPr/>
          </p:nvSpPr>
          <p:spPr>
            <a:xfrm rot="8716295">
              <a:off x="1031745" y="172439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4" name="Forme libre : forme 313">
              <a:extLst>
                <a:ext uri="{FF2B5EF4-FFF2-40B4-BE49-F238E27FC236}">
                  <a16:creationId xmlns:a16="http://schemas.microsoft.com/office/drawing/2014/main" id="{75BDC6A2-BB14-4847-BB83-0C2ABA630806}"/>
                </a:ext>
              </a:extLst>
            </p:cNvPr>
            <p:cNvSpPr/>
            <p:nvPr/>
          </p:nvSpPr>
          <p:spPr>
            <a:xfrm rot="8716295">
              <a:off x="906843" y="151572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5" name="Forme libre : forme 314">
              <a:extLst>
                <a:ext uri="{FF2B5EF4-FFF2-40B4-BE49-F238E27FC236}">
                  <a16:creationId xmlns:a16="http://schemas.microsoft.com/office/drawing/2014/main" id="{7B4C3322-60E4-483D-8950-104BAFBDD71B}"/>
                </a:ext>
              </a:extLst>
            </p:cNvPr>
            <p:cNvSpPr/>
            <p:nvPr/>
          </p:nvSpPr>
          <p:spPr>
            <a:xfrm rot="8716295">
              <a:off x="1121923" y="176534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6" name="Forme libre : forme 315">
              <a:extLst>
                <a:ext uri="{FF2B5EF4-FFF2-40B4-BE49-F238E27FC236}">
                  <a16:creationId xmlns:a16="http://schemas.microsoft.com/office/drawing/2014/main" id="{2CCC10C4-A47F-46B3-9A5E-2B69B8F95724}"/>
                </a:ext>
              </a:extLst>
            </p:cNvPr>
            <p:cNvSpPr/>
            <p:nvPr/>
          </p:nvSpPr>
          <p:spPr>
            <a:xfrm rot="8716295">
              <a:off x="880472" y="161574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7" name="Forme libre : forme 316">
              <a:extLst>
                <a:ext uri="{FF2B5EF4-FFF2-40B4-BE49-F238E27FC236}">
                  <a16:creationId xmlns:a16="http://schemas.microsoft.com/office/drawing/2014/main" id="{C3F47D9C-5F75-4589-82C5-2EB76DD8C333}"/>
                </a:ext>
              </a:extLst>
            </p:cNvPr>
            <p:cNvSpPr/>
            <p:nvPr/>
          </p:nvSpPr>
          <p:spPr>
            <a:xfrm rot="7484129">
              <a:off x="1226854" y="195669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8" name="Forme libre : forme 317">
              <a:extLst>
                <a:ext uri="{FF2B5EF4-FFF2-40B4-BE49-F238E27FC236}">
                  <a16:creationId xmlns:a16="http://schemas.microsoft.com/office/drawing/2014/main" id="{06EDA617-7C34-4BCB-8273-6505201538B5}"/>
                </a:ext>
              </a:extLst>
            </p:cNvPr>
            <p:cNvSpPr/>
            <p:nvPr/>
          </p:nvSpPr>
          <p:spPr>
            <a:xfrm rot="13089394">
              <a:off x="1331674" y="192323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9" name="Forme libre : forme 318">
              <a:extLst>
                <a:ext uri="{FF2B5EF4-FFF2-40B4-BE49-F238E27FC236}">
                  <a16:creationId xmlns:a16="http://schemas.microsoft.com/office/drawing/2014/main" id="{8C00C036-C8B0-4F77-B0BC-B732FD327F08}"/>
                </a:ext>
              </a:extLst>
            </p:cNvPr>
            <p:cNvSpPr/>
            <p:nvPr/>
          </p:nvSpPr>
          <p:spPr>
            <a:xfrm rot="8716295">
              <a:off x="1517259" y="173154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0" name="Forme libre : forme 319">
              <a:extLst>
                <a:ext uri="{FF2B5EF4-FFF2-40B4-BE49-F238E27FC236}">
                  <a16:creationId xmlns:a16="http://schemas.microsoft.com/office/drawing/2014/main" id="{079E7D4D-7CBC-4E80-9ADD-66D10F53D00A}"/>
                </a:ext>
              </a:extLst>
            </p:cNvPr>
            <p:cNvSpPr/>
            <p:nvPr/>
          </p:nvSpPr>
          <p:spPr>
            <a:xfrm rot="8716295">
              <a:off x="1465454" y="162795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1" name="Forme libre : forme 320">
              <a:extLst>
                <a:ext uri="{FF2B5EF4-FFF2-40B4-BE49-F238E27FC236}">
                  <a16:creationId xmlns:a16="http://schemas.microsoft.com/office/drawing/2014/main" id="{F6CBC04A-ACBC-43B1-86C9-792F0278AE9C}"/>
                </a:ext>
              </a:extLst>
            </p:cNvPr>
            <p:cNvSpPr/>
            <p:nvPr/>
          </p:nvSpPr>
          <p:spPr>
            <a:xfrm rot="8716295">
              <a:off x="1222208" y="165817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2" name="Forme libre : forme 321">
              <a:extLst>
                <a:ext uri="{FF2B5EF4-FFF2-40B4-BE49-F238E27FC236}">
                  <a16:creationId xmlns:a16="http://schemas.microsoft.com/office/drawing/2014/main" id="{877F1B10-A111-4EDF-9C97-C64DD5E5FC2D}"/>
                </a:ext>
              </a:extLst>
            </p:cNvPr>
            <p:cNvSpPr/>
            <p:nvPr/>
          </p:nvSpPr>
          <p:spPr>
            <a:xfrm rot="8716295">
              <a:off x="1399660" y="149893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3" name="Forme libre : forme 322">
              <a:extLst>
                <a:ext uri="{FF2B5EF4-FFF2-40B4-BE49-F238E27FC236}">
                  <a16:creationId xmlns:a16="http://schemas.microsoft.com/office/drawing/2014/main" id="{247A35DD-1AE0-4F8F-91F1-39A539F5145A}"/>
                </a:ext>
              </a:extLst>
            </p:cNvPr>
            <p:cNvSpPr/>
            <p:nvPr/>
          </p:nvSpPr>
          <p:spPr>
            <a:xfrm rot="8716295">
              <a:off x="631713" y="12263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4" name="Forme libre : forme 323">
              <a:extLst>
                <a:ext uri="{FF2B5EF4-FFF2-40B4-BE49-F238E27FC236}">
                  <a16:creationId xmlns:a16="http://schemas.microsoft.com/office/drawing/2014/main" id="{B2057DA7-CDDF-43BB-8EAC-22466BE1F259}"/>
                </a:ext>
              </a:extLst>
            </p:cNvPr>
            <p:cNvSpPr/>
            <p:nvPr/>
          </p:nvSpPr>
          <p:spPr>
            <a:xfrm rot="8716295">
              <a:off x="721105" y="12555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5" name="Forme libre : forme 324">
              <a:extLst>
                <a:ext uri="{FF2B5EF4-FFF2-40B4-BE49-F238E27FC236}">
                  <a16:creationId xmlns:a16="http://schemas.microsoft.com/office/drawing/2014/main" id="{E77CA785-1459-4C27-B776-D857A8D4B013}"/>
                </a:ext>
              </a:extLst>
            </p:cNvPr>
            <p:cNvSpPr/>
            <p:nvPr/>
          </p:nvSpPr>
          <p:spPr>
            <a:xfrm rot="8716295">
              <a:off x="676255" y="116926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6" name="Forme libre : forme 325">
              <a:extLst>
                <a:ext uri="{FF2B5EF4-FFF2-40B4-BE49-F238E27FC236}">
                  <a16:creationId xmlns:a16="http://schemas.microsoft.com/office/drawing/2014/main" id="{D9BFC3E7-D875-4777-80CD-7BECEB16ED0F}"/>
                </a:ext>
              </a:extLst>
            </p:cNvPr>
            <p:cNvSpPr/>
            <p:nvPr/>
          </p:nvSpPr>
          <p:spPr>
            <a:xfrm rot="8716295">
              <a:off x="519479" y="13148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7" name="Forme libre : forme 326">
              <a:extLst>
                <a:ext uri="{FF2B5EF4-FFF2-40B4-BE49-F238E27FC236}">
                  <a16:creationId xmlns:a16="http://schemas.microsoft.com/office/drawing/2014/main" id="{E87C9BB6-CA72-4C32-8CA3-A029EC77D88B}"/>
                </a:ext>
              </a:extLst>
            </p:cNvPr>
            <p:cNvSpPr/>
            <p:nvPr/>
          </p:nvSpPr>
          <p:spPr>
            <a:xfrm rot="8716295">
              <a:off x="394576" y="11061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8" name="Forme libre : forme 327">
              <a:extLst>
                <a:ext uri="{FF2B5EF4-FFF2-40B4-BE49-F238E27FC236}">
                  <a16:creationId xmlns:a16="http://schemas.microsoft.com/office/drawing/2014/main" id="{40F6441D-9B69-4079-B1A2-720CB6BA2101}"/>
                </a:ext>
              </a:extLst>
            </p:cNvPr>
            <p:cNvSpPr/>
            <p:nvPr/>
          </p:nvSpPr>
          <p:spPr>
            <a:xfrm rot="8716295">
              <a:off x="382524" y="96739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9" name="Forme libre : forme 328">
              <a:extLst>
                <a:ext uri="{FF2B5EF4-FFF2-40B4-BE49-F238E27FC236}">
                  <a16:creationId xmlns:a16="http://schemas.microsoft.com/office/drawing/2014/main" id="{B832EB8F-3703-48E0-A315-AEFC6F1CBB35}"/>
                </a:ext>
              </a:extLst>
            </p:cNvPr>
            <p:cNvSpPr/>
            <p:nvPr/>
          </p:nvSpPr>
          <p:spPr>
            <a:xfrm rot="8716295">
              <a:off x="609657" y="135579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0" name="Forme libre : forme 329">
              <a:extLst>
                <a:ext uri="{FF2B5EF4-FFF2-40B4-BE49-F238E27FC236}">
                  <a16:creationId xmlns:a16="http://schemas.microsoft.com/office/drawing/2014/main" id="{763E69C5-E960-4417-A0EA-1ECCFB8C6C35}"/>
                </a:ext>
              </a:extLst>
            </p:cNvPr>
            <p:cNvSpPr/>
            <p:nvPr/>
          </p:nvSpPr>
          <p:spPr>
            <a:xfrm rot="8716295">
              <a:off x="920812" y="97615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1" name="Forme libre : forme 330">
              <a:extLst>
                <a:ext uri="{FF2B5EF4-FFF2-40B4-BE49-F238E27FC236}">
                  <a16:creationId xmlns:a16="http://schemas.microsoft.com/office/drawing/2014/main" id="{651DF2CF-FEA7-4A17-8C45-74CA1E1691C9}"/>
                </a:ext>
              </a:extLst>
            </p:cNvPr>
            <p:cNvSpPr/>
            <p:nvPr/>
          </p:nvSpPr>
          <p:spPr>
            <a:xfrm rot="8716295">
              <a:off x="1010204" y="100539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2" name="Forme libre : forme 331">
              <a:extLst>
                <a:ext uri="{FF2B5EF4-FFF2-40B4-BE49-F238E27FC236}">
                  <a16:creationId xmlns:a16="http://schemas.microsoft.com/office/drawing/2014/main" id="{F4BE6752-2F2B-4713-BCC2-F5A751451D2F}"/>
                </a:ext>
              </a:extLst>
            </p:cNvPr>
            <p:cNvSpPr/>
            <p:nvPr/>
          </p:nvSpPr>
          <p:spPr>
            <a:xfrm rot="8716295">
              <a:off x="808578" y="106469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3" name="Forme libre : forme 332">
              <a:extLst>
                <a:ext uri="{FF2B5EF4-FFF2-40B4-BE49-F238E27FC236}">
                  <a16:creationId xmlns:a16="http://schemas.microsoft.com/office/drawing/2014/main" id="{F0181337-48BC-4C6E-BF6A-EF75BA2ADF65}"/>
                </a:ext>
              </a:extLst>
            </p:cNvPr>
            <p:cNvSpPr/>
            <p:nvPr/>
          </p:nvSpPr>
          <p:spPr>
            <a:xfrm rot="8716295">
              <a:off x="683676" y="85602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4" name="Forme libre : forme 333">
              <a:extLst>
                <a:ext uri="{FF2B5EF4-FFF2-40B4-BE49-F238E27FC236}">
                  <a16:creationId xmlns:a16="http://schemas.microsoft.com/office/drawing/2014/main" id="{51A8FF0F-FF59-4E76-A691-2074D9AE597E}"/>
                </a:ext>
              </a:extLst>
            </p:cNvPr>
            <p:cNvSpPr/>
            <p:nvPr/>
          </p:nvSpPr>
          <p:spPr>
            <a:xfrm rot="8716295">
              <a:off x="898756" y="110564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5" name="Forme libre : forme 334">
              <a:extLst>
                <a:ext uri="{FF2B5EF4-FFF2-40B4-BE49-F238E27FC236}">
                  <a16:creationId xmlns:a16="http://schemas.microsoft.com/office/drawing/2014/main" id="{D5F2DBF7-EA5E-412E-BE60-C63CE87201BD}"/>
                </a:ext>
              </a:extLst>
            </p:cNvPr>
            <p:cNvSpPr/>
            <p:nvPr/>
          </p:nvSpPr>
          <p:spPr>
            <a:xfrm rot="8716295">
              <a:off x="657305" y="95604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6" name="Forme libre : forme 335">
              <a:extLst>
                <a:ext uri="{FF2B5EF4-FFF2-40B4-BE49-F238E27FC236}">
                  <a16:creationId xmlns:a16="http://schemas.microsoft.com/office/drawing/2014/main" id="{2B86FAAC-284E-4293-B3BE-662E153BEFE7}"/>
                </a:ext>
              </a:extLst>
            </p:cNvPr>
            <p:cNvSpPr/>
            <p:nvPr/>
          </p:nvSpPr>
          <p:spPr>
            <a:xfrm rot="7484129">
              <a:off x="1003687" y="129699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7" name="Forme libre : forme 336">
              <a:extLst>
                <a:ext uri="{FF2B5EF4-FFF2-40B4-BE49-F238E27FC236}">
                  <a16:creationId xmlns:a16="http://schemas.microsoft.com/office/drawing/2014/main" id="{F8C25AEA-BEFD-464B-AC86-4743BA580AF0}"/>
                </a:ext>
              </a:extLst>
            </p:cNvPr>
            <p:cNvSpPr/>
            <p:nvPr/>
          </p:nvSpPr>
          <p:spPr>
            <a:xfrm rot="13089394">
              <a:off x="1108507" y="1263531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8" name="Forme libre : forme 337">
              <a:extLst>
                <a:ext uri="{FF2B5EF4-FFF2-40B4-BE49-F238E27FC236}">
                  <a16:creationId xmlns:a16="http://schemas.microsoft.com/office/drawing/2014/main" id="{C5FC227C-CE0A-4B9A-BEB5-86A5822E13D2}"/>
                </a:ext>
              </a:extLst>
            </p:cNvPr>
            <p:cNvSpPr/>
            <p:nvPr/>
          </p:nvSpPr>
          <p:spPr>
            <a:xfrm rot="8716295">
              <a:off x="1294092" y="107185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9" name="Forme libre : forme 338">
              <a:extLst>
                <a:ext uri="{FF2B5EF4-FFF2-40B4-BE49-F238E27FC236}">
                  <a16:creationId xmlns:a16="http://schemas.microsoft.com/office/drawing/2014/main" id="{2AD54659-FB71-46D1-A755-0BCF081E050A}"/>
                </a:ext>
              </a:extLst>
            </p:cNvPr>
            <p:cNvSpPr/>
            <p:nvPr/>
          </p:nvSpPr>
          <p:spPr>
            <a:xfrm rot="8716295">
              <a:off x="1242287" y="96825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0" name="Forme libre : forme 339">
              <a:extLst>
                <a:ext uri="{FF2B5EF4-FFF2-40B4-BE49-F238E27FC236}">
                  <a16:creationId xmlns:a16="http://schemas.microsoft.com/office/drawing/2014/main" id="{EA0D1B29-AE82-4655-80DE-F5EADED15310}"/>
                </a:ext>
              </a:extLst>
            </p:cNvPr>
            <p:cNvSpPr/>
            <p:nvPr/>
          </p:nvSpPr>
          <p:spPr>
            <a:xfrm rot="8716295">
              <a:off x="999041" y="99847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1" name="Forme libre : forme 340">
              <a:extLst>
                <a:ext uri="{FF2B5EF4-FFF2-40B4-BE49-F238E27FC236}">
                  <a16:creationId xmlns:a16="http://schemas.microsoft.com/office/drawing/2014/main" id="{FE59AAF9-5326-4148-B75B-C59DBA653A58}"/>
                </a:ext>
              </a:extLst>
            </p:cNvPr>
            <p:cNvSpPr/>
            <p:nvPr/>
          </p:nvSpPr>
          <p:spPr>
            <a:xfrm rot="8716295">
              <a:off x="1176493" y="83923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2" name="Forme libre : forme 341">
              <a:extLst>
                <a:ext uri="{FF2B5EF4-FFF2-40B4-BE49-F238E27FC236}">
                  <a16:creationId xmlns:a16="http://schemas.microsoft.com/office/drawing/2014/main" id="{2B5ED39A-BA82-4FB9-B8D1-BFCBF5FCF8AB}"/>
                </a:ext>
              </a:extLst>
            </p:cNvPr>
            <p:cNvSpPr/>
            <p:nvPr/>
          </p:nvSpPr>
          <p:spPr>
            <a:xfrm rot="8716295">
              <a:off x="412774" y="56424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3" name="Forme libre : forme 342">
              <a:extLst>
                <a:ext uri="{FF2B5EF4-FFF2-40B4-BE49-F238E27FC236}">
                  <a16:creationId xmlns:a16="http://schemas.microsoft.com/office/drawing/2014/main" id="{EF04C128-AC77-4E99-970E-568F219D8A8C}"/>
                </a:ext>
              </a:extLst>
            </p:cNvPr>
            <p:cNvSpPr/>
            <p:nvPr/>
          </p:nvSpPr>
          <p:spPr>
            <a:xfrm rot="8716295">
              <a:off x="502166" y="59348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4" name="Forme libre : forme 343">
              <a:extLst>
                <a:ext uri="{FF2B5EF4-FFF2-40B4-BE49-F238E27FC236}">
                  <a16:creationId xmlns:a16="http://schemas.microsoft.com/office/drawing/2014/main" id="{35DEA77E-6D52-40CB-86CA-54607FDC07E9}"/>
                </a:ext>
              </a:extLst>
            </p:cNvPr>
            <p:cNvSpPr/>
            <p:nvPr/>
          </p:nvSpPr>
          <p:spPr>
            <a:xfrm rot="8716295">
              <a:off x="457316" y="50720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5" name="Forme libre : forme 344">
              <a:extLst>
                <a:ext uri="{FF2B5EF4-FFF2-40B4-BE49-F238E27FC236}">
                  <a16:creationId xmlns:a16="http://schemas.microsoft.com/office/drawing/2014/main" id="{7F83C78F-975E-4433-96C7-AC45753DC5C9}"/>
                </a:ext>
              </a:extLst>
            </p:cNvPr>
            <p:cNvSpPr/>
            <p:nvPr/>
          </p:nvSpPr>
          <p:spPr>
            <a:xfrm rot="8716295">
              <a:off x="300540" y="65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6" name="Forme libre : forme 345">
              <a:extLst>
                <a:ext uri="{FF2B5EF4-FFF2-40B4-BE49-F238E27FC236}">
                  <a16:creationId xmlns:a16="http://schemas.microsoft.com/office/drawing/2014/main" id="{FD3979A2-0F0A-4D64-B2D1-D790A7310394}"/>
                </a:ext>
              </a:extLst>
            </p:cNvPr>
            <p:cNvSpPr/>
            <p:nvPr/>
          </p:nvSpPr>
          <p:spPr>
            <a:xfrm rot="8716295">
              <a:off x="175637" y="44411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7" name="Forme libre : forme 346">
              <a:extLst>
                <a:ext uri="{FF2B5EF4-FFF2-40B4-BE49-F238E27FC236}">
                  <a16:creationId xmlns:a16="http://schemas.microsoft.com/office/drawing/2014/main" id="{AA76E107-EED2-43EE-909B-E95F465CE73B}"/>
                </a:ext>
              </a:extLst>
            </p:cNvPr>
            <p:cNvSpPr/>
            <p:nvPr/>
          </p:nvSpPr>
          <p:spPr>
            <a:xfrm rot="8716295">
              <a:off x="163585" y="30533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8" name="Forme libre : forme 347">
              <a:extLst>
                <a:ext uri="{FF2B5EF4-FFF2-40B4-BE49-F238E27FC236}">
                  <a16:creationId xmlns:a16="http://schemas.microsoft.com/office/drawing/2014/main" id="{B9BBA0BC-EEAF-493E-A940-F09587491C29}"/>
                </a:ext>
              </a:extLst>
            </p:cNvPr>
            <p:cNvSpPr/>
            <p:nvPr/>
          </p:nvSpPr>
          <p:spPr>
            <a:xfrm rot="8716295">
              <a:off x="390718" y="69374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9" name="Forme libre : forme 348">
              <a:extLst>
                <a:ext uri="{FF2B5EF4-FFF2-40B4-BE49-F238E27FC236}">
                  <a16:creationId xmlns:a16="http://schemas.microsoft.com/office/drawing/2014/main" id="{C8D30F56-4A06-4C10-B3F2-60FAA4FF4FB6}"/>
                </a:ext>
              </a:extLst>
            </p:cNvPr>
            <p:cNvSpPr/>
            <p:nvPr/>
          </p:nvSpPr>
          <p:spPr>
            <a:xfrm rot="8716295">
              <a:off x="701873" y="31409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0" name="Forme libre : forme 349">
              <a:extLst>
                <a:ext uri="{FF2B5EF4-FFF2-40B4-BE49-F238E27FC236}">
                  <a16:creationId xmlns:a16="http://schemas.microsoft.com/office/drawing/2014/main" id="{5C6936A8-9A95-4204-9D28-D9B75C140322}"/>
                </a:ext>
              </a:extLst>
            </p:cNvPr>
            <p:cNvSpPr/>
            <p:nvPr/>
          </p:nvSpPr>
          <p:spPr>
            <a:xfrm rot="8716295">
              <a:off x="791265" y="34333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1" name="Forme libre : forme 350">
              <a:extLst>
                <a:ext uri="{FF2B5EF4-FFF2-40B4-BE49-F238E27FC236}">
                  <a16:creationId xmlns:a16="http://schemas.microsoft.com/office/drawing/2014/main" id="{FFF2D367-BA47-4EF1-A7BB-098E80C21CBE}"/>
                </a:ext>
              </a:extLst>
            </p:cNvPr>
            <p:cNvSpPr/>
            <p:nvPr/>
          </p:nvSpPr>
          <p:spPr>
            <a:xfrm rot="8716295">
              <a:off x="589639" y="40263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2" name="Forme libre : forme 351">
              <a:extLst>
                <a:ext uri="{FF2B5EF4-FFF2-40B4-BE49-F238E27FC236}">
                  <a16:creationId xmlns:a16="http://schemas.microsoft.com/office/drawing/2014/main" id="{449281FC-8C05-45F5-BEE0-D74C1D2991A0}"/>
                </a:ext>
              </a:extLst>
            </p:cNvPr>
            <p:cNvSpPr/>
            <p:nvPr/>
          </p:nvSpPr>
          <p:spPr>
            <a:xfrm rot="8716295">
              <a:off x="464737" y="19396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3" name="Forme libre : forme 352">
              <a:extLst>
                <a:ext uri="{FF2B5EF4-FFF2-40B4-BE49-F238E27FC236}">
                  <a16:creationId xmlns:a16="http://schemas.microsoft.com/office/drawing/2014/main" id="{AC76B493-44A9-4110-A979-E79DA2DAD0EF}"/>
                </a:ext>
              </a:extLst>
            </p:cNvPr>
            <p:cNvSpPr/>
            <p:nvPr/>
          </p:nvSpPr>
          <p:spPr>
            <a:xfrm rot="8716295">
              <a:off x="679817" y="44358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4" name="Forme libre : forme 353">
              <a:extLst>
                <a:ext uri="{FF2B5EF4-FFF2-40B4-BE49-F238E27FC236}">
                  <a16:creationId xmlns:a16="http://schemas.microsoft.com/office/drawing/2014/main" id="{A1E49731-9881-455E-A515-C358862DEBAE}"/>
                </a:ext>
              </a:extLst>
            </p:cNvPr>
            <p:cNvSpPr/>
            <p:nvPr/>
          </p:nvSpPr>
          <p:spPr>
            <a:xfrm rot="8716295">
              <a:off x="438366" y="29398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5" name="Forme libre : forme 354">
              <a:extLst>
                <a:ext uri="{FF2B5EF4-FFF2-40B4-BE49-F238E27FC236}">
                  <a16:creationId xmlns:a16="http://schemas.microsoft.com/office/drawing/2014/main" id="{8204F475-BA32-42D6-B48D-2BEE0C6DF622}"/>
                </a:ext>
              </a:extLst>
            </p:cNvPr>
            <p:cNvSpPr/>
            <p:nvPr/>
          </p:nvSpPr>
          <p:spPr>
            <a:xfrm rot="7484129">
              <a:off x="784748" y="63493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6" name="Forme libre : forme 355">
              <a:extLst>
                <a:ext uri="{FF2B5EF4-FFF2-40B4-BE49-F238E27FC236}">
                  <a16:creationId xmlns:a16="http://schemas.microsoft.com/office/drawing/2014/main" id="{3407396E-8B17-4E89-82BB-C091E11448DB}"/>
                </a:ext>
              </a:extLst>
            </p:cNvPr>
            <p:cNvSpPr/>
            <p:nvPr/>
          </p:nvSpPr>
          <p:spPr>
            <a:xfrm rot="13089394">
              <a:off x="889568" y="60147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7" name="Forme libre : forme 356">
              <a:extLst>
                <a:ext uri="{FF2B5EF4-FFF2-40B4-BE49-F238E27FC236}">
                  <a16:creationId xmlns:a16="http://schemas.microsoft.com/office/drawing/2014/main" id="{27719725-2BB1-4B94-8AC6-F116861C62F1}"/>
                </a:ext>
              </a:extLst>
            </p:cNvPr>
            <p:cNvSpPr/>
            <p:nvPr/>
          </p:nvSpPr>
          <p:spPr>
            <a:xfrm rot="8716295">
              <a:off x="1075153" y="40979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8" name="Forme libre : forme 357">
              <a:extLst>
                <a:ext uri="{FF2B5EF4-FFF2-40B4-BE49-F238E27FC236}">
                  <a16:creationId xmlns:a16="http://schemas.microsoft.com/office/drawing/2014/main" id="{43C5E8C2-1177-4638-AAC9-C608290C6D73}"/>
                </a:ext>
              </a:extLst>
            </p:cNvPr>
            <p:cNvSpPr/>
            <p:nvPr/>
          </p:nvSpPr>
          <p:spPr>
            <a:xfrm rot="8716295">
              <a:off x="1023348" y="30619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9" name="Forme libre : forme 358">
              <a:extLst>
                <a:ext uri="{FF2B5EF4-FFF2-40B4-BE49-F238E27FC236}">
                  <a16:creationId xmlns:a16="http://schemas.microsoft.com/office/drawing/2014/main" id="{66F400C8-484F-4AA9-9E69-F9DA598D65AC}"/>
                </a:ext>
              </a:extLst>
            </p:cNvPr>
            <p:cNvSpPr/>
            <p:nvPr/>
          </p:nvSpPr>
          <p:spPr>
            <a:xfrm rot="8716295">
              <a:off x="780102" y="336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0" name="Forme libre : forme 359">
              <a:extLst>
                <a:ext uri="{FF2B5EF4-FFF2-40B4-BE49-F238E27FC236}">
                  <a16:creationId xmlns:a16="http://schemas.microsoft.com/office/drawing/2014/main" id="{FD3344B4-1783-4AD8-8B1E-198B5BC45770}"/>
                </a:ext>
              </a:extLst>
            </p:cNvPr>
            <p:cNvSpPr/>
            <p:nvPr/>
          </p:nvSpPr>
          <p:spPr>
            <a:xfrm rot="8716295">
              <a:off x="957554" y="17717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1" name="Forme libre : forme 360">
              <a:extLst>
                <a:ext uri="{FF2B5EF4-FFF2-40B4-BE49-F238E27FC236}">
                  <a16:creationId xmlns:a16="http://schemas.microsoft.com/office/drawing/2014/main" id="{B1F20E97-7F16-49D8-A491-FB12C97898BA}"/>
                </a:ext>
              </a:extLst>
            </p:cNvPr>
            <p:cNvSpPr/>
            <p:nvPr/>
          </p:nvSpPr>
          <p:spPr>
            <a:xfrm rot="8716295">
              <a:off x="202348" y="-57106"/>
              <a:ext cx="142167" cy="186494"/>
            </a:xfrm>
            <a:custGeom>
              <a:avLst/>
              <a:gdLst>
                <a:gd name="connsiteX0" fmla="*/ 142167 w 142167"/>
                <a:gd name="connsiteY0" fmla="*/ 186494 h 186494"/>
                <a:gd name="connsiteX1" fmla="*/ 81108 w 142167"/>
                <a:gd name="connsiteY1" fmla="*/ 144170 h 186494"/>
                <a:gd name="connsiteX2" fmla="*/ 81108 w 142167"/>
                <a:gd name="connsiteY2" fmla="*/ 69717 h 186494"/>
                <a:gd name="connsiteX3" fmla="*/ 81108 w 142167"/>
                <a:gd name="connsiteY3" fmla="*/ 65615 h 186494"/>
                <a:gd name="connsiteX4" fmla="*/ 60603 w 142167"/>
                <a:gd name="connsiteY4" fmla="*/ 50123 h 186494"/>
                <a:gd name="connsiteX5" fmla="*/ 0 w 142167"/>
                <a:gd name="connsiteY5" fmla="*/ 50123 h 186494"/>
                <a:gd name="connsiteX6" fmla="*/ 0 w 142167"/>
                <a:gd name="connsiteY6" fmla="*/ 0 h 186494"/>
                <a:gd name="connsiteX7" fmla="*/ 85209 w 142167"/>
                <a:gd name="connsiteY7" fmla="*/ 0 h 186494"/>
                <a:gd name="connsiteX8" fmla="*/ 142167 w 142167"/>
                <a:gd name="connsiteY8" fmla="*/ 50123 h 186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86494">
                  <a:moveTo>
                    <a:pt x="142167" y="186494"/>
                  </a:moveTo>
                  <a:lnTo>
                    <a:pt x="81108" y="144170"/>
                  </a:lnTo>
                  <a:lnTo>
                    <a:pt x="81108" y="69717"/>
                  </a:lnTo>
                  <a:cubicBezTo>
                    <a:pt x="81108" y="68349"/>
                    <a:pt x="81108" y="66983"/>
                    <a:pt x="81108" y="65615"/>
                  </a:cubicBezTo>
                  <a:cubicBezTo>
                    <a:pt x="79741" y="55591"/>
                    <a:pt x="70628" y="48756"/>
                    <a:pt x="60603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2" name="Forme libre : forme 361">
              <a:extLst>
                <a:ext uri="{FF2B5EF4-FFF2-40B4-BE49-F238E27FC236}">
                  <a16:creationId xmlns:a16="http://schemas.microsoft.com/office/drawing/2014/main" id="{627DF55A-0BF9-412B-B088-58C19C1BDCF8}"/>
                </a:ext>
              </a:extLst>
            </p:cNvPr>
            <p:cNvSpPr/>
            <p:nvPr/>
          </p:nvSpPr>
          <p:spPr>
            <a:xfrm rot="8716295">
              <a:off x="298766" y="-5395"/>
              <a:ext cx="260639" cy="180054"/>
            </a:xfrm>
            <a:custGeom>
              <a:avLst/>
              <a:gdLst>
                <a:gd name="connsiteX0" fmla="*/ 111638 w 260639"/>
                <a:gd name="connsiteY0" fmla="*/ 180054 h 180054"/>
                <a:gd name="connsiteX1" fmla="*/ 51490 w 260639"/>
                <a:gd name="connsiteY1" fmla="*/ 138362 h 180054"/>
                <a:gd name="connsiteX2" fmla="*/ 51490 w 260639"/>
                <a:gd name="connsiteY2" fmla="*/ 45624 h 180054"/>
                <a:gd name="connsiteX3" fmla="*/ 0 w 260639"/>
                <a:gd name="connsiteY3" fmla="*/ 45624 h 180054"/>
                <a:gd name="connsiteX4" fmla="*/ 0 w 260639"/>
                <a:gd name="connsiteY4" fmla="*/ 1425 h 180054"/>
                <a:gd name="connsiteX5" fmla="*/ 104802 w 260639"/>
                <a:gd name="connsiteY5" fmla="*/ 1425 h 180054"/>
                <a:gd name="connsiteX6" fmla="*/ 104802 w 260639"/>
                <a:gd name="connsiteY6" fmla="*/ 75242 h 180054"/>
                <a:gd name="connsiteX7" fmla="*/ 106169 w 260639"/>
                <a:gd name="connsiteY7" fmla="*/ 75242 h 180054"/>
                <a:gd name="connsiteX8" fmla="*/ 154014 w 260639"/>
                <a:gd name="connsiteY8" fmla="*/ 5981 h 180054"/>
                <a:gd name="connsiteX9" fmla="*/ 185455 w 260639"/>
                <a:gd name="connsiteY9" fmla="*/ 57 h 180054"/>
                <a:gd name="connsiteX10" fmla="*/ 260639 w 260639"/>
                <a:gd name="connsiteY10" fmla="*/ 88456 h 180054"/>
                <a:gd name="connsiteX11" fmla="*/ 260639 w 260639"/>
                <a:gd name="connsiteY11" fmla="*/ 94380 h 180054"/>
                <a:gd name="connsiteX12" fmla="*/ 198669 w 260639"/>
                <a:gd name="connsiteY12" fmla="*/ 98025 h 180054"/>
                <a:gd name="connsiteX13" fmla="*/ 198669 w 260639"/>
                <a:gd name="connsiteY13" fmla="*/ 81621 h 180054"/>
                <a:gd name="connsiteX14" fmla="*/ 164950 w 260639"/>
                <a:gd name="connsiteY14" fmla="*/ 40156 h 180054"/>
                <a:gd name="connsiteX15" fmla="*/ 111638 w 260639"/>
                <a:gd name="connsiteY15" fmla="*/ 127643 h 180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0639" h="180054">
                  <a:moveTo>
                    <a:pt x="111638" y="180054"/>
                  </a:moveTo>
                  <a:lnTo>
                    <a:pt x="51490" y="138362"/>
                  </a:ln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3" name="Forme libre : forme 362">
              <a:extLst>
                <a:ext uri="{FF2B5EF4-FFF2-40B4-BE49-F238E27FC236}">
                  <a16:creationId xmlns:a16="http://schemas.microsoft.com/office/drawing/2014/main" id="{B1CC1170-12B9-42E7-B048-36951089B415}"/>
                </a:ext>
              </a:extLst>
            </p:cNvPr>
            <p:cNvSpPr/>
            <p:nvPr/>
          </p:nvSpPr>
          <p:spPr>
            <a:xfrm rot="8716295">
              <a:off x="276903" y="-12823"/>
              <a:ext cx="36272" cy="27982"/>
            </a:xfrm>
            <a:custGeom>
              <a:avLst/>
              <a:gdLst>
                <a:gd name="connsiteX0" fmla="*/ 36272 w 36272"/>
                <a:gd name="connsiteY0" fmla="*/ 27982 h 27982"/>
                <a:gd name="connsiteX1" fmla="*/ 0 w 36272"/>
                <a:gd name="connsiteY1" fmla="*/ 2840 h 27982"/>
                <a:gd name="connsiteX2" fmla="*/ 9543 w 36272"/>
                <a:gd name="connsiteY2" fmla="*/ 0 h 27982"/>
                <a:gd name="connsiteX3" fmla="*/ 31871 w 36272"/>
                <a:gd name="connsiteY3" fmla="*/ 11392 h 27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272" h="27982">
                  <a:moveTo>
                    <a:pt x="36272" y="27982"/>
                  </a:moveTo>
                  <a:lnTo>
                    <a:pt x="0" y="2840"/>
                  </a:lnTo>
                  <a:lnTo>
                    <a:pt x="9543" y="0"/>
                  </a:lnTo>
                  <a:cubicBezTo>
                    <a:pt x="20479" y="0"/>
                    <a:pt x="27542" y="4784"/>
                    <a:pt x="31871" y="113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4" name="Forme libre : forme 363">
              <a:extLst>
                <a:ext uri="{FF2B5EF4-FFF2-40B4-BE49-F238E27FC236}">
                  <a16:creationId xmlns:a16="http://schemas.microsoft.com/office/drawing/2014/main" id="{E033BF19-7D8B-489E-8421-40953085A3CD}"/>
                </a:ext>
              </a:extLst>
            </p:cNvPr>
            <p:cNvSpPr/>
            <p:nvPr/>
          </p:nvSpPr>
          <p:spPr>
            <a:xfrm rot="8716295">
              <a:off x="74640" y="-9665"/>
              <a:ext cx="58068" cy="54772"/>
            </a:xfrm>
            <a:custGeom>
              <a:avLst/>
              <a:gdLst>
                <a:gd name="connsiteX0" fmla="*/ 37436 w 58068"/>
                <a:gd name="connsiteY0" fmla="*/ 54772 h 54772"/>
                <a:gd name="connsiteX1" fmla="*/ 0 w 58068"/>
                <a:gd name="connsiteY1" fmla="*/ 28823 h 54772"/>
                <a:gd name="connsiteX2" fmla="*/ 8515 w 58068"/>
                <a:gd name="connsiteY2" fmla="*/ 8658 h 54772"/>
                <a:gd name="connsiteX3" fmla="*/ 29020 w 58068"/>
                <a:gd name="connsiteY3" fmla="*/ 0 h 54772"/>
                <a:gd name="connsiteX4" fmla="*/ 49525 w 58068"/>
                <a:gd name="connsiteY4" fmla="*/ 8658 h 54772"/>
                <a:gd name="connsiteX5" fmla="*/ 49525 w 58068"/>
                <a:gd name="connsiteY5" fmla="*/ 49668 h 5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068" h="54772">
                  <a:moveTo>
                    <a:pt x="37436" y="54772"/>
                  </a:moveTo>
                  <a:lnTo>
                    <a:pt x="0" y="28823"/>
                  </a:lnTo>
                  <a:lnTo>
                    <a:pt x="8515" y="8658"/>
                  </a:lnTo>
                  <a:cubicBezTo>
                    <a:pt x="13983" y="3190"/>
                    <a:pt x="21273" y="0"/>
                    <a:pt x="29020" y="0"/>
                  </a:cubicBezTo>
                  <a:cubicBezTo>
                    <a:pt x="36766" y="0"/>
                    <a:pt x="44057" y="3190"/>
                    <a:pt x="49525" y="8658"/>
                  </a:cubicBezTo>
                  <a:cubicBezTo>
                    <a:pt x="60916" y="19594"/>
                    <a:pt x="60916" y="38276"/>
                    <a:pt x="49525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5" name="Forme libre : forme 364">
              <a:extLst>
                <a:ext uri="{FF2B5EF4-FFF2-40B4-BE49-F238E27FC236}">
                  <a16:creationId xmlns:a16="http://schemas.microsoft.com/office/drawing/2014/main" id="{CB7A744C-FCCB-4B93-9898-2A2B2B95BBB6}"/>
                </a:ext>
              </a:extLst>
            </p:cNvPr>
            <p:cNvSpPr/>
            <p:nvPr/>
          </p:nvSpPr>
          <p:spPr>
            <a:xfrm rot="8716295">
              <a:off x="13802" y="-10406"/>
              <a:ext cx="30027" cy="20814"/>
            </a:xfrm>
            <a:custGeom>
              <a:avLst/>
              <a:gdLst>
                <a:gd name="connsiteX0" fmla="*/ 30027 w 30027"/>
                <a:gd name="connsiteY0" fmla="*/ 20814 h 20814"/>
                <a:gd name="connsiteX1" fmla="*/ 0 w 30027"/>
                <a:gd name="connsiteY1" fmla="*/ 0 h 20814"/>
                <a:gd name="connsiteX2" fmla="*/ 30027 w 30027"/>
                <a:gd name="connsiteY2" fmla="*/ 0 h 20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027" h="20814">
                  <a:moveTo>
                    <a:pt x="30027" y="20814"/>
                  </a:moveTo>
                  <a:lnTo>
                    <a:pt x="0" y="0"/>
                  </a:lnTo>
                  <a:lnTo>
                    <a:pt x="3002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6" name="Forme libre : forme 365">
              <a:extLst>
                <a:ext uri="{FF2B5EF4-FFF2-40B4-BE49-F238E27FC236}">
                  <a16:creationId xmlns:a16="http://schemas.microsoft.com/office/drawing/2014/main" id="{A7508798-38A9-48C7-9AA8-5A92078CC84B}"/>
                </a:ext>
              </a:extLst>
            </p:cNvPr>
            <p:cNvSpPr/>
            <p:nvPr/>
          </p:nvSpPr>
          <p:spPr>
            <a:xfrm rot="8716295">
              <a:off x="168048" y="3032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7" name="Forme libre : forme 366">
              <a:extLst>
                <a:ext uri="{FF2B5EF4-FFF2-40B4-BE49-F238E27FC236}">
                  <a16:creationId xmlns:a16="http://schemas.microsoft.com/office/drawing/2014/main" id="{0E351C93-E018-436B-9326-CEDEA386B63D}"/>
                </a:ext>
              </a:extLst>
            </p:cNvPr>
            <p:cNvSpPr/>
            <p:nvPr/>
          </p:nvSpPr>
          <p:spPr>
            <a:xfrm rot="7484129">
              <a:off x="562078" y="-284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8" name="Forme libre : forme 367">
              <a:extLst>
                <a:ext uri="{FF2B5EF4-FFF2-40B4-BE49-F238E27FC236}">
                  <a16:creationId xmlns:a16="http://schemas.microsoft.com/office/drawing/2014/main" id="{BDEF799B-C934-4303-874D-CB44161BDCB0}"/>
                </a:ext>
              </a:extLst>
            </p:cNvPr>
            <p:cNvSpPr/>
            <p:nvPr/>
          </p:nvSpPr>
          <p:spPr>
            <a:xfrm rot="13089394">
              <a:off x="775514" y="-27038"/>
              <a:ext cx="149688" cy="328219"/>
            </a:xfrm>
            <a:custGeom>
              <a:avLst/>
              <a:gdLst>
                <a:gd name="connsiteX0" fmla="*/ 149688 w 149688"/>
                <a:gd name="connsiteY0" fmla="*/ 279622 h 328219"/>
                <a:gd name="connsiteX1" fmla="*/ 87835 w 149688"/>
                <a:gd name="connsiteY1" fmla="*/ 328219 h 328219"/>
                <a:gd name="connsiteX2" fmla="*/ 54765 w 149688"/>
                <a:gd name="connsiteY2" fmla="*/ 322521 h 328219"/>
                <a:gd name="connsiteX3" fmla="*/ 23727 w 149688"/>
                <a:gd name="connsiteY3" fmla="*/ 301277 h 328219"/>
                <a:gd name="connsiteX4" fmla="*/ 0 w 149688"/>
                <a:gd name="connsiteY4" fmla="*/ 206369 h 328219"/>
                <a:gd name="connsiteX5" fmla="*/ 0 w 149688"/>
                <a:gd name="connsiteY5" fmla="*/ 38074 h 328219"/>
                <a:gd name="connsiteX6" fmla="*/ 73388 w 149688"/>
                <a:gd name="connsiteY6" fmla="*/ 0 h 328219"/>
                <a:gd name="connsiteX7" fmla="*/ 74492 w 149688"/>
                <a:gd name="connsiteY7" fmla="*/ 153950 h 328219"/>
                <a:gd name="connsiteX8" fmla="*/ 87734 w 149688"/>
                <a:gd name="connsiteY8" fmla="*/ 245547 h 328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9688" h="328219">
                  <a:moveTo>
                    <a:pt x="149688" y="279622"/>
                  </a:moveTo>
                  <a:lnTo>
                    <a:pt x="87835" y="328219"/>
                  </a:lnTo>
                  <a:lnTo>
                    <a:pt x="54765" y="322521"/>
                  </a:lnTo>
                  <a:cubicBezTo>
                    <a:pt x="43178" y="317693"/>
                    <a:pt x="32555" y="310382"/>
                    <a:pt x="23727" y="301277"/>
                  </a:cubicBezTo>
                  <a:cubicBezTo>
                    <a:pt x="4966" y="283069"/>
                    <a:pt x="0" y="251616"/>
                    <a:pt x="0" y="206369"/>
                  </a:cubicBez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2836" y="184850"/>
                    <a:pt x="77802" y="216302"/>
                    <a:pt x="87734" y="2455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9" name="Forme libre : forme 368">
              <a:extLst>
                <a:ext uri="{FF2B5EF4-FFF2-40B4-BE49-F238E27FC236}">
                  <a16:creationId xmlns:a16="http://schemas.microsoft.com/office/drawing/2014/main" id="{85452057-F6AF-4671-A171-74C9DE20E061}"/>
                </a:ext>
              </a:extLst>
            </p:cNvPr>
            <p:cNvSpPr/>
            <p:nvPr/>
          </p:nvSpPr>
          <p:spPr>
            <a:xfrm rot="8716295">
              <a:off x="3366575" y="56973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0" name="Forme libre : forme 369">
              <a:extLst>
                <a:ext uri="{FF2B5EF4-FFF2-40B4-BE49-F238E27FC236}">
                  <a16:creationId xmlns:a16="http://schemas.microsoft.com/office/drawing/2014/main" id="{0B76C80E-592A-400D-A327-9F0390D4B3C2}"/>
                </a:ext>
              </a:extLst>
            </p:cNvPr>
            <p:cNvSpPr/>
            <p:nvPr/>
          </p:nvSpPr>
          <p:spPr>
            <a:xfrm rot="8716295">
              <a:off x="3237162" y="360980"/>
              <a:ext cx="203847" cy="195873"/>
            </a:xfrm>
            <a:custGeom>
              <a:avLst/>
              <a:gdLst>
                <a:gd name="connsiteX0" fmla="*/ 90710 w 203847"/>
                <a:gd name="connsiteY0" fmla="*/ 195873 h 195873"/>
                <a:gd name="connsiteX1" fmla="*/ 47847 w 203847"/>
                <a:gd name="connsiteY1" fmla="*/ 116129 h 195873"/>
                <a:gd name="connsiteX2" fmla="*/ 69777 w 203847"/>
                <a:gd name="connsiteY2" fmla="*/ 55323 h 195873"/>
                <a:gd name="connsiteX3" fmla="*/ 0 w 203847"/>
                <a:gd name="connsiteY3" fmla="*/ 55323 h 195873"/>
                <a:gd name="connsiteX4" fmla="*/ 0 w 203847"/>
                <a:gd name="connsiteY4" fmla="*/ 52719 h 195873"/>
                <a:gd name="connsiteX5" fmla="*/ 43605 w 203847"/>
                <a:gd name="connsiteY5" fmla="*/ 0 h 195873"/>
                <a:gd name="connsiteX6" fmla="*/ 203847 w 203847"/>
                <a:gd name="connsiteY6" fmla="*/ 0 h 195873"/>
                <a:gd name="connsiteX7" fmla="*/ 203847 w 203847"/>
                <a:gd name="connsiteY7" fmla="*/ 55323 h 195873"/>
                <a:gd name="connsiteX8" fmla="*/ 139055 w 203847"/>
                <a:gd name="connsiteY8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3">
                  <a:moveTo>
                    <a:pt x="90710" y="195873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52719"/>
                  </a:lnTo>
                  <a:lnTo>
                    <a:pt x="43605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1" name="Forme libre : forme 370">
              <a:extLst>
                <a:ext uri="{FF2B5EF4-FFF2-40B4-BE49-F238E27FC236}">
                  <a16:creationId xmlns:a16="http://schemas.microsoft.com/office/drawing/2014/main" id="{5150644E-4F20-423C-8383-236544837AE7}"/>
                </a:ext>
              </a:extLst>
            </p:cNvPr>
            <p:cNvSpPr/>
            <p:nvPr/>
          </p:nvSpPr>
          <p:spPr>
            <a:xfrm rot="8716295">
              <a:off x="3189574" y="231224"/>
              <a:ext cx="290249" cy="221342"/>
            </a:xfrm>
            <a:custGeom>
              <a:avLst/>
              <a:gdLst>
                <a:gd name="connsiteX0" fmla="*/ 24905 w 290249"/>
                <a:gd name="connsiteY0" fmla="*/ 191751 h 221342"/>
                <a:gd name="connsiteX1" fmla="*/ 4754 w 290249"/>
                <a:gd name="connsiteY1" fmla="*/ 151964 h 221342"/>
                <a:gd name="connsiteX2" fmla="*/ 0 w 290249"/>
                <a:gd name="connsiteY2" fmla="*/ 95252 h 221342"/>
                <a:gd name="connsiteX3" fmla="*/ 78785 w 290249"/>
                <a:gd name="connsiteY3" fmla="*/ 0 h 221342"/>
                <a:gd name="connsiteX4" fmla="*/ 79033 w 290249"/>
                <a:gd name="connsiteY4" fmla="*/ 34662 h 221342"/>
                <a:gd name="connsiteX5" fmla="*/ 93153 w 290249"/>
                <a:gd name="connsiteY5" fmla="*/ 132328 h 221342"/>
                <a:gd name="connsiteX6" fmla="*/ 163754 w 290249"/>
                <a:gd name="connsiteY6" fmla="*/ 171159 h 221342"/>
                <a:gd name="connsiteX7" fmla="*/ 216706 w 290249"/>
                <a:gd name="connsiteY7" fmla="*/ 161745 h 221342"/>
                <a:gd name="connsiteX8" fmla="*/ 289073 w 290249"/>
                <a:gd name="connsiteY8" fmla="*/ 132328 h 221342"/>
                <a:gd name="connsiteX9" fmla="*/ 290249 w 290249"/>
                <a:gd name="connsiteY9" fmla="*/ 139976 h 221342"/>
                <a:gd name="connsiteX10" fmla="*/ 290249 w 290249"/>
                <a:gd name="connsiteY10" fmla="*/ 145860 h 221342"/>
                <a:gd name="connsiteX11" fmla="*/ 97272 w 290249"/>
                <a:gd name="connsiteY11" fmla="*/ 221168 h 221342"/>
                <a:gd name="connsiteX12" fmla="*/ 24905 w 290249"/>
                <a:gd name="connsiteY12" fmla="*/ 191751 h 221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0249" h="221342">
                  <a:moveTo>
                    <a:pt x="24905" y="191751"/>
                  </a:moveTo>
                  <a:cubicBezTo>
                    <a:pt x="14903" y="182043"/>
                    <a:pt x="8578" y="168805"/>
                    <a:pt x="4754" y="151964"/>
                  </a:cubicBezTo>
                  <a:lnTo>
                    <a:pt x="0" y="95252"/>
                  </a:lnTo>
                  <a:lnTo>
                    <a:pt x="78785" y="0"/>
                  </a:lnTo>
                  <a:lnTo>
                    <a:pt x="79033" y="34662"/>
                  </a:lnTo>
                  <a:cubicBezTo>
                    <a:pt x="77268" y="67610"/>
                    <a:pt x="82563" y="101145"/>
                    <a:pt x="93153" y="132328"/>
                  </a:cubicBezTo>
                  <a:cubicBezTo>
                    <a:pt x="102567" y="158215"/>
                    <a:pt x="126689" y="171159"/>
                    <a:pt x="163754" y="171159"/>
                  </a:cubicBezTo>
                  <a:cubicBezTo>
                    <a:pt x="181994" y="170570"/>
                    <a:pt x="199644" y="167040"/>
                    <a:pt x="216706" y="161745"/>
                  </a:cubicBezTo>
                  <a:cubicBezTo>
                    <a:pt x="241416" y="154096"/>
                    <a:pt x="265539" y="144095"/>
                    <a:pt x="289073" y="132328"/>
                  </a:cubicBezTo>
                  <a:cubicBezTo>
                    <a:pt x="289661" y="134681"/>
                    <a:pt x="290249" y="137623"/>
                    <a:pt x="290249" y="139976"/>
                  </a:cubicBezTo>
                  <a:lnTo>
                    <a:pt x="290249" y="145860"/>
                  </a:lnTo>
                  <a:cubicBezTo>
                    <a:pt x="227885" y="199399"/>
                    <a:pt x="146104" y="218227"/>
                    <a:pt x="97272" y="221168"/>
                  </a:cubicBezTo>
                  <a:cubicBezTo>
                    <a:pt x="70208" y="222933"/>
                    <a:pt x="43732" y="211166"/>
                    <a:pt x="24905" y="19175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2" name="Forme libre : forme 371">
              <a:extLst>
                <a:ext uri="{FF2B5EF4-FFF2-40B4-BE49-F238E27FC236}">
                  <a16:creationId xmlns:a16="http://schemas.microsoft.com/office/drawing/2014/main" id="{9266C455-B545-49CA-BF30-2607C744AB8E}"/>
                </a:ext>
              </a:extLst>
            </p:cNvPr>
            <p:cNvSpPr/>
            <p:nvPr/>
          </p:nvSpPr>
          <p:spPr>
            <a:xfrm rot="8716295">
              <a:off x="3411629" y="650113"/>
              <a:ext cx="21023" cy="45645"/>
            </a:xfrm>
            <a:custGeom>
              <a:avLst/>
              <a:gdLst>
                <a:gd name="connsiteX0" fmla="*/ 21023 w 21023"/>
                <a:gd name="connsiteY0" fmla="*/ 45645 h 45645"/>
                <a:gd name="connsiteX1" fmla="*/ 0 w 21023"/>
                <a:gd name="connsiteY1" fmla="*/ 25418 h 45645"/>
                <a:gd name="connsiteX2" fmla="*/ 21023 w 21023"/>
                <a:gd name="connsiteY2" fmla="*/ 0 h 4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023" h="45645">
                  <a:moveTo>
                    <a:pt x="21023" y="45645"/>
                  </a:moveTo>
                  <a:lnTo>
                    <a:pt x="0" y="25418"/>
                  </a:lnTo>
                  <a:lnTo>
                    <a:pt x="2102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3" name="Forme libre : forme 372">
              <a:extLst>
                <a:ext uri="{FF2B5EF4-FFF2-40B4-BE49-F238E27FC236}">
                  <a16:creationId xmlns:a16="http://schemas.microsoft.com/office/drawing/2014/main" id="{8A8C4152-A6DA-4079-AA7F-C7451551470E}"/>
                </a:ext>
              </a:extLst>
            </p:cNvPr>
            <p:cNvSpPr/>
            <p:nvPr/>
          </p:nvSpPr>
          <p:spPr>
            <a:xfrm rot="8716295">
              <a:off x="3298850" y="-42720"/>
              <a:ext cx="123263" cy="85442"/>
            </a:xfrm>
            <a:custGeom>
              <a:avLst/>
              <a:gdLst>
                <a:gd name="connsiteX0" fmla="*/ 123263 w 123263"/>
                <a:gd name="connsiteY0" fmla="*/ 85442 h 85442"/>
                <a:gd name="connsiteX1" fmla="*/ 0 w 123263"/>
                <a:gd name="connsiteY1" fmla="*/ 0 h 85442"/>
                <a:gd name="connsiteX2" fmla="*/ 66305 w 123263"/>
                <a:gd name="connsiteY2" fmla="*/ 0 h 85442"/>
                <a:gd name="connsiteX3" fmla="*/ 123263 w 123263"/>
                <a:gd name="connsiteY3" fmla="*/ 50123 h 85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63" h="85442">
                  <a:moveTo>
                    <a:pt x="123263" y="85442"/>
                  </a:moveTo>
                  <a:lnTo>
                    <a:pt x="0" y="0"/>
                  </a:lnTo>
                  <a:lnTo>
                    <a:pt x="66305" y="0"/>
                  </a:lnTo>
                  <a:cubicBezTo>
                    <a:pt x="103214" y="0"/>
                    <a:pt x="123263" y="15948"/>
                    <a:pt x="123263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4" name="Forme libre : forme 373">
              <a:extLst>
                <a:ext uri="{FF2B5EF4-FFF2-40B4-BE49-F238E27FC236}">
                  <a16:creationId xmlns:a16="http://schemas.microsoft.com/office/drawing/2014/main" id="{A339289A-5EC3-49A9-9A48-D86927329ED5}"/>
                </a:ext>
              </a:extLst>
            </p:cNvPr>
            <p:cNvSpPr/>
            <p:nvPr/>
          </p:nvSpPr>
          <p:spPr>
            <a:xfrm rot="8716295">
              <a:off x="3402681" y="37518"/>
              <a:ext cx="82257" cy="93201"/>
            </a:xfrm>
            <a:custGeom>
              <a:avLst/>
              <a:gdLst>
                <a:gd name="connsiteX0" fmla="*/ 20287 w 82257"/>
                <a:gd name="connsiteY0" fmla="*/ 93201 h 93201"/>
                <a:gd name="connsiteX1" fmla="*/ 20287 w 82257"/>
                <a:gd name="connsiteY1" fmla="*/ 76797 h 93201"/>
                <a:gd name="connsiteX2" fmla="*/ 10775 w 82257"/>
                <a:gd name="connsiteY2" fmla="*/ 46837 h 93201"/>
                <a:gd name="connsiteX3" fmla="*/ 0 w 82257"/>
                <a:gd name="connsiteY3" fmla="*/ 41716 h 93201"/>
                <a:gd name="connsiteX4" fmla="*/ 34504 w 82257"/>
                <a:gd name="connsiteY4" fmla="*/ 0 h 93201"/>
                <a:gd name="connsiteX5" fmla="*/ 38620 w 82257"/>
                <a:gd name="connsiteY5" fmla="*/ 715 h 93201"/>
                <a:gd name="connsiteX6" fmla="*/ 82257 w 82257"/>
                <a:gd name="connsiteY6" fmla="*/ 83632 h 93201"/>
                <a:gd name="connsiteX7" fmla="*/ 82257 w 82257"/>
                <a:gd name="connsiteY7" fmla="*/ 89556 h 93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2257" h="93201">
                  <a:moveTo>
                    <a:pt x="20287" y="93201"/>
                  </a:moveTo>
                  <a:lnTo>
                    <a:pt x="20287" y="76797"/>
                  </a:lnTo>
                  <a:cubicBezTo>
                    <a:pt x="20287" y="64494"/>
                    <a:pt x="16756" y="54128"/>
                    <a:pt x="10775" y="46837"/>
                  </a:cubicBezTo>
                  <a:lnTo>
                    <a:pt x="0" y="41716"/>
                  </a:lnTo>
                  <a:lnTo>
                    <a:pt x="34504" y="0"/>
                  </a:lnTo>
                  <a:lnTo>
                    <a:pt x="38620" y="715"/>
                  </a:lnTo>
                  <a:cubicBezTo>
                    <a:pt x="66366" y="12207"/>
                    <a:pt x="82257" y="41255"/>
                    <a:pt x="82257" y="83632"/>
                  </a:cubicBezTo>
                  <a:lnTo>
                    <a:pt x="82257" y="8955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5" name="Forme libre : forme 374">
              <a:extLst>
                <a:ext uri="{FF2B5EF4-FFF2-40B4-BE49-F238E27FC236}">
                  <a16:creationId xmlns:a16="http://schemas.microsoft.com/office/drawing/2014/main" id="{FE84117C-0D75-44E5-BDA4-CA1CB1F335CF}"/>
                </a:ext>
              </a:extLst>
            </p:cNvPr>
            <p:cNvSpPr/>
            <p:nvPr/>
          </p:nvSpPr>
          <p:spPr>
            <a:xfrm rot="8716295">
              <a:off x="3234083" y="-5272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6" name="Forme libre : forme 375">
              <a:extLst>
                <a:ext uri="{FF2B5EF4-FFF2-40B4-BE49-F238E27FC236}">
                  <a16:creationId xmlns:a16="http://schemas.microsoft.com/office/drawing/2014/main" id="{12EEAD1F-5DD6-435B-8A93-C66CE1909363}"/>
                </a:ext>
              </a:extLst>
            </p:cNvPr>
            <p:cNvSpPr/>
            <p:nvPr/>
          </p:nvSpPr>
          <p:spPr>
            <a:xfrm rot="8716295">
              <a:off x="212141" y="304502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7" name="Forme libre : forme 376">
              <a:extLst>
                <a:ext uri="{FF2B5EF4-FFF2-40B4-BE49-F238E27FC236}">
                  <a16:creationId xmlns:a16="http://schemas.microsoft.com/office/drawing/2014/main" id="{E2B3F83B-E193-4145-A936-C1756D937D20}"/>
                </a:ext>
              </a:extLst>
            </p:cNvPr>
            <p:cNvSpPr/>
            <p:nvPr/>
          </p:nvSpPr>
          <p:spPr>
            <a:xfrm rot="8716295">
              <a:off x="301533" y="307427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8" name="Forme libre : forme 377">
              <a:extLst>
                <a:ext uri="{FF2B5EF4-FFF2-40B4-BE49-F238E27FC236}">
                  <a16:creationId xmlns:a16="http://schemas.microsoft.com/office/drawing/2014/main" id="{0EBCDD2D-96D0-40D5-832B-9D432203380A}"/>
                </a:ext>
              </a:extLst>
            </p:cNvPr>
            <p:cNvSpPr/>
            <p:nvPr/>
          </p:nvSpPr>
          <p:spPr>
            <a:xfrm rot="8716295">
              <a:off x="256683" y="298799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9" name="Forme libre : forme 378">
              <a:extLst>
                <a:ext uri="{FF2B5EF4-FFF2-40B4-BE49-F238E27FC236}">
                  <a16:creationId xmlns:a16="http://schemas.microsoft.com/office/drawing/2014/main" id="{D7B14EA1-A5A0-49C4-996C-1F9E3834E06F}"/>
                </a:ext>
              </a:extLst>
            </p:cNvPr>
            <p:cNvSpPr/>
            <p:nvPr/>
          </p:nvSpPr>
          <p:spPr>
            <a:xfrm rot="8716295">
              <a:off x="99907" y="31335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0" name="Forme libre : forme 379">
              <a:extLst>
                <a:ext uri="{FF2B5EF4-FFF2-40B4-BE49-F238E27FC236}">
                  <a16:creationId xmlns:a16="http://schemas.microsoft.com/office/drawing/2014/main" id="{736F0423-C826-490E-96A4-CDB0EDE4D27E}"/>
                </a:ext>
              </a:extLst>
            </p:cNvPr>
            <p:cNvSpPr/>
            <p:nvPr/>
          </p:nvSpPr>
          <p:spPr>
            <a:xfrm rot="8716295">
              <a:off x="-24996" y="29248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1" name="Forme libre : forme 380">
              <a:extLst>
                <a:ext uri="{FF2B5EF4-FFF2-40B4-BE49-F238E27FC236}">
                  <a16:creationId xmlns:a16="http://schemas.microsoft.com/office/drawing/2014/main" id="{75D8D9C1-45FD-4A7E-AA8D-777A228E8F1D}"/>
                </a:ext>
              </a:extLst>
            </p:cNvPr>
            <p:cNvSpPr/>
            <p:nvPr/>
          </p:nvSpPr>
          <p:spPr>
            <a:xfrm rot="8716295">
              <a:off x="51899" y="2754602"/>
              <a:ext cx="189488" cy="350829"/>
            </a:xfrm>
            <a:custGeom>
              <a:avLst/>
              <a:gdLst>
                <a:gd name="connsiteX0" fmla="*/ 25299 w 189488"/>
                <a:gd name="connsiteY0" fmla="*/ 321238 h 350829"/>
                <a:gd name="connsiteX1" fmla="*/ 0 w 189488"/>
                <a:gd name="connsiteY1" fmla="*/ 220042 h 350829"/>
                <a:gd name="connsiteX2" fmla="*/ 0 w 189488"/>
                <a:gd name="connsiteY2" fmla="*/ 40596 h 350829"/>
                <a:gd name="connsiteX3" fmla="*/ 78250 w 189488"/>
                <a:gd name="connsiteY3" fmla="*/ 0 h 350829"/>
                <a:gd name="connsiteX4" fmla="*/ 79427 w 189488"/>
                <a:gd name="connsiteY4" fmla="*/ 164149 h 350829"/>
                <a:gd name="connsiteX5" fmla="*/ 93547 w 189488"/>
                <a:gd name="connsiteY5" fmla="*/ 261815 h 350829"/>
                <a:gd name="connsiteX6" fmla="*/ 164148 w 189488"/>
                <a:gd name="connsiteY6" fmla="*/ 300646 h 350829"/>
                <a:gd name="connsiteX7" fmla="*/ 189488 w 189488"/>
                <a:gd name="connsiteY7" fmla="*/ 296141 h 350829"/>
                <a:gd name="connsiteX8" fmla="*/ 160617 w 189488"/>
                <a:gd name="connsiteY8" fmla="*/ 337791 h 350829"/>
                <a:gd name="connsiteX9" fmla="*/ 97666 w 189488"/>
                <a:gd name="connsiteY9" fmla="*/ 350655 h 350829"/>
                <a:gd name="connsiteX10" fmla="*/ 25299 w 189488"/>
                <a:gd name="connsiteY10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9488" h="350829">
                  <a:moveTo>
                    <a:pt x="25299" y="321238"/>
                  </a:moveTo>
                  <a:cubicBezTo>
                    <a:pt x="5295" y="301823"/>
                    <a:pt x="0" y="268286"/>
                    <a:pt x="0" y="220042"/>
                  </a:cubicBez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8" y="300646"/>
                  </a:cubicBezTo>
                  <a:lnTo>
                    <a:pt x="189488" y="296141"/>
                  </a:lnTo>
                  <a:lnTo>
                    <a:pt x="160617" y="337791"/>
                  </a:lnTo>
                  <a:lnTo>
                    <a:pt x="97666" y="350655"/>
                  </a:ln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2" name="Forme libre : forme 381">
              <a:extLst>
                <a:ext uri="{FF2B5EF4-FFF2-40B4-BE49-F238E27FC236}">
                  <a16:creationId xmlns:a16="http://schemas.microsoft.com/office/drawing/2014/main" id="{B4FEB9FE-AF54-49A2-BE6D-72BA7BE2EB18}"/>
                </a:ext>
              </a:extLst>
            </p:cNvPr>
            <p:cNvSpPr/>
            <p:nvPr/>
          </p:nvSpPr>
          <p:spPr>
            <a:xfrm rot="8716295">
              <a:off x="190085" y="317452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3" name="Forme libre : forme 382">
              <a:extLst>
                <a:ext uri="{FF2B5EF4-FFF2-40B4-BE49-F238E27FC236}">
                  <a16:creationId xmlns:a16="http://schemas.microsoft.com/office/drawing/2014/main" id="{8DA05A66-E883-464C-B559-6FC6B28A3E8D}"/>
                </a:ext>
              </a:extLst>
            </p:cNvPr>
            <p:cNvSpPr/>
            <p:nvPr/>
          </p:nvSpPr>
          <p:spPr>
            <a:xfrm rot="8716295">
              <a:off x="501240" y="279487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4" name="Forme libre : forme 383">
              <a:extLst>
                <a:ext uri="{FF2B5EF4-FFF2-40B4-BE49-F238E27FC236}">
                  <a16:creationId xmlns:a16="http://schemas.microsoft.com/office/drawing/2014/main" id="{70D6E3B7-3736-43CC-9D76-86B0F97A5780}"/>
                </a:ext>
              </a:extLst>
            </p:cNvPr>
            <p:cNvSpPr/>
            <p:nvPr/>
          </p:nvSpPr>
          <p:spPr>
            <a:xfrm rot="8716295">
              <a:off x="590632" y="282411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5" name="Forme libre : forme 384">
              <a:extLst>
                <a:ext uri="{FF2B5EF4-FFF2-40B4-BE49-F238E27FC236}">
                  <a16:creationId xmlns:a16="http://schemas.microsoft.com/office/drawing/2014/main" id="{FC4D3741-889D-4E54-B83F-D0BA201DC6A2}"/>
                </a:ext>
              </a:extLst>
            </p:cNvPr>
            <p:cNvSpPr/>
            <p:nvPr/>
          </p:nvSpPr>
          <p:spPr>
            <a:xfrm rot="8716295">
              <a:off x="389006" y="2883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6" name="Forme libre : forme 385">
              <a:extLst>
                <a:ext uri="{FF2B5EF4-FFF2-40B4-BE49-F238E27FC236}">
                  <a16:creationId xmlns:a16="http://schemas.microsoft.com/office/drawing/2014/main" id="{C9BA88DB-9441-45DF-A22F-E12869EF8794}"/>
                </a:ext>
              </a:extLst>
            </p:cNvPr>
            <p:cNvSpPr/>
            <p:nvPr/>
          </p:nvSpPr>
          <p:spPr>
            <a:xfrm rot="8716295">
              <a:off x="264104" y="267474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7" name="Forme libre : forme 386">
              <a:extLst>
                <a:ext uri="{FF2B5EF4-FFF2-40B4-BE49-F238E27FC236}">
                  <a16:creationId xmlns:a16="http://schemas.microsoft.com/office/drawing/2014/main" id="{BBD785FB-255F-47D4-869B-DA2427044735}"/>
                </a:ext>
              </a:extLst>
            </p:cNvPr>
            <p:cNvSpPr/>
            <p:nvPr/>
          </p:nvSpPr>
          <p:spPr>
            <a:xfrm rot="8716295">
              <a:off x="479184" y="292437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8" name="Forme libre : forme 387">
              <a:extLst>
                <a:ext uri="{FF2B5EF4-FFF2-40B4-BE49-F238E27FC236}">
                  <a16:creationId xmlns:a16="http://schemas.microsoft.com/office/drawing/2014/main" id="{04B3E6F0-D035-4122-A08C-156643A27C96}"/>
                </a:ext>
              </a:extLst>
            </p:cNvPr>
            <p:cNvSpPr/>
            <p:nvPr/>
          </p:nvSpPr>
          <p:spPr>
            <a:xfrm rot="8716295">
              <a:off x="237733" y="277477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9" name="Forme libre : forme 388">
              <a:extLst>
                <a:ext uri="{FF2B5EF4-FFF2-40B4-BE49-F238E27FC236}">
                  <a16:creationId xmlns:a16="http://schemas.microsoft.com/office/drawing/2014/main" id="{09952F73-FF5F-406A-8919-7345F484086E}"/>
                </a:ext>
              </a:extLst>
            </p:cNvPr>
            <p:cNvSpPr/>
            <p:nvPr/>
          </p:nvSpPr>
          <p:spPr>
            <a:xfrm rot="7484129">
              <a:off x="584115" y="311572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0" name="Forme libre : forme 389">
              <a:extLst>
                <a:ext uri="{FF2B5EF4-FFF2-40B4-BE49-F238E27FC236}">
                  <a16:creationId xmlns:a16="http://schemas.microsoft.com/office/drawing/2014/main" id="{09ED8664-259A-4F65-B984-54EB26583D37}"/>
                </a:ext>
              </a:extLst>
            </p:cNvPr>
            <p:cNvSpPr/>
            <p:nvPr/>
          </p:nvSpPr>
          <p:spPr>
            <a:xfrm rot="13089394">
              <a:off x="688935" y="3082257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1" name="Forme libre : forme 390">
              <a:extLst>
                <a:ext uri="{FF2B5EF4-FFF2-40B4-BE49-F238E27FC236}">
                  <a16:creationId xmlns:a16="http://schemas.microsoft.com/office/drawing/2014/main" id="{5005AA8C-EF3F-42BB-886F-BDC096F9E2C6}"/>
                </a:ext>
              </a:extLst>
            </p:cNvPr>
            <p:cNvSpPr/>
            <p:nvPr/>
          </p:nvSpPr>
          <p:spPr>
            <a:xfrm rot="8716295">
              <a:off x="874520" y="2890576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2" name="Forme libre : forme 391">
              <a:extLst>
                <a:ext uri="{FF2B5EF4-FFF2-40B4-BE49-F238E27FC236}">
                  <a16:creationId xmlns:a16="http://schemas.microsoft.com/office/drawing/2014/main" id="{F901BAD2-7BC9-4B9B-9AEE-194DC6FC05A0}"/>
                </a:ext>
              </a:extLst>
            </p:cNvPr>
            <p:cNvSpPr/>
            <p:nvPr/>
          </p:nvSpPr>
          <p:spPr>
            <a:xfrm rot="8716295">
              <a:off x="822715" y="278698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3" name="Forme libre : forme 392">
              <a:extLst>
                <a:ext uri="{FF2B5EF4-FFF2-40B4-BE49-F238E27FC236}">
                  <a16:creationId xmlns:a16="http://schemas.microsoft.com/office/drawing/2014/main" id="{9E3F70D1-21EF-4CD2-8FEB-B48B0201A2F5}"/>
                </a:ext>
              </a:extLst>
            </p:cNvPr>
            <p:cNvSpPr/>
            <p:nvPr/>
          </p:nvSpPr>
          <p:spPr>
            <a:xfrm rot="8716295">
              <a:off x="579469" y="28172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4" name="Forme libre : forme 393">
              <a:extLst>
                <a:ext uri="{FF2B5EF4-FFF2-40B4-BE49-F238E27FC236}">
                  <a16:creationId xmlns:a16="http://schemas.microsoft.com/office/drawing/2014/main" id="{EE0D830B-AE35-40E9-8728-E21F6C35586C}"/>
                </a:ext>
              </a:extLst>
            </p:cNvPr>
            <p:cNvSpPr/>
            <p:nvPr/>
          </p:nvSpPr>
          <p:spPr>
            <a:xfrm rot="8716295">
              <a:off x="756921" y="265796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5" name="Forme libre : forme 394">
              <a:extLst>
                <a:ext uri="{FF2B5EF4-FFF2-40B4-BE49-F238E27FC236}">
                  <a16:creationId xmlns:a16="http://schemas.microsoft.com/office/drawing/2014/main" id="{8FFBDF4B-90C1-4FB0-93F5-3CF9CE875883}"/>
                </a:ext>
              </a:extLst>
            </p:cNvPr>
            <p:cNvSpPr/>
            <p:nvPr/>
          </p:nvSpPr>
          <p:spPr>
            <a:xfrm rot="8716295">
              <a:off x="435308" y="370472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6" name="Forme libre : forme 395">
              <a:extLst>
                <a:ext uri="{FF2B5EF4-FFF2-40B4-BE49-F238E27FC236}">
                  <a16:creationId xmlns:a16="http://schemas.microsoft.com/office/drawing/2014/main" id="{4DB3DB14-6327-4A57-8367-203E6F4E011B}"/>
                </a:ext>
              </a:extLst>
            </p:cNvPr>
            <p:cNvSpPr/>
            <p:nvPr/>
          </p:nvSpPr>
          <p:spPr>
            <a:xfrm rot="8716295">
              <a:off x="524700" y="373396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7" name="Forme libre : forme 396">
              <a:extLst>
                <a:ext uri="{FF2B5EF4-FFF2-40B4-BE49-F238E27FC236}">
                  <a16:creationId xmlns:a16="http://schemas.microsoft.com/office/drawing/2014/main" id="{4355D30E-1756-4406-84C9-F6A8049756B3}"/>
                </a:ext>
              </a:extLst>
            </p:cNvPr>
            <p:cNvSpPr/>
            <p:nvPr/>
          </p:nvSpPr>
          <p:spPr>
            <a:xfrm rot="8716295">
              <a:off x="479850" y="3647689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8" name="Forme libre : forme 397">
              <a:extLst>
                <a:ext uri="{FF2B5EF4-FFF2-40B4-BE49-F238E27FC236}">
                  <a16:creationId xmlns:a16="http://schemas.microsoft.com/office/drawing/2014/main" id="{BA4A47C8-0B69-4C29-80A3-E8882E41243E}"/>
                </a:ext>
              </a:extLst>
            </p:cNvPr>
            <p:cNvSpPr/>
            <p:nvPr/>
          </p:nvSpPr>
          <p:spPr>
            <a:xfrm rot="8716295">
              <a:off x="323074" y="379327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9" name="Forme libre : forme 398">
              <a:extLst>
                <a:ext uri="{FF2B5EF4-FFF2-40B4-BE49-F238E27FC236}">
                  <a16:creationId xmlns:a16="http://schemas.microsoft.com/office/drawing/2014/main" id="{C7193D43-8FAD-40C8-B968-D6B7B8EE8D8F}"/>
                </a:ext>
              </a:extLst>
            </p:cNvPr>
            <p:cNvSpPr/>
            <p:nvPr/>
          </p:nvSpPr>
          <p:spPr>
            <a:xfrm rot="8716295">
              <a:off x="198171" y="358459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0" name="Forme libre : forme 399">
              <a:extLst>
                <a:ext uri="{FF2B5EF4-FFF2-40B4-BE49-F238E27FC236}">
                  <a16:creationId xmlns:a16="http://schemas.microsoft.com/office/drawing/2014/main" id="{F68A3447-0210-45C1-9F87-4B1D4BFE9738}"/>
                </a:ext>
              </a:extLst>
            </p:cNvPr>
            <p:cNvSpPr/>
            <p:nvPr/>
          </p:nvSpPr>
          <p:spPr>
            <a:xfrm rot="8716295">
              <a:off x="186119" y="344581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1" name="Forme libre : forme 400">
              <a:extLst>
                <a:ext uri="{FF2B5EF4-FFF2-40B4-BE49-F238E27FC236}">
                  <a16:creationId xmlns:a16="http://schemas.microsoft.com/office/drawing/2014/main" id="{7AF4A353-4506-4959-86A0-C8690BF59E95}"/>
                </a:ext>
              </a:extLst>
            </p:cNvPr>
            <p:cNvSpPr/>
            <p:nvPr/>
          </p:nvSpPr>
          <p:spPr>
            <a:xfrm rot="8716295">
              <a:off x="413252" y="3834223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2" name="Forme libre : forme 401">
              <a:extLst>
                <a:ext uri="{FF2B5EF4-FFF2-40B4-BE49-F238E27FC236}">
                  <a16:creationId xmlns:a16="http://schemas.microsoft.com/office/drawing/2014/main" id="{598CEB9B-8E04-469F-A771-F927470C3F4E}"/>
                </a:ext>
              </a:extLst>
            </p:cNvPr>
            <p:cNvSpPr/>
            <p:nvPr/>
          </p:nvSpPr>
          <p:spPr>
            <a:xfrm rot="8716295">
              <a:off x="724407" y="345457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3" name="Forme libre : forme 402">
              <a:extLst>
                <a:ext uri="{FF2B5EF4-FFF2-40B4-BE49-F238E27FC236}">
                  <a16:creationId xmlns:a16="http://schemas.microsoft.com/office/drawing/2014/main" id="{AB980D08-B340-4454-A274-3AD08D2A9A3A}"/>
                </a:ext>
              </a:extLst>
            </p:cNvPr>
            <p:cNvSpPr/>
            <p:nvPr/>
          </p:nvSpPr>
          <p:spPr>
            <a:xfrm rot="8716295">
              <a:off x="813799" y="348381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4" name="Forme libre : forme 403">
              <a:extLst>
                <a:ext uri="{FF2B5EF4-FFF2-40B4-BE49-F238E27FC236}">
                  <a16:creationId xmlns:a16="http://schemas.microsoft.com/office/drawing/2014/main" id="{2652DA6E-5978-4E5D-A96D-58C298CBA732}"/>
                </a:ext>
              </a:extLst>
            </p:cNvPr>
            <p:cNvSpPr/>
            <p:nvPr/>
          </p:nvSpPr>
          <p:spPr>
            <a:xfrm rot="8716295">
              <a:off x="612173" y="354311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5" name="Forme libre : forme 404">
              <a:extLst>
                <a:ext uri="{FF2B5EF4-FFF2-40B4-BE49-F238E27FC236}">
                  <a16:creationId xmlns:a16="http://schemas.microsoft.com/office/drawing/2014/main" id="{BCA796D3-CCB0-45BE-BB99-D45334DE88BA}"/>
                </a:ext>
              </a:extLst>
            </p:cNvPr>
            <p:cNvSpPr/>
            <p:nvPr/>
          </p:nvSpPr>
          <p:spPr>
            <a:xfrm rot="8716295">
              <a:off x="487271" y="333444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6" name="Forme libre : forme 405">
              <a:extLst>
                <a:ext uri="{FF2B5EF4-FFF2-40B4-BE49-F238E27FC236}">
                  <a16:creationId xmlns:a16="http://schemas.microsoft.com/office/drawing/2014/main" id="{933101B8-7867-420E-81EE-0503A80C6D03}"/>
                </a:ext>
              </a:extLst>
            </p:cNvPr>
            <p:cNvSpPr/>
            <p:nvPr/>
          </p:nvSpPr>
          <p:spPr>
            <a:xfrm rot="8716295">
              <a:off x="702351" y="3584071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7" name="Forme libre : forme 406">
              <a:extLst>
                <a:ext uri="{FF2B5EF4-FFF2-40B4-BE49-F238E27FC236}">
                  <a16:creationId xmlns:a16="http://schemas.microsoft.com/office/drawing/2014/main" id="{5B641A15-3B25-4DD3-9A6C-0FFDEC9A133C}"/>
                </a:ext>
              </a:extLst>
            </p:cNvPr>
            <p:cNvSpPr/>
            <p:nvPr/>
          </p:nvSpPr>
          <p:spPr>
            <a:xfrm rot="8716295">
              <a:off x="460900" y="343447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8" name="Forme libre : forme 407">
              <a:extLst>
                <a:ext uri="{FF2B5EF4-FFF2-40B4-BE49-F238E27FC236}">
                  <a16:creationId xmlns:a16="http://schemas.microsoft.com/office/drawing/2014/main" id="{E763D240-1B00-445A-81E2-30AFA6DA38B9}"/>
                </a:ext>
              </a:extLst>
            </p:cNvPr>
            <p:cNvSpPr/>
            <p:nvPr/>
          </p:nvSpPr>
          <p:spPr>
            <a:xfrm rot="7484129">
              <a:off x="807282" y="377542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9" name="Forme libre : forme 408">
              <a:extLst>
                <a:ext uri="{FF2B5EF4-FFF2-40B4-BE49-F238E27FC236}">
                  <a16:creationId xmlns:a16="http://schemas.microsoft.com/office/drawing/2014/main" id="{73387E34-81D2-4A73-B141-75343A132394}"/>
                </a:ext>
              </a:extLst>
            </p:cNvPr>
            <p:cNvSpPr/>
            <p:nvPr/>
          </p:nvSpPr>
          <p:spPr>
            <a:xfrm rot="13089394">
              <a:off x="912102" y="374195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0" name="Forme libre : forme 409">
              <a:extLst>
                <a:ext uri="{FF2B5EF4-FFF2-40B4-BE49-F238E27FC236}">
                  <a16:creationId xmlns:a16="http://schemas.microsoft.com/office/drawing/2014/main" id="{CCA2FEEB-CE96-44BC-8FB9-EA169A41218A}"/>
                </a:ext>
              </a:extLst>
            </p:cNvPr>
            <p:cNvSpPr/>
            <p:nvPr/>
          </p:nvSpPr>
          <p:spPr>
            <a:xfrm rot="8716295">
              <a:off x="1097687" y="355027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1" name="Forme libre : forme 410">
              <a:extLst>
                <a:ext uri="{FF2B5EF4-FFF2-40B4-BE49-F238E27FC236}">
                  <a16:creationId xmlns:a16="http://schemas.microsoft.com/office/drawing/2014/main" id="{E1A40A9E-A324-487B-A5D9-A64B315CC0DB}"/>
                </a:ext>
              </a:extLst>
            </p:cNvPr>
            <p:cNvSpPr/>
            <p:nvPr/>
          </p:nvSpPr>
          <p:spPr>
            <a:xfrm rot="8716295">
              <a:off x="1045882" y="344668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2" name="Forme libre : forme 411">
              <a:extLst>
                <a:ext uri="{FF2B5EF4-FFF2-40B4-BE49-F238E27FC236}">
                  <a16:creationId xmlns:a16="http://schemas.microsoft.com/office/drawing/2014/main" id="{A6958C47-9B80-4B26-AABB-8FF29B27BC9F}"/>
                </a:ext>
              </a:extLst>
            </p:cNvPr>
            <p:cNvSpPr/>
            <p:nvPr/>
          </p:nvSpPr>
          <p:spPr>
            <a:xfrm rot="8716295">
              <a:off x="802636" y="347690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3" name="Forme libre : forme 412">
              <a:extLst>
                <a:ext uri="{FF2B5EF4-FFF2-40B4-BE49-F238E27FC236}">
                  <a16:creationId xmlns:a16="http://schemas.microsoft.com/office/drawing/2014/main" id="{8E6D0100-AF69-44B2-A5CF-E8C0130AB7E9}"/>
                </a:ext>
              </a:extLst>
            </p:cNvPr>
            <p:cNvSpPr/>
            <p:nvPr/>
          </p:nvSpPr>
          <p:spPr>
            <a:xfrm rot="8716295">
              <a:off x="980088" y="331766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4" name="Forme libre : forme 413">
              <a:extLst>
                <a:ext uri="{FF2B5EF4-FFF2-40B4-BE49-F238E27FC236}">
                  <a16:creationId xmlns:a16="http://schemas.microsoft.com/office/drawing/2014/main" id="{DDF69E8D-616E-4B06-B6E7-5816DA160ADA}"/>
                </a:ext>
              </a:extLst>
            </p:cNvPr>
            <p:cNvSpPr/>
            <p:nvPr/>
          </p:nvSpPr>
          <p:spPr>
            <a:xfrm rot="8716295">
              <a:off x="653978" y="436312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5" name="Forme libre : forme 414">
              <a:extLst>
                <a:ext uri="{FF2B5EF4-FFF2-40B4-BE49-F238E27FC236}">
                  <a16:creationId xmlns:a16="http://schemas.microsoft.com/office/drawing/2014/main" id="{28F41443-BBE2-4975-B85B-8718620F25A2}"/>
                </a:ext>
              </a:extLst>
            </p:cNvPr>
            <p:cNvSpPr/>
            <p:nvPr/>
          </p:nvSpPr>
          <p:spPr>
            <a:xfrm rot="8716295">
              <a:off x="743370" y="439236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6" name="Forme libre : forme 415">
              <a:extLst>
                <a:ext uri="{FF2B5EF4-FFF2-40B4-BE49-F238E27FC236}">
                  <a16:creationId xmlns:a16="http://schemas.microsoft.com/office/drawing/2014/main" id="{66BEE935-162B-468C-A488-08BB53F0E96A}"/>
                </a:ext>
              </a:extLst>
            </p:cNvPr>
            <p:cNvSpPr/>
            <p:nvPr/>
          </p:nvSpPr>
          <p:spPr>
            <a:xfrm rot="8716295">
              <a:off x="698520" y="430608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7" name="Forme libre : forme 416">
              <a:extLst>
                <a:ext uri="{FF2B5EF4-FFF2-40B4-BE49-F238E27FC236}">
                  <a16:creationId xmlns:a16="http://schemas.microsoft.com/office/drawing/2014/main" id="{C6A86155-7B92-42A4-B02E-66184BF812F2}"/>
                </a:ext>
              </a:extLst>
            </p:cNvPr>
            <p:cNvSpPr/>
            <p:nvPr/>
          </p:nvSpPr>
          <p:spPr>
            <a:xfrm rot="8716295">
              <a:off x="541744" y="445166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8" name="Forme libre : forme 417">
              <a:extLst>
                <a:ext uri="{FF2B5EF4-FFF2-40B4-BE49-F238E27FC236}">
                  <a16:creationId xmlns:a16="http://schemas.microsoft.com/office/drawing/2014/main" id="{46BFD870-BFFF-4A29-A35F-C7406F7430F7}"/>
                </a:ext>
              </a:extLst>
            </p:cNvPr>
            <p:cNvSpPr/>
            <p:nvPr/>
          </p:nvSpPr>
          <p:spPr>
            <a:xfrm rot="8716295">
              <a:off x="416841" y="424299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9" name="Forme libre : forme 418">
              <a:extLst>
                <a:ext uri="{FF2B5EF4-FFF2-40B4-BE49-F238E27FC236}">
                  <a16:creationId xmlns:a16="http://schemas.microsoft.com/office/drawing/2014/main" id="{A679BEA0-D0C5-41E0-ADCB-C970608B53F5}"/>
                </a:ext>
              </a:extLst>
            </p:cNvPr>
            <p:cNvSpPr/>
            <p:nvPr/>
          </p:nvSpPr>
          <p:spPr>
            <a:xfrm rot="8716295">
              <a:off x="404789" y="410421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0" name="Forme libre : forme 419">
              <a:extLst>
                <a:ext uri="{FF2B5EF4-FFF2-40B4-BE49-F238E27FC236}">
                  <a16:creationId xmlns:a16="http://schemas.microsoft.com/office/drawing/2014/main" id="{12FE079E-BD6C-4326-BBC6-E7FED6AEB0DE}"/>
                </a:ext>
              </a:extLst>
            </p:cNvPr>
            <p:cNvSpPr/>
            <p:nvPr/>
          </p:nvSpPr>
          <p:spPr>
            <a:xfrm rot="8716295">
              <a:off x="631922" y="449261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1" name="Forme libre : forme 420">
              <a:extLst>
                <a:ext uri="{FF2B5EF4-FFF2-40B4-BE49-F238E27FC236}">
                  <a16:creationId xmlns:a16="http://schemas.microsoft.com/office/drawing/2014/main" id="{ADCC2EDC-1B28-4142-9C4B-B780064981F4}"/>
                </a:ext>
              </a:extLst>
            </p:cNvPr>
            <p:cNvSpPr/>
            <p:nvPr/>
          </p:nvSpPr>
          <p:spPr>
            <a:xfrm rot="8716295">
              <a:off x="943077" y="411297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2" name="Forme libre : forme 421">
              <a:extLst>
                <a:ext uri="{FF2B5EF4-FFF2-40B4-BE49-F238E27FC236}">
                  <a16:creationId xmlns:a16="http://schemas.microsoft.com/office/drawing/2014/main" id="{85A46BE2-B28A-4B10-A98B-E1A4C9718784}"/>
                </a:ext>
              </a:extLst>
            </p:cNvPr>
            <p:cNvSpPr/>
            <p:nvPr/>
          </p:nvSpPr>
          <p:spPr>
            <a:xfrm rot="8716295">
              <a:off x="1032469" y="414221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3" name="Forme libre : forme 422">
              <a:extLst>
                <a:ext uri="{FF2B5EF4-FFF2-40B4-BE49-F238E27FC236}">
                  <a16:creationId xmlns:a16="http://schemas.microsoft.com/office/drawing/2014/main" id="{B997AC73-4A2E-4369-A0A3-B98AEFAEB0D2}"/>
                </a:ext>
              </a:extLst>
            </p:cNvPr>
            <p:cNvSpPr/>
            <p:nvPr/>
          </p:nvSpPr>
          <p:spPr>
            <a:xfrm rot="8716295">
              <a:off x="830843" y="420151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4" name="Forme libre : forme 423">
              <a:extLst>
                <a:ext uri="{FF2B5EF4-FFF2-40B4-BE49-F238E27FC236}">
                  <a16:creationId xmlns:a16="http://schemas.microsoft.com/office/drawing/2014/main" id="{B0F441EE-58D5-406D-84C8-BF6FB45F3E10}"/>
                </a:ext>
              </a:extLst>
            </p:cNvPr>
            <p:cNvSpPr/>
            <p:nvPr/>
          </p:nvSpPr>
          <p:spPr>
            <a:xfrm rot="8716295">
              <a:off x="705941" y="399284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5" name="Forme libre : forme 424">
              <a:extLst>
                <a:ext uri="{FF2B5EF4-FFF2-40B4-BE49-F238E27FC236}">
                  <a16:creationId xmlns:a16="http://schemas.microsoft.com/office/drawing/2014/main" id="{C2116289-0ECD-487D-B988-2550AD513EBC}"/>
                </a:ext>
              </a:extLst>
            </p:cNvPr>
            <p:cNvSpPr/>
            <p:nvPr/>
          </p:nvSpPr>
          <p:spPr>
            <a:xfrm rot="8716295">
              <a:off x="921021" y="424246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6" name="Forme libre : forme 425">
              <a:extLst>
                <a:ext uri="{FF2B5EF4-FFF2-40B4-BE49-F238E27FC236}">
                  <a16:creationId xmlns:a16="http://schemas.microsoft.com/office/drawing/2014/main" id="{BB2DB617-3C2B-44C3-B229-D2E3AF1F6397}"/>
                </a:ext>
              </a:extLst>
            </p:cNvPr>
            <p:cNvSpPr/>
            <p:nvPr/>
          </p:nvSpPr>
          <p:spPr>
            <a:xfrm rot="8716295">
              <a:off x="679570" y="409286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7" name="Forme libre : forme 426">
              <a:extLst>
                <a:ext uri="{FF2B5EF4-FFF2-40B4-BE49-F238E27FC236}">
                  <a16:creationId xmlns:a16="http://schemas.microsoft.com/office/drawing/2014/main" id="{AB1A41E1-EFF1-4B46-86EA-03A5D3137ECE}"/>
                </a:ext>
              </a:extLst>
            </p:cNvPr>
            <p:cNvSpPr/>
            <p:nvPr/>
          </p:nvSpPr>
          <p:spPr>
            <a:xfrm rot="7484129">
              <a:off x="1025952" y="443381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8" name="Forme libre : forme 427">
              <a:extLst>
                <a:ext uri="{FF2B5EF4-FFF2-40B4-BE49-F238E27FC236}">
                  <a16:creationId xmlns:a16="http://schemas.microsoft.com/office/drawing/2014/main" id="{FC716ACC-6F89-47F8-ABE1-58EDBEC4B6CB}"/>
                </a:ext>
              </a:extLst>
            </p:cNvPr>
            <p:cNvSpPr/>
            <p:nvPr/>
          </p:nvSpPr>
          <p:spPr>
            <a:xfrm rot="13089394">
              <a:off x="1130772" y="440035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9" name="Forme libre : forme 428">
              <a:extLst>
                <a:ext uri="{FF2B5EF4-FFF2-40B4-BE49-F238E27FC236}">
                  <a16:creationId xmlns:a16="http://schemas.microsoft.com/office/drawing/2014/main" id="{FBEB36D4-4104-4CEA-A5D9-270F8D790AEC}"/>
                </a:ext>
              </a:extLst>
            </p:cNvPr>
            <p:cNvSpPr/>
            <p:nvPr/>
          </p:nvSpPr>
          <p:spPr>
            <a:xfrm rot="8716295">
              <a:off x="1316357" y="420867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0" name="Forme libre : forme 429">
              <a:extLst>
                <a:ext uri="{FF2B5EF4-FFF2-40B4-BE49-F238E27FC236}">
                  <a16:creationId xmlns:a16="http://schemas.microsoft.com/office/drawing/2014/main" id="{F7950902-6556-4E4C-B905-0DD59A5961CC}"/>
                </a:ext>
              </a:extLst>
            </p:cNvPr>
            <p:cNvSpPr/>
            <p:nvPr/>
          </p:nvSpPr>
          <p:spPr>
            <a:xfrm rot="8716295">
              <a:off x="1264552" y="410507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1" name="Forme libre : forme 430">
              <a:extLst>
                <a:ext uri="{FF2B5EF4-FFF2-40B4-BE49-F238E27FC236}">
                  <a16:creationId xmlns:a16="http://schemas.microsoft.com/office/drawing/2014/main" id="{4F003DDA-355E-4DAE-A8BB-3FB35F5F4EAE}"/>
                </a:ext>
              </a:extLst>
            </p:cNvPr>
            <p:cNvSpPr/>
            <p:nvPr/>
          </p:nvSpPr>
          <p:spPr>
            <a:xfrm rot="8716295">
              <a:off x="1021306" y="413529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2" name="Forme libre : forme 431">
              <a:extLst>
                <a:ext uri="{FF2B5EF4-FFF2-40B4-BE49-F238E27FC236}">
                  <a16:creationId xmlns:a16="http://schemas.microsoft.com/office/drawing/2014/main" id="{3F6E657C-3858-4D98-91AA-063146CE262A}"/>
                </a:ext>
              </a:extLst>
            </p:cNvPr>
            <p:cNvSpPr/>
            <p:nvPr/>
          </p:nvSpPr>
          <p:spPr>
            <a:xfrm rot="8716295">
              <a:off x="1198758" y="397605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3" name="Forme libre : forme 432">
              <a:extLst>
                <a:ext uri="{FF2B5EF4-FFF2-40B4-BE49-F238E27FC236}">
                  <a16:creationId xmlns:a16="http://schemas.microsoft.com/office/drawing/2014/main" id="{6881A455-FC30-4886-9181-EEE1433B5DFF}"/>
                </a:ext>
              </a:extLst>
            </p:cNvPr>
            <p:cNvSpPr/>
            <p:nvPr/>
          </p:nvSpPr>
          <p:spPr>
            <a:xfrm rot="8716295">
              <a:off x="849927" y="5056695"/>
              <a:ext cx="61059" cy="114384"/>
            </a:xfrm>
            <a:custGeom>
              <a:avLst/>
              <a:gdLst>
                <a:gd name="connsiteX0" fmla="*/ 0 w 61059"/>
                <a:gd name="connsiteY0" fmla="*/ 114384 h 114384"/>
                <a:gd name="connsiteX1" fmla="*/ 0 w 61059"/>
                <a:gd name="connsiteY1" fmla="*/ 0 h 114384"/>
                <a:gd name="connsiteX2" fmla="*/ 61059 w 61059"/>
                <a:gd name="connsiteY2" fmla="*/ 42324 h 114384"/>
                <a:gd name="connsiteX3" fmla="*/ 61059 w 61059"/>
                <a:gd name="connsiteY3" fmla="*/ 90234 h 114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059" h="114384">
                  <a:moveTo>
                    <a:pt x="0" y="114384"/>
                  </a:moveTo>
                  <a:lnTo>
                    <a:pt x="0" y="0"/>
                  </a:lnTo>
                  <a:lnTo>
                    <a:pt x="61059" y="42324"/>
                  </a:lnTo>
                  <a:lnTo>
                    <a:pt x="61059" y="902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4" name="Forme libre : forme 433">
              <a:extLst>
                <a:ext uri="{FF2B5EF4-FFF2-40B4-BE49-F238E27FC236}">
                  <a16:creationId xmlns:a16="http://schemas.microsoft.com/office/drawing/2014/main" id="{CE4C8C85-2581-4CDF-9EB4-9C8C2E2C159C}"/>
                </a:ext>
              </a:extLst>
            </p:cNvPr>
            <p:cNvSpPr/>
            <p:nvPr/>
          </p:nvSpPr>
          <p:spPr>
            <a:xfrm rot="8716295">
              <a:off x="1072880" y="5030752"/>
              <a:ext cx="60148" cy="142578"/>
            </a:xfrm>
            <a:custGeom>
              <a:avLst/>
              <a:gdLst>
                <a:gd name="connsiteX0" fmla="*/ 0 w 60148"/>
                <a:gd name="connsiteY0" fmla="*/ 142578 h 142578"/>
                <a:gd name="connsiteX1" fmla="*/ 0 w 60148"/>
                <a:gd name="connsiteY1" fmla="*/ 0 h 142578"/>
                <a:gd name="connsiteX2" fmla="*/ 60148 w 60148"/>
                <a:gd name="connsiteY2" fmla="*/ 41693 h 142578"/>
                <a:gd name="connsiteX3" fmla="*/ 60148 w 60148"/>
                <a:gd name="connsiteY3" fmla="*/ 101569 h 142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8" h="142578">
                  <a:moveTo>
                    <a:pt x="0" y="142578"/>
                  </a:moveTo>
                  <a:lnTo>
                    <a:pt x="0" y="0"/>
                  </a:lnTo>
                  <a:lnTo>
                    <a:pt x="60148" y="41693"/>
                  </a:lnTo>
                  <a:lnTo>
                    <a:pt x="60148" y="1015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5" name="Forme libre : forme 434">
              <a:extLst>
                <a:ext uri="{FF2B5EF4-FFF2-40B4-BE49-F238E27FC236}">
                  <a16:creationId xmlns:a16="http://schemas.microsoft.com/office/drawing/2014/main" id="{683CB711-80B1-4038-ABB6-5DBDA3CAB0C0}"/>
                </a:ext>
              </a:extLst>
            </p:cNvPr>
            <p:cNvSpPr/>
            <p:nvPr/>
          </p:nvSpPr>
          <p:spPr>
            <a:xfrm rot="8716295">
              <a:off x="921687" y="496578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6" name="Forme libre : forme 435">
              <a:extLst>
                <a:ext uri="{FF2B5EF4-FFF2-40B4-BE49-F238E27FC236}">
                  <a16:creationId xmlns:a16="http://schemas.microsoft.com/office/drawing/2014/main" id="{8B993DFE-EE3E-4E92-8884-9A227F7DEAD1}"/>
                </a:ext>
              </a:extLst>
            </p:cNvPr>
            <p:cNvSpPr/>
            <p:nvPr/>
          </p:nvSpPr>
          <p:spPr>
            <a:xfrm rot="8716295">
              <a:off x="762271" y="5108547"/>
              <a:ext cx="53742" cy="49705"/>
            </a:xfrm>
            <a:custGeom>
              <a:avLst/>
              <a:gdLst>
                <a:gd name="connsiteX0" fmla="*/ 8658 w 53742"/>
                <a:gd name="connsiteY0" fmla="*/ 41503 h 49705"/>
                <a:gd name="connsiteX1" fmla="*/ 0 w 53742"/>
                <a:gd name="connsiteY1" fmla="*/ 20999 h 49705"/>
                <a:gd name="connsiteX2" fmla="*/ 0 w 53742"/>
                <a:gd name="connsiteY2" fmla="*/ 20542 h 49705"/>
                <a:gd name="connsiteX3" fmla="*/ 8658 w 53742"/>
                <a:gd name="connsiteY3" fmla="*/ 38 h 49705"/>
                <a:gd name="connsiteX4" fmla="*/ 8747 w 53742"/>
                <a:gd name="connsiteY4" fmla="*/ 0 h 49705"/>
                <a:gd name="connsiteX5" fmla="*/ 53742 w 53742"/>
                <a:gd name="connsiteY5" fmla="*/ 31189 h 49705"/>
                <a:gd name="connsiteX6" fmla="*/ 49668 w 53742"/>
                <a:gd name="connsiteY6" fmla="*/ 41048 h 49705"/>
                <a:gd name="connsiteX7" fmla="*/ 29162 w 53742"/>
                <a:gd name="connsiteY7" fmla="*/ 49705 h 49705"/>
                <a:gd name="connsiteX8" fmla="*/ 8658 w 53742"/>
                <a:gd name="connsiteY8" fmla="*/ 41503 h 49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2" h="49705">
                  <a:moveTo>
                    <a:pt x="8658" y="41503"/>
                  </a:moveTo>
                  <a:cubicBezTo>
                    <a:pt x="3190" y="36035"/>
                    <a:pt x="0" y="28744"/>
                    <a:pt x="0" y="20999"/>
                  </a:cubicBezTo>
                  <a:lnTo>
                    <a:pt x="0" y="20542"/>
                  </a:lnTo>
                  <a:cubicBezTo>
                    <a:pt x="0" y="12796"/>
                    <a:pt x="3190" y="5506"/>
                    <a:pt x="8658" y="38"/>
                  </a:cubicBezTo>
                  <a:lnTo>
                    <a:pt x="8747" y="0"/>
                  </a:lnTo>
                  <a:lnTo>
                    <a:pt x="53742" y="31189"/>
                  </a:lnTo>
                  <a:lnTo>
                    <a:pt x="49668" y="41048"/>
                  </a:lnTo>
                  <a:cubicBezTo>
                    <a:pt x="44200" y="46516"/>
                    <a:pt x="36909" y="49705"/>
                    <a:pt x="29162" y="49705"/>
                  </a:cubicBezTo>
                  <a:cubicBezTo>
                    <a:pt x="21416" y="49705"/>
                    <a:pt x="14126" y="46971"/>
                    <a:pt x="8658" y="415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7" name="Forme libre : forme 436">
              <a:extLst>
                <a:ext uri="{FF2B5EF4-FFF2-40B4-BE49-F238E27FC236}">
                  <a16:creationId xmlns:a16="http://schemas.microsoft.com/office/drawing/2014/main" id="{8DF09363-6B2B-44FC-9677-ED983FC9E371}"/>
                </a:ext>
              </a:extLst>
            </p:cNvPr>
            <p:cNvSpPr/>
            <p:nvPr/>
          </p:nvSpPr>
          <p:spPr>
            <a:xfrm rot="8716295">
              <a:off x="635497" y="4902607"/>
              <a:ext cx="203847" cy="195874"/>
            </a:xfrm>
            <a:custGeom>
              <a:avLst/>
              <a:gdLst>
                <a:gd name="connsiteX0" fmla="*/ 90709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203847 w 203847"/>
                <a:gd name="connsiteY5" fmla="*/ 0 h 195874"/>
                <a:gd name="connsiteX6" fmla="*/ 203847 w 203847"/>
                <a:gd name="connsiteY6" fmla="*/ 55323 h 195874"/>
                <a:gd name="connsiteX7" fmla="*/ 139055 w 203847"/>
                <a:gd name="connsiteY7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95874">
                  <a:moveTo>
                    <a:pt x="90709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8" name="Forme libre : forme 437">
              <a:extLst>
                <a:ext uri="{FF2B5EF4-FFF2-40B4-BE49-F238E27FC236}">
                  <a16:creationId xmlns:a16="http://schemas.microsoft.com/office/drawing/2014/main" id="{532437B6-4FB3-4387-A6A2-9CA74243FC9D}"/>
                </a:ext>
              </a:extLst>
            </p:cNvPr>
            <p:cNvSpPr/>
            <p:nvPr/>
          </p:nvSpPr>
          <p:spPr>
            <a:xfrm rot="8716295">
              <a:off x="627956" y="476391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9" name="Forme libre : forme 438">
              <a:extLst>
                <a:ext uri="{FF2B5EF4-FFF2-40B4-BE49-F238E27FC236}">
                  <a16:creationId xmlns:a16="http://schemas.microsoft.com/office/drawing/2014/main" id="{DC114E70-E891-401E-9C24-8619044C69DA}"/>
                </a:ext>
              </a:extLst>
            </p:cNvPr>
            <p:cNvSpPr/>
            <p:nvPr/>
          </p:nvSpPr>
          <p:spPr>
            <a:xfrm rot="8716295">
              <a:off x="1166244" y="477267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0" name="Forme libre : forme 439">
              <a:extLst>
                <a:ext uri="{FF2B5EF4-FFF2-40B4-BE49-F238E27FC236}">
                  <a16:creationId xmlns:a16="http://schemas.microsoft.com/office/drawing/2014/main" id="{1B83E310-81D3-4935-AA0D-87EA212E2F8C}"/>
                </a:ext>
              </a:extLst>
            </p:cNvPr>
            <p:cNvSpPr/>
            <p:nvPr/>
          </p:nvSpPr>
          <p:spPr>
            <a:xfrm rot="8716295">
              <a:off x="1255636" y="480191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1" name="Forme libre : forme 440">
              <a:extLst>
                <a:ext uri="{FF2B5EF4-FFF2-40B4-BE49-F238E27FC236}">
                  <a16:creationId xmlns:a16="http://schemas.microsoft.com/office/drawing/2014/main" id="{8A0A400D-6D17-4603-B756-25D5B32DB841}"/>
                </a:ext>
              </a:extLst>
            </p:cNvPr>
            <p:cNvSpPr/>
            <p:nvPr/>
          </p:nvSpPr>
          <p:spPr>
            <a:xfrm rot="8716295">
              <a:off x="1054010" y="486121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2" name="Forme libre : forme 441">
              <a:extLst>
                <a:ext uri="{FF2B5EF4-FFF2-40B4-BE49-F238E27FC236}">
                  <a16:creationId xmlns:a16="http://schemas.microsoft.com/office/drawing/2014/main" id="{A46C9B70-DE37-4964-9FA4-17387E1BA45F}"/>
                </a:ext>
              </a:extLst>
            </p:cNvPr>
            <p:cNvSpPr/>
            <p:nvPr/>
          </p:nvSpPr>
          <p:spPr>
            <a:xfrm rot="8716295">
              <a:off x="929108" y="465254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3" name="Forme libre : forme 442">
              <a:extLst>
                <a:ext uri="{FF2B5EF4-FFF2-40B4-BE49-F238E27FC236}">
                  <a16:creationId xmlns:a16="http://schemas.microsoft.com/office/drawing/2014/main" id="{B9F4170A-6E5B-49E4-8193-4286DEBE2EC9}"/>
                </a:ext>
              </a:extLst>
            </p:cNvPr>
            <p:cNvSpPr/>
            <p:nvPr/>
          </p:nvSpPr>
          <p:spPr>
            <a:xfrm rot="8716295">
              <a:off x="1144188" y="490216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4" name="Forme libre : forme 443">
              <a:extLst>
                <a:ext uri="{FF2B5EF4-FFF2-40B4-BE49-F238E27FC236}">
                  <a16:creationId xmlns:a16="http://schemas.microsoft.com/office/drawing/2014/main" id="{9F81EDCD-5E16-426F-9754-D2A37212C8FE}"/>
                </a:ext>
              </a:extLst>
            </p:cNvPr>
            <p:cNvSpPr/>
            <p:nvPr/>
          </p:nvSpPr>
          <p:spPr>
            <a:xfrm rot="8716295">
              <a:off x="902737" y="475256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5" name="Forme libre : forme 444">
              <a:extLst>
                <a:ext uri="{FF2B5EF4-FFF2-40B4-BE49-F238E27FC236}">
                  <a16:creationId xmlns:a16="http://schemas.microsoft.com/office/drawing/2014/main" id="{179F229D-2224-4467-8649-9DF965D65362}"/>
                </a:ext>
              </a:extLst>
            </p:cNvPr>
            <p:cNvSpPr/>
            <p:nvPr/>
          </p:nvSpPr>
          <p:spPr>
            <a:xfrm rot="7484129">
              <a:off x="1313689" y="5058219"/>
              <a:ext cx="97325" cy="159603"/>
            </a:xfrm>
            <a:custGeom>
              <a:avLst/>
              <a:gdLst>
                <a:gd name="connsiteX0" fmla="*/ 0 w 97325"/>
                <a:gd name="connsiteY0" fmla="*/ 19052 h 159603"/>
                <a:gd name="connsiteX1" fmla="*/ 0 w 97325"/>
                <a:gd name="connsiteY1" fmla="*/ 0 h 159603"/>
                <a:gd name="connsiteX2" fmla="*/ 13209 w 97325"/>
                <a:gd name="connsiteY2" fmla="*/ 19052 h 159603"/>
                <a:gd name="connsiteX3" fmla="*/ 90710 w 97325"/>
                <a:gd name="connsiteY3" fmla="*/ 159603 h 159603"/>
                <a:gd name="connsiteX4" fmla="*/ 47847 w 97325"/>
                <a:gd name="connsiteY4" fmla="*/ 79858 h 159603"/>
                <a:gd name="connsiteX5" fmla="*/ 50421 w 97325"/>
                <a:gd name="connsiteY5" fmla="*/ 72721 h 159603"/>
                <a:gd name="connsiteX6" fmla="*/ 97325 w 97325"/>
                <a:gd name="connsiteY6" fmla="*/ 140370 h 159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7325" h="159603">
                  <a:moveTo>
                    <a:pt x="0" y="19052"/>
                  </a:moveTo>
                  <a:lnTo>
                    <a:pt x="0" y="0"/>
                  </a:lnTo>
                  <a:lnTo>
                    <a:pt x="13209" y="19052"/>
                  </a:lnTo>
                  <a:close/>
                  <a:moveTo>
                    <a:pt x="90710" y="159603"/>
                  </a:moveTo>
                  <a:lnTo>
                    <a:pt x="47847" y="79858"/>
                  </a:lnTo>
                  <a:lnTo>
                    <a:pt x="50421" y="72721"/>
                  </a:lnTo>
                  <a:lnTo>
                    <a:pt x="97325" y="14037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6" name="Forme libre : forme 445">
              <a:extLst>
                <a:ext uri="{FF2B5EF4-FFF2-40B4-BE49-F238E27FC236}">
                  <a16:creationId xmlns:a16="http://schemas.microsoft.com/office/drawing/2014/main" id="{0DC6D2C5-5676-4685-B6C7-B0D9124302BA}"/>
                </a:ext>
              </a:extLst>
            </p:cNvPr>
            <p:cNvSpPr/>
            <p:nvPr/>
          </p:nvSpPr>
          <p:spPr>
            <a:xfrm rot="13089394">
              <a:off x="1435176" y="5064332"/>
              <a:ext cx="213297" cy="83320"/>
            </a:xfrm>
            <a:custGeom>
              <a:avLst/>
              <a:gdLst>
                <a:gd name="connsiteX0" fmla="*/ 213297 w 213297"/>
                <a:gd name="connsiteY0" fmla="*/ 12691 h 83320"/>
                <a:gd name="connsiteX1" fmla="*/ 32310 w 213297"/>
                <a:gd name="connsiteY1" fmla="*/ 83320 h 83320"/>
                <a:gd name="connsiteX2" fmla="*/ 0 w 213297"/>
                <a:gd name="connsiteY2" fmla="*/ 77753 h 83320"/>
                <a:gd name="connsiteX3" fmla="*/ 69926 w 213297"/>
                <a:gd name="connsiteY3" fmla="*/ 22813 h 83320"/>
                <a:gd name="connsiteX4" fmla="*/ 94662 w 213297"/>
                <a:gd name="connsiteY4" fmla="*/ 36418 h 83320"/>
                <a:gd name="connsiteX5" fmla="*/ 144323 w 213297"/>
                <a:gd name="connsiteY5" fmla="*/ 27589 h 83320"/>
                <a:gd name="connsiteX6" fmla="*/ 212193 w 213297"/>
                <a:gd name="connsiteY6" fmla="*/ 0 h 83320"/>
                <a:gd name="connsiteX7" fmla="*/ 213297 w 213297"/>
                <a:gd name="connsiteY7" fmla="*/ 7173 h 83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3297" h="83320">
                  <a:moveTo>
                    <a:pt x="213297" y="12691"/>
                  </a:moveTo>
                  <a:cubicBezTo>
                    <a:pt x="154807" y="62904"/>
                    <a:pt x="78108" y="80561"/>
                    <a:pt x="32310" y="83320"/>
                  </a:cubicBezTo>
                  <a:lnTo>
                    <a:pt x="0" y="77753"/>
                  </a:lnTo>
                  <a:lnTo>
                    <a:pt x="69926" y="22813"/>
                  </a:lnTo>
                  <a:lnTo>
                    <a:pt x="94662" y="36418"/>
                  </a:lnTo>
                  <a:cubicBezTo>
                    <a:pt x="111768" y="35866"/>
                    <a:pt x="128321" y="32555"/>
                    <a:pt x="144323" y="27589"/>
                  </a:cubicBezTo>
                  <a:cubicBezTo>
                    <a:pt x="167498" y="20416"/>
                    <a:pt x="190122" y="11036"/>
                    <a:pt x="212193" y="0"/>
                  </a:cubicBezTo>
                  <a:cubicBezTo>
                    <a:pt x="212745" y="2207"/>
                    <a:pt x="213297" y="4966"/>
                    <a:pt x="213297" y="71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7" name="Forme libre : forme 446">
              <a:extLst>
                <a:ext uri="{FF2B5EF4-FFF2-40B4-BE49-F238E27FC236}">
                  <a16:creationId xmlns:a16="http://schemas.microsoft.com/office/drawing/2014/main" id="{933D0F57-4827-4379-ADFC-4E442A7AA9F5}"/>
                </a:ext>
              </a:extLst>
            </p:cNvPr>
            <p:cNvSpPr/>
            <p:nvPr/>
          </p:nvSpPr>
          <p:spPr>
            <a:xfrm rot="8716295">
              <a:off x="1539524" y="486837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8" name="Forme libre : forme 447">
              <a:extLst>
                <a:ext uri="{FF2B5EF4-FFF2-40B4-BE49-F238E27FC236}">
                  <a16:creationId xmlns:a16="http://schemas.microsoft.com/office/drawing/2014/main" id="{F2B3C0A6-3119-4AF6-9904-83AA6D24B4D4}"/>
                </a:ext>
              </a:extLst>
            </p:cNvPr>
            <p:cNvSpPr/>
            <p:nvPr/>
          </p:nvSpPr>
          <p:spPr>
            <a:xfrm rot="8716295">
              <a:off x="1487719" y="476477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9" name="Forme libre : forme 448">
              <a:extLst>
                <a:ext uri="{FF2B5EF4-FFF2-40B4-BE49-F238E27FC236}">
                  <a16:creationId xmlns:a16="http://schemas.microsoft.com/office/drawing/2014/main" id="{A101E396-638E-4D53-9DD4-DFCEEB801BC5}"/>
                </a:ext>
              </a:extLst>
            </p:cNvPr>
            <p:cNvSpPr/>
            <p:nvPr/>
          </p:nvSpPr>
          <p:spPr>
            <a:xfrm rot="8716295">
              <a:off x="1244473" y="479499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0" name="Forme libre : forme 449">
              <a:extLst>
                <a:ext uri="{FF2B5EF4-FFF2-40B4-BE49-F238E27FC236}">
                  <a16:creationId xmlns:a16="http://schemas.microsoft.com/office/drawing/2014/main" id="{67402E49-E65F-45DA-8073-25DB882ECA1B}"/>
                </a:ext>
              </a:extLst>
            </p:cNvPr>
            <p:cNvSpPr/>
            <p:nvPr/>
          </p:nvSpPr>
          <p:spPr>
            <a:xfrm rot="8716295">
              <a:off x="1421925" y="463575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1" name="Forme libre : forme 450">
              <a:extLst>
                <a:ext uri="{FF2B5EF4-FFF2-40B4-BE49-F238E27FC236}">
                  <a16:creationId xmlns:a16="http://schemas.microsoft.com/office/drawing/2014/main" id="{4AD140D5-5D83-48BA-8FB5-0AE18019D236}"/>
                </a:ext>
              </a:extLst>
            </p:cNvPr>
            <p:cNvSpPr/>
            <p:nvPr/>
          </p:nvSpPr>
          <p:spPr>
            <a:xfrm rot="8716295">
              <a:off x="-3428" y="2405990"/>
              <a:ext cx="142167" cy="208592"/>
            </a:xfrm>
            <a:custGeom>
              <a:avLst/>
              <a:gdLst>
                <a:gd name="connsiteX0" fmla="*/ 81108 w 142167"/>
                <a:gd name="connsiteY0" fmla="*/ 208592 h 208592"/>
                <a:gd name="connsiteX1" fmla="*/ 81108 w 142167"/>
                <a:gd name="connsiteY1" fmla="*/ 69717 h 208592"/>
                <a:gd name="connsiteX2" fmla="*/ 81108 w 142167"/>
                <a:gd name="connsiteY2" fmla="*/ 65615 h 208592"/>
                <a:gd name="connsiteX3" fmla="*/ 60604 w 142167"/>
                <a:gd name="connsiteY3" fmla="*/ 50123 h 208592"/>
                <a:gd name="connsiteX4" fmla="*/ 0 w 142167"/>
                <a:gd name="connsiteY4" fmla="*/ 50123 h 208592"/>
                <a:gd name="connsiteX5" fmla="*/ 0 w 142167"/>
                <a:gd name="connsiteY5" fmla="*/ 0 h 208592"/>
                <a:gd name="connsiteX6" fmla="*/ 85210 w 142167"/>
                <a:gd name="connsiteY6" fmla="*/ 0 h 208592"/>
                <a:gd name="connsiteX7" fmla="*/ 142167 w 142167"/>
                <a:gd name="connsiteY7" fmla="*/ 50123 h 208592"/>
                <a:gd name="connsiteX8" fmla="*/ 142167 w 142167"/>
                <a:gd name="connsiteY8" fmla="*/ 120504 h 20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08592">
                  <a:moveTo>
                    <a:pt x="81108" y="208592"/>
                  </a:moveTo>
                  <a:lnTo>
                    <a:pt x="81108" y="69717"/>
                  </a:lnTo>
                  <a:cubicBezTo>
                    <a:pt x="81108" y="68350"/>
                    <a:pt x="81108" y="66983"/>
                    <a:pt x="81108" y="65615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10" y="0"/>
                  </a:lnTo>
                  <a:cubicBezTo>
                    <a:pt x="122118" y="0"/>
                    <a:pt x="142167" y="15948"/>
                    <a:pt x="142167" y="50123"/>
                  </a:cubicBezTo>
                  <a:lnTo>
                    <a:pt x="142167" y="1205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2" name="Forme libre : forme 451">
              <a:extLst>
                <a:ext uri="{FF2B5EF4-FFF2-40B4-BE49-F238E27FC236}">
                  <a16:creationId xmlns:a16="http://schemas.microsoft.com/office/drawing/2014/main" id="{2BA0993E-9FAB-4AEE-B83B-4CF3D7902044}"/>
                </a:ext>
              </a:extLst>
            </p:cNvPr>
            <p:cNvSpPr/>
            <p:nvPr/>
          </p:nvSpPr>
          <p:spPr>
            <a:xfrm rot="8716295">
              <a:off x="80015" y="241329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3" name="Forme libre : forme 452">
              <a:extLst>
                <a:ext uri="{FF2B5EF4-FFF2-40B4-BE49-F238E27FC236}">
                  <a16:creationId xmlns:a16="http://schemas.microsoft.com/office/drawing/2014/main" id="{CCF3EEA8-B3F9-461B-98BC-F35553672A96}"/>
                </a:ext>
              </a:extLst>
            </p:cNvPr>
            <p:cNvSpPr/>
            <p:nvPr/>
          </p:nvSpPr>
          <p:spPr>
            <a:xfrm rot="8716295">
              <a:off x="35165" y="232701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4" name="Forme libre : forme 453">
              <a:extLst>
                <a:ext uri="{FF2B5EF4-FFF2-40B4-BE49-F238E27FC236}">
                  <a16:creationId xmlns:a16="http://schemas.microsoft.com/office/drawing/2014/main" id="{7409E8F1-7A32-4862-9918-61EE35F1B801}"/>
                </a:ext>
              </a:extLst>
            </p:cNvPr>
            <p:cNvSpPr/>
            <p:nvPr/>
          </p:nvSpPr>
          <p:spPr>
            <a:xfrm rot="8716295">
              <a:off x="-20257" y="2217087"/>
              <a:ext cx="78731" cy="180665"/>
            </a:xfrm>
            <a:custGeom>
              <a:avLst/>
              <a:gdLst>
                <a:gd name="connsiteX0" fmla="*/ 0 w 78731"/>
                <a:gd name="connsiteY0" fmla="*/ 180665 h 180665"/>
                <a:gd name="connsiteX1" fmla="*/ 0 w 78731"/>
                <a:gd name="connsiteY1" fmla="*/ 40596 h 180665"/>
                <a:gd name="connsiteX2" fmla="*/ 78250 w 78731"/>
                <a:gd name="connsiteY2" fmla="*/ 0 h 180665"/>
                <a:gd name="connsiteX3" fmla="*/ 78731 w 78731"/>
                <a:gd name="connsiteY3" fmla="*/ 67083 h 180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731" h="180665">
                  <a:moveTo>
                    <a:pt x="0" y="180665"/>
                  </a:moveTo>
                  <a:lnTo>
                    <a:pt x="0" y="40596"/>
                  </a:lnTo>
                  <a:lnTo>
                    <a:pt x="78250" y="0"/>
                  </a:lnTo>
                  <a:lnTo>
                    <a:pt x="78731" y="670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5" name="Forme libre : forme 454">
              <a:extLst>
                <a:ext uri="{FF2B5EF4-FFF2-40B4-BE49-F238E27FC236}">
                  <a16:creationId xmlns:a16="http://schemas.microsoft.com/office/drawing/2014/main" id="{D1FF2FF9-6448-4826-95B6-0FAE856B0348}"/>
                </a:ext>
              </a:extLst>
            </p:cNvPr>
            <p:cNvSpPr/>
            <p:nvPr/>
          </p:nvSpPr>
          <p:spPr>
            <a:xfrm rot="8716295">
              <a:off x="-15341" y="2575209"/>
              <a:ext cx="103435" cy="152027"/>
            </a:xfrm>
            <a:custGeom>
              <a:avLst/>
              <a:gdLst>
                <a:gd name="connsiteX0" fmla="*/ 43288 w 103435"/>
                <a:gd name="connsiteY0" fmla="*/ 152027 h 152027"/>
                <a:gd name="connsiteX1" fmla="*/ 43288 w 103435"/>
                <a:gd name="connsiteY1" fmla="*/ 16404 h 152027"/>
                <a:gd name="connsiteX2" fmla="*/ 0 w 103435"/>
                <a:gd name="connsiteY2" fmla="*/ 16404 h 152027"/>
                <a:gd name="connsiteX3" fmla="*/ 0 w 103435"/>
                <a:gd name="connsiteY3" fmla="*/ 2278 h 152027"/>
                <a:gd name="connsiteX4" fmla="*/ 103435 w 103435"/>
                <a:gd name="connsiteY4" fmla="*/ 0 h 152027"/>
                <a:gd name="connsiteX5" fmla="*/ 103435 w 103435"/>
                <a:gd name="connsiteY5" fmla="*/ 65255 h 152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152027">
                  <a:moveTo>
                    <a:pt x="43288" y="152027"/>
                  </a:move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652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6" name="Forme libre : forme 455">
              <a:extLst>
                <a:ext uri="{FF2B5EF4-FFF2-40B4-BE49-F238E27FC236}">
                  <a16:creationId xmlns:a16="http://schemas.microsoft.com/office/drawing/2014/main" id="{D4422BA3-5FC8-407B-A01D-69AD0749DDD6}"/>
                </a:ext>
              </a:extLst>
            </p:cNvPr>
            <p:cNvSpPr/>
            <p:nvPr/>
          </p:nvSpPr>
          <p:spPr>
            <a:xfrm rot="8716295">
              <a:off x="279722" y="21339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7" name="Forme libre : forme 456">
              <a:extLst>
                <a:ext uri="{FF2B5EF4-FFF2-40B4-BE49-F238E27FC236}">
                  <a16:creationId xmlns:a16="http://schemas.microsoft.com/office/drawing/2014/main" id="{D39FDC20-561D-4627-BA38-506D7FCF7089}"/>
                </a:ext>
              </a:extLst>
            </p:cNvPr>
            <p:cNvSpPr/>
            <p:nvPr/>
          </p:nvSpPr>
          <p:spPr>
            <a:xfrm rot="8716295">
              <a:off x="369114" y="21631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8" name="Forme libre : forme 457">
              <a:extLst>
                <a:ext uri="{FF2B5EF4-FFF2-40B4-BE49-F238E27FC236}">
                  <a16:creationId xmlns:a16="http://schemas.microsoft.com/office/drawing/2014/main" id="{D14C1499-CA5F-496B-8BEC-69E04E19EA0D}"/>
                </a:ext>
              </a:extLst>
            </p:cNvPr>
            <p:cNvSpPr/>
            <p:nvPr/>
          </p:nvSpPr>
          <p:spPr>
            <a:xfrm rot="8716295">
              <a:off x="167488" y="22224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9" name="Forme libre : forme 458">
              <a:extLst>
                <a:ext uri="{FF2B5EF4-FFF2-40B4-BE49-F238E27FC236}">
                  <a16:creationId xmlns:a16="http://schemas.microsoft.com/office/drawing/2014/main" id="{193174EE-CFBC-438F-B1BB-D3ADA063388E}"/>
                </a:ext>
              </a:extLst>
            </p:cNvPr>
            <p:cNvSpPr/>
            <p:nvPr/>
          </p:nvSpPr>
          <p:spPr>
            <a:xfrm rot="8716295">
              <a:off x="42586" y="20137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0" name="Forme libre : forme 459">
              <a:extLst>
                <a:ext uri="{FF2B5EF4-FFF2-40B4-BE49-F238E27FC236}">
                  <a16:creationId xmlns:a16="http://schemas.microsoft.com/office/drawing/2014/main" id="{7E2244BC-364D-47B4-8B77-1ABDEF1DBB36}"/>
                </a:ext>
              </a:extLst>
            </p:cNvPr>
            <p:cNvSpPr/>
            <p:nvPr/>
          </p:nvSpPr>
          <p:spPr>
            <a:xfrm rot="8716295">
              <a:off x="257666" y="226339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1" name="Forme libre : forme 460">
              <a:extLst>
                <a:ext uri="{FF2B5EF4-FFF2-40B4-BE49-F238E27FC236}">
                  <a16:creationId xmlns:a16="http://schemas.microsoft.com/office/drawing/2014/main" id="{88E8FCAA-5A69-41AD-9BBF-E06402368569}"/>
                </a:ext>
              </a:extLst>
            </p:cNvPr>
            <p:cNvSpPr/>
            <p:nvPr/>
          </p:nvSpPr>
          <p:spPr>
            <a:xfrm rot="8716295">
              <a:off x="16215" y="211379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2" name="Forme libre : forme 461">
              <a:extLst>
                <a:ext uri="{FF2B5EF4-FFF2-40B4-BE49-F238E27FC236}">
                  <a16:creationId xmlns:a16="http://schemas.microsoft.com/office/drawing/2014/main" id="{2C0CE443-0100-47A6-BB72-6A7BBA3B084B}"/>
                </a:ext>
              </a:extLst>
            </p:cNvPr>
            <p:cNvSpPr/>
            <p:nvPr/>
          </p:nvSpPr>
          <p:spPr>
            <a:xfrm rot="7484129">
              <a:off x="362597" y="245474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3" name="Forme libre : forme 462">
              <a:extLst>
                <a:ext uri="{FF2B5EF4-FFF2-40B4-BE49-F238E27FC236}">
                  <a16:creationId xmlns:a16="http://schemas.microsoft.com/office/drawing/2014/main" id="{AE6C94D5-06F7-4134-9BDD-8703B8C3642E}"/>
                </a:ext>
              </a:extLst>
            </p:cNvPr>
            <p:cNvSpPr/>
            <p:nvPr/>
          </p:nvSpPr>
          <p:spPr>
            <a:xfrm rot="13089394">
              <a:off x="467417" y="242128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4" name="Forme libre : forme 463">
              <a:extLst>
                <a:ext uri="{FF2B5EF4-FFF2-40B4-BE49-F238E27FC236}">
                  <a16:creationId xmlns:a16="http://schemas.microsoft.com/office/drawing/2014/main" id="{90543D7D-143B-4ADD-B896-F2C09B360BC1}"/>
                </a:ext>
              </a:extLst>
            </p:cNvPr>
            <p:cNvSpPr/>
            <p:nvPr/>
          </p:nvSpPr>
          <p:spPr>
            <a:xfrm rot="8716295">
              <a:off x="653002" y="222960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5" name="Forme libre : forme 464">
              <a:extLst>
                <a:ext uri="{FF2B5EF4-FFF2-40B4-BE49-F238E27FC236}">
                  <a16:creationId xmlns:a16="http://schemas.microsoft.com/office/drawing/2014/main" id="{0A3F3F5B-79C0-41C7-8F17-B5752CC6E817}"/>
                </a:ext>
              </a:extLst>
            </p:cNvPr>
            <p:cNvSpPr/>
            <p:nvPr/>
          </p:nvSpPr>
          <p:spPr>
            <a:xfrm rot="8716295">
              <a:off x="601197" y="21260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6" name="Forme libre : forme 465">
              <a:extLst>
                <a:ext uri="{FF2B5EF4-FFF2-40B4-BE49-F238E27FC236}">
                  <a16:creationId xmlns:a16="http://schemas.microsoft.com/office/drawing/2014/main" id="{69D0AA2C-A5BB-4B7B-BB03-432400F6F2C5}"/>
                </a:ext>
              </a:extLst>
            </p:cNvPr>
            <p:cNvSpPr/>
            <p:nvPr/>
          </p:nvSpPr>
          <p:spPr>
            <a:xfrm rot="8716295">
              <a:off x="357951" y="21562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7" name="Forme libre : forme 466">
              <a:extLst>
                <a:ext uri="{FF2B5EF4-FFF2-40B4-BE49-F238E27FC236}">
                  <a16:creationId xmlns:a16="http://schemas.microsoft.com/office/drawing/2014/main" id="{82D68D60-D905-4F9D-9F1E-9018FDA856E2}"/>
                </a:ext>
              </a:extLst>
            </p:cNvPr>
            <p:cNvSpPr/>
            <p:nvPr/>
          </p:nvSpPr>
          <p:spPr>
            <a:xfrm rot="8716295">
              <a:off x="535403" y="199698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8" name="Forme libre : forme 467">
              <a:extLst>
                <a:ext uri="{FF2B5EF4-FFF2-40B4-BE49-F238E27FC236}">
                  <a16:creationId xmlns:a16="http://schemas.microsoft.com/office/drawing/2014/main" id="{E3253363-EB34-44DB-883A-13B6DE6143A2}"/>
                </a:ext>
              </a:extLst>
            </p:cNvPr>
            <p:cNvSpPr/>
            <p:nvPr/>
          </p:nvSpPr>
          <p:spPr>
            <a:xfrm rot="8716295">
              <a:off x="-76043" y="1768178"/>
              <a:ext cx="197178" cy="215049"/>
            </a:xfrm>
            <a:custGeom>
              <a:avLst/>
              <a:gdLst>
                <a:gd name="connsiteX0" fmla="*/ 51490 w 197178"/>
                <a:gd name="connsiteY0" fmla="*/ 215049 h 215049"/>
                <a:gd name="connsiteX1" fmla="*/ 51490 w 197178"/>
                <a:gd name="connsiteY1" fmla="*/ 45624 h 215049"/>
                <a:gd name="connsiteX2" fmla="*/ 0 w 197178"/>
                <a:gd name="connsiteY2" fmla="*/ 45624 h 215049"/>
                <a:gd name="connsiteX3" fmla="*/ 0 w 197178"/>
                <a:gd name="connsiteY3" fmla="*/ 1424 h 215049"/>
                <a:gd name="connsiteX4" fmla="*/ 104803 w 197178"/>
                <a:gd name="connsiteY4" fmla="*/ 1425 h 215049"/>
                <a:gd name="connsiteX5" fmla="*/ 104803 w 197178"/>
                <a:gd name="connsiteY5" fmla="*/ 75242 h 215049"/>
                <a:gd name="connsiteX6" fmla="*/ 106169 w 197178"/>
                <a:gd name="connsiteY6" fmla="*/ 75242 h 215049"/>
                <a:gd name="connsiteX7" fmla="*/ 154014 w 197178"/>
                <a:gd name="connsiteY7" fmla="*/ 5981 h 215049"/>
                <a:gd name="connsiteX8" fmla="*/ 185455 w 197178"/>
                <a:gd name="connsiteY8" fmla="*/ 57 h 215049"/>
                <a:gd name="connsiteX9" fmla="*/ 197178 w 197178"/>
                <a:gd name="connsiteY9" fmla="*/ 4872 h 215049"/>
                <a:gd name="connsiteX10" fmla="*/ 170795 w 197178"/>
                <a:gd name="connsiteY10" fmla="*/ 42934 h 215049"/>
                <a:gd name="connsiteX11" fmla="*/ 164950 w 197178"/>
                <a:gd name="connsiteY11" fmla="*/ 40156 h 215049"/>
                <a:gd name="connsiteX12" fmla="*/ 111638 w 197178"/>
                <a:gd name="connsiteY12" fmla="*/ 127643 h 215049"/>
                <a:gd name="connsiteX13" fmla="*/ 111638 w 197178"/>
                <a:gd name="connsiteY13" fmla="*/ 128277 h 21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178" h="215049">
                  <a:moveTo>
                    <a:pt x="51490" y="215049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4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lnTo>
                    <a:pt x="197178" y="4872"/>
                  </a:lnTo>
                  <a:lnTo>
                    <a:pt x="170795" y="42934"/>
                  </a:lnTo>
                  <a:lnTo>
                    <a:pt x="164950" y="40156"/>
                  </a:ln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1282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9" name="Forme libre : forme 468">
              <a:extLst>
                <a:ext uri="{FF2B5EF4-FFF2-40B4-BE49-F238E27FC236}">
                  <a16:creationId xmlns:a16="http://schemas.microsoft.com/office/drawing/2014/main" id="{13CAFE6B-0A3E-486D-8691-4D8C7920E841}"/>
                </a:ext>
              </a:extLst>
            </p:cNvPr>
            <p:cNvSpPr/>
            <p:nvPr/>
          </p:nvSpPr>
          <p:spPr>
            <a:xfrm rot="8716295">
              <a:off x="56555" y="14742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0" name="Forme libre : forme 469">
              <a:extLst>
                <a:ext uri="{FF2B5EF4-FFF2-40B4-BE49-F238E27FC236}">
                  <a16:creationId xmlns:a16="http://schemas.microsoft.com/office/drawing/2014/main" id="{AAF44C60-8776-4956-B0ED-2BB1FFCE9812}"/>
                </a:ext>
              </a:extLst>
            </p:cNvPr>
            <p:cNvSpPr/>
            <p:nvPr/>
          </p:nvSpPr>
          <p:spPr>
            <a:xfrm rot="8716295">
              <a:off x="145947" y="15034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1" name="Forme libre : forme 470">
              <a:extLst>
                <a:ext uri="{FF2B5EF4-FFF2-40B4-BE49-F238E27FC236}">
                  <a16:creationId xmlns:a16="http://schemas.microsoft.com/office/drawing/2014/main" id="{5A27D428-CE77-42C1-B8CA-3A227D5DF411}"/>
                </a:ext>
              </a:extLst>
            </p:cNvPr>
            <p:cNvSpPr/>
            <p:nvPr/>
          </p:nvSpPr>
          <p:spPr>
            <a:xfrm rot="8716295">
              <a:off x="-21870" y="1443501"/>
              <a:ext cx="68614" cy="55323"/>
            </a:xfrm>
            <a:custGeom>
              <a:avLst/>
              <a:gdLst>
                <a:gd name="connsiteX0" fmla="*/ 0 w 68614"/>
                <a:gd name="connsiteY0" fmla="*/ 55323 h 55323"/>
                <a:gd name="connsiteX1" fmla="*/ 0 w 68614"/>
                <a:gd name="connsiteY1" fmla="*/ 0 h 55323"/>
                <a:gd name="connsiteX2" fmla="*/ 68614 w 68614"/>
                <a:gd name="connsiteY2" fmla="*/ 0 h 55323"/>
                <a:gd name="connsiteX3" fmla="*/ 30266 w 68614"/>
                <a:gd name="connsiteY3" fmla="*/ 55323 h 55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614" h="55323">
                  <a:moveTo>
                    <a:pt x="0" y="55323"/>
                  </a:moveTo>
                  <a:lnTo>
                    <a:pt x="0" y="0"/>
                  </a:lnTo>
                  <a:lnTo>
                    <a:pt x="68614" y="0"/>
                  </a:lnTo>
                  <a:lnTo>
                    <a:pt x="30266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2" name="Forme libre : forme 471">
              <a:extLst>
                <a:ext uri="{FF2B5EF4-FFF2-40B4-BE49-F238E27FC236}">
                  <a16:creationId xmlns:a16="http://schemas.microsoft.com/office/drawing/2014/main" id="{DF9A3F72-B629-4ECA-8440-27AD7A8DC93E}"/>
                </a:ext>
              </a:extLst>
            </p:cNvPr>
            <p:cNvSpPr/>
            <p:nvPr/>
          </p:nvSpPr>
          <p:spPr>
            <a:xfrm rot="8716295">
              <a:off x="35817" y="1618109"/>
              <a:ext cx="103435" cy="203897"/>
            </a:xfrm>
            <a:custGeom>
              <a:avLst/>
              <a:gdLst>
                <a:gd name="connsiteX0" fmla="*/ 87556 w 103435"/>
                <a:gd name="connsiteY0" fmla="*/ 203897 h 203897"/>
                <a:gd name="connsiteX1" fmla="*/ 43288 w 103435"/>
                <a:gd name="connsiteY1" fmla="*/ 161305 h 203897"/>
                <a:gd name="connsiteX2" fmla="*/ 43288 w 103435"/>
                <a:gd name="connsiteY2" fmla="*/ 16404 h 203897"/>
                <a:gd name="connsiteX3" fmla="*/ 0 w 103435"/>
                <a:gd name="connsiteY3" fmla="*/ 16404 h 203897"/>
                <a:gd name="connsiteX4" fmla="*/ 0 w 103435"/>
                <a:gd name="connsiteY4" fmla="*/ 2278 h 203897"/>
                <a:gd name="connsiteX5" fmla="*/ 103435 w 103435"/>
                <a:gd name="connsiteY5" fmla="*/ 0 h 203897"/>
                <a:gd name="connsiteX6" fmla="*/ 103435 w 103435"/>
                <a:gd name="connsiteY6" fmla="*/ 180989 h 203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03897">
                  <a:moveTo>
                    <a:pt x="87556" y="203897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1809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3" name="Forme libre : forme 472">
              <a:extLst>
                <a:ext uri="{FF2B5EF4-FFF2-40B4-BE49-F238E27FC236}">
                  <a16:creationId xmlns:a16="http://schemas.microsoft.com/office/drawing/2014/main" id="{8E07B202-4136-4FA5-B44B-66518FBBBBA3}"/>
                </a:ext>
              </a:extLst>
            </p:cNvPr>
            <p:cNvSpPr/>
            <p:nvPr/>
          </p:nvSpPr>
          <p:spPr>
            <a:xfrm rot="7484129">
              <a:off x="139430" y="17950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4" name="Forme libre : forme 473">
              <a:extLst>
                <a:ext uri="{FF2B5EF4-FFF2-40B4-BE49-F238E27FC236}">
                  <a16:creationId xmlns:a16="http://schemas.microsoft.com/office/drawing/2014/main" id="{34554139-A9A2-4D5D-81E5-F4C0EE65204A}"/>
                </a:ext>
              </a:extLst>
            </p:cNvPr>
            <p:cNvSpPr/>
            <p:nvPr/>
          </p:nvSpPr>
          <p:spPr>
            <a:xfrm rot="13089394">
              <a:off x="244250" y="17615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5" name="Forme libre : forme 474">
              <a:extLst>
                <a:ext uri="{FF2B5EF4-FFF2-40B4-BE49-F238E27FC236}">
                  <a16:creationId xmlns:a16="http://schemas.microsoft.com/office/drawing/2014/main" id="{AB2F70AF-AA56-4CAD-ADF4-0833FC541883}"/>
                </a:ext>
              </a:extLst>
            </p:cNvPr>
            <p:cNvSpPr/>
            <p:nvPr/>
          </p:nvSpPr>
          <p:spPr>
            <a:xfrm rot="8716295">
              <a:off x="429835" y="15699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6" name="Forme libre : forme 475">
              <a:extLst>
                <a:ext uri="{FF2B5EF4-FFF2-40B4-BE49-F238E27FC236}">
                  <a16:creationId xmlns:a16="http://schemas.microsoft.com/office/drawing/2014/main" id="{75BBDF35-8448-40A6-BE33-7EEF756160B0}"/>
                </a:ext>
              </a:extLst>
            </p:cNvPr>
            <p:cNvSpPr/>
            <p:nvPr/>
          </p:nvSpPr>
          <p:spPr>
            <a:xfrm rot="8716295">
              <a:off x="378030" y="14663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7" name="Forme libre : forme 476">
              <a:extLst>
                <a:ext uri="{FF2B5EF4-FFF2-40B4-BE49-F238E27FC236}">
                  <a16:creationId xmlns:a16="http://schemas.microsoft.com/office/drawing/2014/main" id="{423A5D9B-DC1A-419A-9AFB-176F76ADBA77}"/>
                </a:ext>
              </a:extLst>
            </p:cNvPr>
            <p:cNvSpPr/>
            <p:nvPr/>
          </p:nvSpPr>
          <p:spPr>
            <a:xfrm rot="8716295">
              <a:off x="134784" y="14965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8" name="Forme libre : forme 477">
              <a:extLst>
                <a:ext uri="{FF2B5EF4-FFF2-40B4-BE49-F238E27FC236}">
                  <a16:creationId xmlns:a16="http://schemas.microsoft.com/office/drawing/2014/main" id="{09A04993-945B-4073-A4A3-49D8F429837D}"/>
                </a:ext>
              </a:extLst>
            </p:cNvPr>
            <p:cNvSpPr/>
            <p:nvPr/>
          </p:nvSpPr>
          <p:spPr>
            <a:xfrm rot="8716295">
              <a:off x="312236" y="13372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9" name="Forme libre : forme 478">
              <a:extLst>
                <a:ext uri="{FF2B5EF4-FFF2-40B4-BE49-F238E27FC236}">
                  <a16:creationId xmlns:a16="http://schemas.microsoft.com/office/drawing/2014/main" id="{F26589E4-0AEF-428F-8239-E3EDEF00E7E4}"/>
                </a:ext>
              </a:extLst>
            </p:cNvPr>
            <p:cNvSpPr/>
            <p:nvPr/>
          </p:nvSpPr>
          <p:spPr>
            <a:xfrm rot="8716295">
              <a:off x="-17798" y="949199"/>
              <a:ext cx="39526" cy="50123"/>
            </a:xfrm>
            <a:custGeom>
              <a:avLst/>
              <a:gdLst>
                <a:gd name="connsiteX0" fmla="*/ 0 w 39526"/>
                <a:gd name="connsiteY0" fmla="*/ 50123 h 50123"/>
                <a:gd name="connsiteX1" fmla="*/ 0 w 39526"/>
                <a:gd name="connsiteY1" fmla="*/ 0 h 50123"/>
                <a:gd name="connsiteX2" fmla="*/ 39526 w 39526"/>
                <a:gd name="connsiteY2" fmla="*/ 0 h 50123"/>
                <a:gd name="connsiteX3" fmla="*/ 4782 w 39526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26" h="50123">
                  <a:moveTo>
                    <a:pt x="0" y="50123"/>
                  </a:moveTo>
                  <a:lnTo>
                    <a:pt x="0" y="0"/>
                  </a:lnTo>
                  <a:lnTo>
                    <a:pt x="39526" y="0"/>
                  </a:lnTo>
                  <a:lnTo>
                    <a:pt x="4782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0" name="Forme libre : forme 479">
              <a:extLst>
                <a:ext uri="{FF2B5EF4-FFF2-40B4-BE49-F238E27FC236}">
                  <a16:creationId xmlns:a16="http://schemas.microsoft.com/office/drawing/2014/main" id="{4C4296DE-55F9-4C4A-97B0-A63397A7DF77}"/>
                </a:ext>
              </a:extLst>
            </p:cNvPr>
            <p:cNvSpPr/>
            <p:nvPr/>
          </p:nvSpPr>
          <p:spPr>
            <a:xfrm rot="8716295">
              <a:off x="-64996" y="834728"/>
              <a:ext cx="249650" cy="254774"/>
            </a:xfrm>
            <a:custGeom>
              <a:avLst/>
              <a:gdLst>
                <a:gd name="connsiteX0" fmla="*/ 51490 w 249650"/>
                <a:gd name="connsiteY0" fmla="*/ 254774 h 254774"/>
                <a:gd name="connsiteX1" fmla="*/ 51490 w 249650"/>
                <a:gd name="connsiteY1" fmla="*/ 45624 h 254774"/>
                <a:gd name="connsiteX2" fmla="*/ 0 w 249650"/>
                <a:gd name="connsiteY2" fmla="*/ 45624 h 254774"/>
                <a:gd name="connsiteX3" fmla="*/ 0 w 249650"/>
                <a:gd name="connsiteY3" fmla="*/ 1425 h 254774"/>
                <a:gd name="connsiteX4" fmla="*/ 104803 w 249650"/>
                <a:gd name="connsiteY4" fmla="*/ 1425 h 254774"/>
                <a:gd name="connsiteX5" fmla="*/ 104803 w 249650"/>
                <a:gd name="connsiteY5" fmla="*/ 75242 h 254774"/>
                <a:gd name="connsiteX6" fmla="*/ 106169 w 249650"/>
                <a:gd name="connsiteY6" fmla="*/ 75242 h 254774"/>
                <a:gd name="connsiteX7" fmla="*/ 154014 w 249650"/>
                <a:gd name="connsiteY7" fmla="*/ 5981 h 254774"/>
                <a:gd name="connsiteX8" fmla="*/ 185455 w 249650"/>
                <a:gd name="connsiteY8" fmla="*/ 57 h 254774"/>
                <a:gd name="connsiteX9" fmla="*/ 240647 w 249650"/>
                <a:gd name="connsiteY9" fmla="*/ 22727 h 254774"/>
                <a:gd name="connsiteX10" fmla="*/ 249650 w 249650"/>
                <a:gd name="connsiteY10" fmla="*/ 52327 h 254774"/>
                <a:gd name="connsiteX11" fmla="*/ 218795 w 249650"/>
                <a:gd name="connsiteY11" fmla="*/ 96841 h 254774"/>
                <a:gd name="connsiteX12" fmla="*/ 198669 w 249650"/>
                <a:gd name="connsiteY12" fmla="*/ 98025 h 254774"/>
                <a:gd name="connsiteX13" fmla="*/ 198669 w 249650"/>
                <a:gd name="connsiteY13" fmla="*/ 81621 h 254774"/>
                <a:gd name="connsiteX14" fmla="*/ 164950 w 249650"/>
                <a:gd name="connsiteY14" fmla="*/ 40156 h 254774"/>
                <a:gd name="connsiteX15" fmla="*/ 111638 w 249650"/>
                <a:gd name="connsiteY15" fmla="*/ 127643 h 254774"/>
                <a:gd name="connsiteX16" fmla="*/ 111638 w 249650"/>
                <a:gd name="connsiteY16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9650" h="254774">
                  <a:moveTo>
                    <a:pt x="51490" y="254774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08922" y="-398"/>
                    <a:pt x="227718" y="7576"/>
                    <a:pt x="240647" y="22727"/>
                  </a:cubicBezTo>
                  <a:lnTo>
                    <a:pt x="249650" y="52327"/>
                  </a:lnTo>
                  <a:lnTo>
                    <a:pt x="218795" y="96841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1" name="Forme libre : forme 480">
              <a:extLst>
                <a:ext uri="{FF2B5EF4-FFF2-40B4-BE49-F238E27FC236}">
                  <a16:creationId xmlns:a16="http://schemas.microsoft.com/office/drawing/2014/main" id="{5A2819AD-E741-4041-ACED-C828CEF01D2A}"/>
                </a:ext>
              </a:extLst>
            </p:cNvPr>
            <p:cNvSpPr/>
            <p:nvPr/>
          </p:nvSpPr>
          <p:spPr>
            <a:xfrm rot="7484129">
              <a:off x="-63314" y="1172497"/>
              <a:ext cx="203848" cy="146395"/>
            </a:xfrm>
            <a:custGeom>
              <a:avLst/>
              <a:gdLst>
                <a:gd name="connsiteX0" fmla="*/ 0 w 203848"/>
                <a:gd name="connsiteY0" fmla="*/ 55323 h 146395"/>
                <a:gd name="connsiteX1" fmla="*/ 0 w 203848"/>
                <a:gd name="connsiteY1" fmla="*/ 0 h 146395"/>
                <a:gd name="connsiteX2" fmla="*/ 203848 w 203848"/>
                <a:gd name="connsiteY2" fmla="*/ 0 h 146395"/>
                <a:gd name="connsiteX3" fmla="*/ 203847 w 203848"/>
                <a:gd name="connsiteY3" fmla="*/ 49512 h 146395"/>
                <a:gd name="connsiteX4" fmla="*/ 195466 w 203848"/>
                <a:gd name="connsiteY4" fmla="*/ 55323 h 146395"/>
                <a:gd name="connsiteX5" fmla="*/ 139055 w 203848"/>
                <a:gd name="connsiteY5" fmla="*/ 55323 h 146395"/>
                <a:gd name="connsiteX6" fmla="*/ 121388 w 203848"/>
                <a:gd name="connsiteY6" fmla="*/ 106685 h 146395"/>
                <a:gd name="connsiteX7" fmla="*/ 64115 w 203848"/>
                <a:gd name="connsiteY7" fmla="*/ 146395 h 146395"/>
                <a:gd name="connsiteX8" fmla="*/ 47847 w 203848"/>
                <a:gd name="connsiteY8" fmla="*/ 116129 h 146395"/>
                <a:gd name="connsiteX9" fmla="*/ 69777 w 203848"/>
                <a:gd name="connsiteY9" fmla="*/ 55323 h 146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848" h="146395">
                  <a:moveTo>
                    <a:pt x="0" y="55323"/>
                  </a:moveTo>
                  <a:lnTo>
                    <a:pt x="0" y="0"/>
                  </a:lnTo>
                  <a:lnTo>
                    <a:pt x="203848" y="0"/>
                  </a:lnTo>
                  <a:lnTo>
                    <a:pt x="203847" y="49512"/>
                  </a:lnTo>
                  <a:lnTo>
                    <a:pt x="195466" y="55323"/>
                  </a:lnTo>
                  <a:lnTo>
                    <a:pt x="139055" y="55323"/>
                  </a:lnTo>
                  <a:lnTo>
                    <a:pt x="121388" y="106685"/>
                  </a:lnTo>
                  <a:lnTo>
                    <a:pt x="64115" y="146395"/>
                  </a:lnTo>
                  <a:lnTo>
                    <a:pt x="47847" y="116129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2" name="Forme libre : forme 481">
              <a:extLst>
                <a:ext uri="{FF2B5EF4-FFF2-40B4-BE49-F238E27FC236}">
                  <a16:creationId xmlns:a16="http://schemas.microsoft.com/office/drawing/2014/main" id="{BF19A776-F6DB-4B5F-AAC3-71AD58912554}"/>
                </a:ext>
              </a:extLst>
            </p:cNvPr>
            <p:cNvSpPr/>
            <p:nvPr/>
          </p:nvSpPr>
          <p:spPr>
            <a:xfrm rot="13089394">
              <a:off x="25311" y="109952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3" name="Forme libre : forme 482">
              <a:extLst>
                <a:ext uri="{FF2B5EF4-FFF2-40B4-BE49-F238E27FC236}">
                  <a16:creationId xmlns:a16="http://schemas.microsoft.com/office/drawing/2014/main" id="{1F910699-3B12-45BE-B517-E2166075FFC7}"/>
                </a:ext>
              </a:extLst>
            </p:cNvPr>
            <p:cNvSpPr/>
            <p:nvPr/>
          </p:nvSpPr>
          <p:spPr>
            <a:xfrm rot="8716295">
              <a:off x="210896" y="90784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4" name="Forme libre : forme 483">
              <a:extLst>
                <a:ext uri="{FF2B5EF4-FFF2-40B4-BE49-F238E27FC236}">
                  <a16:creationId xmlns:a16="http://schemas.microsoft.com/office/drawing/2014/main" id="{A819C2A4-F35F-43E8-9AB1-07103AECD990}"/>
                </a:ext>
              </a:extLst>
            </p:cNvPr>
            <p:cNvSpPr/>
            <p:nvPr/>
          </p:nvSpPr>
          <p:spPr>
            <a:xfrm rot="8716295">
              <a:off x="159091" y="80425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5" name="Forme libre : forme 484">
              <a:extLst>
                <a:ext uri="{FF2B5EF4-FFF2-40B4-BE49-F238E27FC236}">
                  <a16:creationId xmlns:a16="http://schemas.microsoft.com/office/drawing/2014/main" id="{F748C402-EDBB-4B63-B49E-2F4080A37ADD}"/>
                </a:ext>
              </a:extLst>
            </p:cNvPr>
            <p:cNvSpPr/>
            <p:nvPr/>
          </p:nvSpPr>
          <p:spPr>
            <a:xfrm rot="8716295">
              <a:off x="93297" y="67523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6" name="Forme libre : forme 485">
              <a:extLst>
                <a:ext uri="{FF2B5EF4-FFF2-40B4-BE49-F238E27FC236}">
                  <a16:creationId xmlns:a16="http://schemas.microsoft.com/office/drawing/2014/main" id="{73609A63-0E69-42A0-8437-604DF28699ED}"/>
                </a:ext>
              </a:extLst>
            </p:cNvPr>
            <p:cNvSpPr/>
            <p:nvPr/>
          </p:nvSpPr>
          <p:spPr>
            <a:xfrm rot="8716295">
              <a:off x="-7001" y="316701"/>
              <a:ext cx="14001" cy="20198"/>
            </a:xfrm>
            <a:custGeom>
              <a:avLst/>
              <a:gdLst>
                <a:gd name="connsiteX0" fmla="*/ 0 w 14001"/>
                <a:gd name="connsiteY0" fmla="*/ 20198 h 20198"/>
                <a:gd name="connsiteX1" fmla="*/ 0 w 14001"/>
                <a:gd name="connsiteY1" fmla="*/ 0 h 20198"/>
                <a:gd name="connsiteX2" fmla="*/ 14001 w 14001"/>
                <a:gd name="connsiteY2" fmla="*/ 0 h 2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01" h="20198">
                  <a:moveTo>
                    <a:pt x="0" y="20198"/>
                  </a:moveTo>
                  <a:lnTo>
                    <a:pt x="0" y="0"/>
                  </a:lnTo>
                  <a:lnTo>
                    <a:pt x="1400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7" name="Forme libre : forme 486">
              <a:extLst>
                <a:ext uri="{FF2B5EF4-FFF2-40B4-BE49-F238E27FC236}">
                  <a16:creationId xmlns:a16="http://schemas.microsoft.com/office/drawing/2014/main" id="{577CC5F5-15C9-4008-90A0-668217098FFB}"/>
                </a:ext>
              </a:extLst>
            </p:cNvPr>
            <p:cNvSpPr/>
            <p:nvPr/>
          </p:nvSpPr>
          <p:spPr>
            <a:xfrm rot="13089394">
              <a:off x="-81658" y="472652"/>
              <a:ext cx="173631" cy="237684"/>
            </a:xfrm>
            <a:custGeom>
              <a:avLst/>
              <a:gdLst>
                <a:gd name="connsiteX0" fmla="*/ 173631 w 173631"/>
                <a:gd name="connsiteY0" fmla="*/ 220990 h 237684"/>
                <a:gd name="connsiteX1" fmla="*/ 130972 w 173631"/>
                <a:gd name="connsiteY1" fmla="*/ 232382 h 237684"/>
                <a:gd name="connsiteX2" fmla="*/ 91597 w 173631"/>
                <a:gd name="connsiteY2" fmla="*/ 237521 h 237684"/>
                <a:gd name="connsiteX3" fmla="*/ 23727 w 173631"/>
                <a:gd name="connsiteY3" fmla="*/ 209931 h 237684"/>
                <a:gd name="connsiteX4" fmla="*/ 0 w 173631"/>
                <a:gd name="connsiteY4" fmla="*/ 115023 h 237684"/>
                <a:gd name="connsiteX5" fmla="*/ 0 w 173631"/>
                <a:gd name="connsiteY5" fmla="*/ 0 h 237684"/>
                <a:gd name="connsiteX6" fmla="*/ 76176 w 173631"/>
                <a:gd name="connsiteY6" fmla="*/ 96953 h 237684"/>
                <a:gd name="connsiteX7" fmla="*/ 76768 w 173631"/>
                <a:gd name="connsiteY7" fmla="*/ 109023 h 237684"/>
                <a:gd name="connsiteX8" fmla="*/ 87734 w 173631"/>
                <a:gd name="connsiteY8" fmla="*/ 154201 h 237684"/>
                <a:gd name="connsiteX9" fmla="*/ 111117 w 173631"/>
                <a:gd name="connsiteY9" fmla="*/ 181514 h 237684"/>
                <a:gd name="connsiteX10" fmla="*/ 148930 w 173631"/>
                <a:gd name="connsiteY10" fmla="*/ 189552 h 237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3631" h="237684">
                  <a:moveTo>
                    <a:pt x="173631" y="220990"/>
                  </a:moveTo>
                  <a:lnTo>
                    <a:pt x="130972" y="232382"/>
                  </a:lnTo>
                  <a:cubicBezTo>
                    <a:pt x="116428" y="235210"/>
                    <a:pt x="103047" y="236831"/>
                    <a:pt x="91597" y="237521"/>
                  </a:cubicBezTo>
                  <a:cubicBezTo>
                    <a:pt x="66215" y="239176"/>
                    <a:pt x="41384" y="228141"/>
                    <a:pt x="23727" y="209931"/>
                  </a:cubicBezTo>
                  <a:cubicBezTo>
                    <a:pt x="4966" y="191722"/>
                    <a:pt x="0" y="160270"/>
                    <a:pt x="0" y="115023"/>
                  </a:cubicBezTo>
                  <a:lnTo>
                    <a:pt x="0" y="0"/>
                  </a:lnTo>
                  <a:lnTo>
                    <a:pt x="76176" y="96953"/>
                  </a:lnTo>
                  <a:lnTo>
                    <a:pt x="76768" y="109023"/>
                  </a:lnTo>
                  <a:cubicBezTo>
                    <a:pt x="79044" y="124404"/>
                    <a:pt x="82768" y="139578"/>
                    <a:pt x="87734" y="154201"/>
                  </a:cubicBezTo>
                  <a:cubicBezTo>
                    <a:pt x="92149" y="166340"/>
                    <a:pt x="100012" y="175445"/>
                    <a:pt x="111117" y="181514"/>
                  </a:cubicBezTo>
                  <a:lnTo>
                    <a:pt x="148930" y="1895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8" name="Forme libre : forme 487">
              <a:extLst>
                <a:ext uri="{FF2B5EF4-FFF2-40B4-BE49-F238E27FC236}">
                  <a16:creationId xmlns:a16="http://schemas.microsoft.com/office/drawing/2014/main" id="{E64C5A14-C3CC-4B02-838F-FD1CD7D882CB}"/>
                </a:ext>
              </a:extLst>
            </p:cNvPr>
            <p:cNvSpPr/>
            <p:nvPr/>
          </p:nvSpPr>
          <p:spPr>
            <a:xfrm rot="8716295">
              <a:off x="-11774" y="24443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9" name="Forme libre : forme 488">
              <a:extLst>
                <a:ext uri="{FF2B5EF4-FFF2-40B4-BE49-F238E27FC236}">
                  <a16:creationId xmlns:a16="http://schemas.microsoft.com/office/drawing/2014/main" id="{26383EB6-3CD6-4688-B5B2-AB6D6EF7025D}"/>
                </a:ext>
              </a:extLst>
            </p:cNvPr>
            <p:cNvSpPr/>
            <p:nvPr/>
          </p:nvSpPr>
          <p:spPr>
            <a:xfrm rot="8716295">
              <a:off x="-30092" y="143486"/>
              <a:ext cx="77721" cy="97260"/>
            </a:xfrm>
            <a:custGeom>
              <a:avLst/>
              <a:gdLst>
                <a:gd name="connsiteX0" fmla="*/ 15821 w 77721"/>
                <a:gd name="connsiteY0" fmla="*/ 97260 h 97260"/>
                <a:gd name="connsiteX1" fmla="*/ 0 w 77721"/>
                <a:gd name="connsiteY1" fmla="*/ 59790 h 97260"/>
                <a:gd name="connsiteX2" fmla="*/ 0 w 77721"/>
                <a:gd name="connsiteY2" fmla="*/ 58869 h 97260"/>
                <a:gd name="connsiteX3" fmla="*/ 17477 w 77721"/>
                <a:gd name="connsiteY3" fmla="*/ 17477 h 97260"/>
                <a:gd name="connsiteX4" fmla="*/ 58869 w 77721"/>
                <a:gd name="connsiteY4" fmla="*/ 0 h 97260"/>
                <a:gd name="connsiteX5" fmla="*/ 77721 w 77721"/>
                <a:gd name="connsiteY5" fmla="*/ 7960 h 97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721" h="97260">
                  <a:moveTo>
                    <a:pt x="15821" y="97260"/>
                  </a:moveTo>
                  <a:lnTo>
                    <a:pt x="0" y="59790"/>
                  </a:ln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lnTo>
                    <a:pt x="77721" y="79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0" name="Forme libre : forme 489">
              <a:extLst>
                <a:ext uri="{FF2B5EF4-FFF2-40B4-BE49-F238E27FC236}">
                  <a16:creationId xmlns:a16="http://schemas.microsoft.com/office/drawing/2014/main" id="{6537CDA1-2216-4877-A848-A93D1F552A9D}"/>
                </a:ext>
              </a:extLst>
            </p:cNvPr>
            <p:cNvSpPr/>
            <p:nvPr/>
          </p:nvSpPr>
          <p:spPr>
            <a:xfrm rot="8716295">
              <a:off x="-17797" y="3452694"/>
              <a:ext cx="58455" cy="44199"/>
            </a:xfrm>
            <a:custGeom>
              <a:avLst/>
              <a:gdLst>
                <a:gd name="connsiteX0" fmla="*/ 0 w 58455"/>
                <a:gd name="connsiteY0" fmla="*/ 44199 h 44199"/>
                <a:gd name="connsiteX1" fmla="*/ 0 w 58455"/>
                <a:gd name="connsiteY1" fmla="*/ 0 h 44199"/>
                <a:gd name="connsiteX2" fmla="*/ 58455 w 58455"/>
                <a:gd name="connsiteY2" fmla="*/ 0 h 44199"/>
                <a:gd name="connsiteX3" fmla="*/ 27817 w 58455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55" h="44199">
                  <a:moveTo>
                    <a:pt x="0" y="44199"/>
                  </a:moveTo>
                  <a:lnTo>
                    <a:pt x="0" y="0"/>
                  </a:lnTo>
                  <a:lnTo>
                    <a:pt x="58455" y="0"/>
                  </a:lnTo>
                  <a:lnTo>
                    <a:pt x="27817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1" name="Forme libre : forme 490">
              <a:extLst>
                <a:ext uri="{FF2B5EF4-FFF2-40B4-BE49-F238E27FC236}">
                  <a16:creationId xmlns:a16="http://schemas.microsoft.com/office/drawing/2014/main" id="{215CC3B1-8089-4D43-97B0-1819B833BE19}"/>
                </a:ext>
              </a:extLst>
            </p:cNvPr>
            <p:cNvSpPr/>
            <p:nvPr/>
          </p:nvSpPr>
          <p:spPr>
            <a:xfrm rot="13089394">
              <a:off x="-91485" y="3601812"/>
              <a:ext cx="206527" cy="292654"/>
            </a:xfrm>
            <a:custGeom>
              <a:avLst/>
              <a:gdLst>
                <a:gd name="connsiteX0" fmla="*/ 206527 w 206527"/>
                <a:gd name="connsiteY0" fmla="*/ 258693 h 292654"/>
                <a:gd name="connsiteX1" fmla="*/ 177331 w 206527"/>
                <a:gd name="connsiteY1" fmla="*/ 274971 h 292654"/>
                <a:gd name="connsiteX2" fmla="*/ 91597 w 206527"/>
                <a:gd name="connsiteY2" fmla="*/ 292491 h 292654"/>
                <a:gd name="connsiteX3" fmla="*/ 23727 w 206527"/>
                <a:gd name="connsiteY3" fmla="*/ 264901 h 292654"/>
                <a:gd name="connsiteX4" fmla="*/ 0 w 206527"/>
                <a:gd name="connsiteY4" fmla="*/ 169993 h 292654"/>
                <a:gd name="connsiteX5" fmla="*/ 0 w 206527"/>
                <a:gd name="connsiteY5" fmla="*/ 1698 h 292654"/>
                <a:gd name="connsiteX6" fmla="*/ 3273 w 206527"/>
                <a:gd name="connsiteY6" fmla="*/ 0 h 292654"/>
                <a:gd name="connsiteX7" fmla="*/ 74297 w 206527"/>
                <a:gd name="connsiteY7" fmla="*/ 90396 h 292654"/>
                <a:gd name="connsiteX8" fmla="*/ 74492 w 206527"/>
                <a:gd name="connsiteY8" fmla="*/ 117574 h 292654"/>
                <a:gd name="connsiteX9" fmla="*/ 87734 w 206527"/>
                <a:gd name="connsiteY9" fmla="*/ 209171 h 292654"/>
                <a:gd name="connsiteX10" fmla="*/ 153949 w 206527"/>
                <a:gd name="connsiteY10" fmla="*/ 245589 h 292654"/>
                <a:gd name="connsiteX11" fmla="*/ 191049 w 206527"/>
                <a:gd name="connsiteY11" fmla="*/ 238993 h 292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527" h="292654">
                  <a:moveTo>
                    <a:pt x="206527" y="258693"/>
                  </a:moveTo>
                  <a:lnTo>
                    <a:pt x="177331" y="274971"/>
                  </a:lnTo>
                  <a:cubicBezTo>
                    <a:pt x="145121" y="286007"/>
                    <a:pt x="114496" y="291111"/>
                    <a:pt x="91597" y="292491"/>
                  </a:cubicBezTo>
                  <a:cubicBezTo>
                    <a:pt x="66215" y="294146"/>
                    <a:pt x="41385" y="283111"/>
                    <a:pt x="23727" y="264901"/>
                  </a:cubicBezTo>
                  <a:cubicBezTo>
                    <a:pt x="4966" y="246692"/>
                    <a:pt x="0" y="215240"/>
                    <a:pt x="0" y="169993"/>
                  </a:cubicBezTo>
                  <a:lnTo>
                    <a:pt x="0" y="1698"/>
                  </a:lnTo>
                  <a:lnTo>
                    <a:pt x="3273" y="0"/>
                  </a:lnTo>
                  <a:lnTo>
                    <a:pt x="74297" y="90396"/>
                  </a:lnTo>
                  <a:lnTo>
                    <a:pt x="74492" y="117574"/>
                  </a:lnTo>
                  <a:cubicBezTo>
                    <a:pt x="72836" y="148474"/>
                    <a:pt x="77802" y="179926"/>
                    <a:pt x="87734" y="209171"/>
                  </a:cubicBezTo>
                  <a:cubicBezTo>
                    <a:pt x="96564" y="233450"/>
                    <a:pt x="119187" y="245589"/>
                    <a:pt x="153949" y="245589"/>
                  </a:cubicBezTo>
                  <a:lnTo>
                    <a:pt x="191049" y="2389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2" name="Forme libre : forme 491">
              <a:extLst>
                <a:ext uri="{FF2B5EF4-FFF2-40B4-BE49-F238E27FC236}">
                  <a16:creationId xmlns:a16="http://schemas.microsoft.com/office/drawing/2014/main" id="{234A14C5-DCBF-4B3D-8912-C2966FB8FAA0}"/>
                </a:ext>
              </a:extLst>
            </p:cNvPr>
            <p:cNvSpPr/>
            <p:nvPr/>
          </p:nvSpPr>
          <p:spPr>
            <a:xfrm rot="8716295">
              <a:off x="24761" y="33896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3" name="Forme libre : forme 492">
              <a:extLst>
                <a:ext uri="{FF2B5EF4-FFF2-40B4-BE49-F238E27FC236}">
                  <a16:creationId xmlns:a16="http://schemas.microsoft.com/office/drawing/2014/main" id="{A8F20E36-ED7E-4DCB-8818-49A4A7E98BE7}"/>
                </a:ext>
              </a:extLst>
            </p:cNvPr>
            <p:cNvSpPr/>
            <p:nvPr/>
          </p:nvSpPr>
          <p:spPr>
            <a:xfrm rot="8716295">
              <a:off x="-24047" y="3281741"/>
              <a:ext cx="106042" cy="113733"/>
            </a:xfrm>
            <a:custGeom>
              <a:avLst/>
              <a:gdLst>
                <a:gd name="connsiteX0" fmla="*/ 17477 w 106042"/>
                <a:gd name="connsiteY0" fmla="*/ 101182 h 113733"/>
                <a:gd name="connsiteX1" fmla="*/ 0 w 106042"/>
                <a:gd name="connsiteY1" fmla="*/ 59790 h 113733"/>
                <a:gd name="connsiteX2" fmla="*/ 0 w 106042"/>
                <a:gd name="connsiteY2" fmla="*/ 58869 h 113733"/>
                <a:gd name="connsiteX3" fmla="*/ 17477 w 106042"/>
                <a:gd name="connsiteY3" fmla="*/ 17477 h 113733"/>
                <a:gd name="connsiteX4" fmla="*/ 58869 w 106042"/>
                <a:gd name="connsiteY4" fmla="*/ 0 h 113733"/>
                <a:gd name="connsiteX5" fmla="*/ 100262 w 106042"/>
                <a:gd name="connsiteY5" fmla="*/ 17477 h 113733"/>
                <a:gd name="connsiteX6" fmla="*/ 106042 w 106042"/>
                <a:gd name="connsiteY6" fmla="*/ 31234 h 113733"/>
                <a:gd name="connsiteX7" fmla="*/ 48856 w 106042"/>
                <a:gd name="connsiteY7" fmla="*/ 113733 h 11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042" h="113733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cubicBezTo>
                    <a:pt x="74507" y="0"/>
                    <a:pt x="89224" y="6439"/>
                    <a:pt x="100262" y="17477"/>
                  </a:cubicBezTo>
                  <a:lnTo>
                    <a:pt x="106042" y="31234"/>
                  </a:lnTo>
                  <a:lnTo>
                    <a:pt x="48856" y="1137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4" name="Forme libre : forme 493">
              <a:extLst>
                <a:ext uri="{FF2B5EF4-FFF2-40B4-BE49-F238E27FC236}">
                  <a16:creationId xmlns:a16="http://schemas.microsoft.com/office/drawing/2014/main" id="{521798C9-8778-477C-89ED-433CF02349E9}"/>
                </a:ext>
              </a:extLst>
            </p:cNvPr>
            <p:cNvSpPr/>
            <p:nvPr/>
          </p:nvSpPr>
          <p:spPr>
            <a:xfrm rot="8716295">
              <a:off x="-21924" y="3179872"/>
              <a:ext cx="45776" cy="62656"/>
            </a:xfrm>
            <a:custGeom>
              <a:avLst/>
              <a:gdLst>
                <a:gd name="connsiteX0" fmla="*/ 2345 w 45776"/>
                <a:gd name="connsiteY0" fmla="*/ 62656 h 62656"/>
                <a:gd name="connsiteX1" fmla="*/ 0 w 45776"/>
                <a:gd name="connsiteY1" fmla="*/ 57104 h 62656"/>
                <a:gd name="connsiteX2" fmla="*/ 0 w 45776"/>
                <a:gd name="connsiteY2" fmla="*/ 56183 h 62656"/>
                <a:gd name="connsiteX3" fmla="*/ 17477 w 45776"/>
                <a:gd name="connsiteY3" fmla="*/ 14791 h 62656"/>
                <a:gd name="connsiteX4" fmla="*/ 36449 w 45776"/>
                <a:gd name="connsiteY4" fmla="*/ 1913 h 62656"/>
                <a:gd name="connsiteX5" fmla="*/ 45776 w 45776"/>
                <a:gd name="connsiteY5" fmla="*/ 0 h 62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776" h="62656">
                  <a:moveTo>
                    <a:pt x="2345" y="62656"/>
                  </a:moveTo>
                  <a:lnTo>
                    <a:pt x="0" y="57104"/>
                  </a:lnTo>
                  <a:lnTo>
                    <a:pt x="0" y="56183"/>
                  </a:lnTo>
                  <a:cubicBezTo>
                    <a:pt x="0" y="40547"/>
                    <a:pt x="6439" y="25829"/>
                    <a:pt x="17477" y="14791"/>
                  </a:cubicBezTo>
                  <a:cubicBezTo>
                    <a:pt x="22996" y="9272"/>
                    <a:pt x="29435" y="4903"/>
                    <a:pt x="36449" y="1913"/>
                  </a:cubicBezTo>
                  <a:lnTo>
                    <a:pt x="4577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5" name="Forme libre : forme 494">
              <a:extLst>
                <a:ext uri="{FF2B5EF4-FFF2-40B4-BE49-F238E27FC236}">
                  <a16:creationId xmlns:a16="http://schemas.microsoft.com/office/drawing/2014/main" id="{BB8A2107-7C61-4B85-8EFA-ABA59720E5DB}"/>
                </a:ext>
              </a:extLst>
            </p:cNvPr>
            <p:cNvSpPr/>
            <p:nvPr/>
          </p:nvSpPr>
          <p:spPr>
            <a:xfrm rot="8716295">
              <a:off x="592036" y="5123131"/>
              <a:ext cx="56900" cy="40151"/>
            </a:xfrm>
            <a:custGeom>
              <a:avLst/>
              <a:gdLst>
                <a:gd name="connsiteX0" fmla="*/ 13826 w 56900"/>
                <a:gd name="connsiteY0" fmla="*/ 23593 h 40151"/>
                <a:gd name="connsiteX1" fmla="*/ 948 w 56900"/>
                <a:gd name="connsiteY1" fmla="*/ 4622 h 40151"/>
                <a:gd name="connsiteX2" fmla="*/ 0 w 56900"/>
                <a:gd name="connsiteY2" fmla="*/ 0 h 40151"/>
                <a:gd name="connsiteX3" fmla="*/ 56900 w 56900"/>
                <a:gd name="connsiteY3" fmla="*/ 39441 h 40151"/>
                <a:gd name="connsiteX4" fmla="*/ 55218 w 56900"/>
                <a:gd name="connsiteY4" fmla="*/ 40151 h 40151"/>
                <a:gd name="connsiteX5" fmla="*/ 13826 w 56900"/>
                <a:gd name="connsiteY5" fmla="*/ 23593 h 40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900" h="40151">
                  <a:moveTo>
                    <a:pt x="13826" y="23593"/>
                  </a:moveTo>
                  <a:cubicBezTo>
                    <a:pt x="8307" y="18074"/>
                    <a:pt x="3938" y="11636"/>
                    <a:pt x="948" y="4622"/>
                  </a:cubicBezTo>
                  <a:lnTo>
                    <a:pt x="0" y="0"/>
                  </a:lnTo>
                  <a:lnTo>
                    <a:pt x="56900" y="39441"/>
                  </a:lnTo>
                  <a:lnTo>
                    <a:pt x="55218" y="40151"/>
                  </a:lnTo>
                  <a:cubicBezTo>
                    <a:pt x="39581" y="40151"/>
                    <a:pt x="24864" y="34631"/>
                    <a:pt x="13826" y="2359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6" name="Forme libre : forme 495">
              <a:extLst>
                <a:ext uri="{FF2B5EF4-FFF2-40B4-BE49-F238E27FC236}">
                  <a16:creationId xmlns:a16="http://schemas.microsoft.com/office/drawing/2014/main" id="{7E303E9D-76C1-4789-8C9D-5012551E179C}"/>
                </a:ext>
              </a:extLst>
            </p:cNvPr>
            <p:cNvSpPr/>
            <p:nvPr/>
          </p:nvSpPr>
          <p:spPr>
            <a:xfrm rot="8716295">
              <a:off x="-21324" y="4100649"/>
              <a:ext cx="79113" cy="50123"/>
            </a:xfrm>
            <a:custGeom>
              <a:avLst/>
              <a:gdLst>
                <a:gd name="connsiteX0" fmla="*/ 0 w 79113"/>
                <a:gd name="connsiteY0" fmla="*/ 50123 h 50123"/>
                <a:gd name="connsiteX1" fmla="*/ 0 w 79113"/>
                <a:gd name="connsiteY1" fmla="*/ 0 h 50123"/>
                <a:gd name="connsiteX2" fmla="*/ 79113 w 79113"/>
                <a:gd name="connsiteY2" fmla="*/ 0 h 50123"/>
                <a:gd name="connsiteX3" fmla="*/ 44369 w 79113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113" h="50123">
                  <a:moveTo>
                    <a:pt x="0" y="50123"/>
                  </a:moveTo>
                  <a:lnTo>
                    <a:pt x="0" y="0"/>
                  </a:lnTo>
                  <a:lnTo>
                    <a:pt x="79113" y="0"/>
                  </a:lnTo>
                  <a:lnTo>
                    <a:pt x="44369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7" name="Forme libre : forme 496">
              <a:extLst>
                <a:ext uri="{FF2B5EF4-FFF2-40B4-BE49-F238E27FC236}">
                  <a16:creationId xmlns:a16="http://schemas.microsoft.com/office/drawing/2014/main" id="{02FDD4B8-F673-41A9-915D-2FF1DD6CBE6F}"/>
                </a:ext>
              </a:extLst>
            </p:cNvPr>
            <p:cNvSpPr/>
            <p:nvPr/>
          </p:nvSpPr>
          <p:spPr>
            <a:xfrm rot="8716295">
              <a:off x="-40457" y="398156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8" name="Forme libre : forme 497">
              <a:extLst>
                <a:ext uri="{FF2B5EF4-FFF2-40B4-BE49-F238E27FC236}">
                  <a16:creationId xmlns:a16="http://schemas.microsoft.com/office/drawing/2014/main" id="{DBB3B685-0513-450E-A467-E28F77542517}"/>
                </a:ext>
              </a:extLst>
            </p:cNvPr>
            <p:cNvSpPr/>
            <p:nvPr/>
          </p:nvSpPr>
          <p:spPr>
            <a:xfrm rot="7484129">
              <a:off x="-46974" y="427316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9" name="Forme libre : forme 498">
              <a:extLst>
                <a:ext uri="{FF2B5EF4-FFF2-40B4-BE49-F238E27FC236}">
                  <a16:creationId xmlns:a16="http://schemas.microsoft.com/office/drawing/2014/main" id="{C5419776-A8A1-4E3C-9093-D945DA9FAC68}"/>
                </a:ext>
              </a:extLst>
            </p:cNvPr>
            <p:cNvSpPr/>
            <p:nvPr/>
          </p:nvSpPr>
          <p:spPr>
            <a:xfrm rot="13089394">
              <a:off x="57846" y="423970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0" name="Forme libre : forme 499">
              <a:extLst>
                <a:ext uri="{FF2B5EF4-FFF2-40B4-BE49-F238E27FC236}">
                  <a16:creationId xmlns:a16="http://schemas.microsoft.com/office/drawing/2014/main" id="{F97D67FD-E4E6-48C4-AEFE-555D34A356DE}"/>
                </a:ext>
              </a:extLst>
            </p:cNvPr>
            <p:cNvSpPr/>
            <p:nvPr/>
          </p:nvSpPr>
          <p:spPr>
            <a:xfrm rot="8716295">
              <a:off x="243431" y="404801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1" name="Forme libre : forme 500">
              <a:extLst>
                <a:ext uri="{FF2B5EF4-FFF2-40B4-BE49-F238E27FC236}">
                  <a16:creationId xmlns:a16="http://schemas.microsoft.com/office/drawing/2014/main" id="{BCE94871-8BA1-45A9-8930-C2F42EF9B5F3}"/>
                </a:ext>
              </a:extLst>
            </p:cNvPr>
            <p:cNvSpPr/>
            <p:nvPr/>
          </p:nvSpPr>
          <p:spPr>
            <a:xfrm rot="8716295">
              <a:off x="191626" y="39444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2" name="Forme libre : forme 501">
              <a:extLst>
                <a:ext uri="{FF2B5EF4-FFF2-40B4-BE49-F238E27FC236}">
                  <a16:creationId xmlns:a16="http://schemas.microsoft.com/office/drawing/2014/main" id="{04CBAE1D-449E-47DE-9709-A831A36DA439}"/>
                </a:ext>
              </a:extLst>
            </p:cNvPr>
            <p:cNvSpPr/>
            <p:nvPr/>
          </p:nvSpPr>
          <p:spPr>
            <a:xfrm rot="8716295">
              <a:off x="125832" y="381540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3" name="Forme libre : forme 502">
              <a:extLst>
                <a:ext uri="{FF2B5EF4-FFF2-40B4-BE49-F238E27FC236}">
                  <a16:creationId xmlns:a16="http://schemas.microsoft.com/office/drawing/2014/main" id="{2F83938F-B075-4593-8D11-BBF0A979A7C6}"/>
                </a:ext>
              </a:extLst>
            </p:cNvPr>
            <p:cNvSpPr/>
            <p:nvPr/>
          </p:nvSpPr>
          <p:spPr>
            <a:xfrm rot="8716295">
              <a:off x="-73048" y="4876828"/>
              <a:ext cx="221382" cy="253349"/>
            </a:xfrm>
            <a:custGeom>
              <a:avLst/>
              <a:gdLst>
                <a:gd name="connsiteX0" fmla="*/ 51490 w 221382"/>
                <a:gd name="connsiteY0" fmla="*/ 253349 h 253349"/>
                <a:gd name="connsiteX1" fmla="*/ 51490 w 221382"/>
                <a:gd name="connsiteY1" fmla="*/ 44199 h 253349"/>
                <a:gd name="connsiteX2" fmla="*/ 0 w 221382"/>
                <a:gd name="connsiteY2" fmla="*/ 44199 h 253349"/>
                <a:gd name="connsiteX3" fmla="*/ 0 w 221382"/>
                <a:gd name="connsiteY3" fmla="*/ 0 h 253349"/>
                <a:gd name="connsiteX4" fmla="*/ 104803 w 221382"/>
                <a:gd name="connsiteY4" fmla="*/ 0 h 253349"/>
                <a:gd name="connsiteX5" fmla="*/ 104802 w 221382"/>
                <a:gd name="connsiteY5" fmla="*/ 73817 h 253349"/>
                <a:gd name="connsiteX6" fmla="*/ 106169 w 221382"/>
                <a:gd name="connsiteY6" fmla="*/ 73817 h 253349"/>
                <a:gd name="connsiteX7" fmla="*/ 154014 w 221382"/>
                <a:gd name="connsiteY7" fmla="*/ 4556 h 253349"/>
                <a:gd name="connsiteX8" fmla="*/ 174650 w 221382"/>
                <a:gd name="connsiteY8" fmla="*/ 668 h 253349"/>
                <a:gd name="connsiteX9" fmla="*/ 214075 w 221382"/>
                <a:gd name="connsiteY9" fmla="*/ 27996 h 253349"/>
                <a:gd name="connsiteX10" fmla="*/ 221382 w 221382"/>
                <a:gd name="connsiteY10" fmla="*/ 33060 h 253349"/>
                <a:gd name="connsiteX11" fmla="*/ 195540 w 221382"/>
                <a:gd name="connsiteY11" fmla="*/ 70341 h 253349"/>
                <a:gd name="connsiteX12" fmla="*/ 189157 w 221382"/>
                <a:gd name="connsiteY12" fmla="*/ 50236 h 253349"/>
                <a:gd name="connsiteX13" fmla="*/ 164950 w 221382"/>
                <a:gd name="connsiteY13" fmla="*/ 38731 h 253349"/>
                <a:gd name="connsiteX14" fmla="*/ 111638 w 221382"/>
                <a:gd name="connsiteY14" fmla="*/ 126218 h 253349"/>
                <a:gd name="connsiteX15" fmla="*/ 111638 w 221382"/>
                <a:gd name="connsiteY15" fmla="*/ 191383 h 253349"/>
                <a:gd name="connsiteX16" fmla="*/ 84096 w 221382"/>
                <a:gd name="connsiteY16" fmla="*/ 231117 h 253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1382" h="253349">
                  <a:moveTo>
                    <a:pt x="51490" y="253349"/>
                  </a:moveTo>
                  <a:lnTo>
                    <a:pt x="51490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104803" y="0"/>
                  </a:lnTo>
                  <a:lnTo>
                    <a:pt x="104802" y="73817"/>
                  </a:lnTo>
                  <a:lnTo>
                    <a:pt x="106169" y="73817"/>
                  </a:lnTo>
                  <a:cubicBezTo>
                    <a:pt x="120751" y="30529"/>
                    <a:pt x="132142" y="13670"/>
                    <a:pt x="154014" y="4556"/>
                  </a:cubicBezTo>
                  <a:lnTo>
                    <a:pt x="174650" y="668"/>
                  </a:lnTo>
                  <a:lnTo>
                    <a:pt x="214075" y="27996"/>
                  </a:lnTo>
                  <a:lnTo>
                    <a:pt x="221382" y="33060"/>
                  </a:lnTo>
                  <a:lnTo>
                    <a:pt x="195540" y="70341"/>
                  </a:lnTo>
                  <a:lnTo>
                    <a:pt x="189157" y="50236"/>
                  </a:lnTo>
                  <a:cubicBezTo>
                    <a:pt x="183177" y="42946"/>
                    <a:pt x="174747" y="38731"/>
                    <a:pt x="164950" y="38731"/>
                  </a:cubicBezTo>
                  <a:cubicBezTo>
                    <a:pt x="135788" y="38731"/>
                    <a:pt x="111638" y="77463"/>
                    <a:pt x="111638" y="126218"/>
                  </a:cubicBezTo>
                  <a:lnTo>
                    <a:pt x="111638" y="191383"/>
                  </a:lnTo>
                  <a:lnTo>
                    <a:pt x="84096" y="2311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4" name="Forme libre : forme 503">
              <a:extLst>
                <a:ext uri="{FF2B5EF4-FFF2-40B4-BE49-F238E27FC236}">
                  <a16:creationId xmlns:a16="http://schemas.microsoft.com/office/drawing/2014/main" id="{BCB8F26A-8D9E-4DAA-BBEC-C72C4F89205F}"/>
                </a:ext>
              </a:extLst>
            </p:cNvPr>
            <p:cNvSpPr/>
            <p:nvPr/>
          </p:nvSpPr>
          <p:spPr>
            <a:xfrm rot="8716295">
              <a:off x="93318" y="46120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5" name="Forme libre : forme 504">
              <a:extLst>
                <a:ext uri="{FF2B5EF4-FFF2-40B4-BE49-F238E27FC236}">
                  <a16:creationId xmlns:a16="http://schemas.microsoft.com/office/drawing/2014/main" id="{81732388-5ACB-454A-B491-3EF6429CC57C}"/>
                </a:ext>
              </a:extLst>
            </p:cNvPr>
            <p:cNvSpPr/>
            <p:nvPr/>
          </p:nvSpPr>
          <p:spPr>
            <a:xfrm rot="8716295">
              <a:off x="182710" y="46412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6" name="Forme libre : forme 505">
              <a:extLst>
                <a:ext uri="{FF2B5EF4-FFF2-40B4-BE49-F238E27FC236}">
                  <a16:creationId xmlns:a16="http://schemas.microsoft.com/office/drawing/2014/main" id="{7C87F3BF-43A4-45FA-839A-23BBD5B5D4BE}"/>
                </a:ext>
              </a:extLst>
            </p:cNvPr>
            <p:cNvSpPr/>
            <p:nvPr/>
          </p:nvSpPr>
          <p:spPr>
            <a:xfrm rot="8716295">
              <a:off x="-14524" y="4699631"/>
              <a:ext cx="49997" cy="54238"/>
            </a:xfrm>
            <a:custGeom>
              <a:avLst/>
              <a:gdLst>
                <a:gd name="connsiteX0" fmla="*/ 8658 w 49997"/>
                <a:gd name="connsiteY0" fmla="*/ 50123 h 54238"/>
                <a:gd name="connsiteX1" fmla="*/ 0 w 49997"/>
                <a:gd name="connsiteY1" fmla="*/ 29619 h 54238"/>
                <a:gd name="connsiteX2" fmla="*/ 0 w 49997"/>
                <a:gd name="connsiteY2" fmla="*/ 29162 h 54238"/>
                <a:gd name="connsiteX3" fmla="*/ 8658 w 49997"/>
                <a:gd name="connsiteY3" fmla="*/ 8658 h 54238"/>
                <a:gd name="connsiteX4" fmla="*/ 29163 w 49997"/>
                <a:gd name="connsiteY4" fmla="*/ 0 h 54238"/>
                <a:gd name="connsiteX5" fmla="*/ 49668 w 49997"/>
                <a:gd name="connsiteY5" fmla="*/ 8658 h 54238"/>
                <a:gd name="connsiteX6" fmla="*/ 49997 w 49997"/>
                <a:gd name="connsiteY6" fmla="*/ 9441 h 54238"/>
                <a:gd name="connsiteX7" fmla="*/ 18945 w 49997"/>
                <a:gd name="connsiteY7" fmla="*/ 54238 h 54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997" h="54238">
                  <a:moveTo>
                    <a:pt x="8658" y="50123"/>
                  </a:moveTo>
                  <a:cubicBezTo>
                    <a:pt x="3190" y="44655"/>
                    <a:pt x="0" y="37365"/>
                    <a:pt x="0" y="29619"/>
                  </a:cubicBezTo>
                  <a:lnTo>
                    <a:pt x="0" y="29162"/>
                  </a:lnTo>
                  <a:cubicBezTo>
                    <a:pt x="0" y="21417"/>
                    <a:pt x="3190" y="14126"/>
                    <a:pt x="8658" y="8658"/>
                  </a:cubicBezTo>
                  <a:cubicBezTo>
                    <a:pt x="14126" y="3190"/>
                    <a:pt x="21416" y="0"/>
                    <a:pt x="29163" y="0"/>
                  </a:cubicBezTo>
                  <a:cubicBezTo>
                    <a:pt x="36909" y="0"/>
                    <a:pt x="44200" y="3190"/>
                    <a:pt x="49668" y="8658"/>
                  </a:cubicBezTo>
                  <a:lnTo>
                    <a:pt x="49997" y="9441"/>
                  </a:lnTo>
                  <a:lnTo>
                    <a:pt x="18945" y="54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7" name="Forme libre : forme 506">
              <a:extLst>
                <a:ext uri="{FF2B5EF4-FFF2-40B4-BE49-F238E27FC236}">
                  <a16:creationId xmlns:a16="http://schemas.microsoft.com/office/drawing/2014/main" id="{462FB9FF-D95F-4684-BB21-FBBABD5DD31F}"/>
                </a:ext>
              </a:extLst>
            </p:cNvPr>
            <p:cNvSpPr/>
            <p:nvPr/>
          </p:nvSpPr>
          <p:spPr>
            <a:xfrm rot="8716295">
              <a:off x="-30327" y="4579755"/>
              <a:ext cx="113346" cy="71024"/>
            </a:xfrm>
            <a:custGeom>
              <a:avLst/>
              <a:gdLst>
                <a:gd name="connsiteX0" fmla="*/ 0 w 113346"/>
                <a:gd name="connsiteY0" fmla="*/ 55323 h 71024"/>
                <a:gd name="connsiteX1" fmla="*/ 0 w 113346"/>
                <a:gd name="connsiteY1" fmla="*/ 0 h 71024"/>
                <a:gd name="connsiteX2" fmla="*/ 113346 w 113346"/>
                <a:gd name="connsiteY2" fmla="*/ 0 h 71024"/>
                <a:gd name="connsiteX3" fmla="*/ 64114 w 113346"/>
                <a:gd name="connsiteY3" fmla="*/ 71024 h 71024"/>
                <a:gd name="connsiteX4" fmla="*/ 69777 w 113346"/>
                <a:gd name="connsiteY4" fmla="*/ 55323 h 7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346" h="71024">
                  <a:moveTo>
                    <a:pt x="0" y="55323"/>
                  </a:moveTo>
                  <a:lnTo>
                    <a:pt x="0" y="0"/>
                  </a:lnTo>
                  <a:lnTo>
                    <a:pt x="113346" y="0"/>
                  </a:lnTo>
                  <a:lnTo>
                    <a:pt x="64114" y="71024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8" name="Forme libre : forme 507">
              <a:extLst>
                <a:ext uri="{FF2B5EF4-FFF2-40B4-BE49-F238E27FC236}">
                  <a16:creationId xmlns:a16="http://schemas.microsoft.com/office/drawing/2014/main" id="{67567764-034B-4A90-A05F-295129068706}"/>
                </a:ext>
              </a:extLst>
            </p:cNvPr>
            <p:cNvSpPr/>
            <p:nvPr/>
          </p:nvSpPr>
          <p:spPr>
            <a:xfrm rot="8716295">
              <a:off x="71262" y="47415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9" name="Forme libre : forme 508">
              <a:extLst>
                <a:ext uri="{FF2B5EF4-FFF2-40B4-BE49-F238E27FC236}">
                  <a16:creationId xmlns:a16="http://schemas.microsoft.com/office/drawing/2014/main" id="{0224BB71-E49A-401D-8E10-A43693404F59}"/>
                </a:ext>
              </a:extLst>
            </p:cNvPr>
            <p:cNvSpPr/>
            <p:nvPr/>
          </p:nvSpPr>
          <p:spPr>
            <a:xfrm rot="7484129">
              <a:off x="172059" y="493353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170341 w 203847"/>
                <a:gd name="connsiteY5" fmla="*/ 0 h 195874"/>
                <a:gd name="connsiteX6" fmla="*/ 203847 w 203847"/>
                <a:gd name="connsiteY6" fmla="*/ 48325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170341" y="0"/>
                  </a:lnTo>
                  <a:lnTo>
                    <a:pt x="203847" y="48325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0" name="Forme libre : forme 509">
              <a:extLst>
                <a:ext uri="{FF2B5EF4-FFF2-40B4-BE49-F238E27FC236}">
                  <a16:creationId xmlns:a16="http://schemas.microsoft.com/office/drawing/2014/main" id="{02C7DC92-22CE-4278-8FF3-A3AB1608AA63}"/>
                </a:ext>
              </a:extLst>
            </p:cNvPr>
            <p:cNvSpPr/>
            <p:nvPr/>
          </p:nvSpPr>
          <p:spPr>
            <a:xfrm rot="13089394">
              <a:off x="313263" y="4907079"/>
              <a:ext cx="272584" cy="221720"/>
            </a:xfrm>
            <a:custGeom>
              <a:avLst/>
              <a:gdLst>
                <a:gd name="connsiteX0" fmla="*/ 272584 w 272584"/>
                <a:gd name="connsiteY0" fmla="*/ 150928 h 221720"/>
                <a:gd name="connsiteX1" fmla="*/ 91597 w 272584"/>
                <a:gd name="connsiteY1" fmla="*/ 221557 h 221720"/>
                <a:gd name="connsiteX2" fmla="*/ 23727 w 272584"/>
                <a:gd name="connsiteY2" fmla="*/ 193967 h 221720"/>
                <a:gd name="connsiteX3" fmla="*/ 0 w 272584"/>
                <a:gd name="connsiteY3" fmla="*/ 99060 h 221720"/>
                <a:gd name="connsiteX4" fmla="*/ 0 w 272584"/>
                <a:gd name="connsiteY4" fmla="*/ 58265 h 221720"/>
                <a:gd name="connsiteX5" fmla="*/ 74157 w 272584"/>
                <a:gd name="connsiteY5" fmla="*/ 0 h 221720"/>
                <a:gd name="connsiteX6" fmla="*/ 74492 w 272584"/>
                <a:gd name="connsiteY6" fmla="*/ 46640 h 221720"/>
                <a:gd name="connsiteX7" fmla="*/ 87734 w 272584"/>
                <a:gd name="connsiteY7" fmla="*/ 138237 h 221720"/>
                <a:gd name="connsiteX8" fmla="*/ 153949 w 272584"/>
                <a:gd name="connsiteY8" fmla="*/ 174655 h 221720"/>
                <a:gd name="connsiteX9" fmla="*/ 203610 w 272584"/>
                <a:gd name="connsiteY9" fmla="*/ 165826 h 221720"/>
                <a:gd name="connsiteX10" fmla="*/ 271480 w 272584"/>
                <a:gd name="connsiteY10" fmla="*/ 138237 h 221720"/>
                <a:gd name="connsiteX11" fmla="*/ 272584 w 272584"/>
                <a:gd name="connsiteY11" fmla="*/ 145410 h 22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2584" h="221720">
                  <a:moveTo>
                    <a:pt x="272584" y="150928"/>
                  </a:moveTo>
                  <a:cubicBezTo>
                    <a:pt x="214094" y="201141"/>
                    <a:pt x="137395" y="218798"/>
                    <a:pt x="91597" y="221557"/>
                  </a:cubicBezTo>
                  <a:cubicBezTo>
                    <a:pt x="66215" y="223213"/>
                    <a:pt x="41384" y="212177"/>
                    <a:pt x="23727" y="193967"/>
                  </a:cubicBezTo>
                  <a:cubicBezTo>
                    <a:pt x="4966" y="175759"/>
                    <a:pt x="0" y="144306"/>
                    <a:pt x="0" y="99060"/>
                  </a:cubicBezTo>
                  <a:lnTo>
                    <a:pt x="0" y="58265"/>
                  </a:lnTo>
                  <a:lnTo>
                    <a:pt x="74157" y="0"/>
                  </a:lnTo>
                  <a:lnTo>
                    <a:pt x="74492" y="46640"/>
                  </a:lnTo>
                  <a:cubicBezTo>
                    <a:pt x="72836" y="77540"/>
                    <a:pt x="77802" y="108992"/>
                    <a:pt x="87734" y="138237"/>
                  </a:cubicBezTo>
                  <a:cubicBezTo>
                    <a:pt x="96563" y="162515"/>
                    <a:pt x="119186" y="174655"/>
                    <a:pt x="153949" y="174655"/>
                  </a:cubicBezTo>
                  <a:cubicBezTo>
                    <a:pt x="171055" y="174103"/>
                    <a:pt x="187608" y="170792"/>
                    <a:pt x="203610" y="165826"/>
                  </a:cubicBezTo>
                  <a:cubicBezTo>
                    <a:pt x="226785" y="158653"/>
                    <a:pt x="249409" y="149273"/>
                    <a:pt x="271480" y="138237"/>
                  </a:cubicBezTo>
                  <a:cubicBezTo>
                    <a:pt x="272032" y="140444"/>
                    <a:pt x="272584" y="143203"/>
                    <a:pt x="272584" y="1454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1" name="Forme libre : forme 510">
              <a:extLst>
                <a:ext uri="{FF2B5EF4-FFF2-40B4-BE49-F238E27FC236}">
                  <a16:creationId xmlns:a16="http://schemas.microsoft.com/office/drawing/2014/main" id="{2684AFDD-CDE2-41B8-A59C-E03D9F5FB899}"/>
                </a:ext>
              </a:extLst>
            </p:cNvPr>
            <p:cNvSpPr/>
            <p:nvPr/>
          </p:nvSpPr>
          <p:spPr>
            <a:xfrm rot="8716295">
              <a:off x="466598" y="470771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2" name="Forme libre : forme 511">
              <a:extLst>
                <a:ext uri="{FF2B5EF4-FFF2-40B4-BE49-F238E27FC236}">
                  <a16:creationId xmlns:a16="http://schemas.microsoft.com/office/drawing/2014/main" id="{874191D1-5A8A-4106-89BC-E4DE3F05FDFC}"/>
                </a:ext>
              </a:extLst>
            </p:cNvPr>
            <p:cNvSpPr/>
            <p:nvPr/>
          </p:nvSpPr>
          <p:spPr>
            <a:xfrm rot="8716295">
              <a:off x="414793" y="460412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3" name="Forme libre : forme 512">
              <a:extLst>
                <a:ext uri="{FF2B5EF4-FFF2-40B4-BE49-F238E27FC236}">
                  <a16:creationId xmlns:a16="http://schemas.microsoft.com/office/drawing/2014/main" id="{8D49479A-E710-4758-BEAF-44161F8FF530}"/>
                </a:ext>
              </a:extLst>
            </p:cNvPr>
            <p:cNvSpPr/>
            <p:nvPr/>
          </p:nvSpPr>
          <p:spPr>
            <a:xfrm rot="8716295">
              <a:off x="171547" y="46343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4" name="Forme libre : forme 513">
              <a:extLst>
                <a:ext uri="{FF2B5EF4-FFF2-40B4-BE49-F238E27FC236}">
                  <a16:creationId xmlns:a16="http://schemas.microsoft.com/office/drawing/2014/main" id="{0D3E5977-ABDE-469A-8B37-82662D2EE7DA}"/>
                </a:ext>
              </a:extLst>
            </p:cNvPr>
            <p:cNvSpPr/>
            <p:nvPr/>
          </p:nvSpPr>
          <p:spPr>
            <a:xfrm rot="8716295">
              <a:off x="348999" y="44751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528" name="Espace réservé du texte 527">
            <a:extLst>
              <a:ext uri="{FF2B5EF4-FFF2-40B4-BE49-F238E27FC236}">
                <a16:creationId xmlns:a16="http://schemas.microsoft.com/office/drawing/2014/main" id="{6A8E0876-8CB4-4156-A0C1-0BC7361D1C40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429470" y="3802408"/>
            <a:ext cx="108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29" name="Espace réservé du texte 528">
            <a:extLst>
              <a:ext uri="{FF2B5EF4-FFF2-40B4-BE49-F238E27FC236}">
                <a16:creationId xmlns:a16="http://schemas.microsoft.com/office/drawing/2014/main" id="{20C5F896-3CE3-44F8-B5B2-F667F9101641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1512561" y="3802408"/>
            <a:ext cx="108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31" name="Espace réservé du texte 530">
            <a:extLst>
              <a:ext uri="{FF2B5EF4-FFF2-40B4-BE49-F238E27FC236}">
                <a16:creationId xmlns:a16="http://schemas.microsoft.com/office/drawing/2014/main" id="{70ADA97F-36B2-42A5-9506-18C5EA9C6E0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3993" y="482179"/>
            <a:ext cx="2495932" cy="302805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24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3pPr>
            <a:lvl4pPr marL="0" indent="0">
              <a:buNone/>
              <a:defRPr sz="1000">
                <a:solidFill>
                  <a:schemeClr val="bg1"/>
                </a:solidFill>
              </a:defRPr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Niveau 2</a:t>
            </a:r>
          </a:p>
          <a:p>
            <a:pPr lvl="2"/>
            <a:r>
              <a:rPr lang="fr-FR" dirty="0"/>
              <a:t>Niveau 3</a:t>
            </a:r>
          </a:p>
          <a:p>
            <a:pPr lvl="3"/>
            <a:r>
              <a:rPr lang="fr-FR" dirty="0"/>
              <a:t>Niveau 4</a:t>
            </a:r>
          </a:p>
        </p:txBody>
      </p:sp>
      <p:sp>
        <p:nvSpPr>
          <p:cNvPr id="517" name="Espace réservé du numéro de diapositive 516">
            <a:extLst>
              <a:ext uri="{FF2B5EF4-FFF2-40B4-BE49-F238E27FC236}">
                <a16:creationId xmlns:a16="http://schemas.microsoft.com/office/drawing/2014/main" id="{D493D9E0-D7BE-4D71-A32F-50FDBE8AC3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48000" y="2811362"/>
            <a:ext cx="519702" cy="2332138"/>
          </a:xfrm>
          <a:custGeom>
            <a:avLst/>
            <a:gdLst>
              <a:gd name="connsiteX0" fmla="*/ 198551 w 519702"/>
              <a:gd name="connsiteY0" fmla="*/ 0 h 2332138"/>
              <a:gd name="connsiteX1" fmla="*/ 519702 w 519702"/>
              <a:gd name="connsiteY1" fmla="*/ 2332138 h 2332138"/>
              <a:gd name="connsiteX2" fmla="*/ 0 w 519702"/>
              <a:gd name="connsiteY2" fmla="*/ 2332138 h 2332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19702" h="2332138">
                <a:moveTo>
                  <a:pt x="198551" y="0"/>
                </a:moveTo>
                <a:lnTo>
                  <a:pt x="519702" y="2332138"/>
                </a:lnTo>
                <a:lnTo>
                  <a:pt x="0" y="233213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180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295458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ayures / Texte +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que 1">
            <a:extLst>
              <a:ext uri="{FF2B5EF4-FFF2-40B4-BE49-F238E27FC236}">
                <a16:creationId xmlns:a16="http://schemas.microsoft.com/office/drawing/2014/main" id="{66D8F75D-5A38-42AF-8BDE-EAA8F19867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3416312" cy="5143500"/>
          </a:xfrm>
          <a:prstGeom prst="rect">
            <a:avLst/>
          </a:prstGeom>
        </p:spPr>
      </p:pic>
      <p:sp>
        <p:nvSpPr>
          <p:cNvPr id="521" name="Espace réservé pour une image  520">
            <a:extLst>
              <a:ext uri="{FF2B5EF4-FFF2-40B4-BE49-F238E27FC236}">
                <a16:creationId xmlns:a16="http://schemas.microsoft.com/office/drawing/2014/main" id="{B8DAB854-64EB-4DD7-A364-5485ED453A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246551" y="-1"/>
            <a:ext cx="5897449" cy="5143501"/>
          </a:xfrm>
          <a:custGeom>
            <a:avLst/>
            <a:gdLst>
              <a:gd name="connsiteX0" fmla="*/ 0 w 6088062"/>
              <a:gd name="connsiteY0" fmla="*/ 0 h 5143501"/>
              <a:gd name="connsiteX1" fmla="*/ 6088062 w 6088062"/>
              <a:gd name="connsiteY1" fmla="*/ 0 h 5143501"/>
              <a:gd name="connsiteX2" fmla="*/ 6088062 w 6088062"/>
              <a:gd name="connsiteY2" fmla="*/ 5143501 h 5143501"/>
              <a:gd name="connsiteX3" fmla="*/ 511764 w 6088062"/>
              <a:gd name="connsiteY3" fmla="*/ 5143501 h 5143501"/>
              <a:gd name="connsiteX4" fmla="*/ 190613 w 6088062"/>
              <a:gd name="connsiteY4" fmla="*/ 2811363 h 5143501"/>
              <a:gd name="connsiteX5" fmla="*/ 429964 w 6088062"/>
              <a:gd name="connsiteY5" fmla="*/ 1 h 5143501"/>
              <a:gd name="connsiteX6" fmla="*/ 0 w 6088062"/>
              <a:gd name="connsiteY6" fmla="*/ 1 h 5143501"/>
              <a:gd name="connsiteX0" fmla="*/ 0 w 6088062"/>
              <a:gd name="connsiteY0" fmla="*/ 1 h 5143501"/>
              <a:gd name="connsiteX1" fmla="*/ 6088062 w 6088062"/>
              <a:gd name="connsiteY1" fmla="*/ 0 h 5143501"/>
              <a:gd name="connsiteX2" fmla="*/ 6088062 w 6088062"/>
              <a:gd name="connsiteY2" fmla="*/ 5143501 h 5143501"/>
              <a:gd name="connsiteX3" fmla="*/ 511764 w 6088062"/>
              <a:gd name="connsiteY3" fmla="*/ 5143501 h 5143501"/>
              <a:gd name="connsiteX4" fmla="*/ 190613 w 6088062"/>
              <a:gd name="connsiteY4" fmla="*/ 2811363 h 5143501"/>
              <a:gd name="connsiteX5" fmla="*/ 429964 w 6088062"/>
              <a:gd name="connsiteY5" fmla="*/ 1 h 5143501"/>
              <a:gd name="connsiteX6" fmla="*/ 0 w 6088062"/>
              <a:gd name="connsiteY6" fmla="*/ 1 h 5143501"/>
              <a:gd name="connsiteX0" fmla="*/ 239351 w 5897449"/>
              <a:gd name="connsiteY0" fmla="*/ 1 h 5143501"/>
              <a:gd name="connsiteX1" fmla="*/ 5897449 w 5897449"/>
              <a:gd name="connsiteY1" fmla="*/ 0 h 5143501"/>
              <a:gd name="connsiteX2" fmla="*/ 5897449 w 5897449"/>
              <a:gd name="connsiteY2" fmla="*/ 5143501 h 5143501"/>
              <a:gd name="connsiteX3" fmla="*/ 321151 w 5897449"/>
              <a:gd name="connsiteY3" fmla="*/ 5143501 h 5143501"/>
              <a:gd name="connsiteX4" fmla="*/ 0 w 5897449"/>
              <a:gd name="connsiteY4" fmla="*/ 2811363 h 5143501"/>
              <a:gd name="connsiteX5" fmla="*/ 239351 w 5897449"/>
              <a:gd name="connsiteY5" fmla="*/ 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97449" h="5143501">
                <a:moveTo>
                  <a:pt x="239351" y="1"/>
                </a:moveTo>
                <a:lnTo>
                  <a:pt x="5897449" y="0"/>
                </a:lnTo>
                <a:lnTo>
                  <a:pt x="5897449" y="5143501"/>
                </a:lnTo>
                <a:lnTo>
                  <a:pt x="321151" y="5143501"/>
                </a:lnTo>
                <a:lnTo>
                  <a:pt x="0" y="2811363"/>
                </a:lnTo>
                <a:lnTo>
                  <a:pt x="239351" y="1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528" name="Espace réservé du texte 527">
            <a:extLst>
              <a:ext uri="{FF2B5EF4-FFF2-40B4-BE49-F238E27FC236}">
                <a16:creationId xmlns:a16="http://schemas.microsoft.com/office/drawing/2014/main" id="{6A8E0876-8CB4-4156-A0C1-0BC7361D1C40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429470" y="3802408"/>
            <a:ext cx="108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29" name="Espace réservé du texte 528">
            <a:extLst>
              <a:ext uri="{FF2B5EF4-FFF2-40B4-BE49-F238E27FC236}">
                <a16:creationId xmlns:a16="http://schemas.microsoft.com/office/drawing/2014/main" id="{20C5F896-3CE3-44F8-B5B2-F667F9101641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1512561" y="3802408"/>
            <a:ext cx="108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31" name="Espace réservé du texte 530">
            <a:extLst>
              <a:ext uri="{FF2B5EF4-FFF2-40B4-BE49-F238E27FC236}">
                <a16:creationId xmlns:a16="http://schemas.microsoft.com/office/drawing/2014/main" id="{70ADA97F-36B2-42A5-9506-18C5EA9C6E0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3993" y="482179"/>
            <a:ext cx="2495932" cy="302805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24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3pPr>
            <a:lvl4pPr marL="0" indent="0">
              <a:buNone/>
              <a:defRPr sz="1000">
                <a:solidFill>
                  <a:schemeClr val="bg1"/>
                </a:solidFill>
              </a:defRPr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Niveau 2</a:t>
            </a:r>
          </a:p>
          <a:p>
            <a:pPr lvl="2"/>
            <a:r>
              <a:rPr lang="fr-FR" dirty="0"/>
              <a:t>Niveau 3</a:t>
            </a:r>
          </a:p>
          <a:p>
            <a:pPr lvl="3"/>
            <a:r>
              <a:rPr lang="fr-FR" dirty="0"/>
              <a:t>Niveau 4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29405B57-1CDE-4EE7-A0BA-3013851436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48000" y="2811362"/>
            <a:ext cx="519702" cy="2332138"/>
          </a:xfrm>
          <a:custGeom>
            <a:avLst/>
            <a:gdLst>
              <a:gd name="connsiteX0" fmla="*/ 198551 w 519702"/>
              <a:gd name="connsiteY0" fmla="*/ 0 h 2332138"/>
              <a:gd name="connsiteX1" fmla="*/ 519702 w 519702"/>
              <a:gd name="connsiteY1" fmla="*/ 2332138 h 2332138"/>
              <a:gd name="connsiteX2" fmla="*/ 0 w 519702"/>
              <a:gd name="connsiteY2" fmla="*/ 2332138 h 2332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19702" h="2332138">
                <a:moveTo>
                  <a:pt x="198551" y="0"/>
                </a:moveTo>
                <a:lnTo>
                  <a:pt x="519702" y="2332138"/>
                </a:lnTo>
                <a:lnTo>
                  <a:pt x="0" y="233213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180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203838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&amp; Réseaux sociaux - Fond foncé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Rectangle 123">
            <a:hlinkClick r:id="rId2"/>
            <a:extLst>
              <a:ext uri="{FF2B5EF4-FFF2-40B4-BE49-F238E27FC236}">
                <a16:creationId xmlns:a16="http://schemas.microsoft.com/office/drawing/2014/main" id="{35F4AE06-723F-4907-A0C1-25C2A55668EF}"/>
              </a:ext>
            </a:extLst>
          </p:cNvPr>
          <p:cNvSpPr/>
          <p:nvPr userDrawn="1"/>
        </p:nvSpPr>
        <p:spPr>
          <a:xfrm>
            <a:off x="3294590" y="1121624"/>
            <a:ext cx="90922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prstClr val="white"/>
                </a:solidFill>
              </a:rPr>
              <a:t>@</a:t>
            </a:r>
            <a:r>
              <a:rPr lang="fr-FR" sz="800" dirty="0" err="1">
                <a:solidFill>
                  <a:prstClr val="white"/>
                </a:solidFill>
              </a:rPr>
              <a:t>univbordeaux</a:t>
            </a:r>
            <a:endParaRPr lang="fr-FR" sz="800" dirty="0">
              <a:solidFill>
                <a:prstClr val="white"/>
              </a:solidFill>
            </a:endParaRPr>
          </a:p>
        </p:txBody>
      </p:sp>
      <p:pic>
        <p:nvPicPr>
          <p:cNvPr id="125" name="Graphique 124">
            <a:hlinkClick r:id="rId2"/>
            <a:extLst>
              <a:ext uri="{FF2B5EF4-FFF2-40B4-BE49-F238E27FC236}">
                <a16:creationId xmlns:a16="http://schemas.microsoft.com/office/drawing/2014/main" id="{C6FD32D5-7851-419E-B042-2C17E6452CA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69202" y="702273"/>
            <a:ext cx="360000" cy="360000"/>
          </a:xfrm>
          <a:prstGeom prst="rect">
            <a:avLst/>
          </a:prstGeom>
        </p:spPr>
      </p:pic>
      <p:pic>
        <p:nvPicPr>
          <p:cNvPr id="126" name="Graphique 125">
            <a:hlinkClick r:id="rId5"/>
            <a:extLst>
              <a:ext uri="{FF2B5EF4-FFF2-40B4-BE49-F238E27FC236}">
                <a16:creationId xmlns:a16="http://schemas.microsoft.com/office/drawing/2014/main" id="{AC4BA783-078F-4C6E-BE4E-E143E9F636D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894972" y="702273"/>
            <a:ext cx="360000" cy="360000"/>
          </a:xfrm>
          <a:prstGeom prst="rect">
            <a:avLst/>
          </a:prstGeom>
        </p:spPr>
      </p:pic>
      <p:sp>
        <p:nvSpPr>
          <p:cNvPr id="127" name="Rectangle 126">
            <a:hlinkClick r:id="rId5"/>
            <a:extLst>
              <a:ext uri="{FF2B5EF4-FFF2-40B4-BE49-F238E27FC236}">
                <a16:creationId xmlns:a16="http://schemas.microsoft.com/office/drawing/2014/main" id="{0DEFADA8-A00E-42F6-AAA8-08025CB38A01}"/>
              </a:ext>
            </a:extLst>
          </p:cNvPr>
          <p:cNvSpPr/>
          <p:nvPr userDrawn="1"/>
        </p:nvSpPr>
        <p:spPr>
          <a:xfrm>
            <a:off x="6620360" y="1121624"/>
            <a:ext cx="90922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prstClr val="white"/>
                </a:solidFill>
              </a:rPr>
              <a:t>@</a:t>
            </a:r>
            <a:r>
              <a:rPr lang="fr-FR" sz="800" dirty="0" err="1">
                <a:solidFill>
                  <a:prstClr val="white"/>
                </a:solidFill>
              </a:rPr>
              <a:t>univbordeaux</a:t>
            </a:r>
            <a:endParaRPr lang="fr-FR" sz="800" dirty="0">
              <a:solidFill>
                <a:prstClr val="white"/>
              </a:solidFill>
            </a:endParaRPr>
          </a:p>
        </p:txBody>
      </p:sp>
      <p:sp>
        <p:nvSpPr>
          <p:cNvPr id="128" name="Rectangle 127">
            <a:hlinkClick r:id="rId8"/>
            <a:extLst>
              <a:ext uri="{FF2B5EF4-FFF2-40B4-BE49-F238E27FC236}">
                <a16:creationId xmlns:a16="http://schemas.microsoft.com/office/drawing/2014/main" id="{43060483-BA3F-4429-9DB5-CBA75DDBC66C}"/>
              </a:ext>
            </a:extLst>
          </p:cNvPr>
          <p:cNvSpPr/>
          <p:nvPr userDrawn="1"/>
        </p:nvSpPr>
        <p:spPr>
          <a:xfrm>
            <a:off x="2277866" y="2154670"/>
            <a:ext cx="127631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prstClr val="white"/>
                </a:solidFill>
              </a:rPr>
              <a:t>@</a:t>
            </a:r>
            <a:r>
              <a:rPr lang="fr-FR" sz="800" dirty="0" err="1">
                <a:solidFill>
                  <a:prstClr val="white"/>
                </a:solidFill>
              </a:rPr>
              <a:t>universitedebordeaux</a:t>
            </a:r>
            <a:endParaRPr lang="fr-FR" sz="800" dirty="0">
              <a:solidFill>
                <a:prstClr val="white"/>
              </a:solidFill>
            </a:endParaRPr>
          </a:p>
        </p:txBody>
      </p:sp>
      <p:pic>
        <p:nvPicPr>
          <p:cNvPr id="129" name="Graphique 128">
            <a:hlinkClick r:id="rId8"/>
            <a:extLst>
              <a:ext uri="{FF2B5EF4-FFF2-40B4-BE49-F238E27FC236}">
                <a16:creationId xmlns:a16="http://schemas.microsoft.com/office/drawing/2014/main" id="{64F997C0-D043-4AC6-968A-B1C30BBB2282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736022" y="1735319"/>
            <a:ext cx="360000" cy="360000"/>
          </a:xfrm>
          <a:prstGeom prst="rect">
            <a:avLst/>
          </a:prstGeom>
        </p:spPr>
      </p:pic>
      <p:pic>
        <p:nvPicPr>
          <p:cNvPr id="130" name="Graphique 129">
            <a:hlinkClick r:id="rId11"/>
            <a:extLst>
              <a:ext uri="{FF2B5EF4-FFF2-40B4-BE49-F238E27FC236}">
                <a16:creationId xmlns:a16="http://schemas.microsoft.com/office/drawing/2014/main" id="{83FCBC0C-46CD-4319-932E-4A574B930242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232820" y="702273"/>
            <a:ext cx="360000" cy="360000"/>
          </a:xfrm>
          <a:prstGeom prst="rect">
            <a:avLst/>
          </a:prstGeom>
        </p:spPr>
      </p:pic>
      <p:pic>
        <p:nvPicPr>
          <p:cNvPr id="131" name="Graphique 130">
            <a:hlinkClick r:id="rId14"/>
            <a:extLst>
              <a:ext uri="{FF2B5EF4-FFF2-40B4-BE49-F238E27FC236}">
                <a16:creationId xmlns:a16="http://schemas.microsoft.com/office/drawing/2014/main" id="{1819CD89-E770-4FC4-A88B-BD521AE63294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904363" y="702273"/>
            <a:ext cx="360000" cy="360000"/>
          </a:xfrm>
          <a:prstGeom prst="rect">
            <a:avLst/>
          </a:prstGeom>
        </p:spPr>
      </p:pic>
      <p:sp>
        <p:nvSpPr>
          <p:cNvPr id="132" name="Rectangle 131">
            <a:hlinkClick r:id="rId14"/>
            <a:extLst>
              <a:ext uri="{FF2B5EF4-FFF2-40B4-BE49-F238E27FC236}">
                <a16:creationId xmlns:a16="http://schemas.microsoft.com/office/drawing/2014/main" id="{FD3B5232-D5E9-44F0-9C33-33247F54B052}"/>
              </a:ext>
            </a:extLst>
          </p:cNvPr>
          <p:cNvSpPr/>
          <p:nvPr userDrawn="1"/>
        </p:nvSpPr>
        <p:spPr>
          <a:xfrm>
            <a:off x="1560019" y="1121624"/>
            <a:ext cx="104868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prstClr val="white"/>
                </a:solidFill>
              </a:rPr>
              <a:t>www.u-bordeaux.fr</a:t>
            </a:r>
          </a:p>
        </p:txBody>
      </p:sp>
      <p:pic>
        <p:nvPicPr>
          <p:cNvPr id="133" name="Graphique 132">
            <a:hlinkClick r:id="rId17"/>
            <a:extLst>
              <a:ext uri="{FF2B5EF4-FFF2-40B4-BE49-F238E27FC236}">
                <a16:creationId xmlns:a16="http://schemas.microsoft.com/office/drawing/2014/main" id="{5E1444FE-01A7-45A1-BCDA-AF5DE3864777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060942" y="1735319"/>
            <a:ext cx="360000" cy="360000"/>
          </a:xfrm>
          <a:prstGeom prst="rect">
            <a:avLst/>
          </a:prstGeom>
        </p:spPr>
      </p:pic>
      <p:pic>
        <p:nvPicPr>
          <p:cNvPr id="134" name="Graphique 133">
            <a:extLst>
              <a:ext uri="{FF2B5EF4-FFF2-40B4-BE49-F238E27FC236}">
                <a16:creationId xmlns:a16="http://schemas.microsoft.com/office/drawing/2014/main" id="{AE8061E4-BB31-415B-8A63-EE72EEB79D9C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4400221" y="1735319"/>
            <a:ext cx="360000" cy="360000"/>
          </a:xfrm>
          <a:prstGeom prst="rect">
            <a:avLst/>
          </a:prstGeom>
        </p:spPr>
      </p:pic>
      <p:sp>
        <p:nvSpPr>
          <p:cNvPr id="135" name="Rectangle 134">
            <a:extLst>
              <a:ext uri="{FF2B5EF4-FFF2-40B4-BE49-F238E27FC236}">
                <a16:creationId xmlns:a16="http://schemas.microsoft.com/office/drawing/2014/main" id="{C8AD63C4-784A-4776-9B5D-FA8BD25ACF8C}"/>
              </a:ext>
            </a:extLst>
          </p:cNvPr>
          <p:cNvSpPr/>
          <p:nvPr userDrawn="1"/>
        </p:nvSpPr>
        <p:spPr>
          <a:xfrm>
            <a:off x="4029281" y="2154670"/>
            <a:ext cx="108876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prstClr val="white"/>
                </a:solidFill>
              </a:rPr>
              <a:t>Appli mobile </a:t>
            </a:r>
            <a:r>
              <a:rPr lang="fr-FR" sz="800" dirty="0" err="1">
                <a:solidFill>
                  <a:prstClr val="white"/>
                </a:solidFill>
              </a:rPr>
              <a:t>U&amp;me</a:t>
            </a:r>
            <a:endParaRPr lang="fr-FR" sz="800" dirty="0">
              <a:solidFill>
                <a:prstClr val="white"/>
              </a:solidFill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26C582E0-BC44-4452-B431-ACC02FF3B9A7}"/>
              </a:ext>
            </a:extLst>
          </p:cNvPr>
          <p:cNvSpPr/>
          <p:nvPr userDrawn="1"/>
        </p:nvSpPr>
        <p:spPr>
          <a:xfrm>
            <a:off x="5780492" y="2154670"/>
            <a:ext cx="90922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prstClr val="white"/>
                </a:solidFill>
              </a:rPr>
              <a:t>@</a:t>
            </a:r>
            <a:r>
              <a:rPr lang="fr-FR" sz="800" dirty="0" err="1">
                <a:solidFill>
                  <a:prstClr val="white"/>
                </a:solidFill>
              </a:rPr>
              <a:t>univbordeaux</a:t>
            </a:r>
            <a:endParaRPr lang="fr-FR" sz="800" dirty="0">
              <a:solidFill>
                <a:prstClr val="white"/>
              </a:solidFill>
            </a:endParaRPr>
          </a:p>
        </p:txBody>
      </p:sp>
      <p:sp>
        <p:nvSpPr>
          <p:cNvPr id="137" name="Rectangle 136">
            <a:hlinkClick r:id="rId11"/>
            <a:extLst>
              <a:ext uri="{FF2B5EF4-FFF2-40B4-BE49-F238E27FC236}">
                <a16:creationId xmlns:a16="http://schemas.microsoft.com/office/drawing/2014/main" id="{191CC0A6-AEB3-4CFD-B3D3-4BB18C95F655}"/>
              </a:ext>
            </a:extLst>
          </p:cNvPr>
          <p:cNvSpPr/>
          <p:nvPr userDrawn="1"/>
        </p:nvSpPr>
        <p:spPr>
          <a:xfrm>
            <a:off x="4774665" y="1121624"/>
            <a:ext cx="127631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prstClr val="white"/>
                </a:solidFill>
              </a:rPr>
              <a:t>@</a:t>
            </a:r>
            <a:r>
              <a:rPr lang="fr-FR" sz="800" dirty="0" err="1">
                <a:solidFill>
                  <a:prstClr val="white"/>
                </a:solidFill>
              </a:rPr>
              <a:t>universitedebordeaux</a:t>
            </a:r>
            <a:endParaRPr lang="fr-FR" sz="800" dirty="0">
              <a:solidFill>
                <a:prstClr val="white"/>
              </a:solidFill>
            </a:endParaRPr>
          </a:p>
        </p:txBody>
      </p:sp>
      <p:pic>
        <p:nvPicPr>
          <p:cNvPr id="139" name="Graphique 138">
            <a:extLst>
              <a:ext uri="{FF2B5EF4-FFF2-40B4-BE49-F238E27FC236}">
                <a16:creationId xmlns:a16="http://schemas.microsoft.com/office/drawing/2014/main" id="{79773E20-FDC7-4245-9634-08A0DCC6FE2D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3242261" y="3601712"/>
            <a:ext cx="2659479" cy="793651"/>
          </a:xfrm>
          <a:prstGeom prst="rect">
            <a:avLst/>
          </a:prstGeom>
        </p:spPr>
      </p:pic>
      <p:sp>
        <p:nvSpPr>
          <p:cNvPr id="141" name="Espace réservé du texte 140">
            <a:extLst>
              <a:ext uri="{FF2B5EF4-FFF2-40B4-BE49-F238E27FC236}">
                <a16:creationId xmlns:a16="http://schemas.microsoft.com/office/drawing/2014/main" id="{EE880427-05D3-40E0-A2B2-744B3528ADE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4417" y="2973427"/>
            <a:ext cx="5915166" cy="31393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algn="ctr" defTabSz="457200">
              <a:buNone/>
              <a:defRPr lang="fr-FR" sz="1600" b="1" dirty="0" smtClean="0">
                <a:solidFill>
                  <a:schemeClr val="bg1"/>
                </a:solidFill>
              </a:defRPr>
            </a:lvl1pPr>
          </a:lstStyle>
          <a:p>
            <a:pPr marL="0" lvl="0" algn="ctr" defTabSz="457200"/>
            <a:r>
              <a:rPr lang="fr-FR" dirty="0"/>
              <a:t>Message / remerciement</a:t>
            </a:r>
          </a:p>
        </p:txBody>
      </p:sp>
      <p:sp>
        <p:nvSpPr>
          <p:cNvPr id="144" name="Espace réservé du texte 143">
            <a:extLst>
              <a:ext uri="{FF2B5EF4-FFF2-40B4-BE49-F238E27FC236}">
                <a16:creationId xmlns:a16="http://schemas.microsoft.com/office/drawing/2014/main" id="{C20905A2-6F02-47AA-AF2E-63158D48679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5689" y="1"/>
            <a:ext cx="457523" cy="2017735"/>
          </a:xfrm>
          <a:custGeom>
            <a:avLst/>
            <a:gdLst>
              <a:gd name="connsiteX0" fmla="*/ 0 w 457523"/>
              <a:gd name="connsiteY0" fmla="*/ 0 h 2017735"/>
              <a:gd name="connsiteX1" fmla="*/ 275802 w 457523"/>
              <a:gd name="connsiteY1" fmla="*/ 0 h 2017735"/>
              <a:gd name="connsiteX2" fmla="*/ 457523 w 457523"/>
              <a:gd name="connsiteY2" fmla="*/ 0 h 2017735"/>
              <a:gd name="connsiteX3" fmla="*/ 179667 w 457523"/>
              <a:gd name="connsiteY3" fmla="*/ 2017735 h 2017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7523" h="2017735">
                <a:moveTo>
                  <a:pt x="0" y="0"/>
                </a:moveTo>
                <a:lnTo>
                  <a:pt x="275802" y="0"/>
                </a:lnTo>
                <a:lnTo>
                  <a:pt x="457523" y="0"/>
                </a:lnTo>
                <a:lnTo>
                  <a:pt x="179667" y="2017735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grpSp>
        <p:nvGrpSpPr>
          <p:cNvPr id="267" name="Groupe 266">
            <a:extLst>
              <a:ext uri="{FF2B5EF4-FFF2-40B4-BE49-F238E27FC236}">
                <a16:creationId xmlns:a16="http://schemas.microsoft.com/office/drawing/2014/main" id="{5E1891F2-FAFB-45B7-ADB0-B4532A71DEC4}"/>
              </a:ext>
            </a:extLst>
          </p:cNvPr>
          <p:cNvGrpSpPr/>
          <p:nvPr userDrawn="1"/>
        </p:nvGrpSpPr>
        <p:grpSpPr>
          <a:xfrm flipV="1">
            <a:off x="-91485" y="12467"/>
            <a:ext cx="1008300" cy="5190499"/>
            <a:chOff x="-91485" y="-57106"/>
            <a:chExt cx="1008300" cy="5190499"/>
          </a:xfrm>
          <a:solidFill>
            <a:schemeClr val="bg2">
              <a:alpha val="10000"/>
            </a:schemeClr>
          </a:solidFill>
        </p:grpSpPr>
        <p:sp>
          <p:nvSpPr>
            <p:cNvPr id="268" name="Forme libre : forme 267">
              <a:extLst>
                <a:ext uri="{FF2B5EF4-FFF2-40B4-BE49-F238E27FC236}">
                  <a16:creationId xmlns:a16="http://schemas.microsoft.com/office/drawing/2014/main" id="{73F747AB-BDD9-4153-8A0F-81B6FADAE149}"/>
                </a:ext>
              </a:extLst>
            </p:cNvPr>
            <p:cNvSpPr/>
            <p:nvPr/>
          </p:nvSpPr>
          <p:spPr>
            <a:xfrm rot="8716295">
              <a:off x="617786" y="1780350"/>
              <a:ext cx="152726" cy="195873"/>
            </a:xfrm>
            <a:custGeom>
              <a:avLst/>
              <a:gdLst>
                <a:gd name="connsiteX0" fmla="*/ 39589 w 152726"/>
                <a:gd name="connsiteY0" fmla="*/ 195873 h 195873"/>
                <a:gd name="connsiteX1" fmla="*/ 0 w 152726"/>
                <a:gd name="connsiteY1" fmla="*/ 122219 h 195873"/>
                <a:gd name="connsiteX2" fmla="*/ 101089 w 152726"/>
                <a:gd name="connsiteY2" fmla="*/ 0 h 195873"/>
                <a:gd name="connsiteX3" fmla="*/ 152726 w 152726"/>
                <a:gd name="connsiteY3" fmla="*/ 0 h 195873"/>
                <a:gd name="connsiteX4" fmla="*/ 152726 w 152726"/>
                <a:gd name="connsiteY4" fmla="*/ 55323 h 195873"/>
                <a:gd name="connsiteX5" fmla="*/ 87934 w 152726"/>
                <a:gd name="connsiteY5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726" h="195873">
                  <a:moveTo>
                    <a:pt x="39589" y="195873"/>
                  </a:moveTo>
                  <a:lnTo>
                    <a:pt x="0" y="122219"/>
                  </a:lnTo>
                  <a:lnTo>
                    <a:pt x="101089" y="0"/>
                  </a:lnTo>
                  <a:lnTo>
                    <a:pt x="152726" y="0"/>
                  </a:lnTo>
                  <a:lnTo>
                    <a:pt x="152726" y="55323"/>
                  </a:lnTo>
                  <a:lnTo>
                    <a:pt x="87934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" name="Forme libre : forme 268">
              <a:extLst>
                <a:ext uri="{FF2B5EF4-FFF2-40B4-BE49-F238E27FC236}">
                  <a16:creationId xmlns:a16="http://schemas.microsoft.com/office/drawing/2014/main" id="{ABB68B3A-64E8-421E-A122-56A45C711E07}"/>
                </a:ext>
              </a:extLst>
            </p:cNvPr>
            <p:cNvSpPr/>
            <p:nvPr/>
          </p:nvSpPr>
          <p:spPr>
            <a:xfrm rot="8716295">
              <a:off x="534441" y="1654353"/>
              <a:ext cx="262864" cy="103234"/>
            </a:xfrm>
            <a:custGeom>
              <a:avLst/>
              <a:gdLst>
                <a:gd name="connsiteX0" fmla="*/ 0 w 262864"/>
                <a:gd name="connsiteY0" fmla="*/ 75341 h 103234"/>
                <a:gd name="connsiteX1" fmla="*/ 62316 w 262864"/>
                <a:gd name="connsiteY1" fmla="*/ 0 h 103234"/>
                <a:gd name="connsiteX2" fmla="*/ 65768 w 262864"/>
                <a:gd name="connsiteY2" fmla="*/ 14220 h 103234"/>
                <a:gd name="connsiteX3" fmla="*/ 136369 w 262864"/>
                <a:gd name="connsiteY3" fmla="*/ 53051 h 103234"/>
                <a:gd name="connsiteX4" fmla="*/ 189321 w 262864"/>
                <a:gd name="connsiteY4" fmla="*/ 43637 h 103234"/>
                <a:gd name="connsiteX5" fmla="*/ 261688 w 262864"/>
                <a:gd name="connsiteY5" fmla="*/ 14220 h 103234"/>
                <a:gd name="connsiteX6" fmla="*/ 262864 w 262864"/>
                <a:gd name="connsiteY6" fmla="*/ 21868 h 103234"/>
                <a:gd name="connsiteX7" fmla="*/ 262864 w 262864"/>
                <a:gd name="connsiteY7" fmla="*/ 27752 h 103234"/>
                <a:gd name="connsiteX8" fmla="*/ 69887 w 262864"/>
                <a:gd name="connsiteY8" fmla="*/ 103060 h 103234"/>
                <a:gd name="connsiteX9" fmla="*/ 30615 w 262864"/>
                <a:gd name="connsiteY9" fmla="*/ 96294 h 103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2864" h="103234">
                  <a:moveTo>
                    <a:pt x="0" y="75341"/>
                  </a:moveTo>
                  <a:lnTo>
                    <a:pt x="62316" y="0"/>
                  </a:lnTo>
                  <a:lnTo>
                    <a:pt x="65768" y="14220"/>
                  </a:lnTo>
                  <a:cubicBezTo>
                    <a:pt x="75182" y="40107"/>
                    <a:pt x="99304" y="53051"/>
                    <a:pt x="136369" y="53051"/>
                  </a:cubicBezTo>
                  <a:cubicBezTo>
                    <a:pt x="154609" y="52462"/>
                    <a:pt x="172259" y="48932"/>
                    <a:pt x="189321" y="43637"/>
                  </a:cubicBezTo>
                  <a:cubicBezTo>
                    <a:pt x="214031" y="35988"/>
                    <a:pt x="238154" y="25987"/>
                    <a:pt x="261688" y="14220"/>
                  </a:cubicBezTo>
                  <a:cubicBezTo>
                    <a:pt x="262276" y="16573"/>
                    <a:pt x="262864" y="19515"/>
                    <a:pt x="262864" y="21868"/>
                  </a:cubicBezTo>
                  <a:lnTo>
                    <a:pt x="262864" y="27752"/>
                  </a:lnTo>
                  <a:cubicBezTo>
                    <a:pt x="200500" y="81291"/>
                    <a:pt x="118719" y="100119"/>
                    <a:pt x="69887" y="103060"/>
                  </a:cubicBezTo>
                  <a:cubicBezTo>
                    <a:pt x="56355" y="103943"/>
                    <a:pt x="42970" y="101442"/>
                    <a:pt x="30615" y="9629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0" name="Forme libre : forme 269">
              <a:extLst>
                <a:ext uri="{FF2B5EF4-FFF2-40B4-BE49-F238E27FC236}">
                  <a16:creationId xmlns:a16="http://schemas.microsoft.com/office/drawing/2014/main" id="{053D4FF2-A9EA-4185-9507-77A0BB17DB0B}"/>
                </a:ext>
              </a:extLst>
            </p:cNvPr>
            <p:cNvSpPr/>
            <p:nvPr/>
          </p:nvSpPr>
          <p:spPr>
            <a:xfrm rot="8716295">
              <a:off x="632719" y="1232432"/>
              <a:ext cx="121558" cy="232388"/>
            </a:xfrm>
            <a:custGeom>
              <a:avLst/>
              <a:gdLst>
                <a:gd name="connsiteX0" fmla="*/ 60499 w 121558"/>
                <a:gd name="connsiteY0" fmla="*/ 232388 h 232388"/>
                <a:gd name="connsiteX1" fmla="*/ 60499 w 121558"/>
                <a:gd name="connsiteY1" fmla="*/ 69717 h 232388"/>
                <a:gd name="connsiteX2" fmla="*/ 60499 w 121558"/>
                <a:gd name="connsiteY2" fmla="*/ 65615 h 232388"/>
                <a:gd name="connsiteX3" fmla="*/ 39995 w 121558"/>
                <a:gd name="connsiteY3" fmla="*/ 50123 h 232388"/>
                <a:gd name="connsiteX4" fmla="*/ 0 w 121558"/>
                <a:gd name="connsiteY4" fmla="*/ 50123 h 232388"/>
                <a:gd name="connsiteX5" fmla="*/ 41457 w 121558"/>
                <a:gd name="connsiteY5" fmla="*/ 0 h 232388"/>
                <a:gd name="connsiteX6" fmla="*/ 64601 w 121558"/>
                <a:gd name="connsiteY6" fmla="*/ 0 h 232388"/>
                <a:gd name="connsiteX7" fmla="*/ 121558 w 121558"/>
                <a:gd name="connsiteY7" fmla="*/ 50123 h 232388"/>
                <a:gd name="connsiteX8" fmla="*/ 121558 w 121558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558" h="232388">
                  <a:moveTo>
                    <a:pt x="60499" y="232388"/>
                  </a:moveTo>
                  <a:lnTo>
                    <a:pt x="60499" y="69717"/>
                  </a:lnTo>
                  <a:cubicBezTo>
                    <a:pt x="60499" y="68349"/>
                    <a:pt x="60499" y="66983"/>
                    <a:pt x="60499" y="65615"/>
                  </a:cubicBezTo>
                  <a:cubicBezTo>
                    <a:pt x="59133" y="55591"/>
                    <a:pt x="50019" y="48756"/>
                    <a:pt x="39995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64601" y="0"/>
                  </a:lnTo>
                  <a:cubicBezTo>
                    <a:pt x="101509" y="0"/>
                    <a:pt x="121558" y="15948"/>
                    <a:pt x="121558" y="50123"/>
                  </a:cubicBezTo>
                  <a:lnTo>
                    <a:pt x="121558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1" name="Forme libre : forme 270">
              <a:extLst>
                <a:ext uri="{FF2B5EF4-FFF2-40B4-BE49-F238E27FC236}">
                  <a16:creationId xmlns:a16="http://schemas.microsoft.com/office/drawing/2014/main" id="{79A1F7C8-13AC-4C12-A1FD-013BA48F78A7}"/>
                </a:ext>
              </a:extLst>
            </p:cNvPr>
            <p:cNvSpPr/>
            <p:nvPr/>
          </p:nvSpPr>
          <p:spPr>
            <a:xfrm rot="8716295">
              <a:off x="763454" y="1474783"/>
              <a:ext cx="14143" cy="14319"/>
            </a:xfrm>
            <a:custGeom>
              <a:avLst/>
              <a:gdLst>
                <a:gd name="connsiteX0" fmla="*/ 0 w 14143"/>
                <a:gd name="connsiteY0" fmla="*/ 14319 h 14319"/>
                <a:gd name="connsiteX1" fmla="*/ 11843 w 14143"/>
                <a:gd name="connsiteY1" fmla="*/ 0 h 14319"/>
                <a:gd name="connsiteX2" fmla="*/ 14143 w 14143"/>
                <a:gd name="connsiteY2" fmla="*/ 7563 h 14319"/>
                <a:gd name="connsiteX3" fmla="*/ 14143 w 14143"/>
                <a:gd name="connsiteY3" fmla="*/ 13487 h 1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43" h="14319">
                  <a:moveTo>
                    <a:pt x="0" y="14319"/>
                  </a:moveTo>
                  <a:lnTo>
                    <a:pt x="11843" y="0"/>
                  </a:lnTo>
                  <a:lnTo>
                    <a:pt x="14143" y="7563"/>
                  </a:lnTo>
                  <a:lnTo>
                    <a:pt x="14143" y="1348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2" name="Forme libre : forme 271">
              <a:extLst>
                <a:ext uri="{FF2B5EF4-FFF2-40B4-BE49-F238E27FC236}">
                  <a16:creationId xmlns:a16="http://schemas.microsoft.com/office/drawing/2014/main" id="{C3E454D8-15B4-4672-8FB0-B86B805165E6}"/>
                </a:ext>
              </a:extLst>
            </p:cNvPr>
            <p:cNvSpPr/>
            <p:nvPr/>
          </p:nvSpPr>
          <p:spPr>
            <a:xfrm rot="8716295">
              <a:off x="672878" y="1171577"/>
              <a:ext cx="183964" cy="137618"/>
            </a:xfrm>
            <a:custGeom>
              <a:avLst/>
              <a:gdLst>
                <a:gd name="connsiteX0" fmla="*/ 0 w 183964"/>
                <a:gd name="connsiteY0" fmla="*/ 137618 h 137618"/>
                <a:gd name="connsiteX1" fmla="*/ 53346 w 183964"/>
                <a:gd name="connsiteY1" fmla="*/ 73121 h 137618"/>
                <a:gd name="connsiteX2" fmla="*/ 101034 w 183964"/>
                <a:gd name="connsiteY2" fmla="*/ 28251 h 137618"/>
                <a:gd name="connsiteX3" fmla="*/ 155713 w 183964"/>
                <a:gd name="connsiteY3" fmla="*/ 0 h 137618"/>
                <a:gd name="connsiteX4" fmla="*/ 183964 w 183964"/>
                <a:gd name="connsiteY4" fmla="*/ 33719 h 137618"/>
                <a:gd name="connsiteX5" fmla="*/ 157536 w 183964"/>
                <a:gd name="connsiteY5" fmla="*/ 69261 h 137618"/>
                <a:gd name="connsiteX6" fmla="*/ 157991 w 183964"/>
                <a:gd name="connsiteY6" fmla="*/ 69261 h 137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3964" h="137618">
                  <a:moveTo>
                    <a:pt x="0" y="137618"/>
                  </a:moveTo>
                  <a:lnTo>
                    <a:pt x="53346" y="73121"/>
                  </a:lnTo>
                  <a:lnTo>
                    <a:pt x="101034" y="28251"/>
                  </a:lnTo>
                  <a:cubicBezTo>
                    <a:pt x="114703" y="12303"/>
                    <a:pt x="134297" y="2278"/>
                    <a:pt x="155713" y="0"/>
                  </a:cubicBezTo>
                  <a:cubicBezTo>
                    <a:pt x="177585" y="0"/>
                    <a:pt x="183964" y="19138"/>
                    <a:pt x="183964" y="33719"/>
                  </a:cubicBezTo>
                  <a:cubicBezTo>
                    <a:pt x="182597" y="49667"/>
                    <a:pt x="172117" y="62881"/>
                    <a:pt x="157536" y="69261"/>
                  </a:cubicBezTo>
                  <a:lnTo>
                    <a:pt x="157991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3" name="Forme libre : forme 272">
              <a:extLst>
                <a:ext uri="{FF2B5EF4-FFF2-40B4-BE49-F238E27FC236}">
                  <a16:creationId xmlns:a16="http://schemas.microsoft.com/office/drawing/2014/main" id="{9C05EADF-BE0D-49AA-B420-B1EB4831C5FE}"/>
                </a:ext>
              </a:extLst>
            </p:cNvPr>
            <p:cNvSpPr/>
            <p:nvPr/>
          </p:nvSpPr>
          <p:spPr>
            <a:xfrm rot="8716295">
              <a:off x="519479" y="13148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4" name="Forme libre : forme 273">
              <a:extLst>
                <a:ext uri="{FF2B5EF4-FFF2-40B4-BE49-F238E27FC236}">
                  <a16:creationId xmlns:a16="http://schemas.microsoft.com/office/drawing/2014/main" id="{AB241E56-80DB-4C03-BDCB-013736737321}"/>
                </a:ext>
              </a:extLst>
            </p:cNvPr>
            <p:cNvSpPr/>
            <p:nvPr/>
          </p:nvSpPr>
          <p:spPr>
            <a:xfrm rot="8716295">
              <a:off x="394576" y="11061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5" name="Forme libre : forme 274">
              <a:extLst>
                <a:ext uri="{FF2B5EF4-FFF2-40B4-BE49-F238E27FC236}">
                  <a16:creationId xmlns:a16="http://schemas.microsoft.com/office/drawing/2014/main" id="{E447AC23-F520-414E-AA97-1E8F359564D9}"/>
                </a:ext>
              </a:extLst>
            </p:cNvPr>
            <p:cNvSpPr/>
            <p:nvPr/>
          </p:nvSpPr>
          <p:spPr>
            <a:xfrm rot="8716295">
              <a:off x="382524" y="96739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6" name="Forme libre : forme 275">
              <a:extLst>
                <a:ext uri="{FF2B5EF4-FFF2-40B4-BE49-F238E27FC236}">
                  <a16:creationId xmlns:a16="http://schemas.microsoft.com/office/drawing/2014/main" id="{64C6C88C-FD82-456D-9665-DF0FCE0E4C47}"/>
                </a:ext>
              </a:extLst>
            </p:cNvPr>
            <p:cNvSpPr/>
            <p:nvPr/>
          </p:nvSpPr>
          <p:spPr>
            <a:xfrm rot="8716295">
              <a:off x="609657" y="135579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7" name="Forme libre : forme 276">
              <a:extLst>
                <a:ext uri="{FF2B5EF4-FFF2-40B4-BE49-F238E27FC236}">
                  <a16:creationId xmlns:a16="http://schemas.microsoft.com/office/drawing/2014/main" id="{0A77A193-F583-4928-97AF-E64E8FF6DEAD}"/>
                </a:ext>
              </a:extLst>
            </p:cNvPr>
            <p:cNvSpPr/>
            <p:nvPr/>
          </p:nvSpPr>
          <p:spPr>
            <a:xfrm rot="8716295">
              <a:off x="683426" y="869567"/>
              <a:ext cx="156000" cy="195873"/>
            </a:xfrm>
            <a:custGeom>
              <a:avLst/>
              <a:gdLst>
                <a:gd name="connsiteX0" fmla="*/ 42863 w 156000"/>
                <a:gd name="connsiteY0" fmla="*/ 195873 h 195873"/>
                <a:gd name="connsiteX1" fmla="*/ 0 w 156000"/>
                <a:gd name="connsiteY1" fmla="*/ 116129 h 195873"/>
                <a:gd name="connsiteX2" fmla="*/ 5100 w 156000"/>
                <a:gd name="connsiteY2" fmla="*/ 101988 h 195873"/>
                <a:gd name="connsiteX3" fmla="*/ 89456 w 156000"/>
                <a:gd name="connsiteY3" fmla="*/ 0 h 195873"/>
                <a:gd name="connsiteX4" fmla="*/ 156000 w 156000"/>
                <a:gd name="connsiteY4" fmla="*/ 0 h 195873"/>
                <a:gd name="connsiteX5" fmla="*/ 156000 w 156000"/>
                <a:gd name="connsiteY5" fmla="*/ 55323 h 195873"/>
                <a:gd name="connsiteX6" fmla="*/ 91208 w 156000"/>
                <a:gd name="connsiteY6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000" h="195873">
                  <a:moveTo>
                    <a:pt x="42863" y="195873"/>
                  </a:moveTo>
                  <a:lnTo>
                    <a:pt x="0" y="116129"/>
                  </a:lnTo>
                  <a:lnTo>
                    <a:pt x="5100" y="101988"/>
                  </a:lnTo>
                  <a:lnTo>
                    <a:pt x="89456" y="0"/>
                  </a:lnTo>
                  <a:lnTo>
                    <a:pt x="156000" y="0"/>
                  </a:lnTo>
                  <a:lnTo>
                    <a:pt x="156000" y="55323"/>
                  </a:lnTo>
                  <a:lnTo>
                    <a:pt x="91208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8" name="Forme libre : forme 277">
              <a:extLst>
                <a:ext uri="{FF2B5EF4-FFF2-40B4-BE49-F238E27FC236}">
                  <a16:creationId xmlns:a16="http://schemas.microsoft.com/office/drawing/2014/main" id="{CF3F0AFD-D31B-4029-B3F3-E13BB8216AB9}"/>
                </a:ext>
              </a:extLst>
            </p:cNvPr>
            <p:cNvSpPr/>
            <p:nvPr/>
          </p:nvSpPr>
          <p:spPr>
            <a:xfrm rot="8716295">
              <a:off x="657305" y="95604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9" name="Forme libre : forme 278">
              <a:extLst>
                <a:ext uri="{FF2B5EF4-FFF2-40B4-BE49-F238E27FC236}">
                  <a16:creationId xmlns:a16="http://schemas.microsoft.com/office/drawing/2014/main" id="{4E0EA875-3BAB-4BDB-A5B0-808C38082217}"/>
                </a:ext>
              </a:extLst>
            </p:cNvPr>
            <p:cNvSpPr/>
            <p:nvPr/>
          </p:nvSpPr>
          <p:spPr>
            <a:xfrm rot="8716295">
              <a:off x="412774" y="56424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0" name="Forme libre : forme 279">
              <a:extLst>
                <a:ext uri="{FF2B5EF4-FFF2-40B4-BE49-F238E27FC236}">
                  <a16:creationId xmlns:a16="http://schemas.microsoft.com/office/drawing/2014/main" id="{842C3D6E-95C4-425C-8B38-D0EBD8DBD5E5}"/>
                </a:ext>
              </a:extLst>
            </p:cNvPr>
            <p:cNvSpPr/>
            <p:nvPr/>
          </p:nvSpPr>
          <p:spPr>
            <a:xfrm rot="8716295">
              <a:off x="502166" y="59348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1" name="Forme libre : forme 280">
              <a:extLst>
                <a:ext uri="{FF2B5EF4-FFF2-40B4-BE49-F238E27FC236}">
                  <a16:creationId xmlns:a16="http://schemas.microsoft.com/office/drawing/2014/main" id="{A75BA1B9-497A-4874-9158-409D833D072A}"/>
                </a:ext>
              </a:extLst>
            </p:cNvPr>
            <p:cNvSpPr/>
            <p:nvPr/>
          </p:nvSpPr>
          <p:spPr>
            <a:xfrm rot="8716295">
              <a:off x="457316" y="50720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2" name="Forme libre : forme 281">
              <a:extLst>
                <a:ext uri="{FF2B5EF4-FFF2-40B4-BE49-F238E27FC236}">
                  <a16:creationId xmlns:a16="http://schemas.microsoft.com/office/drawing/2014/main" id="{205B75CA-6160-44CB-AE0D-8B52A04FF9B7}"/>
                </a:ext>
              </a:extLst>
            </p:cNvPr>
            <p:cNvSpPr/>
            <p:nvPr/>
          </p:nvSpPr>
          <p:spPr>
            <a:xfrm rot="8716295">
              <a:off x="300540" y="65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3" name="Forme libre : forme 282">
              <a:extLst>
                <a:ext uri="{FF2B5EF4-FFF2-40B4-BE49-F238E27FC236}">
                  <a16:creationId xmlns:a16="http://schemas.microsoft.com/office/drawing/2014/main" id="{91186326-55D6-4548-B33F-3511BC925FE8}"/>
                </a:ext>
              </a:extLst>
            </p:cNvPr>
            <p:cNvSpPr/>
            <p:nvPr/>
          </p:nvSpPr>
          <p:spPr>
            <a:xfrm rot="8716295">
              <a:off x="175637" y="44411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4" name="Forme libre : forme 283">
              <a:extLst>
                <a:ext uri="{FF2B5EF4-FFF2-40B4-BE49-F238E27FC236}">
                  <a16:creationId xmlns:a16="http://schemas.microsoft.com/office/drawing/2014/main" id="{A2ED5F31-FCDD-430A-BE16-9B1EA12A7F4F}"/>
                </a:ext>
              </a:extLst>
            </p:cNvPr>
            <p:cNvSpPr/>
            <p:nvPr/>
          </p:nvSpPr>
          <p:spPr>
            <a:xfrm rot="8716295">
              <a:off x="163585" y="30533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5" name="Forme libre : forme 284">
              <a:extLst>
                <a:ext uri="{FF2B5EF4-FFF2-40B4-BE49-F238E27FC236}">
                  <a16:creationId xmlns:a16="http://schemas.microsoft.com/office/drawing/2014/main" id="{FEC22DEA-F709-420C-A439-1AC57EB74539}"/>
                </a:ext>
              </a:extLst>
            </p:cNvPr>
            <p:cNvSpPr/>
            <p:nvPr/>
          </p:nvSpPr>
          <p:spPr>
            <a:xfrm rot="8716295">
              <a:off x="390718" y="69374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6" name="Forme libre : forme 285">
              <a:extLst>
                <a:ext uri="{FF2B5EF4-FFF2-40B4-BE49-F238E27FC236}">
                  <a16:creationId xmlns:a16="http://schemas.microsoft.com/office/drawing/2014/main" id="{4DA790D9-C5B8-43BC-8AB6-4E888B07FAC5}"/>
                </a:ext>
              </a:extLst>
            </p:cNvPr>
            <p:cNvSpPr/>
            <p:nvPr/>
          </p:nvSpPr>
          <p:spPr>
            <a:xfrm rot="8716295">
              <a:off x="702015" y="317459"/>
              <a:ext cx="131260" cy="232388"/>
            </a:xfrm>
            <a:custGeom>
              <a:avLst/>
              <a:gdLst>
                <a:gd name="connsiteX0" fmla="*/ 70201 w 131260"/>
                <a:gd name="connsiteY0" fmla="*/ 232388 h 232388"/>
                <a:gd name="connsiteX1" fmla="*/ 70201 w 131260"/>
                <a:gd name="connsiteY1" fmla="*/ 69717 h 232388"/>
                <a:gd name="connsiteX2" fmla="*/ 70201 w 131260"/>
                <a:gd name="connsiteY2" fmla="*/ 65615 h 232388"/>
                <a:gd name="connsiteX3" fmla="*/ 49697 w 131260"/>
                <a:gd name="connsiteY3" fmla="*/ 50123 h 232388"/>
                <a:gd name="connsiteX4" fmla="*/ 0 w 131260"/>
                <a:gd name="connsiteY4" fmla="*/ 50123 h 232388"/>
                <a:gd name="connsiteX5" fmla="*/ 41457 w 131260"/>
                <a:gd name="connsiteY5" fmla="*/ 0 h 232388"/>
                <a:gd name="connsiteX6" fmla="*/ 74303 w 131260"/>
                <a:gd name="connsiteY6" fmla="*/ 0 h 232388"/>
                <a:gd name="connsiteX7" fmla="*/ 131260 w 131260"/>
                <a:gd name="connsiteY7" fmla="*/ 50123 h 232388"/>
                <a:gd name="connsiteX8" fmla="*/ 131260 w 131260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1260" h="232388">
                  <a:moveTo>
                    <a:pt x="70201" y="232388"/>
                  </a:moveTo>
                  <a:lnTo>
                    <a:pt x="70201" y="69717"/>
                  </a:lnTo>
                  <a:cubicBezTo>
                    <a:pt x="70201" y="68349"/>
                    <a:pt x="70201" y="66983"/>
                    <a:pt x="70201" y="65615"/>
                  </a:cubicBezTo>
                  <a:cubicBezTo>
                    <a:pt x="68835" y="55591"/>
                    <a:pt x="59721" y="48756"/>
                    <a:pt x="49697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74303" y="0"/>
                  </a:lnTo>
                  <a:cubicBezTo>
                    <a:pt x="111211" y="0"/>
                    <a:pt x="131260" y="15948"/>
                    <a:pt x="131260" y="50123"/>
                  </a:cubicBezTo>
                  <a:lnTo>
                    <a:pt x="131260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7" name="Forme libre : forme 286">
              <a:extLst>
                <a:ext uri="{FF2B5EF4-FFF2-40B4-BE49-F238E27FC236}">
                  <a16:creationId xmlns:a16="http://schemas.microsoft.com/office/drawing/2014/main" id="{091E5F9C-73C6-4CAB-93E5-EFA60788C51C}"/>
                </a:ext>
              </a:extLst>
            </p:cNvPr>
            <p:cNvSpPr/>
            <p:nvPr/>
          </p:nvSpPr>
          <p:spPr>
            <a:xfrm rot="8716295">
              <a:off x="834978" y="558357"/>
              <a:ext cx="24341" cy="23495"/>
            </a:xfrm>
            <a:custGeom>
              <a:avLst/>
              <a:gdLst>
                <a:gd name="connsiteX0" fmla="*/ 0 w 24341"/>
                <a:gd name="connsiteY0" fmla="*/ 23495 h 23495"/>
                <a:gd name="connsiteX1" fmla="*/ 19433 w 24341"/>
                <a:gd name="connsiteY1" fmla="*/ 0 h 23495"/>
                <a:gd name="connsiteX2" fmla="*/ 24341 w 24341"/>
                <a:gd name="connsiteY2" fmla="*/ 16139 h 23495"/>
                <a:gd name="connsiteX3" fmla="*/ 24341 w 24341"/>
                <a:gd name="connsiteY3" fmla="*/ 22063 h 23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41" h="23495">
                  <a:moveTo>
                    <a:pt x="0" y="23495"/>
                  </a:moveTo>
                  <a:lnTo>
                    <a:pt x="19433" y="0"/>
                  </a:lnTo>
                  <a:lnTo>
                    <a:pt x="24341" y="16139"/>
                  </a:lnTo>
                  <a:lnTo>
                    <a:pt x="24341" y="220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8" name="Forme libre : forme 287">
              <a:extLst>
                <a:ext uri="{FF2B5EF4-FFF2-40B4-BE49-F238E27FC236}">
                  <a16:creationId xmlns:a16="http://schemas.microsoft.com/office/drawing/2014/main" id="{93F3A654-B74E-499B-8487-8A2B2CC5A0EA}"/>
                </a:ext>
              </a:extLst>
            </p:cNvPr>
            <p:cNvSpPr/>
            <p:nvPr/>
          </p:nvSpPr>
          <p:spPr>
            <a:xfrm rot="8716295">
              <a:off x="589639" y="40263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9" name="Forme libre : forme 288">
              <a:extLst>
                <a:ext uri="{FF2B5EF4-FFF2-40B4-BE49-F238E27FC236}">
                  <a16:creationId xmlns:a16="http://schemas.microsoft.com/office/drawing/2014/main" id="{D0AE4335-4774-4A5C-9D6E-6AA33670DF96}"/>
                </a:ext>
              </a:extLst>
            </p:cNvPr>
            <p:cNvSpPr/>
            <p:nvPr/>
          </p:nvSpPr>
          <p:spPr>
            <a:xfrm rot="8716295">
              <a:off x="464737" y="19396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0" name="Forme libre : forme 289">
              <a:extLst>
                <a:ext uri="{FF2B5EF4-FFF2-40B4-BE49-F238E27FC236}">
                  <a16:creationId xmlns:a16="http://schemas.microsoft.com/office/drawing/2014/main" id="{2305D91E-CF26-4028-92DC-E2D20BB482D6}"/>
                </a:ext>
              </a:extLst>
            </p:cNvPr>
            <p:cNvSpPr/>
            <p:nvPr/>
          </p:nvSpPr>
          <p:spPr>
            <a:xfrm rot="8716295">
              <a:off x="679817" y="44358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1" name="Forme libre : forme 290">
              <a:extLst>
                <a:ext uri="{FF2B5EF4-FFF2-40B4-BE49-F238E27FC236}">
                  <a16:creationId xmlns:a16="http://schemas.microsoft.com/office/drawing/2014/main" id="{DF9C8202-D29B-450E-90FF-E46CAC2E7FA2}"/>
                </a:ext>
              </a:extLst>
            </p:cNvPr>
            <p:cNvSpPr/>
            <p:nvPr/>
          </p:nvSpPr>
          <p:spPr>
            <a:xfrm rot="8716295">
              <a:off x="438366" y="29398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2" name="Forme libre : forme 291">
              <a:extLst>
                <a:ext uri="{FF2B5EF4-FFF2-40B4-BE49-F238E27FC236}">
                  <a16:creationId xmlns:a16="http://schemas.microsoft.com/office/drawing/2014/main" id="{28FFA2F5-C74D-4918-B35E-56FAFD44D7DC}"/>
                </a:ext>
              </a:extLst>
            </p:cNvPr>
            <p:cNvSpPr/>
            <p:nvPr/>
          </p:nvSpPr>
          <p:spPr>
            <a:xfrm rot="7484129">
              <a:off x="811674" y="658874"/>
              <a:ext cx="31078" cy="46141"/>
            </a:xfrm>
            <a:custGeom>
              <a:avLst/>
              <a:gdLst>
                <a:gd name="connsiteX0" fmla="*/ 15207 w 31078"/>
                <a:gd name="connsiteY0" fmla="*/ 46141 h 46141"/>
                <a:gd name="connsiteX1" fmla="*/ 0 w 31078"/>
                <a:gd name="connsiteY1" fmla="*/ 17849 h 46141"/>
                <a:gd name="connsiteX2" fmla="*/ 31078 w 31078"/>
                <a:gd name="connsiteY2" fmla="*/ 0 h 46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078" h="46141">
                  <a:moveTo>
                    <a:pt x="15207" y="46141"/>
                  </a:moveTo>
                  <a:lnTo>
                    <a:pt x="0" y="17849"/>
                  </a:lnTo>
                  <a:lnTo>
                    <a:pt x="3107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3" name="Forme libre : forme 292">
              <a:extLst>
                <a:ext uri="{FF2B5EF4-FFF2-40B4-BE49-F238E27FC236}">
                  <a16:creationId xmlns:a16="http://schemas.microsoft.com/office/drawing/2014/main" id="{F7F1B592-6665-4DA1-B454-1D5C767BA63B}"/>
                </a:ext>
              </a:extLst>
            </p:cNvPr>
            <p:cNvSpPr/>
            <p:nvPr/>
          </p:nvSpPr>
          <p:spPr>
            <a:xfrm rot="8716295">
              <a:off x="780102" y="336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4" name="Forme libre : forme 293">
              <a:extLst>
                <a:ext uri="{FF2B5EF4-FFF2-40B4-BE49-F238E27FC236}">
                  <a16:creationId xmlns:a16="http://schemas.microsoft.com/office/drawing/2014/main" id="{33626504-CACB-4364-8AA4-F28F086A7B6A}"/>
                </a:ext>
              </a:extLst>
            </p:cNvPr>
            <p:cNvSpPr/>
            <p:nvPr/>
          </p:nvSpPr>
          <p:spPr>
            <a:xfrm rot="8716295">
              <a:off x="202348" y="-57106"/>
              <a:ext cx="142167" cy="186494"/>
            </a:xfrm>
            <a:custGeom>
              <a:avLst/>
              <a:gdLst>
                <a:gd name="connsiteX0" fmla="*/ 142167 w 142167"/>
                <a:gd name="connsiteY0" fmla="*/ 186494 h 186494"/>
                <a:gd name="connsiteX1" fmla="*/ 81108 w 142167"/>
                <a:gd name="connsiteY1" fmla="*/ 144170 h 186494"/>
                <a:gd name="connsiteX2" fmla="*/ 81108 w 142167"/>
                <a:gd name="connsiteY2" fmla="*/ 69717 h 186494"/>
                <a:gd name="connsiteX3" fmla="*/ 81108 w 142167"/>
                <a:gd name="connsiteY3" fmla="*/ 65615 h 186494"/>
                <a:gd name="connsiteX4" fmla="*/ 60603 w 142167"/>
                <a:gd name="connsiteY4" fmla="*/ 50123 h 186494"/>
                <a:gd name="connsiteX5" fmla="*/ 0 w 142167"/>
                <a:gd name="connsiteY5" fmla="*/ 50123 h 186494"/>
                <a:gd name="connsiteX6" fmla="*/ 0 w 142167"/>
                <a:gd name="connsiteY6" fmla="*/ 0 h 186494"/>
                <a:gd name="connsiteX7" fmla="*/ 85209 w 142167"/>
                <a:gd name="connsiteY7" fmla="*/ 0 h 186494"/>
                <a:gd name="connsiteX8" fmla="*/ 142167 w 142167"/>
                <a:gd name="connsiteY8" fmla="*/ 50123 h 186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86494">
                  <a:moveTo>
                    <a:pt x="142167" y="186494"/>
                  </a:moveTo>
                  <a:lnTo>
                    <a:pt x="81108" y="144170"/>
                  </a:lnTo>
                  <a:lnTo>
                    <a:pt x="81108" y="69717"/>
                  </a:lnTo>
                  <a:cubicBezTo>
                    <a:pt x="81108" y="68349"/>
                    <a:pt x="81108" y="66983"/>
                    <a:pt x="81108" y="65615"/>
                  </a:cubicBezTo>
                  <a:cubicBezTo>
                    <a:pt x="79741" y="55591"/>
                    <a:pt x="70628" y="48756"/>
                    <a:pt x="60603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5" name="Forme libre : forme 294">
              <a:extLst>
                <a:ext uri="{FF2B5EF4-FFF2-40B4-BE49-F238E27FC236}">
                  <a16:creationId xmlns:a16="http://schemas.microsoft.com/office/drawing/2014/main" id="{8B9EE4C0-9C2E-42BB-B294-381EB8F6C5DA}"/>
                </a:ext>
              </a:extLst>
            </p:cNvPr>
            <p:cNvSpPr/>
            <p:nvPr/>
          </p:nvSpPr>
          <p:spPr>
            <a:xfrm rot="8716295">
              <a:off x="298766" y="-5395"/>
              <a:ext cx="260639" cy="180054"/>
            </a:xfrm>
            <a:custGeom>
              <a:avLst/>
              <a:gdLst>
                <a:gd name="connsiteX0" fmla="*/ 111638 w 260639"/>
                <a:gd name="connsiteY0" fmla="*/ 180054 h 180054"/>
                <a:gd name="connsiteX1" fmla="*/ 51490 w 260639"/>
                <a:gd name="connsiteY1" fmla="*/ 138362 h 180054"/>
                <a:gd name="connsiteX2" fmla="*/ 51490 w 260639"/>
                <a:gd name="connsiteY2" fmla="*/ 45624 h 180054"/>
                <a:gd name="connsiteX3" fmla="*/ 0 w 260639"/>
                <a:gd name="connsiteY3" fmla="*/ 45624 h 180054"/>
                <a:gd name="connsiteX4" fmla="*/ 0 w 260639"/>
                <a:gd name="connsiteY4" fmla="*/ 1425 h 180054"/>
                <a:gd name="connsiteX5" fmla="*/ 104802 w 260639"/>
                <a:gd name="connsiteY5" fmla="*/ 1425 h 180054"/>
                <a:gd name="connsiteX6" fmla="*/ 104802 w 260639"/>
                <a:gd name="connsiteY6" fmla="*/ 75242 h 180054"/>
                <a:gd name="connsiteX7" fmla="*/ 106169 w 260639"/>
                <a:gd name="connsiteY7" fmla="*/ 75242 h 180054"/>
                <a:gd name="connsiteX8" fmla="*/ 154014 w 260639"/>
                <a:gd name="connsiteY8" fmla="*/ 5981 h 180054"/>
                <a:gd name="connsiteX9" fmla="*/ 185455 w 260639"/>
                <a:gd name="connsiteY9" fmla="*/ 57 h 180054"/>
                <a:gd name="connsiteX10" fmla="*/ 260639 w 260639"/>
                <a:gd name="connsiteY10" fmla="*/ 88456 h 180054"/>
                <a:gd name="connsiteX11" fmla="*/ 260639 w 260639"/>
                <a:gd name="connsiteY11" fmla="*/ 94380 h 180054"/>
                <a:gd name="connsiteX12" fmla="*/ 198669 w 260639"/>
                <a:gd name="connsiteY12" fmla="*/ 98025 h 180054"/>
                <a:gd name="connsiteX13" fmla="*/ 198669 w 260639"/>
                <a:gd name="connsiteY13" fmla="*/ 81621 h 180054"/>
                <a:gd name="connsiteX14" fmla="*/ 164950 w 260639"/>
                <a:gd name="connsiteY14" fmla="*/ 40156 h 180054"/>
                <a:gd name="connsiteX15" fmla="*/ 111638 w 260639"/>
                <a:gd name="connsiteY15" fmla="*/ 127643 h 180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0639" h="180054">
                  <a:moveTo>
                    <a:pt x="111638" y="180054"/>
                  </a:moveTo>
                  <a:lnTo>
                    <a:pt x="51490" y="138362"/>
                  </a:ln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6" name="Forme libre : forme 295">
              <a:extLst>
                <a:ext uri="{FF2B5EF4-FFF2-40B4-BE49-F238E27FC236}">
                  <a16:creationId xmlns:a16="http://schemas.microsoft.com/office/drawing/2014/main" id="{426417CD-8FE4-43C3-B84F-A51A46F7C7B1}"/>
                </a:ext>
              </a:extLst>
            </p:cNvPr>
            <p:cNvSpPr/>
            <p:nvPr/>
          </p:nvSpPr>
          <p:spPr>
            <a:xfrm rot="8716295">
              <a:off x="276903" y="-12823"/>
              <a:ext cx="36272" cy="27982"/>
            </a:xfrm>
            <a:custGeom>
              <a:avLst/>
              <a:gdLst>
                <a:gd name="connsiteX0" fmla="*/ 36272 w 36272"/>
                <a:gd name="connsiteY0" fmla="*/ 27982 h 27982"/>
                <a:gd name="connsiteX1" fmla="*/ 0 w 36272"/>
                <a:gd name="connsiteY1" fmla="*/ 2840 h 27982"/>
                <a:gd name="connsiteX2" fmla="*/ 9543 w 36272"/>
                <a:gd name="connsiteY2" fmla="*/ 0 h 27982"/>
                <a:gd name="connsiteX3" fmla="*/ 31871 w 36272"/>
                <a:gd name="connsiteY3" fmla="*/ 11392 h 27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272" h="27982">
                  <a:moveTo>
                    <a:pt x="36272" y="27982"/>
                  </a:moveTo>
                  <a:lnTo>
                    <a:pt x="0" y="2840"/>
                  </a:lnTo>
                  <a:lnTo>
                    <a:pt x="9543" y="0"/>
                  </a:lnTo>
                  <a:cubicBezTo>
                    <a:pt x="20479" y="0"/>
                    <a:pt x="27542" y="4784"/>
                    <a:pt x="31871" y="113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7" name="Forme libre : forme 296">
              <a:extLst>
                <a:ext uri="{FF2B5EF4-FFF2-40B4-BE49-F238E27FC236}">
                  <a16:creationId xmlns:a16="http://schemas.microsoft.com/office/drawing/2014/main" id="{2194BB82-FA83-4BF9-8EBD-D8D0328F9BDF}"/>
                </a:ext>
              </a:extLst>
            </p:cNvPr>
            <p:cNvSpPr/>
            <p:nvPr/>
          </p:nvSpPr>
          <p:spPr>
            <a:xfrm rot="8716295">
              <a:off x="74640" y="-9665"/>
              <a:ext cx="58068" cy="54772"/>
            </a:xfrm>
            <a:custGeom>
              <a:avLst/>
              <a:gdLst>
                <a:gd name="connsiteX0" fmla="*/ 37436 w 58068"/>
                <a:gd name="connsiteY0" fmla="*/ 54772 h 54772"/>
                <a:gd name="connsiteX1" fmla="*/ 0 w 58068"/>
                <a:gd name="connsiteY1" fmla="*/ 28823 h 54772"/>
                <a:gd name="connsiteX2" fmla="*/ 8515 w 58068"/>
                <a:gd name="connsiteY2" fmla="*/ 8658 h 54772"/>
                <a:gd name="connsiteX3" fmla="*/ 29020 w 58068"/>
                <a:gd name="connsiteY3" fmla="*/ 0 h 54772"/>
                <a:gd name="connsiteX4" fmla="*/ 49525 w 58068"/>
                <a:gd name="connsiteY4" fmla="*/ 8658 h 54772"/>
                <a:gd name="connsiteX5" fmla="*/ 49525 w 58068"/>
                <a:gd name="connsiteY5" fmla="*/ 49668 h 5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068" h="54772">
                  <a:moveTo>
                    <a:pt x="37436" y="54772"/>
                  </a:moveTo>
                  <a:lnTo>
                    <a:pt x="0" y="28823"/>
                  </a:lnTo>
                  <a:lnTo>
                    <a:pt x="8515" y="8658"/>
                  </a:lnTo>
                  <a:cubicBezTo>
                    <a:pt x="13983" y="3190"/>
                    <a:pt x="21273" y="0"/>
                    <a:pt x="29020" y="0"/>
                  </a:cubicBezTo>
                  <a:cubicBezTo>
                    <a:pt x="36766" y="0"/>
                    <a:pt x="44057" y="3190"/>
                    <a:pt x="49525" y="8658"/>
                  </a:cubicBezTo>
                  <a:cubicBezTo>
                    <a:pt x="60916" y="19594"/>
                    <a:pt x="60916" y="38276"/>
                    <a:pt x="49525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8" name="Forme libre : forme 297">
              <a:extLst>
                <a:ext uri="{FF2B5EF4-FFF2-40B4-BE49-F238E27FC236}">
                  <a16:creationId xmlns:a16="http://schemas.microsoft.com/office/drawing/2014/main" id="{1E2DA60E-6B88-4273-B8B8-20DC571CA2F9}"/>
                </a:ext>
              </a:extLst>
            </p:cNvPr>
            <p:cNvSpPr/>
            <p:nvPr/>
          </p:nvSpPr>
          <p:spPr>
            <a:xfrm rot="8716295">
              <a:off x="13802" y="-10406"/>
              <a:ext cx="30027" cy="20814"/>
            </a:xfrm>
            <a:custGeom>
              <a:avLst/>
              <a:gdLst>
                <a:gd name="connsiteX0" fmla="*/ 30027 w 30027"/>
                <a:gd name="connsiteY0" fmla="*/ 20814 h 20814"/>
                <a:gd name="connsiteX1" fmla="*/ 0 w 30027"/>
                <a:gd name="connsiteY1" fmla="*/ 0 h 20814"/>
                <a:gd name="connsiteX2" fmla="*/ 30027 w 30027"/>
                <a:gd name="connsiteY2" fmla="*/ 0 h 20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027" h="20814">
                  <a:moveTo>
                    <a:pt x="30027" y="20814"/>
                  </a:moveTo>
                  <a:lnTo>
                    <a:pt x="0" y="0"/>
                  </a:lnTo>
                  <a:lnTo>
                    <a:pt x="3002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9" name="Forme libre : forme 298">
              <a:extLst>
                <a:ext uri="{FF2B5EF4-FFF2-40B4-BE49-F238E27FC236}">
                  <a16:creationId xmlns:a16="http://schemas.microsoft.com/office/drawing/2014/main" id="{0B53881C-9CFA-4C7A-B7BB-D045B9F708A3}"/>
                </a:ext>
              </a:extLst>
            </p:cNvPr>
            <p:cNvSpPr/>
            <p:nvPr/>
          </p:nvSpPr>
          <p:spPr>
            <a:xfrm rot="8716295">
              <a:off x="168048" y="3032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0" name="Forme libre : forme 299">
              <a:extLst>
                <a:ext uri="{FF2B5EF4-FFF2-40B4-BE49-F238E27FC236}">
                  <a16:creationId xmlns:a16="http://schemas.microsoft.com/office/drawing/2014/main" id="{07B92E1C-0CE7-4A26-8278-C39DA02570AC}"/>
                </a:ext>
              </a:extLst>
            </p:cNvPr>
            <p:cNvSpPr/>
            <p:nvPr/>
          </p:nvSpPr>
          <p:spPr>
            <a:xfrm rot="7484129">
              <a:off x="562078" y="-284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1" name="Forme libre : forme 300">
              <a:extLst>
                <a:ext uri="{FF2B5EF4-FFF2-40B4-BE49-F238E27FC236}">
                  <a16:creationId xmlns:a16="http://schemas.microsoft.com/office/drawing/2014/main" id="{CAE7423C-0BBB-4D40-8F55-D1ED03A3FDDA}"/>
                </a:ext>
              </a:extLst>
            </p:cNvPr>
            <p:cNvSpPr/>
            <p:nvPr/>
          </p:nvSpPr>
          <p:spPr>
            <a:xfrm rot="13089394">
              <a:off x="767127" y="-2787"/>
              <a:ext cx="149688" cy="301067"/>
            </a:xfrm>
            <a:custGeom>
              <a:avLst/>
              <a:gdLst>
                <a:gd name="connsiteX0" fmla="*/ 149688 w 149688"/>
                <a:gd name="connsiteY0" fmla="*/ 279622 h 301067"/>
                <a:gd name="connsiteX1" fmla="*/ 122393 w 149688"/>
                <a:gd name="connsiteY1" fmla="*/ 301067 h 301067"/>
                <a:gd name="connsiteX2" fmla="*/ 0 w 149688"/>
                <a:gd name="connsiteY2" fmla="*/ 114672 h 301067"/>
                <a:gd name="connsiteX3" fmla="*/ 0 w 149688"/>
                <a:gd name="connsiteY3" fmla="*/ 38074 h 301067"/>
                <a:gd name="connsiteX4" fmla="*/ 73388 w 149688"/>
                <a:gd name="connsiteY4" fmla="*/ 0 h 301067"/>
                <a:gd name="connsiteX5" fmla="*/ 74492 w 149688"/>
                <a:gd name="connsiteY5" fmla="*/ 153950 h 301067"/>
                <a:gd name="connsiteX6" fmla="*/ 87734 w 149688"/>
                <a:gd name="connsiteY6" fmla="*/ 245547 h 301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9688" h="301067">
                  <a:moveTo>
                    <a:pt x="149688" y="279622"/>
                  </a:moveTo>
                  <a:lnTo>
                    <a:pt x="122393" y="301067"/>
                  </a:lnTo>
                  <a:lnTo>
                    <a:pt x="0" y="114672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2836" y="184850"/>
                    <a:pt x="77802" y="216302"/>
                    <a:pt x="87734" y="2455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2" name="Forme libre : forme 301">
              <a:extLst>
                <a:ext uri="{FF2B5EF4-FFF2-40B4-BE49-F238E27FC236}">
                  <a16:creationId xmlns:a16="http://schemas.microsoft.com/office/drawing/2014/main" id="{DE7F88C3-F95A-48EB-BC5C-94F46E2332ED}"/>
                </a:ext>
              </a:extLst>
            </p:cNvPr>
            <p:cNvSpPr/>
            <p:nvPr/>
          </p:nvSpPr>
          <p:spPr>
            <a:xfrm rot="8716295">
              <a:off x="212141" y="304502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3" name="Forme libre : forme 302">
              <a:extLst>
                <a:ext uri="{FF2B5EF4-FFF2-40B4-BE49-F238E27FC236}">
                  <a16:creationId xmlns:a16="http://schemas.microsoft.com/office/drawing/2014/main" id="{D55BD2D7-C439-4F43-96D6-CC4EB9C9A2CD}"/>
                </a:ext>
              </a:extLst>
            </p:cNvPr>
            <p:cNvSpPr/>
            <p:nvPr/>
          </p:nvSpPr>
          <p:spPr>
            <a:xfrm rot="8716295">
              <a:off x="301533" y="307427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4" name="Forme libre : forme 303">
              <a:extLst>
                <a:ext uri="{FF2B5EF4-FFF2-40B4-BE49-F238E27FC236}">
                  <a16:creationId xmlns:a16="http://schemas.microsoft.com/office/drawing/2014/main" id="{98520A64-DC7D-4391-9310-C02770ED1A94}"/>
                </a:ext>
              </a:extLst>
            </p:cNvPr>
            <p:cNvSpPr/>
            <p:nvPr/>
          </p:nvSpPr>
          <p:spPr>
            <a:xfrm rot="8716295">
              <a:off x="256683" y="298799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5" name="Forme libre : forme 304">
              <a:extLst>
                <a:ext uri="{FF2B5EF4-FFF2-40B4-BE49-F238E27FC236}">
                  <a16:creationId xmlns:a16="http://schemas.microsoft.com/office/drawing/2014/main" id="{F4D8F56B-62F1-42CF-A7A2-650DB4131292}"/>
                </a:ext>
              </a:extLst>
            </p:cNvPr>
            <p:cNvSpPr/>
            <p:nvPr/>
          </p:nvSpPr>
          <p:spPr>
            <a:xfrm rot="8716295">
              <a:off x="99907" y="31335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6" name="Forme libre : forme 305">
              <a:extLst>
                <a:ext uri="{FF2B5EF4-FFF2-40B4-BE49-F238E27FC236}">
                  <a16:creationId xmlns:a16="http://schemas.microsoft.com/office/drawing/2014/main" id="{0D43E076-CB6A-4FEE-A459-C1DE20E99E2F}"/>
                </a:ext>
              </a:extLst>
            </p:cNvPr>
            <p:cNvSpPr/>
            <p:nvPr/>
          </p:nvSpPr>
          <p:spPr>
            <a:xfrm rot="8716295">
              <a:off x="-24996" y="29248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7" name="Forme libre : forme 306">
              <a:extLst>
                <a:ext uri="{FF2B5EF4-FFF2-40B4-BE49-F238E27FC236}">
                  <a16:creationId xmlns:a16="http://schemas.microsoft.com/office/drawing/2014/main" id="{CA2035BC-118E-49FD-BF84-9E105EEC437B}"/>
                </a:ext>
              </a:extLst>
            </p:cNvPr>
            <p:cNvSpPr/>
            <p:nvPr/>
          </p:nvSpPr>
          <p:spPr>
            <a:xfrm rot="8716295">
              <a:off x="51899" y="2754602"/>
              <a:ext cx="189488" cy="350829"/>
            </a:xfrm>
            <a:custGeom>
              <a:avLst/>
              <a:gdLst>
                <a:gd name="connsiteX0" fmla="*/ 25299 w 189488"/>
                <a:gd name="connsiteY0" fmla="*/ 321238 h 350829"/>
                <a:gd name="connsiteX1" fmla="*/ 0 w 189488"/>
                <a:gd name="connsiteY1" fmla="*/ 220042 h 350829"/>
                <a:gd name="connsiteX2" fmla="*/ 0 w 189488"/>
                <a:gd name="connsiteY2" fmla="*/ 40596 h 350829"/>
                <a:gd name="connsiteX3" fmla="*/ 78250 w 189488"/>
                <a:gd name="connsiteY3" fmla="*/ 0 h 350829"/>
                <a:gd name="connsiteX4" fmla="*/ 79427 w 189488"/>
                <a:gd name="connsiteY4" fmla="*/ 164149 h 350829"/>
                <a:gd name="connsiteX5" fmla="*/ 93547 w 189488"/>
                <a:gd name="connsiteY5" fmla="*/ 261815 h 350829"/>
                <a:gd name="connsiteX6" fmla="*/ 164148 w 189488"/>
                <a:gd name="connsiteY6" fmla="*/ 300646 h 350829"/>
                <a:gd name="connsiteX7" fmla="*/ 189488 w 189488"/>
                <a:gd name="connsiteY7" fmla="*/ 296141 h 350829"/>
                <a:gd name="connsiteX8" fmla="*/ 160617 w 189488"/>
                <a:gd name="connsiteY8" fmla="*/ 337791 h 350829"/>
                <a:gd name="connsiteX9" fmla="*/ 97666 w 189488"/>
                <a:gd name="connsiteY9" fmla="*/ 350655 h 350829"/>
                <a:gd name="connsiteX10" fmla="*/ 25299 w 189488"/>
                <a:gd name="connsiteY10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9488" h="350829">
                  <a:moveTo>
                    <a:pt x="25299" y="321238"/>
                  </a:moveTo>
                  <a:cubicBezTo>
                    <a:pt x="5295" y="301823"/>
                    <a:pt x="0" y="268286"/>
                    <a:pt x="0" y="220042"/>
                  </a:cubicBez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8" y="300646"/>
                  </a:cubicBezTo>
                  <a:lnTo>
                    <a:pt x="189488" y="296141"/>
                  </a:lnTo>
                  <a:lnTo>
                    <a:pt x="160617" y="337791"/>
                  </a:lnTo>
                  <a:lnTo>
                    <a:pt x="97666" y="350655"/>
                  </a:ln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8" name="Forme libre : forme 307">
              <a:extLst>
                <a:ext uri="{FF2B5EF4-FFF2-40B4-BE49-F238E27FC236}">
                  <a16:creationId xmlns:a16="http://schemas.microsoft.com/office/drawing/2014/main" id="{E8F898AD-C8B7-4665-871C-0DD08867FE33}"/>
                </a:ext>
              </a:extLst>
            </p:cNvPr>
            <p:cNvSpPr/>
            <p:nvPr/>
          </p:nvSpPr>
          <p:spPr>
            <a:xfrm rot="8716295">
              <a:off x="190085" y="317452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9" name="Forme libre : forme 308">
              <a:extLst>
                <a:ext uri="{FF2B5EF4-FFF2-40B4-BE49-F238E27FC236}">
                  <a16:creationId xmlns:a16="http://schemas.microsoft.com/office/drawing/2014/main" id="{21447FE1-A29B-45A2-85C9-8C8BA929308B}"/>
                </a:ext>
              </a:extLst>
            </p:cNvPr>
            <p:cNvSpPr/>
            <p:nvPr/>
          </p:nvSpPr>
          <p:spPr>
            <a:xfrm rot="8716295">
              <a:off x="502599" y="2802136"/>
              <a:ext cx="117588" cy="232388"/>
            </a:xfrm>
            <a:custGeom>
              <a:avLst/>
              <a:gdLst>
                <a:gd name="connsiteX0" fmla="*/ 56529 w 117588"/>
                <a:gd name="connsiteY0" fmla="*/ 232388 h 232388"/>
                <a:gd name="connsiteX1" fmla="*/ 56529 w 117588"/>
                <a:gd name="connsiteY1" fmla="*/ 69717 h 232388"/>
                <a:gd name="connsiteX2" fmla="*/ 56529 w 117588"/>
                <a:gd name="connsiteY2" fmla="*/ 65615 h 232388"/>
                <a:gd name="connsiteX3" fmla="*/ 36025 w 117588"/>
                <a:gd name="connsiteY3" fmla="*/ 50123 h 232388"/>
                <a:gd name="connsiteX4" fmla="*/ 0 w 117588"/>
                <a:gd name="connsiteY4" fmla="*/ 50123 h 232388"/>
                <a:gd name="connsiteX5" fmla="*/ 41458 w 117588"/>
                <a:gd name="connsiteY5" fmla="*/ 0 h 232388"/>
                <a:gd name="connsiteX6" fmla="*/ 60630 w 117588"/>
                <a:gd name="connsiteY6" fmla="*/ 0 h 232388"/>
                <a:gd name="connsiteX7" fmla="*/ 117588 w 117588"/>
                <a:gd name="connsiteY7" fmla="*/ 50123 h 232388"/>
                <a:gd name="connsiteX8" fmla="*/ 117588 w 117588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7588" h="232388">
                  <a:moveTo>
                    <a:pt x="56529" y="232388"/>
                  </a:moveTo>
                  <a:lnTo>
                    <a:pt x="56529" y="69717"/>
                  </a:lnTo>
                  <a:cubicBezTo>
                    <a:pt x="56529" y="68349"/>
                    <a:pt x="56529" y="66983"/>
                    <a:pt x="56529" y="65615"/>
                  </a:cubicBezTo>
                  <a:cubicBezTo>
                    <a:pt x="55163" y="55591"/>
                    <a:pt x="46049" y="48756"/>
                    <a:pt x="36025" y="50123"/>
                  </a:cubicBezTo>
                  <a:lnTo>
                    <a:pt x="0" y="50123"/>
                  </a:lnTo>
                  <a:lnTo>
                    <a:pt x="41458" y="0"/>
                  </a:lnTo>
                  <a:lnTo>
                    <a:pt x="60630" y="0"/>
                  </a:lnTo>
                  <a:cubicBezTo>
                    <a:pt x="97539" y="0"/>
                    <a:pt x="117588" y="15948"/>
                    <a:pt x="117588" y="50123"/>
                  </a:cubicBezTo>
                  <a:lnTo>
                    <a:pt x="117588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0" name="Forme libre : forme 309">
              <a:extLst>
                <a:ext uri="{FF2B5EF4-FFF2-40B4-BE49-F238E27FC236}">
                  <a16:creationId xmlns:a16="http://schemas.microsoft.com/office/drawing/2014/main" id="{DC5CD014-032B-4188-8129-1BA9EDEB5E1C}"/>
                </a:ext>
              </a:extLst>
            </p:cNvPr>
            <p:cNvSpPr/>
            <p:nvPr/>
          </p:nvSpPr>
          <p:spPr>
            <a:xfrm rot="8716295">
              <a:off x="389006" y="2883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1" name="Forme libre : forme 310">
              <a:extLst>
                <a:ext uri="{FF2B5EF4-FFF2-40B4-BE49-F238E27FC236}">
                  <a16:creationId xmlns:a16="http://schemas.microsoft.com/office/drawing/2014/main" id="{4BFA54F9-8E75-4357-98AE-7842173849BD}"/>
                </a:ext>
              </a:extLst>
            </p:cNvPr>
            <p:cNvSpPr/>
            <p:nvPr/>
          </p:nvSpPr>
          <p:spPr>
            <a:xfrm rot="8716295">
              <a:off x="264104" y="267474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2" name="Forme libre : forme 311">
              <a:extLst>
                <a:ext uri="{FF2B5EF4-FFF2-40B4-BE49-F238E27FC236}">
                  <a16:creationId xmlns:a16="http://schemas.microsoft.com/office/drawing/2014/main" id="{D627B6F1-7278-4938-8513-4523BF111D7A}"/>
                </a:ext>
              </a:extLst>
            </p:cNvPr>
            <p:cNvSpPr/>
            <p:nvPr/>
          </p:nvSpPr>
          <p:spPr>
            <a:xfrm rot="8716295">
              <a:off x="479184" y="292437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3" name="Forme libre : forme 312">
              <a:extLst>
                <a:ext uri="{FF2B5EF4-FFF2-40B4-BE49-F238E27FC236}">
                  <a16:creationId xmlns:a16="http://schemas.microsoft.com/office/drawing/2014/main" id="{44A8C608-76B9-49F0-B8EA-9C07C31A92DA}"/>
                </a:ext>
              </a:extLst>
            </p:cNvPr>
            <p:cNvSpPr/>
            <p:nvPr/>
          </p:nvSpPr>
          <p:spPr>
            <a:xfrm rot="8716295">
              <a:off x="237733" y="277477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4" name="Forme libre : forme 313">
              <a:extLst>
                <a:ext uri="{FF2B5EF4-FFF2-40B4-BE49-F238E27FC236}">
                  <a16:creationId xmlns:a16="http://schemas.microsoft.com/office/drawing/2014/main" id="{31723CE5-0F31-4468-8030-5F9773A83A08}"/>
                </a:ext>
              </a:extLst>
            </p:cNvPr>
            <p:cNvSpPr/>
            <p:nvPr/>
          </p:nvSpPr>
          <p:spPr>
            <a:xfrm rot="7484129">
              <a:off x="609980" y="3142825"/>
              <a:ext cx="20881" cy="31001"/>
            </a:xfrm>
            <a:custGeom>
              <a:avLst/>
              <a:gdLst>
                <a:gd name="connsiteX0" fmla="*/ 10218 w 20881"/>
                <a:gd name="connsiteY0" fmla="*/ 31001 h 31001"/>
                <a:gd name="connsiteX1" fmla="*/ 0 w 20881"/>
                <a:gd name="connsiteY1" fmla="*/ 11992 h 31001"/>
                <a:gd name="connsiteX2" fmla="*/ 20881 w 20881"/>
                <a:gd name="connsiteY2" fmla="*/ 0 h 31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881" h="31001">
                  <a:moveTo>
                    <a:pt x="10218" y="31001"/>
                  </a:moveTo>
                  <a:lnTo>
                    <a:pt x="0" y="11992"/>
                  </a:lnTo>
                  <a:lnTo>
                    <a:pt x="2088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5" name="Forme libre : forme 314">
              <a:extLst>
                <a:ext uri="{FF2B5EF4-FFF2-40B4-BE49-F238E27FC236}">
                  <a16:creationId xmlns:a16="http://schemas.microsoft.com/office/drawing/2014/main" id="{0A1A01CF-9944-4EC3-883D-948C509B42CD}"/>
                </a:ext>
              </a:extLst>
            </p:cNvPr>
            <p:cNvSpPr/>
            <p:nvPr/>
          </p:nvSpPr>
          <p:spPr>
            <a:xfrm rot="8716295">
              <a:off x="579469" y="28172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6" name="Forme libre : forme 315">
              <a:extLst>
                <a:ext uri="{FF2B5EF4-FFF2-40B4-BE49-F238E27FC236}">
                  <a16:creationId xmlns:a16="http://schemas.microsoft.com/office/drawing/2014/main" id="{71717ABE-8C5B-4E08-B642-252D74033C89}"/>
                </a:ext>
              </a:extLst>
            </p:cNvPr>
            <p:cNvSpPr/>
            <p:nvPr/>
          </p:nvSpPr>
          <p:spPr>
            <a:xfrm rot="8716295">
              <a:off x="437995" y="3716235"/>
              <a:ext cx="102679" cy="232388"/>
            </a:xfrm>
            <a:custGeom>
              <a:avLst/>
              <a:gdLst>
                <a:gd name="connsiteX0" fmla="*/ 41620 w 102679"/>
                <a:gd name="connsiteY0" fmla="*/ 232388 h 232388"/>
                <a:gd name="connsiteX1" fmla="*/ 41620 w 102679"/>
                <a:gd name="connsiteY1" fmla="*/ 69717 h 232388"/>
                <a:gd name="connsiteX2" fmla="*/ 41620 w 102679"/>
                <a:gd name="connsiteY2" fmla="*/ 65615 h 232388"/>
                <a:gd name="connsiteX3" fmla="*/ 21116 w 102679"/>
                <a:gd name="connsiteY3" fmla="*/ 50123 h 232388"/>
                <a:gd name="connsiteX4" fmla="*/ 0 w 102679"/>
                <a:gd name="connsiteY4" fmla="*/ 50123 h 232388"/>
                <a:gd name="connsiteX5" fmla="*/ 41457 w 102679"/>
                <a:gd name="connsiteY5" fmla="*/ 0 h 232388"/>
                <a:gd name="connsiteX6" fmla="*/ 45721 w 102679"/>
                <a:gd name="connsiteY6" fmla="*/ 0 h 232388"/>
                <a:gd name="connsiteX7" fmla="*/ 102679 w 102679"/>
                <a:gd name="connsiteY7" fmla="*/ 50123 h 232388"/>
                <a:gd name="connsiteX8" fmla="*/ 102679 w 102679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2679" h="232388">
                  <a:moveTo>
                    <a:pt x="41620" y="232388"/>
                  </a:moveTo>
                  <a:lnTo>
                    <a:pt x="41620" y="69717"/>
                  </a:lnTo>
                  <a:cubicBezTo>
                    <a:pt x="41620" y="68349"/>
                    <a:pt x="41620" y="66983"/>
                    <a:pt x="41620" y="65615"/>
                  </a:cubicBezTo>
                  <a:cubicBezTo>
                    <a:pt x="40254" y="55591"/>
                    <a:pt x="31140" y="48756"/>
                    <a:pt x="21116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45721" y="0"/>
                  </a:lnTo>
                  <a:cubicBezTo>
                    <a:pt x="82630" y="0"/>
                    <a:pt x="102679" y="15948"/>
                    <a:pt x="102679" y="50123"/>
                  </a:cubicBezTo>
                  <a:lnTo>
                    <a:pt x="102679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7" name="Forme libre : forme 316">
              <a:extLst>
                <a:ext uri="{FF2B5EF4-FFF2-40B4-BE49-F238E27FC236}">
                  <a16:creationId xmlns:a16="http://schemas.microsoft.com/office/drawing/2014/main" id="{57F9E802-91E2-4CB8-8036-748B1071E3AB}"/>
                </a:ext>
              </a:extLst>
            </p:cNvPr>
            <p:cNvSpPr/>
            <p:nvPr/>
          </p:nvSpPr>
          <p:spPr>
            <a:xfrm rot="8716295">
              <a:off x="482715" y="3669965"/>
              <a:ext cx="154563" cy="124897"/>
            </a:xfrm>
            <a:custGeom>
              <a:avLst/>
              <a:gdLst>
                <a:gd name="connsiteX0" fmla="*/ 0 w 154563"/>
                <a:gd name="connsiteY0" fmla="*/ 124897 h 124897"/>
                <a:gd name="connsiteX1" fmla="*/ 95474 w 154563"/>
                <a:gd name="connsiteY1" fmla="*/ 9467 h 124897"/>
                <a:gd name="connsiteX2" fmla="*/ 96067 w 154563"/>
                <a:gd name="connsiteY2" fmla="*/ 9000 h 124897"/>
                <a:gd name="connsiteX3" fmla="*/ 126312 w 154563"/>
                <a:gd name="connsiteY3" fmla="*/ 0 h 124897"/>
                <a:gd name="connsiteX4" fmla="*/ 154563 w 154563"/>
                <a:gd name="connsiteY4" fmla="*/ 33719 h 124897"/>
                <a:gd name="connsiteX5" fmla="*/ 128135 w 154563"/>
                <a:gd name="connsiteY5" fmla="*/ 69261 h 124897"/>
                <a:gd name="connsiteX6" fmla="*/ 128590 w 154563"/>
                <a:gd name="connsiteY6" fmla="*/ 69261 h 12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4563" h="124897">
                  <a:moveTo>
                    <a:pt x="0" y="124897"/>
                  </a:moveTo>
                  <a:lnTo>
                    <a:pt x="95474" y="9467"/>
                  </a:lnTo>
                  <a:lnTo>
                    <a:pt x="96067" y="9000"/>
                  </a:lnTo>
                  <a:cubicBezTo>
                    <a:pt x="105351" y="4215"/>
                    <a:pt x="115604" y="1139"/>
                    <a:pt x="126312" y="0"/>
                  </a:cubicBezTo>
                  <a:cubicBezTo>
                    <a:pt x="148184" y="0"/>
                    <a:pt x="154563" y="19138"/>
                    <a:pt x="154563" y="33719"/>
                  </a:cubicBezTo>
                  <a:cubicBezTo>
                    <a:pt x="153196" y="49668"/>
                    <a:pt x="142715" y="62882"/>
                    <a:pt x="128135" y="69261"/>
                  </a:cubicBezTo>
                  <a:lnTo>
                    <a:pt x="128590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8" name="Forme libre : forme 317">
              <a:extLst>
                <a:ext uri="{FF2B5EF4-FFF2-40B4-BE49-F238E27FC236}">
                  <a16:creationId xmlns:a16="http://schemas.microsoft.com/office/drawing/2014/main" id="{844BD3AC-808C-49B6-9585-45AED27044D8}"/>
                </a:ext>
              </a:extLst>
            </p:cNvPr>
            <p:cNvSpPr/>
            <p:nvPr/>
          </p:nvSpPr>
          <p:spPr>
            <a:xfrm rot="8716295">
              <a:off x="323074" y="379327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9" name="Forme libre : forme 318">
              <a:extLst>
                <a:ext uri="{FF2B5EF4-FFF2-40B4-BE49-F238E27FC236}">
                  <a16:creationId xmlns:a16="http://schemas.microsoft.com/office/drawing/2014/main" id="{6610930E-080F-4669-B332-C11A7EDE2E69}"/>
                </a:ext>
              </a:extLst>
            </p:cNvPr>
            <p:cNvSpPr/>
            <p:nvPr/>
          </p:nvSpPr>
          <p:spPr>
            <a:xfrm rot="8716295">
              <a:off x="198171" y="358459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0" name="Forme libre : forme 319">
              <a:extLst>
                <a:ext uri="{FF2B5EF4-FFF2-40B4-BE49-F238E27FC236}">
                  <a16:creationId xmlns:a16="http://schemas.microsoft.com/office/drawing/2014/main" id="{BB6AE4FF-01F3-4791-9797-82B71A71685F}"/>
                </a:ext>
              </a:extLst>
            </p:cNvPr>
            <p:cNvSpPr/>
            <p:nvPr/>
          </p:nvSpPr>
          <p:spPr>
            <a:xfrm rot="8716295">
              <a:off x="186119" y="344581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1" name="Forme libre : forme 320">
              <a:extLst>
                <a:ext uri="{FF2B5EF4-FFF2-40B4-BE49-F238E27FC236}">
                  <a16:creationId xmlns:a16="http://schemas.microsoft.com/office/drawing/2014/main" id="{B2FBA9B1-476F-454A-86CF-CB8E10185C59}"/>
                </a:ext>
              </a:extLst>
            </p:cNvPr>
            <p:cNvSpPr/>
            <p:nvPr/>
          </p:nvSpPr>
          <p:spPr>
            <a:xfrm rot="8716295">
              <a:off x="410218" y="3834716"/>
              <a:ext cx="103435" cy="219174"/>
            </a:xfrm>
            <a:custGeom>
              <a:avLst/>
              <a:gdLst>
                <a:gd name="connsiteX0" fmla="*/ 103435 w 103435"/>
                <a:gd name="connsiteY0" fmla="*/ 219174 h 219174"/>
                <a:gd name="connsiteX1" fmla="*/ 43288 w 103435"/>
                <a:gd name="connsiteY1" fmla="*/ 161305 h 219174"/>
                <a:gd name="connsiteX2" fmla="*/ 43288 w 103435"/>
                <a:gd name="connsiteY2" fmla="*/ 16404 h 219174"/>
                <a:gd name="connsiteX3" fmla="*/ 0 w 103435"/>
                <a:gd name="connsiteY3" fmla="*/ 16404 h 219174"/>
                <a:gd name="connsiteX4" fmla="*/ 0 w 103435"/>
                <a:gd name="connsiteY4" fmla="*/ 16028 h 219174"/>
                <a:gd name="connsiteX5" fmla="*/ 11583 w 103435"/>
                <a:gd name="connsiteY5" fmla="*/ 2023 h 219174"/>
                <a:gd name="connsiteX6" fmla="*/ 103435 w 103435"/>
                <a:gd name="connsiteY6" fmla="*/ 0 h 219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19174">
                  <a:moveTo>
                    <a:pt x="103435" y="219174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16028"/>
                  </a:lnTo>
                  <a:lnTo>
                    <a:pt x="11583" y="2023"/>
                  </a:lnTo>
                  <a:lnTo>
                    <a:pt x="10343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2" name="Forme libre : forme 321">
              <a:extLst>
                <a:ext uri="{FF2B5EF4-FFF2-40B4-BE49-F238E27FC236}">
                  <a16:creationId xmlns:a16="http://schemas.microsoft.com/office/drawing/2014/main" id="{FC54D21D-2562-49FC-BEBE-B5E2AB5AF4EE}"/>
                </a:ext>
              </a:extLst>
            </p:cNvPr>
            <p:cNvSpPr/>
            <p:nvPr/>
          </p:nvSpPr>
          <p:spPr>
            <a:xfrm rot="8716295">
              <a:off x="487452" y="3349370"/>
              <a:ext cx="151162" cy="195873"/>
            </a:xfrm>
            <a:custGeom>
              <a:avLst/>
              <a:gdLst>
                <a:gd name="connsiteX0" fmla="*/ 38025 w 151162"/>
                <a:gd name="connsiteY0" fmla="*/ 195873 h 195873"/>
                <a:gd name="connsiteX1" fmla="*/ 0 w 151162"/>
                <a:gd name="connsiteY1" fmla="*/ 125130 h 195873"/>
                <a:gd name="connsiteX2" fmla="*/ 103497 w 151162"/>
                <a:gd name="connsiteY2" fmla="*/ 0 h 195873"/>
                <a:gd name="connsiteX3" fmla="*/ 151162 w 151162"/>
                <a:gd name="connsiteY3" fmla="*/ 0 h 195873"/>
                <a:gd name="connsiteX4" fmla="*/ 151162 w 151162"/>
                <a:gd name="connsiteY4" fmla="*/ 55323 h 195873"/>
                <a:gd name="connsiteX5" fmla="*/ 86370 w 151162"/>
                <a:gd name="connsiteY5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1162" h="195873">
                  <a:moveTo>
                    <a:pt x="38025" y="195873"/>
                  </a:moveTo>
                  <a:lnTo>
                    <a:pt x="0" y="125130"/>
                  </a:lnTo>
                  <a:lnTo>
                    <a:pt x="103497" y="0"/>
                  </a:lnTo>
                  <a:lnTo>
                    <a:pt x="151162" y="0"/>
                  </a:lnTo>
                  <a:lnTo>
                    <a:pt x="151162" y="55323"/>
                  </a:lnTo>
                  <a:lnTo>
                    <a:pt x="86370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3" name="Forme libre : forme 322">
              <a:extLst>
                <a:ext uri="{FF2B5EF4-FFF2-40B4-BE49-F238E27FC236}">
                  <a16:creationId xmlns:a16="http://schemas.microsoft.com/office/drawing/2014/main" id="{1800C2CB-54A6-4240-B3ED-11D6043BB03F}"/>
                </a:ext>
              </a:extLst>
            </p:cNvPr>
            <p:cNvSpPr/>
            <p:nvPr/>
          </p:nvSpPr>
          <p:spPr>
            <a:xfrm rot="8716295">
              <a:off x="460900" y="343447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4" name="Forme libre : forme 323">
              <a:extLst>
                <a:ext uri="{FF2B5EF4-FFF2-40B4-BE49-F238E27FC236}">
                  <a16:creationId xmlns:a16="http://schemas.microsoft.com/office/drawing/2014/main" id="{3EBD1C82-1557-40AF-96AD-1C870F5CE8D7}"/>
                </a:ext>
              </a:extLst>
            </p:cNvPr>
            <p:cNvSpPr/>
            <p:nvPr/>
          </p:nvSpPr>
          <p:spPr>
            <a:xfrm rot="8716295">
              <a:off x="417336" y="4258920"/>
              <a:ext cx="147637" cy="195874"/>
            </a:xfrm>
            <a:custGeom>
              <a:avLst/>
              <a:gdLst>
                <a:gd name="connsiteX0" fmla="*/ 34500 w 147637"/>
                <a:gd name="connsiteY0" fmla="*/ 195874 h 195874"/>
                <a:gd name="connsiteX1" fmla="*/ 0 w 147637"/>
                <a:gd name="connsiteY1" fmla="*/ 131688 h 195874"/>
                <a:gd name="connsiteX2" fmla="*/ 108921 w 147637"/>
                <a:gd name="connsiteY2" fmla="*/ 0 h 195874"/>
                <a:gd name="connsiteX3" fmla="*/ 147637 w 147637"/>
                <a:gd name="connsiteY3" fmla="*/ 0 h 195874"/>
                <a:gd name="connsiteX4" fmla="*/ 147637 w 147637"/>
                <a:gd name="connsiteY4" fmla="*/ 55323 h 195874"/>
                <a:gd name="connsiteX5" fmla="*/ 82845 w 147637"/>
                <a:gd name="connsiteY5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7637" h="195874">
                  <a:moveTo>
                    <a:pt x="34500" y="195874"/>
                  </a:moveTo>
                  <a:lnTo>
                    <a:pt x="0" y="131688"/>
                  </a:lnTo>
                  <a:lnTo>
                    <a:pt x="108921" y="0"/>
                  </a:lnTo>
                  <a:lnTo>
                    <a:pt x="147637" y="0"/>
                  </a:lnTo>
                  <a:lnTo>
                    <a:pt x="147637" y="55323"/>
                  </a:lnTo>
                  <a:lnTo>
                    <a:pt x="8284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5" name="Forme libre : forme 324">
              <a:extLst>
                <a:ext uri="{FF2B5EF4-FFF2-40B4-BE49-F238E27FC236}">
                  <a16:creationId xmlns:a16="http://schemas.microsoft.com/office/drawing/2014/main" id="{50FA5920-2CA1-4B57-AFE9-708172C7151C}"/>
                </a:ext>
              </a:extLst>
            </p:cNvPr>
            <p:cNvSpPr/>
            <p:nvPr/>
          </p:nvSpPr>
          <p:spPr>
            <a:xfrm rot="8716295">
              <a:off x="330834" y="4134902"/>
              <a:ext cx="254613" cy="91157"/>
            </a:xfrm>
            <a:custGeom>
              <a:avLst/>
              <a:gdLst>
                <a:gd name="connsiteX0" fmla="*/ 0 w 254613"/>
                <a:gd name="connsiteY0" fmla="*/ 68911 h 91157"/>
                <a:gd name="connsiteX1" fmla="*/ 56997 w 254613"/>
                <a:gd name="connsiteY1" fmla="*/ 0 h 91157"/>
                <a:gd name="connsiteX2" fmla="*/ 57517 w 254613"/>
                <a:gd name="connsiteY2" fmla="*/ 2143 h 91157"/>
                <a:gd name="connsiteX3" fmla="*/ 128118 w 254613"/>
                <a:gd name="connsiteY3" fmla="*/ 40974 h 91157"/>
                <a:gd name="connsiteX4" fmla="*/ 181070 w 254613"/>
                <a:gd name="connsiteY4" fmla="*/ 31560 h 91157"/>
                <a:gd name="connsiteX5" fmla="*/ 253437 w 254613"/>
                <a:gd name="connsiteY5" fmla="*/ 2143 h 91157"/>
                <a:gd name="connsiteX6" fmla="*/ 254613 w 254613"/>
                <a:gd name="connsiteY6" fmla="*/ 9791 h 91157"/>
                <a:gd name="connsiteX7" fmla="*/ 254613 w 254613"/>
                <a:gd name="connsiteY7" fmla="*/ 15674 h 91157"/>
                <a:gd name="connsiteX8" fmla="*/ 61636 w 254613"/>
                <a:gd name="connsiteY8" fmla="*/ 90983 h 91157"/>
                <a:gd name="connsiteX9" fmla="*/ 22363 w 254613"/>
                <a:gd name="connsiteY9" fmla="*/ 84217 h 91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4613" h="91157">
                  <a:moveTo>
                    <a:pt x="0" y="68911"/>
                  </a:moveTo>
                  <a:lnTo>
                    <a:pt x="56997" y="0"/>
                  </a:lnTo>
                  <a:lnTo>
                    <a:pt x="57517" y="2143"/>
                  </a:lnTo>
                  <a:cubicBezTo>
                    <a:pt x="66931" y="28030"/>
                    <a:pt x="91053" y="40974"/>
                    <a:pt x="128118" y="40974"/>
                  </a:cubicBezTo>
                  <a:cubicBezTo>
                    <a:pt x="146357" y="40385"/>
                    <a:pt x="164008" y="36855"/>
                    <a:pt x="181070" y="31560"/>
                  </a:cubicBezTo>
                  <a:cubicBezTo>
                    <a:pt x="205780" y="23912"/>
                    <a:pt x="229903" y="13910"/>
                    <a:pt x="253437" y="2143"/>
                  </a:cubicBezTo>
                  <a:cubicBezTo>
                    <a:pt x="254025" y="4496"/>
                    <a:pt x="254613" y="7438"/>
                    <a:pt x="254613" y="9791"/>
                  </a:cubicBezTo>
                  <a:lnTo>
                    <a:pt x="254613" y="15674"/>
                  </a:lnTo>
                  <a:cubicBezTo>
                    <a:pt x="192249" y="69215"/>
                    <a:pt x="110468" y="88042"/>
                    <a:pt x="61636" y="90983"/>
                  </a:cubicBezTo>
                  <a:cubicBezTo>
                    <a:pt x="48104" y="91866"/>
                    <a:pt x="34719" y="89365"/>
                    <a:pt x="22363" y="842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6" name="Forme libre : forme 325">
              <a:extLst>
                <a:ext uri="{FF2B5EF4-FFF2-40B4-BE49-F238E27FC236}">
                  <a16:creationId xmlns:a16="http://schemas.microsoft.com/office/drawing/2014/main" id="{E3EDD39B-7171-468B-A877-2CE2BD07726B}"/>
                </a:ext>
              </a:extLst>
            </p:cNvPr>
            <p:cNvSpPr/>
            <p:nvPr/>
          </p:nvSpPr>
          <p:spPr>
            <a:xfrm rot="8716295">
              <a:off x="-3428" y="2405990"/>
              <a:ext cx="142167" cy="208592"/>
            </a:xfrm>
            <a:custGeom>
              <a:avLst/>
              <a:gdLst>
                <a:gd name="connsiteX0" fmla="*/ 81108 w 142167"/>
                <a:gd name="connsiteY0" fmla="*/ 208592 h 208592"/>
                <a:gd name="connsiteX1" fmla="*/ 81108 w 142167"/>
                <a:gd name="connsiteY1" fmla="*/ 69717 h 208592"/>
                <a:gd name="connsiteX2" fmla="*/ 81108 w 142167"/>
                <a:gd name="connsiteY2" fmla="*/ 65615 h 208592"/>
                <a:gd name="connsiteX3" fmla="*/ 60604 w 142167"/>
                <a:gd name="connsiteY3" fmla="*/ 50123 h 208592"/>
                <a:gd name="connsiteX4" fmla="*/ 0 w 142167"/>
                <a:gd name="connsiteY4" fmla="*/ 50123 h 208592"/>
                <a:gd name="connsiteX5" fmla="*/ 0 w 142167"/>
                <a:gd name="connsiteY5" fmla="*/ 0 h 208592"/>
                <a:gd name="connsiteX6" fmla="*/ 85210 w 142167"/>
                <a:gd name="connsiteY6" fmla="*/ 0 h 208592"/>
                <a:gd name="connsiteX7" fmla="*/ 142167 w 142167"/>
                <a:gd name="connsiteY7" fmla="*/ 50123 h 208592"/>
                <a:gd name="connsiteX8" fmla="*/ 142167 w 142167"/>
                <a:gd name="connsiteY8" fmla="*/ 120504 h 20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08592">
                  <a:moveTo>
                    <a:pt x="81108" y="208592"/>
                  </a:moveTo>
                  <a:lnTo>
                    <a:pt x="81108" y="69717"/>
                  </a:lnTo>
                  <a:cubicBezTo>
                    <a:pt x="81108" y="68350"/>
                    <a:pt x="81108" y="66983"/>
                    <a:pt x="81108" y="65615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10" y="0"/>
                  </a:lnTo>
                  <a:cubicBezTo>
                    <a:pt x="122118" y="0"/>
                    <a:pt x="142167" y="15948"/>
                    <a:pt x="142167" y="50123"/>
                  </a:cubicBezTo>
                  <a:lnTo>
                    <a:pt x="142167" y="1205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7" name="Forme libre : forme 326">
              <a:extLst>
                <a:ext uri="{FF2B5EF4-FFF2-40B4-BE49-F238E27FC236}">
                  <a16:creationId xmlns:a16="http://schemas.microsoft.com/office/drawing/2014/main" id="{23F7EF39-C8FF-4CA7-9DED-AF0E47CA9C7E}"/>
                </a:ext>
              </a:extLst>
            </p:cNvPr>
            <p:cNvSpPr/>
            <p:nvPr/>
          </p:nvSpPr>
          <p:spPr>
            <a:xfrm rot="8716295">
              <a:off x="80015" y="241329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8" name="Forme libre : forme 327">
              <a:extLst>
                <a:ext uri="{FF2B5EF4-FFF2-40B4-BE49-F238E27FC236}">
                  <a16:creationId xmlns:a16="http://schemas.microsoft.com/office/drawing/2014/main" id="{FBC44AA7-6291-474B-9C67-ED7522250EEB}"/>
                </a:ext>
              </a:extLst>
            </p:cNvPr>
            <p:cNvSpPr/>
            <p:nvPr/>
          </p:nvSpPr>
          <p:spPr>
            <a:xfrm rot="8716295">
              <a:off x="35165" y="232701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9" name="Forme libre : forme 328">
              <a:extLst>
                <a:ext uri="{FF2B5EF4-FFF2-40B4-BE49-F238E27FC236}">
                  <a16:creationId xmlns:a16="http://schemas.microsoft.com/office/drawing/2014/main" id="{5EA7A5E2-9C29-45B6-9267-972B0EFC92AD}"/>
                </a:ext>
              </a:extLst>
            </p:cNvPr>
            <p:cNvSpPr/>
            <p:nvPr/>
          </p:nvSpPr>
          <p:spPr>
            <a:xfrm rot="8716295">
              <a:off x="-20257" y="2217087"/>
              <a:ext cx="78731" cy="180665"/>
            </a:xfrm>
            <a:custGeom>
              <a:avLst/>
              <a:gdLst>
                <a:gd name="connsiteX0" fmla="*/ 0 w 78731"/>
                <a:gd name="connsiteY0" fmla="*/ 180665 h 180665"/>
                <a:gd name="connsiteX1" fmla="*/ 0 w 78731"/>
                <a:gd name="connsiteY1" fmla="*/ 40596 h 180665"/>
                <a:gd name="connsiteX2" fmla="*/ 78250 w 78731"/>
                <a:gd name="connsiteY2" fmla="*/ 0 h 180665"/>
                <a:gd name="connsiteX3" fmla="*/ 78731 w 78731"/>
                <a:gd name="connsiteY3" fmla="*/ 67083 h 180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731" h="180665">
                  <a:moveTo>
                    <a:pt x="0" y="180665"/>
                  </a:moveTo>
                  <a:lnTo>
                    <a:pt x="0" y="40596"/>
                  </a:lnTo>
                  <a:lnTo>
                    <a:pt x="78250" y="0"/>
                  </a:lnTo>
                  <a:lnTo>
                    <a:pt x="78731" y="670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0" name="Forme libre : forme 329">
              <a:extLst>
                <a:ext uri="{FF2B5EF4-FFF2-40B4-BE49-F238E27FC236}">
                  <a16:creationId xmlns:a16="http://schemas.microsoft.com/office/drawing/2014/main" id="{29FF2476-3E2D-4E1C-AC58-09A8EA6AE16D}"/>
                </a:ext>
              </a:extLst>
            </p:cNvPr>
            <p:cNvSpPr/>
            <p:nvPr/>
          </p:nvSpPr>
          <p:spPr>
            <a:xfrm rot="8716295">
              <a:off x="-15341" y="2575209"/>
              <a:ext cx="103435" cy="152027"/>
            </a:xfrm>
            <a:custGeom>
              <a:avLst/>
              <a:gdLst>
                <a:gd name="connsiteX0" fmla="*/ 43288 w 103435"/>
                <a:gd name="connsiteY0" fmla="*/ 152027 h 152027"/>
                <a:gd name="connsiteX1" fmla="*/ 43288 w 103435"/>
                <a:gd name="connsiteY1" fmla="*/ 16404 h 152027"/>
                <a:gd name="connsiteX2" fmla="*/ 0 w 103435"/>
                <a:gd name="connsiteY2" fmla="*/ 16404 h 152027"/>
                <a:gd name="connsiteX3" fmla="*/ 0 w 103435"/>
                <a:gd name="connsiteY3" fmla="*/ 2278 h 152027"/>
                <a:gd name="connsiteX4" fmla="*/ 103435 w 103435"/>
                <a:gd name="connsiteY4" fmla="*/ 0 h 152027"/>
                <a:gd name="connsiteX5" fmla="*/ 103435 w 103435"/>
                <a:gd name="connsiteY5" fmla="*/ 65255 h 152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152027">
                  <a:moveTo>
                    <a:pt x="43288" y="152027"/>
                  </a:move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652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1" name="Forme libre : forme 330">
              <a:extLst>
                <a:ext uri="{FF2B5EF4-FFF2-40B4-BE49-F238E27FC236}">
                  <a16:creationId xmlns:a16="http://schemas.microsoft.com/office/drawing/2014/main" id="{75F88328-D448-4AA5-9E75-FE8115368C6C}"/>
                </a:ext>
              </a:extLst>
            </p:cNvPr>
            <p:cNvSpPr/>
            <p:nvPr/>
          </p:nvSpPr>
          <p:spPr>
            <a:xfrm rot="8716295">
              <a:off x="279722" y="21339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2" name="Forme libre : forme 331">
              <a:extLst>
                <a:ext uri="{FF2B5EF4-FFF2-40B4-BE49-F238E27FC236}">
                  <a16:creationId xmlns:a16="http://schemas.microsoft.com/office/drawing/2014/main" id="{426E2A9F-197F-4F75-8782-ED9A68D4D6C8}"/>
                </a:ext>
              </a:extLst>
            </p:cNvPr>
            <p:cNvSpPr/>
            <p:nvPr/>
          </p:nvSpPr>
          <p:spPr>
            <a:xfrm rot="8716295">
              <a:off x="369114" y="21631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3" name="Forme libre : forme 332">
              <a:extLst>
                <a:ext uri="{FF2B5EF4-FFF2-40B4-BE49-F238E27FC236}">
                  <a16:creationId xmlns:a16="http://schemas.microsoft.com/office/drawing/2014/main" id="{94DB51E7-8EDB-4900-9675-0F9A6F5C490B}"/>
                </a:ext>
              </a:extLst>
            </p:cNvPr>
            <p:cNvSpPr/>
            <p:nvPr/>
          </p:nvSpPr>
          <p:spPr>
            <a:xfrm rot="8716295">
              <a:off x="167488" y="22224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4" name="Forme libre : forme 333">
              <a:extLst>
                <a:ext uri="{FF2B5EF4-FFF2-40B4-BE49-F238E27FC236}">
                  <a16:creationId xmlns:a16="http://schemas.microsoft.com/office/drawing/2014/main" id="{2E5B2022-399F-4450-9579-1B2308763857}"/>
                </a:ext>
              </a:extLst>
            </p:cNvPr>
            <p:cNvSpPr/>
            <p:nvPr/>
          </p:nvSpPr>
          <p:spPr>
            <a:xfrm rot="8716295">
              <a:off x="42586" y="20137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5" name="Forme libre : forme 334">
              <a:extLst>
                <a:ext uri="{FF2B5EF4-FFF2-40B4-BE49-F238E27FC236}">
                  <a16:creationId xmlns:a16="http://schemas.microsoft.com/office/drawing/2014/main" id="{2929CE2C-2256-40A5-A8F3-3829812FC41F}"/>
                </a:ext>
              </a:extLst>
            </p:cNvPr>
            <p:cNvSpPr/>
            <p:nvPr/>
          </p:nvSpPr>
          <p:spPr>
            <a:xfrm rot="8716295">
              <a:off x="257666" y="226339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6" name="Forme libre : forme 335">
              <a:extLst>
                <a:ext uri="{FF2B5EF4-FFF2-40B4-BE49-F238E27FC236}">
                  <a16:creationId xmlns:a16="http://schemas.microsoft.com/office/drawing/2014/main" id="{5B080DE2-EB07-4251-8225-D8F835BCC870}"/>
                </a:ext>
              </a:extLst>
            </p:cNvPr>
            <p:cNvSpPr/>
            <p:nvPr/>
          </p:nvSpPr>
          <p:spPr>
            <a:xfrm rot="8716295">
              <a:off x="16215" y="211379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7" name="Forme libre : forme 336">
              <a:extLst>
                <a:ext uri="{FF2B5EF4-FFF2-40B4-BE49-F238E27FC236}">
                  <a16:creationId xmlns:a16="http://schemas.microsoft.com/office/drawing/2014/main" id="{CE30ADAD-6662-46CB-9F1B-B1109F31D2A1}"/>
                </a:ext>
              </a:extLst>
            </p:cNvPr>
            <p:cNvSpPr/>
            <p:nvPr/>
          </p:nvSpPr>
          <p:spPr>
            <a:xfrm rot="7484129">
              <a:off x="362597" y="245474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8" name="Forme libre : forme 337">
              <a:extLst>
                <a:ext uri="{FF2B5EF4-FFF2-40B4-BE49-F238E27FC236}">
                  <a16:creationId xmlns:a16="http://schemas.microsoft.com/office/drawing/2014/main" id="{E0EC12C4-DE16-425E-A187-948925CA8B78}"/>
                </a:ext>
              </a:extLst>
            </p:cNvPr>
            <p:cNvSpPr/>
            <p:nvPr/>
          </p:nvSpPr>
          <p:spPr>
            <a:xfrm rot="13089394">
              <a:off x="463440" y="2426400"/>
              <a:ext cx="272584" cy="319064"/>
            </a:xfrm>
            <a:custGeom>
              <a:avLst/>
              <a:gdLst>
                <a:gd name="connsiteX0" fmla="*/ 80445 w 272584"/>
                <a:gd name="connsiteY0" fmla="*/ 215518 h 319064"/>
                <a:gd name="connsiteX1" fmla="*/ 0 w 272584"/>
                <a:gd name="connsiteY1" fmla="*/ 93007 h 319064"/>
                <a:gd name="connsiteX2" fmla="*/ 0 w 272584"/>
                <a:gd name="connsiteY2" fmla="*/ 38074 h 319064"/>
                <a:gd name="connsiteX3" fmla="*/ 73388 w 272584"/>
                <a:gd name="connsiteY3" fmla="*/ 0 h 319064"/>
                <a:gd name="connsiteX4" fmla="*/ 74492 w 272584"/>
                <a:gd name="connsiteY4" fmla="*/ 153950 h 319064"/>
                <a:gd name="connsiteX5" fmla="*/ 76768 w 272584"/>
                <a:gd name="connsiteY5" fmla="*/ 200369 h 319064"/>
                <a:gd name="connsiteX6" fmla="*/ 272584 w 272584"/>
                <a:gd name="connsiteY6" fmla="*/ 258238 h 319064"/>
                <a:gd name="connsiteX7" fmla="*/ 177331 w 272584"/>
                <a:gd name="connsiteY7" fmla="*/ 311347 h 319064"/>
                <a:gd name="connsiteX8" fmla="*/ 148437 w 272584"/>
                <a:gd name="connsiteY8" fmla="*/ 319064 h 319064"/>
                <a:gd name="connsiteX9" fmla="*/ 119231 w 272584"/>
                <a:gd name="connsiteY9" fmla="*/ 274585 h 319064"/>
                <a:gd name="connsiteX10" fmla="*/ 153949 w 272584"/>
                <a:gd name="connsiteY10" fmla="*/ 281965 h 319064"/>
                <a:gd name="connsiteX11" fmla="*/ 203610 w 272584"/>
                <a:gd name="connsiteY11" fmla="*/ 273136 h 319064"/>
                <a:gd name="connsiteX12" fmla="*/ 271481 w 272584"/>
                <a:gd name="connsiteY12" fmla="*/ 245547 h 319064"/>
                <a:gd name="connsiteX13" fmla="*/ 272584 w 272584"/>
                <a:gd name="connsiteY13" fmla="*/ 252720 h 319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2584" h="319064">
                  <a:moveTo>
                    <a:pt x="80445" y="215518"/>
                  </a:moveTo>
                  <a:lnTo>
                    <a:pt x="0" y="93007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3664" y="169400"/>
                    <a:pt x="74492" y="184988"/>
                    <a:pt x="76768" y="200369"/>
                  </a:cubicBezTo>
                  <a:close/>
                  <a:moveTo>
                    <a:pt x="272584" y="258238"/>
                  </a:moveTo>
                  <a:cubicBezTo>
                    <a:pt x="243339" y="283344"/>
                    <a:pt x="209542" y="300312"/>
                    <a:pt x="177331" y="311347"/>
                  </a:cubicBezTo>
                  <a:lnTo>
                    <a:pt x="148437" y="319064"/>
                  </a:lnTo>
                  <a:lnTo>
                    <a:pt x="119231" y="274585"/>
                  </a:lnTo>
                  <a:lnTo>
                    <a:pt x="153949" y="281965"/>
                  </a:lnTo>
                  <a:cubicBezTo>
                    <a:pt x="171055" y="281413"/>
                    <a:pt x="187609" y="278102"/>
                    <a:pt x="203610" y="273136"/>
                  </a:cubicBezTo>
                  <a:cubicBezTo>
                    <a:pt x="226785" y="265963"/>
                    <a:pt x="249409" y="256583"/>
                    <a:pt x="271481" y="245547"/>
                  </a:cubicBezTo>
                  <a:cubicBezTo>
                    <a:pt x="272032" y="247754"/>
                    <a:pt x="272584" y="250513"/>
                    <a:pt x="272584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9" name="Forme libre : forme 338">
              <a:extLst>
                <a:ext uri="{FF2B5EF4-FFF2-40B4-BE49-F238E27FC236}">
                  <a16:creationId xmlns:a16="http://schemas.microsoft.com/office/drawing/2014/main" id="{0EBB3BF6-5F1A-4179-B16F-FF1F99B6BEAC}"/>
                </a:ext>
              </a:extLst>
            </p:cNvPr>
            <p:cNvSpPr/>
            <p:nvPr/>
          </p:nvSpPr>
          <p:spPr>
            <a:xfrm rot="8716295">
              <a:off x="675867" y="2357327"/>
              <a:ext cx="38012" cy="45752"/>
            </a:xfrm>
            <a:custGeom>
              <a:avLst/>
              <a:gdLst>
                <a:gd name="connsiteX0" fmla="*/ 0 w 38012"/>
                <a:gd name="connsiteY0" fmla="*/ 45752 h 45752"/>
                <a:gd name="connsiteX1" fmla="*/ 37842 w 38012"/>
                <a:gd name="connsiteY1" fmla="*/ 0 h 45752"/>
                <a:gd name="connsiteX2" fmla="*/ 38012 w 38012"/>
                <a:gd name="connsiteY2" fmla="*/ 641 h 45752"/>
                <a:gd name="connsiteX3" fmla="*/ 6841 w 38012"/>
                <a:gd name="connsiteY3" fmla="*/ 42560 h 45752"/>
                <a:gd name="connsiteX4" fmla="*/ 7378 w 38012"/>
                <a:gd name="connsiteY4" fmla="*/ 42560 h 45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012" h="45752">
                  <a:moveTo>
                    <a:pt x="0" y="45752"/>
                  </a:moveTo>
                  <a:lnTo>
                    <a:pt x="37842" y="0"/>
                  </a:lnTo>
                  <a:lnTo>
                    <a:pt x="38012" y="641"/>
                  </a:lnTo>
                  <a:cubicBezTo>
                    <a:pt x="36400" y="19451"/>
                    <a:pt x="24039" y="35036"/>
                    <a:pt x="6841" y="42560"/>
                  </a:cubicBezTo>
                  <a:lnTo>
                    <a:pt x="7378" y="425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0" name="Forme libre : forme 339">
              <a:extLst>
                <a:ext uri="{FF2B5EF4-FFF2-40B4-BE49-F238E27FC236}">
                  <a16:creationId xmlns:a16="http://schemas.microsoft.com/office/drawing/2014/main" id="{40BD2394-2E6A-43B3-8282-5AF2A68AFB55}"/>
                </a:ext>
              </a:extLst>
            </p:cNvPr>
            <p:cNvSpPr/>
            <p:nvPr/>
          </p:nvSpPr>
          <p:spPr>
            <a:xfrm rot="8716295">
              <a:off x="601197" y="21260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1" name="Forme libre : forme 340">
              <a:extLst>
                <a:ext uri="{FF2B5EF4-FFF2-40B4-BE49-F238E27FC236}">
                  <a16:creationId xmlns:a16="http://schemas.microsoft.com/office/drawing/2014/main" id="{98C4AC75-3010-49F3-9D48-1212A4D988F1}"/>
                </a:ext>
              </a:extLst>
            </p:cNvPr>
            <p:cNvSpPr/>
            <p:nvPr/>
          </p:nvSpPr>
          <p:spPr>
            <a:xfrm rot="8716295">
              <a:off x="357951" y="21562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2" name="Forme libre : forme 341">
              <a:extLst>
                <a:ext uri="{FF2B5EF4-FFF2-40B4-BE49-F238E27FC236}">
                  <a16:creationId xmlns:a16="http://schemas.microsoft.com/office/drawing/2014/main" id="{F44EFD0C-26D8-44AF-B8B7-34925D1881F3}"/>
                </a:ext>
              </a:extLst>
            </p:cNvPr>
            <p:cNvSpPr/>
            <p:nvPr/>
          </p:nvSpPr>
          <p:spPr>
            <a:xfrm rot="8716295">
              <a:off x="535403" y="199698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3" name="Forme libre : forme 342">
              <a:extLst>
                <a:ext uri="{FF2B5EF4-FFF2-40B4-BE49-F238E27FC236}">
                  <a16:creationId xmlns:a16="http://schemas.microsoft.com/office/drawing/2014/main" id="{1A320605-AC28-4E7D-BF63-1E3FD62FB21F}"/>
                </a:ext>
              </a:extLst>
            </p:cNvPr>
            <p:cNvSpPr/>
            <p:nvPr/>
          </p:nvSpPr>
          <p:spPr>
            <a:xfrm rot="8716295">
              <a:off x="-76043" y="1768178"/>
              <a:ext cx="197178" cy="215049"/>
            </a:xfrm>
            <a:custGeom>
              <a:avLst/>
              <a:gdLst>
                <a:gd name="connsiteX0" fmla="*/ 51490 w 197178"/>
                <a:gd name="connsiteY0" fmla="*/ 215049 h 215049"/>
                <a:gd name="connsiteX1" fmla="*/ 51490 w 197178"/>
                <a:gd name="connsiteY1" fmla="*/ 45624 h 215049"/>
                <a:gd name="connsiteX2" fmla="*/ 0 w 197178"/>
                <a:gd name="connsiteY2" fmla="*/ 45624 h 215049"/>
                <a:gd name="connsiteX3" fmla="*/ 0 w 197178"/>
                <a:gd name="connsiteY3" fmla="*/ 1424 h 215049"/>
                <a:gd name="connsiteX4" fmla="*/ 104803 w 197178"/>
                <a:gd name="connsiteY4" fmla="*/ 1425 h 215049"/>
                <a:gd name="connsiteX5" fmla="*/ 104803 w 197178"/>
                <a:gd name="connsiteY5" fmla="*/ 75242 h 215049"/>
                <a:gd name="connsiteX6" fmla="*/ 106169 w 197178"/>
                <a:gd name="connsiteY6" fmla="*/ 75242 h 215049"/>
                <a:gd name="connsiteX7" fmla="*/ 154014 w 197178"/>
                <a:gd name="connsiteY7" fmla="*/ 5981 h 215049"/>
                <a:gd name="connsiteX8" fmla="*/ 185455 w 197178"/>
                <a:gd name="connsiteY8" fmla="*/ 57 h 215049"/>
                <a:gd name="connsiteX9" fmla="*/ 197178 w 197178"/>
                <a:gd name="connsiteY9" fmla="*/ 4872 h 215049"/>
                <a:gd name="connsiteX10" fmla="*/ 170795 w 197178"/>
                <a:gd name="connsiteY10" fmla="*/ 42934 h 215049"/>
                <a:gd name="connsiteX11" fmla="*/ 164950 w 197178"/>
                <a:gd name="connsiteY11" fmla="*/ 40156 h 215049"/>
                <a:gd name="connsiteX12" fmla="*/ 111638 w 197178"/>
                <a:gd name="connsiteY12" fmla="*/ 127643 h 215049"/>
                <a:gd name="connsiteX13" fmla="*/ 111638 w 197178"/>
                <a:gd name="connsiteY13" fmla="*/ 128277 h 21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178" h="215049">
                  <a:moveTo>
                    <a:pt x="51490" y="215049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4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lnTo>
                    <a:pt x="197178" y="4872"/>
                  </a:lnTo>
                  <a:lnTo>
                    <a:pt x="170795" y="42934"/>
                  </a:lnTo>
                  <a:lnTo>
                    <a:pt x="164950" y="40156"/>
                  </a:ln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1282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4" name="Forme libre : forme 343">
              <a:extLst>
                <a:ext uri="{FF2B5EF4-FFF2-40B4-BE49-F238E27FC236}">
                  <a16:creationId xmlns:a16="http://schemas.microsoft.com/office/drawing/2014/main" id="{79B4D19B-E848-47AB-BAFE-59EBF555A6F5}"/>
                </a:ext>
              </a:extLst>
            </p:cNvPr>
            <p:cNvSpPr/>
            <p:nvPr/>
          </p:nvSpPr>
          <p:spPr>
            <a:xfrm rot="8716295">
              <a:off x="56555" y="14742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5" name="Forme libre : forme 344">
              <a:extLst>
                <a:ext uri="{FF2B5EF4-FFF2-40B4-BE49-F238E27FC236}">
                  <a16:creationId xmlns:a16="http://schemas.microsoft.com/office/drawing/2014/main" id="{0496B299-828A-4BBC-966F-5FA47083E3CE}"/>
                </a:ext>
              </a:extLst>
            </p:cNvPr>
            <p:cNvSpPr/>
            <p:nvPr/>
          </p:nvSpPr>
          <p:spPr>
            <a:xfrm rot="8716295">
              <a:off x="145947" y="15034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6" name="Forme libre : forme 345">
              <a:extLst>
                <a:ext uri="{FF2B5EF4-FFF2-40B4-BE49-F238E27FC236}">
                  <a16:creationId xmlns:a16="http://schemas.microsoft.com/office/drawing/2014/main" id="{47AF6C7D-4B3B-4997-9D6C-9505A068BCE6}"/>
                </a:ext>
              </a:extLst>
            </p:cNvPr>
            <p:cNvSpPr/>
            <p:nvPr/>
          </p:nvSpPr>
          <p:spPr>
            <a:xfrm rot="8716295">
              <a:off x="-21870" y="1443501"/>
              <a:ext cx="68614" cy="55323"/>
            </a:xfrm>
            <a:custGeom>
              <a:avLst/>
              <a:gdLst>
                <a:gd name="connsiteX0" fmla="*/ 0 w 68614"/>
                <a:gd name="connsiteY0" fmla="*/ 55323 h 55323"/>
                <a:gd name="connsiteX1" fmla="*/ 0 w 68614"/>
                <a:gd name="connsiteY1" fmla="*/ 0 h 55323"/>
                <a:gd name="connsiteX2" fmla="*/ 68614 w 68614"/>
                <a:gd name="connsiteY2" fmla="*/ 0 h 55323"/>
                <a:gd name="connsiteX3" fmla="*/ 30266 w 68614"/>
                <a:gd name="connsiteY3" fmla="*/ 55323 h 55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614" h="55323">
                  <a:moveTo>
                    <a:pt x="0" y="55323"/>
                  </a:moveTo>
                  <a:lnTo>
                    <a:pt x="0" y="0"/>
                  </a:lnTo>
                  <a:lnTo>
                    <a:pt x="68614" y="0"/>
                  </a:lnTo>
                  <a:lnTo>
                    <a:pt x="30266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7" name="Forme libre : forme 346">
              <a:extLst>
                <a:ext uri="{FF2B5EF4-FFF2-40B4-BE49-F238E27FC236}">
                  <a16:creationId xmlns:a16="http://schemas.microsoft.com/office/drawing/2014/main" id="{6A925E12-2BFF-4625-A0A6-B147409EE83D}"/>
                </a:ext>
              </a:extLst>
            </p:cNvPr>
            <p:cNvSpPr/>
            <p:nvPr/>
          </p:nvSpPr>
          <p:spPr>
            <a:xfrm rot="8716295">
              <a:off x="35817" y="1618109"/>
              <a:ext cx="103435" cy="203897"/>
            </a:xfrm>
            <a:custGeom>
              <a:avLst/>
              <a:gdLst>
                <a:gd name="connsiteX0" fmla="*/ 87556 w 103435"/>
                <a:gd name="connsiteY0" fmla="*/ 203897 h 203897"/>
                <a:gd name="connsiteX1" fmla="*/ 43288 w 103435"/>
                <a:gd name="connsiteY1" fmla="*/ 161305 h 203897"/>
                <a:gd name="connsiteX2" fmla="*/ 43288 w 103435"/>
                <a:gd name="connsiteY2" fmla="*/ 16404 h 203897"/>
                <a:gd name="connsiteX3" fmla="*/ 0 w 103435"/>
                <a:gd name="connsiteY3" fmla="*/ 16404 h 203897"/>
                <a:gd name="connsiteX4" fmla="*/ 0 w 103435"/>
                <a:gd name="connsiteY4" fmla="*/ 2278 h 203897"/>
                <a:gd name="connsiteX5" fmla="*/ 103435 w 103435"/>
                <a:gd name="connsiteY5" fmla="*/ 0 h 203897"/>
                <a:gd name="connsiteX6" fmla="*/ 103435 w 103435"/>
                <a:gd name="connsiteY6" fmla="*/ 180989 h 203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03897">
                  <a:moveTo>
                    <a:pt x="87556" y="203897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1809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8" name="Forme libre : forme 347">
              <a:extLst>
                <a:ext uri="{FF2B5EF4-FFF2-40B4-BE49-F238E27FC236}">
                  <a16:creationId xmlns:a16="http://schemas.microsoft.com/office/drawing/2014/main" id="{8F161AAD-ABF3-4F08-A5E7-178FA67C468C}"/>
                </a:ext>
              </a:extLst>
            </p:cNvPr>
            <p:cNvSpPr/>
            <p:nvPr/>
          </p:nvSpPr>
          <p:spPr>
            <a:xfrm rot="7484129">
              <a:off x="139430" y="17950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9" name="Forme libre : forme 348">
              <a:extLst>
                <a:ext uri="{FF2B5EF4-FFF2-40B4-BE49-F238E27FC236}">
                  <a16:creationId xmlns:a16="http://schemas.microsoft.com/office/drawing/2014/main" id="{2B2677AB-A960-4EDE-895B-90B39923E929}"/>
                </a:ext>
              </a:extLst>
            </p:cNvPr>
            <p:cNvSpPr/>
            <p:nvPr/>
          </p:nvSpPr>
          <p:spPr>
            <a:xfrm rot="13089394">
              <a:off x="244250" y="17615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0" name="Forme libre : forme 349">
              <a:extLst>
                <a:ext uri="{FF2B5EF4-FFF2-40B4-BE49-F238E27FC236}">
                  <a16:creationId xmlns:a16="http://schemas.microsoft.com/office/drawing/2014/main" id="{57CCAF2A-AD40-4587-8C0B-9AD3AA1B47B2}"/>
                </a:ext>
              </a:extLst>
            </p:cNvPr>
            <p:cNvSpPr/>
            <p:nvPr/>
          </p:nvSpPr>
          <p:spPr>
            <a:xfrm rot="8716295">
              <a:off x="429835" y="15699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1" name="Forme libre : forme 350">
              <a:extLst>
                <a:ext uri="{FF2B5EF4-FFF2-40B4-BE49-F238E27FC236}">
                  <a16:creationId xmlns:a16="http://schemas.microsoft.com/office/drawing/2014/main" id="{1CD46395-0105-4DB9-A258-02757ED2970C}"/>
                </a:ext>
              </a:extLst>
            </p:cNvPr>
            <p:cNvSpPr/>
            <p:nvPr/>
          </p:nvSpPr>
          <p:spPr>
            <a:xfrm rot="8716295">
              <a:off x="378030" y="14663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2" name="Forme libre : forme 351">
              <a:extLst>
                <a:ext uri="{FF2B5EF4-FFF2-40B4-BE49-F238E27FC236}">
                  <a16:creationId xmlns:a16="http://schemas.microsoft.com/office/drawing/2014/main" id="{792A22ED-7042-473B-B5F0-A8F38B0EAB40}"/>
                </a:ext>
              </a:extLst>
            </p:cNvPr>
            <p:cNvSpPr/>
            <p:nvPr/>
          </p:nvSpPr>
          <p:spPr>
            <a:xfrm rot="8716295">
              <a:off x="134784" y="14965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3" name="Forme libre : forme 352">
              <a:extLst>
                <a:ext uri="{FF2B5EF4-FFF2-40B4-BE49-F238E27FC236}">
                  <a16:creationId xmlns:a16="http://schemas.microsoft.com/office/drawing/2014/main" id="{F026E106-3ED5-479C-A7E5-1D0CF59276FB}"/>
                </a:ext>
              </a:extLst>
            </p:cNvPr>
            <p:cNvSpPr/>
            <p:nvPr/>
          </p:nvSpPr>
          <p:spPr>
            <a:xfrm rot="8716295">
              <a:off x="312236" y="13372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4" name="Forme libre : forme 353">
              <a:extLst>
                <a:ext uri="{FF2B5EF4-FFF2-40B4-BE49-F238E27FC236}">
                  <a16:creationId xmlns:a16="http://schemas.microsoft.com/office/drawing/2014/main" id="{A652AA44-0788-418A-BCB7-7692D06F9F9C}"/>
                </a:ext>
              </a:extLst>
            </p:cNvPr>
            <p:cNvSpPr/>
            <p:nvPr/>
          </p:nvSpPr>
          <p:spPr>
            <a:xfrm rot="8716295">
              <a:off x="-17798" y="949199"/>
              <a:ext cx="39526" cy="50123"/>
            </a:xfrm>
            <a:custGeom>
              <a:avLst/>
              <a:gdLst>
                <a:gd name="connsiteX0" fmla="*/ 0 w 39526"/>
                <a:gd name="connsiteY0" fmla="*/ 50123 h 50123"/>
                <a:gd name="connsiteX1" fmla="*/ 0 w 39526"/>
                <a:gd name="connsiteY1" fmla="*/ 0 h 50123"/>
                <a:gd name="connsiteX2" fmla="*/ 39526 w 39526"/>
                <a:gd name="connsiteY2" fmla="*/ 0 h 50123"/>
                <a:gd name="connsiteX3" fmla="*/ 4782 w 39526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26" h="50123">
                  <a:moveTo>
                    <a:pt x="0" y="50123"/>
                  </a:moveTo>
                  <a:lnTo>
                    <a:pt x="0" y="0"/>
                  </a:lnTo>
                  <a:lnTo>
                    <a:pt x="39526" y="0"/>
                  </a:lnTo>
                  <a:lnTo>
                    <a:pt x="4782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5" name="Forme libre : forme 354">
              <a:extLst>
                <a:ext uri="{FF2B5EF4-FFF2-40B4-BE49-F238E27FC236}">
                  <a16:creationId xmlns:a16="http://schemas.microsoft.com/office/drawing/2014/main" id="{CC7F2B2F-A9EF-4436-92EE-F187A921B5A2}"/>
                </a:ext>
              </a:extLst>
            </p:cNvPr>
            <p:cNvSpPr/>
            <p:nvPr/>
          </p:nvSpPr>
          <p:spPr>
            <a:xfrm rot="8716295">
              <a:off x="-64996" y="834728"/>
              <a:ext cx="249650" cy="254774"/>
            </a:xfrm>
            <a:custGeom>
              <a:avLst/>
              <a:gdLst>
                <a:gd name="connsiteX0" fmla="*/ 51490 w 249650"/>
                <a:gd name="connsiteY0" fmla="*/ 254774 h 254774"/>
                <a:gd name="connsiteX1" fmla="*/ 51490 w 249650"/>
                <a:gd name="connsiteY1" fmla="*/ 45624 h 254774"/>
                <a:gd name="connsiteX2" fmla="*/ 0 w 249650"/>
                <a:gd name="connsiteY2" fmla="*/ 45624 h 254774"/>
                <a:gd name="connsiteX3" fmla="*/ 0 w 249650"/>
                <a:gd name="connsiteY3" fmla="*/ 1425 h 254774"/>
                <a:gd name="connsiteX4" fmla="*/ 104803 w 249650"/>
                <a:gd name="connsiteY4" fmla="*/ 1425 h 254774"/>
                <a:gd name="connsiteX5" fmla="*/ 104803 w 249650"/>
                <a:gd name="connsiteY5" fmla="*/ 75242 h 254774"/>
                <a:gd name="connsiteX6" fmla="*/ 106169 w 249650"/>
                <a:gd name="connsiteY6" fmla="*/ 75242 h 254774"/>
                <a:gd name="connsiteX7" fmla="*/ 154014 w 249650"/>
                <a:gd name="connsiteY7" fmla="*/ 5981 h 254774"/>
                <a:gd name="connsiteX8" fmla="*/ 185455 w 249650"/>
                <a:gd name="connsiteY8" fmla="*/ 57 h 254774"/>
                <a:gd name="connsiteX9" fmla="*/ 240647 w 249650"/>
                <a:gd name="connsiteY9" fmla="*/ 22727 h 254774"/>
                <a:gd name="connsiteX10" fmla="*/ 249650 w 249650"/>
                <a:gd name="connsiteY10" fmla="*/ 52327 h 254774"/>
                <a:gd name="connsiteX11" fmla="*/ 218795 w 249650"/>
                <a:gd name="connsiteY11" fmla="*/ 96841 h 254774"/>
                <a:gd name="connsiteX12" fmla="*/ 198669 w 249650"/>
                <a:gd name="connsiteY12" fmla="*/ 98025 h 254774"/>
                <a:gd name="connsiteX13" fmla="*/ 198669 w 249650"/>
                <a:gd name="connsiteY13" fmla="*/ 81621 h 254774"/>
                <a:gd name="connsiteX14" fmla="*/ 164950 w 249650"/>
                <a:gd name="connsiteY14" fmla="*/ 40156 h 254774"/>
                <a:gd name="connsiteX15" fmla="*/ 111638 w 249650"/>
                <a:gd name="connsiteY15" fmla="*/ 127643 h 254774"/>
                <a:gd name="connsiteX16" fmla="*/ 111638 w 249650"/>
                <a:gd name="connsiteY16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9650" h="254774">
                  <a:moveTo>
                    <a:pt x="51490" y="254774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08922" y="-398"/>
                    <a:pt x="227718" y="7576"/>
                    <a:pt x="240647" y="22727"/>
                  </a:cubicBezTo>
                  <a:lnTo>
                    <a:pt x="249650" y="52327"/>
                  </a:lnTo>
                  <a:lnTo>
                    <a:pt x="218795" y="96841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6" name="Forme libre : forme 355">
              <a:extLst>
                <a:ext uri="{FF2B5EF4-FFF2-40B4-BE49-F238E27FC236}">
                  <a16:creationId xmlns:a16="http://schemas.microsoft.com/office/drawing/2014/main" id="{B491F0AE-2B60-457D-9F7E-DF3C2D622FF0}"/>
                </a:ext>
              </a:extLst>
            </p:cNvPr>
            <p:cNvSpPr/>
            <p:nvPr/>
          </p:nvSpPr>
          <p:spPr>
            <a:xfrm rot="7484129">
              <a:off x="-63314" y="1172497"/>
              <a:ext cx="203848" cy="146395"/>
            </a:xfrm>
            <a:custGeom>
              <a:avLst/>
              <a:gdLst>
                <a:gd name="connsiteX0" fmla="*/ 0 w 203848"/>
                <a:gd name="connsiteY0" fmla="*/ 55323 h 146395"/>
                <a:gd name="connsiteX1" fmla="*/ 0 w 203848"/>
                <a:gd name="connsiteY1" fmla="*/ 0 h 146395"/>
                <a:gd name="connsiteX2" fmla="*/ 203848 w 203848"/>
                <a:gd name="connsiteY2" fmla="*/ 0 h 146395"/>
                <a:gd name="connsiteX3" fmla="*/ 203847 w 203848"/>
                <a:gd name="connsiteY3" fmla="*/ 49512 h 146395"/>
                <a:gd name="connsiteX4" fmla="*/ 195466 w 203848"/>
                <a:gd name="connsiteY4" fmla="*/ 55323 h 146395"/>
                <a:gd name="connsiteX5" fmla="*/ 139055 w 203848"/>
                <a:gd name="connsiteY5" fmla="*/ 55323 h 146395"/>
                <a:gd name="connsiteX6" fmla="*/ 121388 w 203848"/>
                <a:gd name="connsiteY6" fmla="*/ 106685 h 146395"/>
                <a:gd name="connsiteX7" fmla="*/ 64115 w 203848"/>
                <a:gd name="connsiteY7" fmla="*/ 146395 h 146395"/>
                <a:gd name="connsiteX8" fmla="*/ 47847 w 203848"/>
                <a:gd name="connsiteY8" fmla="*/ 116129 h 146395"/>
                <a:gd name="connsiteX9" fmla="*/ 69777 w 203848"/>
                <a:gd name="connsiteY9" fmla="*/ 55323 h 146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848" h="146395">
                  <a:moveTo>
                    <a:pt x="0" y="55323"/>
                  </a:moveTo>
                  <a:lnTo>
                    <a:pt x="0" y="0"/>
                  </a:lnTo>
                  <a:lnTo>
                    <a:pt x="203848" y="0"/>
                  </a:lnTo>
                  <a:lnTo>
                    <a:pt x="203847" y="49512"/>
                  </a:lnTo>
                  <a:lnTo>
                    <a:pt x="195466" y="55323"/>
                  </a:lnTo>
                  <a:lnTo>
                    <a:pt x="139055" y="55323"/>
                  </a:lnTo>
                  <a:lnTo>
                    <a:pt x="121388" y="106685"/>
                  </a:lnTo>
                  <a:lnTo>
                    <a:pt x="64115" y="146395"/>
                  </a:lnTo>
                  <a:lnTo>
                    <a:pt x="47847" y="116129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7" name="Forme libre : forme 356">
              <a:extLst>
                <a:ext uri="{FF2B5EF4-FFF2-40B4-BE49-F238E27FC236}">
                  <a16:creationId xmlns:a16="http://schemas.microsoft.com/office/drawing/2014/main" id="{566B0F1B-76F2-42A3-83ED-13519BAD8E0C}"/>
                </a:ext>
              </a:extLst>
            </p:cNvPr>
            <p:cNvSpPr/>
            <p:nvPr/>
          </p:nvSpPr>
          <p:spPr>
            <a:xfrm rot="13089394">
              <a:off x="25311" y="109952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8" name="Forme libre : forme 357">
              <a:extLst>
                <a:ext uri="{FF2B5EF4-FFF2-40B4-BE49-F238E27FC236}">
                  <a16:creationId xmlns:a16="http://schemas.microsoft.com/office/drawing/2014/main" id="{6ACA7109-A9A0-4CC8-B8F0-2B22C7DA70BF}"/>
                </a:ext>
              </a:extLst>
            </p:cNvPr>
            <p:cNvSpPr/>
            <p:nvPr/>
          </p:nvSpPr>
          <p:spPr>
            <a:xfrm rot="8716295">
              <a:off x="210896" y="90784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9" name="Forme libre : forme 358">
              <a:extLst>
                <a:ext uri="{FF2B5EF4-FFF2-40B4-BE49-F238E27FC236}">
                  <a16:creationId xmlns:a16="http://schemas.microsoft.com/office/drawing/2014/main" id="{452ADC31-6E2B-47AB-819B-06E9BDE7841B}"/>
                </a:ext>
              </a:extLst>
            </p:cNvPr>
            <p:cNvSpPr/>
            <p:nvPr/>
          </p:nvSpPr>
          <p:spPr>
            <a:xfrm rot="8716295">
              <a:off x="159091" y="80425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0" name="Forme libre : forme 359">
              <a:extLst>
                <a:ext uri="{FF2B5EF4-FFF2-40B4-BE49-F238E27FC236}">
                  <a16:creationId xmlns:a16="http://schemas.microsoft.com/office/drawing/2014/main" id="{BCEE9B8C-AA03-4719-891E-01DB914C78AC}"/>
                </a:ext>
              </a:extLst>
            </p:cNvPr>
            <p:cNvSpPr/>
            <p:nvPr/>
          </p:nvSpPr>
          <p:spPr>
            <a:xfrm rot="8716295">
              <a:off x="93297" y="67523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1" name="Forme libre : forme 360">
              <a:extLst>
                <a:ext uri="{FF2B5EF4-FFF2-40B4-BE49-F238E27FC236}">
                  <a16:creationId xmlns:a16="http://schemas.microsoft.com/office/drawing/2014/main" id="{F9DD0D80-4138-4478-988E-136F3B8038CE}"/>
                </a:ext>
              </a:extLst>
            </p:cNvPr>
            <p:cNvSpPr/>
            <p:nvPr/>
          </p:nvSpPr>
          <p:spPr>
            <a:xfrm rot="8716295">
              <a:off x="-7001" y="316701"/>
              <a:ext cx="14001" cy="20198"/>
            </a:xfrm>
            <a:custGeom>
              <a:avLst/>
              <a:gdLst>
                <a:gd name="connsiteX0" fmla="*/ 0 w 14001"/>
                <a:gd name="connsiteY0" fmla="*/ 20198 h 20198"/>
                <a:gd name="connsiteX1" fmla="*/ 0 w 14001"/>
                <a:gd name="connsiteY1" fmla="*/ 0 h 20198"/>
                <a:gd name="connsiteX2" fmla="*/ 14001 w 14001"/>
                <a:gd name="connsiteY2" fmla="*/ 0 h 2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01" h="20198">
                  <a:moveTo>
                    <a:pt x="0" y="20198"/>
                  </a:moveTo>
                  <a:lnTo>
                    <a:pt x="0" y="0"/>
                  </a:lnTo>
                  <a:lnTo>
                    <a:pt x="1400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2" name="Forme libre : forme 361">
              <a:extLst>
                <a:ext uri="{FF2B5EF4-FFF2-40B4-BE49-F238E27FC236}">
                  <a16:creationId xmlns:a16="http://schemas.microsoft.com/office/drawing/2014/main" id="{DF35AC08-7EAC-4D88-B60D-06D59DB2131D}"/>
                </a:ext>
              </a:extLst>
            </p:cNvPr>
            <p:cNvSpPr/>
            <p:nvPr/>
          </p:nvSpPr>
          <p:spPr>
            <a:xfrm rot="13089394">
              <a:off x="-81658" y="472652"/>
              <a:ext cx="173631" cy="237684"/>
            </a:xfrm>
            <a:custGeom>
              <a:avLst/>
              <a:gdLst>
                <a:gd name="connsiteX0" fmla="*/ 173631 w 173631"/>
                <a:gd name="connsiteY0" fmla="*/ 220990 h 237684"/>
                <a:gd name="connsiteX1" fmla="*/ 130972 w 173631"/>
                <a:gd name="connsiteY1" fmla="*/ 232382 h 237684"/>
                <a:gd name="connsiteX2" fmla="*/ 91597 w 173631"/>
                <a:gd name="connsiteY2" fmla="*/ 237521 h 237684"/>
                <a:gd name="connsiteX3" fmla="*/ 23727 w 173631"/>
                <a:gd name="connsiteY3" fmla="*/ 209931 h 237684"/>
                <a:gd name="connsiteX4" fmla="*/ 0 w 173631"/>
                <a:gd name="connsiteY4" fmla="*/ 115023 h 237684"/>
                <a:gd name="connsiteX5" fmla="*/ 0 w 173631"/>
                <a:gd name="connsiteY5" fmla="*/ 0 h 237684"/>
                <a:gd name="connsiteX6" fmla="*/ 76176 w 173631"/>
                <a:gd name="connsiteY6" fmla="*/ 96953 h 237684"/>
                <a:gd name="connsiteX7" fmla="*/ 76768 w 173631"/>
                <a:gd name="connsiteY7" fmla="*/ 109023 h 237684"/>
                <a:gd name="connsiteX8" fmla="*/ 87734 w 173631"/>
                <a:gd name="connsiteY8" fmla="*/ 154201 h 237684"/>
                <a:gd name="connsiteX9" fmla="*/ 111117 w 173631"/>
                <a:gd name="connsiteY9" fmla="*/ 181514 h 237684"/>
                <a:gd name="connsiteX10" fmla="*/ 148930 w 173631"/>
                <a:gd name="connsiteY10" fmla="*/ 189552 h 237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3631" h="237684">
                  <a:moveTo>
                    <a:pt x="173631" y="220990"/>
                  </a:moveTo>
                  <a:lnTo>
                    <a:pt x="130972" y="232382"/>
                  </a:lnTo>
                  <a:cubicBezTo>
                    <a:pt x="116428" y="235210"/>
                    <a:pt x="103047" y="236831"/>
                    <a:pt x="91597" y="237521"/>
                  </a:cubicBezTo>
                  <a:cubicBezTo>
                    <a:pt x="66215" y="239176"/>
                    <a:pt x="41384" y="228141"/>
                    <a:pt x="23727" y="209931"/>
                  </a:cubicBezTo>
                  <a:cubicBezTo>
                    <a:pt x="4966" y="191722"/>
                    <a:pt x="0" y="160270"/>
                    <a:pt x="0" y="115023"/>
                  </a:cubicBezTo>
                  <a:lnTo>
                    <a:pt x="0" y="0"/>
                  </a:lnTo>
                  <a:lnTo>
                    <a:pt x="76176" y="96953"/>
                  </a:lnTo>
                  <a:lnTo>
                    <a:pt x="76768" y="109023"/>
                  </a:lnTo>
                  <a:cubicBezTo>
                    <a:pt x="79044" y="124404"/>
                    <a:pt x="82768" y="139578"/>
                    <a:pt x="87734" y="154201"/>
                  </a:cubicBezTo>
                  <a:cubicBezTo>
                    <a:pt x="92149" y="166340"/>
                    <a:pt x="100012" y="175445"/>
                    <a:pt x="111117" y="181514"/>
                  </a:cubicBezTo>
                  <a:lnTo>
                    <a:pt x="148930" y="1895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3" name="Forme libre : forme 362">
              <a:extLst>
                <a:ext uri="{FF2B5EF4-FFF2-40B4-BE49-F238E27FC236}">
                  <a16:creationId xmlns:a16="http://schemas.microsoft.com/office/drawing/2014/main" id="{9AFF3E46-2559-4C6F-8BF3-7DBBEBA30E07}"/>
                </a:ext>
              </a:extLst>
            </p:cNvPr>
            <p:cNvSpPr/>
            <p:nvPr/>
          </p:nvSpPr>
          <p:spPr>
            <a:xfrm rot="8716295">
              <a:off x="-11774" y="24443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4" name="Forme libre : forme 363">
              <a:extLst>
                <a:ext uri="{FF2B5EF4-FFF2-40B4-BE49-F238E27FC236}">
                  <a16:creationId xmlns:a16="http://schemas.microsoft.com/office/drawing/2014/main" id="{97E07195-EA95-4E14-9CB9-A69F34AE04C5}"/>
                </a:ext>
              </a:extLst>
            </p:cNvPr>
            <p:cNvSpPr/>
            <p:nvPr/>
          </p:nvSpPr>
          <p:spPr>
            <a:xfrm rot="8716295">
              <a:off x="-30092" y="143486"/>
              <a:ext cx="77721" cy="97260"/>
            </a:xfrm>
            <a:custGeom>
              <a:avLst/>
              <a:gdLst>
                <a:gd name="connsiteX0" fmla="*/ 15821 w 77721"/>
                <a:gd name="connsiteY0" fmla="*/ 97260 h 97260"/>
                <a:gd name="connsiteX1" fmla="*/ 0 w 77721"/>
                <a:gd name="connsiteY1" fmla="*/ 59790 h 97260"/>
                <a:gd name="connsiteX2" fmla="*/ 0 w 77721"/>
                <a:gd name="connsiteY2" fmla="*/ 58869 h 97260"/>
                <a:gd name="connsiteX3" fmla="*/ 17477 w 77721"/>
                <a:gd name="connsiteY3" fmla="*/ 17477 h 97260"/>
                <a:gd name="connsiteX4" fmla="*/ 58869 w 77721"/>
                <a:gd name="connsiteY4" fmla="*/ 0 h 97260"/>
                <a:gd name="connsiteX5" fmla="*/ 77721 w 77721"/>
                <a:gd name="connsiteY5" fmla="*/ 7960 h 97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721" h="97260">
                  <a:moveTo>
                    <a:pt x="15821" y="97260"/>
                  </a:moveTo>
                  <a:lnTo>
                    <a:pt x="0" y="59790"/>
                  </a:ln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lnTo>
                    <a:pt x="77721" y="79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5" name="Forme libre : forme 364">
              <a:extLst>
                <a:ext uri="{FF2B5EF4-FFF2-40B4-BE49-F238E27FC236}">
                  <a16:creationId xmlns:a16="http://schemas.microsoft.com/office/drawing/2014/main" id="{F46DA911-E7B0-4E9F-BFB6-93C98E7208E7}"/>
                </a:ext>
              </a:extLst>
            </p:cNvPr>
            <p:cNvSpPr/>
            <p:nvPr/>
          </p:nvSpPr>
          <p:spPr>
            <a:xfrm rot="8716295">
              <a:off x="-17797" y="3452694"/>
              <a:ext cx="58455" cy="44199"/>
            </a:xfrm>
            <a:custGeom>
              <a:avLst/>
              <a:gdLst>
                <a:gd name="connsiteX0" fmla="*/ 0 w 58455"/>
                <a:gd name="connsiteY0" fmla="*/ 44199 h 44199"/>
                <a:gd name="connsiteX1" fmla="*/ 0 w 58455"/>
                <a:gd name="connsiteY1" fmla="*/ 0 h 44199"/>
                <a:gd name="connsiteX2" fmla="*/ 58455 w 58455"/>
                <a:gd name="connsiteY2" fmla="*/ 0 h 44199"/>
                <a:gd name="connsiteX3" fmla="*/ 27817 w 58455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55" h="44199">
                  <a:moveTo>
                    <a:pt x="0" y="44199"/>
                  </a:moveTo>
                  <a:lnTo>
                    <a:pt x="0" y="0"/>
                  </a:lnTo>
                  <a:lnTo>
                    <a:pt x="58455" y="0"/>
                  </a:lnTo>
                  <a:lnTo>
                    <a:pt x="27817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6" name="Forme libre : forme 365">
              <a:extLst>
                <a:ext uri="{FF2B5EF4-FFF2-40B4-BE49-F238E27FC236}">
                  <a16:creationId xmlns:a16="http://schemas.microsoft.com/office/drawing/2014/main" id="{C1D02749-F8C1-46C8-BEE0-16746055E93D}"/>
                </a:ext>
              </a:extLst>
            </p:cNvPr>
            <p:cNvSpPr/>
            <p:nvPr/>
          </p:nvSpPr>
          <p:spPr>
            <a:xfrm rot="13089394">
              <a:off x="-91485" y="3601812"/>
              <a:ext cx="206527" cy="292654"/>
            </a:xfrm>
            <a:custGeom>
              <a:avLst/>
              <a:gdLst>
                <a:gd name="connsiteX0" fmla="*/ 206527 w 206527"/>
                <a:gd name="connsiteY0" fmla="*/ 258693 h 292654"/>
                <a:gd name="connsiteX1" fmla="*/ 177331 w 206527"/>
                <a:gd name="connsiteY1" fmla="*/ 274971 h 292654"/>
                <a:gd name="connsiteX2" fmla="*/ 91597 w 206527"/>
                <a:gd name="connsiteY2" fmla="*/ 292491 h 292654"/>
                <a:gd name="connsiteX3" fmla="*/ 23727 w 206527"/>
                <a:gd name="connsiteY3" fmla="*/ 264901 h 292654"/>
                <a:gd name="connsiteX4" fmla="*/ 0 w 206527"/>
                <a:gd name="connsiteY4" fmla="*/ 169993 h 292654"/>
                <a:gd name="connsiteX5" fmla="*/ 0 w 206527"/>
                <a:gd name="connsiteY5" fmla="*/ 1698 h 292654"/>
                <a:gd name="connsiteX6" fmla="*/ 3273 w 206527"/>
                <a:gd name="connsiteY6" fmla="*/ 0 h 292654"/>
                <a:gd name="connsiteX7" fmla="*/ 74297 w 206527"/>
                <a:gd name="connsiteY7" fmla="*/ 90396 h 292654"/>
                <a:gd name="connsiteX8" fmla="*/ 74492 w 206527"/>
                <a:gd name="connsiteY8" fmla="*/ 117574 h 292654"/>
                <a:gd name="connsiteX9" fmla="*/ 87734 w 206527"/>
                <a:gd name="connsiteY9" fmla="*/ 209171 h 292654"/>
                <a:gd name="connsiteX10" fmla="*/ 153949 w 206527"/>
                <a:gd name="connsiteY10" fmla="*/ 245589 h 292654"/>
                <a:gd name="connsiteX11" fmla="*/ 191049 w 206527"/>
                <a:gd name="connsiteY11" fmla="*/ 238993 h 292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527" h="292654">
                  <a:moveTo>
                    <a:pt x="206527" y="258693"/>
                  </a:moveTo>
                  <a:lnTo>
                    <a:pt x="177331" y="274971"/>
                  </a:lnTo>
                  <a:cubicBezTo>
                    <a:pt x="145121" y="286007"/>
                    <a:pt x="114496" y="291111"/>
                    <a:pt x="91597" y="292491"/>
                  </a:cubicBezTo>
                  <a:cubicBezTo>
                    <a:pt x="66215" y="294146"/>
                    <a:pt x="41385" y="283111"/>
                    <a:pt x="23727" y="264901"/>
                  </a:cubicBezTo>
                  <a:cubicBezTo>
                    <a:pt x="4966" y="246692"/>
                    <a:pt x="0" y="215240"/>
                    <a:pt x="0" y="169993"/>
                  </a:cubicBezTo>
                  <a:lnTo>
                    <a:pt x="0" y="1698"/>
                  </a:lnTo>
                  <a:lnTo>
                    <a:pt x="3273" y="0"/>
                  </a:lnTo>
                  <a:lnTo>
                    <a:pt x="74297" y="90396"/>
                  </a:lnTo>
                  <a:lnTo>
                    <a:pt x="74492" y="117574"/>
                  </a:lnTo>
                  <a:cubicBezTo>
                    <a:pt x="72836" y="148474"/>
                    <a:pt x="77802" y="179926"/>
                    <a:pt x="87734" y="209171"/>
                  </a:cubicBezTo>
                  <a:cubicBezTo>
                    <a:pt x="96564" y="233450"/>
                    <a:pt x="119187" y="245589"/>
                    <a:pt x="153949" y="245589"/>
                  </a:cubicBezTo>
                  <a:lnTo>
                    <a:pt x="191049" y="2389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7" name="Forme libre : forme 366">
              <a:extLst>
                <a:ext uri="{FF2B5EF4-FFF2-40B4-BE49-F238E27FC236}">
                  <a16:creationId xmlns:a16="http://schemas.microsoft.com/office/drawing/2014/main" id="{DE83541C-6C64-4EFA-96DA-32677B2F8AB7}"/>
                </a:ext>
              </a:extLst>
            </p:cNvPr>
            <p:cNvSpPr/>
            <p:nvPr/>
          </p:nvSpPr>
          <p:spPr>
            <a:xfrm rot="8716295">
              <a:off x="24761" y="33896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8" name="Forme libre : forme 367">
              <a:extLst>
                <a:ext uri="{FF2B5EF4-FFF2-40B4-BE49-F238E27FC236}">
                  <a16:creationId xmlns:a16="http://schemas.microsoft.com/office/drawing/2014/main" id="{97641E82-A92B-4DDB-9997-4330C2FFFC03}"/>
                </a:ext>
              </a:extLst>
            </p:cNvPr>
            <p:cNvSpPr/>
            <p:nvPr/>
          </p:nvSpPr>
          <p:spPr>
            <a:xfrm rot="8716295">
              <a:off x="-24047" y="3281741"/>
              <a:ext cx="106042" cy="113733"/>
            </a:xfrm>
            <a:custGeom>
              <a:avLst/>
              <a:gdLst>
                <a:gd name="connsiteX0" fmla="*/ 17477 w 106042"/>
                <a:gd name="connsiteY0" fmla="*/ 101182 h 113733"/>
                <a:gd name="connsiteX1" fmla="*/ 0 w 106042"/>
                <a:gd name="connsiteY1" fmla="*/ 59790 h 113733"/>
                <a:gd name="connsiteX2" fmla="*/ 0 w 106042"/>
                <a:gd name="connsiteY2" fmla="*/ 58869 h 113733"/>
                <a:gd name="connsiteX3" fmla="*/ 17477 w 106042"/>
                <a:gd name="connsiteY3" fmla="*/ 17477 h 113733"/>
                <a:gd name="connsiteX4" fmla="*/ 58869 w 106042"/>
                <a:gd name="connsiteY4" fmla="*/ 0 h 113733"/>
                <a:gd name="connsiteX5" fmla="*/ 100262 w 106042"/>
                <a:gd name="connsiteY5" fmla="*/ 17477 h 113733"/>
                <a:gd name="connsiteX6" fmla="*/ 106042 w 106042"/>
                <a:gd name="connsiteY6" fmla="*/ 31234 h 113733"/>
                <a:gd name="connsiteX7" fmla="*/ 48856 w 106042"/>
                <a:gd name="connsiteY7" fmla="*/ 113733 h 11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042" h="113733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cubicBezTo>
                    <a:pt x="74507" y="0"/>
                    <a:pt x="89224" y="6439"/>
                    <a:pt x="100262" y="17477"/>
                  </a:cubicBezTo>
                  <a:lnTo>
                    <a:pt x="106042" y="31234"/>
                  </a:lnTo>
                  <a:lnTo>
                    <a:pt x="48856" y="1137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9" name="Forme libre : forme 368">
              <a:extLst>
                <a:ext uri="{FF2B5EF4-FFF2-40B4-BE49-F238E27FC236}">
                  <a16:creationId xmlns:a16="http://schemas.microsoft.com/office/drawing/2014/main" id="{CA7B7E86-E158-4CCC-9F30-35FD45AC52DC}"/>
                </a:ext>
              </a:extLst>
            </p:cNvPr>
            <p:cNvSpPr/>
            <p:nvPr/>
          </p:nvSpPr>
          <p:spPr>
            <a:xfrm rot="8716295">
              <a:off x="-21924" y="3179872"/>
              <a:ext cx="45776" cy="62656"/>
            </a:xfrm>
            <a:custGeom>
              <a:avLst/>
              <a:gdLst>
                <a:gd name="connsiteX0" fmla="*/ 2345 w 45776"/>
                <a:gd name="connsiteY0" fmla="*/ 62656 h 62656"/>
                <a:gd name="connsiteX1" fmla="*/ 0 w 45776"/>
                <a:gd name="connsiteY1" fmla="*/ 57104 h 62656"/>
                <a:gd name="connsiteX2" fmla="*/ 0 w 45776"/>
                <a:gd name="connsiteY2" fmla="*/ 56183 h 62656"/>
                <a:gd name="connsiteX3" fmla="*/ 17477 w 45776"/>
                <a:gd name="connsiteY3" fmla="*/ 14791 h 62656"/>
                <a:gd name="connsiteX4" fmla="*/ 36449 w 45776"/>
                <a:gd name="connsiteY4" fmla="*/ 1913 h 62656"/>
                <a:gd name="connsiteX5" fmla="*/ 45776 w 45776"/>
                <a:gd name="connsiteY5" fmla="*/ 0 h 62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776" h="62656">
                  <a:moveTo>
                    <a:pt x="2345" y="62656"/>
                  </a:moveTo>
                  <a:lnTo>
                    <a:pt x="0" y="57104"/>
                  </a:lnTo>
                  <a:lnTo>
                    <a:pt x="0" y="56183"/>
                  </a:lnTo>
                  <a:cubicBezTo>
                    <a:pt x="0" y="40547"/>
                    <a:pt x="6439" y="25829"/>
                    <a:pt x="17477" y="14791"/>
                  </a:cubicBezTo>
                  <a:cubicBezTo>
                    <a:pt x="22996" y="9272"/>
                    <a:pt x="29435" y="4903"/>
                    <a:pt x="36449" y="1913"/>
                  </a:cubicBezTo>
                  <a:lnTo>
                    <a:pt x="4577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0" name="Forme libre : forme 369">
              <a:extLst>
                <a:ext uri="{FF2B5EF4-FFF2-40B4-BE49-F238E27FC236}">
                  <a16:creationId xmlns:a16="http://schemas.microsoft.com/office/drawing/2014/main" id="{B95921A2-46DE-49F9-9F14-5364CEEC2044}"/>
                </a:ext>
              </a:extLst>
            </p:cNvPr>
            <p:cNvSpPr/>
            <p:nvPr/>
          </p:nvSpPr>
          <p:spPr>
            <a:xfrm rot="8716295">
              <a:off x="-21324" y="4100649"/>
              <a:ext cx="79113" cy="50123"/>
            </a:xfrm>
            <a:custGeom>
              <a:avLst/>
              <a:gdLst>
                <a:gd name="connsiteX0" fmla="*/ 0 w 79113"/>
                <a:gd name="connsiteY0" fmla="*/ 50123 h 50123"/>
                <a:gd name="connsiteX1" fmla="*/ 0 w 79113"/>
                <a:gd name="connsiteY1" fmla="*/ 0 h 50123"/>
                <a:gd name="connsiteX2" fmla="*/ 79113 w 79113"/>
                <a:gd name="connsiteY2" fmla="*/ 0 h 50123"/>
                <a:gd name="connsiteX3" fmla="*/ 44369 w 79113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113" h="50123">
                  <a:moveTo>
                    <a:pt x="0" y="50123"/>
                  </a:moveTo>
                  <a:lnTo>
                    <a:pt x="0" y="0"/>
                  </a:lnTo>
                  <a:lnTo>
                    <a:pt x="79113" y="0"/>
                  </a:lnTo>
                  <a:lnTo>
                    <a:pt x="44369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1" name="Forme libre : forme 370">
              <a:extLst>
                <a:ext uri="{FF2B5EF4-FFF2-40B4-BE49-F238E27FC236}">
                  <a16:creationId xmlns:a16="http://schemas.microsoft.com/office/drawing/2014/main" id="{84FEE941-A7A7-41F0-870B-FF2E21B132E9}"/>
                </a:ext>
              </a:extLst>
            </p:cNvPr>
            <p:cNvSpPr/>
            <p:nvPr/>
          </p:nvSpPr>
          <p:spPr>
            <a:xfrm rot="8716295">
              <a:off x="-40457" y="398156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2" name="Forme libre : forme 371">
              <a:extLst>
                <a:ext uri="{FF2B5EF4-FFF2-40B4-BE49-F238E27FC236}">
                  <a16:creationId xmlns:a16="http://schemas.microsoft.com/office/drawing/2014/main" id="{ED05E8E5-B04C-426F-A5B3-FDFECB7FA8BB}"/>
                </a:ext>
              </a:extLst>
            </p:cNvPr>
            <p:cNvSpPr/>
            <p:nvPr/>
          </p:nvSpPr>
          <p:spPr>
            <a:xfrm rot="7484129">
              <a:off x="-46974" y="427316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3" name="Forme libre : forme 372">
              <a:extLst>
                <a:ext uri="{FF2B5EF4-FFF2-40B4-BE49-F238E27FC236}">
                  <a16:creationId xmlns:a16="http://schemas.microsoft.com/office/drawing/2014/main" id="{2455BBCE-F26C-4AF6-86DC-09C81861FE56}"/>
                </a:ext>
              </a:extLst>
            </p:cNvPr>
            <p:cNvSpPr/>
            <p:nvPr/>
          </p:nvSpPr>
          <p:spPr>
            <a:xfrm rot="13089394">
              <a:off x="57846" y="423970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4" name="Forme libre : forme 373">
              <a:extLst>
                <a:ext uri="{FF2B5EF4-FFF2-40B4-BE49-F238E27FC236}">
                  <a16:creationId xmlns:a16="http://schemas.microsoft.com/office/drawing/2014/main" id="{51373B92-194C-42B9-B764-40EA297AE7F9}"/>
                </a:ext>
              </a:extLst>
            </p:cNvPr>
            <p:cNvSpPr/>
            <p:nvPr/>
          </p:nvSpPr>
          <p:spPr>
            <a:xfrm rot="8716295">
              <a:off x="243431" y="404801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5" name="Forme libre : forme 374">
              <a:extLst>
                <a:ext uri="{FF2B5EF4-FFF2-40B4-BE49-F238E27FC236}">
                  <a16:creationId xmlns:a16="http://schemas.microsoft.com/office/drawing/2014/main" id="{F38EDEED-C414-448B-8D37-E62E6FF38F3A}"/>
                </a:ext>
              </a:extLst>
            </p:cNvPr>
            <p:cNvSpPr/>
            <p:nvPr/>
          </p:nvSpPr>
          <p:spPr>
            <a:xfrm rot="8716295">
              <a:off x="191626" y="39444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6" name="Forme libre : forme 375">
              <a:extLst>
                <a:ext uri="{FF2B5EF4-FFF2-40B4-BE49-F238E27FC236}">
                  <a16:creationId xmlns:a16="http://schemas.microsoft.com/office/drawing/2014/main" id="{1E970937-55EB-4E1D-94ED-92F0499DC22F}"/>
                </a:ext>
              </a:extLst>
            </p:cNvPr>
            <p:cNvSpPr/>
            <p:nvPr/>
          </p:nvSpPr>
          <p:spPr>
            <a:xfrm rot="8716295">
              <a:off x="125832" y="381540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7" name="Forme libre : forme 376">
              <a:extLst>
                <a:ext uri="{FF2B5EF4-FFF2-40B4-BE49-F238E27FC236}">
                  <a16:creationId xmlns:a16="http://schemas.microsoft.com/office/drawing/2014/main" id="{9890EDE8-10DA-45ED-AA77-40989F9FB014}"/>
                </a:ext>
              </a:extLst>
            </p:cNvPr>
            <p:cNvSpPr/>
            <p:nvPr/>
          </p:nvSpPr>
          <p:spPr>
            <a:xfrm rot="8716295">
              <a:off x="-73048" y="4876828"/>
              <a:ext cx="221382" cy="253349"/>
            </a:xfrm>
            <a:custGeom>
              <a:avLst/>
              <a:gdLst>
                <a:gd name="connsiteX0" fmla="*/ 51490 w 221382"/>
                <a:gd name="connsiteY0" fmla="*/ 253349 h 253349"/>
                <a:gd name="connsiteX1" fmla="*/ 51490 w 221382"/>
                <a:gd name="connsiteY1" fmla="*/ 44199 h 253349"/>
                <a:gd name="connsiteX2" fmla="*/ 0 w 221382"/>
                <a:gd name="connsiteY2" fmla="*/ 44199 h 253349"/>
                <a:gd name="connsiteX3" fmla="*/ 0 w 221382"/>
                <a:gd name="connsiteY3" fmla="*/ 0 h 253349"/>
                <a:gd name="connsiteX4" fmla="*/ 104803 w 221382"/>
                <a:gd name="connsiteY4" fmla="*/ 0 h 253349"/>
                <a:gd name="connsiteX5" fmla="*/ 104802 w 221382"/>
                <a:gd name="connsiteY5" fmla="*/ 73817 h 253349"/>
                <a:gd name="connsiteX6" fmla="*/ 106169 w 221382"/>
                <a:gd name="connsiteY6" fmla="*/ 73817 h 253349"/>
                <a:gd name="connsiteX7" fmla="*/ 154014 w 221382"/>
                <a:gd name="connsiteY7" fmla="*/ 4556 h 253349"/>
                <a:gd name="connsiteX8" fmla="*/ 174650 w 221382"/>
                <a:gd name="connsiteY8" fmla="*/ 668 h 253349"/>
                <a:gd name="connsiteX9" fmla="*/ 214075 w 221382"/>
                <a:gd name="connsiteY9" fmla="*/ 27996 h 253349"/>
                <a:gd name="connsiteX10" fmla="*/ 221382 w 221382"/>
                <a:gd name="connsiteY10" fmla="*/ 33060 h 253349"/>
                <a:gd name="connsiteX11" fmla="*/ 195540 w 221382"/>
                <a:gd name="connsiteY11" fmla="*/ 70341 h 253349"/>
                <a:gd name="connsiteX12" fmla="*/ 189157 w 221382"/>
                <a:gd name="connsiteY12" fmla="*/ 50236 h 253349"/>
                <a:gd name="connsiteX13" fmla="*/ 164950 w 221382"/>
                <a:gd name="connsiteY13" fmla="*/ 38731 h 253349"/>
                <a:gd name="connsiteX14" fmla="*/ 111638 w 221382"/>
                <a:gd name="connsiteY14" fmla="*/ 126218 h 253349"/>
                <a:gd name="connsiteX15" fmla="*/ 111638 w 221382"/>
                <a:gd name="connsiteY15" fmla="*/ 191383 h 253349"/>
                <a:gd name="connsiteX16" fmla="*/ 84096 w 221382"/>
                <a:gd name="connsiteY16" fmla="*/ 231117 h 253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1382" h="253349">
                  <a:moveTo>
                    <a:pt x="51490" y="253349"/>
                  </a:moveTo>
                  <a:lnTo>
                    <a:pt x="51490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104803" y="0"/>
                  </a:lnTo>
                  <a:lnTo>
                    <a:pt x="104802" y="73817"/>
                  </a:lnTo>
                  <a:lnTo>
                    <a:pt x="106169" y="73817"/>
                  </a:lnTo>
                  <a:cubicBezTo>
                    <a:pt x="120751" y="30529"/>
                    <a:pt x="132142" y="13670"/>
                    <a:pt x="154014" y="4556"/>
                  </a:cubicBezTo>
                  <a:lnTo>
                    <a:pt x="174650" y="668"/>
                  </a:lnTo>
                  <a:lnTo>
                    <a:pt x="214075" y="27996"/>
                  </a:lnTo>
                  <a:lnTo>
                    <a:pt x="221382" y="33060"/>
                  </a:lnTo>
                  <a:lnTo>
                    <a:pt x="195540" y="70341"/>
                  </a:lnTo>
                  <a:lnTo>
                    <a:pt x="189157" y="50236"/>
                  </a:lnTo>
                  <a:cubicBezTo>
                    <a:pt x="183177" y="42946"/>
                    <a:pt x="174747" y="38731"/>
                    <a:pt x="164950" y="38731"/>
                  </a:cubicBezTo>
                  <a:cubicBezTo>
                    <a:pt x="135788" y="38731"/>
                    <a:pt x="111638" y="77463"/>
                    <a:pt x="111638" y="126218"/>
                  </a:cubicBezTo>
                  <a:lnTo>
                    <a:pt x="111638" y="191383"/>
                  </a:lnTo>
                  <a:lnTo>
                    <a:pt x="84096" y="2311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8" name="Forme libre : forme 377">
              <a:extLst>
                <a:ext uri="{FF2B5EF4-FFF2-40B4-BE49-F238E27FC236}">
                  <a16:creationId xmlns:a16="http://schemas.microsoft.com/office/drawing/2014/main" id="{D89764C9-6568-42FB-A4A1-D9595395AB12}"/>
                </a:ext>
              </a:extLst>
            </p:cNvPr>
            <p:cNvSpPr/>
            <p:nvPr/>
          </p:nvSpPr>
          <p:spPr>
            <a:xfrm rot="8716295">
              <a:off x="93318" y="46120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9" name="Forme libre : forme 378">
              <a:extLst>
                <a:ext uri="{FF2B5EF4-FFF2-40B4-BE49-F238E27FC236}">
                  <a16:creationId xmlns:a16="http://schemas.microsoft.com/office/drawing/2014/main" id="{B3A51367-1D00-45C2-8806-45DE56D1374A}"/>
                </a:ext>
              </a:extLst>
            </p:cNvPr>
            <p:cNvSpPr/>
            <p:nvPr/>
          </p:nvSpPr>
          <p:spPr>
            <a:xfrm rot="8716295">
              <a:off x="182710" y="46412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0" name="Forme libre : forme 379">
              <a:extLst>
                <a:ext uri="{FF2B5EF4-FFF2-40B4-BE49-F238E27FC236}">
                  <a16:creationId xmlns:a16="http://schemas.microsoft.com/office/drawing/2014/main" id="{5796D538-9FA1-4B69-9ECE-72D45F20B58A}"/>
                </a:ext>
              </a:extLst>
            </p:cNvPr>
            <p:cNvSpPr/>
            <p:nvPr/>
          </p:nvSpPr>
          <p:spPr>
            <a:xfrm rot="8716295">
              <a:off x="-14524" y="4699631"/>
              <a:ext cx="49997" cy="54238"/>
            </a:xfrm>
            <a:custGeom>
              <a:avLst/>
              <a:gdLst>
                <a:gd name="connsiteX0" fmla="*/ 8658 w 49997"/>
                <a:gd name="connsiteY0" fmla="*/ 50123 h 54238"/>
                <a:gd name="connsiteX1" fmla="*/ 0 w 49997"/>
                <a:gd name="connsiteY1" fmla="*/ 29619 h 54238"/>
                <a:gd name="connsiteX2" fmla="*/ 0 w 49997"/>
                <a:gd name="connsiteY2" fmla="*/ 29162 h 54238"/>
                <a:gd name="connsiteX3" fmla="*/ 8658 w 49997"/>
                <a:gd name="connsiteY3" fmla="*/ 8658 h 54238"/>
                <a:gd name="connsiteX4" fmla="*/ 29163 w 49997"/>
                <a:gd name="connsiteY4" fmla="*/ 0 h 54238"/>
                <a:gd name="connsiteX5" fmla="*/ 49668 w 49997"/>
                <a:gd name="connsiteY5" fmla="*/ 8658 h 54238"/>
                <a:gd name="connsiteX6" fmla="*/ 49997 w 49997"/>
                <a:gd name="connsiteY6" fmla="*/ 9441 h 54238"/>
                <a:gd name="connsiteX7" fmla="*/ 18945 w 49997"/>
                <a:gd name="connsiteY7" fmla="*/ 54238 h 54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997" h="54238">
                  <a:moveTo>
                    <a:pt x="8658" y="50123"/>
                  </a:moveTo>
                  <a:cubicBezTo>
                    <a:pt x="3190" y="44655"/>
                    <a:pt x="0" y="37365"/>
                    <a:pt x="0" y="29619"/>
                  </a:cubicBezTo>
                  <a:lnTo>
                    <a:pt x="0" y="29162"/>
                  </a:lnTo>
                  <a:cubicBezTo>
                    <a:pt x="0" y="21417"/>
                    <a:pt x="3190" y="14126"/>
                    <a:pt x="8658" y="8658"/>
                  </a:cubicBezTo>
                  <a:cubicBezTo>
                    <a:pt x="14126" y="3190"/>
                    <a:pt x="21416" y="0"/>
                    <a:pt x="29163" y="0"/>
                  </a:cubicBezTo>
                  <a:cubicBezTo>
                    <a:pt x="36909" y="0"/>
                    <a:pt x="44200" y="3190"/>
                    <a:pt x="49668" y="8658"/>
                  </a:cubicBezTo>
                  <a:lnTo>
                    <a:pt x="49997" y="9441"/>
                  </a:lnTo>
                  <a:lnTo>
                    <a:pt x="18945" y="54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1" name="Forme libre : forme 380">
              <a:extLst>
                <a:ext uri="{FF2B5EF4-FFF2-40B4-BE49-F238E27FC236}">
                  <a16:creationId xmlns:a16="http://schemas.microsoft.com/office/drawing/2014/main" id="{0A8DEA12-3B5F-4B33-B7D9-E32E7E70ED9F}"/>
                </a:ext>
              </a:extLst>
            </p:cNvPr>
            <p:cNvSpPr/>
            <p:nvPr/>
          </p:nvSpPr>
          <p:spPr>
            <a:xfrm rot="8716295">
              <a:off x="-30327" y="4579755"/>
              <a:ext cx="113346" cy="71024"/>
            </a:xfrm>
            <a:custGeom>
              <a:avLst/>
              <a:gdLst>
                <a:gd name="connsiteX0" fmla="*/ 0 w 113346"/>
                <a:gd name="connsiteY0" fmla="*/ 55323 h 71024"/>
                <a:gd name="connsiteX1" fmla="*/ 0 w 113346"/>
                <a:gd name="connsiteY1" fmla="*/ 0 h 71024"/>
                <a:gd name="connsiteX2" fmla="*/ 113346 w 113346"/>
                <a:gd name="connsiteY2" fmla="*/ 0 h 71024"/>
                <a:gd name="connsiteX3" fmla="*/ 64114 w 113346"/>
                <a:gd name="connsiteY3" fmla="*/ 71024 h 71024"/>
                <a:gd name="connsiteX4" fmla="*/ 69777 w 113346"/>
                <a:gd name="connsiteY4" fmla="*/ 55323 h 7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346" h="71024">
                  <a:moveTo>
                    <a:pt x="0" y="55323"/>
                  </a:moveTo>
                  <a:lnTo>
                    <a:pt x="0" y="0"/>
                  </a:lnTo>
                  <a:lnTo>
                    <a:pt x="113346" y="0"/>
                  </a:lnTo>
                  <a:lnTo>
                    <a:pt x="64114" y="71024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2" name="Forme libre : forme 381">
              <a:extLst>
                <a:ext uri="{FF2B5EF4-FFF2-40B4-BE49-F238E27FC236}">
                  <a16:creationId xmlns:a16="http://schemas.microsoft.com/office/drawing/2014/main" id="{B639F843-6BAF-4B67-80B8-3D30C09BF5FB}"/>
                </a:ext>
              </a:extLst>
            </p:cNvPr>
            <p:cNvSpPr/>
            <p:nvPr/>
          </p:nvSpPr>
          <p:spPr>
            <a:xfrm rot="8716295">
              <a:off x="71262" y="47415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3" name="Forme libre : forme 382">
              <a:extLst>
                <a:ext uri="{FF2B5EF4-FFF2-40B4-BE49-F238E27FC236}">
                  <a16:creationId xmlns:a16="http://schemas.microsoft.com/office/drawing/2014/main" id="{D52BFECF-759E-4683-BE94-173DD8657338}"/>
                </a:ext>
              </a:extLst>
            </p:cNvPr>
            <p:cNvSpPr/>
            <p:nvPr/>
          </p:nvSpPr>
          <p:spPr>
            <a:xfrm rot="7484129">
              <a:off x="172059" y="493353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170341 w 203847"/>
                <a:gd name="connsiteY5" fmla="*/ 0 h 195874"/>
                <a:gd name="connsiteX6" fmla="*/ 203847 w 203847"/>
                <a:gd name="connsiteY6" fmla="*/ 48325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170341" y="0"/>
                  </a:lnTo>
                  <a:lnTo>
                    <a:pt x="203847" y="48325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4" name="Forme libre : forme 383">
              <a:extLst>
                <a:ext uri="{FF2B5EF4-FFF2-40B4-BE49-F238E27FC236}">
                  <a16:creationId xmlns:a16="http://schemas.microsoft.com/office/drawing/2014/main" id="{25A08FAE-A75C-4B2E-B0C7-527DE2D9E508}"/>
                </a:ext>
              </a:extLst>
            </p:cNvPr>
            <p:cNvSpPr/>
            <p:nvPr/>
          </p:nvSpPr>
          <p:spPr>
            <a:xfrm rot="13089394">
              <a:off x="313551" y="4906246"/>
              <a:ext cx="221827" cy="205098"/>
            </a:xfrm>
            <a:custGeom>
              <a:avLst/>
              <a:gdLst>
                <a:gd name="connsiteX0" fmla="*/ 24153 w 221827"/>
                <a:gd name="connsiteY0" fmla="*/ 55168 h 205098"/>
                <a:gd name="connsiteX1" fmla="*/ 0 w 221827"/>
                <a:gd name="connsiteY1" fmla="*/ 18385 h 205098"/>
                <a:gd name="connsiteX2" fmla="*/ 23400 w 221827"/>
                <a:gd name="connsiteY2" fmla="*/ 0 h 205098"/>
                <a:gd name="connsiteX3" fmla="*/ 23735 w 221827"/>
                <a:gd name="connsiteY3" fmla="*/ 46640 h 205098"/>
                <a:gd name="connsiteX4" fmla="*/ 221827 w 221827"/>
                <a:gd name="connsiteY4" fmla="*/ 150928 h 205098"/>
                <a:gd name="connsiteX5" fmla="*/ 126574 w 221827"/>
                <a:gd name="connsiteY5" fmla="*/ 204038 h 205098"/>
                <a:gd name="connsiteX6" fmla="*/ 122603 w 221827"/>
                <a:gd name="connsiteY6" fmla="*/ 205098 h 205098"/>
                <a:gd name="connsiteX7" fmla="*/ 102519 w 221827"/>
                <a:gd name="connsiteY7" fmla="*/ 174512 h 205098"/>
                <a:gd name="connsiteX8" fmla="*/ 103192 w 221827"/>
                <a:gd name="connsiteY8" fmla="*/ 174655 h 205098"/>
                <a:gd name="connsiteX9" fmla="*/ 152853 w 221827"/>
                <a:gd name="connsiteY9" fmla="*/ 165826 h 205098"/>
                <a:gd name="connsiteX10" fmla="*/ 220723 w 221827"/>
                <a:gd name="connsiteY10" fmla="*/ 138237 h 205098"/>
                <a:gd name="connsiteX11" fmla="*/ 221827 w 221827"/>
                <a:gd name="connsiteY11" fmla="*/ 145410 h 205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1827" h="205098">
                  <a:moveTo>
                    <a:pt x="24153" y="55168"/>
                  </a:moveTo>
                  <a:lnTo>
                    <a:pt x="0" y="18385"/>
                  </a:lnTo>
                  <a:lnTo>
                    <a:pt x="23400" y="0"/>
                  </a:lnTo>
                  <a:lnTo>
                    <a:pt x="23735" y="46640"/>
                  </a:lnTo>
                  <a:close/>
                  <a:moveTo>
                    <a:pt x="221827" y="150928"/>
                  </a:moveTo>
                  <a:cubicBezTo>
                    <a:pt x="192582" y="176035"/>
                    <a:pt x="158785" y="193002"/>
                    <a:pt x="126574" y="204038"/>
                  </a:cubicBezTo>
                  <a:lnTo>
                    <a:pt x="122603" y="205098"/>
                  </a:lnTo>
                  <a:lnTo>
                    <a:pt x="102519" y="174512"/>
                  </a:lnTo>
                  <a:lnTo>
                    <a:pt x="103192" y="174655"/>
                  </a:lnTo>
                  <a:cubicBezTo>
                    <a:pt x="120298" y="174103"/>
                    <a:pt x="136851" y="170792"/>
                    <a:pt x="152853" y="165826"/>
                  </a:cubicBezTo>
                  <a:cubicBezTo>
                    <a:pt x="176028" y="158653"/>
                    <a:pt x="198652" y="149273"/>
                    <a:pt x="220723" y="138237"/>
                  </a:cubicBezTo>
                  <a:cubicBezTo>
                    <a:pt x="221275" y="140444"/>
                    <a:pt x="221827" y="143203"/>
                    <a:pt x="221827" y="1454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5" name="Forme libre : forme 384">
              <a:extLst>
                <a:ext uri="{FF2B5EF4-FFF2-40B4-BE49-F238E27FC236}">
                  <a16:creationId xmlns:a16="http://schemas.microsoft.com/office/drawing/2014/main" id="{6B1D4FCF-4868-4FA7-803E-D1D00595788E}"/>
                </a:ext>
              </a:extLst>
            </p:cNvPr>
            <p:cNvSpPr/>
            <p:nvPr/>
          </p:nvSpPr>
          <p:spPr>
            <a:xfrm rot="8716295">
              <a:off x="406370" y="4600606"/>
              <a:ext cx="113655" cy="117117"/>
            </a:xfrm>
            <a:custGeom>
              <a:avLst/>
              <a:gdLst>
                <a:gd name="connsiteX0" fmla="*/ 13623 w 113655"/>
                <a:gd name="connsiteY0" fmla="*/ 100559 h 117117"/>
                <a:gd name="connsiteX1" fmla="*/ 0 w 113655"/>
                <a:gd name="connsiteY1" fmla="*/ 68296 h 117117"/>
                <a:gd name="connsiteX2" fmla="*/ 56488 w 113655"/>
                <a:gd name="connsiteY2" fmla="*/ 0 h 117117"/>
                <a:gd name="connsiteX3" fmla="*/ 96408 w 113655"/>
                <a:gd name="connsiteY3" fmla="*/ 16856 h 117117"/>
                <a:gd name="connsiteX4" fmla="*/ 96408 w 113655"/>
                <a:gd name="connsiteY4" fmla="*/ 99640 h 117117"/>
                <a:gd name="connsiteX5" fmla="*/ 55015 w 113655"/>
                <a:gd name="connsiteY5" fmla="*/ 117117 h 117117"/>
                <a:gd name="connsiteX6" fmla="*/ 13623 w 113655"/>
                <a:gd name="connsiteY6" fmla="*/ 100559 h 117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655" h="117117">
                  <a:moveTo>
                    <a:pt x="13623" y="100559"/>
                  </a:moveTo>
                  <a:lnTo>
                    <a:pt x="0" y="68296"/>
                  </a:lnTo>
                  <a:lnTo>
                    <a:pt x="56488" y="0"/>
                  </a:lnTo>
                  <a:lnTo>
                    <a:pt x="96408" y="16856"/>
                  </a:lnTo>
                  <a:cubicBezTo>
                    <a:pt x="119404" y="38931"/>
                    <a:pt x="119404" y="76644"/>
                    <a:pt x="96408" y="99640"/>
                  </a:cubicBezTo>
                  <a:cubicBezTo>
                    <a:pt x="85370" y="110678"/>
                    <a:pt x="70653" y="117116"/>
                    <a:pt x="55015" y="117117"/>
                  </a:cubicBezTo>
                  <a:cubicBezTo>
                    <a:pt x="39378" y="117117"/>
                    <a:pt x="24661" y="111597"/>
                    <a:pt x="13623" y="10055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6" name="Forme libre : forme 385">
              <a:extLst>
                <a:ext uri="{FF2B5EF4-FFF2-40B4-BE49-F238E27FC236}">
                  <a16:creationId xmlns:a16="http://schemas.microsoft.com/office/drawing/2014/main" id="{A521D2F6-3CA4-443B-AE06-E761EA9F7456}"/>
                </a:ext>
              </a:extLst>
            </p:cNvPr>
            <p:cNvSpPr/>
            <p:nvPr/>
          </p:nvSpPr>
          <p:spPr>
            <a:xfrm rot="8716295">
              <a:off x="171547" y="46343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7" name="Forme libre : forme 386">
              <a:extLst>
                <a:ext uri="{FF2B5EF4-FFF2-40B4-BE49-F238E27FC236}">
                  <a16:creationId xmlns:a16="http://schemas.microsoft.com/office/drawing/2014/main" id="{830F38CE-6CA7-4EBA-A5A4-58CB35926CD3}"/>
                </a:ext>
              </a:extLst>
            </p:cNvPr>
            <p:cNvSpPr/>
            <p:nvPr/>
          </p:nvSpPr>
          <p:spPr>
            <a:xfrm rot="8716295">
              <a:off x="348999" y="44751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2757840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&amp; Réseaux sociaux - Fond clair">
    <p:bg>
      <p:bgPr>
        <a:solidFill>
          <a:srgbClr val="3A1B0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Forme libre : forme 139">
            <a:extLst>
              <a:ext uri="{FF2B5EF4-FFF2-40B4-BE49-F238E27FC236}">
                <a16:creationId xmlns:a16="http://schemas.microsoft.com/office/drawing/2014/main" id="{9BAF1841-A5A7-4A72-BE89-09D329878A6E}"/>
              </a:ext>
            </a:extLst>
          </p:cNvPr>
          <p:cNvSpPr/>
          <p:nvPr userDrawn="1"/>
        </p:nvSpPr>
        <p:spPr>
          <a:xfrm>
            <a:off x="448701" y="0"/>
            <a:ext cx="8695299" cy="5143500"/>
          </a:xfrm>
          <a:custGeom>
            <a:avLst/>
            <a:gdLst>
              <a:gd name="connsiteX0" fmla="*/ 0 w 8695299"/>
              <a:gd name="connsiteY0" fmla="*/ 0 h 5143500"/>
              <a:gd name="connsiteX1" fmla="*/ 8695299 w 8695299"/>
              <a:gd name="connsiteY1" fmla="*/ 0 h 5143500"/>
              <a:gd name="connsiteX2" fmla="*/ 8695299 w 8695299"/>
              <a:gd name="connsiteY2" fmla="*/ 5143500 h 5143500"/>
              <a:gd name="connsiteX3" fmla="*/ 444304 w 8695299"/>
              <a:gd name="connsiteY3" fmla="*/ 5143500 h 5143500"/>
              <a:gd name="connsiteX4" fmla="*/ 171091 w 8695299"/>
              <a:gd name="connsiteY4" fmla="*/ 1980633 h 5143500"/>
              <a:gd name="connsiteX5" fmla="*/ 443837 w 8695299"/>
              <a:gd name="connsiteY5" fmla="*/ 1 h 5143500"/>
              <a:gd name="connsiteX6" fmla="*/ 262116 w 8695299"/>
              <a:gd name="connsiteY6" fmla="*/ 1 h 5143500"/>
              <a:gd name="connsiteX7" fmla="*/ 0 w 8695299"/>
              <a:gd name="connsiteY7" fmla="*/ 1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95299" h="5143500">
                <a:moveTo>
                  <a:pt x="0" y="0"/>
                </a:moveTo>
                <a:lnTo>
                  <a:pt x="8695299" y="0"/>
                </a:lnTo>
                <a:lnTo>
                  <a:pt x="8695299" y="5143500"/>
                </a:lnTo>
                <a:lnTo>
                  <a:pt x="444304" y="5143500"/>
                </a:lnTo>
                <a:lnTo>
                  <a:pt x="171091" y="1980633"/>
                </a:lnTo>
                <a:lnTo>
                  <a:pt x="443837" y="1"/>
                </a:lnTo>
                <a:lnTo>
                  <a:pt x="262116" y="1"/>
                </a:lnTo>
                <a:lnTo>
                  <a:pt x="0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grpSp>
        <p:nvGrpSpPr>
          <p:cNvPr id="192" name="Graphique 27">
            <a:extLst>
              <a:ext uri="{FF2B5EF4-FFF2-40B4-BE49-F238E27FC236}">
                <a16:creationId xmlns:a16="http://schemas.microsoft.com/office/drawing/2014/main" id="{B9396CB4-323C-4697-9B57-F626DEC3F247}"/>
              </a:ext>
            </a:extLst>
          </p:cNvPr>
          <p:cNvGrpSpPr/>
          <p:nvPr userDrawn="1"/>
        </p:nvGrpSpPr>
        <p:grpSpPr>
          <a:xfrm>
            <a:off x="3242261" y="3601712"/>
            <a:ext cx="2666014" cy="795600"/>
            <a:chOff x="5898130" y="3867908"/>
            <a:chExt cx="2666014" cy="795600"/>
          </a:xfrm>
        </p:grpSpPr>
        <p:sp>
          <p:nvSpPr>
            <p:cNvPr id="193" name="Forme libre : forme 192">
              <a:extLst>
                <a:ext uri="{FF2B5EF4-FFF2-40B4-BE49-F238E27FC236}">
                  <a16:creationId xmlns:a16="http://schemas.microsoft.com/office/drawing/2014/main" id="{86566BF4-64A3-4C33-AC64-E4183CC9F62F}"/>
                </a:ext>
              </a:extLst>
            </p:cNvPr>
            <p:cNvSpPr/>
            <p:nvPr/>
          </p:nvSpPr>
          <p:spPr>
            <a:xfrm>
              <a:off x="5898130" y="4006913"/>
              <a:ext cx="93070" cy="153115"/>
            </a:xfrm>
            <a:custGeom>
              <a:avLst/>
              <a:gdLst>
                <a:gd name="connsiteX0" fmla="*/ 93671 w 93070"/>
                <a:gd name="connsiteY0" fmla="*/ 33025 h 153115"/>
                <a:gd name="connsiteX1" fmla="*/ 93671 w 93070"/>
                <a:gd name="connsiteY1" fmla="*/ 137203 h 153115"/>
                <a:gd name="connsiteX2" fmla="*/ 53440 w 93070"/>
                <a:gd name="connsiteY2" fmla="*/ 153115 h 153115"/>
                <a:gd name="connsiteX3" fmla="*/ 53440 w 93070"/>
                <a:gd name="connsiteY3" fmla="*/ 45935 h 153115"/>
                <a:gd name="connsiteX4" fmla="*/ 53440 w 93070"/>
                <a:gd name="connsiteY4" fmla="*/ 43233 h 153115"/>
                <a:gd name="connsiteX5" fmla="*/ 39930 w 93070"/>
                <a:gd name="connsiteY5" fmla="*/ 33025 h 153115"/>
                <a:gd name="connsiteX6" fmla="*/ 0 w 93070"/>
                <a:gd name="connsiteY6" fmla="*/ 33025 h 153115"/>
                <a:gd name="connsiteX7" fmla="*/ 0 w 93070"/>
                <a:gd name="connsiteY7" fmla="*/ 0 h 153115"/>
                <a:gd name="connsiteX8" fmla="*/ 56142 w 93070"/>
                <a:gd name="connsiteY8" fmla="*/ 0 h 153115"/>
                <a:gd name="connsiteX9" fmla="*/ 93671 w 93070"/>
                <a:gd name="connsiteY9" fmla="*/ 33025 h 153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3070" h="153115">
                  <a:moveTo>
                    <a:pt x="93671" y="33025"/>
                  </a:moveTo>
                  <a:lnTo>
                    <a:pt x="93671" y="137203"/>
                  </a:lnTo>
                  <a:lnTo>
                    <a:pt x="53440" y="153115"/>
                  </a:lnTo>
                  <a:lnTo>
                    <a:pt x="53440" y="45935"/>
                  </a:lnTo>
                  <a:cubicBezTo>
                    <a:pt x="53440" y="45034"/>
                    <a:pt x="53440" y="44133"/>
                    <a:pt x="53440" y="43233"/>
                  </a:cubicBezTo>
                  <a:cubicBezTo>
                    <a:pt x="52540" y="36628"/>
                    <a:pt x="46535" y="32124"/>
                    <a:pt x="39930" y="33025"/>
                  </a:cubicBezTo>
                  <a:lnTo>
                    <a:pt x="0" y="33025"/>
                  </a:lnTo>
                  <a:lnTo>
                    <a:pt x="0" y="0"/>
                  </a:lnTo>
                  <a:lnTo>
                    <a:pt x="56142" y="0"/>
                  </a:lnTo>
                  <a:cubicBezTo>
                    <a:pt x="80461" y="0"/>
                    <a:pt x="93671" y="10508"/>
                    <a:pt x="93671" y="33025"/>
                  </a:cubicBezTo>
                  <a:close/>
                </a:path>
              </a:pathLst>
            </a:custGeom>
            <a:solidFill>
              <a:srgbClr val="009FE3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194" name="Forme libre : forme 193">
              <a:extLst>
                <a:ext uri="{FF2B5EF4-FFF2-40B4-BE49-F238E27FC236}">
                  <a16:creationId xmlns:a16="http://schemas.microsoft.com/office/drawing/2014/main" id="{FB082CB6-7B26-4E70-967B-98773BCFF4EE}"/>
                </a:ext>
              </a:extLst>
            </p:cNvPr>
            <p:cNvSpPr/>
            <p:nvPr/>
          </p:nvSpPr>
          <p:spPr>
            <a:xfrm>
              <a:off x="7134164" y="4001471"/>
              <a:ext cx="171129" cy="165125"/>
            </a:xfrm>
            <a:custGeom>
              <a:avLst/>
              <a:gdLst>
                <a:gd name="connsiteX0" fmla="*/ 171730 w 171129"/>
                <a:gd name="connsiteY0" fmla="*/ 58282 h 165124"/>
                <a:gd name="connsiteX1" fmla="*/ 171730 w 171129"/>
                <a:gd name="connsiteY1" fmla="*/ 62185 h 165124"/>
                <a:gd name="connsiteX2" fmla="*/ 130899 w 171129"/>
                <a:gd name="connsiteY2" fmla="*/ 64587 h 165124"/>
                <a:gd name="connsiteX3" fmla="*/ 130899 w 171129"/>
                <a:gd name="connsiteY3" fmla="*/ 53778 h 165124"/>
                <a:gd name="connsiteX4" fmla="*/ 108682 w 171129"/>
                <a:gd name="connsiteY4" fmla="*/ 26458 h 165124"/>
                <a:gd name="connsiteX5" fmla="*/ 73556 w 171129"/>
                <a:gd name="connsiteY5" fmla="*/ 84101 h 165124"/>
                <a:gd name="connsiteX6" fmla="*/ 73556 w 171129"/>
                <a:gd name="connsiteY6" fmla="*/ 140844 h 165124"/>
                <a:gd name="connsiteX7" fmla="*/ 33926 w 171129"/>
                <a:gd name="connsiteY7" fmla="*/ 167864 h 165124"/>
                <a:gd name="connsiteX8" fmla="*/ 33926 w 171129"/>
                <a:gd name="connsiteY8" fmla="*/ 30061 h 165124"/>
                <a:gd name="connsiteX9" fmla="*/ 0 w 171129"/>
                <a:gd name="connsiteY9" fmla="*/ 30061 h 165124"/>
                <a:gd name="connsiteX10" fmla="*/ 0 w 171129"/>
                <a:gd name="connsiteY10" fmla="*/ 939 h 165124"/>
                <a:gd name="connsiteX11" fmla="*/ 69052 w 171129"/>
                <a:gd name="connsiteY11" fmla="*/ 939 h 165124"/>
                <a:gd name="connsiteX12" fmla="*/ 69052 w 171129"/>
                <a:gd name="connsiteY12" fmla="*/ 49575 h 165124"/>
                <a:gd name="connsiteX13" fmla="*/ 69953 w 171129"/>
                <a:gd name="connsiteY13" fmla="*/ 49575 h 165124"/>
                <a:gd name="connsiteX14" fmla="*/ 101477 w 171129"/>
                <a:gd name="connsiteY14" fmla="*/ 3941 h 165124"/>
                <a:gd name="connsiteX15" fmla="*/ 122192 w 171129"/>
                <a:gd name="connsiteY15" fmla="*/ 38 h 165124"/>
                <a:gd name="connsiteX16" fmla="*/ 171730 w 171129"/>
                <a:gd name="connsiteY16" fmla="*/ 58282 h 165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71129" h="165124">
                  <a:moveTo>
                    <a:pt x="171730" y="58282"/>
                  </a:moveTo>
                  <a:lnTo>
                    <a:pt x="171730" y="62185"/>
                  </a:lnTo>
                  <a:lnTo>
                    <a:pt x="130899" y="64587"/>
                  </a:lnTo>
                  <a:lnTo>
                    <a:pt x="130899" y="53778"/>
                  </a:lnTo>
                  <a:cubicBezTo>
                    <a:pt x="130899" y="37566"/>
                    <a:pt x="121592" y="26458"/>
                    <a:pt x="108682" y="26458"/>
                  </a:cubicBezTo>
                  <a:cubicBezTo>
                    <a:pt x="89468" y="26458"/>
                    <a:pt x="73556" y="51977"/>
                    <a:pt x="73556" y="84101"/>
                  </a:cubicBezTo>
                  <a:lnTo>
                    <a:pt x="73556" y="140844"/>
                  </a:lnTo>
                  <a:lnTo>
                    <a:pt x="33926" y="167864"/>
                  </a:lnTo>
                  <a:lnTo>
                    <a:pt x="33926" y="30061"/>
                  </a:lnTo>
                  <a:lnTo>
                    <a:pt x="0" y="30061"/>
                  </a:lnTo>
                  <a:lnTo>
                    <a:pt x="0" y="939"/>
                  </a:lnTo>
                  <a:lnTo>
                    <a:pt x="69052" y="939"/>
                  </a:lnTo>
                  <a:lnTo>
                    <a:pt x="69052" y="49575"/>
                  </a:lnTo>
                  <a:lnTo>
                    <a:pt x="69953" y="49575"/>
                  </a:lnTo>
                  <a:cubicBezTo>
                    <a:pt x="79560" y="21054"/>
                    <a:pt x="87066" y="9945"/>
                    <a:pt x="101477" y="3941"/>
                  </a:cubicBezTo>
                  <a:cubicBezTo>
                    <a:pt x="108082" y="1239"/>
                    <a:pt x="114987" y="-262"/>
                    <a:pt x="122192" y="38"/>
                  </a:cubicBezTo>
                  <a:cubicBezTo>
                    <a:pt x="153116" y="-563"/>
                    <a:pt x="171730" y="21054"/>
                    <a:pt x="171730" y="58282"/>
                  </a:cubicBezTo>
                  <a:close/>
                </a:path>
              </a:pathLst>
            </a:custGeom>
            <a:solidFill>
              <a:srgbClr val="009FE3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195" name="Forme libre : forme 194">
              <a:extLst>
                <a:ext uri="{FF2B5EF4-FFF2-40B4-BE49-F238E27FC236}">
                  <a16:creationId xmlns:a16="http://schemas.microsoft.com/office/drawing/2014/main" id="{219ACDB1-34C9-4C32-A093-48E50867E42A}"/>
                </a:ext>
              </a:extLst>
            </p:cNvPr>
            <p:cNvSpPr/>
            <p:nvPr/>
          </p:nvSpPr>
          <p:spPr>
            <a:xfrm>
              <a:off x="7993113" y="3867608"/>
              <a:ext cx="123093" cy="90068"/>
            </a:xfrm>
            <a:custGeom>
              <a:avLst/>
              <a:gdLst>
                <a:gd name="connsiteX0" fmla="*/ 108382 w 123092"/>
                <a:gd name="connsiteY0" fmla="*/ 45634 h 90067"/>
                <a:gd name="connsiteX1" fmla="*/ 108682 w 123092"/>
                <a:gd name="connsiteY1" fmla="*/ 45634 h 90067"/>
                <a:gd name="connsiteX2" fmla="*/ 3903 w 123092"/>
                <a:gd name="connsiteY2" fmla="*/ 90969 h 90067"/>
                <a:gd name="connsiteX3" fmla="*/ 0 w 123092"/>
                <a:gd name="connsiteY3" fmla="*/ 85565 h 90067"/>
                <a:gd name="connsiteX4" fmla="*/ 71154 w 123092"/>
                <a:gd name="connsiteY4" fmla="*/ 18614 h 90067"/>
                <a:gd name="connsiteX5" fmla="*/ 107181 w 123092"/>
                <a:gd name="connsiteY5" fmla="*/ 0 h 90067"/>
                <a:gd name="connsiteX6" fmla="*/ 125795 w 123092"/>
                <a:gd name="connsiteY6" fmla="*/ 22217 h 90067"/>
                <a:gd name="connsiteX7" fmla="*/ 108382 w 123092"/>
                <a:gd name="connsiteY7" fmla="*/ 45634 h 90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3092" h="90067">
                  <a:moveTo>
                    <a:pt x="108382" y="45634"/>
                  </a:moveTo>
                  <a:lnTo>
                    <a:pt x="108682" y="45634"/>
                  </a:lnTo>
                  <a:lnTo>
                    <a:pt x="3903" y="90969"/>
                  </a:lnTo>
                  <a:lnTo>
                    <a:pt x="0" y="85565"/>
                  </a:lnTo>
                  <a:lnTo>
                    <a:pt x="71154" y="18614"/>
                  </a:lnTo>
                  <a:cubicBezTo>
                    <a:pt x="80161" y="8106"/>
                    <a:pt x="93070" y="1501"/>
                    <a:pt x="107181" y="0"/>
                  </a:cubicBezTo>
                  <a:cubicBezTo>
                    <a:pt x="121592" y="0"/>
                    <a:pt x="125795" y="12610"/>
                    <a:pt x="125795" y="22217"/>
                  </a:cubicBezTo>
                  <a:cubicBezTo>
                    <a:pt x="124894" y="32725"/>
                    <a:pt x="117989" y="41431"/>
                    <a:pt x="108382" y="45634"/>
                  </a:cubicBezTo>
                  <a:close/>
                </a:path>
              </a:pathLst>
            </a:custGeom>
            <a:solidFill>
              <a:srgbClr val="009FE3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196" name="Forme libre : forme 195">
              <a:extLst>
                <a:ext uri="{FF2B5EF4-FFF2-40B4-BE49-F238E27FC236}">
                  <a16:creationId xmlns:a16="http://schemas.microsoft.com/office/drawing/2014/main" id="{7A36B1D3-0BC9-43D3-A545-42A2378B84A2}"/>
                </a:ext>
              </a:extLst>
            </p:cNvPr>
            <p:cNvSpPr/>
            <p:nvPr/>
          </p:nvSpPr>
          <p:spPr>
            <a:xfrm>
              <a:off x="6523803" y="3918346"/>
              <a:ext cx="36027" cy="36027"/>
            </a:xfrm>
            <a:custGeom>
              <a:avLst/>
              <a:gdLst>
                <a:gd name="connsiteX0" fmla="*/ 32725 w 36027"/>
                <a:gd name="connsiteY0" fmla="*/ 32725 h 36027"/>
                <a:gd name="connsiteX1" fmla="*/ 19215 w 36027"/>
                <a:gd name="connsiteY1" fmla="*/ 38429 h 36027"/>
                <a:gd name="connsiteX2" fmla="*/ 5704 w 36027"/>
                <a:gd name="connsiteY2" fmla="*/ 33025 h 36027"/>
                <a:gd name="connsiteX3" fmla="*/ 0 w 36027"/>
                <a:gd name="connsiteY3" fmla="*/ 19515 h 36027"/>
                <a:gd name="connsiteX4" fmla="*/ 0 w 36027"/>
                <a:gd name="connsiteY4" fmla="*/ 19214 h 36027"/>
                <a:gd name="connsiteX5" fmla="*/ 5704 w 36027"/>
                <a:gd name="connsiteY5" fmla="*/ 5704 h 36027"/>
                <a:gd name="connsiteX6" fmla="*/ 19215 w 36027"/>
                <a:gd name="connsiteY6" fmla="*/ 0 h 36027"/>
                <a:gd name="connsiteX7" fmla="*/ 32725 w 36027"/>
                <a:gd name="connsiteY7" fmla="*/ 5704 h 36027"/>
                <a:gd name="connsiteX8" fmla="*/ 32725 w 36027"/>
                <a:gd name="connsiteY8" fmla="*/ 32725 h 36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027" h="36027">
                  <a:moveTo>
                    <a:pt x="32725" y="32725"/>
                  </a:moveTo>
                  <a:cubicBezTo>
                    <a:pt x="29122" y="36327"/>
                    <a:pt x="24318" y="38429"/>
                    <a:pt x="19215" y="38429"/>
                  </a:cubicBezTo>
                  <a:cubicBezTo>
                    <a:pt x="14111" y="38429"/>
                    <a:pt x="9307" y="36628"/>
                    <a:pt x="5704" y="33025"/>
                  </a:cubicBezTo>
                  <a:cubicBezTo>
                    <a:pt x="2102" y="29422"/>
                    <a:pt x="0" y="24619"/>
                    <a:pt x="0" y="19515"/>
                  </a:cubicBezTo>
                  <a:lnTo>
                    <a:pt x="0" y="19214"/>
                  </a:lnTo>
                  <a:cubicBezTo>
                    <a:pt x="0" y="14111"/>
                    <a:pt x="2102" y="9307"/>
                    <a:pt x="5704" y="5704"/>
                  </a:cubicBezTo>
                  <a:cubicBezTo>
                    <a:pt x="9307" y="2102"/>
                    <a:pt x="14111" y="0"/>
                    <a:pt x="19215" y="0"/>
                  </a:cubicBezTo>
                  <a:cubicBezTo>
                    <a:pt x="24318" y="0"/>
                    <a:pt x="29122" y="2102"/>
                    <a:pt x="32725" y="5704"/>
                  </a:cubicBezTo>
                  <a:cubicBezTo>
                    <a:pt x="40230" y="12910"/>
                    <a:pt x="40230" y="25219"/>
                    <a:pt x="32725" y="32725"/>
                  </a:cubicBezTo>
                  <a:close/>
                </a:path>
              </a:pathLst>
            </a:custGeom>
            <a:solidFill>
              <a:srgbClr val="009FE3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197" name="Forme libre : forme 196">
              <a:extLst>
                <a:ext uri="{FF2B5EF4-FFF2-40B4-BE49-F238E27FC236}">
                  <a16:creationId xmlns:a16="http://schemas.microsoft.com/office/drawing/2014/main" id="{BA76AE2F-0D7D-44B2-A262-EA419C215EA0}"/>
                </a:ext>
              </a:extLst>
            </p:cNvPr>
            <p:cNvSpPr/>
            <p:nvPr/>
          </p:nvSpPr>
          <p:spPr>
            <a:xfrm>
              <a:off x="6763083" y="4006913"/>
              <a:ext cx="120091" cy="117088"/>
            </a:xfrm>
            <a:custGeom>
              <a:avLst/>
              <a:gdLst>
                <a:gd name="connsiteX0" fmla="*/ 122793 w 120090"/>
                <a:gd name="connsiteY0" fmla="*/ 0 h 117088"/>
                <a:gd name="connsiteX1" fmla="*/ 122793 w 120090"/>
                <a:gd name="connsiteY1" fmla="*/ 33325 h 117088"/>
                <a:gd name="connsiteX2" fmla="*/ 83763 w 120090"/>
                <a:gd name="connsiteY2" fmla="*/ 33325 h 117088"/>
                <a:gd name="connsiteX3" fmla="*/ 54641 w 120090"/>
                <a:gd name="connsiteY3" fmla="*/ 117989 h 117088"/>
                <a:gd name="connsiteX4" fmla="*/ 28822 w 120090"/>
                <a:gd name="connsiteY4" fmla="*/ 69953 h 117088"/>
                <a:gd name="connsiteX5" fmla="*/ 42032 w 120090"/>
                <a:gd name="connsiteY5" fmla="*/ 33325 h 117088"/>
                <a:gd name="connsiteX6" fmla="*/ 0 w 120090"/>
                <a:gd name="connsiteY6" fmla="*/ 33325 h 117088"/>
                <a:gd name="connsiteX7" fmla="*/ 0 w 120090"/>
                <a:gd name="connsiteY7" fmla="*/ 0 h 117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0090" h="117088">
                  <a:moveTo>
                    <a:pt x="122793" y="0"/>
                  </a:moveTo>
                  <a:lnTo>
                    <a:pt x="122793" y="33325"/>
                  </a:lnTo>
                  <a:lnTo>
                    <a:pt x="83763" y="33325"/>
                  </a:lnTo>
                  <a:lnTo>
                    <a:pt x="54641" y="117989"/>
                  </a:lnTo>
                  <a:lnTo>
                    <a:pt x="28822" y="69953"/>
                  </a:lnTo>
                  <a:lnTo>
                    <a:pt x="42032" y="33325"/>
                  </a:lnTo>
                  <a:lnTo>
                    <a:pt x="0" y="333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FE3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198" name="Forme libre : forme 197">
              <a:extLst>
                <a:ext uri="{FF2B5EF4-FFF2-40B4-BE49-F238E27FC236}">
                  <a16:creationId xmlns:a16="http://schemas.microsoft.com/office/drawing/2014/main" id="{DBDE1595-6A35-4309-8304-C024038B286C}"/>
                </a:ext>
              </a:extLst>
            </p:cNvPr>
            <p:cNvSpPr/>
            <p:nvPr/>
          </p:nvSpPr>
          <p:spPr>
            <a:xfrm>
              <a:off x="7314421" y="4184121"/>
              <a:ext cx="120091" cy="114086"/>
            </a:xfrm>
            <a:custGeom>
              <a:avLst/>
              <a:gdLst>
                <a:gd name="connsiteX0" fmla="*/ 121170 w 120090"/>
                <a:gd name="connsiteY0" fmla="*/ 114311 h 114086"/>
                <a:gd name="connsiteX1" fmla="*/ 118168 w 120090"/>
                <a:gd name="connsiteY1" fmla="*/ 114311 h 114086"/>
                <a:gd name="connsiteX2" fmla="*/ 179 w 120090"/>
                <a:gd name="connsiteY2" fmla="*/ 33250 h 114086"/>
                <a:gd name="connsiteX3" fmla="*/ 26899 w 120090"/>
                <a:gd name="connsiteY3" fmla="*/ 225 h 114086"/>
                <a:gd name="connsiteX4" fmla="*/ 32603 w 120090"/>
                <a:gd name="connsiteY4" fmla="*/ 225 h 114086"/>
                <a:gd name="connsiteX5" fmla="*/ 59324 w 120090"/>
                <a:gd name="connsiteY5" fmla="*/ 25144 h 114086"/>
                <a:gd name="connsiteX6" fmla="*/ 39208 w 120090"/>
                <a:gd name="connsiteY6" fmla="*/ 52164 h 114086"/>
                <a:gd name="connsiteX7" fmla="*/ 121170 w 120090"/>
                <a:gd name="connsiteY7" fmla="*/ 114311 h 114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0090" h="114086">
                  <a:moveTo>
                    <a:pt x="121170" y="114311"/>
                  </a:moveTo>
                  <a:lnTo>
                    <a:pt x="118168" y="114311"/>
                  </a:lnTo>
                  <a:cubicBezTo>
                    <a:pt x="46114" y="114311"/>
                    <a:pt x="179" y="65675"/>
                    <a:pt x="179" y="33250"/>
                  </a:cubicBezTo>
                  <a:cubicBezTo>
                    <a:pt x="-1622" y="16738"/>
                    <a:pt x="10387" y="2027"/>
                    <a:pt x="26899" y="225"/>
                  </a:cubicBezTo>
                  <a:cubicBezTo>
                    <a:pt x="28700" y="-75"/>
                    <a:pt x="30802" y="-75"/>
                    <a:pt x="32603" y="225"/>
                  </a:cubicBezTo>
                  <a:cubicBezTo>
                    <a:pt x="46414" y="1426"/>
                    <a:pt x="57222" y="11934"/>
                    <a:pt x="59324" y="25144"/>
                  </a:cubicBezTo>
                  <a:cubicBezTo>
                    <a:pt x="59924" y="37753"/>
                    <a:pt x="51518" y="48862"/>
                    <a:pt x="39208" y="52164"/>
                  </a:cubicBezTo>
                  <a:lnTo>
                    <a:pt x="121170" y="114311"/>
                  </a:lnTo>
                  <a:close/>
                </a:path>
              </a:pathLst>
            </a:custGeom>
            <a:solidFill>
              <a:srgbClr val="009FE3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199" name="Forme libre : forme 198">
              <a:extLst>
                <a:ext uri="{FF2B5EF4-FFF2-40B4-BE49-F238E27FC236}">
                  <a16:creationId xmlns:a16="http://schemas.microsoft.com/office/drawing/2014/main" id="{4F0E7013-B703-4393-B5A7-8BAFE8A06CD7}"/>
                </a:ext>
              </a:extLst>
            </p:cNvPr>
            <p:cNvSpPr/>
            <p:nvPr/>
          </p:nvSpPr>
          <p:spPr>
            <a:xfrm>
              <a:off x="7744225" y="4120699"/>
              <a:ext cx="147111" cy="177134"/>
            </a:xfrm>
            <a:custGeom>
              <a:avLst/>
              <a:gdLst>
                <a:gd name="connsiteX0" fmla="*/ 148312 w 147111"/>
                <a:gd name="connsiteY0" fmla="*/ 137504 h 177133"/>
                <a:gd name="connsiteX1" fmla="*/ 148312 w 147111"/>
                <a:gd name="connsiteY1" fmla="*/ 140506 h 177133"/>
                <a:gd name="connsiteX2" fmla="*/ 49838 w 147111"/>
                <a:gd name="connsiteY2" fmla="*/ 178935 h 177133"/>
                <a:gd name="connsiteX3" fmla="*/ 12910 w 147111"/>
                <a:gd name="connsiteY3" fmla="*/ 163924 h 177133"/>
                <a:gd name="connsiteX4" fmla="*/ 0 w 147111"/>
                <a:gd name="connsiteY4" fmla="*/ 112285 h 177133"/>
                <a:gd name="connsiteX5" fmla="*/ 0 w 147111"/>
                <a:gd name="connsiteY5" fmla="*/ 20716 h 177133"/>
                <a:gd name="connsiteX6" fmla="*/ 39930 w 147111"/>
                <a:gd name="connsiteY6" fmla="*/ 0 h 177133"/>
                <a:gd name="connsiteX7" fmla="*/ 40531 w 147111"/>
                <a:gd name="connsiteY7" fmla="*/ 83763 h 177133"/>
                <a:gd name="connsiteX8" fmla="*/ 47736 w 147111"/>
                <a:gd name="connsiteY8" fmla="*/ 133601 h 177133"/>
                <a:gd name="connsiteX9" fmla="*/ 83763 w 147111"/>
                <a:gd name="connsiteY9" fmla="*/ 153416 h 177133"/>
                <a:gd name="connsiteX10" fmla="*/ 110784 w 147111"/>
                <a:gd name="connsiteY10" fmla="*/ 148612 h 177133"/>
                <a:gd name="connsiteX11" fmla="*/ 147711 w 147111"/>
                <a:gd name="connsiteY11" fmla="*/ 133601 h 177133"/>
                <a:gd name="connsiteX12" fmla="*/ 148312 w 147111"/>
                <a:gd name="connsiteY12" fmla="*/ 137504 h 177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7111" h="177133">
                  <a:moveTo>
                    <a:pt x="148312" y="137504"/>
                  </a:moveTo>
                  <a:lnTo>
                    <a:pt x="148312" y="140506"/>
                  </a:lnTo>
                  <a:cubicBezTo>
                    <a:pt x="116488" y="167827"/>
                    <a:pt x="74756" y="177434"/>
                    <a:pt x="49838" y="178935"/>
                  </a:cubicBezTo>
                  <a:cubicBezTo>
                    <a:pt x="36027" y="179836"/>
                    <a:pt x="22517" y="173831"/>
                    <a:pt x="12910" y="163924"/>
                  </a:cubicBezTo>
                  <a:cubicBezTo>
                    <a:pt x="2702" y="154016"/>
                    <a:pt x="0" y="136903"/>
                    <a:pt x="0" y="112285"/>
                  </a:cubicBezTo>
                  <a:lnTo>
                    <a:pt x="0" y="20716"/>
                  </a:lnTo>
                  <a:lnTo>
                    <a:pt x="39930" y="0"/>
                  </a:lnTo>
                  <a:lnTo>
                    <a:pt x="40531" y="83763"/>
                  </a:lnTo>
                  <a:cubicBezTo>
                    <a:pt x="39630" y="100576"/>
                    <a:pt x="42332" y="117689"/>
                    <a:pt x="47736" y="133601"/>
                  </a:cubicBezTo>
                  <a:cubicBezTo>
                    <a:pt x="52540" y="146811"/>
                    <a:pt x="64849" y="153416"/>
                    <a:pt x="83763" y="153416"/>
                  </a:cubicBezTo>
                  <a:cubicBezTo>
                    <a:pt x="93070" y="153115"/>
                    <a:pt x="102077" y="151314"/>
                    <a:pt x="110784" y="148612"/>
                  </a:cubicBezTo>
                  <a:cubicBezTo>
                    <a:pt x="123393" y="144709"/>
                    <a:pt x="135702" y="139605"/>
                    <a:pt x="147711" y="133601"/>
                  </a:cubicBezTo>
                  <a:cubicBezTo>
                    <a:pt x="148012" y="134802"/>
                    <a:pt x="148312" y="136303"/>
                    <a:pt x="148312" y="137504"/>
                  </a:cubicBezTo>
                  <a:close/>
                </a:path>
              </a:pathLst>
            </a:custGeom>
            <a:solidFill>
              <a:srgbClr val="009FE3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00" name="Forme libre : forme 199">
              <a:extLst>
                <a:ext uri="{FF2B5EF4-FFF2-40B4-BE49-F238E27FC236}">
                  <a16:creationId xmlns:a16="http://schemas.microsoft.com/office/drawing/2014/main" id="{BDC1994B-B6C4-40B0-8835-9B69BC78513D}"/>
                </a:ext>
              </a:extLst>
            </p:cNvPr>
            <p:cNvSpPr/>
            <p:nvPr/>
          </p:nvSpPr>
          <p:spPr>
            <a:xfrm>
              <a:off x="5951546" y="4012317"/>
              <a:ext cx="195147" cy="288217"/>
            </a:xfrm>
            <a:custGeom>
              <a:avLst/>
              <a:gdLst>
                <a:gd name="connsiteX0" fmla="*/ 190368 w 195147"/>
                <a:gd name="connsiteY0" fmla="*/ 0 h 288217"/>
                <a:gd name="connsiteX1" fmla="*/ 161847 w 195147"/>
                <a:gd name="connsiteY1" fmla="*/ 0 h 288217"/>
                <a:gd name="connsiteX2" fmla="*/ 156443 w 195147"/>
                <a:gd name="connsiteY2" fmla="*/ 5404 h 288217"/>
                <a:gd name="connsiteX3" fmla="*/ 156443 w 195147"/>
                <a:gd name="connsiteY3" fmla="*/ 190344 h 288217"/>
                <a:gd name="connsiteX4" fmla="*/ 138729 w 195147"/>
                <a:gd name="connsiteY4" fmla="*/ 231775 h 288217"/>
                <a:gd name="connsiteX5" fmla="*/ 98199 w 195147"/>
                <a:gd name="connsiteY5" fmla="*/ 248888 h 288217"/>
                <a:gd name="connsiteX6" fmla="*/ 57067 w 195147"/>
                <a:gd name="connsiteY6" fmla="*/ 231775 h 288217"/>
                <a:gd name="connsiteX7" fmla="*/ 39955 w 195147"/>
                <a:gd name="connsiteY7" fmla="*/ 190344 h 288217"/>
                <a:gd name="connsiteX8" fmla="*/ 39955 w 195147"/>
                <a:gd name="connsiteY8" fmla="*/ 131499 h 288217"/>
                <a:gd name="connsiteX9" fmla="*/ 24 w 195147"/>
                <a:gd name="connsiteY9" fmla="*/ 147711 h 288217"/>
                <a:gd name="connsiteX10" fmla="*/ 24 w 195147"/>
                <a:gd name="connsiteY10" fmla="*/ 190644 h 288217"/>
                <a:gd name="connsiteX11" fmla="*/ 28546 w 195147"/>
                <a:gd name="connsiteY11" fmla="*/ 260597 h 288217"/>
                <a:gd name="connsiteX12" fmla="*/ 98199 w 195147"/>
                <a:gd name="connsiteY12" fmla="*/ 290019 h 288217"/>
                <a:gd name="connsiteX13" fmla="*/ 167251 w 195147"/>
                <a:gd name="connsiteY13" fmla="*/ 260296 h 288217"/>
                <a:gd name="connsiteX14" fmla="*/ 196373 w 195147"/>
                <a:gd name="connsiteY14" fmla="*/ 190344 h 288217"/>
                <a:gd name="connsiteX15" fmla="*/ 196373 w 195147"/>
                <a:gd name="connsiteY15" fmla="*/ 5404 h 288217"/>
                <a:gd name="connsiteX16" fmla="*/ 190368 w 195147"/>
                <a:gd name="connsiteY16" fmla="*/ 0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147" h="288217">
                  <a:moveTo>
                    <a:pt x="190368" y="0"/>
                  </a:moveTo>
                  <a:lnTo>
                    <a:pt x="161847" y="0"/>
                  </a:lnTo>
                  <a:cubicBezTo>
                    <a:pt x="157944" y="0"/>
                    <a:pt x="156443" y="1501"/>
                    <a:pt x="156443" y="5404"/>
                  </a:cubicBezTo>
                  <a:lnTo>
                    <a:pt x="156443" y="190344"/>
                  </a:lnTo>
                  <a:cubicBezTo>
                    <a:pt x="156443" y="205955"/>
                    <a:pt x="150138" y="220967"/>
                    <a:pt x="138729" y="231775"/>
                  </a:cubicBezTo>
                  <a:cubicBezTo>
                    <a:pt x="128221" y="243183"/>
                    <a:pt x="113510" y="249188"/>
                    <a:pt x="98199" y="248888"/>
                  </a:cubicBezTo>
                  <a:cubicBezTo>
                    <a:pt x="82587" y="249188"/>
                    <a:pt x="67575" y="243183"/>
                    <a:pt x="57067" y="231775"/>
                  </a:cubicBezTo>
                  <a:cubicBezTo>
                    <a:pt x="45959" y="220967"/>
                    <a:pt x="39654" y="205955"/>
                    <a:pt x="39955" y="190344"/>
                  </a:cubicBezTo>
                  <a:lnTo>
                    <a:pt x="39955" y="131499"/>
                  </a:lnTo>
                  <a:lnTo>
                    <a:pt x="24" y="147711"/>
                  </a:lnTo>
                  <a:lnTo>
                    <a:pt x="24" y="190644"/>
                  </a:lnTo>
                  <a:cubicBezTo>
                    <a:pt x="-576" y="216763"/>
                    <a:pt x="9932" y="241982"/>
                    <a:pt x="28546" y="260597"/>
                  </a:cubicBezTo>
                  <a:cubicBezTo>
                    <a:pt x="46860" y="279511"/>
                    <a:pt x="71779" y="290019"/>
                    <a:pt x="98199" y="290019"/>
                  </a:cubicBezTo>
                  <a:cubicBezTo>
                    <a:pt x="124318" y="290019"/>
                    <a:pt x="149237" y="279511"/>
                    <a:pt x="167251" y="260296"/>
                  </a:cubicBezTo>
                  <a:cubicBezTo>
                    <a:pt x="186165" y="241982"/>
                    <a:pt x="196673" y="216763"/>
                    <a:pt x="196373" y="190344"/>
                  </a:cubicBezTo>
                  <a:lnTo>
                    <a:pt x="196373" y="5404"/>
                  </a:lnTo>
                  <a:cubicBezTo>
                    <a:pt x="196073" y="1501"/>
                    <a:pt x="193971" y="0"/>
                    <a:pt x="190368" y="0"/>
                  </a:cubicBez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01" name="Forme libre : forme 200">
              <a:extLst>
                <a:ext uri="{FF2B5EF4-FFF2-40B4-BE49-F238E27FC236}">
                  <a16:creationId xmlns:a16="http://schemas.microsoft.com/office/drawing/2014/main" id="{B4F8EAE4-67FF-448A-AB11-8701CF2DDB42}"/>
                </a:ext>
              </a:extLst>
            </p:cNvPr>
            <p:cNvSpPr/>
            <p:nvPr/>
          </p:nvSpPr>
          <p:spPr>
            <a:xfrm>
              <a:off x="6234678" y="3999143"/>
              <a:ext cx="198150" cy="288217"/>
            </a:xfrm>
            <a:custGeom>
              <a:avLst/>
              <a:gdLst>
                <a:gd name="connsiteX0" fmla="*/ 192452 w 198149"/>
                <a:gd name="connsiteY0" fmla="*/ 289382 h 288217"/>
                <a:gd name="connsiteX1" fmla="*/ 164230 w 198149"/>
                <a:gd name="connsiteY1" fmla="*/ 289382 h 288217"/>
                <a:gd name="connsiteX2" fmla="*/ 158226 w 198149"/>
                <a:gd name="connsiteY2" fmla="*/ 284578 h 288217"/>
                <a:gd name="connsiteX3" fmla="*/ 158226 w 198149"/>
                <a:gd name="connsiteY3" fmla="*/ 283377 h 288217"/>
                <a:gd name="connsiteX4" fmla="*/ 158226 w 198149"/>
                <a:gd name="connsiteY4" fmla="*/ 98438 h 288217"/>
                <a:gd name="connsiteX5" fmla="*/ 140813 w 198149"/>
                <a:gd name="connsiteY5" fmla="*/ 57307 h 288217"/>
                <a:gd name="connsiteX6" fmla="*/ 57950 w 198149"/>
                <a:gd name="connsiteY6" fmla="*/ 57006 h 288217"/>
                <a:gd name="connsiteX7" fmla="*/ 57650 w 198149"/>
                <a:gd name="connsiteY7" fmla="*/ 57307 h 288217"/>
                <a:gd name="connsiteX8" fmla="*/ 41137 w 198149"/>
                <a:gd name="connsiteY8" fmla="*/ 98438 h 288217"/>
                <a:gd name="connsiteX9" fmla="*/ 41137 w 198149"/>
                <a:gd name="connsiteY9" fmla="*/ 283377 h 288217"/>
                <a:gd name="connsiteX10" fmla="*/ 36634 w 198149"/>
                <a:gd name="connsiteY10" fmla="*/ 289382 h 288217"/>
                <a:gd name="connsiteX11" fmla="*/ 34833 w 198149"/>
                <a:gd name="connsiteY11" fmla="*/ 289382 h 288217"/>
                <a:gd name="connsiteX12" fmla="*/ 6011 w 198149"/>
                <a:gd name="connsiteY12" fmla="*/ 289382 h 288217"/>
                <a:gd name="connsiteX13" fmla="*/ 6 w 198149"/>
                <a:gd name="connsiteY13" fmla="*/ 284578 h 288217"/>
                <a:gd name="connsiteX14" fmla="*/ 6 w 198149"/>
                <a:gd name="connsiteY14" fmla="*/ 283377 h 288217"/>
                <a:gd name="connsiteX15" fmla="*/ 6 w 198149"/>
                <a:gd name="connsiteY15" fmla="*/ 98438 h 288217"/>
                <a:gd name="connsiteX16" fmla="*/ 29428 w 198149"/>
                <a:gd name="connsiteY16" fmla="*/ 28785 h 288217"/>
                <a:gd name="connsiteX17" fmla="*/ 168734 w 198149"/>
                <a:gd name="connsiteY17" fmla="*/ 28185 h 288217"/>
                <a:gd name="connsiteX18" fmla="*/ 169334 w 198149"/>
                <a:gd name="connsiteY18" fmla="*/ 28785 h 288217"/>
                <a:gd name="connsiteX19" fmla="*/ 198456 w 198149"/>
                <a:gd name="connsiteY19" fmla="*/ 98438 h 288217"/>
                <a:gd name="connsiteX20" fmla="*/ 198456 w 198149"/>
                <a:gd name="connsiteY20" fmla="*/ 283377 h 288217"/>
                <a:gd name="connsiteX21" fmla="*/ 193352 w 198149"/>
                <a:gd name="connsiteY21" fmla="*/ 289382 h 288217"/>
                <a:gd name="connsiteX22" fmla="*/ 192452 w 198149"/>
                <a:gd name="connsiteY22" fmla="*/ 289382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8149" h="288217">
                  <a:moveTo>
                    <a:pt x="192452" y="289382"/>
                  </a:moveTo>
                  <a:lnTo>
                    <a:pt x="164230" y="289382"/>
                  </a:lnTo>
                  <a:cubicBezTo>
                    <a:pt x="161228" y="289682"/>
                    <a:pt x="158526" y="287580"/>
                    <a:pt x="158226" y="284578"/>
                  </a:cubicBezTo>
                  <a:cubicBezTo>
                    <a:pt x="158226" y="284278"/>
                    <a:pt x="158226" y="283677"/>
                    <a:pt x="158226" y="283377"/>
                  </a:cubicBezTo>
                  <a:lnTo>
                    <a:pt x="158226" y="98438"/>
                  </a:lnTo>
                  <a:cubicBezTo>
                    <a:pt x="158526" y="82826"/>
                    <a:pt x="152221" y="68115"/>
                    <a:pt x="140813" y="57307"/>
                  </a:cubicBezTo>
                  <a:cubicBezTo>
                    <a:pt x="117995" y="34490"/>
                    <a:pt x="80767" y="34490"/>
                    <a:pt x="57950" y="57006"/>
                  </a:cubicBezTo>
                  <a:cubicBezTo>
                    <a:pt x="57950" y="57006"/>
                    <a:pt x="57650" y="57307"/>
                    <a:pt x="57650" y="57307"/>
                  </a:cubicBezTo>
                  <a:cubicBezTo>
                    <a:pt x="46842" y="68115"/>
                    <a:pt x="40837" y="83126"/>
                    <a:pt x="41137" y="98438"/>
                  </a:cubicBezTo>
                  <a:lnTo>
                    <a:pt x="41137" y="283377"/>
                  </a:lnTo>
                  <a:cubicBezTo>
                    <a:pt x="41738" y="286380"/>
                    <a:pt x="39636" y="289082"/>
                    <a:pt x="36634" y="289382"/>
                  </a:cubicBezTo>
                  <a:cubicBezTo>
                    <a:pt x="36033" y="289382"/>
                    <a:pt x="35433" y="289382"/>
                    <a:pt x="34833" y="289382"/>
                  </a:cubicBezTo>
                  <a:lnTo>
                    <a:pt x="6011" y="289382"/>
                  </a:lnTo>
                  <a:cubicBezTo>
                    <a:pt x="3009" y="289682"/>
                    <a:pt x="306" y="287580"/>
                    <a:pt x="6" y="284578"/>
                  </a:cubicBezTo>
                  <a:cubicBezTo>
                    <a:pt x="6" y="284278"/>
                    <a:pt x="6" y="283677"/>
                    <a:pt x="6" y="283377"/>
                  </a:cubicBezTo>
                  <a:lnTo>
                    <a:pt x="6" y="98438"/>
                  </a:lnTo>
                  <a:cubicBezTo>
                    <a:pt x="-294" y="72318"/>
                    <a:pt x="10214" y="47099"/>
                    <a:pt x="29428" y="28785"/>
                  </a:cubicBezTo>
                  <a:cubicBezTo>
                    <a:pt x="67858" y="-9344"/>
                    <a:pt x="130004" y="-9644"/>
                    <a:pt x="168734" y="28185"/>
                  </a:cubicBezTo>
                  <a:cubicBezTo>
                    <a:pt x="169034" y="28485"/>
                    <a:pt x="169034" y="28485"/>
                    <a:pt x="169334" y="28785"/>
                  </a:cubicBezTo>
                  <a:cubicBezTo>
                    <a:pt x="188248" y="47099"/>
                    <a:pt x="198756" y="72318"/>
                    <a:pt x="198456" y="98438"/>
                  </a:cubicBezTo>
                  <a:lnTo>
                    <a:pt x="198456" y="283377"/>
                  </a:lnTo>
                  <a:cubicBezTo>
                    <a:pt x="198756" y="286380"/>
                    <a:pt x="196355" y="289082"/>
                    <a:pt x="193352" y="289382"/>
                  </a:cubicBezTo>
                  <a:cubicBezTo>
                    <a:pt x="193052" y="289382"/>
                    <a:pt x="192752" y="289382"/>
                    <a:pt x="192452" y="289382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02" name="Forme libre : forme 201">
              <a:extLst>
                <a:ext uri="{FF2B5EF4-FFF2-40B4-BE49-F238E27FC236}">
                  <a16:creationId xmlns:a16="http://schemas.microsoft.com/office/drawing/2014/main" id="{A1B3C744-062F-46CB-AC7C-FDEF3C0084B5}"/>
                </a:ext>
              </a:extLst>
            </p:cNvPr>
            <p:cNvSpPr/>
            <p:nvPr/>
          </p:nvSpPr>
          <p:spPr>
            <a:xfrm>
              <a:off x="6523803" y="4111091"/>
              <a:ext cx="39029" cy="177134"/>
            </a:xfrm>
            <a:custGeom>
              <a:avLst/>
              <a:gdLst>
                <a:gd name="connsiteX0" fmla="*/ 39930 w 39029"/>
                <a:gd name="connsiteY0" fmla="*/ 37528 h 177133"/>
                <a:gd name="connsiteX1" fmla="*/ 39930 w 39029"/>
                <a:gd name="connsiteY1" fmla="*/ 173231 h 177133"/>
                <a:gd name="connsiteX2" fmla="*/ 34826 w 39029"/>
                <a:gd name="connsiteY2" fmla="*/ 179235 h 177133"/>
                <a:gd name="connsiteX3" fmla="*/ 33625 w 39029"/>
                <a:gd name="connsiteY3" fmla="*/ 179235 h 177133"/>
                <a:gd name="connsiteX4" fmla="*/ 6005 w 39029"/>
                <a:gd name="connsiteY4" fmla="*/ 179235 h 177133"/>
                <a:gd name="connsiteX5" fmla="*/ 0 w 39029"/>
                <a:gd name="connsiteY5" fmla="*/ 174732 h 177133"/>
                <a:gd name="connsiteX6" fmla="*/ 0 w 39029"/>
                <a:gd name="connsiteY6" fmla="*/ 172930 h 177133"/>
                <a:gd name="connsiteX7" fmla="*/ 0 w 39029"/>
                <a:gd name="connsiteY7" fmla="*/ 0 h 177133"/>
                <a:gd name="connsiteX8" fmla="*/ 39930 w 39029"/>
                <a:gd name="connsiteY8" fmla="*/ 37528 h 177133"/>
                <a:gd name="connsiteX9" fmla="*/ 39930 w 39029"/>
                <a:gd name="connsiteY9" fmla="*/ 37528 h 177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029" h="177133">
                  <a:moveTo>
                    <a:pt x="39930" y="37528"/>
                  </a:moveTo>
                  <a:lnTo>
                    <a:pt x="39930" y="173231"/>
                  </a:lnTo>
                  <a:cubicBezTo>
                    <a:pt x="40230" y="176233"/>
                    <a:pt x="38129" y="178935"/>
                    <a:pt x="34826" y="179235"/>
                  </a:cubicBezTo>
                  <a:cubicBezTo>
                    <a:pt x="34526" y="179235"/>
                    <a:pt x="34226" y="179235"/>
                    <a:pt x="33625" y="179235"/>
                  </a:cubicBezTo>
                  <a:lnTo>
                    <a:pt x="6005" y="179235"/>
                  </a:lnTo>
                  <a:cubicBezTo>
                    <a:pt x="3002" y="179836"/>
                    <a:pt x="300" y="177734"/>
                    <a:pt x="0" y="174732"/>
                  </a:cubicBezTo>
                  <a:cubicBezTo>
                    <a:pt x="0" y="174131"/>
                    <a:pt x="0" y="173531"/>
                    <a:pt x="0" y="172930"/>
                  </a:cubicBezTo>
                  <a:lnTo>
                    <a:pt x="0" y="0"/>
                  </a:lnTo>
                  <a:lnTo>
                    <a:pt x="39930" y="37528"/>
                  </a:lnTo>
                  <a:lnTo>
                    <a:pt x="39930" y="37528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03" name="Forme libre : forme 202">
              <a:extLst>
                <a:ext uri="{FF2B5EF4-FFF2-40B4-BE49-F238E27FC236}">
                  <a16:creationId xmlns:a16="http://schemas.microsoft.com/office/drawing/2014/main" id="{58089071-1C8F-4922-ABDA-D07A5EBBEBB5}"/>
                </a:ext>
              </a:extLst>
            </p:cNvPr>
            <p:cNvSpPr/>
            <p:nvPr/>
          </p:nvSpPr>
          <p:spPr>
            <a:xfrm>
              <a:off x="6624477" y="4006913"/>
              <a:ext cx="192145" cy="282213"/>
            </a:xfrm>
            <a:custGeom>
              <a:avLst/>
              <a:gdLst>
                <a:gd name="connsiteX0" fmla="*/ 193248 w 192145"/>
                <a:gd name="connsiteY0" fmla="*/ 117989 h 282212"/>
                <a:gd name="connsiteX1" fmla="*/ 135004 w 192145"/>
                <a:gd name="connsiteY1" fmla="*/ 277709 h 282212"/>
                <a:gd name="connsiteX2" fmla="*/ 128699 w 192145"/>
                <a:gd name="connsiteY2" fmla="*/ 282813 h 282212"/>
                <a:gd name="connsiteX3" fmla="*/ 105882 w 192145"/>
                <a:gd name="connsiteY3" fmla="*/ 282813 h 282212"/>
                <a:gd name="connsiteX4" fmla="*/ 99577 w 192145"/>
                <a:gd name="connsiteY4" fmla="*/ 277709 h 282212"/>
                <a:gd name="connsiteX5" fmla="*/ 803 w 192145"/>
                <a:gd name="connsiteY5" fmla="*/ 8406 h 282212"/>
                <a:gd name="connsiteX6" fmla="*/ 6207 w 192145"/>
                <a:gd name="connsiteY6" fmla="*/ 0 h 282212"/>
                <a:gd name="connsiteX7" fmla="*/ 36230 w 192145"/>
                <a:gd name="connsiteY7" fmla="*/ 0 h 282212"/>
                <a:gd name="connsiteX8" fmla="*/ 43435 w 192145"/>
                <a:gd name="connsiteY8" fmla="*/ 5704 h 282212"/>
                <a:gd name="connsiteX9" fmla="*/ 112787 w 192145"/>
                <a:gd name="connsiteY9" fmla="*/ 195447 h 282212"/>
                <a:gd name="connsiteX10" fmla="*/ 116690 w 192145"/>
                <a:gd name="connsiteY10" fmla="*/ 198149 h 282212"/>
                <a:gd name="connsiteX11" fmla="*/ 121194 w 192145"/>
                <a:gd name="connsiteY11" fmla="*/ 195447 h 282212"/>
                <a:gd name="connsiteX12" fmla="*/ 167128 w 192145"/>
                <a:gd name="connsiteY12" fmla="*/ 69953 h 282212"/>
                <a:gd name="connsiteX13" fmla="*/ 193248 w 192145"/>
                <a:gd name="connsiteY13" fmla="*/ 117989 h 282212"/>
                <a:gd name="connsiteX14" fmla="*/ 193248 w 192145"/>
                <a:gd name="connsiteY14" fmla="*/ 117989 h 282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2145" h="282212">
                  <a:moveTo>
                    <a:pt x="193248" y="117989"/>
                  </a:moveTo>
                  <a:lnTo>
                    <a:pt x="135004" y="277709"/>
                  </a:lnTo>
                  <a:cubicBezTo>
                    <a:pt x="134404" y="280712"/>
                    <a:pt x="131702" y="282813"/>
                    <a:pt x="128699" y="282813"/>
                  </a:cubicBezTo>
                  <a:lnTo>
                    <a:pt x="105882" y="282813"/>
                  </a:lnTo>
                  <a:cubicBezTo>
                    <a:pt x="102580" y="282813"/>
                    <a:pt x="100778" y="281012"/>
                    <a:pt x="99577" y="277709"/>
                  </a:cubicBezTo>
                  <a:lnTo>
                    <a:pt x="803" y="8406"/>
                  </a:lnTo>
                  <a:cubicBezTo>
                    <a:pt x="-1299" y="3002"/>
                    <a:pt x="803" y="0"/>
                    <a:pt x="6207" y="0"/>
                  </a:cubicBezTo>
                  <a:lnTo>
                    <a:pt x="36230" y="0"/>
                  </a:lnTo>
                  <a:cubicBezTo>
                    <a:pt x="39832" y="0"/>
                    <a:pt x="42835" y="2402"/>
                    <a:pt x="43435" y="5704"/>
                  </a:cubicBezTo>
                  <a:lnTo>
                    <a:pt x="112787" y="195447"/>
                  </a:lnTo>
                  <a:cubicBezTo>
                    <a:pt x="113088" y="197249"/>
                    <a:pt x="114889" y="198450"/>
                    <a:pt x="116690" y="198149"/>
                  </a:cubicBezTo>
                  <a:cubicBezTo>
                    <a:pt x="118792" y="198450"/>
                    <a:pt x="120593" y="197249"/>
                    <a:pt x="121194" y="195447"/>
                  </a:cubicBezTo>
                  <a:lnTo>
                    <a:pt x="167128" y="69953"/>
                  </a:lnTo>
                  <a:lnTo>
                    <a:pt x="193248" y="117989"/>
                  </a:lnTo>
                  <a:lnTo>
                    <a:pt x="193248" y="117989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04" name="Forme libre : forme 203">
              <a:extLst>
                <a:ext uri="{FF2B5EF4-FFF2-40B4-BE49-F238E27FC236}">
                  <a16:creationId xmlns:a16="http://schemas.microsoft.com/office/drawing/2014/main" id="{A0AFE0DB-2EC9-4B2F-A13D-5028AA80C759}"/>
                </a:ext>
              </a:extLst>
            </p:cNvPr>
            <p:cNvSpPr/>
            <p:nvPr/>
          </p:nvSpPr>
          <p:spPr>
            <a:xfrm>
              <a:off x="6902066" y="3999101"/>
              <a:ext cx="201152" cy="297224"/>
            </a:xfrm>
            <a:custGeom>
              <a:avLst/>
              <a:gdLst>
                <a:gd name="connsiteX0" fmla="*/ 197872 w 201151"/>
                <a:gd name="connsiteY0" fmla="*/ 166632 h 297224"/>
                <a:gd name="connsiteX1" fmla="*/ 47158 w 201151"/>
                <a:gd name="connsiteY1" fmla="*/ 166632 h 297224"/>
                <a:gd name="connsiteX2" fmla="*/ 40853 w 201151"/>
                <a:gd name="connsiteY2" fmla="*/ 171736 h 297224"/>
                <a:gd name="connsiteX3" fmla="*/ 40853 w 201151"/>
                <a:gd name="connsiteY3" fmla="*/ 172937 h 297224"/>
                <a:gd name="connsiteX4" fmla="*/ 40853 w 201151"/>
                <a:gd name="connsiteY4" fmla="*/ 190049 h 297224"/>
                <a:gd name="connsiteX5" fmla="*/ 60368 w 201151"/>
                <a:gd name="connsiteY5" fmla="*/ 237185 h 297224"/>
                <a:gd name="connsiteX6" fmla="*/ 106903 w 201151"/>
                <a:gd name="connsiteY6" fmla="*/ 257000 h 297224"/>
                <a:gd name="connsiteX7" fmla="*/ 170251 w 201151"/>
                <a:gd name="connsiteY7" fmla="*/ 237185 h 297224"/>
                <a:gd name="connsiteX8" fmla="*/ 177156 w 201151"/>
                <a:gd name="connsiteY8" fmla="*/ 237185 h 297224"/>
                <a:gd name="connsiteX9" fmla="*/ 178057 w 201151"/>
                <a:gd name="connsiteY9" fmla="*/ 238386 h 297224"/>
                <a:gd name="connsiteX10" fmla="*/ 194570 w 201151"/>
                <a:gd name="connsiteY10" fmla="*/ 262404 h 297224"/>
                <a:gd name="connsiteX11" fmla="*/ 194269 w 201151"/>
                <a:gd name="connsiteY11" fmla="*/ 269609 h 297224"/>
                <a:gd name="connsiteX12" fmla="*/ 193068 w 201151"/>
                <a:gd name="connsiteY12" fmla="*/ 270510 h 297224"/>
                <a:gd name="connsiteX13" fmla="*/ 107204 w 201151"/>
                <a:gd name="connsiteY13" fmla="*/ 298131 h 297224"/>
                <a:gd name="connsiteX14" fmla="*/ 31546 w 201151"/>
                <a:gd name="connsiteY14" fmla="*/ 266607 h 297224"/>
                <a:gd name="connsiteX15" fmla="*/ 23 w 201151"/>
                <a:gd name="connsiteY15" fmla="*/ 190950 h 297224"/>
                <a:gd name="connsiteX16" fmla="*/ 23 w 201151"/>
                <a:gd name="connsiteY16" fmla="*/ 101483 h 297224"/>
                <a:gd name="connsiteX17" fmla="*/ 101499 w 201151"/>
                <a:gd name="connsiteY17" fmla="*/ 6 h 297224"/>
                <a:gd name="connsiteX18" fmla="*/ 173554 w 201151"/>
                <a:gd name="connsiteY18" fmla="*/ 30029 h 297224"/>
                <a:gd name="connsiteX19" fmla="*/ 202976 w 201151"/>
                <a:gd name="connsiteY19" fmla="*/ 101483 h 297224"/>
                <a:gd name="connsiteX20" fmla="*/ 202976 w 201151"/>
                <a:gd name="connsiteY20" fmla="*/ 160627 h 297224"/>
                <a:gd name="connsiteX21" fmla="*/ 197272 w 201151"/>
                <a:gd name="connsiteY21" fmla="*/ 166632 h 297224"/>
                <a:gd name="connsiteX22" fmla="*/ 162445 w 201151"/>
                <a:gd name="connsiteY22" fmla="*/ 101783 h 297224"/>
                <a:gd name="connsiteX23" fmla="*/ 102400 w 201151"/>
                <a:gd name="connsiteY23" fmla="*/ 40837 h 297224"/>
                <a:gd name="connsiteX24" fmla="*/ 101499 w 201151"/>
                <a:gd name="connsiteY24" fmla="*/ 40837 h 297224"/>
                <a:gd name="connsiteX25" fmla="*/ 58867 w 201151"/>
                <a:gd name="connsiteY25" fmla="*/ 58550 h 297224"/>
                <a:gd name="connsiteX26" fmla="*/ 41454 w 201151"/>
                <a:gd name="connsiteY26" fmla="*/ 101483 h 297224"/>
                <a:gd name="connsiteX27" fmla="*/ 41454 w 201151"/>
                <a:gd name="connsiteY27" fmla="*/ 120397 h 297224"/>
                <a:gd name="connsiteX28" fmla="*/ 46558 w 201151"/>
                <a:gd name="connsiteY28" fmla="*/ 126401 h 297224"/>
                <a:gd name="connsiteX29" fmla="*/ 47759 w 201151"/>
                <a:gd name="connsiteY29" fmla="*/ 126401 h 297224"/>
                <a:gd name="connsiteX30" fmla="*/ 157942 w 201151"/>
                <a:gd name="connsiteY30" fmla="*/ 126401 h 297224"/>
                <a:gd name="connsiteX31" fmla="*/ 163346 w 201151"/>
                <a:gd name="connsiteY31" fmla="*/ 120397 h 297224"/>
                <a:gd name="connsiteX32" fmla="*/ 162445 w 201151"/>
                <a:gd name="connsiteY32" fmla="*/ 101783 h 297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1151" h="297224">
                  <a:moveTo>
                    <a:pt x="197872" y="166632"/>
                  </a:moveTo>
                  <a:lnTo>
                    <a:pt x="47158" y="166632"/>
                  </a:lnTo>
                  <a:cubicBezTo>
                    <a:pt x="44156" y="166332"/>
                    <a:pt x="41154" y="168433"/>
                    <a:pt x="40853" y="171736"/>
                  </a:cubicBezTo>
                  <a:cubicBezTo>
                    <a:pt x="40853" y="172036"/>
                    <a:pt x="40853" y="172336"/>
                    <a:pt x="40853" y="172937"/>
                  </a:cubicBezTo>
                  <a:lnTo>
                    <a:pt x="40853" y="190049"/>
                  </a:lnTo>
                  <a:cubicBezTo>
                    <a:pt x="40553" y="207763"/>
                    <a:pt x="47458" y="224876"/>
                    <a:pt x="60368" y="237185"/>
                  </a:cubicBezTo>
                  <a:cubicBezTo>
                    <a:pt x="72377" y="249794"/>
                    <a:pt x="89490" y="257000"/>
                    <a:pt x="106903" y="257000"/>
                  </a:cubicBezTo>
                  <a:cubicBezTo>
                    <a:pt x="129420" y="257300"/>
                    <a:pt x="151637" y="250095"/>
                    <a:pt x="170251" y="237185"/>
                  </a:cubicBezTo>
                  <a:cubicBezTo>
                    <a:pt x="172053" y="235384"/>
                    <a:pt x="175055" y="235384"/>
                    <a:pt x="177156" y="237185"/>
                  </a:cubicBezTo>
                  <a:cubicBezTo>
                    <a:pt x="177457" y="237485"/>
                    <a:pt x="177757" y="237785"/>
                    <a:pt x="178057" y="238386"/>
                  </a:cubicBezTo>
                  <a:lnTo>
                    <a:pt x="194570" y="262404"/>
                  </a:lnTo>
                  <a:cubicBezTo>
                    <a:pt x="196671" y="264506"/>
                    <a:pt x="196371" y="267808"/>
                    <a:pt x="194269" y="269609"/>
                  </a:cubicBezTo>
                  <a:cubicBezTo>
                    <a:pt x="193969" y="269910"/>
                    <a:pt x="193369" y="270210"/>
                    <a:pt x="193068" y="270510"/>
                  </a:cubicBezTo>
                  <a:cubicBezTo>
                    <a:pt x="168150" y="288824"/>
                    <a:pt x="138127" y="298431"/>
                    <a:pt x="107204" y="298131"/>
                  </a:cubicBezTo>
                  <a:cubicBezTo>
                    <a:pt x="78682" y="298431"/>
                    <a:pt x="51361" y="287023"/>
                    <a:pt x="31546" y="266607"/>
                  </a:cubicBezTo>
                  <a:cubicBezTo>
                    <a:pt x="10831" y="246792"/>
                    <a:pt x="-578" y="219171"/>
                    <a:pt x="23" y="190950"/>
                  </a:cubicBezTo>
                  <a:lnTo>
                    <a:pt x="23" y="101483"/>
                  </a:lnTo>
                  <a:cubicBezTo>
                    <a:pt x="-278" y="45641"/>
                    <a:pt x="45357" y="306"/>
                    <a:pt x="101499" y="6"/>
                  </a:cubicBezTo>
                  <a:cubicBezTo>
                    <a:pt x="128820" y="-294"/>
                    <a:pt x="154940" y="10514"/>
                    <a:pt x="173554" y="30029"/>
                  </a:cubicBezTo>
                  <a:cubicBezTo>
                    <a:pt x="193068" y="48643"/>
                    <a:pt x="203576" y="74462"/>
                    <a:pt x="202976" y="101483"/>
                  </a:cubicBezTo>
                  <a:lnTo>
                    <a:pt x="202976" y="160627"/>
                  </a:lnTo>
                  <a:cubicBezTo>
                    <a:pt x="202976" y="164530"/>
                    <a:pt x="201175" y="166632"/>
                    <a:pt x="197272" y="166632"/>
                  </a:cubicBezTo>
                  <a:moveTo>
                    <a:pt x="162445" y="101783"/>
                  </a:moveTo>
                  <a:cubicBezTo>
                    <a:pt x="162746" y="68458"/>
                    <a:pt x="135725" y="41137"/>
                    <a:pt x="102400" y="40837"/>
                  </a:cubicBezTo>
                  <a:cubicBezTo>
                    <a:pt x="102100" y="40837"/>
                    <a:pt x="101799" y="40837"/>
                    <a:pt x="101499" y="40837"/>
                  </a:cubicBezTo>
                  <a:cubicBezTo>
                    <a:pt x="85287" y="40537"/>
                    <a:pt x="69975" y="46841"/>
                    <a:pt x="58867" y="58550"/>
                  </a:cubicBezTo>
                  <a:cubicBezTo>
                    <a:pt x="47458" y="69959"/>
                    <a:pt x="41154" y="85270"/>
                    <a:pt x="41454" y="101483"/>
                  </a:cubicBezTo>
                  <a:lnTo>
                    <a:pt x="41454" y="120397"/>
                  </a:lnTo>
                  <a:cubicBezTo>
                    <a:pt x="41154" y="123399"/>
                    <a:pt x="43555" y="126101"/>
                    <a:pt x="46558" y="126401"/>
                  </a:cubicBezTo>
                  <a:cubicBezTo>
                    <a:pt x="46858" y="126401"/>
                    <a:pt x="47158" y="126401"/>
                    <a:pt x="47759" y="126401"/>
                  </a:cubicBezTo>
                  <a:lnTo>
                    <a:pt x="157942" y="126401"/>
                  </a:lnTo>
                  <a:cubicBezTo>
                    <a:pt x="161845" y="126401"/>
                    <a:pt x="163346" y="124300"/>
                    <a:pt x="163346" y="120397"/>
                  </a:cubicBezTo>
                  <a:lnTo>
                    <a:pt x="162445" y="101783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05" name="Forme libre : forme 204">
              <a:extLst>
                <a:ext uri="{FF2B5EF4-FFF2-40B4-BE49-F238E27FC236}">
                  <a16:creationId xmlns:a16="http://schemas.microsoft.com/office/drawing/2014/main" id="{A1DF73B0-2C05-4133-A9E5-3F81FF2C473A}"/>
                </a:ext>
              </a:extLst>
            </p:cNvPr>
            <p:cNvSpPr/>
            <p:nvPr/>
          </p:nvSpPr>
          <p:spPr>
            <a:xfrm>
              <a:off x="7168089" y="4142015"/>
              <a:ext cx="39029" cy="147111"/>
            </a:xfrm>
            <a:custGeom>
              <a:avLst/>
              <a:gdLst>
                <a:gd name="connsiteX0" fmla="*/ 39630 w 39029"/>
                <a:gd name="connsiteY0" fmla="*/ 0 h 147110"/>
                <a:gd name="connsiteX1" fmla="*/ 39630 w 39029"/>
                <a:gd name="connsiteY1" fmla="*/ 143808 h 147110"/>
                <a:gd name="connsiteX2" fmla="*/ 34826 w 39029"/>
                <a:gd name="connsiteY2" fmla="*/ 149813 h 147110"/>
                <a:gd name="connsiteX3" fmla="*/ 33625 w 39029"/>
                <a:gd name="connsiteY3" fmla="*/ 149813 h 147110"/>
                <a:gd name="connsiteX4" fmla="*/ 6005 w 39029"/>
                <a:gd name="connsiteY4" fmla="*/ 149813 h 147110"/>
                <a:gd name="connsiteX5" fmla="*/ 0 w 39029"/>
                <a:gd name="connsiteY5" fmla="*/ 144709 h 147110"/>
                <a:gd name="connsiteX6" fmla="*/ 0 w 39029"/>
                <a:gd name="connsiteY6" fmla="*/ 143508 h 147110"/>
                <a:gd name="connsiteX7" fmla="*/ 0 w 39029"/>
                <a:gd name="connsiteY7" fmla="*/ 26720 h 147110"/>
                <a:gd name="connsiteX8" fmla="*/ 39630 w 39029"/>
                <a:gd name="connsiteY8" fmla="*/ 0 h 147110"/>
                <a:gd name="connsiteX9" fmla="*/ 39630 w 39029"/>
                <a:gd name="connsiteY9" fmla="*/ 0 h 147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029" h="147110">
                  <a:moveTo>
                    <a:pt x="39630" y="0"/>
                  </a:moveTo>
                  <a:lnTo>
                    <a:pt x="39630" y="143808"/>
                  </a:lnTo>
                  <a:cubicBezTo>
                    <a:pt x="39930" y="146811"/>
                    <a:pt x="37829" y="149513"/>
                    <a:pt x="34826" y="149813"/>
                  </a:cubicBezTo>
                  <a:cubicBezTo>
                    <a:pt x="34526" y="149813"/>
                    <a:pt x="33926" y="149813"/>
                    <a:pt x="33625" y="149813"/>
                  </a:cubicBezTo>
                  <a:lnTo>
                    <a:pt x="6005" y="149813"/>
                  </a:lnTo>
                  <a:cubicBezTo>
                    <a:pt x="3002" y="150113"/>
                    <a:pt x="300" y="148012"/>
                    <a:pt x="0" y="144709"/>
                  </a:cubicBezTo>
                  <a:cubicBezTo>
                    <a:pt x="0" y="144409"/>
                    <a:pt x="0" y="144109"/>
                    <a:pt x="0" y="143508"/>
                  </a:cubicBezTo>
                  <a:lnTo>
                    <a:pt x="0" y="26720"/>
                  </a:lnTo>
                  <a:lnTo>
                    <a:pt x="39630" y="0"/>
                  </a:lnTo>
                  <a:lnTo>
                    <a:pt x="39630" y="0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06" name="Forme libre : forme 205">
              <a:extLst>
                <a:ext uri="{FF2B5EF4-FFF2-40B4-BE49-F238E27FC236}">
                  <a16:creationId xmlns:a16="http://schemas.microsoft.com/office/drawing/2014/main" id="{92CBA666-3616-4119-91AC-4F9C32BE24DB}"/>
                </a:ext>
              </a:extLst>
            </p:cNvPr>
            <p:cNvSpPr/>
            <p:nvPr/>
          </p:nvSpPr>
          <p:spPr>
            <a:xfrm>
              <a:off x="7592289" y="3898809"/>
              <a:ext cx="51039" cy="390294"/>
            </a:xfrm>
            <a:custGeom>
              <a:avLst/>
              <a:gdLst>
                <a:gd name="connsiteX0" fmla="*/ 44454 w 51038"/>
                <a:gd name="connsiteY0" fmla="*/ 46558 h 390294"/>
                <a:gd name="connsiteX1" fmla="*/ 25840 w 51038"/>
                <a:gd name="connsiteY1" fmla="*/ 54964 h 390294"/>
                <a:gd name="connsiteX2" fmla="*/ 7827 w 51038"/>
                <a:gd name="connsiteY2" fmla="*/ 46558 h 390294"/>
                <a:gd name="connsiteX3" fmla="*/ 21 w 51038"/>
                <a:gd name="connsiteY3" fmla="*/ 27343 h 390294"/>
                <a:gd name="connsiteX4" fmla="*/ 7827 w 51038"/>
                <a:gd name="connsiteY4" fmla="*/ 7828 h 390294"/>
                <a:gd name="connsiteX5" fmla="*/ 25840 w 51038"/>
                <a:gd name="connsiteY5" fmla="*/ 23 h 390294"/>
                <a:gd name="connsiteX6" fmla="*/ 44454 w 51038"/>
                <a:gd name="connsiteY6" fmla="*/ 7828 h 390294"/>
                <a:gd name="connsiteX7" fmla="*/ 52560 w 51038"/>
                <a:gd name="connsiteY7" fmla="*/ 27343 h 390294"/>
                <a:gd name="connsiteX8" fmla="*/ 44454 w 51038"/>
                <a:gd name="connsiteY8" fmla="*/ 46558 h 390294"/>
                <a:gd name="connsiteX9" fmla="*/ 39651 w 51038"/>
                <a:gd name="connsiteY9" fmla="*/ 392719 h 390294"/>
                <a:gd name="connsiteX10" fmla="*/ 12630 w 51038"/>
                <a:gd name="connsiteY10" fmla="*/ 392719 h 390294"/>
                <a:gd name="connsiteX11" fmla="*/ 6926 w 51038"/>
                <a:gd name="connsiteY11" fmla="*/ 386714 h 390294"/>
                <a:gd name="connsiteX12" fmla="*/ 6926 w 51038"/>
                <a:gd name="connsiteY12" fmla="*/ 112307 h 390294"/>
                <a:gd name="connsiteX13" fmla="*/ 12630 w 51038"/>
                <a:gd name="connsiteY13" fmla="*/ 106603 h 390294"/>
                <a:gd name="connsiteX14" fmla="*/ 39651 w 51038"/>
                <a:gd name="connsiteY14" fmla="*/ 106603 h 390294"/>
                <a:gd name="connsiteX15" fmla="*/ 45655 w 51038"/>
                <a:gd name="connsiteY15" fmla="*/ 112307 h 390294"/>
                <a:gd name="connsiteX16" fmla="*/ 45655 w 51038"/>
                <a:gd name="connsiteY16" fmla="*/ 386414 h 390294"/>
                <a:gd name="connsiteX17" fmla="*/ 40852 w 51038"/>
                <a:gd name="connsiteY17" fmla="*/ 392418 h 390294"/>
                <a:gd name="connsiteX18" fmla="*/ 39651 w 51038"/>
                <a:gd name="connsiteY18" fmla="*/ 392719 h 390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1038" h="390294">
                  <a:moveTo>
                    <a:pt x="44454" y="46558"/>
                  </a:moveTo>
                  <a:cubicBezTo>
                    <a:pt x="39651" y="51962"/>
                    <a:pt x="33046" y="55264"/>
                    <a:pt x="25840" y="54964"/>
                  </a:cubicBezTo>
                  <a:cubicBezTo>
                    <a:pt x="18935" y="54964"/>
                    <a:pt x="12330" y="51962"/>
                    <a:pt x="7827" y="46558"/>
                  </a:cubicBezTo>
                  <a:cubicBezTo>
                    <a:pt x="2723" y="41754"/>
                    <a:pt x="-280" y="34849"/>
                    <a:pt x="21" y="27343"/>
                  </a:cubicBezTo>
                  <a:cubicBezTo>
                    <a:pt x="-280" y="19837"/>
                    <a:pt x="2723" y="12632"/>
                    <a:pt x="7827" y="7828"/>
                  </a:cubicBezTo>
                  <a:cubicBezTo>
                    <a:pt x="12330" y="2424"/>
                    <a:pt x="18935" y="-278"/>
                    <a:pt x="25840" y="23"/>
                  </a:cubicBezTo>
                  <a:cubicBezTo>
                    <a:pt x="32745" y="-278"/>
                    <a:pt x="39651" y="2424"/>
                    <a:pt x="44454" y="7828"/>
                  </a:cubicBezTo>
                  <a:cubicBezTo>
                    <a:pt x="49858" y="12932"/>
                    <a:pt x="52560" y="20138"/>
                    <a:pt x="52560" y="27343"/>
                  </a:cubicBezTo>
                  <a:cubicBezTo>
                    <a:pt x="52260" y="34849"/>
                    <a:pt x="49558" y="41754"/>
                    <a:pt x="44454" y="46558"/>
                  </a:cubicBezTo>
                  <a:moveTo>
                    <a:pt x="39651" y="392719"/>
                  </a:moveTo>
                  <a:lnTo>
                    <a:pt x="12630" y="392719"/>
                  </a:lnTo>
                  <a:cubicBezTo>
                    <a:pt x="8427" y="392719"/>
                    <a:pt x="6926" y="390617"/>
                    <a:pt x="6926" y="386714"/>
                  </a:cubicBezTo>
                  <a:lnTo>
                    <a:pt x="6926" y="112307"/>
                  </a:lnTo>
                  <a:cubicBezTo>
                    <a:pt x="6926" y="108404"/>
                    <a:pt x="8427" y="106603"/>
                    <a:pt x="12630" y="106603"/>
                  </a:cubicBezTo>
                  <a:lnTo>
                    <a:pt x="39651" y="106603"/>
                  </a:lnTo>
                  <a:cubicBezTo>
                    <a:pt x="43553" y="106603"/>
                    <a:pt x="45655" y="108404"/>
                    <a:pt x="45655" y="112307"/>
                  </a:cubicBezTo>
                  <a:lnTo>
                    <a:pt x="45655" y="386414"/>
                  </a:lnTo>
                  <a:cubicBezTo>
                    <a:pt x="45955" y="389416"/>
                    <a:pt x="43854" y="392118"/>
                    <a:pt x="40852" y="392418"/>
                  </a:cubicBezTo>
                  <a:cubicBezTo>
                    <a:pt x="40551" y="392719"/>
                    <a:pt x="39951" y="392719"/>
                    <a:pt x="39651" y="392719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07" name="Forme libre : forme 206">
              <a:extLst>
                <a:ext uri="{FF2B5EF4-FFF2-40B4-BE49-F238E27FC236}">
                  <a16:creationId xmlns:a16="http://schemas.microsoft.com/office/drawing/2014/main" id="{BB992EE4-2318-4911-A533-A578440EECF0}"/>
                </a:ext>
              </a:extLst>
            </p:cNvPr>
            <p:cNvSpPr/>
            <p:nvPr/>
          </p:nvSpPr>
          <p:spPr>
            <a:xfrm>
              <a:off x="7927941" y="3999084"/>
              <a:ext cx="201152" cy="297224"/>
            </a:xfrm>
            <a:custGeom>
              <a:avLst/>
              <a:gdLst>
                <a:gd name="connsiteX0" fmla="*/ 197872 w 201151"/>
                <a:gd name="connsiteY0" fmla="*/ 166649 h 297224"/>
                <a:gd name="connsiteX1" fmla="*/ 46858 w 201151"/>
                <a:gd name="connsiteY1" fmla="*/ 166649 h 297224"/>
                <a:gd name="connsiteX2" fmla="*/ 40854 w 201151"/>
                <a:gd name="connsiteY2" fmla="*/ 171452 h 297224"/>
                <a:gd name="connsiteX3" fmla="*/ 40854 w 201151"/>
                <a:gd name="connsiteY3" fmla="*/ 172653 h 297224"/>
                <a:gd name="connsiteX4" fmla="*/ 40854 w 201151"/>
                <a:gd name="connsiteY4" fmla="*/ 189766 h 297224"/>
                <a:gd name="connsiteX5" fmla="*/ 60368 w 201151"/>
                <a:gd name="connsiteY5" fmla="*/ 236902 h 297224"/>
                <a:gd name="connsiteX6" fmla="*/ 107504 w 201151"/>
                <a:gd name="connsiteY6" fmla="*/ 256717 h 297224"/>
                <a:gd name="connsiteX7" fmla="*/ 170852 w 201151"/>
                <a:gd name="connsiteY7" fmla="*/ 236902 h 297224"/>
                <a:gd name="connsiteX8" fmla="*/ 177757 w 201151"/>
                <a:gd name="connsiteY8" fmla="*/ 236902 h 297224"/>
                <a:gd name="connsiteX9" fmla="*/ 178357 w 201151"/>
                <a:gd name="connsiteY9" fmla="*/ 237802 h 297224"/>
                <a:gd name="connsiteX10" fmla="*/ 194870 w 201151"/>
                <a:gd name="connsiteY10" fmla="*/ 261821 h 297224"/>
                <a:gd name="connsiteX11" fmla="*/ 194570 w 201151"/>
                <a:gd name="connsiteY11" fmla="*/ 269026 h 297224"/>
                <a:gd name="connsiteX12" fmla="*/ 193369 w 201151"/>
                <a:gd name="connsiteY12" fmla="*/ 269927 h 297224"/>
                <a:gd name="connsiteX13" fmla="*/ 107504 w 201151"/>
                <a:gd name="connsiteY13" fmla="*/ 297247 h 297224"/>
                <a:gd name="connsiteX14" fmla="*/ 31546 w 201151"/>
                <a:gd name="connsiteY14" fmla="*/ 265724 h 297224"/>
                <a:gd name="connsiteX15" fmla="*/ 23 w 201151"/>
                <a:gd name="connsiteY15" fmla="*/ 190066 h 297224"/>
                <a:gd name="connsiteX16" fmla="*/ 23 w 201151"/>
                <a:gd name="connsiteY16" fmla="*/ 101199 h 297224"/>
                <a:gd name="connsiteX17" fmla="*/ 101499 w 201151"/>
                <a:gd name="connsiteY17" fmla="*/ 23 h 297224"/>
                <a:gd name="connsiteX18" fmla="*/ 101499 w 201151"/>
                <a:gd name="connsiteY18" fmla="*/ 23 h 297224"/>
                <a:gd name="connsiteX19" fmla="*/ 173554 w 201151"/>
                <a:gd name="connsiteY19" fmla="*/ 29746 h 297224"/>
                <a:gd name="connsiteX20" fmla="*/ 202976 w 201151"/>
                <a:gd name="connsiteY20" fmla="*/ 101199 h 297224"/>
                <a:gd name="connsiteX21" fmla="*/ 202976 w 201151"/>
                <a:gd name="connsiteY21" fmla="*/ 160344 h 297224"/>
                <a:gd name="connsiteX22" fmla="*/ 197272 w 201151"/>
                <a:gd name="connsiteY22" fmla="*/ 166349 h 297224"/>
                <a:gd name="connsiteX23" fmla="*/ 162445 w 201151"/>
                <a:gd name="connsiteY23" fmla="*/ 101800 h 297224"/>
                <a:gd name="connsiteX24" fmla="*/ 144732 w 201151"/>
                <a:gd name="connsiteY24" fmla="*/ 58567 h 297224"/>
                <a:gd name="connsiteX25" fmla="*/ 101499 w 201151"/>
                <a:gd name="connsiteY25" fmla="*/ 40854 h 297224"/>
                <a:gd name="connsiteX26" fmla="*/ 58867 w 201151"/>
                <a:gd name="connsiteY26" fmla="*/ 58567 h 297224"/>
                <a:gd name="connsiteX27" fmla="*/ 40553 w 201151"/>
                <a:gd name="connsiteY27" fmla="*/ 101800 h 297224"/>
                <a:gd name="connsiteX28" fmla="*/ 40553 w 201151"/>
                <a:gd name="connsiteY28" fmla="*/ 120714 h 297224"/>
                <a:gd name="connsiteX29" fmla="*/ 45357 w 201151"/>
                <a:gd name="connsiteY29" fmla="*/ 126719 h 297224"/>
                <a:gd name="connsiteX30" fmla="*/ 46558 w 201151"/>
                <a:gd name="connsiteY30" fmla="*/ 126719 h 297224"/>
                <a:gd name="connsiteX31" fmla="*/ 157041 w 201151"/>
                <a:gd name="connsiteY31" fmla="*/ 126719 h 297224"/>
                <a:gd name="connsiteX32" fmla="*/ 162746 w 201151"/>
                <a:gd name="connsiteY32" fmla="*/ 120714 h 297224"/>
                <a:gd name="connsiteX33" fmla="*/ 162746 w 201151"/>
                <a:gd name="connsiteY33" fmla="*/ 101800 h 297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01151" h="297224">
                  <a:moveTo>
                    <a:pt x="197872" y="166649"/>
                  </a:moveTo>
                  <a:lnTo>
                    <a:pt x="46858" y="166649"/>
                  </a:lnTo>
                  <a:cubicBezTo>
                    <a:pt x="43856" y="166349"/>
                    <a:pt x="41154" y="168450"/>
                    <a:pt x="40854" y="171452"/>
                  </a:cubicBezTo>
                  <a:cubicBezTo>
                    <a:pt x="40854" y="171753"/>
                    <a:pt x="40854" y="172353"/>
                    <a:pt x="40854" y="172653"/>
                  </a:cubicBezTo>
                  <a:lnTo>
                    <a:pt x="40854" y="189766"/>
                  </a:lnTo>
                  <a:cubicBezTo>
                    <a:pt x="40553" y="207480"/>
                    <a:pt x="47459" y="224593"/>
                    <a:pt x="60368" y="236902"/>
                  </a:cubicBezTo>
                  <a:cubicBezTo>
                    <a:pt x="72677" y="249812"/>
                    <a:pt x="89790" y="257017"/>
                    <a:pt x="107504" y="256717"/>
                  </a:cubicBezTo>
                  <a:cubicBezTo>
                    <a:pt x="130021" y="257017"/>
                    <a:pt x="152238" y="249812"/>
                    <a:pt x="170852" y="236902"/>
                  </a:cubicBezTo>
                  <a:cubicBezTo>
                    <a:pt x="172953" y="235100"/>
                    <a:pt x="175956" y="235100"/>
                    <a:pt x="177757" y="236902"/>
                  </a:cubicBezTo>
                  <a:cubicBezTo>
                    <a:pt x="178057" y="237202"/>
                    <a:pt x="178357" y="237502"/>
                    <a:pt x="178357" y="237802"/>
                  </a:cubicBezTo>
                  <a:lnTo>
                    <a:pt x="194870" y="261821"/>
                  </a:lnTo>
                  <a:cubicBezTo>
                    <a:pt x="196671" y="263922"/>
                    <a:pt x="196671" y="267225"/>
                    <a:pt x="194570" y="269026"/>
                  </a:cubicBezTo>
                  <a:cubicBezTo>
                    <a:pt x="194269" y="269326"/>
                    <a:pt x="193669" y="269626"/>
                    <a:pt x="193369" y="269927"/>
                  </a:cubicBezTo>
                  <a:cubicBezTo>
                    <a:pt x="168450" y="288241"/>
                    <a:pt x="138427" y="297548"/>
                    <a:pt x="107504" y="297247"/>
                  </a:cubicBezTo>
                  <a:cubicBezTo>
                    <a:pt x="78682" y="297848"/>
                    <a:pt x="51061" y="286139"/>
                    <a:pt x="31546" y="265724"/>
                  </a:cubicBezTo>
                  <a:cubicBezTo>
                    <a:pt x="10831" y="245909"/>
                    <a:pt x="-578" y="218288"/>
                    <a:pt x="23" y="190066"/>
                  </a:cubicBezTo>
                  <a:lnTo>
                    <a:pt x="23" y="101199"/>
                  </a:lnTo>
                  <a:cubicBezTo>
                    <a:pt x="-278" y="45357"/>
                    <a:pt x="45357" y="323"/>
                    <a:pt x="101499" y="23"/>
                  </a:cubicBezTo>
                  <a:lnTo>
                    <a:pt x="101499" y="23"/>
                  </a:lnTo>
                  <a:cubicBezTo>
                    <a:pt x="128820" y="-577"/>
                    <a:pt x="154940" y="10531"/>
                    <a:pt x="173554" y="29746"/>
                  </a:cubicBezTo>
                  <a:cubicBezTo>
                    <a:pt x="193069" y="48360"/>
                    <a:pt x="203576" y="74179"/>
                    <a:pt x="202976" y="101199"/>
                  </a:cubicBezTo>
                  <a:lnTo>
                    <a:pt x="202976" y="160344"/>
                  </a:lnTo>
                  <a:cubicBezTo>
                    <a:pt x="202976" y="164247"/>
                    <a:pt x="201175" y="166349"/>
                    <a:pt x="197272" y="166349"/>
                  </a:cubicBezTo>
                  <a:moveTo>
                    <a:pt x="162445" y="101800"/>
                  </a:moveTo>
                  <a:cubicBezTo>
                    <a:pt x="162746" y="85588"/>
                    <a:pt x="156441" y="69976"/>
                    <a:pt x="144732" y="58567"/>
                  </a:cubicBezTo>
                  <a:cubicBezTo>
                    <a:pt x="133323" y="46858"/>
                    <a:pt x="117711" y="40554"/>
                    <a:pt x="101499" y="40854"/>
                  </a:cubicBezTo>
                  <a:cubicBezTo>
                    <a:pt x="85287" y="40554"/>
                    <a:pt x="69976" y="46858"/>
                    <a:pt x="58867" y="58567"/>
                  </a:cubicBezTo>
                  <a:cubicBezTo>
                    <a:pt x="46858" y="69976"/>
                    <a:pt x="40253" y="85588"/>
                    <a:pt x="40553" y="101800"/>
                  </a:cubicBezTo>
                  <a:lnTo>
                    <a:pt x="40553" y="120714"/>
                  </a:lnTo>
                  <a:cubicBezTo>
                    <a:pt x="40253" y="123716"/>
                    <a:pt x="42355" y="126418"/>
                    <a:pt x="45357" y="126719"/>
                  </a:cubicBezTo>
                  <a:cubicBezTo>
                    <a:pt x="45657" y="126719"/>
                    <a:pt x="46258" y="126719"/>
                    <a:pt x="46558" y="126719"/>
                  </a:cubicBezTo>
                  <a:lnTo>
                    <a:pt x="157041" y="126719"/>
                  </a:lnTo>
                  <a:cubicBezTo>
                    <a:pt x="160944" y="126719"/>
                    <a:pt x="162746" y="124617"/>
                    <a:pt x="162746" y="120714"/>
                  </a:cubicBezTo>
                  <a:lnTo>
                    <a:pt x="162746" y="101800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08" name="Forme libre : forme 207">
              <a:extLst>
                <a:ext uri="{FF2B5EF4-FFF2-40B4-BE49-F238E27FC236}">
                  <a16:creationId xmlns:a16="http://schemas.microsoft.com/office/drawing/2014/main" id="{E94D4579-F05D-43F4-A5DA-EFC27D932E05}"/>
                </a:ext>
              </a:extLst>
            </p:cNvPr>
            <p:cNvSpPr/>
            <p:nvPr/>
          </p:nvSpPr>
          <p:spPr>
            <a:xfrm>
              <a:off x="7334113" y="3998799"/>
              <a:ext cx="189143" cy="297224"/>
            </a:xfrm>
            <a:custGeom>
              <a:avLst/>
              <a:gdLst>
                <a:gd name="connsiteX0" fmla="*/ 18016 w 189142"/>
                <a:gd name="connsiteY0" fmla="*/ 238687 h 297224"/>
                <a:gd name="connsiteX1" fmla="*/ 102079 w 189142"/>
                <a:gd name="connsiteY1" fmla="*/ 260003 h 297224"/>
                <a:gd name="connsiteX2" fmla="*/ 135705 w 189142"/>
                <a:gd name="connsiteY2" fmla="*/ 245893 h 297224"/>
                <a:gd name="connsiteX3" fmla="*/ 149815 w 189142"/>
                <a:gd name="connsiteY3" fmla="*/ 212267 h 297224"/>
                <a:gd name="connsiteX4" fmla="*/ 140208 w 189142"/>
                <a:gd name="connsiteY4" fmla="*/ 185847 h 297224"/>
                <a:gd name="connsiteX5" fmla="*/ 116790 w 189142"/>
                <a:gd name="connsiteY5" fmla="*/ 169935 h 297224"/>
                <a:gd name="connsiteX6" fmla="*/ 57646 w 189142"/>
                <a:gd name="connsiteY6" fmla="*/ 153723 h 297224"/>
                <a:gd name="connsiteX7" fmla="*/ 2 w 189142"/>
                <a:gd name="connsiteY7" fmla="*/ 78967 h 297224"/>
                <a:gd name="connsiteX8" fmla="*/ 77761 w 189142"/>
                <a:gd name="connsiteY8" fmla="*/ 7 h 297224"/>
                <a:gd name="connsiteX9" fmla="*/ 79262 w 189142"/>
                <a:gd name="connsiteY9" fmla="*/ 7 h 297224"/>
                <a:gd name="connsiteX10" fmla="*/ 177136 w 189142"/>
                <a:gd name="connsiteY10" fmla="*/ 26427 h 297224"/>
                <a:gd name="connsiteX11" fmla="*/ 179538 w 189142"/>
                <a:gd name="connsiteY11" fmla="*/ 33633 h 297224"/>
                <a:gd name="connsiteX12" fmla="*/ 178637 w 189142"/>
                <a:gd name="connsiteY12" fmla="*/ 34834 h 297224"/>
                <a:gd name="connsiteX13" fmla="*/ 164226 w 189142"/>
                <a:gd name="connsiteY13" fmla="*/ 58852 h 297224"/>
                <a:gd name="connsiteX14" fmla="*/ 156420 w 189142"/>
                <a:gd name="connsiteY14" fmla="*/ 61554 h 297224"/>
                <a:gd name="connsiteX15" fmla="*/ 78361 w 189142"/>
                <a:gd name="connsiteY15" fmla="*/ 39637 h 297224"/>
                <a:gd name="connsiteX16" fmla="*/ 50740 w 189142"/>
                <a:gd name="connsiteY16" fmla="*/ 51046 h 297224"/>
                <a:gd name="connsiteX17" fmla="*/ 40232 w 189142"/>
                <a:gd name="connsiteY17" fmla="*/ 77466 h 297224"/>
                <a:gd name="connsiteX18" fmla="*/ 67553 w 189142"/>
                <a:gd name="connsiteY18" fmla="*/ 112892 h 297224"/>
                <a:gd name="connsiteX19" fmla="*/ 126398 w 189142"/>
                <a:gd name="connsiteY19" fmla="*/ 128504 h 297224"/>
                <a:gd name="connsiteX20" fmla="*/ 172933 w 189142"/>
                <a:gd name="connsiteY20" fmla="*/ 159427 h 297224"/>
                <a:gd name="connsiteX21" fmla="*/ 153418 w 189142"/>
                <a:gd name="connsiteY21" fmla="*/ 282821 h 297224"/>
                <a:gd name="connsiteX22" fmla="*/ 101779 w 189142"/>
                <a:gd name="connsiteY22" fmla="*/ 299633 h 297224"/>
                <a:gd name="connsiteX23" fmla="*/ 101779 w 189142"/>
                <a:gd name="connsiteY23" fmla="*/ 299633 h 297224"/>
                <a:gd name="connsiteX24" fmla="*/ 18016 w 189142"/>
                <a:gd name="connsiteY24" fmla="*/ 238687 h 297224"/>
                <a:gd name="connsiteX25" fmla="*/ 18016 w 189142"/>
                <a:gd name="connsiteY25" fmla="*/ 238687 h 297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9142" h="297224">
                  <a:moveTo>
                    <a:pt x="18016" y="238687"/>
                  </a:moveTo>
                  <a:cubicBezTo>
                    <a:pt x="43835" y="252498"/>
                    <a:pt x="72657" y="259703"/>
                    <a:pt x="102079" y="260003"/>
                  </a:cubicBezTo>
                  <a:cubicBezTo>
                    <a:pt x="114689" y="260304"/>
                    <a:pt x="126998" y="255200"/>
                    <a:pt x="135705" y="245893"/>
                  </a:cubicBezTo>
                  <a:cubicBezTo>
                    <a:pt x="144711" y="237186"/>
                    <a:pt x="149815" y="224877"/>
                    <a:pt x="149815" y="212267"/>
                  </a:cubicBezTo>
                  <a:cubicBezTo>
                    <a:pt x="149515" y="202660"/>
                    <a:pt x="146212" y="193353"/>
                    <a:pt x="140208" y="185847"/>
                  </a:cubicBezTo>
                  <a:cubicBezTo>
                    <a:pt x="134504" y="178042"/>
                    <a:pt x="126097" y="172637"/>
                    <a:pt x="116790" y="169935"/>
                  </a:cubicBezTo>
                  <a:lnTo>
                    <a:pt x="57646" y="153723"/>
                  </a:lnTo>
                  <a:cubicBezTo>
                    <a:pt x="23720" y="144716"/>
                    <a:pt x="2" y="114093"/>
                    <a:pt x="2" y="78967"/>
                  </a:cubicBezTo>
                  <a:cubicBezTo>
                    <a:pt x="-298" y="35734"/>
                    <a:pt x="34228" y="608"/>
                    <a:pt x="77761" y="7"/>
                  </a:cubicBezTo>
                  <a:cubicBezTo>
                    <a:pt x="78361" y="7"/>
                    <a:pt x="78962" y="7"/>
                    <a:pt x="79262" y="7"/>
                  </a:cubicBezTo>
                  <a:cubicBezTo>
                    <a:pt x="113788" y="-293"/>
                    <a:pt x="147413" y="8714"/>
                    <a:pt x="177136" y="26427"/>
                  </a:cubicBezTo>
                  <a:cubicBezTo>
                    <a:pt x="179838" y="27628"/>
                    <a:pt x="181039" y="30931"/>
                    <a:pt x="179538" y="33633"/>
                  </a:cubicBezTo>
                  <a:cubicBezTo>
                    <a:pt x="179237" y="33933"/>
                    <a:pt x="178937" y="34533"/>
                    <a:pt x="178637" y="34834"/>
                  </a:cubicBezTo>
                  <a:lnTo>
                    <a:pt x="164226" y="58852"/>
                  </a:lnTo>
                  <a:cubicBezTo>
                    <a:pt x="162124" y="62755"/>
                    <a:pt x="159122" y="63355"/>
                    <a:pt x="156420" y="61554"/>
                  </a:cubicBezTo>
                  <a:cubicBezTo>
                    <a:pt x="133002" y="47143"/>
                    <a:pt x="105982" y="39637"/>
                    <a:pt x="78361" y="39637"/>
                  </a:cubicBezTo>
                  <a:cubicBezTo>
                    <a:pt x="67853" y="39337"/>
                    <a:pt x="57946" y="43540"/>
                    <a:pt x="50740" y="51046"/>
                  </a:cubicBezTo>
                  <a:cubicBezTo>
                    <a:pt x="43835" y="57951"/>
                    <a:pt x="39932" y="67558"/>
                    <a:pt x="40232" y="77466"/>
                  </a:cubicBezTo>
                  <a:cubicBezTo>
                    <a:pt x="39031" y="94579"/>
                    <a:pt x="50740" y="109890"/>
                    <a:pt x="67553" y="112892"/>
                  </a:cubicBezTo>
                  <a:lnTo>
                    <a:pt x="126398" y="128504"/>
                  </a:lnTo>
                  <a:cubicBezTo>
                    <a:pt x="145011" y="133308"/>
                    <a:pt x="161524" y="144116"/>
                    <a:pt x="172933" y="159427"/>
                  </a:cubicBezTo>
                  <a:cubicBezTo>
                    <a:pt x="201754" y="198757"/>
                    <a:pt x="193048" y="253999"/>
                    <a:pt x="153418" y="282821"/>
                  </a:cubicBezTo>
                  <a:cubicBezTo>
                    <a:pt x="138407" y="293629"/>
                    <a:pt x="120393" y="299633"/>
                    <a:pt x="101779" y="299633"/>
                  </a:cubicBezTo>
                  <a:lnTo>
                    <a:pt x="101779" y="299633"/>
                  </a:lnTo>
                  <a:lnTo>
                    <a:pt x="18016" y="238687"/>
                  </a:lnTo>
                  <a:lnTo>
                    <a:pt x="18016" y="238687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09" name="Forme libre : forme 208">
              <a:extLst>
                <a:ext uri="{FF2B5EF4-FFF2-40B4-BE49-F238E27FC236}">
                  <a16:creationId xmlns:a16="http://schemas.microsoft.com/office/drawing/2014/main" id="{42A87569-3468-487F-B04D-E409BD79854C}"/>
                </a:ext>
              </a:extLst>
            </p:cNvPr>
            <p:cNvSpPr/>
            <p:nvPr/>
          </p:nvSpPr>
          <p:spPr>
            <a:xfrm>
              <a:off x="7700091" y="3921920"/>
              <a:ext cx="180136" cy="219165"/>
            </a:xfrm>
            <a:custGeom>
              <a:avLst/>
              <a:gdLst>
                <a:gd name="connsiteX0" fmla="*/ 44133 w 180136"/>
                <a:gd name="connsiteY0" fmla="*/ 219494 h 219165"/>
                <a:gd name="connsiteX1" fmla="*/ 44133 w 180136"/>
                <a:gd name="connsiteY1" fmla="*/ 132128 h 219165"/>
                <a:gd name="connsiteX2" fmla="*/ 38129 w 180136"/>
                <a:gd name="connsiteY2" fmla="*/ 126424 h 219165"/>
                <a:gd name="connsiteX3" fmla="*/ 6005 w 180136"/>
                <a:gd name="connsiteY3" fmla="*/ 126424 h 219165"/>
                <a:gd name="connsiteX4" fmla="*/ 0 w 180136"/>
                <a:gd name="connsiteY4" fmla="*/ 120419 h 219165"/>
                <a:gd name="connsiteX5" fmla="*/ 0 w 180136"/>
                <a:gd name="connsiteY5" fmla="*/ 91598 h 219165"/>
                <a:gd name="connsiteX6" fmla="*/ 6005 w 180136"/>
                <a:gd name="connsiteY6" fmla="*/ 86193 h 219165"/>
                <a:gd name="connsiteX7" fmla="*/ 37829 w 180136"/>
                <a:gd name="connsiteY7" fmla="*/ 86193 h 219165"/>
                <a:gd name="connsiteX8" fmla="*/ 43833 w 180136"/>
                <a:gd name="connsiteY8" fmla="*/ 81390 h 219165"/>
                <a:gd name="connsiteX9" fmla="*/ 43833 w 180136"/>
                <a:gd name="connsiteY9" fmla="*/ 80189 h 219165"/>
                <a:gd name="connsiteX10" fmla="*/ 43833 w 180136"/>
                <a:gd name="connsiteY10" fmla="*/ 6033 h 219165"/>
                <a:gd name="connsiteX11" fmla="*/ 48937 w 180136"/>
                <a:gd name="connsiteY11" fmla="*/ 28 h 219165"/>
                <a:gd name="connsiteX12" fmla="*/ 50138 w 180136"/>
                <a:gd name="connsiteY12" fmla="*/ 28 h 219165"/>
                <a:gd name="connsiteX13" fmla="*/ 78059 w 180136"/>
                <a:gd name="connsiteY13" fmla="*/ 28 h 219165"/>
                <a:gd name="connsiteX14" fmla="*/ 84064 w 180136"/>
                <a:gd name="connsiteY14" fmla="*/ 5132 h 219165"/>
                <a:gd name="connsiteX15" fmla="*/ 84064 w 180136"/>
                <a:gd name="connsiteY15" fmla="*/ 6333 h 219165"/>
                <a:gd name="connsiteX16" fmla="*/ 84064 w 180136"/>
                <a:gd name="connsiteY16" fmla="*/ 80189 h 219165"/>
                <a:gd name="connsiteX17" fmla="*/ 89167 w 180136"/>
                <a:gd name="connsiteY17" fmla="*/ 86193 h 219165"/>
                <a:gd name="connsiteX18" fmla="*/ 90368 w 180136"/>
                <a:gd name="connsiteY18" fmla="*/ 86193 h 219165"/>
                <a:gd name="connsiteX19" fmla="*/ 174732 w 180136"/>
                <a:gd name="connsiteY19" fmla="*/ 86193 h 219165"/>
                <a:gd name="connsiteX20" fmla="*/ 180737 w 180136"/>
                <a:gd name="connsiteY20" fmla="*/ 91598 h 219165"/>
                <a:gd name="connsiteX21" fmla="*/ 180737 w 180136"/>
                <a:gd name="connsiteY21" fmla="*/ 120419 h 219165"/>
                <a:gd name="connsiteX22" fmla="*/ 174732 w 180136"/>
                <a:gd name="connsiteY22" fmla="*/ 126424 h 219165"/>
                <a:gd name="connsiteX23" fmla="*/ 90068 w 180136"/>
                <a:gd name="connsiteY23" fmla="*/ 126424 h 219165"/>
                <a:gd name="connsiteX24" fmla="*/ 84064 w 180136"/>
                <a:gd name="connsiteY24" fmla="*/ 132128 h 219165"/>
                <a:gd name="connsiteX25" fmla="*/ 84064 w 180136"/>
                <a:gd name="connsiteY25" fmla="*/ 198778 h 219165"/>
                <a:gd name="connsiteX26" fmla="*/ 44133 w 180136"/>
                <a:gd name="connsiteY26" fmla="*/ 219494 h 219165"/>
                <a:gd name="connsiteX27" fmla="*/ 44133 w 180136"/>
                <a:gd name="connsiteY27" fmla="*/ 219494 h 219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80136" h="219165">
                  <a:moveTo>
                    <a:pt x="44133" y="219494"/>
                  </a:moveTo>
                  <a:lnTo>
                    <a:pt x="44133" y="132128"/>
                  </a:lnTo>
                  <a:cubicBezTo>
                    <a:pt x="44133" y="128225"/>
                    <a:pt x="42032" y="126424"/>
                    <a:pt x="38129" y="126424"/>
                  </a:cubicBezTo>
                  <a:lnTo>
                    <a:pt x="6005" y="126424"/>
                  </a:lnTo>
                  <a:cubicBezTo>
                    <a:pt x="1501" y="126424"/>
                    <a:pt x="0" y="124322"/>
                    <a:pt x="0" y="120419"/>
                  </a:cubicBezTo>
                  <a:lnTo>
                    <a:pt x="0" y="91598"/>
                  </a:lnTo>
                  <a:cubicBezTo>
                    <a:pt x="0" y="87695"/>
                    <a:pt x="1501" y="86193"/>
                    <a:pt x="6005" y="86193"/>
                  </a:cubicBezTo>
                  <a:lnTo>
                    <a:pt x="37829" y="86193"/>
                  </a:lnTo>
                  <a:cubicBezTo>
                    <a:pt x="40831" y="86494"/>
                    <a:pt x="43533" y="84392"/>
                    <a:pt x="43833" y="81390"/>
                  </a:cubicBezTo>
                  <a:cubicBezTo>
                    <a:pt x="43833" y="81090"/>
                    <a:pt x="43833" y="80489"/>
                    <a:pt x="43833" y="80189"/>
                  </a:cubicBezTo>
                  <a:lnTo>
                    <a:pt x="43833" y="6033"/>
                  </a:lnTo>
                  <a:cubicBezTo>
                    <a:pt x="43533" y="3031"/>
                    <a:pt x="45935" y="329"/>
                    <a:pt x="48937" y="28"/>
                  </a:cubicBezTo>
                  <a:cubicBezTo>
                    <a:pt x="49237" y="28"/>
                    <a:pt x="49537" y="28"/>
                    <a:pt x="50138" y="28"/>
                  </a:cubicBezTo>
                  <a:lnTo>
                    <a:pt x="78059" y="28"/>
                  </a:lnTo>
                  <a:cubicBezTo>
                    <a:pt x="81061" y="-272"/>
                    <a:pt x="83763" y="1830"/>
                    <a:pt x="84064" y="5132"/>
                  </a:cubicBezTo>
                  <a:cubicBezTo>
                    <a:pt x="84064" y="5433"/>
                    <a:pt x="84064" y="5733"/>
                    <a:pt x="84064" y="6333"/>
                  </a:cubicBezTo>
                  <a:lnTo>
                    <a:pt x="84064" y="80189"/>
                  </a:lnTo>
                  <a:cubicBezTo>
                    <a:pt x="83763" y="83191"/>
                    <a:pt x="86165" y="85893"/>
                    <a:pt x="89167" y="86193"/>
                  </a:cubicBezTo>
                  <a:cubicBezTo>
                    <a:pt x="89468" y="86193"/>
                    <a:pt x="89768" y="86193"/>
                    <a:pt x="90368" y="86193"/>
                  </a:cubicBezTo>
                  <a:lnTo>
                    <a:pt x="174732" y="86193"/>
                  </a:lnTo>
                  <a:cubicBezTo>
                    <a:pt x="179235" y="86193"/>
                    <a:pt x="180737" y="87695"/>
                    <a:pt x="180737" y="91598"/>
                  </a:cubicBezTo>
                  <a:lnTo>
                    <a:pt x="180737" y="120419"/>
                  </a:lnTo>
                  <a:cubicBezTo>
                    <a:pt x="180737" y="124322"/>
                    <a:pt x="179235" y="126424"/>
                    <a:pt x="174732" y="126424"/>
                  </a:cubicBezTo>
                  <a:lnTo>
                    <a:pt x="90068" y="126424"/>
                  </a:lnTo>
                  <a:cubicBezTo>
                    <a:pt x="86165" y="126424"/>
                    <a:pt x="84064" y="128225"/>
                    <a:pt x="84064" y="132128"/>
                  </a:cubicBezTo>
                  <a:lnTo>
                    <a:pt x="84064" y="198778"/>
                  </a:lnTo>
                  <a:lnTo>
                    <a:pt x="44133" y="219494"/>
                  </a:lnTo>
                  <a:lnTo>
                    <a:pt x="44133" y="219494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10" name="Forme libre : forme 209">
              <a:extLst>
                <a:ext uri="{FF2B5EF4-FFF2-40B4-BE49-F238E27FC236}">
                  <a16:creationId xmlns:a16="http://schemas.microsoft.com/office/drawing/2014/main" id="{8A480203-3BAE-4FB3-AFEF-BBBDA1B8A5D3}"/>
                </a:ext>
              </a:extLst>
            </p:cNvPr>
            <p:cNvSpPr/>
            <p:nvPr/>
          </p:nvSpPr>
          <p:spPr>
            <a:xfrm>
              <a:off x="6709034" y="4369579"/>
              <a:ext cx="183138" cy="288217"/>
            </a:xfrm>
            <a:custGeom>
              <a:avLst/>
              <a:gdLst>
                <a:gd name="connsiteX0" fmla="*/ 156127 w 183138"/>
                <a:gd name="connsiteY0" fmla="*/ 130306 h 288217"/>
                <a:gd name="connsiteX1" fmla="*/ 172039 w 183138"/>
                <a:gd name="connsiteY1" fmla="*/ 79568 h 288217"/>
                <a:gd name="connsiteX2" fmla="*/ 149221 w 183138"/>
                <a:gd name="connsiteY2" fmla="*/ 23425 h 288217"/>
                <a:gd name="connsiteX3" fmla="*/ 93980 w 183138"/>
                <a:gd name="connsiteY3" fmla="*/ 8 h 288217"/>
                <a:gd name="connsiteX4" fmla="*/ 17722 w 183138"/>
                <a:gd name="connsiteY4" fmla="*/ 8 h 288217"/>
                <a:gd name="connsiteX5" fmla="*/ 9 w 183138"/>
                <a:gd name="connsiteY5" fmla="*/ 17721 h 288217"/>
                <a:gd name="connsiteX6" fmla="*/ 9 w 183138"/>
                <a:gd name="connsiteY6" fmla="*/ 19222 h 288217"/>
                <a:gd name="connsiteX7" fmla="*/ 9 w 183138"/>
                <a:gd name="connsiteY7" fmla="*/ 271713 h 288217"/>
                <a:gd name="connsiteX8" fmla="*/ 16821 w 183138"/>
                <a:gd name="connsiteY8" fmla="*/ 290327 h 288217"/>
                <a:gd name="connsiteX9" fmla="*/ 18022 w 183138"/>
                <a:gd name="connsiteY9" fmla="*/ 290327 h 288217"/>
                <a:gd name="connsiteX10" fmla="*/ 103587 w 183138"/>
                <a:gd name="connsiteY10" fmla="*/ 290327 h 288217"/>
                <a:gd name="connsiteX11" fmla="*/ 160930 w 183138"/>
                <a:gd name="connsiteY11" fmla="*/ 266008 h 288217"/>
                <a:gd name="connsiteX12" fmla="*/ 185249 w 183138"/>
                <a:gd name="connsiteY12" fmla="*/ 207164 h 288217"/>
                <a:gd name="connsiteX13" fmla="*/ 185249 w 183138"/>
                <a:gd name="connsiteY13" fmla="*/ 195455 h 288217"/>
                <a:gd name="connsiteX14" fmla="*/ 172339 w 183138"/>
                <a:gd name="connsiteY14" fmla="*/ 148920 h 288217"/>
                <a:gd name="connsiteX15" fmla="*/ 157027 w 183138"/>
                <a:gd name="connsiteY15" fmla="*/ 130006 h 288217"/>
                <a:gd name="connsiteX16" fmla="*/ 111093 w 183138"/>
                <a:gd name="connsiteY16" fmla="*/ 100283 h 288217"/>
                <a:gd name="connsiteX17" fmla="*/ 90977 w 183138"/>
                <a:gd name="connsiteY17" fmla="*/ 107789 h 288217"/>
                <a:gd name="connsiteX18" fmla="*/ 53749 w 183138"/>
                <a:gd name="connsiteY18" fmla="*/ 107789 h 288217"/>
                <a:gd name="connsiteX19" fmla="*/ 53749 w 183138"/>
                <a:gd name="connsiteY19" fmla="*/ 55249 h 288217"/>
                <a:gd name="connsiteX20" fmla="*/ 93980 w 183138"/>
                <a:gd name="connsiteY20" fmla="*/ 55249 h 288217"/>
                <a:gd name="connsiteX21" fmla="*/ 110792 w 183138"/>
                <a:gd name="connsiteY21" fmla="*/ 61854 h 288217"/>
                <a:gd name="connsiteX22" fmla="*/ 117698 w 183138"/>
                <a:gd name="connsiteY22" fmla="*/ 78967 h 288217"/>
                <a:gd name="connsiteX23" fmla="*/ 110192 w 183138"/>
                <a:gd name="connsiteY23" fmla="*/ 99683 h 288217"/>
                <a:gd name="connsiteX24" fmla="*/ 53749 w 183138"/>
                <a:gd name="connsiteY24" fmla="*/ 163931 h 288217"/>
                <a:gd name="connsiteX25" fmla="*/ 99384 w 183138"/>
                <a:gd name="connsiteY25" fmla="*/ 163931 h 288217"/>
                <a:gd name="connsiteX26" fmla="*/ 121000 w 183138"/>
                <a:gd name="connsiteY26" fmla="*/ 173238 h 288217"/>
                <a:gd name="connsiteX27" fmla="*/ 130307 w 183138"/>
                <a:gd name="connsiteY27" fmla="*/ 195755 h 288217"/>
                <a:gd name="connsiteX28" fmla="*/ 130307 w 183138"/>
                <a:gd name="connsiteY28" fmla="*/ 206864 h 288217"/>
                <a:gd name="connsiteX29" fmla="*/ 122201 w 183138"/>
                <a:gd name="connsiteY29" fmla="*/ 226078 h 288217"/>
                <a:gd name="connsiteX30" fmla="*/ 102986 w 183138"/>
                <a:gd name="connsiteY30" fmla="*/ 234485 h 288217"/>
                <a:gd name="connsiteX31" fmla="*/ 53749 w 183138"/>
                <a:gd name="connsiteY31" fmla="*/ 234485 h 288217"/>
                <a:gd name="connsiteX32" fmla="*/ 53749 w 183138"/>
                <a:gd name="connsiteY32" fmla="*/ 163931 h 288217"/>
                <a:gd name="connsiteX33" fmla="*/ 53749 w 183138"/>
                <a:gd name="connsiteY33" fmla="*/ 163931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83138" h="288217">
                  <a:moveTo>
                    <a:pt x="156127" y="130306"/>
                  </a:moveTo>
                  <a:cubicBezTo>
                    <a:pt x="166935" y="115595"/>
                    <a:pt x="172639" y="97882"/>
                    <a:pt x="172039" y="79568"/>
                  </a:cubicBezTo>
                  <a:cubicBezTo>
                    <a:pt x="172339" y="58552"/>
                    <a:pt x="163933" y="38137"/>
                    <a:pt x="149221" y="23425"/>
                  </a:cubicBezTo>
                  <a:cubicBezTo>
                    <a:pt x="134811" y="8114"/>
                    <a:pt x="114996" y="-292"/>
                    <a:pt x="93980" y="8"/>
                  </a:cubicBezTo>
                  <a:lnTo>
                    <a:pt x="17722" y="8"/>
                  </a:lnTo>
                  <a:cubicBezTo>
                    <a:pt x="8115" y="8"/>
                    <a:pt x="309" y="7814"/>
                    <a:pt x="9" y="17721"/>
                  </a:cubicBezTo>
                  <a:cubicBezTo>
                    <a:pt x="9" y="18322"/>
                    <a:pt x="9" y="18922"/>
                    <a:pt x="9" y="19222"/>
                  </a:cubicBezTo>
                  <a:lnTo>
                    <a:pt x="9" y="271713"/>
                  </a:lnTo>
                  <a:cubicBezTo>
                    <a:pt x="-292" y="281620"/>
                    <a:pt x="7214" y="290027"/>
                    <a:pt x="16821" y="290327"/>
                  </a:cubicBezTo>
                  <a:cubicBezTo>
                    <a:pt x="17122" y="290327"/>
                    <a:pt x="17722" y="290327"/>
                    <a:pt x="18022" y="290327"/>
                  </a:cubicBezTo>
                  <a:lnTo>
                    <a:pt x="103587" y="290327"/>
                  </a:lnTo>
                  <a:cubicBezTo>
                    <a:pt x="125203" y="290627"/>
                    <a:pt x="145919" y="281920"/>
                    <a:pt x="160930" y="266008"/>
                  </a:cubicBezTo>
                  <a:cubicBezTo>
                    <a:pt x="176542" y="250697"/>
                    <a:pt x="185249" y="229381"/>
                    <a:pt x="185249" y="207164"/>
                  </a:cubicBezTo>
                  <a:lnTo>
                    <a:pt x="185249" y="195455"/>
                  </a:lnTo>
                  <a:cubicBezTo>
                    <a:pt x="185249" y="178943"/>
                    <a:pt x="180745" y="163031"/>
                    <a:pt x="172339" y="148920"/>
                  </a:cubicBezTo>
                  <a:cubicBezTo>
                    <a:pt x="168136" y="142015"/>
                    <a:pt x="163032" y="135410"/>
                    <a:pt x="157027" y="130006"/>
                  </a:cubicBezTo>
                  <a:moveTo>
                    <a:pt x="111093" y="100283"/>
                  </a:moveTo>
                  <a:cubicBezTo>
                    <a:pt x="105688" y="105687"/>
                    <a:pt x="98483" y="108389"/>
                    <a:pt x="90977" y="107789"/>
                  </a:cubicBezTo>
                  <a:lnTo>
                    <a:pt x="53749" y="107789"/>
                  </a:lnTo>
                  <a:lnTo>
                    <a:pt x="53749" y="55249"/>
                  </a:lnTo>
                  <a:lnTo>
                    <a:pt x="93980" y="55249"/>
                  </a:lnTo>
                  <a:cubicBezTo>
                    <a:pt x="100284" y="54949"/>
                    <a:pt x="106289" y="57351"/>
                    <a:pt x="110792" y="61854"/>
                  </a:cubicBezTo>
                  <a:cubicBezTo>
                    <a:pt x="115596" y="66358"/>
                    <a:pt x="117998" y="72663"/>
                    <a:pt x="117698" y="78967"/>
                  </a:cubicBezTo>
                  <a:cubicBezTo>
                    <a:pt x="117998" y="86773"/>
                    <a:pt x="115296" y="94279"/>
                    <a:pt x="110192" y="99683"/>
                  </a:cubicBezTo>
                  <a:moveTo>
                    <a:pt x="53749" y="163931"/>
                  </a:moveTo>
                  <a:lnTo>
                    <a:pt x="99384" y="163931"/>
                  </a:lnTo>
                  <a:cubicBezTo>
                    <a:pt x="107490" y="163931"/>
                    <a:pt x="115596" y="167234"/>
                    <a:pt x="121000" y="173238"/>
                  </a:cubicBezTo>
                  <a:cubicBezTo>
                    <a:pt x="127005" y="179243"/>
                    <a:pt x="130607" y="187349"/>
                    <a:pt x="130307" y="195755"/>
                  </a:cubicBezTo>
                  <a:lnTo>
                    <a:pt x="130307" y="206864"/>
                  </a:lnTo>
                  <a:cubicBezTo>
                    <a:pt x="130307" y="214069"/>
                    <a:pt x="127305" y="221275"/>
                    <a:pt x="122201" y="226078"/>
                  </a:cubicBezTo>
                  <a:cubicBezTo>
                    <a:pt x="117097" y="231482"/>
                    <a:pt x="110192" y="234485"/>
                    <a:pt x="102986" y="234485"/>
                  </a:cubicBezTo>
                  <a:lnTo>
                    <a:pt x="53749" y="234485"/>
                  </a:lnTo>
                  <a:lnTo>
                    <a:pt x="53749" y="163931"/>
                  </a:lnTo>
                  <a:lnTo>
                    <a:pt x="53749" y="163931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11" name="Forme libre : forme 210">
              <a:extLst>
                <a:ext uri="{FF2B5EF4-FFF2-40B4-BE49-F238E27FC236}">
                  <a16:creationId xmlns:a16="http://schemas.microsoft.com/office/drawing/2014/main" id="{2802A1C5-F8B8-472F-BA61-4CA64A6C5347}"/>
                </a:ext>
              </a:extLst>
            </p:cNvPr>
            <p:cNvSpPr/>
            <p:nvPr/>
          </p:nvSpPr>
          <p:spPr>
            <a:xfrm>
              <a:off x="6940511" y="4365677"/>
              <a:ext cx="189143" cy="297224"/>
            </a:xfrm>
            <a:custGeom>
              <a:avLst/>
              <a:gdLst>
                <a:gd name="connsiteX0" fmla="*/ 95479 w 189142"/>
                <a:gd name="connsiteY0" fmla="*/ 6 h 297224"/>
                <a:gd name="connsiteX1" fmla="*/ 27928 w 189142"/>
                <a:gd name="connsiteY1" fmla="*/ 28828 h 297224"/>
                <a:gd name="connsiteX2" fmla="*/ 7 w 189142"/>
                <a:gd name="connsiteY2" fmla="*/ 97880 h 297224"/>
                <a:gd name="connsiteX3" fmla="*/ 7 w 189142"/>
                <a:gd name="connsiteY3" fmla="*/ 200858 h 297224"/>
                <a:gd name="connsiteX4" fmla="*/ 27928 w 189142"/>
                <a:gd name="connsiteY4" fmla="*/ 269910 h 297224"/>
                <a:gd name="connsiteX5" fmla="*/ 162429 w 189142"/>
                <a:gd name="connsiteY5" fmla="*/ 270811 h 297224"/>
                <a:gd name="connsiteX6" fmla="*/ 163330 w 189142"/>
                <a:gd name="connsiteY6" fmla="*/ 269910 h 297224"/>
                <a:gd name="connsiteX7" fmla="*/ 191551 w 189142"/>
                <a:gd name="connsiteY7" fmla="*/ 200858 h 297224"/>
                <a:gd name="connsiteX8" fmla="*/ 191551 w 189142"/>
                <a:gd name="connsiteY8" fmla="*/ 97880 h 297224"/>
                <a:gd name="connsiteX9" fmla="*/ 163330 w 189142"/>
                <a:gd name="connsiteY9" fmla="*/ 28828 h 297224"/>
                <a:gd name="connsiteX10" fmla="*/ 95479 w 189142"/>
                <a:gd name="connsiteY10" fmla="*/ 6 h 297224"/>
                <a:gd name="connsiteX11" fmla="*/ 54348 w 189142"/>
                <a:gd name="connsiteY11" fmla="*/ 97880 h 297224"/>
                <a:gd name="connsiteX12" fmla="*/ 67257 w 189142"/>
                <a:gd name="connsiteY12" fmla="*/ 67858 h 297224"/>
                <a:gd name="connsiteX13" fmla="*/ 125501 w 189142"/>
                <a:gd name="connsiteY13" fmla="*/ 67858 h 297224"/>
                <a:gd name="connsiteX14" fmla="*/ 138411 w 189142"/>
                <a:gd name="connsiteY14" fmla="*/ 97880 h 297224"/>
                <a:gd name="connsiteX15" fmla="*/ 138411 w 189142"/>
                <a:gd name="connsiteY15" fmla="*/ 200858 h 297224"/>
                <a:gd name="connsiteX16" fmla="*/ 125501 w 189142"/>
                <a:gd name="connsiteY16" fmla="*/ 230580 h 297224"/>
                <a:gd name="connsiteX17" fmla="*/ 68458 w 189142"/>
                <a:gd name="connsiteY17" fmla="*/ 232081 h 297224"/>
                <a:gd name="connsiteX18" fmla="*/ 67257 w 189142"/>
                <a:gd name="connsiteY18" fmla="*/ 230580 h 297224"/>
                <a:gd name="connsiteX19" fmla="*/ 54948 w 189142"/>
                <a:gd name="connsiteY19" fmla="*/ 200858 h 297224"/>
                <a:gd name="connsiteX20" fmla="*/ 54348 w 189142"/>
                <a:gd name="connsiteY20" fmla="*/ 97880 h 297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9142" h="297224">
                  <a:moveTo>
                    <a:pt x="95479" y="6"/>
                  </a:moveTo>
                  <a:cubicBezTo>
                    <a:pt x="69959" y="-294"/>
                    <a:pt x="45641" y="9914"/>
                    <a:pt x="27928" y="28828"/>
                  </a:cubicBezTo>
                  <a:cubicBezTo>
                    <a:pt x="9614" y="47142"/>
                    <a:pt x="-294" y="72061"/>
                    <a:pt x="7" y="97880"/>
                  </a:cubicBezTo>
                  <a:lnTo>
                    <a:pt x="7" y="200858"/>
                  </a:lnTo>
                  <a:cubicBezTo>
                    <a:pt x="-294" y="226677"/>
                    <a:pt x="9914" y="251896"/>
                    <a:pt x="27928" y="269910"/>
                  </a:cubicBezTo>
                  <a:cubicBezTo>
                    <a:pt x="64856" y="307738"/>
                    <a:pt x="124901" y="308039"/>
                    <a:pt x="162429" y="270811"/>
                  </a:cubicBezTo>
                  <a:cubicBezTo>
                    <a:pt x="162730" y="270510"/>
                    <a:pt x="163030" y="270210"/>
                    <a:pt x="163330" y="269910"/>
                  </a:cubicBezTo>
                  <a:cubicBezTo>
                    <a:pt x="181644" y="251596"/>
                    <a:pt x="191852" y="226677"/>
                    <a:pt x="191551" y="200858"/>
                  </a:cubicBezTo>
                  <a:lnTo>
                    <a:pt x="191551" y="97880"/>
                  </a:lnTo>
                  <a:cubicBezTo>
                    <a:pt x="191852" y="71761"/>
                    <a:pt x="181644" y="46842"/>
                    <a:pt x="163330" y="28828"/>
                  </a:cubicBezTo>
                  <a:cubicBezTo>
                    <a:pt x="145617" y="9914"/>
                    <a:pt x="120998" y="-294"/>
                    <a:pt x="95479" y="6"/>
                  </a:cubicBezTo>
                  <a:moveTo>
                    <a:pt x="54348" y="97880"/>
                  </a:moveTo>
                  <a:cubicBezTo>
                    <a:pt x="54348" y="86472"/>
                    <a:pt x="58851" y="75363"/>
                    <a:pt x="67257" y="67858"/>
                  </a:cubicBezTo>
                  <a:cubicBezTo>
                    <a:pt x="83470" y="51645"/>
                    <a:pt x="109289" y="51645"/>
                    <a:pt x="125501" y="67858"/>
                  </a:cubicBezTo>
                  <a:cubicBezTo>
                    <a:pt x="133908" y="75663"/>
                    <a:pt x="138411" y="86472"/>
                    <a:pt x="138411" y="97880"/>
                  </a:cubicBezTo>
                  <a:lnTo>
                    <a:pt x="138411" y="200858"/>
                  </a:lnTo>
                  <a:cubicBezTo>
                    <a:pt x="138711" y="212267"/>
                    <a:pt x="133908" y="223075"/>
                    <a:pt x="125501" y="230580"/>
                  </a:cubicBezTo>
                  <a:cubicBezTo>
                    <a:pt x="110190" y="246793"/>
                    <a:pt x="84671" y="247393"/>
                    <a:pt x="68458" y="232081"/>
                  </a:cubicBezTo>
                  <a:cubicBezTo>
                    <a:pt x="67858" y="231781"/>
                    <a:pt x="67558" y="231181"/>
                    <a:pt x="67257" y="230580"/>
                  </a:cubicBezTo>
                  <a:cubicBezTo>
                    <a:pt x="59151" y="222774"/>
                    <a:pt x="54948" y="212267"/>
                    <a:pt x="54948" y="200858"/>
                  </a:cubicBezTo>
                  <a:lnTo>
                    <a:pt x="54348" y="97880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12" name="Forme libre : forme 211">
              <a:extLst>
                <a:ext uri="{FF2B5EF4-FFF2-40B4-BE49-F238E27FC236}">
                  <a16:creationId xmlns:a16="http://schemas.microsoft.com/office/drawing/2014/main" id="{352CA0BD-A178-47B9-AE2F-C156F1943F08}"/>
                </a:ext>
              </a:extLst>
            </p:cNvPr>
            <p:cNvSpPr/>
            <p:nvPr/>
          </p:nvSpPr>
          <p:spPr>
            <a:xfrm>
              <a:off x="7438285" y="4369280"/>
              <a:ext cx="183138" cy="288217"/>
            </a:xfrm>
            <a:custGeom>
              <a:avLst/>
              <a:gdLst>
                <a:gd name="connsiteX0" fmla="*/ 81070 w 183138"/>
                <a:gd name="connsiteY0" fmla="*/ 306 h 288217"/>
                <a:gd name="connsiteX1" fmla="*/ 18923 w 183138"/>
                <a:gd name="connsiteY1" fmla="*/ 306 h 288217"/>
                <a:gd name="connsiteX2" fmla="*/ 8 w 183138"/>
                <a:gd name="connsiteY2" fmla="*/ 16819 h 288217"/>
                <a:gd name="connsiteX3" fmla="*/ 8 w 183138"/>
                <a:gd name="connsiteY3" fmla="*/ 19521 h 288217"/>
                <a:gd name="connsiteX4" fmla="*/ 8 w 183138"/>
                <a:gd name="connsiteY4" fmla="*/ 272011 h 288217"/>
                <a:gd name="connsiteX5" fmla="*/ 17421 w 183138"/>
                <a:gd name="connsiteY5" fmla="*/ 290625 h 288217"/>
                <a:gd name="connsiteX6" fmla="*/ 18622 w 183138"/>
                <a:gd name="connsiteY6" fmla="*/ 290625 h 288217"/>
                <a:gd name="connsiteX7" fmla="*/ 90377 w 183138"/>
                <a:gd name="connsiteY7" fmla="*/ 290625 h 288217"/>
                <a:gd name="connsiteX8" fmla="*/ 157627 w 183138"/>
                <a:gd name="connsiteY8" fmla="*/ 262704 h 288217"/>
                <a:gd name="connsiteX9" fmla="*/ 185248 w 183138"/>
                <a:gd name="connsiteY9" fmla="*/ 194553 h 288217"/>
                <a:gd name="connsiteX10" fmla="*/ 185248 w 183138"/>
                <a:gd name="connsiteY10" fmla="*/ 104485 h 288217"/>
                <a:gd name="connsiteX11" fmla="*/ 154625 w 183138"/>
                <a:gd name="connsiteY11" fmla="*/ 30629 h 288217"/>
                <a:gd name="connsiteX12" fmla="*/ 80769 w 183138"/>
                <a:gd name="connsiteY12" fmla="*/ 6 h 288217"/>
                <a:gd name="connsiteX13" fmla="*/ 89776 w 183138"/>
                <a:gd name="connsiteY13" fmla="*/ 234483 h 288217"/>
                <a:gd name="connsiteX14" fmla="*/ 54950 w 183138"/>
                <a:gd name="connsiteY14" fmla="*/ 234483 h 288217"/>
                <a:gd name="connsiteX15" fmla="*/ 54950 w 183138"/>
                <a:gd name="connsiteY15" fmla="*/ 55848 h 288217"/>
                <a:gd name="connsiteX16" fmla="*/ 80469 w 183138"/>
                <a:gd name="connsiteY16" fmla="*/ 55848 h 288217"/>
                <a:gd name="connsiteX17" fmla="*/ 114995 w 183138"/>
                <a:gd name="connsiteY17" fmla="*/ 70259 h 288217"/>
                <a:gd name="connsiteX18" fmla="*/ 129706 w 183138"/>
                <a:gd name="connsiteY18" fmla="*/ 104485 h 288217"/>
                <a:gd name="connsiteX19" fmla="*/ 129706 w 183138"/>
                <a:gd name="connsiteY19" fmla="*/ 194553 h 288217"/>
                <a:gd name="connsiteX20" fmla="*/ 90076 w 183138"/>
                <a:gd name="connsiteY20" fmla="*/ 233882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3138" h="288217">
                  <a:moveTo>
                    <a:pt x="81070" y="306"/>
                  </a:moveTo>
                  <a:lnTo>
                    <a:pt x="18923" y="306"/>
                  </a:lnTo>
                  <a:cubicBezTo>
                    <a:pt x="9015" y="-294"/>
                    <a:pt x="609" y="7211"/>
                    <a:pt x="8" y="16819"/>
                  </a:cubicBezTo>
                  <a:cubicBezTo>
                    <a:pt x="8" y="17719"/>
                    <a:pt x="8" y="18620"/>
                    <a:pt x="8" y="19521"/>
                  </a:cubicBezTo>
                  <a:lnTo>
                    <a:pt x="8" y="272011"/>
                  </a:lnTo>
                  <a:cubicBezTo>
                    <a:pt x="-292" y="281919"/>
                    <a:pt x="7514" y="290325"/>
                    <a:pt x="17421" y="290625"/>
                  </a:cubicBezTo>
                  <a:cubicBezTo>
                    <a:pt x="17722" y="290625"/>
                    <a:pt x="18322" y="290625"/>
                    <a:pt x="18622" y="290625"/>
                  </a:cubicBezTo>
                  <a:lnTo>
                    <a:pt x="90377" y="290625"/>
                  </a:lnTo>
                  <a:cubicBezTo>
                    <a:pt x="115596" y="290925"/>
                    <a:pt x="139914" y="280718"/>
                    <a:pt x="157627" y="262704"/>
                  </a:cubicBezTo>
                  <a:cubicBezTo>
                    <a:pt x="175941" y="244690"/>
                    <a:pt x="185849" y="220072"/>
                    <a:pt x="185248" y="194553"/>
                  </a:cubicBezTo>
                  <a:lnTo>
                    <a:pt x="185248" y="104485"/>
                  </a:lnTo>
                  <a:cubicBezTo>
                    <a:pt x="185549" y="76864"/>
                    <a:pt x="174440" y="50144"/>
                    <a:pt x="154625" y="30629"/>
                  </a:cubicBezTo>
                  <a:cubicBezTo>
                    <a:pt x="135411" y="10814"/>
                    <a:pt x="108691" y="-294"/>
                    <a:pt x="80769" y="6"/>
                  </a:cubicBezTo>
                  <a:moveTo>
                    <a:pt x="89776" y="234483"/>
                  </a:moveTo>
                  <a:lnTo>
                    <a:pt x="54950" y="234483"/>
                  </a:lnTo>
                  <a:lnTo>
                    <a:pt x="54950" y="55848"/>
                  </a:lnTo>
                  <a:lnTo>
                    <a:pt x="80469" y="55848"/>
                  </a:lnTo>
                  <a:cubicBezTo>
                    <a:pt x="93379" y="55548"/>
                    <a:pt x="105988" y="60952"/>
                    <a:pt x="114995" y="70259"/>
                  </a:cubicBezTo>
                  <a:cubicBezTo>
                    <a:pt x="124603" y="79266"/>
                    <a:pt x="129706" y="91575"/>
                    <a:pt x="129706" y="104485"/>
                  </a:cubicBezTo>
                  <a:lnTo>
                    <a:pt x="129706" y="194553"/>
                  </a:lnTo>
                  <a:cubicBezTo>
                    <a:pt x="129406" y="216169"/>
                    <a:pt x="111693" y="233582"/>
                    <a:pt x="90076" y="233882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13" name="Forme libre : forme 212">
              <a:extLst>
                <a:ext uri="{FF2B5EF4-FFF2-40B4-BE49-F238E27FC236}">
                  <a16:creationId xmlns:a16="http://schemas.microsoft.com/office/drawing/2014/main" id="{DEED5057-310C-4699-BC49-F273FA789151}"/>
                </a:ext>
              </a:extLst>
            </p:cNvPr>
            <p:cNvSpPr/>
            <p:nvPr/>
          </p:nvSpPr>
          <p:spPr>
            <a:xfrm>
              <a:off x="7680868" y="4369878"/>
              <a:ext cx="159120" cy="288217"/>
            </a:xfrm>
            <a:custGeom>
              <a:avLst/>
              <a:gdLst>
                <a:gd name="connsiteX0" fmla="*/ 143517 w 159120"/>
                <a:gd name="connsiteY0" fmla="*/ 233584 h 288217"/>
                <a:gd name="connsiteX1" fmla="*/ 53449 w 159120"/>
                <a:gd name="connsiteY1" fmla="*/ 233584 h 288217"/>
                <a:gd name="connsiteX2" fmla="*/ 53449 w 159120"/>
                <a:gd name="connsiteY2" fmla="*/ 163331 h 288217"/>
                <a:gd name="connsiteX3" fmla="*/ 127905 w 159120"/>
                <a:gd name="connsiteY3" fmla="*/ 163331 h 288217"/>
                <a:gd name="connsiteX4" fmla="*/ 145619 w 159120"/>
                <a:gd name="connsiteY4" fmla="*/ 145318 h 288217"/>
                <a:gd name="connsiteX5" fmla="*/ 145619 w 159120"/>
                <a:gd name="connsiteY5" fmla="*/ 144417 h 288217"/>
                <a:gd name="connsiteX6" fmla="*/ 145619 w 159120"/>
                <a:gd name="connsiteY6" fmla="*/ 125503 h 288217"/>
                <a:gd name="connsiteX7" fmla="*/ 129707 w 159120"/>
                <a:gd name="connsiteY7" fmla="*/ 106889 h 288217"/>
                <a:gd name="connsiteX8" fmla="*/ 127905 w 159120"/>
                <a:gd name="connsiteY8" fmla="*/ 106889 h 288217"/>
                <a:gd name="connsiteX9" fmla="*/ 53449 w 159120"/>
                <a:gd name="connsiteY9" fmla="*/ 106889 h 288217"/>
                <a:gd name="connsiteX10" fmla="*/ 53449 w 159120"/>
                <a:gd name="connsiteY10" fmla="*/ 54349 h 288217"/>
                <a:gd name="connsiteX11" fmla="*/ 140515 w 159120"/>
                <a:gd name="connsiteY11" fmla="*/ 54349 h 288217"/>
                <a:gd name="connsiteX12" fmla="*/ 158528 w 159120"/>
                <a:gd name="connsiteY12" fmla="*/ 36636 h 288217"/>
                <a:gd name="connsiteX13" fmla="*/ 158528 w 159120"/>
                <a:gd name="connsiteY13" fmla="*/ 35735 h 288217"/>
                <a:gd name="connsiteX14" fmla="*/ 158528 w 159120"/>
                <a:gd name="connsiteY14" fmla="*/ 18622 h 288217"/>
                <a:gd name="connsiteX15" fmla="*/ 141716 w 159120"/>
                <a:gd name="connsiteY15" fmla="*/ 8 h 288217"/>
                <a:gd name="connsiteX16" fmla="*/ 140515 w 159120"/>
                <a:gd name="connsiteY16" fmla="*/ 8 h 288217"/>
                <a:gd name="connsiteX17" fmla="*/ 17722 w 159120"/>
                <a:gd name="connsiteY17" fmla="*/ 8 h 288217"/>
                <a:gd name="connsiteX18" fmla="*/ 9 w 159120"/>
                <a:gd name="connsiteY18" fmla="*/ 17421 h 288217"/>
                <a:gd name="connsiteX19" fmla="*/ 9 w 159120"/>
                <a:gd name="connsiteY19" fmla="*/ 18622 h 288217"/>
                <a:gd name="connsiteX20" fmla="*/ 9 w 159120"/>
                <a:gd name="connsiteY20" fmla="*/ 271113 h 288217"/>
                <a:gd name="connsiteX21" fmla="*/ 16822 w 159120"/>
                <a:gd name="connsiteY21" fmla="*/ 289727 h 288217"/>
                <a:gd name="connsiteX22" fmla="*/ 18022 w 159120"/>
                <a:gd name="connsiteY22" fmla="*/ 289727 h 288217"/>
                <a:gd name="connsiteX23" fmla="*/ 143217 w 159120"/>
                <a:gd name="connsiteY23" fmla="*/ 289727 h 288217"/>
                <a:gd name="connsiteX24" fmla="*/ 161231 w 159120"/>
                <a:gd name="connsiteY24" fmla="*/ 272313 h 288217"/>
                <a:gd name="connsiteX25" fmla="*/ 161231 w 159120"/>
                <a:gd name="connsiteY25" fmla="*/ 271113 h 288217"/>
                <a:gd name="connsiteX26" fmla="*/ 161231 w 159120"/>
                <a:gd name="connsiteY26" fmla="*/ 252799 h 288217"/>
                <a:gd name="connsiteX27" fmla="*/ 144418 w 159120"/>
                <a:gd name="connsiteY27" fmla="*/ 234185 h 288217"/>
                <a:gd name="connsiteX28" fmla="*/ 143217 w 159120"/>
                <a:gd name="connsiteY28" fmla="*/ 234185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9120" h="288217">
                  <a:moveTo>
                    <a:pt x="143517" y="233584"/>
                  </a:moveTo>
                  <a:lnTo>
                    <a:pt x="53449" y="233584"/>
                  </a:lnTo>
                  <a:lnTo>
                    <a:pt x="53449" y="163331"/>
                  </a:lnTo>
                  <a:lnTo>
                    <a:pt x="127905" y="163331"/>
                  </a:lnTo>
                  <a:cubicBezTo>
                    <a:pt x="137513" y="163331"/>
                    <a:pt x="145619" y="155525"/>
                    <a:pt x="145619" y="145318"/>
                  </a:cubicBezTo>
                  <a:cubicBezTo>
                    <a:pt x="145619" y="145017"/>
                    <a:pt x="145619" y="144717"/>
                    <a:pt x="145619" y="144417"/>
                  </a:cubicBezTo>
                  <a:lnTo>
                    <a:pt x="145619" y="125503"/>
                  </a:lnTo>
                  <a:cubicBezTo>
                    <a:pt x="146219" y="115895"/>
                    <a:pt x="139014" y="107489"/>
                    <a:pt x="129707" y="106889"/>
                  </a:cubicBezTo>
                  <a:cubicBezTo>
                    <a:pt x="129106" y="106889"/>
                    <a:pt x="128506" y="106889"/>
                    <a:pt x="127905" y="106889"/>
                  </a:cubicBezTo>
                  <a:lnTo>
                    <a:pt x="53449" y="106889"/>
                  </a:lnTo>
                  <a:lnTo>
                    <a:pt x="53449" y="54349"/>
                  </a:lnTo>
                  <a:lnTo>
                    <a:pt x="140515" y="54349"/>
                  </a:lnTo>
                  <a:cubicBezTo>
                    <a:pt x="150422" y="54649"/>
                    <a:pt x="158528" y="46543"/>
                    <a:pt x="158528" y="36636"/>
                  </a:cubicBezTo>
                  <a:cubicBezTo>
                    <a:pt x="158528" y="36335"/>
                    <a:pt x="158528" y="36035"/>
                    <a:pt x="158528" y="35735"/>
                  </a:cubicBezTo>
                  <a:lnTo>
                    <a:pt x="158528" y="18622"/>
                  </a:lnTo>
                  <a:cubicBezTo>
                    <a:pt x="158829" y="8715"/>
                    <a:pt x="151323" y="308"/>
                    <a:pt x="141716" y="8"/>
                  </a:cubicBezTo>
                  <a:cubicBezTo>
                    <a:pt x="141416" y="8"/>
                    <a:pt x="140815" y="8"/>
                    <a:pt x="140515" y="8"/>
                  </a:cubicBezTo>
                  <a:lnTo>
                    <a:pt x="17722" y="8"/>
                  </a:lnTo>
                  <a:cubicBezTo>
                    <a:pt x="8115" y="-292"/>
                    <a:pt x="309" y="7814"/>
                    <a:pt x="9" y="17421"/>
                  </a:cubicBezTo>
                  <a:cubicBezTo>
                    <a:pt x="9" y="17721"/>
                    <a:pt x="9" y="18322"/>
                    <a:pt x="9" y="18622"/>
                  </a:cubicBezTo>
                  <a:lnTo>
                    <a:pt x="9" y="271113"/>
                  </a:lnTo>
                  <a:cubicBezTo>
                    <a:pt x="-291" y="281020"/>
                    <a:pt x="7214" y="289426"/>
                    <a:pt x="16822" y="289727"/>
                  </a:cubicBezTo>
                  <a:cubicBezTo>
                    <a:pt x="17122" y="289727"/>
                    <a:pt x="17722" y="289727"/>
                    <a:pt x="18022" y="289727"/>
                  </a:cubicBezTo>
                  <a:lnTo>
                    <a:pt x="143217" y="289727"/>
                  </a:lnTo>
                  <a:cubicBezTo>
                    <a:pt x="152824" y="290027"/>
                    <a:pt x="160930" y="282221"/>
                    <a:pt x="161231" y="272313"/>
                  </a:cubicBezTo>
                  <a:cubicBezTo>
                    <a:pt x="161231" y="272013"/>
                    <a:pt x="161231" y="271413"/>
                    <a:pt x="161231" y="271113"/>
                  </a:cubicBezTo>
                  <a:lnTo>
                    <a:pt x="161231" y="252799"/>
                  </a:lnTo>
                  <a:cubicBezTo>
                    <a:pt x="161531" y="242891"/>
                    <a:pt x="154025" y="234485"/>
                    <a:pt x="144418" y="234185"/>
                  </a:cubicBezTo>
                  <a:cubicBezTo>
                    <a:pt x="144118" y="234185"/>
                    <a:pt x="143517" y="234185"/>
                    <a:pt x="143217" y="234185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14" name="Forme libre : forme 213">
              <a:extLst>
                <a:ext uri="{FF2B5EF4-FFF2-40B4-BE49-F238E27FC236}">
                  <a16:creationId xmlns:a16="http://schemas.microsoft.com/office/drawing/2014/main" id="{9512A7EE-B270-4EAC-A2BB-03EECA786568}"/>
                </a:ext>
              </a:extLst>
            </p:cNvPr>
            <p:cNvSpPr/>
            <p:nvPr/>
          </p:nvSpPr>
          <p:spPr>
            <a:xfrm>
              <a:off x="7885323" y="4369575"/>
              <a:ext cx="219166" cy="288217"/>
            </a:xfrm>
            <a:custGeom>
              <a:avLst/>
              <a:gdLst>
                <a:gd name="connsiteX0" fmla="*/ 144418 w 219165"/>
                <a:gd name="connsiteY0" fmla="*/ 13221 h 288217"/>
                <a:gd name="connsiteX1" fmla="*/ 127305 w 219165"/>
                <a:gd name="connsiteY1" fmla="*/ 11 h 288217"/>
                <a:gd name="connsiteX2" fmla="*/ 94280 w 219165"/>
                <a:gd name="connsiteY2" fmla="*/ 11 h 288217"/>
                <a:gd name="connsiteX3" fmla="*/ 76867 w 219165"/>
                <a:gd name="connsiteY3" fmla="*/ 13221 h 288217"/>
                <a:gd name="connsiteX4" fmla="*/ 1510 w 219165"/>
                <a:gd name="connsiteY4" fmla="*/ 264211 h 288217"/>
                <a:gd name="connsiteX5" fmla="*/ 9 w 219165"/>
                <a:gd name="connsiteY5" fmla="*/ 271716 h 288217"/>
                <a:gd name="connsiteX6" fmla="*/ 17121 w 219165"/>
                <a:gd name="connsiteY6" fmla="*/ 290330 h 288217"/>
                <a:gd name="connsiteX7" fmla="*/ 18322 w 219165"/>
                <a:gd name="connsiteY7" fmla="*/ 290330 h 288217"/>
                <a:gd name="connsiteX8" fmla="*/ 36636 w 219165"/>
                <a:gd name="connsiteY8" fmla="*/ 290330 h 288217"/>
                <a:gd name="connsiteX9" fmla="*/ 54050 w 219165"/>
                <a:gd name="connsiteY9" fmla="*/ 277120 h 288217"/>
                <a:gd name="connsiteX10" fmla="*/ 76266 w 219165"/>
                <a:gd name="connsiteY10" fmla="*/ 203565 h 288217"/>
                <a:gd name="connsiteX11" fmla="*/ 144118 w 219165"/>
                <a:gd name="connsiteY11" fmla="*/ 203565 h 288217"/>
                <a:gd name="connsiteX12" fmla="*/ 166635 w 219165"/>
                <a:gd name="connsiteY12" fmla="*/ 277721 h 288217"/>
                <a:gd name="connsiteX13" fmla="*/ 166635 w 219165"/>
                <a:gd name="connsiteY13" fmla="*/ 278922 h 288217"/>
                <a:gd name="connsiteX14" fmla="*/ 183747 w 219165"/>
                <a:gd name="connsiteY14" fmla="*/ 290630 h 288217"/>
                <a:gd name="connsiteX15" fmla="*/ 202361 w 219165"/>
                <a:gd name="connsiteY15" fmla="*/ 290630 h 288217"/>
                <a:gd name="connsiteX16" fmla="*/ 220675 w 219165"/>
                <a:gd name="connsiteY16" fmla="*/ 272617 h 288217"/>
                <a:gd name="connsiteX17" fmla="*/ 220675 w 219165"/>
                <a:gd name="connsiteY17" fmla="*/ 272016 h 288217"/>
                <a:gd name="connsiteX18" fmla="*/ 219474 w 219165"/>
                <a:gd name="connsiteY18" fmla="*/ 265111 h 288217"/>
                <a:gd name="connsiteX19" fmla="*/ 144418 w 219165"/>
                <a:gd name="connsiteY19" fmla="*/ 13221 h 288217"/>
                <a:gd name="connsiteX20" fmla="*/ 131208 w 219165"/>
                <a:gd name="connsiteY20" fmla="*/ 147723 h 288217"/>
                <a:gd name="connsiteX21" fmla="*/ 90677 w 219165"/>
                <a:gd name="connsiteY21" fmla="*/ 147723 h 288217"/>
                <a:gd name="connsiteX22" fmla="*/ 110792 w 219165"/>
                <a:gd name="connsiteY22" fmla="*/ 78370 h 288217"/>
                <a:gd name="connsiteX23" fmla="*/ 131208 w 219165"/>
                <a:gd name="connsiteY23" fmla="*/ 147723 h 288217"/>
                <a:gd name="connsiteX24" fmla="*/ 131208 w 219165"/>
                <a:gd name="connsiteY24" fmla="*/ 147723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19165" h="288217">
                  <a:moveTo>
                    <a:pt x="144418" y="13221"/>
                  </a:moveTo>
                  <a:cubicBezTo>
                    <a:pt x="142316" y="5415"/>
                    <a:pt x="135111" y="11"/>
                    <a:pt x="127305" y="11"/>
                  </a:cubicBezTo>
                  <a:lnTo>
                    <a:pt x="94280" y="11"/>
                  </a:lnTo>
                  <a:cubicBezTo>
                    <a:pt x="86174" y="-289"/>
                    <a:pt x="78968" y="5415"/>
                    <a:pt x="76867" y="13221"/>
                  </a:cubicBezTo>
                  <a:lnTo>
                    <a:pt x="1510" y="264211"/>
                  </a:lnTo>
                  <a:cubicBezTo>
                    <a:pt x="309" y="266612"/>
                    <a:pt x="9" y="269014"/>
                    <a:pt x="9" y="271716"/>
                  </a:cubicBezTo>
                  <a:cubicBezTo>
                    <a:pt x="-292" y="281624"/>
                    <a:pt x="7214" y="290030"/>
                    <a:pt x="17121" y="290330"/>
                  </a:cubicBezTo>
                  <a:cubicBezTo>
                    <a:pt x="17422" y="290330"/>
                    <a:pt x="18022" y="290330"/>
                    <a:pt x="18322" y="290330"/>
                  </a:cubicBezTo>
                  <a:lnTo>
                    <a:pt x="36636" y="290330"/>
                  </a:lnTo>
                  <a:cubicBezTo>
                    <a:pt x="44742" y="290630"/>
                    <a:pt x="51948" y="285226"/>
                    <a:pt x="54050" y="277120"/>
                  </a:cubicBezTo>
                  <a:lnTo>
                    <a:pt x="76266" y="203565"/>
                  </a:lnTo>
                  <a:lnTo>
                    <a:pt x="144118" y="203565"/>
                  </a:lnTo>
                  <a:lnTo>
                    <a:pt x="166635" y="277721"/>
                  </a:lnTo>
                  <a:lnTo>
                    <a:pt x="166635" y="278922"/>
                  </a:lnTo>
                  <a:cubicBezTo>
                    <a:pt x="169337" y="286127"/>
                    <a:pt x="176242" y="290931"/>
                    <a:pt x="183747" y="290630"/>
                  </a:cubicBezTo>
                  <a:lnTo>
                    <a:pt x="202361" y="290630"/>
                  </a:lnTo>
                  <a:cubicBezTo>
                    <a:pt x="212269" y="290630"/>
                    <a:pt x="220375" y="282825"/>
                    <a:pt x="220675" y="272617"/>
                  </a:cubicBezTo>
                  <a:cubicBezTo>
                    <a:pt x="220675" y="272317"/>
                    <a:pt x="220675" y="272317"/>
                    <a:pt x="220675" y="272016"/>
                  </a:cubicBezTo>
                  <a:cubicBezTo>
                    <a:pt x="220675" y="269615"/>
                    <a:pt x="220375" y="267213"/>
                    <a:pt x="219474" y="265111"/>
                  </a:cubicBezTo>
                  <a:lnTo>
                    <a:pt x="144418" y="13221"/>
                  </a:lnTo>
                  <a:close/>
                  <a:moveTo>
                    <a:pt x="131208" y="147723"/>
                  </a:moveTo>
                  <a:lnTo>
                    <a:pt x="90677" y="147723"/>
                  </a:lnTo>
                  <a:lnTo>
                    <a:pt x="110792" y="78370"/>
                  </a:lnTo>
                  <a:lnTo>
                    <a:pt x="131208" y="147723"/>
                  </a:lnTo>
                  <a:lnTo>
                    <a:pt x="131208" y="147723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15" name="Forme libre : forme 214">
              <a:extLst>
                <a:ext uri="{FF2B5EF4-FFF2-40B4-BE49-F238E27FC236}">
                  <a16:creationId xmlns:a16="http://schemas.microsoft.com/office/drawing/2014/main" id="{C8657F07-6965-4D50-B54E-9456798336BC}"/>
                </a:ext>
              </a:extLst>
            </p:cNvPr>
            <p:cNvSpPr/>
            <p:nvPr/>
          </p:nvSpPr>
          <p:spPr>
            <a:xfrm>
              <a:off x="8147703" y="4369554"/>
              <a:ext cx="180136" cy="294222"/>
            </a:xfrm>
            <a:custGeom>
              <a:avLst/>
              <a:gdLst>
                <a:gd name="connsiteX0" fmla="*/ 161849 w 180136"/>
                <a:gd name="connsiteY0" fmla="*/ 32 h 294221"/>
                <a:gd name="connsiteX1" fmla="*/ 143835 w 180136"/>
                <a:gd name="connsiteY1" fmla="*/ 32 h 294221"/>
                <a:gd name="connsiteX2" fmla="*/ 125221 w 180136"/>
                <a:gd name="connsiteY2" fmla="*/ 17145 h 294221"/>
                <a:gd name="connsiteX3" fmla="*/ 125221 w 180136"/>
                <a:gd name="connsiteY3" fmla="*/ 19247 h 294221"/>
                <a:gd name="connsiteX4" fmla="*/ 125221 w 180136"/>
                <a:gd name="connsiteY4" fmla="*/ 203286 h 294221"/>
                <a:gd name="connsiteX5" fmla="*/ 115013 w 180136"/>
                <a:gd name="connsiteY5" fmla="*/ 228805 h 294221"/>
                <a:gd name="connsiteX6" fmla="*/ 64575 w 180136"/>
                <a:gd name="connsiteY6" fmla="*/ 227904 h 294221"/>
                <a:gd name="connsiteX7" fmla="*/ 54668 w 180136"/>
                <a:gd name="connsiteY7" fmla="*/ 203286 h 294221"/>
                <a:gd name="connsiteX8" fmla="*/ 54668 w 180136"/>
                <a:gd name="connsiteY8" fmla="*/ 19247 h 294221"/>
                <a:gd name="connsiteX9" fmla="*/ 38155 w 180136"/>
                <a:gd name="connsiteY9" fmla="*/ 633 h 294221"/>
                <a:gd name="connsiteX10" fmla="*/ 36354 w 180136"/>
                <a:gd name="connsiteY10" fmla="*/ 633 h 294221"/>
                <a:gd name="connsiteX11" fmla="*/ 18341 w 180136"/>
                <a:gd name="connsiteY11" fmla="*/ 633 h 294221"/>
                <a:gd name="connsiteX12" fmla="*/ 27 w 180136"/>
                <a:gd name="connsiteY12" fmla="*/ 18046 h 294221"/>
                <a:gd name="connsiteX13" fmla="*/ 27 w 180136"/>
                <a:gd name="connsiteY13" fmla="*/ 19247 h 294221"/>
                <a:gd name="connsiteX14" fmla="*/ 27 w 180136"/>
                <a:gd name="connsiteY14" fmla="*/ 203286 h 294221"/>
                <a:gd name="connsiteX15" fmla="*/ 26146 w 180136"/>
                <a:gd name="connsiteY15" fmla="*/ 268135 h 294221"/>
                <a:gd name="connsiteX16" fmla="*/ 153443 w 180136"/>
                <a:gd name="connsiteY16" fmla="*/ 268735 h 294221"/>
                <a:gd name="connsiteX17" fmla="*/ 154043 w 180136"/>
                <a:gd name="connsiteY17" fmla="*/ 268135 h 294221"/>
                <a:gd name="connsiteX18" fmla="*/ 180163 w 180136"/>
                <a:gd name="connsiteY18" fmla="*/ 203286 h 294221"/>
                <a:gd name="connsiteX19" fmla="*/ 180163 w 180136"/>
                <a:gd name="connsiteY19" fmla="*/ 18947 h 294221"/>
                <a:gd name="connsiteX20" fmla="*/ 163350 w 180136"/>
                <a:gd name="connsiteY20" fmla="*/ 333 h 294221"/>
                <a:gd name="connsiteX21" fmla="*/ 161549 w 180136"/>
                <a:gd name="connsiteY21" fmla="*/ 333 h 294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80136" h="294221">
                  <a:moveTo>
                    <a:pt x="161849" y="32"/>
                  </a:moveTo>
                  <a:lnTo>
                    <a:pt x="143835" y="32"/>
                  </a:lnTo>
                  <a:cubicBezTo>
                    <a:pt x="133928" y="-568"/>
                    <a:pt x="125521" y="7238"/>
                    <a:pt x="125221" y="17145"/>
                  </a:cubicBezTo>
                  <a:cubicBezTo>
                    <a:pt x="125221" y="17746"/>
                    <a:pt x="125221" y="18646"/>
                    <a:pt x="125221" y="19247"/>
                  </a:cubicBezTo>
                  <a:lnTo>
                    <a:pt x="125221" y="203286"/>
                  </a:lnTo>
                  <a:cubicBezTo>
                    <a:pt x="125521" y="212893"/>
                    <a:pt x="121919" y="222200"/>
                    <a:pt x="115013" y="228805"/>
                  </a:cubicBezTo>
                  <a:cubicBezTo>
                    <a:pt x="100903" y="242615"/>
                    <a:pt x="78086" y="242315"/>
                    <a:pt x="64575" y="227904"/>
                  </a:cubicBezTo>
                  <a:cubicBezTo>
                    <a:pt x="58271" y="221299"/>
                    <a:pt x="54668" y="212593"/>
                    <a:pt x="54668" y="203286"/>
                  </a:cubicBezTo>
                  <a:lnTo>
                    <a:pt x="54668" y="19247"/>
                  </a:lnTo>
                  <a:cubicBezTo>
                    <a:pt x="55268" y="9640"/>
                    <a:pt x="48063" y="1233"/>
                    <a:pt x="38155" y="633"/>
                  </a:cubicBezTo>
                  <a:cubicBezTo>
                    <a:pt x="37555" y="633"/>
                    <a:pt x="36954" y="633"/>
                    <a:pt x="36354" y="633"/>
                  </a:cubicBezTo>
                  <a:lnTo>
                    <a:pt x="18341" y="633"/>
                  </a:lnTo>
                  <a:cubicBezTo>
                    <a:pt x="8433" y="333"/>
                    <a:pt x="327" y="8139"/>
                    <a:pt x="27" y="18046"/>
                  </a:cubicBezTo>
                  <a:cubicBezTo>
                    <a:pt x="27" y="18346"/>
                    <a:pt x="27" y="18947"/>
                    <a:pt x="27" y="19247"/>
                  </a:cubicBezTo>
                  <a:lnTo>
                    <a:pt x="27" y="203286"/>
                  </a:lnTo>
                  <a:cubicBezTo>
                    <a:pt x="-574" y="227604"/>
                    <a:pt x="9033" y="251022"/>
                    <a:pt x="26146" y="268135"/>
                  </a:cubicBezTo>
                  <a:cubicBezTo>
                    <a:pt x="60973" y="303862"/>
                    <a:pt x="118016" y="304162"/>
                    <a:pt x="153443" y="268735"/>
                  </a:cubicBezTo>
                  <a:cubicBezTo>
                    <a:pt x="153743" y="268435"/>
                    <a:pt x="154043" y="268135"/>
                    <a:pt x="154043" y="268135"/>
                  </a:cubicBezTo>
                  <a:cubicBezTo>
                    <a:pt x="171156" y="251022"/>
                    <a:pt x="180463" y="227604"/>
                    <a:pt x="180163" y="203286"/>
                  </a:cubicBezTo>
                  <a:lnTo>
                    <a:pt x="180163" y="18947"/>
                  </a:lnTo>
                  <a:cubicBezTo>
                    <a:pt x="180763" y="9039"/>
                    <a:pt x="173257" y="933"/>
                    <a:pt x="163350" y="333"/>
                  </a:cubicBezTo>
                  <a:cubicBezTo>
                    <a:pt x="162750" y="333"/>
                    <a:pt x="162149" y="333"/>
                    <a:pt x="161549" y="333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16" name="Forme libre : forme 215">
              <a:extLst>
                <a:ext uri="{FF2B5EF4-FFF2-40B4-BE49-F238E27FC236}">
                  <a16:creationId xmlns:a16="http://schemas.microsoft.com/office/drawing/2014/main" id="{60216A88-A3CF-47E8-9E0D-9C03722A156E}"/>
                </a:ext>
              </a:extLst>
            </p:cNvPr>
            <p:cNvSpPr/>
            <p:nvPr/>
          </p:nvSpPr>
          <p:spPr>
            <a:xfrm>
              <a:off x="8374774" y="4369858"/>
              <a:ext cx="189143" cy="285215"/>
            </a:xfrm>
            <a:custGeom>
              <a:avLst/>
              <a:gdLst>
                <a:gd name="connsiteX0" fmla="*/ 124821 w 189142"/>
                <a:gd name="connsiteY0" fmla="*/ 143236 h 285215"/>
                <a:gd name="connsiteX1" fmla="*/ 187869 w 189142"/>
                <a:gd name="connsiteY1" fmla="*/ 25848 h 285215"/>
                <a:gd name="connsiteX2" fmla="*/ 189070 w 189142"/>
                <a:gd name="connsiteY2" fmla="*/ 22545 h 285215"/>
                <a:gd name="connsiteX3" fmla="*/ 185767 w 189142"/>
                <a:gd name="connsiteY3" fmla="*/ 6633 h 285215"/>
                <a:gd name="connsiteX4" fmla="*/ 171657 w 189142"/>
                <a:gd name="connsiteY4" fmla="*/ 28 h 285215"/>
                <a:gd name="connsiteX5" fmla="*/ 153343 w 189142"/>
                <a:gd name="connsiteY5" fmla="*/ 28 h 285215"/>
                <a:gd name="connsiteX6" fmla="*/ 137131 w 189142"/>
                <a:gd name="connsiteY6" fmla="*/ 10536 h 285215"/>
                <a:gd name="connsiteX7" fmla="*/ 94799 w 189142"/>
                <a:gd name="connsiteY7" fmla="*/ 88895 h 285215"/>
                <a:gd name="connsiteX8" fmla="*/ 52767 w 189142"/>
                <a:gd name="connsiteY8" fmla="*/ 11137 h 285215"/>
                <a:gd name="connsiteX9" fmla="*/ 36254 w 189142"/>
                <a:gd name="connsiteY9" fmla="*/ 28 h 285215"/>
                <a:gd name="connsiteX10" fmla="*/ 18241 w 189142"/>
                <a:gd name="connsiteY10" fmla="*/ 28 h 285215"/>
                <a:gd name="connsiteX11" fmla="*/ 3830 w 189142"/>
                <a:gd name="connsiteY11" fmla="*/ 6033 h 285215"/>
                <a:gd name="connsiteX12" fmla="*/ 828 w 189142"/>
                <a:gd name="connsiteY12" fmla="*/ 22545 h 285215"/>
                <a:gd name="connsiteX13" fmla="*/ 2028 w 189142"/>
                <a:gd name="connsiteY13" fmla="*/ 25848 h 285215"/>
                <a:gd name="connsiteX14" fmla="*/ 65076 w 189142"/>
                <a:gd name="connsiteY14" fmla="*/ 143236 h 285215"/>
                <a:gd name="connsiteX15" fmla="*/ 2028 w 189142"/>
                <a:gd name="connsiteY15" fmla="*/ 259724 h 285215"/>
                <a:gd name="connsiteX16" fmla="*/ 1128 w 189142"/>
                <a:gd name="connsiteY16" fmla="*/ 262126 h 285215"/>
                <a:gd name="connsiteX17" fmla="*/ 3530 w 189142"/>
                <a:gd name="connsiteY17" fmla="*/ 278939 h 285215"/>
                <a:gd name="connsiteX18" fmla="*/ 18541 w 189142"/>
                <a:gd name="connsiteY18" fmla="*/ 286144 h 285215"/>
                <a:gd name="connsiteX19" fmla="*/ 37155 w 189142"/>
                <a:gd name="connsiteY19" fmla="*/ 286144 h 285215"/>
                <a:gd name="connsiteX20" fmla="*/ 53367 w 189142"/>
                <a:gd name="connsiteY20" fmla="*/ 275036 h 285215"/>
                <a:gd name="connsiteX21" fmla="*/ 94799 w 189142"/>
                <a:gd name="connsiteY21" fmla="*/ 197877 h 285215"/>
                <a:gd name="connsiteX22" fmla="*/ 136230 w 189142"/>
                <a:gd name="connsiteY22" fmla="*/ 274735 h 285215"/>
                <a:gd name="connsiteX23" fmla="*/ 152742 w 189142"/>
                <a:gd name="connsiteY23" fmla="*/ 285844 h 285215"/>
                <a:gd name="connsiteX24" fmla="*/ 171356 w 189142"/>
                <a:gd name="connsiteY24" fmla="*/ 285844 h 285215"/>
                <a:gd name="connsiteX25" fmla="*/ 186068 w 189142"/>
                <a:gd name="connsiteY25" fmla="*/ 278638 h 285215"/>
                <a:gd name="connsiteX26" fmla="*/ 188469 w 189142"/>
                <a:gd name="connsiteY26" fmla="*/ 261225 h 285215"/>
                <a:gd name="connsiteX27" fmla="*/ 124821 w 189142"/>
                <a:gd name="connsiteY27" fmla="*/ 143236 h 285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89142" h="285215">
                  <a:moveTo>
                    <a:pt x="124821" y="143236"/>
                  </a:moveTo>
                  <a:lnTo>
                    <a:pt x="187869" y="25848"/>
                  </a:lnTo>
                  <a:lnTo>
                    <a:pt x="189070" y="22545"/>
                  </a:lnTo>
                  <a:cubicBezTo>
                    <a:pt x="190571" y="16841"/>
                    <a:pt x="189370" y="11137"/>
                    <a:pt x="185767" y="6633"/>
                  </a:cubicBezTo>
                  <a:cubicBezTo>
                    <a:pt x="182465" y="2430"/>
                    <a:pt x="177061" y="-272"/>
                    <a:pt x="171657" y="28"/>
                  </a:cubicBezTo>
                  <a:lnTo>
                    <a:pt x="153343" y="28"/>
                  </a:lnTo>
                  <a:cubicBezTo>
                    <a:pt x="146137" y="-272"/>
                    <a:pt x="139833" y="3931"/>
                    <a:pt x="137131" y="10536"/>
                  </a:cubicBezTo>
                  <a:lnTo>
                    <a:pt x="94799" y="88895"/>
                  </a:lnTo>
                  <a:lnTo>
                    <a:pt x="52767" y="11137"/>
                  </a:lnTo>
                  <a:cubicBezTo>
                    <a:pt x="50065" y="4231"/>
                    <a:pt x="43460" y="28"/>
                    <a:pt x="36254" y="28"/>
                  </a:cubicBezTo>
                  <a:lnTo>
                    <a:pt x="18241" y="28"/>
                  </a:lnTo>
                  <a:cubicBezTo>
                    <a:pt x="12837" y="-272"/>
                    <a:pt x="7433" y="1830"/>
                    <a:pt x="3830" y="6033"/>
                  </a:cubicBezTo>
                  <a:cubicBezTo>
                    <a:pt x="227" y="10836"/>
                    <a:pt x="-974" y="16841"/>
                    <a:pt x="828" y="22545"/>
                  </a:cubicBezTo>
                  <a:lnTo>
                    <a:pt x="2028" y="25848"/>
                  </a:lnTo>
                  <a:lnTo>
                    <a:pt x="65076" y="143236"/>
                  </a:lnTo>
                  <a:lnTo>
                    <a:pt x="2028" y="259724"/>
                  </a:lnTo>
                  <a:lnTo>
                    <a:pt x="1128" y="262126"/>
                  </a:lnTo>
                  <a:cubicBezTo>
                    <a:pt x="-673" y="267830"/>
                    <a:pt x="227" y="274135"/>
                    <a:pt x="3530" y="278939"/>
                  </a:cubicBezTo>
                  <a:cubicBezTo>
                    <a:pt x="7132" y="283742"/>
                    <a:pt x="12536" y="286144"/>
                    <a:pt x="18541" y="286144"/>
                  </a:cubicBezTo>
                  <a:lnTo>
                    <a:pt x="37155" y="286144"/>
                  </a:lnTo>
                  <a:cubicBezTo>
                    <a:pt x="44361" y="286144"/>
                    <a:pt x="50665" y="281941"/>
                    <a:pt x="53367" y="275036"/>
                  </a:cubicBezTo>
                  <a:lnTo>
                    <a:pt x="94799" y="197877"/>
                  </a:lnTo>
                  <a:lnTo>
                    <a:pt x="136230" y="274735"/>
                  </a:lnTo>
                  <a:cubicBezTo>
                    <a:pt x="138932" y="281641"/>
                    <a:pt x="145537" y="285844"/>
                    <a:pt x="152742" y="285844"/>
                  </a:cubicBezTo>
                  <a:lnTo>
                    <a:pt x="171356" y="285844"/>
                  </a:lnTo>
                  <a:cubicBezTo>
                    <a:pt x="177061" y="286144"/>
                    <a:pt x="182765" y="283442"/>
                    <a:pt x="186068" y="278638"/>
                  </a:cubicBezTo>
                  <a:cubicBezTo>
                    <a:pt x="189670" y="273534"/>
                    <a:pt x="190571" y="267230"/>
                    <a:pt x="188469" y="261225"/>
                  </a:cubicBezTo>
                  <a:lnTo>
                    <a:pt x="124821" y="143236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17" name="Forme libre : forme 216">
              <a:extLst>
                <a:ext uri="{FF2B5EF4-FFF2-40B4-BE49-F238E27FC236}">
                  <a16:creationId xmlns:a16="http://schemas.microsoft.com/office/drawing/2014/main" id="{1BBBC77A-F437-4C7C-8E02-4997379CE2FA}"/>
                </a:ext>
              </a:extLst>
            </p:cNvPr>
            <p:cNvSpPr/>
            <p:nvPr/>
          </p:nvSpPr>
          <p:spPr>
            <a:xfrm>
              <a:off x="7191198" y="4369210"/>
              <a:ext cx="186141" cy="288217"/>
            </a:xfrm>
            <a:custGeom>
              <a:avLst/>
              <a:gdLst>
                <a:gd name="connsiteX0" fmla="*/ 186149 w 186140"/>
                <a:gd name="connsiteY0" fmla="*/ 264275 h 288217"/>
                <a:gd name="connsiteX1" fmla="*/ 136612 w 186140"/>
                <a:gd name="connsiteY1" fmla="*/ 167903 h 288217"/>
                <a:gd name="connsiteX2" fmla="*/ 154025 w 186140"/>
                <a:gd name="connsiteY2" fmla="*/ 154693 h 288217"/>
                <a:gd name="connsiteX3" fmla="*/ 177443 w 186140"/>
                <a:gd name="connsiteY3" fmla="*/ 97049 h 288217"/>
                <a:gd name="connsiteX4" fmla="*/ 177443 w 186140"/>
                <a:gd name="connsiteY4" fmla="*/ 82038 h 288217"/>
                <a:gd name="connsiteX5" fmla="*/ 154626 w 186140"/>
                <a:gd name="connsiteY5" fmla="*/ 23794 h 288217"/>
                <a:gd name="connsiteX6" fmla="*/ 98183 w 186140"/>
                <a:gd name="connsiteY6" fmla="*/ 76 h 288217"/>
                <a:gd name="connsiteX7" fmla="*/ 18923 w 186140"/>
                <a:gd name="connsiteY7" fmla="*/ 76 h 288217"/>
                <a:gd name="connsiteX8" fmla="*/ 9 w 186140"/>
                <a:gd name="connsiteY8" fmla="*/ 16288 h 288217"/>
                <a:gd name="connsiteX9" fmla="*/ 9 w 186140"/>
                <a:gd name="connsiteY9" fmla="*/ 19290 h 288217"/>
                <a:gd name="connsiteX10" fmla="*/ 9 w 186140"/>
                <a:gd name="connsiteY10" fmla="*/ 271781 h 288217"/>
                <a:gd name="connsiteX11" fmla="*/ 16821 w 186140"/>
                <a:gd name="connsiteY11" fmla="*/ 290395 h 288217"/>
                <a:gd name="connsiteX12" fmla="*/ 18022 w 186140"/>
                <a:gd name="connsiteY12" fmla="*/ 290395 h 288217"/>
                <a:gd name="connsiteX13" fmla="*/ 36036 w 186140"/>
                <a:gd name="connsiteY13" fmla="*/ 290395 h 288217"/>
                <a:gd name="connsiteX14" fmla="*/ 54050 w 186140"/>
                <a:gd name="connsiteY14" fmla="*/ 272381 h 288217"/>
                <a:gd name="connsiteX15" fmla="*/ 54050 w 186140"/>
                <a:gd name="connsiteY15" fmla="*/ 271781 h 288217"/>
                <a:gd name="connsiteX16" fmla="*/ 54050 w 186140"/>
                <a:gd name="connsiteY16" fmla="*/ 178410 h 288217"/>
                <a:gd name="connsiteX17" fmla="*/ 83171 w 186140"/>
                <a:gd name="connsiteY17" fmla="*/ 178410 h 288217"/>
                <a:gd name="connsiteX18" fmla="*/ 133910 w 186140"/>
                <a:gd name="connsiteY18" fmla="*/ 278086 h 288217"/>
                <a:gd name="connsiteX19" fmla="*/ 150422 w 186140"/>
                <a:gd name="connsiteY19" fmla="*/ 289494 h 288217"/>
                <a:gd name="connsiteX20" fmla="*/ 169036 w 186140"/>
                <a:gd name="connsiteY20" fmla="*/ 289494 h 288217"/>
                <a:gd name="connsiteX21" fmla="*/ 183747 w 186140"/>
                <a:gd name="connsiteY21" fmla="*/ 282289 h 288217"/>
                <a:gd name="connsiteX22" fmla="*/ 186149 w 186140"/>
                <a:gd name="connsiteY22" fmla="*/ 265176 h 288217"/>
                <a:gd name="connsiteX23" fmla="*/ 186149 w 186140"/>
                <a:gd name="connsiteY23" fmla="*/ 265176 h 288217"/>
                <a:gd name="connsiteX24" fmla="*/ 123402 w 186140"/>
                <a:gd name="connsiteY24" fmla="*/ 83539 h 288217"/>
                <a:gd name="connsiteX25" fmla="*/ 123402 w 186140"/>
                <a:gd name="connsiteY25" fmla="*/ 97950 h 288217"/>
                <a:gd name="connsiteX26" fmla="*/ 97582 w 186140"/>
                <a:gd name="connsiteY26" fmla="*/ 124370 h 288217"/>
                <a:gd name="connsiteX27" fmla="*/ 54050 w 186140"/>
                <a:gd name="connsiteY27" fmla="*/ 124370 h 288217"/>
                <a:gd name="connsiteX28" fmla="*/ 54050 w 186140"/>
                <a:gd name="connsiteY28" fmla="*/ 56218 h 288217"/>
                <a:gd name="connsiteX29" fmla="*/ 97582 w 186140"/>
                <a:gd name="connsiteY29" fmla="*/ 56218 h 288217"/>
                <a:gd name="connsiteX30" fmla="*/ 115296 w 186140"/>
                <a:gd name="connsiteY30" fmla="*/ 63424 h 288217"/>
                <a:gd name="connsiteX31" fmla="*/ 123102 w 186140"/>
                <a:gd name="connsiteY31" fmla="*/ 82338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86140" h="288217">
                  <a:moveTo>
                    <a:pt x="186149" y="264275"/>
                  </a:moveTo>
                  <a:lnTo>
                    <a:pt x="136612" y="167903"/>
                  </a:lnTo>
                  <a:cubicBezTo>
                    <a:pt x="142917" y="164300"/>
                    <a:pt x="148621" y="159796"/>
                    <a:pt x="154025" y="154693"/>
                  </a:cubicBezTo>
                  <a:cubicBezTo>
                    <a:pt x="169337" y="139681"/>
                    <a:pt x="177743" y="118665"/>
                    <a:pt x="177443" y="97049"/>
                  </a:cubicBezTo>
                  <a:lnTo>
                    <a:pt x="177443" y="82038"/>
                  </a:lnTo>
                  <a:cubicBezTo>
                    <a:pt x="178043" y="60422"/>
                    <a:pt x="169637" y="39105"/>
                    <a:pt x="154626" y="23794"/>
                  </a:cubicBezTo>
                  <a:cubicBezTo>
                    <a:pt x="139914" y="8182"/>
                    <a:pt x="119499" y="-224"/>
                    <a:pt x="98183" y="76"/>
                  </a:cubicBezTo>
                  <a:lnTo>
                    <a:pt x="18923" y="76"/>
                  </a:lnTo>
                  <a:cubicBezTo>
                    <a:pt x="9316" y="-825"/>
                    <a:pt x="909" y="6381"/>
                    <a:pt x="9" y="16288"/>
                  </a:cubicBezTo>
                  <a:cubicBezTo>
                    <a:pt x="9" y="17189"/>
                    <a:pt x="9" y="18390"/>
                    <a:pt x="9" y="19290"/>
                  </a:cubicBezTo>
                  <a:lnTo>
                    <a:pt x="9" y="271781"/>
                  </a:lnTo>
                  <a:cubicBezTo>
                    <a:pt x="-292" y="281688"/>
                    <a:pt x="7214" y="290095"/>
                    <a:pt x="16821" y="290395"/>
                  </a:cubicBezTo>
                  <a:cubicBezTo>
                    <a:pt x="17122" y="290395"/>
                    <a:pt x="17722" y="290395"/>
                    <a:pt x="18022" y="290395"/>
                  </a:cubicBezTo>
                  <a:lnTo>
                    <a:pt x="36036" y="290395"/>
                  </a:lnTo>
                  <a:cubicBezTo>
                    <a:pt x="45943" y="290395"/>
                    <a:pt x="54050" y="282589"/>
                    <a:pt x="54050" y="272381"/>
                  </a:cubicBezTo>
                  <a:cubicBezTo>
                    <a:pt x="54050" y="272081"/>
                    <a:pt x="54050" y="272081"/>
                    <a:pt x="54050" y="271781"/>
                  </a:cubicBezTo>
                  <a:lnTo>
                    <a:pt x="54050" y="178410"/>
                  </a:lnTo>
                  <a:lnTo>
                    <a:pt x="83171" y="178410"/>
                  </a:lnTo>
                  <a:lnTo>
                    <a:pt x="133910" y="278086"/>
                  </a:lnTo>
                  <a:cubicBezTo>
                    <a:pt x="136612" y="284991"/>
                    <a:pt x="143217" y="289494"/>
                    <a:pt x="150422" y="289494"/>
                  </a:cubicBezTo>
                  <a:lnTo>
                    <a:pt x="169036" y="289494"/>
                  </a:lnTo>
                  <a:cubicBezTo>
                    <a:pt x="174741" y="289795"/>
                    <a:pt x="180445" y="287092"/>
                    <a:pt x="183747" y="282289"/>
                  </a:cubicBezTo>
                  <a:cubicBezTo>
                    <a:pt x="187350" y="277185"/>
                    <a:pt x="188251" y="270880"/>
                    <a:pt x="186149" y="265176"/>
                  </a:cubicBezTo>
                  <a:lnTo>
                    <a:pt x="186149" y="265176"/>
                  </a:lnTo>
                  <a:moveTo>
                    <a:pt x="123402" y="83539"/>
                  </a:moveTo>
                  <a:lnTo>
                    <a:pt x="123402" y="97950"/>
                  </a:lnTo>
                  <a:cubicBezTo>
                    <a:pt x="123402" y="112361"/>
                    <a:pt x="111693" y="124370"/>
                    <a:pt x="97582" y="124370"/>
                  </a:cubicBezTo>
                  <a:lnTo>
                    <a:pt x="54050" y="124370"/>
                  </a:lnTo>
                  <a:lnTo>
                    <a:pt x="54050" y="56218"/>
                  </a:lnTo>
                  <a:lnTo>
                    <a:pt x="97582" y="56218"/>
                  </a:lnTo>
                  <a:cubicBezTo>
                    <a:pt x="104187" y="55918"/>
                    <a:pt x="110492" y="58620"/>
                    <a:pt x="115296" y="63424"/>
                  </a:cubicBezTo>
                  <a:cubicBezTo>
                    <a:pt x="120400" y="68227"/>
                    <a:pt x="123402" y="75133"/>
                    <a:pt x="123102" y="82338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18" name="Forme libre : forme 217">
              <a:extLst>
                <a:ext uri="{FF2B5EF4-FFF2-40B4-BE49-F238E27FC236}">
                  <a16:creationId xmlns:a16="http://schemas.microsoft.com/office/drawing/2014/main" id="{3F1EC6FE-FFB0-464B-9BD6-8962B8DD5036}"/>
                </a:ext>
              </a:extLst>
            </p:cNvPr>
            <p:cNvSpPr/>
            <p:nvPr/>
          </p:nvSpPr>
          <p:spPr>
            <a:xfrm>
              <a:off x="6485374" y="4373489"/>
              <a:ext cx="60045" cy="120091"/>
            </a:xfrm>
            <a:custGeom>
              <a:avLst/>
              <a:gdLst>
                <a:gd name="connsiteX0" fmla="*/ 60045 w 60045"/>
                <a:gd name="connsiteY0" fmla="*/ 120391 h 120090"/>
                <a:gd name="connsiteX1" fmla="*/ 54641 w 60045"/>
                <a:gd name="connsiteY1" fmla="*/ 120391 h 120090"/>
                <a:gd name="connsiteX2" fmla="*/ 52840 w 60045"/>
                <a:gd name="connsiteY2" fmla="*/ 118589 h 120090"/>
                <a:gd name="connsiteX3" fmla="*/ 52840 w 60045"/>
                <a:gd name="connsiteY3" fmla="*/ 117088 h 120090"/>
                <a:gd name="connsiteX4" fmla="*/ 51039 w 60045"/>
                <a:gd name="connsiteY4" fmla="*/ 115287 h 120090"/>
                <a:gd name="connsiteX5" fmla="*/ 50138 w 60045"/>
                <a:gd name="connsiteY5" fmla="*/ 115287 h 120090"/>
                <a:gd name="connsiteX6" fmla="*/ 6605 w 60045"/>
                <a:gd name="connsiteY6" fmla="*/ 109583 h 120090"/>
                <a:gd name="connsiteX7" fmla="*/ 0 w 60045"/>
                <a:gd name="connsiteY7" fmla="*/ 90368 h 120090"/>
                <a:gd name="connsiteX8" fmla="*/ 0 w 60045"/>
                <a:gd name="connsiteY8" fmla="*/ 64549 h 120090"/>
                <a:gd name="connsiteX9" fmla="*/ 9007 w 60045"/>
                <a:gd name="connsiteY9" fmla="*/ 43233 h 120090"/>
                <a:gd name="connsiteX10" fmla="*/ 30923 w 60045"/>
                <a:gd name="connsiteY10" fmla="*/ 33926 h 120090"/>
                <a:gd name="connsiteX11" fmla="*/ 47136 w 60045"/>
                <a:gd name="connsiteY11" fmla="*/ 38729 h 120090"/>
                <a:gd name="connsiteX12" fmla="*/ 48336 w 60045"/>
                <a:gd name="connsiteY12" fmla="*/ 38729 h 120090"/>
                <a:gd name="connsiteX13" fmla="*/ 49838 w 60045"/>
                <a:gd name="connsiteY13" fmla="*/ 37228 h 120090"/>
                <a:gd name="connsiteX14" fmla="*/ 49838 w 60045"/>
                <a:gd name="connsiteY14" fmla="*/ 1801 h 120090"/>
                <a:gd name="connsiteX15" fmla="*/ 51039 w 60045"/>
                <a:gd name="connsiteY15" fmla="*/ 0 h 120090"/>
                <a:gd name="connsiteX16" fmla="*/ 51639 w 60045"/>
                <a:gd name="connsiteY16" fmla="*/ 0 h 120090"/>
                <a:gd name="connsiteX17" fmla="*/ 60045 w 60045"/>
                <a:gd name="connsiteY17" fmla="*/ 0 h 120090"/>
                <a:gd name="connsiteX18" fmla="*/ 61546 w 60045"/>
                <a:gd name="connsiteY18" fmla="*/ 1801 h 120090"/>
                <a:gd name="connsiteX19" fmla="*/ 61546 w 60045"/>
                <a:gd name="connsiteY19" fmla="*/ 118589 h 120090"/>
                <a:gd name="connsiteX20" fmla="*/ 60045 w 60045"/>
                <a:gd name="connsiteY20" fmla="*/ 120391 h 120090"/>
                <a:gd name="connsiteX21" fmla="*/ 49838 w 60045"/>
                <a:gd name="connsiteY21" fmla="*/ 65449 h 120090"/>
                <a:gd name="connsiteX22" fmla="*/ 44133 w 60045"/>
                <a:gd name="connsiteY22" fmla="*/ 51639 h 120090"/>
                <a:gd name="connsiteX23" fmla="*/ 17113 w 60045"/>
                <a:gd name="connsiteY23" fmla="*/ 51639 h 120090"/>
                <a:gd name="connsiteX24" fmla="*/ 11409 w 60045"/>
                <a:gd name="connsiteY24" fmla="*/ 65449 h 120090"/>
                <a:gd name="connsiteX25" fmla="*/ 11409 w 60045"/>
                <a:gd name="connsiteY25" fmla="*/ 91269 h 120090"/>
                <a:gd name="connsiteX26" fmla="*/ 16813 w 60045"/>
                <a:gd name="connsiteY26" fmla="*/ 105379 h 120090"/>
                <a:gd name="connsiteX27" fmla="*/ 30623 w 60045"/>
                <a:gd name="connsiteY27" fmla="*/ 111084 h 120090"/>
                <a:gd name="connsiteX28" fmla="*/ 44133 w 60045"/>
                <a:gd name="connsiteY28" fmla="*/ 105379 h 120090"/>
                <a:gd name="connsiteX29" fmla="*/ 49838 w 60045"/>
                <a:gd name="connsiteY29" fmla="*/ 91269 h 120090"/>
                <a:gd name="connsiteX30" fmla="*/ 49838 w 60045"/>
                <a:gd name="connsiteY30" fmla="*/ 65449 h 120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60045" h="120090">
                  <a:moveTo>
                    <a:pt x="60045" y="120391"/>
                  </a:moveTo>
                  <a:lnTo>
                    <a:pt x="54641" y="120391"/>
                  </a:lnTo>
                  <a:cubicBezTo>
                    <a:pt x="53440" y="120391"/>
                    <a:pt x="52840" y="119490"/>
                    <a:pt x="52840" y="118589"/>
                  </a:cubicBezTo>
                  <a:lnTo>
                    <a:pt x="52840" y="117088"/>
                  </a:lnTo>
                  <a:cubicBezTo>
                    <a:pt x="52840" y="115587"/>
                    <a:pt x="52239" y="115287"/>
                    <a:pt x="51039" y="115287"/>
                  </a:cubicBezTo>
                  <a:cubicBezTo>
                    <a:pt x="49838" y="115287"/>
                    <a:pt x="50138" y="115287"/>
                    <a:pt x="50138" y="115287"/>
                  </a:cubicBezTo>
                  <a:cubicBezTo>
                    <a:pt x="36628" y="126095"/>
                    <a:pt x="17113" y="123693"/>
                    <a:pt x="6605" y="109583"/>
                  </a:cubicBezTo>
                  <a:cubicBezTo>
                    <a:pt x="2402" y="104179"/>
                    <a:pt x="0" y="97273"/>
                    <a:pt x="0" y="90368"/>
                  </a:cubicBezTo>
                  <a:lnTo>
                    <a:pt x="0" y="64549"/>
                  </a:lnTo>
                  <a:cubicBezTo>
                    <a:pt x="0" y="56443"/>
                    <a:pt x="3302" y="48937"/>
                    <a:pt x="9007" y="43233"/>
                  </a:cubicBezTo>
                  <a:cubicBezTo>
                    <a:pt x="14711" y="36928"/>
                    <a:pt x="22517" y="33625"/>
                    <a:pt x="30923" y="33926"/>
                  </a:cubicBezTo>
                  <a:cubicBezTo>
                    <a:pt x="36628" y="33926"/>
                    <a:pt x="42332" y="35427"/>
                    <a:pt x="47136" y="38729"/>
                  </a:cubicBezTo>
                  <a:lnTo>
                    <a:pt x="48336" y="38729"/>
                  </a:lnTo>
                  <a:cubicBezTo>
                    <a:pt x="49537" y="38729"/>
                    <a:pt x="49838" y="38729"/>
                    <a:pt x="49838" y="37228"/>
                  </a:cubicBezTo>
                  <a:lnTo>
                    <a:pt x="49838" y="1801"/>
                  </a:lnTo>
                  <a:cubicBezTo>
                    <a:pt x="49537" y="901"/>
                    <a:pt x="50138" y="300"/>
                    <a:pt x="51039" y="0"/>
                  </a:cubicBezTo>
                  <a:cubicBezTo>
                    <a:pt x="51339" y="0"/>
                    <a:pt x="51339" y="0"/>
                    <a:pt x="51639" y="0"/>
                  </a:cubicBezTo>
                  <a:lnTo>
                    <a:pt x="60045" y="0"/>
                  </a:lnTo>
                  <a:cubicBezTo>
                    <a:pt x="61246" y="0"/>
                    <a:pt x="61546" y="0"/>
                    <a:pt x="61546" y="1801"/>
                  </a:cubicBezTo>
                  <a:lnTo>
                    <a:pt x="61546" y="118589"/>
                  </a:lnTo>
                  <a:cubicBezTo>
                    <a:pt x="61546" y="119790"/>
                    <a:pt x="61546" y="120691"/>
                    <a:pt x="60045" y="120391"/>
                  </a:cubicBezTo>
                  <a:moveTo>
                    <a:pt x="49838" y="65449"/>
                  </a:moveTo>
                  <a:cubicBezTo>
                    <a:pt x="50138" y="60346"/>
                    <a:pt x="48036" y="55242"/>
                    <a:pt x="44133" y="51639"/>
                  </a:cubicBezTo>
                  <a:cubicBezTo>
                    <a:pt x="36628" y="43833"/>
                    <a:pt x="24619" y="44133"/>
                    <a:pt x="17113" y="51639"/>
                  </a:cubicBezTo>
                  <a:cubicBezTo>
                    <a:pt x="13510" y="55242"/>
                    <a:pt x="11409" y="60346"/>
                    <a:pt x="11409" y="65449"/>
                  </a:cubicBezTo>
                  <a:lnTo>
                    <a:pt x="11409" y="91269"/>
                  </a:lnTo>
                  <a:cubicBezTo>
                    <a:pt x="11409" y="96673"/>
                    <a:pt x="13210" y="101777"/>
                    <a:pt x="16813" y="105379"/>
                  </a:cubicBezTo>
                  <a:cubicBezTo>
                    <a:pt x="20415" y="109282"/>
                    <a:pt x="25219" y="111084"/>
                    <a:pt x="30623" y="111084"/>
                  </a:cubicBezTo>
                  <a:cubicBezTo>
                    <a:pt x="35727" y="111084"/>
                    <a:pt x="40531" y="108982"/>
                    <a:pt x="44133" y="105379"/>
                  </a:cubicBezTo>
                  <a:cubicBezTo>
                    <a:pt x="47736" y="101777"/>
                    <a:pt x="49838" y="96673"/>
                    <a:pt x="49838" y="91269"/>
                  </a:cubicBezTo>
                  <a:lnTo>
                    <a:pt x="49838" y="65449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19" name="Forme libre : forme 218">
              <a:extLst>
                <a:ext uri="{FF2B5EF4-FFF2-40B4-BE49-F238E27FC236}">
                  <a16:creationId xmlns:a16="http://schemas.microsoft.com/office/drawing/2014/main" id="{C68CE9AA-6FB7-44DB-BE11-BD8AF474D231}"/>
                </a:ext>
              </a:extLst>
            </p:cNvPr>
            <p:cNvSpPr/>
            <p:nvPr/>
          </p:nvSpPr>
          <p:spPr>
            <a:xfrm>
              <a:off x="6570319" y="4403924"/>
              <a:ext cx="57043" cy="93070"/>
            </a:xfrm>
            <a:custGeom>
              <a:avLst/>
              <a:gdLst>
                <a:gd name="connsiteX0" fmla="*/ 56762 w 57043"/>
                <a:gd name="connsiteY0" fmla="*/ 52728 h 93070"/>
                <a:gd name="connsiteX1" fmla="*/ 12929 w 57043"/>
                <a:gd name="connsiteY1" fmla="*/ 52728 h 93070"/>
                <a:gd name="connsiteX2" fmla="*/ 11127 w 57043"/>
                <a:gd name="connsiteY2" fmla="*/ 54229 h 93070"/>
                <a:gd name="connsiteX3" fmla="*/ 11127 w 57043"/>
                <a:gd name="connsiteY3" fmla="*/ 54529 h 93070"/>
                <a:gd name="connsiteX4" fmla="*/ 11127 w 57043"/>
                <a:gd name="connsiteY4" fmla="*/ 59933 h 93070"/>
                <a:gd name="connsiteX5" fmla="*/ 16832 w 57043"/>
                <a:gd name="connsiteY5" fmla="*/ 74644 h 93070"/>
                <a:gd name="connsiteX6" fmla="*/ 30642 w 57043"/>
                <a:gd name="connsiteY6" fmla="*/ 80949 h 93070"/>
                <a:gd name="connsiteX7" fmla="*/ 48956 w 57043"/>
                <a:gd name="connsiteY7" fmla="*/ 74644 h 93070"/>
                <a:gd name="connsiteX8" fmla="*/ 51057 w 57043"/>
                <a:gd name="connsiteY8" fmla="*/ 74644 h 93070"/>
                <a:gd name="connsiteX9" fmla="*/ 51057 w 57043"/>
                <a:gd name="connsiteY9" fmla="*/ 74644 h 93070"/>
                <a:gd name="connsiteX10" fmla="*/ 55861 w 57043"/>
                <a:gd name="connsiteY10" fmla="*/ 82150 h 93070"/>
                <a:gd name="connsiteX11" fmla="*/ 56161 w 57043"/>
                <a:gd name="connsiteY11" fmla="*/ 84552 h 93070"/>
                <a:gd name="connsiteX12" fmla="*/ 55861 w 57043"/>
                <a:gd name="connsiteY12" fmla="*/ 84852 h 93070"/>
                <a:gd name="connsiteX13" fmla="*/ 30942 w 57043"/>
                <a:gd name="connsiteY13" fmla="*/ 93558 h 93070"/>
                <a:gd name="connsiteX14" fmla="*/ 9026 w 57043"/>
                <a:gd name="connsiteY14" fmla="*/ 83651 h 93070"/>
                <a:gd name="connsiteX15" fmla="*/ 19 w 57043"/>
                <a:gd name="connsiteY15" fmla="*/ 59633 h 93070"/>
                <a:gd name="connsiteX16" fmla="*/ 19 w 57043"/>
                <a:gd name="connsiteY16" fmla="*/ 32012 h 93070"/>
                <a:gd name="connsiteX17" fmla="*/ 8725 w 57043"/>
                <a:gd name="connsiteY17" fmla="*/ 9195 h 93070"/>
                <a:gd name="connsiteX18" fmla="*/ 50457 w 57043"/>
                <a:gd name="connsiteY18" fmla="*/ 9495 h 93070"/>
                <a:gd name="connsiteX19" fmla="*/ 58863 w 57043"/>
                <a:gd name="connsiteY19" fmla="*/ 32012 h 93070"/>
                <a:gd name="connsiteX20" fmla="*/ 58863 w 57043"/>
                <a:gd name="connsiteY20" fmla="*/ 50626 h 93070"/>
                <a:gd name="connsiteX21" fmla="*/ 56762 w 57043"/>
                <a:gd name="connsiteY21" fmla="*/ 52728 h 93070"/>
                <a:gd name="connsiteX22" fmla="*/ 46854 w 57043"/>
                <a:gd name="connsiteY22" fmla="*/ 32312 h 93070"/>
                <a:gd name="connsiteX23" fmla="*/ 41750 w 57043"/>
                <a:gd name="connsiteY23" fmla="*/ 18802 h 93070"/>
                <a:gd name="connsiteX24" fmla="*/ 29141 w 57043"/>
                <a:gd name="connsiteY24" fmla="*/ 13398 h 93070"/>
                <a:gd name="connsiteX25" fmla="*/ 16531 w 57043"/>
                <a:gd name="connsiteY25" fmla="*/ 18802 h 93070"/>
                <a:gd name="connsiteX26" fmla="*/ 11127 w 57043"/>
                <a:gd name="connsiteY26" fmla="*/ 32312 h 93070"/>
                <a:gd name="connsiteX27" fmla="*/ 11127 w 57043"/>
                <a:gd name="connsiteY27" fmla="*/ 38017 h 93070"/>
                <a:gd name="connsiteX28" fmla="*/ 12328 w 57043"/>
                <a:gd name="connsiteY28" fmla="*/ 40118 h 93070"/>
                <a:gd name="connsiteX29" fmla="*/ 12628 w 57043"/>
                <a:gd name="connsiteY29" fmla="*/ 40118 h 93070"/>
                <a:gd name="connsiteX30" fmla="*/ 44452 w 57043"/>
                <a:gd name="connsiteY30" fmla="*/ 40118 h 93070"/>
                <a:gd name="connsiteX31" fmla="*/ 45954 w 57043"/>
                <a:gd name="connsiteY31" fmla="*/ 38017 h 93070"/>
                <a:gd name="connsiteX32" fmla="*/ 46854 w 57043"/>
                <a:gd name="connsiteY32" fmla="*/ 32312 h 93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57043" h="93070">
                  <a:moveTo>
                    <a:pt x="56762" y="52728"/>
                  </a:moveTo>
                  <a:lnTo>
                    <a:pt x="12929" y="52728"/>
                  </a:lnTo>
                  <a:cubicBezTo>
                    <a:pt x="12028" y="52728"/>
                    <a:pt x="11127" y="53328"/>
                    <a:pt x="11127" y="54229"/>
                  </a:cubicBezTo>
                  <a:cubicBezTo>
                    <a:pt x="11127" y="54229"/>
                    <a:pt x="11127" y="54529"/>
                    <a:pt x="11127" y="54529"/>
                  </a:cubicBezTo>
                  <a:lnTo>
                    <a:pt x="11127" y="59933"/>
                  </a:lnTo>
                  <a:cubicBezTo>
                    <a:pt x="11127" y="65637"/>
                    <a:pt x="13229" y="70741"/>
                    <a:pt x="16832" y="74644"/>
                  </a:cubicBezTo>
                  <a:cubicBezTo>
                    <a:pt x="20434" y="78547"/>
                    <a:pt x="25238" y="80949"/>
                    <a:pt x="30642" y="80949"/>
                  </a:cubicBezTo>
                  <a:cubicBezTo>
                    <a:pt x="37247" y="80949"/>
                    <a:pt x="43552" y="78847"/>
                    <a:pt x="48956" y="74644"/>
                  </a:cubicBezTo>
                  <a:cubicBezTo>
                    <a:pt x="49556" y="74044"/>
                    <a:pt x="50457" y="74044"/>
                    <a:pt x="51057" y="74644"/>
                  </a:cubicBezTo>
                  <a:cubicBezTo>
                    <a:pt x="51057" y="74644"/>
                    <a:pt x="51057" y="74644"/>
                    <a:pt x="51057" y="74644"/>
                  </a:cubicBezTo>
                  <a:lnTo>
                    <a:pt x="55861" y="82150"/>
                  </a:lnTo>
                  <a:cubicBezTo>
                    <a:pt x="56461" y="82750"/>
                    <a:pt x="56762" y="83651"/>
                    <a:pt x="56161" y="84552"/>
                  </a:cubicBezTo>
                  <a:cubicBezTo>
                    <a:pt x="56161" y="84552"/>
                    <a:pt x="55861" y="84852"/>
                    <a:pt x="55861" y="84852"/>
                  </a:cubicBezTo>
                  <a:cubicBezTo>
                    <a:pt x="48656" y="90556"/>
                    <a:pt x="39949" y="93558"/>
                    <a:pt x="30942" y="93558"/>
                  </a:cubicBezTo>
                  <a:cubicBezTo>
                    <a:pt x="22836" y="93558"/>
                    <a:pt x="14730" y="89956"/>
                    <a:pt x="9026" y="83651"/>
                  </a:cubicBezTo>
                  <a:cubicBezTo>
                    <a:pt x="3021" y="77346"/>
                    <a:pt x="-281" y="68640"/>
                    <a:pt x="19" y="59633"/>
                  </a:cubicBezTo>
                  <a:lnTo>
                    <a:pt x="19" y="32012"/>
                  </a:lnTo>
                  <a:cubicBezTo>
                    <a:pt x="19" y="23606"/>
                    <a:pt x="3021" y="15199"/>
                    <a:pt x="8725" y="9195"/>
                  </a:cubicBezTo>
                  <a:cubicBezTo>
                    <a:pt x="20434" y="-3115"/>
                    <a:pt x="39048" y="-3115"/>
                    <a:pt x="50457" y="9495"/>
                  </a:cubicBezTo>
                  <a:cubicBezTo>
                    <a:pt x="55861" y="15500"/>
                    <a:pt x="58863" y="23606"/>
                    <a:pt x="58863" y="32012"/>
                  </a:cubicBezTo>
                  <a:lnTo>
                    <a:pt x="58863" y="50626"/>
                  </a:lnTo>
                  <a:cubicBezTo>
                    <a:pt x="58863" y="52127"/>
                    <a:pt x="58863" y="52728"/>
                    <a:pt x="56762" y="52728"/>
                  </a:cubicBezTo>
                  <a:moveTo>
                    <a:pt x="46854" y="32312"/>
                  </a:moveTo>
                  <a:cubicBezTo>
                    <a:pt x="46854" y="27208"/>
                    <a:pt x="45053" y="22405"/>
                    <a:pt x="41750" y="18802"/>
                  </a:cubicBezTo>
                  <a:cubicBezTo>
                    <a:pt x="38448" y="15199"/>
                    <a:pt x="33944" y="13098"/>
                    <a:pt x="29141" y="13398"/>
                  </a:cubicBezTo>
                  <a:cubicBezTo>
                    <a:pt x="24337" y="13098"/>
                    <a:pt x="19834" y="15199"/>
                    <a:pt x="16531" y="18802"/>
                  </a:cubicBezTo>
                  <a:cubicBezTo>
                    <a:pt x="12929" y="22405"/>
                    <a:pt x="11127" y="27208"/>
                    <a:pt x="11127" y="32312"/>
                  </a:cubicBezTo>
                  <a:lnTo>
                    <a:pt x="11127" y="38017"/>
                  </a:lnTo>
                  <a:cubicBezTo>
                    <a:pt x="11127" y="38917"/>
                    <a:pt x="11728" y="39818"/>
                    <a:pt x="12328" y="40118"/>
                  </a:cubicBezTo>
                  <a:cubicBezTo>
                    <a:pt x="12328" y="40118"/>
                    <a:pt x="12628" y="40118"/>
                    <a:pt x="12628" y="40118"/>
                  </a:cubicBezTo>
                  <a:lnTo>
                    <a:pt x="44452" y="40118"/>
                  </a:lnTo>
                  <a:cubicBezTo>
                    <a:pt x="45653" y="40118"/>
                    <a:pt x="45954" y="39217"/>
                    <a:pt x="45954" y="38017"/>
                  </a:cubicBezTo>
                  <a:lnTo>
                    <a:pt x="46854" y="32312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20" name="Forme libre : forme 219">
              <a:extLst>
                <a:ext uri="{FF2B5EF4-FFF2-40B4-BE49-F238E27FC236}">
                  <a16:creationId xmlns:a16="http://schemas.microsoft.com/office/drawing/2014/main" id="{E6D00E63-D41E-4543-A013-A2A8C6E88E13}"/>
                </a:ext>
              </a:extLst>
            </p:cNvPr>
            <p:cNvSpPr/>
            <p:nvPr/>
          </p:nvSpPr>
          <p:spPr>
            <a:xfrm>
              <a:off x="5951546" y="4012317"/>
              <a:ext cx="195147" cy="288217"/>
            </a:xfrm>
            <a:custGeom>
              <a:avLst/>
              <a:gdLst>
                <a:gd name="connsiteX0" fmla="*/ 190368 w 195147"/>
                <a:gd name="connsiteY0" fmla="*/ 0 h 288217"/>
                <a:gd name="connsiteX1" fmla="*/ 161847 w 195147"/>
                <a:gd name="connsiteY1" fmla="*/ 0 h 288217"/>
                <a:gd name="connsiteX2" fmla="*/ 156443 w 195147"/>
                <a:gd name="connsiteY2" fmla="*/ 5404 h 288217"/>
                <a:gd name="connsiteX3" fmla="*/ 156443 w 195147"/>
                <a:gd name="connsiteY3" fmla="*/ 190344 h 288217"/>
                <a:gd name="connsiteX4" fmla="*/ 138729 w 195147"/>
                <a:gd name="connsiteY4" fmla="*/ 231775 h 288217"/>
                <a:gd name="connsiteX5" fmla="*/ 98199 w 195147"/>
                <a:gd name="connsiteY5" fmla="*/ 248888 h 288217"/>
                <a:gd name="connsiteX6" fmla="*/ 57067 w 195147"/>
                <a:gd name="connsiteY6" fmla="*/ 231775 h 288217"/>
                <a:gd name="connsiteX7" fmla="*/ 39955 w 195147"/>
                <a:gd name="connsiteY7" fmla="*/ 190344 h 288217"/>
                <a:gd name="connsiteX8" fmla="*/ 39955 w 195147"/>
                <a:gd name="connsiteY8" fmla="*/ 131499 h 288217"/>
                <a:gd name="connsiteX9" fmla="*/ 24 w 195147"/>
                <a:gd name="connsiteY9" fmla="*/ 147711 h 288217"/>
                <a:gd name="connsiteX10" fmla="*/ 24 w 195147"/>
                <a:gd name="connsiteY10" fmla="*/ 190644 h 288217"/>
                <a:gd name="connsiteX11" fmla="*/ 28546 w 195147"/>
                <a:gd name="connsiteY11" fmla="*/ 260597 h 288217"/>
                <a:gd name="connsiteX12" fmla="*/ 98199 w 195147"/>
                <a:gd name="connsiteY12" fmla="*/ 290019 h 288217"/>
                <a:gd name="connsiteX13" fmla="*/ 167251 w 195147"/>
                <a:gd name="connsiteY13" fmla="*/ 260296 h 288217"/>
                <a:gd name="connsiteX14" fmla="*/ 196373 w 195147"/>
                <a:gd name="connsiteY14" fmla="*/ 190344 h 288217"/>
                <a:gd name="connsiteX15" fmla="*/ 196373 w 195147"/>
                <a:gd name="connsiteY15" fmla="*/ 5404 h 288217"/>
                <a:gd name="connsiteX16" fmla="*/ 190368 w 195147"/>
                <a:gd name="connsiteY16" fmla="*/ 0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147" h="288217">
                  <a:moveTo>
                    <a:pt x="190368" y="0"/>
                  </a:moveTo>
                  <a:lnTo>
                    <a:pt x="161847" y="0"/>
                  </a:lnTo>
                  <a:cubicBezTo>
                    <a:pt x="157944" y="0"/>
                    <a:pt x="156443" y="1501"/>
                    <a:pt x="156443" y="5404"/>
                  </a:cubicBezTo>
                  <a:lnTo>
                    <a:pt x="156443" y="190344"/>
                  </a:lnTo>
                  <a:cubicBezTo>
                    <a:pt x="156443" y="205955"/>
                    <a:pt x="150138" y="220967"/>
                    <a:pt x="138729" y="231775"/>
                  </a:cubicBezTo>
                  <a:cubicBezTo>
                    <a:pt x="128221" y="243183"/>
                    <a:pt x="113510" y="249188"/>
                    <a:pt x="98199" y="248888"/>
                  </a:cubicBezTo>
                  <a:cubicBezTo>
                    <a:pt x="82587" y="249188"/>
                    <a:pt x="67575" y="243183"/>
                    <a:pt x="57067" y="231775"/>
                  </a:cubicBezTo>
                  <a:cubicBezTo>
                    <a:pt x="45959" y="220967"/>
                    <a:pt x="39654" y="205955"/>
                    <a:pt x="39955" y="190344"/>
                  </a:cubicBezTo>
                  <a:lnTo>
                    <a:pt x="39955" y="131499"/>
                  </a:lnTo>
                  <a:lnTo>
                    <a:pt x="24" y="147711"/>
                  </a:lnTo>
                  <a:lnTo>
                    <a:pt x="24" y="190644"/>
                  </a:lnTo>
                  <a:cubicBezTo>
                    <a:pt x="-576" y="216763"/>
                    <a:pt x="9932" y="241982"/>
                    <a:pt x="28546" y="260597"/>
                  </a:cubicBezTo>
                  <a:cubicBezTo>
                    <a:pt x="46860" y="279511"/>
                    <a:pt x="71779" y="290019"/>
                    <a:pt x="98199" y="290019"/>
                  </a:cubicBezTo>
                  <a:cubicBezTo>
                    <a:pt x="124318" y="290019"/>
                    <a:pt x="149237" y="279511"/>
                    <a:pt x="167251" y="260296"/>
                  </a:cubicBezTo>
                  <a:cubicBezTo>
                    <a:pt x="186165" y="241982"/>
                    <a:pt x="196673" y="216763"/>
                    <a:pt x="196373" y="190344"/>
                  </a:cubicBezTo>
                  <a:lnTo>
                    <a:pt x="196373" y="5404"/>
                  </a:lnTo>
                  <a:cubicBezTo>
                    <a:pt x="196073" y="1501"/>
                    <a:pt x="193971" y="0"/>
                    <a:pt x="190368" y="0"/>
                  </a:cubicBez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21" name="Forme libre : forme 220">
              <a:extLst>
                <a:ext uri="{FF2B5EF4-FFF2-40B4-BE49-F238E27FC236}">
                  <a16:creationId xmlns:a16="http://schemas.microsoft.com/office/drawing/2014/main" id="{C2474F43-3D6B-46AC-B182-F0307C87AE93}"/>
                </a:ext>
              </a:extLst>
            </p:cNvPr>
            <p:cNvSpPr/>
            <p:nvPr/>
          </p:nvSpPr>
          <p:spPr>
            <a:xfrm>
              <a:off x="6234678" y="3999143"/>
              <a:ext cx="198150" cy="288217"/>
            </a:xfrm>
            <a:custGeom>
              <a:avLst/>
              <a:gdLst>
                <a:gd name="connsiteX0" fmla="*/ 192452 w 198149"/>
                <a:gd name="connsiteY0" fmla="*/ 289382 h 288217"/>
                <a:gd name="connsiteX1" fmla="*/ 164230 w 198149"/>
                <a:gd name="connsiteY1" fmla="*/ 289382 h 288217"/>
                <a:gd name="connsiteX2" fmla="*/ 158226 w 198149"/>
                <a:gd name="connsiteY2" fmla="*/ 284578 h 288217"/>
                <a:gd name="connsiteX3" fmla="*/ 158226 w 198149"/>
                <a:gd name="connsiteY3" fmla="*/ 283377 h 288217"/>
                <a:gd name="connsiteX4" fmla="*/ 158226 w 198149"/>
                <a:gd name="connsiteY4" fmla="*/ 98438 h 288217"/>
                <a:gd name="connsiteX5" fmla="*/ 140813 w 198149"/>
                <a:gd name="connsiteY5" fmla="*/ 57307 h 288217"/>
                <a:gd name="connsiteX6" fmla="*/ 57950 w 198149"/>
                <a:gd name="connsiteY6" fmla="*/ 57006 h 288217"/>
                <a:gd name="connsiteX7" fmla="*/ 57650 w 198149"/>
                <a:gd name="connsiteY7" fmla="*/ 57307 h 288217"/>
                <a:gd name="connsiteX8" fmla="*/ 41137 w 198149"/>
                <a:gd name="connsiteY8" fmla="*/ 98438 h 288217"/>
                <a:gd name="connsiteX9" fmla="*/ 41137 w 198149"/>
                <a:gd name="connsiteY9" fmla="*/ 283377 h 288217"/>
                <a:gd name="connsiteX10" fmla="*/ 36634 w 198149"/>
                <a:gd name="connsiteY10" fmla="*/ 289382 h 288217"/>
                <a:gd name="connsiteX11" fmla="*/ 34833 w 198149"/>
                <a:gd name="connsiteY11" fmla="*/ 289382 h 288217"/>
                <a:gd name="connsiteX12" fmla="*/ 6011 w 198149"/>
                <a:gd name="connsiteY12" fmla="*/ 289382 h 288217"/>
                <a:gd name="connsiteX13" fmla="*/ 6 w 198149"/>
                <a:gd name="connsiteY13" fmla="*/ 284578 h 288217"/>
                <a:gd name="connsiteX14" fmla="*/ 6 w 198149"/>
                <a:gd name="connsiteY14" fmla="*/ 283377 h 288217"/>
                <a:gd name="connsiteX15" fmla="*/ 6 w 198149"/>
                <a:gd name="connsiteY15" fmla="*/ 98438 h 288217"/>
                <a:gd name="connsiteX16" fmla="*/ 29428 w 198149"/>
                <a:gd name="connsiteY16" fmla="*/ 28785 h 288217"/>
                <a:gd name="connsiteX17" fmla="*/ 168734 w 198149"/>
                <a:gd name="connsiteY17" fmla="*/ 28185 h 288217"/>
                <a:gd name="connsiteX18" fmla="*/ 169334 w 198149"/>
                <a:gd name="connsiteY18" fmla="*/ 28785 h 288217"/>
                <a:gd name="connsiteX19" fmla="*/ 198456 w 198149"/>
                <a:gd name="connsiteY19" fmla="*/ 98438 h 288217"/>
                <a:gd name="connsiteX20" fmla="*/ 198456 w 198149"/>
                <a:gd name="connsiteY20" fmla="*/ 283377 h 288217"/>
                <a:gd name="connsiteX21" fmla="*/ 193352 w 198149"/>
                <a:gd name="connsiteY21" fmla="*/ 289382 h 288217"/>
                <a:gd name="connsiteX22" fmla="*/ 192452 w 198149"/>
                <a:gd name="connsiteY22" fmla="*/ 289382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8149" h="288217">
                  <a:moveTo>
                    <a:pt x="192452" y="289382"/>
                  </a:moveTo>
                  <a:lnTo>
                    <a:pt x="164230" y="289382"/>
                  </a:lnTo>
                  <a:cubicBezTo>
                    <a:pt x="161228" y="289682"/>
                    <a:pt x="158526" y="287580"/>
                    <a:pt x="158226" y="284578"/>
                  </a:cubicBezTo>
                  <a:cubicBezTo>
                    <a:pt x="158226" y="284278"/>
                    <a:pt x="158226" y="283677"/>
                    <a:pt x="158226" y="283377"/>
                  </a:cubicBezTo>
                  <a:lnTo>
                    <a:pt x="158226" y="98438"/>
                  </a:lnTo>
                  <a:cubicBezTo>
                    <a:pt x="158526" y="82826"/>
                    <a:pt x="152221" y="68115"/>
                    <a:pt x="140813" y="57307"/>
                  </a:cubicBezTo>
                  <a:cubicBezTo>
                    <a:pt x="117995" y="34490"/>
                    <a:pt x="80767" y="34490"/>
                    <a:pt x="57950" y="57006"/>
                  </a:cubicBezTo>
                  <a:cubicBezTo>
                    <a:pt x="57950" y="57006"/>
                    <a:pt x="57650" y="57307"/>
                    <a:pt x="57650" y="57307"/>
                  </a:cubicBezTo>
                  <a:cubicBezTo>
                    <a:pt x="46842" y="68115"/>
                    <a:pt x="40837" y="83126"/>
                    <a:pt x="41137" y="98438"/>
                  </a:cubicBezTo>
                  <a:lnTo>
                    <a:pt x="41137" y="283377"/>
                  </a:lnTo>
                  <a:cubicBezTo>
                    <a:pt x="41738" y="286380"/>
                    <a:pt x="39636" y="289082"/>
                    <a:pt x="36634" y="289382"/>
                  </a:cubicBezTo>
                  <a:cubicBezTo>
                    <a:pt x="36033" y="289382"/>
                    <a:pt x="35433" y="289382"/>
                    <a:pt x="34833" y="289382"/>
                  </a:cubicBezTo>
                  <a:lnTo>
                    <a:pt x="6011" y="289382"/>
                  </a:lnTo>
                  <a:cubicBezTo>
                    <a:pt x="3009" y="289682"/>
                    <a:pt x="306" y="287580"/>
                    <a:pt x="6" y="284578"/>
                  </a:cubicBezTo>
                  <a:cubicBezTo>
                    <a:pt x="6" y="284278"/>
                    <a:pt x="6" y="283677"/>
                    <a:pt x="6" y="283377"/>
                  </a:cubicBezTo>
                  <a:lnTo>
                    <a:pt x="6" y="98438"/>
                  </a:lnTo>
                  <a:cubicBezTo>
                    <a:pt x="-294" y="72318"/>
                    <a:pt x="10214" y="47099"/>
                    <a:pt x="29428" y="28785"/>
                  </a:cubicBezTo>
                  <a:cubicBezTo>
                    <a:pt x="67858" y="-9344"/>
                    <a:pt x="130004" y="-9644"/>
                    <a:pt x="168734" y="28185"/>
                  </a:cubicBezTo>
                  <a:cubicBezTo>
                    <a:pt x="169034" y="28485"/>
                    <a:pt x="169034" y="28485"/>
                    <a:pt x="169334" y="28785"/>
                  </a:cubicBezTo>
                  <a:cubicBezTo>
                    <a:pt x="188248" y="47099"/>
                    <a:pt x="198756" y="72318"/>
                    <a:pt x="198456" y="98438"/>
                  </a:cubicBezTo>
                  <a:lnTo>
                    <a:pt x="198456" y="283377"/>
                  </a:lnTo>
                  <a:cubicBezTo>
                    <a:pt x="198756" y="286380"/>
                    <a:pt x="196355" y="289082"/>
                    <a:pt x="193352" y="289382"/>
                  </a:cubicBezTo>
                  <a:cubicBezTo>
                    <a:pt x="193052" y="289382"/>
                    <a:pt x="192752" y="289382"/>
                    <a:pt x="192452" y="289382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22" name="Forme libre : forme 221">
              <a:extLst>
                <a:ext uri="{FF2B5EF4-FFF2-40B4-BE49-F238E27FC236}">
                  <a16:creationId xmlns:a16="http://schemas.microsoft.com/office/drawing/2014/main" id="{14932DF6-990E-43CA-A33B-4AC8AB12DE70}"/>
                </a:ext>
              </a:extLst>
            </p:cNvPr>
            <p:cNvSpPr/>
            <p:nvPr/>
          </p:nvSpPr>
          <p:spPr>
            <a:xfrm>
              <a:off x="6523803" y="4111091"/>
              <a:ext cx="39029" cy="177134"/>
            </a:xfrm>
            <a:custGeom>
              <a:avLst/>
              <a:gdLst>
                <a:gd name="connsiteX0" fmla="*/ 39930 w 39029"/>
                <a:gd name="connsiteY0" fmla="*/ 37528 h 177133"/>
                <a:gd name="connsiteX1" fmla="*/ 39930 w 39029"/>
                <a:gd name="connsiteY1" fmla="*/ 173231 h 177133"/>
                <a:gd name="connsiteX2" fmla="*/ 34826 w 39029"/>
                <a:gd name="connsiteY2" fmla="*/ 179235 h 177133"/>
                <a:gd name="connsiteX3" fmla="*/ 33625 w 39029"/>
                <a:gd name="connsiteY3" fmla="*/ 179235 h 177133"/>
                <a:gd name="connsiteX4" fmla="*/ 6005 w 39029"/>
                <a:gd name="connsiteY4" fmla="*/ 179235 h 177133"/>
                <a:gd name="connsiteX5" fmla="*/ 0 w 39029"/>
                <a:gd name="connsiteY5" fmla="*/ 174732 h 177133"/>
                <a:gd name="connsiteX6" fmla="*/ 0 w 39029"/>
                <a:gd name="connsiteY6" fmla="*/ 172930 h 177133"/>
                <a:gd name="connsiteX7" fmla="*/ 0 w 39029"/>
                <a:gd name="connsiteY7" fmla="*/ 0 h 177133"/>
                <a:gd name="connsiteX8" fmla="*/ 39930 w 39029"/>
                <a:gd name="connsiteY8" fmla="*/ 37528 h 177133"/>
                <a:gd name="connsiteX9" fmla="*/ 39930 w 39029"/>
                <a:gd name="connsiteY9" fmla="*/ 37528 h 177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029" h="177133">
                  <a:moveTo>
                    <a:pt x="39930" y="37528"/>
                  </a:moveTo>
                  <a:lnTo>
                    <a:pt x="39930" y="173231"/>
                  </a:lnTo>
                  <a:cubicBezTo>
                    <a:pt x="40230" y="176233"/>
                    <a:pt x="38129" y="178935"/>
                    <a:pt x="34826" y="179235"/>
                  </a:cubicBezTo>
                  <a:cubicBezTo>
                    <a:pt x="34526" y="179235"/>
                    <a:pt x="34226" y="179235"/>
                    <a:pt x="33625" y="179235"/>
                  </a:cubicBezTo>
                  <a:lnTo>
                    <a:pt x="6005" y="179235"/>
                  </a:lnTo>
                  <a:cubicBezTo>
                    <a:pt x="3002" y="179836"/>
                    <a:pt x="300" y="177734"/>
                    <a:pt x="0" y="174732"/>
                  </a:cubicBezTo>
                  <a:cubicBezTo>
                    <a:pt x="0" y="174131"/>
                    <a:pt x="0" y="173531"/>
                    <a:pt x="0" y="172930"/>
                  </a:cubicBezTo>
                  <a:lnTo>
                    <a:pt x="0" y="0"/>
                  </a:lnTo>
                  <a:lnTo>
                    <a:pt x="39930" y="37528"/>
                  </a:lnTo>
                  <a:lnTo>
                    <a:pt x="39930" y="37528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23" name="Forme libre : forme 222">
              <a:extLst>
                <a:ext uri="{FF2B5EF4-FFF2-40B4-BE49-F238E27FC236}">
                  <a16:creationId xmlns:a16="http://schemas.microsoft.com/office/drawing/2014/main" id="{6CD20DC9-0C34-4C92-8BE4-482DC8087033}"/>
                </a:ext>
              </a:extLst>
            </p:cNvPr>
            <p:cNvSpPr/>
            <p:nvPr/>
          </p:nvSpPr>
          <p:spPr>
            <a:xfrm>
              <a:off x="6624477" y="4006913"/>
              <a:ext cx="192145" cy="282213"/>
            </a:xfrm>
            <a:custGeom>
              <a:avLst/>
              <a:gdLst>
                <a:gd name="connsiteX0" fmla="*/ 193248 w 192145"/>
                <a:gd name="connsiteY0" fmla="*/ 117989 h 282212"/>
                <a:gd name="connsiteX1" fmla="*/ 135004 w 192145"/>
                <a:gd name="connsiteY1" fmla="*/ 277709 h 282212"/>
                <a:gd name="connsiteX2" fmla="*/ 128699 w 192145"/>
                <a:gd name="connsiteY2" fmla="*/ 282813 h 282212"/>
                <a:gd name="connsiteX3" fmla="*/ 105882 w 192145"/>
                <a:gd name="connsiteY3" fmla="*/ 282813 h 282212"/>
                <a:gd name="connsiteX4" fmla="*/ 99577 w 192145"/>
                <a:gd name="connsiteY4" fmla="*/ 277709 h 282212"/>
                <a:gd name="connsiteX5" fmla="*/ 803 w 192145"/>
                <a:gd name="connsiteY5" fmla="*/ 8406 h 282212"/>
                <a:gd name="connsiteX6" fmla="*/ 6207 w 192145"/>
                <a:gd name="connsiteY6" fmla="*/ 0 h 282212"/>
                <a:gd name="connsiteX7" fmla="*/ 36230 w 192145"/>
                <a:gd name="connsiteY7" fmla="*/ 0 h 282212"/>
                <a:gd name="connsiteX8" fmla="*/ 43435 w 192145"/>
                <a:gd name="connsiteY8" fmla="*/ 5704 h 282212"/>
                <a:gd name="connsiteX9" fmla="*/ 112787 w 192145"/>
                <a:gd name="connsiteY9" fmla="*/ 195447 h 282212"/>
                <a:gd name="connsiteX10" fmla="*/ 116690 w 192145"/>
                <a:gd name="connsiteY10" fmla="*/ 198149 h 282212"/>
                <a:gd name="connsiteX11" fmla="*/ 121194 w 192145"/>
                <a:gd name="connsiteY11" fmla="*/ 195447 h 282212"/>
                <a:gd name="connsiteX12" fmla="*/ 167128 w 192145"/>
                <a:gd name="connsiteY12" fmla="*/ 69953 h 282212"/>
                <a:gd name="connsiteX13" fmla="*/ 193248 w 192145"/>
                <a:gd name="connsiteY13" fmla="*/ 117989 h 282212"/>
                <a:gd name="connsiteX14" fmla="*/ 193248 w 192145"/>
                <a:gd name="connsiteY14" fmla="*/ 117989 h 282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2145" h="282212">
                  <a:moveTo>
                    <a:pt x="193248" y="117989"/>
                  </a:moveTo>
                  <a:lnTo>
                    <a:pt x="135004" y="277709"/>
                  </a:lnTo>
                  <a:cubicBezTo>
                    <a:pt x="134404" y="280712"/>
                    <a:pt x="131702" y="282813"/>
                    <a:pt x="128699" y="282813"/>
                  </a:cubicBezTo>
                  <a:lnTo>
                    <a:pt x="105882" y="282813"/>
                  </a:lnTo>
                  <a:cubicBezTo>
                    <a:pt x="102580" y="282813"/>
                    <a:pt x="100778" y="281012"/>
                    <a:pt x="99577" y="277709"/>
                  </a:cubicBezTo>
                  <a:lnTo>
                    <a:pt x="803" y="8406"/>
                  </a:lnTo>
                  <a:cubicBezTo>
                    <a:pt x="-1299" y="3002"/>
                    <a:pt x="803" y="0"/>
                    <a:pt x="6207" y="0"/>
                  </a:cubicBezTo>
                  <a:lnTo>
                    <a:pt x="36230" y="0"/>
                  </a:lnTo>
                  <a:cubicBezTo>
                    <a:pt x="39832" y="0"/>
                    <a:pt x="42835" y="2402"/>
                    <a:pt x="43435" y="5704"/>
                  </a:cubicBezTo>
                  <a:lnTo>
                    <a:pt x="112787" y="195447"/>
                  </a:lnTo>
                  <a:cubicBezTo>
                    <a:pt x="113088" y="197249"/>
                    <a:pt x="114889" y="198450"/>
                    <a:pt x="116690" y="198149"/>
                  </a:cubicBezTo>
                  <a:cubicBezTo>
                    <a:pt x="118792" y="198450"/>
                    <a:pt x="120593" y="197249"/>
                    <a:pt x="121194" y="195447"/>
                  </a:cubicBezTo>
                  <a:lnTo>
                    <a:pt x="167128" y="69953"/>
                  </a:lnTo>
                  <a:lnTo>
                    <a:pt x="193248" y="117989"/>
                  </a:lnTo>
                  <a:lnTo>
                    <a:pt x="193248" y="117989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24" name="Forme libre : forme 223">
              <a:extLst>
                <a:ext uri="{FF2B5EF4-FFF2-40B4-BE49-F238E27FC236}">
                  <a16:creationId xmlns:a16="http://schemas.microsoft.com/office/drawing/2014/main" id="{94C7CC29-813D-4EE1-848B-FE490AB95F14}"/>
                </a:ext>
              </a:extLst>
            </p:cNvPr>
            <p:cNvSpPr/>
            <p:nvPr/>
          </p:nvSpPr>
          <p:spPr>
            <a:xfrm>
              <a:off x="6902066" y="3999101"/>
              <a:ext cx="201152" cy="297224"/>
            </a:xfrm>
            <a:custGeom>
              <a:avLst/>
              <a:gdLst>
                <a:gd name="connsiteX0" fmla="*/ 197872 w 201151"/>
                <a:gd name="connsiteY0" fmla="*/ 166632 h 297224"/>
                <a:gd name="connsiteX1" fmla="*/ 47158 w 201151"/>
                <a:gd name="connsiteY1" fmla="*/ 166632 h 297224"/>
                <a:gd name="connsiteX2" fmla="*/ 40853 w 201151"/>
                <a:gd name="connsiteY2" fmla="*/ 171736 h 297224"/>
                <a:gd name="connsiteX3" fmla="*/ 40853 w 201151"/>
                <a:gd name="connsiteY3" fmla="*/ 172937 h 297224"/>
                <a:gd name="connsiteX4" fmla="*/ 40853 w 201151"/>
                <a:gd name="connsiteY4" fmla="*/ 190049 h 297224"/>
                <a:gd name="connsiteX5" fmla="*/ 60368 w 201151"/>
                <a:gd name="connsiteY5" fmla="*/ 237185 h 297224"/>
                <a:gd name="connsiteX6" fmla="*/ 106903 w 201151"/>
                <a:gd name="connsiteY6" fmla="*/ 257000 h 297224"/>
                <a:gd name="connsiteX7" fmla="*/ 170251 w 201151"/>
                <a:gd name="connsiteY7" fmla="*/ 237185 h 297224"/>
                <a:gd name="connsiteX8" fmla="*/ 177156 w 201151"/>
                <a:gd name="connsiteY8" fmla="*/ 237185 h 297224"/>
                <a:gd name="connsiteX9" fmla="*/ 178057 w 201151"/>
                <a:gd name="connsiteY9" fmla="*/ 238386 h 297224"/>
                <a:gd name="connsiteX10" fmla="*/ 194570 w 201151"/>
                <a:gd name="connsiteY10" fmla="*/ 262404 h 297224"/>
                <a:gd name="connsiteX11" fmla="*/ 194269 w 201151"/>
                <a:gd name="connsiteY11" fmla="*/ 269609 h 297224"/>
                <a:gd name="connsiteX12" fmla="*/ 193068 w 201151"/>
                <a:gd name="connsiteY12" fmla="*/ 270510 h 297224"/>
                <a:gd name="connsiteX13" fmla="*/ 107204 w 201151"/>
                <a:gd name="connsiteY13" fmla="*/ 298131 h 297224"/>
                <a:gd name="connsiteX14" fmla="*/ 31546 w 201151"/>
                <a:gd name="connsiteY14" fmla="*/ 266607 h 297224"/>
                <a:gd name="connsiteX15" fmla="*/ 23 w 201151"/>
                <a:gd name="connsiteY15" fmla="*/ 190950 h 297224"/>
                <a:gd name="connsiteX16" fmla="*/ 23 w 201151"/>
                <a:gd name="connsiteY16" fmla="*/ 101483 h 297224"/>
                <a:gd name="connsiteX17" fmla="*/ 101499 w 201151"/>
                <a:gd name="connsiteY17" fmla="*/ 6 h 297224"/>
                <a:gd name="connsiteX18" fmla="*/ 173554 w 201151"/>
                <a:gd name="connsiteY18" fmla="*/ 30029 h 297224"/>
                <a:gd name="connsiteX19" fmla="*/ 202976 w 201151"/>
                <a:gd name="connsiteY19" fmla="*/ 101483 h 297224"/>
                <a:gd name="connsiteX20" fmla="*/ 202976 w 201151"/>
                <a:gd name="connsiteY20" fmla="*/ 160627 h 297224"/>
                <a:gd name="connsiteX21" fmla="*/ 197272 w 201151"/>
                <a:gd name="connsiteY21" fmla="*/ 166632 h 297224"/>
                <a:gd name="connsiteX22" fmla="*/ 162445 w 201151"/>
                <a:gd name="connsiteY22" fmla="*/ 101783 h 297224"/>
                <a:gd name="connsiteX23" fmla="*/ 102400 w 201151"/>
                <a:gd name="connsiteY23" fmla="*/ 40837 h 297224"/>
                <a:gd name="connsiteX24" fmla="*/ 101499 w 201151"/>
                <a:gd name="connsiteY24" fmla="*/ 40837 h 297224"/>
                <a:gd name="connsiteX25" fmla="*/ 58867 w 201151"/>
                <a:gd name="connsiteY25" fmla="*/ 58550 h 297224"/>
                <a:gd name="connsiteX26" fmla="*/ 41454 w 201151"/>
                <a:gd name="connsiteY26" fmla="*/ 101483 h 297224"/>
                <a:gd name="connsiteX27" fmla="*/ 41454 w 201151"/>
                <a:gd name="connsiteY27" fmla="*/ 120397 h 297224"/>
                <a:gd name="connsiteX28" fmla="*/ 46558 w 201151"/>
                <a:gd name="connsiteY28" fmla="*/ 126401 h 297224"/>
                <a:gd name="connsiteX29" fmla="*/ 47759 w 201151"/>
                <a:gd name="connsiteY29" fmla="*/ 126401 h 297224"/>
                <a:gd name="connsiteX30" fmla="*/ 157942 w 201151"/>
                <a:gd name="connsiteY30" fmla="*/ 126401 h 297224"/>
                <a:gd name="connsiteX31" fmla="*/ 163346 w 201151"/>
                <a:gd name="connsiteY31" fmla="*/ 120397 h 297224"/>
                <a:gd name="connsiteX32" fmla="*/ 162445 w 201151"/>
                <a:gd name="connsiteY32" fmla="*/ 101783 h 297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1151" h="297224">
                  <a:moveTo>
                    <a:pt x="197872" y="166632"/>
                  </a:moveTo>
                  <a:lnTo>
                    <a:pt x="47158" y="166632"/>
                  </a:lnTo>
                  <a:cubicBezTo>
                    <a:pt x="44156" y="166332"/>
                    <a:pt x="41154" y="168433"/>
                    <a:pt x="40853" y="171736"/>
                  </a:cubicBezTo>
                  <a:cubicBezTo>
                    <a:pt x="40853" y="172036"/>
                    <a:pt x="40853" y="172336"/>
                    <a:pt x="40853" y="172937"/>
                  </a:cubicBezTo>
                  <a:lnTo>
                    <a:pt x="40853" y="190049"/>
                  </a:lnTo>
                  <a:cubicBezTo>
                    <a:pt x="40553" y="207763"/>
                    <a:pt x="47458" y="224876"/>
                    <a:pt x="60368" y="237185"/>
                  </a:cubicBezTo>
                  <a:cubicBezTo>
                    <a:pt x="72377" y="249794"/>
                    <a:pt x="89490" y="257000"/>
                    <a:pt x="106903" y="257000"/>
                  </a:cubicBezTo>
                  <a:cubicBezTo>
                    <a:pt x="129420" y="257300"/>
                    <a:pt x="151637" y="250095"/>
                    <a:pt x="170251" y="237185"/>
                  </a:cubicBezTo>
                  <a:cubicBezTo>
                    <a:pt x="172053" y="235384"/>
                    <a:pt x="175055" y="235384"/>
                    <a:pt x="177156" y="237185"/>
                  </a:cubicBezTo>
                  <a:cubicBezTo>
                    <a:pt x="177457" y="237485"/>
                    <a:pt x="177757" y="237785"/>
                    <a:pt x="178057" y="238386"/>
                  </a:cubicBezTo>
                  <a:lnTo>
                    <a:pt x="194570" y="262404"/>
                  </a:lnTo>
                  <a:cubicBezTo>
                    <a:pt x="196671" y="264506"/>
                    <a:pt x="196371" y="267808"/>
                    <a:pt x="194269" y="269609"/>
                  </a:cubicBezTo>
                  <a:cubicBezTo>
                    <a:pt x="193969" y="269910"/>
                    <a:pt x="193369" y="270210"/>
                    <a:pt x="193068" y="270510"/>
                  </a:cubicBezTo>
                  <a:cubicBezTo>
                    <a:pt x="168150" y="288824"/>
                    <a:pt x="138127" y="298431"/>
                    <a:pt x="107204" y="298131"/>
                  </a:cubicBezTo>
                  <a:cubicBezTo>
                    <a:pt x="78682" y="298431"/>
                    <a:pt x="51361" y="287023"/>
                    <a:pt x="31546" y="266607"/>
                  </a:cubicBezTo>
                  <a:cubicBezTo>
                    <a:pt x="10831" y="246792"/>
                    <a:pt x="-578" y="219171"/>
                    <a:pt x="23" y="190950"/>
                  </a:cubicBezTo>
                  <a:lnTo>
                    <a:pt x="23" y="101483"/>
                  </a:lnTo>
                  <a:cubicBezTo>
                    <a:pt x="-278" y="45641"/>
                    <a:pt x="45357" y="306"/>
                    <a:pt x="101499" y="6"/>
                  </a:cubicBezTo>
                  <a:cubicBezTo>
                    <a:pt x="128820" y="-294"/>
                    <a:pt x="154940" y="10514"/>
                    <a:pt x="173554" y="30029"/>
                  </a:cubicBezTo>
                  <a:cubicBezTo>
                    <a:pt x="193068" y="48643"/>
                    <a:pt x="203576" y="74462"/>
                    <a:pt x="202976" y="101483"/>
                  </a:cubicBezTo>
                  <a:lnTo>
                    <a:pt x="202976" y="160627"/>
                  </a:lnTo>
                  <a:cubicBezTo>
                    <a:pt x="202976" y="164530"/>
                    <a:pt x="201175" y="166632"/>
                    <a:pt x="197272" y="166632"/>
                  </a:cubicBezTo>
                  <a:moveTo>
                    <a:pt x="162445" y="101783"/>
                  </a:moveTo>
                  <a:cubicBezTo>
                    <a:pt x="162746" y="68458"/>
                    <a:pt x="135725" y="41137"/>
                    <a:pt x="102400" y="40837"/>
                  </a:cubicBezTo>
                  <a:cubicBezTo>
                    <a:pt x="102100" y="40837"/>
                    <a:pt x="101799" y="40837"/>
                    <a:pt x="101499" y="40837"/>
                  </a:cubicBezTo>
                  <a:cubicBezTo>
                    <a:pt x="85287" y="40537"/>
                    <a:pt x="69975" y="46841"/>
                    <a:pt x="58867" y="58550"/>
                  </a:cubicBezTo>
                  <a:cubicBezTo>
                    <a:pt x="47458" y="69959"/>
                    <a:pt x="41154" y="85270"/>
                    <a:pt x="41454" y="101483"/>
                  </a:cubicBezTo>
                  <a:lnTo>
                    <a:pt x="41454" y="120397"/>
                  </a:lnTo>
                  <a:cubicBezTo>
                    <a:pt x="41154" y="123399"/>
                    <a:pt x="43555" y="126101"/>
                    <a:pt x="46558" y="126401"/>
                  </a:cubicBezTo>
                  <a:cubicBezTo>
                    <a:pt x="46858" y="126401"/>
                    <a:pt x="47158" y="126401"/>
                    <a:pt x="47759" y="126401"/>
                  </a:cubicBezTo>
                  <a:lnTo>
                    <a:pt x="157942" y="126401"/>
                  </a:lnTo>
                  <a:cubicBezTo>
                    <a:pt x="161845" y="126401"/>
                    <a:pt x="163346" y="124300"/>
                    <a:pt x="163346" y="120397"/>
                  </a:cubicBezTo>
                  <a:lnTo>
                    <a:pt x="162445" y="101783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25" name="Forme libre : forme 224">
              <a:extLst>
                <a:ext uri="{FF2B5EF4-FFF2-40B4-BE49-F238E27FC236}">
                  <a16:creationId xmlns:a16="http://schemas.microsoft.com/office/drawing/2014/main" id="{356AA647-C707-493E-97F9-A4C75EC09045}"/>
                </a:ext>
              </a:extLst>
            </p:cNvPr>
            <p:cNvSpPr/>
            <p:nvPr/>
          </p:nvSpPr>
          <p:spPr>
            <a:xfrm>
              <a:off x="7168089" y="4142015"/>
              <a:ext cx="39029" cy="147111"/>
            </a:xfrm>
            <a:custGeom>
              <a:avLst/>
              <a:gdLst>
                <a:gd name="connsiteX0" fmla="*/ 39630 w 39029"/>
                <a:gd name="connsiteY0" fmla="*/ 0 h 147110"/>
                <a:gd name="connsiteX1" fmla="*/ 39630 w 39029"/>
                <a:gd name="connsiteY1" fmla="*/ 143808 h 147110"/>
                <a:gd name="connsiteX2" fmla="*/ 34826 w 39029"/>
                <a:gd name="connsiteY2" fmla="*/ 149813 h 147110"/>
                <a:gd name="connsiteX3" fmla="*/ 33625 w 39029"/>
                <a:gd name="connsiteY3" fmla="*/ 149813 h 147110"/>
                <a:gd name="connsiteX4" fmla="*/ 6005 w 39029"/>
                <a:gd name="connsiteY4" fmla="*/ 149813 h 147110"/>
                <a:gd name="connsiteX5" fmla="*/ 0 w 39029"/>
                <a:gd name="connsiteY5" fmla="*/ 144709 h 147110"/>
                <a:gd name="connsiteX6" fmla="*/ 0 w 39029"/>
                <a:gd name="connsiteY6" fmla="*/ 143508 h 147110"/>
                <a:gd name="connsiteX7" fmla="*/ 0 w 39029"/>
                <a:gd name="connsiteY7" fmla="*/ 26720 h 147110"/>
                <a:gd name="connsiteX8" fmla="*/ 39630 w 39029"/>
                <a:gd name="connsiteY8" fmla="*/ 0 h 147110"/>
                <a:gd name="connsiteX9" fmla="*/ 39630 w 39029"/>
                <a:gd name="connsiteY9" fmla="*/ 0 h 147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029" h="147110">
                  <a:moveTo>
                    <a:pt x="39630" y="0"/>
                  </a:moveTo>
                  <a:lnTo>
                    <a:pt x="39630" y="143808"/>
                  </a:lnTo>
                  <a:cubicBezTo>
                    <a:pt x="39930" y="146811"/>
                    <a:pt x="37829" y="149513"/>
                    <a:pt x="34826" y="149813"/>
                  </a:cubicBezTo>
                  <a:cubicBezTo>
                    <a:pt x="34526" y="149813"/>
                    <a:pt x="33926" y="149813"/>
                    <a:pt x="33625" y="149813"/>
                  </a:cubicBezTo>
                  <a:lnTo>
                    <a:pt x="6005" y="149813"/>
                  </a:lnTo>
                  <a:cubicBezTo>
                    <a:pt x="3002" y="150113"/>
                    <a:pt x="300" y="148012"/>
                    <a:pt x="0" y="144709"/>
                  </a:cubicBezTo>
                  <a:cubicBezTo>
                    <a:pt x="0" y="144409"/>
                    <a:pt x="0" y="144109"/>
                    <a:pt x="0" y="143508"/>
                  </a:cubicBezTo>
                  <a:lnTo>
                    <a:pt x="0" y="26720"/>
                  </a:lnTo>
                  <a:lnTo>
                    <a:pt x="39630" y="0"/>
                  </a:lnTo>
                  <a:lnTo>
                    <a:pt x="39630" y="0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26" name="Forme libre : forme 225">
              <a:extLst>
                <a:ext uri="{FF2B5EF4-FFF2-40B4-BE49-F238E27FC236}">
                  <a16:creationId xmlns:a16="http://schemas.microsoft.com/office/drawing/2014/main" id="{64C7EBFB-4BF0-4855-A0C0-E1B5F1B9A32D}"/>
                </a:ext>
              </a:extLst>
            </p:cNvPr>
            <p:cNvSpPr/>
            <p:nvPr/>
          </p:nvSpPr>
          <p:spPr>
            <a:xfrm>
              <a:off x="7592289" y="3898809"/>
              <a:ext cx="51039" cy="390294"/>
            </a:xfrm>
            <a:custGeom>
              <a:avLst/>
              <a:gdLst>
                <a:gd name="connsiteX0" fmla="*/ 44454 w 51038"/>
                <a:gd name="connsiteY0" fmla="*/ 46558 h 390294"/>
                <a:gd name="connsiteX1" fmla="*/ 25840 w 51038"/>
                <a:gd name="connsiteY1" fmla="*/ 54964 h 390294"/>
                <a:gd name="connsiteX2" fmla="*/ 7827 w 51038"/>
                <a:gd name="connsiteY2" fmla="*/ 46558 h 390294"/>
                <a:gd name="connsiteX3" fmla="*/ 21 w 51038"/>
                <a:gd name="connsiteY3" fmla="*/ 27343 h 390294"/>
                <a:gd name="connsiteX4" fmla="*/ 7827 w 51038"/>
                <a:gd name="connsiteY4" fmla="*/ 7828 h 390294"/>
                <a:gd name="connsiteX5" fmla="*/ 25840 w 51038"/>
                <a:gd name="connsiteY5" fmla="*/ 23 h 390294"/>
                <a:gd name="connsiteX6" fmla="*/ 44454 w 51038"/>
                <a:gd name="connsiteY6" fmla="*/ 7828 h 390294"/>
                <a:gd name="connsiteX7" fmla="*/ 52560 w 51038"/>
                <a:gd name="connsiteY7" fmla="*/ 27343 h 390294"/>
                <a:gd name="connsiteX8" fmla="*/ 44454 w 51038"/>
                <a:gd name="connsiteY8" fmla="*/ 46558 h 390294"/>
                <a:gd name="connsiteX9" fmla="*/ 39651 w 51038"/>
                <a:gd name="connsiteY9" fmla="*/ 392719 h 390294"/>
                <a:gd name="connsiteX10" fmla="*/ 12630 w 51038"/>
                <a:gd name="connsiteY10" fmla="*/ 392719 h 390294"/>
                <a:gd name="connsiteX11" fmla="*/ 6926 w 51038"/>
                <a:gd name="connsiteY11" fmla="*/ 386714 h 390294"/>
                <a:gd name="connsiteX12" fmla="*/ 6926 w 51038"/>
                <a:gd name="connsiteY12" fmla="*/ 112307 h 390294"/>
                <a:gd name="connsiteX13" fmla="*/ 12630 w 51038"/>
                <a:gd name="connsiteY13" fmla="*/ 106603 h 390294"/>
                <a:gd name="connsiteX14" fmla="*/ 39651 w 51038"/>
                <a:gd name="connsiteY14" fmla="*/ 106603 h 390294"/>
                <a:gd name="connsiteX15" fmla="*/ 45655 w 51038"/>
                <a:gd name="connsiteY15" fmla="*/ 112307 h 390294"/>
                <a:gd name="connsiteX16" fmla="*/ 45655 w 51038"/>
                <a:gd name="connsiteY16" fmla="*/ 386414 h 390294"/>
                <a:gd name="connsiteX17" fmla="*/ 40852 w 51038"/>
                <a:gd name="connsiteY17" fmla="*/ 392418 h 390294"/>
                <a:gd name="connsiteX18" fmla="*/ 39651 w 51038"/>
                <a:gd name="connsiteY18" fmla="*/ 392719 h 390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1038" h="390294">
                  <a:moveTo>
                    <a:pt x="44454" y="46558"/>
                  </a:moveTo>
                  <a:cubicBezTo>
                    <a:pt x="39651" y="51962"/>
                    <a:pt x="33046" y="55264"/>
                    <a:pt x="25840" y="54964"/>
                  </a:cubicBezTo>
                  <a:cubicBezTo>
                    <a:pt x="18935" y="54964"/>
                    <a:pt x="12330" y="51962"/>
                    <a:pt x="7827" y="46558"/>
                  </a:cubicBezTo>
                  <a:cubicBezTo>
                    <a:pt x="2723" y="41754"/>
                    <a:pt x="-280" y="34849"/>
                    <a:pt x="21" y="27343"/>
                  </a:cubicBezTo>
                  <a:cubicBezTo>
                    <a:pt x="-280" y="19837"/>
                    <a:pt x="2723" y="12632"/>
                    <a:pt x="7827" y="7828"/>
                  </a:cubicBezTo>
                  <a:cubicBezTo>
                    <a:pt x="12330" y="2424"/>
                    <a:pt x="18935" y="-278"/>
                    <a:pt x="25840" y="23"/>
                  </a:cubicBezTo>
                  <a:cubicBezTo>
                    <a:pt x="32745" y="-278"/>
                    <a:pt x="39651" y="2424"/>
                    <a:pt x="44454" y="7828"/>
                  </a:cubicBezTo>
                  <a:cubicBezTo>
                    <a:pt x="49858" y="12932"/>
                    <a:pt x="52560" y="20138"/>
                    <a:pt x="52560" y="27343"/>
                  </a:cubicBezTo>
                  <a:cubicBezTo>
                    <a:pt x="52260" y="34849"/>
                    <a:pt x="49558" y="41754"/>
                    <a:pt x="44454" y="46558"/>
                  </a:cubicBezTo>
                  <a:moveTo>
                    <a:pt x="39651" y="392719"/>
                  </a:moveTo>
                  <a:lnTo>
                    <a:pt x="12630" y="392719"/>
                  </a:lnTo>
                  <a:cubicBezTo>
                    <a:pt x="8427" y="392719"/>
                    <a:pt x="6926" y="390617"/>
                    <a:pt x="6926" y="386714"/>
                  </a:cubicBezTo>
                  <a:lnTo>
                    <a:pt x="6926" y="112307"/>
                  </a:lnTo>
                  <a:cubicBezTo>
                    <a:pt x="6926" y="108404"/>
                    <a:pt x="8427" y="106603"/>
                    <a:pt x="12630" y="106603"/>
                  </a:cubicBezTo>
                  <a:lnTo>
                    <a:pt x="39651" y="106603"/>
                  </a:lnTo>
                  <a:cubicBezTo>
                    <a:pt x="43553" y="106603"/>
                    <a:pt x="45655" y="108404"/>
                    <a:pt x="45655" y="112307"/>
                  </a:cubicBezTo>
                  <a:lnTo>
                    <a:pt x="45655" y="386414"/>
                  </a:lnTo>
                  <a:cubicBezTo>
                    <a:pt x="45955" y="389416"/>
                    <a:pt x="43854" y="392118"/>
                    <a:pt x="40852" y="392418"/>
                  </a:cubicBezTo>
                  <a:cubicBezTo>
                    <a:pt x="40551" y="392719"/>
                    <a:pt x="39951" y="392719"/>
                    <a:pt x="39651" y="392719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27" name="Forme libre : forme 226">
              <a:extLst>
                <a:ext uri="{FF2B5EF4-FFF2-40B4-BE49-F238E27FC236}">
                  <a16:creationId xmlns:a16="http://schemas.microsoft.com/office/drawing/2014/main" id="{95681AFE-72CC-41F5-82EB-2958FCBCC1CB}"/>
                </a:ext>
              </a:extLst>
            </p:cNvPr>
            <p:cNvSpPr/>
            <p:nvPr/>
          </p:nvSpPr>
          <p:spPr>
            <a:xfrm>
              <a:off x="7927941" y="3999084"/>
              <a:ext cx="201152" cy="297224"/>
            </a:xfrm>
            <a:custGeom>
              <a:avLst/>
              <a:gdLst>
                <a:gd name="connsiteX0" fmla="*/ 197872 w 201151"/>
                <a:gd name="connsiteY0" fmla="*/ 166649 h 297224"/>
                <a:gd name="connsiteX1" fmla="*/ 46858 w 201151"/>
                <a:gd name="connsiteY1" fmla="*/ 166649 h 297224"/>
                <a:gd name="connsiteX2" fmla="*/ 40854 w 201151"/>
                <a:gd name="connsiteY2" fmla="*/ 171452 h 297224"/>
                <a:gd name="connsiteX3" fmla="*/ 40854 w 201151"/>
                <a:gd name="connsiteY3" fmla="*/ 172653 h 297224"/>
                <a:gd name="connsiteX4" fmla="*/ 40854 w 201151"/>
                <a:gd name="connsiteY4" fmla="*/ 189766 h 297224"/>
                <a:gd name="connsiteX5" fmla="*/ 60368 w 201151"/>
                <a:gd name="connsiteY5" fmla="*/ 236902 h 297224"/>
                <a:gd name="connsiteX6" fmla="*/ 107504 w 201151"/>
                <a:gd name="connsiteY6" fmla="*/ 256717 h 297224"/>
                <a:gd name="connsiteX7" fmla="*/ 170852 w 201151"/>
                <a:gd name="connsiteY7" fmla="*/ 236902 h 297224"/>
                <a:gd name="connsiteX8" fmla="*/ 177757 w 201151"/>
                <a:gd name="connsiteY8" fmla="*/ 236902 h 297224"/>
                <a:gd name="connsiteX9" fmla="*/ 178357 w 201151"/>
                <a:gd name="connsiteY9" fmla="*/ 237802 h 297224"/>
                <a:gd name="connsiteX10" fmla="*/ 194870 w 201151"/>
                <a:gd name="connsiteY10" fmla="*/ 261821 h 297224"/>
                <a:gd name="connsiteX11" fmla="*/ 194570 w 201151"/>
                <a:gd name="connsiteY11" fmla="*/ 269026 h 297224"/>
                <a:gd name="connsiteX12" fmla="*/ 193369 w 201151"/>
                <a:gd name="connsiteY12" fmla="*/ 269927 h 297224"/>
                <a:gd name="connsiteX13" fmla="*/ 107504 w 201151"/>
                <a:gd name="connsiteY13" fmla="*/ 297247 h 297224"/>
                <a:gd name="connsiteX14" fmla="*/ 31546 w 201151"/>
                <a:gd name="connsiteY14" fmla="*/ 265724 h 297224"/>
                <a:gd name="connsiteX15" fmla="*/ 23 w 201151"/>
                <a:gd name="connsiteY15" fmla="*/ 190066 h 297224"/>
                <a:gd name="connsiteX16" fmla="*/ 23 w 201151"/>
                <a:gd name="connsiteY16" fmla="*/ 101199 h 297224"/>
                <a:gd name="connsiteX17" fmla="*/ 101499 w 201151"/>
                <a:gd name="connsiteY17" fmla="*/ 23 h 297224"/>
                <a:gd name="connsiteX18" fmla="*/ 101499 w 201151"/>
                <a:gd name="connsiteY18" fmla="*/ 23 h 297224"/>
                <a:gd name="connsiteX19" fmla="*/ 173554 w 201151"/>
                <a:gd name="connsiteY19" fmla="*/ 29746 h 297224"/>
                <a:gd name="connsiteX20" fmla="*/ 202976 w 201151"/>
                <a:gd name="connsiteY20" fmla="*/ 101199 h 297224"/>
                <a:gd name="connsiteX21" fmla="*/ 202976 w 201151"/>
                <a:gd name="connsiteY21" fmla="*/ 160344 h 297224"/>
                <a:gd name="connsiteX22" fmla="*/ 197272 w 201151"/>
                <a:gd name="connsiteY22" fmla="*/ 166349 h 297224"/>
                <a:gd name="connsiteX23" fmla="*/ 162445 w 201151"/>
                <a:gd name="connsiteY23" fmla="*/ 101800 h 297224"/>
                <a:gd name="connsiteX24" fmla="*/ 144732 w 201151"/>
                <a:gd name="connsiteY24" fmla="*/ 58567 h 297224"/>
                <a:gd name="connsiteX25" fmla="*/ 101499 w 201151"/>
                <a:gd name="connsiteY25" fmla="*/ 40854 h 297224"/>
                <a:gd name="connsiteX26" fmla="*/ 58867 w 201151"/>
                <a:gd name="connsiteY26" fmla="*/ 58567 h 297224"/>
                <a:gd name="connsiteX27" fmla="*/ 40553 w 201151"/>
                <a:gd name="connsiteY27" fmla="*/ 101800 h 297224"/>
                <a:gd name="connsiteX28" fmla="*/ 40553 w 201151"/>
                <a:gd name="connsiteY28" fmla="*/ 120714 h 297224"/>
                <a:gd name="connsiteX29" fmla="*/ 45357 w 201151"/>
                <a:gd name="connsiteY29" fmla="*/ 126719 h 297224"/>
                <a:gd name="connsiteX30" fmla="*/ 46558 w 201151"/>
                <a:gd name="connsiteY30" fmla="*/ 126719 h 297224"/>
                <a:gd name="connsiteX31" fmla="*/ 157041 w 201151"/>
                <a:gd name="connsiteY31" fmla="*/ 126719 h 297224"/>
                <a:gd name="connsiteX32" fmla="*/ 162746 w 201151"/>
                <a:gd name="connsiteY32" fmla="*/ 120714 h 297224"/>
                <a:gd name="connsiteX33" fmla="*/ 162746 w 201151"/>
                <a:gd name="connsiteY33" fmla="*/ 101800 h 297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01151" h="297224">
                  <a:moveTo>
                    <a:pt x="197872" y="166649"/>
                  </a:moveTo>
                  <a:lnTo>
                    <a:pt x="46858" y="166649"/>
                  </a:lnTo>
                  <a:cubicBezTo>
                    <a:pt x="43856" y="166349"/>
                    <a:pt x="41154" y="168450"/>
                    <a:pt x="40854" y="171452"/>
                  </a:cubicBezTo>
                  <a:cubicBezTo>
                    <a:pt x="40854" y="171753"/>
                    <a:pt x="40854" y="172353"/>
                    <a:pt x="40854" y="172653"/>
                  </a:cubicBezTo>
                  <a:lnTo>
                    <a:pt x="40854" y="189766"/>
                  </a:lnTo>
                  <a:cubicBezTo>
                    <a:pt x="40553" y="207480"/>
                    <a:pt x="47459" y="224593"/>
                    <a:pt x="60368" y="236902"/>
                  </a:cubicBezTo>
                  <a:cubicBezTo>
                    <a:pt x="72677" y="249812"/>
                    <a:pt x="89790" y="257017"/>
                    <a:pt x="107504" y="256717"/>
                  </a:cubicBezTo>
                  <a:cubicBezTo>
                    <a:pt x="130021" y="257017"/>
                    <a:pt x="152238" y="249812"/>
                    <a:pt x="170852" y="236902"/>
                  </a:cubicBezTo>
                  <a:cubicBezTo>
                    <a:pt x="172953" y="235100"/>
                    <a:pt x="175956" y="235100"/>
                    <a:pt x="177757" y="236902"/>
                  </a:cubicBezTo>
                  <a:cubicBezTo>
                    <a:pt x="178057" y="237202"/>
                    <a:pt x="178357" y="237502"/>
                    <a:pt x="178357" y="237802"/>
                  </a:cubicBezTo>
                  <a:lnTo>
                    <a:pt x="194870" y="261821"/>
                  </a:lnTo>
                  <a:cubicBezTo>
                    <a:pt x="196671" y="263922"/>
                    <a:pt x="196671" y="267225"/>
                    <a:pt x="194570" y="269026"/>
                  </a:cubicBezTo>
                  <a:cubicBezTo>
                    <a:pt x="194269" y="269326"/>
                    <a:pt x="193669" y="269626"/>
                    <a:pt x="193369" y="269927"/>
                  </a:cubicBezTo>
                  <a:cubicBezTo>
                    <a:pt x="168450" y="288241"/>
                    <a:pt x="138427" y="297548"/>
                    <a:pt x="107504" y="297247"/>
                  </a:cubicBezTo>
                  <a:cubicBezTo>
                    <a:pt x="78682" y="297848"/>
                    <a:pt x="51061" y="286139"/>
                    <a:pt x="31546" y="265724"/>
                  </a:cubicBezTo>
                  <a:cubicBezTo>
                    <a:pt x="10831" y="245909"/>
                    <a:pt x="-578" y="218288"/>
                    <a:pt x="23" y="190066"/>
                  </a:cubicBezTo>
                  <a:lnTo>
                    <a:pt x="23" y="101199"/>
                  </a:lnTo>
                  <a:cubicBezTo>
                    <a:pt x="-278" y="45357"/>
                    <a:pt x="45357" y="323"/>
                    <a:pt x="101499" y="23"/>
                  </a:cubicBezTo>
                  <a:lnTo>
                    <a:pt x="101499" y="23"/>
                  </a:lnTo>
                  <a:cubicBezTo>
                    <a:pt x="128820" y="-577"/>
                    <a:pt x="154940" y="10531"/>
                    <a:pt x="173554" y="29746"/>
                  </a:cubicBezTo>
                  <a:cubicBezTo>
                    <a:pt x="193069" y="48360"/>
                    <a:pt x="203576" y="74179"/>
                    <a:pt x="202976" y="101199"/>
                  </a:cubicBezTo>
                  <a:lnTo>
                    <a:pt x="202976" y="160344"/>
                  </a:lnTo>
                  <a:cubicBezTo>
                    <a:pt x="202976" y="164247"/>
                    <a:pt x="201175" y="166349"/>
                    <a:pt x="197272" y="166349"/>
                  </a:cubicBezTo>
                  <a:moveTo>
                    <a:pt x="162445" y="101800"/>
                  </a:moveTo>
                  <a:cubicBezTo>
                    <a:pt x="162746" y="85588"/>
                    <a:pt x="156441" y="69976"/>
                    <a:pt x="144732" y="58567"/>
                  </a:cubicBezTo>
                  <a:cubicBezTo>
                    <a:pt x="133323" y="46858"/>
                    <a:pt x="117711" y="40554"/>
                    <a:pt x="101499" y="40854"/>
                  </a:cubicBezTo>
                  <a:cubicBezTo>
                    <a:pt x="85287" y="40554"/>
                    <a:pt x="69976" y="46858"/>
                    <a:pt x="58867" y="58567"/>
                  </a:cubicBezTo>
                  <a:cubicBezTo>
                    <a:pt x="46858" y="69976"/>
                    <a:pt x="40253" y="85588"/>
                    <a:pt x="40553" y="101800"/>
                  </a:cubicBezTo>
                  <a:lnTo>
                    <a:pt x="40553" y="120714"/>
                  </a:lnTo>
                  <a:cubicBezTo>
                    <a:pt x="40253" y="123716"/>
                    <a:pt x="42355" y="126418"/>
                    <a:pt x="45357" y="126719"/>
                  </a:cubicBezTo>
                  <a:cubicBezTo>
                    <a:pt x="45657" y="126719"/>
                    <a:pt x="46258" y="126719"/>
                    <a:pt x="46558" y="126719"/>
                  </a:cubicBezTo>
                  <a:lnTo>
                    <a:pt x="157041" y="126719"/>
                  </a:lnTo>
                  <a:cubicBezTo>
                    <a:pt x="160944" y="126719"/>
                    <a:pt x="162746" y="124617"/>
                    <a:pt x="162746" y="120714"/>
                  </a:cubicBezTo>
                  <a:lnTo>
                    <a:pt x="162746" y="101800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28" name="Forme libre : forme 227">
              <a:extLst>
                <a:ext uri="{FF2B5EF4-FFF2-40B4-BE49-F238E27FC236}">
                  <a16:creationId xmlns:a16="http://schemas.microsoft.com/office/drawing/2014/main" id="{783B00F1-95A1-4A69-98A5-6B6648439E4A}"/>
                </a:ext>
              </a:extLst>
            </p:cNvPr>
            <p:cNvSpPr/>
            <p:nvPr/>
          </p:nvSpPr>
          <p:spPr>
            <a:xfrm>
              <a:off x="7334113" y="3998799"/>
              <a:ext cx="189143" cy="297224"/>
            </a:xfrm>
            <a:custGeom>
              <a:avLst/>
              <a:gdLst>
                <a:gd name="connsiteX0" fmla="*/ 18016 w 189142"/>
                <a:gd name="connsiteY0" fmla="*/ 238687 h 297224"/>
                <a:gd name="connsiteX1" fmla="*/ 102079 w 189142"/>
                <a:gd name="connsiteY1" fmla="*/ 260003 h 297224"/>
                <a:gd name="connsiteX2" fmla="*/ 135705 w 189142"/>
                <a:gd name="connsiteY2" fmla="*/ 245893 h 297224"/>
                <a:gd name="connsiteX3" fmla="*/ 149815 w 189142"/>
                <a:gd name="connsiteY3" fmla="*/ 212267 h 297224"/>
                <a:gd name="connsiteX4" fmla="*/ 140208 w 189142"/>
                <a:gd name="connsiteY4" fmla="*/ 185847 h 297224"/>
                <a:gd name="connsiteX5" fmla="*/ 116790 w 189142"/>
                <a:gd name="connsiteY5" fmla="*/ 169935 h 297224"/>
                <a:gd name="connsiteX6" fmla="*/ 57646 w 189142"/>
                <a:gd name="connsiteY6" fmla="*/ 153723 h 297224"/>
                <a:gd name="connsiteX7" fmla="*/ 2 w 189142"/>
                <a:gd name="connsiteY7" fmla="*/ 78967 h 297224"/>
                <a:gd name="connsiteX8" fmla="*/ 77761 w 189142"/>
                <a:gd name="connsiteY8" fmla="*/ 7 h 297224"/>
                <a:gd name="connsiteX9" fmla="*/ 79262 w 189142"/>
                <a:gd name="connsiteY9" fmla="*/ 7 h 297224"/>
                <a:gd name="connsiteX10" fmla="*/ 177136 w 189142"/>
                <a:gd name="connsiteY10" fmla="*/ 26427 h 297224"/>
                <a:gd name="connsiteX11" fmla="*/ 179538 w 189142"/>
                <a:gd name="connsiteY11" fmla="*/ 33633 h 297224"/>
                <a:gd name="connsiteX12" fmla="*/ 178637 w 189142"/>
                <a:gd name="connsiteY12" fmla="*/ 34834 h 297224"/>
                <a:gd name="connsiteX13" fmla="*/ 164226 w 189142"/>
                <a:gd name="connsiteY13" fmla="*/ 58852 h 297224"/>
                <a:gd name="connsiteX14" fmla="*/ 156420 w 189142"/>
                <a:gd name="connsiteY14" fmla="*/ 61554 h 297224"/>
                <a:gd name="connsiteX15" fmla="*/ 78361 w 189142"/>
                <a:gd name="connsiteY15" fmla="*/ 39637 h 297224"/>
                <a:gd name="connsiteX16" fmla="*/ 50740 w 189142"/>
                <a:gd name="connsiteY16" fmla="*/ 51046 h 297224"/>
                <a:gd name="connsiteX17" fmla="*/ 40232 w 189142"/>
                <a:gd name="connsiteY17" fmla="*/ 77466 h 297224"/>
                <a:gd name="connsiteX18" fmla="*/ 67553 w 189142"/>
                <a:gd name="connsiteY18" fmla="*/ 112892 h 297224"/>
                <a:gd name="connsiteX19" fmla="*/ 126398 w 189142"/>
                <a:gd name="connsiteY19" fmla="*/ 128504 h 297224"/>
                <a:gd name="connsiteX20" fmla="*/ 172933 w 189142"/>
                <a:gd name="connsiteY20" fmla="*/ 159427 h 297224"/>
                <a:gd name="connsiteX21" fmla="*/ 153418 w 189142"/>
                <a:gd name="connsiteY21" fmla="*/ 282821 h 297224"/>
                <a:gd name="connsiteX22" fmla="*/ 101779 w 189142"/>
                <a:gd name="connsiteY22" fmla="*/ 299633 h 297224"/>
                <a:gd name="connsiteX23" fmla="*/ 101779 w 189142"/>
                <a:gd name="connsiteY23" fmla="*/ 299633 h 297224"/>
                <a:gd name="connsiteX24" fmla="*/ 18016 w 189142"/>
                <a:gd name="connsiteY24" fmla="*/ 238687 h 297224"/>
                <a:gd name="connsiteX25" fmla="*/ 18016 w 189142"/>
                <a:gd name="connsiteY25" fmla="*/ 238687 h 297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9142" h="297224">
                  <a:moveTo>
                    <a:pt x="18016" y="238687"/>
                  </a:moveTo>
                  <a:cubicBezTo>
                    <a:pt x="43835" y="252498"/>
                    <a:pt x="72657" y="259703"/>
                    <a:pt x="102079" y="260003"/>
                  </a:cubicBezTo>
                  <a:cubicBezTo>
                    <a:pt x="114689" y="260304"/>
                    <a:pt x="126998" y="255200"/>
                    <a:pt x="135705" y="245893"/>
                  </a:cubicBezTo>
                  <a:cubicBezTo>
                    <a:pt x="144711" y="237186"/>
                    <a:pt x="149815" y="224877"/>
                    <a:pt x="149815" y="212267"/>
                  </a:cubicBezTo>
                  <a:cubicBezTo>
                    <a:pt x="149515" y="202660"/>
                    <a:pt x="146212" y="193353"/>
                    <a:pt x="140208" y="185847"/>
                  </a:cubicBezTo>
                  <a:cubicBezTo>
                    <a:pt x="134504" y="178042"/>
                    <a:pt x="126097" y="172637"/>
                    <a:pt x="116790" y="169935"/>
                  </a:cubicBezTo>
                  <a:lnTo>
                    <a:pt x="57646" y="153723"/>
                  </a:lnTo>
                  <a:cubicBezTo>
                    <a:pt x="23720" y="144716"/>
                    <a:pt x="2" y="114093"/>
                    <a:pt x="2" y="78967"/>
                  </a:cubicBezTo>
                  <a:cubicBezTo>
                    <a:pt x="-298" y="35734"/>
                    <a:pt x="34228" y="608"/>
                    <a:pt x="77761" y="7"/>
                  </a:cubicBezTo>
                  <a:cubicBezTo>
                    <a:pt x="78361" y="7"/>
                    <a:pt x="78962" y="7"/>
                    <a:pt x="79262" y="7"/>
                  </a:cubicBezTo>
                  <a:cubicBezTo>
                    <a:pt x="113788" y="-293"/>
                    <a:pt x="147413" y="8714"/>
                    <a:pt x="177136" y="26427"/>
                  </a:cubicBezTo>
                  <a:cubicBezTo>
                    <a:pt x="179838" y="27628"/>
                    <a:pt x="181039" y="30931"/>
                    <a:pt x="179538" y="33633"/>
                  </a:cubicBezTo>
                  <a:cubicBezTo>
                    <a:pt x="179237" y="33933"/>
                    <a:pt x="178937" y="34533"/>
                    <a:pt x="178637" y="34834"/>
                  </a:cubicBezTo>
                  <a:lnTo>
                    <a:pt x="164226" y="58852"/>
                  </a:lnTo>
                  <a:cubicBezTo>
                    <a:pt x="162124" y="62755"/>
                    <a:pt x="159122" y="63355"/>
                    <a:pt x="156420" y="61554"/>
                  </a:cubicBezTo>
                  <a:cubicBezTo>
                    <a:pt x="133002" y="47143"/>
                    <a:pt x="105982" y="39637"/>
                    <a:pt x="78361" y="39637"/>
                  </a:cubicBezTo>
                  <a:cubicBezTo>
                    <a:pt x="67853" y="39337"/>
                    <a:pt x="57946" y="43540"/>
                    <a:pt x="50740" y="51046"/>
                  </a:cubicBezTo>
                  <a:cubicBezTo>
                    <a:pt x="43835" y="57951"/>
                    <a:pt x="39932" y="67558"/>
                    <a:pt x="40232" y="77466"/>
                  </a:cubicBezTo>
                  <a:cubicBezTo>
                    <a:pt x="39031" y="94579"/>
                    <a:pt x="50740" y="109890"/>
                    <a:pt x="67553" y="112892"/>
                  </a:cubicBezTo>
                  <a:lnTo>
                    <a:pt x="126398" y="128504"/>
                  </a:lnTo>
                  <a:cubicBezTo>
                    <a:pt x="145011" y="133308"/>
                    <a:pt x="161524" y="144116"/>
                    <a:pt x="172933" y="159427"/>
                  </a:cubicBezTo>
                  <a:cubicBezTo>
                    <a:pt x="201754" y="198757"/>
                    <a:pt x="193048" y="253999"/>
                    <a:pt x="153418" y="282821"/>
                  </a:cubicBezTo>
                  <a:cubicBezTo>
                    <a:pt x="138407" y="293629"/>
                    <a:pt x="120393" y="299633"/>
                    <a:pt x="101779" y="299633"/>
                  </a:cubicBezTo>
                  <a:lnTo>
                    <a:pt x="101779" y="299633"/>
                  </a:lnTo>
                  <a:lnTo>
                    <a:pt x="18016" y="238687"/>
                  </a:lnTo>
                  <a:lnTo>
                    <a:pt x="18016" y="238687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29" name="Forme libre : forme 228">
              <a:extLst>
                <a:ext uri="{FF2B5EF4-FFF2-40B4-BE49-F238E27FC236}">
                  <a16:creationId xmlns:a16="http://schemas.microsoft.com/office/drawing/2014/main" id="{794B9F09-C0B7-401F-8070-8C173E17DB69}"/>
                </a:ext>
              </a:extLst>
            </p:cNvPr>
            <p:cNvSpPr/>
            <p:nvPr/>
          </p:nvSpPr>
          <p:spPr>
            <a:xfrm>
              <a:off x="7700091" y="3921920"/>
              <a:ext cx="180136" cy="219165"/>
            </a:xfrm>
            <a:custGeom>
              <a:avLst/>
              <a:gdLst>
                <a:gd name="connsiteX0" fmla="*/ 44133 w 180136"/>
                <a:gd name="connsiteY0" fmla="*/ 219494 h 219165"/>
                <a:gd name="connsiteX1" fmla="*/ 44133 w 180136"/>
                <a:gd name="connsiteY1" fmla="*/ 132128 h 219165"/>
                <a:gd name="connsiteX2" fmla="*/ 38129 w 180136"/>
                <a:gd name="connsiteY2" fmla="*/ 126424 h 219165"/>
                <a:gd name="connsiteX3" fmla="*/ 6005 w 180136"/>
                <a:gd name="connsiteY3" fmla="*/ 126424 h 219165"/>
                <a:gd name="connsiteX4" fmla="*/ 0 w 180136"/>
                <a:gd name="connsiteY4" fmla="*/ 120419 h 219165"/>
                <a:gd name="connsiteX5" fmla="*/ 0 w 180136"/>
                <a:gd name="connsiteY5" fmla="*/ 91598 h 219165"/>
                <a:gd name="connsiteX6" fmla="*/ 6005 w 180136"/>
                <a:gd name="connsiteY6" fmla="*/ 86193 h 219165"/>
                <a:gd name="connsiteX7" fmla="*/ 37829 w 180136"/>
                <a:gd name="connsiteY7" fmla="*/ 86193 h 219165"/>
                <a:gd name="connsiteX8" fmla="*/ 43833 w 180136"/>
                <a:gd name="connsiteY8" fmla="*/ 81390 h 219165"/>
                <a:gd name="connsiteX9" fmla="*/ 43833 w 180136"/>
                <a:gd name="connsiteY9" fmla="*/ 80189 h 219165"/>
                <a:gd name="connsiteX10" fmla="*/ 43833 w 180136"/>
                <a:gd name="connsiteY10" fmla="*/ 6033 h 219165"/>
                <a:gd name="connsiteX11" fmla="*/ 48937 w 180136"/>
                <a:gd name="connsiteY11" fmla="*/ 28 h 219165"/>
                <a:gd name="connsiteX12" fmla="*/ 50138 w 180136"/>
                <a:gd name="connsiteY12" fmla="*/ 28 h 219165"/>
                <a:gd name="connsiteX13" fmla="*/ 78059 w 180136"/>
                <a:gd name="connsiteY13" fmla="*/ 28 h 219165"/>
                <a:gd name="connsiteX14" fmla="*/ 84064 w 180136"/>
                <a:gd name="connsiteY14" fmla="*/ 5132 h 219165"/>
                <a:gd name="connsiteX15" fmla="*/ 84064 w 180136"/>
                <a:gd name="connsiteY15" fmla="*/ 6333 h 219165"/>
                <a:gd name="connsiteX16" fmla="*/ 84064 w 180136"/>
                <a:gd name="connsiteY16" fmla="*/ 80189 h 219165"/>
                <a:gd name="connsiteX17" fmla="*/ 89167 w 180136"/>
                <a:gd name="connsiteY17" fmla="*/ 86193 h 219165"/>
                <a:gd name="connsiteX18" fmla="*/ 90368 w 180136"/>
                <a:gd name="connsiteY18" fmla="*/ 86193 h 219165"/>
                <a:gd name="connsiteX19" fmla="*/ 174732 w 180136"/>
                <a:gd name="connsiteY19" fmla="*/ 86193 h 219165"/>
                <a:gd name="connsiteX20" fmla="*/ 180737 w 180136"/>
                <a:gd name="connsiteY20" fmla="*/ 91598 h 219165"/>
                <a:gd name="connsiteX21" fmla="*/ 180737 w 180136"/>
                <a:gd name="connsiteY21" fmla="*/ 120419 h 219165"/>
                <a:gd name="connsiteX22" fmla="*/ 174732 w 180136"/>
                <a:gd name="connsiteY22" fmla="*/ 126424 h 219165"/>
                <a:gd name="connsiteX23" fmla="*/ 90068 w 180136"/>
                <a:gd name="connsiteY23" fmla="*/ 126424 h 219165"/>
                <a:gd name="connsiteX24" fmla="*/ 84064 w 180136"/>
                <a:gd name="connsiteY24" fmla="*/ 132128 h 219165"/>
                <a:gd name="connsiteX25" fmla="*/ 84064 w 180136"/>
                <a:gd name="connsiteY25" fmla="*/ 198778 h 219165"/>
                <a:gd name="connsiteX26" fmla="*/ 44133 w 180136"/>
                <a:gd name="connsiteY26" fmla="*/ 219494 h 219165"/>
                <a:gd name="connsiteX27" fmla="*/ 44133 w 180136"/>
                <a:gd name="connsiteY27" fmla="*/ 219494 h 219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80136" h="219165">
                  <a:moveTo>
                    <a:pt x="44133" y="219494"/>
                  </a:moveTo>
                  <a:lnTo>
                    <a:pt x="44133" y="132128"/>
                  </a:lnTo>
                  <a:cubicBezTo>
                    <a:pt x="44133" y="128225"/>
                    <a:pt x="42032" y="126424"/>
                    <a:pt x="38129" y="126424"/>
                  </a:cubicBezTo>
                  <a:lnTo>
                    <a:pt x="6005" y="126424"/>
                  </a:lnTo>
                  <a:cubicBezTo>
                    <a:pt x="1501" y="126424"/>
                    <a:pt x="0" y="124322"/>
                    <a:pt x="0" y="120419"/>
                  </a:cubicBezTo>
                  <a:lnTo>
                    <a:pt x="0" y="91598"/>
                  </a:lnTo>
                  <a:cubicBezTo>
                    <a:pt x="0" y="87695"/>
                    <a:pt x="1501" y="86193"/>
                    <a:pt x="6005" y="86193"/>
                  </a:cubicBezTo>
                  <a:lnTo>
                    <a:pt x="37829" y="86193"/>
                  </a:lnTo>
                  <a:cubicBezTo>
                    <a:pt x="40831" y="86494"/>
                    <a:pt x="43533" y="84392"/>
                    <a:pt x="43833" y="81390"/>
                  </a:cubicBezTo>
                  <a:cubicBezTo>
                    <a:pt x="43833" y="81090"/>
                    <a:pt x="43833" y="80489"/>
                    <a:pt x="43833" y="80189"/>
                  </a:cubicBezTo>
                  <a:lnTo>
                    <a:pt x="43833" y="6033"/>
                  </a:lnTo>
                  <a:cubicBezTo>
                    <a:pt x="43533" y="3031"/>
                    <a:pt x="45935" y="329"/>
                    <a:pt x="48937" y="28"/>
                  </a:cubicBezTo>
                  <a:cubicBezTo>
                    <a:pt x="49237" y="28"/>
                    <a:pt x="49537" y="28"/>
                    <a:pt x="50138" y="28"/>
                  </a:cubicBezTo>
                  <a:lnTo>
                    <a:pt x="78059" y="28"/>
                  </a:lnTo>
                  <a:cubicBezTo>
                    <a:pt x="81061" y="-272"/>
                    <a:pt x="83763" y="1830"/>
                    <a:pt x="84064" y="5132"/>
                  </a:cubicBezTo>
                  <a:cubicBezTo>
                    <a:pt x="84064" y="5433"/>
                    <a:pt x="84064" y="5733"/>
                    <a:pt x="84064" y="6333"/>
                  </a:cubicBezTo>
                  <a:lnTo>
                    <a:pt x="84064" y="80189"/>
                  </a:lnTo>
                  <a:cubicBezTo>
                    <a:pt x="83763" y="83191"/>
                    <a:pt x="86165" y="85893"/>
                    <a:pt x="89167" y="86193"/>
                  </a:cubicBezTo>
                  <a:cubicBezTo>
                    <a:pt x="89468" y="86193"/>
                    <a:pt x="89768" y="86193"/>
                    <a:pt x="90368" y="86193"/>
                  </a:cubicBezTo>
                  <a:lnTo>
                    <a:pt x="174732" y="86193"/>
                  </a:lnTo>
                  <a:cubicBezTo>
                    <a:pt x="179235" y="86193"/>
                    <a:pt x="180737" y="87695"/>
                    <a:pt x="180737" y="91598"/>
                  </a:cubicBezTo>
                  <a:lnTo>
                    <a:pt x="180737" y="120419"/>
                  </a:lnTo>
                  <a:cubicBezTo>
                    <a:pt x="180737" y="124322"/>
                    <a:pt x="179235" y="126424"/>
                    <a:pt x="174732" y="126424"/>
                  </a:cubicBezTo>
                  <a:lnTo>
                    <a:pt x="90068" y="126424"/>
                  </a:lnTo>
                  <a:cubicBezTo>
                    <a:pt x="86165" y="126424"/>
                    <a:pt x="84064" y="128225"/>
                    <a:pt x="84064" y="132128"/>
                  </a:cubicBezTo>
                  <a:lnTo>
                    <a:pt x="84064" y="198778"/>
                  </a:lnTo>
                  <a:lnTo>
                    <a:pt x="44133" y="219494"/>
                  </a:lnTo>
                  <a:lnTo>
                    <a:pt x="44133" y="219494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30" name="Forme libre : forme 229">
              <a:extLst>
                <a:ext uri="{FF2B5EF4-FFF2-40B4-BE49-F238E27FC236}">
                  <a16:creationId xmlns:a16="http://schemas.microsoft.com/office/drawing/2014/main" id="{6D72FB6F-B50E-4304-95C6-AC63A25682B0}"/>
                </a:ext>
              </a:extLst>
            </p:cNvPr>
            <p:cNvSpPr/>
            <p:nvPr/>
          </p:nvSpPr>
          <p:spPr>
            <a:xfrm>
              <a:off x="6709034" y="4369579"/>
              <a:ext cx="183138" cy="288217"/>
            </a:xfrm>
            <a:custGeom>
              <a:avLst/>
              <a:gdLst>
                <a:gd name="connsiteX0" fmla="*/ 156127 w 183138"/>
                <a:gd name="connsiteY0" fmla="*/ 130306 h 288217"/>
                <a:gd name="connsiteX1" fmla="*/ 172039 w 183138"/>
                <a:gd name="connsiteY1" fmla="*/ 79568 h 288217"/>
                <a:gd name="connsiteX2" fmla="*/ 149221 w 183138"/>
                <a:gd name="connsiteY2" fmla="*/ 23425 h 288217"/>
                <a:gd name="connsiteX3" fmla="*/ 93980 w 183138"/>
                <a:gd name="connsiteY3" fmla="*/ 8 h 288217"/>
                <a:gd name="connsiteX4" fmla="*/ 17722 w 183138"/>
                <a:gd name="connsiteY4" fmla="*/ 8 h 288217"/>
                <a:gd name="connsiteX5" fmla="*/ 9 w 183138"/>
                <a:gd name="connsiteY5" fmla="*/ 17721 h 288217"/>
                <a:gd name="connsiteX6" fmla="*/ 9 w 183138"/>
                <a:gd name="connsiteY6" fmla="*/ 19222 h 288217"/>
                <a:gd name="connsiteX7" fmla="*/ 9 w 183138"/>
                <a:gd name="connsiteY7" fmla="*/ 271713 h 288217"/>
                <a:gd name="connsiteX8" fmla="*/ 16821 w 183138"/>
                <a:gd name="connsiteY8" fmla="*/ 290327 h 288217"/>
                <a:gd name="connsiteX9" fmla="*/ 18022 w 183138"/>
                <a:gd name="connsiteY9" fmla="*/ 290327 h 288217"/>
                <a:gd name="connsiteX10" fmla="*/ 103587 w 183138"/>
                <a:gd name="connsiteY10" fmla="*/ 290327 h 288217"/>
                <a:gd name="connsiteX11" fmla="*/ 160930 w 183138"/>
                <a:gd name="connsiteY11" fmla="*/ 266008 h 288217"/>
                <a:gd name="connsiteX12" fmla="*/ 185249 w 183138"/>
                <a:gd name="connsiteY12" fmla="*/ 207164 h 288217"/>
                <a:gd name="connsiteX13" fmla="*/ 185249 w 183138"/>
                <a:gd name="connsiteY13" fmla="*/ 195455 h 288217"/>
                <a:gd name="connsiteX14" fmla="*/ 172339 w 183138"/>
                <a:gd name="connsiteY14" fmla="*/ 148920 h 288217"/>
                <a:gd name="connsiteX15" fmla="*/ 157027 w 183138"/>
                <a:gd name="connsiteY15" fmla="*/ 130006 h 288217"/>
                <a:gd name="connsiteX16" fmla="*/ 111093 w 183138"/>
                <a:gd name="connsiteY16" fmla="*/ 100283 h 288217"/>
                <a:gd name="connsiteX17" fmla="*/ 90977 w 183138"/>
                <a:gd name="connsiteY17" fmla="*/ 107789 h 288217"/>
                <a:gd name="connsiteX18" fmla="*/ 53749 w 183138"/>
                <a:gd name="connsiteY18" fmla="*/ 107789 h 288217"/>
                <a:gd name="connsiteX19" fmla="*/ 53749 w 183138"/>
                <a:gd name="connsiteY19" fmla="*/ 55249 h 288217"/>
                <a:gd name="connsiteX20" fmla="*/ 93980 w 183138"/>
                <a:gd name="connsiteY20" fmla="*/ 55249 h 288217"/>
                <a:gd name="connsiteX21" fmla="*/ 110792 w 183138"/>
                <a:gd name="connsiteY21" fmla="*/ 61854 h 288217"/>
                <a:gd name="connsiteX22" fmla="*/ 117698 w 183138"/>
                <a:gd name="connsiteY22" fmla="*/ 78967 h 288217"/>
                <a:gd name="connsiteX23" fmla="*/ 110192 w 183138"/>
                <a:gd name="connsiteY23" fmla="*/ 99683 h 288217"/>
                <a:gd name="connsiteX24" fmla="*/ 53749 w 183138"/>
                <a:gd name="connsiteY24" fmla="*/ 163931 h 288217"/>
                <a:gd name="connsiteX25" fmla="*/ 99384 w 183138"/>
                <a:gd name="connsiteY25" fmla="*/ 163931 h 288217"/>
                <a:gd name="connsiteX26" fmla="*/ 121000 w 183138"/>
                <a:gd name="connsiteY26" fmla="*/ 173238 h 288217"/>
                <a:gd name="connsiteX27" fmla="*/ 130307 w 183138"/>
                <a:gd name="connsiteY27" fmla="*/ 195755 h 288217"/>
                <a:gd name="connsiteX28" fmla="*/ 130307 w 183138"/>
                <a:gd name="connsiteY28" fmla="*/ 206864 h 288217"/>
                <a:gd name="connsiteX29" fmla="*/ 122201 w 183138"/>
                <a:gd name="connsiteY29" fmla="*/ 226078 h 288217"/>
                <a:gd name="connsiteX30" fmla="*/ 102986 w 183138"/>
                <a:gd name="connsiteY30" fmla="*/ 234485 h 288217"/>
                <a:gd name="connsiteX31" fmla="*/ 53749 w 183138"/>
                <a:gd name="connsiteY31" fmla="*/ 234485 h 288217"/>
                <a:gd name="connsiteX32" fmla="*/ 53749 w 183138"/>
                <a:gd name="connsiteY32" fmla="*/ 163931 h 288217"/>
                <a:gd name="connsiteX33" fmla="*/ 53749 w 183138"/>
                <a:gd name="connsiteY33" fmla="*/ 163931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83138" h="288217">
                  <a:moveTo>
                    <a:pt x="156127" y="130306"/>
                  </a:moveTo>
                  <a:cubicBezTo>
                    <a:pt x="166935" y="115595"/>
                    <a:pt x="172639" y="97882"/>
                    <a:pt x="172039" y="79568"/>
                  </a:cubicBezTo>
                  <a:cubicBezTo>
                    <a:pt x="172339" y="58552"/>
                    <a:pt x="163933" y="38137"/>
                    <a:pt x="149221" y="23425"/>
                  </a:cubicBezTo>
                  <a:cubicBezTo>
                    <a:pt x="134811" y="8114"/>
                    <a:pt x="114996" y="-292"/>
                    <a:pt x="93980" y="8"/>
                  </a:cubicBezTo>
                  <a:lnTo>
                    <a:pt x="17722" y="8"/>
                  </a:lnTo>
                  <a:cubicBezTo>
                    <a:pt x="8115" y="8"/>
                    <a:pt x="309" y="7814"/>
                    <a:pt x="9" y="17721"/>
                  </a:cubicBezTo>
                  <a:cubicBezTo>
                    <a:pt x="9" y="18322"/>
                    <a:pt x="9" y="18922"/>
                    <a:pt x="9" y="19222"/>
                  </a:cubicBezTo>
                  <a:lnTo>
                    <a:pt x="9" y="271713"/>
                  </a:lnTo>
                  <a:cubicBezTo>
                    <a:pt x="-292" y="281620"/>
                    <a:pt x="7214" y="290027"/>
                    <a:pt x="16821" y="290327"/>
                  </a:cubicBezTo>
                  <a:cubicBezTo>
                    <a:pt x="17122" y="290327"/>
                    <a:pt x="17722" y="290327"/>
                    <a:pt x="18022" y="290327"/>
                  </a:cubicBezTo>
                  <a:lnTo>
                    <a:pt x="103587" y="290327"/>
                  </a:lnTo>
                  <a:cubicBezTo>
                    <a:pt x="125203" y="290627"/>
                    <a:pt x="145919" y="281920"/>
                    <a:pt x="160930" y="266008"/>
                  </a:cubicBezTo>
                  <a:cubicBezTo>
                    <a:pt x="176542" y="250697"/>
                    <a:pt x="185249" y="229381"/>
                    <a:pt x="185249" y="207164"/>
                  </a:cubicBezTo>
                  <a:lnTo>
                    <a:pt x="185249" y="195455"/>
                  </a:lnTo>
                  <a:cubicBezTo>
                    <a:pt x="185249" y="178943"/>
                    <a:pt x="180745" y="163031"/>
                    <a:pt x="172339" y="148920"/>
                  </a:cubicBezTo>
                  <a:cubicBezTo>
                    <a:pt x="168136" y="142015"/>
                    <a:pt x="163032" y="135410"/>
                    <a:pt x="157027" y="130006"/>
                  </a:cubicBezTo>
                  <a:moveTo>
                    <a:pt x="111093" y="100283"/>
                  </a:moveTo>
                  <a:cubicBezTo>
                    <a:pt x="105688" y="105687"/>
                    <a:pt x="98483" y="108389"/>
                    <a:pt x="90977" y="107789"/>
                  </a:cubicBezTo>
                  <a:lnTo>
                    <a:pt x="53749" y="107789"/>
                  </a:lnTo>
                  <a:lnTo>
                    <a:pt x="53749" y="55249"/>
                  </a:lnTo>
                  <a:lnTo>
                    <a:pt x="93980" y="55249"/>
                  </a:lnTo>
                  <a:cubicBezTo>
                    <a:pt x="100284" y="54949"/>
                    <a:pt x="106289" y="57351"/>
                    <a:pt x="110792" y="61854"/>
                  </a:cubicBezTo>
                  <a:cubicBezTo>
                    <a:pt x="115596" y="66358"/>
                    <a:pt x="117998" y="72663"/>
                    <a:pt x="117698" y="78967"/>
                  </a:cubicBezTo>
                  <a:cubicBezTo>
                    <a:pt x="117998" y="86773"/>
                    <a:pt x="115296" y="94279"/>
                    <a:pt x="110192" y="99683"/>
                  </a:cubicBezTo>
                  <a:moveTo>
                    <a:pt x="53749" y="163931"/>
                  </a:moveTo>
                  <a:lnTo>
                    <a:pt x="99384" y="163931"/>
                  </a:lnTo>
                  <a:cubicBezTo>
                    <a:pt x="107490" y="163931"/>
                    <a:pt x="115596" y="167234"/>
                    <a:pt x="121000" y="173238"/>
                  </a:cubicBezTo>
                  <a:cubicBezTo>
                    <a:pt x="127005" y="179243"/>
                    <a:pt x="130607" y="187349"/>
                    <a:pt x="130307" y="195755"/>
                  </a:cubicBezTo>
                  <a:lnTo>
                    <a:pt x="130307" y="206864"/>
                  </a:lnTo>
                  <a:cubicBezTo>
                    <a:pt x="130307" y="214069"/>
                    <a:pt x="127305" y="221275"/>
                    <a:pt x="122201" y="226078"/>
                  </a:cubicBezTo>
                  <a:cubicBezTo>
                    <a:pt x="117097" y="231482"/>
                    <a:pt x="110192" y="234485"/>
                    <a:pt x="102986" y="234485"/>
                  </a:cubicBezTo>
                  <a:lnTo>
                    <a:pt x="53749" y="234485"/>
                  </a:lnTo>
                  <a:lnTo>
                    <a:pt x="53749" y="163931"/>
                  </a:lnTo>
                  <a:lnTo>
                    <a:pt x="53749" y="163931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31" name="Forme libre : forme 230">
              <a:extLst>
                <a:ext uri="{FF2B5EF4-FFF2-40B4-BE49-F238E27FC236}">
                  <a16:creationId xmlns:a16="http://schemas.microsoft.com/office/drawing/2014/main" id="{657E3F82-8F6D-4B3C-9CA0-B9A015FFE96A}"/>
                </a:ext>
              </a:extLst>
            </p:cNvPr>
            <p:cNvSpPr/>
            <p:nvPr/>
          </p:nvSpPr>
          <p:spPr>
            <a:xfrm>
              <a:off x="6940511" y="4365677"/>
              <a:ext cx="189143" cy="297224"/>
            </a:xfrm>
            <a:custGeom>
              <a:avLst/>
              <a:gdLst>
                <a:gd name="connsiteX0" fmla="*/ 95479 w 189142"/>
                <a:gd name="connsiteY0" fmla="*/ 6 h 297224"/>
                <a:gd name="connsiteX1" fmla="*/ 27928 w 189142"/>
                <a:gd name="connsiteY1" fmla="*/ 28828 h 297224"/>
                <a:gd name="connsiteX2" fmla="*/ 7 w 189142"/>
                <a:gd name="connsiteY2" fmla="*/ 97880 h 297224"/>
                <a:gd name="connsiteX3" fmla="*/ 7 w 189142"/>
                <a:gd name="connsiteY3" fmla="*/ 200858 h 297224"/>
                <a:gd name="connsiteX4" fmla="*/ 27928 w 189142"/>
                <a:gd name="connsiteY4" fmla="*/ 269910 h 297224"/>
                <a:gd name="connsiteX5" fmla="*/ 162429 w 189142"/>
                <a:gd name="connsiteY5" fmla="*/ 270811 h 297224"/>
                <a:gd name="connsiteX6" fmla="*/ 163330 w 189142"/>
                <a:gd name="connsiteY6" fmla="*/ 269910 h 297224"/>
                <a:gd name="connsiteX7" fmla="*/ 191551 w 189142"/>
                <a:gd name="connsiteY7" fmla="*/ 200858 h 297224"/>
                <a:gd name="connsiteX8" fmla="*/ 191551 w 189142"/>
                <a:gd name="connsiteY8" fmla="*/ 97880 h 297224"/>
                <a:gd name="connsiteX9" fmla="*/ 163330 w 189142"/>
                <a:gd name="connsiteY9" fmla="*/ 28828 h 297224"/>
                <a:gd name="connsiteX10" fmla="*/ 95479 w 189142"/>
                <a:gd name="connsiteY10" fmla="*/ 6 h 297224"/>
                <a:gd name="connsiteX11" fmla="*/ 54348 w 189142"/>
                <a:gd name="connsiteY11" fmla="*/ 97880 h 297224"/>
                <a:gd name="connsiteX12" fmla="*/ 67257 w 189142"/>
                <a:gd name="connsiteY12" fmla="*/ 67858 h 297224"/>
                <a:gd name="connsiteX13" fmla="*/ 125501 w 189142"/>
                <a:gd name="connsiteY13" fmla="*/ 67858 h 297224"/>
                <a:gd name="connsiteX14" fmla="*/ 138411 w 189142"/>
                <a:gd name="connsiteY14" fmla="*/ 97880 h 297224"/>
                <a:gd name="connsiteX15" fmla="*/ 138411 w 189142"/>
                <a:gd name="connsiteY15" fmla="*/ 200858 h 297224"/>
                <a:gd name="connsiteX16" fmla="*/ 125501 w 189142"/>
                <a:gd name="connsiteY16" fmla="*/ 230580 h 297224"/>
                <a:gd name="connsiteX17" fmla="*/ 68458 w 189142"/>
                <a:gd name="connsiteY17" fmla="*/ 232081 h 297224"/>
                <a:gd name="connsiteX18" fmla="*/ 67257 w 189142"/>
                <a:gd name="connsiteY18" fmla="*/ 230580 h 297224"/>
                <a:gd name="connsiteX19" fmla="*/ 54948 w 189142"/>
                <a:gd name="connsiteY19" fmla="*/ 200858 h 297224"/>
                <a:gd name="connsiteX20" fmla="*/ 54348 w 189142"/>
                <a:gd name="connsiteY20" fmla="*/ 97880 h 297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9142" h="297224">
                  <a:moveTo>
                    <a:pt x="95479" y="6"/>
                  </a:moveTo>
                  <a:cubicBezTo>
                    <a:pt x="69959" y="-294"/>
                    <a:pt x="45641" y="9914"/>
                    <a:pt x="27928" y="28828"/>
                  </a:cubicBezTo>
                  <a:cubicBezTo>
                    <a:pt x="9614" y="47142"/>
                    <a:pt x="-294" y="72061"/>
                    <a:pt x="7" y="97880"/>
                  </a:cubicBezTo>
                  <a:lnTo>
                    <a:pt x="7" y="200858"/>
                  </a:lnTo>
                  <a:cubicBezTo>
                    <a:pt x="-294" y="226677"/>
                    <a:pt x="9914" y="251896"/>
                    <a:pt x="27928" y="269910"/>
                  </a:cubicBezTo>
                  <a:cubicBezTo>
                    <a:pt x="64856" y="307738"/>
                    <a:pt x="124901" y="308039"/>
                    <a:pt x="162429" y="270811"/>
                  </a:cubicBezTo>
                  <a:cubicBezTo>
                    <a:pt x="162730" y="270510"/>
                    <a:pt x="163030" y="270210"/>
                    <a:pt x="163330" y="269910"/>
                  </a:cubicBezTo>
                  <a:cubicBezTo>
                    <a:pt x="181644" y="251596"/>
                    <a:pt x="191852" y="226677"/>
                    <a:pt x="191551" y="200858"/>
                  </a:cubicBezTo>
                  <a:lnTo>
                    <a:pt x="191551" y="97880"/>
                  </a:lnTo>
                  <a:cubicBezTo>
                    <a:pt x="191852" y="71761"/>
                    <a:pt x="181644" y="46842"/>
                    <a:pt x="163330" y="28828"/>
                  </a:cubicBezTo>
                  <a:cubicBezTo>
                    <a:pt x="145617" y="9914"/>
                    <a:pt x="120998" y="-294"/>
                    <a:pt x="95479" y="6"/>
                  </a:cubicBezTo>
                  <a:moveTo>
                    <a:pt x="54348" y="97880"/>
                  </a:moveTo>
                  <a:cubicBezTo>
                    <a:pt x="54348" y="86472"/>
                    <a:pt x="58851" y="75363"/>
                    <a:pt x="67257" y="67858"/>
                  </a:cubicBezTo>
                  <a:cubicBezTo>
                    <a:pt x="83470" y="51645"/>
                    <a:pt x="109289" y="51645"/>
                    <a:pt x="125501" y="67858"/>
                  </a:cubicBezTo>
                  <a:cubicBezTo>
                    <a:pt x="133908" y="75663"/>
                    <a:pt x="138411" y="86472"/>
                    <a:pt x="138411" y="97880"/>
                  </a:cubicBezTo>
                  <a:lnTo>
                    <a:pt x="138411" y="200858"/>
                  </a:lnTo>
                  <a:cubicBezTo>
                    <a:pt x="138711" y="212267"/>
                    <a:pt x="133908" y="223075"/>
                    <a:pt x="125501" y="230580"/>
                  </a:cubicBezTo>
                  <a:cubicBezTo>
                    <a:pt x="110190" y="246793"/>
                    <a:pt x="84671" y="247393"/>
                    <a:pt x="68458" y="232081"/>
                  </a:cubicBezTo>
                  <a:cubicBezTo>
                    <a:pt x="67858" y="231781"/>
                    <a:pt x="67558" y="231181"/>
                    <a:pt x="67257" y="230580"/>
                  </a:cubicBezTo>
                  <a:cubicBezTo>
                    <a:pt x="59151" y="222774"/>
                    <a:pt x="54948" y="212267"/>
                    <a:pt x="54948" y="200858"/>
                  </a:cubicBezTo>
                  <a:lnTo>
                    <a:pt x="54348" y="97880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32" name="Forme libre : forme 231">
              <a:extLst>
                <a:ext uri="{FF2B5EF4-FFF2-40B4-BE49-F238E27FC236}">
                  <a16:creationId xmlns:a16="http://schemas.microsoft.com/office/drawing/2014/main" id="{69A7FC27-F494-4135-A2FB-A1B28CFE8C5D}"/>
                </a:ext>
              </a:extLst>
            </p:cNvPr>
            <p:cNvSpPr/>
            <p:nvPr/>
          </p:nvSpPr>
          <p:spPr>
            <a:xfrm>
              <a:off x="7438285" y="4369280"/>
              <a:ext cx="183138" cy="288217"/>
            </a:xfrm>
            <a:custGeom>
              <a:avLst/>
              <a:gdLst>
                <a:gd name="connsiteX0" fmla="*/ 81070 w 183138"/>
                <a:gd name="connsiteY0" fmla="*/ 306 h 288217"/>
                <a:gd name="connsiteX1" fmla="*/ 18923 w 183138"/>
                <a:gd name="connsiteY1" fmla="*/ 306 h 288217"/>
                <a:gd name="connsiteX2" fmla="*/ 8 w 183138"/>
                <a:gd name="connsiteY2" fmla="*/ 16819 h 288217"/>
                <a:gd name="connsiteX3" fmla="*/ 8 w 183138"/>
                <a:gd name="connsiteY3" fmla="*/ 19521 h 288217"/>
                <a:gd name="connsiteX4" fmla="*/ 8 w 183138"/>
                <a:gd name="connsiteY4" fmla="*/ 272011 h 288217"/>
                <a:gd name="connsiteX5" fmla="*/ 17421 w 183138"/>
                <a:gd name="connsiteY5" fmla="*/ 290625 h 288217"/>
                <a:gd name="connsiteX6" fmla="*/ 18622 w 183138"/>
                <a:gd name="connsiteY6" fmla="*/ 290625 h 288217"/>
                <a:gd name="connsiteX7" fmla="*/ 90377 w 183138"/>
                <a:gd name="connsiteY7" fmla="*/ 290625 h 288217"/>
                <a:gd name="connsiteX8" fmla="*/ 157627 w 183138"/>
                <a:gd name="connsiteY8" fmla="*/ 262704 h 288217"/>
                <a:gd name="connsiteX9" fmla="*/ 185248 w 183138"/>
                <a:gd name="connsiteY9" fmla="*/ 194553 h 288217"/>
                <a:gd name="connsiteX10" fmla="*/ 185248 w 183138"/>
                <a:gd name="connsiteY10" fmla="*/ 104485 h 288217"/>
                <a:gd name="connsiteX11" fmla="*/ 154625 w 183138"/>
                <a:gd name="connsiteY11" fmla="*/ 30629 h 288217"/>
                <a:gd name="connsiteX12" fmla="*/ 80769 w 183138"/>
                <a:gd name="connsiteY12" fmla="*/ 6 h 288217"/>
                <a:gd name="connsiteX13" fmla="*/ 89776 w 183138"/>
                <a:gd name="connsiteY13" fmla="*/ 234483 h 288217"/>
                <a:gd name="connsiteX14" fmla="*/ 54950 w 183138"/>
                <a:gd name="connsiteY14" fmla="*/ 234483 h 288217"/>
                <a:gd name="connsiteX15" fmla="*/ 54950 w 183138"/>
                <a:gd name="connsiteY15" fmla="*/ 55848 h 288217"/>
                <a:gd name="connsiteX16" fmla="*/ 80469 w 183138"/>
                <a:gd name="connsiteY16" fmla="*/ 55848 h 288217"/>
                <a:gd name="connsiteX17" fmla="*/ 114995 w 183138"/>
                <a:gd name="connsiteY17" fmla="*/ 70259 h 288217"/>
                <a:gd name="connsiteX18" fmla="*/ 129706 w 183138"/>
                <a:gd name="connsiteY18" fmla="*/ 104485 h 288217"/>
                <a:gd name="connsiteX19" fmla="*/ 129706 w 183138"/>
                <a:gd name="connsiteY19" fmla="*/ 194553 h 288217"/>
                <a:gd name="connsiteX20" fmla="*/ 90076 w 183138"/>
                <a:gd name="connsiteY20" fmla="*/ 233882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3138" h="288217">
                  <a:moveTo>
                    <a:pt x="81070" y="306"/>
                  </a:moveTo>
                  <a:lnTo>
                    <a:pt x="18923" y="306"/>
                  </a:lnTo>
                  <a:cubicBezTo>
                    <a:pt x="9015" y="-294"/>
                    <a:pt x="609" y="7211"/>
                    <a:pt x="8" y="16819"/>
                  </a:cubicBezTo>
                  <a:cubicBezTo>
                    <a:pt x="8" y="17719"/>
                    <a:pt x="8" y="18620"/>
                    <a:pt x="8" y="19521"/>
                  </a:cubicBezTo>
                  <a:lnTo>
                    <a:pt x="8" y="272011"/>
                  </a:lnTo>
                  <a:cubicBezTo>
                    <a:pt x="-292" y="281919"/>
                    <a:pt x="7514" y="290325"/>
                    <a:pt x="17421" y="290625"/>
                  </a:cubicBezTo>
                  <a:cubicBezTo>
                    <a:pt x="17722" y="290625"/>
                    <a:pt x="18322" y="290625"/>
                    <a:pt x="18622" y="290625"/>
                  </a:cubicBezTo>
                  <a:lnTo>
                    <a:pt x="90377" y="290625"/>
                  </a:lnTo>
                  <a:cubicBezTo>
                    <a:pt x="115596" y="290925"/>
                    <a:pt x="139914" y="280718"/>
                    <a:pt x="157627" y="262704"/>
                  </a:cubicBezTo>
                  <a:cubicBezTo>
                    <a:pt x="175941" y="244690"/>
                    <a:pt x="185849" y="220072"/>
                    <a:pt x="185248" y="194553"/>
                  </a:cubicBezTo>
                  <a:lnTo>
                    <a:pt x="185248" y="104485"/>
                  </a:lnTo>
                  <a:cubicBezTo>
                    <a:pt x="185549" y="76864"/>
                    <a:pt x="174440" y="50144"/>
                    <a:pt x="154625" y="30629"/>
                  </a:cubicBezTo>
                  <a:cubicBezTo>
                    <a:pt x="135411" y="10814"/>
                    <a:pt x="108691" y="-294"/>
                    <a:pt x="80769" y="6"/>
                  </a:cubicBezTo>
                  <a:moveTo>
                    <a:pt x="89776" y="234483"/>
                  </a:moveTo>
                  <a:lnTo>
                    <a:pt x="54950" y="234483"/>
                  </a:lnTo>
                  <a:lnTo>
                    <a:pt x="54950" y="55848"/>
                  </a:lnTo>
                  <a:lnTo>
                    <a:pt x="80469" y="55848"/>
                  </a:lnTo>
                  <a:cubicBezTo>
                    <a:pt x="93379" y="55548"/>
                    <a:pt x="105988" y="60952"/>
                    <a:pt x="114995" y="70259"/>
                  </a:cubicBezTo>
                  <a:cubicBezTo>
                    <a:pt x="124603" y="79266"/>
                    <a:pt x="129706" y="91575"/>
                    <a:pt x="129706" y="104485"/>
                  </a:cubicBezTo>
                  <a:lnTo>
                    <a:pt x="129706" y="194553"/>
                  </a:lnTo>
                  <a:cubicBezTo>
                    <a:pt x="129406" y="216169"/>
                    <a:pt x="111693" y="233582"/>
                    <a:pt x="90076" y="233882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33" name="Forme libre : forme 232">
              <a:extLst>
                <a:ext uri="{FF2B5EF4-FFF2-40B4-BE49-F238E27FC236}">
                  <a16:creationId xmlns:a16="http://schemas.microsoft.com/office/drawing/2014/main" id="{AA9F809A-5225-465E-8789-C294D13B4FAC}"/>
                </a:ext>
              </a:extLst>
            </p:cNvPr>
            <p:cNvSpPr/>
            <p:nvPr/>
          </p:nvSpPr>
          <p:spPr>
            <a:xfrm>
              <a:off x="7680868" y="4369878"/>
              <a:ext cx="159120" cy="288217"/>
            </a:xfrm>
            <a:custGeom>
              <a:avLst/>
              <a:gdLst>
                <a:gd name="connsiteX0" fmla="*/ 143517 w 159120"/>
                <a:gd name="connsiteY0" fmla="*/ 233584 h 288217"/>
                <a:gd name="connsiteX1" fmla="*/ 53449 w 159120"/>
                <a:gd name="connsiteY1" fmla="*/ 233584 h 288217"/>
                <a:gd name="connsiteX2" fmla="*/ 53449 w 159120"/>
                <a:gd name="connsiteY2" fmla="*/ 163331 h 288217"/>
                <a:gd name="connsiteX3" fmla="*/ 127905 w 159120"/>
                <a:gd name="connsiteY3" fmla="*/ 163331 h 288217"/>
                <a:gd name="connsiteX4" fmla="*/ 145619 w 159120"/>
                <a:gd name="connsiteY4" fmla="*/ 145318 h 288217"/>
                <a:gd name="connsiteX5" fmla="*/ 145619 w 159120"/>
                <a:gd name="connsiteY5" fmla="*/ 144417 h 288217"/>
                <a:gd name="connsiteX6" fmla="*/ 145619 w 159120"/>
                <a:gd name="connsiteY6" fmla="*/ 125503 h 288217"/>
                <a:gd name="connsiteX7" fmla="*/ 129707 w 159120"/>
                <a:gd name="connsiteY7" fmla="*/ 106889 h 288217"/>
                <a:gd name="connsiteX8" fmla="*/ 127905 w 159120"/>
                <a:gd name="connsiteY8" fmla="*/ 106889 h 288217"/>
                <a:gd name="connsiteX9" fmla="*/ 53449 w 159120"/>
                <a:gd name="connsiteY9" fmla="*/ 106889 h 288217"/>
                <a:gd name="connsiteX10" fmla="*/ 53449 w 159120"/>
                <a:gd name="connsiteY10" fmla="*/ 54349 h 288217"/>
                <a:gd name="connsiteX11" fmla="*/ 140515 w 159120"/>
                <a:gd name="connsiteY11" fmla="*/ 54349 h 288217"/>
                <a:gd name="connsiteX12" fmla="*/ 158528 w 159120"/>
                <a:gd name="connsiteY12" fmla="*/ 36636 h 288217"/>
                <a:gd name="connsiteX13" fmla="*/ 158528 w 159120"/>
                <a:gd name="connsiteY13" fmla="*/ 35735 h 288217"/>
                <a:gd name="connsiteX14" fmla="*/ 158528 w 159120"/>
                <a:gd name="connsiteY14" fmla="*/ 18622 h 288217"/>
                <a:gd name="connsiteX15" fmla="*/ 141716 w 159120"/>
                <a:gd name="connsiteY15" fmla="*/ 8 h 288217"/>
                <a:gd name="connsiteX16" fmla="*/ 140515 w 159120"/>
                <a:gd name="connsiteY16" fmla="*/ 8 h 288217"/>
                <a:gd name="connsiteX17" fmla="*/ 17722 w 159120"/>
                <a:gd name="connsiteY17" fmla="*/ 8 h 288217"/>
                <a:gd name="connsiteX18" fmla="*/ 9 w 159120"/>
                <a:gd name="connsiteY18" fmla="*/ 17421 h 288217"/>
                <a:gd name="connsiteX19" fmla="*/ 9 w 159120"/>
                <a:gd name="connsiteY19" fmla="*/ 18622 h 288217"/>
                <a:gd name="connsiteX20" fmla="*/ 9 w 159120"/>
                <a:gd name="connsiteY20" fmla="*/ 271113 h 288217"/>
                <a:gd name="connsiteX21" fmla="*/ 16822 w 159120"/>
                <a:gd name="connsiteY21" fmla="*/ 289727 h 288217"/>
                <a:gd name="connsiteX22" fmla="*/ 18022 w 159120"/>
                <a:gd name="connsiteY22" fmla="*/ 289727 h 288217"/>
                <a:gd name="connsiteX23" fmla="*/ 143217 w 159120"/>
                <a:gd name="connsiteY23" fmla="*/ 289727 h 288217"/>
                <a:gd name="connsiteX24" fmla="*/ 161231 w 159120"/>
                <a:gd name="connsiteY24" fmla="*/ 272313 h 288217"/>
                <a:gd name="connsiteX25" fmla="*/ 161231 w 159120"/>
                <a:gd name="connsiteY25" fmla="*/ 271113 h 288217"/>
                <a:gd name="connsiteX26" fmla="*/ 161231 w 159120"/>
                <a:gd name="connsiteY26" fmla="*/ 252799 h 288217"/>
                <a:gd name="connsiteX27" fmla="*/ 144418 w 159120"/>
                <a:gd name="connsiteY27" fmla="*/ 234185 h 288217"/>
                <a:gd name="connsiteX28" fmla="*/ 143217 w 159120"/>
                <a:gd name="connsiteY28" fmla="*/ 234185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9120" h="288217">
                  <a:moveTo>
                    <a:pt x="143517" y="233584"/>
                  </a:moveTo>
                  <a:lnTo>
                    <a:pt x="53449" y="233584"/>
                  </a:lnTo>
                  <a:lnTo>
                    <a:pt x="53449" y="163331"/>
                  </a:lnTo>
                  <a:lnTo>
                    <a:pt x="127905" y="163331"/>
                  </a:lnTo>
                  <a:cubicBezTo>
                    <a:pt x="137513" y="163331"/>
                    <a:pt x="145619" y="155525"/>
                    <a:pt x="145619" y="145318"/>
                  </a:cubicBezTo>
                  <a:cubicBezTo>
                    <a:pt x="145619" y="145017"/>
                    <a:pt x="145619" y="144717"/>
                    <a:pt x="145619" y="144417"/>
                  </a:cubicBezTo>
                  <a:lnTo>
                    <a:pt x="145619" y="125503"/>
                  </a:lnTo>
                  <a:cubicBezTo>
                    <a:pt x="146219" y="115895"/>
                    <a:pt x="139014" y="107489"/>
                    <a:pt x="129707" y="106889"/>
                  </a:cubicBezTo>
                  <a:cubicBezTo>
                    <a:pt x="129106" y="106889"/>
                    <a:pt x="128506" y="106889"/>
                    <a:pt x="127905" y="106889"/>
                  </a:cubicBezTo>
                  <a:lnTo>
                    <a:pt x="53449" y="106889"/>
                  </a:lnTo>
                  <a:lnTo>
                    <a:pt x="53449" y="54349"/>
                  </a:lnTo>
                  <a:lnTo>
                    <a:pt x="140515" y="54349"/>
                  </a:lnTo>
                  <a:cubicBezTo>
                    <a:pt x="150422" y="54649"/>
                    <a:pt x="158528" y="46543"/>
                    <a:pt x="158528" y="36636"/>
                  </a:cubicBezTo>
                  <a:cubicBezTo>
                    <a:pt x="158528" y="36335"/>
                    <a:pt x="158528" y="36035"/>
                    <a:pt x="158528" y="35735"/>
                  </a:cubicBezTo>
                  <a:lnTo>
                    <a:pt x="158528" y="18622"/>
                  </a:lnTo>
                  <a:cubicBezTo>
                    <a:pt x="158829" y="8715"/>
                    <a:pt x="151323" y="308"/>
                    <a:pt x="141716" y="8"/>
                  </a:cubicBezTo>
                  <a:cubicBezTo>
                    <a:pt x="141416" y="8"/>
                    <a:pt x="140815" y="8"/>
                    <a:pt x="140515" y="8"/>
                  </a:cubicBezTo>
                  <a:lnTo>
                    <a:pt x="17722" y="8"/>
                  </a:lnTo>
                  <a:cubicBezTo>
                    <a:pt x="8115" y="-292"/>
                    <a:pt x="309" y="7814"/>
                    <a:pt x="9" y="17421"/>
                  </a:cubicBezTo>
                  <a:cubicBezTo>
                    <a:pt x="9" y="17721"/>
                    <a:pt x="9" y="18322"/>
                    <a:pt x="9" y="18622"/>
                  </a:cubicBezTo>
                  <a:lnTo>
                    <a:pt x="9" y="271113"/>
                  </a:lnTo>
                  <a:cubicBezTo>
                    <a:pt x="-291" y="281020"/>
                    <a:pt x="7214" y="289426"/>
                    <a:pt x="16822" y="289727"/>
                  </a:cubicBezTo>
                  <a:cubicBezTo>
                    <a:pt x="17122" y="289727"/>
                    <a:pt x="17722" y="289727"/>
                    <a:pt x="18022" y="289727"/>
                  </a:cubicBezTo>
                  <a:lnTo>
                    <a:pt x="143217" y="289727"/>
                  </a:lnTo>
                  <a:cubicBezTo>
                    <a:pt x="152824" y="290027"/>
                    <a:pt x="160930" y="282221"/>
                    <a:pt x="161231" y="272313"/>
                  </a:cubicBezTo>
                  <a:cubicBezTo>
                    <a:pt x="161231" y="272013"/>
                    <a:pt x="161231" y="271413"/>
                    <a:pt x="161231" y="271113"/>
                  </a:cubicBezTo>
                  <a:lnTo>
                    <a:pt x="161231" y="252799"/>
                  </a:lnTo>
                  <a:cubicBezTo>
                    <a:pt x="161531" y="242891"/>
                    <a:pt x="154025" y="234485"/>
                    <a:pt x="144418" y="234185"/>
                  </a:cubicBezTo>
                  <a:cubicBezTo>
                    <a:pt x="144118" y="234185"/>
                    <a:pt x="143517" y="234185"/>
                    <a:pt x="143217" y="234185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34" name="Forme libre : forme 233">
              <a:extLst>
                <a:ext uri="{FF2B5EF4-FFF2-40B4-BE49-F238E27FC236}">
                  <a16:creationId xmlns:a16="http://schemas.microsoft.com/office/drawing/2014/main" id="{0863FA8E-322B-45F9-9009-6AE9E6FA673B}"/>
                </a:ext>
              </a:extLst>
            </p:cNvPr>
            <p:cNvSpPr/>
            <p:nvPr/>
          </p:nvSpPr>
          <p:spPr>
            <a:xfrm>
              <a:off x="7885323" y="4369575"/>
              <a:ext cx="219166" cy="288217"/>
            </a:xfrm>
            <a:custGeom>
              <a:avLst/>
              <a:gdLst>
                <a:gd name="connsiteX0" fmla="*/ 144418 w 219165"/>
                <a:gd name="connsiteY0" fmla="*/ 13221 h 288217"/>
                <a:gd name="connsiteX1" fmla="*/ 127305 w 219165"/>
                <a:gd name="connsiteY1" fmla="*/ 11 h 288217"/>
                <a:gd name="connsiteX2" fmla="*/ 94280 w 219165"/>
                <a:gd name="connsiteY2" fmla="*/ 11 h 288217"/>
                <a:gd name="connsiteX3" fmla="*/ 76867 w 219165"/>
                <a:gd name="connsiteY3" fmla="*/ 13221 h 288217"/>
                <a:gd name="connsiteX4" fmla="*/ 1510 w 219165"/>
                <a:gd name="connsiteY4" fmla="*/ 264211 h 288217"/>
                <a:gd name="connsiteX5" fmla="*/ 9 w 219165"/>
                <a:gd name="connsiteY5" fmla="*/ 271716 h 288217"/>
                <a:gd name="connsiteX6" fmla="*/ 17121 w 219165"/>
                <a:gd name="connsiteY6" fmla="*/ 290330 h 288217"/>
                <a:gd name="connsiteX7" fmla="*/ 18322 w 219165"/>
                <a:gd name="connsiteY7" fmla="*/ 290330 h 288217"/>
                <a:gd name="connsiteX8" fmla="*/ 36636 w 219165"/>
                <a:gd name="connsiteY8" fmla="*/ 290330 h 288217"/>
                <a:gd name="connsiteX9" fmla="*/ 54050 w 219165"/>
                <a:gd name="connsiteY9" fmla="*/ 277120 h 288217"/>
                <a:gd name="connsiteX10" fmla="*/ 76266 w 219165"/>
                <a:gd name="connsiteY10" fmla="*/ 203565 h 288217"/>
                <a:gd name="connsiteX11" fmla="*/ 144118 w 219165"/>
                <a:gd name="connsiteY11" fmla="*/ 203565 h 288217"/>
                <a:gd name="connsiteX12" fmla="*/ 166635 w 219165"/>
                <a:gd name="connsiteY12" fmla="*/ 277721 h 288217"/>
                <a:gd name="connsiteX13" fmla="*/ 166635 w 219165"/>
                <a:gd name="connsiteY13" fmla="*/ 278922 h 288217"/>
                <a:gd name="connsiteX14" fmla="*/ 183747 w 219165"/>
                <a:gd name="connsiteY14" fmla="*/ 290630 h 288217"/>
                <a:gd name="connsiteX15" fmla="*/ 202361 w 219165"/>
                <a:gd name="connsiteY15" fmla="*/ 290630 h 288217"/>
                <a:gd name="connsiteX16" fmla="*/ 220675 w 219165"/>
                <a:gd name="connsiteY16" fmla="*/ 272617 h 288217"/>
                <a:gd name="connsiteX17" fmla="*/ 220675 w 219165"/>
                <a:gd name="connsiteY17" fmla="*/ 272016 h 288217"/>
                <a:gd name="connsiteX18" fmla="*/ 219474 w 219165"/>
                <a:gd name="connsiteY18" fmla="*/ 265111 h 288217"/>
                <a:gd name="connsiteX19" fmla="*/ 144418 w 219165"/>
                <a:gd name="connsiteY19" fmla="*/ 13221 h 288217"/>
                <a:gd name="connsiteX20" fmla="*/ 131208 w 219165"/>
                <a:gd name="connsiteY20" fmla="*/ 147723 h 288217"/>
                <a:gd name="connsiteX21" fmla="*/ 90677 w 219165"/>
                <a:gd name="connsiteY21" fmla="*/ 147723 h 288217"/>
                <a:gd name="connsiteX22" fmla="*/ 110792 w 219165"/>
                <a:gd name="connsiteY22" fmla="*/ 78370 h 288217"/>
                <a:gd name="connsiteX23" fmla="*/ 131208 w 219165"/>
                <a:gd name="connsiteY23" fmla="*/ 147723 h 288217"/>
                <a:gd name="connsiteX24" fmla="*/ 131208 w 219165"/>
                <a:gd name="connsiteY24" fmla="*/ 147723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19165" h="288217">
                  <a:moveTo>
                    <a:pt x="144418" y="13221"/>
                  </a:moveTo>
                  <a:cubicBezTo>
                    <a:pt x="142316" y="5415"/>
                    <a:pt x="135111" y="11"/>
                    <a:pt x="127305" y="11"/>
                  </a:cubicBezTo>
                  <a:lnTo>
                    <a:pt x="94280" y="11"/>
                  </a:lnTo>
                  <a:cubicBezTo>
                    <a:pt x="86174" y="-289"/>
                    <a:pt x="78968" y="5415"/>
                    <a:pt x="76867" y="13221"/>
                  </a:cubicBezTo>
                  <a:lnTo>
                    <a:pt x="1510" y="264211"/>
                  </a:lnTo>
                  <a:cubicBezTo>
                    <a:pt x="309" y="266612"/>
                    <a:pt x="9" y="269014"/>
                    <a:pt x="9" y="271716"/>
                  </a:cubicBezTo>
                  <a:cubicBezTo>
                    <a:pt x="-292" y="281624"/>
                    <a:pt x="7214" y="290030"/>
                    <a:pt x="17121" y="290330"/>
                  </a:cubicBezTo>
                  <a:cubicBezTo>
                    <a:pt x="17422" y="290330"/>
                    <a:pt x="18022" y="290330"/>
                    <a:pt x="18322" y="290330"/>
                  </a:cubicBezTo>
                  <a:lnTo>
                    <a:pt x="36636" y="290330"/>
                  </a:lnTo>
                  <a:cubicBezTo>
                    <a:pt x="44742" y="290630"/>
                    <a:pt x="51948" y="285226"/>
                    <a:pt x="54050" y="277120"/>
                  </a:cubicBezTo>
                  <a:lnTo>
                    <a:pt x="76266" y="203565"/>
                  </a:lnTo>
                  <a:lnTo>
                    <a:pt x="144118" y="203565"/>
                  </a:lnTo>
                  <a:lnTo>
                    <a:pt x="166635" y="277721"/>
                  </a:lnTo>
                  <a:lnTo>
                    <a:pt x="166635" y="278922"/>
                  </a:lnTo>
                  <a:cubicBezTo>
                    <a:pt x="169337" y="286127"/>
                    <a:pt x="176242" y="290931"/>
                    <a:pt x="183747" y="290630"/>
                  </a:cubicBezTo>
                  <a:lnTo>
                    <a:pt x="202361" y="290630"/>
                  </a:lnTo>
                  <a:cubicBezTo>
                    <a:pt x="212269" y="290630"/>
                    <a:pt x="220375" y="282825"/>
                    <a:pt x="220675" y="272617"/>
                  </a:cubicBezTo>
                  <a:cubicBezTo>
                    <a:pt x="220675" y="272317"/>
                    <a:pt x="220675" y="272317"/>
                    <a:pt x="220675" y="272016"/>
                  </a:cubicBezTo>
                  <a:cubicBezTo>
                    <a:pt x="220675" y="269615"/>
                    <a:pt x="220375" y="267213"/>
                    <a:pt x="219474" y="265111"/>
                  </a:cubicBezTo>
                  <a:lnTo>
                    <a:pt x="144418" y="13221"/>
                  </a:lnTo>
                  <a:close/>
                  <a:moveTo>
                    <a:pt x="131208" y="147723"/>
                  </a:moveTo>
                  <a:lnTo>
                    <a:pt x="90677" y="147723"/>
                  </a:lnTo>
                  <a:lnTo>
                    <a:pt x="110792" y="78370"/>
                  </a:lnTo>
                  <a:lnTo>
                    <a:pt x="131208" y="147723"/>
                  </a:lnTo>
                  <a:lnTo>
                    <a:pt x="131208" y="147723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35" name="Forme libre : forme 234">
              <a:extLst>
                <a:ext uri="{FF2B5EF4-FFF2-40B4-BE49-F238E27FC236}">
                  <a16:creationId xmlns:a16="http://schemas.microsoft.com/office/drawing/2014/main" id="{C227BB27-36AF-449B-A0FB-A7E648520D15}"/>
                </a:ext>
              </a:extLst>
            </p:cNvPr>
            <p:cNvSpPr/>
            <p:nvPr/>
          </p:nvSpPr>
          <p:spPr>
            <a:xfrm>
              <a:off x="8147703" y="4369554"/>
              <a:ext cx="180136" cy="294222"/>
            </a:xfrm>
            <a:custGeom>
              <a:avLst/>
              <a:gdLst>
                <a:gd name="connsiteX0" fmla="*/ 161849 w 180136"/>
                <a:gd name="connsiteY0" fmla="*/ 32 h 294221"/>
                <a:gd name="connsiteX1" fmla="*/ 143835 w 180136"/>
                <a:gd name="connsiteY1" fmla="*/ 32 h 294221"/>
                <a:gd name="connsiteX2" fmla="*/ 125221 w 180136"/>
                <a:gd name="connsiteY2" fmla="*/ 17145 h 294221"/>
                <a:gd name="connsiteX3" fmla="*/ 125221 w 180136"/>
                <a:gd name="connsiteY3" fmla="*/ 19247 h 294221"/>
                <a:gd name="connsiteX4" fmla="*/ 125221 w 180136"/>
                <a:gd name="connsiteY4" fmla="*/ 203286 h 294221"/>
                <a:gd name="connsiteX5" fmla="*/ 115013 w 180136"/>
                <a:gd name="connsiteY5" fmla="*/ 228805 h 294221"/>
                <a:gd name="connsiteX6" fmla="*/ 64575 w 180136"/>
                <a:gd name="connsiteY6" fmla="*/ 227904 h 294221"/>
                <a:gd name="connsiteX7" fmla="*/ 54668 w 180136"/>
                <a:gd name="connsiteY7" fmla="*/ 203286 h 294221"/>
                <a:gd name="connsiteX8" fmla="*/ 54668 w 180136"/>
                <a:gd name="connsiteY8" fmla="*/ 19247 h 294221"/>
                <a:gd name="connsiteX9" fmla="*/ 38155 w 180136"/>
                <a:gd name="connsiteY9" fmla="*/ 633 h 294221"/>
                <a:gd name="connsiteX10" fmla="*/ 36354 w 180136"/>
                <a:gd name="connsiteY10" fmla="*/ 633 h 294221"/>
                <a:gd name="connsiteX11" fmla="*/ 18341 w 180136"/>
                <a:gd name="connsiteY11" fmla="*/ 633 h 294221"/>
                <a:gd name="connsiteX12" fmla="*/ 27 w 180136"/>
                <a:gd name="connsiteY12" fmla="*/ 18046 h 294221"/>
                <a:gd name="connsiteX13" fmla="*/ 27 w 180136"/>
                <a:gd name="connsiteY13" fmla="*/ 19247 h 294221"/>
                <a:gd name="connsiteX14" fmla="*/ 27 w 180136"/>
                <a:gd name="connsiteY14" fmla="*/ 203286 h 294221"/>
                <a:gd name="connsiteX15" fmla="*/ 26146 w 180136"/>
                <a:gd name="connsiteY15" fmla="*/ 268135 h 294221"/>
                <a:gd name="connsiteX16" fmla="*/ 153443 w 180136"/>
                <a:gd name="connsiteY16" fmla="*/ 268735 h 294221"/>
                <a:gd name="connsiteX17" fmla="*/ 154043 w 180136"/>
                <a:gd name="connsiteY17" fmla="*/ 268135 h 294221"/>
                <a:gd name="connsiteX18" fmla="*/ 180163 w 180136"/>
                <a:gd name="connsiteY18" fmla="*/ 203286 h 294221"/>
                <a:gd name="connsiteX19" fmla="*/ 180163 w 180136"/>
                <a:gd name="connsiteY19" fmla="*/ 18947 h 294221"/>
                <a:gd name="connsiteX20" fmla="*/ 163350 w 180136"/>
                <a:gd name="connsiteY20" fmla="*/ 333 h 294221"/>
                <a:gd name="connsiteX21" fmla="*/ 161549 w 180136"/>
                <a:gd name="connsiteY21" fmla="*/ 333 h 294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80136" h="294221">
                  <a:moveTo>
                    <a:pt x="161849" y="32"/>
                  </a:moveTo>
                  <a:lnTo>
                    <a:pt x="143835" y="32"/>
                  </a:lnTo>
                  <a:cubicBezTo>
                    <a:pt x="133928" y="-568"/>
                    <a:pt x="125521" y="7238"/>
                    <a:pt x="125221" y="17145"/>
                  </a:cubicBezTo>
                  <a:cubicBezTo>
                    <a:pt x="125221" y="17746"/>
                    <a:pt x="125221" y="18646"/>
                    <a:pt x="125221" y="19247"/>
                  </a:cubicBezTo>
                  <a:lnTo>
                    <a:pt x="125221" y="203286"/>
                  </a:lnTo>
                  <a:cubicBezTo>
                    <a:pt x="125521" y="212893"/>
                    <a:pt x="121919" y="222200"/>
                    <a:pt x="115013" y="228805"/>
                  </a:cubicBezTo>
                  <a:cubicBezTo>
                    <a:pt x="100903" y="242615"/>
                    <a:pt x="78086" y="242315"/>
                    <a:pt x="64575" y="227904"/>
                  </a:cubicBezTo>
                  <a:cubicBezTo>
                    <a:pt x="58271" y="221299"/>
                    <a:pt x="54668" y="212593"/>
                    <a:pt x="54668" y="203286"/>
                  </a:cubicBezTo>
                  <a:lnTo>
                    <a:pt x="54668" y="19247"/>
                  </a:lnTo>
                  <a:cubicBezTo>
                    <a:pt x="55268" y="9640"/>
                    <a:pt x="48063" y="1233"/>
                    <a:pt x="38155" y="633"/>
                  </a:cubicBezTo>
                  <a:cubicBezTo>
                    <a:pt x="37555" y="633"/>
                    <a:pt x="36954" y="633"/>
                    <a:pt x="36354" y="633"/>
                  </a:cubicBezTo>
                  <a:lnTo>
                    <a:pt x="18341" y="633"/>
                  </a:lnTo>
                  <a:cubicBezTo>
                    <a:pt x="8433" y="333"/>
                    <a:pt x="327" y="8139"/>
                    <a:pt x="27" y="18046"/>
                  </a:cubicBezTo>
                  <a:cubicBezTo>
                    <a:pt x="27" y="18346"/>
                    <a:pt x="27" y="18947"/>
                    <a:pt x="27" y="19247"/>
                  </a:cubicBezTo>
                  <a:lnTo>
                    <a:pt x="27" y="203286"/>
                  </a:lnTo>
                  <a:cubicBezTo>
                    <a:pt x="-574" y="227604"/>
                    <a:pt x="9033" y="251022"/>
                    <a:pt x="26146" y="268135"/>
                  </a:cubicBezTo>
                  <a:cubicBezTo>
                    <a:pt x="60973" y="303862"/>
                    <a:pt x="118016" y="304162"/>
                    <a:pt x="153443" y="268735"/>
                  </a:cubicBezTo>
                  <a:cubicBezTo>
                    <a:pt x="153743" y="268435"/>
                    <a:pt x="154043" y="268135"/>
                    <a:pt x="154043" y="268135"/>
                  </a:cubicBezTo>
                  <a:cubicBezTo>
                    <a:pt x="171156" y="251022"/>
                    <a:pt x="180463" y="227604"/>
                    <a:pt x="180163" y="203286"/>
                  </a:cubicBezTo>
                  <a:lnTo>
                    <a:pt x="180163" y="18947"/>
                  </a:lnTo>
                  <a:cubicBezTo>
                    <a:pt x="180763" y="9039"/>
                    <a:pt x="173257" y="933"/>
                    <a:pt x="163350" y="333"/>
                  </a:cubicBezTo>
                  <a:cubicBezTo>
                    <a:pt x="162750" y="333"/>
                    <a:pt x="162149" y="333"/>
                    <a:pt x="161549" y="333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36" name="Forme libre : forme 235">
              <a:extLst>
                <a:ext uri="{FF2B5EF4-FFF2-40B4-BE49-F238E27FC236}">
                  <a16:creationId xmlns:a16="http://schemas.microsoft.com/office/drawing/2014/main" id="{E6A5DC08-05CA-466A-93F5-CF62315640AF}"/>
                </a:ext>
              </a:extLst>
            </p:cNvPr>
            <p:cNvSpPr/>
            <p:nvPr/>
          </p:nvSpPr>
          <p:spPr>
            <a:xfrm>
              <a:off x="8374774" y="4369858"/>
              <a:ext cx="189143" cy="285215"/>
            </a:xfrm>
            <a:custGeom>
              <a:avLst/>
              <a:gdLst>
                <a:gd name="connsiteX0" fmla="*/ 124821 w 189142"/>
                <a:gd name="connsiteY0" fmla="*/ 143236 h 285215"/>
                <a:gd name="connsiteX1" fmla="*/ 187869 w 189142"/>
                <a:gd name="connsiteY1" fmla="*/ 25848 h 285215"/>
                <a:gd name="connsiteX2" fmla="*/ 189070 w 189142"/>
                <a:gd name="connsiteY2" fmla="*/ 22545 h 285215"/>
                <a:gd name="connsiteX3" fmla="*/ 185767 w 189142"/>
                <a:gd name="connsiteY3" fmla="*/ 6633 h 285215"/>
                <a:gd name="connsiteX4" fmla="*/ 171657 w 189142"/>
                <a:gd name="connsiteY4" fmla="*/ 28 h 285215"/>
                <a:gd name="connsiteX5" fmla="*/ 153343 w 189142"/>
                <a:gd name="connsiteY5" fmla="*/ 28 h 285215"/>
                <a:gd name="connsiteX6" fmla="*/ 137131 w 189142"/>
                <a:gd name="connsiteY6" fmla="*/ 10536 h 285215"/>
                <a:gd name="connsiteX7" fmla="*/ 94799 w 189142"/>
                <a:gd name="connsiteY7" fmla="*/ 88895 h 285215"/>
                <a:gd name="connsiteX8" fmla="*/ 52767 w 189142"/>
                <a:gd name="connsiteY8" fmla="*/ 11137 h 285215"/>
                <a:gd name="connsiteX9" fmla="*/ 36254 w 189142"/>
                <a:gd name="connsiteY9" fmla="*/ 28 h 285215"/>
                <a:gd name="connsiteX10" fmla="*/ 18241 w 189142"/>
                <a:gd name="connsiteY10" fmla="*/ 28 h 285215"/>
                <a:gd name="connsiteX11" fmla="*/ 3830 w 189142"/>
                <a:gd name="connsiteY11" fmla="*/ 6033 h 285215"/>
                <a:gd name="connsiteX12" fmla="*/ 828 w 189142"/>
                <a:gd name="connsiteY12" fmla="*/ 22545 h 285215"/>
                <a:gd name="connsiteX13" fmla="*/ 2028 w 189142"/>
                <a:gd name="connsiteY13" fmla="*/ 25848 h 285215"/>
                <a:gd name="connsiteX14" fmla="*/ 65076 w 189142"/>
                <a:gd name="connsiteY14" fmla="*/ 143236 h 285215"/>
                <a:gd name="connsiteX15" fmla="*/ 2028 w 189142"/>
                <a:gd name="connsiteY15" fmla="*/ 259724 h 285215"/>
                <a:gd name="connsiteX16" fmla="*/ 1128 w 189142"/>
                <a:gd name="connsiteY16" fmla="*/ 262126 h 285215"/>
                <a:gd name="connsiteX17" fmla="*/ 3530 w 189142"/>
                <a:gd name="connsiteY17" fmla="*/ 278939 h 285215"/>
                <a:gd name="connsiteX18" fmla="*/ 18541 w 189142"/>
                <a:gd name="connsiteY18" fmla="*/ 286144 h 285215"/>
                <a:gd name="connsiteX19" fmla="*/ 37155 w 189142"/>
                <a:gd name="connsiteY19" fmla="*/ 286144 h 285215"/>
                <a:gd name="connsiteX20" fmla="*/ 53367 w 189142"/>
                <a:gd name="connsiteY20" fmla="*/ 275036 h 285215"/>
                <a:gd name="connsiteX21" fmla="*/ 94799 w 189142"/>
                <a:gd name="connsiteY21" fmla="*/ 197877 h 285215"/>
                <a:gd name="connsiteX22" fmla="*/ 136230 w 189142"/>
                <a:gd name="connsiteY22" fmla="*/ 274735 h 285215"/>
                <a:gd name="connsiteX23" fmla="*/ 152742 w 189142"/>
                <a:gd name="connsiteY23" fmla="*/ 285844 h 285215"/>
                <a:gd name="connsiteX24" fmla="*/ 171356 w 189142"/>
                <a:gd name="connsiteY24" fmla="*/ 285844 h 285215"/>
                <a:gd name="connsiteX25" fmla="*/ 186068 w 189142"/>
                <a:gd name="connsiteY25" fmla="*/ 278638 h 285215"/>
                <a:gd name="connsiteX26" fmla="*/ 188469 w 189142"/>
                <a:gd name="connsiteY26" fmla="*/ 261225 h 285215"/>
                <a:gd name="connsiteX27" fmla="*/ 124821 w 189142"/>
                <a:gd name="connsiteY27" fmla="*/ 143236 h 285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89142" h="285215">
                  <a:moveTo>
                    <a:pt x="124821" y="143236"/>
                  </a:moveTo>
                  <a:lnTo>
                    <a:pt x="187869" y="25848"/>
                  </a:lnTo>
                  <a:lnTo>
                    <a:pt x="189070" y="22545"/>
                  </a:lnTo>
                  <a:cubicBezTo>
                    <a:pt x="190571" y="16841"/>
                    <a:pt x="189370" y="11137"/>
                    <a:pt x="185767" y="6633"/>
                  </a:cubicBezTo>
                  <a:cubicBezTo>
                    <a:pt x="182465" y="2430"/>
                    <a:pt x="177061" y="-272"/>
                    <a:pt x="171657" y="28"/>
                  </a:cubicBezTo>
                  <a:lnTo>
                    <a:pt x="153343" y="28"/>
                  </a:lnTo>
                  <a:cubicBezTo>
                    <a:pt x="146137" y="-272"/>
                    <a:pt x="139833" y="3931"/>
                    <a:pt x="137131" y="10536"/>
                  </a:cubicBezTo>
                  <a:lnTo>
                    <a:pt x="94799" y="88895"/>
                  </a:lnTo>
                  <a:lnTo>
                    <a:pt x="52767" y="11137"/>
                  </a:lnTo>
                  <a:cubicBezTo>
                    <a:pt x="50065" y="4231"/>
                    <a:pt x="43460" y="28"/>
                    <a:pt x="36254" y="28"/>
                  </a:cubicBezTo>
                  <a:lnTo>
                    <a:pt x="18241" y="28"/>
                  </a:lnTo>
                  <a:cubicBezTo>
                    <a:pt x="12837" y="-272"/>
                    <a:pt x="7433" y="1830"/>
                    <a:pt x="3830" y="6033"/>
                  </a:cubicBezTo>
                  <a:cubicBezTo>
                    <a:pt x="227" y="10836"/>
                    <a:pt x="-974" y="16841"/>
                    <a:pt x="828" y="22545"/>
                  </a:cubicBezTo>
                  <a:lnTo>
                    <a:pt x="2028" y="25848"/>
                  </a:lnTo>
                  <a:lnTo>
                    <a:pt x="65076" y="143236"/>
                  </a:lnTo>
                  <a:lnTo>
                    <a:pt x="2028" y="259724"/>
                  </a:lnTo>
                  <a:lnTo>
                    <a:pt x="1128" y="262126"/>
                  </a:lnTo>
                  <a:cubicBezTo>
                    <a:pt x="-673" y="267830"/>
                    <a:pt x="227" y="274135"/>
                    <a:pt x="3530" y="278939"/>
                  </a:cubicBezTo>
                  <a:cubicBezTo>
                    <a:pt x="7132" y="283742"/>
                    <a:pt x="12536" y="286144"/>
                    <a:pt x="18541" y="286144"/>
                  </a:cubicBezTo>
                  <a:lnTo>
                    <a:pt x="37155" y="286144"/>
                  </a:lnTo>
                  <a:cubicBezTo>
                    <a:pt x="44361" y="286144"/>
                    <a:pt x="50665" y="281941"/>
                    <a:pt x="53367" y="275036"/>
                  </a:cubicBezTo>
                  <a:lnTo>
                    <a:pt x="94799" y="197877"/>
                  </a:lnTo>
                  <a:lnTo>
                    <a:pt x="136230" y="274735"/>
                  </a:lnTo>
                  <a:cubicBezTo>
                    <a:pt x="138932" y="281641"/>
                    <a:pt x="145537" y="285844"/>
                    <a:pt x="152742" y="285844"/>
                  </a:cubicBezTo>
                  <a:lnTo>
                    <a:pt x="171356" y="285844"/>
                  </a:lnTo>
                  <a:cubicBezTo>
                    <a:pt x="177061" y="286144"/>
                    <a:pt x="182765" y="283442"/>
                    <a:pt x="186068" y="278638"/>
                  </a:cubicBezTo>
                  <a:cubicBezTo>
                    <a:pt x="189670" y="273534"/>
                    <a:pt x="190571" y="267230"/>
                    <a:pt x="188469" y="261225"/>
                  </a:cubicBezTo>
                  <a:lnTo>
                    <a:pt x="124821" y="143236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37" name="Forme libre : forme 236">
              <a:extLst>
                <a:ext uri="{FF2B5EF4-FFF2-40B4-BE49-F238E27FC236}">
                  <a16:creationId xmlns:a16="http://schemas.microsoft.com/office/drawing/2014/main" id="{327DF8B0-8D2F-43F4-8A40-25C724D49306}"/>
                </a:ext>
              </a:extLst>
            </p:cNvPr>
            <p:cNvSpPr/>
            <p:nvPr/>
          </p:nvSpPr>
          <p:spPr>
            <a:xfrm>
              <a:off x="7191198" y="4369210"/>
              <a:ext cx="186141" cy="288217"/>
            </a:xfrm>
            <a:custGeom>
              <a:avLst/>
              <a:gdLst>
                <a:gd name="connsiteX0" fmla="*/ 186149 w 186140"/>
                <a:gd name="connsiteY0" fmla="*/ 264275 h 288217"/>
                <a:gd name="connsiteX1" fmla="*/ 136612 w 186140"/>
                <a:gd name="connsiteY1" fmla="*/ 167903 h 288217"/>
                <a:gd name="connsiteX2" fmla="*/ 154025 w 186140"/>
                <a:gd name="connsiteY2" fmla="*/ 154693 h 288217"/>
                <a:gd name="connsiteX3" fmla="*/ 177443 w 186140"/>
                <a:gd name="connsiteY3" fmla="*/ 97049 h 288217"/>
                <a:gd name="connsiteX4" fmla="*/ 177443 w 186140"/>
                <a:gd name="connsiteY4" fmla="*/ 82038 h 288217"/>
                <a:gd name="connsiteX5" fmla="*/ 154626 w 186140"/>
                <a:gd name="connsiteY5" fmla="*/ 23794 h 288217"/>
                <a:gd name="connsiteX6" fmla="*/ 98183 w 186140"/>
                <a:gd name="connsiteY6" fmla="*/ 76 h 288217"/>
                <a:gd name="connsiteX7" fmla="*/ 18923 w 186140"/>
                <a:gd name="connsiteY7" fmla="*/ 76 h 288217"/>
                <a:gd name="connsiteX8" fmla="*/ 9 w 186140"/>
                <a:gd name="connsiteY8" fmla="*/ 16288 h 288217"/>
                <a:gd name="connsiteX9" fmla="*/ 9 w 186140"/>
                <a:gd name="connsiteY9" fmla="*/ 19290 h 288217"/>
                <a:gd name="connsiteX10" fmla="*/ 9 w 186140"/>
                <a:gd name="connsiteY10" fmla="*/ 271781 h 288217"/>
                <a:gd name="connsiteX11" fmla="*/ 16821 w 186140"/>
                <a:gd name="connsiteY11" fmla="*/ 290395 h 288217"/>
                <a:gd name="connsiteX12" fmla="*/ 18022 w 186140"/>
                <a:gd name="connsiteY12" fmla="*/ 290395 h 288217"/>
                <a:gd name="connsiteX13" fmla="*/ 36036 w 186140"/>
                <a:gd name="connsiteY13" fmla="*/ 290395 h 288217"/>
                <a:gd name="connsiteX14" fmla="*/ 54050 w 186140"/>
                <a:gd name="connsiteY14" fmla="*/ 272381 h 288217"/>
                <a:gd name="connsiteX15" fmla="*/ 54050 w 186140"/>
                <a:gd name="connsiteY15" fmla="*/ 271781 h 288217"/>
                <a:gd name="connsiteX16" fmla="*/ 54050 w 186140"/>
                <a:gd name="connsiteY16" fmla="*/ 178410 h 288217"/>
                <a:gd name="connsiteX17" fmla="*/ 83171 w 186140"/>
                <a:gd name="connsiteY17" fmla="*/ 178410 h 288217"/>
                <a:gd name="connsiteX18" fmla="*/ 133910 w 186140"/>
                <a:gd name="connsiteY18" fmla="*/ 278086 h 288217"/>
                <a:gd name="connsiteX19" fmla="*/ 150422 w 186140"/>
                <a:gd name="connsiteY19" fmla="*/ 289494 h 288217"/>
                <a:gd name="connsiteX20" fmla="*/ 169036 w 186140"/>
                <a:gd name="connsiteY20" fmla="*/ 289494 h 288217"/>
                <a:gd name="connsiteX21" fmla="*/ 183747 w 186140"/>
                <a:gd name="connsiteY21" fmla="*/ 282289 h 288217"/>
                <a:gd name="connsiteX22" fmla="*/ 186149 w 186140"/>
                <a:gd name="connsiteY22" fmla="*/ 265176 h 288217"/>
                <a:gd name="connsiteX23" fmla="*/ 186149 w 186140"/>
                <a:gd name="connsiteY23" fmla="*/ 265176 h 288217"/>
                <a:gd name="connsiteX24" fmla="*/ 123402 w 186140"/>
                <a:gd name="connsiteY24" fmla="*/ 83539 h 288217"/>
                <a:gd name="connsiteX25" fmla="*/ 123402 w 186140"/>
                <a:gd name="connsiteY25" fmla="*/ 97950 h 288217"/>
                <a:gd name="connsiteX26" fmla="*/ 97582 w 186140"/>
                <a:gd name="connsiteY26" fmla="*/ 124370 h 288217"/>
                <a:gd name="connsiteX27" fmla="*/ 54050 w 186140"/>
                <a:gd name="connsiteY27" fmla="*/ 124370 h 288217"/>
                <a:gd name="connsiteX28" fmla="*/ 54050 w 186140"/>
                <a:gd name="connsiteY28" fmla="*/ 56218 h 288217"/>
                <a:gd name="connsiteX29" fmla="*/ 97582 w 186140"/>
                <a:gd name="connsiteY29" fmla="*/ 56218 h 288217"/>
                <a:gd name="connsiteX30" fmla="*/ 115296 w 186140"/>
                <a:gd name="connsiteY30" fmla="*/ 63424 h 288217"/>
                <a:gd name="connsiteX31" fmla="*/ 123102 w 186140"/>
                <a:gd name="connsiteY31" fmla="*/ 82338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86140" h="288217">
                  <a:moveTo>
                    <a:pt x="186149" y="264275"/>
                  </a:moveTo>
                  <a:lnTo>
                    <a:pt x="136612" y="167903"/>
                  </a:lnTo>
                  <a:cubicBezTo>
                    <a:pt x="142917" y="164300"/>
                    <a:pt x="148621" y="159796"/>
                    <a:pt x="154025" y="154693"/>
                  </a:cubicBezTo>
                  <a:cubicBezTo>
                    <a:pt x="169337" y="139681"/>
                    <a:pt x="177743" y="118665"/>
                    <a:pt x="177443" y="97049"/>
                  </a:cubicBezTo>
                  <a:lnTo>
                    <a:pt x="177443" y="82038"/>
                  </a:lnTo>
                  <a:cubicBezTo>
                    <a:pt x="178043" y="60422"/>
                    <a:pt x="169637" y="39105"/>
                    <a:pt x="154626" y="23794"/>
                  </a:cubicBezTo>
                  <a:cubicBezTo>
                    <a:pt x="139914" y="8182"/>
                    <a:pt x="119499" y="-224"/>
                    <a:pt x="98183" y="76"/>
                  </a:cubicBezTo>
                  <a:lnTo>
                    <a:pt x="18923" y="76"/>
                  </a:lnTo>
                  <a:cubicBezTo>
                    <a:pt x="9316" y="-825"/>
                    <a:pt x="909" y="6381"/>
                    <a:pt x="9" y="16288"/>
                  </a:cubicBezTo>
                  <a:cubicBezTo>
                    <a:pt x="9" y="17189"/>
                    <a:pt x="9" y="18390"/>
                    <a:pt x="9" y="19290"/>
                  </a:cubicBezTo>
                  <a:lnTo>
                    <a:pt x="9" y="271781"/>
                  </a:lnTo>
                  <a:cubicBezTo>
                    <a:pt x="-292" y="281688"/>
                    <a:pt x="7214" y="290095"/>
                    <a:pt x="16821" y="290395"/>
                  </a:cubicBezTo>
                  <a:cubicBezTo>
                    <a:pt x="17122" y="290395"/>
                    <a:pt x="17722" y="290395"/>
                    <a:pt x="18022" y="290395"/>
                  </a:cubicBezTo>
                  <a:lnTo>
                    <a:pt x="36036" y="290395"/>
                  </a:lnTo>
                  <a:cubicBezTo>
                    <a:pt x="45943" y="290395"/>
                    <a:pt x="54050" y="282589"/>
                    <a:pt x="54050" y="272381"/>
                  </a:cubicBezTo>
                  <a:cubicBezTo>
                    <a:pt x="54050" y="272081"/>
                    <a:pt x="54050" y="272081"/>
                    <a:pt x="54050" y="271781"/>
                  </a:cubicBezTo>
                  <a:lnTo>
                    <a:pt x="54050" y="178410"/>
                  </a:lnTo>
                  <a:lnTo>
                    <a:pt x="83171" y="178410"/>
                  </a:lnTo>
                  <a:lnTo>
                    <a:pt x="133910" y="278086"/>
                  </a:lnTo>
                  <a:cubicBezTo>
                    <a:pt x="136612" y="284991"/>
                    <a:pt x="143217" y="289494"/>
                    <a:pt x="150422" y="289494"/>
                  </a:cubicBezTo>
                  <a:lnTo>
                    <a:pt x="169036" y="289494"/>
                  </a:lnTo>
                  <a:cubicBezTo>
                    <a:pt x="174741" y="289795"/>
                    <a:pt x="180445" y="287092"/>
                    <a:pt x="183747" y="282289"/>
                  </a:cubicBezTo>
                  <a:cubicBezTo>
                    <a:pt x="187350" y="277185"/>
                    <a:pt x="188251" y="270880"/>
                    <a:pt x="186149" y="265176"/>
                  </a:cubicBezTo>
                  <a:lnTo>
                    <a:pt x="186149" y="265176"/>
                  </a:lnTo>
                  <a:moveTo>
                    <a:pt x="123402" y="83539"/>
                  </a:moveTo>
                  <a:lnTo>
                    <a:pt x="123402" y="97950"/>
                  </a:lnTo>
                  <a:cubicBezTo>
                    <a:pt x="123402" y="112361"/>
                    <a:pt x="111693" y="124370"/>
                    <a:pt x="97582" y="124370"/>
                  </a:cubicBezTo>
                  <a:lnTo>
                    <a:pt x="54050" y="124370"/>
                  </a:lnTo>
                  <a:lnTo>
                    <a:pt x="54050" y="56218"/>
                  </a:lnTo>
                  <a:lnTo>
                    <a:pt x="97582" y="56218"/>
                  </a:lnTo>
                  <a:cubicBezTo>
                    <a:pt x="104187" y="55918"/>
                    <a:pt x="110492" y="58620"/>
                    <a:pt x="115296" y="63424"/>
                  </a:cubicBezTo>
                  <a:cubicBezTo>
                    <a:pt x="120400" y="68227"/>
                    <a:pt x="123402" y="75133"/>
                    <a:pt x="123102" y="82338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38" name="Forme libre : forme 237">
              <a:extLst>
                <a:ext uri="{FF2B5EF4-FFF2-40B4-BE49-F238E27FC236}">
                  <a16:creationId xmlns:a16="http://schemas.microsoft.com/office/drawing/2014/main" id="{EE1A81AD-847E-4805-B99F-AB281DC9C67A}"/>
                </a:ext>
              </a:extLst>
            </p:cNvPr>
            <p:cNvSpPr/>
            <p:nvPr/>
          </p:nvSpPr>
          <p:spPr>
            <a:xfrm>
              <a:off x="6485374" y="4373489"/>
              <a:ext cx="60045" cy="120091"/>
            </a:xfrm>
            <a:custGeom>
              <a:avLst/>
              <a:gdLst>
                <a:gd name="connsiteX0" fmla="*/ 60045 w 60045"/>
                <a:gd name="connsiteY0" fmla="*/ 120391 h 120090"/>
                <a:gd name="connsiteX1" fmla="*/ 54641 w 60045"/>
                <a:gd name="connsiteY1" fmla="*/ 120391 h 120090"/>
                <a:gd name="connsiteX2" fmla="*/ 52840 w 60045"/>
                <a:gd name="connsiteY2" fmla="*/ 118589 h 120090"/>
                <a:gd name="connsiteX3" fmla="*/ 52840 w 60045"/>
                <a:gd name="connsiteY3" fmla="*/ 117088 h 120090"/>
                <a:gd name="connsiteX4" fmla="*/ 51039 w 60045"/>
                <a:gd name="connsiteY4" fmla="*/ 115287 h 120090"/>
                <a:gd name="connsiteX5" fmla="*/ 50138 w 60045"/>
                <a:gd name="connsiteY5" fmla="*/ 115287 h 120090"/>
                <a:gd name="connsiteX6" fmla="*/ 6605 w 60045"/>
                <a:gd name="connsiteY6" fmla="*/ 109583 h 120090"/>
                <a:gd name="connsiteX7" fmla="*/ 0 w 60045"/>
                <a:gd name="connsiteY7" fmla="*/ 90368 h 120090"/>
                <a:gd name="connsiteX8" fmla="*/ 0 w 60045"/>
                <a:gd name="connsiteY8" fmla="*/ 64549 h 120090"/>
                <a:gd name="connsiteX9" fmla="*/ 9007 w 60045"/>
                <a:gd name="connsiteY9" fmla="*/ 43233 h 120090"/>
                <a:gd name="connsiteX10" fmla="*/ 30923 w 60045"/>
                <a:gd name="connsiteY10" fmla="*/ 33926 h 120090"/>
                <a:gd name="connsiteX11" fmla="*/ 47136 w 60045"/>
                <a:gd name="connsiteY11" fmla="*/ 38729 h 120090"/>
                <a:gd name="connsiteX12" fmla="*/ 48336 w 60045"/>
                <a:gd name="connsiteY12" fmla="*/ 38729 h 120090"/>
                <a:gd name="connsiteX13" fmla="*/ 49838 w 60045"/>
                <a:gd name="connsiteY13" fmla="*/ 37228 h 120090"/>
                <a:gd name="connsiteX14" fmla="*/ 49838 w 60045"/>
                <a:gd name="connsiteY14" fmla="*/ 1801 h 120090"/>
                <a:gd name="connsiteX15" fmla="*/ 51039 w 60045"/>
                <a:gd name="connsiteY15" fmla="*/ 0 h 120090"/>
                <a:gd name="connsiteX16" fmla="*/ 51639 w 60045"/>
                <a:gd name="connsiteY16" fmla="*/ 0 h 120090"/>
                <a:gd name="connsiteX17" fmla="*/ 60045 w 60045"/>
                <a:gd name="connsiteY17" fmla="*/ 0 h 120090"/>
                <a:gd name="connsiteX18" fmla="*/ 61546 w 60045"/>
                <a:gd name="connsiteY18" fmla="*/ 1801 h 120090"/>
                <a:gd name="connsiteX19" fmla="*/ 61546 w 60045"/>
                <a:gd name="connsiteY19" fmla="*/ 118589 h 120090"/>
                <a:gd name="connsiteX20" fmla="*/ 60045 w 60045"/>
                <a:gd name="connsiteY20" fmla="*/ 120391 h 120090"/>
                <a:gd name="connsiteX21" fmla="*/ 49838 w 60045"/>
                <a:gd name="connsiteY21" fmla="*/ 65449 h 120090"/>
                <a:gd name="connsiteX22" fmla="*/ 44133 w 60045"/>
                <a:gd name="connsiteY22" fmla="*/ 51639 h 120090"/>
                <a:gd name="connsiteX23" fmla="*/ 17113 w 60045"/>
                <a:gd name="connsiteY23" fmla="*/ 51639 h 120090"/>
                <a:gd name="connsiteX24" fmla="*/ 11409 w 60045"/>
                <a:gd name="connsiteY24" fmla="*/ 65449 h 120090"/>
                <a:gd name="connsiteX25" fmla="*/ 11409 w 60045"/>
                <a:gd name="connsiteY25" fmla="*/ 91269 h 120090"/>
                <a:gd name="connsiteX26" fmla="*/ 16813 w 60045"/>
                <a:gd name="connsiteY26" fmla="*/ 105379 h 120090"/>
                <a:gd name="connsiteX27" fmla="*/ 30623 w 60045"/>
                <a:gd name="connsiteY27" fmla="*/ 111084 h 120090"/>
                <a:gd name="connsiteX28" fmla="*/ 44133 w 60045"/>
                <a:gd name="connsiteY28" fmla="*/ 105379 h 120090"/>
                <a:gd name="connsiteX29" fmla="*/ 49838 w 60045"/>
                <a:gd name="connsiteY29" fmla="*/ 91269 h 120090"/>
                <a:gd name="connsiteX30" fmla="*/ 49838 w 60045"/>
                <a:gd name="connsiteY30" fmla="*/ 65449 h 120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60045" h="120090">
                  <a:moveTo>
                    <a:pt x="60045" y="120391"/>
                  </a:moveTo>
                  <a:lnTo>
                    <a:pt x="54641" y="120391"/>
                  </a:lnTo>
                  <a:cubicBezTo>
                    <a:pt x="53440" y="120391"/>
                    <a:pt x="52840" y="119490"/>
                    <a:pt x="52840" y="118589"/>
                  </a:cubicBezTo>
                  <a:lnTo>
                    <a:pt x="52840" y="117088"/>
                  </a:lnTo>
                  <a:cubicBezTo>
                    <a:pt x="52840" y="115587"/>
                    <a:pt x="52239" y="115287"/>
                    <a:pt x="51039" y="115287"/>
                  </a:cubicBezTo>
                  <a:cubicBezTo>
                    <a:pt x="49838" y="115287"/>
                    <a:pt x="50138" y="115287"/>
                    <a:pt x="50138" y="115287"/>
                  </a:cubicBezTo>
                  <a:cubicBezTo>
                    <a:pt x="36628" y="126095"/>
                    <a:pt x="17113" y="123693"/>
                    <a:pt x="6605" y="109583"/>
                  </a:cubicBezTo>
                  <a:cubicBezTo>
                    <a:pt x="2402" y="104179"/>
                    <a:pt x="0" y="97273"/>
                    <a:pt x="0" y="90368"/>
                  </a:cubicBezTo>
                  <a:lnTo>
                    <a:pt x="0" y="64549"/>
                  </a:lnTo>
                  <a:cubicBezTo>
                    <a:pt x="0" y="56443"/>
                    <a:pt x="3302" y="48937"/>
                    <a:pt x="9007" y="43233"/>
                  </a:cubicBezTo>
                  <a:cubicBezTo>
                    <a:pt x="14711" y="36928"/>
                    <a:pt x="22517" y="33625"/>
                    <a:pt x="30923" y="33926"/>
                  </a:cubicBezTo>
                  <a:cubicBezTo>
                    <a:pt x="36628" y="33926"/>
                    <a:pt x="42332" y="35427"/>
                    <a:pt x="47136" y="38729"/>
                  </a:cubicBezTo>
                  <a:lnTo>
                    <a:pt x="48336" y="38729"/>
                  </a:lnTo>
                  <a:cubicBezTo>
                    <a:pt x="49537" y="38729"/>
                    <a:pt x="49838" y="38729"/>
                    <a:pt x="49838" y="37228"/>
                  </a:cubicBezTo>
                  <a:lnTo>
                    <a:pt x="49838" y="1801"/>
                  </a:lnTo>
                  <a:cubicBezTo>
                    <a:pt x="49537" y="901"/>
                    <a:pt x="50138" y="300"/>
                    <a:pt x="51039" y="0"/>
                  </a:cubicBezTo>
                  <a:cubicBezTo>
                    <a:pt x="51339" y="0"/>
                    <a:pt x="51339" y="0"/>
                    <a:pt x="51639" y="0"/>
                  </a:cubicBezTo>
                  <a:lnTo>
                    <a:pt x="60045" y="0"/>
                  </a:lnTo>
                  <a:cubicBezTo>
                    <a:pt x="61246" y="0"/>
                    <a:pt x="61546" y="0"/>
                    <a:pt x="61546" y="1801"/>
                  </a:cubicBezTo>
                  <a:lnTo>
                    <a:pt x="61546" y="118589"/>
                  </a:lnTo>
                  <a:cubicBezTo>
                    <a:pt x="61546" y="119790"/>
                    <a:pt x="61546" y="120691"/>
                    <a:pt x="60045" y="120391"/>
                  </a:cubicBezTo>
                  <a:moveTo>
                    <a:pt x="49838" y="65449"/>
                  </a:moveTo>
                  <a:cubicBezTo>
                    <a:pt x="50138" y="60346"/>
                    <a:pt x="48036" y="55242"/>
                    <a:pt x="44133" y="51639"/>
                  </a:cubicBezTo>
                  <a:cubicBezTo>
                    <a:pt x="36628" y="43833"/>
                    <a:pt x="24619" y="44133"/>
                    <a:pt x="17113" y="51639"/>
                  </a:cubicBezTo>
                  <a:cubicBezTo>
                    <a:pt x="13510" y="55242"/>
                    <a:pt x="11409" y="60346"/>
                    <a:pt x="11409" y="65449"/>
                  </a:cubicBezTo>
                  <a:lnTo>
                    <a:pt x="11409" y="91269"/>
                  </a:lnTo>
                  <a:cubicBezTo>
                    <a:pt x="11409" y="96673"/>
                    <a:pt x="13210" y="101777"/>
                    <a:pt x="16813" y="105379"/>
                  </a:cubicBezTo>
                  <a:cubicBezTo>
                    <a:pt x="20415" y="109282"/>
                    <a:pt x="25219" y="111084"/>
                    <a:pt x="30623" y="111084"/>
                  </a:cubicBezTo>
                  <a:cubicBezTo>
                    <a:pt x="35727" y="111084"/>
                    <a:pt x="40531" y="108982"/>
                    <a:pt x="44133" y="105379"/>
                  </a:cubicBezTo>
                  <a:cubicBezTo>
                    <a:pt x="47736" y="101777"/>
                    <a:pt x="49838" y="96673"/>
                    <a:pt x="49838" y="91269"/>
                  </a:cubicBezTo>
                  <a:lnTo>
                    <a:pt x="49838" y="65449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39" name="Forme libre : forme 238">
              <a:extLst>
                <a:ext uri="{FF2B5EF4-FFF2-40B4-BE49-F238E27FC236}">
                  <a16:creationId xmlns:a16="http://schemas.microsoft.com/office/drawing/2014/main" id="{5FEDD632-ED9C-4751-8335-351F78E28A7C}"/>
                </a:ext>
              </a:extLst>
            </p:cNvPr>
            <p:cNvSpPr/>
            <p:nvPr/>
          </p:nvSpPr>
          <p:spPr>
            <a:xfrm>
              <a:off x="6570319" y="4403924"/>
              <a:ext cx="57043" cy="93070"/>
            </a:xfrm>
            <a:custGeom>
              <a:avLst/>
              <a:gdLst>
                <a:gd name="connsiteX0" fmla="*/ 56762 w 57043"/>
                <a:gd name="connsiteY0" fmla="*/ 52728 h 93070"/>
                <a:gd name="connsiteX1" fmla="*/ 12929 w 57043"/>
                <a:gd name="connsiteY1" fmla="*/ 52728 h 93070"/>
                <a:gd name="connsiteX2" fmla="*/ 11127 w 57043"/>
                <a:gd name="connsiteY2" fmla="*/ 54229 h 93070"/>
                <a:gd name="connsiteX3" fmla="*/ 11127 w 57043"/>
                <a:gd name="connsiteY3" fmla="*/ 54529 h 93070"/>
                <a:gd name="connsiteX4" fmla="*/ 11127 w 57043"/>
                <a:gd name="connsiteY4" fmla="*/ 59933 h 93070"/>
                <a:gd name="connsiteX5" fmla="*/ 16832 w 57043"/>
                <a:gd name="connsiteY5" fmla="*/ 74644 h 93070"/>
                <a:gd name="connsiteX6" fmla="*/ 30642 w 57043"/>
                <a:gd name="connsiteY6" fmla="*/ 80949 h 93070"/>
                <a:gd name="connsiteX7" fmla="*/ 48956 w 57043"/>
                <a:gd name="connsiteY7" fmla="*/ 74644 h 93070"/>
                <a:gd name="connsiteX8" fmla="*/ 51057 w 57043"/>
                <a:gd name="connsiteY8" fmla="*/ 74644 h 93070"/>
                <a:gd name="connsiteX9" fmla="*/ 51057 w 57043"/>
                <a:gd name="connsiteY9" fmla="*/ 74644 h 93070"/>
                <a:gd name="connsiteX10" fmla="*/ 55861 w 57043"/>
                <a:gd name="connsiteY10" fmla="*/ 82150 h 93070"/>
                <a:gd name="connsiteX11" fmla="*/ 56161 w 57043"/>
                <a:gd name="connsiteY11" fmla="*/ 84552 h 93070"/>
                <a:gd name="connsiteX12" fmla="*/ 55861 w 57043"/>
                <a:gd name="connsiteY12" fmla="*/ 84852 h 93070"/>
                <a:gd name="connsiteX13" fmla="*/ 30942 w 57043"/>
                <a:gd name="connsiteY13" fmla="*/ 93558 h 93070"/>
                <a:gd name="connsiteX14" fmla="*/ 9026 w 57043"/>
                <a:gd name="connsiteY14" fmla="*/ 83651 h 93070"/>
                <a:gd name="connsiteX15" fmla="*/ 19 w 57043"/>
                <a:gd name="connsiteY15" fmla="*/ 59633 h 93070"/>
                <a:gd name="connsiteX16" fmla="*/ 19 w 57043"/>
                <a:gd name="connsiteY16" fmla="*/ 32012 h 93070"/>
                <a:gd name="connsiteX17" fmla="*/ 8725 w 57043"/>
                <a:gd name="connsiteY17" fmla="*/ 9195 h 93070"/>
                <a:gd name="connsiteX18" fmla="*/ 50457 w 57043"/>
                <a:gd name="connsiteY18" fmla="*/ 9495 h 93070"/>
                <a:gd name="connsiteX19" fmla="*/ 58863 w 57043"/>
                <a:gd name="connsiteY19" fmla="*/ 32012 h 93070"/>
                <a:gd name="connsiteX20" fmla="*/ 58863 w 57043"/>
                <a:gd name="connsiteY20" fmla="*/ 50626 h 93070"/>
                <a:gd name="connsiteX21" fmla="*/ 56762 w 57043"/>
                <a:gd name="connsiteY21" fmla="*/ 52728 h 93070"/>
                <a:gd name="connsiteX22" fmla="*/ 46854 w 57043"/>
                <a:gd name="connsiteY22" fmla="*/ 32312 h 93070"/>
                <a:gd name="connsiteX23" fmla="*/ 41750 w 57043"/>
                <a:gd name="connsiteY23" fmla="*/ 18802 h 93070"/>
                <a:gd name="connsiteX24" fmla="*/ 29141 w 57043"/>
                <a:gd name="connsiteY24" fmla="*/ 13398 h 93070"/>
                <a:gd name="connsiteX25" fmla="*/ 16531 w 57043"/>
                <a:gd name="connsiteY25" fmla="*/ 18802 h 93070"/>
                <a:gd name="connsiteX26" fmla="*/ 11127 w 57043"/>
                <a:gd name="connsiteY26" fmla="*/ 32312 h 93070"/>
                <a:gd name="connsiteX27" fmla="*/ 11127 w 57043"/>
                <a:gd name="connsiteY27" fmla="*/ 38017 h 93070"/>
                <a:gd name="connsiteX28" fmla="*/ 12328 w 57043"/>
                <a:gd name="connsiteY28" fmla="*/ 40118 h 93070"/>
                <a:gd name="connsiteX29" fmla="*/ 12628 w 57043"/>
                <a:gd name="connsiteY29" fmla="*/ 40118 h 93070"/>
                <a:gd name="connsiteX30" fmla="*/ 44452 w 57043"/>
                <a:gd name="connsiteY30" fmla="*/ 40118 h 93070"/>
                <a:gd name="connsiteX31" fmla="*/ 45954 w 57043"/>
                <a:gd name="connsiteY31" fmla="*/ 38017 h 93070"/>
                <a:gd name="connsiteX32" fmla="*/ 46854 w 57043"/>
                <a:gd name="connsiteY32" fmla="*/ 32312 h 93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57043" h="93070">
                  <a:moveTo>
                    <a:pt x="56762" y="52728"/>
                  </a:moveTo>
                  <a:lnTo>
                    <a:pt x="12929" y="52728"/>
                  </a:lnTo>
                  <a:cubicBezTo>
                    <a:pt x="12028" y="52728"/>
                    <a:pt x="11127" y="53328"/>
                    <a:pt x="11127" y="54229"/>
                  </a:cubicBezTo>
                  <a:cubicBezTo>
                    <a:pt x="11127" y="54229"/>
                    <a:pt x="11127" y="54529"/>
                    <a:pt x="11127" y="54529"/>
                  </a:cubicBezTo>
                  <a:lnTo>
                    <a:pt x="11127" y="59933"/>
                  </a:lnTo>
                  <a:cubicBezTo>
                    <a:pt x="11127" y="65637"/>
                    <a:pt x="13229" y="70741"/>
                    <a:pt x="16832" y="74644"/>
                  </a:cubicBezTo>
                  <a:cubicBezTo>
                    <a:pt x="20434" y="78547"/>
                    <a:pt x="25238" y="80949"/>
                    <a:pt x="30642" y="80949"/>
                  </a:cubicBezTo>
                  <a:cubicBezTo>
                    <a:pt x="37247" y="80949"/>
                    <a:pt x="43552" y="78847"/>
                    <a:pt x="48956" y="74644"/>
                  </a:cubicBezTo>
                  <a:cubicBezTo>
                    <a:pt x="49556" y="74044"/>
                    <a:pt x="50457" y="74044"/>
                    <a:pt x="51057" y="74644"/>
                  </a:cubicBezTo>
                  <a:cubicBezTo>
                    <a:pt x="51057" y="74644"/>
                    <a:pt x="51057" y="74644"/>
                    <a:pt x="51057" y="74644"/>
                  </a:cubicBezTo>
                  <a:lnTo>
                    <a:pt x="55861" y="82150"/>
                  </a:lnTo>
                  <a:cubicBezTo>
                    <a:pt x="56461" y="82750"/>
                    <a:pt x="56762" y="83651"/>
                    <a:pt x="56161" y="84552"/>
                  </a:cubicBezTo>
                  <a:cubicBezTo>
                    <a:pt x="56161" y="84552"/>
                    <a:pt x="55861" y="84852"/>
                    <a:pt x="55861" y="84852"/>
                  </a:cubicBezTo>
                  <a:cubicBezTo>
                    <a:pt x="48656" y="90556"/>
                    <a:pt x="39949" y="93558"/>
                    <a:pt x="30942" y="93558"/>
                  </a:cubicBezTo>
                  <a:cubicBezTo>
                    <a:pt x="22836" y="93558"/>
                    <a:pt x="14730" y="89956"/>
                    <a:pt x="9026" y="83651"/>
                  </a:cubicBezTo>
                  <a:cubicBezTo>
                    <a:pt x="3021" y="77346"/>
                    <a:pt x="-281" y="68640"/>
                    <a:pt x="19" y="59633"/>
                  </a:cubicBezTo>
                  <a:lnTo>
                    <a:pt x="19" y="32012"/>
                  </a:lnTo>
                  <a:cubicBezTo>
                    <a:pt x="19" y="23606"/>
                    <a:pt x="3021" y="15199"/>
                    <a:pt x="8725" y="9195"/>
                  </a:cubicBezTo>
                  <a:cubicBezTo>
                    <a:pt x="20434" y="-3115"/>
                    <a:pt x="39048" y="-3115"/>
                    <a:pt x="50457" y="9495"/>
                  </a:cubicBezTo>
                  <a:cubicBezTo>
                    <a:pt x="55861" y="15500"/>
                    <a:pt x="58863" y="23606"/>
                    <a:pt x="58863" y="32012"/>
                  </a:cubicBezTo>
                  <a:lnTo>
                    <a:pt x="58863" y="50626"/>
                  </a:lnTo>
                  <a:cubicBezTo>
                    <a:pt x="58863" y="52127"/>
                    <a:pt x="58863" y="52728"/>
                    <a:pt x="56762" y="52728"/>
                  </a:cubicBezTo>
                  <a:moveTo>
                    <a:pt x="46854" y="32312"/>
                  </a:moveTo>
                  <a:cubicBezTo>
                    <a:pt x="46854" y="27208"/>
                    <a:pt x="45053" y="22405"/>
                    <a:pt x="41750" y="18802"/>
                  </a:cubicBezTo>
                  <a:cubicBezTo>
                    <a:pt x="38448" y="15199"/>
                    <a:pt x="33944" y="13098"/>
                    <a:pt x="29141" y="13398"/>
                  </a:cubicBezTo>
                  <a:cubicBezTo>
                    <a:pt x="24337" y="13098"/>
                    <a:pt x="19834" y="15199"/>
                    <a:pt x="16531" y="18802"/>
                  </a:cubicBezTo>
                  <a:cubicBezTo>
                    <a:pt x="12929" y="22405"/>
                    <a:pt x="11127" y="27208"/>
                    <a:pt x="11127" y="32312"/>
                  </a:cubicBezTo>
                  <a:lnTo>
                    <a:pt x="11127" y="38017"/>
                  </a:lnTo>
                  <a:cubicBezTo>
                    <a:pt x="11127" y="38917"/>
                    <a:pt x="11728" y="39818"/>
                    <a:pt x="12328" y="40118"/>
                  </a:cubicBezTo>
                  <a:cubicBezTo>
                    <a:pt x="12328" y="40118"/>
                    <a:pt x="12628" y="40118"/>
                    <a:pt x="12628" y="40118"/>
                  </a:cubicBezTo>
                  <a:lnTo>
                    <a:pt x="44452" y="40118"/>
                  </a:lnTo>
                  <a:cubicBezTo>
                    <a:pt x="45653" y="40118"/>
                    <a:pt x="45954" y="39217"/>
                    <a:pt x="45954" y="38017"/>
                  </a:cubicBezTo>
                  <a:lnTo>
                    <a:pt x="46854" y="32312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40" name="Forme libre : forme 239">
              <a:extLst>
                <a:ext uri="{FF2B5EF4-FFF2-40B4-BE49-F238E27FC236}">
                  <a16:creationId xmlns:a16="http://schemas.microsoft.com/office/drawing/2014/main" id="{9F2B949D-579B-4C02-9CB9-20D20ABC55B6}"/>
                </a:ext>
              </a:extLst>
            </p:cNvPr>
            <p:cNvSpPr/>
            <p:nvPr/>
          </p:nvSpPr>
          <p:spPr>
            <a:xfrm>
              <a:off x="6495581" y="4006913"/>
              <a:ext cx="66050" cy="144109"/>
            </a:xfrm>
            <a:custGeom>
              <a:avLst/>
              <a:gdLst>
                <a:gd name="connsiteX0" fmla="*/ 68151 w 66049"/>
                <a:gd name="connsiteY0" fmla="*/ 0 h 144108"/>
                <a:gd name="connsiteX1" fmla="*/ 68151 w 66049"/>
                <a:gd name="connsiteY1" fmla="*/ 144409 h 144108"/>
                <a:gd name="connsiteX2" fmla="*/ 28522 w 66049"/>
                <a:gd name="connsiteY2" fmla="*/ 106280 h 144108"/>
                <a:gd name="connsiteX3" fmla="*/ 28522 w 66049"/>
                <a:gd name="connsiteY3" fmla="*/ 10808 h 144108"/>
                <a:gd name="connsiteX4" fmla="*/ 0 w 66049"/>
                <a:gd name="connsiteY4" fmla="*/ 10808 h 144108"/>
                <a:gd name="connsiteX5" fmla="*/ 0 w 66049"/>
                <a:gd name="connsiteY5" fmla="*/ 1501 h 144108"/>
                <a:gd name="connsiteX6" fmla="*/ 68151 w 66049"/>
                <a:gd name="connsiteY6" fmla="*/ 0 h 144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049" h="144108">
                  <a:moveTo>
                    <a:pt x="68151" y="0"/>
                  </a:moveTo>
                  <a:lnTo>
                    <a:pt x="68151" y="144409"/>
                  </a:lnTo>
                  <a:lnTo>
                    <a:pt x="28522" y="106280"/>
                  </a:lnTo>
                  <a:lnTo>
                    <a:pt x="28522" y="10808"/>
                  </a:lnTo>
                  <a:lnTo>
                    <a:pt x="0" y="10808"/>
                  </a:lnTo>
                  <a:lnTo>
                    <a:pt x="0" y="1501"/>
                  </a:lnTo>
                  <a:cubicBezTo>
                    <a:pt x="21616" y="2402"/>
                    <a:pt x="44133" y="600"/>
                    <a:pt x="68151" y="0"/>
                  </a:cubicBezTo>
                  <a:close/>
                </a:path>
              </a:pathLst>
            </a:custGeom>
            <a:solidFill>
              <a:srgbClr val="009FE3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</p:grpSp>
      <p:sp>
        <p:nvSpPr>
          <p:cNvPr id="124" name="Rectangle 123">
            <a:hlinkClick r:id="rId2"/>
            <a:extLst>
              <a:ext uri="{FF2B5EF4-FFF2-40B4-BE49-F238E27FC236}">
                <a16:creationId xmlns:a16="http://schemas.microsoft.com/office/drawing/2014/main" id="{35F4AE06-723F-4907-A0C1-25C2A55668EF}"/>
              </a:ext>
            </a:extLst>
          </p:cNvPr>
          <p:cNvSpPr/>
          <p:nvPr userDrawn="1"/>
        </p:nvSpPr>
        <p:spPr>
          <a:xfrm>
            <a:off x="3294590" y="1121624"/>
            <a:ext cx="90922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srgbClr val="3A1B0B"/>
                </a:solidFill>
              </a:rPr>
              <a:t>@</a:t>
            </a:r>
            <a:r>
              <a:rPr lang="fr-FR" sz="800" dirty="0" err="1">
                <a:solidFill>
                  <a:srgbClr val="3A1B0B"/>
                </a:solidFill>
              </a:rPr>
              <a:t>univbordeaux</a:t>
            </a:r>
            <a:endParaRPr lang="fr-FR" sz="800" dirty="0">
              <a:solidFill>
                <a:srgbClr val="3A1B0B"/>
              </a:solidFill>
            </a:endParaRPr>
          </a:p>
        </p:txBody>
      </p:sp>
      <p:pic>
        <p:nvPicPr>
          <p:cNvPr id="125" name="Graphique 124">
            <a:hlinkClick r:id="rId2"/>
            <a:extLst>
              <a:ext uri="{FF2B5EF4-FFF2-40B4-BE49-F238E27FC236}">
                <a16:creationId xmlns:a16="http://schemas.microsoft.com/office/drawing/2014/main" id="{C6FD32D5-7851-419E-B042-2C17E6452CA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69202" y="702273"/>
            <a:ext cx="360000" cy="360000"/>
          </a:xfrm>
          <a:prstGeom prst="rect">
            <a:avLst/>
          </a:prstGeom>
        </p:spPr>
      </p:pic>
      <p:pic>
        <p:nvPicPr>
          <p:cNvPr id="126" name="Graphique 125">
            <a:hlinkClick r:id="rId5"/>
            <a:extLst>
              <a:ext uri="{FF2B5EF4-FFF2-40B4-BE49-F238E27FC236}">
                <a16:creationId xmlns:a16="http://schemas.microsoft.com/office/drawing/2014/main" id="{AC4BA783-078F-4C6E-BE4E-E143E9F636D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894972" y="702273"/>
            <a:ext cx="360000" cy="360000"/>
          </a:xfrm>
          <a:prstGeom prst="rect">
            <a:avLst/>
          </a:prstGeom>
        </p:spPr>
      </p:pic>
      <p:sp>
        <p:nvSpPr>
          <p:cNvPr id="127" name="Rectangle 126">
            <a:hlinkClick r:id="rId5"/>
            <a:extLst>
              <a:ext uri="{FF2B5EF4-FFF2-40B4-BE49-F238E27FC236}">
                <a16:creationId xmlns:a16="http://schemas.microsoft.com/office/drawing/2014/main" id="{0DEFADA8-A00E-42F6-AAA8-08025CB38A01}"/>
              </a:ext>
            </a:extLst>
          </p:cNvPr>
          <p:cNvSpPr/>
          <p:nvPr userDrawn="1"/>
        </p:nvSpPr>
        <p:spPr>
          <a:xfrm>
            <a:off x="6620360" y="1121624"/>
            <a:ext cx="90922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srgbClr val="3A1B0B"/>
                </a:solidFill>
              </a:rPr>
              <a:t>@</a:t>
            </a:r>
            <a:r>
              <a:rPr lang="fr-FR" sz="800" dirty="0" err="1">
                <a:solidFill>
                  <a:srgbClr val="3A1B0B"/>
                </a:solidFill>
              </a:rPr>
              <a:t>univbordeaux</a:t>
            </a:r>
            <a:endParaRPr lang="fr-FR" sz="800" dirty="0">
              <a:solidFill>
                <a:srgbClr val="3A1B0B"/>
              </a:solidFill>
            </a:endParaRPr>
          </a:p>
        </p:txBody>
      </p:sp>
      <p:sp>
        <p:nvSpPr>
          <p:cNvPr id="128" name="Rectangle 127">
            <a:hlinkClick r:id="rId8"/>
            <a:extLst>
              <a:ext uri="{FF2B5EF4-FFF2-40B4-BE49-F238E27FC236}">
                <a16:creationId xmlns:a16="http://schemas.microsoft.com/office/drawing/2014/main" id="{43060483-BA3F-4429-9DB5-CBA75DDBC66C}"/>
              </a:ext>
            </a:extLst>
          </p:cNvPr>
          <p:cNvSpPr/>
          <p:nvPr userDrawn="1"/>
        </p:nvSpPr>
        <p:spPr>
          <a:xfrm>
            <a:off x="2277866" y="2154670"/>
            <a:ext cx="127631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srgbClr val="3A1B0B"/>
                </a:solidFill>
              </a:rPr>
              <a:t>@</a:t>
            </a:r>
            <a:r>
              <a:rPr lang="fr-FR" sz="800" dirty="0" err="1">
                <a:solidFill>
                  <a:srgbClr val="3A1B0B"/>
                </a:solidFill>
              </a:rPr>
              <a:t>universitedebordeaux</a:t>
            </a:r>
            <a:endParaRPr lang="fr-FR" sz="800" dirty="0">
              <a:solidFill>
                <a:srgbClr val="3A1B0B"/>
              </a:solidFill>
            </a:endParaRPr>
          </a:p>
        </p:txBody>
      </p:sp>
      <p:pic>
        <p:nvPicPr>
          <p:cNvPr id="129" name="Graphique 128">
            <a:hlinkClick r:id="rId8"/>
            <a:extLst>
              <a:ext uri="{FF2B5EF4-FFF2-40B4-BE49-F238E27FC236}">
                <a16:creationId xmlns:a16="http://schemas.microsoft.com/office/drawing/2014/main" id="{64F997C0-D043-4AC6-968A-B1C30BBB2282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736022" y="1735319"/>
            <a:ext cx="360000" cy="360000"/>
          </a:xfrm>
          <a:prstGeom prst="rect">
            <a:avLst/>
          </a:prstGeom>
        </p:spPr>
      </p:pic>
      <p:pic>
        <p:nvPicPr>
          <p:cNvPr id="130" name="Graphique 129">
            <a:hlinkClick r:id="rId11"/>
            <a:extLst>
              <a:ext uri="{FF2B5EF4-FFF2-40B4-BE49-F238E27FC236}">
                <a16:creationId xmlns:a16="http://schemas.microsoft.com/office/drawing/2014/main" id="{83FCBC0C-46CD-4319-932E-4A574B930242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232820" y="702273"/>
            <a:ext cx="360000" cy="360000"/>
          </a:xfrm>
          <a:prstGeom prst="rect">
            <a:avLst/>
          </a:prstGeom>
        </p:spPr>
      </p:pic>
      <p:pic>
        <p:nvPicPr>
          <p:cNvPr id="131" name="Graphique 130">
            <a:hlinkClick r:id="rId14"/>
            <a:extLst>
              <a:ext uri="{FF2B5EF4-FFF2-40B4-BE49-F238E27FC236}">
                <a16:creationId xmlns:a16="http://schemas.microsoft.com/office/drawing/2014/main" id="{1819CD89-E770-4FC4-A88B-BD521AE63294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904363" y="702273"/>
            <a:ext cx="360000" cy="360000"/>
          </a:xfrm>
          <a:prstGeom prst="rect">
            <a:avLst/>
          </a:prstGeom>
        </p:spPr>
      </p:pic>
      <p:sp>
        <p:nvSpPr>
          <p:cNvPr id="132" name="Rectangle 131">
            <a:hlinkClick r:id="rId14"/>
            <a:extLst>
              <a:ext uri="{FF2B5EF4-FFF2-40B4-BE49-F238E27FC236}">
                <a16:creationId xmlns:a16="http://schemas.microsoft.com/office/drawing/2014/main" id="{FD3B5232-D5E9-44F0-9C33-33247F54B052}"/>
              </a:ext>
            </a:extLst>
          </p:cNvPr>
          <p:cNvSpPr/>
          <p:nvPr userDrawn="1"/>
        </p:nvSpPr>
        <p:spPr>
          <a:xfrm>
            <a:off x="1560019" y="1121624"/>
            <a:ext cx="104868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srgbClr val="3A1B0B"/>
                </a:solidFill>
              </a:rPr>
              <a:t>www.u-bordeaux.fr</a:t>
            </a:r>
          </a:p>
        </p:txBody>
      </p:sp>
      <p:pic>
        <p:nvPicPr>
          <p:cNvPr id="133" name="Graphique 132">
            <a:hlinkClick r:id="rId17"/>
            <a:extLst>
              <a:ext uri="{FF2B5EF4-FFF2-40B4-BE49-F238E27FC236}">
                <a16:creationId xmlns:a16="http://schemas.microsoft.com/office/drawing/2014/main" id="{5E1444FE-01A7-45A1-BCDA-AF5DE3864777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060942" y="1735319"/>
            <a:ext cx="360000" cy="360000"/>
          </a:xfrm>
          <a:prstGeom prst="rect">
            <a:avLst/>
          </a:prstGeom>
        </p:spPr>
      </p:pic>
      <p:pic>
        <p:nvPicPr>
          <p:cNvPr id="134" name="Graphique 133">
            <a:extLst>
              <a:ext uri="{FF2B5EF4-FFF2-40B4-BE49-F238E27FC236}">
                <a16:creationId xmlns:a16="http://schemas.microsoft.com/office/drawing/2014/main" id="{AE8061E4-BB31-415B-8A63-EE72EEB79D9C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4400221" y="1735319"/>
            <a:ext cx="360000" cy="360000"/>
          </a:xfrm>
          <a:prstGeom prst="rect">
            <a:avLst/>
          </a:prstGeom>
        </p:spPr>
      </p:pic>
      <p:sp>
        <p:nvSpPr>
          <p:cNvPr id="135" name="Rectangle 134">
            <a:extLst>
              <a:ext uri="{FF2B5EF4-FFF2-40B4-BE49-F238E27FC236}">
                <a16:creationId xmlns:a16="http://schemas.microsoft.com/office/drawing/2014/main" id="{C8AD63C4-784A-4776-9B5D-FA8BD25ACF8C}"/>
              </a:ext>
            </a:extLst>
          </p:cNvPr>
          <p:cNvSpPr/>
          <p:nvPr userDrawn="1"/>
        </p:nvSpPr>
        <p:spPr>
          <a:xfrm>
            <a:off x="4029281" y="2154670"/>
            <a:ext cx="108876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srgbClr val="3A1B0B"/>
                </a:solidFill>
              </a:rPr>
              <a:t>Appli mobile </a:t>
            </a:r>
            <a:r>
              <a:rPr lang="fr-FR" sz="800" dirty="0" err="1">
                <a:solidFill>
                  <a:srgbClr val="3A1B0B"/>
                </a:solidFill>
              </a:rPr>
              <a:t>U&amp;me</a:t>
            </a:r>
            <a:endParaRPr lang="fr-FR" sz="800" dirty="0">
              <a:solidFill>
                <a:srgbClr val="3A1B0B"/>
              </a:solidFill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26C582E0-BC44-4452-B431-ACC02FF3B9A7}"/>
              </a:ext>
            </a:extLst>
          </p:cNvPr>
          <p:cNvSpPr/>
          <p:nvPr userDrawn="1"/>
        </p:nvSpPr>
        <p:spPr>
          <a:xfrm>
            <a:off x="5780492" y="2154670"/>
            <a:ext cx="90922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srgbClr val="3A1B0B"/>
                </a:solidFill>
              </a:rPr>
              <a:t>@</a:t>
            </a:r>
            <a:r>
              <a:rPr lang="fr-FR" sz="800" dirty="0" err="1">
                <a:solidFill>
                  <a:srgbClr val="3A1B0B"/>
                </a:solidFill>
              </a:rPr>
              <a:t>univbordeaux</a:t>
            </a:r>
            <a:endParaRPr lang="fr-FR" sz="800" dirty="0">
              <a:solidFill>
                <a:srgbClr val="3A1B0B"/>
              </a:solidFill>
            </a:endParaRPr>
          </a:p>
        </p:txBody>
      </p:sp>
      <p:sp>
        <p:nvSpPr>
          <p:cNvPr id="137" name="Rectangle 136">
            <a:hlinkClick r:id="rId11"/>
            <a:extLst>
              <a:ext uri="{FF2B5EF4-FFF2-40B4-BE49-F238E27FC236}">
                <a16:creationId xmlns:a16="http://schemas.microsoft.com/office/drawing/2014/main" id="{191CC0A6-AEB3-4CFD-B3D3-4BB18C95F655}"/>
              </a:ext>
            </a:extLst>
          </p:cNvPr>
          <p:cNvSpPr/>
          <p:nvPr userDrawn="1"/>
        </p:nvSpPr>
        <p:spPr>
          <a:xfrm>
            <a:off x="4774665" y="1121624"/>
            <a:ext cx="127631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srgbClr val="3A1B0B"/>
                </a:solidFill>
              </a:rPr>
              <a:t>@</a:t>
            </a:r>
            <a:r>
              <a:rPr lang="fr-FR" sz="800" dirty="0" err="1">
                <a:solidFill>
                  <a:srgbClr val="3A1B0B"/>
                </a:solidFill>
              </a:rPr>
              <a:t>universitedebordeaux</a:t>
            </a:r>
            <a:endParaRPr lang="fr-FR" sz="800" dirty="0">
              <a:solidFill>
                <a:srgbClr val="3A1B0B"/>
              </a:solidFill>
            </a:endParaRPr>
          </a:p>
        </p:txBody>
      </p:sp>
      <p:sp>
        <p:nvSpPr>
          <p:cNvPr id="141" name="Espace réservé du texte 140">
            <a:extLst>
              <a:ext uri="{FF2B5EF4-FFF2-40B4-BE49-F238E27FC236}">
                <a16:creationId xmlns:a16="http://schemas.microsoft.com/office/drawing/2014/main" id="{EE880427-05D3-40E0-A2B2-744B3528ADE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4417" y="2973427"/>
            <a:ext cx="5915166" cy="31393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algn="ctr" defTabSz="457200">
              <a:buNone/>
              <a:tabLst>
                <a:tab pos="2066925" algn="l"/>
              </a:tabLst>
              <a:defRPr lang="fr-FR" sz="1600" b="1" dirty="0" smtClean="0">
                <a:solidFill>
                  <a:schemeClr val="tx1"/>
                </a:solidFill>
              </a:defRPr>
            </a:lvl1pPr>
          </a:lstStyle>
          <a:p>
            <a:pPr marL="0" lvl="0" algn="ctr" defTabSz="457200"/>
            <a:r>
              <a:rPr lang="fr-FR" dirty="0"/>
              <a:t>Message / remerciement</a:t>
            </a:r>
          </a:p>
        </p:txBody>
      </p:sp>
      <p:sp>
        <p:nvSpPr>
          <p:cNvPr id="144" name="Espace réservé du texte 143">
            <a:extLst>
              <a:ext uri="{FF2B5EF4-FFF2-40B4-BE49-F238E27FC236}">
                <a16:creationId xmlns:a16="http://schemas.microsoft.com/office/drawing/2014/main" id="{C20905A2-6F02-47AA-AF2E-63158D48679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5689" y="1"/>
            <a:ext cx="457523" cy="2017735"/>
          </a:xfrm>
          <a:custGeom>
            <a:avLst/>
            <a:gdLst>
              <a:gd name="connsiteX0" fmla="*/ 0 w 457523"/>
              <a:gd name="connsiteY0" fmla="*/ 0 h 2017735"/>
              <a:gd name="connsiteX1" fmla="*/ 275802 w 457523"/>
              <a:gd name="connsiteY1" fmla="*/ 0 h 2017735"/>
              <a:gd name="connsiteX2" fmla="*/ 457523 w 457523"/>
              <a:gd name="connsiteY2" fmla="*/ 0 h 2017735"/>
              <a:gd name="connsiteX3" fmla="*/ 179667 w 457523"/>
              <a:gd name="connsiteY3" fmla="*/ 2017735 h 2017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7523" h="2017735">
                <a:moveTo>
                  <a:pt x="0" y="0"/>
                </a:moveTo>
                <a:lnTo>
                  <a:pt x="275802" y="0"/>
                </a:lnTo>
                <a:lnTo>
                  <a:pt x="457523" y="0"/>
                </a:lnTo>
                <a:lnTo>
                  <a:pt x="179667" y="2017735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grpSp>
        <p:nvGrpSpPr>
          <p:cNvPr id="267" name="Groupe 266">
            <a:extLst>
              <a:ext uri="{FF2B5EF4-FFF2-40B4-BE49-F238E27FC236}">
                <a16:creationId xmlns:a16="http://schemas.microsoft.com/office/drawing/2014/main" id="{5E1891F2-FAFB-45B7-ADB0-B4532A71DEC4}"/>
              </a:ext>
            </a:extLst>
          </p:cNvPr>
          <p:cNvGrpSpPr/>
          <p:nvPr userDrawn="1"/>
        </p:nvGrpSpPr>
        <p:grpSpPr>
          <a:xfrm flipV="1">
            <a:off x="-91485" y="12467"/>
            <a:ext cx="1008300" cy="5190499"/>
            <a:chOff x="-91485" y="-57106"/>
            <a:chExt cx="1008300" cy="5190499"/>
          </a:xfrm>
          <a:solidFill>
            <a:schemeClr val="bg2">
              <a:alpha val="10000"/>
            </a:schemeClr>
          </a:solidFill>
        </p:grpSpPr>
        <p:sp>
          <p:nvSpPr>
            <p:cNvPr id="268" name="Forme libre : forme 267">
              <a:extLst>
                <a:ext uri="{FF2B5EF4-FFF2-40B4-BE49-F238E27FC236}">
                  <a16:creationId xmlns:a16="http://schemas.microsoft.com/office/drawing/2014/main" id="{73F747AB-BDD9-4153-8A0F-81B6FADAE149}"/>
                </a:ext>
              </a:extLst>
            </p:cNvPr>
            <p:cNvSpPr/>
            <p:nvPr/>
          </p:nvSpPr>
          <p:spPr>
            <a:xfrm rot="8716295">
              <a:off x="617786" y="1780350"/>
              <a:ext cx="152726" cy="195873"/>
            </a:xfrm>
            <a:custGeom>
              <a:avLst/>
              <a:gdLst>
                <a:gd name="connsiteX0" fmla="*/ 39589 w 152726"/>
                <a:gd name="connsiteY0" fmla="*/ 195873 h 195873"/>
                <a:gd name="connsiteX1" fmla="*/ 0 w 152726"/>
                <a:gd name="connsiteY1" fmla="*/ 122219 h 195873"/>
                <a:gd name="connsiteX2" fmla="*/ 101089 w 152726"/>
                <a:gd name="connsiteY2" fmla="*/ 0 h 195873"/>
                <a:gd name="connsiteX3" fmla="*/ 152726 w 152726"/>
                <a:gd name="connsiteY3" fmla="*/ 0 h 195873"/>
                <a:gd name="connsiteX4" fmla="*/ 152726 w 152726"/>
                <a:gd name="connsiteY4" fmla="*/ 55323 h 195873"/>
                <a:gd name="connsiteX5" fmla="*/ 87934 w 152726"/>
                <a:gd name="connsiteY5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726" h="195873">
                  <a:moveTo>
                    <a:pt x="39589" y="195873"/>
                  </a:moveTo>
                  <a:lnTo>
                    <a:pt x="0" y="122219"/>
                  </a:lnTo>
                  <a:lnTo>
                    <a:pt x="101089" y="0"/>
                  </a:lnTo>
                  <a:lnTo>
                    <a:pt x="152726" y="0"/>
                  </a:lnTo>
                  <a:lnTo>
                    <a:pt x="152726" y="55323"/>
                  </a:lnTo>
                  <a:lnTo>
                    <a:pt x="87934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" name="Forme libre : forme 268">
              <a:extLst>
                <a:ext uri="{FF2B5EF4-FFF2-40B4-BE49-F238E27FC236}">
                  <a16:creationId xmlns:a16="http://schemas.microsoft.com/office/drawing/2014/main" id="{ABB68B3A-64E8-421E-A122-56A45C711E07}"/>
                </a:ext>
              </a:extLst>
            </p:cNvPr>
            <p:cNvSpPr/>
            <p:nvPr/>
          </p:nvSpPr>
          <p:spPr>
            <a:xfrm rot="8716295">
              <a:off x="534441" y="1654353"/>
              <a:ext cx="262864" cy="103234"/>
            </a:xfrm>
            <a:custGeom>
              <a:avLst/>
              <a:gdLst>
                <a:gd name="connsiteX0" fmla="*/ 0 w 262864"/>
                <a:gd name="connsiteY0" fmla="*/ 75341 h 103234"/>
                <a:gd name="connsiteX1" fmla="*/ 62316 w 262864"/>
                <a:gd name="connsiteY1" fmla="*/ 0 h 103234"/>
                <a:gd name="connsiteX2" fmla="*/ 65768 w 262864"/>
                <a:gd name="connsiteY2" fmla="*/ 14220 h 103234"/>
                <a:gd name="connsiteX3" fmla="*/ 136369 w 262864"/>
                <a:gd name="connsiteY3" fmla="*/ 53051 h 103234"/>
                <a:gd name="connsiteX4" fmla="*/ 189321 w 262864"/>
                <a:gd name="connsiteY4" fmla="*/ 43637 h 103234"/>
                <a:gd name="connsiteX5" fmla="*/ 261688 w 262864"/>
                <a:gd name="connsiteY5" fmla="*/ 14220 h 103234"/>
                <a:gd name="connsiteX6" fmla="*/ 262864 w 262864"/>
                <a:gd name="connsiteY6" fmla="*/ 21868 h 103234"/>
                <a:gd name="connsiteX7" fmla="*/ 262864 w 262864"/>
                <a:gd name="connsiteY7" fmla="*/ 27752 h 103234"/>
                <a:gd name="connsiteX8" fmla="*/ 69887 w 262864"/>
                <a:gd name="connsiteY8" fmla="*/ 103060 h 103234"/>
                <a:gd name="connsiteX9" fmla="*/ 30615 w 262864"/>
                <a:gd name="connsiteY9" fmla="*/ 96294 h 103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2864" h="103234">
                  <a:moveTo>
                    <a:pt x="0" y="75341"/>
                  </a:moveTo>
                  <a:lnTo>
                    <a:pt x="62316" y="0"/>
                  </a:lnTo>
                  <a:lnTo>
                    <a:pt x="65768" y="14220"/>
                  </a:lnTo>
                  <a:cubicBezTo>
                    <a:pt x="75182" y="40107"/>
                    <a:pt x="99304" y="53051"/>
                    <a:pt x="136369" y="53051"/>
                  </a:cubicBezTo>
                  <a:cubicBezTo>
                    <a:pt x="154609" y="52462"/>
                    <a:pt x="172259" y="48932"/>
                    <a:pt x="189321" y="43637"/>
                  </a:cubicBezTo>
                  <a:cubicBezTo>
                    <a:pt x="214031" y="35988"/>
                    <a:pt x="238154" y="25987"/>
                    <a:pt x="261688" y="14220"/>
                  </a:cubicBezTo>
                  <a:cubicBezTo>
                    <a:pt x="262276" y="16573"/>
                    <a:pt x="262864" y="19515"/>
                    <a:pt x="262864" y="21868"/>
                  </a:cubicBezTo>
                  <a:lnTo>
                    <a:pt x="262864" y="27752"/>
                  </a:lnTo>
                  <a:cubicBezTo>
                    <a:pt x="200500" y="81291"/>
                    <a:pt x="118719" y="100119"/>
                    <a:pt x="69887" y="103060"/>
                  </a:cubicBezTo>
                  <a:cubicBezTo>
                    <a:pt x="56355" y="103943"/>
                    <a:pt x="42970" y="101442"/>
                    <a:pt x="30615" y="9629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0" name="Forme libre : forme 269">
              <a:extLst>
                <a:ext uri="{FF2B5EF4-FFF2-40B4-BE49-F238E27FC236}">
                  <a16:creationId xmlns:a16="http://schemas.microsoft.com/office/drawing/2014/main" id="{053D4FF2-A9EA-4185-9507-77A0BB17DB0B}"/>
                </a:ext>
              </a:extLst>
            </p:cNvPr>
            <p:cNvSpPr/>
            <p:nvPr/>
          </p:nvSpPr>
          <p:spPr>
            <a:xfrm rot="8716295">
              <a:off x="632719" y="1232432"/>
              <a:ext cx="121558" cy="232388"/>
            </a:xfrm>
            <a:custGeom>
              <a:avLst/>
              <a:gdLst>
                <a:gd name="connsiteX0" fmla="*/ 60499 w 121558"/>
                <a:gd name="connsiteY0" fmla="*/ 232388 h 232388"/>
                <a:gd name="connsiteX1" fmla="*/ 60499 w 121558"/>
                <a:gd name="connsiteY1" fmla="*/ 69717 h 232388"/>
                <a:gd name="connsiteX2" fmla="*/ 60499 w 121558"/>
                <a:gd name="connsiteY2" fmla="*/ 65615 h 232388"/>
                <a:gd name="connsiteX3" fmla="*/ 39995 w 121558"/>
                <a:gd name="connsiteY3" fmla="*/ 50123 h 232388"/>
                <a:gd name="connsiteX4" fmla="*/ 0 w 121558"/>
                <a:gd name="connsiteY4" fmla="*/ 50123 h 232388"/>
                <a:gd name="connsiteX5" fmla="*/ 41457 w 121558"/>
                <a:gd name="connsiteY5" fmla="*/ 0 h 232388"/>
                <a:gd name="connsiteX6" fmla="*/ 64601 w 121558"/>
                <a:gd name="connsiteY6" fmla="*/ 0 h 232388"/>
                <a:gd name="connsiteX7" fmla="*/ 121558 w 121558"/>
                <a:gd name="connsiteY7" fmla="*/ 50123 h 232388"/>
                <a:gd name="connsiteX8" fmla="*/ 121558 w 121558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558" h="232388">
                  <a:moveTo>
                    <a:pt x="60499" y="232388"/>
                  </a:moveTo>
                  <a:lnTo>
                    <a:pt x="60499" y="69717"/>
                  </a:lnTo>
                  <a:cubicBezTo>
                    <a:pt x="60499" y="68349"/>
                    <a:pt x="60499" y="66983"/>
                    <a:pt x="60499" y="65615"/>
                  </a:cubicBezTo>
                  <a:cubicBezTo>
                    <a:pt x="59133" y="55591"/>
                    <a:pt x="50019" y="48756"/>
                    <a:pt x="39995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64601" y="0"/>
                  </a:lnTo>
                  <a:cubicBezTo>
                    <a:pt x="101509" y="0"/>
                    <a:pt x="121558" y="15948"/>
                    <a:pt x="121558" y="50123"/>
                  </a:cubicBezTo>
                  <a:lnTo>
                    <a:pt x="121558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1" name="Forme libre : forme 270">
              <a:extLst>
                <a:ext uri="{FF2B5EF4-FFF2-40B4-BE49-F238E27FC236}">
                  <a16:creationId xmlns:a16="http://schemas.microsoft.com/office/drawing/2014/main" id="{79A1F7C8-13AC-4C12-A1FD-013BA48F78A7}"/>
                </a:ext>
              </a:extLst>
            </p:cNvPr>
            <p:cNvSpPr/>
            <p:nvPr/>
          </p:nvSpPr>
          <p:spPr>
            <a:xfrm rot="8716295">
              <a:off x="763454" y="1474783"/>
              <a:ext cx="14143" cy="14319"/>
            </a:xfrm>
            <a:custGeom>
              <a:avLst/>
              <a:gdLst>
                <a:gd name="connsiteX0" fmla="*/ 0 w 14143"/>
                <a:gd name="connsiteY0" fmla="*/ 14319 h 14319"/>
                <a:gd name="connsiteX1" fmla="*/ 11843 w 14143"/>
                <a:gd name="connsiteY1" fmla="*/ 0 h 14319"/>
                <a:gd name="connsiteX2" fmla="*/ 14143 w 14143"/>
                <a:gd name="connsiteY2" fmla="*/ 7563 h 14319"/>
                <a:gd name="connsiteX3" fmla="*/ 14143 w 14143"/>
                <a:gd name="connsiteY3" fmla="*/ 13487 h 1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43" h="14319">
                  <a:moveTo>
                    <a:pt x="0" y="14319"/>
                  </a:moveTo>
                  <a:lnTo>
                    <a:pt x="11843" y="0"/>
                  </a:lnTo>
                  <a:lnTo>
                    <a:pt x="14143" y="7563"/>
                  </a:lnTo>
                  <a:lnTo>
                    <a:pt x="14143" y="1348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2" name="Forme libre : forme 271">
              <a:extLst>
                <a:ext uri="{FF2B5EF4-FFF2-40B4-BE49-F238E27FC236}">
                  <a16:creationId xmlns:a16="http://schemas.microsoft.com/office/drawing/2014/main" id="{C3E454D8-15B4-4672-8FB0-B86B805165E6}"/>
                </a:ext>
              </a:extLst>
            </p:cNvPr>
            <p:cNvSpPr/>
            <p:nvPr/>
          </p:nvSpPr>
          <p:spPr>
            <a:xfrm rot="8716295">
              <a:off x="672878" y="1171577"/>
              <a:ext cx="183964" cy="137618"/>
            </a:xfrm>
            <a:custGeom>
              <a:avLst/>
              <a:gdLst>
                <a:gd name="connsiteX0" fmla="*/ 0 w 183964"/>
                <a:gd name="connsiteY0" fmla="*/ 137618 h 137618"/>
                <a:gd name="connsiteX1" fmla="*/ 53346 w 183964"/>
                <a:gd name="connsiteY1" fmla="*/ 73121 h 137618"/>
                <a:gd name="connsiteX2" fmla="*/ 101034 w 183964"/>
                <a:gd name="connsiteY2" fmla="*/ 28251 h 137618"/>
                <a:gd name="connsiteX3" fmla="*/ 155713 w 183964"/>
                <a:gd name="connsiteY3" fmla="*/ 0 h 137618"/>
                <a:gd name="connsiteX4" fmla="*/ 183964 w 183964"/>
                <a:gd name="connsiteY4" fmla="*/ 33719 h 137618"/>
                <a:gd name="connsiteX5" fmla="*/ 157536 w 183964"/>
                <a:gd name="connsiteY5" fmla="*/ 69261 h 137618"/>
                <a:gd name="connsiteX6" fmla="*/ 157991 w 183964"/>
                <a:gd name="connsiteY6" fmla="*/ 69261 h 137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3964" h="137618">
                  <a:moveTo>
                    <a:pt x="0" y="137618"/>
                  </a:moveTo>
                  <a:lnTo>
                    <a:pt x="53346" y="73121"/>
                  </a:lnTo>
                  <a:lnTo>
                    <a:pt x="101034" y="28251"/>
                  </a:lnTo>
                  <a:cubicBezTo>
                    <a:pt x="114703" y="12303"/>
                    <a:pt x="134297" y="2278"/>
                    <a:pt x="155713" y="0"/>
                  </a:cubicBezTo>
                  <a:cubicBezTo>
                    <a:pt x="177585" y="0"/>
                    <a:pt x="183964" y="19138"/>
                    <a:pt x="183964" y="33719"/>
                  </a:cubicBezTo>
                  <a:cubicBezTo>
                    <a:pt x="182597" y="49667"/>
                    <a:pt x="172117" y="62881"/>
                    <a:pt x="157536" y="69261"/>
                  </a:cubicBezTo>
                  <a:lnTo>
                    <a:pt x="157991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3" name="Forme libre : forme 272">
              <a:extLst>
                <a:ext uri="{FF2B5EF4-FFF2-40B4-BE49-F238E27FC236}">
                  <a16:creationId xmlns:a16="http://schemas.microsoft.com/office/drawing/2014/main" id="{9C05EADF-BE0D-49AA-B420-B1EB4831C5FE}"/>
                </a:ext>
              </a:extLst>
            </p:cNvPr>
            <p:cNvSpPr/>
            <p:nvPr/>
          </p:nvSpPr>
          <p:spPr>
            <a:xfrm rot="8716295">
              <a:off x="519479" y="13148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4" name="Forme libre : forme 273">
              <a:extLst>
                <a:ext uri="{FF2B5EF4-FFF2-40B4-BE49-F238E27FC236}">
                  <a16:creationId xmlns:a16="http://schemas.microsoft.com/office/drawing/2014/main" id="{AB241E56-80DB-4C03-BDCB-013736737321}"/>
                </a:ext>
              </a:extLst>
            </p:cNvPr>
            <p:cNvSpPr/>
            <p:nvPr/>
          </p:nvSpPr>
          <p:spPr>
            <a:xfrm rot="8716295">
              <a:off x="394576" y="11061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5" name="Forme libre : forme 274">
              <a:extLst>
                <a:ext uri="{FF2B5EF4-FFF2-40B4-BE49-F238E27FC236}">
                  <a16:creationId xmlns:a16="http://schemas.microsoft.com/office/drawing/2014/main" id="{E447AC23-F520-414E-AA97-1E8F359564D9}"/>
                </a:ext>
              </a:extLst>
            </p:cNvPr>
            <p:cNvSpPr/>
            <p:nvPr/>
          </p:nvSpPr>
          <p:spPr>
            <a:xfrm rot="8716295">
              <a:off x="382524" y="96739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6" name="Forme libre : forme 275">
              <a:extLst>
                <a:ext uri="{FF2B5EF4-FFF2-40B4-BE49-F238E27FC236}">
                  <a16:creationId xmlns:a16="http://schemas.microsoft.com/office/drawing/2014/main" id="{64C6C88C-FD82-456D-9665-DF0FCE0E4C47}"/>
                </a:ext>
              </a:extLst>
            </p:cNvPr>
            <p:cNvSpPr/>
            <p:nvPr/>
          </p:nvSpPr>
          <p:spPr>
            <a:xfrm rot="8716295">
              <a:off x="609657" y="135579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7" name="Forme libre : forme 276">
              <a:extLst>
                <a:ext uri="{FF2B5EF4-FFF2-40B4-BE49-F238E27FC236}">
                  <a16:creationId xmlns:a16="http://schemas.microsoft.com/office/drawing/2014/main" id="{0A77A193-F583-4928-97AF-E64E8FF6DEAD}"/>
                </a:ext>
              </a:extLst>
            </p:cNvPr>
            <p:cNvSpPr/>
            <p:nvPr/>
          </p:nvSpPr>
          <p:spPr>
            <a:xfrm rot="8716295">
              <a:off x="683426" y="869567"/>
              <a:ext cx="156000" cy="195873"/>
            </a:xfrm>
            <a:custGeom>
              <a:avLst/>
              <a:gdLst>
                <a:gd name="connsiteX0" fmla="*/ 42863 w 156000"/>
                <a:gd name="connsiteY0" fmla="*/ 195873 h 195873"/>
                <a:gd name="connsiteX1" fmla="*/ 0 w 156000"/>
                <a:gd name="connsiteY1" fmla="*/ 116129 h 195873"/>
                <a:gd name="connsiteX2" fmla="*/ 5100 w 156000"/>
                <a:gd name="connsiteY2" fmla="*/ 101988 h 195873"/>
                <a:gd name="connsiteX3" fmla="*/ 89456 w 156000"/>
                <a:gd name="connsiteY3" fmla="*/ 0 h 195873"/>
                <a:gd name="connsiteX4" fmla="*/ 156000 w 156000"/>
                <a:gd name="connsiteY4" fmla="*/ 0 h 195873"/>
                <a:gd name="connsiteX5" fmla="*/ 156000 w 156000"/>
                <a:gd name="connsiteY5" fmla="*/ 55323 h 195873"/>
                <a:gd name="connsiteX6" fmla="*/ 91208 w 156000"/>
                <a:gd name="connsiteY6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000" h="195873">
                  <a:moveTo>
                    <a:pt x="42863" y="195873"/>
                  </a:moveTo>
                  <a:lnTo>
                    <a:pt x="0" y="116129"/>
                  </a:lnTo>
                  <a:lnTo>
                    <a:pt x="5100" y="101988"/>
                  </a:lnTo>
                  <a:lnTo>
                    <a:pt x="89456" y="0"/>
                  </a:lnTo>
                  <a:lnTo>
                    <a:pt x="156000" y="0"/>
                  </a:lnTo>
                  <a:lnTo>
                    <a:pt x="156000" y="55323"/>
                  </a:lnTo>
                  <a:lnTo>
                    <a:pt x="91208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8" name="Forme libre : forme 277">
              <a:extLst>
                <a:ext uri="{FF2B5EF4-FFF2-40B4-BE49-F238E27FC236}">
                  <a16:creationId xmlns:a16="http://schemas.microsoft.com/office/drawing/2014/main" id="{CF3F0AFD-D31B-4029-B3F3-E13BB8216AB9}"/>
                </a:ext>
              </a:extLst>
            </p:cNvPr>
            <p:cNvSpPr/>
            <p:nvPr/>
          </p:nvSpPr>
          <p:spPr>
            <a:xfrm rot="8716295">
              <a:off x="657305" y="95604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9" name="Forme libre : forme 278">
              <a:extLst>
                <a:ext uri="{FF2B5EF4-FFF2-40B4-BE49-F238E27FC236}">
                  <a16:creationId xmlns:a16="http://schemas.microsoft.com/office/drawing/2014/main" id="{4E0EA875-3BAB-4BDB-A5B0-808C38082217}"/>
                </a:ext>
              </a:extLst>
            </p:cNvPr>
            <p:cNvSpPr/>
            <p:nvPr/>
          </p:nvSpPr>
          <p:spPr>
            <a:xfrm rot="8716295">
              <a:off x="412774" y="56424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0" name="Forme libre : forme 279">
              <a:extLst>
                <a:ext uri="{FF2B5EF4-FFF2-40B4-BE49-F238E27FC236}">
                  <a16:creationId xmlns:a16="http://schemas.microsoft.com/office/drawing/2014/main" id="{842C3D6E-95C4-425C-8B38-D0EBD8DBD5E5}"/>
                </a:ext>
              </a:extLst>
            </p:cNvPr>
            <p:cNvSpPr/>
            <p:nvPr/>
          </p:nvSpPr>
          <p:spPr>
            <a:xfrm rot="8716295">
              <a:off x="502166" y="59348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1" name="Forme libre : forme 280">
              <a:extLst>
                <a:ext uri="{FF2B5EF4-FFF2-40B4-BE49-F238E27FC236}">
                  <a16:creationId xmlns:a16="http://schemas.microsoft.com/office/drawing/2014/main" id="{A75BA1B9-497A-4874-9158-409D833D072A}"/>
                </a:ext>
              </a:extLst>
            </p:cNvPr>
            <p:cNvSpPr/>
            <p:nvPr/>
          </p:nvSpPr>
          <p:spPr>
            <a:xfrm rot="8716295">
              <a:off x="457316" y="50720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2" name="Forme libre : forme 281">
              <a:extLst>
                <a:ext uri="{FF2B5EF4-FFF2-40B4-BE49-F238E27FC236}">
                  <a16:creationId xmlns:a16="http://schemas.microsoft.com/office/drawing/2014/main" id="{205B75CA-6160-44CB-AE0D-8B52A04FF9B7}"/>
                </a:ext>
              </a:extLst>
            </p:cNvPr>
            <p:cNvSpPr/>
            <p:nvPr/>
          </p:nvSpPr>
          <p:spPr>
            <a:xfrm rot="8716295">
              <a:off x="300540" y="65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3" name="Forme libre : forme 282">
              <a:extLst>
                <a:ext uri="{FF2B5EF4-FFF2-40B4-BE49-F238E27FC236}">
                  <a16:creationId xmlns:a16="http://schemas.microsoft.com/office/drawing/2014/main" id="{91186326-55D6-4548-B33F-3511BC925FE8}"/>
                </a:ext>
              </a:extLst>
            </p:cNvPr>
            <p:cNvSpPr/>
            <p:nvPr/>
          </p:nvSpPr>
          <p:spPr>
            <a:xfrm rot="8716295">
              <a:off x="175637" y="44411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4" name="Forme libre : forme 283">
              <a:extLst>
                <a:ext uri="{FF2B5EF4-FFF2-40B4-BE49-F238E27FC236}">
                  <a16:creationId xmlns:a16="http://schemas.microsoft.com/office/drawing/2014/main" id="{A2ED5F31-FCDD-430A-BE16-9B1EA12A7F4F}"/>
                </a:ext>
              </a:extLst>
            </p:cNvPr>
            <p:cNvSpPr/>
            <p:nvPr/>
          </p:nvSpPr>
          <p:spPr>
            <a:xfrm rot="8716295">
              <a:off x="163585" y="30533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5" name="Forme libre : forme 284">
              <a:extLst>
                <a:ext uri="{FF2B5EF4-FFF2-40B4-BE49-F238E27FC236}">
                  <a16:creationId xmlns:a16="http://schemas.microsoft.com/office/drawing/2014/main" id="{FEC22DEA-F709-420C-A439-1AC57EB74539}"/>
                </a:ext>
              </a:extLst>
            </p:cNvPr>
            <p:cNvSpPr/>
            <p:nvPr/>
          </p:nvSpPr>
          <p:spPr>
            <a:xfrm rot="8716295">
              <a:off x="390718" y="69374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6" name="Forme libre : forme 285">
              <a:extLst>
                <a:ext uri="{FF2B5EF4-FFF2-40B4-BE49-F238E27FC236}">
                  <a16:creationId xmlns:a16="http://schemas.microsoft.com/office/drawing/2014/main" id="{4DA790D9-C5B8-43BC-8AB6-4E888B07FAC5}"/>
                </a:ext>
              </a:extLst>
            </p:cNvPr>
            <p:cNvSpPr/>
            <p:nvPr/>
          </p:nvSpPr>
          <p:spPr>
            <a:xfrm rot="8716295">
              <a:off x="702015" y="317459"/>
              <a:ext cx="131260" cy="232388"/>
            </a:xfrm>
            <a:custGeom>
              <a:avLst/>
              <a:gdLst>
                <a:gd name="connsiteX0" fmla="*/ 70201 w 131260"/>
                <a:gd name="connsiteY0" fmla="*/ 232388 h 232388"/>
                <a:gd name="connsiteX1" fmla="*/ 70201 w 131260"/>
                <a:gd name="connsiteY1" fmla="*/ 69717 h 232388"/>
                <a:gd name="connsiteX2" fmla="*/ 70201 w 131260"/>
                <a:gd name="connsiteY2" fmla="*/ 65615 h 232388"/>
                <a:gd name="connsiteX3" fmla="*/ 49697 w 131260"/>
                <a:gd name="connsiteY3" fmla="*/ 50123 h 232388"/>
                <a:gd name="connsiteX4" fmla="*/ 0 w 131260"/>
                <a:gd name="connsiteY4" fmla="*/ 50123 h 232388"/>
                <a:gd name="connsiteX5" fmla="*/ 41457 w 131260"/>
                <a:gd name="connsiteY5" fmla="*/ 0 h 232388"/>
                <a:gd name="connsiteX6" fmla="*/ 74303 w 131260"/>
                <a:gd name="connsiteY6" fmla="*/ 0 h 232388"/>
                <a:gd name="connsiteX7" fmla="*/ 131260 w 131260"/>
                <a:gd name="connsiteY7" fmla="*/ 50123 h 232388"/>
                <a:gd name="connsiteX8" fmla="*/ 131260 w 131260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1260" h="232388">
                  <a:moveTo>
                    <a:pt x="70201" y="232388"/>
                  </a:moveTo>
                  <a:lnTo>
                    <a:pt x="70201" y="69717"/>
                  </a:lnTo>
                  <a:cubicBezTo>
                    <a:pt x="70201" y="68349"/>
                    <a:pt x="70201" y="66983"/>
                    <a:pt x="70201" y="65615"/>
                  </a:cubicBezTo>
                  <a:cubicBezTo>
                    <a:pt x="68835" y="55591"/>
                    <a:pt x="59721" y="48756"/>
                    <a:pt x="49697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74303" y="0"/>
                  </a:lnTo>
                  <a:cubicBezTo>
                    <a:pt x="111211" y="0"/>
                    <a:pt x="131260" y="15948"/>
                    <a:pt x="131260" y="50123"/>
                  </a:cubicBezTo>
                  <a:lnTo>
                    <a:pt x="131260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7" name="Forme libre : forme 286">
              <a:extLst>
                <a:ext uri="{FF2B5EF4-FFF2-40B4-BE49-F238E27FC236}">
                  <a16:creationId xmlns:a16="http://schemas.microsoft.com/office/drawing/2014/main" id="{091E5F9C-73C6-4CAB-93E5-EFA60788C51C}"/>
                </a:ext>
              </a:extLst>
            </p:cNvPr>
            <p:cNvSpPr/>
            <p:nvPr/>
          </p:nvSpPr>
          <p:spPr>
            <a:xfrm rot="8716295">
              <a:off x="834978" y="558357"/>
              <a:ext cx="24341" cy="23495"/>
            </a:xfrm>
            <a:custGeom>
              <a:avLst/>
              <a:gdLst>
                <a:gd name="connsiteX0" fmla="*/ 0 w 24341"/>
                <a:gd name="connsiteY0" fmla="*/ 23495 h 23495"/>
                <a:gd name="connsiteX1" fmla="*/ 19433 w 24341"/>
                <a:gd name="connsiteY1" fmla="*/ 0 h 23495"/>
                <a:gd name="connsiteX2" fmla="*/ 24341 w 24341"/>
                <a:gd name="connsiteY2" fmla="*/ 16139 h 23495"/>
                <a:gd name="connsiteX3" fmla="*/ 24341 w 24341"/>
                <a:gd name="connsiteY3" fmla="*/ 22063 h 23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41" h="23495">
                  <a:moveTo>
                    <a:pt x="0" y="23495"/>
                  </a:moveTo>
                  <a:lnTo>
                    <a:pt x="19433" y="0"/>
                  </a:lnTo>
                  <a:lnTo>
                    <a:pt x="24341" y="16139"/>
                  </a:lnTo>
                  <a:lnTo>
                    <a:pt x="24341" y="220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8" name="Forme libre : forme 287">
              <a:extLst>
                <a:ext uri="{FF2B5EF4-FFF2-40B4-BE49-F238E27FC236}">
                  <a16:creationId xmlns:a16="http://schemas.microsoft.com/office/drawing/2014/main" id="{93F3A654-B74E-499B-8487-8A2B2CC5A0EA}"/>
                </a:ext>
              </a:extLst>
            </p:cNvPr>
            <p:cNvSpPr/>
            <p:nvPr/>
          </p:nvSpPr>
          <p:spPr>
            <a:xfrm rot="8716295">
              <a:off x="589639" y="40263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9" name="Forme libre : forme 288">
              <a:extLst>
                <a:ext uri="{FF2B5EF4-FFF2-40B4-BE49-F238E27FC236}">
                  <a16:creationId xmlns:a16="http://schemas.microsoft.com/office/drawing/2014/main" id="{D0AE4335-4774-4A5C-9D6E-6AA33670DF96}"/>
                </a:ext>
              </a:extLst>
            </p:cNvPr>
            <p:cNvSpPr/>
            <p:nvPr/>
          </p:nvSpPr>
          <p:spPr>
            <a:xfrm rot="8716295">
              <a:off x="464737" y="19396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0" name="Forme libre : forme 289">
              <a:extLst>
                <a:ext uri="{FF2B5EF4-FFF2-40B4-BE49-F238E27FC236}">
                  <a16:creationId xmlns:a16="http://schemas.microsoft.com/office/drawing/2014/main" id="{2305D91E-CF26-4028-92DC-E2D20BB482D6}"/>
                </a:ext>
              </a:extLst>
            </p:cNvPr>
            <p:cNvSpPr/>
            <p:nvPr/>
          </p:nvSpPr>
          <p:spPr>
            <a:xfrm rot="8716295">
              <a:off x="679817" y="44358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1" name="Forme libre : forme 290">
              <a:extLst>
                <a:ext uri="{FF2B5EF4-FFF2-40B4-BE49-F238E27FC236}">
                  <a16:creationId xmlns:a16="http://schemas.microsoft.com/office/drawing/2014/main" id="{DF9C8202-D29B-450E-90FF-E46CAC2E7FA2}"/>
                </a:ext>
              </a:extLst>
            </p:cNvPr>
            <p:cNvSpPr/>
            <p:nvPr/>
          </p:nvSpPr>
          <p:spPr>
            <a:xfrm rot="8716295">
              <a:off x="438366" y="29398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2" name="Forme libre : forme 291">
              <a:extLst>
                <a:ext uri="{FF2B5EF4-FFF2-40B4-BE49-F238E27FC236}">
                  <a16:creationId xmlns:a16="http://schemas.microsoft.com/office/drawing/2014/main" id="{28FFA2F5-C74D-4918-B35E-56FAFD44D7DC}"/>
                </a:ext>
              </a:extLst>
            </p:cNvPr>
            <p:cNvSpPr/>
            <p:nvPr/>
          </p:nvSpPr>
          <p:spPr>
            <a:xfrm rot="7484129">
              <a:off x="811674" y="658874"/>
              <a:ext cx="31078" cy="46141"/>
            </a:xfrm>
            <a:custGeom>
              <a:avLst/>
              <a:gdLst>
                <a:gd name="connsiteX0" fmla="*/ 15207 w 31078"/>
                <a:gd name="connsiteY0" fmla="*/ 46141 h 46141"/>
                <a:gd name="connsiteX1" fmla="*/ 0 w 31078"/>
                <a:gd name="connsiteY1" fmla="*/ 17849 h 46141"/>
                <a:gd name="connsiteX2" fmla="*/ 31078 w 31078"/>
                <a:gd name="connsiteY2" fmla="*/ 0 h 46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078" h="46141">
                  <a:moveTo>
                    <a:pt x="15207" y="46141"/>
                  </a:moveTo>
                  <a:lnTo>
                    <a:pt x="0" y="17849"/>
                  </a:lnTo>
                  <a:lnTo>
                    <a:pt x="3107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3" name="Forme libre : forme 292">
              <a:extLst>
                <a:ext uri="{FF2B5EF4-FFF2-40B4-BE49-F238E27FC236}">
                  <a16:creationId xmlns:a16="http://schemas.microsoft.com/office/drawing/2014/main" id="{F7F1B592-6665-4DA1-B454-1D5C767BA63B}"/>
                </a:ext>
              </a:extLst>
            </p:cNvPr>
            <p:cNvSpPr/>
            <p:nvPr/>
          </p:nvSpPr>
          <p:spPr>
            <a:xfrm rot="8716295">
              <a:off x="780102" y="336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4" name="Forme libre : forme 293">
              <a:extLst>
                <a:ext uri="{FF2B5EF4-FFF2-40B4-BE49-F238E27FC236}">
                  <a16:creationId xmlns:a16="http://schemas.microsoft.com/office/drawing/2014/main" id="{33626504-CACB-4364-8AA4-F28F086A7B6A}"/>
                </a:ext>
              </a:extLst>
            </p:cNvPr>
            <p:cNvSpPr/>
            <p:nvPr/>
          </p:nvSpPr>
          <p:spPr>
            <a:xfrm rot="8716295">
              <a:off x="202348" y="-57106"/>
              <a:ext cx="142167" cy="186494"/>
            </a:xfrm>
            <a:custGeom>
              <a:avLst/>
              <a:gdLst>
                <a:gd name="connsiteX0" fmla="*/ 142167 w 142167"/>
                <a:gd name="connsiteY0" fmla="*/ 186494 h 186494"/>
                <a:gd name="connsiteX1" fmla="*/ 81108 w 142167"/>
                <a:gd name="connsiteY1" fmla="*/ 144170 h 186494"/>
                <a:gd name="connsiteX2" fmla="*/ 81108 w 142167"/>
                <a:gd name="connsiteY2" fmla="*/ 69717 h 186494"/>
                <a:gd name="connsiteX3" fmla="*/ 81108 w 142167"/>
                <a:gd name="connsiteY3" fmla="*/ 65615 h 186494"/>
                <a:gd name="connsiteX4" fmla="*/ 60603 w 142167"/>
                <a:gd name="connsiteY4" fmla="*/ 50123 h 186494"/>
                <a:gd name="connsiteX5" fmla="*/ 0 w 142167"/>
                <a:gd name="connsiteY5" fmla="*/ 50123 h 186494"/>
                <a:gd name="connsiteX6" fmla="*/ 0 w 142167"/>
                <a:gd name="connsiteY6" fmla="*/ 0 h 186494"/>
                <a:gd name="connsiteX7" fmla="*/ 85209 w 142167"/>
                <a:gd name="connsiteY7" fmla="*/ 0 h 186494"/>
                <a:gd name="connsiteX8" fmla="*/ 142167 w 142167"/>
                <a:gd name="connsiteY8" fmla="*/ 50123 h 186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86494">
                  <a:moveTo>
                    <a:pt x="142167" y="186494"/>
                  </a:moveTo>
                  <a:lnTo>
                    <a:pt x="81108" y="144170"/>
                  </a:lnTo>
                  <a:lnTo>
                    <a:pt x="81108" y="69717"/>
                  </a:lnTo>
                  <a:cubicBezTo>
                    <a:pt x="81108" y="68349"/>
                    <a:pt x="81108" y="66983"/>
                    <a:pt x="81108" y="65615"/>
                  </a:cubicBezTo>
                  <a:cubicBezTo>
                    <a:pt x="79741" y="55591"/>
                    <a:pt x="70628" y="48756"/>
                    <a:pt x="60603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5" name="Forme libre : forme 294">
              <a:extLst>
                <a:ext uri="{FF2B5EF4-FFF2-40B4-BE49-F238E27FC236}">
                  <a16:creationId xmlns:a16="http://schemas.microsoft.com/office/drawing/2014/main" id="{8B9EE4C0-9C2E-42BB-B294-381EB8F6C5DA}"/>
                </a:ext>
              </a:extLst>
            </p:cNvPr>
            <p:cNvSpPr/>
            <p:nvPr/>
          </p:nvSpPr>
          <p:spPr>
            <a:xfrm rot="8716295">
              <a:off x="298766" y="-5395"/>
              <a:ext cx="260639" cy="180054"/>
            </a:xfrm>
            <a:custGeom>
              <a:avLst/>
              <a:gdLst>
                <a:gd name="connsiteX0" fmla="*/ 111638 w 260639"/>
                <a:gd name="connsiteY0" fmla="*/ 180054 h 180054"/>
                <a:gd name="connsiteX1" fmla="*/ 51490 w 260639"/>
                <a:gd name="connsiteY1" fmla="*/ 138362 h 180054"/>
                <a:gd name="connsiteX2" fmla="*/ 51490 w 260639"/>
                <a:gd name="connsiteY2" fmla="*/ 45624 h 180054"/>
                <a:gd name="connsiteX3" fmla="*/ 0 w 260639"/>
                <a:gd name="connsiteY3" fmla="*/ 45624 h 180054"/>
                <a:gd name="connsiteX4" fmla="*/ 0 w 260639"/>
                <a:gd name="connsiteY4" fmla="*/ 1425 h 180054"/>
                <a:gd name="connsiteX5" fmla="*/ 104802 w 260639"/>
                <a:gd name="connsiteY5" fmla="*/ 1425 h 180054"/>
                <a:gd name="connsiteX6" fmla="*/ 104802 w 260639"/>
                <a:gd name="connsiteY6" fmla="*/ 75242 h 180054"/>
                <a:gd name="connsiteX7" fmla="*/ 106169 w 260639"/>
                <a:gd name="connsiteY7" fmla="*/ 75242 h 180054"/>
                <a:gd name="connsiteX8" fmla="*/ 154014 w 260639"/>
                <a:gd name="connsiteY8" fmla="*/ 5981 h 180054"/>
                <a:gd name="connsiteX9" fmla="*/ 185455 w 260639"/>
                <a:gd name="connsiteY9" fmla="*/ 57 h 180054"/>
                <a:gd name="connsiteX10" fmla="*/ 260639 w 260639"/>
                <a:gd name="connsiteY10" fmla="*/ 88456 h 180054"/>
                <a:gd name="connsiteX11" fmla="*/ 260639 w 260639"/>
                <a:gd name="connsiteY11" fmla="*/ 94380 h 180054"/>
                <a:gd name="connsiteX12" fmla="*/ 198669 w 260639"/>
                <a:gd name="connsiteY12" fmla="*/ 98025 h 180054"/>
                <a:gd name="connsiteX13" fmla="*/ 198669 w 260639"/>
                <a:gd name="connsiteY13" fmla="*/ 81621 h 180054"/>
                <a:gd name="connsiteX14" fmla="*/ 164950 w 260639"/>
                <a:gd name="connsiteY14" fmla="*/ 40156 h 180054"/>
                <a:gd name="connsiteX15" fmla="*/ 111638 w 260639"/>
                <a:gd name="connsiteY15" fmla="*/ 127643 h 180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0639" h="180054">
                  <a:moveTo>
                    <a:pt x="111638" y="180054"/>
                  </a:moveTo>
                  <a:lnTo>
                    <a:pt x="51490" y="138362"/>
                  </a:ln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6" name="Forme libre : forme 295">
              <a:extLst>
                <a:ext uri="{FF2B5EF4-FFF2-40B4-BE49-F238E27FC236}">
                  <a16:creationId xmlns:a16="http://schemas.microsoft.com/office/drawing/2014/main" id="{426417CD-8FE4-43C3-B84F-A51A46F7C7B1}"/>
                </a:ext>
              </a:extLst>
            </p:cNvPr>
            <p:cNvSpPr/>
            <p:nvPr/>
          </p:nvSpPr>
          <p:spPr>
            <a:xfrm rot="8716295">
              <a:off x="276903" y="-12823"/>
              <a:ext cx="36272" cy="27982"/>
            </a:xfrm>
            <a:custGeom>
              <a:avLst/>
              <a:gdLst>
                <a:gd name="connsiteX0" fmla="*/ 36272 w 36272"/>
                <a:gd name="connsiteY0" fmla="*/ 27982 h 27982"/>
                <a:gd name="connsiteX1" fmla="*/ 0 w 36272"/>
                <a:gd name="connsiteY1" fmla="*/ 2840 h 27982"/>
                <a:gd name="connsiteX2" fmla="*/ 9543 w 36272"/>
                <a:gd name="connsiteY2" fmla="*/ 0 h 27982"/>
                <a:gd name="connsiteX3" fmla="*/ 31871 w 36272"/>
                <a:gd name="connsiteY3" fmla="*/ 11392 h 27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272" h="27982">
                  <a:moveTo>
                    <a:pt x="36272" y="27982"/>
                  </a:moveTo>
                  <a:lnTo>
                    <a:pt x="0" y="2840"/>
                  </a:lnTo>
                  <a:lnTo>
                    <a:pt x="9543" y="0"/>
                  </a:lnTo>
                  <a:cubicBezTo>
                    <a:pt x="20479" y="0"/>
                    <a:pt x="27542" y="4784"/>
                    <a:pt x="31871" y="113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7" name="Forme libre : forme 296">
              <a:extLst>
                <a:ext uri="{FF2B5EF4-FFF2-40B4-BE49-F238E27FC236}">
                  <a16:creationId xmlns:a16="http://schemas.microsoft.com/office/drawing/2014/main" id="{2194BB82-FA83-4BF9-8EBD-D8D0328F9BDF}"/>
                </a:ext>
              </a:extLst>
            </p:cNvPr>
            <p:cNvSpPr/>
            <p:nvPr/>
          </p:nvSpPr>
          <p:spPr>
            <a:xfrm rot="8716295">
              <a:off x="74640" y="-9665"/>
              <a:ext cx="58068" cy="54772"/>
            </a:xfrm>
            <a:custGeom>
              <a:avLst/>
              <a:gdLst>
                <a:gd name="connsiteX0" fmla="*/ 37436 w 58068"/>
                <a:gd name="connsiteY0" fmla="*/ 54772 h 54772"/>
                <a:gd name="connsiteX1" fmla="*/ 0 w 58068"/>
                <a:gd name="connsiteY1" fmla="*/ 28823 h 54772"/>
                <a:gd name="connsiteX2" fmla="*/ 8515 w 58068"/>
                <a:gd name="connsiteY2" fmla="*/ 8658 h 54772"/>
                <a:gd name="connsiteX3" fmla="*/ 29020 w 58068"/>
                <a:gd name="connsiteY3" fmla="*/ 0 h 54772"/>
                <a:gd name="connsiteX4" fmla="*/ 49525 w 58068"/>
                <a:gd name="connsiteY4" fmla="*/ 8658 h 54772"/>
                <a:gd name="connsiteX5" fmla="*/ 49525 w 58068"/>
                <a:gd name="connsiteY5" fmla="*/ 49668 h 5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068" h="54772">
                  <a:moveTo>
                    <a:pt x="37436" y="54772"/>
                  </a:moveTo>
                  <a:lnTo>
                    <a:pt x="0" y="28823"/>
                  </a:lnTo>
                  <a:lnTo>
                    <a:pt x="8515" y="8658"/>
                  </a:lnTo>
                  <a:cubicBezTo>
                    <a:pt x="13983" y="3190"/>
                    <a:pt x="21273" y="0"/>
                    <a:pt x="29020" y="0"/>
                  </a:cubicBezTo>
                  <a:cubicBezTo>
                    <a:pt x="36766" y="0"/>
                    <a:pt x="44057" y="3190"/>
                    <a:pt x="49525" y="8658"/>
                  </a:cubicBezTo>
                  <a:cubicBezTo>
                    <a:pt x="60916" y="19594"/>
                    <a:pt x="60916" y="38276"/>
                    <a:pt x="49525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8" name="Forme libre : forme 297">
              <a:extLst>
                <a:ext uri="{FF2B5EF4-FFF2-40B4-BE49-F238E27FC236}">
                  <a16:creationId xmlns:a16="http://schemas.microsoft.com/office/drawing/2014/main" id="{1E2DA60E-6B88-4273-B8B8-20DC571CA2F9}"/>
                </a:ext>
              </a:extLst>
            </p:cNvPr>
            <p:cNvSpPr/>
            <p:nvPr/>
          </p:nvSpPr>
          <p:spPr>
            <a:xfrm rot="8716295">
              <a:off x="13802" y="-10406"/>
              <a:ext cx="30027" cy="20814"/>
            </a:xfrm>
            <a:custGeom>
              <a:avLst/>
              <a:gdLst>
                <a:gd name="connsiteX0" fmla="*/ 30027 w 30027"/>
                <a:gd name="connsiteY0" fmla="*/ 20814 h 20814"/>
                <a:gd name="connsiteX1" fmla="*/ 0 w 30027"/>
                <a:gd name="connsiteY1" fmla="*/ 0 h 20814"/>
                <a:gd name="connsiteX2" fmla="*/ 30027 w 30027"/>
                <a:gd name="connsiteY2" fmla="*/ 0 h 20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027" h="20814">
                  <a:moveTo>
                    <a:pt x="30027" y="20814"/>
                  </a:moveTo>
                  <a:lnTo>
                    <a:pt x="0" y="0"/>
                  </a:lnTo>
                  <a:lnTo>
                    <a:pt x="3002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9" name="Forme libre : forme 298">
              <a:extLst>
                <a:ext uri="{FF2B5EF4-FFF2-40B4-BE49-F238E27FC236}">
                  <a16:creationId xmlns:a16="http://schemas.microsoft.com/office/drawing/2014/main" id="{0B53881C-9CFA-4C7A-B7BB-D045B9F708A3}"/>
                </a:ext>
              </a:extLst>
            </p:cNvPr>
            <p:cNvSpPr/>
            <p:nvPr/>
          </p:nvSpPr>
          <p:spPr>
            <a:xfrm rot="8716295">
              <a:off x="168048" y="3032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0" name="Forme libre : forme 299">
              <a:extLst>
                <a:ext uri="{FF2B5EF4-FFF2-40B4-BE49-F238E27FC236}">
                  <a16:creationId xmlns:a16="http://schemas.microsoft.com/office/drawing/2014/main" id="{07B92E1C-0CE7-4A26-8278-C39DA02570AC}"/>
                </a:ext>
              </a:extLst>
            </p:cNvPr>
            <p:cNvSpPr/>
            <p:nvPr/>
          </p:nvSpPr>
          <p:spPr>
            <a:xfrm rot="7484129">
              <a:off x="562078" y="-284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1" name="Forme libre : forme 300">
              <a:extLst>
                <a:ext uri="{FF2B5EF4-FFF2-40B4-BE49-F238E27FC236}">
                  <a16:creationId xmlns:a16="http://schemas.microsoft.com/office/drawing/2014/main" id="{CAE7423C-0BBB-4D40-8F55-D1ED03A3FDDA}"/>
                </a:ext>
              </a:extLst>
            </p:cNvPr>
            <p:cNvSpPr/>
            <p:nvPr/>
          </p:nvSpPr>
          <p:spPr>
            <a:xfrm rot="13089394">
              <a:off x="767127" y="-2787"/>
              <a:ext cx="149688" cy="301067"/>
            </a:xfrm>
            <a:custGeom>
              <a:avLst/>
              <a:gdLst>
                <a:gd name="connsiteX0" fmla="*/ 149688 w 149688"/>
                <a:gd name="connsiteY0" fmla="*/ 279622 h 301067"/>
                <a:gd name="connsiteX1" fmla="*/ 122393 w 149688"/>
                <a:gd name="connsiteY1" fmla="*/ 301067 h 301067"/>
                <a:gd name="connsiteX2" fmla="*/ 0 w 149688"/>
                <a:gd name="connsiteY2" fmla="*/ 114672 h 301067"/>
                <a:gd name="connsiteX3" fmla="*/ 0 w 149688"/>
                <a:gd name="connsiteY3" fmla="*/ 38074 h 301067"/>
                <a:gd name="connsiteX4" fmla="*/ 73388 w 149688"/>
                <a:gd name="connsiteY4" fmla="*/ 0 h 301067"/>
                <a:gd name="connsiteX5" fmla="*/ 74492 w 149688"/>
                <a:gd name="connsiteY5" fmla="*/ 153950 h 301067"/>
                <a:gd name="connsiteX6" fmla="*/ 87734 w 149688"/>
                <a:gd name="connsiteY6" fmla="*/ 245547 h 301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9688" h="301067">
                  <a:moveTo>
                    <a:pt x="149688" y="279622"/>
                  </a:moveTo>
                  <a:lnTo>
                    <a:pt x="122393" y="301067"/>
                  </a:lnTo>
                  <a:lnTo>
                    <a:pt x="0" y="114672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2836" y="184850"/>
                    <a:pt x="77802" y="216302"/>
                    <a:pt x="87734" y="2455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2" name="Forme libre : forme 301">
              <a:extLst>
                <a:ext uri="{FF2B5EF4-FFF2-40B4-BE49-F238E27FC236}">
                  <a16:creationId xmlns:a16="http://schemas.microsoft.com/office/drawing/2014/main" id="{DE7F88C3-F95A-48EB-BC5C-94F46E2332ED}"/>
                </a:ext>
              </a:extLst>
            </p:cNvPr>
            <p:cNvSpPr/>
            <p:nvPr/>
          </p:nvSpPr>
          <p:spPr>
            <a:xfrm rot="8716295">
              <a:off x="212141" y="304502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3" name="Forme libre : forme 302">
              <a:extLst>
                <a:ext uri="{FF2B5EF4-FFF2-40B4-BE49-F238E27FC236}">
                  <a16:creationId xmlns:a16="http://schemas.microsoft.com/office/drawing/2014/main" id="{D55BD2D7-C439-4F43-96D6-CC4EB9C9A2CD}"/>
                </a:ext>
              </a:extLst>
            </p:cNvPr>
            <p:cNvSpPr/>
            <p:nvPr/>
          </p:nvSpPr>
          <p:spPr>
            <a:xfrm rot="8716295">
              <a:off x="301533" y="307427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4" name="Forme libre : forme 303">
              <a:extLst>
                <a:ext uri="{FF2B5EF4-FFF2-40B4-BE49-F238E27FC236}">
                  <a16:creationId xmlns:a16="http://schemas.microsoft.com/office/drawing/2014/main" id="{98520A64-DC7D-4391-9310-C02770ED1A94}"/>
                </a:ext>
              </a:extLst>
            </p:cNvPr>
            <p:cNvSpPr/>
            <p:nvPr/>
          </p:nvSpPr>
          <p:spPr>
            <a:xfrm rot="8716295">
              <a:off x="256683" y="298799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5" name="Forme libre : forme 304">
              <a:extLst>
                <a:ext uri="{FF2B5EF4-FFF2-40B4-BE49-F238E27FC236}">
                  <a16:creationId xmlns:a16="http://schemas.microsoft.com/office/drawing/2014/main" id="{F4D8F56B-62F1-42CF-A7A2-650DB4131292}"/>
                </a:ext>
              </a:extLst>
            </p:cNvPr>
            <p:cNvSpPr/>
            <p:nvPr/>
          </p:nvSpPr>
          <p:spPr>
            <a:xfrm rot="8716295">
              <a:off x="99907" y="31335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6" name="Forme libre : forme 305">
              <a:extLst>
                <a:ext uri="{FF2B5EF4-FFF2-40B4-BE49-F238E27FC236}">
                  <a16:creationId xmlns:a16="http://schemas.microsoft.com/office/drawing/2014/main" id="{0D43E076-CB6A-4FEE-A459-C1DE20E99E2F}"/>
                </a:ext>
              </a:extLst>
            </p:cNvPr>
            <p:cNvSpPr/>
            <p:nvPr/>
          </p:nvSpPr>
          <p:spPr>
            <a:xfrm rot="8716295">
              <a:off x="-24996" y="29248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7" name="Forme libre : forme 306">
              <a:extLst>
                <a:ext uri="{FF2B5EF4-FFF2-40B4-BE49-F238E27FC236}">
                  <a16:creationId xmlns:a16="http://schemas.microsoft.com/office/drawing/2014/main" id="{CA2035BC-118E-49FD-BF84-9E105EEC437B}"/>
                </a:ext>
              </a:extLst>
            </p:cNvPr>
            <p:cNvSpPr/>
            <p:nvPr/>
          </p:nvSpPr>
          <p:spPr>
            <a:xfrm rot="8716295">
              <a:off x="51899" y="2754602"/>
              <a:ext cx="189488" cy="350829"/>
            </a:xfrm>
            <a:custGeom>
              <a:avLst/>
              <a:gdLst>
                <a:gd name="connsiteX0" fmla="*/ 25299 w 189488"/>
                <a:gd name="connsiteY0" fmla="*/ 321238 h 350829"/>
                <a:gd name="connsiteX1" fmla="*/ 0 w 189488"/>
                <a:gd name="connsiteY1" fmla="*/ 220042 h 350829"/>
                <a:gd name="connsiteX2" fmla="*/ 0 w 189488"/>
                <a:gd name="connsiteY2" fmla="*/ 40596 h 350829"/>
                <a:gd name="connsiteX3" fmla="*/ 78250 w 189488"/>
                <a:gd name="connsiteY3" fmla="*/ 0 h 350829"/>
                <a:gd name="connsiteX4" fmla="*/ 79427 w 189488"/>
                <a:gd name="connsiteY4" fmla="*/ 164149 h 350829"/>
                <a:gd name="connsiteX5" fmla="*/ 93547 w 189488"/>
                <a:gd name="connsiteY5" fmla="*/ 261815 h 350829"/>
                <a:gd name="connsiteX6" fmla="*/ 164148 w 189488"/>
                <a:gd name="connsiteY6" fmla="*/ 300646 h 350829"/>
                <a:gd name="connsiteX7" fmla="*/ 189488 w 189488"/>
                <a:gd name="connsiteY7" fmla="*/ 296141 h 350829"/>
                <a:gd name="connsiteX8" fmla="*/ 160617 w 189488"/>
                <a:gd name="connsiteY8" fmla="*/ 337791 h 350829"/>
                <a:gd name="connsiteX9" fmla="*/ 97666 w 189488"/>
                <a:gd name="connsiteY9" fmla="*/ 350655 h 350829"/>
                <a:gd name="connsiteX10" fmla="*/ 25299 w 189488"/>
                <a:gd name="connsiteY10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9488" h="350829">
                  <a:moveTo>
                    <a:pt x="25299" y="321238"/>
                  </a:moveTo>
                  <a:cubicBezTo>
                    <a:pt x="5295" y="301823"/>
                    <a:pt x="0" y="268286"/>
                    <a:pt x="0" y="220042"/>
                  </a:cubicBez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8" y="300646"/>
                  </a:cubicBezTo>
                  <a:lnTo>
                    <a:pt x="189488" y="296141"/>
                  </a:lnTo>
                  <a:lnTo>
                    <a:pt x="160617" y="337791"/>
                  </a:lnTo>
                  <a:lnTo>
                    <a:pt x="97666" y="350655"/>
                  </a:ln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8" name="Forme libre : forme 307">
              <a:extLst>
                <a:ext uri="{FF2B5EF4-FFF2-40B4-BE49-F238E27FC236}">
                  <a16:creationId xmlns:a16="http://schemas.microsoft.com/office/drawing/2014/main" id="{E8F898AD-C8B7-4665-871C-0DD08867FE33}"/>
                </a:ext>
              </a:extLst>
            </p:cNvPr>
            <p:cNvSpPr/>
            <p:nvPr/>
          </p:nvSpPr>
          <p:spPr>
            <a:xfrm rot="8716295">
              <a:off x="190085" y="317452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9" name="Forme libre : forme 308">
              <a:extLst>
                <a:ext uri="{FF2B5EF4-FFF2-40B4-BE49-F238E27FC236}">
                  <a16:creationId xmlns:a16="http://schemas.microsoft.com/office/drawing/2014/main" id="{21447FE1-A29B-45A2-85C9-8C8BA929308B}"/>
                </a:ext>
              </a:extLst>
            </p:cNvPr>
            <p:cNvSpPr/>
            <p:nvPr/>
          </p:nvSpPr>
          <p:spPr>
            <a:xfrm rot="8716295">
              <a:off x="502599" y="2802136"/>
              <a:ext cx="117588" cy="232388"/>
            </a:xfrm>
            <a:custGeom>
              <a:avLst/>
              <a:gdLst>
                <a:gd name="connsiteX0" fmla="*/ 56529 w 117588"/>
                <a:gd name="connsiteY0" fmla="*/ 232388 h 232388"/>
                <a:gd name="connsiteX1" fmla="*/ 56529 w 117588"/>
                <a:gd name="connsiteY1" fmla="*/ 69717 h 232388"/>
                <a:gd name="connsiteX2" fmla="*/ 56529 w 117588"/>
                <a:gd name="connsiteY2" fmla="*/ 65615 h 232388"/>
                <a:gd name="connsiteX3" fmla="*/ 36025 w 117588"/>
                <a:gd name="connsiteY3" fmla="*/ 50123 h 232388"/>
                <a:gd name="connsiteX4" fmla="*/ 0 w 117588"/>
                <a:gd name="connsiteY4" fmla="*/ 50123 h 232388"/>
                <a:gd name="connsiteX5" fmla="*/ 41458 w 117588"/>
                <a:gd name="connsiteY5" fmla="*/ 0 h 232388"/>
                <a:gd name="connsiteX6" fmla="*/ 60630 w 117588"/>
                <a:gd name="connsiteY6" fmla="*/ 0 h 232388"/>
                <a:gd name="connsiteX7" fmla="*/ 117588 w 117588"/>
                <a:gd name="connsiteY7" fmla="*/ 50123 h 232388"/>
                <a:gd name="connsiteX8" fmla="*/ 117588 w 117588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7588" h="232388">
                  <a:moveTo>
                    <a:pt x="56529" y="232388"/>
                  </a:moveTo>
                  <a:lnTo>
                    <a:pt x="56529" y="69717"/>
                  </a:lnTo>
                  <a:cubicBezTo>
                    <a:pt x="56529" y="68349"/>
                    <a:pt x="56529" y="66983"/>
                    <a:pt x="56529" y="65615"/>
                  </a:cubicBezTo>
                  <a:cubicBezTo>
                    <a:pt x="55163" y="55591"/>
                    <a:pt x="46049" y="48756"/>
                    <a:pt x="36025" y="50123"/>
                  </a:cubicBezTo>
                  <a:lnTo>
                    <a:pt x="0" y="50123"/>
                  </a:lnTo>
                  <a:lnTo>
                    <a:pt x="41458" y="0"/>
                  </a:lnTo>
                  <a:lnTo>
                    <a:pt x="60630" y="0"/>
                  </a:lnTo>
                  <a:cubicBezTo>
                    <a:pt x="97539" y="0"/>
                    <a:pt x="117588" y="15948"/>
                    <a:pt x="117588" y="50123"/>
                  </a:cubicBezTo>
                  <a:lnTo>
                    <a:pt x="117588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0" name="Forme libre : forme 309">
              <a:extLst>
                <a:ext uri="{FF2B5EF4-FFF2-40B4-BE49-F238E27FC236}">
                  <a16:creationId xmlns:a16="http://schemas.microsoft.com/office/drawing/2014/main" id="{DC5CD014-032B-4188-8129-1BA9EDEB5E1C}"/>
                </a:ext>
              </a:extLst>
            </p:cNvPr>
            <p:cNvSpPr/>
            <p:nvPr/>
          </p:nvSpPr>
          <p:spPr>
            <a:xfrm rot="8716295">
              <a:off x="389006" y="2883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1" name="Forme libre : forme 310">
              <a:extLst>
                <a:ext uri="{FF2B5EF4-FFF2-40B4-BE49-F238E27FC236}">
                  <a16:creationId xmlns:a16="http://schemas.microsoft.com/office/drawing/2014/main" id="{4BFA54F9-8E75-4357-98AE-7842173849BD}"/>
                </a:ext>
              </a:extLst>
            </p:cNvPr>
            <p:cNvSpPr/>
            <p:nvPr/>
          </p:nvSpPr>
          <p:spPr>
            <a:xfrm rot="8716295">
              <a:off x="264104" y="267474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2" name="Forme libre : forme 311">
              <a:extLst>
                <a:ext uri="{FF2B5EF4-FFF2-40B4-BE49-F238E27FC236}">
                  <a16:creationId xmlns:a16="http://schemas.microsoft.com/office/drawing/2014/main" id="{D627B6F1-7278-4938-8513-4523BF111D7A}"/>
                </a:ext>
              </a:extLst>
            </p:cNvPr>
            <p:cNvSpPr/>
            <p:nvPr/>
          </p:nvSpPr>
          <p:spPr>
            <a:xfrm rot="8716295">
              <a:off x="479184" y="292437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3" name="Forme libre : forme 312">
              <a:extLst>
                <a:ext uri="{FF2B5EF4-FFF2-40B4-BE49-F238E27FC236}">
                  <a16:creationId xmlns:a16="http://schemas.microsoft.com/office/drawing/2014/main" id="{44A8C608-76B9-49F0-B8EA-9C07C31A92DA}"/>
                </a:ext>
              </a:extLst>
            </p:cNvPr>
            <p:cNvSpPr/>
            <p:nvPr/>
          </p:nvSpPr>
          <p:spPr>
            <a:xfrm rot="8716295">
              <a:off x="237733" y="277477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4" name="Forme libre : forme 313">
              <a:extLst>
                <a:ext uri="{FF2B5EF4-FFF2-40B4-BE49-F238E27FC236}">
                  <a16:creationId xmlns:a16="http://schemas.microsoft.com/office/drawing/2014/main" id="{31723CE5-0F31-4468-8030-5F9773A83A08}"/>
                </a:ext>
              </a:extLst>
            </p:cNvPr>
            <p:cNvSpPr/>
            <p:nvPr/>
          </p:nvSpPr>
          <p:spPr>
            <a:xfrm rot="7484129">
              <a:off x="609980" y="3142825"/>
              <a:ext cx="20881" cy="31001"/>
            </a:xfrm>
            <a:custGeom>
              <a:avLst/>
              <a:gdLst>
                <a:gd name="connsiteX0" fmla="*/ 10218 w 20881"/>
                <a:gd name="connsiteY0" fmla="*/ 31001 h 31001"/>
                <a:gd name="connsiteX1" fmla="*/ 0 w 20881"/>
                <a:gd name="connsiteY1" fmla="*/ 11992 h 31001"/>
                <a:gd name="connsiteX2" fmla="*/ 20881 w 20881"/>
                <a:gd name="connsiteY2" fmla="*/ 0 h 31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881" h="31001">
                  <a:moveTo>
                    <a:pt x="10218" y="31001"/>
                  </a:moveTo>
                  <a:lnTo>
                    <a:pt x="0" y="11992"/>
                  </a:lnTo>
                  <a:lnTo>
                    <a:pt x="2088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5" name="Forme libre : forme 314">
              <a:extLst>
                <a:ext uri="{FF2B5EF4-FFF2-40B4-BE49-F238E27FC236}">
                  <a16:creationId xmlns:a16="http://schemas.microsoft.com/office/drawing/2014/main" id="{0A1A01CF-9944-4EC3-883D-948C509B42CD}"/>
                </a:ext>
              </a:extLst>
            </p:cNvPr>
            <p:cNvSpPr/>
            <p:nvPr/>
          </p:nvSpPr>
          <p:spPr>
            <a:xfrm rot="8716295">
              <a:off x="579469" y="28172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6" name="Forme libre : forme 315">
              <a:extLst>
                <a:ext uri="{FF2B5EF4-FFF2-40B4-BE49-F238E27FC236}">
                  <a16:creationId xmlns:a16="http://schemas.microsoft.com/office/drawing/2014/main" id="{71717ABE-8C5B-4E08-B642-252D74033C89}"/>
                </a:ext>
              </a:extLst>
            </p:cNvPr>
            <p:cNvSpPr/>
            <p:nvPr/>
          </p:nvSpPr>
          <p:spPr>
            <a:xfrm rot="8716295">
              <a:off x="437995" y="3716235"/>
              <a:ext cx="102679" cy="232388"/>
            </a:xfrm>
            <a:custGeom>
              <a:avLst/>
              <a:gdLst>
                <a:gd name="connsiteX0" fmla="*/ 41620 w 102679"/>
                <a:gd name="connsiteY0" fmla="*/ 232388 h 232388"/>
                <a:gd name="connsiteX1" fmla="*/ 41620 w 102679"/>
                <a:gd name="connsiteY1" fmla="*/ 69717 h 232388"/>
                <a:gd name="connsiteX2" fmla="*/ 41620 w 102679"/>
                <a:gd name="connsiteY2" fmla="*/ 65615 h 232388"/>
                <a:gd name="connsiteX3" fmla="*/ 21116 w 102679"/>
                <a:gd name="connsiteY3" fmla="*/ 50123 h 232388"/>
                <a:gd name="connsiteX4" fmla="*/ 0 w 102679"/>
                <a:gd name="connsiteY4" fmla="*/ 50123 h 232388"/>
                <a:gd name="connsiteX5" fmla="*/ 41457 w 102679"/>
                <a:gd name="connsiteY5" fmla="*/ 0 h 232388"/>
                <a:gd name="connsiteX6" fmla="*/ 45721 w 102679"/>
                <a:gd name="connsiteY6" fmla="*/ 0 h 232388"/>
                <a:gd name="connsiteX7" fmla="*/ 102679 w 102679"/>
                <a:gd name="connsiteY7" fmla="*/ 50123 h 232388"/>
                <a:gd name="connsiteX8" fmla="*/ 102679 w 102679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2679" h="232388">
                  <a:moveTo>
                    <a:pt x="41620" y="232388"/>
                  </a:moveTo>
                  <a:lnTo>
                    <a:pt x="41620" y="69717"/>
                  </a:lnTo>
                  <a:cubicBezTo>
                    <a:pt x="41620" y="68349"/>
                    <a:pt x="41620" y="66983"/>
                    <a:pt x="41620" y="65615"/>
                  </a:cubicBezTo>
                  <a:cubicBezTo>
                    <a:pt x="40254" y="55591"/>
                    <a:pt x="31140" y="48756"/>
                    <a:pt x="21116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45721" y="0"/>
                  </a:lnTo>
                  <a:cubicBezTo>
                    <a:pt x="82630" y="0"/>
                    <a:pt x="102679" y="15948"/>
                    <a:pt x="102679" y="50123"/>
                  </a:cubicBezTo>
                  <a:lnTo>
                    <a:pt x="102679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7" name="Forme libre : forme 316">
              <a:extLst>
                <a:ext uri="{FF2B5EF4-FFF2-40B4-BE49-F238E27FC236}">
                  <a16:creationId xmlns:a16="http://schemas.microsoft.com/office/drawing/2014/main" id="{57F9E802-91E2-4CB8-8036-748B1071E3AB}"/>
                </a:ext>
              </a:extLst>
            </p:cNvPr>
            <p:cNvSpPr/>
            <p:nvPr/>
          </p:nvSpPr>
          <p:spPr>
            <a:xfrm rot="8716295">
              <a:off x="482715" y="3669965"/>
              <a:ext cx="154563" cy="124897"/>
            </a:xfrm>
            <a:custGeom>
              <a:avLst/>
              <a:gdLst>
                <a:gd name="connsiteX0" fmla="*/ 0 w 154563"/>
                <a:gd name="connsiteY0" fmla="*/ 124897 h 124897"/>
                <a:gd name="connsiteX1" fmla="*/ 95474 w 154563"/>
                <a:gd name="connsiteY1" fmla="*/ 9467 h 124897"/>
                <a:gd name="connsiteX2" fmla="*/ 96067 w 154563"/>
                <a:gd name="connsiteY2" fmla="*/ 9000 h 124897"/>
                <a:gd name="connsiteX3" fmla="*/ 126312 w 154563"/>
                <a:gd name="connsiteY3" fmla="*/ 0 h 124897"/>
                <a:gd name="connsiteX4" fmla="*/ 154563 w 154563"/>
                <a:gd name="connsiteY4" fmla="*/ 33719 h 124897"/>
                <a:gd name="connsiteX5" fmla="*/ 128135 w 154563"/>
                <a:gd name="connsiteY5" fmla="*/ 69261 h 124897"/>
                <a:gd name="connsiteX6" fmla="*/ 128590 w 154563"/>
                <a:gd name="connsiteY6" fmla="*/ 69261 h 12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4563" h="124897">
                  <a:moveTo>
                    <a:pt x="0" y="124897"/>
                  </a:moveTo>
                  <a:lnTo>
                    <a:pt x="95474" y="9467"/>
                  </a:lnTo>
                  <a:lnTo>
                    <a:pt x="96067" y="9000"/>
                  </a:lnTo>
                  <a:cubicBezTo>
                    <a:pt x="105351" y="4215"/>
                    <a:pt x="115604" y="1139"/>
                    <a:pt x="126312" y="0"/>
                  </a:cubicBezTo>
                  <a:cubicBezTo>
                    <a:pt x="148184" y="0"/>
                    <a:pt x="154563" y="19138"/>
                    <a:pt x="154563" y="33719"/>
                  </a:cubicBezTo>
                  <a:cubicBezTo>
                    <a:pt x="153196" y="49668"/>
                    <a:pt x="142715" y="62882"/>
                    <a:pt x="128135" y="69261"/>
                  </a:cubicBezTo>
                  <a:lnTo>
                    <a:pt x="128590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8" name="Forme libre : forme 317">
              <a:extLst>
                <a:ext uri="{FF2B5EF4-FFF2-40B4-BE49-F238E27FC236}">
                  <a16:creationId xmlns:a16="http://schemas.microsoft.com/office/drawing/2014/main" id="{844BD3AC-808C-49B6-9585-45AED27044D8}"/>
                </a:ext>
              </a:extLst>
            </p:cNvPr>
            <p:cNvSpPr/>
            <p:nvPr/>
          </p:nvSpPr>
          <p:spPr>
            <a:xfrm rot="8716295">
              <a:off x="323074" y="379327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9" name="Forme libre : forme 318">
              <a:extLst>
                <a:ext uri="{FF2B5EF4-FFF2-40B4-BE49-F238E27FC236}">
                  <a16:creationId xmlns:a16="http://schemas.microsoft.com/office/drawing/2014/main" id="{6610930E-080F-4669-B332-C11A7EDE2E69}"/>
                </a:ext>
              </a:extLst>
            </p:cNvPr>
            <p:cNvSpPr/>
            <p:nvPr/>
          </p:nvSpPr>
          <p:spPr>
            <a:xfrm rot="8716295">
              <a:off x="198171" y="358459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0" name="Forme libre : forme 319">
              <a:extLst>
                <a:ext uri="{FF2B5EF4-FFF2-40B4-BE49-F238E27FC236}">
                  <a16:creationId xmlns:a16="http://schemas.microsoft.com/office/drawing/2014/main" id="{BB6AE4FF-01F3-4791-9797-82B71A71685F}"/>
                </a:ext>
              </a:extLst>
            </p:cNvPr>
            <p:cNvSpPr/>
            <p:nvPr/>
          </p:nvSpPr>
          <p:spPr>
            <a:xfrm rot="8716295">
              <a:off x="186119" y="344581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1" name="Forme libre : forme 320">
              <a:extLst>
                <a:ext uri="{FF2B5EF4-FFF2-40B4-BE49-F238E27FC236}">
                  <a16:creationId xmlns:a16="http://schemas.microsoft.com/office/drawing/2014/main" id="{B2FBA9B1-476F-454A-86CF-CB8E10185C59}"/>
                </a:ext>
              </a:extLst>
            </p:cNvPr>
            <p:cNvSpPr/>
            <p:nvPr/>
          </p:nvSpPr>
          <p:spPr>
            <a:xfrm rot="8716295">
              <a:off x="410218" y="3834716"/>
              <a:ext cx="103435" cy="219174"/>
            </a:xfrm>
            <a:custGeom>
              <a:avLst/>
              <a:gdLst>
                <a:gd name="connsiteX0" fmla="*/ 103435 w 103435"/>
                <a:gd name="connsiteY0" fmla="*/ 219174 h 219174"/>
                <a:gd name="connsiteX1" fmla="*/ 43288 w 103435"/>
                <a:gd name="connsiteY1" fmla="*/ 161305 h 219174"/>
                <a:gd name="connsiteX2" fmla="*/ 43288 w 103435"/>
                <a:gd name="connsiteY2" fmla="*/ 16404 h 219174"/>
                <a:gd name="connsiteX3" fmla="*/ 0 w 103435"/>
                <a:gd name="connsiteY3" fmla="*/ 16404 h 219174"/>
                <a:gd name="connsiteX4" fmla="*/ 0 w 103435"/>
                <a:gd name="connsiteY4" fmla="*/ 16028 h 219174"/>
                <a:gd name="connsiteX5" fmla="*/ 11583 w 103435"/>
                <a:gd name="connsiteY5" fmla="*/ 2023 h 219174"/>
                <a:gd name="connsiteX6" fmla="*/ 103435 w 103435"/>
                <a:gd name="connsiteY6" fmla="*/ 0 h 219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19174">
                  <a:moveTo>
                    <a:pt x="103435" y="219174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16028"/>
                  </a:lnTo>
                  <a:lnTo>
                    <a:pt x="11583" y="2023"/>
                  </a:lnTo>
                  <a:lnTo>
                    <a:pt x="10343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2" name="Forme libre : forme 321">
              <a:extLst>
                <a:ext uri="{FF2B5EF4-FFF2-40B4-BE49-F238E27FC236}">
                  <a16:creationId xmlns:a16="http://schemas.microsoft.com/office/drawing/2014/main" id="{FC54D21D-2562-49FC-BEBE-B5E2AB5AF4EE}"/>
                </a:ext>
              </a:extLst>
            </p:cNvPr>
            <p:cNvSpPr/>
            <p:nvPr/>
          </p:nvSpPr>
          <p:spPr>
            <a:xfrm rot="8716295">
              <a:off x="487452" y="3349370"/>
              <a:ext cx="151162" cy="195873"/>
            </a:xfrm>
            <a:custGeom>
              <a:avLst/>
              <a:gdLst>
                <a:gd name="connsiteX0" fmla="*/ 38025 w 151162"/>
                <a:gd name="connsiteY0" fmla="*/ 195873 h 195873"/>
                <a:gd name="connsiteX1" fmla="*/ 0 w 151162"/>
                <a:gd name="connsiteY1" fmla="*/ 125130 h 195873"/>
                <a:gd name="connsiteX2" fmla="*/ 103497 w 151162"/>
                <a:gd name="connsiteY2" fmla="*/ 0 h 195873"/>
                <a:gd name="connsiteX3" fmla="*/ 151162 w 151162"/>
                <a:gd name="connsiteY3" fmla="*/ 0 h 195873"/>
                <a:gd name="connsiteX4" fmla="*/ 151162 w 151162"/>
                <a:gd name="connsiteY4" fmla="*/ 55323 h 195873"/>
                <a:gd name="connsiteX5" fmla="*/ 86370 w 151162"/>
                <a:gd name="connsiteY5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1162" h="195873">
                  <a:moveTo>
                    <a:pt x="38025" y="195873"/>
                  </a:moveTo>
                  <a:lnTo>
                    <a:pt x="0" y="125130"/>
                  </a:lnTo>
                  <a:lnTo>
                    <a:pt x="103497" y="0"/>
                  </a:lnTo>
                  <a:lnTo>
                    <a:pt x="151162" y="0"/>
                  </a:lnTo>
                  <a:lnTo>
                    <a:pt x="151162" y="55323"/>
                  </a:lnTo>
                  <a:lnTo>
                    <a:pt x="86370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3" name="Forme libre : forme 322">
              <a:extLst>
                <a:ext uri="{FF2B5EF4-FFF2-40B4-BE49-F238E27FC236}">
                  <a16:creationId xmlns:a16="http://schemas.microsoft.com/office/drawing/2014/main" id="{1800C2CB-54A6-4240-B3ED-11D6043BB03F}"/>
                </a:ext>
              </a:extLst>
            </p:cNvPr>
            <p:cNvSpPr/>
            <p:nvPr/>
          </p:nvSpPr>
          <p:spPr>
            <a:xfrm rot="8716295">
              <a:off x="460900" y="343447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4" name="Forme libre : forme 323">
              <a:extLst>
                <a:ext uri="{FF2B5EF4-FFF2-40B4-BE49-F238E27FC236}">
                  <a16:creationId xmlns:a16="http://schemas.microsoft.com/office/drawing/2014/main" id="{3EBD1C82-1557-40AF-96AD-1C870F5CE8D7}"/>
                </a:ext>
              </a:extLst>
            </p:cNvPr>
            <p:cNvSpPr/>
            <p:nvPr/>
          </p:nvSpPr>
          <p:spPr>
            <a:xfrm rot="8716295">
              <a:off x="417336" y="4258920"/>
              <a:ext cx="147637" cy="195874"/>
            </a:xfrm>
            <a:custGeom>
              <a:avLst/>
              <a:gdLst>
                <a:gd name="connsiteX0" fmla="*/ 34500 w 147637"/>
                <a:gd name="connsiteY0" fmla="*/ 195874 h 195874"/>
                <a:gd name="connsiteX1" fmla="*/ 0 w 147637"/>
                <a:gd name="connsiteY1" fmla="*/ 131688 h 195874"/>
                <a:gd name="connsiteX2" fmla="*/ 108921 w 147637"/>
                <a:gd name="connsiteY2" fmla="*/ 0 h 195874"/>
                <a:gd name="connsiteX3" fmla="*/ 147637 w 147637"/>
                <a:gd name="connsiteY3" fmla="*/ 0 h 195874"/>
                <a:gd name="connsiteX4" fmla="*/ 147637 w 147637"/>
                <a:gd name="connsiteY4" fmla="*/ 55323 h 195874"/>
                <a:gd name="connsiteX5" fmla="*/ 82845 w 147637"/>
                <a:gd name="connsiteY5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7637" h="195874">
                  <a:moveTo>
                    <a:pt x="34500" y="195874"/>
                  </a:moveTo>
                  <a:lnTo>
                    <a:pt x="0" y="131688"/>
                  </a:lnTo>
                  <a:lnTo>
                    <a:pt x="108921" y="0"/>
                  </a:lnTo>
                  <a:lnTo>
                    <a:pt x="147637" y="0"/>
                  </a:lnTo>
                  <a:lnTo>
                    <a:pt x="147637" y="55323"/>
                  </a:lnTo>
                  <a:lnTo>
                    <a:pt x="8284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5" name="Forme libre : forme 324">
              <a:extLst>
                <a:ext uri="{FF2B5EF4-FFF2-40B4-BE49-F238E27FC236}">
                  <a16:creationId xmlns:a16="http://schemas.microsoft.com/office/drawing/2014/main" id="{50FA5920-2CA1-4B57-AFE9-708172C7151C}"/>
                </a:ext>
              </a:extLst>
            </p:cNvPr>
            <p:cNvSpPr/>
            <p:nvPr/>
          </p:nvSpPr>
          <p:spPr>
            <a:xfrm rot="8716295">
              <a:off x="330834" y="4134902"/>
              <a:ext cx="254613" cy="91157"/>
            </a:xfrm>
            <a:custGeom>
              <a:avLst/>
              <a:gdLst>
                <a:gd name="connsiteX0" fmla="*/ 0 w 254613"/>
                <a:gd name="connsiteY0" fmla="*/ 68911 h 91157"/>
                <a:gd name="connsiteX1" fmla="*/ 56997 w 254613"/>
                <a:gd name="connsiteY1" fmla="*/ 0 h 91157"/>
                <a:gd name="connsiteX2" fmla="*/ 57517 w 254613"/>
                <a:gd name="connsiteY2" fmla="*/ 2143 h 91157"/>
                <a:gd name="connsiteX3" fmla="*/ 128118 w 254613"/>
                <a:gd name="connsiteY3" fmla="*/ 40974 h 91157"/>
                <a:gd name="connsiteX4" fmla="*/ 181070 w 254613"/>
                <a:gd name="connsiteY4" fmla="*/ 31560 h 91157"/>
                <a:gd name="connsiteX5" fmla="*/ 253437 w 254613"/>
                <a:gd name="connsiteY5" fmla="*/ 2143 h 91157"/>
                <a:gd name="connsiteX6" fmla="*/ 254613 w 254613"/>
                <a:gd name="connsiteY6" fmla="*/ 9791 h 91157"/>
                <a:gd name="connsiteX7" fmla="*/ 254613 w 254613"/>
                <a:gd name="connsiteY7" fmla="*/ 15674 h 91157"/>
                <a:gd name="connsiteX8" fmla="*/ 61636 w 254613"/>
                <a:gd name="connsiteY8" fmla="*/ 90983 h 91157"/>
                <a:gd name="connsiteX9" fmla="*/ 22363 w 254613"/>
                <a:gd name="connsiteY9" fmla="*/ 84217 h 91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4613" h="91157">
                  <a:moveTo>
                    <a:pt x="0" y="68911"/>
                  </a:moveTo>
                  <a:lnTo>
                    <a:pt x="56997" y="0"/>
                  </a:lnTo>
                  <a:lnTo>
                    <a:pt x="57517" y="2143"/>
                  </a:lnTo>
                  <a:cubicBezTo>
                    <a:pt x="66931" y="28030"/>
                    <a:pt x="91053" y="40974"/>
                    <a:pt x="128118" y="40974"/>
                  </a:cubicBezTo>
                  <a:cubicBezTo>
                    <a:pt x="146357" y="40385"/>
                    <a:pt x="164008" y="36855"/>
                    <a:pt x="181070" y="31560"/>
                  </a:cubicBezTo>
                  <a:cubicBezTo>
                    <a:pt x="205780" y="23912"/>
                    <a:pt x="229903" y="13910"/>
                    <a:pt x="253437" y="2143"/>
                  </a:cubicBezTo>
                  <a:cubicBezTo>
                    <a:pt x="254025" y="4496"/>
                    <a:pt x="254613" y="7438"/>
                    <a:pt x="254613" y="9791"/>
                  </a:cubicBezTo>
                  <a:lnTo>
                    <a:pt x="254613" y="15674"/>
                  </a:lnTo>
                  <a:cubicBezTo>
                    <a:pt x="192249" y="69215"/>
                    <a:pt x="110468" y="88042"/>
                    <a:pt x="61636" y="90983"/>
                  </a:cubicBezTo>
                  <a:cubicBezTo>
                    <a:pt x="48104" y="91866"/>
                    <a:pt x="34719" y="89365"/>
                    <a:pt x="22363" y="842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6" name="Forme libre : forme 325">
              <a:extLst>
                <a:ext uri="{FF2B5EF4-FFF2-40B4-BE49-F238E27FC236}">
                  <a16:creationId xmlns:a16="http://schemas.microsoft.com/office/drawing/2014/main" id="{E3EDD39B-7171-468B-A877-2CE2BD07726B}"/>
                </a:ext>
              </a:extLst>
            </p:cNvPr>
            <p:cNvSpPr/>
            <p:nvPr/>
          </p:nvSpPr>
          <p:spPr>
            <a:xfrm rot="8716295">
              <a:off x="-3428" y="2405990"/>
              <a:ext cx="142167" cy="208592"/>
            </a:xfrm>
            <a:custGeom>
              <a:avLst/>
              <a:gdLst>
                <a:gd name="connsiteX0" fmla="*/ 81108 w 142167"/>
                <a:gd name="connsiteY0" fmla="*/ 208592 h 208592"/>
                <a:gd name="connsiteX1" fmla="*/ 81108 w 142167"/>
                <a:gd name="connsiteY1" fmla="*/ 69717 h 208592"/>
                <a:gd name="connsiteX2" fmla="*/ 81108 w 142167"/>
                <a:gd name="connsiteY2" fmla="*/ 65615 h 208592"/>
                <a:gd name="connsiteX3" fmla="*/ 60604 w 142167"/>
                <a:gd name="connsiteY3" fmla="*/ 50123 h 208592"/>
                <a:gd name="connsiteX4" fmla="*/ 0 w 142167"/>
                <a:gd name="connsiteY4" fmla="*/ 50123 h 208592"/>
                <a:gd name="connsiteX5" fmla="*/ 0 w 142167"/>
                <a:gd name="connsiteY5" fmla="*/ 0 h 208592"/>
                <a:gd name="connsiteX6" fmla="*/ 85210 w 142167"/>
                <a:gd name="connsiteY6" fmla="*/ 0 h 208592"/>
                <a:gd name="connsiteX7" fmla="*/ 142167 w 142167"/>
                <a:gd name="connsiteY7" fmla="*/ 50123 h 208592"/>
                <a:gd name="connsiteX8" fmla="*/ 142167 w 142167"/>
                <a:gd name="connsiteY8" fmla="*/ 120504 h 20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08592">
                  <a:moveTo>
                    <a:pt x="81108" y="208592"/>
                  </a:moveTo>
                  <a:lnTo>
                    <a:pt x="81108" y="69717"/>
                  </a:lnTo>
                  <a:cubicBezTo>
                    <a:pt x="81108" y="68350"/>
                    <a:pt x="81108" y="66983"/>
                    <a:pt x="81108" y="65615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10" y="0"/>
                  </a:lnTo>
                  <a:cubicBezTo>
                    <a:pt x="122118" y="0"/>
                    <a:pt x="142167" y="15948"/>
                    <a:pt x="142167" y="50123"/>
                  </a:cubicBezTo>
                  <a:lnTo>
                    <a:pt x="142167" y="1205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7" name="Forme libre : forme 326">
              <a:extLst>
                <a:ext uri="{FF2B5EF4-FFF2-40B4-BE49-F238E27FC236}">
                  <a16:creationId xmlns:a16="http://schemas.microsoft.com/office/drawing/2014/main" id="{23F7EF39-C8FF-4CA7-9DED-AF0E47CA9C7E}"/>
                </a:ext>
              </a:extLst>
            </p:cNvPr>
            <p:cNvSpPr/>
            <p:nvPr/>
          </p:nvSpPr>
          <p:spPr>
            <a:xfrm rot="8716295">
              <a:off x="80015" y="241329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8" name="Forme libre : forme 327">
              <a:extLst>
                <a:ext uri="{FF2B5EF4-FFF2-40B4-BE49-F238E27FC236}">
                  <a16:creationId xmlns:a16="http://schemas.microsoft.com/office/drawing/2014/main" id="{FBC44AA7-6291-474B-9C67-ED7522250EEB}"/>
                </a:ext>
              </a:extLst>
            </p:cNvPr>
            <p:cNvSpPr/>
            <p:nvPr/>
          </p:nvSpPr>
          <p:spPr>
            <a:xfrm rot="8716295">
              <a:off x="35165" y="232701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9" name="Forme libre : forme 328">
              <a:extLst>
                <a:ext uri="{FF2B5EF4-FFF2-40B4-BE49-F238E27FC236}">
                  <a16:creationId xmlns:a16="http://schemas.microsoft.com/office/drawing/2014/main" id="{5EA7A5E2-9C29-45B6-9267-972B0EFC92AD}"/>
                </a:ext>
              </a:extLst>
            </p:cNvPr>
            <p:cNvSpPr/>
            <p:nvPr/>
          </p:nvSpPr>
          <p:spPr>
            <a:xfrm rot="8716295">
              <a:off x="-20257" y="2217087"/>
              <a:ext cx="78731" cy="180665"/>
            </a:xfrm>
            <a:custGeom>
              <a:avLst/>
              <a:gdLst>
                <a:gd name="connsiteX0" fmla="*/ 0 w 78731"/>
                <a:gd name="connsiteY0" fmla="*/ 180665 h 180665"/>
                <a:gd name="connsiteX1" fmla="*/ 0 w 78731"/>
                <a:gd name="connsiteY1" fmla="*/ 40596 h 180665"/>
                <a:gd name="connsiteX2" fmla="*/ 78250 w 78731"/>
                <a:gd name="connsiteY2" fmla="*/ 0 h 180665"/>
                <a:gd name="connsiteX3" fmla="*/ 78731 w 78731"/>
                <a:gd name="connsiteY3" fmla="*/ 67083 h 180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731" h="180665">
                  <a:moveTo>
                    <a:pt x="0" y="180665"/>
                  </a:moveTo>
                  <a:lnTo>
                    <a:pt x="0" y="40596"/>
                  </a:lnTo>
                  <a:lnTo>
                    <a:pt x="78250" y="0"/>
                  </a:lnTo>
                  <a:lnTo>
                    <a:pt x="78731" y="670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0" name="Forme libre : forme 329">
              <a:extLst>
                <a:ext uri="{FF2B5EF4-FFF2-40B4-BE49-F238E27FC236}">
                  <a16:creationId xmlns:a16="http://schemas.microsoft.com/office/drawing/2014/main" id="{29FF2476-3E2D-4E1C-AC58-09A8EA6AE16D}"/>
                </a:ext>
              </a:extLst>
            </p:cNvPr>
            <p:cNvSpPr/>
            <p:nvPr/>
          </p:nvSpPr>
          <p:spPr>
            <a:xfrm rot="8716295">
              <a:off x="-15341" y="2575209"/>
              <a:ext cx="103435" cy="152027"/>
            </a:xfrm>
            <a:custGeom>
              <a:avLst/>
              <a:gdLst>
                <a:gd name="connsiteX0" fmla="*/ 43288 w 103435"/>
                <a:gd name="connsiteY0" fmla="*/ 152027 h 152027"/>
                <a:gd name="connsiteX1" fmla="*/ 43288 w 103435"/>
                <a:gd name="connsiteY1" fmla="*/ 16404 h 152027"/>
                <a:gd name="connsiteX2" fmla="*/ 0 w 103435"/>
                <a:gd name="connsiteY2" fmla="*/ 16404 h 152027"/>
                <a:gd name="connsiteX3" fmla="*/ 0 w 103435"/>
                <a:gd name="connsiteY3" fmla="*/ 2278 h 152027"/>
                <a:gd name="connsiteX4" fmla="*/ 103435 w 103435"/>
                <a:gd name="connsiteY4" fmla="*/ 0 h 152027"/>
                <a:gd name="connsiteX5" fmla="*/ 103435 w 103435"/>
                <a:gd name="connsiteY5" fmla="*/ 65255 h 152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152027">
                  <a:moveTo>
                    <a:pt x="43288" y="152027"/>
                  </a:move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652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1" name="Forme libre : forme 330">
              <a:extLst>
                <a:ext uri="{FF2B5EF4-FFF2-40B4-BE49-F238E27FC236}">
                  <a16:creationId xmlns:a16="http://schemas.microsoft.com/office/drawing/2014/main" id="{75F88328-D448-4AA5-9E75-FE8115368C6C}"/>
                </a:ext>
              </a:extLst>
            </p:cNvPr>
            <p:cNvSpPr/>
            <p:nvPr/>
          </p:nvSpPr>
          <p:spPr>
            <a:xfrm rot="8716295">
              <a:off x="279722" y="21339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2" name="Forme libre : forme 331">
              <a:extLst>
                <a:ext uri="{FF2B5EF4-FFF2-40B4-BE49-F238E27FC236}">
                  <a16:creationId xmlns:a16="http://schemas.microsoft.com/office/drawing/2014/main" id="{426E2A9F-197F-4F75-8782-ED9A68D4D6C8}"/>
                </a:ext>
              </a:extLst>
            </p:cNvPr>
            <p:cNvSpPr/>
            <p:nvPr/>
          </p:nvSpPr>
          <p:spPr>
            <a:xfrm rot="8716295">
              <a:off x="369114" y="21631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3" name="Forme libre : forme 332">
              <a:extLst>
                <a:ext uri="{FF2B5EF4-FFF2-40B4-BE49-F238E27FC236}">
                  <a16:creationId xmlns:a16="http://schemas.microsoft.com/office/drawing/2014/main" id="{94DB51E7-8EDB-4900-9675-0F9A6F5C490B}"/>
                </a:ext>
              </a:extLst>
            </p:cNvPr>
            <p:cNvSpPr/>
            <p:nvPr/>
          </p:nvSpPr>
          <p:spPr>
            <a:xfrm rot="8716295">
              <a:off x="167488" y="22224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4" name="Forme libre : forme 333">
              <a:extLst>
                <a:ext uri="{FF2B5EF4-FFF2-40B4-BE49-F238E27FC236}">
                  <a16:creationId xmlns:a16="http://schemas.microsoft.com/office/drawing/2014/main" id="{2E5B2022-399F-4450-9579-1B2308763857}"/>
                </a:ext>
              </a:extLst>
            </p:cNvPr>
            <p:cNvSpPr/>
            <p:nvPr/>
          </p:nvSpPr>
          <p:spPr>
            <a:xfrm rot="8716295">
              <a:off x="42586" y="20137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5" name="Forme libre : forme 334">
              <a:extLst>
                <a:ext uri="{FF2B5EF4-FFF2-40B4-BE49-F238E27FC236}">
                  <a16:creationId xmlns:a16="http://schemas.microsoft.com/office/drawing/2014/main" id="{2929CE2C-2256-40A5-A8F3-3829812FC41F}"/>
                </a:ext>
              </a:extLst>
            </p:cNvPr>
            <p:cNvSpPr/>
            <p:nvPr/>
          </p:nvSpPr>
          <p:spPr>
            <a:xfrm rot="8716295">
              <a:off x="257666" y="226339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6" name="Forme libre : forme 335">
              <a:extLst>
                <a:ext uri="{FF2B5EF4-FFF2-40B4-BE49-F238E27FC236}">
                  <a16:creationId xmlns:a16="http://schemas.microsoft.com/office/drawing/2014/main" id="{5B080DE2-EB07-4251-8225-D8F835BCC870}"/>
                </a:ext>
              </a:extLst>
            </p:cNvPr>
            <p:cNvSpPr/>
            <p:nvPr/>
          </p:nvSpPr>
          <p:spPr>
            <a:xfrm rot="8716295">
              <a:off x="16215" y="211379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7" name="Forme libre : forme 336">
              <a:extLst>
                <a:ext uri="{FF2B5EF4-FFF2-40B4-BE49-F238E27FC236}">
                  <a16:creationId xmlns:a16="http://schemas.microsoft.com/office/drawing/2014/main" id="{CE30ADAD-6662-46CB-9F1B-B1109F31D2A1}"/>
                </a:ext>
              </a:extLst>
            </p:cNvPr>
            <p:cNvSpPr/>
            <p:nvPr/>
          </p:nvSpPr>
          <p:spPr>
            <a:xfrm rot="7484129">
              <a:off x="362597" y="245474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8" name="Forme libre : forme 337">
              <a:extLst>
                <a:ext uri="{FF2B5EF4-FFF2-40B4-BE49-F238E27FC236}">
                  <a16:creationId xmlns:a16="http://schemas.microsoft.com/office/drawing/2014/main" id="{E0EC12C4-DE16-425E-A187-948925CA8B78}"/>
                </a:ext>
              </a:extLst>
            </p:cNvPr>
            <p:cNvSpPr/>
            <p:nvPr/>
          </p:nvSpPr>
          <p:spPr>
            <a:xfrm rot="13089394">
              <a:off x="463440" y="2426400"/>
              <a:ext cx="272584" cy="319064"/>
            </a:xfrm>
            <a:custGeom>
              <a:avLst/>
              <a:gdLst>
                <a:gd name="connsiteX0" fmla="*/ 80445 w 272584"/>
                <a:gd name="connsiteY0" fmla="*/ 215518 h 319064"/>
                <a:gd name="connsiteX1" fmla="*/ 0 w 272584"/>
                <a:gd name="connsiteY1" fmla="*/ 93007 h 319064"/>
                <a:gd name="connsiteX2" fmla="*/ 0 w 272584"/>
                <a:gd name="connsiteY2" fmla="*/ 38074 h 319064"/>
                <a:gd name="connsiteX3" fmla="*/ 73388 w 272584"/>
                <a:gd name="connsiteY3" fmla="*/ 0 h 319064"/>
                <a:gd name="connsiteX4" fmla="*/ 74492 w 272584"/>
                <a:gd name="connsiteY4" fmla="*/ 153950 h 319064"/>
                <a:gd name="connsiteX5" fmla="*/ 76768 w 272584"/>
                <a:gd name="connsiteY5" fmla="*/ 200369 h 319064"/>
                <a:gd name="connsiteX6" fmla="*/ 272584 w 272584"/>
                <a:gd name="connsiteY6" fmla="*/ 258238 h 319064"/>
                <a:gd name="connsiteX7" fmla="*/ 177331 w 272584"/>
                <a:gd name="connsiteY7" fmla="*/ 311347 h 319064"/>
                <a:gd name="connsiteX8" fmla="*/ 148437 w 272584"/>
                <a:gd name="connsiteY8" fmla="*/ 319064 h 319064"/>
                <a:gd name="connsiteX9" fmla="*/ 119231 w 272584"/>
                <a:gd name="connsiteY9" fmla="*/ 274585 h 319064"/>
                <a:gd name="connsiteX10" fmla="*/ 153949 w 272584"/>
                <a:gd name="connsiteY10" fmla="*/ 281965 h 319064"/>
                <a:gd name="connsiteX11" fmla="*/ 203610 w 272584"/>
                <a:gd name="connsiteY11" fmla="*/ 273136 h 319064"/>
                <a:gd name="connsiteX12" fmla="*/ 271481 w 272584"/>
                <a:gd name="connsiteY12" fmla="*/ 245547 h 319064"/>
                <a:gd name="connsiteX13" fmla="*/ 272584 w 272584"/>
                <a:gd name="connsiteY13" fmla="*/ 252720 h 319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2584" h="319064">
                  <a:moveTo>
                    <a:pt x="80445" y="215518"/>
                  </a:moveTo>
                  <a:lnTo>
                    <a:pt x="0" y="93007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3664" y="169400"/>
                    <a:pt x="74492" y="184988"/>
                    <a:pt x="76768" y="200369"/>
                  </a:cubicBezTo>
                  <a:close/>
                  <a:moveTo>
                    <a:pt x="272584" y="258238"/>
                  </a:moveTo>
                  <a:cubicBezTo>
                    <a:pt x="243339" y="283344"/>
                    <a:pt x="209542" y="300312"/>
                    <a:pt x="177331" y="311347"/>
                  </a:cubicBezTo>
                  <a:lnTo>
                    <a:pt x="148437" y="319064"/>
                  </a:lnTo>
                  <a:lnTo>
                    <a:pt x="119231" y="274585"/>
                  </a:lnTo>
                  <a:lnTo>
                    <a:pt x="153949" y="281965"/>
                  </a:lnTo>
                  <a:cubicBezTo>
                    <a:pt x="171055" y="281413"/>
                    <a:pt x="187609" y="278102"/>
                    <a:pt x="203610" y="273136"/>
                  </a:cubicBezTo>
                  <a:cubicBezTo>
                    <a:pt x="226785" y="265963"/>
                    <a:pt x="249409" y="256583"/>
                    <a:pt x="271481" y="245547"/>
                  </a:cubicBezTo>
                  <a:cubicBezTo>
                    <a:pt x="272032" y="247754"/>
                    <a:pt x="272584" y="250513"/>
                    <a:pt x="272584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9" name="Forme libre : forme 338">
              <a:extLst>
                <a:ext uri="{FF2B5EF4-FFF2-40B4-BE49-F238E27FC236}">
                  <a16:creationId xmlns:a16="http://schemas.microsoft.com/office/drawing/2014/main" id="{0EBB3BF6-5F1A-4179-B16F-FF1F99B6BEAC}"/>
                </a:ext>
              </a:extLst>
            </p:cNvPr>
            <p:cNvSpPr/>
            <p:nvPr/>
          </p:nvSpPr>
          <p:spPr>
            <a:xfrm rot="8716295">
              <a:off x="675867" y="2357327"/>
              <a:ext cx="38012" cy="45752"/>
            </a:xfrm>
            <a:custGeom>
              <a:avLst/>
              <a:gdLst>
                <a:gd name="connsiteX0" fmla="*/ 0 w 38012"/>
                <a:gd name="connsiteY0" fmla="*/ 45752 h 45752"/>
                <a:gd name="connsiteX1" fmla="*/ 37842 w 38012"/>
                <a:gd name="connsiteY1" fmla="*/ 0 h 45752"/>
                <a:gd name="connsiteX2" fmla="*/ 38012 w 38012"/>
                <a:gd name="connsiteY2" fmla="*/ 641 h 45752"/>
                <a:gd name="connsiteX3" fmla="*/ 6841 w 38012"/>
                <a:gd name="connsiteY3" fmla="*/ 42560 h 45752"/>
                <a:gd name="connsiteX4" fmla="*/ 7378 w 38012"/>
                <a:gd name="connsiteY4" fmla="*/ 42560 h 45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012" h="45752">
                  <a:moveTo>
                    <a:pt x="0" y="45752"/>
                  </a:moveTo>
                  <a:lnTo>
                    <a:pt x="37842" y="0"/>
                  </a:lnTo>
                  <a:lnTo>
                    <a:pt x="38012" y="641"/>
                  </a:lnTo>
                  <a:cubicBezTo>
                    <a:pt x="36400" y="19451"/>
                    <a:pt x="24039" y="35036"/>
                    <a:pt x="6841" y="42560"/>
                  </a:cubicBezTo>
                  <a:lnTo>
                    <a:pt x="7378" y="425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0" name="Forme libre : forme 339">
              <a:extLst>
                <a:ext uri="{FF2B5EF4-FFF2-40B4-BE49-F238E27FC236}">
                  <a16:creationId xmlns:a16="http://schemas.microsoft.com/office/drawing/2014/main" id="{40BD2394-2E6A-43B3-8282-5AF2A68AFB55}"/>
                </a:ext>
              </a:extLst>
            </p:cNvPr>
            <p:cNvSpPr/>
            <p:nvPr/>
          </p:nvSpPr>
          <p:spPr>
            <a:xfrm rot="8716295">
              <a:off x="601197" y="21260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1" name="Forme libre : forme 340">
              <a:extLst>
                <a:ext uri="{FF2B5EF4-FFF2-40B4-BE49-F238E27FC236}">
                  <a16:creationId xmlns:a16="http://schemas.microsoft.com/office/drawing/2014/main" id="{98C4AC75-3010-49F3-9D48-1212A4D988F1}"/>
                </a:ext>
              </a:extLst>
            </p:cNvPr>
            <p:cNvSpPr/>
            <p:nvPr/>
          </p:nvSpPr>
          <p:spPr>
            <a:xfrm rot="8716295">
              <a:off x="357951" y="21562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2" name="Forme libre : forme 341">
              <a:extLst>
                <a:ext uri="{FF2B5EF4-FFF2-40B4-BE49-F238E27FC236}">
                  <a16:creationId xmlns:a16="http://schemas.microsoft.com/office/drawing/2014/main" id="{F44EFD0C-26D8-44AF-B8B7-34925D1881F3}"/>
                </a:ext>
              </a:extLst>
            </p:cNvPr>
            <p:cNvSpPr/>
            <p:nvPr/>
          </p:nvSpPr>
          <p:spPr>
            <a:xfrm rot="8716295">
              <a:off x="535403" y="199698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3" name="Forme libre : forme 342">
              <a:extLst>
                <a:ext uri="{FF2B5EF4-FFF2-40B4-BE49-F238E27FC236}">
                  <a16:creationId xmlns:a16="http://schemas.microsoft.com/office/drawing/2014/main" id="{1A320605-AC28-4E7D-BF63-1E3FD62FB21F}"/>
                </a:ext>
              </a:extLst>
            </p:cNvPr>
            <p:cNvSpPr/>
            <p:nvPr/>
          </p:nvSpPr>
          <p:spPr>
            <a:xfrm rot="8716295">
              <a:off x="-76043" y="1768178"/>
              <a:ext cx="197178" cy="215049"/>
            </a:xfrm>
            <a:custGeom>
              <a:avLst/>
              <a:gdLst>
                <a:gd name="connsiteX0" fmla="*/ 51490 w 197178"/>
                <a:gd name="connsiteY0" fmla="*/ 215049 h 215049"/>
                <a:gd name="connsiteX1" fmla="*/ 51490 w 197178"/>
                <a:gd name="connsiteY1" fmla="*/ 45624 h 215049"/>
                <a:gd name="connsiteX2" fmla="*/ 0 w 197178"/>
                <a:gd name="connsiteY2" fmla="*/ 45624 h 215049"/>
                <a:gd name="connsiteX3" fmla="*/ 0 w 197178"/>
                <a:gd name="connsiteY3" fmla="*/ 1424 h 215049"/>
                <a:gd name="connsiteX4" fmla="*/ 104803 w 197178"/>
                <a:gd name="connsiteY4" fmla="*/ 1425 h 215049"/>
                <a:gd name="connsiteX5" fmla="*/ 104803 w 197178"/>
                <a:gd name="connsiteY5" fmla="*/ 75242 h 215049"/>
                <a:gd name="connsiteX6" fmla="*/ 106169 w 197178"/>
                <a:gd name="connsiteY6" fmla="*/ 75242 h 215049"/>
                <a:gd name="connsiteX7" fmla="*/ 154014 w 197178"/>
                <a:gd name="connsiteY7" fmla="*/ 5981 h 215049"/>
                <a:gd name="connsiteX8" fmla="*/ 185455 w 197178"/>
                <a:gd name="connsiteY8" fmla="*/ 57 h 215049"/>
                <a:gd name="connsiteX9" fmla="*/ 197178 w 197178"/>
                <a:gd name="connsiteY9" fmla="*/ 4872 h 215049"/>
                <a:gd name="connsiteX10" fmla="*/ 170795 w 197178"/>
                <a:gd name="connsiteY10" fmla="*/ 42934 h 215049"/>
                <a:gd name="connsiteX11" fmla="*/ 164950 w 197178"/>
                <a:gd name="connsiteY11" fmla="*/ 40156 h 215049"/>
                <a:gd name="connsiteX12" fmla="*/ 111638 w 197178"/>
                <a:gd name="connsiteY12" fmla="*/ 127643 h 215049"/>
                <a:gd name="connsiteX13" fmla="*/ 111638 w 197178"/>
                <a:gd name="connsiteY13" fmla="*/ 128277 h 21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178" h="215049">
                  <a:moveTo>
                    <a:pt x="51490" y="215049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4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lnTo>
                    <a:pt x="197178" y="4872"/>
                  </a:lnTo>
                  <a:lnTo>
                    <a:pt x="170795" y="42934"/>
                  </a:lnTo>
                  <a:lnTo>
                    <a:pt x="164950" y="40156"/>
                  </a:ln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1282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4" name="Forme libre : forme 343">
              <a:extLst>
                <a:ext uri="{FF2B5EF4-FFF2-40B4-BE49-F238E27FC236}">
                  <a16:creationId xmlns:a16="http://schemas.microsoft.com/office/drawing/2014/main" id="{79B4D19B-E848-47AB-BAFE-59EBF555A6F5}"/>
                </a:ext>
              </a:extLst>
            </p:cNvPr>
            <p:cNvSpPr/>
            <p:nvPr/>
          </p:nvSpPr>
          <p:spPr>
            <a:xfrm rot="8716295">
              <a:off x="56555" y="14742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5" name="Forme libre : forme 344">
              <a:extLst>
                <a:ext uri="{FF2B5EF4-FFF2-40B4-BE49-F238E27FC236}">
                  <a16:creationId xmlns:a16="http://schemas.microsoft.com/office/drawing/2014/main" id="{0496B299-828A-4BBC-966F-5FA47083E3CE}"/>
                </a:ext>
              </a:extLst>
            </p:cNvPr>
            <p:cNvSpPr/>
            <p:nvPr/>
          </p:nvSpPr>
          <p:spPr>
            <a:xfrm rot="8716295">
              <a:off x="145947" y="15034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6" name="Forme libre : forme 345">
              <a:extLst>
                <a:ext uri="{FF2B5EF4-FFF2-40B4-BE49-F238E27FC236}">
                  <a16:creationId xmlns:a16="http://schemas.microsoft.com/office/drawing/2014/main" id="{47AF6C7D-4B3B-4997-9D6C-9505A068BCE6}"/>
                </a:ext>
              </a:extLst>
            </p:cNvPr>
            <p:cNvSpPr/>
            <p:nvPr/>
          </p:nvSpPr>
          <p:spPr>
            <a:xfrm rot="8716295">
              <a:off x="-21870" y="1443501"/>
              <a:ext cx="68614" cy="55323"/>
            </a:xfrm>
            <a:custGeom>
              <a:avLst/>
              <a:gdLst>
                <a:gd name="connsiteX0" fmla="*/ 0 w 68614"/>
                <a:gd name="connsiteY0" fmla="*/ 55323 h 55323"/>
                <a:gd name="connsiteX1" fmla="*/ 0 w 68614"/>
                <a:gd name="connsiteY1" fmla="*/ 0 h 55323"/>
                <a:gd name="connsiteX2" fmla="*/ 68614 w 68614"/>
                <a:gd name="connsiteY2" fmla="*/ 0 h 55323"/>
                <a:gd name="connsiteX3" fmla="*/ 30266 w 68614"/>
                <a:gd name="connsiteY3" fmla="*/ 55323 h 55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614" h="55323">
                  <a:moveTo>
                    <a:pt x="0" y="55323"/>
                  </a:moveTo>
                  <a:lnTo>
                    <a:pt x="0" y="0"/>
                  </a:lnTo>
                  <a:lnTo>
                    <a:pt x="68614" y="0"/>
                  </a:lnTo>
                  <a:lnTo>
                    <a:pt x="30266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7" name="Forme libre : forme 346">
              <a:extLst>
                <a:ext uri="{FF2B5EF4-FFF2-40B4-BE49-F238E27FC236}">
                  <a16:creationId xmlns:a16="http://schemas.microsoft.com/office/drawing/2014/main" id="{6A925E12-2BFF-4625-A0A6-B147409EE83D}"/>
                </a:ext>
              </a:extLst>
            </p:cNvPr>
            <p:cNvSpPr/>
            <p:nvPr/>
          </p:nvSpPr>
          <p:spPr>
            <a:xfrm rot="8716295">
              <a:off x="35817" y="1618109"/>
              <a:ext cx="103435" cy="203897"/>
            </a:xfrm>
            <a:custGeom>
              <a:avLst/>
              <a:gdLst>
                <a:gd name="connsiteX0" fmla="*/ 87556 w 103435"/>
                <a:gd name="connsiteY0" fmla="*/ 203897 h 203897"/>
                <a:gd name="connsiteX1" fmla="*/ 43288 w 103435"/>
                <a:gd name="connsiteY1" fmla="*/ 161305 h 203897"/>
                <a:gd name="connsiteX2" fmla="*/ 43288 w 103435"/>
                <a:gd name="connsiteY2" fmla="*/ 16404 h 203897"/>
                <a:gd name="connsiteX3" fmla="*/ 0 w 103435"/>
                <a:gd name="connsiteY3" fmla="*/ 16404 h 203897"/>
                <a:gd name="connsiteX4" fmla="*/ 0 w 103435"/>
                <a:gd name="connsiteY4" fmla="*/ 2278 h 203897"/>
                <a:gd name="connsiteX5" fmla="*/ 103435 w 103435"/>
                <a:gd name="connsiteY5" fmla="*/ 0 h 203897"/>
                <a:gd name="connsiteX6" fmla="*/ 103435 w 103435"/>
                <a:gd name="connsiteY6" fmla="*/ 180989 h 203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03897">
                  <a:moveTo>
                    <a:pt x="87556" y="203897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1809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8" name="Forme libre : forme 347">
              <a:extLst>
                <a:ext uri="{FF2B5EF4-FFF2-40B4-BE49-F238E27FC236}">
                  <a16:creationId xmlns:a16="http://schemas.microsoft.com/office/drawing/2014/main" id="{8F161AAD-ABF3-4F08-A5E7-178FA67C468C}"/>
                </a:ext>
              </a:extLst>
            </p:cNvPr>
            <p:cNvSpPr/>
            <p:nvPr/>
          </p:nvSpPr>
          <p:spPr>
            <a:xfrm rot="7484129">
              <a:off x="139430" y="17950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9" name="Forme libre : forme 348">
              <a:extLst>
                <a:ext uri="{FF2B5EF4-FFF2-40B4-BE49-F238E27FC236}">
                  <a16:creationId xmlns:a16="http://schemas.microsoft.com/office/drawing/2014/main" id="{2B2677AB-A960-4EDE-895B-90B39923E929}"/>
                </a:ext>
              </a:extLst>
            </p:cNvPr>
            <p:cNvSpPr/>
            <p:nvPr/>
          </p:nvSpPr>
          <p:spPr>
            <a:xfrm rot="13089394">
              <a:off x="244250" y="17615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0" name="Forme libre : forme 349">
              <a:extLst>
                <a:ext uri="{FF2B5EF4-FFF2-40B4-BE49-F238E27FC236}">
                  <a16:creationId xmlns:a16="http://schemas.microsoft.com/office/drawing/2014/main" id="{57CCAF2A-AD40-4587-8C0B-9AD3AA1B47B2}"/>
                </a:ext>
              </a:extLst>
            </p:cNvPr>
            <p:cNvSpPr/>
            <p:nvPr/>
          </p:nvSpPr>
          <p:spPr>
            <a:xfrm rot="8716295">
              <a:off x="429835" y="15699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1" name="Forme libre : forme 350">
              <a:extLst>
                <a:ext uri="{FF2B5EF4-FFF2-40B4-BE49-F238E27FC236}">
                  <a16:creationId xmlns:a16="http://schemas.microsoft.com/office/drawing/2014/main" id="{1CD46395-0105-4DB9-A258-02757ED2970C}"/>
                </a:ext>
              </a:extLst>
            </p:cNvPr>
            <p:cNvSpPr/>
            <p:nvPr/>
          </p:nvSpPr>
          <p:spPr>
            <a:xfrm rot="8716295">
              <a:off x="378030" y="14663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2" name="Forme libre : forme 351">
              <a:extLst>
                <a:ext uri="{FF2B5EF4-FFF2-40B4-BE49-F238E27FC236}">
                  <a16:creationId xmlns:a16="http://schemas.microsoft.com/office/drawing/2014/main" id="{792A22ED-7042-473B-B5F0-A8F38B0EAB40}"/>
                </a:ext>
              </a:extLst>
            </p:cNvPr>
            <p:cNvSpPr/>
            <p:nvPr/>
          </p:nvSpPr>
          <p:spPr>
            <a:xfrm rot="8716295">
              <a:off x="134784" y="14965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3" name="Forme libre : forme 352">
              <a:extLst>
                <a:ext uri="{FF2B5EF4-FFF2-40B4-BE49-F238E27FC236}">
                  <a16:creationId xmlns:a16="http://schemas.microsoft.com/office/drawing/2014/main" id="{F026E106-3ED5-479C-A7E5-1D0CF59276FB}"/>
                </a:ext>
              </a:extLst>
            </p:cNvPr>
            <p:cNvSpPr/>
            <p:nvPr/>
          </p:nvSpPr>
          <p:spPr>
            <a:xfrm rot="8716295">
              <a:off x="312236" y="13372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4" name="Forme libre : forme 353">
              <a:extLst>
                <a:ext uri="{FF2B5EF4-FFF2-40B4-BE49-F238E27FC236}">
                  <a16:creationId xmlns:a16="http://schemas.microsoft.com/office/drawing/2014/main" id="{A652AA44-0788-418A-BCB7-7692D06F9F9C}"/>
                </a:ext>
              </a:extLst>
            </p:cNvPr>
            <p:cNvSpPr/>
            <p:nvPr/>
          </p:nvSpPr>
          <p:spPr>
            <a:xfrm rot="8716295">
              <a:off x="-17798" y="949199"/>
              <a:ext cx="39526" cy="50123"/>
            </a:xfrm>
            <a:custGeom>
              <a:avLst/>
              <a:gdLst>
                <a:gd name="connsiteX0" fmla="*/ 0 w 39526"/>
                <a:gd name="connsiteY0" fmla="*/ 50123 h 50123"/>
                <a:gd name="connsiteX1" fmla="*/ 0 w 39526"/>
                <a:gd name="connsiteY1" fmla="*/ 0 h 50123"/>
                <a:gd name="connsiteX2" fmla="*/ 39526 w 39526"/>
                <a:gd name="connsiteY2" fmla="*/ 0 h 50123"/>
                <a:gd name="connsiteX3" fmla="*/ 4782 w 39526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26" h="50123">
                  <a:moveTo>
                    <a:pt x="0" y="50123"/>
                  </a:moveTo>
                  <a:lnTo>
                    <a:pt x="0" y="0"/>
                  </a:lnTo>
                  <a:lnTo>
                    <a:pt x="39526" y="0"/>
                  </a:lnTo>
                  <a:lnTo>
                    <a:pt x="4782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5" name="Forme libre : forme 354">
              <a:extLst>
                <a:ext uri="{FF2B5EF4-FFF2-40B4-BE49-F238E27FC236}">
                  <a16:creationId xmlns:a16="http://schemas.microsoft.com/office/drawing/2014/main" id="{CC7F2B2F-A9EF-4436-92EE-F187A921B5A2}"/>
                </a:ext>
              </a:extLst>
            </p:cNvPr>
            <p:cNvSpPr/>
            <p:nvPr/>
          </p:nvSpPr>
          <p:spPr>
            <a:xfrm rot="8716295">
              <a:off x="-64996" y="834728"/>
              <a:ext cx="249650" cy="254774"/>
            </a:xfrm>
            <a:custGeom>
              <a:avLst/>
              <a:gdLst>
                <a:gd name="connsiteX0" fmla="*/ 51490 w 249650"/>
                <a:gd name="connsiteY0" fmla="*/ 254774 h 254774"/>
                <a:gd name="connsiteX1" fmla="*/ 51490 w 249650"/>
                <a:gd name="connsiteY1" fmla="*/ 45624 h 254774"/>
                <a:gd name="connsiteX2" fmla="*/ 0 w 249650"/>
                <a:gd name="connsiteY2" fmla="*/ 45624 h 254774"/>
                <a:gd name="connsiteX3" fmla="*/ 0 w 249650"/>
                <a:gd name="connsiteY3" fmla="*/ 1425 h 254774"/>
                <a:gd name="connsiteX4" fmla="*/ 104803 w 249650"/>
                <a:gd name="connsiteY4" fmla="*/ 1425 h 254774"/>
                <a:gd name="connsiteX5" fmla="*/ 104803 w 249650"/>
                <a:gd name="connsiteY5" fmla="*/ 75242 h 254774"/>
                <a:gd name="connsiteX6" fmla="*/ 106169 w 249650"/>
                <a:gd name="connsiteY6" fmla="*/ 75242 h 254774"/>
                <a:gd name="connsiteX7" fmla="*/ 154014 w 249650"/>
                <a:gd name="connsiteY7" fmla="*/ 5981 h 254774"/>
                <a:gd name="connsiteX8" fmla="*/ 185455 w 249650"/>
                <a:gd name="connsiteY8" fmla="*/ 57 h 254774"/>
                <a:gd name="connsiteX9" fmla="*/ 240647 w 249650"/>
                <a:gd name="connsiteY9" fmla="*/ 22727 h 254774"/>
                <a:gd name="connsiteX10" fmla="*/ 249650 w 249650"/>
                <a:gd name="connsiteY10" fmla="*/ 52327 h 254774"/>
                <a:gd name="connsiteX11" fmla="*/ 218795 w 249650"/>
                <a:gd name="connsiteY11" fmla="*/ 96841 h 254774"/>
                <a:gd name="connsiteX12" fmla="*/ 198669 w 249650"/>
                <a:gd name="connsiteY12" fmla="*/ 98025 h 254774"/>
                <a:gd name="connsiteX13" fmla="*/ 198669 w 249650"/>
                <a:gd name="connsiteY13" fmla="*/ 81621 h 254774"/>
                <a:gd name="connsiteX14" fmla="*/ 164950 w 249650"/>
                <a:gd name="connsiteY14" fmla="*/ 40156 h 254774"/>
                <a:gd name="connsiteX15" fmla="*/ 111638 w 249650"/>
                <a:gd name="connsiteY15" fmla="*/ 127643 h 254774"/>
                <a:gd name="connsiteX16" fmla="*/ 111638 w 249650"/>
                <a:gd name="connsiteY16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9650" h="254774">
                  <a:moveTo>
                    <a:pt x="51490" y="254774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08922" y="-398"/>
                    <a:pt x="227718" y="7576"/>
                    <a:pt x="240647" y="22727"/>
                  </a:cubicBezTo>
                  <a:lnTo>
                    <a:pt x="249650" y="52327"/>
                  </a:lnTo>
                  <a:lnTo>
                    <a:pt x="218795" y="96841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6" name="Forme libre : forme 355">
              <a:extLst>
                <a:ext uri="{FF2B5EF4-FFF2-40B4-BE49-F238E27FC236}">
                  <a16:creationId xmlns:a16="http://schemas.microsoft.com/office/drawing/2014/main" id="{B491F0AE-2B60-457D-9F7E-DF3C2D622FF0}"/>
                </a:ext>
              </a:extLst>
            </p:cNvPr>
            <p:cNvSpPr/>
            <p:nvPr/>
          </p:nvSpPr>
          <p:spPr>
            <a:xfrm rot="7484129">
              <a:off x="-63314" y="1172497"/>
              <a:ext cx="203848" cy="146395"/>
            </a:xfrm>
            <a:custGeom>
              <a:avLst/>
              <a:gdLst>
                <a:gd name="connsiteX0" fmla="*/ 0 w 203848"/>
                <a:gd name="connsiteY0" fmla="*/ 55323 h 146395"/>
                <a:gd name="connsiteX1" fmla="*/ 0 w 203848"/>
                <a:gd name="connsiteY1" fmla="*/ 0 h 146395"/>
                <a:gd name="connsiteX2" fmla="*/ 203848 w 203848"/>
                <a:gd name="connsiteY2" fmla="*/ 0 h 146395"/>
                <a:gd name="connsiteX3" fmla="*/ 203847 w 203848"/>
                <a:gd name="connsiteY3" fmla="*/ 49512 h 146395"/>
                <a:gd name="connsiteX4" fmla="*/ 195466 w 203848"/>
                <a:gd name="connsiteY4" fmla="*/ 55323 h 146395"/>
                <a:gd name="connsiteX5" fmla="*/ 139055 w 203848"/>
                <a:gd name="connsiteY5" fmla="*/ 55323 h 146395"/>
                <a:gd name="connsiteX6" fmla="*/ 121388 w 203848"/>
                <a:gd name="connsiteY6" fmla="*/ 106685 h 146395"/>
                <a:gd name="connsiteX7" fmla="*/ 64115 w 203848"/>
                <a:gd name="connsiteY7" fmla="*/ 146395 h 146395"/>
                <a:gd name="connsiteX8" fmla="*/ 47847 w 203848"/>
                <a:gd name="connsiteY8" fmla="*/ 116129 h 146395"/>
                <a:gd name="connsiteX9" fmla="*/ 69777 w 203848"/>
                <a:gd name="connsiteY9" fmla="*/ 55323 h 146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848" h="146395">
                  <a:moveTo>
                    <a:pt x="0" y="55323"/>
                  </a:moveTo>
                  <a:lnTo>
                    <a:pt x="0" y="0"/>
                  </a:lnTo>
                  <a:lnTo>
                    <a:pt x="203848" y="0"/>
                  </a:lnTo>
                  <a:lnTo>
                    <a:pt x="203847" y="49512"/>
                  </a:lnTo>
                  <a:lnTo>
                    <a:pt x="195466" y="55323"/>
                  </a:lnTo>
                  <a:lnTo>
                    <a:pt x="139055" y="55323"/>
                  </a:lnTo>
                  <a:lnTo>
                    <a:pt x="121388" y="106685"/>
                  </a:lnTo>
                  <a:lnTo>
                    <a:pt x="64115" y="146395"/>
                  </a:lnTo>
                  <a:lnTo>
                    <a:pt x="47847" y="116129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7" name="Forme libre : forme 356">
              <a:extLst>
                <a:ext uri="{FF2B5EF4-FFF2-40B4-BE49-F238E27FC236}">
                  <a16:creationId xmlns:a16="http://schemas.microsoft.com/office/drawing/2014/main" id="{566B0F1B-76F2-42A3-83ED-13519BAD8E0C}"/>
                </a:ext>
              </a:extLst>
            </p:cNvPr>
            <p:cNvSpPr/>
            <p:nvPr/>
          </p:nvSpPr>
          <p:spPr>
            <a:xfrm rot="13089394">
              <a:off x="25311" y="109952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8" name="Forme libre : forme 357">
              <a:extLst>
                <a:ext uri="{FF2B5EF4-FFF2-40B4-BE49-F238E27FC236}">
                  <a16:creationId xmlns:a16="http://schemas.microsoft.com/office/drawing/2014/main" id="{6ACA7109-A9A0-4CC8-B8F0-2B22C7DA70BF}"/>
                </a:ext>
              </a:extLst>
            </p:cNvPr>
            <p:cNvSpPr/>
            <p:nvPr/>
          </p:nvSpPr>
          <p:spPr>
            <a:xfrm rot="8716295">
              <a:off x="210896" y="90784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9" name="Forme libre : forme 358">
              <a:extLst>
                <a:ext uri="{FF2B5EF4-FFF2-40B4-BE49-F238E27FC236}">
                  <a16:creationId xmlns:a16="http://schemas.microsoft.com/office/drawing/2014/main" id="{452ADC31-6E2B-47AB-819B-06E9BDE7841B}"/>
                </a:ext>
              </a:extLst>
            </p:cNvPr>
            <p:cNvSpPr/>
            <p:nvPr/>
          </p:nvSpPr>
          <p:spPr>
            <a:xfrm rot="8716295">
              <a:off x="159091" y="80425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0" name="Forme libre : forme 359">
              <a:extLst>
                <a:ext uri="{FF2B5EF4-FFF2-40B4-BE49-F238E27FC236}">
                  <a16:creationId xmlns:a16="http://schemas.microsoft.com/office/drawing/2014/main" id="{BCEE9B8C-AA03-4719-891E-01DB914C78AC}"/>
                </a:ext>
              </a:extLst>
            </p:cNvPr>
            <p:cNvSpPr/>
            <p:nvPr/>
          </p:nvSpPr>
          <p:spPr>
            <a:xfrm rot="8716295">
              <a:off x="93297" y="67523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1" name="Forme libre : forme 360">
              <a:extLst>
                <a:ext uri="{FF2B5EF4-FFF2-40B4-BE49-F238E27FC236}">
                  <a16:creationId xmlns:a16="http://schemas.microsoft.com/office/drawing/2014/main" id="{F9DD0D80-4138-4478-988E-136F3B8038CE}"/>
                </a:ext>
              </a:extLst>
            </p:cNvPr>
            <p:cNvSpPr/>
            <p:nvPr/>
          </p:nvSpPr>
          <p:spPr>
            <a:xfrm rot="8716295">
              <a:off x="-7001" y="316701"/>
              <a:ext cx="14001" cy="20198"/>
            </a:xfrm>
            <a:custGeom>
              <a:avLst/>
              <a:gdLst>
                <a:gd name="connsiteX0" fmla="*/ 0 w 14001"/>
                <a:gd name="connsiteY0" fmla="*/ 20198 h 20198"/>
                <a:gd name="connsiteX1" fmla="*/ 0 w 14001"/>
                <a:gd name="connsiteY1" fmla="*/ 0 h 20198"/>
                <a:gd name="connsiteX2" fmla="*/ 14001 w 14001"/>
                <a:gd name="connsiteY2" fmla="*/ 0 h 2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01" h="20198">
                  <a:moveTo>
                    <a:pt x="0" y="20198"/>
                  </a:moveTo>
                  <a:lnTo>
                    <a:pt x="0" y="0"/>
                  </a:lnTo>
                  <a:lnTo>
                    <a:pt x="1400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2" name="Forme libre : forme 361">
              <a:extLst>
                <a:ext uri="{FF2B5EF4-FFF2-40B4-BE49-F238E27FC236}">
                  <a16:creationId xmlns:a16="http://schemas.microsoft.com/office/drawing/2014/main" id="{DF35AC08-7EAC-4D88-B60D-06D59DB2131D}"/>
                </a:ext>
              </a:extLst>
            </p:cNvPr>
            <p:cNvSpPr/>
            <p:nvPr/>
          </p:nvSpPr>
          <p:spPr>
            <a:xfrm rot="13089394">
              <a:off x="-81658" y="472652"/>
              <a:ext cx="173631" cy="237684"/>
            </a:xfrm>
            <a:custGeom>
              <a:avLst/>
              <a:gdLst>
                <a:gd name="connsiteX0" fmla="*/ 173631 w 173631"/>
                <a:gd name="connsiteY0" fmla="*/ 220990 h 237684"/>
                <a:gd name="connsiteX1" fmla="*/ 130972 w 173631"/>
                <a:gd name="connsiteY1" fmla="*/ 232382 h 237684"/>
                <a:gd name="connsiteX2" fmla="*/ 91597 w 173631"/>
                <a:gd name="connsiteY2" fmla="*/ 237521 h 237684"/>
                <a:gd name="connsiteX3" fmla="*/ 23727 w 173631"/>
                <a:gd name="connsiteY3" fmla="*/ 209931 h 237684"/>
                <a:gd name="connsiteX4" fmla="*/ 0 w 173631"/>
                <a:gd name="connsiteY4" fmla="*/ 115023 h 237684"/>
                <a:gd name="connsiteX5" fmla="*/ 0 w 173631"/>
                <a:gd name="connsiteY5" fmla="*/ 0 h 237684"/>
                <a:gd name="connsiteX6" fmla="*/ 76176 w 173631"/>
                <a:gd name="connsiteY6" fmla="*/ 96953 h 237684"/>
                <a:gd name="connsiteX7" fmla="*/ 76768 w 173631"/>
                <a:gd name="connsiteY7" fmla="*/ 109023 h 237684"/>
                <a:gd name="connsiteX8" fmla="*/ 87734 w 173631"/>
                <a:gd name="connsiteY8" fmla="*/ 154201 h 237684"/>
                <a:gd name="connsiteX9" fmla="*/ 111117 w 173631"/>
                <a:gd name="connsiteY9" fmla="*/ 181514 h 237684"/>
                <a:gd name="connsiteX10" fmla="*/ 148930 w 173631"/>
                <a:gd name="connsiteY10" fmla="*/ 189552 h 237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3631" h="237684">
                  <a:moveTo>
                    <a:pt x="173631" y="220990"/>
                  </a:moveTo>
                  <a:lnTo>
                    <a:pt x="130972" y="232382"/>
                  </a:lnTo>
                  <a:cubicBezTo>
                    <a:pt x="116428" y="235210"/>
                    <a:pt x="103047" y="236831"/>
                    <a:pt x="91597" y="237521"/>
                  </a:cubicBezTo>
                  <a:cubicBezTo>
                    <a:pt x="66215" y="239176"/>
                    <a:pt x="41384" y="228141"/>
                    <a:pt x="23727" y="209931"/>
                  </a:cubicBezTo>
                  <a:cubicBezTo>
                    <a:pt x="4966" y="191722"/>
                    <a:pt x="0" y="160270"/>
                    <a:pt x="0" y="115023"/>
                  </a:cubicBezTo>
                  <a:lnTo>
                    <a:pt x="0" y="0"/>
                  </a:lnTo>
                  <a:lnTo>
                    <a:pt x="76176" y="96953"/>
                  </a:lnTo>
                  <a:lnTo>
                    <a:pt x="76768" y="109023"/>
                  </a:lnTo>
                  <a:cubicBezTo>
                    <a:pt x="79044" y="124404"/>
                    <a:pt x="82768" y="139578"/>
                    <a:pt x="87734" y="154201"/>
                  </a:cubicBezTo>
                  <a:cubicBezTo>
                    <a:pt x="92149" y="166340"/>
                    <a:pt x="100012" y="175445"/>
                    <a:pt x="111117" y="181514"/>
                  </a:cubicBezTo>
                  <a:lnTo>
                    <a:pt x="148930" y="1895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3" name="Forme libre : forme 362">
              <a:extLst>
                <a:ext uri="{FF2B5EF4-FFF2-40B4-BE49-F238E27FC236}">
                  <a16:creationId xmlns:a16="http://schemas.microsoft.com/office/drawing/2014/main" id="{9AFF3E46-2559-4C6F-8BF3-7DBBEBA30E07}"/>
                </a:ext>
              </a:extLst>
            </p:cNvPr>
            <p:cNvSpPr/>
            <p:nvPr/>
          </p:nvSpPr>
          <p:spPr>
            <a:xfrm rot="8716295">
              <a:off x="-11774" y="24443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4" name="Forme libre : forme 363">
              <a:extLst>
                <a:ext uri="{FF2B5EF4-FFF2-40B4-BE49-F238E27FC236}">
                  <a16:creationId xmlns:a16="http://schemas.microsoft.com/office/drawing/2014/main" id="{97E07195-EA95-4E14-9CB9-A69F34AE04C5}"/>
                </a:ext>
              </a:extLst>
            </p:cNvPr>
            <p:cNvSpPr/>
            <p:nvPr/>
          </p:nvSpPr>
          <p:spPr>
            <a:xfrm rot="8716295">
              <a:off x="-30092" y="143486"/>
              <a:ext cx="77721" cy="97260"/>
            </a:xfrm>
            <a:custGeom>
              <a:avLst/>
              <a:gdLst>
                <a:gd name="connsiteX0" fmla="*/ 15821 w 77721"/>
                <a:gd name="connsiteY0" fmla="*/ 97260 h 97260"/>
                <a:gd name="connsiteX1" fmla="*/ 0 w 77721"/>
                <a:gd name="connsiteY1" fmla="*/ 59790 h 97260"/>
                <a:gd name="connsiteX2" fmla="*/ 0 w 77721"/>
                <a:gd name="connsiteY2" fmla="*/ 58869 h 97260"/>
                <a:gd name="connsiteX3" fmla="*/ 17477 w 77721"/>
                <a:gd name="connsiteY3" fmla="*/ 17477 h 97260"/>
                <a:gd name="connsiteX4" fmla="*/ 58869 w 77721"/>
                <a:gd name="connsiteY4" fmla="*/ 0 h 97260"/>
                <a:gd name="connsiteX5" fmla="*/ 77721 w 77721"/>
                <a:gd name="connsiteY5" fmla="*/ 7960 h 97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721" h="97260">
                  <a:moveTo>
                    <a:pt x="15821" y="97260"/>
                  </a:moveTo>
                  <a:lnTo>
                    <a:pt x="0" y="59790"/>
                  </a:ln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lnTo>
                    <a:pt x="77721" y="79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5" name="Forme libre : forme 364">
              <a:extLst>
                <a:ext uri="{FF2B5EF4-FFF2-40B4-BE49-F238E27FC236}">
                  <a16:creationId xmlns:a16="http://schemas.microsoft.com/office/drawing/2014/main" id="{F46DA911-E7B0-4E9F-BFB6-93C98E7208E7}"/>
                </a:ext>
              </a:extLst>
            </p:cNvPr>
            <p:cNvSpPr/>
            <p:nvPr/>
          </p:nvSpPr>
          <p:spPr>
            <a:xfrm rot="8716295">
              <a:off x="-17797" y="3452694"/>
              <a:ext cx="58455" cy="44199"/>
            </a:xfrm>
            <a:custGeom>
              <a:avLst/>
              <a:gdLst>
                <a:gd name="connsiteX0" fmla="*/ 0 w 58455"/>
                <a:gd name="connsiteY0" fmla="*/ 44199 h 44199"/>
                <a:gd name="connsiteX1" fmla="*/ 0 w 58455"/>
                <a:gd name="connsiteY1" fmla="*/ 0 h 44199"/>
                <a:gd name="connsiteX2" fmla="*/ 58455 w 58455"/>
                <a:gd name="connsiteY2" fmla="*/ 0 h 44199"/>
                <a:gd name="connsiteX3" fmla="*/ 27817 w 58455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55" h="44199">
                  <a:moveTo>
                    <a:pt x="0" y="44199"/>
                  </a:moveTo>
                  <a:lnTo>
                    <a:pt x="0" y="0"/>
                  </a:lnTo>
                  <a:lnTo>
                    <a:pt x="58455" y="0"/>
                  </a:lnTo>
                  <a:lnTo>
                    <a:pt x="27817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6" name="Forme libre : forme 365">
              <a:extLst>
                <a:ext uri="{FF2B5EF4-FFF2-40B4-BE49-F238E27FC236}">
                  <a16:creationId xmlns:a16="http://schemas.microsoft.com/office/drawing/2014/main" id="{C1D02749-F8C1-46C8-BEE0-16746055E93D}"/>
                </a:ext>
              </a:extLst>
            </p:cNvPr>
            <p:cNvSpPr/>
            <p:nvPr/>
          </p:nvSpPr>
          <p:spPr>
            <a:xfrm rot="13089394">
              <a:off x="-91485" y="3601812"/>
              <a:ext cx="206527" cy="292654"/>
            </a:xfrm>
            <a:custGeom>
              <a:avLst/>
              <a:gdLst>
                <a:gd name="connsiteX0" fmla="*/ 206527 w 206527"/>
                <a:gd name="connsiteY0" fmla="*/ 258693 h 292654"/>
                <a:gd name="connsiteX1" fmla="*/ 177331 w 206527"/>
                <a:gd name="connsiteY1" fmla="*/ 274971 h 292654"/>
                <a:gd name="connsiteX2" fmla="*/ 91597 w 206527"/>
                <a:gd name="connsiteY2" fmla="*/ 292491 h 292654"/>
                <a:gd name="connsiteX3" fmla="*/ 23727 w 206527"/>
                <a:gd name="connsiteY3" fmla="*/ 264901 h 292654"/>
                <a:gd name="connsiteX4" fmla="*/ 0 w 206527"/>
                <a:gd name="connsiteY4" fmla="*/ 169993 h 292654"/>
                <a:gd name="connsiteX5" fmla="*/ 0 w 206527"/>
                <a:gd name="connsiteY5" fmla="*/ 1698 h 292654"/>
                <a:gd name="connsiteX6" fmla="*/ 3273 w 206527"/>
                <a:gd name="connsiteY6" fmla="*/ 0 h 292654"/>
                <a:gd name="connsiteX7" fmla="*/ 74297 w 206527"/>
                <a:gd name="connsiteY7" fmla="*/ 90396 h 292654"/>
                <a:gd name="connsiteX8" fmla="*/ 74492 w 206527"/>
                <a:gd name="connsiteY8" fmla="*/ 117574 h 292654"/>
                <a:gd name="connsiteX9" fmla="*/ 87734 w 206527"/>
                <a:gd name="connsiteY9" fmla="*/ 209171 h 292654"/>
                <a:gd name="connsiteX10" fmla="*/ 153949 w 206527"/>
                <a:gd name="connsiteY10" fmla="*/ 245589 h 292654"/>
                <a:gd name="connsiteX11" fmla="*/ 191049 w 206527"/>
                <a:gd name="connsiteY11" fmla="*/ 238993 h 292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527" h="292654">
                  <a:moveTo>
                    <a:pt x="206527" y="258693"/>
                  </a:moveTo>
                  <a:lnTo>
                    <a:pt x="177331" y="274971"/>
                  </a:lnTo>
                  <a:cubicBezTo>
                    <a:pt x="145121" y="286007"/>
                    <a:pt x="114496" y="291111"/>
                    <a:pt x="91597" y="292491"/>
                  </a:cubicBezTo>
                  <a:cubicBezTo>
                    <a:pt x="66215" y="294146"/>
                    <a:pt x="41385" y="283111"/>
                    <a:pt x="23727" y="264901"/>
                  </a:cubicBezTo>
                  <a:cubicBezTo>
                    <a:pt x="4966" y="246692"/>
                    <a:pt x="0" y="215240"/>
                    <a:pt x="0" y="169993"/>
                  </a:cubicBezTo>
                  <a:lnTo>
                    <a:pt x="0" y="1698"/>
                  </a:lnTo>
                  <a:lnTo>
                    <a:pt x="3273" y="0"/>
                  </a:lnTo>
                  <a:lnTo>
                    <a:pt x="74297" y="90396"/>
                  </a:lnTo>
                  <a:lnTo>
                    <a:pt x="74492" y="117574"/>
                  </a:lnTo>
                  <a:cubicBezTo>
                    <a:pt x="72836" y="148474"/>
                    <a:pt x="77802" y="179926"/>
                    <a:pt x="87734" y="209171"/>
                  </a:cubicBezTo>
                  <a:cubicBezTo>
                    <a:pt x="96564" y="233450"/>
                    <a:pt x="119187" y="245589"/>
                    <a:pt x="153949" y="245589"/>
                  </a:cubicBezTo>
                  <a:lnTo>
                    <a:pt x="191049" y="2389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7" name="Forme libre : forme 366">
              <a:extLst>
                <a:ext uri="{FF2B5EF4-FFF2-40B4-BE49-F238E27FC236}">
                  <a16:creationId xmlns:a16="http://schemas.microsoft.com/office/drawing/2014/main" id="{DE83541C-6C64-4EFA-96DA-32677B2F8AB7}"/>
                </a:ext>
              </a:extLst>
            </p:cNvPr>
            <p:cNvSpPr/>
            <p:nvPr/>
          </p:nvSpPr>
          <p:spPr>
            <a:xfrm rot="8716295">
              <a:off x="24761" y="33896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8" name="Forme libre : forme 367">
              <a:extLst>
                <a:ext uri="{FF2B5EF4-FFF2-40B4-BE49-F238E27FC236}">
                  <a16:creationId xmlns:a16="http://schemas.microsoft.com/office/drawing/2014/main" id="{97641E82-A92B-4DDB-9997-4330C2FFFC03}"/>
                </a:ext>
              </a:extLst>
            </p:cNvPr>
            <p:cNvSpPr/>
            <p:nvPr/>
          </p:nvSpPr>
          <p:spPr>
            <a:xfrm rot="8716295">
              <a:off x="-24047" y="3281741"/>
              <a:ext cx="106042" cy="113733"/>
            </a:xfrm>
            <a:custGeom>
              <a:avLst/>
              <a:gdLst>
                <a:gd name="connsiteX0" fmla="*/ 17477 w 106042"/>
                <a:gd name="connsiteY0" fmla="*/ 101182 h 113733"/>
                <a:gd name="connsiteX1" fmla="*/ 0 w 106042"/>
                <a:gd name="connsiteY1" fmla="*/ 59790 h 113733"/>
                <a:gd name="connsiteX2" fmla="*/ 0 w 106042"/>
                <a:gd name="connsiteY2" fmla="*/ 58869 h 113733"/>
                <a:gd name="connsiteX3" fmla="*/ 17477 w 106042"/>
                <a:gd name="connsiteY3" fmla="*/ 17477 h 113733"/>
                <a:gd name="connsiteX4" fmla="*/ 58869 w 106042"/>
                <a:gd name="connsiteY4" fmla="*/ 0 h 113733"/>
                <a:gd name="connsiteX5" fmla="*/ 100262 w 106042"/>
                <a:gd name="connsiteY5" fmla="*/ 17477 h 113733"/>
                <a:gd name="connsiteX6" fmla="*/ 106042 w 106042"/>
                <a:gd name="connsiteY6" fmla="*/ 31234 h 113733"/>
                <a:gd name="connsiteX7" fmla="*/ 48856 w 106042"/>
                <a:gd name="connsiteY7" fmla="*/ 113733 h 11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042" h="113733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cubicBezTo>
                    <a:pt x="74507" y="0"/>
                    <a:pt x="89224" y="6439"/>
                    <a:pt x="100262" y="17477"/>
                  </a:cubicBezTo>
                  <a:lnTo>
                    <a:pt x="106042" y="31234"/>
                  </a:lnTo>
                  <a:lnTo>
                    <a:pt x="48856" y="1137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9" name="Forme libre : forme 368">
              <a:extLst>
                <a:ext uri="{FF2B5EF4-FFF2-40B4-BE49-F238E27FC236}">
                  <a16:creationId xmlns:a16="http://schemas.microsoft.com/office/drawing/2014/main" id="{CA7B7E86-E158-4CCC-9F30-35FD45AC52DC}"/>
                </a:ext>
              </a:extLst>
            </p:cNvPr>
            <p:cNvSpPr/>
            <p:nvPr/>
          </p:nvSpPr>
          <p:spPr>
            <a:xfrm rot="8716295">
              <a:off x="-21924" y="3179872"/>
              <a:ext cx="45776" cy="62656"/>
            </a:xfrm>
            <a:custGeom>
              <a:avLst/>
              <a:gdLst>
                <a:gd name="connsiteX0" fmla="*/ 2345 w 45776"/>
                <a:gd name="connsiteY0" fmla="*/ 62656 h 62656"/>
                <a:gd name="connsiteX1" fmla="*/ 0 w 45776"/>
                <a:gd name="connsiteY1" fmla="*/ 57104 h 62656"/>
                <a:gd name="connsiteX2" fmla="*/ 0 w 45776"/>
                <a:gd name="connsiteY2" fmla="*/ 56183 h 62656"/>
                <a:gd name="connsiteX3" fmla="*/ 17477 w 45776"/>
                <a:gd name="connsiteY3" fmla="*/ 14791 h 62656"/>
                <a:gd name="connsiteX4" fmla="*/ 36449 w 45776"/>
                <a:gd name="connsiteY4" fmla="*/ 1913 h 62656"/>
                <a:gd name="connsiteX5" fmla="*/ 45776 w 45776"/>
                <a:gd name="connsiteY5" fmla="*/ 0 h 62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776" h="62656">
                  <a:moveTo>
                    <a:pt x="2345" y="62656"/>
                  </a:moveTo>
                  <a:lnTo>
                    <a:pt x="0" y="57104"/>
                  </a:lnTo>
                  <a:lnTo>
                    <a:pt x="0" y="56183"/>
                  </a:lnTo>
                  <a:cubicBezTo>
                    <a:pt x="0" y="40547"/>
                    <a:pt x="6439" y="25829"/>
                    <a:pt x="17477" y="14791"/>
                  </a:cubicBezTo>
                  <a:cubicBezTo>
                    <a:pt x="22996" y="9272"/>
                    <a:pt x="29435" y="4903"/>
                    <a:pt x="36449" y="1913"/>
                  </a:cubicBezTo>
                  <a:lnTo>
                    <a:pt x="4577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0" name="Forme libre : forme 369">
              <a:extLst>
                <a:ext uri="{FF2B5EF4-FFF2-40B4-BE49-F238E27FC236}">
                  <a16:creationId xmlns:a16="http://schemas.microsoft.com/office/drawing/2014/main" id="{B95921A2-46DE-49F9-9F14-5364CEEC2044}"/>
                </a:ext>
              </a:extLst>
            </p:cNvPr>
            <p:cNvSpPr/>
            <p:nvPr/>
          </p:nvSpPr>
          <p:spPr>
            <a:xfrm rot="8716295">
              <a:off x="-21324" y="4100649"/>
              <a:ext cx="79113" cy="50123"/>
            </a:xfrm>
            <a:custGeom>
              <a:avLst/>
              <a:gdLst>
                <a:gd name="connsiteX0" fmla="*/ 0 w 79113"/>
                <a:gd name="connsiteY0" fmla="*/ 50123 h 50123"/>
                <a:gd name="connsiteX1" fmla="*/ 0 w 79113"/>
                <a:gd name="connsiteY1" fmla="*/ 0 h 50123"/>
                <a:gd name="connsiteX2" fmla="*/ 79113 w 79113"/>
                <a:gd name="connsiteY2" fmla="*/ 0 h 50123"/>
                <a:gd name="connsiteX3" fmla="*/ 44369 w 79113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113" h="50123">
                  <a:moveTo>
                    <a:pt x="0" y="50123"/>
                  </a:moveTo>
                  <a:lnTo>
                    <a:pt x="0" y="0"/>
                  </a:lnTo>
                  <a:lnTo>
                    <a:pt x="79113" y="0"/>
                  </a:lnTo>
                  <a:lnTo>
                    <a:pt x="44369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1" name="Forme libre : forme 370">
              <a:extLst>
                <a:ext uri="{FF2B5EF4-FFF2-40B4-BE49-F238E27FC236}">
                  <a16:creationId xmlns:a16="http://schemas.microsoft.com/office/drawing/2014/main" id="{84FEE941-A7A7-41F0-870B-FF2E21B132E9}"/>
                </a:ext>
              </a:extLst>
            </p:cNvPr>
            <p:cNvSpPr/>
            <p:nvPr/>
          </p:nvSpPr>
          <p:spPr>
            <a:xfrm rot="8716295">
              <a:off x="-40457" y="398156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2" name="Forme libre : forme 371">
              <a:extLst>
                <a:ext uri="{FF2B5EF4-FFF2-40B4-BE49-F238E27FC236}">
                  <a16:creationId xmlns:a16="http://schemas.microsoft.com/office/drawing/2014/main" id="{ED05E8E5-B04C-426F-A5B3-FDFECB7FA8BB}"/>
                </a:ext>
              </a:extLst>
            </p:cNvPr>
            <p:cNvSpPr/>
            <p:nvPr/>
          </p:nvSpPr>
          <p:spPr>
            <a:xfrm rot="7484129">
              <a:off x="-46974" y="427316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3" name="Forme libre : forme 372">
              <a:extLst>
                <a:ext uri="{FF2B5EF4-FFF2-40B4-BE49-F238E27FC236}">
                  <a16:creationId xmlns:a16="http://schemas.microsoft.com/office/drawing/2014/main" id="{2455BBCE-F26C-4AF6-86DC-09C81861FE56}"/>
                </a:ext>
              </a:extLst>
            </p:cNvPr>
            <p:cNvSpPr/>
            <p:nvPr/>
          </p:nvSpPr>
          <p:spPr>
            <a:xfrm rot="13089394">
              <a:off x="57846" y="423970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4" name="Forme libre : forme 373">
              <a:extLst>
                <a:ext uri="{FF2B5EF4-FFF2-40B4-BE49-F238E27FC236}">
                  <a16:creationId xmlns:a16="http://schemas.microsoft.com/office/drawing/2014/main" id="{51373B92-194C-42B9-B764-40EA297AE7F9}"/>
                </a:ext>
              </a:extLst>
            </p:cNvPr>
            <p:cNvSpPr/>
            <p:nvPr/>
          </p:nvSpPr>
          <p:spPr>
            <a:xfrm rot="8716295">
              <a:off x="243431" y="404801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5" name="Forme libre : forme 374">
              <a:extLst>
                <a:ext uri="{FF2B5EF4-FFF2-40B4-BE49-F238E27FC236}">
                  <a16:creationId xmlns:a16="http://schemas.microsoft.com/office/drawing/2014/main" id="{F38EDEED-C414-448B-8D37-E62E6FF38F3A}"/>
                </a:ext>
              </a:extLst>
            </p:cNvPr>
            <p:cNvSpPr/>
            <p:nvPr/>
          </p:nvSpPr>
          <p:spPr>
            <a:xfrm rot="8716295">
              <a:off x="191626" y="39444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6" name="Forme libre : forme 375">
              <a:extLst>
                <a:ext uri="{FF2B5EF4-FFF2-40B4-BE49-F238E27FC236}">
                  <a16:creationId xmlns:a16="http://schemas.microsoft.com/office/drawing/2014/main" id="{1E970937-55EB-4E1D-94ED-92F0499DC22F}"/>
                </a:ext>
              </a:extLst>
            </p:cNvPr>
            <p:cNvSpPr/>
            <p:nvPr/>
          </p:nvSpPr>
          <p:spPr>
            <a:xfrm rot="8716295">
              <a:off x="125832" y="381540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7" name="Forme libre : forme 376">
              <a:extLst>
                <a:ext uri="{FF2B5EF4-FFF2-40B4-BE49-F238E27FC236}">
                  <a16:creationId xmlns:a16="http://schemas.microsoft.com/office/drawing/2014/main" id="{9890EDE8-10DA-45ED-AA77-40989F9FB014}"/>
                </a:ext>
              </a:extLst>
            </p:cNvPr>
            <p:cNvSpPr/>
            <p:nvPr/>
          </p:nvSpPr>
          <p:spPr>
            <a:xfrm rot="8716295">
              <a:off x="-73048" y="4876828"/>
              <a:ext cx="221382" cy="253349"/>
            </a:xfrm>
            <a:custGeom>
              <a:avLst/>
              <a:gdLst>
                <a:gd name="connsiteX0" fmla="*/ 51490 w 221382"/>
                <a:gd name="connsiteY0" fmla="*/ 253349 h 253349"/>
                <a:gd name="connsiteX1" fmla="*/ 51490 w 221382"/>
                <a:gd name="connsiteY1" fmla="*/ 44199 h 253349"/>
                <a:gd name="connsiteX2" fmla="*/ 0 w 221382"/>
                <a:gd name="connsiteY2" fmla="*/ 44199 h 253349"/>
                <a:gd name="connsiteX3" fmla="*/ 0 w 221382"/>
                <a:gd name="connsiteY3" fmla="*/ 0 h 253349"/>
                <a:gd name="connsiteX4" fmla="*/ 104803 w 221382"/>
                <a:gd name="connsiteY4" fmla="*/ 0 h 253349"/>
                <a:gd name="connsiteX5" fmla="*/ 104802 w 221382"/>
                <a:gd name="connsiteY5" fmla="*/ 73817 h 253349"/>
                <a:gd name="connsiteX6" fmla="*/ 106169 w 221382"/>
                <a:gd name="connsiteY6" fmla="*/ 73817 h 253349"/>
                <a:gd name="connsiteX7" fmla="*/ 154014 w 221382"/>
                <a:gd name="connsiteY7" fmla="*/ 4556 h 253349"/>
                <a:gd name="connsiteX8" fmla="*/ 174650 w 221382"/>
                <a:gd name="connsiteY8" fmla="*/ 668 h 253349"/>
                <a:gd name="connsiteX9" fmla="*/ 214075 w 221382"/>
                <a:gd name="connsiteY9" fmla="*/ 27996 h 253349"/>
                <a:gd name="connsiteX10" fmla="*/ 221382 w 221382"/>
                <a:gd name="connsiteY10" fmla="*/ 33060 h 253349"/>
                <a:gd name="connsiteX11" fmla="*/ 195540 w 221382"/>
                <a:gd name="connsiteY11" fmla="*/ 70341 h 253349"/>
                <a:gd name="connsiteX12" fmla="*/ 189157 w 221382"/>
                <a:gd name="connsiteY12" fmla="*/ 50236 h 253349"/>
                <a:gd name="connsiteX13" fmla="*/ 164950 w 221382"/>
                <a:gd name="connsiteY13" fmla="*/ 38731 h 253349"/>
                <a:gd name="connsiteX14" fmla="*/ 111638 w 221382"/>
                <a:gd name="connsiteY14" fmla="*/ 126218 h 253349"/>
                <a:gd name="connsiteX15" fmla="*/ 111638 w 221382"/>
                <a:gd name="connsiteY15" fmla="*/ 191383 h 253349"/>
                <a:gd name="connsiteX16" fmla="*/ 84096 w 221382"/>
                <a:gd name="connsiteY16" fmla="*/ 231117 h 253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1382" h="253349">
                  <a:moveTo>
                    <a:pt x="51490" y="253349"/>
                  </a:moveTo>
                  <a:lnTo>
                    <a:pt x="51490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104803" y="0"/>
                  </a:lnTo>
                  <a:lnTo>
                    <a:pt x="104802" y="73817"/>
                  </a:lnTo>
                  <a:lnTo>
                    <a:pt x="106169" y="73817"/>
                  </a:lnTo>
                  <a:cubicBezTo>
                    <a:pt x="120751" y="30529"/>
                    <a:pt x="132142" y="13670"/>
                    <a:pt x="154014" y="4556"/>
                  </a:cubicBezTo>
                  <a:lnTo>
                    <a:pt x="174650" y="668"/>
                  </a:lnTo>
                  <a:lnTo>
                    <a:pt x="214075" y="27996"/>
                  </a:lnTo>
                  <a:lnTo>
                    <a:pt x="221382" y="33060"/>
                  </a:lnTo>
                  <a:lnTo>
                    <a:pt x="195540" y="70341"/>
                  </a:lnTo>
                  <a:lnTo>
                    <a:pt x="189157" y="50236"/>
                  </a:lnTo>
                  <a:cubicBezTo>
                    <a:pt x="183177" y="42946"/>
                    <a:pt x="174747" y="38731"/>
                    <a:pt x="164950" y="38731"/>
                  </a:cubicBezTo>
                  <a:cubicBezTo>
                    <a:pt x="135788" y="38731"/>
                    <a:pt x="111638" y="77463"/>
                    <a:pt x="111638" y="126218"/>
                  </a:cubicBezTo>
                  <a:lnTo>
                    <a:pt x="111638" y="191383"/>
                  </a:lnTo>
                  <a:lnTo>
                    <a:pt x="84096" y="2311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8" name="Forme libre : forme 377">
              <a:extLst>
                <a:ext uri="{FF2B5EF4-FFF2-40B4-BE49-F238E27FC236}">
                  <a16:creationId xmlns:a16="http://schemas.microsoft.com/office/drawing/2014/main" id="{D89764C9-6568-42FB-A4A1-D9595395AB12}"/>
                </a:ext>
              </a:extLst>
            </p:cNvPr>
            <p:cNvSpPr/>
            <p:nvPr/>
          </p:nvSpPr>
          <p:spPr>
            <a:xfrm rot="8716295">
              <a:off x="93318" y="46120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9" name="Forme libre : forme 378">
              <a:extLst>
                <a:ext uri="{FF2B5EF4-FFF2-40B4-BE49-F238E27FC236}">
                  <a16:creationId xmlns:a16="http://schemas.microsoft.com/office/drawing/2014/main" id="{B3A51367-1D00-45C2-8806-45DE56D1374A}"/>
                </a:ext>
              </a:extLst>
            </p:cNvPr>
            <p:cNvSpPr/>
            <p:nvPr/>
          </p:nvSpPr>
          <p:spPr>
            <a:xfrm rot="8716295">
              <a:off x="182710" y="46412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0" name="Forme libre : forme 379">
              <a:extLst>
                <a:ext uri="{FF2B5EF4-FFF2-40B4-BE49-F238E27FC236}">
                  <a16:creationId xmlns:a16="http://schemas.microsoft.com/office/drawing/2014/main" id="{5796D538-9FA1-4B69-9ECE-72D45F20B58A}"/>
                </a:ext>
              </a:extLst>
            </p:cNvPr>
            <p:cNvSpPr/>
            <p:nvPr/>
          </p:nvSpPr>
          <p:spPr>
            <a:xfrm rot="8716295">
              <a:off x="-14524" y="4699631"/>
              <a:ext cx="49997" cy="54238"/>
            </a:xfrm>
            <a:custGeom>
              <a:avLst/>
              <a:gdLst>
                <a:gd name="connsiteX0" fmla="*/ 8658 w 49997"/>
                <a:gd name="connsiteY0" fmla="*/ 50123 h 54238"/>
                <a:gd name="connsiteX1" fmla="*/ 0 w 49997"/>
                <a:gd name="connsiteY1" fmla="*/ 29619 h 54238"/>
                <a:gd name="connsiteX2" fmla="*/ 0 w 49997"/>
                <a:gd name="connsiteY2" fmla="*/ 29162 h 54238"/>
                <a:gd name="connsiteX3" fmla="*/ 8658 w 49997"/>
                <a:gd name="connsiteY3" fmla="*/ 8658 h 54238"/>
                <a:gd name="connsiteX4" fmla="*/ 29163 w 49997"/>
                <a:gd name="connsiteY4" fmla="*/ 0 h 54238"/>
                <a:gd name="connsiteX5" fmla="*/ 49668 w 49997"/>
                <a:gd name="connsiteY5" fmla="*/ 8658 h 54238"/>
                <a:gd name="connsiteX6" fmla="*/ 49997 w 49997"/>
                <a:gd name="connsiteY6" fmla="*/ 9441 h 54238"/>
                <a:gd name="connsiteX7" fmla="*/ 18945 w 49997"/>
                <a:gd name="connsiteY7" fmla="*/ 54238 h 54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997" h="54238">
                  <a:moveTo>
                    <a:pt x="8658" y="50123"/>
                  </a:moveTo>
                  <a:cubicBezTo>
                    <a:pt x="3190" y="44655"/>
                    <a:pt x="0" y="37365"/>
                    <a:pt x="0" y="29619"/>
                  </a:cubicBezTo>
                  <a:lnTo>
                    <a:pt x="0" y="29162"/>
                  </a:lnTo>
                  <a:cubicBezTo>
                    <a:pt x="0" y="21417"/>
                    <a:pt x="3190" y="14126"/>
                    <a:pt x="8658" y="8658"/>
                  </a:cubicBezTo>
                  <a:cubicBezTo>
                    <a:pt x="14126" y="3190"/>
                    <a:pt x="21416" y="0"/>
                    <a:pt x="29163" y="0"/>
                  </a:cubicBezTo>
                  <a:cubicBezTo>
                    <a:pt x="36909" y="0"/>
                    <a:pt x="44200" y="3190"/>
                    <a:pt x="49668" y="8658"/>
                  </a:cubicBezTo>
                  <a:lnTo>
                    <a:pt x="49997" y="9441"/>
                  </a:lnTo>
                  <a:lnTo>
                    <a:pt x="18945" y="54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1" name="Forme libre : forme 380">
              <a:extLst>
                <a:ext uri="{FF2B5EF4-FFF2-40B4-BE49-F238E27FC236}">
                  <a16:creationId xmlns:a16="http://schemas.microsoft.com/office/drawing/2014/main" id="{0A8DEA12-3B5F-4B33-B7D9-E32E7E70ED9F}"/>
                </a:ext>
              </a:extLst>
            </p:cNvPr>
            <p:cNvSpPr/>
            <p:nvPr/>
          </p:nvSpPr>
          <p:spPr>
            <a:xfrm rot="8716295">
              <a:off x="-30327" y="4579755"/>
              <a:ext cx="113346" cy="71024"/>
            </a:xfrm>
            <a:custGeom>
              <a:avLst/>
              <a:gdLst>
                <a:gd name="connsiteX0" fmla="*/ 0 w 113346"/>
                <a:gd name="connsiteY0" fmla="*/ 55323 h 71024"/>
                <a:gd name="connsiteX1" fmla="*/ 0 w 113346"/>
                <a:gd name="connsiteY1" fmla="*/ 0 h 71024"/>
                <a:gd name="connsiteX2" fmla="*/ 113346 w 113346"/>
                <a:gd name="connsiteY2" fmla="*/ 0 h 71024"/>
                <a:gd name="connsiteX3" fmla="*/ 64114 w 113346"/>
                <a:gd name="connsiteY3" fmla="*/ 71024 h 71024"/>
                <a:gd name="connsiteX4" fmla="*/ 69777 w 113346"/>
                <a:gd name="connsiteY4" fmla="*/ 55323 h 7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346" h="71024">
                  <a:moveTo>
                    <a:pt x="0" y="55323"/>
                  </a:moveTo>
                  <a:lnTo>
                    <a:pt x="0" y="0"/>
                  </a:lnTo>
                  <a:lnTo>
                    <a:pt x="113346" y="0"/>
                  </a:lnTo>
                  <a:lnTo>
                    <a:pt x="64114" y="71024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2" name="Forme libre : forme 381">
              <a:extLst>
                <a:ext uri="{FF2B5EF4-FFF2-40B4-BE49-F238E27FC236}">
                  <a16:creationId xmlns:a16="http://schemas.microsoft.com/office/drawing/2014/main" id="{B639F843-6BAF-4B67-80B8-3D30C09BF5FB}"/>
                </a:ext>
              </a:extLst>
            </p:cNvPr>
            <p:cNvSpPr/>
            <p:nvPr/>
          </p:nvSpPr>
          <p:spPr>
            <a:xfrm rot="8716295">
              <a:off x="71262" y="47415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3" name="Forme libre : forme 382">
              <a:extLst>
                <a:ext uri="{FF2B5EF4-FFF2-40B4-BE49-F238E27FC236}">
                  <a16:creationId xmlns:a16="http://schemas.microsoft.com/office/drawing/2014/main" id="{D52BFECF-759E-4683-BE94-173DD8657338}"/>
                </a:ext>
              </a:extLst>
            </p:cNvPr>
            <p:cNvSpPr/>
            <p:nvPr/>
          </p:nvSpPr>
          <p:spPr>
            <a:xfrm rot="7484129">
              <a:off x="172059" y="493353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170341 w 203847"/>
                <a:gd name="connsiteY5" fmla="*/ 0 h 195874"/>
                <a:gd name="connsiteX6" fmla="*/ 203847 w 203847"/>
                <a:gd name="connsiteY6" fmla="*/ 48325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170341" y="0"/>
                  </a:lnTo>
                  <a:lnTo>
                    <a:pt x="203847" y="48325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4" name="Forme libre : forme 383">
              <a:extLst>
                <a:ext uri="{FF2B5EF4-FFF2-40B4-BE49-F238E27FC236}">
                  <a16:creationId xmlns:a16="http://schemas.microsoft.com/office/drawing/2014/main" id="{25A08FAE-A75C-4B2E-B0C7-527DE2D9E508}"/>
                </a:ext>
              </a:extLst>
            </p:cNvPr>
            <p:cNvSpPr/>
            <p:nvPr/>
          </p:nvSpPr>
          <p:spPr>
            <a:xfrm rot="13089394">
              <a:off x="313551" y="4906246"/>
              <a:ext cx="221827" cy="205098"/>
            </a:xfrm>
            <a:custGeom>
              <a:avLst/>
              <a:gdLst>
                <a:gd name="connsiteX0" fmla="*/ 24153 w 221827"/>
                <a:gd name="connsiteY0" fmla="*/ 55168 h 205098"/>
                <a:gd name="connsiteX1" fmla="*/ 0 w 221827"/>
                <a:gd name="connsiteY1" fmla="*/ 18385 h 205098"/>
                <a:gd name="connsiteX2" fmla="*/ 23400 w 221827"/>
                <a:gd name="connsiteY2" fmla="*/ 0 h 205098"/>
                <a:gd name="connsiteX3" fmla="*/ 23735 w 221827"/>
                <a:gd name="connsiteY3" fmla="*/ 46640 h 205098"/>
                <a:gd name="connsiteX4" fmla="*/ 221827 w 221827"/>
                <a:gd name="connsiteY4" fmla="*/ 150928 h 205098"/>
                <a:gd name="connsiteX5" fmla="*/ 126574 w 221827"/>
                <a:gd name="connsiteY5" fmla="*/ 204038 h 205098"/>
                <a:gd name="connsiteX6" fmla="*/ 122603 w 221827"/>
                <a:gd name="connsiteY6" fmla="*/ 205098 h 205098"/>
                <a:gd name="connsiteX7" fmla="*/ 102519 w 221827"/>
                <a:gd name="connsiteY7" fmla="*/ 174512 h 205098"/>
                <a:gd name="connsiteX8" fmla="*/ 103192 w 221827"/>
                <a:gd name="connsiteY8" fmla="*/ 174655 h 205098"/>
                <a:gd name="connsiteX9" fmla="*/ 152853 w 221827"/>
                <a:gd name="connsiteY9" fmla="*/ 165826 h 205098"/>
                <a:gd name="connsiteX10" fmla="*/ 220723 w 221827"/>
                <a:gd name="connsiteY10" fmla="*/ 138237 h 205098"/>
                <a:gd name="connsiteX11" fmla="*/ 221827 w 221827"/>
                <a:gd name="connsiteY11" fmla="*/ 145410 h 205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1827" h="205098">
                  <a:moveTo>
                    <a:pt x="24153" y="55168"/>
                  </a:moveTo>
                  <a:lnTo>
                    <a:pt x="0" y="18385"/>
                  </a:lnTo>
                  <a:lnTo>
                    <a:pt x="23400" y="0"/>
                  </a:lnTo>
                  <a:lnTo>
                    <a:pt x="23735" y="46640"/>
                  </a:lnTo>
                  <a:close/>
                  <a:moveTo>
                    <a:pt x="221827" y="150928"/>
                  </a:moveTo>
                  <a:cubicBezTo>
                    <a:pt x="192582" y="176035"/>
                    <a:pt x="158785" y="193002"/>
                    <a:pt x="126574" y="204038"/>
                  </a:cubicBezTo>
                  <a:lnTo>
                    <a:pt x="122603" y="205098"/>
                  </a:lnTo>
                  <a:lnTo>
                    <a:pt x="102519" y="174512"/>
                  </a:lnTo>
                  <a:lnTo>
                    <a:pt x="103192" y="174655"/>
                  </a:lnTo>
                  <a:cubicBezTo>
                    <a:pt x="120298" y="174103"/>
                    <a:pt x="136851" y="170792"/>
                    <a:pt x="152853" y="165826"/>
                  </a:cubicBezTo>
                  <a:cubicBezTo>
                    <a:pt x="176028" y="158653"/>
                    <a:pt x="198652" y="149273"/>
                    <a:pt x="220723" y="138237"/>
                  </a:cubicBezTo>
                  <a:cubicBezTo>
                    <a:pt x="221275" y="140444"/>
                    <a:pt x="221827" y="143203"/>
                    <a:pt x="221827" y="1454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5" name="Forme libre : forme 384">
              <a:extLst>
                <a:ext uri="{FF2B5EF4-FFF2-40B4-BE49-F238E27FC236}">
                  <a16:creationId xmlns:a16="http://schemas.microsoft.com/office/drawing/2014/main" id="{6B1D4FCF-4868-4FA7-803E-D1D00595788E}"/>
                </a:ext>
              </a:extLst>
            </p:cNvPr>
            <p:cNvSpPr/>
            <p:nvPr/>
          </p:nvSpPr>
          <p:spPr>
            <a:xfrm rot="8716295">
              <a:off x="406370" y="4600606"/>
              <a:ext cx="113655" cy="117117"/>
            </a:xfrm>
            <a:custGeom>
              <a:avLst/>
              <a:gdLst>
                <a:gd name="connsiteX0" fmla="*/ 13623 w 113655"/>
                <a:gd name="connsiteY0" fmla="*/ 100559 h 117117"/>
                <a:gd name="connsiteX1" fmla="*/ 0 w 113655"/>
                <a:gd name="connsiteY1" fmla="*/ 68296 h 117117"/>
                <a:gd name="connsiteX2" fmla="*/ 56488 w 113655"/>
                <a:gd name="connsiteY2" fmla="*/ 0 h 117117"/>
                <a:gd name="connsiteX3" fmla="*/ 96408 w 113655"/>
                <a:gd name="connsiteY3" fmla="*/ 16856 h 117117"/>
                <a:gd name="connsiteX4" fmla="*/ 96408 w 113655"/>
                <a:gd name="connsiteY4" fmla="*/ 99640 h 117117"/>
                <a:gd name="connsiteX5" fmla="*/ 55015 w 113655"/>
                <a:gd name="connsiteY5" fmla="*/ 117117 h 117117"/>
                <a:gd name="connsiteX6" fmla="*/ 13623 w 113655"/>
                <a:gd name="connsiteY6" fmla="*/ 100559 h 117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655" h="117117">
                  <a:moveTo>
                    <a:pt x="13623" y="100559"/>
                  </a:moveTo>
                  <a:lnTo>
                    <a:pt x="0" y="68296"/>
                  </a:lnTo>
                  <a:lnTo>
                    <a:pt x="56488" y="0"/>
                  </a:lnTo>
                  <a:lnTo>
                    <a:pt x="96408" y="16856"/>
                  </a:lnTo>
                  <a:cubicBezTo>
                    <a:pt x="119404" y="38931"/>
                    <a:pt x="119404" y="76644"/>
                    <a:pt x="96408" y="99640"/>
                  </a:cubicBezTo>
                  <a:cubicBezTo>
                    <a:pt x="85370" y="110678"/>
                    <a:pt x="70653" y="117116"/>
                    <a:pt x="55015" y="117117"/>
                  </a:cubicBezTo>
                  <a:cubicBezTo>
                    <a:pt x="39378" y="117117"/>
                    <a:pt x="24661" y="111597"/>
                    <a:pt x="13623" y="10055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6" name="Forme libre : forme 385">
              <a:extLst>
                <a:ext uri="{FF2B5EF4-FFF2-40B4-BE49-F238E27FC236}">
                  <a16:creationId xmlns:a16="http://schemas.microsoft.com/office/drawing/2014/main" id="{A521D2F6-3CA4-443B-AE06-E761EA9F7456}"/>
                </a:ext>
              </a:extLst>
            </p:cNvPr>
            <p:cNvSpPr/>
            <p:nvPr/>
          </p:nvSpPr>
          <p:spPr>
            <a:xfrm rot="8716295">
              <a:off x="171547" y="46343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7" name="Forme libre : forme 386">
              <a:extLst>
                <a:ext uri="{FF2B5EF4-FFF2-40B4-BE49-F238E27FC236}">
                  <a16:creationId xmlns:a16="http://schemas.microsoft.com/office/drawing/2014/main" id="{830F38CE-6CA7-4EBA-A5A4-58CB35926CD3}"/>
                </a:ext>
              </a:extLst>
            </p:cNvPr>
            <p:cNvSpPr/>
            <p:nvPr/>
          </p:nvSpPr>
          <p:spPr>
            <a:xfrm rot="8716295">
              <a:off x="348999" y="44751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3416216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uverture 1 - Foncé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que 2">
            <a:extLst>
              <a:ext uri="{FF2B5EF4-FFF2-40B4-BE49-F238E27FC236}">
                <a16:creationId xmlns:a16="http://schemas.microsoft.com/office/drawing/2014/main" id="{BCA76D0D-BBB6-4E20-BDA2-AF79702AE4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04432" y="2054979"/>
            <a:ext cx="3470194" cy="1035588"/>
          </a:xfrm>
          <a:prstGeom prst="rect">
            <a:avLst/>
          </a:prstGeom>
        </p:spPr>
      </p:pic>
      <p:sp>
        <p:nvSpPr>
          <p:cNvPr id="5" name="Forme libre : forme 4">
            <a:extLst>
              <a:ext uri="{FF2B5EF4-FFF2-40B4-BE49-F238E27FC236}">
                <a16:creationId xmlns:a16="http://schemas.microsoft.com/office/drawing/2014/main" id="{AEFD991A-ABBA-4F4C-98CF-1084947DFB28}"/>
              </a:ext>
            </a:extLst>
          </p:cNvPr>
          <p:cNvSpPr/>
          <p:nvPr userDrawn="1"/>
        </p:nvSpPr>
        <p:spPr>
          <a:xfrm>
            <a:off x="0" y="0"/>
            <a:ext cx="2476252" cy="5143500"/>
          </a:xfrm>
          <a:custGeom>
            <a:avLst/>
            <a:gdLst>
              <a:gd name="connsiteX0" fmla="*/ 0 w 2476252"/>
              <a:gd name="connsiteY0" fmla="*/ 0 h 5143500"/>
              <a:gd name="connsiteX1" fmla="*/ 2038350 w 2476252"/>
              <a:gd name="connsiteY1" fmla="*/ 0 h 5143500"/>
              <a:gd name="connsiteX2" fmla="*/ 2476252 w 2476252"/>
              <a:gd name="connsiteY2" fmla="*/ 0 h 5143500"/>
              <a:gd name="connsiteX3" fmla="*/ 2038350 w 2476252"/>
              <a:gd name="connsiteY3" fmla="*/ 5143500 h 5143500"/>
              <a:gd name="connsiteX4" fmla="*/ 0 w 2476252"/>
              <a:gd name="connsiteY4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76252" h="5143500">
                <a:moveTo>
                  <a:pt x="0" y="0"/>
                </a:moveTo>
                <a:lnTo>
                  <a:pt x="2038350" y="0"/>
                </a:lnTo>
                <a:lnTo>
                  <a:pt x="2476252" y="0"/>
                </a:lnTo>
                <a:lnTo>
                  <a:pt x="2038350" y="5143500"/>
                </a:lnTo>
                <a:lnTo>
                  <a:pt x="0" y="5143500"/>
                </a:lnTo>
                <a:close/>
              </a:path>
            </a:pathLst>
          </a:custGeom>
          <a:solidFill>
            <a:srgbClr val="3A1B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6" name="Forme libre : forme 5">
            <a:extLst>
              <a:ext uri="{FF2B5EF4-FFF2-40B4-BE49-F238E27FC236}">
                <a16:creationId xmlns:a16="http://schemas.microsoft.com/office/drawing/2014/main" id="{864821C3-7BAD-4585-9F8D-C119AC850133}"/>
              </a:ext>
            </a:extLst>
          </p:cNvPr>
          <p:cNvSpPr/>
          <p:nvPr userDrawn="1"/>
        </p:nvSpPr>
        <p:spPr>
          <a:xfrm flipH="1">
            <a:off x="2029641" y="2387470"/>
            <a:ext cx="614164" cy="2756031"/>
          </a:xfrm>
          <a:custGeom>
            <a:avLst/>
            <a:gdLst>
              <a:gd name="connsiteX0" fmla="*/ 379524 w 614164"/>
              <a:gd name="connsiteY0" fmla="*/ 0 h 2756031"/>
              <a:gd name="connsiteX1" fmla="*/ 0 w 614164"/>
              <a:gd name="connsiteY1" fmla="*/ 2756031 h 2756031"/>
              <a:gd name="connsiteX2" fmla="*/ 614164 w 614164"/>
              <a:gd name="connsiteY2" fmla="*/ 2756031 h 2756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14164" h="2756031">
                <a:moveTo>
                  <a:pt x="379524" y="0"/>
                </a:moveTo>
                <a:lnTo>
                  <a:pt x="0" y="2756031"/>
                </a:lnTo>
                <a:lnTo>
                  <a:pt x="614164" y="2756031"/>
                </a:lnTo>
                <a:close/>
              </a:path>
            </a:pathLst>
          </a:custGeom>
          <a:solidFill>
            <a:srgbClr val="009F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DA8CA9DB-B794-428D-9ECF-D4872FBA5C4C}"/>
              </a:ext>
            </a:extLst>
          </p:cNvPr>
          <p:cNvGrpSpPr/>
          <p:nvPr userDrawn="1"/>
        </p:nvGrpSpPr>
        <p:grpSpPr>
          <a:xfrm>
            <a:off x="-134707" y="-72828"/>
            <a:ext cx="2658992" cy="5335244"/>
            <a:chOff x="-134707" y="-72828"/>
            <a:chExt cx="2658992" cy="5335244"/>
          </a:xfrm>
          <a:solidFill>
            <a:schemeClr val="bg2">
              <a:alpha val="10000"/>
            </a:schemeClr>
          </a:solidFill>
        </p:grpSpPr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81E41836-E956-4188-9AAC-A83AE8900453}"/>
                </a:ext>
              </a:extLst>
            </p:cNvPr>
            <p:cNvSpPr/>
            <p:nvPr/>
          </p:nvSpPr>
          <p:spPr>
            <a:xfrm rot="8716295">
              <a:off x="1460344" y="348006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6217F1CC-5E84-40FC-88E7-C42A2398F84B}"/>
                </a:ext>
              </a:extLst>
            </p:cNvPr>
            <p:cNvSpPr/>
            <p:nvPr/>
          </p:nvSpPr>
          <p:spPr>
            <a:xfrm rot="8716295">
              <a:off x="1595642" y="352432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B80A1B59-7F4C-4E95-8CB7-0AACC6C05627}"/>
                </a:ext>
              </a:extLst>
            </p:cNvPr>
            <p:cNvSpPr/>
            <p:nvPr/>
          </p:nvSpPr>
          <p:spPr>
            <a:xfrm rot="8716295">
              <a:off x="1527760" y="339373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8728A690-34B9-4DFF-8734-9F6EBD35EBC5}"/>
                </a:ext>
              </a:extLst>
            </p:cNvPr>
            <p:cNvSpPr/>
            <p:nvPr/>
          </p:nvSpPr>
          <p:spPr>
            <a:xfrm rot="8716295">
              <a:off x="1290473" y="361408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2927191B-5C8D-4149-8DBA-718546C29906}"/>
                </a:ext>
              </a:extLst>
            </p:cNvPr>
            <p:cNvSpPr/>
            <p:nvPr/>
          </p:nvSpPr>
          <p:spPr>
            <a:xfrm rot="8716295">
              <a:off x="1101427" y="329824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375566C6-9E02-4DD8-8C3B-267A6C61A667}"/>
                </a:ext>
              </a:extLst>
            </p:cNvPr>
            <p:cNvSpPr/>
            <p:nvPr/>
          </p:nvSpPr>
          <p:spPr>
            <a:xfrm rot="8716295">
              <a:off x="1083185" y="3088198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1A3C2C2D-7CBE-4F9B-8B8B-959B1D778E3E}"/>
                </a:ext>
              </a:extLst>
            </p:cNvPr>
            <p:cNvSpPr/>
            <p:nvPr/>
          </p:nvSpPr>
          <p:spPr>
            <a:xfrm rot="8716295">
              <a:off x="1426961" y="367606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8EB673A3-36B5-4724-AE91-A9B8454C1396}"/>
                </a:ext>
              </a:extLst>
            </p:cNvPr>
            <p:cNvSpPr/>
            <p:nvPr/>
          </p:nvSpPr>
          <p:spPr>
            <a:xfrm rot="8716295">
              <a:off x="1897908" y="310145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F8EEA06C-B620-4C52-ACA9-B6AC8852992A}"/>
                </a:ext>
              </a:extLst>
            </p:cNvPr>
            <p:cNvSpPr/>
            <p:nvPr/>
          </p:nvSpPr>
          <p:spPr>
            <a:xfrm rot="8716295">
              <a:off x="2028620" y="3176625"/>
              <a:ext cx="305088" cy="336622"/>
            </a:xfrm>
            <a:custGeom>
              <a:avLst/>
              <a:gdLst>
                <a:gd name="connsiteX0" fmla="*/ 211294 w 305088"/>
                <a:gd name="connsiteY0" fmla="*/ 107197 h 336622"/>
                <a:gd name="connsiteX1" fmla="*/ 211294 w 305088"/>
                <a:gd name="connsiteY1" fmla="*/ 82369 h 336622"/>
                <a:gd name="connsiteX2" fmla="*/ 211017 w 305088"/>
                <a:gd name="connsiteY2" fmla="*/ 81498 h 336622"/>
                <a:gd name="connsiteX3" fmla="*/ 278425 w 305088"/>
                <a:gd name="connsiteY3" fmla="*/ 0 h 336622"/>
                <a:gd name="connsiteX4" fmla="*/ 297297 w 305088"/>
                <a:gd name="connsiteY4" fmla="*/ 35535 h 336622"/>
                <a:gd name="connsiteX5" fmla="*/ 305088 w 305088"/>
                <a:gd name="connsiteY5" fmla="*/ 92713 h 336622"/>
                <a:gd name="connsiteX6" fmla="*/ 305088 w 305088"/>
                <a:gd name="connsiteY6" fmla="*/ 101679 h 336622"/>
                <a:gd name="connsiteX7" fmla="*/ 0 w 305088"/>
                <a:gd name="connsiteY7" fmla="*/ 336622 h 336622"/>
                <a:gd name="connsiteX8" fmla="*/ 79568 w 305088"/>
                <a:gd name="connsiteY8" fmla="*/ 240423 h 336622"/>
                <a:gd name="connsiteX9" fmla="*/ 79568 w 305088"/>
                <a:gd name="connsiteY9" fmla="*/ 282372 h 33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5088" h="336622">
                  <a:moveTo>
                    <a:pt x="211294" y="107197"/>
                  </a:moveTo>
                  <a:lnTo>
                    <a:pt x="211294" y="82369"/>
                  </a:lnTo>
                  <a:lnTo>
                    <a:pt x="211017" y="81498"/>
                  </a:lnTo>
                  <a:lnTo>
                    <a:pt x="278425" y="0"/>
                  </a:lnTo>
                  <a:lnTo>
                    <a:pt x="297297" y="35535"/>
                  </a:lnTo>
                  <a:cubicBezTo>
                    <a:pt x="302416" y="52195"/>
                    <a:pt x="305088" y="71334"/>
                    <a:pt x="305088" y="92713"/>
                  </a:cubicBezTo>
                  <a:lnTo>
                    <a:pt x="305088" y="101679"/>
                  </a:lnTo>
                  <a:close/>
                  <a:moveTo>
                    <a:pt x="0" y="336622"/>
                  </a:moveTo>
                  <a:lnTo>
                    <a:pt x="79568" y="240423"/>
                  </a:lnTo>
                  <a:lnTo>
                    <a:pt x="79568" y="28237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84C08685-C991-44FD-898B-8BF95960C6B9}"/>
                </a:ext>
              </a:extLst>
            </p:cNvPr>
            <p:cNvSpPr/>
            <p:nvPr/>
          </p:nvSpPr>
          <p:spPr>
            <a:xfrm rot="8716295">
              <a:off x="1728037" y="323546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75F06F9A-B5F6-494A-BA46-78E41263CC81}"/>
                </a:ext>
              </a:extLst>
            </p:cNvPr>
            <p:cNvSpPr/>
            <p:nvPr/>
          </p:nvSpPr>
          <p:spPr>
            <a:xfrm rot="8716295">
              <a:off x="1538992" y="291963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CE3913D0-3ECC-49C2-BFCE-2E22945EB24B}"/>
                </a:ext>
              </a:extLst>
            </p:cNvPr>
            <p:cNvSpPr/>
            <p:nvPr/>
          </p:nvSpPr>
          <p:spPr>
            <a:xfrm rot="8716295">
              <a:off x="1864525" y="329745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ACF63173-E092-4F8A-A29A-250C09066948}"/>
                </a:ext>
              </a:extLst>
            </p:cNvPr>
            <p:cNvSpPr/>
            <p:nvPr/>
          </p:nvSpPr>
          <p:spPr>
            <a:xfrm rot="8716295">
              <a:off x="1499078" y="307102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7EFA26CA-A39B-4E8B-847D-F85F8518030F}"/>
                </a:ext>
              </a:extLst>
            </p:cNvPr>
            <p:cNvSpPr/>
            <p:nvPr/>
          </p:nvSpPr>
          <p:spPr>
            <a:xfrm rot="7484129">
              <a:off x="2004987" y="3639772"/>
              <a:ext cx="221889" cy="221665"/>
            </a:xfrm>
            <a:custGeom>
              <a:avLst/>
              <a:gdLst>
                <a:gd name="connsiteX0" fmla="*/ 206330 w 221889"/>
                <a:gd name="connsiteY0" fmla="*/ 8936 h 221665"/>
                <a:gd name="connsiteX1" fmla="*/ 221889 w 221889"/>
                <a:gd name="connsiteY1" fmla="*/ 0 h 221665"/>
                <a:gd name="connsiteX2" fmla="*/ 221889 w 221889"/>
                <a:gd name="connsiteY2" fmla="*/ 8936 h 221665"/>
                <a:gd name="connsiteX3" fmla="*/ 50650 w 221889"/>
                <a:gd name="connsiteY3" fmla="*/ 221665 h 221665"/>
                <a:gd name="connsiteX4" fmla="*/ 0 w 221889"/>
                <a:gd name="connsiteY4" fmla="*/ 127433 h 221665"/>
                <a:gd name="connsiteX5" fmla="*/ 103511 w 221889"/>
                <a:gd name="connsiteY5" fmla="*/ 67986 h 221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1889" h="221665">
                  <a:moveTo>
                    <a:pt x="206330" y="8936"/>
                  </a:moveTo>
                  <a:lnTo>
                    <a:pt x="221889" y="0"/>
                  </a:lnTo>
                  <a:lnTo>
                    <a:pt x="221889" y="8936"/>
                  </a:lnTo>
                  <a:close/>
                  <a:moveTo>
                    <a:pt x="50650" y="221665"/>
                  </a:moveTo>
                  <a:lnTo>
                    <a:pt x="0" y="127433"/>
                  </a:lnTo>
                  <a:lnTo>
                    <a:pt x="103511" y="6798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54CB42FE-32B8-4C2C-A4AB-C4F8B84705EC}"/>
                </a:ext>
              </a:extLst>
            </p:cNvPr>
            <p:cNvSpPr/>
            <p:nvPr/>
          </p:nvSpPr>
          <p:spPr>
            <a:xfrm rot="8716295">
              <a:off x="2016311" y="313524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B97467BE-761E-4E11-AD12-792548131E9F}"/>
                </a:ext>
              </a:extLst>
            </p:cNvPr>
            <p:cNvSpPr/>
            <p:nvPr/>
          </p:nvSpPr>
          <p:spPr>
            <a:xfrm rot="8716295">
              <a:off x="1796861" y="4478944"/>
              <a:ext cx="215176" cy="351729"/>
            </a:xfrm>
            <a:custGeom>
              <a:avLst/>
              <a:gdLst>
                <a:gd name="connsiteX0" fmla="*/ 122761 w 215176"/>
                <a:gd name="connsiteY0" fmla="*/ 351729 h 351729"/>
                <a:gd name="connsiteX1" fmla="*/ 122761 w 215176"/>
                <a:gd name="connsiteY1" fmla="*/ 105519 h 351729"/>
                <a:gd name="connsiteX2" fmla="*/ 122761 w 215176"/>
                <a:gd name="connsiteY2" fmla="*/ 99312 h 351729"/>
                <a:gd name="connsiteX3" fmla="*/ 91726 w 215176"/>
                <a:gd name="connsiteY3" fmla="*/ 75863 h 351729"/>
                <a:gd name="connsiteX4" fmla="*/ 0 w 215176"/>
                <a:gd name="connsiteY4" fmla="*/ 75863 h 351729"/>
                <a:gd name="connsiteX5" fmla="*/ 0 w 215176"/>
                <a:gd name="connsiteY5" fmla="*/ 31564 h 351729"/>
                <a:gd name="connsiteX6" fmla="*/ 26107 w 215176"/>
                <a:gd name="connsiteY6" fmla="*/ 0 h 351729"/>
                <a:gd name="connsiteX7" fmla="*/ 128968 w 215176"/>
                <a:gd name="connsiteY7" fmla="*/ 0 h 351729"/>
                <a:gd name="connsiteX8" fmla="*/ 215176 w 215176"/>
                <a:gd name="connsiteY8" fmla="*/ 75863 h 351729"/>
                <a:gd name="connsiteX9" fmla="*/ 215176 w 215176"/>
                <a:gd name="connsiteY9" fmla="*/ 315177 h 351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5176" h="351729">
                  <a:moveTo>
                    <a:pt x="122761" y="35172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31564"/>
                  </a:lnTo>
                  <a:lnTo>
                    <a:pt x="26107" y="0"/>
                  </a:lnTo>
                  <a:lnTo>
                    <a:pt x="128968" y="0"/>
                  </a:lnTo>
                  <a:cubicBezTo>
                    <a:pt x="184831" y="0"/>
                    <a:pt x="215176" y="24139"/>
                    <a:pt x="215176" y="75863"/>
                  </a:cubicBezTo>
                  <a:lnTo>
                    <a:pt x="215176" y="3151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8C358B06-CFB8-4D7E-B58B-64076A590B10}"/>
                </a:ext>
              </a:extLst>
            </p:cNvPr>
            <p:cNvSpPr/>
            <p:nvPr/>
          </p:nvSpPr>
          <p:spPr>
            <a:xfrm rot="8716295">
              <a:off x="1938756" y="4602084"/>
              <a:ext cx="253340" cy="284725"/>
            </a:xfrm>
            <a:custGeom>
              <a:avLst/>
              <a:gdLst>
                <a:gd name="connsiteX0" fmla="*/ 160632 w 253340"/>
                <a:gd name="connsiteY0" fmla="*/ 90518 h 284725"/>
                <a:gd name="connsiteX1" fmla="*/ 235501 w 253340"/>
                <a:gd name="connsiteY1" fmla="*/ 0 h 284725"/>
                <a:gd name="connsiteX2" fmla="*/ 245549 w 253340"/>
                <a:gd name="connsiteY2" fmla="*/ 18921 h 284725"/>
                <a:gd name="connsiteX3" fmla="*/ 253340 w 253340"/>
                <a:gd name="connsiteY3" fmla="*/ 76098 h 284725"/>
                <a:gd name="connsiteX4" fmla="*/ 253340 w 253340"/>
                <a:gd name="connsiteY4" fmla="*/ 85064 h 284725"/>
                <a:gd name="connsiteX5" fmla="*/ 0 w 253340"/>
                <a:gd name="connsiteY5" fmla="*/ 284725 h 284725"/>
                <a:gd name="connsiteX6" fmla="*/ 27820 w 253340"/>
                <a:gd name="connsiteY6" fmla="*/ 251090 h 284725"/>
                <a:gd name="connsiteX7" fmla="*/ 27820 w 253340"/>
                <a:gd name="connsiteY7" fmla="*/ 265757 h 28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3340" h="284725">
                  <a:moveTo>
                    <a:pt x="160632" y="90518"/>
                  </a:moveTo>
                  <a:lnTo>
                    <a:pt x="235501" y="0"/>
                  </a:lnTo>
                  <a:lnTo>
                    <a:pt x="245549" y="18921"/>
                  </a:lnTo>
                  <a:cubicBezTo>
                    <a:pt x="250668" y="35581"/>
                    <a:pt x="253340" y="54719"/>
                    <a:pt x="253340" y="76098"/>
                  </a:cubicBezTo>
                  <a:lnTo>
                    <a:pt x="253340" y="85064"/>
                  </a:lnTo>
                  <a:close/>
                  <a:moveTo>
                    <a:pt x="0" y="284725"/>
                  </a:moveTo>
                  <a:lnTo>
                    <a:pt x="27820" y="251090"/>
                  </a:lnTo>
                  <a:lnTo>
                    <a:pt x="27820" y="26575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55465226-9705-450D-9333-C6F18EA9DA5B}"/>
                </a:ext>
              </a:extLst>
            </p:cNvPr>
            <p:cNvSpPr/>
            <p:nvPr/>
          </p:nvSpPr>
          <p:spPr>
            <a:xfrm rot="8716295">
              <a:off x="1865533" y="439222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14393A34-234C-4F82-B937-651BE2C2EB26}"/>
                </a:ext>
              </a:extLst>
            </p:cNvPr>
            <p:cNvSpPr/>
            <p:nvPr/>
          </p:nvSpPr>
          <p:spPr>
            <a:xfrm rot="8716295">
              <a:off x="1628246" y="461256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C8A075BE-A4F2-4F84-B522-C6E43EFD2240}"/>
                </a:ext>
              </a:extLst>
            </p:cNvPr>
            <p:cNvSpPr/>
            <p:nvPr/>
          </p:nvSpPr>
          <p:spPr>
            <a:xfrm rot="8716295">
              <a:off x="1439200" y="42967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56AB483C-9DB6-4B2C-B13B-6356C19C1FBB}"/>
                </a:ext>
              </a:extLst>
            </p:cNvPr>
            <p:cNvSpPr/>
            <p:nvPr/>
          </p:nvSpPr>
          <p:spPr>
            <a:xfrm rot="8716295">
              <a:off x="1420958" y="408668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AFF52EFA-F302-42BC-851E-3ECAD5E2BCCE}"/>
                </a:ext>
              </a:extLst>
            </p:cNvPr>
            <p:cNvSpPr/>
            <p:nvPr/>
          </p:nvSpPr>
          <p:spPr>
            <a:xfrm rot="8716295">
              <a:off x="1764734" y="467454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DD8C6387-B92F-4AE3-84AA-9699909C3151}"/>
                </a:ext>
              </a:extLst>
            </p:cNvPr>
            <p:cNvSpPr/>
            <p:nvPr/>
          </p:nvSpPr>
          <p:spPr>
            <a:xfrm rot="8716295">
              <a:off x="2058111" y="4234218"/>
              <a:ext cx="77302" cy="80483"/>
            </a:xfrm>
            <a:custGeom>
              <a:avLst/>
              <a:gdLst>
                <a:gd name="connsiteX0" fmla="*/ 2300 w 77302"/>
                <a:gd name="connsiteY0" fmla="*/ 68069 h 80483"/>
                <a:gd name="connsiteX1" fmla="*/ 0 w 77302"/>
                <a:gd name="connsiteY1" fmla="*/ 62622 h 80483"/>
                <a:gd name="connsiteX2" fmla="*/ 51796 w 77302"/>
                <a:gd name="connsiteY2" fmla="*/ 0 h 80483"/>
                <a:gd name="connsiteX3" fmla="*/ 64371 w 77302"/>
                <a:gd name="connsiteY3" fmla="*/ 5309 h 80483"/>
                <a:gd name="connsiteX4" fmla="*/ 64371 w 77302"/>
                <a:gd name="connsiteY4" fmla="*/ 67380 h 80483"/>
                <a:gd name="connsiteX5" fmla="*/ 33335 w 77302"/>
                <a:gd name="connsiteY5" fmla="*/ 80483 h 80483"/>
                <a:gd name="connsiteX6" fmla="*/ 2300 w 77302"/>
                <a:gd name="connsiteY6" fmla="*/ 68069 h 80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7302" h="80483">
                  <a:moveTo>
                    <a:pt x="2300" y="68069"/>
                  </a:moveTo>
                  <a:lnTo>
                    <a:pt x="0" y="62622"/>
                  </a:lnTo>
                  <a:lnTo>
                    <a:pt x="51796" y="0"/>
                  </a:lnTo>
                  <a:lnTo>
                    <a:pt x="64371" y="5309"/>
                  </a:lnTo>
                  <a:cubicBezTo>
                    <a:pt x="81612" y="21861"/>
                    <a:pt x="81613" y="50138"/>
                    <a:pt x="64371" y="67380"/>
                  </a:cubicBezTo>
                  <a:cubicBezTo>
                    <a:pt x="56095" y="75656"/>
                    <a:pt x="45060" y="80483"/>
                    <a:pt x="33335" y="80483"/>
                  </a:cubicBezTo>
                  <a:cubicBezTo>
                    <a:pt x="21611" y="80483"/>
                    <a:pt x="10576" y="76345"/>
                    <a:pt x="2300" y="6806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7D76A85F-9EC7-4610-8B93-DADD647681CA}"/>
                </a:ext>
              </a:extLst>
            </p:cNvPr>
            <p:cNvSpPr/>
            <p:nvPr/>
          </p:nvSpPr>
          <p:spPr>
            <a:xfrm rot="8716295">
              <a:off x="1876235" y="3938134"/>
              <a:ext cx="237808" cy="296463"/>
            </a:xfrm>
            <a:custGeom>
              <a:avLst/>
              <a:gdLst>
                <a:gd name="connsiteX0" fmla="*/ 66569 w 237808"/>
                <a:gd name="connsiteY0" fmla="*/ 296463 h 296463"/>
                <a:gd name="connsiteX1" fmla="*/ 1694 w 237808"/>
                <a:gd name="connsiteY1" fmla="*/ 175766 h 296463"/>
                <a:gd name="connsiteX2" fmla="*/ 34886 w 237808"/>
                <a:gd name="connsiteY2" fmla="*/ 83734 h 296463"/>
                <a:gd name="connsiteX3" fmla="*/ 0 w 237808"/>
                <a:gd name="connsiteY3" fmla="*/ 83734 h 296463"/>
                <a:gd name="connsiteX4" fmla="*/ 69258 w 237808"/>
                <a:gd name="connsiteY4" fmla="*/ 0 h 296463"/>
                <a:gd name="connsiteX5" fmla="*/ 237808 w 237808"/>
                <a:gd name="connsiteY5" fmla="*/ 0 h 296463"/>
                <a:gd name="connsiteX6" fmla="*/ 237808 w 237808"/>
                <a:gd name="connsiteY6" fmla="*/ 83734 h 296463"/>
                <a:gd name="connsiteX7" fmla="*/ 139741 w 237808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7808" h="296463">
                  <a:moveTo>
                    <a:pt x="66569" y="296463"/>
                  </a:moveTo>
                  <a:lnTo>
                    <a:pt x="1694" y="175766"/>
                  </a:lnTo>
                  <a:lnTo>
                    <a:pt x="34886" y="83734"/>
                  </a:lnTo>
                  <a:lnTo>
                    <a:pt x="0" y="83734"/>
                  </a:lnTo>
                  <a:lnTo>
                    <a:pt x="69258" y="0"/>
                  </a:lnTo>
                  <a:lnTo>
                    <a:pt x="237808" y="0"/>
                  </a:lnTo>
                  <a:lnTo>
                    <a:pt x="237808" y="83734"/>
                  </a:lnTo>
                  <a:lnTo>
                    <a:pt x="139741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1D9CF1AF-A09A-459A-A4AB-D88D1905EA6F}"/>
                </a:ext>
              </a:extLst>
            </p:cNvPr>
            <p:cNvSpPr/>
            <p:nvPr/>
          </p:nvSpPr>
          <p:spPr>
            <a:xfrm rot="8716295">
              <a:off x="1836851" y="406950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33B04AAC-330F-42F9-9C1F-3BB73DEAD114}"/>
                </a:ext>
              </a:extLst>
            </p:cNvPr>
            <p:cNvSpPr/>
            <p:nvPr/>
          </p:nvSpPr>
          <p:spPr>
            <a:xfrm rot="8716295">
              <a:off x="1827832" y="5057264"/>
              <a:ext cx="219410" cy="140851"/>
            </a:xfrm>
            <a:custGeom>
              <a:avLst/>
              <a:gdLst>
                <a:gd name="connsiteX0" fmla="*/ 27373 w 219410"/>
                <a:gd name="connsiteY0" fmla="*/ 96063 h 140851"/>
                <a:gd name="connsiteX1" fmla="*/ 1953 w 219410"/>
                <a:gd name="connsiteY1" fmla="*/ 53941 h 140851"/>
                <a:gd name="connsiteX2" fmla="*/ 0 w 219410"/>
                <a:gd name="connsiteY2" fmla="*/ 43352 h 140851"/>
                <a:gd name="connsiteX3" fmla="*/ 35858 w 219410"/>
                <a:gd name="connsiteY3" fmla="*/ 0 h 140851"/>
                <a:gd name="connsiteX4" fmla="*/ 219410 w 219410"/>
                <a:gd name="connsiteY4" fmla="*/ 127232 h 140851"/>
                <a:gd name="connsiteX5" fmla="*/ 200448 w 219410"/>
                <a:gd name="connsiteY5" fmla="*/ 132296 h 140851"/>
                <a:gd name="connsiteX6" fmla="*/ 136904 w 219410"/>
                <a:gd name="connsiteY6" fmla="*/ 140588 h 140851"/>
                <a:gd name="connsiteX7" fmla="*/ 27373 w 219410"/>
                <a:gd name="connsiteY7" fmla="*/ 96063 h 140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9410" h="140851">
                  <a:moveTo>
                    <a:pt x="27373" y="96063"/>
                  </a:moveTo>
                  <a:cubicBezTo>
                    <a:pt x="16020" y="85043"/>
                    <a:pt x="7797" y="71018"/>
                    <a:pt x="1953" y="53941"/>
                  </a:cubicBezTo>
                  <a:lnTo>
                    <a:pt x="0" y="43352"/>
                  </a:lnTo>
                  <a:lnTo>
                    <a:pt x="35858" y="0"/>
                  </a:lnTo>
                  <a:lnTo>
                    <a:pt x="219410" y="127232"/>
                  </a:lnTo>
                  <a:lnTo>
                    <a:pt x="200448" y="132296"/>
                  </a:lnTo>
                  <a:cubicBezTo>
                    <a:pt x="176976" y="136859"/>
                    <a:pt x="155381" y="139475"/>
                    <a:pt x="136904" y="140588"/>
                  </a:cubicBezTo>
                  <a:cubicBezTo>
                    <a:pt x="95942" y="143260"/>
                    <a:pt x="55870" y="125450"/>
                    <a:pt x="27373" y="960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24E0BB53-945A-402E-838B-93267E59D513}"/>
                </a:ext>
              </a:extLst>
            </p:cNvPr>
            <p:cNvSpPr/>
            <p:nvPr/>
          </p:nvSpPr>
          <p:spPr>
            <a:xfrm rot="8716295">
              <a:off x="1125067" y="247965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6C251D8C-A5D9-4ECA-AD3B-1A05AB92D036}"/>
                </a:ext>
              </a:extLst>
            </p:cNvPr>
            <p:cNvSpPr/>
            <p:nvPr/>
          </p:nvSpPr>
          <p:spPr>
            <a:xfrm rot="8716295">
              <a:off x="1260365" y="252391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8B96FE87-2D5C-4688-844D-4E74C72A4B6C}"/>
                </a:ext>
              </a:extLst>
            </p:cNvPr>
            <p:cNvSpPr/>
            <p:nvPr/>
          </p:nvSpPr>
          <p:spPr>
            <a:xfrm rot="8716295">
              <a:off x="1192483" y="2393326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582D3CFC-4736-4E25-B369-A4CE70A870B5}"/>
                </a:ext>
              </a:extLst>
            </p:cNvPr>
            <p:cNvSpPr/>
            <p:nvPr/>
          </p:nvSpPr>
          <p:spPr>
            <a:xfrm rot="8716295">
              <a:off x="955196" y="261367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005E4ED8-B75C-4EF1-8BE9-2F684ADC8702}"/>
                </a:ext>
              </a:extLst>
            </p:cNvPr>
            <p:cNvSpPr/>
            <p:nvPr/>
          </p:nvSpPr>
          <p:spPr>
            <a:xfrm rot="8716295">
              <a:off x="766149" y="229783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AFABF28F-6E8A-4957-B94B-921C1E69A440}"/>
                </a:ext>
              </a:extLst>
            </p:cNvPr>
            <p:cNvSpPr/>
            <p:nvPr/>
          </p:nvSpPr>
          <p:spPr>
            <a:xfrm rot="8716295">
              <a:off x="747908" y="2087785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A9A47BF0-B3E6-4CA8-B1F1-FEC766FA52E5}"/>
                </a:ext>
              </a:extLst>
            </p:cNvPr>
            <p:cNvSpPr/>
            <p:nvPr/>
          </p:nvSpPr>
          <p:spPr>
            <a:xfrm rot="8716295">
              <a:off x="1091684" y="2675653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E9996FB1-6163-4708-89D3-37E7BECE1764}"/>
                </a:ext>
              </a:extLst>
            </p:cNvPr>
            <p:cNvSpPr/>
            <p:nvPr/>
          </p:nvSpPr>
          <p:spPr>
            <a:xfrm rot="8716295">
              <a:off x="1562630" y="210103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A1CE2F3B-6619-4775-85F0-1C1F8C974630}"/>
                </a:ext>
              </a:extLst>
            </p:cNvPr>
            <p:cNvSpPr/>
            <p:nvPr/>
          </p:nvSpPr>
          <p:spPr>
            <a:xfrm rot="8716295">
              <a:off x="1697929" y="214529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8284C668-CF6A-429F-A20E-B2542F51FB46}"/>
                </a:ext>
              </a:extLst>
            </p:cNvPr>
            <p:cNvSpPr/>
            <p:nvPr/>
          </p:nvSpPr>
          <p:spPr>
            <a:xfrm rot="8716295">
              <a:off x="1392759" y="223505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AA01786E-CED8-47C1-98FC-809C875C8CD9}"/>
                </a:ext>
              </a:extLst>
            </p:cNvPr>
            <p:cNvSpPr/>
            <p:nvPr/>
          </p:nvSpPr>
          <p:spPr>
            <a:xfrm rot="8716295">
              <a:off x="1203715" y="191921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2425A90E-FE44-45AD-B145-151A84FF9C22}"/>
                </a:ext>
              </a:extLst>
            </p:cNvPr>
            <p:cNvSpPr/>
            <p:nvPr/>
          </p:nvSpPr>
          <p:spPr>
            <a:xfrm rot="8716295">
              <a:off x="1529248" y="2297037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C0E93116-88EE-4D50-8215-854EE6AEF62E}"/>
                </a:ext>
              </a:extLst>
            </p:cNvPr>
            <p:cNvSpPr/>
            <p:nvPr/>
          </p:nvSpPr>
          <p:spPr>
            <a:xfrm rot="8716295">
              <a:off x="1163801" y="2070611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97447593-0A4C-444A-8AD1-F14699136B1C}"/>
                </a:ext>
              </a:extLst>
            </p:cNvPr>
            <p:cNvSpPr/>
            <p:nvPr/>
          </p:nvSpPr>
          <p:spPr>
            <a:xfrm rot="7484129">
              <a:off x="1688065" y="258665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E8FA1E58-23E1-4418-9B7C-2F5C67C32BDC}"/>
                </a:ext>
              </a:extLst>
            </p:cNvPr>
            <p:cNvSpPr/>
            <p:nvPr/>
          </p:nvSpPr>
          <p:spPr>
            <a:xfrm rot="13089394">
              <a:off x="1845023" y="2531236"/>
              <a:ext cx="412568" cy="496925"/>
            </a:xfrm>
            <a:custGeom>
              <a:avLst/>
              <a:gdLst>
                <a:gd name="connsiteX0" fmla="*/ 412568 w 412568"/>
                <a:gd name="connsiteY0" fmla="*/ 390854 h 496925"/>
                <a:gd name="connsiteX1" fmla="*/ 198232 w 412568"/>
                <a:gd name="connsiteY1" fmla="*/ 489977 h 496925"/>
                <a:gd name="connsiteX2" fmla="*/ 144991 w 412568"/>
                <a:gd name="connsiteY2" fmla="*/ 496925 h 496925"/>
                <a:gd name="connsiteX3" fmla="*/ 0 w 412568"/>
                <a:gd name="connsiteY3" fmla="*/ 276116 h 496925"/>
                <a:gd name="connsiteX4" fmla="*/ 0 w 412568"/>
                <a:gd name="connsiteY4" fmla="*/ 57626 h 496925"/>
                <a:gd name="connsiteX5" fmla="*/ 111075 w 412568"/>
                <a:gd name="connsiteY5" fmla="*/ 0 h 496925"/>
                <a:gd name="connsiteX6" fmla="*/ 112747 w 412568"/>
                <a:gd name="connsiteY6" fmla="*/ 233009 h 496925"/>
                <a:gd name="connsiteX7" fmla="*/ 132789 w 412568"/>
                <a:gd name="connsiteY7" fmla="*/ 371646 h 496925"/>
                <a:gd name="connsiteX8" fmla="*/ 233008 w 412568"/>
                <a:gd name="connsiteY8" fmla="*/ 426766 h 496925"/>
                <a:gd name="connsiteX9" fmla="*/ 308173 w 412568"/>
                <a:gd name="connsiteY9" fmla="*/ 413403 h 496925"/>
                <a:gd name="connsiteX10" fmla="*/ 410897 w 412568"/>
                <a:gd name="connsiteY10" fmla="*/ 371646 h 496925"/>
                <a:gd name="connsiteX11" fmla="*/ 412568 w 412568"/>
                <a:gd name="connsiteY11" fmla="*/ 382502 h 496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2568" h="496925">
                  <a:moveTo>
                    <a:pt x="412568" y="390854"/>
                  </a:moveTo>
                  <a:cubicBezTo>
                    <a:pt x="346173" y="447854"/>
                    <a:pt x="264275" y="477136"/>
                    <a:pt x="198232" y="489977"/>
                  </a:cubicBezTo>
                  <a:lnTo>
                    <a:pt x="144991" y="496925"/>
                  </a:lnTo>
                  <a:lnTo>
                    <a:pt x="0" y="276116"/>
                  </a:lnTo>
                  <a:lnTo>
                    <a:pt x="0" y="57626"/>
                  </a:lnTo>
                  <a:lnTo>
                    <a:pt x="111075" y="0"/>
                  </a:lnTo>
                  <a:lnTo>
                    <a:pt x="112747" y="233009"/>
                  </a:lnTo>
                  <a:cubicBezTo>
                    <a:pt x="110241" y="279778"/>
                    <a:pt x="117757" y="327382"/>
                    <a:pt x="132789" y="371646"/>
                  </a:cubicBezTo>
                  <a:cubicBezTo>
                    <a:pt x="146153" y="408393"/>
                    <a:pt x="180394" y="426766"/>
                    <a:pt x="233008" y="426766"/>
                  </a:cubicBezTo>
                  <a:cubicBezTo>
                    <a:pt x="258899" y="425930"/>
                    <a:pt x="283953" y="420919"/>
                    <a:pt x="308173" y="413403"/>
                  </a:cubicBezTo>
                  <a:cubicBezTo>
                    <a:pt x="343249" y="402546"/>
                    <a:pt x="377491" y="388349"/>
                    <a:pt x="410897" y="371646"/>
                  </a:cubicBezTo>
                  <a:cubicBezTo>
                    <a:pt x="411732" y="374986"/>
                    <a:pt x="412568" y="379161"/>
                    <a:pt x="412568" y="38250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18E16AF5-15DE-4CED-B67B-CF099D4DD885}"/>
                </a:ext>
              </a:extLst>
            </p:cNvPr>
            <p:cNvSpPr/>
            <p:nvPr/>
          </p:nvSpPr>
          <p:spPr>
            <a:xfrm rot="8716295">
              <a:off x="2147054" y="2332037"/>
              <a:ext cx="207668" cy="192886"/>
            </a:xfrm>
            <a:custGeom>
              <a:avLst/>
              <a:gdLst>
                <a:gd name="connsiteX0" fmla="*/ 0 w 207668"/>
                <a:gd name="connsiteY0" fmla="*/ 192886 h 192886"/>
                <a:gd name="connsiteX1" fmla="*/ 159539 w 207668"/>
                <a:gd name="connsiteY1" fmla="*/ 0 h 192886"/>
                <a:gd name="connsiteX2" fmla="*/ 181588 w 207668"/>
                <a:gd name="connsiteY2" fmla="*/ 5201 h 192886"/>
                <a:gd name="connsiteX3" fmla="*/ 207668 w 207668"/>
                <a:gd name="connsiteY3" fmla="*/ 59649 h 192886"/>
                <a:gd name="connsiteX4" fmla="*/ 160490 w 207668"/>
                <a:gd name="connsiteY4" fmla="*/ 123096 h 192886"/>
                <a:gd name="connsiteX5" fmla="*/ 161303 w 207668"/>
                <a:gd name="connsiteY5" fmla="*/ 123096 h 192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668" h="192886">
                  <a:moveTo>
                    <a:pt x="0" y="192886"/>
                  </a:moveTo>
                  <a:lnTo>
                    <a:pt x="159539" y="0"/>
                  </a:lnTo>
                  <a:lnTo>
                    <a:pt x="181588" y="5201"/>
                  </a:lnTo>
                  <a:cubicBezTo>
                    <a:pt x="201262" y="16029"/>
                    <a:pt x="207668" y="40127"/>
                    <a:pt x="207668" y="59649"/>
                  </a:cubicBezTo>
                  <a:cubicBezTo>
                    <a:pt x="205228" y="88119"/>
                    <a:pt x="186518" y="111708"/>
                    <a:pt x="160490" y="123096"/>
                  </a:cubicBezTo>
                  <a:lnTo>
                    <a:pt x="161303" y="1230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EE7EA580-766E-4570-A7DD-55A7181E9140}"/>
                </a:ext>
              </a:extLst>
            </p:cNvPr>
            <p:cNvSpPr/>
            <p:nvPr/>
          </p:nvSpPr>
          <p:spPr>
            <a:xfrm rot="8716295">
              <a:off x="2049197" y="208909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89C54D82-6DB7-45E9-8646-AF058AAE6AFE}"/>
                </a:ext>
              </a:extLst>
            </p:cNvPr>
            <p:cNvSpPr/>
            <p:nvPr/>
          </p:nvSpPr>
          <p:spPr>
            <a:xfrm rot="8716295">
              <a:off x="1681033" y="21348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350EA871-183D-437B-B28B-EF893E9A4930}"/>
                </a:ext>
              </a:extLst>
            </p:cNvPr>
            <p:cNvSpPr/>
            <p:nvPr/>
          </p:nvSpPr>
          <p:spPr>
            <a:xfrm rot="8716295">
              <a:off x="1949615" y="189381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7625BF35-EB3E-4083-8310-66A6ABEEBE81}"/>
                </a:ext>
              </a:extLst>
            </p:cNvPr>
            <p:cNvSpPr/>
            <p:nvPr/>
          </p:nvSpPr>
          <p:spPr>
            <a:xfrm rot="8716295">
              <a:off x="787294" y="148117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4A278F8F-FAFA-4D7A-877C-29D91BF541D4}"/>
                </a:ext>
              </a:extLst>
            </p:cNvPr>
            <p:cNvSpPr/>
            <p:nvPr/>
          </p:nvSpPr>
          <p:spPr>
            <a:xfrm rot="8716295">
              <a:off x="922592" y="152543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DB2610A3-31CF-45EF-B184-4657FD23CA44}"/>
                </a:ext>
              </a:extLst>
            </p:cNvPr>
            <p:cNvSpPr/>
            <p:nvPr/>
          </p:nvSpPr>
          <p:spPr>
            <a:xfrm rot="8716295">
              <a:off x="854710" y="1394843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2721DD24-E32D-474A-8AE8-CB1F5FEA63CC}"/>
                </a:ext>
              </a:extLst>
            </p:cNvPr>
            <p:cNvSpPr/>
            <p:nvPr/>
          </p:nvSpPr>
          <p:spPr>
            <a:xfrm rot="8716295">
              <a:off x="617423" y="161518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271ACC1B-5BC1-4C90-8744-187E477874EA}"/>
                </a:ext>
              </a:extLst>
            </p:cNvPr>
            <p:cNvSpPr/>
            <p:nvPr/>
          </p:nvSpPr>
          <p:spPr>
            <a:xfrm rot="8716295">
              <a:off x="428376" y="129935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09A9FE1D-6CB8-4187-8C52-59F1BA866B08}"/>
                </a:ext>
              </a:extLst>
            </p:cNvPr>
            <p:cNvSpPr/>
            <p:nvPr/>
          </p:nvSpPr>
          <p:spPr>
            <a:xfrm rot="8716295">
              <a:off x="410135" y="1089302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orme libre : forme 58">
              <a:extLst>
                <a:ext uri="{FF2B5EF4-FFF2-40B4-BE49-F238E27FC236}">
                  <a16:creationId xmlns:a16="http://schemas.microsoft.com/office/drawing/2014/main" id="{536CBB26-493E-4AF3-B817-10984C95D957}"/>
                </a:ext>
              </a:extLst>
            </p:cNvPr>
            <p:cNvSpPr/>
            <p:nvPr/>
          </p:nvSpPr>
          <p:spPr>
            <a:xfrm rot="8716295">
              <a:off x="753911" y="1677170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orme libre : forme 59">
              <a:extLst>
                <a:ext uri="{FF2B5EF4-FFF2-40B4-BE49-F238E27FC236}">
                  <a16:creationId xmlns:a16="http://schemas.microsoft.com/office/drawing/2014/main" id="{945CA62F-9E79-459F-9A9E-98D352B7F4FC}"/>
                </a:ext>
              </a:extLst>
            </p:cNvPr>
            <p:cNvSpPr/>
            <p:nvPr/>
          </p:nvSpPr>
          <p:spPr>
            <a:xfrm rot="8716295">
              <a:off x="1224858" y="1102556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orme libre : forme 60">
              <a:extLst>
                <a:ext uri="{FF2B5EF4-FFF2-40B4-BE49-F238E27FC236}">
                  <a16:creationId xmlns:a16="http://schemas.microsoft.com/office/drawing/2014/main" id="{369C3DB8-F103-4448-B156-2B184240310A}"/>
                </a:ext>
              </a:extLst>
            </p:cNvPr>
            <p:cNvSpPr/>
            <p:nvPr/>
          </p:nvSpPr>
          <p:spPr>
            <a:xfrm rot="8716295">
              <a:off x="1360156" y="1146815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orme libre : forme 61">
              <a:extLst>
                <a:ext uri="{FF2B5EF4-FFF2-40B4-BE49-F238E27FC236}">
                  <a16:creationId xmlns:a16="http://schemas.microsoft.com/office/drawing/2014/main" id="{18E1EF68-3C34-4AED-A042-F974F305FFA4}"/>
                </a:ext>
              </a:extLst>
            </p:cNvPr>
            <p:cNvSpPr/>
            <p:nvPr/>
          </p:nvSpPr>
          <p:spPr>
            <a:xfrm rot="8716295">
              <a:off x="1054986" y="123657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orme libre : forme 62">
              <a:extLst>
                <a:ext uri="{FF2B5EF4-FFF2-40B4-BE49-F238E27FC236}">
                  <a16:creationId xmlns:a16="http://schemas.microsoft.com/office/drawing/2014/main" id="{E6940BAB-7063-447D-9788-7A9EFB3FD540}"/>
                </a:ext>
              </a:extLst>
            </p:cNvPr>
            <p:cNvSpPr/>
            <p:nvPr/>
          </p:nvSpPr>
          <p:spPr>
            <a:xfrm rot="8716295">
              <a:off x="865942" y="92073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orme libre : forme 63">
              <a:extLst>
                <a:ext uri="{FF2B5EF4-FFF2-40B4-BE49-F238E27FC236}">
                  <a16:creationId xmlns:a16="http://schemas.microsoft.com/office/drawing/2014/main" id="{ACE5BF6F-DB4B-42E3-B1BA-145CDB9C3DF9}"/>
                </a:ext>
              </a:extLst>
            </p:cNvPr>
            <p:cNvSpPr/>
            <p:nvPr/>
          </p:nvSpPr>
          <p:spPr>
            <a:xfrm rot="8716295">
              <a:off x="1191475" y="1298554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orme libre : forme 64">
              <a:extLst>
                <a:ext uri="{FF2B5EF4-FFF2-40B4-BE49-F238E27FC236}">
                  <a16:creationId xmlns:a16="http://schemas.microsoft.com/office/drawing/2014/main" id="{652E743A-00B8-433E-B55D-34BA48EAC5CE}"/>
                </a:ext>
              </a:extLst>
            </p:cNvPr>
            <p:cNvSpPr/>
            <p:nvPr/>
          </p:nvSpPr>
          <p:spPr>
            <a:xfrm rot="8716295">
              <a:off x="826028" y="1072128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orme libre : forme 65">
              <a:extLst>
                <a:ext uri="{FF2B5EF4-FFF2-40B4-BE49-F238E27FC236}">
                  <a16:creationId xmlns:a16="http://schemas.microsoft.com/office/drawing/2014/main" id="{BACD1396-4989-4CCD-AB4F-6277B1FA025D}"/>
                </a:ext>
              </a:extLst>
            </p:cNvPr>
            <p:cNvSpPr/>
            <p:nvPr/>
          </p:nvSpPr>
          <p:spPr>
            <a:xfrm rot="7484129">
              <a:off x="1350292" y="158817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orme libre : forme 66">
              <a:extLst>
                <a:ext uri="{FF2B5EF4-FFF2-40B4-BE49-F238E27FC236}">
                  <a16:creationId xmlns:a16="http://schemas.microsoft.com/office/drawing/2014/main" id="{F1575DA2-DE7C-4BAF-AFB3-D8ACAD3FE8BB}"/>
                </a:ext>
              </a:extLst>
            </p:cNvPr>
            <p:cNvSpPr/>
            <p:nvPr/>
          </p:nvSpPr>
          <p:spPr>
            <a:xfrm rot="13089394">
              <a:off x="1508942" y="1537520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3D5C7C03-0DD7-4CE0-B323-2DBC8A33D724}"/>
                </a:ext>
              </a:extLst>
            </p:cNvPr>
            <p:cNvSpPr/>
            <p:nvPr/>
          </p:nvSpPr>
          <p:spPr>
            <a:xfrm rot="8716295">
              <a:off x="1789833" y="1247402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orme libre : forme 68">
              <a:extLst>
                <a:ext uri="{FF2B5EF4-FFF2-40B4-BE49-F238E27FC236}">
                  <a16:creationId xmlns:a16="http://schemas.microsoft.com/office/drawing/2014/main" id="{2A0940B5-3257-4C64-A206-488AFE286994}"/>
                </a:ext>
              </a:extLst>
            </p:cNvPr>
            <p:cNvSpPr/>
            <p:nvPr/>
          </p:nvSpPr>
          <p:spPr>
            <a:xfrm rot="8716295">
              <a:off x="1711424" y="109061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orme libre : forme 69">
              <a:extLst>
                <a:ext uri="{FF2B5EF4-FFF2-40B4-BE49-F238E27FC236}">
                  <a16:creationId xmlns:a16="http://schemas.microsoft.com/office/drawing/2014/main" id="{3166A607-68F9-4F3F-A5ED-4FA937BEECD1}"/>
                </a:ext>
              </a:extLst>
            </p:cNvPr>
            <p:cNvSpPr/>
            <p:nvPr/>
          </p:nvSpPr>
          <p:spPr>
            <a:xfrm rot="8716295">
              <a:off x="1343261" y="113635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orme libre : forme 70">
              <a:extLst>
                <a:ext uri="{FF2B5EF4-FFF2-40B4-BE49-F238E27FC236}">
                  <a16:creationId xmlns:a16="http://schemas.microsoft.com/office/drawing/2014/main" id="{E3E45D07-7F2E-45AC-8607-5306F45B7B5E}"/>
                </a:ext>
              </a:extLst>
            </p:cNvPr>
            <p:cNvSpPr/>
            <p:nvPr/>
          </p:nvSpPr>
          <p:spPr>
            <a:xfrm rot="8716295">
              <a:off x="1611842" y="89533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orme libre : forme 71">
              <a:extLst>
                <a:ext uri="{FF2B5EF4-FFF2-40B4-BE49-F238E27FC236}">
                  <a16:creationId xmlns:a16="http://schemas.microsoft.com/office/drawing/2014/main" id="{F61F2692-40B7-4A40-AE32-B2180297905C}"/>
                </a:ext>
              </a:extLst>
            </p:cNvPr>
            <p:cNvSpPr/>
            <p:nvPr/>
          </p:nvSpPr>
          <p:spPr>
            <a:xfrm rot="8716295">
              <a:off x="455920" y="47911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orme libre : forme 72">
              <a:extLst>
                <a:ext uri="{FF2B5EF4-FFF2-40B4-BE49-F238E27FC236}">
                  <a16:creationId xmlns:a16="http://schemas.microsoft.com/office/drawing/2014/main" id="{8D510AFD-E0B6-4C04-A231-06F0DA5461FE}"/>
                </a:ext>
              </a:extLst>
            </p:cNvPr>
            <p:cNvSpPr/>
            <p:nvPr/>
          </p:nvSpPr>
          <p:spPr>
            <a:xfrm rot="8716295">
              <a:off x="591219" y="52337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" name="Forme libre : forme 73">
              <a:extLst>
                <a:ext uri="{FF2B5EF4-FFF2-40B4-BE49-F238E27FC236}">
                  <a16:creationId xmlns:a16="http://schemas.microsoft.com/office/drawing/2014/main" id="{6B88DB4B-6413-485F-AD39-EF4AC1850A75}"/>
                </a:ext>
              </a:extLst>
            </p:cNvPr>
            <p:cNvSpPr/>
            <p:nvPr/>
          </p:nvSpPr>
          <p:spPr>
            <a:xfrm rot="8716295">
              <a:off x="523336" y="39278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" name="Forme libre : forme 74">
              <a:extLst>
                <a:ext uri="{FF2B5EF4-FFF2-40B4-BE49-F238E27FC236}">
                  <a16:creationId xmlns:a16="http://schemas.microsoft.com/office/drawing/2014/main" id="{985A4035-A707-4F38-A0C9-2533BF637BC9}"/>
                </a:ext>
              </a:extLst>
            </p:cNvPr>
            <p:cNvSpPr/>
            <p:nvPr/>
          </p:nvSpPr>
          <p:spPr>
            <a:xfrm rot="8716295">
              <a:off x="286049" y="6131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" name="Forme libre : forme 75">
              <a:extLst>
                <a:ext uri="{FF2B5EF4-FFF2-40B4-BE49-F238E27FC236}">
                  <a16:creationId xmlns:a16="http://schemas.microsoft.com/office/drawing/2014/main" id="{F8A46B91-F44C-4F7E-94A8-64349465DA46}"/>
                </a:ext>
              </a:extLst>
            </p:cNvPr>
            <p:cNvSpPr/>
            <p:nvPr/>
          </p:nvSpPr>
          <p:spPr>
            <a:xfrm rot="8716295">
              <a:off x="97003" y="2972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" name="Forme libre : forme 76">
              <a:extLst>
                <a:ext uri="{FF2B5EF4-FFF2-40B4-BE49-F238E27FC236}">
                  <a16:creationId xmlns:a16="http://schemas.microsoft.com/office/drawing/2014/main" id="{D98B2AD3-F200-4E21-B245-12CF6B31E044}"/>
                </a:ext>
              </a:extLst>
            </p:cNvPr>
            <p:cNvSpPr/>
            <p:nvPr/>
          </p:nvSpPr>
          <p:spPr>
            <a:xfrm rot="8716295">
              <a:off x="78761" y="87249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" name="Forme libre : forme 77">
              <a:extLst>
                <a:ext uri="{FF2B5EF4-FFF2-40B4-BE49-F238E27FC236}">
                  <a16:creationId xmlns:a16="http://schemas.microsoft.com/office/drawing/2014/main" id="{31F62124-299F-4960-8825-F200F77E89B1}"/>
                </a:ext>
              </a:extLst>
            </p:cNvPr>
            <p:cNvSpPr/>
            <p:nvPr/>
          </p:nvSpPr>
          <p:spPr>
            <a:xfrm rot="8716295">
              <a:off x="422537" y="67511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orme libre : forme 78">
              <a:extLst>
                <a:ext uri="{FF2B5EF4-FFF2-40B4-BE49-F238E27FC236}">
                  <a16:creationId xmlns:a16="http://schemas.microsoft.com/office/drawing/2014/main" id="{EE39F313-B670-444A-981C-E127C24D857F}"/>
                </a:ext>
              </a:extLst>
            </p:cNvPr>
            <p:cNvSpPr/>
            <p:nvPr/>
          </p:nvSpPr>
          <p:spPr>
            <a:xfrm rot="8716295">
              <a:off x="893484" y="10050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Forme libre : forme 79">
              <a:extLst>
                <a:ext uri="{FF2B5EF4-FFF2-40B4-BE49-F238E27FC236}">
                  <a16:creationId xmlns:a16="http://schemas.microsoft.com/office/drawing/2014/main" id="{9BFFA7AA-3FAD-4A4D-BF99-76B00FB2C288}"/>
                </a:ext>
              </a:extLst>
            </p:cNvPr>
            <p:cNvSpPr/>
            <p:nvPr/>
          </p:nvSpPr>
          <p:spPr>
            <a:xfrm rot="8716295">
              <a:off x="1028783" y="14476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" name="Forme libre : forme 80">
              <a:extLst>
                <a:ext uri="{FF2B5EF4-FFF2-40B4-BE49-F238E27FC236}">
                  <a16:creationId xmlns:a16="http://schemas.microsoft.com/office/drawing/2014/main" id="{1433DBAF-4AFA-4A86-A99F-428DB317C17F}"/>
                </a:ext>
              </a:extLst>
            </p:cNvPr>
            <p:cNvSpPr/>
            <p:nvPr/>
          </p:nvSpPr>
          <p:spPr>
            <a:xfrm rot="8716295">
              <a:off x="723613" y="23451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orme libre : forme 81">
              <a:extLst>
                <a:ext uri="{FF2B5EF4-FFF2-40B4-BE49-F238E27FC236}">
                  <a16:creationId xmlns:a16="http://schemas.microsoft.com/office/drawing/2014/main" id="{AF029D07-5D40-4341-9548-A67032BB1C77}"/>
                </a:ext>
              </a:extLst>
            </p:cNvPr>
            <p:cNvSpPr/>
            <p:nvPr/>
          </p:nvSpPr>
          <p:spPr>
            <a:xfrm rot="8716295">
              <a:off x="547803" y="-17289"/>
              <a:ext cx="308531" cy="226033"/>
            </a:xfrm>
            <a:custGeom>
              <a:avLst/>
              <a:gdLst>
                <a:gd name="connsiteX0" fmla="*/ 106716 w 203847"/>
                <a:gd name="connsiteY0" fmla="*/ 149340 h 149340"/>
                <a:gd name="connsiteX1" fmla="*/ 50038 w 203847"/>
                <a:gd name="connsiteY1" fmla="*/ 110053 h 149340"/>
                <a:gd name="connsiteX2" fmla="*/ 69777 w 203847"/>
                <a:gd name="connsiteY2" fmla="*/ 55323 h 149340"/>
                <a:gd name="connsiteX3" fmla="*/ 0 w 203847"/>
                <a:gd name="connsiteY3" fmla="*/ 55323 h 149340"/>
                <a:gd name="connsiteX4" fmla="*/ 0 w 203847"/>
                <a:gd name="connsiteY4" fmla="*/ 0 h 149340"/>
                <a:gd name="connsiteX5" fmla="*/ 203847 w 203847"/>
                <a:gd name="connsiteY5" fmla="*/ 0 h 149340"/>
                <a:gd name="connsiteX6" fmla="*/ 203847 w 203847"/>
                <a:gd name="connsiteY6" fmla="*/ 55323 h 149340"/>
                <a:gd name="connsiteX7" fmla="*/ 139055 w 203847"/>
                <a:gd name="connsiteY7" fmla="*/ 55323 h 14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49340">
                  <a:moveTo>
                    <a:pt x="106716" y="149340"/>
                  </a:moveTo>
                  <a:lnTo>
                    <a:pt x="50038" y="110053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Forme libre : forme 82">
              <a:extLst>
                <a:ext uri="{FF2B5EF4-FFF2-40B4-BE49-F238E27FC236}">
                  <a16:creationId xmlns:a16="http://schemas.microsoft.com/office/drawing/2014/main" id="{2932702E-E8E3-46BA-A87E-0ED0BC303BF9}"/>
                </a:ext>
              </a:extLst>
            </p:cNvPr>
            <p:cNvSpPr/>
            <p:nvPr/>
          </p:nvSpPr>
          <p:spPr>
            <a:xfrm rot="8716295">
              <a:off x="860101" y="29650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4" name="Forme libre : forme 83">
              <a:extLst>
                <a:ext uri="{FF2B5EF4-FFF2-40B4-BE49-F238E27FC236}">
                  <a16:creationId xmlns:a16="http://schemas.microsoft.com/office/drawing/2014/main" id="{69A563A2-99F0-4626-A5AF-E9AD22DC8484}"/>
                </a:ext>
              </a:extLst>
            </p:cNvPr>
            <p:cNvSpPr/>
            <p:nvPr/>
          </p:nvSpPr>
          <p:spPr>
            <a:xfrm rot="8716295">
              <a:off x="494655" y="7007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5" name="Forme libre : forme 84">
              <a:extLst>
                <a:ext uri="{FF2B5EF4-FFF2-40B4-BE49-F238E27FC236}">
                  <a16:creationId xmlns:a16="http://schemas.microsoft.com/office/drawing/2014/main" id="{B18A375D-EEA2-4D9B-96D1-D4924AE08EC7}"/>
                </a:ext>
              </a:extLst>
            </p:cNvPr>
            <p:cNvSpPr/>
            <p:nvPr/>
          </p:nvSpPr>
          <p:spPr>
            <a:xfrm rot="7484129">
              <a:off x="1018919" y="58611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6" name="Forme libre : forme 85">
              <a:extLst>
                <a:ext uri="{FF2B5EF4-FFF2-40B4-BE49-F238E27FC236}">
                  <a16:creationId xmlns:a16="http://schemas.microsoft.com/office/drawing/2014/main" id="{7717CD41-705F-4F28-B88E-73D27DF645C8}"/>
                </a:ext>
              </a:extLst>
            </p:cNvPr>
            <p:cNvSpPr/>
            <p:nvPr/>
          </p:nvSpPr>
          <p:spPr>
            <a:xfrm rot="13089394">
              <a:off x="1177568" y="53546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7" name="Forme libre : forme 86">
              <a:extLst>
                <a:ext uri="{FF2B5EF4-FFF2-40B4-BE49-F238E27FC236}">
                  <a16:creationId xmlns:a16="http://schemas.microsoft.com/office/drawing/2014/main" id="{285D68BE-9E3D-4F4C-AC96-578345571AC5}"/>
                </a:ext>
              </a:extLst>
            </p:cNvPr>
            <p:cNvSpPr/>
            <p:nvPr/>
          </p:nvSpPr>
          <p:spPr>
            <a:xfrm rot="8716295">
              <a:off x="1458459" y="24534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8" name="Forme libre : forme 87">
              <a:extLst>
                <a:ext uri="{FF2B5EF4-FFF2-40B4-BE49-F238E27FC236}">
                  <a16:creationId xmlns:a16="http://schemas.microsoft.com/office/drawing/2014/main" id="{83EDC7AF-2352-4CD0-B767-0567B99FAECC}"/>
                </a:ext>
              </a:extLst>
            </p:cNvPr>
            <p:cNvSpPr/>
            <p:nvPr/>
          </p:nvSpPr>
          <p:spPr>
            <a:xfrm rot="8716295">
              <a:off x="1380050" y="8855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9" name="Forme libre : forme 88">
              <a:extLst>
                <a:ext uri="{FF2B5EF4-FFF2-40B4-BE49-F238E27FC236}">
                  <a16:creationId xmlns:a16="http://schemas.microsoft.com/office/drawing/2014/main" id="{E853F8BE-90D5-4EB8-BCC9-E92102CA6DFE}"/>
                </a:ext>
              </a:extLst>
            </p:cNvPr>
            <p:cNvSpPr/>
            <p:nvPr/>
          </p:nvSpPr>
          <p:spPr>
            <a:xfrm rot="8716295">
              <a:off x="1011887" y="13429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" name="Forme libre : forme 89">
              <a:extLst>
                <a:ext uri="{FF2B5EF4-FFF2-40B4-BE49-F238E27FC236}">
                  <a16:creationId xmlns:a16="http://schemas.microsoft.com/office/drawing/2014/main" id="{42758375-22F2-40F5-8D40-436514F398B4}"/>
                </a:ext>
              </a:extLst>
            </p:cNvPr>
            <p:cNvSpPr/>
            <p:nvPr/>
          </p:nvSpPr>
          <p:spPr>
            <a:xfrm rot="8716295">
              <a:off x="1291652" y="-36449"/>
              <a:ext cx="134197" cy="106947"/>
            </a:xfrm>
            <a:custGeom>
              <a:avLst/>
              <a:gdLst>
                <a:gd name="connsiteX0" fmla="*/ 83649 w 88664"/>
                <a:gd name="connsiteY0" fmla="*/ 70660 h 70660"/>
                <a:gd name="connsiteX1" fmla="*/ 0 w 88664"/>
                <a:gd name="connsiteY1" fmla="*/ 12677 h 70660"/>
                <a:gd name="connsiteX2" fmla="*/ 30024 w 88664"/>
                <a:gd name="connsiteY2" fmla="*/ 0 h 70660"/>
                <a:gd name="connsiteX3" fmla="*/ 71417 w 88664"/>
                <a:gd name="connsiteY3" fmla="*/ 17477 h 70660"/>
                <a:gd name="connsiteX4" fmla="*/ 88664 w 88664"/>
                <a:gd name="connsiteY4" fmla="*/ 58525 h 70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664" h="70660">
                  <a:moveTo>
                    <a:pt x="83649" y="70660"/>
                  </a:moveTo>
                  <a:lnTo>
                    <a:pt x="0" y="12677"/>
                  </a:lnTo>
                  <a:lnTo>
                    <a:pt x="30024" y="0"/>
                  </a:lnTo>
                  <a:cubicBezTo>
                    <a:pt x="45662" y="0"/>
                    <a:pt x="60379" y="6439"/>
                    <a:pt x="71417" y="17477"/>
                  </a:cubicBezTo>
                  <a:cubicBezTo>
                    <a:pt x="82915" y="28515"/>
                    <a:pt x="88664" y="43462"/>
                    <a:pt x="88664" y="58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" name="Forme libre : forme 90">
              <a:extLst>
                <a:ext uri="{FF2B5EF4-FFF2-40B4-BE49-F238E27FC236}">
                  <a16:creationId xmlns:a16="http://schemas.microsoft.com/office/drawing/2014/main" id="{39402522-16DA-4E11-927D-0744A887E931}"/>
                </a:ext>
              </a:extLst>
            </p:cNvPr>
            <p:cNvSpPr/>
            <p:nvPr/>
          </p:nvSpPr>
          <p:spPr>
            <a:xfrm rot="13089394">
              <a:off x="990163" y="-39748"/>
              <a:ext cx="111277" cy="115595"/>
            </a:xfrm>
            <a:custGeom>
              <a:avLst/>
              <a:gdLst>
                <a:gd name="connsiteX0" fmla="*/ 73521 w 73521"/>
                <a:gd name="connsiteY0" fmla="*/ 18609 h 76374"/>
                <a:gd name="connsiteX1" fmla="*/ 0 w 73521"/>
                <a:gd name="connsiteY1" fmla="*/ 76374 h 76374"/>
                <a:gd name="connsiteX2" fmla="*/ 0 w 73521"/>
                <a:gd name="connsiteY2" fmla="*/ 38074 h 76374"/>
                <a:gd name="connsiteX3" fmla="*/ 73388 w 73521"/>
                <a:gd name="connsiteY3" fmla="*/ 0 h 7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521" h="76374">
                  <a:moveTo>
                    <a:pt x="73521" y="18609"/>
                  </a:moveTo>
                  <a:lnTo>
                    <a:pt x="0" y="76374"/>
                  </a:lnTo>
                  <a:lnTo>
                    <a:pt x="0" y="38074"/>
                  </a:lnTo>
                  <a:lnTo>
                    <a:pt x="7338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" name="Forme libre : forme 91">
              <a:extLst>
                <a:ext uri="{FF2B5EF4-FFF2-40B4-BE49-F238E27FC236}">
                  <a16:creationId xmlns:a16="http://schemas.microsoft.com/office/drawing/2014/main" id="{BA0CCCD1-A43A-4EDA-9AE2-2B760A750CB8}"/>
                </a:ext>
              </a:extLst>
            </p:cNvPr>
            <p:cNvSpPr/>
            <p:nvPr/>
          </p:nvSpPr>
          <p:spPr>
            <a:xfrm rot="8716295">
              <a:off x="121288" y="414134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" name="Forme libre : forme 92">
              <a:extLst>
                <a:ext uri="{FF2B5EF4-FFF2-40B4-BE49-F238E27FC236}">
                  <a16:creationId xmlns:a16="http://schemas.microsoft.com/office/drawing/2014/main" id="{B00F8218-3F51-4CFB-9D4D-4142207B942F}"/>
                </a:ext>
              </a:extLst>
            </p:cNvPr>
            <p:cNvSpPr/>
            <p:nvPr/>
          </p:nvSpPr>
          <p:spPr>
            <a:xfrm rot="8716295">
              <a:off x="256586" y="418560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" name="Forme libre : forme 93">
              <a:extLst>
                <a:ext uri="{FF2B5EF4-FFF2-40B4-BE49-F238E27FC236}">
                  <a16:creationId xmlns:a16="http://schemas.microsoft.com/office/drawing/2014/main" id="{59A33452-85A5-44B9-85E4-34DB64857691}"/>
                </a:ext>
              </a:extLst>
            </p:cNvPr>
            <p:cNvSpPr/>
            <p:nvPr/>
          </p:nvSpPr>
          <p:spPr>
            <a:xfrm rot="8716295">
              <a:off x="188704" y="405501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orme libre : forme 94">
              <a:extLst>
                <a:ext uri="{FF2B5EF4-FFF2-40B4-BE49-F238E27FC236}">
                  <a16:creationId xmlns:a16="http://schemas.microsoft.com/office/drawing/2014/main" id="{6EB29E53-18CD-42F3-9B37-2ECC6883F84C}"/>
                </a:ext>
              </a:extLst>
            </p:cNvPr>
            <p:cNvSpPr/>
            <p:nvPr/>
          </p:nvSpPr>
          <p:spPr>
            <a:xfrm rot="8716295">
              <a:off x="-22408" y="4278013"/>
              <a:ext cx="57413" cy="71926"/>
            </a:xfrm>
            <a:custGeom>
              <a:avLst/>
              <a:gdLst>
                <a:gd name="connsiteX0" fmla="*/ 11441 w 57413"/>
                <a:gd name="connsiteY0" fmla="*/ 71926 h 71926"/>
                <a:gd name="connsiteX1" fmla="*/ 0 w 57413"/>
                <a:gd name="connsiteY1" fmla="*/ 44829 h 71926"/>
                <a:gd name="connsiteX2" fmla="*/ 0 w 57413"/>
                <a:gd name="connsiteY2" fmla="*/ 44139 h 71926"/>
                <a:gd name="connsiteX3" fmla="*/ 13104 w 57413"/>
                <a:gd name="connsiteY3" fmla="*/ 13104 h 71926"/>
                <a:gd name="connsiteX4" fmla="*/ 44139 w 57413"/>
                <a:gd name="connsiteY4" fmla="*/ 0 h 71926"/>
                <a:gd name="connsiteX5" fmla="*/ 57413 w 57413"/>
                <a:gd name="connsiteY5" fmla="*/ 5605 h 71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413" h="71926">
                  <a:moveTo>
                    <a:pt x="11441" y="71926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lnTo>
                    <a:pt x="57413" y="5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Forme libre : forme 95">
              <a:extLst>
                <a:ext uri="{FF2B5EF4-FFF2-40B4-BE49-F238E27FC236}">
                  <a16:creationId xmlns:a16="http://schemas.microsoft.com/office/drawing/2014/main" id="{5DEA4AC8-B4A8-4210-932F-E61308CFB12D}"/>
                </a:ext>
              </a:extLst>
            </p:cNvPr>
            <p:cNvSpPr/>
            <p:nvPr/>
          </p:nvSpPr>
          <p:spPr>
            <a:xfrm rot="8716295">
              <a:off x="-36969" y="4107248"/>
              <a:ext cx="147272" cy="83734"/>
            </a:xfrm>
            <a:custGeom>
              <a:avLst/>
              <a:gdLst>
                <a:gd name="connsiteX0" fmla="*/ 0 w 147272"/>
                <a:gd name="connsiteY0" fmla="*/ 83734 h 83734"/>
                <a:gd name="connsiteX1" fmla="*/ 0 w 147272"/>
                <a:gd name="connsiteY1" fmla="*/ 0 h 83734"/>
                <a:gd name="connsiteX2" fmla="*/ 147272 w 147272"/>
                <a:gd name="connsiteY2" fmla="*/ 0 h 83734"/>
                <a:gd name="connsiteX3" fmla="*/ 89230 w 147272"/>
                <a:gd name="connsiteY3" fmla="*/ 83734 h 83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272" h="83734">
                  <a:moveTo>
                    <a:pt x="0" y="83734"/>
                  </a:moveTo>
                  <a:lnTo>
                    <a:pt x="0" y="0"/>
                  </a:lnTo>
                  <a:lnTo>
                    <a:pt x="147272" y="0"/>
                  </a:lnTo>
                  <a:lnTo>
                    <a:pt x="89230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" name="Forme libre : forme 96">
              <a:extLst>
                <a:ext uri="{FF2B5EF4-FFF2-40B4-BE49-F238E27FC236}">
                  <a16:creationId xmlns:a16="http://schemas.microsoft.com/office/drawing/2014/main" id="{B218914A-7EA1-40E4-B44A-2A3DBC972AF7}"/>
                </a:ext>
              </a:extLst>
            </p:cNvPr>
            <p:cNvSpPr/>
            <p:nvPr/>
          </p:nvSpPr>
          <p:spPr>
            <a:xfrm rot="8716295">
              <a:off x="43378" y="3712531"/>
              <a:ext cx="125537" cy="468763"/>
            </a:xfrm>
            <a:custGeom>
              <a:avLst/>
              <a:gdLst>
                <a:gd name="connsiteX0" fmla="*/ 29455 w 125537"/>
                <a:gd name="connsiteY0" fmla="*/ 468763 h 468763"/>
                <a:gd name="connsiteX1" fmla="*/ 7792 w 125537"/>
                <a:gd name="connsiteY1" fmla="*/ 425988 h 468763"/>
                <a:gd name="connsiteX2" fmla="*/ 0 w 125537"/>
                <a:gd name="connsiteY2" fmla="*/ 333043 h 468763"/>
                <a:gd name="connsiteX3" fmla="*/ 0 w 125537"/>
                <a:gd name="connsiteY3" fmla="*/ 61444 h 468763"/>
                <a:gd name="connsiteX4" fmla="*/ 118434 w 125537"/>
                <a:gd name="connsiteY4" fmla="*/ 0 h 468763"/>
                <a:gd name="connsiteX5" fmla="*/ 120216 w 125537"/>
                <a:gd name="connsiteY5" fmla="*/ 248447 h 468763"/>
                <a:gd name="connsiteX6" fmla="*/ 123889 w 125537"/>
                <a:gd name="connsiteY6" fmla="*/ 323359 h 468763"/>
                <a:gd name="connsiteX7" fmla="*/ 125537 w 125537"/>
                <a:gd name="connsiteY7" fmla="*/ 330150 h 468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537" h="468763">
                  <a:moveTo>
                    <a:pt x="29455" y="468763"/>
                  </a:moveTo>
                  <a:lnTo>
                    <a:pt x="7792" y="425988"/>
                  </a:lnTo>
                  <a:cubicBezTo>
                    <a:pt x="2003" y="400498"/>
                    <a:pt x="0" y="369553"/>
                    <a:pt x="0" y="333043"/>
                  </a:cubicBezTo>
                  <a:lnTo>
                    <a:pt x="0" y="61444"/>
                  </a:lnTo>
                  <a:lnTo>
                    <a:pt x="118434" y="0"/>
                  </a:lnTo>
                  <a:lnTo>
                    <a:pt x="120216" y="248447"/>
                  </a:lnTo>
                  <a:cubicBezTo>
                    <a:pt x="118880" y="273381"/>
                    <a:pt x="120216" y="298537"/>
                    <a:pt x="123889" y="323359"/>
                  </a:cubicBezTo>
                  <a:lnTo>
                    <a:pt x="125537" y="3301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" name="Forme libre : forme 97">
              <a:extLst>
                <a:ext uri="{FF2B5EF4-FFF2-40B4-BE49-F238E27FC236}">
                  <a16:creationId xmlns:a16="http://schemas.microsoft.com/office/drawing/2014/main" id="{B6F2924E-906C-4ED1-BF2D-C834372E14EF}"/>
                </a:ext>
              </a:extLst>
            </p:cNvPr>
            <p:cNvSpPr/>
            <p:nvPr/>
          </p:nvSpPr>
          <p:spPr>
            <a:xfrm rot="8716295">
              <a:off x="87905" y="4337347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" name="Forme libre : forme 98">
              <a:extLst>
                <a:ext uri="{FF2B5EF4-FFF2-40B4-BE49-F238E27FC236}">
                  <a16:creationId xmlns:a16="http://schemas.microsoft.com/office/drawing/2014/main" id="{0D75C9D9-5C3D-47E0-90AD-938F1B8E2F44}"/>
                </a:ext>
              </a:extLst>
            </p:cNvPr>
            <p:cNvSpPr/>
            <p:nvPr/>
          </p:nvSpPr>
          <p:spPr>
            <a:xfrm rot="8716295">
              <a:off x="558851" y="376273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orme libre : forme 99">
              <a:extLst>
                <a:ext uri="{FF2B5EF4-FFF2-40B4-BE49-F238E27FC236}">
                  <a16:creationId xmlns:a16="http://schemas.microsoft.com/office/drawing/2014/main" id="{FB753F16-18A9-4EF7-8A5C-AFE5FF2AAE20}"/>
                </a:ext>
              </a:extLst>
            </p:cNvPr>
            <p:cNvSpPr/>
            <p:nvPr/>
          </p:nvSpPr>
          <p:spPr>
            <a:xfrm rot="8716295">
              <a:off x="694150" y="380699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Forme libre : forme 100">
              <a:extLst>
                <a:ext uri="{FF2B5EF4-FFF2-40B4-BE49-F238E27FC236}">
                  <a16:creationId xmlns:a16="http://schemas.microsoft.com/office/drawing/2014/main" id="{3BF96335-BBEB-4DB5-9C46-1C3097EF0D59}"/>
                </a:ext>
              </a:extLst>
            </p:cNvPr>
            <p:cNvSpPr/>
            <p:nvPr/>
          </p:nvSpPr>
          <p:spPr>
            <a:xfrm rot="8716295">
              <a:off x="388980" y="389674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" name="Forme libre : forme 101">
              <a:extLst>
                <a:ext uri="{FF2B5EF4-FFF2-40B4-BE49-F238E27FC236}">
                  <a16:creationId xmlns:a16="http://schemas.microsoft.com/office/drawing/2014/main" id="{5E31C792-E11F-4ADA-B2CB-57C48077CBA4}"/>
                </a:ext>
              </a:extLst>
            </p:cNvPr>
            <p:cNvSpPr/>
            <p:nvPr/>
          </p:nvSpPr>
          <p:spPr>
            <a:xfrm rot="8716295">
              <a:off x="199936" y="358091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" name="Forme libre : forme 102">
              <a:extLst>
                <a:ext uri="{FF2B5EF4-FFF2-40B4-BE49-F238E27FC236}">
                  <a16:creationId xmlns:a16="http://schemas.microsoft.com/office/drawing/2014/main" id="{94FED6A4-8569-4EA9-A306-CB876E36FB03}"/>
                </a:ext>
              </a:extLst>
            </p:cNvPr>
            <p:cNvSpPr/>
            <p:nvPr/>
          </p:nvSpPr>
          <p:spPr>
            <a:xfrm rot="8716295">
              <a:off x="525469" y="3958731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" name="Forme libre : forme 103">
              <a:extLst>
                <a:ext uri="{FF2B5EF4-FFF2-40B4-BE49-F238E27FC236}">
                  <a16:creationId xmlns:a16="http://schemas.microsoft.com/office/drawing/2014/main" id="{980A1AA3-B52B-4C80-9AC4-D47CC78A5A3B}"/>
                </a:ext>
              </a:extLst>
            </p:cNvPr>
            <p:cNvSpPr/>
            <p:nvPr/>
          </p:nvSpPr>
          <p:spPr>
            <a:xfrm rot="8716295">
              <a:off x="160022" y="3732305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" name="Forme libre : forme 104">
              <a:extLst>
                <a:ext uri="{FF2B5EF4-FFF2-40B4-BE49-F238E27FC236}">
                  <a16:creationId xmlns:a16="http://schemas.microsoft.com/office/drawing/2014/main" id="{C66003E5-2553-46E6-8D65-9CD33FAF8398}"/>
                </a:ext>
              </a:extLst>
            </p:cNvPr>
            <p:cNvSpPr/>
            <p:nvPr/>
          </p:nvSpPr>
          <p:spPr>
            <a:xfrm rot="7484129">
              <a:off x="684286" y="424834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" name="Forme libre : forme 105">
              <a:extLst>
                <a:ext uri="{FF2B5EF4-FFF2-40B4-BE49-F238E27FC236}">
                  <a16:creationId xmlns:a16="http://schemas.microsoft.com/office/drawing/2014/main" id="{A5156F8D-1CAA-4650-BC6D-5AD5CAA0A30F}"/>
                </a:ext>
              </a:extLst>
            </p:cNvPr>
            <p:cNvSpPr/>
            <p:nvPr/>
          </p:nvSpPr>
          <p:spPr>
            <a:xfrm rot="13089394">
              <a:off x="842936" y="4197697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" name="Forme libre : forme 106">
              <a:extLst>
                <a:ext uri="{FF2B5EF4-FFF2-40B4-BE49-F238E27FC236}">
                  <a16:creationId xmlns:a16="http://schemas.microsoft.com/office/drawing/2014/main" id="{7A0FA012-A668-45E7-9A04-80DC4066A5EA}"/>
                </a:ext>
              </a:extLst>
            </p:cNvPr>
            <p:cNvSpPr/>
            <p:nvPr/>
          </p:nvSpPr>
          <p:spPr>
            <a:xfrm rot="8716295">
              <a:off x="1123827" y="390757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" name="Forme libre : forme 107">
              <a:extLst>
                <a:ext uri="{FF2B5EF4-FFF2-40B4-BE49-F238E27FC236}">
                  <a16:creationId xmlns:a16="http://schemas.microsoft.com/office/drawing/2014/main" id="{DE4CA035-6173-48AD-BD1D-D7ED5F77A322}"/>
                </a:ext>
              </a:extLst>
            </p:cNvPr>
            <p:cNvSpPr/>
            <p:nvPr/>
          </p:nvSpPr>
          <p:spPr>
            <a:xfrm rot="8716295">
              <a:off x="1045418" y="375078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" name="Forme libre : forme 108">
              <a:extLst>
                <a:ext uri="{FF2B5EF4-FFF2-40B4-BE49-F238E27FC236}">
                  <a16:creationId xmlns:a16="http://schemas.microsoft.com/office/drawing/2014/main" id="{40E22C8F-9A2F-4D96-8E60-B4FAE9625F7E}"/>
                </a:ext>
              </a:extLst>
            </p:cNvPr>
            <p:cNvSpPr/>
            <p:nvPr/>
          </p:nvSpPr>
          <p:spPr>
            <a:xfrm rot="8716295">
              <a:off x="677254" y="379652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" name="Forme libre : forme 109">
              <a:extLst>
                <a:ext uri="{FF2B5EF4-FFF2-40B4-BE49-F238E27FC236}">
                  <a16:creationId xmlns:a16="http://schemas.microsoft.com/office/drawing/2014/main" id="{0FB9706E-9855-492B-8609-A2F256591A28}"/>
                </a:ext>
              </a:extLst>
            </p:cNvPr>
            <p:cNvSpPr/>
            <p:nvPr/>
          </p:nvSpPr>
          <p:spPr>
            <a:xfrm rot="8716295">
              <a:off x="945836" y="355550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" name="Forme libre : forme 110">
              <a:extLst>
                <a:ext uri="{FF2B5EF4-FFF2-40B4-BE49-F238E27FC236}">
                  <a16:creationId xmlns:a16="http://schemas.microsoft.com/office/drawing/2014/main" id="{ADF55B74-AC60-4155-92FA-4565710C9BFA}"/>
                </a:ext>
              </a:extLst>
            </p:cNvPr>
            <p:cNvSpPr/>
            <p:nvPr/>
          </p:nvSpPr>
          <p:spPr>
            <a:xfrm rot="8716295">
              <a:off x="601570" y="5027951"/>
              <a:ext cx="169680" cy="113030"/>
            </a:xfrm>
            <a:custGeom>
              <a:avLst/>
              <a:gdLst>
                <a:gd name="connsiteX0" fmla="*/ 8965 w 169680"/>
                <a:gd name="connsiteY0" fmla="*/ 113030 h 113030"/>
                <a:gd name="connsiteX1" fmla="*/ 0 w 169680"/>
                <a:gd name="connsiteY1" fmla="*/ 100616 h 113030"/>
                <a:gd name="connsiteX2" fmla="*/ 106933 w 169680"/>
                <a:gd name="connsiteY2" fmla="*/ 0 h 113030"/>
                <a:gd name="connsiteX3" fmla="*/ 169680 w 169680"/>
                <a:gd name="connsiteY3" fmla="*/ 43494 h 113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680" h="113030">
                  <a:moveTo>
                    <a:pt x="8965" y="113030"/>
                  </a:moveTo>
                  <a:lnTo>
                    <a:pt x="0" y="100616"/>
                  </a:lnTo>
                  <a:lnTo>
                    <a:pt x="106933" y="0"/>
                  </a:lnTo>
                  <a:lnTo>
                    <a:pt x="169680" y="434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" name="Forme libre : forme 111">
              <a:extLst>
                <a:ext uri="{FF2B5EF4-FFF2-40B4-BE49-F238E27FC236}">
                  <a16:creationId xmlns:a16="http://schemas.microsoft.com/office/drawing/2014/main" id="{DDFE2301-223D-4F62-87C3-BBD61CFA4AE0}"/>
                </a:ext>
              </a:extLst>
            </p:cNvPr>
            <p:cNvSpPr/>
            <p:nvPr/>
          </p:nvSpPr>
          <p:spPr>
            <a:xfrm rot="8716295">
              <a:off x="197311" y="4925365"/>
              <a:ext cx="194366" cy="296463"/>
            </a:xfrm>
            <a:custGeom>
              <a:avLst/>
              <a:gdLst>
                <a:gd name="connsiteX0" fmla="*/ 137293 w 194366"/>
                <a:gd name="connsiteY0" fmla="*/ 296463 h 296463"/>
                <a:gd name="connsiteX1" fmla="*/ 72418 w 194366"/>
                <a:gd name="connsiteY1" fmla="*/ 175766 h 296463"/>
                <a:gd name="connsiteX2" fmla="*/ 105610 w 194366"/>
                <a:gd name="connsiteY2" fmla="*/ 83734 h 296463"/>
                <a:gd name="connsiteX3" fmla="*/ 0 w 194366"/>
                <a:gd name="connsiteY3" fmla="*/ 83734 h 296463"/>
                <a:gd name="connsiteX4" fmla="*/ 0 w 194366"/>
                <a:gd name="connsiteY4" fmla="*/ 0 h 296463"/>
                <a:gd name="connsiteX5" fmla="*/ 6043 w 194366"/>
                <a:gd name="connsiteY5" fmla="*/ 0 h 296463"/>
                <a:gd name="connsiteX6" fmla="*/ 194366 w 194366"/>
                <a:gd name="connsiteY6" fmla="*/ 130539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4366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6043" y="0"/>
                  </a:lnTo>
                  <a:lnTo>
                    <a:pt x="194366" y="1305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" name="Forme libre : forme 112">
              <a:extLst>
                <a:ext uri="{FF2B5EF4-FFF2-40B4-BE49-F238E27FC236}">
                  <a16:creationId xmlns:a16="http://schemas.microsoft.com/office/drawing/2014/main" id="{3377FDF7-2BED-4403-9821-41A8059D732F}"/>
                </a:ext>
              </a:extLst>
            </p:cNvPr>
            <p:cNvSpPr/>
            <p:nvPr/>
          </p:nvSpPr>
          <p:spPr>
            <a:xfrm rot="8716295">
              <a:off x="73168" y="4745087"/>
              <a:ext cx="439901" cy="517329"/>
            </a:xfrm>
            <a:custGeom>
              <a:avLst/>
              <a:gdLst>
                <a:gd name="connsiteX0" fmla="*/ 38290 w 439901"/>
                <a:gd name="connsiteY0" fmla="*/ 472541 h 517329"/>
                <a:gd name="connsiteX1" fmla="*/ 0 w 439901"/>
                <a:gd name="connsiteY1" fmla="*/ 319377 h 517329"/>
                <a:gd name="connsiteX2" fmla="*/ 0 w 439901"/>
                <a:gd name="connsiteY2" fmla="*/ 47778 h 517329"/>
                <a:gd name="connsiteX3" fmla="*/ 92094 w 439901"/>
                <a:gd name="connsiteY3" fmla="*/ 0 h 517329"/>
                <a:gd name="connsiteX4" fmla="*/ 118664 w 439901"/>
                <a:gd name="connsiteY4" fmla="*/ 18418 h 517329"/>
                <a:gd name="connsiteX5" fmla="*/ 120216 w 439901"/>
                <a:gd name="connsiteY5" fmla="*/ 234781 h 517329"/>
                <a:gd name="connsiteX6" fmla="*/ 141587 w 439901"/>
                <a:gd name="connsiteY6" fmla="*/ 382603 h 517329"/>
                <a:gd name="connsiteX7" fmla="*/ 248446 w 439901"/>
                <a:gd name="connsiteY7" fmla="*/ 441375 h 517329"/>
                <a:gd name="connsiteX8" fmla="*/ 328589 w 439901"/>
                <a:gd name="connsiteY8" fmla="*/ 427127 h 517329"/>
                <a:gd name="connsiteX9" fmla="*/ 438120 w 439901"/>
                <a:gd name="connsiteY9" fmla="*/ 382603 h 517329"/>
                <a:gd name="connsiteX10" fmla="*/ 439901 w 439901"/>
                <a:gd name="connsiteY10" fmla="*/ 394178 h 517329"/>
                <a:gd name="connsiteX11" fmla="*/ 439901 w 439901"/>
                <a:gd name="connsiteY11" fmla="*/ 403083 h 517329"/>
                <a:gd name="connsiteX12" fmla="*/ 147821 w 439901"/>
                <a:gd name="connsiteY12" fmla="*/ 517066 h 517329"/>
                <a:gd name="connsiteX13" fmla="*/ 38290 w 439901"/>
                <a:gd name="connsiteY13" fmla="*/ 472541 h 517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9901" h="517329">
                  <a:moveTo>
                    <a:pt x="38290" y="472541"/>
                  </a:moveTo>
                  <a:cubicBezTo>
                    <a:pt x="8014" y="443156"/>
                    <a:pt x="0" y="392397"/>
                    <a:pt x="0" y="319377"/>
                  </a:cubicBezTo>
                  <a:lnTo>
                    <a:pt x="0" y="47778"/>
                  </a:lnTo>
                  <a:lnTo>
                    <a:pt x="92094" y="0"/>
                  </a:lnTo>
                  <a:lnTo>
                    <a:pt x="118664" y="18418"/>
                  </a:lnTo>
                  <a:lnTo>
                    <a:pt x="120216" y="234781"/>
                  </a:lnTo>
                  <a:cubicBezTo>
                    <a:pt x="117544" y="284648"/>
                    <a:pt x="125558" y="335406"/>
                    <a:pt x="141587" y="382603"/>
                  </a:cubicBezTo>
                  <a:cubicBezTo>
                    <a:pt x="155836" y="421784"/>
                    <a:pt x="192345" y="441375"/>
                    <a:pt x="248446" y="441375"/>
                  </a:cubicBezTo>
                  <a:cubicBezTo>
                    <a:pt x="276051" y="440484"/>
                    <a:pt x="302766" y="435141"/>
                    <a:pt x="328589" y="427127"/>
                  </a:cubicBezTo>
                  <a:cubicBezTo>
                    <a:pt x="365990" y="415550"/>
                    <a:pt x="402500" y="400412"/>
                    <a:pt x="438120" y="382603"/>
                  </a:cubicBezTo>
                  <a:cubicBezTo>
                    <a:pt x="439010" y="386164"/>
                    <a:pt x="439901" y="390616"/>
                    <a:pt x="439901" y="394178"/>
                  </a:cubicBezTo>
                  <a:lnTo>
                    <a:pt x="439901" y="403083"/>
                  </a:lnTo>
                  <a:cubicBezTo>
                    <a:pt x="345509" y="484118"/>
                    <a:pt x="221731" y="512614"/>
                    <a:pt x="147821" y="517066"/>
                  </a:cubicBezTo>
                  <a:cubicBezTo>
                    <a:pt x="106859" y="519738"/>
                    <a:pt x="66787" y="501928"/>
                    <a:pt x="38290" y="47254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" name="Forme libre : forme 113">
              <a:extLst>
                <a:ext uri="{FF2B5EF4-FFF2-40B4-BE49-F238E27FC236}">
                  <a16:creationId xmlns:a16="http://schemas.microsoft.com/office/drawing/2014/main" id="{B93DC94C-820F-4572-BF0C-6383E8E9C877}"/>
                </a:ext>
              </a:extLst>
            </p:cNvPr>
            <p:cNvSpPr/>
            <p:nvPr/>
          </p:nvSpPr>
          <p:spPr>
            <a:xfrm rot="8716295">
              <a:off x="896624" y="4761216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" name="Forme libre : forme 114">
              <a:extLst>
                <a:ext uri="{FF2B5EF4-FFF2-40B4-BE49-F238E27FC236}">
                  <a16:creationId xmlns:a16="http://schemas.microsoft.com/office/drawing/2014/main" id="{46905971-2CA6-4786-88F6-6625CD1AC045}"/>
                </a:ext>
              </a:extLst>
            </p:cNvPr>
            <p:cNvSpPr/>
            <p:nvPr/>
          </p:nvSpPr>
          <p:spPr>
            <a:xfrm rot="8716295">
              <a:off x="1032483" y="4799006"/>
              <a:ext cx="389853" cy="383455"/>
            </a:xfrm>
            <a:custGeom>
              <a:avLst/>
              <a:gdLst>
                <a:gd name="connsiteX0" fmla="*/ 77932 w 389853"/>
                <a:gd name="connsiteY0" fmla="*/ 383455 h 383455"/>
                <a:gd name="connsiteX1" fmla="*/ 77932 w 389853"/>
                <a:gd name="connsiteY1" fmla="*/ 66898 h 383455"/>
                <a:gd name="connsiteX2" fmla="*/ 0 w 389853"/>
                <a:gd name="connsiteY2" fmla="*/ 66898 h 383455"/>
                <a:gd name="connsiteX3" fmla="*/ 0 w 389853"/>
                <a:gd name="connsiteY3" fmla="*/ 0 h 383455"/>
                <a:gd name="connsiteX4" fmla="*/ 158623 w 389853"/>
                <a:gd name="connsiteY4" fmla="*/ 0 h 383455"/>
                <a:gd name="connsiteX5" fmla="*/ 158623 w 389853"/>
                <a:gd name="connsiteY5" fmla="*/ 111726 h 383455"/>
                <a:gd name="connsiteX6" fmla="*/ 160692 w 389853"/>
                <a:gd name="connsiteY6" fmla="*/ 111726 h 383455"/>
                <a:gd name="connsiteX7" fmla="*/ 192762 w 389853"/>
                <a:gd name="connsiteY7" fmla="*/ 39914 h 383455"/>
                <a:gd name="connsiteX8" fmla="*/ 216292 w 389853"/>
                <a:gd name="connsiteY8" fmla="*/ 20658 h 383455"/>
                <a:gd name="connsiteX9" fmla="*/ 389853 w 389853"/>
                <a:gd name="connsiteY9" fmla="*/ 140965 h 383455"/>
                <a:gd name="connsiteX10" fmla="*/ 300695 w 389853"/>
                <a:gd name="connsiteY10" fmla="*/ 146210 h 383455"/>
                <a:gd name="connsiteX11" fmla="*/ 300694 w 389853"/>
                <a:gd name="connsiteY11" fmla="*/ 121382 h 383455"/>
                <a:gd name="connsiteX12" fmla="*/ 249659 w 389853"/>
                <a:gd name="connsiteY12" fmla="*/ 58622 h 383455"/>
                <a:gd name="connsiteX13" fmla="*/ 168969 w 389853"/>
                <a:gd name="connsiteY13" fmla="*/ 191038 h 383455"/>
                <a:gd name="connsiteX14" fmla="*/ 168969 w 389853"/>
                <a:gd name="connsiteY14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9853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71727" y="78967"/>
                    <a:pt x="181555" y="56208"/>
                    <a:pt x="192762" y="39914"/>
                  </a:cubicBezTo>
                  <a:lnTo>
                    <a:pt x="216292" y="20658"/>
                  </a:lnTo>
                  <a:lnTo>
                    <a:pt x="389853" y="140965"/>
                  </a:lnTo>
                  <a:lnTo>
                    <a:pt x="300695" y="146210"/>
                  </a:lnTo>
                  <a:lnTo>
                    <a:pt x="300694" y="121382"/>
                  </a:lnTo>
                  <a:cubicBezTo>
                    <a:pt x="300695" y="84140"/>
                    <a:pt x="279315" y="58621"/>
                    <a:pt x="249659" y="58622"/>
                  </a:cubicBezTo>
                  <a:cubicBezTo>
                    <a:pt x="205521" y="58621"/>
                    <a:pt x="168969" y="117244"/>
                    <a:pt x="168969" y="191038"/>
                  </a:cubicBez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" name="Forme libre : forme 115">
              <a:extLst>
                <a:ext uri="{FF2B5EF4-FFF2-40B4-BE49-F238E27FC236}">
                  <a16:creationId xmlns:a16="http://schemas.microsoft.com/office/drawing/2014/main" id="{8E2B23B6-FA24-4ECF-865C-D4B85991FB2B}"/>
                </a:ext>
              </a:extLst>
            </p:cNvPr>
            <p:cNvSpPr/>
            <p:nvPr/>
          </p:nvSpPr>
          <p:spPr>
            <a:xfrm rot="8716295">
              <a:off x="726753" y="489523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" name="Forme libre : forme 116">
              <a:extLst>
                <a:ext uri="{FF2B5EF4-FFF2-40B4-BE49-F238E27FC236}">
                  <a16:creationId xmlns:a16="http://schemas.microsoft.com/office/drawing/2014/main" id="{068C5BF4-ACAC-42CE-AE54-FD21152507C1}"/>
                </a:ext>
              </a:extLst>
            </p:cNvPr>
            <p:cNvSpPr/>
            <p:nvPr/>
          </p:nvSpPr>
          <p:spPr>
            <a:xfrm rot="8716295">
              <a:off x="537709" y="457939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" name="Forme libre : forme 117">
              <a:extLst>
                <a:ext uri="{FF2B5EF4-FFF2-40B4-BE49-F238E27FC236}">
                  <a16:creationId xmlns:a16="http://schemas.microsoft.com/office/drawing/2014/main" id="{0ACBCA4F-4DCF-49D0-8A3E-C12DE7B45BF0}"/>
                </a:ext>
              </a:extLst>
            </p:cNvPr>
            <p:cNvSpPr/>
            <p:nvPr/>
          </p:nvSpPr>
          <p:spPr>
            <a:xfrm rot="8716295">
              <a:off x="826576" y="4988476"/>
              <a:ext cx="91035" cy="198648"/>
            </a:xfrm>
            <a:custGeom>
              <a:avLst/>
              <a:gdLst>
                <a:gd name="connsiteX0" fmla="*/ 91035 w 91035"/>
                <a:gd name="connsiteY0" fmla="*/ 198648 h 198648"/>
                <a:gd name="connsiteX1" fmla="*/ 0 w 91035"/>
                <a:gd name="connsiteY1" fmla="*/ 111060 h 198648"/>
                <a:gd name="connsiteX2" fmla="*/ 0 w 91035"/>
                <a:gd name="connsiteY2" fmla="*/ 0 h 198648"/>
                <a:gd name="connsiteX3" fmla="*/ 91035 w 91035"/>
                <a:gd name="connsiteY3" fmla="*/ 63103 h 198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198648">
                  <a:moveTo>
                    <a:pt x="91035" y="198648"/>
                  </a:moveTo>
                  <a:lnTo>
                    <a:pt x="0" y="111060"/>
                  </a:lnTo>
                  <a:lnTo>
                    <a:pt x="0" y="0"/>
                  </a:lnTo>
                  <a:lnTo>
                    <a:pt x="91035" y="631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" name="Forme libre : forme 118">
              <a:extLst>
                <a:ext uri="{FF2B5EF4-FFF2-40B4-BE49-F238E27FC236}">
                  <a16:creationId xmlns:a16="http://schemas.microsoft.com/office/drawing/2014/main" id="{CF5DC784-7D69-46EA-A75B-D2ED877AA625}"/>
                </a:ext>
              </a:extLst>
            </p:cNvPr>
            <p:cNvSpPr/>
            <p:nvPr/>
          </p:nvSpPr>
          <p:spPr>
            <a:xfrm rot="8716295">
              <a:off x="497795" y="4730788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" name="Forme libre : forme 119">
              <a:extLst>
                <a:ext uri="{FF2B5EF4-FFF2-40B4-BE49-F238E27FC236}">
                  <a16:creationId xmlns:a16="http://schemas.microsoft.com/office/drawing/2014/main" id="{283C5FE9-EF8F-4940-9D13-7BC399536967}"/>
                </a:ext>
              </a:extLst>
            </p:cNvPr>
            <p:cNvSpPr/>
            <p:nvPr/>
          </p:nvSpPr>
          <p:spPr>
            <a:xfrm rot="8716295">
              <a:off x="1459248" y="4904357"/>
              <a:ext cx="328004" cy="223069"/>
            </a:xfrm>
            <a:custGeom>
              <a:avLst/>
              <a:gdLst>
                <a:gd name="connsiteX0" fmla="*/ 10574 w 328004"/>
                <a:gd name="connsiteY0" fmla="*/ 223069 h 223069"/>
                <a:gd name="connsiteX1" fmla="*/ 0 w 328004"/>
                <a:gd name="connsiteY1" fmla="*/ 208428 h 223069"/>
                <a:gd name="connsiteX2" fmla="*/ 192781 w 328004"/>
                <a:gd name="connsiteY2" fmla="*/ 27035 h 223069"/>
                <a:gd name="connsiteX3" fmla="*/ 227094 w 328004"/>
                <a:gd name="connsiteY3" fmla="*/ 0 h 223069"/>
                <a:gd name="connsiteX4" fmla="*/ 328004 w 328004"/>
                <a:gd name="connsiteY4" fmla="*/ 69948 h 223069"/>
                <a:gd name="connsiteX5" fmla="*/ 326080 w 328004"/>
                <a:gd name="connsiteY5" fmla="*/ 74925 h 223069"/>
                <a:gd name="connsiteX6" fmla="*/ 293645 w 328004"/>
                <a:gd name="connsiteY6" fmla="*/ 100243 h 223069"/>
                <a:gd name="connsiteX7" fmla="*/ 294458 w 328004"/>
                <a:gd name="connsiteY7" fmla="*/ 100243 h 223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8004" h="223069">
                  <a:moveTo>
                    <a:pt x="10574" y="223069"/>
                  </a:moveTo>
                  <a:lnTo>
                    <a:pt x="0" y="208428"/>
                  </a:lnTo>
                  <a:lnTo>
                    <a:pt x="192781" y="27035"/>
                  </a:lnTo>
                  <a:lnTo>
                    <a:pt x="227094" y="0"/>
                  </a:lnTo>
                  <a:lnTo>
                    <a:pt x="328004" y="69948"/>
                  </a:lnTo>
                  <a:lnTo>
                    <a:pt x="326080" y="74925"/>
                  </a:lnTo>
                  <a:cubicBezTo>
                    <a:pt x="317843" y="85805"/>
                    <a:pt x="306659" y="94549"/>
                    <a:pt x="293645" y="100243"/>
                  </a:cubicBezTo>
                  <a:lnTo>
                    <a:pt x="294458" y="10024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" name="Forme libre : forme 120">
              <a:extLst>
                <a:ext uri="{FF2B5EF4-FFF2-40B4-BE49-F238E27FC236}">
                  <a16:creationId xmlns:a16="http://schemas.microsoft.com/office/drawing/2014/main" id="{0B28DAC7-E1B5-4397-8312-3939C6181805}"/>
                </a:ext>
              </a:extLst>
            </p:cNvPr>
            <p:cNvSpPr/>
            <p:nvPr/>
          </p:nvSpPr>
          <p:spPr>
            <a:xfrm rot="8716295">
              <a:off x="1383191" y="474927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" name="Forme libre : forme 121">
              <a:extLst>
                <a:ext uri="{FF2B5EF4-FFF2-40B4-BE49-F238E27FC236}">
                  <a16:creationId xmlns:a16="http://schemas.microsoft.com/office/drawing/2014/main" id="{9B5900D5-EF58-45B1-849A-84D4EFAA76C9}"/>
                </a:ext>
              </a:extLst>
            </p:cNvPr>
            <p:cNvSpPr/>
            <p:nvPr/>
          </p:nvSpPr>
          <p:spPr>
            <a:xfrm rot="8716295">
              <a:off x="1015027" y="479501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" name="Forme libre : forme 122">
              <a:extLst>
                <a:ext uri="{FF2B5EF4-FFF2-40B4-BE49-F238E27FC236}">
                  <a16:creationId xmlns:a16="http://schemas.microsoft.com/office/drawing/2014/main" id="{31771F28-8680-4E6C-A8C1-BC66F7BF0BA9}"/>
                </a:ext>
              </a:extLst>
            </p:cNvPr>
            <p:cNvSpPr/>
            <p:nvPr/>
          </p:nvSpPr>
          <p:spPr>
            <a:xfrm rot="8716295">
              <a:off x="1283609" y="455399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" name="Forme libre : forme 123">
              <a:extLst>
                <a:ext uri="{FF2B5EF4-FFF2-40B4-BE49-F238E27FC236}">
                  <a16:creationId xmlns:a16="http://schemas.microsoft.com/office/drawing/2014/main" id="{AC2CE701-4BE3-4F79-917E-19B3C750B982}"/>
                </a:ext>
              </a:extLst>
            </p:cNvPr>
            <p:cNvSpPr/>
            <p:nvPr/>
          </p:nvSpPr>
          <p:spPr>
            <a:xfrm rot="8716295">
              <a:off x="-30381" y="3359388"/>
              <a:ext cx="98497" cy="75863"/>
            </a:xfrm>
            <a:custGeom>
              <a:avLst/>
              <a:gdLst>
                <a:gd name="connsiteX0" fmla="*/ 0 w 98497"/>
                <a:gd name="connsiteY0" fmla="*/ 75863 h 75863"/>
                <a:gd name="connsiteX1" fmla="*/ 0 w 98497"/>
                <a:gd name="connsiteY1" fmla="*/ 0 h 75863"/>
                <a:gd name="connsiteX2" fmla="*/ 98497 w 98497"/>
                <a:gd name="connsiteY2" fmla="*/ 0 h 75863"/>
                <a:gd name="connsiteX3" fmla="*/ 45911 w 98497"/>
                <a:gd name="connsiteY3" fmla="*/ 75863 h 75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497" h="75863">
                  <a:moveTo>
                    <a:pt x="0" y="75863"/>
                  </a:moveTo>
                  <a:lnTo>
                    <a:pt x="0" y="0"/>
                  </a:lnTo>
                  <a:lnTo>
                    <a:pt x="98497" y="0"/>
                  </a:lnTo>
                  <a:lnTo>
                    <a:pt x="45911" y="758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" name="Forme libre : forme 124">
              <a:extLst>
                <a:ext uri="{FF2B5EF4-FFF2-40B4-BE49-F238E27FC236}">
                  <a16:creationId xmlns:a16="http://schemas.microsoft.com/office/drawing/2014/main" id="{F4F0C1BC-FBE5-45A4-A80E-BAB3E52DE367}"/>
                </a:ext>
              </a:extLst>
            </p:cNvPr>
            <p:cNvSpPr/>
            <p:nvPr/>
          </p:nvSpPr>
          <p:spPr>
            <a:xfrm rot="8716295">
              <a:off x="-77334" y="3178477"/>
              <a:ext cx="389652" cy="385611"/>
            </a:xfrm>
            <a:custGeom>
              <a:avLst/>
              <a:gdLst>
                <a:gd name="connsiteX0" fmla="*/ 77932 w 389652"/>
                <a:gd name="connsiteY0" fmla="*/ 385611 h 385611"/>
                <a:gd name="connsiteX1" fmla="*/ 77932 w 389652"/>
                <a:gd name="connsiteY1" fmla="*/ 69054 h 385611"/>
                <a:gd name="connsiteX2" fmla="*/ 0 w 389652"/>
                <a:gd name="connsiteY2" fmla="*/ 69054 h 385611"/>
                <a:gd name="connsiteX3" fmla="*/ 0 w 389652"/>
                <a:gd name="connsiteY3" fmla="*/ 2156 h 385611"/>
                <a:gd name="connsiteX4" fmla="*/ 158623 w 389652"/>
                <a:gd name="connsiteY4" fmla="*/ 2156 h 385611"/>
                <a:gd name="connsiteX5" fmla="*/ 158623 w 389652"/>
                <a:gd name="connsiteY5" fmla="*/ 113882 h 385611"/>
                <a:gd name="connsiteX6" fmla="*/ 160692 w 389652"/>
                <a:gd name="connsiteY6" fmla="*/ 113882 h 385611"/>
                <a:gd name="connsiteX7" fmla="*/ 233107 w 389652"/>
                <a:gd name="connsiteY7" fmla="*/ 9053 h 385611"/>
                <a:gd name="connsiteX8" fmla="*/ 280694 w 389652"/>
                <a:gd name="connsiteY8" fmla="*/ 87 h 385611"/>
                <a:gd name="connsiteX9" fmla="*/ 364230 w 389652"/>
                <a:gd name="connsiteY9" fmla="*/ 34398 h 385611"/>
                <a:gd name="connsiteX10" fmla="*/ 389652 w 389652"/>
                <a:gd name="connsiteY10" fmla="*/ 117977 h 385611"/>
                <a:gd name="connsiteX11" fmla="*/ 371473 w 389652"/>
                <a:gd name="connsiteY11" fmla="*/ 144202 h 385611"/>
                <a:gd name="connsiteX12" fmla="*/ 300695 w 389652"/>
                <a:gd name="connsiteY12" fmla="*/ 148366 h 385611"/>
                <a:gd name="connsiteX13" fmla="*/ 300695 w 389652"/>
                <a:gd name="connsiteY13" fmla="*/ 123538 h 385611"/>
                <a:gd name="connsiteX14" fmla="*/ 249659 w 389652"/>
                <a:gd name="connsiteY14" fmla="*/ 60778 h 385611"/>
                <a:gd name="connsiteX15" fmla="*/ 168969 w 389652"/>
                <a:gd name="connsiteY15" fmla="*/ 193194 h 385611"/>
                <a:gd name="connsiteX16" fmla="*/ 168969 w 389652"/>
                <a:gd name="connsiteY16" fmla="*/ 323541 h 385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89652" h="385611">
                  <a:moveTo>
                    <a:pt x="77932" y="385611"/>
                  </a:moveTo>
                  <a:lnTo>
                    <a:pt x="77932" y="69054"/>
                  </a:lnTo>
                  <a:lnTo>
                    <a:pt x="0" y="69054"/>
                  </a:lnTo>
                  <a:lnTo>
                    <a:pt x="0" y="2156"/>
                  </a:lnTo>
                  <a:lnTo>
                    <a:pt x="158623" y="2156"/>
                  </a:lnTo>
                  <a:lnTo>
                    <a:pt x="158623" y="113882"/>
                  </a:lnTo>
                  <a:lnTo>
                    <a:pt x="160692" y="113882"/>
                  </a:lnTo>
                  <a:cubicBezTo>
                    <a:pt x="182762" y="48364"/>
                    <a:pt x="200003" y="22846"/>
                    <a:pt x="233107" y="9053"/>
                  </a:cubicBezTo>
                  <a:cubicBezTo>
                    <a:pt x="248280" y="2846"/>
                    <a:pt x="264142" y="-602"/>
                    <a:pt x="280694" y="87"/>
                  </a:cubicBezTo>
                  <a:cubicBezTo>
                    <a:pt x="316212" y="-603"/>
                    <a:pt x="344661" y="11466"/>
                    <a:pt x="364230" y="34398"/>
                  </a:cubicBezTo>
                  <a:lnTo>
                    <a:pt x="389652" y="117977"/>
                  </a:lnTo>
                  <a:lnTo>
                    <a:pt x="371473" y="144202"/>
                  </a:lnTo>
                  <a:lnTo>
                    <a:pt x="300695" y="148366"/>
                  </a:lnTo>
                  <a:lnTo>
                    <a:pt x="300695" y="123538"/>
                  </a:lnTo>
                  <a:cubicBezTo>
                    <a:pt x="300695" y="86296"/>
                    <a:pt x="279315" y="60778"/>
                    <a:pt x="249659" y="60778"/>
                  </a:cubicBezTo>
                  <a:cubicBezTo>
                    <a:pt x="205521" y="60778"/>
                    <a:pt x="168969" y="119400"/>
                    <a:pt x="168969" y="193194"/>
                  </a:cubicBezTo>
                  <a:lnTo>
                    <a:pt x="168969" y="3235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" name="Forme libre : forme 125">
              <a:extLst>
                <a:ext uri="{FF2B5EF4-FFF2-40B4-BE49-F238E27FC236}">
                  <a16:creationId xmlns:a16="http://schemas.microsoft.com/office/drawing/2014/main" id="{DD7E27D6-EDC4-4410-A8FD-B0AB28C9E1C2}"/>
                </a:ext>
              </a:extLst>
            </p:cNvPr>
            <p:cNvSpPr/>
            <p:nvPr/>
          </p:nvSpPr>
          <p:spPr>
            <a:xfrm rot="8716295">
              <a:off x="-71352" y="3029015"/>
              <a:ext cx="193594" cy="189959"/>
            </a:xfrm>
            <a:custGeom>
              <a:avLst/>
              <a:gdLst>
                <a:gd name="connsiteX0" fmla="*/ 8965 w 193594"/>
                <a:gd name="connsiteY0" fmla="*/ 189959 h 189959"/>
                <a:gd name="connsiteX1" fmla="*/ 0 w 193594"/>
                <a:gd name="connsiteY1" fmla="*/ 177545 h 189959"/>
                <a:gd name="connsiteX2" fmla="*/ 163451 w 193594"/>
                <a:gd name="connsiteY2" fmla="*/ 23749 h 189959"/>
                <a:gd name="connsiteX3" fmla="*/ 193594 w 193594"/>
                <a:gd name="connsiteY3" fmla="*/ 0 h 189959"/>
                <a:gd name="connsiteX4" fmla="*/ 84606 w 193594"/>
                <a:gd name="connsiteY4" fmla="*/ 157232 h 189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594" h="189959">
                  <a:moveTo>
                    <a:pt x="8965" y="189959"/>
                  </a:moveTo>
                  <a:lnTo>
                    <a:pt x="0" y="177545"/>
                  </a:lnTo>
                  <a:lnTo>
                    <a:pt x="163451" y="23749"/>
                  </a:lnTo>
                  <a:lnTo>
                    <a:pt x="193594" y="0"/>
                  </a:lnTo>
                  <a:lnTo>
                    <a:pt x="84606" y="15723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" name="Forme libre : forme 126">
              <a:extLst>
                <a:ext uri="{FF2B5EF4-FFF2-40B4-BE49-F238E27FC236}">
                  <a16:creationId xmlns:a16="http://schemas.microsoft.com/office/drawing/2014/main" id="{9053D84D-7FDB-4998-A81C-E5ABAA6EDE5E}"/>
                </a:ext>
              </a:extLst>
            </p:cNvPr>
            <p:cNvSpPr/>
            <p:nvPr/>
          </p:nvSpPr>
          <p:spPr>
            <a:xfrm rot="8716295">
              <a:off x="223574" y="276232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" name="Forme libre : forme 127">
              <a:extLst>
                <a:ext uri="{FF2B5EF4-FFF2-40B4-BE49-F238E27FC236}">
                  <a16:creationId xmlns:a16="http://schemas.microsoft.com/office/drawing/2014/main" id="{87AB580E-8F4B-47CD-9028-D46526078CE4}"/>
                </a:ext>
              </a:extLst>
            </p:cNvPr>
            <p:cNvSpPr/>
            <p:nvPr/>
          </p:nvSpPr>
          <p:spPr>
            <a:xfrm rot="8716295">
              <a:off x="358873" y="2806579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" name="Forme libre : forme 128">
              <a:extLst>
                <a:ext uri="{FF2B5EF4-FFF2-40B4-BE49-F238E27FC236}">
                  <a16:creationId xmlns:a16="http://schemas.microsoft.com/office/drawing/2014/main" id="{E19792CF-DDD1-4F4B-9682-435BC6CB8DED}"/>
                </a:ext>
              </a:extLst>
            </p:cNvPr>
            <p:cNvSpPr/>
            <p:nvPr/>
          </p:nvSpPr>
          <p:spPr>
            <a:xfrm rot="8716295">
              <a:off x="53703" y="2896335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" name="Forme libre : forme 129">
              <a:extLst>
                <a:ext uri="{FF2B5EF4-FFF2-40B4-BE49-F238E27FC236}">
                  <a16:creationId xmlns:a16="http://schemas.microsoft.com/office/drawing/2014/main" id="{BD0B65CA-A3C5-4B2A-8016-3FA0B6B241F4}"/>
                </a:ext>
              </a:extLst>
            </p:cNvPr>
            <p:cNvSpPr/>
            <p:nvPr/>
          </p:nvSpPr>
          <p:spPr>
            <a:xfrm rot="8716295">
              <a:off x="-92201" y="2622488"/>
              <a:ext cx="271732" cy="238722"/>
            </a:xfrm>
            <a:custGeom>
              <a:avLst/>
              <a:gdLst>
                <a:gd name="connsiteX0" fmla="*/ 106257 w 271732"/>
                <a:gd name="connsiteY0" fmla="*/ 238722 h 238722"/>
                <a:gd name="connsiteX1" fmla="*/ 72418 w 271732"/>
                <a:gd name="connsiteY1" fmla="*/ 175766 h 238722"/>
                <a:gd name="connsiteX2" fmla="*/ 105610 w 271732"/>
                <a:gd name="connsiteY2" fmla="*/ 83734 h 238722"/>
                <a:gd name="connsiteX3" fmla="*/ 0 w 271732"/>
                <a:gd name="connsiteY3" fmla="*/ 83734 h 238722"/>
                <a:gd name="connsiteX4" fmla="*/ 0 w 271732"/>
                <a:gd name="connsiteY4" fmla="*/ 0 h 238722"/>
                <a:gd name="connsiteX5" fmla="*/ 271732 w 271732"/>
                <a:gd name="connsiteY5" fmla="*/ 0 h 238722"/>
                <a:gd name="connsiteX6" fmla="*/ 213690 w 271732"/>
                <a:gd name="connsiteY6" fmla="*/ 83734 h 238722"/>
                <a:gd name="connsiteX7" fmla="*/ 210465 w 271732"/>
                <a:gd name="connsiteY7" fmla="*/ 83734 h 238722"/>
                <a:gd name="connsiteX8" fmla="*/ 207289 w 271732"/>
                <a:gd name="connsiteY8" fmla="*/ 92969 h 238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1732" h="238722">
                  <a:moveTo>
                    <a:pt x="106257" y="238722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71732" y="0"/>
                  </a:lnTo>
                  <a:lnTo>
                    <a:pt x="213690" y="83734"/>
                  </a:lnTo>
                  <a:lnTo>
                    <a:pt x="210465" y="83734"/>
                  </a:lnTo>
                  <a:lnTo>
                    <a:pt x="207289" y="929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" name="Forme libre : forme 130">
              <a:extLst>
                <a:ext uri="{FF2B5EF4-FFF2-40B4-BE49-F238E27FC236}">
                  <a16:creationId xmlns:a16="http://schemas.microsoft.com/office/drawing/2014/main" id="{A401047D-B75D-4F40-878E-D1BF52EA2F0E}"/>
                </a:ext>
              </a:extLst>
            </p:cNvPr>
            <p:cNvSpPr/>
            <p:nvPr/>
          </p:nvSpPr>
          <p:spPr>
            <a:xfrm rot="8716295">
              <a:off x="190192" y="2958318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" name="Forme libre : forme 131">
              <a:extLst>
                <a:ext uri="{FF2B5EF4-FFF2-40B4-BE49-F238E27FC236}">
                  <a16:creationId xmlns:a16="http://schemas.microsoft.com/office/drawing/2014/main" id="{0A764231-DFA5-45AC-9649-96FE00947629}"/>
                </a:ext>
              </a:extLst>
            </p:cNvPr>
            <p:cNvSpPr/>
            <p:nvPr/>
          </p:nvSpPr>
          <p:spPr>
            <a:xfrm rot="7484129">
              <a:off x="349009" y="324793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" name="Forme libre : forme 132">
              <a:extLst>
                <a:ext uri="{FF2B5EF4-FFF2-40B4-BE49-F238E27FC236}">
                  <a16:creationId xmlns:a16="http://schemas.microsoft.com/office/drawing/2014/main" id="{08367284-C420-422D-A59E-EC2B0D5CAF81}"/>
                </a:ext>
              </a:extLst>
            </p:cNvPr>
            <p:cNvSpPr/>
            <p:nvPr/>
          </p:nvSpPr>
          <p:spPr>
            <a:xfrm rot="13089394">
              <a:off x="507659" y="3197284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" name="Forme libre : forme 133">
              <a:extLst>
                <a:ext uri="{FF2B5EF4-FFF2-40B4-BE49-F238E27FC236}">
                  <a16:creationId xmlns:a16="http://schemas.microsoft.com/office/drawing/2014/main" id="{6E0CAE80-C507-4A7F-B64E-2B2322B07A4F}"/>
                </a:ext>
              </a:extLst>
            </p:cNvPr>
            <p:cNvSpPr/>
            <p:nvPr/>
          </p:nvSpPr>
          <p:spPr>
            <a:xfrm rot="8716295">
              <a:off x="788550" y="2907166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" name="Forme libre : forme 134">
              <a:extLst>
                <a:ext uri="{FF2B5EF4-FFF2-40B4-BE49-F238E27FC236}">
                  <a16:creationId xmlns:a16="http://schemas.microsoft.com/office/drawing/2014/main" id="{4935918E-F29D-4E02-AE1D-44610A8EABE6}"/>
                </a:ext>
              </a:extLst>
            </p:cNvPr>
            <p:cNvSpPr/>
            <p:nvPr/>
          </p:nvSpPr>
          <p:spPr>
            <a:xfrm rot="8716295">
              <a:off x="710141" y="275037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" name="Forme libre : forme 135">
              <a:extLst>
                <a:ext uri="{FF2B5EF4-FFF2-40B4-BE49-F238E27FC236}">
                  <a16:creationId xmlns:a16="http://schemas.microsoft.com/office/drawing/2014/main" id="{0186616C-3255-4138-99FF-17ACDEE12423}"/>
                </a:ext>
              </a:extLst>
            </p:cNvPr>
            <p:cNvSpPr/>
            <p:nvPr/>
          </p:nvSpPr>
          <p:spPr>
            <a:xfrm rot="8716295">
              <a:off x="341977" y="279611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" name="Forme libre : forme 136">
              <a:extLst>
                <a:ext uri="{FF2B5EF4-FFF2-40B4-BE49-F238E27FC236}">
                  <a16:creationId xmlns:a16="http://schemas.microsoft.com/office/drawing/2014/main" id="{00B7B22E-16FD-44D5-9219-31608DDFCC39}"/>
                </a:ext>
              </a:extLst>
            </p:cNvPr>
            <p:cNvSpPr/>
            <p:nvPr/>
          </p:nvSpPr>
          <p:spPr>
            <a:xfrm rot="8716295">
              <a:off x="610559" y="2555095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" name="Forme libre : forme 137">
              <a:extLst>
                <a:ext uri="{FF2B5EF4-FFF2-40B4-BE49-F238E27FC236}">
                  <a16:creationId xmlns:a16="http://schemas.microsoft.com/office/drawing/2014/main" id="{A6953B6D-6364-4054-88C6-74B273B65431}"/>
                </a:ext>
              </a:extLst>
            </p:cNvPr>
            <p:cNvSpPr/>
            <p:nvPr/>
          </p:nvSpPr>
          <p:spPr>
            <a:xfrm rot="8716295">
              <a:off x="-24305" y="2374348"/>
              <a:ext cx="58950" cy="66898"/>
            </a:xfrm>
            <a:custGeom>
              <a:avLst/>
              <a:gdLst>
                <a:gd name="connsiteX0" fmla="*/ 0 w 58950"/>
                <a:gd name="connsiteY0" fmla="*/ 66898 h 66898"/>
                <a:gd name="connsiteX1" fmla="*/ 0 w 58950"/>
                <a:gd name="connsiteY1" fmla="*/ 0 h 66898"/>
                <a:gd name="connsiteX2" fmla="*/ 58950 w 58950"/>
                <a:gd name="connsiteY2" fmla="*/ 0 h 66898"/>
                <a:gd name="connsiteX3" fmla="*/ 12579 w 58950"/>
                <a:gd name="connsiteY3" fmla="*/ 66898 h 6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950" h="66898">
                  <a:moveTo>
                    <a:pt x="0" y="66898"/>
                  </a:moveTo>
                  <a:lnTo>
                    <a:pt x="0" y="0"/>
                  </a:lnTo>
                  <a:lnTo>
                    <a:pt x="58950" y="0"/>
                  </a:lnTo>
                  <a:lnTo>
                    <a:pt x="12579" y="668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" name="Forme libre : forme 138">
              <a:extLst>
                <a:ext uri="{FF2B5EF4-FFF2-40B4-BE49-F238E27FC236}">
                  <a16:creationId xmlns:a16="http://schemas.microsoft.com/office/drawing/2014/main" id="{41AD4D21-E927-44C5-8A83-B759FDFF6D06}"/>
                </a:ext>
              </a:extLst>
            </p:cNvPr>
            <p:cNvSpPr/>
            <p:nvPr/>
          </p:nvSpPr>
          <p:spPr>
            <a:xfrm rot="8716295">
              <a:off x="-39593" y="1952072"/>
              <a:ext cx="198050" cy="140164"/>
            </a:xfrm>
            <a:custGeom>
              <a:avLst/>
              <a:gdLst>
                <a:gd name="connsiteX0" fmla="*/ 0 w 198050"/>
                <a:gd name="connsiteY0" fmla="*/ 75863 h 140164"/>
                <a:gd name="connsiteX1" fmla="*/ 0 w 198050"/>
                <a:gd name="connsiteY1" fmla="*/ 0 h 140164"/>
                <a:gd name="connsiteX2" fmla="*/ 128968 w 198050"/>
                <a:gd name="connsiteY2" fmla="*/ 0 h 140164"/>
                <a:gd name="connsiteX3" fmla="*/ 193021 w 198050"/>
                <a:gd name="connsiteY3" fmla="*/ 18535 h 140164"/>
                <a:gd name="connsiteX4" fmla="*/ 198050 w 198050"/>
                <a:gd name="connsiteY4" fmla="*/ 31548 h 140164"/>
                <a:gd name="connsiteX5" fmla="*/ 122761 w 198050"/>
                <a:gd name="connsiteY5" fmla="*/ 140164 h 140164"/>
                <a:gd name="connsiteX6" fmla="*/ 122761 w 198050"/>
                <a:gd name="connsiteY6" fmla="*/ 105519 h 140164"/>
                <a:gd name="connsiteX7" fmla="*/ 122761 w 198050"/>
                <a:gd name="connsiteY7" fmla="*/ 99312 h 140164"/>
                <a:gd name="connsiteX8" fmla="*/ 91726 w 198050"/>
                <a:gd name="connsiteY8" fmla="*/ 75863 h 140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8050" h="140164">
                  <a:moveTo>
                    <a:pt x="0" y="75863"/>
                  </a:moveTo>
                  <a:lnTo>
                    <a:pt x="0" y="0"/>
                  </a:lnTo>
                  <a:lnTo>
                    <a:pt x="128968" y="0"/>
                  </a:lnTo>
                  <a:cubicBezTo>
                    <a:pt x="156900" y="0"/>
                    <a:pt x="178452" y="6034"/>
                    <a:pt x="193021" y="18535"/>
                  </a:cubicBezTo>
                  <a:lnTo>
                    <a:pt x="198050" y="31548"/>
                  </a:lnTo>
                  <a:lnTo>
                    <a:pt x="122761" y="140164"/>
                  </a:ln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4"/>
                    <a:pt x="91726" y="758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" name="Forme libre : forme 139">
              <a:extLst>
                <a:ext uri="{FF2B5EF4-FFF2-40B4-BE49-F238E27FC236}">
                  <a16:creationId xmlns:a16="http://schemas.microsoft.com/office/drawing/2014/main" id="{B82C4F59-A689-41F2-8DD0-9745004AE675}"/>
                </a:ext>
              </a:extLst>
            </p:cNvPr>
            <p:cNvSpPr/>
            <p:nvPr/>
          </p:nvSpPr>
          <p:spPr>
            <a:xfrm rot="8716295">
              <a:off x="21100" y="1808096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" name="Forme libre : forme 140">
              <a:extLst>
                <a:ext uri="{FF2B5EF4-FFF2-40B4-BE49-F238E27FC236}">
                  <a16:creationId xmlns:a16="http://schemas.microsoft.com/office/drawing/2014/main" id="{FA2478B0-E5E2-4F32-8061-87C7FA11FBE0}"/>
                </a:ext>
              </a:extLst>
            </p:cNvPr>
            <p:cNvSpPr/>
            <p:nvPr/>
          </p:nvSpPr>
          <p:spPr>
            <a:xfrm rot="8716295">
              <a:off x="-24330" y="2197782"/>
              <a:ext cx="102508" cy="53362"/>
            </a:xfrm>
            <a:custGeom>
              <a:avLst/>
              <a:gdLst>
                <a:gd name="connsiteX0" fmla="*/ 0 w 102508"/>
                <a:gd name="connsiteY0" fmla="*/ 23637 h 53362"/>
                <a:gd name="connsiteX1" fmla="*/ 0 w 102508"/>
                <a:gd name="connsiteY1" fmla="*/ 2258 h 53362"/>
                <a:gd name="connsiteX2" fmla="*/ 102508 w 102508"/>
                <a:gd name="connsiteY2" fmla="*/ 0 h 53362"/>
                <a:gd name="connsiteX3" fmla="*/ 65519 w 102508"/>
                <a:gd name="connsiteY3" fmla="*/ 53362 h 53362"/>
                <a:gd name="connsiteX4" fmla="*/ 65519 w 102508"/>
                <a:gd name="connsiteY4" fmla="*/ 23637 h 5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508" h="53362">
                  <a:moveTo>
                    <a:pt x="0" y="23637"/>
                  </a:moveTo>
                  <a:lnTo>
                    <a:pt x="0" y="2258"/>
                  </a:lnTo>
                  <a:lnTo>
                    <a:pt x="102508" y="0"/>
                  </a:lnTo>
                  <a:lnTo>
                    <a:pt x="65519" y="53362"/>
                  </a:lnTo>
                  <a:lnTo>
                    <a:pt x="65519" y="2363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" name="Forme libre : forme 141">
              <a:extLst>
                <a:ext uri="{FF2B5EF4-FFF2-40B4-BE49-F238E27FC236}">
                  <a16:creationId xmlns:a16="http://schemas.microsoft.com/office/drawing/2014/main" id="{949053A5-7216-4B32-8AE1-A37ED2B2705A}"/>
                </a:ext>
              </a:extLst>
            </p:cNvPr>
            <p:cNvSpPr/>
            <p:nvPr/>
          </p:nvSpPr>
          <p:spPr>
            <a:xfrm rot="7484129">
              <a:off x="11236" y="224945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" name="Forme libre : forme 142">
              <a:extLst>
                <a:ext uri="{FF2B5EF4-FFF2-40B4-BE49-F238E27FC236}">
                  <a16:creationId xmlns:a16="http://schemas.microsoft.com/office/drawing/2014/main" id="{028B569C-B0FE-4A67-B111-B99F3950BB2A}"/>
                </a:ext>
              </a:extLst>
            </p:cNvPr>
            <p:cNvSpPr/>
            <p:nvPr/>
          </p:nvSpPr>
          <p:spPr>
            <a:xfrm rot="13089394">
              <a:off x="169886" y="2198801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4" name="Forme libre : forme 143">
              <a:extLst>
                <a:ext uri="{FF2B5EF4-FFF2-40B4-BE49-F238E27FC236}">
                  <a16:creationId xmlns:a16="http://schemas.microsoft.com/office/drawing/2014/main" id="{DDDAF86D-35C8-42A2-A70C-525D2D5475FD}"/>
                </a:ext>
              </a:extLst>
            </p:cNvPr>
            <p:cNvSpPr/>
            <p:nvPr/>
          </p:nvSpPr>
          <p:spPr>
            <a:xfrm rot="8716295">
              <a:off x="450777" y="1908683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5" name="Forme libre : forme 144">
              <a:extLst>
                <a:ext uri="{FF2B5EF4-FFF2-40B4-BE49-F238E27FC236}">
                  <a16:creationId xmlns:a16="http://schemas.microsoft.com/office/drawing/2014/main" id="{0456C75C-046A-4449-8D19-7B887B7670B6}"/>
                </a:ext>
              </a:extLst>
            </p:cNvPr>
            <p:cNvSpPr/>
            <p:nvPr/>
          </p:nvSpPr>
          <p:spPr>
            <a:xfrm rot="8716295">
              <a:off x="372368" y="175189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6" name="Forme libre : forme 145">
              <a:extLst>
                <a:ext uri="{FF2B5EF4-FFF2-40B4-BE49-F238E27FC236}">
                  <a16:creationId xmlns:a16="http://schemas.microsoft.com/office/drawing/2014/main" id="{9071FCAB-0728-4659-9A50-F1E4D3A34FCA}"/>
                </a:ext>
              </a:extLst>
            </p:cNvPr>
            <p:cNvSpPr/>
            <p:nvPr/>
          </p:nvSpPr>
          <p:spPr>
            <a:xfrm rot="8716295">
              <a:off x="4204" y="179763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7" name="Forme libre : forme 146">
              <a:extLst>
                <a:ext uri="{FF2B5EF4-FFF2-40B4-BE49-F238E27FC236}">
                  <a16:creationId xmlns:a16="http://schemas.microsoft.com/office/drawing/2014/main" id="{74F9CC45-BF7F-4E25-8F71-1BD6DA2F0E29}"/>
                </a:ext>
              </a:extLst>
            </p:cNvPr>
            <p:cNvSpPr/>
            <p:nvPr/>
          </p:nvSpPr>
          <p:spPr>
            <a:xfrm rot="8716295">
              <a:off x="272786" y="155661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8" name="Forme libre : forme 147">
              <a:extLst>
                <a:ext uri="{FF2B5EF4-FFF2-40B4-BE49-F238E27FC236}">
                  <a16:creationId xmlns:a16="http://schemas.microsoft.com/office/drawing/2014/main" id="{9BA7D72C-89C5-4ADB-A9D6-05B170E731F6}"/>
                </a:ext>
              </a:extLst>
            </p:cNvPr>
            <p:cNvSpPr/>
            <p:nvPr/>
          </p:nvSpPr>
          <p:spPr>
            <a:xfrm rot="8716295">
              <a:off x="-35149" y="938156"/>
              <a:ext cx="158623" cy="159016"/>
            </a:xfrm>
            <a:custGeom>
              <a:avLst/>
              <a:gdLst>
                <a:gd name="connsiteX0" fmla="*/ 77932 w 158623"/>
                <a:gd name="connsiteY0" fmla="*/ 159016 h 159016"/>
                <a:gd name="connsiteX1" fmla="*/ 77932 w 158623"/>
                <a:gd name="connsiteY1" fmla="*/ 66898 h 159016"/>
                <a:gd name="connsiteX2" fmla="*/ 0 w 158623"/>
                <a:gd name="connsiteY2" fmla="*/ 66898 h 159016"/>
                <a:gd name="connsiteX3" fmla="*/ 0 w 158623"/>
                <a:gd name="connsiteY3" fmla="*/ 0 h 159016"/>
                <a:gd name="connsiteX4" fmla="*/ 158623 w 158623"/>
                <a:gd name="connsiteY4" fmla="*/ 0 h 159016"/>
                <a:gd name="connsiteX5" fmla="*/ 158623 w 158623"/>
                <a:gd name="connsiteY5" fmla="*/ 42606 h 15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8623" h="159016">
                  <a:moveTo>
                    <a:pt x="77932" y="159016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4260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9" name="Forme libre : forme 148">
              <a:extLst>
                <a:ext uri="{FF2B5EF4-FFF2-40B4-BE49-F238E27FC236}">
                  <a16:creationId xmlns:a16="http://schemas.microsoft.com/office/drawing/2014/main" id="{049A796E-46A8-44F5-A685-EFE861D38A62}"/>
                </a:ext>
              </a:extLst>
            </p:cNvPr>
            <p:cNvSpPr/>
            <p:nvPr/>
          </p:nvSpPr>
          <p:spPr>
            <a:xfrm rot="7484129">
              <a:off x="-32979" y="1345537"/>
              <a:ext cx="65961" cy="45734"/>
            </a:xfrm>
            <a:custGeom>
              <a:avLst/>
              <a:gdLst>
                <a:gd name="connsiteX0" fmla="*/ 0 w 65961"/>
                <a:gd name="connsiteY0" fmla="*/ 45734 h 45734"/>
                <a:gd name="connsiteX1" fmla="*/ 0 w 65961"/>
                <a:gd name="connsiteY1" fmla="*/ 0 h 45734"/>
                <a:gd name="connsiteX2" fmla="*/ 65961 w 65961"/>
                <a:gd name="connsiteY2" fmla="*/ 0 h 45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5961" h="45734">
                  <a:moveTo>
                    <a:pt x="0" y="45734"/>
                  </a:moveTo>
                  <a:lnTo>
                    <a:pt x="0" y="0"/>
                  </a:lnTo>
                  <a:lnTo>
                    <a:pt x="6596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0" name="Forme libre : forme 149">
              <a:extLst>
                <a:ext uri="{FF2B5EF4-FFF2-40B4-BE49-F238E27FC236}">
                  <a16:creationId xmlns:a16="http://schemas.microsoft.com/office/drawing/2014/main" id="{5C3088F6-9CC3-48D3-A8B8-D590346DDC75}"/>
                </a:ext>
              </a:extLst>
            </p:cNvPr>
            <p:cNvSpPr/>
            <p:nvPr/>
          </p:nvSpPr>
          <p:spPr>
            <a:xfrm rot="13089394">
              <a:off x="-134707" y="1200752"/>
              <a:ext cx="386820" cy="481345"/>
            </a:xfrm>
            <a:custGeom>
              <a:avLst/>
              <a:gdLst>
                <a:gd name="connsiteX0" fmla="*/ 386820 w 386820"/>
                <a:gd name="connsiteY0" fmla="*/ 391818 h 481345"/>
                <a:gd name="connsiteX1" fmla="*/ 342166 w 386820"/>
                <a:gd name="connsiteY1" fmla="*/ 422376 h 481345"/>
                <a:gd name="connsiteX2" fmla="*/ 138636 w 386820"/>
                <a:gd name="connsiteY2" fmla="*/ 481098 h 481345"/>
                <a:gd name="connsiteX3" fmla="*/ 35911 w 386820"/>
                <a:gd name="connsiteY3" fmla="*/ 439340 h 481345"/>
                <a:gd name="connsiteX4" fmla="*/ 0 w 386820"/>
                <a:gd name="connsiteY4" fmla="*/ 295693 h 481345"/>
                <a:gd name="connsiteX5" fmla="*/ 0 w 386820"/>
                <a:gd name="connsiteY5" fmla="*/ 40970 h 481345"/>
                <a:gd name="connsiteX6" fmla="*/ 78970 w 386820"/>
                <a:gd name="connsiteY6" fmla="*/ 0 h 481345"/>
                <a:gd name="connsiteX7" fmla="*/ 111492 w 386820"/>
                <a:gd name="connsiteY7" fmla="*/ 41392 h 481345"/>
                <a:gd name="connsiteX8" fmla="*/ 112747 w 386820"/>
                <a:gd name="connsiteY8" fmla="*/ 216353 h 481345"/>
                <a:gd name="connsiteX9" fmla="*/ 132789 w 386820"/>
                <a:gd name="connsiteY9" fmla="*/ 354990 h 481345"/>
                <a:gd name="connsiteX10" fmla="*/ 233008 w 386820"/>
                <a:gd name="connsiteY10" fmla="*/ 410110 h 481345"/>
                <a:gd name="connsiteX11" fmla="*/ 308173 w 386820"/>
                <a:gd name="connsiteY11" fmla="*/ 396747 h 481345"/>
                <a:gd name="connsiteX12" fmla="*/ 370717 w 386820"/>
                <a:gd name="connsiteY12" fmla="*/ 371323 h 481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6820" h="481345">
                  <a:moveTo>
                    <a:pt x="386820" y="391818"/>
                  </a:moveTo>
                  <a:lnTo>
                    <a:pt x="342166" y="422376"/>
                  </a:lnTo>
                  <a:cubicBezTo>
                    <a:pt x="268920" y="462151"/>
                    <a:pt x="190624" y="477966"/>
                    <a:pt x="138636" y="481098"/>
                  </a:cubicBezTo>
                  <a:cubicBezTo>
                    <a:pt x="100219" y="483604"/>
                    <a:pt x="62637" y="466901"/>
                    <a:pt x="35911" y="439340"/>
                  </a:cubicBezTo>
                  <a:cubicBezTo>
                    <a:pt x="7516" y="411780"/>
                    <a:pt x="0" y="364176"/>
                    <a:pt x="0" y="295693"/>
                  </a:cubicBezTo>
                  <a:lnTo>
                    <a:pt x="0" y="40970"/>
                  </a:lnTo>
                  <a:lnTo>
                    <a:pt x="78970" y="0"/>
                  </a:lnTo>
                  <a:lnTo>
                    <a:pt x="111492" y="41392"/>
                  </a:lnTo>
                  <a:lnTo>
                    <a:pt x="112747" y="216353"/>
                  </a:lnTo>
                  <a:cubicBezTo>
                    <a:pt x="110241" y="263122"/>
                    <a:pt x="117757" y="310726"/>
                    <a:pt x="132789" y="354990"/>
                  </a:cubicBezTo>
                  <a:cubicBezTo>
                    <a:pt x="146153" y="391736"/>
                    <a:pt x="180394" y="410110"/>
                    <a:pt x="233008" y="410110"/>
                  </a:cubicBezTo>
                  <a:cubicBezTo>
                    <a:pt x="258899" y="409274"/>
                    <a:pt x="283953" y="404263"/>
                    <a:pt x="308173" y="396747"/>
                  </a:cubicBezTo>
                  <a:lnTo>
                    <a:pt x="370717" y="371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1" name="Forme libre : forme 150">
              <a:extLst>
                <a:ext uri="{FF2B5EF4-FFF2-40B4-BE49-F238E27FC236}">
                  <a16:creationId xmlns:a16="http://schemas.microsoft.com/office/drawing/2014/main" id="{45A3690F-0557-4DB0-94E4-7427021CEC86}"/>
                </a:ext>
              </a:extLst>
            </p:cNvPr>
            <p:cNvSpPr/>
            <p:nvPr/>
          </p:nvSpPr>
          <p:spPr>
            <a:xfrm rot="8716295">
              <a:off x="119403" y="90662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2" name="Forme libre : forme 151">
              <a:extLst>
                <a:ext uri="{FF2B5EF4-FFF2-40B4-BE49-F238E27FC236}">
                  <a16:creationId xmlns:a16="http://schemas.microsoft.com/office/drawing/2014/main" id="{1C3938EF-FACF-4118-88DE-3CA52114B602}"/>
                </a:ext>
              </a:extLst>
            </p:cNvPr>
            <p:cNvSpPr/>
            <p:nvPr/>
          </p:nvSpPr>
          <p:spPr>
            <a:xfrm rot="8716295">
              <a:off x="40994" y="74983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3" name="Forme libre : forme 152">
              <a:extLst>
                <a:ext uri="{FF2B5EF4-FFF2-40B4-BE49-F238E27FC236}">
                  <a16:creationId xmlns:a16="http://schemas.microsoft.com/office/drawing/2014/main" id="{DFC0458A-EB47-48D9-8C11-B6676E2C5CAE}"/>
                </a:ext>
              </a:extLst>
            </p:cNvPr>
            <p:cNvSpPr/>
            <p:nvPr/>
          </p:nvSpPr>
          <p:spPr>
            <a:xfrm rot="8716295">
              <a:off x="-44934" y="551941"/>
              <a:ext cx="152592" cy="165412"/>
            </a:xfrm>
            <a:custGeom>
              <a:avLst/>
              <a:gdLst>
                <a:gd name="connsiteX0" fmla="*/ 26453 w 152592"/>
                <a:gd name="connsiteY0" fmla="*/ 153143 h 165412"/>
                <a:gd name="connsiteX1" fmla="*/ 0 w 152592"/>
                <a:gd name="connsiteY1" fmla="*/ 90494 h 165412"/>
                <a:gd name="connsiteX2" fmla="*/ 0 w 152592"/>
                <a:gd name="connsiteY2" fmla="*/ 89101 h 165412"/>
                <a:gd name="connsiteX3" fmla="*/ 26453 w 152592"/>
                <a:gd name="connsiteY3" fmla="*/ 26453 h 165412"/>
                <a:gd name="connsiteX4" fmla="*/ 89101 w 152592"/>
                <a:gd name="connsiteY4" fmla="*/ 0 h 165412"/>
                <a:gd name="connsiteX5" fmla="*/ 151752 w 152592"/>
                <a:gd name="connsiteY5" fmla="*/ 26453 h 165412"/>
                <a:gd name="connsiteX6" fmla="*/ 152592 w 152592"/>
                <a:gd name="connsiteY6" fmla="*/ 27688 h 165412"/>
                <a:gd name="connsiteX7" fmla="*/ 57126 w 152592"/>
                <a:gd name="connsiteY7" fmla="*/ 165412 h 165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592" h="165412">
                  <a:moveTo>
                    <a:pt x="26453" y="153143"/>
                  </a:moveTo>
                  <a:cubicBezTo>
                    <a:pt x="9746" y="136436"/>
                    <a:pt x="0" y="114161"/>
                    <a:pt x="0" y="90494"/>
                  </a:cubicBezTo>
                  <a:lnTo>
                    <a:pt x="0" y="89101"/>
                  </a:lnTo>
                  <a:cubicBezTo>
                    <a:pt x="0" y="65434"/>
                    <a:pt x="9746" y="43159"/>
                    <a:pt x="26453" y="26453"/>
                  </a:cubicBezTo>
                  <a:cubicBezTo>
                    <a:pt x="43159" y="9746"/>
                    <a:pt x="65435" y="0"/>
                    <a:pt x="89101" y="0"/>
                  </a:cubicBezTo>
                  <a:cubicBezTo>
                    <a:pt x="112770" y="0"/>
                    <a:pt x="135045" y="9746"/>
                    <a:pt x="151752" y="26453"/>
                  </a:cubicBezTo>
                  <a:lnTo>
                    <a:pt x="152592" y="27688"/>
                  </a:lnTo>
                  <a:lnTo>
                    <a:pt x="57126" y="1654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4" name="Forme libre : forme 153">
              <a:extLst>
                <a:ext uri="{FF2B5EF4-FFF2-40B4-BE49-F238E27FC236}">
                  <a16:creationId xmlns:a16="http://schemas.microsoft.com/office/drawing/2014/main" id="{51206894-A2FA-4091-8709-9038ECFC9F62}"/>
                </a:ext>
              </a:extLst>
            </p:cNvPr>
            <p:cNvSpPr/>
            <p:nvPr/>
          </p:nvSpPr>
          <p:spPr>
            <a:xfrm rot="8716295">
              <a:off x="-69806" y="4587027"/>
              <a:ext cx="183810" cy="187594"/>
            </a:xfrm>
            <a:custGeom>
              <a:avLst/>
              <a:gdLst>
                <a:gd name="connsiteX0" fmla="*/ 10574 w 183810"/>
                <a:gd name="connsiteY0" fmla="*/ 187594 h 187594"/>
                <a:gd name="connsiteX1" fmla="*/ 0 w 183810"/>
                <a:gd name="connsiteY1" fmla="*/ 172952 h 187594"/>
                <a:gd name="connsiteX2" fmla="*/ 183810 w 183810"/>
                <a:gd name="connsiteY2" fmla="*/ 0 h 187594"/>
                <a:gd name="connsiteX3" fmla="*/ 72284 w 183810"/>
                <a:gd name="connsiteY3" fmla="*/ 160894 h 187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810" h="187594">
                  <a:moveTo>
                    <a:pt x="10574" y="187594"/>
                  </a:moveTo>
                  <a:lnTo>
                    <a:pt x="0" y="172952"/>
                  </a:lnTo>
                  <a:lnTo>
                    <a:pt x="183810" y="0"/>
                  </a:lnTo>
                  <a:lnTo>
                    <a:pt x="72284" y="1608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5" name="Forme libre : forme 154">
              <a:extLst>
                <a:ext uri="{FF2B5EF4-FFF2-40B4-BE49-F238E27FC236}">
                  <a16:creationId xmlns:a16="http://schemas.microsoft.com/office/drawing/2014/main" id="{75F36939-0C1D-4F35-A6F3-978C7845A7FE}"/>
                </a:ext>
              </a:extLst>
            </p:cNvPr>
            <p:cNvSpPr/>
            <p:nvPr/>
          </p:nvSpPr>
          <p:spPr>
            <a:xfrm rot="8716295">
              <a:off x="2260816" y="1871889"/>
              <a:ext cx="76563" cy="79800"/>
            </a:xfrm>
            <a:custGeom>
              <a:avLst/>
              <a:gdLst>
                <a:gd name="connsiteX0" fmla="*/ 1561 w 76563"/>
                <a:gd name="connsiteY0" fmla="*/ 67386 h 79800"/>
                <a:gd name="connsiteX1" fmla="*/ 0 w 76563"/>
                <a:gd name="connsiteY1" fmla="*/ 63688 h 79800"/>
                <a:gd name="connsiteX2" fmla="*/ 52676 w 76563"/>
                <a:gd name="connsiteY2" fmla="*/ 0 h 79800"/>
                <a:gd name="connsiteX3" fmla="*/ 63632 w 76563"/>
                <a:gd name="connsiteY3" fmla="*/ 4626 h 79800"/>
                <a:gd name="connsiteX4" fmla="*/ 63632 w 76563"/>
                <a:gd name="connsiteY4" fmla="*/ 66697 h 79800"/>
                <a:gd name="connsiteX5" fmla="*/ 32596 w 76563"/>
                <a:gd name="connsiteY5" fmla="*/ 79800 h 79800"/>
                <a:gd name="connsiteX6" fmla="*/ 1561 w 76563"/>
                <a:gd name="connsiteY6" fmla="*/ 67386 h 79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563" h="79800">
                  <a:moveTo>
                    <a:pt x="1561" y="67386"/>
                  </a:moveTo>
                  <a:lnTo>
                    <a:pt x="0" y="63688"/>
                  </a:lnTo>
                  <a:lnTo>
                    <a:pt x="52676" y="0"/>
                  </a:lnTo>
                  <a:lnTo>
                    <a:pt x="63632" y="4626"/>
                  </a:lnTo>
                  <a:cubicBezTo>
                    <a:pt x="80874" y="21178"/>
                    <a:pt x="80873" y="49455"/>
                    <a:pt x="63632" y="66697"/>
                  </a:cubicBezTo>
                  <a:cubicBezTo>
                    <a:pt x="55356" y="74973"/>
                    <a:pt x="44321" y="79800"/>
                    <a:pt x="32596" y="79800"/>
                  </a:cubicBezTo>
                  <a:cubicBezTo>
                    <a:pt x="20872" y="79800"/>
                    <a:pt x="9837" y="75662"/>
                    <a:pt x="1561" y="6738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6" name="Forme libre : forme 155">
              <a:extLst>
                <a:ext uri="{FF2B5EF4-FFF2-40B4-BE49-F238E27FC236}">
                  <a16:creationId xmlns:a16="http://schemas.microsoft.com/office/drawing/2014/main" id="{BD296649-E6F7-43B4-A921-2D9F25E09891}"/>
                </a:ext>
              </a:extLst>
            </p:cNvPr>
            <p:cNvSpPr/>
            <p:nvPr/>
          </p:nvSpPr>
          <p:spPr>
            <a:xfrm rot="8716295">
              <a:off x="2079218" y="1576016"/>
              <a:ext cx="236114" cy="296463"/>
            </a:xfrm>
            <a:custGeom>
              <a:avLst/>
              <a:gdLst>
                <a:gd name="connsiteX0" fmla="*/ 64875 w 236114"/>
                <a:gd name="connsiteY0" fmla="*/ 296463 h 296463"/>
                <a:gd name="connsiteX1" fmla="*/ 0 w 236114"/>
                <a:gd name="connsiteY1" fmla="*/ 175766 h 296463"/>
                <a:gd name="connsiteX2" fmla="*/ 33192 w 236114"/>
                <a:gd name="connsiteY2" fmla="*/ 83734 h 296463"/>
                <a:gd name="connsiteX3" fmla="*/ 489 w 236114"/>
                <a:gd name="connsiteY3" fmla="*/ 83734 h 296463"/>
                <a:gd name="connsiteX4" fmla="*/ 69747 w 236114"/>
                <a:gd name="connsiteY4" fmla="*/ 0 h 296463"/>
                <a:gd name="connsiteX5" fmla="*/ 236114 w 236114"/>
                <a:gd name="connsiteY5" fmla="*/ 0 h 296463"/>
                <a:gd name="connsiteX6" fmla="*/ 236114 w 236114"/>
                <a:gd name="connsiteY6" fmla="*/ 83734 h 296463"/>
                <a:gd name="connsiteX7" fmla="*/ 138047 w 236114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6114" h="296463">
                  <a:moveTo>
                    <a:pt x="64875" y="296463"/>
                  </a:moveTo>
                  <a:lnTo>
                    <a:pt x="0" y="175766"/>
                  </a:lnTo>
                  <a:lnTo>
                    <a:pt x="33192" y="83734"/>
                  </a:lnTo>
                  <a:lnTo>
                    <a:pt x="489" y="83734"/>
                  </a:lnTo>
                  <a:lnTo>
                    <a:pt x="69747" y="0"/>
                  </a:lnTo>
                  <a:lnTo>
                    <a:pt x="236114" y="0"/>
                  </a:lnTo>
                  <a:lnTo>
                    <a:pt x="236114" y="83734"/>
                  </a:lnTo>
                  <a:lnTo>
                    <a:pt x="138047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7" name="Forme libre : forme 156">
              <a:extLst>
                <a:ext uri="{FF2B5EF4-FFF2-40B4-BE49-F238E27FC236}">
                  <a16:creationId xmlns:a16="http://schemas.microsoft.com/office/drawing/2014/main" id="{6CA34F6D-826D-4D6C-B9D3-13816F14A2D6}"/>
                </a:ext>
              </a:extLst>
            </p:cNvPr>
            <p:cNvSpPr/>
            <p:nvPr/>
          </p:nvSpPr>
          <p:spPr>
            <a:xfrm rot="8716295">
              <a:off x="1975890" y="1368961"/>
              <a:ext cx="432296" cy="245571"/>
            </a:xfrm>
            <a:custGeom>
              <a:avLst/>
              <a:gdLst>
                <a:gd name="connsiteX0" fmla="*/ 30685 w 432296"/>
                <a:gd name="connsiteY0" fmla="*/ 200783 h 245571"/>
                <a:gd name="connsiteX1" fmla="*/ 187 w 432296"/>
                <a:gd name="connsiteY1" fmla="*/ 140564 h 245571"/>
                <a:gd name="connsiteX2" fmla="*/ 0 w 432296"/>
                <a:gd name="connsiteY2" fmla="*/ 138341 h 245571"/>
                <a:gd name="connsiteX3" fmla="*/ 114424 w 432296"/>
                <a:gd name="connsiteY3" fmla="*/ 0 h 245571"/>
                <a:gd name="connsiteX4" fmla="*/ 116284 w 432296"/>
                <a:gd name="connsiteY4" fmla="*/ 37935 h 245571"/>
                <a:gd name="connsiteX5" fmla="*/ 133982 w 432296"/>
                <a:gd name="connsiteY5" fmla="*/ 110844 h 245571"/>
                <a:gd name="connsiteX6" fmla="*/ 240841 w 432296"/>
                <a:gd name="connsiteY6" fmla="*/ 169617 h 245571"/>
                <a:gd name="connsiteX7" fmla="*/ 320985 w 432296"/>
                <a:gd name="connsiteY7" fmla="*/ 155369 h 245571"/>
                <a:gd name="connsiteX8" fmla="*/ 430515 w 432296"/>
                <a:gd name="connsiteY8" fmla="*/ 110844 h 245571"/>
                <a:gd name="connsiteX9" fmla="*/ 432296 w 432296"/>
                <a:gd name="connsiteY9" fmla="*/ 122420 h 245571"/>
                <a:gd name="connsiteX10" fmla="*/ 432296 w 432296"/>
                <a:gd name="connsiteY10" fmla="*/ 131325 h 245571"/>
                <a:gd name="connsiteX11" fmla="*/ 140216 w 432296"/>
                <a:gd name="connsiteY11" fmla="*/ 245308 h 245571"/>
                <a:gd name="connsiteX12" fmla="*/ 30685 w 432296"/>
                <a:gd name="connsiteY12" fmla="*/ 200783 h 245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32296" h="245571">
                  <a:moveTo>
                    <a:pt x="30685" y="200783"/>
                  </a:moveTo>
                  <a:cubicBezTo>
                    <a:pt x="15547" y="186091"/>
                    <a:pt x="5975" y="166054"/>
                    <a:pt x="187" y="140564"/>
                  </a:cubicBezTo>
                  <a:lnTo>
                    <a:pt x="0" y="138341"/>
                  </a:lnTo>
                  <a:lnTo>
                    <a:pt x="114424" y="0"/>
                  </a:lnTo>
                  <a:lnTo>
                    <a:pt x="116284" y="37935"/>
                  </a:lnTo>
                  <a:cubicBezTo>
                    <a:pt x="119957" y="62758"/>
                    <a:pt x="125968" y="87246"/>
                    <a:pt x="133982" y="110844"/>
                  </a:cubicBezTo>
                  <a:cubicBezTo>
                    <a:pt x="148231" y="150026"/>
                    <a:pt x="184740" y="169617"/>
                    <a:pt x="240841" y="169617"/>
                  </a:cubicBezTo>
                  <a:cubicBezTo>
                    <a:pt x="268446" y="168726"/>
                    <a:pt x="295161" y="163383"/>
                    <a:pt x="320985" y="155369"/>
                  </a:cubicBezTo>
                  <a:cubicBezTo>
                    <a:pt x="358385" y="143792"/>
                    <a:pt x="394895" y="128654"/>
                    <a:pt x="430515" y="110844"/>
                  </a:cubicBezTo>
                  <a:cubicBezTo>
                    <a:pt x="431405" y="114406"/>
                    <a:pt x="432296" y="118858"/>
                    <a:pt x="432296" y="122420"/>
                  </a:cubicBezTo>
                  <a:lnTo>
                    <a:pt x="432296" y="131325"/>
                  </a:lnTo>
                  <a:cubicBezTo>
                    <a:pt x="337904" y="212360"/>
                    <a:pt x="214126" y="240856"/>
                    <a:pt x="140216" y="245308"/>
                  </a:cubicBezTo>
                  <a:cubicBezTo>
                    <a:pt x="99254" y="247980"/>
                    <a:pt x="59182" y="230170"/>
                    <a:pt x="30685" y="2007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8" name="Forme libre : forme 157">
              <a:extLst>
                <a:ext uri="{FF2B5EF4-FFF2-40B4-BE49-F238E27FC236}">
                  <a16:creationId xmlns:a16="http://schemas.microsoft.com/office/drawing/2014/main" id="{1B5AAC38-2C08-40E5-95BE-5338A8CAC415}"/>
                </a:ext>
              </a:extLst>
            </p:cNvPr>
            <p:cNvSpPr/>
            <p:nvPr/>
          </p:nvSpPr>
          <p:spPr>
            <a:xfrm rot="8716295">
              <a:off x="2107141" y="73528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9" name="Forme libre : forme 158">
              <a:extLst>
                <a:ext uri="{FF2B5EF4-FFF2-40B4-BE49-F238E27FC236}">
                  <a16:creationId xmlns:a16="http://schemas.microsoft.com/office/drawing/2014/main" id="{A4125EC0-3011-4C53-83B6-DD287160F4E7}"/>
                </a:ext>
              </a:extLst>
            </p:cNvPr>
            <p:cNvSpPr/>
            <p:nvPr/>
          </p:nvSpPr>
          <p:spPr>
            <a:xfrm rot="8716295">
              <a:off x="2242282" y="832029"/>
              <a:ext cx="282003" cy="313470"/>
            </a:xfrm>
            <a:custGeom>
              <a:avLst/>
              <a:gdLst>
                <a:gd name="connsiteX0" fmla="*/ 188208 w 282003"/>
                <a:gd name="connsiteY0" fmla="*/ 99785 h 313470"/>
                <a:gd name="connsiteX1" fmla="*/ 188208 w 282003"/>
                <a:gd name="connsiteY1" fmla="*/ 85923 h 313470"/>
                <a:gd name="connsiteX2" fmla="*/ 259276 w 282003"/>
                <a:gd name="connsiteY2" fmla="*/ 0 h 313470"/>
                <a:gd name="connsiteX3" fmla="*/ 274211 w 282003"/>
                <a:gd name="connsiteY3" fmla="*/ 28123 h 313470"/>
                <a:gd name="connsiteX4" fmla="*/ 282003 w 282003"/>
                <a:gd name="connsiteY4" fmla="*/ 85301 h 313470"/>
                <a:gd name="connsiteX5" fmla="*/ 282002 w 282003"/>
                <a:gd name="connsiteY5" fmla="*/ 94267 h 313470"/>
                <a:gd name="connsiteX6" fmla="*/ 0 w 282003"/>
                <a:gd name="connsiteY6" fmla="*/ 313470 h 313470"/>
                <a:gd name="connsiteX7" fmla="*/ 56482 w 282003"/>
                <a:gd name="connsiteY7" fmla="*/ 245183 h 313470"/>
                <a:gd name="connsiteX8" fmla="*/ 56482 w 282003"/>
                <a:gd name="connsiteY8" fmla="*/ 274960 h 313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2003" h="313470">
                  <a:moveTo>
                    <a:pt x="188208" y="99785"/>
                  </a:moveTo>
                  <a:lnTo>
                    <a:pt x="188208" y="85923"/>
                  </a:lnTo>
                  <a:lnTo>
                    <a:pt x="259276" y="0"/>
                  </a:lnTo>
                  <a:lnTo>
                    <a:pt x="274211" y="28123"/>
                  </a:lnTo>
                  <a:cubicBezTo>
                    <a:pt x="279330" y="44783"/>
                    <a:pt x="282002" y="63922"/>
                    <a:pt x="282003" y="85301"/>
                  </a:cubicBezTo>
                  <a:lnTo>
                    <a:pt x="282002" y="94267"/>
                  </a:lnTo>
                  <a:close/>
                  <a:moveTo>
                    <a:pt x="0" y="313470"/>
                  </a:moveTo>
                  <a:lnTo>
                    <a:pt x="56482" y="245183"/>
                  </a:lnTo>
                  <a:lnTo>
                    <a:pt x="56482" y="2749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0" name="Forme libre : forme 159">
              <a:extLst>
                <a:ext uri="{FF2B5EF4-FFF2-40B4-BE49-F238E27FC236}">
                  <a16:creationId xmlns:a16="http://schemas.microsoft.com/office/drawing/2014/main" id="{FF9B0781-A82C-47AF-AC1C-21015974FDE2}"/>
                </a:ext>
              </a:extLst>
            </p:cNvPr>
            <p:cNvSpPr/>
            <p:nvPr/>
          </p:nvSpPr>
          <p:spPr>
            <a:xfrm rot="8716295">
              <a:off x="2174558" y="64895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1" name="Forme libre : forme 160">
              <a:extLst>
                <a:ext uri="{FF2B5EF4-FFF2-40B4-BE49-F238E27FC236}">
                  <a16:creationId xmlns:a16="http://schemas.microsoft.com/office/drawing/2014/main" id="{E647964A-EFA4-4875-8CBA-E79FD37F80FD}"/>
                </a:ext>
              </a:extLst>
            </p:cNvPr>
            <p:cNvSpPr/>
            <p:nvPr/>
          </p:nvSpPr>
          <p:spPr>
            <a:xfrm rot="8716295">
              <a:off x="1937270" y="86929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2" name="Forme libre : forme 161">
              <a:extLst>
                <a:ext uri="{FF2B5EF4-FFF2-40B4-BE49-F238E27FC236}">
                  <a16:creationId xmlns:a16="http://schemas.microsoft.com/office/drawing/2014/main" id="{92A84223-E9E1-4AA2-A477-395EEFC832F2}"/>
                </a:ext>
              </a:extLst>
            </p:cNvPr>
            <p:cNvSpPr/>
            <p:nvPr/>
          </p:nvSpPr>
          <p:spPr>
            <a:xfrm rot="8716295">
              <a:off x="1748224" y="55346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3" name="Forme libre : forme 162">
              <a:extLst>
                <a:ext uri="{FF2B5EF4-FFF2-40B4-BE49-F238E27FC236}">
                  <a16:creationId xmlns:a16="http://schemas.microsoft.com/office/drawing/2014/main" id="{25B16338-FDD7-4AA6-9D09-5C2DE296D9CE}"/>
                </a:ext>
              </a:extLst>
            </p:cNvPr>
            <p:cNvSpPr/>
            <p:nvPr/>
          </p:nvSpPr>
          <p:spPr>
            <a:xfrm rot="8716295">
              <a:off x="1729983" y="34341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4" name="Forme libre : forme 163">
              <a:extLst>
                <a:ext uri="{FF2B5EF4-FFF2-40B4-BE49-F238E27FC236}">
                  <a16:creationId xmlns:a16="http://schemas.microsoft.com/office/drawing/2014/main" id="{FD37B6C0-63BE-47FD-9D48-08E0F916E511}"/>
                </a:ext>
              </a:extLst>
            </p:cNvPr>
            <p:cNvSpPr/>
            <p:nvPr/>
          </p:nvSpPr>
          <p:spPr>
            <a:xfrm rot="8716295">
              <a:off x="2073759" y="93127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5" name="Forme libre : forme 164">
              <a:extLst>
                <a:ext uri="{FF2B5EF4-FFF2-40B4-BE49-F238E27FC236}">
                  <a16:creationId xmlns:a16="http://schemas.microsoft.com/office/drawing/2014/main" id="{93F06371-0361-4141-BEE3-CC9849B020E6}"/>
                </a:ext>
              </a:extLst>
            </p:cNvPr>
            <p:cNvSpPr/>
            <p:nvPr/>
          </p:nvSpPr>
          <p:spPr>
            <a:xfrm rot="8716295">
              <a:off x="2367873" y="489398"/>
              <a:ext cx="81526" cy="84395"/>
            </a:xfrm>
            <a:custGeom>
              <a:avLst/>
              <a:gdLst>
                <a:gd name="connsiteX0" fmla="*/ 6524 w 81526"/>
                <a:gd name="connsiteY0" fmla="*/ 71981 h 84395"/>
                <a:gd name="connsiteX1" fmla="*/ 0 w 81526"/>
                <a:gd name="connsiteY1" fmla="*/ 56529 h 84395"/>
                <a:gd name="connsiteX2" fmla="*/ 46756 w 81526"/>
                <a:gd name="connsiteY2" fmla="*/ 0 h 84395"/>
                <a:gd name="connsiteX3" fmla="*/ 68595 w 81526"/>
                <a:gd name="connsiteY3" fmla="*/ 9221 h 84395"/>
                <a:gd name="connsiteX4" fmla="*/ 68595 w 81526"/>
                <a:gd name="connsiteY4" fmla="*/ 71292 h 84395"/>
                <a:gd name="connsiteX5" fmla="*/ 37559 w 81526"/>
                <a:gd name="connsiteY5" fmla="*/ 84395 h 84395"/>
                <a:gd name="connsiteX6" fmla="*/ 6524 w 81526"/>
                <a:gd name="connsiteY6" fmla="*/ 71981 h 84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526" h="84395">
                  <a:moveTo>
                    <a:pt x="6524" y="71981"/>
                  </a:moveTo>
                  <a:lnTo>
                    <a:pt x="0" y="56529"/>
                  </a:lnTo>
                  <a:lnTo>
                    <a:pt x="46756" y="0"/>
                  </a:lnTo>
                  <a:lnTo>
                    <a:pt x="68595" y="9221"/>
                  </a:lnTo>
                  <a:cubicBezTo>
                    <a:pt x="85837" y="25773"/>
                    <a:pt x="85836" y="54050"/>
                    <a:pt x="68595" y="71292"/>
                  </a:cubicBezTo>
                  <a:cubicBezTo>
                    <a:pt x="60319" y="79568"/>
                    <a:pt x="49284" y="84395"/>
                    <a:pt x="37559" y="84395"/>
                  </a:cubicBezTo>
                  <a:cubicBezTo>
                    <a:pt x="25835" y="84395"/>
                    <a:pt x="14800" y="80257"/>
                    <a:pt x="6524" y="7198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6" name="Forme libre : forme 165">
              <a:extLst>
                <a:ext uri="{FF2B5EF4-FFF2-40B4-BE49-F238E27FC236}">
                  <a16:creationId xmlns:a16="http://schemas.microsoft.com/office/drawing/2014/main" id="{5196C23A-E9EE-4BB5-B0E6-FCA193386C5B}"/>
                </a:ext>
              </a:extLst>
            </p:cNvPr>
            <p:cNvSpPr/>
            <p:nvPr/>
          </p:nvSpPr>
          <p:spPr>
            <a:xfrm rot="8716295">
              <a:off x="2184146" y="191304"/>
              <a:ext cx="250306" cy="296463"/>
            </a:xfrm>
            <a:custGeom>
              <a:avLst/>
              <a:gdLst>
                <a:gd name="connsiteX0" fmla="*/ 79067 w 250306"/>
                <a:gd name="connsiteY0" fmla="*/ 296463 h 296463"/>
                <a:gd name="connsiteX1" fmla="*/ 14192 w 250306"/>
                <a:gd name="connsiteY1" fmla="*/ 175766 h 296463"/>
                <a:gd name="connsiteX2" fmla="*/ 47384 w 250306"/>
                <a:gd name="connsiteY2" fmla="*/ 83734 h 296463"/>
                <a:gd name="connsiteX3" fmla="*/ 0 w 250306"/>
                <a:gd name="connsiteY3" fmla="*/ 83734 h 296463"/>
                <a:gd name="connsiteX4" fmla="*/ 69257 w 250306"/>
                <a:gd name="connsiteY4" fmla="*/ 0 h 296463"/>
                <a:gd name="connsiteX5" fmla="*/ 250306 w 250306"/>
                <a:gd name="connsiteY5" fmla="*/ 0 h 296463"/>
                <a:gd name="connsiteX6" fmla="*/ 250306 w 250306"/>
                <a:gd name="connsiteY6" fmla="*/ 83734 h 296463"/>
                <a:gd name="connsiteX7" fmla="*/ 152239 w 250306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0306" h="296463">
                  <a:moveTo>
                    <a:pt x="79067" y="296463"/>
                  </a:moveTo>
                  <a:lnTo>
                    <a:pt x="14192" y="175766"/>
                  </a:lnTo>
                  <a:lnTo>
                    <a:pt x="47384" y="83734"/>
                  </a:lnTo>
                  <a:lnTo>
                    <a:pt x="0" y="83734"/>
                  </a:lnTo>
                  <a:lnTo>
                    <a:pt x="69257" y="0"/>
                  </a:lnTo>
                  <a:lnTo>
                    <a:pt x="250306" y="0"/>
                  </a:lnTo>
                  <a:lnTo>
                    <a:pt x="250306" y="83734"/>
                  </a:lnTo>
                  <a:lnTo>
                    <a:pt x="152239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7" name="Forme libre : forme 166">
              <a:extLst>
                <a:ext uri="{FF2B5EF4-FFF2-40B4-BE49-F238E27FC236}">
                  <a16:creationId xmlns:a16="http://schemas.microsoft.com/office/drawing/2014/main" id="{AF8BB132-EA68-41A8-B3E5-2FCCBDEB7D5A}"/>
                </a:ext>
              </a:extLst>
            </p:cNvPr>
            <p:cNvSpPr/>
            <p:nvPr/>
          </p:nvSpPr>
          <p:spPr>
            <a:xfrm rot="8716295">
              <a:off x="2145876" y="32623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8" name="Forme libre : forme 167">
              <a:extLst>
                <a:ext uri="{FF2B5EF4-FFF2-40B4-BE49-F238E27FC236}">
                  <a16:creationId xmlns:a16="http://schemas.microsoft.com/office/drawing/2014/main" id="{0C891817-7BA1-4E19-A5B6-7030FDA5B7F1}"/>
                </a:ext>
              </a:extLst>
            </p:cNvPr>
            <p:cNvSpPr/>
            <p:nvPr/>
          </p:nvSpPr>
          <p:spPr>
            <a:xfrm rot="8716295">
              <a:off x="1834766" y="-57684"/>
              <a:ext cx="186564" cy="129320"/>
            </a:xfrm>
            <a:custGeom>
              <a:avLst/>
              <a:gdLst>
                <a:gd name="connsiteX0" fmla="*/ 123263 w 123263"/>
                <a:gd name="connsiteY0" fmla="*/ 85442 h 85442"/>
                <a:gd name="connsiteX1" fmla="*/ 0 w 123263"/>
                <a:gd name="connsiteY1" fmla="*/ 0 h 85442"/>
                <a:gd name="connsiteX2" fmla="*/ 66305 w 123263"/>
                <a:gd name="connsiteY2" fmla="*/ 0 h 85442"/>
                <a:gd name="connsiteX3" fmla="*/ 123263 w 123263"/>
                <a:gd name="connsiteY3" fmla="*/ 50123 h 85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63" h="85442">
                  <a:moveTo>
                    <a:pt x="123263" y="85442"/>
                  </a:moveTo>
                  <a:lnTo>
                    <a:pt x="0" y="0"/>
                  </a:lnTo>
                  <a:lnTo>
                    <a:pt x="66305" y="0"/>
                  </a:lnTo>
                  <a:cubicBezTo>
                    <a:pt x="103214" y="0"/>
                    <a:pt x="123263" y="15948"/>
                    <a:pt x="123263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9" name="Forme libre : forme 168">
              <a:extLst>
                <a:ext uri="{FF2B5EF4-FFF2-40B4-BE49-F238E27FC236}">
                  <a16:creationId xmlns:a16="http://schemas.microsoft.com/office/drawing/2014/main" id="{4406013B-1E43-4380-98C9-594C282D12B3}"/>
                </a:ext>
              </a:extLst>
            </p:cNvPr>
            <p:cNvSpPr/>
            <p:nvPr/>
          </p:nvSpPr>
          <p:spPr>
            <a:xfrm rot="8716295">
              <a:off x="1969949" y="-13794"/>
              <a:ext cx="394488" cy="148365"/>
            </a:xfrm>
            <a:custGeom>
              <a:avLst/>
              <a:gdLst>
                <a:gd name="connsiteX0" fmla="*/ 104802 w 260639"/>
                <a:gd name="connsiteY0" fmla="*/ 74264 h 98025"/>
                <a:gd name="connsiteX1" fmla="*/ 0 w 260639"/>
                <a:gd name="connsiteY1" fmla="*/ 1618 h 98025"/>
                <a:gd name="connsiteX2" fmla="*/ 0 w 260639"/>
                <a:gd name="connsiteY2" fmla="*/ 1425 h 98025"/>
                <a:gd name="connsiteX3" fmla="*/ 104803 w 260639"/>
                <a:gd name="connsiteY3" fmla="*/ 1425 h 98025"/>
                <a:gd name="connsiteX4" fmla="*/ 122123 w 260639"/>
                <a:gd name="connsiteY4" fmla="*/ 86270 h 98025"/>
                <a:gd name="connsiteX5" fmla="*/ 106178 w 260639"/>
                <a:gd name="connsiteY5" fmla="*/ 75218 h 98025"/>
                <a:gd name="connsiteX6" fmla="*/ 116721 w 260639"/>
                <a:gd name="connsiteY6" fmla="*/ 47439 h 98025"/>
                <a:gd name="connsiteX7" fmla="*/ 154014 w 260639"/>
                <a:gd name="connsiteY7" fmla="*/ 5981 h 98025"/>
                <a:gd name="connsiteX8" fmla="*/ 185455 w 260639"/>
                <a:gd name="connsiteY8" fmla="*/ 57 h 98025"/>
                <a:gd name="connsiteX9" fmla="*/ 260639 w 260639"/>
                <a:gd name="connsiteY9" fmla="*/ 88456 h 98025"/>
                <a:gd name="connsiteX10" fmla="*/ 260639 w 260639"/>
                <a:gd name="connsiteY10" fmla="*/ 94380 h 98025"/>
                <a:gd name="connsiteX11" fmla="*/ 198669 w 260639"/>
                <a:gd name="connsiteY11" fmla="*/ 98025 h 98025"/>
                <a:gd name="connsiteX12" fmla="*/ 198669 w 260639"/>
                <a:gd name="connsiteY12" fmla="*/ 81621 h 98025"/>
                <a:gd name="connsiteX13" fmla="*/ 164950 w 260639"/>
                <a:gd name="connsiteY13" fmla="*/ 40156 h 98025"/>
                <a:gd name="connsiteX14" fmla="*/ 127358 w 260639"/>
                <a:gd name="connsiteY14" fmla="*/ 65616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60639" h="98025">
                  <a:moveTo>
                    <a:pt x="104802" y="74264"/>
                  </a:moveTo>
                  <a:lnTo>
                    <a:pt x="0" y="1618"/>
                  </a:lnTo>
                  <a:lnTo>
                    <a:pt x="0" y="1425"/>
                  </a:lnTo>
                  <a:lnTo>
                    <a:pt x="104803" y="1425"/>
                  </a:lnTo>
                  <a:close/>
                  <a:moveTo>
                    <a:pt x="122123" y="86270"/>
                  </a:moveTo>
                  <a:lnTo>
                    <a:pt x="106178" y="75218"/>
                  </a:lnTo>
                  <a:lnTo>
                    <a:pt x="116721" y="47439"/>
                  </a:lnTo>
                  <a:cubicBezTo>
                    <a:pt x="127102" y="24008"/>
                    <a:pt x="137610" y="12816"/>
                    <a:pt x="154014" y="5981"/>
                  </a:cubicBezTo>
                  <a:cubicBezTo>
                    <a:pt x="164038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50369" y="40156"/>
                    <a:pt x="137041" y="49839"/>
                    <a:pt x="127358" y="656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0" name="Forme libre : forme 169">
              <a:extLst>
                <a:ext uri="{FF2B5EF4-FFF2-40B4-BE49-F238E27FC236}">
                  <a16:creationId xmlns:a16="http://schemas.microsoft.com/office/drawing/2014/main" id="{697ACF89-8E3E-4CA4-96AD-ED3067ABB920}"/>
                </a:ext>
              </a:extLst>
            </p:cNvPr>
            <p:cNvSpPr/>
            <p:nvPr/>
          </p:nvSpPr>
          <p:spPr>
            <a:xfrm rot="8716295">
              <a:off x="1736738" y="-7282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1" name="Forme libre : forme 170">
              <a:extLst>
                <a:ext uri="{FF2B5EF4-FFF2-40B4-BE49-F238E27FC236}">
                  <a16:creationId xmlns:a16="http://schemas.microsoft.com/office/drawing/2014/main" id="{914F8714-5CD4-41D2-92D2-73A622448BB2}"/>
                </a:ext>
              </a:extLst>
            </p:cNvPr>
            <p:cNvSpPr/>
            <p:nvPr/>
          </p:nvSpPr>
          <p:spPr>
            <a:xfrm rot="7484129">
              <a:off x="2394733" y="32841"/>
              <a:ext cx="135077" cy="94074"/>
            </a:xfrm>
            <a:custGeom>
              <a:avLst/>
              <a:gdLst>
                <a:gd name="connsiteX0" fmla="*/ 100725 w 135077"/>
                <a:gd name="connsiteY0" fmla="*/ 19729 h 94074"/>
                <a:gd name="connsiteX1" fmla="*/ 135077 w 135077"/>
                <a:gd name="connsiteY1" fmla="*/ 0 h 94074"/>
                <a:gd name="connsiteX2" fmla="*/ 135077 w 135077"/>
                <a:gd name="connsiteY2" fmla="*/ 19729 h 94074"/>
                <a:gd name="connsiteX3" fmla="*/ 0 w 135077"/>
                <a:gd name="connsiteY3" fmla="*/ 77576 h 94074"/>
                <a:gd name="connsiteX4" fmla="*/ 21327 w 135077"/>
                <a:gd name="connsiteY4" fmla="*/ 65328 h 94074"/>
                <a:gd name="connsiteX5" fmla="*/ 11439 w 135077"/>
                <a:gd name="connsiteY5" fmla="*/ 94074 h 94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5077" h="94074">
                  <a:moveTo>
                    <a:pt x="100725" y="19729"/>
                  </a:moveTo>
                  <a:lnTo>
                    <a:pt x="135077" y="0"/>
                  </a:lnTo>
                  <a:lnTo>
                    <a:pt x="135077" y="19729"/>
                  </a:lnTo>
                  <a:close/>
                  <a:moveTo>
                    <a:pt x="0" y="77576"/>
                  </a:moveTo>
                  <a:lnTo>
                    <a:pt x="21327" y="65328"/>
                  </a:lnTo>
                  <a:lnTo>
                    <a:pt x="11439" y="940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6712334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uverture 1 - C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e libre : forme 4">
            <a:extLst>
              <a:ext uri="{FF2B5EF4-FFF2-40B4-BE49-F238E27FC236}">
                <a16:creationId xmlns:a16="http://schemas.microsoft.com/office/drawing/2014/main" id="{AEFD991A-ABBA-4F4C-98CF-1084947DFB28}"/>
              </a:ext>
            </a:extLst>
          </p:cNvPr>
          <p:cNvSpPr/>
          <p:nvPr userDrawn="1"/>
        </p:nvSpPr>
        <p:spPr>
          <a:xfrm>
            <a:off x="0" y="0"/>
            <a:ext cx="2476252" cy="5143500"/>
          </a:xfrm>
          <a:custGeom>
            <a:avLst/>
            <a:gdLst>
              <a:gd name="connsiteX0" fmla="*/ 0 w 2476252"/>
              <a:gd name="connsiteY0" fmla="*/ 0 h 5143500"/>
              <a:gd name="connsiteX1" fmla="*/ 2038350 w 2476252"/>
              <a:gd name="connsiteY1" fmla="*/ 0 h 5143500"/>
              <a:gd name="connsiteX2" fmla="*/ 2476252 w 2476252"/>
              <a:gd name="connsiteY2" fmla="*/ 0 h 5143500"/>
              <a:gd name="connsiteX3" fmla="*/ 2038350 w 2476252"/>
              <a:gd name="connsiteY3" fmla="*/ 5143500 h 5143500"/>
              <a:gd name="connsiteX4" fmla="*/ 0 w 2476252"/>
              <a:gd name="connsiteY4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76252" h="5143500">
                <a:moveTo>
                  <a:pt x="0" y="0"/>
                </a:moveTo>
                <a:lnTo>
                  <a:pt x="2038350" y="0"/>
                </a:lnTo>
                <a:lnTo>
                  <a:pt x="2476252" y="0"/>
                </a:lnTo>
                <a:lnTo>
                  <a:pt x="2038350" y="5143500"/>
                </a:lnTo>
                <a:lnTo>
                  <a:pt x="0" y="5143500"/>
                </a:lnTo>
                <a:close/>
              </a:path>
            </a:pathLst>
          </a:custGeom>
          <a:solidFill>
            <a:srgbClr val="3A1B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6" name="Forme libre : forme 5">
            <a:extLst>
              <a:ext uri="{FF2B5EF4-FFF2-40B4-BE49-F238E27FC236}">
                <a16:creationId xmlns:a16="http://schemas.microsoft.com/office/drawing/2014/main" id="{864821C3-7BAD-4585-9F8D-C119AC850133}"/>
              </a:ext>
            </a:extLst>
          </p:cNvPr>
          <p:cNvSpPr/>
          <p:nvPr userDrawn="1"/>
        </p:nvSpPr>
        <p:spPr>
          <a:xfrm flipH="1">
            <a:off x="2029641" y="2387470"/>
            <a:ext cx="614164" cy="2756031"/>
          </a:xfrm>
          <a:custGeom>
            <a:avLst/>
            <a:gdLst>
              <a:gd name="connsiteX0" fmla="*/ 379524 w 614164"/>
              <a:gd name="connsiteY0" fmla="*/ 0 h 2756031"/>
              <a:gd name="connsiteX1" fmla="*/ 0 w 614164"/>
              <a:gd name="connsiteY1" fmla="*/ 2756031 h 2756031"/>
              <a:gd name="connsiteX2" fmla="*/ 614164 w 614164"/>
              <a:gd name="connsiteY2" fmla="*/ 2756031 h 2756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14164" h="2756031">
                <a:moveTo>
                  <a:pt x="379524" y="0"/>
                </a:moveTo>
                <a:lnTo>
                  <a:pt x="0" y="2756031"/>
                </a:lnTo>
                <a:lnTo>
                  <a:pt x="614164" y="2756031"/>
                </a:lnTo>
                <a:close/>
              </a:path>
            </a:pathLst>
          </a:custGeom>
          <a:solidFill>
            <a:srgbClr val="009F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DA8CA9DB-B794-428D-9ECF-D4872FBA5C4C}"/>
              </a:ext>
            </a:extLst>
          </p:cNvPr>
          <p:cNvGrpSpPr/>
          <p:nvPr userDrawn="1"/>
        </p:nvGrpSpPr>
        <p:grpSpPr>
          <a:xfrm>
            <a:off x="-134707" y="-72828"/>
            <a:ext cx="2658992" cy="5335244"/>
            <a:chOff x="-134707" y="-72828"/>
            <a:chExt cx="2658992" cy="5335244"/>
          </a:xfrm>
          <a:solidFill>
            <a:schemeClr val="bg2">
              <a:alpha val="10000"/>
            </a:schemeClr>
          </a:solidFill>
        </p:grpSpPr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81E41836-E956-4188-9AAC-A83AE8900453}"/>
                </a:ext>
              </a:extLst>
            </p:cNvPr>
            <p:cNvSpPr/>
            <p:nvPr/>
          </p:nvSpPr>
          <p:spPr>
            <a:xfrm rot="8716295">
              <a:off x="1460344" y="348006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6217F1CC-5E84-40FC-88E7-C42A2398F84B}"/>
                </a:ext>
              </a:extLst>
            </p:cNvPr>
            <p:cNvSpPr/>
            <p:nvPr/>
          </p:nvSpPr>
          <p:spPr>
            <a:xfrm rot="8716295">
              <a:off x="1595642" y="352432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B80A1B59-7F4C-4E95-8CB7-0AACC6C05627}"/>
                </a:ext>
              </a:extLst>
            </p:cNvPr>
            <p:cNvSpPr/>
            <p:nvPr/>
          </p:nvSpPr>
          <p:spPr>
            <a:xfrm rot="8716295">
              <a:off x="1527760" y="339373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8728A690-34B9-4DFF-8734-9F6EBD35EBC5}"/>
                </a:ext>
              </a:extLst>
            </p:cNvPr>
            <p:cNvSpPr/>
            <p:nvPr/>
          </p:nvSpPr>
          <p:spPr>
            <a:xfrm rot="8716295">
              <a:off x="1290473" y="361408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2927191B-5C8D-4149-8DBA-718546C29906}"/>
                </a:ext>
              </a:extLst>
            </p:cNvPr>
            <p:cNvSpPr/>
            <p:nvPr/>
          </p:nvSpPr>
          <p:spPr>
            <a:xfrm rot="8716295">
              <a:off x="1101427" y="329824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375566C6-9E02-4DD8-8C3B-267A6C61A667}"/>
                </a:ext>
              </a:extLst>
            </p:cNvPr>
            <p:cNvSpPr/>
            <p:nvPr/>
          </p:nvSpPr>
          <p:spPr>
            <a:xfrm rot="8716295">
              <a:off x="1083185" y="3088198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1A3C2C2D-7CBE-4F9B-8B8B-959B1D778E3E}"/>
                </a:ext>
              </a:extLst>
            </p:cNvPr>
            <p:cNvSpPr/>
            <p:nvPr/>
          </p:nvSpPr>
          <p:spPr>
            <a:xfrm rot="8716295">
              <a:off x="1426961" y="367606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8EB673A3-36B5-4724-AE91-A9B8454C1396}"/>
                </a:ext>
              </a:extLst>
            </p:cNvPr>
            <p:cNvSpPr/>
            <p:nvPr/>
          </p:nvSpPr>
          <p:spPr>
            <a:xfrm rot="8716295">
              <a:off x="1897908" y="310145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F8EEA06C-B620-4C52-ACA9-B6AC8852992A}"/>
                </a:ext>
              </a:extLst>
            </p:cNvPr>
            <p:cNvSpPr/>
            <p:nvPr/>
          </p:nvSpPr>
          <p:spPr>
            <a:xfrm rot="8716295">
              <a:off x="2028620" y="3176625"/>
              <a:ext cx="305088" cy="336622"/>
            </a:xfrm>
            <a:custGeom>
              <a:avLst/>
              <a:gdLst>
                <a:gd name="connsiteX0" fmla="*/ 211294 w 305088"/>
                <a:gd name="connsiteY0" fmla="*/ 107197 h 336622"/>
                <a:gd name="connsiteX1" fmla="*/ 211294 w 305088"/>
                <a:gd name="connsiteY1" fmla="*/ 82369 h 336622"/>
                <a:gd name="connsiteX2" fmla="*/ 211017 w 305088"/>
                <a:gd name="connsiteY2" fmla="*/ 81498 h 336622"/>
                <a:gd name="connsiteX3" fmla="*/ 278425 w 305088"/>
                <a:gd name="connsiteY3" fmla="*/ 0 h 336622"/>
                <a:gd name="connsiteX4" fmla="*/ 297297 w 305088"/>
                <a:gd name="connsiteY4" fmla="*/ 35535 h 336622"/>
                <a:gd name="connsiteX5" fmla="*/ 305088 w 305088"/>
                <a:gd name="connsiteY5" fmla="*/ 92713 h 336622"/>
                <a:gd name="connsiteX6" fmla="*/ 305088 w 305088"/>
                <a:gd name="connsiteY6" fmla="*/ 101679 h 336622"/>
                <a:gd name="connsiteX7" fmla="*/ 0 w 305088"/>
                <a:gd name="connsiteY7" fmla="*/ 336622 h 336622"/>
                <a:gd name="connsiteX8" fmla="*/ 79568 w 305088"/>
                <a:gd name="connsiteY8" fmla="*/ 240423 h 336622"/>
                <a:gd name="connsiteX9" fmla="*/ 79568 w 305088"/>
                <a:gd name="connsiteY9" fmla="*/ 282372 h 33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5088" h="336622">
                  <a:moveTo>
                    <a:pt x="211294" y="107197"/>
                  </a:moveTo>
                  <a:lnTo>
                    <a:pt x="211294" y="82369"/>
                  </a:lnTo>
                  <a:lnTo>
                    <a:pt x="211017" y="81498"/>
                  </a:lnTo>
                  <a:lnTo>
                    <a:pt x="278425" y="0"/>
                  </a:lnTo>
                  <a:lnTo>
                    <a:pt x="297297" y="35535"/>
                  </a:lnTo>
                  <a:cubicBezTo>
                    <a:pt x="302416" y="52195"/>
                    <a:pt x="305088" y="71334"/>
                    <a:pt x="305088" y="92713"/>
                  </a:cubicBezTo>
                  <a:lnTo>
                    <a:pt x="305088" y="101679"/>
                  </a:lnTo>
                  <a:close/>
                  <a:moveTo>
                    <a:pt x="0" y="336622"/>
                  </a:moveTo>
                  <a:lnTo>
                    <a:pt x="79568" y="240423"/>
                  </a:lnTo>
                  <a:lnTo>
                    <a:pt x="79568" y="28237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84C08685-C991-44FD-898B-8BF95960C6B9}"/>
                </a:ext>
              </a:extLst>
            </p:cNvPr>
            <p:cNvSpPr/>
            <p:nvPr/>
          </p:nvSpPr>
          <p:spPr>
            <a:xfrm rot="8716295">
              <a:off x="1728037" y="323546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75F06F9A-B5F6-494A-BA46-78E41263CC81}"/>
                </a:ext>
              </a:extLst>
            </p:cNvPr>
            <p:cNvSpPr/>
            <p:nvPr/>
          </p:nvSpPr>
          <p:spPr>
            <a:xfrm rot="8716295">
              <a:off x="1538992" y="291963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CE3913D0-3ECC-49C2-BFCE-2E22945EB24B}"/>
                </a:ext>
              </a:extLst>
            </p:cNvPr>
            <p:cNvSpPr/>
            <p:nvPr/>
          </p:nvSpPr>
          <p:spPr>
            <a:xfrm rot="8716295">
              <a:off x="1864525" y="329745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ACF63173-E092-4F8A-A29A-250C09066948}"/>
                </a:ext>
              </a:extLst>
            </p:cNvPr>
            <p:cNvSpPr/>
            <p:nvPr/>
          </p:nvSpPr>
          <p:spPr>
            <a:xfrm rot="8716295">
              <a:off x="1499078" y="307102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7EFA26CA-A39B-4E8B-847D-F85F8518030F}"/>
                </a:ext>
              </a:extLst>
            </p:cNvPr>
            <p:cNvSpPr/>
            <p:nvPr/>
          </p:nvSpPr>
          <p:spPr>
            <a:xfrm rot="7484129">
              <a:off x="2004987" y="3639772"/>
              <a:ext cx="221889" cy="221665"/>
            </a:xfrm>
            <a:custGeom>
              <a:avLst/>
              <a:gdLst>
                <a:gd name="connsiteX0" fmla="*/ 206330 w 221889"/>
                <a:gd name="connsiteY0" fmla="*/ 8936 h 221665"/>
                <a:gd name="connsiteX1" fmla="*/ 221889 w 221889"/>
                <a:gd name="connsiteY1" fmla="*/ 0 h 221665"/>
                <a:gd name="connsiteX2" fmla="*/ 221889 w 221889"/>
                <a:gd name="connsiteY2" fmla="*/ 8936 h 221665"/>
                <a:gd name="connsiteX3" fmla="*/ 50650 w 221889"/>
                <a:gd name="connsiteY3" fmla="*/ 221665 h 221665"/>
                <a:gd name="connsiteX4" fmla="*/ 0 w 221889"/>
                <a:gd name="connsiteY4" fmla="*/ 127433 h 221665"/>
                <a:gd name="connsiteX5" fmla="*/ 103511 w 221889"/>
                <a:gd name="connsiteY5" fmla="*/ 67986 h 221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1889" h="221665">
                  <a:moveTo>
                    <a:pt x="206330" y="8936"/>
                  </a:moveTo>
                  <a:lnTo>
                    <a:pt x="221889" y="0"/>
                  </a:lnTo>
                  <a:lnTo>
                    <a:pt x="221889" y="8936"/>
                  </a:lnTo>
                  <a:close/>
                  <a:moveTo>
                    <a:pt x="50650" y="221665"/>
                  </a:moveTo>
                  <a:lnTo>
                    <a:pt x="0" y="127433"/>
                  </a:lnTo>
                  <a:lnTo>
                    <a:pt x="103511" y="6798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54CB42FE-32B8-4C2C-A4AB-C4F8B84705EC}"/>
                </a:ext>
              </a:extLst>
            </p:cNvPr>
            <p:cNvSpPr/>
            <p:nvPr/>
          </p:nvSpPr>
          <p:spPr>
            <a:xfrm rot="8716295">
              <a:off x="2016311" y="313524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B97467BE-761E-4E11-AD12-792548131E9F}"/>
                </a:ext>
              </a:extLst>
            </p:cNvPr>
            <p:cNvSpPr/>
            <p:nvPr/>
          </p:nvSpPr>
          <p:spPr>
            <a:xfrm rot="8716295">
              <a:off x="1796861" y="4478944"/>
              <a:ext cx="215176" cy="351729"/>
            </a:xfrm>
            <a:custGeom>
              <a:avLst/>
              <a:gdLst>
                <a:gd name="connsiteX0" fmla="*/ 122761 w 215176"/>
                <a:gd name="connsiteY0" fmla="*/ 351729 h 351729"/>
                <a:gd name="connsiteX1" fmla="*/ 122761 w 215176"/>
                <a:gd name="connsiteY1" fmla="*/ 105519 h 351729"/>
                <a:gd name="connsiteX2" fmla="*/ 122761 w 215176"/>
                <a:gd name="connsiteY2" fmla="*/ 99312 h 351729"/>
                <a:gd name="connsiteX3" fmla="*/ 91726 w 215176"/>
                <a:gd name="connsiteY3" fmla="*/ 75863 h 351729"/>
                <a:gd name="connsiteX4" fmla="*/ 0 w 215176"/>
                <a:gd name="connsiteY4" fmla="*/ 75863 h 351729"/>
                <a:gd name="connsiteX5" fmla="*/ 0 w 215176"/>
                <a:gd name="connsiteY5" fmla="*/ 31564 h 351729"/>
                <a:gd name="connsiteX6" fmla="*/ 26107 w 215176"/>
                <a:gd name="connsiteY6" fmla="*/ 0 h 351729"/>
                <a:gd name="connsiteX7" fmla="*/ 128968 w 215176"/>
                <a:gd name="connsiteY7" fmla="*/ 0 h 351729"/>
                <a:gd name="connsiteX8" fmla="*/ 215176 w 215176"/>
                <a:gd name="connsiteY8" fmla="*/ 75863 h 351729"/>
                <a:gd name="connsiteX9" fmla="*/ 215176 w 215176"/>
                <a:gd name="connsiteY9" fmla="*/ 315177 h 351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5176" h="351729">
                  <a:moveTo>
                    <a:pt x="122761" y="35172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31564"/>
                  </a:lnTo>
                  <a:lnTo>
                    <a:pt x="26107" y="0"/>
                  </a:lnTo>
                  <a:lnTo>
                    <a:pt x="128968" y="0"/>
                  </a:lnTo>
                  <a:cubicBezTo>
                    <a:pt x="184831" y="0"/>
                    <a:pt x="215176" y="24139"/>
                    <a:pt x="215176" y="75863"/>
                  </a:cubicBezTo>
                  <a:lnTo>
                    <a:pt x="215176" y="3151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8C358B06-CFB8-4D7E-B58B-64076A590B10}"/>
                </a:ext>
              </a:extLst>
            </p:cNvPr>
            <p:cNvSpPr/>
            <p:nvPr/>
          </p:nvSpPr>
          <p:spPr>
            <a:xfrm rot="8716295">
              <a:off x="1938756" y="4602084"/>
              <a:ext cx="253340" cy="284725"/>
            </a:xfrm>
            <a:custGeom>
              <a:avLst/>
              <a:gdLst>
                <a:gd name="connsiteX0" fmla="*/ 160632 w 253340"/>
                <a:gd name="connsiteY0" fmla="*/ 90518 h 284725"/>
                <a:gd name="connsiteX1" fmla="*/ 235501 w 253340"/>
                <a:gd name="connsiteY1" fmla="*/ 0 h 284725"/>
                <a:gd name="connsiteX2" fmla="*/ 245549 w 253340"/>
                <a:gd name="connsiteY2" fmla="*/ 18921 h 284725"/>
                <a:gd name="connsiteX3" fmla="*/ 253340 w 253340"/>
                <a:gd name="connsiteY3" fmla="*/ 76098 h 284725"/>
                <a:gd name="connsiteX4" fmla="*/ 253340 w 253340"/>
                <a:gd name="connsiteY4" fmla="*/ 85064 h 284725"/>
                <a:gd name="connsiteX5" fmla="*/ 0 w 253340"/>
                <a:gd name="connsiteY5" fmla="*/ 284725 h 284725"/>
                <a:gd name="connsiteX6" fmla="*/ 27820 w 253340"/>
                <a:gd name="connsiteY6" fmla="*/ 251090 h 284725"/>
                <a:gd name="connsiteX7" fmla="*/ 27820 w 253340"/>
                <a:gd name="connsiteY7" fmla="*/ 265757 h 28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3340" h="284725">
                  <a:moveTo>
                    <a:pt x="160632" y="90518"/>
                  </a:moveTo>
                  <a:lnTo>
                    <a:pt x="235501" y="0"/>
                  </a:lnTo>
                  <a:lnTo>
                    <a:pt x="245549" y="18921"/>
                  </a:lnTo>
                  <a:cubicBezTo>
                    <a:pt x="250668" y="35581"/>
                    <a:pt x="253340" y="54719"/>
                    <a:pt x="253340" y="76098"/>
                  </a:cubicBezTo>
                  <a:lnTo>
                    <a:pt x="253340" y="85064"/>
                  </a:lnTo>
                  <a:close/>
                  <a:moveTo>
                    <a:pt x="0" y="284725"/>
                  </a:moveTo>
                  <a:lnTo>
                    <a:pt x="27820" y="251090"/>
                  </a:lnTo>
                  <a:lnTo>
                    <a:pt x="27820" y="26575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55465226-9705-450D-9333-C6F18EA9DA5B}"/>
                </a:ext>
              </a:extLst>
            </p:cNvPr>
            <p:cNvSpPr/>
            <p:nvPr/>
          </p:nvSpPr>
          <p:spPr>
            <a:xfrm rot="8716295">
              <a:off x="1865533" y="439222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14393A34-234C-4F82-B937-651BE2C2EB26}"/>
                </a:ext>
              </a:extLst>
            </p:cNvPr>
            <p:cNvSpPr/>
            <p:nvPr/>
          </p:nvSpPr>
          <p:spPr>
            <a:xfrm rot="8716295">
              <a:off x="1628246" y="461256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C8A075BE-A4F2-4F84-B522-C6E43EFD2240}"/>
                </a:ext>
              </a:extLst>
            </p:cNvPr>
            <p:cNvSpPr/>
            <p:nvPr/>
          </p:nvSpPr>
          <p:spPr>
            <a:xfrm rot="8716295">
              <a:off x="1439200" y="42967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56AB483C-9DB6-4B2C-B13B-6356C19C1FBB}"/>
                </a:ext>
              </a:extLst>
            </p:cNvPr>
            <p:cNvSpPr/>
            <p:nvPr/>
          </p:nvSpPr>
          <p:spPr>
            <a:xfrm rot="8716295">
              <a:off x="1420958" y="408668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AFF52EFA-F302-42BC-851E-3ECAD5E2BCCE}"/>
                </a:ext>
              </a:extLst>
            </p:cNvPr>
            <p:cNvSpPr/>
            <p:nvPr/>
          </p:nvSpPr>
          <p:spPr>
            <a:xfrm rot="8716295">
              <a:off x="1764734" y="467454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DD8C6387-B92F-4AE3-84AA-9699909C3151}"/>
                </a:ext>
              </a:extLst>
            </p:cNvPr>
            <p:cNvSpPr/>
            <p:nvPr/>
          </p:nvSpPr>
          <p:spPr>
            <a:xfrm rot="8716295">
              <a:off x="2058111" y="4234218"/>
              <a:ext cx="77302" cy="80483"/>
            </a:xfrm>
            <a:custGeom>
              <a:avLst/>
              <a:gdLst>
                <a:gd name="connsiteX0" fmla="*/ 2300 w 77302"/>
                <a:gd name="connsiteY0" fmla="*/ 68069 h 80483"/>
                <a:gd name="connsiteX1" fmla="*/ 0 w 77302"/>
                <a:gd name="connsiteY1" fmla="*/ 62622 h 80483"/>
                <a:gd name="connsiteX2" fmla="*/ 51796 w 77302"/>
                <a:gd name="connsiteY2" fmla="*/ 0 h 80483"/>
                <a:gd name="connsiteX3" fmla="*/ 64371 w 77302"/>
                <a:gd name="connsiteY3" fmla="*/ 5309 h 80483"/>
                <a:gd name="connsiteX4" fmla="*/ 64371 w 77302"/>
                <a:gd name="connsiteY4" fmla="*/ 67380 h 80483"/>
                <a:gd name="connsiteX5" fmla="*/ 33335 w 77302"/>
                <a:gd name="connsiteY5" fmla="*/ 80483 h 80483"/>
                <a:gd name="connsiteX6" fmla="*/ 2300 w 77302"/>
                <a:gd name="connsiteY6" fmla="*/ 68069 h 80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7302" h="80483">
                  <a:moveTo>
                    <a:pt x="2300" y="68069"/>
                  </a:moveTo>
                  <a:lnTo>
                    <a:pt x="0" y="62622"/>
                  </a:lnTo>
                  <a:lnTo>
                    <a:pt x="51796" y="0"/>
                  </a:lnTo>
                  <a:lnTo>
                    <a:pt x="64371" y="5309"/>
                  </a:lnTo>
                  <a:cubicBezTo>
                    <a:pt x="81612" y="21861"/>
                    <a:pt x="81613" y="50138"/>
                    <a:pt x="64371" y="67380"/>
                  </a:cubicBezTo>
                  <a:cubicBezTo>
                    <a:pt x="56095" y="75656"/>
                    <a:pt x="45060" y="80483"/>
                    <a:pt x="33335" y="80483"/>
                  </a:cubicBezTo>
                  <a:cubicBezTo>
                    <a:pt x="21611" y="80483"/>
                    <a:pt x="10576" y="76345"/>
                    <a:pt x="2300" y="6806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7D76A85F-9EC7-4610-8B93-DADD647681CA}"/>
                </a:ext>
              </a:extLst>
            </p:cNvPr>
            <p:cNvSpPr/>
            <p:nvPr/>
          </p:nvSpPr>
          <p:spPr>
            <a:xfrm rot="8716295">
              <a:off x="1876235" y="3938134"/>
              <a:ext cx="237808" cy="296463"/>
            </a:xfrm>
            <a:custGeom>
              <a:avLst/>
              <a:gdLst>
                <a:gd name="connsiteX0" fmla="*/ 66569 w 237808"/>
                <a:gd name="connsiteY0" fmla="*/ 296463 h 296463"/>
                <a:gd name="connsiteX1" fmla="*/ 1694 w 237808"/>
                <a:gd name="connsiteY1" fmla="*/ 175766 h 296463"/>
                <a:gd name="connsiteX2" fmla="*/ 34886 w 237808"/>
                <a:gd name="connsiteY2" fmla="*/ 83734 h 296463"/>
                <a:gd name="connsiteX3" fmla="*/ 0 w 237808"/>
                <a:gd name="connsiteY3" fmla="*/ 83734 h 296463"/>
                <a:gd name="connsiteX4" fmla="*/ 69258 w 237808"/>
                <a:gd name="connsiteY4" fmla="*/ 0 h 296463"/>
                <a:gd name="connsiteX5" fmla="*/ 237808 w 237808"/>
                <a:gd name="connsiteY5" fmla="*/ 0 h 296463"/>
                <a:gd name="connsiteX6" fmla="*/ 237808 w 237808"/>
                <a:gd name="connsiteY6" fmla="*/ 83734 h 296463"/>
                <a:gd name="connsiteX7" fmla="*/ 139741 w 237808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7808" h="296463">
                  <a:moveTo>
                    <a:pt x="66569" y="296463"/>
                  </a:moveTo>
                  <a:lnTo>
                    <a:pt x="1694" y="175766"/>
                  </a:lnTo>
                  <a:lnTo>
                    <a:pt x="34886" y="83734"/>
                  </a:lnTo>
                  <a:lnTo>
                    <a:pt x="0" y="83734"/>
                  </a:lnTo>
                  <a:lnTo>
                    <a:pt x="69258" y="0"/>
                  </a:lnTo>
                  <a:lnTo>
                    <a:pt x="237808" y="0"/>
                  </a:lnTo>
                  <a:lnTo>
                    <a:pt x="237808" y="83734"/>
                  </a:lnTo>
                  <a:lnTo>
                    <a:pt x="139741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1D9CF1AF-A09A-459A-A4AB-D88D1905EA6F}"/>
                </a:ext>
              </a:extLst>
            </p:cNvPr>
            <p:cNvSpPr/>
            <p:nvPr/>
          </p:nvSpPr>
          <p:spPr>
            <a:xfrm rot="8716295">
              <a:off x="1836851" y="406950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33B04AAC-330F-42F9-9C1F-3BB73DEAD114}"/>
                </a:ext>
              </a:extLst>
            </p:cNvPr>
            <p:cNvSpPr/>
            <p:nvPr/>
          </p:nvSpPr>
          <p:spPr>
            <a:xfrm rot="8716295">
              <a:off x="1827832" y="5057264"/>
              <a:ext cx="219410" cy="140851"/>
            </a:xfrm>
            <a:custGeom>
              <a:avLst/>
              <a:gdLst>
                <a:gd name="connsiteX0" fmla="*/ 27373 w 219410"/>
                <a:gd name="connsiteY0" fmla="*/ 96063 h 140851"/>
                <a:gd name="connsiteX1" fmla="*/ 1953 w 219410"/>
                <a:gd name="connsiteY1" fmla="*/ 53941 h 140851"/>
                <a:gd name="connsiteX2" fmla="*/ 0 w 219410"/>
                <a:gd name="connsiteY2" fmla="*/ 43352 h 140851"/>
                <a:gd name="connsiteX3" fmla="*/ 35858 w 219410"/>
                <a:gd name="connsiteY3" fmla="*/ 0 h 140851"/>
                <a:gd name="connsiteX4" fmla="*/ 219410 w 219410"/>
                <a:gd name="connsiteY4" fmla="*/ 127232 h 140851"/>
                <a:gd name="connsiteX5" fmla="*/ 200448 w 219410"/>
                <a:gd name="connsiteY5" fmla="*/ 132296 h 140851"/>
                <a:gd name="connsiteX6" fmla="*/ 136904 w 219410"/>
                <a:gd name="connsiteY6" fmla="*/ 140588 h 140851"/>
                <a:gd name="connsiteX7" fmla="*/ 27373 w 219410"/>
                <a:gd name="connsiteY7" fmla="*/ 96063 h 140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9410" h="140851">
                  <a:moveTo>
                    <a:pt x="27373" y="96063"/>
                  </a:moveTo>
                  <a:cubicBezTo>
                    <a:pt x="16020" y="85043"/>
                    <a:pt x="7797" y="71018"/>
                    <a:pt x="1953" y="53941"/>
                  </a:cubicBezTo>
                  <a:lnTo>
                    <a:pt x="0" y="43352"/>
                  </a:lnTo>
                  <a:lnTo>
                    <a:pt x="35858" y="0"/>
                  </a:lnTo>
                  <a:lnTo>
                    <a:pt x="219410" y="127232"/>
                  </a:lnTo>
                  <a:lnTo>
                    <a:pt x="200448" y="132296"/>
                  </a:lnTo>
                  <a:cubicBezTo>
                    <a:pt x="176976" y="136859"/>
                    <a:pt x="155381" y="139475"/>
                    <a:pt x="136904" y="140588"/>
                  </a:cubicBezTo>
                  <a:cubicBezTo>
                    <a:pt x="95942" y="143260"/>
                    <a:pt x="55870" y="125450"/>
                    <a:pt x="27373" y="960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24E0BB53-945A-402E-838B-93267E59D513}"/>
                </a:ext>
              </a:extLst>
            </p:cNvPr>
            <p:cNvSpPr/>
            <p:nvPr/>
          </p:nvSpPr>
          <p:spPr>
            <a:xfrm rot="8716295">
              <a:off x="1125067" y="247965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6C251D8C-A5D9-4ECA-AD3B-1A05AB92D036}"/>
                </a:ext>
              </a:extLst>
            </p:cNvPr>
            <p:cNvSpPr/>
            <p:nvPr/>
          </p:nvSpPr>
          <p:spPr>
            <a:xfrm rot="8716295">
              <a:off x="1260365" y="252391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8B96FE87-2D5C-4688-844D-4E74C72A4B6C}"/>
                </a:ext>
              </a:extLst>
            </p:cNvPr>
            <p:cNvSpPr/>
            <p:nvPr/>
          </p:nvSpPr>
          <p:spPr>
            <a:xfrm rot="8716295">
              <a:off x="1192483" y="2393326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582D3CFC-4736-4E25-B369-A4CE70A870B5}"/>
                </a:ext>
              </a:extLst>
            </p:cNvPr>
            <p:cNvSpPr/>
            <p:nvPr/>
          </p:nvSpPr>
          <p:spPr>
            <a:xfrm rot="8716295">
              <a:off x="955196" y="261367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005E4ED8-B75C-4EF1-8BE9-2F684ADC8702}"/>
                </a:ext>
              </a:extLst>
            </p:cNvPr>
            <p:cNvSpPr/>
            <p:nvPr/>
          </p:nvSpPr>
          <p:spPr>
            <a:xfrm rot="8716295">
              <a:off x="766149" y="229783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AFABF28F-6E8A-4957-B94B-921C1E69A440}"/>
                </a:ext>
              </a:extLst>
            </p:cNvPr>
            <p:cNvSpPr/>
            <p:nvPr/>
          </p:nvSpPr>
          <p:spPr>
            <a:xfrm rot="8716295">
              <a:off x="747908" y="2087785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A9A47BF0-B3E6-4CA8-B1F1-FEC766FA52E5}"/>
                </a:ext>
              </a:extLst>
            </p:cNvPr>
            <p:cNvSpPr/>
            <p:nvPr/>
          </p:nvSpPr>
          <p:spPr>
            <a:xfrm rot="8716295">
              <a:off x="1091684" y="2675653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E9996FB1-6163-4708-89D3-37E7BECE1764}"/>
                </a:ext>
              </a:extLst>
            </p:cNvPr>
            <p:cNvSpPr/>
            <p:nvPr/>
          </p:nvSpPr>
          <p:spPr>
            <a:xfrm rot="8716295">
              <a:off x="1562630" y="210103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A1CE2F3B-6619-4775-85F0-1C1F8C974630}"/>
                </a:ext>
              </a:extLst>
            </p:cNvPr>
            <p:cNvSpPr/>
            <p:nvPr/>
          </p:nvSpPr>
          <p:spPr>
            <a:xfrm rot="8716295">
              <a:off x="1697929" y="214529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8284C668-CF6A-429F-A20E-B2542F51FB46}"/>
                </a:ext>
              </a:extLst>
            </p:cNvPr>
            <p:cNvSpPr/>
            <p:nvPr/>
          </p:nvSpPr>
          <p:spPr>
            <a:xfrm rot="8716295">
              <a:off x="1392759" y="223505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AA01786E-CED8-47C1-98FC-809C875C8CD9}"/>
                </a:ext>
              </a:extLst>
            </p:cNvPr>
            <p:cNvSpPr/>
            <p:nvPr/>
          </p:nvSpPr>
          <p:spPr>
            <a:xfrm rot="8716295">
              <a:off x="1203715" y="191921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2425A90E-FE44-45AD-B145-151A84FF9C22}"/>
                </a:ext>
              </a:extLst>
            </p:cNvPr>
            <p:cNvSpPr/>
            <p:nvPr/>
          </p:nvSpPr>
          <p:spPr>
            <a:xfrm rot="8716295">
              <a:off x="1529248" y="2297037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C0E93116-88EE-4D50-8215-854EE6AEF62E}"/>
                </a:ext>
              </a:extLst>
            </p:cNvPr>
            <p:cNvSpPr/>
            <p:nvPr/>
          </p:nvSpPr>
          <p:spPr>
            <a:xfrm rot="8716295">
              <a:off x="1163801" y="2070611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97447593-0A4C-444A-8AD1-F14699136B1C}"/>
                </a:ext>
              </a:extLst>
            </p:cNvPr>
            <p:cNvSpPr/>
            <p:nvPr/>
          </p:nvSpPr>
          <p:spPr>
            <a:xfrm rot="7484129">
              <a:off x="1688065" y="258665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E8FA1E58-23E1-4418-9B7C-2F5C67C32BDC}"/>
                </a:ext>
              </a:extLst>
            </p:cNvPr>
            <p:cNvSpPr/>
            <p:nvPr/>
          </p:nvSpPr>
          <p:spPr>
            <a:xfrm rot="13089394">
              <a:off x="1845023" y="2531236"/>
              <a:ext cx="412568" cy="496925"/>
            </a:xfrm>
            <a:custGeom>
              <a:avLst/>
              <a:gdLst>
                <a:gd name="connsiteX0" fmla="*/ 412568 w 412568"/>
                <a:gd name="connsiteY0" fmla="*/ 390854 h 496925"/>
                <a:gd name="connsiteX1" fmla="*/ 198232 w 412568"/>
                <a:gd name="connsiteY1" fmla="*/ 489977 h 496925"/>
                <a:gd name="connsiteX2" fmla="*/ 144991 w 412568"/>
                <a:gd name="connsiteY2" fmla="*/ 496925 h 496925"/>
                <a:gd name="connsiteX3" fmla="*/ 0 w 412568"/>
                <a:gd name="connsiteY3" fmla="*/ 276116 h 496925"/>
                <a:gd name="connsiteX4" fmla="*/ 0 w 412568"/>
                <a:gd name="connsiteY4" fmla="*/ 57626 h 496925"/>
                <a:gd name="connsiteX5" fmla="*/ 111075 w 412568"/>
                <a:gd name="connsiteY5" fmla="*/ 0 h 496925"/>
                <a:gd name="connsiteX6" fmla="*/ 112747 w 412568"/>
                <a:gd name="connsiteY6" fmla="*/ 233009 h 496925"/>
                <a:gd name="connsiteX7" fmla="*/ 132789 w 412568"/>
                <a:gd name="connsiteY7" fmla="*/ 371646 h 496925"/>
                <a:gd name="connsiteX8" fmla="*/ 233008 w 412568"/>
                <a:gd name="connsiteY8" fmla="*/ 426766 h 496925"/>
                <a:gd name="connsiteX9" fmla="*/ 308173 w 412568"/>
                <a:gd name="connsiteY9" fmla="*/ 413403 h 496925"/>
                <a:gd name="connsiteX10" fmla="*/ 410897 w 412568"/>
                <a:gd name="connsiteY10" fmla="*/ 371646 h 496925"/>
                <a:gd name="connsiteX11" fmla="*/ 412568 w 412568"/>
                <a:gd name="connsiteY11" fmla="*/ 382502 h 496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2568" h="496925">
                  <a:moveTo>
                    <a:pt x="412568" y="390854"/>
                  </a:moveTo>
                  <a:cubicBezTo>
                    <a:pt x="346173" y="447854"/>
                    <a:pt x="264275" y="477136"/>
                    <a:pt x="198232" y="489977"/>
                  </a:cubicBezTo>
                  <a:lnTo>
                    <a:pt x="144991" y="496925"/>
                  </a:lnTo>
                  <a:lnTo>
                    <a:pt x="0" y="276116"/>
                  </a:lnTo>
                  <a:lnTo>
                    <a:pt x="0" y="57626"/>
                  </a:lnTo>
                  <a:lnTo>
                    <a:pt x="111075" y="0"/>
                  </a:lnTo>
                  <a:lnTo>
                    <a:pt x="112747" y="233009"/>
                  </a:lnTo>
                  <a:cubicBezTo>
                    <a:pt x="110241" y="279778"/>
                    <a:pt x="117757" y="327382"/>
                    <a:pt x="132789" y="371646"/>
                  </a:cubicBezTo>
                  <a:cubicBezTo>
                    <a:pt x="146153" y="408393"/>
                    <a:pt x="180394" y="426766"/>
                    <a:pt x="233008" y="426766"/>
                  </a:cubicBezTo>
                  <a:cubicBezTo>
                    <a:pt x="258899" y="425930"/>
                    <a:pt x="283953" y="420919"/>
                    <a:pt x="308173" y="413403"/>
                  </a:cubicBezTo>
                  <a:cubicBezTo>
                    <a:pt x="343249" y="402546"/>
                    <a:pt x="377491" y="388349"/>
                    <a:pt x="410897" y="371646"/>
                  </a:cubicBezTo>
                  <a:cubicBezTo>
                    <a:pt x="411732" y="374986"/>
                    <a:pt x="412568" y="379161"/>
                    <a:pt x="412568" y="38250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18E16AF5-15DE-4CED-B67B-CF099D4DD885}"/>
                </a:ext>
              </a:extLst>
            </p:cNvPr>
            <p:cNvSpPr/>
            <p:nvPr/>
          </p:nvSpPr>
          <p:spPr>
            <a:xfrm rot="8716295">
              <a:off x="2147054" y="2332037"/>
              <a:ext cx="207668" cy="192886"/>
            </a:xfrm>
            <a:custGeom>
              <a:avLst/>
              <a:gdLst>
                <a:gd name="connsiteX0" fmla="*/ 0 w 207668"/>
                <a:gd name="connsiteY0" fmla="*/ 192886 h 192886"/>
                <a:gd name="connsiteX1" fmla="*/ 159539 w 207668"/>
                <a:gd name="connsiteY1" fmla="*/ 0 h 192886"/>
                <a:gd name="connsiteX2" fmla="*/ 181588 w 207668"/>
                <a:gd name="connsiteY2" fmla="*/ 5201 h 192886"/>
                <a:gd name="connsiteX3" fmla="*/ 207668 w 207668"/>
                <a:gd name="connsiteY3" fmla="*/ 59649 h 192886"/>
                <a:gd name="connsiteX4" fmla="*/ 160490 w 207668"/>
                <a:gd name="connsiteY4" fmla="*/ 123096 h 192886"/>
                <a:gd name="connsiteX5" fmla="*/ 161303 w 207668"/>
                <a:gd name="connsiteY5" fmla="*/ 123096 h 192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668" h="192886">
                  <a:moveTo>
                    <a:pt x="0" y="192886"/>
                  </a:moveTo>
                  <a:lnTo>
                    <a:pt x="159539" y="0"/>
                  </a:lnTo>
                  <a:lnTo>
                    <a:pt x="181588" y="5201"/>
                  </a:lnTo>
                  <a:cubicBezTo>
                    <a:pt x="201262" y="16029"/>
                    <a:pt x="207668" y="40127"/>
                    <a:pt x="207668" y="59649"/>
                  </a:cubicBezTo>
                  <a:cubicBezTo>
                    <a:pt x="205228" y="88119"/>
                    <a:pt x="186518" y="111708"/>
                    <a:pt x="160490" y="123096"/>
                  </a:cubicBezTo>
                  <a:lnTo>
                    <a:pt x="161303" y="1230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EE7EA580-766E-4570-A7DD-55A7181E9140}"/>
                </a:ext>
              </a:extLst>
            </p:cNvPr>
            <p:cNvSpPr/>
            <p:nvPr/>
          </p:nvSpPr>
          <p:spPr>
            <a:xfrm rot="8716295">
              <a:off x="2049197" y="208909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89C54D82-6DB7-45E9-8646-AF058AAE6AFE}"/>
                </a:ext>
              </a:extLst>
            </p:cNvPr>
            <p:cNvSpPr/>
            <p:nvPr/>
          </p:nvSpPr>
          <p:spPr>
            <a:xfrm rot="8716295">
              <a:off x="1681033" y="21348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350EA871-183D-437B-B28B-EF893E9A4930}"/>
                </a:ext>
              </a:extLst>
            </p:cNvPr>
            <p:cNvSpPr/>
            <p:nvPr/>
          </p:nvSpPr>
          <p:spPr>
            <a:xfrm rot="8716295">
              <a:off x="1949615" y="189381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7625BF35-EB3E-4083-8310-66A6ABEEBE81}"/>
                </a:ext>
              </a:extLst>
            </p:cNvPr>
            <p:cNvSpPr/>
            <p:nvPr/>
          </p:nvSpPr>
          <p:spPr>
            <a:xfrm rot="8716295">
              <a:off x="787294" y="148117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4A278F8F-FAFA-4D7A-877C-29D91BF541D4}"/>
                </a:ext>
              </a:extLst>
            </p:cNvPr>
            <p:cNvSpPr/>
            <p:nvPr/>
          </p:nvSpPr>
          <p:spPr>
            <a:xfrm rot="8716295">
              <a:off x="922592" y="152543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DB2610A3-31CF-45EF-B184-4657FD23CA44}"/>
                </a:ext>
              </a:extLst>
            </p:cNvPr>
            <p:cNvSpPr/>
            <p:nvPr/>
          </p:nvSpPr>
          <p:spPr>
            <a:xfrm rot="8716295">
              <a:off x="854710" y="1394843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2721DD24-E32D-474A-8AE8-CB1F5FEA63CC}"/>
                </a:ext>
              </a:extLst>
            </p:cNvPr>
            <p:cNvSpPr/>
            <p:nvPr/>
          </p:nvSpPr>
          <p:spPr>
            <a:xfrm rot="8716295">
              <a:off x="617423" y="161518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271ACC1B-5BC1-4C90-8744-187E477874EA}"/>
                </a:ext>
              </a:extLst>
            </p:cNvPr>
            <p:cNvSpPr/>
            <p:nvPr/>
          </p:nvSpPr>
          <p:spPr>
            <a:xfrm rot="8716295">
              <a:off x="428376" y="129935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09A9FE1D-6CB8-4187-8C52-59F1BA866B08}"/>
                </a:ext>
              </a:extLst>
            </p:cNvPr>
            <p:cNvSpPr/>
            <p:nvPr/>
          </p:nvSpPr>
          <p:spPr>
            <a:xfrm rot="8716295">
              <a:off x="410135" y="1089302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orme libre : forme 58">
              <a:extLst>
                <a:ext uri="{FF2B5EF4-FFF2-40B4-BE49-F238E27FC236}">
                  <a16:creationId xmlns:a16="http://schemas.microsoft.com/office/drawing/2014/main" id="{536CBB26-493E-4AF3-B817-10984C95D957}"/>
                </a:ext>
              </a:extLst>
            </p:cNvPr>
            <p:cNvSpPr/>
            <p:nvPr/>
          </p:nvSpPr>
          <p:spPr>
            <a:xfrm rot="8716295">
              <a:off x="753911" y="1677170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orme libre : forme 59">
              <a:extLst>
                <a:ext uri="{FF2B5EF4-FFF2-40B4-BE49-F238E27FC236}">
                  <a16:creationId xmlns:a16="http://schemas.microsoft.com/office/drawing/2014/main" id="{945CA62F-9E79-459F-9A9E-98D352B7F4FC}"/>
                </a:ext>
              </a:extLst>
            </p:cNvPr>
            <p:cNvSpPr/>
            <p:nvPr/>
          </p:nvSpPr>
          <p:spPr>
            <a:xfrm rot="8716295">
              <a:off x="1224858" y="1102556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orme libre : forme 60">
              <a:extLst>
                <a:ext uri="{FF2B5EF4-FFF2-40B4-BE49-F238E27FC236}">
                  <a16:creationId xmlns:a16="http://schemas.microsoft.com/office/drawing/2014/main" id="{369C3DB8-F103-4448-B156-2B184240310A}"/>
                </a:ext>
              </a:extLst>
            </p:cNvPr>
            <p:cNvSpPr/>
            <p:nvPr/>
          </p:nvSpPr>
          <p:spPr>
            <a:xfrm rot="8716295">
              <a:off x="1360156" y="1146815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orme libre : forme 61">
              <a:extLst>
                <a:ext uri="{FF2B5EF4-FFF2-40B4-BE49-F238E27FC236}">
                  <a16:creationId xmlns:a16="http://schemas.microsoft.com/office/drawing/2014/main" id="{18E1EF68-3C34-4AED-A042-F974F305FFA4}"/>
                </a:ext>
              </a:extLst>
            </p:cNvPr>
            <p:cNvSpPr/>
            <p:nvPr/>
          </p:nvSpPr>
          <p:spPr>
            <a:xfrm rot="8716295">
              <a:off x="1054986" y="123657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orme libre : forme 62">
              <a:extLst>
                <a:ext uri="{FF2B5EF4-FFF2-40B4-BE49-F238E27FC236}">
                  <a16:creationId xmlns:a16="http://schemas.microsoft.com/office/drawing/2014/main" id="{E6940BAB-7063-447D-9788-7A9EFB3FD540}"/>
                </a:ext>
              </a:extLst>
            </p:cNvPr>
            <p:cNvSpPr/>
            <p:nvPr/>
          </p:nvSpPr>
          <p:spPr>
            <a:xfrm rot="8716295">
              <a:off x="865942" y="92073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orme libre : forme 63">
              <a:extLst>
                <a:ext uri="{FF2B5EF4-FFF2-40B4-BE49-F238E27FC236}">
                  <a16:creationId xmlns:a16="http://schemas.microsoft.com/office/drawing/2014/main" id="{ACE5BF6F-DB4B-42E3-B1BA-145CDB9C3DF9}"/>
                </a:ext>
              </a:extLst>
            </p:cNvPr>
            <p:cNvSpPr/>
            <p:nvPr/>
          </p:nvSpPr>
          <p:spPr>
            <a:xfrm rot="8716295">
              <a:off x="1191475" y="1298554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orme libre : forme 64">
              <a:extLst>
                <a:ext uri="{FF2B5EF4-FFF2-40B4-BE49-F238E27FC236}">
                  <a16:creationId xmlns:a16="http://schemas.microsoft.com/office/drawing/2014/main" id="{652E743A-00B8-433E-B55D-34BA48EAC5CE}"/>
                </a:ext>
              </a:extLst>
            </p:cNvPr>
            <p:cNvSpPr/>
            <p:nvPr/>
          </p:nvSpPr>
          <p:spPr>
            <a:xfrm rot="8716295">
              <a:off x="826028" y="1072128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orme libre : forme 65">
              <a:extLst>
                <a:ext uri="{FF2B5EF4-FFF2-40B4-BE49-F238E27FC236}">
                  <a16:creationId xmlns:a16="http://schemas.microsoft.com/office/drawing/2014/main" id="{BACD1396-4989-4CCD-AB4F-6277B1FA025D}"/>
                </a:ext>
              </a:extLst>
            </p:cNvPr>
            <p:cNvSpPr/>
            <p:nvPr/>
          </p:nvSpPr>
          <p:spPr>
            <a:xfrm rot="7484129">
              <a:off x="1350292" y="158817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orme libre : forme 66">
              <a:extLst>
                <a:ext uri="{FF2B5EF4-FFF2-40B4-BE49-F238E27FC236}">
                  <a16:creationId xmlns:a16="http://schemas.microsoft.com/office/drawing/2014/main" id="{F1575DA2-DE7C-4BAF-AFB3-D8ACAD3FE8BB}"/>
                </a:ext>
              </a:extLst>
            </p:cNvPr>
            <p:cNvSpPr/>
            <p:nvPr/>
          </p:nvSpPr>
          <p:spPr>
            <a:xfrm rot="13089394">
              <a:off x="1508942" y="1537520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3D5C7C03-0DD7-4CE0-B323-2DBC8A33D724}"/>
                </a:ext>
              </a:extLst>
            </p:cNvPr>
            <p:cNvSpPr/>
            <p:nvPr/>
          </p:nvSpPr>
          <p:spPr>
            <a:xfrm rot="8716295">
              <a:off x="1789833" y="1247402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orme libre : forme 68">
              <a:extLst>
                <a:ext uri="{FF2B5EF4-FFF2-40B4-BE49-F238E27FC236}">
                  <a16:creationId xmlns:a16="http://schemas.microsoft.com/office/drawing/2014/main" id="{2A0940B5-3257-4C64-A206-488AFE286994}"/>
                </a:ext>
              </a:extLst>
            </p:cNvPr>
            <p:cNvSpPr/>
            <p:nvPr/>
          </p:nvSpPr>
          <p:spPr>
            <a:xfrm rot="8716295">
              <a:off x="1711424" y="109061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orme libre : forme 69">
              <a:extLst>
                <a:ext uri="{FF2B5EF4-FFF2-40B4-BE49-F238E27FC236}">
                  <a16:creationId xmlns:a16="http://schemas.microsoft.com/office/drawing/2014/main" id="{3166A607-68F9-4F3F-A5ED-4FA937BEECD1}"/>
                </a:ext>
              </a:extLst>
            </p:cNvPr>
            <p:cNvSpPr/>
            <p:nvPr/>
          </p:nvSpPr>
          <p:spPr>
            <a:xfrm rot="8716295">
              <a:off x="1343261" y="113635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orme libre : forme 70">
              <a:extLst>
                <a:ext uri="{FF2B5EF4-FFF2-40B4-BE49-F238E27FC236}">
                  <a16:creationId xmlns:a16="http://schemas.microsoft.com/office/drawing/2014/main" id="{E3E45D07-7F2E-45AC-8607-5306F45B7B5E}"/>
                </a:ext>
              </a:extLst>
            </p:cNvPr>
            <p:cNvSpPr/>
            <p:nvPr/>
          </p:nvSpPr>
          <p:spPr>
            <a:xfrm rot="8716295">
              <a:off x="1611842" y="89533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orme libre : forme 71">
              <a:extLst>
                <a:ext uri="{FF2B5EF4-FFF2-40B4-BE49-F238E27FC236}">
                  <a16:creationId xmlns:a16="http://schemas.microsoft.com/office/drawing/2014/main" id="{F61F2692-40B7-4A40-AE32-B2180297905C}"/>
                </a:ext>
              </a:extLst>
            </p:cNvPr>
            <p:cNvSpPr/>
            <p:nvPr/>
          </p:nvSpPr>
          <p:spPr>
            <a:xfrm rot="8716295">
              <a:off x="455920" y="47911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orme libre : forme 72">
              <a:extLst>
                <a:ext uri="{FF2B5EF4-FFF2-40B4-BE49-F238E27FC236}">
                  <a16:creationId xmlns:a16="http://schemas.microsoft.com/office/drawing/2014/main" id="{8D510AFD-E0B6-4C04-A231-06F0DA5461FE}"/>
                </a:ext>
              </a:extLst>
            </p:cNvPr>
            <p:cNvSpPr/>
            <p:nvPr/>
          </p:nvSpPr>
          <p:spPr>
            <a:xfrm rot="8716295">
              <a:off x="591219" y="52337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" name="Forme libre : forme 73">
              <a:extLst>
                <a:ext uri="{FF2B5EF4-FFF2-40B4-BE49-F238E27FC236}">
                  <a16:creationId xmlns:a16="http://schemas.microsoft.com/office/drawing/2014/main" id="{6B88DB4B-6413-485F-AD39-EF4AC1850A75}"/>
                </a:ext>
              </a:extLst>
            </p:cNvPr>
            <p:cNvSpPr/>
            <p:nvPr/>
          </p:nvSpPr>
          <p:spPr>
            <a:xfrm rot="8716295">
              <a:off x="523336" y="39278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" name="Forme libre : forme 74">
              <a:extLst>
                <a:ext uri="{FF2B5EF4-FFF2-40B4-BE49-F238E27FC236}">
                  <a16:creationId xmlns:a16="http://schemas.microsoft.com/office/drawing/2014/main" id="{985A4035-A707-4F38-A0C9-2533BF637BC9}"/>
                </a:ext>
              </a:extLst>
            </p:cNvPr>
            <p:cNvSpPr/>
            <p:nvPr/>
          </p:nvSpPr>
          <p:spPr>
            <a:xfrm rot="8716295">
              <a:off x="286049" y="6131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" name="Forme libre : forme 75">
              <a:extLst>
                <a:ext uri="{FF2B5EF4-FFF2-40B4-BE49-F238E27FC236}">
                  <a16:creationId xmlns:a16="http://schemas.microsoft.com/office/drawing/2014/main" id="{F8A46B91-F44C-4F7E-94A8-64349465DA46}"/>
                </a:ext>
              </a:extLst>
            </p:cNvPr>
            <p:cNvSpPr/>
            <p:nvPr/>
          </p:nvSpPr>
          <p:spPr>
            <a:xfrm rot="8716295">
              <a:off x="97003" y="2972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" name="Forme libre : forme 76">
              <a:extLst>
                <a:ext uri="{FF2B5EF4-FFF2-40B4-BE49-F238E27FC236}">
                  <a16:creationId xmlns:a16="http://schemas.microsoft.com/office/drawing/2014/main" id="{D98B2AD3-F200-4E21-B245-12CF6B31E044}"/>
                </a:ext>
              </a:extLst>
            </p:cNvPr>
            <p:cNvSpPr/>
            <p:nvPr/>
          </p:nvSpPr>
          <p:spPr>
            <a:xfrm rot="8716295">
              <a:off x="78761" y="87249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" name="Forme libre : forme 77">
              <a:extLst>
                <a:ext uri="{FF2B5EF4-FFF2-40B4-BE49-F238E27FC236}">
                  <a16:creationId xmlns:a16="http://schemas.microsoft.com/office/drawing/2014/main" id="{31F62124-299F-4960-8825-F200F77E89B1}"/>
                </a:ext>
              </a:extLst>
            </p:cNvPr>
            <p:cNvSpPr/>
            <p:nvPr/>
          </p:nvSpPr>
          <p:spPr>
            <a:xfrm rot="8716295">
              <a:off x="422537" y="67511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orme libre : forme 78">
              <a:extLst>
                <a:ext uri="{FF2B5EF4-FFF2-40B4-BE49-F238E27FC236}">
                  <a16:creationId xmlns:a16="http://schemas.microsoft.com/office/drawing/2014/main" id="{EE39F313-B670-444A-981C-E127C24D857F}"/>
                </a:ext>
              </a:extLst>
            </p:cNvPr>
            <p:cNvSpPr/>
            <p:nvPr/>
          </p:nvSpPr>
          <p:spPr>
            <a:xfrm rot="8716295">
              <a:off x="893484" y="10050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Forme libre : forme 79">
              <a:extLst>
                <a:ext uri="{FF2B5EF4-FFF2-40B4-BE49-F238E27FC236}">
                  <a16:creationId xmlns:a16="http://schemas.microsoft.com/office/drawing/2014/main" id="{9BFFA7AA-3FAD-4A4D-BF99-76B00FB2C288}"/>
                </a:ext>
              </a:extLst>
            </p:cNvPr>
            <p:cNvSpPr/>
            <p:nvPr/>
          </p:nvSpPr>
          <p:spPr>
            <a:xfrm rot="8716295">
              <a:off x="1028783" y="14476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" name="Forme libre : forme 80">
              <a:extLst>
                <a:ext uri="{FF2B5EF4-FFF2-40B4-BE49-F238E27FC236}">
                  <a16:creationId xmlns:a16="http://schemas.microsoft.com/office/drawing/2014/main" id="{1433DBAF-4AFA-4A86-A99F-428DB317C17F}"/>
                </a:ext>
              </a:extLst>
            </p:cNvPr>
            <p:cNvSpPr/>
            <p:nvPr/>
          </p:nvSpPr>
          <p:spPr>
            <a:xfrm rot="8716295">
              <a:off x="723613" y="23451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orme libre : forme 81">
              <a:extLst>
                <a:ext uri="{FF2B5EF4-FFF2-40B4-BE49-F238E27FC236}">
                  <a16:creationId xmlns:a16="http://schemas.microsoft.com/office/drawing/2014/main" id="{AF029D07-5D40-4341-9548-A67032BB1C77}"/>
                </a:ext>
              </a:extLst>
            </p:cNvPr>
            <p:cNvSpPr/>
            <p:nvPr/>
          </p:nvSpPr>
          <p:spPr>
            <a:xfrm rot="8716295">
              <a:off x="547803" y="-17289"/>
              <a:ext cx="308531" cy="226033"/>
            </a:xfrm>
            <a:custGeom>
              <a:avLst/>
              <a:gdLst>
                <a:gd name="connsiteX0" fmla="*/ 106716 w 203847"/>
                <a:gd name="connsiteY0" fmla="*/ 149340 h 149340"/>
                <a:gd name="connsiteX1" fmla="*/ 50038 w 203847"/>
                <a:gd name="connsiteY1" fmla="*/ 110053 h 149340"/>
                <a:gd name="connsiteX2" fmla="*/ 69777 w 203847"/>
                <a:gd name="connsiteY2" fmla="*/ 55323 h 149340"/>
                <a:gd name="connsiteX3" fmla="*/ 0 w 203847"/>
                <a:gd name="connsiteY3" fmla="*/ 55323 h 149340"/>
                <a:gd name="connsiteX4" fmla="*/ 0 w 203847"/>
                <a:gd name="connsiteY4" fmla="*/ 0 h 149340"/>
                <a:gd name="connsiteX5" fmla="*/ 203847 w 203847"/>
                <a:gd name="connsiteY5" fmla="*/ 0 h 149340"/>
                <a:gd name="connsiteX6" fmla="*/ 203847 w 203847"/>
                <a:gd name="connsiteY6" fmla="*/ 55323 h 149340"/>
                <a:gd name="connsiteX7" fmla="*/ 139055 w 203847"/>
                <a:gd name="connsiteY7" fmla="*/ 55323 h 14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49340">
                  <a:moveTo>
                    <a:pt x="106716" y="149340"/>
                  </a:moveTo>
                  <a:lnTo>
                    <a:pt x="50038" y="110053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Forme libre : forme 82">
              <a:extLst>
                <a:ext uri="{FF2B5EF4-FFF2-40B4-BE49-F238E27FC236}">
                  <a16:creationId xmlns:a16="http://schemas.microsoft.com/office/drawing/2014/main" id="{2932702E-E8E3-46BA-A87E-0ED0BC303BF9}"/>
                </a:ext>
              </a:extLst>
            </p:cNvPr>
            <p:cNvSpPr/>
            <p:nvPr/>
          </p:nvSpPr>
          <p:spPr>
            <a:xfrm rot="8716295">
              <a:off x="860101" y="29650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4" name="Forme libre : forme 83">
              <a:extLst>
                <a:ext uri="{FF2B5EF4-FFF2-40B4-BE49-F238E27FC236}">
                  <a16:creationId xmlns:a16="http://schemas.microsoft.com/office/drawing/2014/main" id="{69A563A2-99F0-4626-A5AF-E9AD22DC8484}"/>
                </a:ext>
              </a:extLst>
            </p:cNvPr>
            <p:cNvSpPr/>
            <p:nvPr/>
          </p:nvSpPr>
          <p:spPr>
            <a:xfrm rot="8716295">
              <a:off x="494655" y="7007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5" name="Forme libre : forme 84">
              <a:extLst>
                <a:ext uri="{FF2B5EF4-FFF2-40B4-BE49-F238E27FC236}">
                  <a16:creationId xmlns:a16="http://schemas.microsoft.com/office/drawing/2014/main" id="{B18A375D-EEA2-4D9B-96D1-D4924AE08EC7}"/>
                </a:ext>
              </a:extLst>
            </p:cNvPr>
            <p:cNvSpPr/>
            <p:nvPr/>
          </p:nvSpPr>
          <p:spPr>
            <a:xfrm rot="7484129">
              <a:off x="1018919" y="58611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6" name="Forme libre : forme 85">
              <a:extLst>
                <a:ext uri="{FF2B5EF4-FFF2-40B4-BE49-F238E27FC236}">
                  <a16:creationId xmlns:a16="http://schemas.microsoft.com/office/drawing/2014/main" id="{7717CD41-705F-4F28-B88E-73D27DF645C8}"/>
                </a:ext>
              </a:extLst>
            </p:cNvPr>
            <p:cNvSpPr/>
            <p:nvPr/>
          </p:nvSpPr>
          <p:spPr>
            <a:xfrm rot="13089394">
              <a:off x="1177568" y="53546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7" name="Forme libre : forme 86">
              <a:extLst>
                <a:ext uri="{FF2B5EF4-FFF2-40B4-BE49-F238E27FC236}">
                  <a16:creationId xmlns:a16="http://schemas.microsoft.com/office/drawing/2014/main" id="{285D68BE-9E3D-4F4C-AC96-578345571AC5}"/>
                </a:ext>
              </a:extLst>
            </p:cNvPr>
            <p:cNvSpPr/>
            <p:nvPr/>
          </p:nvSpPr>
          <p:spPr>
            <a:xfrm rot="8716295">
              <a:off x="1458459" y="24534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8" name="Forme libre : forme 87">
              <a:extLst>
                <a:ext uri="{FF2B5EF4-FFF2-40B4-BE49-F238E27FC236}">
                  <a16:creationId xmlns:a16="http://schemas.microsoft.com/office/drawing/2014/main" id="{83EDC7AF-2352-4CD0-B767-0567B99FAECC}"/>
                </a:ext>
              </a:extLst>
            </p:cNvPr>
            <p:cNvSpPr/>
            <p:nvPr/>
          </p:nvSpPr>
          <p:spPr>
            <a:xfrm rot="8716295">
              <a:off x="1380050" y="8855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9" name="Forme libre : forme 88">
              <a:extLst>
                <a:ext uri="{FF2B5EF4-FFF2-40B4-BE49-F238E27FC236}">
                  <a16:creationId xmlns:a16="http://schemas.microsoft.com/office/drawing/2014/main" id="{E853F8BE-90D5-4EB8-BCC9-E92102CA6DFE}"/>
                </a:ext>
              </a:extLst>
            </p:cNvPr>
            <p:cNvSpPr/>
            <p:nvPr/>
          </p:nvSpPr>
          <p:spPr>
            <a:xfrm rot="8716295">
              <a:off x="1011887" y="13429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" name="Forme libre : forme 89">
              <a:extLst>
                <a:ext uri="{FF2B5EF4-FFF2-40B4-BE49-F238E27FC236}">
                  <a16:creationId xmlns:a16="http://schemas.microsoft.com/office/drawing/2014/main" id="{42758375-22F2-40F5-8D40-436514F398B4}"/>
                </a:ext>
              </a:extLst>
            </p:cNvPr>
            <p:cNvSpPr/>
            <p:nvPr/>
          </p:nvSpPr>
          <p:spPr>
            <a:xfrm rot="8716295">
              <a:off x="1291652" y="-36449"/>
              <a:ext cx="134197" cy="106947"/>
            </a:xfrm>
            <a:custGeom>
              <a:avLst/>
              <a:gdLst>
                <a:gd name="connsiteX0" fmla="*/ 83649 w 88664"/>
                <a:gd name="connsiteY0" fmla="*/ 70660 h 70660"/>
                <a:gd name="connsiteX1" fmla="*/ 0 w 88664"/>
                <a:gd name="connsiteY1" fmla="*/ 12677 h 70660"/>
                <a:gd name="connsiteX2" fmla="*/ 30024 w 88664"/>
                <a:gd name="connsiteY2" fmla="*/ 0 h 70660"/>
                <a:gd name="connsiteX3" fmla="*/ 71417 w 88664"/>
                <a:gd name="connsiteY3" fmla="*/ 17477 h 70660"/>
                <a:gd name="connsiteX4" fmla="*/ 88664 w 88664"/>
                <a:gd name="connsiteY4" fmla="*/ 58525 h 70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664" h="70660">
                  <a:moveTo>
                    <a:pt x="83649" y="70660"/>
                  </a:moveTo>
                  <a:lnTo>
                    <a:pt x="0" y="12677"/>
                  </a:lnTo>
                  <a:lnTo>
                    <a:pt x="30024" y="0"/>
                  </a:lnTo>
                  <a:cubicBezTo>
                    <a:pt x="45662" y="0"/>
                    <a:pt x="60379" y="6439"/>
                    <a:pt x="71417" y="17477"/>
                  </a:cubicBezTo>
                  <a:cubicBezTo>
                    <a:pt x="82915" y="28515"/>
                    <a:pt x="88664" y="43462"/>
                    <a:pt x="88664" y="58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" name="Forme libre : forme 90">
              <a:extLst>
                <a:ext uri="{FF2B5EF4-FFF2-40B4-BE49-F238E27FC236}">
                  <a16:creationId xmlns:a16="http://schemas.microsoft.com/office/drawing/2014/main" id="{39402522-16DA-4E11-927D-0744A887E931}"/>
                </a:ext>
              </a:extLst>
            </p:cNvPr>
            <p:cNvSpPr/>
            <p:nvPr/>
          </p:nvSpPr>
          <p:spPr>
            <a:xfrm rot="13089394">
              <a:off x="990163" y="-39748"/>
              <a:ext cx="111277" cy="115595"/>
            </a:xfrm>
            <a:custGeom>
              <a:avLst/>
              <a:gdLst>
                <a:gd name="connsiteX0" fmla="*/ 73521 w 73521"/>
                <a:gd name="connsiteY0" fmla="*/ 18609 h 76374"/>
                <a:gd name="connsiteX1" fmla="*/ 0 w 73521"/>
                <a:gd name="connsiteY1" fmla="*/ 76374 h 76374"/>
                <a:gd name="connsiteX2" fmla="*/ 0 w 73521"/>
                <a:gd name="connsiteY2" fmla="*/ 38074 h 76374"/>
                <a:gd name="connsiteX3" fmla="*/ 73388 w 73521"/>
                <a:gd name="connsiteY3" fmla="*/ 0 h 7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521" h="76374">
                  <a:moveTo>
                    <a:pt x="73521" y="18609"/>
                  </a:moveTo>
                  <a:lnTo>
                    <a:pt x="0" y="76374"/>
                  </a:lnTo>
                  <a:lnTo>
                    <a:pt x="0" y="38074"/>
                  </a:lnTo>
                  <a:lnTo>
                    <a:pt x="7338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" name="Forme libre : forme 91">
              <a:extLst>
                <a:ext uri="{FF2B5EF4-FFF2-40B4-BE49-F238E27FC236}">
                  <a16:creationId xmlns:a16="http://schemas.microsoft.com/office/drawing/2014/main" id="{BA0CCCD1-A43A-4EDA-9AE2-2B760A750CB8}"/>
                </a:ext>
              </a:extLst>
            </p:cNvPr>
            <p:cNvSpPr/>
            <p:nvPr/>
          </p:nvSpPr>
          <p:spPr>
            <a:xfrm rot="8716295">
              <a:off x="121288" y="414134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" name="Forme libre : forme 92">
              <a:extLst>
                <a:ext uri="{FF2B5EF4-FFF2-40B4-BE49-F238E27FC236}">
                  <a16:creationId xmlns:a16="http://schemas.microsoft.com/office/drawing/2014/main" id="{B00F8218-3F51-4CFB-9D4D-4142207B942F}"/>
                </a:ext>
              </a:extLst>
            </p:cNvPr>
            <p:cNvSpPr/>
            <p:nvPr/>
          </p:nvSpPr>
          <p:spPr>
            <a:xfrm rot="8716295">
              <a:off x="256586" y="418560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" name="Forme libre : forme 93">
              <a:extLst>
                <a:ext uri="{FF2B5EF4-FFF2-40B4-BE49-F238E27FC236}">
                  <a16:creationId xmlns:a16="http://schemas.microsoft.com/office/drawing/2014/main" id="{59A33452-85A5-44B9-85E4-34DB64857691}"/>
                </a:ext>
              </a:extLst>
            </p:cNvPr>
            <p:cNvSpPr/>
            <p:nvPr/>
          </p:nvSpPr>
          <p:spPr>
            <a:xfrm rot="8716295">
              <a:off x="188704" y="405501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orme libre : forme 94">
              <a:extLst>
                <a:ext uri="{FF2B5EF4-FFF2-40B4-BE49-F238E27FC236}">
                  <a16:creationId xmlns:a16="http://schemas.microsoft.com/office/drawing/2014/main" id="{6EB29E53-18CD-42F3-9B37-2ECC6883F84C}"/>
                </a:ext>
              </a:extLst>
            </p:cNvPr>
            <p:cNvSpPr/>
            <p:nvPr/>
          </p:nvSpPr>
          <p:spPr>
            <a:xfrm rot="8716295">
              <a:off x="-22408" y="4278013"/>
              <a:ext cx="57413" cy="71926"/>
            </a:xfrm>
            <a:custGeom>
              <a:avLst/>
              <a:gdLst>
                <a:gd name="connsiteX0" fmla="*/ 11441 w 57413"/>
                <a:gd name="connsiteY0" fmla="*/ 71926 h 71926"/>
                <a:gd name="connsiteX1" fmla="*/ 0 w 57413"/>
                <a:gd name="connsiteY1" fmla="*/ 44829 h 71926"/>
                <a:gd name="connsiteX2" fmla="*/ 0 w 57413"/>
                <a:gd name="connsiteY2" fmla="*/ 44139 h 71926"/>
                <a:gd name="connsiteX3" fmla="*/ 13104 w 57413"/>
                <a:gd name="connsiteY3" fmla="*/ 13104 h 71926"/>
                <a:gd name="connsiteX4" fmla="*/ 44139 w 57413"/>
                <a:gd name="connsiteY4" fmla="*/ 0 h 71926"/>
                <a:gd name="connsiteX5" fmla="*/ 57413 w 57413"/>
                <a:gd name="connsiteY5" fmla="*/ 5605 h 71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413" h="71926">
                  <a:moveTo>
                    <a:pt x="11441" y="71926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lnTo>
                    <a:pt x="57413" y="5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Forme libre : forme 95">
              <a:extLst>
                <a:ext uri="{FF2B5EF4-FFF2-40B4-BE49-F238E27FC236}">
                  <a16:creationId xmlns:a16="http://schemas.microsoft.com/office/drawing/2014/main" id="{5DEA4AC8-B4A8-4210-932F-E61308CFB12D}"/>
                </a:ext>
              </a:extLst>
            </p:cNvPr>
            <p:cNvSpPr/>
            <p:nvPr/>
          </p:nvSpPr>
          <p:spPr>
            <a:xfrm rot="8716295">
              <a:off x="-36969" y="4107248"/>
              <a:ext cx="147272" cy="83734"/>
            </a:xfrm>
            <a:custGeom>
              <a:avLst/>
              <a:gdLst>
                <a:gd name="connsiteX0" fmla="*/ 0 w 147272"/>
                <a:gd name="connsiteY0" fmla="*/ 83734 h 83734"/>
                <a:gd name="connsiteX1" fmla="*/ 0 w 147272"/>
                <a:gd name="connsiteY1" fmla="*/ 0 h 83734"/>
                <a:gd name="connsiteX2" fmla="*/ 147272 w 147272"/>
                <a:gd name="connsiteY2" fmla="*/ 0 h 83734"/>
                <a:gd name="connsiteX3" fmla="*/ 89230 w 147272"/>
                <a:gd name="connsiteY3" fmla="*/ 83734 h 83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272" h="83734">
                  <a:moveTo>
                    <a:pt x="0" y="83734"/>
                  </a:moveTo>
                  <a:lnTo>
                    <a:pt x="0" y="0"/>
                  </a:lnTo>
                  <a:lnTo>
                    <a:pt x="147272" y="0"/>
                  </a:lnTo>
                  <a:lnTo>
                    <a:pt x="89230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" name="Forme libre : forme 96">
              <a:extLst>
                <a:ext uri="{FF2B5EF4-FFF2-40B4-BE49-F238E27FC236}">
                  <a16:creationId xmlns:a16="http://schemas.microsoft.com/office/drawing/2014/main" id="{B218914A-7EA1-40E4-B44A-2A3DBC972AF7}"/>
                </a:ext>
              </a:extLst>
            </p:cNvPr>
            <p:cNvSpPr/>
            <p:nvPr/>
          </p:nvSpPr>
          <p:spPr>
            <a:xfrm rot="8716295">
              <a:off x="43378" y="3712531"/>
              <a:ext cx="125537" cy="468763"/>
            </a:xfrm>
            <a:custGeom>
              <a:avLst/>
              <a:gdLst>
                <a:gd name="connsiteX0" fmla="*/ 29455 w 125537"/>
                <a:gd name="connsiteY0" fmla="*/ 468763 h 468763"/>
                <a:gd name="connsiteX1" fmla="*/ 7792 w 125537"/>
                <a:gd name="connsiteY1" fmla="*/ 425988 h 468763"/>
                <a:gd name="connsiteX2" fmla="*/ 0 w 125537"/>
                <a:gd name="connsiteY2" fmla="*/ 333043 h 468763"/>
                <a:gd name="connsiteX3" fmla="*/ 0 w 125537"/>
                <a:gd name="connsiteY3" fmla="*/ 61444 h 468763"/>
                <a:gd name="connsiteX4" fmla="*/ 118434 w 125537"/>
                <a:gd name="connsiteY4" fmla="*/ 0 h 468763"/>
                <a:gd name="connsiteX5" fmla="*/ 120216 w 125537"/>
                <a:gd name="connsiteY5" fmla="*/ 248447 h 468763"/>
                <a:gd name="connsiteX6" fmla="*/ 123889 w 125537"/>
                <a:gd name="connsiteY6" fmla="*/ 323359 h 468763"/>
                <a:gd name="connsiteX7" fmla="*/ 125537 w 125537"/>
                <a:gd name="connsiteY7" fmla="*/ 330150 h 468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537" h="468763">
                  <a:moveTo>
                    <a:pt x="29455" y="468763"/>
                  </a:moveTo>
                  <a:lnTo>
                    <a:pt x="7792" y="425988"/>
                  </a:lnTo>
                  <a:cubicBezTo>
                    <a:pt x="2003" y="400498"/>
                    <a:pt x="0" y="369553"/>
                    <a:pt x="0" y="333043"/>
                  </a:cubicBezTo>
                  <a:lnTo>
                    <a:pt x="0" y="61444"/>
                  </a:lnTo>
                  <a:lnTo>
                    <a:pt x="118434" y="0"/>
                  </a:lnTo>
                  <a:lnTo>
                    <a:pt x="120216" y="248447"/>
                  </a:lnTo>
                  <a:cubicBezTo>
                    <a:pt x="118880" y="273381"/>
                    <a:pt x="120216" y="298537"/>
                    <a:pt x="123889" y="323359"/>
                  </a:cubicBezTo>
                  <a:lnTo>
                    <a:pt x="125537" y="3301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" name="Forme libre : forme 97">
              <a:extLst>
                <a:ext uri="{FF2B5EF4-FFF2-40B4-BE49-F238E27FC236}">
                  <a16:creationId xmlns:a16="http://schemas.microsoft.com/office/drawing/2014/main" id="{B6F2924E-906C-4ED1-BF2D-C834372E14EF}"/>
                </a:ext>
              </a:extLst>
            </p:cNvPr>
            <p:cNvSpPr/>
            <p:nvPr/>
          </p:nvSpPr>
          <p:spPr>
            <a:xfrm rot="8716295">
              <a:off x="87905" y="4337347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" name="Forme libre : forme 98">
              <a:extLst>
                <a:ext uri="{FF2B5EF4-FFF2-40B4-BE49-F238E27FC236}">
                  <a16:creationId xmlns:a16="http://schemas.microsoft.com/office/drawing/2014/main" id="{0D75C9D9-5C3D-47E0-90AD-938F1B8E2F44}"/>
                </a:ext>
              </a:extLst>
            </p:cNvPr>
            <p:cNvSpPr/>
            <p:nvPr/>
          </p:nvSpPr>
          <p:spPr>
            <a:xfrm rot="8716295">
              <a:off x="558851" y="376273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orme libre : forme 99">
              <a:extLst>
                <a:ext uri="{FF2B5EF4-FFF2-40B4-BE49-F238E27FC236}">
                  <a16:creationId xmlns:a16="http://schemas.microsoft.com/office/drawing/2014/main" id="{FB753F16-18A9-4EF7-8A5C-AFE5FF2AAE20}"/>
                </a:ext>
              </a:extLst>
            </p:cNvPr>
            <p:cNvSpPr/>
            <p:nvPr/>
          </p:nvSpPr>
          <p:spPr>
            <a:xfrm rot="8716295">
              <a:off x="694150" y="380699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Forme libre : forme 100">
              <a:extLst>
                <a:ext uri="{FF2B5EF4-FFF2-40B4-BE49-F238E27FC236}">
                  <a16:creationId xmlns:a16="http://schemas.microsoft.com/office/drawing/2014/main" id="{3BF96335-BBEB-4DB5-9C46-1C3097EF0D59}"/>
                </a:ext>
              </a:extLst>
            </p:cNvPr>
            <p:cNvSpPr/>
            <p:nvPr/>
          </p:nvSpPr>
          <p:spPr>
            <a:xfrm rot="8716295">
              <a:off x="388980" y="389674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" name="Forme libre : forme 101">
              <a:extLst>
                <a:ext uri="{FF2B5EF4-FFF2-40B4-BE49-F238E27FC236}">
                  <a16:creationId xmlns:a16="http://schemas.microsoft.com/office/drawing/2014/main" id="{5E31C792-E11F-4ADA-B2CB-57C48077CBA4}"/>
                </a:ext>
              </a:extLst>
            </p:cNvPr>
            <p:cNvSpPr/>
            <p:nvPr/>
          </p:nvSpPr>
          <p:spPr>
            <a:xfrm rot="8716295">
              <a:off x="199936" y="358091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" name="Forme libre : forme 102">
              <a:extLst>
                <a:ext uri="{FF2B5EF4-FFF2-40B4-BE49-F238E27FC236}">
                  <a16:creationId xmlns:a16="http://schemas.microsoft.com/office/drawing/2014/main" id="{94FED6A4-8569-4EA9-A306-CB876E36FB03}"/>
                </a:ext>
              </a:extLst>
            </p:cNvPr>
            <p:cNvSpPr/>
            <p:nvPr/>
          </p:nvSpPr>
          <p:spPr>
            <a:xfrm rot="8716295">
              <a:off x="525469" y="3958731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" name="Forme libre : forme 103">
              <a:extLst>
                <a:ext uri="{FF2B5EF4-FFF2-40B4-BE49-F238E27FC236}">
                  <a16:creationId xmlns:a16="http://schemas.microsoft.com/office/drawing/2014/main" id="{980A1AA3-B52B-4C80-9AC4-D47CC78A5A3B}"/>
                </a:ext>
              </a:extLst>
            </p:cNvPr>
            <p:cNvSpPr/>
            <p:nvPr/>
          </p:nvSpPr>
          <p:spPr>
            <a:xfrm rot="8716295">
              <a:off x="160022" y="3732305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" name="Forme libre : forme 104">
              <a:extLst>
                <a:ext uri="{FF2B5EF4-FFF2-40B4-BE49-F238E27FC236}">
                  <a16:creationId xmlns:a16="http://schemas.microsoft.com/office/drawing/2014/main" id="{C66003E5-2553-46E6-8D65-9CD33FAF8398}"/>
                </a:ext>
              </a:extLst>
            </p:cNvPr>
            <p:cNvSpPr/>
            <p:nvPr/>
          </p:nvSpPr>
          <p:spPr>
            <a:xfrm rot="7484129">
              <a:off x="684286" y="424834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" name="Forme libre : forme 105">
              <a:extLst>
                <a:ext uri="{FF2B5EF4-FFF2-40B4-BE49-F238E27FC236}">
                  <a16:creationId xmlns:a16="http://schemas.microsoft.com/office/drawing/2014/main" id="{A5156F8D-1CAA-4650-BC6D-5AD5CAA0A30F}"/>
                </a:ext>
              </a:extLst>
            </p:cNvPr>
            <p:cNvSpPr/>
            <p:nvPr/>
          </p:nvSpPr>
          <p:spPr>
            <a:xfrm rot="13089394">
              <a:off x="842936" y="4197697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" name="Forme libre : forme 106">
              <a:extLst>
                <a:ext uri="{FF2B5EF4-FFF2-40B4-BE49-F238E27FC236}">
                  <a16:creationId xmlns:a16="http://schemas.microsoft.com/office/drawing/2014/main" id="{7A0FA012-A668-45E7-9A04-80DC4066A5EA}"/>
                </a:ext>
              </a:extLst>
            </p:cNvPr>
            <p:cNvSpPr/>
            <p:nvPr/>
          </p:nvSpPr>
          <p:spPr>
            <a:xfrm rot="8716295">
              <a:off x="1123827" y="390757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" name="Forme libre : forme 107">
              <a:extLst>
                <a:ext uri="{FF2B5EF4-FFF2-40B4-BE49-F238E27FC236}">
                  <a16:creationId xmlns:a16="http://schemas.microsoft.com/office/drawing/2014/main" id="{DE4CA035-6173-48AD-BD1D-D7ED5F77A322}"/>
                </a:ext>
              </a:extLst>
            </p:cNvPr>
            <p:cNvSpPr/>
            <p:nvPr/>
          </p:nvSpPr>
          <p:spPr>
            <a:xfrm rot="8716295">
              <a:off x="1045418" y="375078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" name="Forme libre : forme 108">
              <a:extLst>
                <a:ext uri="{FF2B5EF4-FFF2-40B4-BE49-F238E27FC236}">
                  <a16:creationId xmlns:a16="http://schemas.microsoft.com/office/drawing/2014/main" id="{40E22C8F-9A2F-4D96-8E60-B4FAE9625F7E}"/>
                </a:ext>
              </a:extLst>
            </p:cNvPr>
            <p:cNvSpPr/>
            <p:nvPr/>
          </p:nvSpPr>
          <p:spPr>
            <a:xfrm rot="8716295">
              <a:off x="677254" y="379652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" name="Forme libre : forme 109">
              <a:extLst>
                <a:ext uri="{FF2B5EF4-FFF2-40B4-BE49-F238E27FC236}">
                  <a16:creationId xmlns:a16="http://schemas.microsoft.com/office/drawing/2014/main" id="{0FB9706E-9855-492B-8609-A2F256591A28}"/>
                </a:ext>
              </a:extLst>
            </p:cNvPr>
            <p:cNvSpPr/>
            <p:nvPr/>
          </p:nvSpPr>
          <p:spPr>
            <a:xfrm rot="8716295">
              <a:off x="945836" y="355550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" name="Forme libre : forme 110">
              <a:extLst>
                <a:ext uri="{FF2B5EF4-FFF2-40B4-BE49-F238E27FC236}">
                  <a16:creationId xmlns:a16="http://schemas.microsoft.com/office/drawing/2014/main" id="{ADF55B74-AC60-4155-92FA-4565710C9BFA}"/>
                </a:ext>
              </a:extLst>
            </p:cNvPr>
            <p:cNvSpPr/>
            <p:nvPr/>
          </p:nvSpPr>
          <p:spPr>
            <a:xfrm rot="8716295">
              <a:off x="601570" y="5027951"/>
              <a:ext cx="169680" cy="113030"/>
            </a:xfrm>
            <a:custGeom>
              <a:avLst/>
              <a:gdLst>
                <a:gd name="connsiteX0" fmla="*/ 8965 w 169680"/>
                <a:gd name="connsiteY0" fmla="*/ 113030 h 113030"/>
                <a:gd name="connsiteX1" fmla="*/ 0 w 169680"/>
                <a:gd name="connsiteY1" fmla="*/ 100616 h 113030"/>
                <a:gd name="connsiteX2" fmla="*/ 106933 w 169680"/>
                <a:gd name="connsiteY2" fmla="*/ 0 h 113030"/>
                <a:gd name="connsiteX3" fmla="*/ 169680 w 169680"/>
                <a:gd name="connsiteY3" fmla="*/ 43494 h 113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680" h="113030">
                  <a:moveTo>
                    <a:pt x="8965" y="113030"/>
                  </a:moveTo>
                  <a:lnTo>
                    <a:pt x="0" y="100616"/>
                  </a:lnTo>
                  <a:lnTo>
                    <a:pt x="106933" y="0"/>
                  </a:lnTo>
                  <a:lnTo>
                    <a:pt x="169680" y="434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" name="Forme libre : forme 111">
              <a:extLst>
                <a:ext uri="{FF2B5EF4-FFF2-40B4-BE49-F238E27FC236}">
                  <a16:creationId xmlns:a16="http://schemas.microsoft.com/office/drawing/2014/main" id="{DDFE2301-223D-4F62-87C3-BBD61CFA4AE0}"/>
                </a:ext>
              </a:extLst>
            </p:cNvPr>
            <p:cNvSpPr/>
            <p:nvPr/>
          </p:nvSpPr>
          <p:spPr>
            <a:xfrm rot="8716295">
              <a:off x="197311" y="4925365"/>
              <a:ext cx="194366" cy="296463"/>
            </a:xfrm>
            <a:custGeom>
              <a:avLst/>
              <a:gdLst>
                <a:gd name="connsiteX0" fmla="*/ 137293 w 194366"/>
                <a:gd name="connsiteY0" fmla="*/ 296463 h 296463"/>
                <a:gd name="connsiteX1" fmla="*/ 72418 w 194366"/>
                <a:gd name="connsiteY1" fmla="*/ 175766 h 296463"/>
                <a:gd name="connsiteX2" fmla="*/ 105610 w 194366"/>
                <a:gd name="connsiteY2" fmla="*/ 83734 h 296463"/>
                <a:gd name="connsiteX3" fmla="*/ 0 w 194366"/>
                <a:gd name="connsiteY3" fmla="*/ 83734 h 296463"/>
                <a:gd name="connsiteX4" fmla="*/ 0 w 194366"/>
                <a:gd name="connsiteY4" fmla="*/ 0 h 296463"/>
                <a:gd name="connsiteX5" fmla="*/ 6043 w 194366"/>
                <a:gd name="connsiteY5" fmla="*/ 0 h 296463"/>
                <a:gd name="connsiteX6" fmla="*/ 194366 w 194366"/>
                <a:gd name="connsiteY6" fmla="*/ 130539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4366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6043" y="0"/>
                  </a:lnTo>
                  <a:lnTo>
                    <a:pt x="194366" y="1305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" name="Forme libre : forme 112">
              <a:extLst>
                <a:ext uri="{FF2B5EF4-FFF2-40B4-BE49-F238E27FC236}">
                  <a16:creationId xmlns:a16="http://schemas.microsoft.com/office/drawing/2014/main" id="{3377FDF7-2BED-4403-9821-41A8059D732F}"/>
                </a:ext>
              </a:extLst>
            </p:cNvPr>
            <p:cNvSpPr/>
            <p:nvPr/>
          </p:nvSpPr>
          <p:spPr>
            <a:xfrm rot="8716295">
              <a:off x="73168" y="4745087"/>
              <a:ext cx="439901" cy="517329"/>
            </a:xfrm>
            <a:custGeom>
              <a:avLst/>
              <a:gdLst>
                <a:gd name="connsiteX0" fmla="*/ 38290 w 439901"/>
                <a:gd name="connsiteY0" fmla="*/ 472541 h 517329"/>
                <a:gd name="connsiteX1" fmla="*/ 0 w 439901"/>
                <a:gd name="connsiteY1" fmla="*/ 319377 h 517329"/>
                <a:gd name="connsiteX2" fmla="*/ 0 w 439901"/>
                <a:gd name="connsiteY2" fmla="*/ 47778 h 517329"/>
                <a:gd name="connsiteX3" fmla="*/ 92094 w 439901"/>
                <a:gd name="connsiteY3" fmla="*/ 0 h 517329"/>
                <a:gd name="connsiteX4" fmla="*/ 118664 w 439901"/>
                <a:gd name="connsiteY4" fmla="*/ 18418 h 517329"/>
                <a:gd name="connsiteX5" fmla="*/ 120216 w 439901"/>
                <a:gd name="connsiteY5" fmla="*/ 234781 h 517329"/>
                <a:gd name="connsiteX6" fmla="*/ 141587 w 439901"/>
                <a:gd name="connsiteY6" fmla="*/ 382603 h 517329"/>
                <a:gd name="connsiteX7" fmla="*/ 248446 w 439901"/>
                <a:gd name="connsiteY7" fmla="*/ 441375 h 517329"/>
                <a:gd name="connsiteX8" fmla="*/ 328589 w 439901"/>
                <a:gd name="connsiteY8" fmla="*/ 427127 h 517329"/>
                <a:gd name="connsiteX9" fmla="*/ 438120 w 439901"/>
                <a:gd name="connsiteY9" fmla="*/ 382603 h 517329"/>
                <a:gd name="connsiteX10" fmla="*/ 439901 w 439901"/>
                <a:gd name="connsiteY10" fmla="*/ 394178 h 517329"/>
                <a:gd name="connsiteX11" fmla="*/ 439901 w 439901"/>
                <a:gd name="connsiteY11" fmla="*/ 403083 h 517329"/>
                <a:gd name="connsiteX12" fmla="*/ 147821 w 439901"/>
                <a:gd name="connsiteY12" fmla="*/ 517066 h 517329"/>
                <a:gd name="connsiteX13" fmla="*/ 38290 w 439901"/>
                <a:gd name="connsiteY13" fmla="*/ 472541 h 517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9901" h="517329">
                  <a:moveTo>
                    <a:pt x="38290" y="472541"/>
                  </a:moveTo>
                  <a:cubicBezTo>
                    <a:pt x="8014" y="443156"/>
                    <a:pt x="0" y="392397"/>
                    <a:pt x="0" y="319377"/>
                  </a:cubicBezTo>
                  <a:lnTo>
                    <a:pt x="0" y="47778"/>
                  </a:lnTo>
                  <a:lnTo>
                    <a:pt x="92094" y="0"/>
                  </a:lnTo>
                  <a:lnTo>
                    <a:pt x="118664" y="18418"/>
                  </a:lnTo>
                  <a:lnTo>
                    <a:pt x="120216" y="234781"/>
                  </a:lnTo>
                  <a:cubicBezTo>
                    <a:pt x="117544" y="284648"/>
                    <a:pt x="125558" y="335406"/>
                    <a:pt x="141587" y="382603"/>
                  </a:cubicBezTo>
                  <a:cubicBezTo>
                    <a:pt x="155836" y="421784"/>
                    <a:pt x="192345" y="441375"/>
                    <a:pt x="248446" y="441375"/>
                  </a:cubicBezTo>
                  <a:cubicBezTo>
                    <a:pt x="276051" y="440484"/>
                    <a:pt x="302766" y="435141"/>
                    <a:pt x="328589" y="427127"/>
                  </a:cubicBezTo>
                  <a:cubicBezTo>
                    <a:pt x="365990" y="415550"/>
                    <a:pt x="402500" y="400412"/>
                    <a:pt x="438120" y="382603"/>
                  </a:cubicBezTo>
                  <a:cubicBezTo>
                    <a:pt x="439010" y="386164"/>
                    <a:pt x="439901" y="390616"/>
                    <a:pt x="439901" y="394178"/>
                  </a:cubicBezTo>
                  <a:lnTo>
                    <a:pt x="439901" y="403083"/>
                  </a:lnTo>
                  <a:cubicBezTo>
                    <a:pt x="345509" y="484118"/>
                    <a:pt x="221731" y="512614"/>
                    <a:pt x="147821" y="517066"/>
                  </a:cubicBezTo>
                  <a:cubicBezTo>
                    <a:pt x="106859" y="519738"/>
                    <a:pt x="66787" y="501928"/>
                    <a:pt x="38290" y="47254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" name="Forme libre : forme 113">
              <a:extLst>
                <a:ext uri="{FF2B5EF4-FFF2-40B4-BE49-F238E27FC236}">
                  <a16:creationId xmlns:a16="http://schemas.microsoft.com/office/drawing/2014/main" id="{B93DC94C-820F-4572-BF0C-6383E8E9C877}"/>
                </a:ext>
              </a:extLst>
            </p:cNvPr>
            <p:cNvSpPr/>
            <p:nvPr/>
          </p:nvSpPr>
          <p:spPr>
            <a:xfrm rot="8716295">
              <a:off x="896624" y="4761216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" name="Forme libre : forme 114">
              <a:extLst>
                <a:ext uri="{FF2B5EF4-FFF2-40B4-BE49-F238E27FC236}">
                  <a16:creationId xmlns:a16="http://schemas.microsoft.com/office/drawing/2014/main" id="{46905971-2CA6-4786-88F6-6625CD1AC045}"/>
                </a:ext>
              </a:extLst>
            </p:cNvPr>
            <p:cNvSpPr/>
            <p:nvPr/>
          </p:nvSpPr>
          <p:spPr>
            <a:xfrm rot="8716295">
              <a:off x="1032483" y="4799006"/>
              <a:ext cx="389853" cy="383455"/>
            </a:xfrm>
            <a:custGeom>
              <a:avLst/>
              <a:gdLst>
                <a:gd name="connsiteX0" fmla="*/ 77932 w 389853"/>
                <a:gd name="connsiteY0" fmla="*/ 383455 h 383455"/>
                <a:gd name="connsiteX1" fmla="*/ 77932 w 389853"/>
                <a:gd name="connsiteY1" fmla="*/ 66898 h 383455"/>
                <a:gd name="connsiteX2" fmla="*/ 0 w 389853"/>
                <a:gd name="connsiteY2" fmla="*/ 66898 h 383455"/>
                <a:gd name="connsiteX3" fmla="*/ 0 w 389853"/>
                <a:gd name="connsiteY3" fmla="*/ 0 h 383455"/>
                <a:gd name="connsiteX4" fmla="*/ 158623 w 389853"/>
                <a:gd name="connsiteY4" fmla="*/ 0 h 383455"/>
                <a:gd name="connsiteX5" fmla="*/ 158623 w 389853"/>
                <a:gd name="connsiteY5" fmla="*/ 111726 h 383455"/>
                <a:gd name="connsiteX6" fmla="*/ 160692 w 389853"/>
                <a:gd name="connsiteY6" fmla="*/ 111726 h 383455"/>
                <a:gd name="connsiteX7" fmla="*/ 192762 w 389853"/>
                <a:gd name="connsiteY7" fmla="*/ 39914 h 383455"/>
                <a:gd name="connsiteX8" fmla="*/ 216292 w 389853"/>
                <a:gd name="connsiteY8" fmla="*/ 20658 h 383455"/>
                <a:gd name="connsiteX9" fmla="*/ 389853 w 389853"/>
                <a:gd name="connsiteY9" fmla="*/ 140965 h 383455"/>
                <a:gd name="connsiteX10" fmla="*/ 300695 w 389853"/>
                <a:gd name="connsiteY10" fmla="*/ 146210 h 383455"/>
                <a:gd name="connsiteX11" fmla="*/ 300694 w 389853"/>
                <a:gd name="connsiteY11" fmla="*/ 121382 h 383455"/>
                <a:gd name="connsiteX12" fmla="*/ 249659 w 389853"/>
                <a:gd name="connsiteY12" fmla="*/ 58622 h 383455"/>
                <a:gd name="connsiteX13" fmla="*/ 168969 w 389853"/>
                <a:gd name="connsiteY13" fmla="*/ 191038 h 383455"/>
                <a:gd name="connsiteX14" fmla="*/ 168969 w 389853"/>
                <a:gd name="connsiteY14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9853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71727" y="78967"/>
                    <a:pt x="181555" y="56208"/>
                    <a:pt x="192762" y="39914"/>
                  </a:cubicBezTo>
                  <a:lnTo>
                    <a:pt x="216292" y="20658"/>
                  </a:lnTo>
                  <a:lnTo>
                    <a:pt x="389853" y="140965"/>
                  </a:lnTo>
                  <a:lnTo>
                    <a:pt x="300695" y="146210"/>
                  </a:lnTo>
                  <a:lnTo>
                    <a:pt x="300694" y="121382"/>
                  </a:lnTo>
                  <a:cubicBezTo>
                    <a:pt x="300695" y="84140"/>
                    <a:pt x="279315" y="58621"/>
                    <a:pt x="249659" y="58622"/>
                  </a:cubicBezTo>
                  <a:cubicBezTo>
                    <a:pt x="205521" y="58621"/>
                    <a:pt x="168969" y="117244"/>
                    <a:pt x="168969" y="191038"/>
                  </a:cubicBez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" name="Forme libre : forme 115">
              <a:extLst>
                <a:ext uri="{FF2B5EF4-FFF2-40B4-BE49-F238E27FC236}">
                  <a16:creationId xmlns:a16="http://schemas.microsoft.com/office/drawing/2014/main" id="{8E2B23B6-FA24-4ECF-865C-D4B85991FB2B}"/>
                </a:ext>
              </a:extLst>
            </p:cNvPr>
            <p:cNvSpPr/>
            <p:nvPr/>
          </p:nvSpPr>
          <p:spPr>
            <a:xfrm rot="8716295">
              <a:off x="726753" y="489523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" name="Forme libre : forme 116">
              <a:extLst>
                <a:ext uri="{FF2B5EF4-FFF2-40B4-BE49-F238E27FC236}">
                  <a16:creationId xmlns:a16="http://schemas.microsoft.com/office/drawing/2014/main" id="{068C5BF4-ACAC-42CE-AE54-FD21152507C1}"/>
                </a:ext>
              </a:extLst>
            </p:cNvPr>
            <p:cNvSpPr/>
            <p:nvPr/>
          </p:nvSpPr>
          <p:spPr>
            <a:xfrm rot="8716295">
              <a:off x="537709" y="457939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" name="Forme libre : forme 117">
              <a:extLst>
                <a:ext uri="{FF2B5EF4-FFF2-40B4-BE49-F238E27FC236}">
                  <a16:creationId xmlns:a16="http://schemas.microsoft.com/office/drawing/2014/main" id="{0ACBCA4F-4DCF-49D0-8A3E-C12DE7B45BF0}"/>
                </a:ext>
              </a:extLst>
            </p:cNvPr>
            <p:cNvSpPr/>
            <p:nvPr/>
          </p:nvSpPr>
          <p:spPr>
            <a:xfrm rot="8716295">
              <a:off x="826576" y="4988476"/>
              <a:ext cx="91035" cy="198648"/>
            </a:xfrm>
            <a:custGeom>
              <a:avLst/>
              <a:gdLst>
                <a:gd name="connsiteX0" fmla="*/ 91035 w 91035"/>
                <a:gd name="connsiteY0" fmla="*/ 198648 h 198648"/>
                <a:gd name="connsiteX1" fmla="*/ 0 w 91035"/>
                <a:gd name="connsiteY1" fmla="*/ 111060 h 198648"/>
                <a:gd name="connsiteX2" fmla="*/ 0 w 91035"/>
                <a:gd name="connsiteY2" fmla="*/ 0 h 198648"/>
                <a:gd name="connsiteX3" fmla="*/ 91035 w 91035"/>
                <a:gd name="connsiteY3" fmla="*/ 63103 h 198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198648">
                  <a:moveTo>
                    <a:pt x="91035" y="198648"/>
                  </a:moveTo>
                  <a:lnTo>
                    <a:pt x="0" y="111060"/>
                  </a:lnTo>
                  <a:lnTo>
                    <a:pt x="0" y="0"/>
                  </a:lnTo>
                  <a:lnTo>
                    <a:pt x="91035" y="631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" name="Forme libre : forme 118">
              <a:extLst>
                <a:ext uri="{FF2B5EF4-FFF2-40B4-BE49-F238E27FC236}">
                  <a16:creationId xmlns:a16="http://schemas.microsoft.com/office/drawing/2014/main" id="{CF5DC784-7D69-46EA-A75B-D2ED877AA625}"/>
                </a:ext>
              </a:extLst>
            </p:cNvPr>
            <p:cNvSpPr/>
            <p:nvPr/>
          </p:nvSpPr>
          <p:spPr>
            <a:xfrm rot="8716295">
              <a:off x="497795" y="4730788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" name="Forme libre : forme 119">
              <a:extLst>
                <a:ext uri="{FF2B5EF4-FFF2-40B4-BE49-F238E27FC236}">
                  <a16:creationId xmlns:a16="http://schemas.microsoft.com/office/drawing/2014/main" id="{283C5FE9-EF8F-4940-9D13-7BC399536967}"/>
                </a:ext>
              </a:extLst>
            </p:cNvPr>
            <p:cNvSpPr/>
            <p:nvPr/>
          </p:nvSpPr>
          <p:spPr>
            <a:xfrm rot="8716295">
              <a:off x="1459248" y="4904357"/>
              <a:ext cx="328004" cy="223069"/>
            </a:xfrm>
            <a:custGeom>
              <a:avLst/>
              <a:gdLst>
                <a:gd name="connsiteX0" fmla="*/ 10574 w 328004"/>
                <a:gd name="connsiteY0" fmla="*/ 223069 h 223069"/>
                <a:gd name="connsiteX1" fmla="*/ 0 w 328004"/>
                <a:gd name="connsiteY1" fmla="*/ 208428 h 223069"/>
                <a:gd name="connsiteX2" fmla="*/ 192781 w 328004"/>
                <a:gd name="connsiteY2" fmla="*/ 27035 h 223069"/>
                <a:gd name="connsiteX3" fmla="*/ 227094 w 328004"/>
                <a:gd name="connsiteY3" fmla="*/ 0 h 223069"/>
                <a:gd name="connsiteX4" fmla="*/ 328004 w 328004"/>
                <a:gd name="connsiteY4" fmla="*/ 69948 h 223069"/>
                <a:gd name="connsiteX5" fmla="*/ 326080 w 328004"/>
                <a:gd name="connsiteY5" fmla="*/ 74925 h 223069"/>
                <a:gd name="connsiteX6" fmla="*/ 293645 w 328004"/>
                <a:gd name="connsiteY6" fmla="*/ 100243 h 223069"/>
                <a:gd name="connsiteX7" fmla="*/ 294458 w 328004"/>
                <a:gd name="connsiteY7" fmla="*/ 100243 h 223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8004" h="223069">
                  <a:moveTo>
                    <a:pt x="10574" y="223069"/>
                  </a:moveTo>
                  <a:lnTo>
                    <a:pt x="0" y="208428"/>
                  </a:lnTo>
                  <a:lnTo>
                    <a:pt x="192781" y="27035"/>
                  </a:lnTo>
                  <a:lnTo>
                    <a:pt x="227094" y="0"/>
                  </a:lnTo>
                  <a:lnTo>
                    <a:pt x="328004" y="69948"/>
                  </a:lnTo>
                  <a:lnTo>
                    <a:pt x="326080" y="74925"/>
                  </a:lnTo>
                  <a:cubicBezTo>
                    <a:pt x="317843" y="85805"/>
                    <a:pt x="306659" y="94549"/>
                    <a:pt x="293645" y="100243"/>
                  </a:cubicBezTo>
                  <a:lnTo>
                    <a:pt x="294458" y="10024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" name="Forme libre : forme 120">
              <a:extLst>
                <a:ext uri="{FF2B5EF4-FFF2-40B4-BE49-F238E27FC236}">
                  <a16:creationId xmlns:a16="http://schemas.microsoft.com/office/drawing/2014/main" id="{0B28DAC7-E1B5-4397-8312-3939C6181805}"/>
                </a:ext>
              </a:extLst>
            </p:cNvPr>
            <p:cNvSpPr/>
            <p:nvPr/>
          </p:nvSpPr>
          <p:spPr>
            <a:xfrm rot="8716295">
              <a:off x="1383191" y="474927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" name="Forme libre : forme 121">
              <a:extLst>
                <a:ext uri="{FF2B5EF4-FFF2-40B4-BE49-F238E27FC236}">
                  <a16:creationId xmlns:a16="http://schemas.microsoft.com/office/drawing/2014/main" id="{9B5900D5-EF58-45B1-849A-84D4EFAA76C9}"/>
                </a:ext>
              </a:extLst>
            </p:cNvPr>
            <p:cNvSpPr/>
            <p:nvPr/>
          </p:nvSpPr>
          <p:spPr>
            <a:xfrm rot="8716295">
              <a:off x="1015027" y="479501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" name="Forme libre : forme 122">
              <a:extLst>
                <a:ext uri="{FF2B5EF4-FFF2-40B4-BE49-F238E27FC236}">
                  <a16:creationId xmlns:a16="http://schemas.microsoft.com/office/drawing/2014/main" id="{31771F28-8680-4E6C-A8C1-BC66F7BF0BA9}"/>
                </a:ext>
              </a:extLst>
            </p:cNvPr>
            <p:cNvSpPr/>
            <p:nvPr/>
          </p:nvSpPr>
          <p:spPr>
            <a:xfrm rot="8716295">
              <a:off x="1283609" y="455399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" name="Forme libre : forme 123">
              <a:extLst>
                <a:ext uri="{FF2B5EF4-FFF2-40B4-BE49-F238E27FC236}">
                  <a16:creationId xmlns:a16="http://schemas.microsoft.com/office/drawing/2014/main" id="{AC2CE701-4BE3-4F79-917E-19B3C750B982}"/>
                </a:ext>
              </a:extLst>
            </p:cNvPr>
            <p:cNvSpPr/>
            <p:nvPr/>
          </p:nvSpPr>
          <p:spPr>
            <a:xfrm rot="8716295">
              <a:off x="-30381" y="3359388"/>
              <a:ext cx="98497" cy="75863"/>
            </a:xfrm>
            <a:custGeom>
              <a:avLst/>
              <a:gdLst>
                <a:gd name="connsiteX0" fmla="*/ 0 w 98497"/>
                <a:gd name="connsiteY0" fmla="*/ 75863 h 75863"/>
                <a:gd name="connsiteX1" fmla="*/ 0 w 98497"/>
                <a:gd name="connsiteY1" fmla="*/ 0 h 75863"/>
                <a:gd name="connsiteX2" fmla="*/ 98497 w 98497"/>
                <a:gd name="connsiteY2" fmla="*/ 0 h 75863"/>
                <a:gd name="connsiteX3" fmla="*/ 45911 w 98497"/>
                <a:gd name="connsiteY3" fmla="*/ 75863 h 75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497" h="75863">
                  <a:moveTo>
                    <a:pt x="0" y="75863"/>
                  </a:moveTo>
                  <a:lnTo>
                    <a:pt x="0" y="0"/>
                  </a:lnTo>
                  <a:lnTo>
                    <a:pt x="98497" y="0"/>
                  </a:lnTo>
                  <a:lnTo>
                    <a:pt x="45911" y="758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" name="Forme libre : forme 124">
              <a:extLst>
                <a:ext uri="{FF2B5EF4-FFF2-40B4-BE49-F238E27FC236}">
                  <a16:creationId xmlns:a16="http://schemas.microsoft.com/office/drawing/2014/main" id="{F4F0C1BC-FBE5-45A4-A80E-BAB3E52DE367}"/>
                </a:ext>
              </a:extLst>
            </p:cNvPr>
            <p:cNvSpPr/>
            <p:nvPr/>
          </p:nvSpPr>
          <p:spPr>
            <a:xfrm rot="8716295">
              <a:off x="-77334" y="3178477"/>
              <a:ext cx="389652" cy="385611"/>
            </a:xfrm>
            <a:custGeom>
              <a:avLst/>
              <a:gdLst>
                <a:gd name="connsiteX0" fmla="*/ 77932 w 389652"/>
                <a:gd name="connsiteY0" fmla="*/ 385611 h 385611"/>
                <a:gd name="connsiteX1" fmla="*/ 77932 w 389652"/>
                <a:gd name="connsiteY1" fmla="*/ 69054 h 385611"/>
                <a:gd name="connsiteX2" fmla="*/ 0 w 389652"/>
                <a:gd name="connsiteY2" fmla="*/ 69054 h 385611"/>
                <a:gd name="connsiteX3" fmla="*/ 0 w 389652"/>
                <a:gd name="connsiteY3" fmla="*/ 2156 h 385611"/>
                <a:gd name="connsiteX4" fmla="*/ 158623 w 389652"/>
                <a:gd name="connsiteY4" fmla="*/ 2156 h 385611"/>
                <a:gd name="connsiteX5" fmla="*/ 158623 w 389652"/>
                <a:gd name="connsiteY5" fmla="*/ 113882 h 385611"/>
                <a:gd name="connsiteX6" fmla="*/ 160692 w 389652"/>
                <a:gd name="connsiteY6" fmla="*/ 113882 h 385611"/>
                <a:gd name="connsiteX7" fmla="*/ 233107 w 389652"/>
                <a:gd name="connsiteY7" fmla="*/ 9053 h 385611"/>
                <a:gd name="connsiteX8" fmla="*/ 280694 w 389652"/>
                <a:gd name="connsiteY8" fmla="*/ 87 h 385611"/>
                <a:gd name="connsiteX9" fmla="*/ 364230 w 389652"/>
                <a:gd name="connsiteY9" fmla="*/ 34398 h 385611"/>
                <a:gd name="connsiteX10" fmla="*/ 389652 w 389652"/>
                <a:gd name="connsiteY10" fmla="*/ 117977 h 385611"/>
                <a:gd name="connsiteX11" fmla="*/ 371473 w 389652"/>
                <a:gd name="connsiteY11" fmla="*/ 144202 h 385611"/>
                <a:gd name="connsiteX12" fmla="*/ 300695 w 389652"/>
                <a:gd name="connsiteY12" fmla="*/ 148366 h 385611"/>
                <a:gd name="connsiteX13" fmla="*/ 300695 w 389652"/>
                <a:gd name="connsiteY13" fmla="*/ 123538 h 385611"/>
                <a:gd name="connsiteX14" fmla="*/ 249659 w 389652"/>
                <a:gd name="connsiteY14" fmla="*/ 60778 h 385611"/>
                <a:gd name="connsiteX15" fmla="*/ 168969 w 389652"/>
                <a:gd name="connsiteY15" fmla="*/ 193194 h 385611"/>
                <a:gd name="connsiteX16" fmla="*/ 168969 w 389652"/>
                <a:gd name="connsiteY16" fmla="*/ 323541 h 385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89652" h="385611">
                  <a:moveTo>
                    <a:pt x="77932" y="385611"/>
                  </a:moveTo>
                  <a:lnTo>
                    <a:pt x="77932" y="69054"/>
                  </a:lnTo>
                  <a:lnTo>
                    <a:pt x="0" y="69054"/>
                  </a:lnTo>
                  <a:lnTo>
                    <a:pt x="0" y="2156"/>
                  </a:lnTo>
                  <a:lnTo>
                    <a:pt x="158623" y="2156"/>
                  </a:lnTo>
                  <a:lnTo>
                    <a:pt x="158623" y="113882"/>
                  </a:lnTo>
                  <a:lnTo>
                    <a:pt x="160692" y="113882"/>
                  </a:lnTo>
                  <a:cubicBezTo>
                    <a:pt x="182762" y="48364"/>
                    <a:pt x="200003" y="22846"/>
                    <a:pt x="233107" y="9053"/>
                  </a:cubicBezTo>
                  <a:cubicBezTo>
                    <a:pt x="248280" y="2846"/>
                    <a:pt x="264142" y="-602"/>
                    <a:pt x="280694" y="87"/>
                  </a:cubicBezTo>
                  <a:cubicBezTo>
                    <a:pt x="316212" y="-603"/>
                    <a:pt x="344661" y="11466"/>
                    <a:pt x="364230" y="34398"/>
                  </a:cubicBezTo>
                  <a:lnTo>
                    <a:pt x="389652" y="117977"/>
                  </a:lnTo>
                  <a:lnTo>
                    <a:pt x="371473" y="144202"/>
                  </a:lnTo>
                  <a:lnTo>
                    <a:pt x="300695" y="148366"/>
                  </a:lnTo>
                  <a:lnTo>
                    <a:pt x="300695" y="123538"/>
                  </a:lnTo>
                  <a:cubicBezTo>
                    <a:pt x="300695" y="86296"/>
                    <a:pt x="279315" y="60778"/>
                    <a:pt x="249659" y="60778"/>
                  </a:cubicBezTo>
                  <a:cubicBezTo>
                    <a:pt x="205521" y="60778"/>
                    <a:pt x="168969" y="119400"/>
                    <a:pt x="168969" y="193194"/>
                  </a:cubicBezTo>
                  <a:lnTo>
                    <a:pt x="168969" y="3235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" name="Forme libre : forme 125">
              <a:extLst>
                <a:ext uri="{FF2B5EF4-FFF2-40B4-BE49-F238E27FC236}">
                  <a16:creationId xmlns:a16="http://schemas.microsoft.com/office/drawing/2014/main" id="{DD7E27D6-EDC4-4410-A8FD-B0AB28C9E1C2}"/>
                </a:ext>
              </a:extLst>
            </p:cNvPr>
            <p:cNvSpPr/>
            <p:nvPr/>
          </p:nvSpPr>
          <p:spPr>
            <a:xfrm rot="8716295">
              <a:off x="-71352" y="3029015"/>
              <a:ext cx="193594" cy="189959"/>
            </a:xfrm>
            <a:custGeom>
              <a:avLst/>
              <a:gdLst>
                <a:gd name="connsiteX0" fmla="*/ 8965 w 193594"/>
                <a:gd name="connsiteY0" fmla="*/ 189959 h 189959"/>
                <a:gd name="connsiteX1" fmla="*/ 0 w 193594"/>
                <a:gd name="connsiteY1" fmla="*/ 177545 h 189959"/>
                <a:gd name="connsiteX2" fmla="*/ 163451 w 193594"/>
                <a:gd name="connsiteY2" fmla="*/ 23749 h 189959"/>
                <a:gd name="connsiteX3" fmla="*/ 193594 w 193594"/>
                <a:gd name="connsiteY3" fmla="*/ 0 h 189959"/>
                <a:gd name="connsiteX4" fmla="*/ 84606 w 193594"/>
                <a:gd name="connsiteY4" fmla="*/ 157232 h 189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594" h="189959">
                  <a:moveTo>
                    <a:pt x="8965" y="189959"/>
                  </a:moveTo>
                  <a:lnTo>
                    <a:pt x="0" y="177545"/>
                  </a:lnTo>
                  <a:lnTo>
                    <a:pt x="163451" y="23749"/>
                  </a:lnTo>
                  <a:lnTo>
                    <a:pt x="193594" y="0"/>
                  </a:lnTo>
                  <a:lnTo>
                    <a:pt x="84606" y="15723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" name="Forme libre : forme 126">
              <a:extLst>
                <a:ext uri="{FF2B5EF4-FFF2-40B4-BE49-F238E27FC236}">
                  <a16:creationId xmlns:a16="http://schemas.microsoft.com/office/drawing/2014/main" id="{9053D84D-7FDB-4998-A81C-E5ABAA6EDE5E}"/>
                </a:ext>
              </a:extLst>
            </p:cNvPr>
            <p:cNvSpPr/>
            <p:nvPr/>
          </p:nvSpPr>
          <p:spPr>
            <a:xfrm rot="8716295">
              <a:off x="223574" y="276232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" name="Forme libre : forme 127">
              <a:extLst>
                <a:ext uri="{FF2B5EF4-FFF2-40B4-BE49-F238E27FC236}">
                  <a16:creationId xmlns:a16="http://schemas.microsoft.com/office/drawing/2014/main" id="{87AB580E-8F4B-47CD-9028-D46526078CE4}"/>
                </a:ext>
              </a:extLst>
            </p:cNvPr>
            <p:cNvSpPr/>
            <p:nvPr/>
          </p:nvSpPr>
          <p:spPr>
            <a:xfrm rot="8716295">
              <a:off x="358873" y="2806579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" name="Forme libre : forme 128">
              <a:extLst>
                <a:ext uri="{FF2B5EF4-FFF2-40B4-BE49-F238E27FC236}">
                  <a16:creationId xmlns:a16="http://schemas.microsoft.com/office/drawing/2014/main" id="{E19792CF-DDD1-4F4B-9682-435BC6CB8DED}"/>
                </a:ext>
              </a:extLst>
            </p:cNvPr>
            <p:cNvSpPr/>
            <p:nvPr/>
          </p:nvSpPr>
          <p:spPr>
            <a:xfrm rot="8716295">
              <a:off x="53703" y="2896335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" name="Forme libre : forme 129">
              <a:extLst>
                <a:ext uri="{FF2B5EF4-FFF2-40B4-BE49-F238E27FC236}">
                  <a16:creationId xmlns:a16="http://schemas.microsoft.com/office/drawing/2014/main" id="{BD0B65CA-A3C5-4B2A-8016-3FA0B6B241F4}"/>
                </a:ext>
              </a:extLst>
            </p:cNvPr>
            <p:cNvSpPr/>
            <p:nvPr/>
          </p:nvSpPr>
          <p:spPr>
            <a:xfrm rot="8716295">
              <a:off x="-92201" y="2622488"/>
              <a:ext cx="271732" cy="238722"/>
            </a:xfrm>
            <a:custGeom>
              <a:avLst/>
              <a:gdLst>
                <a:gd name="connsiteX0" fmla="*/ 106257 w 271732"/>
                <a:gd name="connsiteY0" fmla="*/ 238722 h 238722"/>
                <a:gd name="connsiteX1" fmla="*/ 72418 w 271732"/>
                <a:gd name="connsiteY1" fmla="*/ 175766 h 238722"/>
                <a:gd name="connsiteX2" fmla="*/ 105610 w 271732"/>
                <a:gd name="connsiteY2" fmla="*/ 83734 h 238722"/>
                <a:gd name="connsiteX3" fmla="*/ 0 w 271732"/>
                <a:gd name="connsiteY3" fmla="*/ 83734 h 238722"/>
                <a:gd name="connsiteX4" fmla="*/ 0 w 271732"/>
                <a:gd name="connsiteY4" fmla="*/ 0 h 238722"/>
                <a:gd name="connsiteX5" fmla="*/ 271732 w 271732"/>
                <a:gd name="connsiteY5" fmla="*/ 0 h 238722"/>
                <a:gd name="connsiteX6" fmla="*/ 213690 w 271732"/>
                <a:gd name="connsiteY6" fmla="*/ 83734 h 238722"/>
                <a:gd name="connsiteX7" fmla="*/ 210465 w 271732"/>
                <a:gd name="connsiteY7" fmla="*/ 83734 h 238722"/>
                <a:gd name="connsiteX8" fmla="*/ 207289 w 271732"/>
                <a:gd name="connsiteY8" fmla="*/ 92969 h 238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1732" h="238722">
                  <a:moveTo>
                    <a:pt x="106257" y="238722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71732" y="0"/>
                  </a:lnTo>
                  <a:lnTo>
                    <a:pt x="213690" y="83734"/>
                  </a:lnTo>
                  <a:lnTo>
                    <a:pt x="210465" y="83734"/>
                  </a:lnTo>
                  <a:lnTo>
                    <a:pt x="207289" y="929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" name="Forme libre : forme 130">
              <a:extLst>
                <a:ext uri="{FF2B5EF4-FFF2-40B4-BE49-F238E27FC236}">
                  <a16:creationId xmlns:a16="http://schemas.microsoft.com/office/drawing/2014/main" id="{A401047D-B75D-4F40-878E-D1BF52EA2F0E}"/>
                </a:ext>
              </a:extLst>
            </p:cNvPr>
            <p:cNvSpPr/>
            <p:nvPr/>
          </p:nvSpPr>
          <p:spPr>
            <a:xfrm rot="8716295">
              <a:off x="190192" y="2958318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" name="Forme libre : forme 131">
              <a:extLst>
                <a:ext uri="{FF2B5EF4-FFF2-40B4-BE49-F238E27FC236}">
                  <a16:creationId xmlns:a16="http://schemas.microsoft.com/office/drawing/2014/main" id="{0A764231-DFA5-45AC-9649-96FE00947629}"/>
                </a:ext>
              </a:extLst>
            </p:cNvPr>
            <p:cNvSpPr/>
            <p:nvPr/>
          </p:nvSpPr>
          <p:spPr>
            <a:xfrm rot="7484129">
              <a:off x="349009" y="324793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" name="Forme libre : forme 132">
              <a:extLst>
                <a:ext uri="{FF2B5EF4-FFF2-40B4-BE49-F238E27FC236}">
                  <a16:creationId xmlns:a16="http://schemas.microsoft.com/office/drawing/2014/main" id="{08367284-C420-422D-A59E-EC2B0D5CAF81}"/>
                </a:ext>
              </a:extLst>
            </p:cNvPr>
            <p:cNvSpPr/>
            <p:nvPr/>
          </p:nvSpPr>
          <p:spPr>
            <a:xfrm rot="13089394">
              <a:off x="507659" y="3197284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" name="Forme libre : forme 133">
              <a:extLst>
                <a:ext uri="{FF2B5EF4-FFF2-40B4-BE49-F238E27FC236}">
                  <a16:creationId xmlns:a16="http://schemas.microsoft.com/office/drawing/2014/main" id="{6E0CAE80-C507-4A7F-B64E-2B2322B07A4F}"/>
                </a:ext>
              </a:extLst>
            </p:cNvPr>
            <p:cNvSpPr/>
            <p:nvPr/>
          </p:nvSpPr>
          <p:spPr>
            <a:xfrm rot="8716295">
              <a:off x="788550" y="2907166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" name="Forme libre : forme 134">
              <a:extLst>
                <a:ext uri="{FF2B5EF4-FFF2-40B4-BE49-F238E27FC236}">
                  <a16:creationId xmlns:a16="http://schemas.microsoft.com/office/drawing/2014/main" id="{4935918E-F29D-4E02-AE1D-44610A8EABE6}"/>
                </a:ext>
              </a:extLst>
            </p:cNvPr>
            <p:cNvSpPr/>
            <p:nvPr/>
          </p:nvSpPr>
          <p:spPr>
            <a:xfrm rot="8716295">
              <a:off x="710141" y="275037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" name="Forme libre : forme 135">
              <a:extLst>
                <a:ext uri="{FF2B5EF4-FFF2-40B4-BE49-F238E27FC236}">
                  <a16:creationId xmlns:a16="http://schemas.microsoft.com/office/drawing/2014/main" id="{0186616C-3255-4138-99FF-17ACDEE12423}"/>
                </a:ext>
              </a:extLst>
            </p:cNvPr>
            <p:cNvSpPr/>
            <p:nvPr/>
          </p:nvSpPr>
          <p:spPr>
            <a:xfrm rot="8716295">
              <a:off x="341977" y="279611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" name="Forme libre : forme 136">
              <a:extLst>
                <a:ext uri="{FF2B5EF4-FFF2-40B4-BE49-F238E27FC236}">
                  <a16:creationId xmlns:a16="http://schemas.microsoft.com/office/drawing/2014/main" id="{00B7B22E-16FD-44D5-9219-31608DDFCC39}"/>
                </a:ext>
              </a:extLst>
            </p:cNvPr>
            <p:cNvSpPr/>
            <p:nvPr/>
          </p:nvSpPr>
          <p:spPr>
            <a:xfrm rot="8716295">
              <a:off x="610559" y="2555095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" name="Forme libre : forme 137">
              <a:extLst>
                <a:ext uri="{FF2B5EF4-FFF2-40B4-BE49-F238E27FC236}">
                  <a16:creationId xmlns:a16="http://schemas.microsoft.com/office/drawing/2014/main" id="{A6953B6D-6364-4054-88C6-74B273B65431}"/>
                </a:ext>
              </a:extLst>
            </p:cNvPr>
            <p:cNvSpPr/>
            <p:nvPr/>
          </p:nvSpPr>
          <p:spPr>
            <a:xfrm rot="8716295">
              <a:off x="-24305" y="2374348"/>
              <a:ext cx="58950" cy="66898"/>
            </a:xfrm>
            <a:custGeom>
              <a:avLst/>
              <a:gdLst>
                <a:gd name="connsiteX0" fmla="*/ 0 w 58950"/>
                <a:gd name="connsiteY0" fmla="*/ 66898 h 66898"/>
                <a:gd name="connsiteX1" fmla="*/ 0 w 58950"/>
                <a:gd name="connsiteY1" fmla="*/ 0 h 66898"/>
                <a:gd name="connsiteX2" fmla="*/ 58950 w 58950"/>
                <a:gd name="connsiteY2" fmla="*/ 0 h 66898"/>
                <a:gd name="connsiteX3" fmla="*/ 12579 w 58950"/>
                <a:gd name="connsiteY3" fmla="*/ 66898 h 6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950" h="66898">
                  <a:moveTo>
                    <a:pt x="0" y="66898"/>
                  </a:moveTo>
                  <a:lnTo>
                    <a:pt x="0" y="0"/>
                  </a:lnTo>
                  <a:lnTo>
                    <a:pt x="58950" y="0"/>
                  </a:lnTo>
                  <a:lnTo>
                    <a:pt x="12579" y="668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" name="Forme libre : forme 138">
              <a:extLst>
                <a:ext uri="{FF2B5EF4-FFF2-40B4-BE49-F238E27FC236}">
                  <a16:creationId xmlns:a16="http://schemas.microsoft.com/office/drawing/2014/main" id="{41AD4D21-E927-44C5-8A83-B759FDFF6D06}"/>
                </a:ext>
              </a:extLst>
            </p:cNvPr>
            <p:cNvSpPr/>
            <p:nvPr/>
          </p:nvSpPr>
          <p:spPr>
            <a:xfrm rot="8716295">
              <a:off x="-39593" y="1952072"/>
              <a:ext cx="198050" cy="140164"/>
            </a:xfrm>
            <a:custGeom>
              <a:avLst/>
              <a:gdLst>
                <a:gd name="connsiteX0" fmla="*/ 0 w 198050"/>
                <a:gd name="connsiteY0" fmla="*/ 75863 h 140164"/>
                <a:gd name="connsiteX1" fmla="*/ 0 w 198050"/>
                <a:gd name="connsiteY1" fmla="*/ 0 h 140164"/>
                <a:gd name="connsiteX2" fmla="*/ 128968 w 198050"/>
                <a:gd name="connsiteY2" fmla="*/ 0 h 140164"/>
                <a:gd name="connsiteX3" fmla="*/ 193021 w 198050"/>
                <a:gd name="connsiteY3" fmla="*/ 18535 h 140164"/>
                <a:gd name="connsiteX4" fmla="*/ 198050 w 198050"/>
                <a:gd name="connsiteY4" fmla="*/ 31548 h 140164"/>
                <a:gd name="connsiteX5" fmla="*/ 122761 w 198050"/>
                <a:gd name="connsiteY5" fmla="*/ 140164 h 140164"/>
                <a:gd name="connsiteX6" fmla="*/ 122761 w 198050"/>
                <a:gd name="connsiteY6" fmla="*/ 105519 h 140164"/>
                <a:gd name="connsiteX7" fmla="*/ 122761 w 198050"/>
                <a:gd name="connsiteY7" fmla="*/ 99312 h 140164"/>
                <a:gd name="connsiteX8" fmla="*/ 91726 w 198050"/>
                <a:gd name="connsiteY8" fmla="*/ 75863 h 140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8050" h="140164">
                  <a:moveTo>
                    <a:pt x="0" y="75863"/>
                  </a:moveTo>
                  <a:lnTo>
                    <a:pt x="0" y="0"/>
                  </a:lnTo>
                  <a:lnTo>
                    <a:pt x="128968" y="0"/>
                  </a:lnTo>
                  <a:cubicBezTo>
                    <a:pt x="156900" y="0"/>
                    <a:pt x="178452" y="6034"/>
                    <a:pt x="193021" y="18535"/>
                  </a:cubicBezTo>
                  <a:lnTo>
                    <a:pt x="198050" y="31548"/>
                  </a:lnTo>
                  <a:lnTo>
                    <a:pt x="122761" y="140164"/>
                  </a:ln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4"/>
                    <a:pt x="91726" y="758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" name="Forme libre : forme 139">
              <a:extLst>
                <a:ext uri="{FF2B5EF4-FFF2-40B4-BE49-F238E27FC236}">
                  <a16:creationId xmlns:a16="http://schemas.microsoft.com/office/drawing/2014/main" id="{B82C4F59-A689-41F2-8DD0-9745004AE675}"/>
                </a:ext>
              </a:extLst>
            </p:cNvPr>
            <p:cNvSpPr/>
            <p:nvPr/>
          </p:nvSpPr>
          <p:spPr>
            <a:xfrm rot="8716295">
              <a:off x="21100" y="1808096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" name="Forme libre : forme 140">
              <a:extLst>
                <a:ext uri="{FF2B5EF4-FFF2-40B4-BE49-F238E27FC236}">
                  <a16:creationId xmlns:a16="http://schemas.microsoft.com/office/drawing/2014/main" id="{FA2478B0-E5E2-4F32-8061-87C7FA11FBE0}"/>
                </a:ext>
              </a:extLst>
            </p:cNvPr>
            <p:cNvSpPr/>
            <p:nvPr/>
          </p:nvSpPr>
          <p:spPr>
            <a:xfrm rot="8716295">
              <a:off x="-24330" y="2197782"/>
              <a:ext cx="102508" cy="53362"/>
            </a:xfrm>
            <a:custGeom>
              <a:avLst/>
              <a:gdLst>
                <a:gd name="connsiteX0" fmla="*/ 0 w 102508"/>
                <a:gd name="connsiteY0" fmla="*/ 23637 h 53362"/>
                <a:gd name="connsiteX1" fmla="*/ 0 w 102508"/>
                <a:gd name="connsiteY1" fmla="*/ 2258 h 53362"/>
                <a:gd name="connsiteX2" fmla="*/ 102508 w 102508"/>
                <a:gd name="connsiteY2" fmla="*/ 0 h 53362"/>
                <a:gd name="connsiteX3" fmla="*/ 65519 w 102508"/>
                <a:gd name="connsiteY3" fmla="*/ 53362 h 53362"/>
                <a:gd name="connsiteX4" fmla="*/ 65519 w 102508"/>
                <a:gd name="connsiteY4" fmla="*/ 23637 h 5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508" h="53362">
                  <a:moveTo>
                    <a:pt x="0" y="23637"/>
                  </a:moveTo>
                  <a:lnTo>
                    <a:pt x="0" y="2258"/>
                  </a:lnTo>
                  <a:lnTo>
                    <a:pt x="102508" y="0"/>
                  </a:lnTo>
                  <a:lnTo>
                    <a:pt x="65519" y="53362"/>
                  </a:lnTo>
                  <a:lnTo>
                    <a:pt x="65519" y="2363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" name="Forme libre : forme 141">
              <a:extLst>
                <a:ext uri="{FF2B5EF4-FFF2-40B4-BE49-F238E27FC236}">
                  <a16:creationId xmlns:a16="http://schemas.microsoft.com/office/drawing/2014/main" id="{949053A5-7216-4B32-8AE1-A37ED2B2705A}"/>
                </a:ext>
              </a:extLst>
            </p:cNvPr>
            <p:cNvSpPr/>
            <p:nvPr/>
          </p:nvSpPr>
          <p:spPr>
            <a:xfrm rot="7484129">
              <a:off x="11236" y="224945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" name="Forme libre : forme 142">
              <a:extLst>
                <a:ext uri="{FF2B5EF4-FFF2-40B4-BE49-F238E27FC236}">
                  <a16:creationId xmlns:a16="http://schemas.microsoft.com/office/drawing/2014/main" id="{028B569C-B0FE-4A67-B111-B99F3950BB2A}"/>
                </a:ext>
              </a:extLst>
            </p:cNvPr>
            <p:cNvSpPr/>
            <p:nvPr/>
          </p:nvSpPr>
          <p:spPr>
            <a:xfrm rot="13089394">
              <a:off x="169886" y="2198801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4" name="Forme libre : forme 143">
              <a:extLst>
                <a:ext uri="{FF2B5EF4-FFF2-40B4-BE49-F238E27FC236}">
                  <a16:creationId xmlns:a16="http://schemas.microsoft.com/office/drawing/2014/main" id="{DDDAF86D-35C8-42A2-A70C-525D2D5475FD}"/>
                </a:ext>
              </a:extLst>
            </p:cNvPr>
            <p:cNvSpPr/>
            <p:nvPr/>
          </p:nvSpPr>
          <p:spPr>
            <a:xfrm rot="8716295">
              <a:off x="450777" y="1908683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5" name="Forme libre : forme 144">
              <a:extLst>
                <a:ext uri="{FF2B5EF4-FFF2-40B4-BE49-F238E27FC236}">
                  <a16:creationId xmlns:a16="http://schemas.microsoft.com/office/drawing/2014/main" id="{0456C75C-046A-4449-8D19-7B887B7670B6}"/>
                </a:ext>
              </a:extLst>
            </p:cNvPr>
            <p:cNvSpPr/>
            <p:nvPr/>
          </p:nvSpPr>
          <p:spPr>
            <a:xfrm rot="8716295">
              <a:off x="372368" y="175189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6" name="Forme libre : forme 145">
              <a:extLst>
                <a:ext uri="{FF2B5EF4-FFF2-40B4-BE49-F238E27FC236}">
                  <a16:creationId xmlns:a16="http://schemas.microsoft.com/office/drawing/2014/main" id="{9071FCAB-0728-4659-9A50-F1E4D3A34FCA}"/>
                </a:ext>
              </a:extLst>
            </p:cNvPr>
            <p:cNvSpPr/>
            <p:nvPr/>
          </p:nvSpPr>
          <p:spPr>
            <a:xfrm rot="8716295">
              <a:off x="4204" y="179763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7" name="Forme libre : forme 146">
              <a:extLst>
                <a:ext uri="{FF2B5EF4-FFF2-40B4-BE49-F238E27FC236}">
                  <a16:creationId xmlns:a16="http://schemas.microsoft.com/office/drawing/2014/main" id="{74F9CC45-BF7F-4E25-8F71-1BD6DA2F0E29}"/>
                </a:ext>
              </a:extLst>
            </p:cNvPr>
            <p:cNvSpPr/>
            <p:nvPr/>
          </p:nvSpPr>
          <p:spPr>
            <a:xfrm rot="8716295">
              <a:off x="272786" y="155661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8" name="Forme libre : forme 147">
              <a:extLst>
                <a:ext uri="{FF2B5EF4-FFF2-40B4-BE49-F238E27FC236}">
                  <a16:creationId xmlns:a16="http://schemas.microsoft.com/office/drawing/2014/main" id="{9BA7D72C-89C5-4ADB-A9D6-05B170E731F6}"/>
                </a:ext>
              </a:extLst>
            </p:cNvPr>
            <p:cNvSpPr/>
            <p:nvPr/>
          </p:nvSpPr>
          <p:spPr>
            <a:xfrm rot="8716295">
              <a:off x="-35149" y="938156"/>
              <a:ext cx="158623" cy="159016"/>
            </a:xfrm>
            <a:custGeom>
              <a:avLst/>
              <a:gdLst>
                <a:gd name="connsiteX0" fmla="*/ 77932 w 158623"/>
                <a:gd name="connsiteY0" fmla="*/ 159016 h 159016"/>
                <a:gd name="connsiteX1" fmla="*/ 77932 w 158623"/>
                <a:gd name="connsiteY1" fmla="*/ 66898 h 159016"/>
                <a:gd name="connsiteX2" fmla="*/ 0 w 158623"/>
                <a:gd name="connsiteY2" fmla="*/ 66898 h 159016"/>
                <a:gd name="connsiteX3" fmla="*/ 0 w 158623"/>
                <a:gd name="connsiteY3" fmla="*/ 0 h 159016"/>
                <a:gd name="connsiteX4" fmla="*/ 158623 w 158623"/>
                <a:gd name="connsiteY4" fmla="*/ 0 h 159016"/>
                <a:gd name="connsiteX5" fmla="*/ 158623 w 158623"/>
                <a:gd name="connsiteY5" fmla="*/ 42606 h 15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8623" h="159016">
                  <a:moveTo>
                    <a:pt x="77932" y="159016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4260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9" name="Forme libre : forme 148">
              <a:extLst>
                <a:ext uri="{FF2B5EF4-FFF2-40B4-BE49-F238E27FC236}">
                  <a16:creationId xmlns:a16="http://schemas.microsoft.com/office/drawing/2014/main" id="{049A796E-46A8-44F5-A685-EFE861D38A62}"/>
                </a:ext>
              </a:extLst>
            </p:cNvPr>
            <p:cNvSpPr/>
            <p:nvPr/>
          </p:nvSpPr>
          <p:spPr>
            <a:xfrm rot="7484129">
              <a:off x="-32979" y="1345537"/>
              <a:ext cx="65961" cy="45734"/>
            </a:xfrm>
            <a:custGeom>
              <a:avLst/>
              <a:gdLst>
                <a:gd name="connsiteX0" fmla="*/ 0 w 65961"/>
                <a:gd name="connsiteY0" fmla="*/ 45734 h 45734"/>
                <a:gd name="connsiteX1" fmla="*/ 0 w 65961"/>
                <a:gd name="connsiteY1" fmla="*/ 0 h 45734"/>
                <a:gd name="connsiteX2" fmla="*/ 65961 w 65961"/>
                <a:gd name="connsiteY2" fmla="*/ 0 h 45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5961" h="45734">
                  <a:moveTo>
                    <a:pt x="0" y="45734"/>
                  </a:moveTo>
                  <a:lnTo>
                    <a:pt x="0" y="0"/>
                  </a:lnTo>
                  <a:lnTo>
                    <a:pt x="6596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0" name="Forme libre : forme 149">
              <a:extLst>
                <a:ext uri="{FF2B5EF4-FFF2-40B4-BE49-F238E27FC236}">
                  <a16:creationId xmlns:a16="http://schemas.microsoft.com/office/drawing/2014/main" id="{5C3088F6-9CC3-48D3-A8B8-D590346DDC75}"/>
                </a:ext>
              </a:extLst>
            </p:cNvPr>
            <p:cNvSpPr/>
            <p:nvPr/>
          </p:nvSpPr>
          <p:spPr>
            <a:xfrm rot="13089394">
              <a:off x="-134707" y="1200752"/>
              <a:ext cx="386820" cy="481345"/>
            </a:xfrm>
            <a:custGeom>
              <a:avLst/>
              <a:gdLst>
                <a:gd name="connsiteX0" fmla="*/ 386820 w 386820"/>
                <a:gd name="connsiteY0" fmla="*/ 391818 h 481345"/>
                <a:gd name="connsiteX1" fmla="*/ 342166 w 386820"/>
                <a:gd name="connsiteY1" fmla="*/ 422376 h 481345"/>
                <a:gd name="connsiteX2" fmla="*/ 138636 w 386820"/>
                <a:gd name="connsiteY2" fmla="*/ 481098 h 481345"/>
                <a:gd name="connsiteX3" fmla="*/ 35911 w 386820"/>
                <a:gd name="connsiteY3" fmla="*/ 439340 h 481345"/>
                <a:gd name="connsiteX4" fmla="*/ 0 w 386820"/>
                <a:gd name="connsiteY4" fmla="*/ 295693 h 481345"/>
                <a:gd name="connsiteX5" fmla="*/ 0 w 386820"/>
                <a:gd name="connsiteY5" fmla="*/ 40970 h 481345"/>
                <a:gd name="connsiteX6" fmla="*/ 78970 w 386820"/>
                <a:gd name="connsiteY6" fmla="*/ 0 h 481345"/>
                <a:gd name="connsiteX7" fmla="*/ 111492 w 386820"/>
                <a:gd name="connsiteY7" fmla="*/ 41392 h 481345"/>
                <a:gd name="connsiteX8" fmla="*/ 112747 w 386820"/>
                <a:gd name="connsiteY8" fmla="*/ 216353 h 481345"/>
                <a:gd name="connsiteX9" fmla="*/ 132789 w 386820"/>
                <a:gd name="connsiteY9" fmla="*/ 354990 h 481345"/>
                <a:gd name="connsiteX10" fmla="*/ 233008 w 386820"/>
                <a:gd name="connsiteY10" fmla="*/ 410110 h 481345"/>
                <a:gd name="connsiteX11" fmla="*/ 308173 w 386820"/>
                <a:gd name="connsiteY11" fmla="*/ 396747 h 481345"/>
                <a:gd name="connsiteX12" fmla="*/ 370717 w 386820"/>
                <a:gd name="connsiteY12" fmla="*/ 371323 h 481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6820" h="481345">
                  <a:moveTo>
                    <a:pt x="386820" y="391818"/>
                  </a:moveTo>
                  <a:lnTo>
                    <a:pt x="342166" y="422376"/>
                  </a:lnTo>
                  <a:cubicBezTo>
                    <a:pt x="268920" y="462151"/>
                    <a:pt x="190624" y="477966"/>
                    <a:pt x="138636" y="481098"/>
                  </a:cubicBezTo>
                  <a:cubicBezTo>
                    <a:pt x="100219" y="483604"/>
                    <a:pt x="62637" y="466901"/>
                    <a:pt x="35911" y="439340"/>
                  </a:cubicBezTo>
                  <a:cubicBezTo>
                    <a:pt x="7516" y="411780"/>
                    <a:pt x="0" y="364176"/>
                    <a:pt x="0" y="295693"/>
                  </a:cubicBezTo>
                  <a:lnTo>
                    <a:pt x="0" y="40970"/>
                  </a:lnTo>
                  <a:lnTo>
                    <a:pt x="78970" y="0"/>
                  </a:lnTo>
                  <a:lnTo>
                    <a:pt x="111492" y="41392"/>
                  </a:lnTo>
                  <a:lnTo>
                    <a:pt x="112747" y="216353"/>
                  </a:lnTo>
                  <a:cubicBezTo>
                    <a:pt x="110241" y="263122"/>
                    <a:pt x="117757" y="310726"/>
                    <a:pt x="132789" y="354990"/>
                  </a:cubicBezTo>
                  <a:cubicBezTo>
                    <a:pt x="146153" y="391736"/>
                    <a:pt x="180394" y="410110"/>
                    <a:pt x="233008" y="410110"/>
                  </a:cubicBezTo>
                  <a:cubicBezTo>
                    <a:pt x="258899" y="409274"/>
                    <a:pt x="283953" y="404263"/>
                    <a:pt x="308173" y="396747"/>
                  </a:cubicBezTo>
                  <a:lnTo>
                    <a:pt x="370717" y="371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1" name="Forme libre : forme 150">
              <a:extLst>
                <a:ext uri="{FF2B5EF4-FFF2-40B4-BE49-F238E27FC236}">
                  <a16:creationId xmlns:a16="http://schemas.microsoft.com/office/drawing/2014/main" id="{45A3690F-0557-4DB0-94E4-7427021CEC86}"/>
                </a:ext>
              </a:extLst>
            </p:cNvPr>
            <p:cNvSpPr/>
            <p:nvPr/>
          </p:nvSpPr>
          <p:spPr>
            <a:xfrm rot="8716295">
              <a:off x="119403" y="90662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2" name="Forme libre : forme 151">
              <a:extLst>
                <a:ext uri="{FF2B5EF4-FFF2-40B4-BE49-F238E27FC236}">
                  <a16:creationId xmlns:a16="http://schemas.microsoft.com/office/drawing/2014/main" id="{1C3938EF-FACF-4118-88DE-3CA52114B602}"/>
                </a:ext>
              </a:extLst>
            </p:cNvPr>
            <p:cNvSpPr/>
            <p:nvPr/>
          </p:nvSpPr>
          <p:spPr>
            <a:xfrm rot="8716295">
              <a:off x="40994" y="74983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3" name="Forme libre : forme 152">
              <a:extLst>
                <a:ext uri="{FF2B5EF4-FFF2-40B4-BE49-F238E27FC236}">
                  <a16:creationId xmlns:a16="http://schemas.microsoft.com/office/drawing/2014/main" id="{DFC0458A-EB47-48D9-8C11-B6676E2C5CAE}"/>
                </a:ext>
              </a:extLst>
            </p:cNvPr>
            <p:cNvSpPr/>
            <p:nvPr/>
          </p:nvSpPr>
          <p:spPr>
            <a:xfrm rot="8716295">
              <a:off x="-44934" y="551941"/>
              <a:ext cx="152592" cy="165412"/>
            </a:xfrm>
            <a:custGeom>
              <a:avLst/>
              <a:gdLst>
                <a:gd name="connsiteX0" fmla="*/ 26453 w 152592"/>
                <a:gd name="connsiteY0" fmla="*/ 153143 h 165412"/>
                <a:gd name="connsiteX1" fmla="*/ 0 w 152592"/>
                <a:gd name="connsiteY1" fmla="*/ 90494 h 165412"/>
                <a:gd name="connsiteX2" fmla="*/ 0 w 152592"/>
                <a:gd name="connsiteY2" fmla="*/ 89101 h 165412"/>
                <a:gd name="connsiteX3" fmla="*/ 26453 w 152592"/>
                <a:gd name="connsiteY3" fmla="*/ 26453 h 165412"/>
                <a:gd name="connsiteX4" fmla="*/ 89101 w 152592"/>
                <a:gd name="connsiteY4" fmla="*/ 0 h 165412"/>
                <a:gd name="connsiteX5" fmla="*/ 151752 w 152592"/>
                <a:gd name="connsiteY5" fmla="*/ 26453 h 165412"/>
                <a:gd name="connsiteX6" fmla="*/ 152592 w 152592"/>
                <a:gd name="connsiteY6" fmla="*/ 27688 h 165412"/>
                <a:gd name="connsiteX7" fmla="*/ 57126 w 152592"/>
                <a:gd name="connsiteY7" fmla="*/ 165412 h 165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592" h="165412">
                  <a:moveTo>
                    <a:pt x="26453" y="153143"/>
                  </a:moveTo>
                  <a:cubicBezTo>
                    <a:pt x="9746" y="136436"/>
                    <a:pt x="0" y="114161"/>
                    <a:pt x="0" y="90494"/>
                  </a:cubicBezTo>
                  <a:lnTo>
                    <a:pt x="0" y="89101"/>
                  </a:lnTo>
                  <a:cubicBezTo>
                    <a:pt x="0" y="65434"/>
                    <a:pt x="9746" y="43159"/>
                    <a:pt x="26453" y="26453"/>
                  </a:cubicBezTo>
                  <a:cubicBezTo>
                    <a:pt x="43159" y="9746"/>
                    <a:pt x="65435" y="0"/>
                    <a:pt x="89101" y="0"/>
                  </a:cubicBezTo>
                  <a:cubicBezTo>
                    <a:pt x="112770" y="0"/>
                    <a:pt x="135045" y="9746"/>
                    <a:pt x="151752" y="26453"/>
                  </a:cubicBezTo>
                  <a:lnTo>
                    <a:pt x="152592" y="27688"/>
                  </a:lnTo>
                  <a:lnTo>
                    <a:pt x="57126" y="1654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4" name="Forme libre : forme 153">
              <a:extLst>
                <a:ext uri="{FF2B5EF4-FFF2-40B4-BE49-F238E27FC236}">
                  <a16:creationId xmlns:a16="http://schemas.microsoft.com/office/drawing/2014/main" id="{51206894-A2FA-4091-8709-9038ECFC9F62}"/>
                </a:ext>
              </a:extLst>
            </p:cNvPr>
            <p:cNvSpPr/>
            <p:nvPr/>
          </p:nvSpPr>
          <p:spPr>
            <a:xfrm rot="8716295">
              <a:off x="-69806" y="4587027"/>
              <a:ext cx="183810" cy="187594"/>
            </a:xfrm>
            <a:custGeom>
              <a:avLst/>
              <a:gdLst>
                <a:gd name="connsiteX0" fmla="*/ 10574 w 183810"/>
                <a:gd name="connsiteY0" fmla="*/ 187594 h 187594"/>
                <a:gd name="connsiteX1" fmla="*/ 0 w 183810"/>
                <a:gd name="connsiteY1" fmla="*/ 172952 h 187594"/>
                <a:gd name="connsiteX2" fmla="*/ 183810 w 183810"/>
                <a:gd name="connsiteY2" fmla="*/ 0 h 187594"/>
                <a:gd name="connsiteX3" fmla="*/ 72284 w 183810"/>
                <a:gd name="connsiteY3" fmla="*/ 160894 h 187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810" h="187594">
                  <a:moveTo>
                    <a:pt x="10574" y="187594"/>
                  </a:moveTo>
                  <a:lnTo>
                    <a:pt x="0" y="172952"/>
                  </a:lnTo>
                  <a:lnTo>
                    <a:pt x="183810" y="0"/>
                  </a:lnTo>
                  <a:lnTo>
                    <a:pt x="72284" y="1608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5" name="Forme libre : forme 154">
              <a:extLst>
                <a:ext uri="{FF2B5EF4-FFF2-40B4-BE49-F238E27FC236}">
                  <a16:creationId xmlns:a16="http://schemas.microsoft.com/office/drawing/2014/main" id="{75F36939-0C1D-4F35-A6F3-978C7845A7FE}"/>
                </a:ext>
              </a:extLst>
            </p:cNvPr>
            <p:cNvSpPr/>
            <p:nvPr/>
          </p:nvSpPr>
          <p:spPr>
            <a:xfrm rot="8716295">
              <a:off x="2260816" y="1871889"/>
              <a:ext cx="76563" cy="79800"/>
            </a:xfrm>
            <a:custGeom>
              <a:avLst/>
              <a:gdLst>
                <a:gd name="connsiteX0" fmla="*/ 1561 w 76563"/>
                <a:gd name="connsiteY0" fmla="*/ 67386 h 79800"/>
                <a:gd name="connsiteX1" fmla="*/ 0 w 76563"/>
                <a:gd name="connsiteY1" fmla="*/ 63688 h 79800"/>
                <a:gd name="connsiteX2" fmla="*/ 52676 w 76563"/>
                <a:gd name="connsiteY2" fmla="*/ 0 h 79800"/>
                <a:gd name="connsiteX3" fmla="*/ 63632 w 76563"/>
                <a:gd name="connsiteY3" fmla="*/ 4626 h 79800"/>
                <a:gd name="connsiteX4" fmla="*/ 63632 w 76563"/>
                <a:gd name="connsiteY4" fmla="*/ 66697 h 79800"/>
                <a:gd name="connsiteX5" fmla="*/ 32596 w 76563"/>
                <a:gd name="connsiteY5" fmla="*/ 79800 h 79800"/>
                <a:gd name="connsiteX6" fmla="*/ 1561 w 76563"/>
                <a:gd name="connsiteY6" fmla="*/ 67386 h 79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563" h="79800">
                  <a:moveTo>
                    <a:pt x="1561" y="67386"/>
                  </a:moveTo>
                  <a:lnTo>
                    <a:pt x="0" y="63688"/>
                  </a:lnTo>
                  <a:lnTo>
                    <a:pt x="52676" y="0"/>
                  </a:lnTo>
                  <a:lnTo>
                    <a:pt x="63632" y="4626"/>
                  </a:lnTo>
                  <a:cubicBezTo>
                    <a:pt x="80874" y="21178"/>
                    <a:pt x="80873" y="49455"/>
                    <a:pt x="63632" y="66697"/>
                  </a:cubicBezTo>
                  <a:cubicBezTo>
                    <a:pt x="55356" y="74973"/>
                    <a:pt x="44321" y="79800"/>
                    <a:pt x="32596" y="79800"/>
                  </a:cubicBezTo>
                  <a:cubicBezTo>
                    <a:pt x="20872" y="79800"/>
                    <a:pt x="9837" y="75662"/>
                    <a:pt x="1561" y="6738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6" name="Forme libre : forme 155">
              <a:extLst>
                <a:ext uri="{FF2B5EF4-FFF2-40B4-BE49-F238E27FC236}">
                  <a16:creationId xmlns:a16="http://schemas.microsoft.com/office/drawing/2014/main" id="{BD296649-E6F7-43B4-A921-2D9F25E09891}"/>
                </a:ext>
              </a:extLst>
            </p:cNvPr>
            <p:cNvSpPr/>
            <p:nvPr/>
          </p:nvSpPr>
          <p:spPr>
            <a:xfrm rot="8716295">
              <a:off x="2079218" y="1576016"/>
              <a:ext cx="236114" cy="296463"/>
            </a:xfrm>
            <a:custGeom>
              <a:avLst/>
              <a:gdLst>
                <a:gd name="connsiteX0" fmla="*/ 64875 w 236114"/>
                <a:gd name="connsiteY0" fmla="*/ 296463 h 296463"/>
                <a:gd name="connsiteX1" fmla="*/ 0 w 236114"/>
                <a:gd name="connsiteY1" fmla="*/ 175766 h 296463"/>
                <a:gd name="connsiteX2" fmla="*/ 33192 w 236114"/>
                <a:gd name="connsiteY2" fmla="*/ 83734 h 296463"/>
                <a:gd name="connsiteX3" fmla="*/ 489 w 236114"/>
                <a:gd name="connsiteY3" fmla="*/ 83734 h 296463"/>
                <a:gd name="connsiteX4" fmla="*/ 69747 w 236114"/>
                <a:gd name="connsiteY4" fmla="*/ 0 h 296463"/>
                <a:gd name="connsiteX5" fmla="*/ 236114 w 236114"/>
                <a:gd name="connsiteY5" fmla="*/ 0 h 296463"/>
                <a:gd name="connsiteX6" fmla="*/ 236114 w 236114"/>
                <a:gd name="connsiteY6" fmla="*/ 83734 h 296463"/>
                <a:gd name="connsiteX7" fmla="*/ 138047 w 236114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6114" h="296463">
                  <a:moveTo>
                    <a:pt x="64875" y="296463"/>
                  </a:moveTo>
                  <a:lnTo>
                    <a:pt x="0" y="175766"/>
                  </a:lnTo>
                  <a:lnTo>
                    <a:pt x="33192" y="83734"/>
                  </a:lnTo>
                  <a:lnTo>
                    <a:pt x="489" y="83734"/>
                  </a:lnTo>
                  <a:lnTo>
                    <a:pt x="69747" y="0"/>
                  </a:lnTo>
                  <a:lnTo>
                    <a:pt x="236114" y="0"/>
                  </a:lnTo>
                  <a:lnTo>
                    <a:pt x="236114" y="83734"/>
                  </a:lnTo>
                  <a:lnTo>
                    <a:pt x="138047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7" name="Forme libre : forme 156">
              <a:extLst>
                <a:ext uri="{FF2B5EF4-FFF2-40B4-BE49-F238E27FC236}">
                  <a16:creationId xmlns:a16="http://schemas.microsoft.com/office/drawing/2014/main" id="{6CA34F6D-826D-4D6C-B9D3-13816F14A2D6}"/>
                </a:ext>
              </a:extLst>
            </p:cNvPr>
            <p:cNvSpPr/>
            <p:nvPr/>
          </p:nvSpPr>
          <p:spPr>
            <a:xfrm rot="8716295">
              <a:off x="1975890" y="1368961"/>
              <a:ext cx="432296" cy="245571"/>
            </a:xfrm>
            <a:custGeom>
              <a:avLst/>
              <a:gdLst>
                <a:gd name="connsiteX0" fmla="*/ 30685 w 432296"/>
                <a:gd name="connsiteY0" fmla="*/ 200783 h 245571"/>
                <a:gd name="connsiteX1" fmla="*/ 187 w 432296"/>
                <a:gd name="connsiteY1" fmla="*/ 140564 h 245571"/>
                <a:gd name="connsiteX2" fmla="*/ 0 w 432296"/>
                <a:gd name="connsiteY2" fmla="*/ 138341 h 245571"/>
                <a:gd name="connsiteX3" fmla="*/ 114424 w 432296"/>
                <a:gd name="connsiteY3" fmla="*/ 0 h 245571"/>
                <a:gd name="connsiteX4" fmla="*/ 116284 w 432296"/>
                <a:gd name="connsiteY4" fmla="*/ 37935 h 245571"/>
                <a:gd name="connsiteX5" fmla="*/ 133982 w 432296"/>
                <a:gd name="connsiteY5" fmla="*/ 110844 h 245571"/>
                <a:gd name="connsiteX6" fmla="*/ 240841 w 432296"/>
                <a:gd name="connsiteY6" fmla="*/ 169617 h 245571"/>
                <a:gd name="connsiteX7" fmla="*/ 320985 w 432296"/>
                <a:gd name="connsiteY7" fmla="*/ 155369 h 245571"/>
                <a:gd name="connsiteX8" fmla="*/ 430515 w 432296"/>
                <a:gd name="connsiteY8" fmla="*/ 110844 h 245571"/>
                <a:gd name="connsiteX9" fmla="*/ 432296 w 432296"/>
                <a:gd name="connsiteY9" fmla="*/ 122420 h 245571"/>
                <a:gd name="connsiteX10" fmla="*/ 432296 w 432296"/>
                <a:gd name="connsiteY10" fmla="*/ 131325 h 245571"/>
                <a:gd name="connsiteX11" fmla="*/ 140216 w 432296"/>
                <a:gd name="connsiteY11" fmla="*/ 245308 h 245571"/>
                <a:gd name="connsiteX12" fmla="*/ 30685 w 432296"/>
                <a:gd name="connsiteY12" fmla="*/ 200783 h 245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32296" h="245571">
                  <a:moveTo>
                    <a:pt x="30685" y="200783"/>
                  </a:moveTo>
                  <a:cubicBezTo>
                    <a:pt x="15547" y="186091"/>
                    <a:pt x="5975" y="166054"/>
                    <a:pt x="187" y="140564"/>
                  </a:cubicBezTo>
                  <a:lnTo>
                    <a:pt x="0" y="138341"/>
                  </a:lnTo>
                  <a:lnTo>
                    <a:pt x="114424" y="0"/>
                  </a:lnTo>
                  <a:lnTo>
                    <a:pt x="116284" y="37935"/>
                  </a:lnTo>
                  <a:cubicBezTo>
                    <a:pt x="119957" y="62758"/>
                    <a:pt x="125968" y="87246"/>
                    <a:pt x="133982" y="110844"/>
                  </a:cubicBezTo>
                  <a:cubicBezTo>
                    <a:pt x="148231" y="150026"/>
                    <a:pt x="184740" y="169617"/>
                    <a:pt x="240841" y="169617"/>
                  </a:cubicBezTo>
                  <a:cubicBezTo>
                    <a:pt x="268446" y="168726"/>
                    <a:pt x="295161" y="163383"/>
                    <a:pt x="320985" y="155369"/>
                  </a:cubicBezTo>
                  <a:cubicBezTo>
                    <a:pt x="358385" y="143792"/>
                    <a:pt x="394895" y="128654"/>
                    <a:pt x="430515" y="110844"/>
                  </a:cubicBezTo>
                  <a:cubicBezTo>
                    <a:pt x="431405" y="114406"/>
                    <a:pt x="432296" y="118858"/>
                    <a:pt x="432296" y="122420"/>
                  </a:cubicBezTo>
                  <a:lnTo>
                    <a:pt x="432296" y="131325"/>
                  </a:lnTo>
                  <a:cubicBezTo>
                    <a:pt x="337904" y="212360"/>
                    <a:pt x="214126" y="240856"/>
                    <a:pt x="140216" y="245308"/>
                  </a:cubicBezTo>
                  <a:cubicBezTo>
                    <a:pt x="99254" y="247980"/>
                    <a:pt x="59182" y="230170"/>
                    <a:pt x="30685" y="2007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8" name="Forme libre : forme 157">
              <a:extLst>
                <a:ext uri="{FF2B5EF4-FFF2-40B4-BE49-F238E27FC236}">
                  <a16:creationId xmlns:a16="http://schemas.microsoft.com/office/drawing/2014/main" id="{1B5AAC38-2C08-40E5-95BE-5338A8CAC415}"/>
                </a:ext>
              </a:extLst>
            </p:cNvPr>
            <p:cNvSpPr/>
            <p:nvPr/>
          </p:nvSpPr>
          <p:spPr>
            <a:xfrm rot="8716295">
              <a:off x="2107141" y="73528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9" name="Forme libre : forme 158">
              <a:extLst>
                <a:ext uri="{FF2B5EF4-FFF2-40B4-BE49-F238E27FC236}">
                  <a16:creationId xmlns:a16="http://schemas.microsoft.com/office/drawing/2014/main" id="{A4125EC0-3011-4C53-83B6-DD287160F4E7}"/>
                </a:ext>
              </a:extLst>
            </p:cNvPr>
            <p:cNvSpPr/>
            <p:nvPr/>
          </p:nvSpPr>
          <p:spPr>
            <a:xfrm rot="8716295">
              <a:off x="2242282" y="832029"/>
              <a:ext cx="282003" cy="313470"/>
            </a:xfrm>
            <a:custGeom>
              <a:avLst/>
              <a:gdLst>
                <a:gd name="connsiteX0" fmla="*/ 188208 w 282003"/>
                <a:gd name="connsiteY0" fmla="*/ 99785 h 313470"/>
                <a:gd name="connsiteX1" fmla="*/ 188208 w 282003"/>
                <a:gd name="connsiteY1" fmla="*/ 85923 h 313470"/>
                <a:gd name="connsiteX2" fmla="*/ 259276 w 282003"/>
                <a:gd name="connsiteY2" fmla="*/ 0 h 313470"/>
                <a:gd name="connsiteX3" fmla="*/ 274211 w 282003"/>
                <a:gd name="connsiteY3" fmla="*/ 28123 h 313470"/>
                <a:gd name="connsiteX4" fmla="*/ 282003 w 282003"/>
                <a:gd name="connsiteY4" fmla="*/ 85301 h 313470"/>
                <a:gd name="connsiteX5" fmla="*/ 282002 w 282003"/>
                <a:gd name="connsiteY5" fmla="*/ 94267 h 313470"/>
                <a:gd name="connsiteX6" fmla="*/ 0 w 282003"/>
                <a:gd name="connsiteY6" fmla="*/ 313470 h 313470"/>
                <a:gd name="connsiteX7" fmla="*/ 56482 w 282003"/>
                <a:gd name="connsiteY7" fmla="*/ 245183 h 313470"/>
                <a:gd name="connsiteX8" fmla="*/ 56482 w 282003"/>
                <a:gd name="connsiteY8" fmla="*/ 274960 h 313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2003" h="313470">
                  <a:moveTo>
                    <a:pt x="188208" y="99785"/>
                  </a:moveTo>
                  <a:lnTo>
                    <a:pt x="188208" y="85923"/>
                  </a:lnTo>
                  <a:lnTo>
                    <a:pt x="259276" y="0"/>
                  </a:lnTo>
                  <a:lnTo>
                    <a:pt x="274211" y="28123"/>
                  </a:lnTo>
                  <a:cubicBezTo>
                    <a:pt x="279330" y="44783"/>
                    <a:pt x="282002" y="63922"/>
                    <a:pt x="282003" y="85301"/>
                  </a:cubicBezTo>
                  <a:lnTo>
                    <a:pt x="282002" y="94267"/>
                  </a:lnTo>
                  <a:close/>
                  <a:moveTo>
                    <a:pt x="0" y="313470"/>
                  </a:moveTo>
                  <a:lnTo>
                    <a:pt x="56482" y="245183"/>
                  </a:lnTo>
                  <a:lnTo>
                    <a:pt x="56482" y="2749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0" name="Forme libre : forme 159">
              <a:extLst>
                <a:ext uri="{FF2B5EF4-FFF2-40B4-BE49-F238E27FC236}">
                  <a16:creationId xmlns:a16="http://schemas.microsoft.com/office/drawing/2014/main" id="{FF9B0781-A82C-47AF-AC1C-21015974FDE2}"/>
                </a:ext>
              </a:extLst>
            </p:cNvPr>
            <p:cNvSpPr/>
            <p:nvPr/>
          </p:nvSpPr>
          <p:spPr>
            <a:xfrm rot="8716295">
              <a:off x="2174558" y="64895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1" name="Forme libre : forme 160">
              <a:extLst>
                <a:ext uri="{FF2B5EF4-FFF2-40B4-BE49-F238E27FC236}">
                  <a16:creationId xmlns:a16="http://schemas.microsoft.com/office/drawing/2014/main" id="{E647964A-EFA4-4875-8CBA-E79FD37F80FD}"/>
                </a:ext>
              </a:extLst>
            </p:cNvPr>
            <p:cNvSpPr/>
            <p:nvPr/>
          </p:nvSpPr>
          <p:spPr>
            <a:xfrm rot="8716295">
              <a:off x="1937270" y="86929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2" name="Forme libre : forme 161">
              <a:extLst>
                <a:ext uri="{FF2B5EF4-FFF2-40B4-BE49-F238E27FC236}">
                  <a16:creationId xmlns:a16="http://schemas.microsoft.com/office/drawing/2014/main" id="{92A84223-E9E1-4AA2-A477-395EEFC832F2}"/>
                </a:ext>
              </a:extLst>
            </p:cNvPr>
            <p:cNvSpPr/>
            <p:nvPr/>
          </p:nvSpPr>
          <p:spPr>
            <a:xfrm rot="8716295">
              <a:off x="1748224" y="55346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3" name="Forme libre : forme 162">
              <a:extLst>
                <a:ext uri="{FF2B5EF4-FFF2-40B4-BE49-F238E27FC236}">
                  <a16:creationId xmlns:a16="http://schemas.microsoft.com/office/drawing/2014/main" id="{25B16338-FDD7-4AA6-9D09-5C2DE296D9CE}"/>
                </a:ext>
              </a:extLst>
            </p:cNvPr>
            <p:cNvSpPr/>
            <p:nvPr/>
          </p:nvSpPr>
          <p:spPr>
            <a:xfrm rot="8716295">
              <a:off x="1729983" y="34341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4" name="Forme libre : forme 163">
              <a:extLst>
                <a:ext uri="{FF2B5EF4-FFF2-40B4-BE49-F238E27FC236}">
                  <a16:creationId xmlns:a16="http://schemas.microsoft.com/office/drawing/2014/main" id="{FD37B6C0-63BE-47FD-9D48-08E0F916E511}"/>
                </a:ext>
              </a:extLst>
            </p:cNvPr>
            <p:cNvSpPr/>
            <p:nvPr/>
          </p:nvSpPr>
          <p:spPr>
            <a:xfrm rot="8716295">
              <a:off x="2073759" y="93127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5" name="Forme libre : forme 164">
              <a:extLst>
                <a:ext uri="{FF2B5EF4-FFF2-40B4-BE49-F238E27FC236}">
                  <a16:creationId xmlns:a16="http://schemas.microsoft.com/office/drawing/2014/main" id="{93F06371-0361-4141-BEE3-CC9849B020E6}"/>
                </a:ext>
              </a:extLst>
            </p:cNvPr>
            <p:cNvSpPr/>
            <p:nvPr/>
          </p:nvSpPr>
          <p:spPr>
            <a:xfrm rot="8716295">
              <a:off x="2367873" y="489398"/>
              <a:ext cx="81526" cy="84395"/>
            </a:xfrm>
            <a:custGeom>
              <a:avLst/>
              <a:gdLst>
                <a:gd name="connsiteX0" fmla="*/ 6524 w 81526"/>
                <a:gd name="connsiteY0" fmla="*/ 71981 h 84395"/>
                <a:gd name="connsiteX1" fmla="*/ 0 w 81526"/>
                <a:gd name="connsiteY1" fmla="*/ 56529 h 84395"/>
                <a:gd name="connsiteX2" fmla="*/ 46756 w 81526"/>
                <a:gd name="connsiteY2" fmla="*/ 0 h 84395"/>
                <a:gd name="connsiteX3" fmla="*/ 68595 w 81526"/>
                <a:gd name="connsiteY3" fmla="*/ 9221 h 84395"/>
                <a:gd name="connsiteX4" fmla="*/ 68595 w 81526"/>
                <a:gd name="connsiteY4" fmla="*/ 71292 h 84395"/>
                <a:gd name="connsiteX5" fmla="*/ 37559 w 81526"/>
                <a:gd name="connsiteY5" fmla="*/ 84395 h 84395"/>
                <a:gd name="connsiteX6" fmla="*/ 6524 w 81526"/>
                <a:gd name="connsiteY6" fmla="*/ 71981 h 84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526" h="84395">
                  <a:moveTo>
                    <a:pt x="6524" y="71981"/>
                  </a:moveTo>
                  <a:lnTo>
                    <a:pt x="0" y="56529"/>
                  </a:lnTo>
                  <a:lnTo>
                    <a:pt x="46756" y="0"/>
                  </a:lnTo>
                  <a:lnTo>
                    <a:pt x="68595" y="9221"/>
                  </a:lnTo>
                  <a:cubicBezTo>
                    <a:pt x="85837" y="25773"/>
                    <a:pt x="85836" y="54050"/>
                    <a:pt x="68595" y="71292"/>
                  </a:cubicBezTo>
                  <a:cubicBezTo>
                    <a:pt x="60319" y="79568"/>
                    <a:pt x="49284" y="84395"/>
                    <a:pt x="37559" y="84395"/>
                  </a:cubicBezTo>
                  <a:cubicBezTo>
                    <a:pt x="25835" y="84395"/>
                    <a:pt x="14800" y="80257"/>
                    <a:pt x="6524" y="7198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6" name="Forme libre : forme 165">
              <a:extLst>
                <a:ext uri="{FF2B5EF4-FFF2-40B4-BE49-F238E27FC236}">
                  <a16:creationId xmlns:a16="http://schemas.microsoft.com/office/drawing/2014/main" id="{5196C23A-E9EE-4BB5-B0E6-FCA193386C5B}"/>
                </a:ext>
              </a:extLst>
            </p:cNvPr>
            <p:cNvSpPr/>
            <p:nvPr/>
          </p:nvSpPr>
          <p:spPr>
            <a:xfrm rot="8716295">
              <a:off x="2184146" y="191304"/>
              <a:ext cx="250306" cy="296463"/>
            </a:xfrm>
            <a:custGeom>
              <a:avLst/>
              <a:gdLst>
                <a:gd name="connsiteX0" fmla="*/ 79067 w 250306"/>
                <a:gd name="connsiteY0" fmla="*/ 296463 h 296463"/>
                <a:gd name="connsiteX1" fmla="*/ 14192 w 250306"/>
                <a:gd name="connsiteY1" fmla="*/ 175766 h 296463"/>
                <a:gd name="connsiteX2" fmla="*/ 47384 w 250306"/>
                <a:gd name="connsiteY2" fmla="*/ 83734 h 296463"/>
                <a:gd name="connsiteX3" fmla="*/ 0 w 250306"/>
                <a:gd name="connsiteY3" fmla="*/ 83734 h 296463"/>
                <a:gd name="connsiteX4" fmla="*/ 69257 w 250306"/>
                <a:gd name="connsiteY4" fmla="*/ 0 h 296463"/>
                <a:gd name="connsiteX5" fmla="*/ 250306 w 250306"/>
                <a:gd name="connsiteY5" fmla="*/ 0 h 296463"/>
                <a:gd name="connsiteX6" fmla="*/ 250306 w 250306"/>
                <a:gd name="connsiteY6" fmla="*/ 83734 h 296463"/>
                <a:gd name="connsiteX7" fmla="*/ 152239 w 250306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0306" h="296463">
                  <a:moveTo>
                    <a:pt x="79067" y="296463"/>
                  </a:moveTo>
                  <a:lnTo>
                    <a:pt x="14192" y="175766"/>
                  </a:lnTo>
                  <a:lnTo>
                    <a:pt x="47384" y="83734"/>
                  </a:lnTo>
                  <a:lnTo>
                    <a:pt x="0" y="83734"/>
                  </a:lnTo>
                  <a:lnTo>
                    <a:pt x="69257" y="0"/>
                  </a:lnTo>
                  <a:lnTo>
                    <a:pt x="250306" y="0"/>
                  </a:lnTo>
                  <a:lnTo>
                    <a:pt x="250306" y="83734"/>
                  </a:lnTo>
                  <a:lnTo>
                    <a:pt x="152239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7" name="Forme libre : forme 166">
              <a:extLst>
                <a:ext uri="{FF2B5EF4-FFF2-40B4-BE49-F238E27FC236}">
                  <a16:creationId xmlns:a16="http://schemas.microsoft.com/office/drawing/2014/main" id="{AF8BB132-EA68-41A8-B3E5-2FCCBDEB7D5A}"/>
                </a:ext>
              </a:extLst>
            </p:cNvPr>
            <p:cNvSpPr/>
            <p:nvPr/>
          </p:nvSpPr>
          <p:spPr>
            <a:xfrm rot="8716295">
              <a:off x="2145876" y="32623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8" name="Forme libre : forme 167">
              <a:extLst>
                <a:ext uri="{FF2B5EF4-FFF2-40B4-BE49-F238E27FC236}">
                  <a16:creationId xmlns:a16="http://schemas.microsoft.com/office/drawing/2014/main" id="{0C891817-7BA1-4E19-A5B6-7030FDA5B7F1}"/>
                </a:ext>
              </a:extLst>
            </p:cNvPr>
            <p:cNvSpPr/>
            <p:nvPr/>
          </p:nvSpPr>
          <p:spPr>
            <a:xfrm rot="8716295">
              <a:off x="1834766" y="-57684"/>
              <a:ext cx="186564" cy="129320"/>
            </a:xfrm>
            <a:custGeom>
              <a:avLst/>
              <a:gdLst>
                <a:gd name="connsiteX0" fmla="*/ 123263 w 123263"/>
                <a:gd name="connsiteY0" fmla="*/ 85442 h 85442"/>
                <a:gd name="connsiteX1" fmla="*/ 0 w 123263"/>
                <a:gd name="connsiteY1" fmla="*/ 0 h 85442"/>
                <a:gd name="connsiteX2" fmla="*/ 66305 w 123263"/>
                <a:gd name="connsiteY2" fmla="*/ 0 h 85442"/>
                <a:gd name="connsiteX3" fmla="*/ 123263 w 123263"/>
                <a:gd name="connsiteY3" fmla="*/ 50123 h 85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63" h="85442">
                  <a:moveTo>
                    <a:pt x="123263" y="85442"/>
                  </a:moveTo>
                  <a:lnTo>
                    <a:pt x="0" y="0"/>
                  </a:lnTo>
                  <a:lnTo>
                    <a:pt x="66305" y="0"/>
                  </a:lnTo>
                  <a:cubicBezTo>
                    <a:pt x="103214" y="0"/>
                    <a:pt x="123263" y="15948"/>
                    <a:pt x="123263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9" name="Forme libre : forme 168">
              <a:extLst>
                <a:ext uri="{FF2B5EF4-FFF2-40B4-BE49-F238E27FC236}">
                  <a16:creationId xmlns:a16="http://schemas.microsoft.com/office/drawing/2014/main" id="{4406013B-1E43-4380-98C9-594C282D12B3}"/>
                </a:ext>
              </a:extLst>
            </p:cNvPr>
            <p:cNvSpPr/>
            <p:nvPr/>
          </p:nvSpPr>
          <p:spPr>
            <a:xfrm rot="8716295">
              <a:off x="1969949" y="-13794"/>
              <a:ext cx="394488" cy="148365"/>
            </a:xfrm>
            <a:custGeom>
              <a:avLst/>
              <a:gdLst>
                <a:gd name="connsiteX0" fmla="*/ 104802 w 260639"/>
                <a:gd name="connsiteY0" fmla="*/ 74264 h 98025"/>
                <a:gd name="connsiteX1" fmla="*/ 0 w 260639"/>
                <a:gd name="connsiteY1" fmla="*/ 1618 h 98025"/>
                <a:gd name="connsiteX2" fmla="*/ 0 w 260639"/>
                <a:gd name="connsiteY2" fmla="*/ 1425 h 98025"/>
                <a:gd name="connsiteX3" fmla="*/ 104803 w 260639"/>
                <a:gd name="connsiteY3" fmla="*/ 1425 h 98025"/>
                <a:gd name="connsiteX4" fmla="*/ 122123 w 260639"/>
                <a:gd name="connsiteY4" fmla="*/ 86270 h 98025"/>
                <a:gd name="connsiteX5" fmla="*/ 106178 w 260639"/>
                <a:gd name="connsiteY5" fmla="*/ 75218 h 98025"/>
                <a:gd name="connsiteX6" fmla="*/ 116721 w 260639"/>
                <a:gd name="connsiteY6" fmla="*/ 47439 h 98025"/>
                <a:gd name="connsiteX7" fmla="*/ 154014 w 260639"/>
                <a:gd name="connsiteY7" fmla="*/ 5981 h 98025"/>
                <a:gd name="connsiteX8" fmla="*/ 185455 w 260639"/>
                <a:gd name="connsiteY8" fmla="*/ 57 h 98025"/>
                <a:gd name="connsiteX9" fmla="*/ 260639 w 260639"/>
                <a:gd name="connsiteY9" fmla="*/ 88456 h 98025"/>
                <a:gd name="connsiteX10" fmla="*/ 260639 w 260639"/>
                <a:gd name="connsiteY10" fmla="*/ 94380 h 98025"/>
                <a:gd name="connsiteX11" fmla="*/ 198669 w 260639"/>
                <a:gd name="connsiteY11" fmla="*/ 98025 h 98025"/>
                <a:gd name="connsiteX12" fmla="*/ 198669 w 260639"/>
                <a:gd name="connsiteY12" fmla="*/ 81621 h 98025"/>
                <a:gd name="connsiteX13" fmla="*/ 164950 w 260639"/>
                <a:gd name="connsiteY13" fmla="*/ 40156 h 98025"/>
                <a:gd name="connsiteX14" fmla="*/ 127358 w 260639"/>
                <a:gd name="connsiteY14" fmla="*/ 65616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60639" h="98025">
                  <a:moveTo>
                    <a:pt x="104802" y="74264"/>
                  </a:moveTo>
                  <a:lnTo>
                    <a:pt x="0" y="1618"/>
                  </a:lnTo>
                  <a:lnTo>
                    <a:pt x="0" y="1425"/>
                  </a:lnTo>
                  <a:lnTo>
                    <a:pt x="104803" y="1425"/>
                  </a:lnTo>
                  <a:close/>
                  <a:moveTo>
                    <a:pt x="122123" y="86270"/>
                  </a:moveTo>
                  <a:lnTo>
                    <a:pt x="106178" y="75218"/>
                  </a:lnTo>
                  <a:lnTo>
                    <a:pt x="116721" y="47439"/>
                  </a:lnTo>
                  <a:cubicBezTo>
                    <a:pt x="127102" y="24008"/>
                    <a:pt x="137610" y="12816"/>
                    <a:pt x="154014" y="5981"/>
                  </a:cubicBezTo>
                  <a:cubicBezTo>
                    <a:pt x="164038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50369" y="40156"/>
                    <a:pt x="137041" y="49839"/>
                    <a:pt x="127358" y="656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0" name="Forme libre : forme 169">
              <a:extLst>
                <a:ext uri="{FF2B5EF4-FFF2-40B4-BE49-F238E27FC236}">
                  <a16:creationId xmlns:a16="http://schemas.microsoft.com/office/drawing/2014/main" id="{697ACF89-8E3E-4CA4-96AD-ED3067ABB920}"/>
                </a:ext>
              </a:extLst>
            </p:cNvPr>
            <p:cNvSpPr/>
            <p:nvPr/>
          </p:nvSpPr>
          <p:spPr>
            <a:xfrm rot="8716295">
              <a:off x="1736738" y="-7282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1" name="Forme libre : forme 170">
              <a:extLst>
                <a:ext uri="{FF2B5EF4-FFF2-40B4-BE49-F238E27FC236}">
                  <a16:creationId xmlns:a16="http://schemas.microsoft.com/office/drawing/2014/main" id="{914F8714-5CD4-41D2-92D2-73A622448BB2}"/>
                </a:ext>
              </a:extLst>
            </p:cNvPr>
            <p:cNvSpPr/>
            <p:nvPr/>
          </p:nvSpPr>
          <p:spPr>
            <a:xfrm rot="7484129">
              <a:off x="2394733" y="32841"/>
              <a:ext cx="135077" cy="94074"/>
            </a:xfrm>
            <a:custGeom>
              <a:avLst/>
              <a:gdLst>
                <a:gd name="connsiteX0" fmla="*/ 100725 w 135077"/>
                <a:gd name="connsiteY0" fmla="*/ 19729 h 94074"/>
                <a:gd name="connsiteX1" fmla="*/ 135077 w 135077"/>
                <a:gd name="connsiteY1" fmla="*/ 0 h 94074"/>
                <a:gd name="connsiteX2" fmla="*/ 135077 w 135077"/>
                <a:gd name="connsiteY2" fmla="*/ 19729 h 94074"/>
                <a:gd name="connsiteX3" fmla="*/ 0 w 135077"/>
                <a:gd name="connsiteY3" fmla="*/ 77576 h 94074"/>
                <a:gd name="connsiteX4" fmla="*/ 21327 w 135077"/>
                <a:gd name="connsiteY4" fmla="*/ 65328 h 94074"/>
                <a:gd name="connsiteX5" fmla="*/ 11439 w 135077"/>
                <a:gd name="connsiteY5" fmla="*/ 94074 h 94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5077" h="94074">
                  <a:moveTo>
                    <a:pt x="100725" y="19729"/>
                  </a:moveTo>
                  <a:lnTo>
                    <a:pt x="135077" y="0"/>
                  </a:lnTo>
                  <a:lnTo>
                    <a:pt x="135077" y="19729"/>
                  </a:lnTo>
                  <a:close/>
                  <a:moveTo>
                    <a:pt x="0" y="77576"/>
                  </a:moveTo>
                  <a:lnTo>
                    <a:pt x="21327" y="65328"/>
                  </a:lnTo>
                  <a:lnTo>
                    <a:pt x="11439" y="940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pic>
        <p:nvPicPr>
          <p:cNvPr id="172" name="Graphique 171">
            <a:extLst>
              <a:ext uri="{FF2B5EF4-FFF2-40B4-BE49-F238E27FC236}">
                <a16:creationId xmlns:a16="http://schemas.microsoft.com/office/drawing/2014/main" id="{EEB7B645-2A8D-4396-ACBA-9D90A74761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9935" y="2052251"/>
            <a:ext cx="3474258" cy="103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7578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itr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4" name="Groupe 413">
            <a:extLst>
              <a:ext uri="{FF2B5EF4-FFF2-40B4-BE49-F238E27FC236}">
                <a16:creationId xmlns:a16="http://schemas.microsoft.com/office/drawing/2014/main" id="{2644C3EB-70A8-4825-90FB-0BA5647C44C3}"/>
              </a:ext>
            </a:extLst>
          </p:cNvPr>
          <p:cNvGrpSpPr/>
          <p:nvPr userDrawn="1"/>
        </p:nvGrpSpPr>
        <p:grpSpPr>
          <a:xfrm>
            <a:off x="-134707" y="-108618"/>
            <a:ext cx="6284502" cy="5381969"/>
            <a:chOff x="-134707" y="-108618"/>
            <a:chExt cx="6284502" cy="5381969"/>
          </a:xfrm>
          <a:solidFill>
            <a:schemeClr val="bg2">
              <a:alpha val="10000"/>
            </a:schemeClr>
          </a:solidFill>
        </p:grpSpPr>
        <p:sp>
          <p:nvSpPr>
            <p:cNvPr id="415" name="Forme libre : forme 414">
              <a:extLst>
                <a:ext uri="{FF2B5EF4-FFF2-40B4-BE49-F238E27FC236}">
                  <a16:creationId xmlns:a16="http://schemas.microsoft.com/office/drawing/2014/main" id="{26D76879-6717-4423-9F18-EA639E20D75F}"/>
                </a:ext>
              </a:extLst>
            </p:cNvPr>
            <p:cNvSpPr/>
            <p:nvPr/>
          </p:nvSpPr>
          <p:spPr>
            <a:xfrm rot="8716295">
              <a:off x="1460344" y="348006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6" name="Forme libre : forme 415">
              <a:extLst>
                <a:ext uri="{FF2B5EF4-FFF2-40B4-BE49-F238E27FC236}">
                  <a16:creationId xmlns:a16="http://schemas.microsoft.com/office/drawing/2014/main" id="{6F6CD235-6DDC-4933-9FDE-9403C4655E9F}"/>
                </a:ext>
              </a:extLst>
            </p:cNvPr>
            <p:cNvSpPr/>
            <p:nvPr/>
          </p:nvSpPr>
          <p:spPr>
            <a:xfrm rot="8716295">
              <a:off x="1595642" y="352432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7" name="Forme libre : forme 416">
              <a:extLst>
                <a:ext uri="{FF2B5EF4-FFF2-40B4-BE49-F238E27FC236}">
                  <a16:creationId xmlns:a16="http://schemas.microsoft.com/office/drawing/2014/main" id="{1DE6B810-CC68-4D75-A0DA-3AB15B93C310}"/>
                </a:ext>
              </a:extLst>
            </p:cNvPr>
            <p:cNvSpPr/>
            <p:nvPr/>
          </p:nvSpPr>
          <p:spPr>
            <a:xfrm rot="8716295">
              <a:off x="1527760" y="339373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8" name="Forme libre : forme 417">
              <a:extLst>
                <a:ext uri="{FF2B5EF4-FFF2-40B4-BE49-F238E27FC236}">
                  <a16:creationId xmlns:a16="http://schemas.microsoft.com/office/drawing/2014/main" id="{B2F3E872-B9FB-4C1E-8FFB-A353888D6487}"/>
                </a:ext>
              </a:extLst>
            </p:cNvPr>
            <p:cNvSpPr/>
            <p:nvPr/>
          </p:nvSpPr>
          <p:spPr>
            <a:xfrm rot="8716295">
              <a:off x="1290473" y="361408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9" name="Forme libre : forme 418">
              <a:extLst>
                <a:ext uri="{FF2B5EF4-FFF2-40B4-BE49-F238E27FC236}">
                  <a16:creationId xmlns:a16="http://schemas.microsoft.com/office/drawing/2014/main" id="{58C1A8CA-96AF-45F6-BEF0-2F79DFAA8D08}"/>
                </a:ext>
              </a:extLst>
            </p:cNvPr>
            <p:cNvSpPr/>
            <p:nvPr/>
          </p:nvSpPr>
          <p:spPr>
            <a:xfrm rot="8716295">
              <a:off x="1101427" y="329824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0" name="Forme libre : forme 419">
              <a:extLst>
                <a:ext uri="{FF2B5EF4-FFF2-40B4-BE49-F238E27FC236}">
                  <a16:creationId xmlns:a16="http://schemas.microsoft.com/office/drawing/2014/main" id="{E4D6370E-93EF-40F5-A0C4-77E41F8C5928}"/>
                </a:ext>
              </a:extLst>
            </p:cNvPr>
            <p:cNvSpPr/>
            <p:nvPr/>
          </p:nvSpPr>
          <p:spPr>
            <a:xfrm rot="8716295">
              <a:off x="1083185" y="3088198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1" name="Forme libre : forme 420">
              <a:extLst>
                <a:ext uri="{FF2B5EF4-FFF2-40B4-BE49-F238E27FC236}">
                  <a16:creationId xmlns:a16="http://schemas.microsoft.com/office/drawing/2014/main" id="{75EE660D-490C-4E91-B35C-9971F1A8A457}"/>
                </a:ext>
              </a:extLst>
            </p:cNvPr>
            <p:cNvSpPr/>
            <p:nvPr/>
          </p:nvSpPr>
          <p:spPr>
            <a:xfrm rot="8716295">
              <a:off x="1426961" y="367606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2" name="Forme libre : forme 421">
              <a:extLst>
                <a:ext uri="{FF2B5EF4-FFF2-40B4-BE49-F238E27FC236}">
                  <a16:creationId xmlns:a16="http://schemas.microsoft.com/office/drawing/2014/main" id="{D1E2AD0B-852D-4FB3-B735-8BDD01079661}"/>
                </a:ext>
              </a:extLst>
            </p:cNvPr>
            <p:cNvSpPr/>
            <p:nvPr/>
          </p:nvSpPr>
          <p:spPr>
            <a:xfrm rot="8716295">
              <a:off x="1897908" y="310145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3" name="Forme libre : forme 422">
              <a:extLst>
                <a:ext uri="{FF2B5EF4-FFF2-40B4-BE49-F238E27FC236}">
                  <a16:creationId xmlns:a16="http://schemas.microsoft.com/office/drawing/2014/main" id="{429C4CB7-99F5-4D34-89E6-B179CBB2792F}"/>
                </a:ext>
              </a:extLst>
            </p:cNvPr>
            <p:cNvSpPr/>
            <p:nvPr/>
          </p:nvSpPr>
          <p:spPr>
            <a:xfrm rot="8716295">
              <a:off x="2033206" y="314571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4" name="Forme libre : forme 423">
              <a:extLst>
                <a:ext uri="{FF2B5EF4-FFF2-40B4-BE49-F238E27FC236}">
                  <a16:creationId xmlns:a16="http://schemas.microsoft.com/office/drawing/2014/main" id="{33EC79B0-46E8-4552-B0C2-EA4BA94B076A}"/>
                </a:ext>
              </a:extLst>
            </p:cNvPr>
            <p:cNvSpPr/>
            <p:nvPr/>
          </p:nvSpPr>
          <p:spPr>
            <a:xfrm rot="8716295">
              <a:off x="1728037" y="323546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5" name="Forme libre : forme 424">
              <a:extLst>
                <a:ext uri="{FF2B5EF4-FFF2-40B4-BE49-F238E27FC236}">
                  <a16:creationId xmlns:a16="http://schemas.microsoft.com/office/drawing/2014/main" id="{F11F5A76-7590-43AE-A2CA-DBD4FA198BE7}"/>
                </a:ext>
              </a:extLst>
            </p:cNvPr>
            <p:cNvSpPr/>
            <p:nvPr/>
          </p:nvSpPr>
          <p:spPr>
            <a:xfrm rot="8716295">
              <a:off x="1538992" y="291963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6" name="Forme libre : forme 425">
              <a:extLst>
                <a:ext uri="{FF2B5EF4-FFF2-40B4-BE49-F238E27FC236}">
                  <a16:creationId xmlns:a16="http://schemas.microsoft.com/office/drawing/2014/main" id="{4B4E85B8-2719-4100-97B6-FA850AC933E3}"/>
                </a:ext>
              </a:extLst>
            </p:cNvPr>
            <p:cNvSpPr/>
            <p:nvPr/>
          </p:nvSpPr>
          <p:spPr>
            <a:xfrm rot="8716295">
              <a:off x="1864525" y="329745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7" name="Forme libre : forme 426">
              <a:extLst>
                <a:ext uri="{FF2B5EF4-FFF2-40B4-BE49-F238E27FC236}">
                  <a16:creationId xmlns:a16="http://schemas.microsoft.com/office/drawing/2014/main" id="{A27E076C-BF8A-4B98-AA33-E1406E0774AD}"/>
                </a:ext>
              </a:extLst>
            </p:cNvPr>
            <p:cNvSpPr/>
            <p:nvPr/>
          </p:nvSpPr>
          <p:spPr>
            <a:xfrm rot="8716295">
              <a:off x="1499078" y="307102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8" name="Forme libre : forme 427">
              <a:extLst>
                <a:ext uri="{FF2B5EF4-FFF2-40B4-BE49-F238E27FC236}">
                  <a16:creationId xmlns:a16="http://schemas.microsoft.com/office/drawing/2014/main" id="{D95DFA88-032A-4498-8D4C-A6BC58A967C4}"/>
                </a:ext>
              </a:extLst>
            </p:cNvPr>
            <p:cNvSpPr/>
            <p:nvPr/>
          </p:nvSpPr>
          <p:spPr>
            <a:xfrm rot="7484129">
              <a:off x="2023343" y="358706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9" name="Forme libre : forme 428">
              <a:extLst>
                <a:ext uri="{FF2B5EF4-FFF2-40B4-BE49-F238E27FC236}">
                  <a16:creationId xmlns:a16="http://schemas.microsoft.com/office/drawing/2014/main" id="{2D20AB0B-B576-4C51-BD2C-ADE38038FD4A}"/>
                </a:ext>
              </a:extLst>
            </p:cNvPr>
            <p:cNvSpPr/>
            <p:nvPr/>
          </p:nvSpPr>
          <p:spPr>
            <a:xfrm rot="13089394">
              <a:off x="2181992" y="353641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0" name="Forme libre : forme 429">
              <a:extLst>
                <a:ext uri="{FF2B5EF4-FFF2-40B4-BE49-F238E27FC236}">
                  <a16:creationId xmlns:a16="http://schemas.microsoft.com/office/drawing/2014/main" id="{9F954357-46D8-4091-9893-D6D2863074FC}"/>
                </a:ext>
              </a:extLst>
            </p:cNvPr>
            <p:cNvSpPr/>
            <p:nvPr/>
          </p:nvSpPr>
          <p:spPr>
            <a:xfrm rot="8716295">
              <a:off x="2462883" y="3246298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1" name="Forme libre : forme 430">
              <a:extLst>
                <a:ext uri="{FF2B5EF4-FFF2-40B4-BE49-F238E27FC236}">
                  <a16:creationId xmlns:a16="http://schemas.microsoft.com/office/drawing/2014/main" id="{6CD2C382-A770-4048-AFF9-571A0AF515B2}"/>
                </a:ext>
              </a:extLst>
            </p:cNvPr>
            <p:cNvSpPr/>
            <p:nvPr/>
          </p:nvSpPr>
          <p:spPr>
            <a:xfrm rot="8716295">
              <a:off x="2384474" y="308950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2" name="Forme libre : forme 431">
              <a:extLst>
                <a:ext uri="{FF2B5EF4-FFF2-40B4-BE49-F238E27FC236}">
                  <a16:creationId xmlns:a16="http://schemas.microsoft.com/office/drawing/2014/main" id="{43A496C9-D536-4357-8044-8DE46896BD6D}"/>
                </a:ext>
              </a:extLst>
            </p:cNvPr>
            <p:cNvSpPr/>
            <p:nvPr/>
          </p:nvSpPr>
          <p:spPr>
            <a:xfrm rot="8716295">
              <a:off x="2016311" y="313524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3" name="Forme libre : forme 432">
              <a:extLst>
                <a:ext uri="{FF2B5EF4-FFF2-40B4-BE49-F238E27FC236}">
                  <a16:creationId xmlns:a16="http://schemas.microsoft.com/office/drawing/2014/main" id="{F97B172E-F70A-4826-9B46-D11622283D88}"/>
                </a:ext>
              </a:extLst>
            </p:cNvPr>
            <p:cNvSpPr/>
            <p:nvPr/>
          </p:nvSpPr>
          <p:spPr>
            <a:xfrm rot="8716295">
              <a:off x="2284892" y="289422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4" name="Forme libre : forme 433">
              <a:extLst>
                <a:ext uri="{FF2B5EF4-FFF2-40B4-BE49-F238E27FC236}">
                  <a16:creationId xmlns:a16="http://schemas.microsoft.com/office/drawing/2014/main" id="{DBE1C2D7-8DEA-409D-8977-EC4395FEE5AE}"/>
                </a:ext>
              </a:extLst>
            </p:cNvPr>
            <p:cNvSpPr/>
            <p:nvPr/>
          </p:nvSpPr>
          <p:spPr>
            <a:xfrm rot="8716295">
              <a:off x="1798117" y="447855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5" name="Forme libre : forme 434">
              <a:extLst>
                <a:ext uri="{FF2B5EF4-FFF2-40B4-BE49-F238E27FC236}">
                  <a16:creationId xmlns:a16="http://schemas.microsoft.com/office/drawing/2014/main" id="{6CCD94BF-3540-4400-ADAD-029941EA6E42}"/>
                </a:ext>
              </a:extLst>
            </p:cNvPr>
            <p:cNvSpPr/>
            <p:nvPr/>
          </p:nvSpPr>
          <p:spPr>
            <a:xfrm rot="8716295">
              <a:off x="1933415" y="452281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6" name="Forme libre : forme 435">
              <a:extLst>
                <a:ext uri="{FF2B5EF4-FFF2-40B4-BE49-F238E27FC236}">
                  <a16:creationId xmlns:a16="http://schemas.microsoft.com/office/drawing/2014/main" id="{6A711F46-BB76-441D-BBB2-E8BB742A8FA0}"/>
                </a:ext>
              </a:extLst>
            </p:cNvPr>
            <p:cNvSpPr/>
            <p:nvPr/>
          </p:nvSpPr>
          <p:spPr>
            <a:xfrm rot="8716295">
              <a:off x="1865533" y="439222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7" name="Forme libre : forme 436">
              <a:extLst>
                <a:ext uri="{FF2B5EF4-FFF2-40B4-BE49-F238E27FC236}">
                  <a16:creationId xmlns:a16="http://schemas.microsoft.com/office/drawing/2014/main" id="{080AD499-612A-4324-9D7F-432F8DA35F24}"/>
                </a:ext>
              </a:extLst>
            </p:cNvPr>
            <p:cNvSpPr/>
            <p:nvPr/>
          </p:nvSpPr>
          <p:spPr>
            <a:xfrm rot="8716295">
              <a:off x="1628246" y="461256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8" name="Forme libre : forme 437">
              <a:extLst>
                <a:ext uri="{FF2B5EF4-FFF2-40B4-BE49-F238E27FC236}">
                  <a16:creationId xmlns:a16="http://schemas.microsoft.com/office/drawing/2014/main" id="{F65DE21A-C7F5-490D-803A-5E27AE79387F}"/>
                </a:ext>
              </a:extLst>
            </p:cNvPr>
            <p:cNvSpPr/>
            <p:nvPr/>
          </p:nvSpPr>
          <p:spPr>
            <a:xfrm rot="8716295">
              <a:off x="1439200" y="42967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9" name="Forme libre : forme 438">
              <a:extLst>
                <a:ext uri="{FF2B5EF4-FFF2-40B4-BE49-F238E27FC236}">
                  <a16:creationId xmlns:a16="http://schemas.microsoft.com/office/drawing/2014/main" id="{4870EC0D-8313-4FB2-9F0D-D062D3F8FE46}"/>
                </a:ext>
              </a:extLst>
            </p:cNvPr>
            <p:cNvSpPr/>
            <p:nvPr/>
          </p:nvSpPr>
          <p:spPr>
            <a:xfrm rot="8716295">
              <a:off x="1420958" y="408668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0" name="Forme libre : forme 439">
              <a:extLst>
                <a:ext uri="{FF2B5EF4-FFF2-40B4-BE49-F238E27FC236}">
                  <a16:creationId xmlns:a16="http://schemas.microsoft.com/office/drawing/2014/main" id="{1C3E68D2-805A-4614-B9F0-EF8296EB21E7}"/>
                </a:ext>
              </a:extLst>
            </p:cNvPr>
            <p:cNvSpPr/>
            <p:nvPr/>
          </p:nvSpPr>
          <p:spPr>
            <a:xfrm rot="8716295">
              <a:off x="1764734" y="467454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1" name="Forme libre : forme 440">
              <a:extLst>
                <a:ext uri="{FF2B5EF4-FFF2-40B4-BE49-F238E27FC236}">
                  <a16:creationId xmlns:a16="http://schemas.microsoft.com/office/drawing/2014/main" id="{7D006425-5A7F-45EC-8C07-6540BE529EFF}"/>
                </a:ext>
              </a:extLst>
            </p:cNvPr>
            <p:cNvSpPr/>
            <p:nvPr/>
          </p:nvSpPr>
          <p:spPr>
            <a:xfrm rot="8716295">
              <a:off x="2235681" y="409993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2" name="Forme libre : forme 441">
              <a:extLst>
                <a:ext uri="{FF2B5EF4-FFF2-40B4-BE49-F238E27FC236}">
                  <a16:creationId xmlns:a16="http://schemas.microsoft.com/office/drawing/2014/main" id="{EEBCE819-4C86-43C8-A8FD-538E58BE173E}"/>
                </a:ext>
              </a:extLst>
            </p:cNvPr>
            <p:cNvSpPr/>
            <p:nvPr/>
          </p:nvSpPr>
          <p:spPr>
            <a:xfrm rot="8716295">
              <a:off x="2370979" y="414419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3" name="Forme libre : forme 442">
              <a:extLst>
                <a:ext uri="{FF2B5EF4-FFF2-40B4-BE49-F238E27FC236}">
                  <a16:creationId xmlns:a16="http://schemas.microsoft.com/office/drawing/2014/main" id="{5925BB99-2A21-4A4D-AEE9-C74CAEFFF456}"/>
                </a:ext>
              </a:extLst>
            </p:cNvPr>
            <p:cNvSpPr/>
            <p:nvPr/>
          </p:nvSpPr>
          <p:spPr>
            <a:xfrm rot="8716295">
              <a:off x="2065810" y="423395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4" name="Forme libre : forme 443">
              <a:extLst>
                <a:ext uri="{FF2B5EF4-FFF2-40B4-BE49-F238E27FC236}">
                  <a16:creationId xmlns:a16="http://schemas.microsoft.com/office/drawing/2014/main" id="{D90AB38E-9535-4B07-A3B0-C983BFD87309}"/>
                </a:ext>
              </a:extLst>
            </p:cNvPr>
            <p:cNvSpPr/>
            <p:nvPr/>
          </p:nvSpPr>
          <p:spPr>
            <a:xfrm rot="8716295">
              <a:off x="1876765" y="391811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5" name="Forme libre : forme 444">
              <a:extLst>
                <a:ext uri="{FF2B5EF4-FFF2-40B4-BE49-F238E27FC236}">
                  <a16:creationId xmlns:a16="http://schemas.microsoft.com/office/drawing/2014/main" id="{C3701EF3-1A02-4242-AC07-BCBDBF764E8D}"/>
                </a:ext>
              </a:extLst>
            </p:cNvPr>
            <p:cNvSpPr/>
            <p:nvPr/>
          </p:nvSpPr>
          <p:spPr>
            <a:xfrm rot="8716295">
              <a:off x="2202298" y="4295933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6" name="Forme libre : forme 445">
              <a:extLst>
                <a:ext uri="{FF2B5EF4-FFF2-40B4-BE49-F238E27FC236}">
                  <a16:creationId xmlns:a16="http://schemas.microsoft.com/office/drawing/2014/main" id="{AF59F773-3F62-40D5-B816-693C7D75563E}"/>
                </a:ext>
              </a:extLst>
            </p:cNvPr>
            <p:cNvSpPr/>
            <p:nvPr/>
          </p:nvSpPr>
          <p:spPr>
            <a:xfrm rot="8716295">
              <a:off x="1836851" y="406950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7" name="Forme libre : forme 446">
              <a:extLst>
                <a:ext uri="{FF2B5EF4-FFF2-40B4-BE49-F238E27FC236}">
                  <a16:creationId xmlns:a16="http://schemas.microsoft.com/office/drawing/2014/main" id="{FE3D7341-86E2-4F15-99E5-17E65F18A557}"/>
                </a:ext>
              </a:extLst>
            </p:cNvPr>
            <p:cNvSpPr/>
            <p:nvPr/>
          </p:nvSpPr>
          <p:spPr>
            <a:xfrm rot="7484129">
              <a:off x="2361116" y="458555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8" name="Forme libre : forme 447">
              <a:extLst>
                <a:ext uri="{FF2B5EF4-FFF2-40B4-BE49-F238E27FC236}">
                  <a16:creationId xmlns:a16="http://schemas.microsoft.com/office/drawing/2014/main" id="{5C1D71A6-936B-459D-9722-F2C5B66EA99D}"/>
                </a:ext>
              </a:extLst>
            </p:cNvPr>
            <p:cNvSpPr/>
            <p:nvPr/>
          </p:nvSpPr>
          <p:spPr>
            <a:xfrm rot="13089394">
              <a:off x="2519765" y="4534899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9" name="Forme libre : forme 448">
              <a:extLst>
                <a:ext uri="{FF2B5EF4-FFF2-40B4-BE49-F238E27FC236}">
                  <a16:creationId xmlns:a16="http://schemas.microsoft.com/office/drawing/2014/main" id="{239A055E-FAA5-4946-B5AA-160CD0F24098}"/>
                </a:ext>
              </a:extLst>
            </p:cNvPr>
            <p:cNvSpPr/>
            <p:nvPr/>
          </p:nvSpPr>
          <p:spPr>
            <a:xfrm rot="8716295">
              <a:off x="2800656" y="4244781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0" name="Forme libre : forme 449">
              <a:extLst>
                <a:ext uri="{FF2B5EF4-FFF2-40B4-BE49-F238E27FC236}">
                  <a16:creationId xmlns:a16="http://schemas.microsoft.com/office/drawing/2014/main" id="{C61941C7-A0C9-4F01-BFEB-50DC9178AB17}"/>
                </a:ext>
              </a:extLst>
            </p:cNvPr>
            <p:cNvSpPr/>
            <p:nvPr/>
          </p:nvSpPr>
          <p:spPr>
            <a:xfrm rot="8716295">
              <a:off x="2722247" y="4087989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1" name="Forme libre : forme 450">
              <a:extLst>
                <a:ext uri="{FF2B5EF4-FFF2-40B4-BE49-F238E27FC236}">
                  <a16:creationId xmlns:a16="http://schemas.microsoft.com/office/drawing/2014/main" id="{1C15DEFB-74F4-471B-9873-5AB46E67254D}"/>
                </a:ext>
              </a:extLst>
            </p:cNvPr>
            <p:cNvSpPr/>
            <p:nvPr/>
          </p:nvSpPr>
          <p:spPr>
            <a:xfrm rot="8716295">
              <a:off x="2354084" y="413373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2" name="Forme libre : forme 451">
              <a:extLst>
                <a:ext uri="{FF2B5EF4-FFF2-40B4-BE49-F238E27FC236}">
                  <a16:creationId xmlns:a16="http://schemas.microsoft.com/office/drawing/2014/main" id="{9F9771F8-06F4-4F00-A689-90F319B4F22E}"/>
                </a:ext>
              </a:extLst>
            </p:cNvPr>
            <p:cNvSpPr/>
            <p:nvPr/>
          </p:nvSpPr>
          <p:spPr>
            <a:xfrm rot="8716295">
              <a:off x="2622665" y="389271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3" name="Forme libre : forme 452">
              <a:extLst>
                <a:ext uri="{FF2B5EF4-FFF2-40B4-BE49-F238E27FC236}">
                  <a16:creationId xmlns:a16="http://schemas.microsoft.com/office/drawing/2014/main" id="{F08877F6-FFCF-44A0-9498-6A62589B37A0}"/>
                </a:ext>
              </a:extLst>
            </p:cNvPr>
            <p:cNvSpPr/>
            <p:nvPr/>
          </p:nvSpPr>
          <p:spPr>
            <a:xfrm rot="8716295">
              <a:off x="1836002" y="5051565"/>
              <a:ext cx="229466" cy="172677"/>
            </a:xfrm>
            <a:custGeom>
              <a:avLst/>
              <a:gdLst>
                <a:gd name="connsiteX0" fmla="*/ 37429 w 229466"/>
                <a:gd name="connsiteY0" fmla="*/ 127889 h 172677"/>
                <a:gd name="connsiteX1" fmla="*/ 864 w 229466"/>
                <a:gd name="connsiteY1" fmla="*/ 25330 h 172677"/>
                <a:gd name="connsiteX2" fmla="*/ 0 w 229466"/>
                <a:gd name="connsiteY2" fmla="*/ 0 h 172677"/>
                <a:gd name="connsiteX3" fmla="*/ 229466 w 229466"/>
                <a:gd name="connsiteY3" fmla="*/ 159058 h 172677"/>
                <a:gd name="connsiteX4" fmla="*/ 210504 w 229466"/>
                <a:gd name="connsiteY4" fmla="*/ 164122 h 172677"/>
                <a:gd name="connsiteX5" fmla="*/ 146960 w 229466"/>
                <a:gd name="connsiteY5" fmla="*/ 172414 h 172677"/>
                <a:gd name="connsiteX6" fmla="*/ 37429 w 229466"/>
                <a:gd name="connsiteY6" fmla="*/ 127889 h 172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9466" h="172677">
                  <a:moveTo>
                    <a:pt x="37429" y="127889"/>
                  </a:moveTo>
                  <a:cubicBezTo>
                    <a:pt x="14722" y="105850"/>
                    <a:pt x="4537" y="71789"/>
                    <a:pt x="864" y="25330"/>
                  </a:cubicBezTo>
                  <a:lnTo>
                    <a:pt x="0" y="0"/>
                  </a:lnTo>
                  <a:lnTo>
                    <a:pt x="229466" y="159058"/>
                  </a:lnTo>
                  <a:lnTo>
                    <a:pt x="210504" y="164122"/>
                  </a:lnTo>
                  <a:cubicBezTo>
                    <a:pt x="187032" y="168685"/>
                    <a:pt x="165437" y="171301"/>
                    <a:pt x="146960" y="172414"/>
                  </a:cubicBezTo>
                  <a:cubicBezTo>
                    <a:pt x="105998" y="175086"/>
                    <a:pt x="65926" y="157276"/>
                    <a:pt x="37429" y="12788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4" name="Forme libre : forme 453">
              <a:extLst>
                <a:ext uri="{FF2B5EF4-FFF2-40B4-BE49-F238E27FC236}">
                  <a16:creationId xmlns:a16="http://schemas.microsoft.com/office/drawing/2014/main" id="{2206BB34-A379-4319-86EE-02F9BAF96CEF}"/>
                </a:ext>
              </a:extLst>
            </p:cNvPr>
            <p:cNvSpPr/>
            <p:nvPr/>
          </p:nvSpPr>
          <p:spPr>
            <a:xfrm rot="8716295">
              <a:off x="2865171" y="5107739"/>
              <a:ext cx="36955" cy="50812"/>
            </a:xfrm>
            <a:custGeom>
              <a:avLst/>
              <a:gdLst>
                <a:gd name="connsiteX0" fmla="*/ 0 w 36955"/>
                <a:gd name="connsiteY0" fmla="*/ 50812 h 50812"/>
                <a:gd name="connsiteX1" fmla="*/ 0 w 36955"/>
                <a:gd name="connsiteY1" fmla="*/ 0 h 50812"/>
                <a:gd name="connsiteX2" fmla="*/ 36955 w 36955"/>
                <a:gd name="connsiteY2" fmla="*/ 25616 h 50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955" h="50812">
                  <a:moveTo>
                    <a:pt x="0" y="50812"/>
                  </a:moveTo>
                  <a:lnTo>
                    <a:pt x="0" y="0"/>
                  </a:lnTo>
                  <a:lnTo>
                    <a:pt x="36955" y="256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5" name="Forme libre : forme 454">
              <a:extLst>
                <a:ext uri="{FF2B5EF4-FFF2-40B4-BE49-F238E27FC236}">
                  <a16:creationId xmlns:a16="http://schemas.microsoft.com/office/drawing/2014/main" id="{90C6BA39-5B60-4C98-B3CF-8834D6D8FD79}"/>
                </a:ext>
              </a:extLst>
            </p:cNvPr>
            <p:cNvSpPr/>
            <p:nvPr/>
          </p:nvSpPr>
          <p:spPr>
            <a:xfrm rot="8716295">
              <a:off x="2291544" y="4886156"/>
              <a:ext cx="209028" cy="296463"/>
            </a:xfrm>
            <a:custGeom>
              <a:avLst/>
              <a:gdLst>
                <a:gd name="connsiteX0" fmla="*/ 137293 w 209028"/>
                <a:gd name="connsiteY0" fmla="*/ 296463 h 296463"/>
                <a:gd name="connsiteX1" fmla="*/ 72418 w 209028"/>
                <a:gd name="connsiteY1" fmla="*/ 175766 h 296463"/>
                <a:gd name="connsiteX2" fmla="*/ 105610 w 209028"/>
                <a:gd name="connsiteY2" fmla="*/ 83734 h 296463"/>
                <a:gd name="connsiteX3" fmla="*/ 0 w 209028"/>
                <a:gd name="connsiteY3" fmla="*/ 83734 h 296463"/>
                <a:gd name="connsiteX4" fmla="*/ 0 w 209028"/>
                <a:gd name="connsiteY4" fmla="*/ 0 h 296463"/>
                <a:gd name="connsiteX5" fmla="*/ 82199 w 209028"/>
                <a:gd name="connsiteY5" fmla="*/ 0 h 296463"/>
                <a:gd name="connsiteX6" fmla="*/ 209028 w 209028"/>
                <a:gd name="connsiteY6" fmla="*/ 87913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028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82199" y="0"/>
                  </a:lnTo>
                  <a:lnTo>
                    <a:pt x="209028" y="8791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6" name="Forme libre : forme 455">
              <a:extLst>
                <a:ext uri="{FF2B5EF4-FFF2-40B4-BE49-F238E27FC236}">
                  <a16:creationId xmlns:a16="http://schemas.microsoft.com/office/drawing/2014/main" id="{AAE782AF-C820-4904-B08F-997B904CDC4A}"/>
                </a:ext>
              </a:extLst>
            </p:cNvPr>
            <p:cNvSpPr/>
            <p:nvPr/>
          </p:nvSpPr>
          <p:spPr>
            <a:xfrm rot="8716295">
              <a:off x="2159594" y="5061280"/>
              <a:ext cx="112869" cy="105684"/>
            </a:xfrm>
            <a:custGeom>
              <a:avLst/>
              <a:gdLst>
                <a:gd name="connsiteX0" fmla="*/ 17362 w 112869"/>
                <a:gd name="connsiteY0" fmla="*/ 89236 h 105684"/>
                <a:gd name="connsiteX1" fmla="*/ 0 w 112869"/>
                <a:gd name="connsiteY1" fmla="*/ 48117 h 105684"/>
                <a:gd name="connsiteX2" fmla="*/ 0 w 112869"/>
                <a:gd name="connsiteY2" fmla="*/ 47203 h 105684"/>
                <a:gd name="connsiteX3" fmla="*/ 17362 w 112869"/>
                <a:gd name="connsiteY3" fmla="*/ 6084 h 105684"/>
                <a:gd name="connsiteX4" fmla="*/ 31771 w 112869"/>
                <a:gd name="connsiteY4" fmla="*/ 0 h 105684"/>
                <a:gd name="connsiteX5" fmla="*/ 112869 w 112869"/>
                <a:gd name="connsiteY5" fmla="*/ 56215 h 105684"/>
                <a:gd name="connsiteX6" fmla="*/ 99601 w 112869"/>
                <a:gd name="connsiteY6" fmla="*/ 88323 h 105684"/>
                <a:gd name="connsiteX7" fmla="*/ 58481 w 112869"/>
                <a:gd name="connsiteY7" fmla="*/ 105684 h 105684"/>
                <a:gd name="connsiteX8" fmla="*/ 17362 w 112869"/>
                <a:gd name="connsiteY8" fmla="*/ 89236 h 105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869" h="105684">
                  <a:moveTo>
                    <a:pt x="17362" y="89236"/>
                  </a:moveTo>
                  <a:cubicBezTo>
                    <a:pt x="6397" y="78271"/>
                    <a:pt x="0" y="63651"/>
                    <a:pt x="0" y="48117"/>
                  </a:cubicBezTo>
                  <a:lnTo>
                    <a:pt x="0" y="47203"/>
                  </a:lnTo>
                  <a:cubicBezTo>
                    <a:pt x="0" y="31669"/>
                    <a:pt x="6397" y="17049"/>
                    <a:pt x="17362" y="6084"/>
                  </a:cubicBezTo>
                  <a:lnTo>
                    <a:pt x="31771" y="0"/>
                  </a:lnTo>
                  <a:lnTo>
                    <a:pt x="112869" y="56215"/>
                  </a:lnTo>
                  <a:lnTo>
                    <a:pt x="99601" y="88323"/>
                  </a:lnTo>
                  <a:cubicBezTo>
                    <a:pt x="88636" y="99288"/>
                    <a:pt x="74015" y="105684"/>
                    <a:pt x="58481" y="105684"/>
                  </a:cubicBezTo>
                  <a:cubicBezTo>
                    <a:pt x="42947" y="105684"/>
                    <a:pt x="28327" y="100202"/>
                    <a:pt x="17362" y="8923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7" name="Forme libre : forme 456">
              <a:extLst>
                <a:ext uri="{FF2B5EF4-FFF2-40B4-BE49-F238E27FC236}">
                  <a16:creationId xmlns:a16="http://schemas.microsoft.com/office/drawing/2014/main" id="{DEEDD910-88E0-46A6-9511-30F91F188D7C}"/>
                </a:ext>
              </a:extLst>
            </p:cNvPr>
            <p:cNvSpPr/>
            <p:nvPr/>
          </p:nvSpPr>
          <p:spPr>
            <a:xfrm rot="8716295">
              <a:off x="3051941" y="5073759"/>
              <a:ext cx="145251" cy="115110"/>
            </a:xfrm>
            <a:custGeom>
              <a:avLst/>
              <a:gdLst>
                <a:gd name="connsiteX0" fmla="*/ 26453 w 145251"/>
                <a:gd name="connsiteY0" fmla="*/ 90050 h 115110"/>
                <a:gd name="connsiteX1" fmla="*/ 0 w 145251"/>
                <a:gd name="connsiteY1" fmla="*/ 27401 h 115110"/>
                <a:gd name="connsiteX2" fmla="*/ 0 w 145251"/>
                <a:gd name="connsiteY2" fmla="*/ 26008 h 115110"/>
                <a:gd name="connsiteX3" fmla="*/ 10982 w 145251"/>
                <a:gd name="connsiteY3" fmla="*/ 0 h 115110"/>
                <a:gd name="connsiteX4" fmla="*/ 145251 w 145251"/>
                <a:gd name="connsiteY4" fmla="*/ 93071 h 115110"/>
                <a:gd name="connsiteX5" fmla="*/ 123037 w 145251"/>
                <a:gd name="connsiteY5" fmla="*/ 108149 h 115110"/>
                <a:gd name="connsiteX6" fmla="*/ 89101 w 145251"/>
                <a:gd name="connsiteY6" fmla="*/ 115110 h 115110"/>
                <a:gd name="connsiteX7" fmla="*/ 26453 w 145251"/>
                <a:gd name="connsiteY7" fmla="*/ 90050 h 11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5251" h="115110">
                  <a:moveTo>
                    <a:pt x="26453" y="90050"/>
                  </a:moveTo>
                  <a:cubicBezTo>
                    <a:pt x="9746" y="73344"/>
                    <a:pt x="0" y="51068"/>
                    <a:pt x="0" y="27401"/>
                  </a:cubicBezTo>
                  <a:lnTo>
                    <a:pt x="0" y="26008"/>
                  </a:lnTo>
                  <a:lnTo>
                    <a:pt x="10982" y="0"/>
                  </a:lnTo>
                  <a:lnTo>
                    <a:pt x="145251" y="93071"/>
                  </a:lnTo>
                  <a:lnTo>
                    <a:pt x="123037" y="108149"/>
                  </a:lnTo>
                  <a:cubicBezTo>
                    <a:pt x="112421" y="112674"/>
                    <a:pt x="100936" y="115110"/>
                    <a:pt x="89101" y="115110"/>
                  </a:cubicBezTo>
                  <a:cubicBezTo>
                    <a:pt x="65434" y="115110"/>
                    <a:pt x="43159" y="106756"/>
                    <a:pt x="26453" y="900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8" name="Forme libre : forme 457">
              <a:extLst>
                <a:ext uri="{FF2B5EF4-FFF2-40B4-BE49-F238E27FC236}">
                  <a16:creationId xmlns:a16="http://schemas.microsoft.com/office/drawing/2014/main" id="{43CB19E1-F549-45B3-BD6D-2F3BBB712FCF}"/>
                </a:ext>
              </a:extLst>
            </p:cNvPr>
            <p:cNvSpPr/>
            <p:nvPr/>
          </p:nvSpPr>
          <p:spPr>
            <a:xfrm rot="8716295">
              <a:off x="2953631" y="488922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9" name="Forme libre : forme 458">
              <a:extLst>
                <a:ext uri="{FF2B5EF4-FFF2-40B4-BE49-F238E27FC236}">
                  <a16:creationId xmlns:a16="http://schemas.microsoft.com/office/drawing/2014/main" id="{62ED84A3-6167-4C83-A181-D227CFE89DEE}"/>
                </a:ext>
              </a:extLst>
            </p:cNvPr>
            <p:cNvSpPr/>
            <p:nvPr/>
          </p:nvSpPr>
          <p:spPr>
            <a:xfrm rot="8716295">
              <a:off x="1125067" y="247965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0" name="Forme libre : forme 459">
              <a:extLst>
                <a:ext uri="{FF2B5EF4-FFF2-40B4-BE49-F238E27FC236}">
                  <a16:creationId xmlns:a16="http://schemas.microsoft.com/office/drawing/2014/main" id="{6629C390-204C-4458-B724-2A6C51816D1A}"/>
                </a:ext>
              </a:extLst>
            </p:cNvPr>
            <p:cNvSpPr/>
            <p:nvPr/>
          </p:nvSpPr>
          <p:spPr>
            <a:xfrm rot="8716295">
              <a:off x="1260365" y="252391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1" name="Forme libre : forme 460">
              <a:extLst>
                <a:ext uri="{FF2B5EF4-FFF2-40B4-BE49-F238E27FC236}">
                  <a16:creationId xmlns:a16="http://schemas.microsoft.com/office/drawing/2014/main" id="{97B7B890-581D-4115-8816-FCD753CF66AD}"/>
                </a:ext>
              </a:extLst>
            </p:cNvPr>
            <p:cNvSpPr/>
            <p:nvPr/>
          </p:nvSpPr>
          <p:spPr>
            <a:xfrm rot="8716295">
              <a:off x="1192483" y="2393326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2" name="Forme libre : forme 461">
              <a:extLst>
                <a:ext uri="{FF2B5EF4-FFF2-40B4-BE49-F238E27FC236}">
                  <a16:creationId xmlns:a16="http://schemas.microsoft.com/office/drawing/2014/main" id="{BD8D3F38-EB27-45DE-9B7A-0BBD45B7402D}"/>
                </a:ext>
              </a:extLst>
            </p:cNvPr>
            <p:cNvSpPr/>
            <p:nvPr/>
          </p:nvSpPr>
          <p:spPr>
            <a:xfrm rot="8716295">
              <a:off x="955196" y="261367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3" name="Forme libre : forme 462">
              <a:extLst>
                <a:ext uri="{FF2B5EF4-FFF2-40B4-BE49-F238E27FC236}">
                  <a16:creationId xmlns:a16="http://schemas.microsoft.com/office/drawing/2014/main" id="{5B75726D-49A3-4FF8-933B-6C7B899241CE}"/>
                </a:ext>
              </a:extLst>
            </p:cNvPr>
            <p:cNvSpPr/>
            <p:nvPr/>
          </p:nvSpPr>
          <p:spPr>
            <a:xfrm rot="8716295">
              <a:off x="766149" y="229783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4" name="Forme libre : forme 463">
              <a:extLst>
                <a:ext uri="{FF2B5EF4-FFF2-40B4-BE49-F238E27FC236}">
                  <a16:creationId xmlns:a16="http://schemas.microsoft.com/office/drawing/2014/main" id="{E24EBA4F-EA30-42CA-AE82-25AD970D7646}"/>
                </a:ext>
              </a:extLst>
            </p:cNvPr>
            <p:cNvSpPr/>
            <p:nvPr/>
          </p:nvSpPr>
          <p:spPr>
            <a:xfrm rot="8716295">
              <a:off x="747908" y="2087785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5" name="Forme libre : forme 464">
              <a:extLst>
                <a:ext uri="{FF2B5EF4-FFF2-40B4-BE49-F238E27FC236}">
                  <a16:creationId xmlns:a16="http://schemas.microsoft.com/office/drawing/2014/main" id="{E2A695D6-7168-4A61-BBE4-65A85205EC8D}"/>
                </a:ext>
              </a:extLst>
            </p:cNvPr>
            <p:cNvSpPr/>
            <p:nvPr/>
          </p:nvSpPr>
          <p:spPr>
            <a:xfrm rot="8716295">
              <a:off x="1091684" y="2675653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6" name="Forme libre : forme 465">
              <a:extLst>
                <a:ext uri="{FF2B5EF4-FFF2-40B4-BE49-F238E27FC236}">
                  <a16:creationId xmlns:a16="http://schemas.microsoft.com/office/drawing/2014/main" id="{E30794E6-5983-41A0-85F7-1177811DAA69}"/>
                </a:ext>
              </a:extLst>
            </p:cNvPr>
            <p:cNvSpPr/>
            <p:nvPr/>
          </p:nvSpPr>
          <p:spPr>
            <a:xfrm rot="8716295">
              <a:off x="1562630" y="210103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7" name="Forme libre : forme 466">
              <a:extLst>
                <a:ext uri="{FF2B5EF4-FFF2-40B4-BE49-F238E27FC236}">
                  <a16:creationId xmlns:a16="http://schemas.microsoft.com/office/drawing/2014/main" id="{AB100FB8-5A47-45FF-A736-AC13181C693F}"/>
                </a:ext>
              </a:extLst>
            </p:cNvPr>
            <p:cNvSpPr/>
            <p:nvPr/>
          </p:nvSpPr>
          <p:spPr>
            <a:xfrm rot="8716295">
              <a:off x="1697929" y="214529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8" name="Forme libre : forme 467">
              <a:extLst>
                <a:ext uri="{FF2B5EF4-FFF2-40B4-BE49-F238E27FC236}">
                  <a16:creationId xmlns:a16="http://schemas.microsoft.com/office/drawing/2014/main" id="{81FCAA69-A703-43D5-90B2-A5FE09CDC15A}"/>
                </a:ext>
              </a:extLst>
            </p:cNvPr>
            <p:cNvSpPr/>
            <p:nvPr/>
          </p:nvSpPr>
          <p:spPr>
            <a:xfrm rot="8716295">
              <a:off x="1392759" y="223505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9" name="Forme libre : forme 468">
              <a:extLst>
                <a:ext uri="{FF2B5EF4-FFF2-40B4-BE49-F238E27FC236}">
                  <a16:creationId xmlns:a16="http://schemas.microsoft.com/office/drawing/2014/main" id="{F72C6E00-EB30-4F27-B358-913C2822A889}"/>
                </a:ext>
              </a:extLst>
            </p:cNvPr>
            <p:cNvSpPr/>
            <p:nvPr/>
          </p:nvSpPr>
          <p:spPr>
            <a:xfrm rot="8716295">
              <a:off x="1203715" y="191921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0" name="Forme libre : forme 469">
              <a:extLst>
                <a:ext uri="{FF2B5EF4-FFF2-40B4-BE49-F238E27FC236}">
                  <a16:creationId xmlns:a16="http://schemas.microsoft.com/office/drawing/2014/main" id="{361BE4A3-8069-446D-90C4-26FC3152CCE0}"/>
                </a:ext>
              </a:extLst>
            </p:cNvPr>
            <p:cNvSpPr/>
            <p:nvPr/>
          </p:nvSpPr>
          <p:spPr>
            <a:xfrm rot="8716295">
              <a:off x="1529248" y="2297037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1" name="Forme libre : forme 470">
              <a:extLst>
                <a:ext uri="{FF2B5EF4-FFF2-40B4-BE49-F238E27FC236}">
                  <a16:creationId xmlns:a16="http://schemas.microsoft.com/office/drawing/2014/main" id="{A6315079-AF63-4B06-AD9B-40EEFE3B3E8B}"/>
                </a:ext>
              </a:extLst>
            </p:cNvPr>
            <p:cNvSpPr/>
            <p:nvPr/>
          </p:nvSpPr>
          <p:spPr>
            <a:xfrm rot="8716295">
              <a:off x="1163801" y="2070611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2" name="Forme libre : forme 471">
              <a:extLst>
                <a:ext uri="{FF2B5EF4-FFF2-40B4-BE49-F238E27FC236}">
                  <a16:creationId xmlns:a16="http://schemas.microsoft.com/office/drawing/2014/main" id="{2C75BE5F-5979-4F78-A59E-3840B80E9CA3}"/>
                </a:ext>
              </a:extLst>
            </p:cNvPr>
            <p:cNvSpPr/>
            <p:nvPr/>
          </p:nvSpPr>
          <p:spPr>
            <a:xfrm rot="7484129">
              <a:off x="1688065" y="258665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3" name="Forme libre : forme 472">
              <a:extLst>
                <a:ext uri="{FF2B5EF4-FFF2-40B4-BE49-F238E27FC236}">
                  <a16:creationId xmlns:a16="http://schemas.microsoft.com/office/drawing/2014/main" id="{F508FCB0-FB88-480F-9341-2213C529AF00}"/>
                </a:ext>
              </a:extLst>
            </p:cNvPr>
            <p:cNvSpPr/>
            <p:nvPr/>
          </p:nvSpPr>
          <p:spPr>
            <a:xfrm rot="13089394">
              <a:off x="1846715" y="2536003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4" name="Forme libre : forme 473">
              <a:extLst>
                <a:ext uri="{FF2B5EF4-FFF2-40B4-BE49-F238E27FC236}">
                  <a16:creationId xmlns:a16="http://schemas.microsoft.com/office/drawing/2014/main" id="{B959FEB1-DFD0-4DE6-B296-0E35D4323808}"/>
                </a:ext>
              </a:extLst>
            </p:cNvPr>
            <p:cNvSpPr/>
            <p:nvPr/>
          </p:nvSpPr>
          <p:spPr>
            <a:xfrm rot="8716295">
              <a:off x="2127606" y="2245885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5" name="Forme libre : forme 474">
              <a:extLst>
                <a:ext uri="{FF2B5EF4-FFF2-40B4-BE49-F238E27FC236}">
                  <a16:creationId xmlns:a16="http://schemas.microsoft.com/office/drawing/2014/main" id="{67FA008A-954F-42E5-B276-F1C227A67F8E}"/>
                </a:ext>
              </a:extLst>
            </p:cNvPr>
            <p:cNvSpPr/>
            <p:nvPr/>
          </p:nvSpPr>
          <p:spPr>
            <a:xfrm rot="8716295">
              <a:off x="2049197" y="208909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6" name="Forme libre : forme 475">
              <a:extLst>
                <a:ext uri="{FF2B5EF4-FFF2-40B4-BE49-F238E27FC236}">
                  <a16:creationId xmlns:a16="http://schemas.microsoft.com/office/drawing/2014/main" id="{F2F193F6-2E0D-41E8-95C5-8F1192FDE740}"/>
                </a:ext>
              </a:extLst>
            </p:cNvPr>
            <p:cNvSpPr/>
            <p:nvPr/>
          </p:nvSpPr>
          <p:spPr>
            <a:xfrm rot="8716295">
              <a:off x="1681033" y="21348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7" name="Forme libre : forme 476">
              <a:extLst>
                <a:ext uri="{FF2B5EF4-FFF2-40B4-BE49-F238E27FC236}">
                  <a16:creationId xmlns:a16="http://schemas.microsoft.com/office/drawing/2014/main" id="{A96550A6-B207-45AD-A7BA-4B8953554164}"/>
                </a:ext>
              </a:extLst>
            </p:cNvPr>
            <p:cNvSpPr/>
            <p:nvPr/>
          </p:nvSpPr>
          <p:spPr>
            <a:xfrm rot="8716295">
              <a:off x="1949615" y="189381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8" name="Forme libre : forme 477">
              <a:extLst>
                <a:ext uri="{FF2B5EF4-FFF2-40B4-BE49-F238E27FC236}">
                  <a16:creationId xmlns:a16="http://schemas.microsoft.com/office/drawing/2014/main" id="{6F37CD06-4319-4DC6-9617-4E1A5DB80D5C}"/>
                </a:ext>
              </a:extLst>
            </p:cNvPr>
            <p:cNvSpPr/>
            <p:nvPr/>
          </p:nvSpPr>
          <p:spPr>
            <a:xfrm rot="8716295">
              <a:off x="787294" y="148117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9" name="Forme libre : forme 478">
              <a:extLst>
                <a:ext uri="{FF2B5EF4-FFF2-40B4-BE49-F238E27FC236}">
                  <a16:creationId xmlns:a16="http://schemas.microsoft.com/office/drawing/2014/main" id="{1D10C06F-21E5-4932-8315-49C11C1DF8B1}"/>
                </a:ext>
              </a:extLst>
            </p:cNvPr>
            <p:cNvSpPr/>
            <p:nvPr/>
          </p:nvSpPr>
          <p:spPr>
            <a:xfrm rot="8716295">
              <a:off x="922592" y="152543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0" name="Forme libre : forme 479">
              <a:extLst>
                <a:ext uri="{FF2B5EF4-FFF2-40B4-BE49-F238E27FC236}">
                  <a16:creationId xmlns:a16="http://schemas.microsoft.com/office/drawing/2014/main" id="{38C358EC-E58C-4C5E-9C0A-AF30964E5E3F}"/>
                </a:ext>
              </a:extLst>
            </p:cNvPr>
            <p:cNvSpPr/>
            <p:nvPr/>
          </p:nvSpPr>
          <p:spPr>
            <a:xfrm rot="8716295">
              <a:off x="854710" y="1394843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1" name="Forme libre : forme 480">
              <a:extLst>
                <a:ext uri="{FF2B5EF4-FFF2-40B4-BE49-F238E27FC236}">
                  <a16:creationId xmlns:a16="http://schemas.microsoft.com/office/drawing/2014/main" id="{67BF3E00-6BD7-4B0A-BB51-FD922EDEE623}"/>
                </a:ext>
              </a:extLst>
            </p:cNvPr>
            <p:cNvSpPr/>
            <p:nvPr/>
          </p:nvSpPr>
          <p:spPr>
            <a:xfrm rot="8716295">
              <a:off x="617423" y="161518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2" name="Forme libre : forme 481">
              <a:extLst>
                <a:ext uri="{FF2B5EF4-FFF2-40B4-BE49-F238E27FC236}">
                  <a16:creationId xmlns:a16="http://schemas.microsoft.com/office/drawing/2014/main" id="{E3A6DB3D-9EF4-4413-8FD5-EEC3980C3376}"/>
                </a:ext>
              </a:extLst>
            </p:cNvPr>
            <p:cNvSpPr/>
            <p:nvPr/>
          </p:nvSpPr>
          <p:spPr>
            <a:xfrm rot="8716295">
              <a:off x="428376" y="129935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3" name="Forme libre : forme 482">
              <a:extLst>
                <a:ext uri="{FF2B5EF4-FFF2-40B4-BE49-F238E27FC236}">
                  <a16:creationId xmlns:a16="http://schemas.microsoft.com/office/drawing/2014/main" id="{6D423D62-7B8A-436E-AD6C-850B60BB03AE}"/>
                </a:ext>
              </a:extLst>
            </p:cNvPr>
            <p:cNvSpPr/>
            <p:nvPr/>
          </p:nvSpPr>
          <p:spPr>
            <a:xfrm rot="8716295">
              <a:off x="410135" y="1089302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4" name="Forme libre : forme 483">
              <a:extLst>
                <a:ext uri="{FF2B5EF4-FFF2-40B4-BE49-F238E27FC236}">
                  <a16:creationId xmlns:a16="http://schemas.microsoft.com/office/drawing/2014/main" id="{D0C637D4-3E92-4154-B446-44CE8B7CE721}"/>
                </a:ext>
              </a:extLst>
            </p:cNvPr>
            <p:cNvSpPr/>
            <p:nvPr/>
          </p:nvSpPr>
          <p:spPr>
            <a:xfrm rot="8716295">
              <a:off x="753911" y="1677170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5" name="Forme libre : forme 484">
              <a:extLst>
                <a:ext uri="{FF2B5EF4-FFF2-40B4-BE49-F238E27FC236}">
                  <a16:creationId xmlns:a16="http://schemas.microsoft.com/office/drawing/2014/main" id="{84081F2F-BF8F-4E91-A344-93A6DA6FC1E0}"/>
                </a:ext>
              </a:extLst>
            </p:cNvPr>
            <p:cNvSpPr/>
            <p:nvPr/>
          </p:nvSpPr>
          <p:spPr>
            <a:xfrm rot="8716295">
              <a:off x="1224858" y="1102556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6" name="Forme libre : forme 485">
              <a:extLst>
                <a:ext uri="{FF2B5EF4-FFF2-40B4-BE49-F238E27FC236}">
                  <a16:creationId xmlns:a16="http://schemas.microsoft.com/office/drawing/2014/main" id="{7C9184F4-BF5B-4DA9-A062-83FD3655E3F6}"/>
                </a:ext>
              </a:extLst>
            </p:cNvPr>
            <p:cNvSpPr/>
            <p:nvPr/>
          </p:nvSpPr>
          <p:spPr>
            <a:xfrm rot="8716295">
              <a:off x="1360156" y="1146815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7" name="Forme libre : forme 486">
              <a:extLst>
                <a:ext uri="{FF2B5EF4-FFF2-40B4-BE49-F238E27FC236}">
                  <a16:creationId xmlns:a16="http://schemas.microsoft.com/office/drawing/2014/main" id="{B8ECE7A3-302A-4D3D-9B90-035B6382DA0C}"/>
                </a:ext>
              </a:extLst>
            </p:cNvPr>
            <p:cNvSpPr/>
            <p:nvPr/>
          </p:nvSpPr>
          <p:spPr>
            <a:xfrm rot="8716295">
              <a:off x="1054986" y="123657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8" name="Forme libre : forme 487">
              <a:extLst>
                <a:ext uri="{FF2B5EF4-FFF2-40B4-BE49-F238E27FC236}">
                  <a16:creationId xmlns:a16="http://schemas.microsoft.com/office/drawing/2014/main" id="{E0DF77FC-C3A0-462E-8020-761B7D4843AA}"/>
                </a:ext>
              </a:extLst>
            </p:cNvPr>
            <p:cNvSpPr/>
            <p:nvPr/>
          </p:nvSpPr>
          <p:spPr>
            <a:xfrm rot="8716295">
              <a:off x="865942" y="92073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9" name="Forme libre : forme 488">
              <a:extLst>
                <a:ext uri="{FF2B5EF4-FFF2-40B4-BE49-F238E27FC236}">
                  <a16:creationId xmlns:a16="http://schemas.microsoft.com/office/drawing/2014/main" id="{52D29D01-2445-47B5-91EF-D02F08E5948B}"/>
                </a:ext>
              </a:extLst>
            </p:cNvPr>
            <p:cNvSpPr/>
            <p:nvPr/>
          </p:nvSpPr>
          <p:spPr>
            <a:xfrm rot="8716295">
              <a:off x="1191475" y="1298554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0" name="Forme libre : forme 489">
              <a:extLst>
                <a:ext uri="{FF2B5EF4-FFF2-40B4-BE49-F238E27FC236}">
                  <a16:creationId xmlns:a16="http://schemas.microsoft.com/office/drawing/2014/main" id="{31533B8B-357B-4036-93FD-FF1E10E0FE0E}"/>
                </a:ext>
              </a:extLst>
            </p:cNvPr>
            <p:cNvSpPr/>
            <p:nvPr/>
          </p:nvSpPr>
          <p:spPr>
            <a:xfrm rot="8716295">
              <a:off x="826028" y="1072128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1" name="Forme libre : forme 490">
              <a:extLst>
                <a:ext uri="{FF2B5EF4-FFF2-40B4-BE49-F238E27FC236}">
                  <a16:creationId xmlns:a16="http://schemas.microsoft.com/office/drawing/2014/main" id="{0319CBD7-2844-4889-A47B-BEF0E4A2AACF}"/>
                </a:ext>
              </a:extLst>
            </p:cNvPr>
            <p:cNvSpPr/>
            <p:nvPr/>
          </p:nvSpPr>
          <p:spPr>
            <a:xfrm rot="7484129">
              <a:off x="1350292" y="158817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2" name="Forme libre : forme 491">
              <a:extLst>
                <a:ext uri="{FF2B5EF4-FFF2-40B4-BE49-F238E27FC236}">
                  <a16:creationId xmlns:a16="http://schemas.microsoft.com/office/drawing/2014/main" id="{537AE2C1-B9DD-443D-860F-907323537C0F}"/>
                </a:ext>
              </a:extLst>
            </p:cNvPr>
            <p:cNvSpPr/>
            <p:nvPr/>
          </p:nvSpPr>
          <p:spPr>
            <a:xfrm rot="13089394">
              <a:off x="1508942" y="1537520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3" name="Forme libre : forme 492">
              <a:extLst>
                <a:ext uri="{FF2B5EF4-FFF2-40B4-BE49-F238E27FC236}">
                  <a16:creationId xmlns:a16="http://schemas.microsoft.com/office/drawing/2014/main" id="{62070BB3-5EB6-454F-8436-ED4636F6C6C0}"/>
                </a:ext>
              </a:extLst>
            </p:cNvPr>
            <p:cNvSpPr/>
            <p:nvPr/>
          </p:nvSpPr>
          <p:spPr>
            <a:xfrm rot="8716295">
              <a:off x="1789833" y="1247402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4" name="Forme libre : forme 493">
              <a:extLst>
                <a:ext uri="{FF2B5EF4-FFF2-40B4-BE49-F238E27FC236}">
                  <a16:creationId xmlns:a16="http://schemas.microsoft.com/office/drawing/2014/main" id="{63D06019-DB35-49E7-9B75-C5C677486C47}"/>
                </a:ext>
              </a:extLst>
            </p:cNvPr>
            <p:cNvSpPr/>
            <p:nvPr/>
          </p:nvSpPr>
          <p:spPr>
            <a:xfrm rot="8716295">
              <a:off x="1711424" y="109061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5" name="Forme libre : forme 494">
              <a:extLst>
                <a:ext uri="{FF2B5EF4-FFF2-40B4-BE49-F238E27FC236}">
                  <a16:creationId xmlns:a16="http://schemas.microsoft.com/office/drawing/2014/main" id="{AC35D58D-6BCA-422D-A84A-C08AE882F755}"/>
                </a:ext>
              </a:extLst>
            </p:cNvPr>
            <p:cNvSpPr/>
            <p:nvPr/>
          </p:nvSpPr>
          <p:spPr>
            <a:xfrm rot="8716295">
              <a:off x="1343261" y="113635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6" name="Forme libre : forme 495">
              <a:extLst>
                <a:ext uri="{FF2B5EF4-FFF2-40B4-BE49-F238E27FC236}">
                  <a16:creationId xmlns:a16="http://schemas.microsoft.com/office/drawing/2014/main" id="{C3F0E063-06D9-403B-99E6-BB3237996E1B}"/>
                </a:ext>
              </a:extLst>
            </p:cNvPr>
            <p:cNvSpPr/>
            <p:nvPr/>
          </p:nvSpPr>
          <p:spPr>
            <a:xfrm rot="8716295">
              <a:off x="1611842" y="89533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7" name="Forme libre : forme 496">
              <a:extLst>
                <a:ext uri="{FF2B5EF4-FFF2-40B4-BE49-F238E27FC236}">
                  <a16:creationId xmlns:a16="http://schemas.microsoft.com/office/drawing/2014/main" id="{83B9BD85-375F-4AB1-BC95-AAD81C50A908}"/>
                </a:ext>
              </a:extLst>
            </p:cNvPr>
            <p:cNvSpPr/>
            <p:nvPr/>
          </p:nvSpPr>
          <p:spPr>
            <a:xfrm rot="8716295">
              <a:off x="455920" y="47911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8" name="Forme libre : forme 497">
              <a:extLst>
                <a:ext uri="{FF2B5EF4-FFF2-40B4-BE49-F238E27FC236}">
                  <a16:creationId xmlns:a16="http://schemas.microsoft.com/office/drawing/2014/main" id="{FC92AE50-339F-438A-B507-6C2370C5AFF3}"/>
                </a:ext>
              </a:extLst>
            </p:cNvPr>
            <p:cNvSpPr/>
            <p:nvPr/>
          </p:nvSpPr>
          <p:spPr>
            <a:xfrm rot="8716295">
              <a:off x="591219" y="52337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9" name="Forme libre : forme 498">
              <a:extLst>
                <a:ext uri="{FF2B5EF4-FFF2-40B4-BE49-F238E27FC236}">
                  <a16:creationId xmlns:a16="http://schemas.microsoft.com/office/drawing/2014/main" id="{54C59C12-6A91-48F2-87DB-0682382DD09D}"/>
                </a:ext>
              </a:extLst>
            </p:cNvPr>
            <p:cNvSpPr/>
            <p:nvPr/>
          </p:nvSpPr>
          <p:spPr>
            <a:xfrm rot="8716295">
              <a:off x="523336" y="39278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0" name="Forme libre : forme 499">
              <a:extLst>
                <a:ext uri="{FF2B5EF4-FFF2-40B4-BE49-F238E27FC236}">
                  <a16:creationId xmlns:a16="http://schemas.microsoft.com/office/drawing/2014/main" id="{F0F22371-A174-4D4A-8A0A-5D19546D786C}"/>
                </a:ext>
              </a:extLst>
            </p:cNvPr>
            <p:cNvSpPr/>
            <p:nvPr/>
          </p:nvSpPr>
          <p:spPr>
            <a:xfrm rot="8716295">
              <a:off x="286049" y="6131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1" name="Forme libre : forme 500">
              <a:extLst>
                <a:ext uri="{FF2B5EF4-FFF2-40B4-BE49-F238E27FC236}">
                  <a16:creationId xmlns:a16="http://schemas.microsoft.com/office/drawing/2014/main" id="{D0BB4669-780F-4E5E-B642-FB1F4E6F67B9}"/>
                </a:ext>
              </a:extLst>
            </p:cNvPr>
            <p:cNvSpPr/>
            <p:nvPr/>
          </p:nvSpPr>
          <p:spPr>
            <a:xfrm rot="8716295">
              <a:off x="97003" y="2972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2" name="Forme libre : forme 501">
              <a:extLst>
                <a:ext uri="{FF2B5EF4-FFF2-40B4-BE49-F238E27FC236}">
                  <a16:creationId xmlns:a16="http://schemas.microsoft.com/office/drawing/2014/main" id="{78FC04FC-3C5A-4110-BA92-C74135DB8751}"/>
                </a:ext>
              </a:extLst>
            </p:cNvPr>
            <p:cNvSpPr/>
            <p:nvPr/>
          </p:nvSpPr>
          <p:spPr>
            <a:xfrm rot="8716295">
              <a:off x="78761" y="87249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3" name="Forme libre : forme 502">
              <a:extLst>
                <a:ext uri="{FF2B5EF4-FFF2-40B4-BE49-F238E27FC236}">
                  <a16:creationId xmlns:a16="http://schemas.microsoft.com/office/drawing/2014/main" id="{C2E6CE4F-5F3A-4543-9D9D-2001E6575F77}"/>
                </a:ext>
              </a:extLst>
            </p:cNvPr>
            <p:cNvSpPr/>
            <p:nvPr/>
          </p:nvSpPr>
          <p:spPr>
            <a:xfrm rot="8716295">
              <a:off x="422537" y="67511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4" name="Forme libre : forme 503">
              <a:extLst>
                <a:ext uri="{FF2B5EF4-FFF2-40B4-BE49-F238E27FC236}">
                  <a16:creationId xmlns:a16="http://schemas.microsoft.com/office/drawing/2014/main" id="{19E20CB2-4A2B-49CF-9B17-B00F225DAA21}"/>
                </a:ext>
              </a:extLst>
            </p:cNvPr>
            <p:cNvSpPr/>
            <p:nvPr/>
          </p:nvSpPr>
          <p:spPr>
            <a:xfrm rot="8716295">
              <a:off x="893484" y="10050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5" name="Forme libre : forme 504">
              <a:extLst>
                <a:ext uri="{FF2B5EF4-FFF2-40B4-BE49-F238E27FC236}">
                  <a16:creationId xmlns:a16="http://schemas.microsoft.com/office/drawing/2014/main" id="{7B6646AF-3F73-4CC0-A23D-AB23A3A10661}"/>
                </a:ext>
              </a:extLst>
            </p:cNvPr>
            <p:cNvSpPr/>
            <p:nvPr/>
          </p:nvSpPr>
          <p:spPr>
            <a:xfrm rot="8716295">
              <a:off x="1028783" y="14476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6" name="Forme libre : forme 505">
              <a:extLst>
                <a:ext uri="{FF2B5EF4-FFF2-40B4-BE49-F238E27FC236}">
                  <a16:creationId xmlns:a16="http://schemas.microsoft.com/office/drawing/2014/main" id="{73DB9AE6-8F32-4BD7-8EF8-F9845AE6D585}"/>
                </a:ext>
              </a:extLst>
            </p:cNvPr>
            <p:cNvSpPr/>
            <p:nvPr/>
          </p:nvSpPr>
          <p:spPr>
            <a:xfrm rot="8716295">
              <a:off x="723613" y="23451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7" name="Forme libre : forme 506">
              <a:extLst>
                <a:ext uri="{FF2B5EF4-FFF2-40B4-BE49-F238E27FC236}">
                  <a16:creationId xmlns:a16="http://schemas.microsoft.com/office/drawing/2014/main" id="{8B1BC984-37F5-4C1C-AA88-33F4EF21408C}"/>
                </a:ext>
              </a:extLst>
            </p:cNvPr>
            <p:cNvSpPr/>
            <p:nvPr/>
          </p:nvSpPr>
          <p:spPr>
            <a:xfrm rot="8716295">
              <a:off x="547803" y="-17289"/>
              <a:ext cx="308531" cy="226033"/>
            </a:xfrm>
            <a:custGeom>
              <a:avLst/>
              <a:gdLst>
                <a:gd name="connsiteX0" fmla="*/ 106716 w 203847"/>
                <a:gd name="connsiteY0" fmla="*/ 149340 h 149340"/>
                <a:gd name="connsiteX1" fmla="*/ 50038 w 203847"/>
                <a:gd name="connsiteY1" fmla="*/ 110053 h 149340"/>
                <a:gd name="connsiteX2" fmla="*/ 69777 w 203847"/>
                <a:gd name="connsiteY2" fmla="*/ 55323 h 149340"/>
                <a:gd name="connsiteX3" fmla="*/ 0 w 203847"/>
                <a:gd name="connsiteY3" fmla="*/ 55323 h 149340"/>
                <a:gd name="connsiteX4" fmla="*/ 0 w 203847"/>
                <a:gd name="connsiteY4" fmla="*/ 0 h 149340"/>
                <a:gd name="connsiteX5" fmla="*/ 203847 w 203847"/>
                <a:gd name="connsiteY5" fmla="*/ 0 h 149340"/>
                <a:gd name="connsiteX6" fmla="*/ 203847 w 203847"/>
                <a:gd name="connsiteY6" fmla="*/ 55323 h 149340"/>
                <a:gd name="connsiteX7" fmla="*/ 139055 w 203847"/>
                <a:gd name="connsiteY7" fmla="*/ 55323 h 14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49340">
                  <a:moveTo>
                    <a:pt x="106716" y="149340"/>
                  </a:moveTo>
                  <a:lnTo>
                    <a:pt x="50038" y="110053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8" name="Forme libre : forme 507">
              <a:extLst>
                <a:ext uri="{FF2B5EF4-FFF2-40B4-BE49-F238E27FC236}">
                  <a16:creationId xmlns:a16="http://schemas.microsoft.com/office/drawing/2014/main" id="{AA6E9B9A-88DC-4BB7-810B-97399B40FACE}"/>
                </a:ext>
              </a:extLst>
            </p:cNvPr>
            <p:cNvSpPr/>
            <p:nvPr/>
          </p:nvSpPr>
          <p:spPr>
            <a:xfrm rot="8716295">
              <a:off x="860101" y="29650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9" name="Forme libre : forme 508">
              <a:extLst>
                <a:ext uri="{FF2B5EF4-FFF2-40B4-BE49-F238E27FC236}">
                  <a16:creationId xmlns:a16="http://schemas.microsoft.com/office/drawing/2014/main" id="{C2E3FBE5-FDDF-4B02-AD4F-2ADFB2584906}"/>
                </a:ext>
              </a:extLst>
            </p:cNvPr>
            <p:cNvSpPr/>
            <p:nvPr/>
          </p:nvSpPr>
          <p:spPr>
            <a:xfrm rot="8716295">
              <a:off x="494655" y="7007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0" name="Forme libre : forme 509">
              <a:extLst>
                <a:ext uri="{FF2B5EF4-FFF2-40B4-BE49-F238E27FC236}">
                  <a16:creationId xmlns:a16="http://schemas.microsoft.com/office/drawing/2014/main" id="{8D7DCA7A-0D6F-4030-B7E0-0EA6D8ACDAA6}"/>
                </a:ext>
              </a:extLst>
            </p:cNvPr>
            <p:cNvSpPr/>
            <p:nvPr/>
          </p:nvSpPr>
          <p:spPr>
            <a:xfrm rot="7484129">
              <a:off x="1018919" y="58611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1" name="Forme libre : forme 510">
              <a:extLst>
                <a:ext uri="{FF2B5EF4-FFF2-40B4-BE49-F238E27FC236}">
                  <a16:creationId xmlns:a16="http://schemas.microsoft.com/office/drawing/2014/main" id="{6D4EAF04-5D5F-44DD-A3E0-0E1DDC2042FF}"/>
                </a:ext>
              </a:extLst>
            </p:cNvPr>
            <p:cNvSpPr/>
            <p:nvPr/>
          </p:nvSpPr>
          <p:spPr>
            <a:xfrm rot="13089394">
              <a:off x="1177568" y="53546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2" name="Forme libre : forme 511">
              <a:extLst>
                <a:ext uri="{FF2B5EF4-FFF2-40B4-BE49-F238E27FC236}">
                  <a16:creationId xmlns:a16="http://schemas.microsoft.com/office/drawing/2014/main" id="{200143E0-7D80-44AE-AF14-B3CC222BC375}"/>
                </a:ext>
              </a:extLst>
            </p:cNvPr>
            <p:cNvSpPr/>
            <p:nvPr/>
          </p:nvSpPr>
          <p:spPr>
            <a:xfrm rot="8716295">
              <a:off x="1458459" y="24534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3" name="Forme libre : forme 512">
              <a:extLst>
                <a:ext uri="{FF2B5EF4-FFF2-40B4-BE49-F238E27FC236}">
                  <a16:creationId xmlns:a16="http://schemas.microsoft.com/office/drawing/2014/main" id="{9CE5AF88-C20D-48EF-AF58-A03290B7BA4C}"/>
                </a:ext>
              </a:extLst>
            </p:cNvPr>
            <p:cNvSpPr/>
            <p:nvPr/>
          </p:nvSpPr>
          <p:spPr>
            <a:xfrm rot="8716295">
              <a:off x="1380050" y="8855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4" name="Forme libre : forme 513">
              <a:extLst>
                <a:ext uri="{FF2B5EF4-FFF2-40B4-BE49-F238E27FC236}">
                  <a16:creationId xmlns:a16="http://schemas.microsoft.com/office/drawing/2014/main" id="{99B484F1-3CA8-4FD2-BC39-A8183120B894}"/>
                </a:ext>
              </a:extLst>
            </p:cNvPr>
            <p:cNvSpPr/>
            <p:nvPr/>
          </p:nvSpPr>
          <p:spPr>
            <a:xfrm rot="8716295">
              <a:off x="1011887" y="13429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5" name="Forme libre : forme 514">
              <a:extLst>
                <a:ext uri="{FF2B5EF4-FFF2-40B4-BE49-F238E27FC236}">
                  <a16:creationId xmlns:a16="http://schemas.microsoft.com/office/drawing/2014/main" id="{1253AC62-0DE9-44F9-9AB2-21C92FCEF50A}"/>
                </a:ext>
              </a:extLst>
            </p:cNvPr>
            <p:cNvSpPr/>
            <p:nvPr/>
          </p:nvSpPr>
          <p:spPr>
            <a:xfrm rot="8716295">
              <a:off x="1291652" y="-36449"/>
              <a:ext cx="134197" cy="106947"/>
            </a:xfrm>
            <a:custGeom>
              <a:avLst/>
              <a:gdLst>
                <a:gd name="connsiteX0" fmla="*/ 83649 w 88664"/>
                <a:gd name="connsiteY0" fmla="*/ 70660 h 70660"/>
                <a:gd name="connsiteX1" fmla="*/ 0 w 88664"/>
                <a:gd name="connsiteY1" fmla="*/ 12677 h 70660"/>
                <a:gd name="connsiteX2" fmla="*/ 30024 w 88664"/>
                <a:gd name="connsiteY2" fmla="*/ 0 h 70660"/>
                <a:gd name="connsiteX3" fmla="*/ 71417 w 88664"/>
                <a:gd name="connsiteY3" fmla="*/ 17477 h 70660"/>
                <a:gd name="connsiteX4" fmla="*/ 88664 w 88664"/>
                <a:gd name="connsiteY4" fmla="*/ 58525 h 70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664" h="70660">
                  <a:moveTo>
                    <a:pt x="83649" y="70660"/>
                  </a:moveTo>
                  <a:lnTo>
                    <a:pt x="0" y="12677"/>
                  </a:lnTo>
                  <a:lnTo>
                    <a:pt x="30024" y="0"/>
                  </a:lnTo>
                  <a:cubicBezTo>
                    <a:pt x="45662" y="0"/>
                    <a:pt x="60379" y="6439"/>
                    <a:pt x="71417" y="17477"/>
                  </a:cubicBezTo>
                  <a:cubicBezTo>
                    <a:pt x="82915" y="28515"/>
                    <a:pt x="88664" y="43462"/>
                    <a:pt x="88664" y="58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6" name="Forme libre : forme 515">
              <a:extLst>
                <a:ext uri="{FF2B5EF4-FFF2-40B4-BE49-F238E27FC236}">
                  <a16:creationId xmlns:a16="http://schemas.microsoft.com/office/drawing/2014/main" id="{73FDFCAD-75A6-474E-8BA1-4C60FF021A16}"/>
                </a:ext>
              </a:extLst>
            </p:cNvPr>
            <p:cNvSpPr/>
            <p:nvPr/>
          </p:nvSpPr>
          <p:spPr>
            <a:xfrm rot="13089394">
              <a:off x="990163" y="-39748"/>
              <a:ext cx="111277" cy="115595"/>
            </a:xfrm>
            <a:custGeom>
              <a:avLst/>
              <a:gdLst>
                <a:gd name="connsiteX0" fmla="*/ 73521 w 73521"/>
                <a:gd name="connsiteY0" fmla="*/ 18609 h 76374"/>
                <a:gd name="connsiteX1" fmla="*/ 0 w 73521"/>
                <a:gd name="connsiteY1" fmla="*/ 76374 h 76374"/>
                <a:gd name="connsiteX2" fmla="*/ 0 w 73521"/>
                <a:gd name="connsiteY2" fmla="*/ 38074 h 76374"/>
                <a:gd name="connsiteX3" fmla="*/ 73388 w 73521"/>
                <a:gd name="connsiteY3" fmla="*/ 0 h 7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521" h="76374">
                  <a:moveTo>
                    <a:pt x="73521" y="18609"/>
                  </a:moveTo>
                  <a:lnTo>
                    <a:pt x="0" y="76374"/>
                  </a:lnTo>
                  <a:lnTo>
                    <a:pt x="0" y="38074"/>
                  </a:lnTo>
                  <a:lnTo>
                    <a:pt x="7338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7" name="Forme libre : forme 516">
              <a:extLst>
                <a:ext uri="{FF2B5EF4-FFF2-40B4-BE49-F238E27FC236}">
                  <a16:creationId xmlns:a16="http://schemas.microsoft.com/office/drawing/2014/main" id="{BE611C7D-8BA6-43CB-A58B-F8EA1A27689B}"/>
                </a:ext>
              </a:extLst>
            </p:cNvPr>
            <p:cNvSpPr/>
            <p:nvPr/>
          </p:nvSpPr>
          <p:spPr>
            <a:xfrm rot="8716295">
              <a:off x="121288" y="414134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8" name="Forme libre : forme 517">
              <a:extLst>
                <a:ext uri="{FF2B5EF4-FFF2-40B4-BE49-F238E27FC236}">
                  <a16:creationId xmlns:a16="http://schemas.microsoft.com/office/drawing/2014/main" id="{537B7576-15D7-45FC-9504-149B076B9937}"/>
                </a:ext>
              </a:extLst>
            </p:cNvPr>
            <p:cNvSpPr/>
            <p:nvPr/>
          </p:nvSpPr>
          <p:spPr>
            <a:xfrm rot="8716295">
              <a:off x="256586" y="418560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9" name="Forme libre : forme 518">
              <a:extLst>
                <a:ext uri="{FF2B5EF4-FFF2-40B4-BE49-F238E27FC236}">
                  <a16:creationId xmlns:a16="http://schemas.microsoft.com/office/drawing/2014/main" id="{0A1143F2-3F82-47D4-91E8-F0134D901FA7}"/>
                </a:ext>
              </a:extLst>
            </p:cNvPr>
            <p:cNvSpPr/>
            <p:nvPr/>
          </p:nvSpPr>
          <p:spPr>
            <a:xfrm rot="8716295">
              <a:off x="188704" y="405501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0" name="Forme libre : forme 519">
              <a:extLst>
                <a:ext uri="{FF2B5EF4-FFF2-40B4-BE49-F238E27FC236}">
                  <a16:creationId xmlns:a16="http://schemas.microsoft.com/office/drawing/2014/main" id="{B5D55B28-879B-49A7-B221-37C39BC82601}"/>
                </a:ext>
              </a:extLst>
            </p:cNvPr>
            <p:cNvSpPr/>
            <p:nvPr/>
          </p:nvSpPr>
          <p:spPr>
            <a:xfrm rot="8716295">
              <a:off x="-22408" y="4278013"/>
              <a:ext cx="57413" cy="71926"/>
            </a:xfrm>
            <a:custGeom>
              <a:avLst/>
              <a:gdLst>
                <a:gd name="connsiteX0" fmla="*/ 11441 w 57413"/>
                <a:gd name="connsiteY0" fmla="*/ 71926 h 71926"/>
                <a:gd name="connsiteX1" fmla="*/ 0 w 57413"/>
                <a:gd name="connsiteY1" fmla="*/ 44829 h 71926"/>
                <a:gd name="connsiteX2" fmla="*/ 0 w 57413"/>
                <a:gd name="connsiteY2" fmla="*/ 44139 h 71926"/>
                <a:gd name="connsiteX3" fmla="*/ 13104 w 57413"/>
                <a:gd name="connsiteY3" fmla="*/ 13104 h 71926"/>
                <a:gd name="connsiteX4" fmla="*/ 44139 w 57413"/>
                <a:gd name="connsiteY4" fmla="*/ 0 h 71926"/>
                <a:gd name="connsiteX5" fmla="*/ 57413 w 57413"/>
                <a:gd name="connsiteY5" fmla="*/ 5605 h 71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413" h="71926">
                  <a:moveTo>
                    <a:pt x="11441" y="71926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lnTo>
                    <a:pt x="57413" y="5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1" name="Forme libre : forme 520">
              <a:extLst>
                <a:ext uri="{FF2B5EF4-FFF2-40B4-BE49-F238E27FC236}">
                  <a16:creationId xmlns:a16="http://schemas.microsoft.com/office/drawing/2014/main" id="{7E605206-C485-4E6D-8FEE-341C14E73705}"/>
                </a:ext>
              </a:extLst>
            </p:cNvPr>
            <p:cNvSpPr/>
            <p:nvPr/>
          </p:nvSpPr>
          <p:spPr>
            <a:xfrm rot="8716295">
              <a:off x="-36969" y="4107248"/>
              <a:ext cx="147272" cy="83734"/>
            </a:xfrm>
            <a:custGeom>
              <a:avLst/>
              <a:gdLst>
                <a:gd name="connsiteX0" fmla="*/ 0 w 147272"/>
                <a:gd name="connsiteY0" fmla="*/ 83734 h 83734"/>
                <a:gd name="connsiteX1" fmla="*/ 0 w 147272"/>
                <a:gd name="connsiteY1" fmla="*/ 0 h 83734"/>
                <a:gd name="connsiteX2" fmla="*/ 147272 w 147272"/>
                <a:gd name="connsiteY2" fmla="*/ 0 h 83734"/>
                <a:gd name="connsiteX3" fmla="*/ 89230 w 147272"/>
                <a:gd name="connsiteY3" fmla="*/ 83734 h 83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272" h="83734">
                  <a:moveTo>
                    <a:pt x="0" y="83734"/>
                  </a:moveTo>
                  <a:lnTo>
                    <a:pt x="0" y="0"/>
                  </a:lnTo>
                  <a:lnTo>
                    <a:pt x="147272" y="0"/>
                  </a:lnTo>
                  <a:lnTo>
                    <a:pt x="89230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2" name="Forme libre : forme 521">
              <a:extLst>
                <a:ext uri="{FF2B5EF4-FFF2-40B4-BE49-F238E27FC236}">
                  <a16:creationId xmlns:a16="http://schemas.microsoft.com/office/drawing/2014/main" id="{9262118B-C43E-403C-A844-12CE419F6DFC}"/>
                </a:ext>
              </a:extLst>
            </p:cNvPr>
            <p:cNvSpPr/>
            <p:nvPr/>
          </p:nvSpPr>
          <p:spPr>
            <a:xfrm rot="8716295">
              <a:off x="43378" y="3712531"/>
              <a:ext cx="125537" cy="468763"/>
            </a:xfrm>
            <a:custGeom>
              <a:avLst/>
              <a:gdLst>
                <a:gd name="connsiteX0" fmla="*/ 29455 w 125537"/>
                <a:gd name="connsiteY0" fmla="*/ 468763 h 468763"/>
                <a:gd name="connsiteX1" fmla="*/ 7792 w 125537"/>
                <a:gd name="connsiteY1" fmla="*/ 425988 h 468763"/>
                <a:gd name="connsiteX2" fmla="*/ 0 w 125537"/>
                <a:gd name="connsiteY2" fmla="*/ 333043 h 468763"/>
                <a:gd name="connsiteX3" fmla="*/ 0 w 125537"/>
                <a:gd name="connsiteY3" fmla="*/ 61444 h 468763"/>
                <a:gd name="connsiteX4" fmla="*/ 118434 w 125537"/>
                <a:gd name="connsiteY4" fmla="*/ 0 h 468763"/>
                <a:gd name="connsiteX5" fmla="*/ 120216 w 125537"/>
                <a:gd name="connsiteY5" fmla="*/ 248447 h 468763"/>
                <a:gd name="connsiteX6" fmla="*/ 123889 w 125537"/>
                <a:gd name="connsiteY6" fmla="*/ 323359 h 468763"/>
                <a:gd name="connsiteX7" fmla="*/ 125537 w 125537"/>
                <a:gd name="connsiteY7" fmla="*/ 330150 h 468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537" h="468763">
                  <a:moveTo>
                    <a:pt x="29455" y="468763"/>
                  </a:moveTo>
                  <a:lnTo>
                    <a:pt x="7792" y="425988"/>
                  </a:lnTo>
                  <a:cubicBezTo>
                    <a:pt x="2003" y="400498"/>
                    <a:pt x="0" y="369553"/>
                    <a:pt x="0" y="333043"/>
                  </a:cubicBezTo>
                  <a:lnTo>
                    <a:pt x="0" y="61444"/>
                  </a:lnTo>
                  <a:lnTo>
                    <a:pt x="118434" y="0"/>
                  </a:lnTo>
                  <a:lnTo>
                    <a:pt x="120216" y="248447"/>
                  </a:lnTo>
                  <a:cubicBezTo>
                    <a:pt x="118880" y="273381"/>
                    <a:pt x="120216" y="298537"/>
                    <a:pt x="123889" y="323359"/>
                  </a:cubicBezTo>
                  <a:lnTo>
                    <a:pt x="125537" y="3301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3" name="Forme libre : forme 522">
              <a:extLst>
                <a:ext uri="{FF2B5EF4-FFF2-40B4-BE49-F238E27FC236}">
                  <a16:creationId xmlns:a16="http://schemas.microsoft.com/office/drawing/2014/main" id="{4BDDBD24-F9E2-4370-BF1B-2A9C91E4A4FF}"/>
                </a:ext>
              </a:extLst>
            </p:cNvPr>
            <p:cNvSpPr/>
            <p:nvPr/>
          </p:nvSpPr>
          <p:spPr>
            <a:xfrm rot="8716295">
              <a:off x="87905" y="4337347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4" name="Forme libre : forme 523">
              <a:extLst>
                <a:ext uri="{FF2B5EF4-FFF2-40B4-BE49-F238E27FC236}">
                  <a16:creationId xmlns:a16="http://schemas.microsoft.com/office/drawing/2014/main" id="{E770B9C9-EE23-473B-B01E-6BB3712BE82B}"/>
                </a:ext>
              </a:extLst>
            </p:cNvPr>
            <p:cNvSpPr/>
            <p:nvPr/>
          </p:nvSpPr>
          <p:spPr>
            <a:xfrm rot="8716295">
              <a:off x="558851" y="376273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5" name="Forme libre : forme 524">
              <a:extLst>
                <a:ext uri="{FF2B5EF4-FFF2-40B4-BE49-F238E27FC236}">
                  <a16:creationId xmlns:a16="http://schemas.microsoft.com/office/drawing/2014/main" id="{69CD1B6A-90CE-49F4-8CA4-B80659E38C5D}"/>
                </a:ext>
              </a:extLst>
            </p:cNvPr>
            <p:cNvSpPr/>
            <p:nvPr/>
          </p:nvSpPr>
          <p:spPr>
            <a:xfrm rot="8716295">
              <a:off x="694150" y="380699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6" name="Forme libre : forme 525">
              <a:extLst>
                <a:ext uri="{FF2B5EF4-FFF2-40B4-BE49-F238E27FC236}">
                  <a16:creationId xmlns:a16="http://schemas.microsoft.com/office/drawing/2014/main" id="{354B8CCD-805B-4819-BC93-507146A6D2AC}"/>
                </a:ext>
              </a:extLst>
            </p:cNvPr>
            <p:cNvSpPr/>
            <p:nvPr/>
          </p:nvSpPr>
          <p:spPr>
            <a:xfrm rot="8716295">
              <a:off x="388980" y="389674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7" name="Forme libre : forme 526">
              <a:extLst>
                <a:ext uri="{FF2B5EF4-FFF2-40B4-BE49-F238E27FC236}">
                  <a16:creationId xmlns:a16="http://schemas.microsoft.com/office/drawing/2014/main" id="{FCD4B19E-37FF-4C42-AA11-3F7471268AD4}"/>
                </a:ext>
              </a:extLst>
            </p:cNvPr>
            <p:cNvSpPr/>
            <p:nvPr/>
          </p:nvSpPr>
          <p:spPr>
            <a:xfrm rot="8716295">
              <a:off x="199936" y="358091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8" name="Forme libre : forme 527">
              <a:extLst>
                <a:ext uri="{FF2B5EF4-FFF2-40B4-BE49-F238E27FC236}">
                  <a16:creationId xmlns:a16="http://schemas.microsoft.com/office/drawing/2014/main" id="{7B22B143-3C4D-4536-9820-8662B8F3F3CC}"/>
                </a:ext>
              </a:extLst>
            </p:cNvPr>
            <p:cNvSpPr/>
            <p:nvPr/>
          </p:nvSpPr>
          <p:spPr>
            <a:xfrm rot="8716295">
              <a:off x="525469" y="3958731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9" name="Forme libre : forme 528">
              <a:extLst>
                <a:ext uri="{FF2B5EF4-FFF2-40B4-BE49-F238E27FC236}">
                  <a16:creationId xmlns:a16="http://schemas.microsoft.com/office/drawing/2014/main" id="{3BFA5721-0E15-4A36-915F-A957BACB9B6B}"/>
                </a:ext>
              </a:extLst>
            </p:cNvPr>
            <p:cNvSpPr/>
            <p:nvPr/>
          </p:nvSpPr>
          <p:spPr>
            <a:xfrm rot="8716295">
              <a:off x="160022" y="3732305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0" name="Forme libre : forme 529">
              <a:extLst>
                <a:ext uri="{FF2B5EF4-FFF2-40B4-BE49-F238E27FC236}">
                  <a16:creationId xmlns:a16="http://schemas.microsoft.com/office/drawing/2014/main" id="{350A0875-8913-4861-A26B-5026CC870AB7}"/>
                </a:ext>
              </a:extLst>
            </p:cNvPr>
            <p:cNvSpPr/>
            <p:nvPr/>
          </p:nvSpPr>
          <p:spPr>
            <a:xfrm rot="7484129">
              <a:off x="684286" y="424834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1" name="Forme libre : forme 530">
              <a:extLst>
                <a:ext uri="{FF2B5EF4-FFF2-40B4-BE49-F238E27FC236}">
                  <a16:creationId xmlns:a16="http://schemas.microsoft.com/office/drawing/2014/main" id="{180B0A13-53B0-43A7-9AB8-C87CD24102F1}"/>
                </a:ext>
              </a:extLst>
            </p:cNvPr>
            <p:cNvSpPr/>
            <p:nvPr/>
          </p:nvSpPr>
          <p:spPr>
            <a:xfrm rot="13089394">
              <a:off x="842936" y="4197697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2" name="Forme libre : forme 531">
              <a:extLst>
                <a:ext uri="{FF2B5EF4-FFF2-40B4-BE49-F238E27FC236}">
                  <a16:creationId xmlns:a16="http://schemas.microsoft.com/office/drawing/2014/main" id="{977134C1-FB1A-4DF1-BB49-2753CD9EFE64}"/>
                </a:ext>
              </a:extLst>
            </p:cNvPr>
            <p:cNvSpPr/>
            <p:nvPr/>
          </p:nvSpPr>
          <p:spPr>
            <a:xfrm rot="8716295">
              <a:off x="1123827" y="390757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3" name="Forme libre : forme 532">
              <a:extLst>
                <a:ext uri="{FF2B5EF4-FFF2-40B4-BE49-F238E27FC236}">
                  <a16:creationId xmlns:a16="http://schemas.microsoft.com/office/drawing/2014/main" id="{995F6F00-62E2-46A6-B6D6-2E24CC951A9A}"/>
                </a:ext>
              </a:extLst>
            </p:cNvPr>
            <p:cNvSpPr/>
            <p:nvPr/>
          </p:nvSpPr>
          <p:spPr>
            <a:xfrm rot="8716295">
              <a:off x="1045418" y="375078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4" name="Forme libre : forme 533">
              <a:extLst>
                <a:ext uri="{FF2B5EF4-FFF2-40B4-BE49-F238E27FC236}">
                  <a16:creationId xmlns:a16="http://schemas.microsoft.com/office/drawing/2014/main" id="{A3F1DE5A-4286-4044-969C-2885B786F6A8}"/>
                </a:ext>
              </a:extLst>
            </p:cNvPr>
            <p:cNvSpPr/>
            <p:nvPr/>
          </p:nvSpPr>
          <p:spPr>
            <a:xfrm rot="8716295">
              <a:off x="677254" y="379652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5" name="Forme libre : forme 534">
              <a:extLst>
                <a:ext uri="{FF2B5EF4-FFF2-40B4-BE49-F238E27FC236}">
                  <a16:creationId xmlns:a16="http://schemas.microsoft.com/office/drawing/2014/main" id="{94E18040-33C6-4F17-A913-2CCF3B22084B}"/>
                </a:ext>
              </a:extLst>
            </p:cNvPr>
            <p:cNvSpPr/>
            <p:nvPr/>
          </p:nvSpPr>
          <p:spPr>
            <a:xfrm rot="8716295">
              <a:off x="945836" y="355550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6" name="Forme libre : forme 535">
              <a:extLst>
                <a:ext uri="{FF2B5EF4-FFF2-40B4-BE49-F238E27FC236}">
                  <a16:creationId xmlns:a16="http://schemas.microsoft.com/office/drawing/2014/main" id="{A9C222B1-4EB2-4073-B2D7-C74FB6F4EB84}"/>
                </a:ext>
              </a:extLst>
            </p:cNvPr>
            <p:cNvSpPr/>
            <p:nvPr/>
          </p:nvSpPr>
          <p:spPr>
            <a:xfrm rot="8716295">
              <a:off x="601570" y="5027951"/>
              <a:ext cx="169680" cy="113030"/>
            </a:xfrm>
            <a:custGeom>
              <a:avLst/>
              <a:gdLst>
                <a:gd name="connsiteX0" fmla="*/ 8965 w 169680"/>
                <a:gd name="connsiteY0" fmla="*/ 113030 h 113030"/>
                <a:gd name="connsiteX1" fmla="*/ 0 w 169680"/>
                <a:gd name="connsiteY1" fmla="*/ 100616 h 113030"/>
                <a:gd name="connsiteX2" fmla="*/ 106933 w 169680"/>
                <a:gd name="connsiteY2" fmla="*/ 0 h 113030"/>
                <a:gd name="connsiteX3" fmla="*/ 169680 w 169680"/>
                <a:gd name="connsiteY3" fmla="*/ 43494 h 113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680" h="113030">
                  <a:moveTo>
                    <a:pt x="8965" y="113030"/>
                  </a:moveTo>
                  <a:lnTo>
                    <a:pt x="0" y="100616"/>
                  </a:lnTo>
                  <a:lnTo>
                    <a:pt x="106933" y="0"/>
                  </a:lnTo>
                  <a:lnTo>
                    <a:pt x="169680" y="434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7" name="Forme libre : forme 536">
              <a:extLst>
                <a:ext uri="{FF2B5EF4-FFF2-40B4-BE49-F238E27FC236}">
                  <a16:creationId xmlns:a16="http://schemas.microsoft.com/office/drawing/2014/main" id="{44BF5385-3A6A-43AF-83DC-C028C02E5E2C}"/>
                </a:ext>
              </a:extLst>
            </p:cNvPr>
            <p:cNvSpPr/>
            <p:nvPr/>
          </p:nvSpPr>
          <p:spPr>
            <a:xfrm rot="8716295">
              <a:off x="197311" y="4925365"/>
              <a:ext cx="194366" cy="296463"/>
            </a:xfrm>
            <a:custGeom>
              <a:avLst/>
              <a:gdLst>
                <a:gd name="connsiteX0" fmla="*/ 137293 w 194366"/>
                <a:gd name="connsiteY0" fmla="*/ 296463 h 296463"/>
                <a:gd name="connsiteX1" fmla="*/ 72418 w 194366"/>
                <a:gd name="connsiteY1" fmla="*/ 175766 h 296463"/>
                <a:gd name="connsiteX2" fmla="*/ 105610 w 194366"/>
                <a:gd name="connsiteY2" fmla="*/ 83734 h 296463"/>
                <a:gd name="connsiteX3" fmla="*/ 0 w 194366"/>
                <a:gd name="connsiteY3" fmla="*/ 83734 h 296463"/>
                <a:gd name="connsiteX4" fmla="*/ 0 w 194366"/>
                <a:gd name="connsiteY4" fmla="*/ 0 h 296463"/>
                <a:gd name="connsiteX5" fmla="*/ 6043 w 194366"/>
                <a:gd name="connsiteY5" fmla="*/ 0 h 296463"/>
                <a:gd name="connsiteX6" fmla="*/ 194366 w 194366"/>
                <a:gd name="connsiteY6" fmla="*/ 130539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4366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6043" y="0"/>
                  </a:lnTo>
                  <a:lnTo>
                    <a:pt x="194366" y="1305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8" name="Forme libre : forme 537">
              <a:extLst>
                <a:ext uri="{FF2B5EF4-FFF2-40B4-BE49-F238E27FC236}">
                  <a16:creationId xmlns:a16="http://schemas.microsoft.com/office/drawing/2014/main" id="{5CF1CD9D-552A-4CCB-B9A3-0F1972CF10E7}"/>
                </a:ext>
              </a:extLst>
            </p:cNvPr>
            <p:cNvSpPr/>
            <p:nvPr/>
          </p:nvSpPr>
          <p:spPr>
            <a:xfrm rot="8716295">
              <a:off x="81902" y="4747962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9" name="Forme libre : forme 538">
              <a:extLst>
                <a:ext uri="{FF2B5EF4-FFF2-40B4-BE49-F238E27FC236}">
                  <a16:creationId xmlns:a16="http://schemas.microsoft.com/office/drawing/2014/main" id="{89D63773-02CD-4D03-8182-ECDC8799BAA4}"/>
                </a:ext>
              </a:extLst>
            </p:cNvPr>
            <p:cNvSpPr/>
            <p:nvPr/>
          </p:nvSpPr>
          <p:spPr>
            <a:xfrm rot="8716295">
              <a:off x="896624" y="4761216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0" name="Forme libre : forme 539">
              <a:extLst>
                <a:ext uri="{FF2B5EF4-FFF2-40B4-BE49-F238E27FC236}">
                  <a16:creationId xmlns:a16="http://schemas.microsoft.com/office/drawing/2014/main" id="{33BF861B-C1D8-40D6-A4A6-F4A4F57DC0A7}"/>
                </a:ext>
              </a:extLst>
            </p:cNvPr>
            <p:cNvSpPr/>
            <p:nvPr/>
          </p:nvSpPr>
          <p:spPr>
            <a:xfrm rot="8716295">
              <a:off x="1032483" y="4799006"/>
              <a:ext cx="389853" cy="383455"/>
            </a:xfrm>
            <a:custGeom>
              <a:avLst/>
              <a:gdLst>
                <a:gd name="connsiteX0" fmla="*/ 77932 w 389853"/>
                <a:gd name="connsiteY0" fmla="*/ 383455 h 383455"/>
                <a:gd name="connsiteX1" fmla="*/ 77932 w 389853"/>
                <a:gd name="connsiteY1" fmla="*/ 66898 h 383455"/>
                <a:gd name="connsiteX2" fmla="*/ 0 w 389853"/>
                <a:gd name="connsiteY2" fmla="*/ 66898 h 383455"/>
                <a:gd name="connsiteX3" fmla="*/ 0 w 389853"/>
                <a:gd name="connsiteY3" fmla="*/ 0 h 383455"/>
                <a:gd name="connsiteX4" fmla="*/ 158623 w 389853"/>
                <a:gd name="connsiteY4" fmla="*/ 0 h 383455"/>
                <a:gd name="connsiteX5" fmla="*/ 158623 w 389853"/>
                <a:gd name="connsiteY5" fmla="*/ 111726 h 383455"/>
                <a:gd name="connsiteX6" fmla="*/ 160692 w 389853"/>
                <a:gd name="connsiteY6" fmla="*/ 111726 h 383455"/>
                <a:gd name="connsiteX7" fmla="*/ 192762 w 389853"/>
                <a:gd name="connsiteY7" fmla="*/ 39914 h 383455"/>
                <a:gd name="connsiteX8" fmla="*/ 216292 w 389853"/>
                <a:gd name="connsiteY8" fmla="*/ 20658 h 383455"/>
                <a:gd name="connsiteX9" fmla="*/ 389853 w 389853"/>
                <a:gd name="connsiteY9" fmla="*/ 140965 h 383455"/>
                <a:gd name="connsiteX10" fmla="*/ 300695 w 389853"/>
                <a:gd name="connsiteY10" fmla="*/ 146210 h 383455"/>
                <a:gd name="connsiteX11" fmla="*/ 300694 w 389853"/>
                <a:gd name="connsiteY11" fmla="*/ 121382 h 383455"/>
                <a:gd name="connsiteX12" fmla="*/ 249659 w 389853"/>
                <a:gd name="connsiteY12" fmla="*/ 58622 h 383455"/>
                <a:gd name="connsiteX13" fmla="*/ 168969 w 389853"/>
                <a:gd name="connsiteY13" fmla="*/ 191038 h 383455"/>
                <a:gd name="connsiteX14" fmla="*/ 168969 w 389853"/>
                <a:gd name="connsiteY14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9853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71727" y="78967"/>
                    <a:pt x="181555" y="56208"/>
                    <a:pt x="192762" y="39914"/>
                  </a:cubicBezTo>
                  <a:lnTo>
                    <a:pt x="216292" y="20658"/>
                  </a:lnTo>
                  <a:lnTo>
                    <a:pt x="389853" y="140965"/>
                  </a:lnTo>
                  <a:lnTo>
                    <a:pt x="300695" y="146210"/>
                  </a:lnTo>
                  <a:lnTo>
                    <a:pt x="300694" y="121382"/>
                  </a:lnTo>
                  <a:cubicBezTo>
                    <a:pt x="300695" y="84140"/>
                    <a:pt x="279315" y="58621"/>
                    <a:pt x="249659" y="58622"/>
                  </a:cubicBezTo>
                  <a:cubicBezTo>
                    <a:pt x="205521" y="58621"/>
                    <a:pt x="168969" y="117244"/>
                    <a:pt x="168969" y="191038"/>
                  </a:cubicBez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1" name="Forme libre : forme 540">
              <a:extLst>
                <a:ext uri="{FF2B5EF4-FFF2-40B4-BE49-F238E27FC236}">
                  <a16:creationId xmlns:a16="http://schemas.microsoft.com/office/drawing/2014/main" id="{C420EFCB-7AD0-4F78-ABFA-EF93E239A8B5}"/>
                </a:ext>
              </a:extLst>
            </p:cNvPr>
            <p:cNvSpPr/>
            <p:nvPr/>
          </p:nvSpPr>
          <p:spPr>
            <a:xfrm rot="8716295">
              <a:off x="726753" y="489523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2" name="Forme libre : forme 541">
              <a:extLst>
                <a:ext uri="{FF2B5EF4-FFF2-40B4-BE49-F238E27FC236}">
                  <a16:creationId xmlns:a16="http://schemas.microsoft.com/office/drawing/2014/main" id="{0A5B3530-D6C0-4EE2-8CA9-FA8536749993}"/>
                </a:ext>
              </a:extLst>
            </p:cNvPr>
            <p:cNvSpPr/>
            <p:nvPr/>
          </p:nvSpPr>
          <p:spPr>
            <a:xfrm rot="8716295">
              <a:off x="537709" y="457939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3" name="Forme libre : forme 542">
              <a:extLst>
                <a:ext uri="{FF2B5EF4-FFF2-40B4-BE49-F238E27FC236}">
                  <a16:creationId xmlns:a16="http://schemas.microsoft.com/office/drawing/2014/main" id="{4CBF89FF-5526-4991-BDD9-741DD1ACD91A}"/>
                </a:ext>
              </a:extLst>
            </p:cNvPr>
            <p:cNvSpPr/>
            <p:nvPr/>
          </p:nvSpPr>
          <p:spPr>
            <a:xfrm rot="8716295">
              <a:off x="826576" y="4988476"/>
              <a:ext cx="91035" cy="198648"/>
            </a:xfrm>
            <a:custGeom>
              <a:avLst/>
              <a:gdLst>
                <a:gd name="connsiteX0" fmla="*/ 91035 w 91035"/>
                <a:gd name="connsiteY0" fmla="*/ 198648 h 198648"/>
                <a:gd name="connsiteX1" fmla="*/ 0 w 91035"/>
                <a:gd name="connsiteY1" fmla="*/ 111060 h 198648"/>
                <a:gd name="connsiteX2" fmla="*/ 0 w 91035"/>
                <a:gd name="connsiteY2" fmla="*/ 0 h 198648"/>
                <a:gd name="connsiteX3" fmla="*/ 91035 w 91035"/>
                <a:gd name="connsiteY3" fmla="*/ 63103 h 198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198648">
                  <a:moveTo>
                    <a:pt x="91035" y="198648"/>
                  </a:moveTo>
                  <a:lnTo>
                    <a:pt x="0" y="111060"/>
                  </a:lnTo>
                  <a:lnTo>
                    <a:pt x="0" y="0"/>
                  </a:lnTo>
                  <a:lnTo>
                    <a:pt x="91035" y="631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4" name="Forme libre : forme 543">
              <a:extLst>
                <a:ext uri="{FF2B5EF4-FFF2-40B4-BE49-F238E27FC236}">
                  <a16:creationId xmlns:a16="http://schemas.microsoft.com/office/drawing/2014/main" id="{2B19B256-A6B8-458D-8003-2780D79D3EB3}"/>
                </a:ext>
              </a:extLst>
            </p:cNvPr>
            <p:cNvSpPr/>
            <p:nvPr/>
          </p:nvSpPr>
          <p:spPr>
            <a:xfrm rot="8716295">
              <a:off x="497795" y="4730788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5" name="Forme libre : forme 544">
              <a:extLst>
                <a:ext uri="{FF2B5EF4-FFF2-40B4-BE49-F238E27FC236}">
                  <a16:creationId xmlns:a16="http://schemas.microsoft.com/office/drawing/2014/main" id="{38C331B5-12FF-441E-AFC8-4295F59727BE}"/>
                </a:ext>
              </a:extLst>
            </p:cNvPr>
            <p:cNvSpPr/>
            <p:nvPr/>
          </p:nvSpPr>
          <p:spPr>
            <a:xfrm rot="8716295">
              <a:off x="1459248" y="4904357"/>
              <a:ext cx="328004" cy="223069"/>
            </a:xfrm>
            <a:custGeom>
              <a:avLst/>
              <a:gdLst>
                <a:gd name="connsiteX0" fmla="*/ 10574 w 328004"/>
                <a:gd name="connsiteY0" fmla="*/ 223069 h 223069"/>
                <a:gd name="connsiteX1" fmla="*/ 0 w 328004"/>
                <a:gd name="connsiteY1" fmla="*/ 208428 h 223069"/>
                <a:gd name="connsiteX2" fmla="*/ 192781 w 328004"/>
                <a:gd name="connsiteY2" fmla="*/ 27035 h 223069"/>
                <a:gd name="connsiteX3" fmla="*/ 227094 w 328004"/>
                <a:gd name="connsiteY3" fmla="*/ 0 h 223069"/>
                <a:gd name="connsiteX4" fmla="*/ 328004 w 328004"/>
                <a:gd name="connsiteY4" fmla="*/ 69948 h 223069"/>
                <a:gd name="connsiteX5" fmla="*/ 326080 w 328004"/>
                <a:gd name="connsiteY5" fmla="*/ 74925 h 223069"/>
                <a:gd name="connsiteX6" fmla="*/ 293645 w 328004"/>
                <a:gd name="connsiteY6" fmla="*/ 100243 h 223069"/>
                <a:gd name="connsiteX7" fmla="*/ 294458 w 328004"/>
                <a:gd name="connsiteY7" fmla="*/ 100243 h 223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8004" h="223069">
                  <a:moveTo>
                    <a:pt x="10574" y="223069"/>
                  </a:moveTo>
                  <a:lnTo>
                    <a:pt x="0" y="208428"/>
                  </a:lnTo>
                  <a:lnTo>
                    <a:pt x="192781" y="27035"/>
                  </a:lnTo>
                  <a:lnTo>
                    <a:pt x="227094" y="0"/>
                  </a:lnTo>
                  <a:lnTo>
                    <a:pt x="328004" y="69948"/>
                  </a:lnTo>
                  <a:lnTo>
                    <a:pt x="326080" y="74925"/>
                  </a:lnTo>
                  <a:cubicBezTo>
                    <a:pt x="317843" y="85805"/>
                    <a:pt x="306659" y="94549"/>
                    <a:pt x="293645" y="100243"/>
                  </a:cubicBezTo>
                  <a:lnTo>
                    <a:pt x="294458" y="10024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6" name="Forme libre : forme 545">
              <a:extLst>
                <a:ext uri="{FF2B5EF4-FFF2-40B4-BE49-F238E27FC236}">
                  <a16:creationId xmlns:a16="http://schemas.microsoft.com/office/drawing/2014/main" id="{2EF13EE3-4590-46FE-815C-89B113D51647}"/>
                </a:ext>
              </a:extLst>
            </p:cNvPr>
            <p:cNvSpPr/>
            <p:nvPr/>
          </p:nvSpPr>
          <p:spPr>
            <a:xfrm rot="8716295">
              <a:off x="1383191" y="474927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7" name="Forme libre : forme 546">
              <a:extLst>
                <a:ext uri="{FF2B5EF4-FFF2-40B4-BE49-F238E27FC236}">
                  <a16:creationId xmlns:a16="http://schemas.microsoft.com/office/drawing/2014/main" id="{ACF317BC-C487-48DA-AAF1-A734E1B80AFC}"/>
                </a:ext>
              </a:extLst>
            </p:cNvPr>
            <p:cNvSpPr/>
            <p:nvPr/>
          </p:nvSpPr>
          <p:spPr>
            <a:xfrm rot="8716295">
              <a:off x="1015027" y="479501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8" name="Forme libre : forme 547">
              <a:extLst>
                <a:ext uri="{FF2B5EF4-FFF2-40B4-BE49-F238E27FC236}">
                  <a16:creationId xmlns:a16="http://schemas.microsoft.com/office/drawing/2014/main" id="{B791FEAA-DC33-4F32-8880-340A058FD832}"/>
                </a:ext>
              </a:extLst>
            </p:cNvPr>
            <p:cNvSpPr/>
            <p:nvPr/>
          </p:nvSpPr>
          <p:spPr>
            <a:xfrm rot="8716295">
              <a:off x="1283609" y="455399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9" name="Forme libre : forme 548">
              <a:extLst>
                <a:ext uri="{FF2B5EF4-FFF2-40B4-BE49-F238E27FC236}">
                  <a16:creationId xmlns:a16="http://schemas.microsoft.com/office/drawing/2014/main" id="{E17616AF-8BAE-4050-B11F-682C7E2BF991}"/>
                </a:ext>
              </a:extLst>
            </p:cNvPr>
            <p:cNvSpPr/>
            <p:nvPr/>
          </p:nvSpPr>
          <p:spPr>
            <a:xfrm rot="8716295">
              <a:off x="-30381" y="3359388"/>
              <a:ext cx="98497" cy="75863"/>
            </a:xfrm>
            <a:custGeom>
              <a:avLst/>
              <a:gdLst>
                <a:gd name="connsiteX0" fmla="*/ 0 w 98497"/>
                <a:gd name="connsiteY0" fmla="*/ 75863 h 75863"/>
                <a:gd name="connsiteX1" fmla="*/ 0 w 98497"/>
                <a:gd name="connsiteY1" fmla="*/ 0 h 75863"/>
                <a:gd name="connsiteX2" fmla="*/ 98497 w 98497"/>
                <a:gd name="connsiteY2" fmla="*/ 0 h 75863"/>
                <a:gd name="connsiteX3" fmla="*/ 45911 w 98497"/>
                <a:gd name="connsiteY3" fmla="*/ 75863 h 75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497" h="75863">
                  <a:moveTo>
                    <a:pt x="0" y="75863"/>
                  </a:moveTo>
                  <a:lnTo>
                    <a:pt x="0" y="0"/>
                  </a:lnTo>
                  <a:lnTo>
                    <a:pt x="98497" y="0"/>
                  </a:lnTo>
                  <a:lnTo>
                    <a:pt x="45911" y="758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0" name="Forme libre : forme 549">
              <a:extLst>
                <a:ext uri="{FF2B5EF4-FFF2-40B4-BE49-F238E27FC236}">
                  <a16:creationId xmlns:a16="http://schemas.microsoft.com/office/drawing/2014/main" id="{F7A06632-7A82-4771-B4F7-5A48BC7BBB8C}"/>
                </a:ext>
              </a:extLst>
            </p:cNvPr>
            <p:cNvSpPr/>
            <p:nvPr/>
          </p:nvSpPr>
          <p:spPr>
            <a:xfrm rot="8716295">
              <a:off x="-77334" y="3178477"/>
              <a:ext cx="389652" cy="385611"/>
            </a:xfrm>
            <a:custGeom>
              <a:avLst/>
              <a:gdLst>
                <a:gd name="connsiteX0" fmla="*/ 77932 w 389652"/>
                <a:gd name="connsiteY0" fmla="*/ 385611 h 385611"/>
                <a:gd name="connsiteX1" fmla="*/ 77932 w 389652"/>
                <a:gd name="connsiteY1" fmla="*/ 69054 h 385611"/>
                <a:gd name="connsiteX2" fmla="*/ 0 w 389652"/>
                <a:gd name="connsiteY2" fmla="*/ 69054 h 385611"/>
                <a:gd name="connsiteX3" fmla="*/ 0 w 389652"/>
                <a:gd name="connsiteY3" fmla="*/ 2156 h 385611"/>
                <a:gd name="connsiteX4" fmla="*/ 158623 w 389652"/>
                <a:gd name="connsiteY4" fmla="*/ 2156 h 385611"/>
                <a:gd name="connsiteX5" fmla="*/ 158623 w 389652"/>
                <a:gd name="connsiteY5" fmla="*/ 113882 h 385611"/>
                <a:gd name="connsiteX6" fmla="*/ 160692 w 389652"/>
                <a:gd name="connsiteY6" fmla="*/ 113882 h 385611"/>
                <a:gd name="connsiteX7" fmla="*/ 233107 w 389652"/>
                <a:gd name="connsiteY7" fmla="*/ 9053 h 385611"/>
                <a:gd name="connsiteX8" fmla="*/ 280694 w 389652"/>
                <a:gd name="connsiteY8" fmla="*/ 87 h 385611"/>
                <a:gd name="connsiteX9" fmla="*/ 364230 w 389652"/>
                <a:gd name="connsiteY9" fmla="*/ 34398 h 385611"/>
                <a:gd name="connsiteX10" fmla="*/ 389652 w 389652"/>
                <a:gd name="connsiteY10" fmla="*/ 117977 h 385611"/>
                <a:gd name="connsiteX11" fmla="*/ 371473 w 389652"/>
                <a:gd name="connsiteY11" fmla="*/ 144202 h 385611"/>
                <a:gd name="connsiteX12" fmla="*/ 300695 w 389652"/>
                <a:gd name="connsiteY12" fmla="*/ 148366 h 385611"/>
                <a:gd name="connsiteX13" fmla="*/ 300695 w 389652"/>
                <a:gd name="connsiteY13" fmla="*/ 123538 h 385611"/>
                <a:gd name="connsiteX14" fmla="*/ 249659 w 389652"/>
                <a:gd name="connsiteY14" fmla="*/ 60778 h 385611"/>
                <a:gd name="connsiteX15" fmla="*/ 168969 w 389652"/>
                <a:gd name="connsiteY15" fmla="*/ 193194 h 385611"/>
                <a:gd name="connsiteX16" fmla="*/ 168969 w 389652"/>
                <a:gd name="connsiteY16" fmla="*/ 323541 h 385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89652" h="385611">
                  <a:moveTo>
                    <a:pt x="77932" y="385611"/>
                  </a:moveTo>
                  <a:lnTo>
                    <a:pt x="77932" y="69054"/>
                  </a:lnTo>
                  <a:lnTo>
                    <a:pt x="0" y="69054"/>
                  </a:lnTo>
                  <a:lnTo>
                    <a:pt x="0" y="2156"/>
                  </a:lnTo>
                  <a:lnTo>
                    <a:pt x="158623" y="2156"/>
                  </a:lnTo>
                  <a:lnTo>
                    <a:pt x="158623" y="113882"/>
                  </a:lnTo>
                  <a:lnTo>
                    <a:pt x="160692" y="113882"/>
                  </a:lnTo>
                  <a:cubicBezTo>
                    <a:pt x="182762" y="48364"/>
                    <a:pt x="200003" y="22846"/>
                    <a:pt x="233107" y="9053"/>
                  </a:cubicBezTo>
                  <a:cubicBezTo>
                    <a:pt x="248280" y="2846"/>
                    <a:pt x="264142" y="-602"/>
                    <a:pt x="280694" y="87"/>
                  </a:cubicBezTo>
                  <a:cubicBezTo>
                    <a:pt x="316212" y="-603"/>
                    <a:pt x="344661" y="11466"/>
                    <a:pt x="364230" y="34398"/>
                  </a:cubicBezTo>
                  <a:lnTo>
                    <a:pt x="389652" y="117977"/>
                  </a:lnTo>
                  <a:lnTo>
                    <a:pt x="371473" y="144202"/>
                  </a:lnTo>
                  <a:lnTo>
                    <a:pt x="300695" y="148366"/>
                  </a:lnTo>
                  <a:lnTo>
                    <a:pt x="300695" y="123538"/>
                  </a:lnTo>
                  <a:cubicBezTo>
                    <a:pt x="300695" y="86296"/>
                    <a:pt x="279315" y="60778"/>
                    <a:pt x="249659" y="60778"/>
                  </a:cubicBezTo>
                  <a:cubicBezTo>
                    <a:pt x="205521" y="60778"/>
                    <a:pt x="168969" y="119400"/>
                    <a:pt x="168969" y="193194"/>
                  </a:cubicBezTo>
                  <a:lnTo>
                    <a:pt x="168969" y="3235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1" name="Forme libre : forme 550">
              <a:extLst>
                <a:ext uri="{FF2B5EF4-FFF2-40B4-BE49-F238E27FC236}">
                  <a16:creationId xmlns:a16="http://schemas.microsoft.com/office/drawing/2014/main" id="{497925DD-6E6C-4259-BA1E-97C604ADFD78}"/>
                </a:ext>
              </a:extLst>
            </p:cNvPr>
            <p:cNvSpPr/>
            <p:nvPr/>
          </p:nvSpPr>
          <p:spPr>
            <a:xfrm rot="8716295">
              <a:off x="-71352" y="3029015"/>
              <a:ext cx="193594" cy="189959"/>
            </a:xfrm>
            <a:custGeom>
              <a:avLst/>
              <a:gdLst>
                <a:gd name="connsiteX0" fmla="*/ 8965 w 193594"/>
                <a:gd name="connsiteY0" fmla="*/ 189959 h 189959"/>
                <a:gd name="connsiteX1" fmla="*/ 0 w 193594"/>
                <a:gd name="connsiteY1" fmla="*/ 177545 h 189959"/>
                <a:gd name="connsiteX2" fmla="*/ 163451 w 193594"/>
                <a:gd name="connsiteY2" fmla="*/ 23749 h 189959"/>
                <a:gd name="connsiteX3" fmla="*/ 193594 w 193594"/>
                <a:gd name="connsiteY3" fmla="*/ 0 h 189959"/>
                <a:gd name="connsiteX4" fmla="*/ 84606 w 193594"/>
                <a:gd name="connsiteY4" fmla="*/ 157232 h 189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594" h="189959">
                  <a:moveTo>
                    <a:pt x="8965" y="189959"/>
                  </a:moveTo>
                  <a:lnTo>
                    <a:pt x="0" y="177545"/>
                  </a:lnTo>
                  <a:lnTo>
                    <a:pt x="163451" y="23749"/>
                  </a:lnTo>
                  <a:lnTo>
                    <a:pt x="193594" y="0"/>
                  </a:lnTo>
                  <a:lnTo>
                    <a:pt x="84606" y="15723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2" name="Forme libre : forme 551">
              <a:extLst>
                <a:ext uri="{FF2B5EF4-FFF2-40B4-BE49-F238E27FC236}">
                  <a16:creationId xmlns:a16="http://schemas.microsoft.com/office/drawing/2014/main" id="{E29BD41D-2F5C-497A-8BF9-AF2F5B2427C3}"/>
                </a:ext>
              </a:extLst>
            </p:cNvPr>
            <p:cNvSpPr/>
            <p:nvPr/>
          </p:nvSpPr>
          <p:spPr>
            <a:xfrm rot="8716295">
              <a:off x="223574" y="276232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3" name="Forme libre : forme 552">
              <a:extLst>
                <a:ext uri="{FF2B5EF4-FFF2-40B4-BE49-F238E27FC236}">
                  <a16:creationId xmlns:a16="http://schemas.microsoft.com/office/drawing/2014/main" id="{6A4C14F3-A2C0-4F87-AC82-3B459E04B788}"/>
                </a:ext>
              </a:extLst>
            </p:cNvPr>
            <p:cNvSpPr/>
            <p:nvPr/>
          </p:nvSpPr>
          <p:spPr>
            <a:xfrm rot="8716295">
              <a:off x="358873" y="2806579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4" name="Forme libre : forme 553">
              <a:extLst>
                <a:ext uri="{FF2B5EF4-FFF2-40B4-BE49-F238E27FC236}">
                  <a16:creationId xmlns:a16="http://schemas.microsoft.com/office/drawing/2014/main" id="{935BD79C-492F-44F8-B4F1-B103EB9A56A0}"/>
                </a:ext>
              </a:extLst>
            </p:cNvPr>
            <p:cNvSpPr/>
            <p:nvPr/>
          </p:nvSpPr>
          <p:spPr>
            <a:xfrm rot="8716295">
              <a:off x="53703" y="2896335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5" name="Forme libre : forme 554">
              <a:extLst>
                <a:ext uri="{FF2B5EF4-FFF2-40B4-BE49-F238E27FC236}">
                  <a16:creationId xmlns:a16="http://schemas.microsoft.com/office/drawing/2014/main" id="{20269E7A-5297-42E3-A791-BAD958B2ADF9}"/>
                </a:ext>
              </a:extLst>
            </p:cNvPr>
            <p:cNvSpPr/>
            <p:nvPr/>
          </p:nvSpPr>
          <p:spPr>
            <a:xfrm rot="8716295">
              <a:off x="-92201" y="2622488"/>
              <a:ext cx="271732" cy="238722"/>
            </a:xfrm>
            <a:custGeom>
              <a:avLst/>
              <a:gdLst>
                <a:gd name="connsiteX0" fmla="*/ 106257 w 271732"/>
                <a:gd name="connsiteY0" fmla="*/ 238722 h 238722"/>
                <a:gd name="connsiteX1" fmla="*/ 72418 w 271732"/>
                <a:gd name="connsiteY1" fmla="*/ 175766 h 238722"/>
                <a:gd name="connsiteX2" fmla="*/ 105610 w 271732"/>
                <a:gd name="connsiteY2" fmla="*/ 83734 h 238722"/>
                <a:gd name="connsiteX3" fmla="*/ 0 w 271732"/>
                <a:gd name="connsiteY3" fmla="*/ 83734 h 238722"/>
                <a:gd name="connsiteX4" fmla="*/ 0 w 271732"/>
                <a:gd name="connsiteY4" fmla="*/ 0 h 238722"/>
                <a:gd name="connsiteX5" fmla="*/ 271732 w 271732"/>
                <a:gd name="connsiteY5" fmla="*/ 0 h 238722"/>
                <a:gd name="connsiteX6" fmla="*/ 213690 w 271732"/>
                <a:gd name="connsiteY6" fmla="*/ 83734 h 238722"/>
                <a:gd name="connsiteX7" fmla="*/ 210465 w 271732"/>
                <a:gd name="connsiteY7" fmla="*/ 83734 h 238722"/>
                <a:gd name="connsiteX8" fmla="*/ 207289 w 271732"/>
                <a:gd name="connsiteY8" fmla="*/ 92969 h 238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1732" h="238722">
                  <a:moveTo>
                    <a:pt x="106257" y="238722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71732" y="0"/>
                  </a:lnTo>
                  <a:lnTo>
                    <a:pt x="213690" y="83734"/>
                  </a:lnTo>
                  <a:lnTo>
                    <a:pt x="210465" y="83734"/>
                  </a:lnTo>
                  <a:lnTo>
                    <a:pt x="207289" y="929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6" name="Forme libre : forme 555">
              <a:extLst>
                <a:ext uri="{FF2B5EF4-FFF2-40B4-BE49-F238E27FC236}">
                  <a16:creationId xmlns:a16="http://schemas.microsoft.com/office/drawing/2014/main" id="{F59E69C4-B8C8-4B2C-9ACE-4F40F98BFC84}"/>
                </a:ext>
              </a:extLst>
            </p:cNvPr>
            <p:cNvSpPr/>
            <p:nvPr/>
          </p:nvSpPr>
          <p:spPr>
            <a:xfrm rot="8716295">
              <a:off x="190192" y="2958318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7" name="Forme libre : forme 556">
              <a:extLst>
                <a:ext uri="{FF2B5EF4-FFF2-40B4-BE49-F238E27FC236}">
                  <a16:creationId xmlns:a16="http://schemas.microsoft.com/office/drawing/2014/main" id="{60A06DA4-F392-4C9B-B810-DC33F0E06EF7}"/>
                </a:ext>
              </a:extLst>
            </p:cNvPr>
            <p:cNvSpPr/>
            <p:nvPr/>
          </p:nvSpPr>
          <p:spPr>
            <a:xfrm rot="7484129">
              <a:off x="349009" y="324793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8" name="Forme libre : forme 557">
              <a:extLst>
                <a:ext uri="{FF2B5EF4-FFF2-40B4-BE49-F238E27FC236}">
                  <a16:creationId xmlns:a16="http://schemas.microsoft.com/office/drawing/2014/main" id="{AB6A2932-14BD-4774-A352-7D5D644B3B5A}"/>
                </a:ext>
              </a:extLst>
            </p:cNvPr>
            <p:cNvSpPr/>
            <p:nvPr/>
          </p:nvSpPr>
          <p:spPr>
            <a:xfrm rot="13089394">
              <a:off x="507659" y="3197284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9" name="Forme libre : forme 558">
              <a:extLst>
                <a:ext uri="{FF2B5EF4-FFF2-40B4-BE49-F238E27FC236}">
                  <a16:creationId xmlns:a16="http://schemas.microsoft.com/office/drawing/2014/main" id="{B0C0F300-8F87-4878-A242-83480CD0F594}"/>
                </a:ext>
              </a:extLst>
            </p:cNvPr>
            <p:cNvSpPr/>
            <p:nvPr/>
          </p:nvSpPr>
          <p:spPr>
            <a:xfrm rot="8716295">
              <a:off x="788550" y="2907166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0" name="Forme libre : forme 559">
              <a:extLst>
                <a:ext uri="{FF2B5EF4-FFF2-40B4-BE49-F238E27FC236}">
                  <a16:creationId xmlns:a16="http://schemas.microsoft.com/office/drawing/2014/main" id="{51D26EC8-7FBF-4DE9-AD62-79231B0281F0}"/>
                </a:ext>
              </a:extLst>
            </p:cNvPr>
            <p:cNvSpPr/>
            <p:nvPr/>
          </p:nvSpPr>
          <p:spPr>
            <a:xfrm rot="8716295">
              <a:off x="710141" y="275037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1" name="Forme libre : forme 560">
              <a:extLst>
                <a:ext uri="{FF2B5EF4-FFF2-40B4-BE49-F238E27FC236}">
                  <a16:creationId xmlns:a16="http://schemas.microsoft.com/office/drawing/2014/main" id="{DED5A4F2-08F4-473E-85B0-2FEDFE194CE3}"/>
                </a:ext>
              </a:extLst>
            </p:cNvPr>
            <p:cNvSpPr/>
            <p:nvPr/>
          </p:nvSpPr>
          <p:spPr>
            <a:xfrm rot="8716295">
              <a:off x="341977" y="279611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2" name="Forme libre : forme 561">
              <a:extLst>
                <a:ext uri="{FF2B5EF4-FFF2-40B4-BE49-F238E27FC236}">
                  <a16:creationId xmlns:a16="http://schemas.microsoft.com/office/drawing/2014/main" id="{8A2A6A83-C634-477C-AA7B-D4BF2D37CB9F}"/>
                </a:ext>
              </a:extLst>
            </p:cNvPr>
            <p:cNvSpPr/>
            <p:nvPr/>
          </p:nvSpPr>
          <p:spPr>
            <a:xfrm rot="8716295">
              <a:off x="610559" y="2555095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3" name="Forme libre : forme 562">
              <a:extLst>
                <a:ext uri="{FF2B5EF4-FFF2-40B4-BE49-F238E27FC236}">
                  <a16:creationId xmlns:a16="http://schemas.microsoft.com/office/drawing/2014/main" id="{C7E28CB5-C215-4110-A37F-DBD52F99C5AA}"/>
                </a:ext>
              </a:extLst>
            </p:cNvPr>
            <p:cNvSpPr/>
            <p:nvPr/>
          </p:nvSpPr>
          <p:spPr>
            <a:xfrm rot="8716295">
              <a:off x="-24305" y="2374348"/>
              <a:ext cx="58950" cy="66898"/>
            </a:xfrm>
            <a:custGeom>
              <a:avLst/>
              <a:gdLst>
                <a:gd name="connsiteX0" fmla="*/ 0 w 58950"/>
                <a:gd name="connsiteY0" fmla="*/ 66898 h 66898"/>
                <a:gd name="connsiteX1" fmla="*/ 0 w 58950"/>
                <a:gd name="connsiteY1" fmla="*/ 0 h 66898"/>
                <a:gd name="connsiteX2" fmla="*/ 58950 w 58950"/>
                <a:gd name="connsiteY2" fmla="*/ 0 h 66898"/>
                <a:gd name="connsiteX3" fmla="*/ 12579 w 58950"/>
                <a:gd name="connsiteY3" fmla="*/ 66898 h 6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950" h="66898">
                  <a:moveTo>
                    <a:pt x="0" y="66898"/>
                  </a:moveTo>
                  <a:lnTo>
                    <a:pt x="0" y="0"/>
                  </a:lnTo>
                  <a:lnTo>
                    <a:pt x="58950" y="0"/>
                  </a:lnTo>
                  <a:lnTo>
                    <a:pt x="12579" y="668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4" name="Forme libre : forme 563">
              <a:extLst>
                <a:ext uri="{FF2B5EF4-FFF2-40B4-BE49-F238E27FC236}">
                  <a16:creationId xmlns:a16="http://schemas.microsoft.com/office/drawing/2014/main" id="{446F17DC-5A7F-43EF-8C54-EB403552B710}"/>
                </a:ext>
              </a:extLst>
            </p:cNvPr>
            <p:cNvSpPr/>
            <p:nvPr/>
          </p:nvSpPr>
          <p:spPr>
            <a:xfrm rot="8716295">
              <a:off x="-39593" y="1952072"/>
              <a:ext cx="198050" cy="140164"/>
            </a:xfrm>
            <a:custGeom>
              <a:avLst/>
              <a:gdLst>
                <a:gd name="connsiteX0" fmla="*/ 0 w 198050"/>
                <a:gd name="connsiteY0" fmla="*/ 75863 h 140164"/>
                <a:gd name="connsiteX1" fmla="*/ 0 w 198050"/>
                <a:gd name="connsiteY1" fmla="*/ 0 h 140164"/>
                <a:gd name="connsiteX2" fmla="*/ 128968 w 198050"/>
                <a:gd name="connsiteY2" fmla="*/ 0 h 140164"/>
                <a:gd name="connsiteX3" fmla="*/ 193021 w 198050"/>
                <a:gd name="connsiteY3" fmla="*/ 18535 h 140164"/>
                <a:gd name="connsiteX4" fmla="*/ 198050 w 198050"/>
                <a:gd name="connsiteY4" fmla="*/ 31548 h 140164"/>
                <a:gd name="connsiteX5" fmla="*/ 122761 w 198050"/>
                <a:gd name="connsiteY5" fmla="*/ 140164 h 140164"/>
                <a:gd name="connsiteX6" fmla="*/ 122761 w 198050"/>
                <a:gd name="connsiteY6" fmla="*/ 105519 h 140164"/>
                <a:gd name="connsiteX7" fmla="*/ 122761 w 198050"/>
                <a:gd name="connsiteY7" fmla="*/ 99312 h 140164"/>
                <a:gd name="connsiteX8" fmla="*/ 91726 w 198050"/>
                <a:gd name="connsiteY8" fmla="*/ 75863 h 140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8050" h="140164">
                  <a:moveTo>
                    <a:pt x="0" y="75863"/>
                  </a:moveTo>
                  <a:lnTo>
                    <a:pt x="0" y="0"/>
                  </a:lnTo>
                  <a:lnTo>
                    <a:pt x="128968" y="0"/>
                  </a:lnTo>
                  <a:cubicBezTo>
                    <a:pt x="156900" y="0"/>
                    <a:pt x="178452" y="6034"/>
                    <a:pt x="193021" y="18535"/>
                  </a:cubicBezTo>
                  <a:lnTo>
                    <a:pt x="198050" y="31548"/>
                  </a:lnTo>
                  <a:lnTo>
                    <a:pt x="122761" y="140164"/>
                  </a:ln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4"/>
                    <a:pt x="91726" y="758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5" name="Forme libre : forme 564">
              <a:extLst>
                <a:ext uri="{FF2B5EF4-FFF2-40B4-BE49-F238E27FC236}">
                  <a16:creationId xmlns:a16="http://schemas.microsoft.com/office/drawing/2014/main" id="{CE6D21DD-4C35-491F-883F-DFE604B382BF}"/>
                </a:ext>
              </a:extLst>
            </p:cNvPr>
            <p:cNvSpPr/>
            <p:nvPr/>
          </p:nvSpPr>
          <p:spPr>
            <a:xfrm rot="8716295">
              <a:off x="21100" y="1808096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6" name="Forme libre : forme 565">
              <a:extLst>
                <a:ext uri="{FF2B5EF4-FFF2-40B4-BE49-F238E27FC236}">
                  <a16:creationId xmlns:a16="http://schemas.microsoft.com/office/drawing/2014/main" id="{162C0E93-A925-40E7-B101-4C145B43E018}"/>
                </a:ext>
              </a:extLst>
            </p:cNvPr>
            <p:cNvSpPr/>
            <p:nvPr/>
          </p:nvSpPr>
          <p:spPr>
            <a:xfrm rot="8716295">
              <a:off x="-24330" y="2197782"/>
              <a:ext cx="102508" cy="53362"/>
            </a:xfrm>
            <a:custGeom>
              <a:avLst/>
              <a:gdLst>
                <a:gd name="connsiteX0" fmla="*/ 0 w 102508"/>
                <a:gd name="connsiteY0" fmla="*/ 23637 h 53362"/>
                <a:gd name="connsiteX1" fmla="*/ 0 w 102508"/>
                <a:gd name="connsiteY1" fmla="*/ 2258 h 53362"/>
                <a:gd name="connsiteX2" fmla="*/ 102508 w 102508"/>
                <a:gd name="connsiteY2" fmla="*/ 0 h 53362"/>
                <a:gd name="connsiteX3" fmla="*/ 65519 w 102508"/>
                <a:gd name="connsiteY3" fmla="*/ 53362 h 53362"/>
                <a:gd name="connsiteX4" fmla="*/ 65519 w 102508"/>
                <a:gd name="connsiteY4" fmla="*/ 23637 h 5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508" h="53362">
                  <a:moveTo>
                    <a:pt x="0" y="23637"/>
                  </a:moveTo>
                  <a:lnTo>
                    <a:pt x="0" y="2258"/>
                  </a:lnTo>
                  <a:lnTo>
                    <a:pt x="102508" y="0"/>
                  </a:lnTo>
                  <a:lnTo>
                    <a:pt x="65519" y="53362"/>
                  </a:lnTo>
                  <a:lnTo>
                    <a:pt x="65519" y="2363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7" name="Forme libre : forme 566">
              <a:extLst>
                <a:ext uri="{FF2B5EF4-FFF2-40B4-BE49-F238E27FC236}">
                  <a16:creationId xmlns:a16="http://schemas.microsoft.com/office/drawing/2014/main" id="{39C657D0-D62F-4F7C-A612-53DB4B79E5E3}"/>
                </a:ext>
              </a:extLst>
            </p:cNvPr>
            <p:cNvSpPr/>
            <p:nvPr/>
          </p:nvSpPr>
          <p:spPr>
            <a:xfrm rot="7484129">
              <a:off x="11236" y="224945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8" name="Forme libre : forme 567">
              <a:extLst>
                <a:ext uri="{FF2B5EF4-FFF2-40B4-BE49-F238E27FC236}">
                  <a16:creationId xmlns:a16="http://schemas.microsoft.com/office/drawing/2014/main" id="{23C2327F-1812-4891-A555-8CFAF24BC9F9}"/>
                </a:ext>
              </a:extLst>
            </p:cNvPr>
            <p:cNvSpPr/>
            <p:nvPr/>
          </p:nvSpPr>
          <p:spPr>
            <a:xfrm rot="13089394">
              <a:off x="169886" y="2198801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9" name="Forme libre : forme 568">
              <a:extLst>
                <a:ext uri="{FF2B5EF4-FFF2-40B4-BE49-F238E27FC236}">
                  <a16:creationId xmlns:a16="http://schemas.microsoft.com/office/drawing/2014/main" id="{E72BEF7B-6435-411F-BE32-BB8EAB9D905E}"/>
                </a:ext>
              </a:extLst>
            </p:cNvPr>
            <p:cNvSpPr/>
            <p:nvPr/>
          </p:nvSpPr>
          <p:spPr>
            <a:xfrm rot="8716295">
              <a:off x="450777" y="1908683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0" name="Forme libre : forme 569">
              <a:extLst>
                <a:ext uri="{FF2B5EF4-FFF2-40B4-BE49-F238E27FC236}">
                  <a16:creationId xmlns:a16="http://schemas.microsoft.com/office/drawing/2014/main" id="{DE1DA05C-2419-4744-8AE0-392B948F57E7}"/>
                </a:ext>
              </a:extLst>
            </p:cNvPr>
            <p:cNvSpPr/>
            <p:nvPr/>
          </p:nvSpPr>
          <p:spPr>
            <a:xfrm rot="8716295">
              <a:off x="372368" y="175189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1" name="Forme libre : forme 570">
              <a:extLst>
                <a:ext uri="{FF2B5EF4-FFF2-40B4-BE49-F238E27FC236}">
                  <a16:creationId xmlns:a16="http://schemas.microsoft.com/office/drawing/2014/main" id="{337322B4-128F-4422-98A6-2E33A9550E4C}"/>
                </a:ext>
              </a:extLst>
            </p:cNvPr>
            <p:cNvSpPr/>
            <p:nvPr/>
          </p:nvSpPr>
          <p:spPr>
            <a:xfrm rot="8716295">
              <a:off x="4204" y="179763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2" name="Forme libre : forme 571">
              <a:extLst>
                <a:ext uri="{FF2B5EF4-FFF2-40B4-BE49-F238E27FC236}">
                  <a16:creationId xmlns:a16="http://schemas.microsoft.com/office/drawing/2014/main" id="{595DF5B3-B2D1-4308-B916-9800ADEDFEAC}"/>
                </a:ext>
              </a:extLst>
            </p:cNvPr>
            <p:cNvSpPr/>
            <p:nvPr/>
          </p:nvSpPr>
          <p:spPr>
            <a:xfrm rot="8716295">
              <a:off x="272786" y="155661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3" name="Forme libre : forme 572">
              <a:extLst>
                <a:ext uri="{FF2B5EF4-FFF2-40B4-BE49-F238E27FC236}">
                  <a16:creationId xmlns:a16="http://schemas.microsoft.com/office/drawing/2014/main" id="{93A9ECEA-4D95-4585-ACB4-69C0DE623EDA}"/>
                </a:ext>
              </a:extLst>
            </p:cNvPr>
            <p:cNvSpPr/>
            <p:nvPr/>
          </p:nvSpPr>
          <p:spPr>
            <a:xfrm rot="8716295">
              <a:off x="-35149" y="938156"/>
              <a:ext cx="158623" cy="159016"/>
            </a:xfrm>
            <a:custGeom>
              <a:avLst/>
              <a:gdLst>
                <a:gd name="connsiteX0" fmla="*/ 77932 w 158623"/>
                <a:gd name="connsiteY0" fmla="*/ 159016 h 159016"/>
                <a:gd name="connsiteX1" fmla="*/ 77932 w 158623"/>
                <a:gd name="connsiteY1" fmla="*/ 66898 h 159016"/>
                <a:gd name="connsiteX2" fmla="*/ 0 w 158623"/>
                <a:gd name="connsiteY2" fmla="*/ 66898 h 159016"/>
                <a:gd name="connsiteX3" fmla="*/ 0 w 158623"/>
                <a:gd name="connsiteY3" fmla="*/ 0 h 159016"/>
                <a:gd name="connsiteX4" fmla="*/ 158623 w 158623"/>
                <a:gd name="connsiteY4" fmla="*/ 0 h 159016"/>
                <a:gd name="connsiteX5" fmla="*/ 158623 w 158623"/>
                <a:gd name="connsiteY5" fmla="*/ 42606 h 15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8623" h="159016">
                  <a:moveTo>
                    <a:pt x="77932" y="159016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4260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4" name="Forme libre : forme 573">
              <a:extLst>
                <a:ext uri="{FF2B5EF4-FFF2-40B4-BE49-F238E27FC236}">
                  <a16:creationId xmlns:a16="http://schemas.microsoft.com/office/drawing/2014/main" id="{8B3F0D63-11FD-4E8B-94AA-29A3E1B840B5}"/>
                </a:ext>
              </a:extLst>
            </p:cNvPr>
            <p:cNvSpPr/>
            <p:nvPr/>
          </p:nvSpPr>
          <p:spPr>
            <a:xfrm rot="7484129">
              <a:off x="-32979" y="1345537"/>
              <a:ext cx="65961" cy="45734"/>
            </a:xfrm>
            <a:custGeom>
              <a:avLst/>
              <a:gdLst>
                <a:gd name="connsiteX0" fmla="*/ 0 w 65961"/>
                <a:gd name="connsiteY0" fmla="*/ 45734 h 45734"/>
                <a:gd name="connsiteX1" fmla="*/ 0 w 65961"/>
                <a:gd name="connsiteY1" fmla="*/ 0 h 45734"/>
                <a:gd name="connsiteX2" fmla="*/ 65961 w 65961"/>
                <a:gd name="connsiteY2" fmla="*/ 0 h 45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5961" h="45734">
                  <a:moveTo>
                    <a:pt x="0" y="45734"/>
                  </a:moveTo>
                  <a:lnTo>
                    <a:pt x="0" y="0"/>
                  </a:lnTo>
                  <a:lnTo>
                    <a:pt x="6596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5" name="Forme libre : forme 574">
              <a:extLst>
                <a:ext uri="{FF2B5EF4-FFF2-40B4-BE49-F238E27FC236}">
                  <a16:creationId xmlns:a16="http://schemas.microsoft.com/office/drawing/2014/main" id="{3995846C-C66B-490D-8C5F-179A05C89C6A}"/>
                </a:ext>
              </a:extLst>
            </p:cNvPr>
            <p:cNvSpPr/>
            <p:nvPr/>
          </p:nvSpPr>
          <p:spPr>
            <a:xfrm rot="13089394">
              <a:off x="-134707" y="1200752"/>
              <a:ext cx="386820" cy="481345"/>
            </a:xfrm>
            <a:custGeom>
              <a:avLst/>
              <a:gdLst>
                <a:gd name="connsiteX0" fmla="*/ 386820 w 386820"/>
                <a:gd name="connsiteY0" fmla="*/ 391818 h 481345"/>
                <a:gd name="connsiteX1" fmla="*/ 342166 w 386820"/>
                <a:gd name="connsiteY1" fmla="*/ 422376 h 481345"/>
                <a:gd name="connsiteX2" fmla="*/ 138636 w 386820"/>
                <a:gd name="connsiteY2" fmla="*/ 481098 h 481345"/>
                <a:gd name="connsiteX3" fmla="*/ 35911 w 386820"/>
                <a:gd name="connsiteY3" fmla="*/ 439340 h 481345"/>
                <a:gd name="connsiteX4" fmla="*/ 0 w 386820"/>
                <a:gd name="connsiteY4" fmla="*/ 295693 h 481345"/>
                <a:gd name="connsiteX5" fmla="*/ 0 w 386820"/>
                <a:gd name="connsiteY5" fmla="*/ 40970 h 481345"/>
                <a:gd name="connsiteX6" fmla="*/ 78970 w 386820"/>
                <a:gd name="connsiteY6" fmla="*/ 0 h 481345"/>
                <a:gd name="connsiteX7" fmla="*/ 111492 w 386820"/>
                <a:gd name="connsiteY7" fmla="*/ 41392 h 481345"/>
                <a:gd name="connsiteX8" fmla="*/ 112747 w 386820"/>
                <a:gd name="connsiteY8" fmla="*/ 216353 h 481345"/>
                <a:gd name="connsiteX9" fmla="*/ 132789 w 386820"/>
                <a:gd name="connsiteY9" fmla="*/ 354990 h 481345"/>
                <a:gd name="connsiteX10" fmla="*/ 233008 w 386820"/>
                <a:gd name="connsiteY10" fmla="*/ 410110 h 481345"/>
                <a:gd name="connsiteX11" fmla="*/ 308173 w 386820"/>
                <a:gd name="connsiteY11" fmla="*/ 396747 h 481345"/>
                <a:gd name="connsiteX12" fmla="*/ 370717 w 386820"/>
                <a:gd name="connsiteY12" fmla="*/ 371323 h 481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6820" h="481345">
                  <a:moveTo>
                    <a:pt x="386820" y="391818"/>
                  </a:moveTo>
                  <a:lnTo>
                    <a:pt x="342166" y="422376"/>
                  </a:lnTo>
                  <a:cubicBezTo>
                    <a:pt x="268920" y="462151"/>
                    <a:pt x="190624" y="477966"/>
                    <a:pt x="138636" y="481098"/>
                  </a:cubicBezTo>
                  <a:cubicBezTo>
                    <a:pt x="100219" y="483604"/>
                    <a:pt x="62637" y="466901"/>
                    <a:pt x="35911" y="439340"/>
                  </a:cubicBezTo>
                  <a:cubicBezTo>
                    <a:pt x="7516" y="411780"/>
                    <a:pt x="0" y="364176"/>
                    <a:pt x="0" y="295693"/>
                  </a:cubicBezTo>
                  <a:lnTo>
                    <a:pt x="0" y="40970"/>
                  </a:lnTo>
                  <a:lnTo>
                    <a:pt x="78970" y="0"/>
                  </a:lnTo>
                  <a:lnTo>
                    <a:pt x="111492" y="41392"/>
                  </a:lnTo>
                  <a:lnTo>
                    <a:pt x="112747" y="216353"/>
                  </a:lnTo>
                  <a:cubicBezTo>
                    <a:pt x="110241" y="263122"/>
                    <a:pt x="117757" y="310726"/>
                    <a:pt x="132789" y="354990"/>
                  </a:cubicBezTo>
                  <a:cubicBezTo>
                    <a:pt x="146153" y="391736"/>
                    <a:pt x="180394" y="410110"/>
                    <a:pt x="233008" y="410110"/>
                  </a:cubicBezTo>
                  <a:cubicBezTo>
                    <a:pt x="258899" y="409274"/>
                    <a:pt x="283953" y="404263"/>
                    <a:pt x="308173" y="396747"/>
                  </a:cubicBezTo>
                  <a:lnTo>
                    <a:pt x="370717" y="371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6" name="Forme libre : forme 575">
              <a:extLst>
                <a:ext uri="{FF2B5EF4-FFF2-40B4-BE49-F238E27FC236}">
                  <a16:creationId xmlns:a16="http://schemas.microsoft.com/office/drawing/2014/main" id="{526F0D4E-209F-45B7-8D0B-5F52AEBBFFB5}"/>
                </a:ext>
              </a:extLst>
            </p:cNvPr>
            <p:cNvSpPr/>
            <p:nvPr/>
          </p:nvSpPr>
          <p:spPr>
            <a:xfrm rot="8716295">
              <a:off x="119403" y="90662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7" name="Forme libre : forme 576">
              <a:extLst>
                <a:ext uri="{FF2B5EF4-FFF2-40B4-BE49-F238E27FC236}">
                  <a16:creationId xmlns:a16="http://schemas.microsoft.com/office/drawing/2014/main" id="{E4487EF6-2C0D-4ADC-9B8D-2F6D6193CD68}"/>
                </a:ext>
              </a:extLst>
            </p:cNvPr>
            <p:cNvSpPr/>
            <p:nvPr/>
          </p:nvSpPr>
          <p:spPr>
            <a:xfrm rot="8716295">
              <a:off x="40994" y="74983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8" name="Forme libre : forme 577">
              <a:extLst>
                <a:ext uri="{FF2B5EF4-FFF2-40B4-BE49-F238E27FC236}">
                  <a16:creationId xmlns:a16="http://schemas.microsoft.com/office/drawing/2014/main" id="{7C0A915F-CAC9-450A-B192-FAACB7FBD55B}"/>
                </a:ext>
              </a:extLst>
            </p:cNvPr>
            <p:cNvSpPr/>
            <p:nvPr/>
          </p:nvSpPr>
          <p:spPr>
            <a:xfrm rot="8716295">
              <a:off x="-44934" y="551941"/>
              <a:ext cx="152592" cy="165412"/>
            </a:xfrm>
            <a:custGeom>
              <a:avLst/>
              <a:gdLst>
                <a:gd name="connsiteX0" fmla="*/ 26453 w 152592"/>
                <a:gd name="connsiteY0" fmla="*/ 153143 h 165412"/>
                <a:gd name="connsiteX1" fmla="*/ 0 w 152592"/>
                <a:gd name="connsiteY1" fmla="*/ 90494 h 165412"/>
                <a:gd name="connsiteX2" fmla="*/ 0 w 152592"/>
                <a:gd name="connsiteY2" fmla="*/ 89101 h 165412"/>
                <a:gd name="connsiteX3" fmla="*/ 26453 w 152592"/>
                <a:gd name="connsiteY3" fmla="*/ 26453 h 165412"/>
                <a:gd name="connsiteX4" fmla="*/ 89101 w 152592"/>
                <a:gd name="connsiteY4" fmla="*/ 0 h 165412"/>
                <a:gd name="connsiteX5" fmla="*/ 151752 w 152592"/>
                <a:gd name="connsiteY5" fmla="*/ 26453 h 165412"/>
                <a:gd name="connsiteX6" fmla="*/ 152592 w 152592"/>
                <a:gd name="connsiteY6" fmla="*/ 27688 h 165412"/>
                <a:gd name="connsiteX7" fmla="*/ 57126 w 152592"/>
                <a:gd name="connsiteY7" fmla="*/ 165412 h 165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592" h="165412">
                  <a:moveTo>
                    <a:pt x="26453" y="153143"/>
                  </a:moveTo>
                  <a:cubicBezTo>
                    <a:pt x="9746" y="136436"/>
                    <a:pt x="0" y="114161"/>
                    <a:pt x="0" y="90494"/>
                  </a:cubicBezTo>
                  <a:lnTo>
                    <a:pt x="0" y="89101"/>
                  </a:lnTo>
                  <a:cubicBezTo>
                    <a:pt x="0" y="65434"/>
                    <a:pt x="9746" y="43159"/>
                    <a:pt x="26453" y="26453"/>
                  </a:cubicBezTo>
                  <a:cubicBezTo>
                    <a:pt x="43159" y="9746"/>
                    <a:pt x="65435" y="0"/>
                    <a:pt x="89101" y="0"/>
                  </a:cubicBezTo>
                  <a:cubicBezTo>
                    <a:pt x="112770" y="0"/>
                    <a:pt x="135045" y="9746"/>
                    <a:pt x="151752" y="26453"/>
                  </a:cubicBezTo>
                  <a:lnTo>
                    <a:pt x="152592" y="27688"/>
                  </a:lnTo>
                  <a:lnTo>
                    <a:pt x="57126" y="1654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9" name="Forme libre : forme 578">
              <a:extLst>
                <a:ext uri="{FF2B5EF4-FFF2-40B4-BE49-F238E27FC236}">
                  <a16:creationId xmlns:a16="http://schemas.microsoft.com/office/drawing/2014/main" id="{F58403BF-2302-4726-985B-EDA0C69E1FA1}"/>
                </a:ext>
              </a:extLst>
            </p:cNvPr>
            <p:cNvSpPr/>
            <p:nvPr/>
          </p:nvSpPr>
          <p:spPr>
            <a:xfrm rot="8716295">
              <a:off x="-69806" y="4587027"/>
              <a:ext cx="183810" cy="187594"/>
            </a:xfrm>
            <a:custGeom>
              <a:avLst/>
              <a:gdLst>
                <a:gd name="connsiteX0" fmla="*/ 10574 w 183810"/>
                <a:gd name="connsiteY0" fmla="*/ 187594 h 187594"/>
                <a:gd name="connsiteX1" fmla="*/ 0 w 183810"/>
                <a:gd name="connsiteY1" fmla="*/ 172952 h 187594"/>
                <a:gd name="connsiteX2" fmla="*/ 183810 w 183810"/>
                <a:gd name="connsiteY2" fmla="*/ 0 h 187594"/>
                <a:gd name="connsiteX3" fmla="*/ 72284 w 183810"/>
                <a:gd name="connsiteY3" fmla="*/ 160894 h 187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810" h="187594">
                  <a:moveTo>
                    <a:pt x="10574" y="187594"/>
                  </a:moveTo>
                  <a:lnTo>
                    <a:pt x="0" y="172952"/>
                  </a:lnTo>
                  <a:lnTo>
                    <a:pt x="183810" y="0"/>
                  </a:lnTo>
                  <a:lnTo>
                    <a:pt x="72284" y="1608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0" name="Forme libre : forme 579">
              <a:extLst>
                <a:ext uri="{FF2B5EF4-FFF2-40B4-BE49-F238E27FC236}">
                  <a16:creationId xmlns:a16="http://schemas.microsoft.com/office/drawing/2014/main" id="{BDEDB1D6-CD3F-4286-9F37-FC31932639CB}"/>
                </a:ext>
              </a:extLst>
            </p:cNvPr>
            <p:cNvSpPr/>
            <p:nvPr/>
          </p:nvSpPr>
          <p:spPr>
            <a:xfrm rot="8716295">
              <a:off x="4450621" y="307495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1" name="Forme libre : forme 580">
              <a:extLst>
                <a:ext uri="{FF2B5EF4-FFF2-40B4-BE49-F238E27FC236}">
                  <a16:creationId xmlns:a16="http://schemas.microsoft.com/office/drawing/2014/main" id="{4AAFF489-2EF8-4A1D-A5BE-9FFA1F256B78}"/>
                </a:ext>
              </a:extLst>
            </p:cNvPr>
            <p:cNvSpPr/>
            <p:nvPr/>
          </p:nvSpPr>
          <p:spPr>
            <a:xfrm rot="8716295">
              <a:off x="4585920" y="3119209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2" name="Forme libre : forme 581">
              <a:extLst>
                <a:ext uri="{FF2B5EF4-FFF2-40B4-BE49-F238E27FC236}">
                  <a16:creationId xmlns:a16="http://schemas.microsoft.com/office/drawing/2014/main" id="{08C5AAF3-2EAB-4F45-9664-88E9C0000541}"/>
                </a:ext>
              </a:extLst>
            </p:cNvPr>
            <p:cNvSpPr/>
            <p:nvPr/>
          </p:nvSpPr>
          <p:spPr>
            <a:xfrm rot="8716295">
              <a:off x="4518038" y="2988621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3" name="Forme libre : forme 582">
              <a:extLst>
                <a:ext uri="{FF2B5EF4-FFF2-40B4-BE49-F238E27FC236}">
                  <a16:creationId xmlns:a16="http://schemas.microsoft.com/office/drawing/2014/main" id="{638603A9-A80C-466B-8956-7709A279FB5A}"/>
                </a:ext>
              </a:extLst>
            </p:cNvPr>
            <p:cNvSpPr/>
            <p:nvPr/>
          </p:nvSpPr>
          <p:spPr>
            <a:xfrm rot="8716295">
              <a:off x="4280750" y="3208965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4" name="Forme libre : forme 583">
              <a:extLst>
                <a:ext uri="{FF2B5EF4-FFF2-40B4-BE49-F238E27FC236}">
                  <a16:creationId xmlns:a16="http://schemas.microsoft.com/office/drawing/2014/main" id="{A8E33E04-89D6-4F98-BAEF-EDE8630206B1}"/>
                </a:ext>
              </a:extLst>
            </p:cNvPr>
            <p:cNvSpPr/>
            <p:nvPr/>
          </p:nvSpPr>
          <p:spPr>
            <a:xfrm rot="8716295">
              <a:off x="4091704" y="289313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5" name="Forme libre : forme 584">
              <a:extLst>
                <a:ext uri="{FF2B5EF4-FFF2-40B4-BE49-F238E27FC236}">
                  <a16:creationId xmlns:a16="http://schemas.microsoft.com/office/drawing/2014/main" id="{A7666627-38C9-4B80-8E99-5407F0D530DB}"/>
                </a:ext>
              </a:extLst>
            </p:cNvPr>
            <p:cNvSpPr/>
            <p:nvPr/>
          </p:nvSpPr>
          <p:spPr>
            <a:xfrm rot="8716295">
              <a:off x="4073463" y="2683080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6" name="Forme libre : forme 585">
              <a:extLst>
                <a:ext uri="{FF2B5EF4-FFF2-40B4-BE49-F238E27FC236}">
                  <a16:creationId xmlns:a16="http://schemas.microsoft.com/office/drawing/2014/main" id="{898A3276-9FA7-4E65-A5A0-224B87B17902}"/>
                </a:ext>
              </a:extLst>
            </p:cNvPr>
            <p:cNvSpPr/>
            <p:nvPr/>
          </p:nvSpPr>
          <p:spPr>
            <a:xfrm rot="8716295">
              <a:off x="4417239" y="327094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7" name="Forme libre : forme 586">
              <a:extLst>
                <a:ext uri="{FF2B5EF4-FFF2-40B4-BE49-F238E27FC236}">
                  <a16:creationId xmlns:a16="http://schemas.microsoft.com/office/drawing/2014/main" id="{CF0A1147-FB9D-46F4-871B-248D48678B41}"/>
                </a:ext>
              </a:extLst>
            </p:cNvPr>
            <p:cNvSpPr/>
            <p:nvPr/>
          </p:nvSpPr>
          <p:spPr>
            <a:xfrm rot="8716295">
              <a:off x="4888185" y="2696334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8" name="Forme libre : forme 587">
              <a:extLst>
                <a:ext uri="{FF2B5EF4-FFF2-40B4-BE49-F238E27FC236}">
                  <a16:creationId xmlns:a16="http://schemas.microsoft.com/office/drawing/2014/main" id="{6D3AA320-C4A1-450B-B139-FAA6B857C782}"/>
                </a:ext>
              </a:extLst>
            </p:cNvPr>
            <p:cNvSpPr/>
            <p:nvPr/>
          </p:nvSpPr>
          <p:spPr>
            <a:xfrm rot="8716295">
              <a:off x="5023484" y="2740593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9" name="Forme libre : forme 588">
              <a:extLst>
                <a:ext uri="{FF2B5EF4-FFF2-40B4-BE49-F238E27FC236}">
                  <a16:creationId xmlns:a16="http://schemas.microsoft.com/office/drawing/2014/main" id="{2F150BFB-64B1-4976-855B-5F1B82B29D1E}"/>
                </a:ext>
              </a:extLst>
            </p:cNvPr>
            <p:cNvSpPr/>
            <p:nvPr/>
          </p:nvSpPr>
          <p:spPr>
            <a:xfrm rot="8716295">
              <a:off x="4718314" y="283034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0" name="Forme libre : forme 589">
              <a:extLst>
                <a:ext uri="{FF2B5EF4-FFF2-40B4-BE49-F238E27FC236}">
                  <a16:creationId xmlns:a16="http://schemas.microsoft.com/office/drawing/2014/main" id="{8612B4F0-1F44-4CE1-88B9-E057888AB1EF}"/>
                </a:ext>
              </a:extLst>
            </p:cNvPr>
            <p:cNvSpPr/>
            <p:nvPr/>
          </p:nvSpPr>
          <p:spPr>
            <a:xfrm rot="8716295">
              <a:off x="4529270" y="251451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1" name="Forme libre : forme 590">
              <a:extLst>
                <a:ext uri="{FF2B5EF4-FFF2-40B4-BE49-F238E27FC236}">
                  <a16:creationId xmlns:a16="http://schemas.microsoft.com/office/drawing/2014/main" id="{AEBD3D06-0DA7-425C-875C-E411E70FF11D}"/>
                </a:ext>
              </a:extLst>
            </p:cNvPr>
            <p:cNvSpPr/>
            <p:nvPr/>
          </p:nvSpPr>
          <p:spPr>
            <a:xfrm rot="8716295">
              <a:off x="4854803" y="2892332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2" name="Forme libre : forme 591">
              <a:extLst>
                <a:ext uri="{FF2B5EF4-FFF2-40B4-BE49-F238E27FC236}">
                  <a16:creationId xmlns:a16="http://schemas.microsoft.com/office/drawing/2014/main" id="{9199237A-0E56-4FAF-BB9D-EF00685C58E3}"/>
                </a:ext>
              </a:extLst>
            </p:cNvPr>
            <p:cNvSpPr/>
            <p:nvPr/>
          </p:nvSpPr>
          <p:spPr>
            <a:xfrm rot="8716295">
              <a:off x="4489356" y="2665906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3" name="Forme libre : forme 592">
              <a:extLst>
                <a:ext uri="{FF2B5EF4-FFF2-40B4-BE49-F238E27FC236}">
                  <a16:creationId xmlns:a16="http://schemas.microsoft.com/office/drawing/2014/main" id="{E963605C-F6B8-4C5B-92E3-0FAFE8235053}"/>
                </a:ext>
              </a:extLst>
            </p:cNvPr>
            <p:cNvSpPr/>
            <p:nvPr/>
          </p:nvSpPr>
          <p:spPr>
            <a:xfrm rot="7484129">
              <a:off x="5013620" y="318195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4" name="Forme libre : forme 593">
              <a:extLst>
                <a:ext uri="{FF2B5EF4-FFF2-40B4-BE49-F238E27FC236}">
                  <a16:creationId xmlns:a16="http://schemas.microsoft.com/office/drawing/2014/main" id="{1392E43B-D559-4A8D-AB98-72C488E4E1E8}"/>
                </a:ext>
              </a:extLst>
            </p:cNvPr>
            <p:cNvSpPr/>
            <p:nvPr/>
          </p:nvSpPr>
          <p:spPr>
            <a:xfrm rot="13089394">
              <a:off x="5172270" y="3131298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5" name="Forme libre : forme 594">
              <a:extLst>
                <a:ext uri="{FF2B5EF4-FFF2-40B4-BE49-F238E27FC236}">
                  <a16:creationId xmlns:a16="http://schemas.microsoft.com/office/drawing/2014/main" id="{EB748E85-117E-4407-87DE-3644DEF09573}"/>
                </a:ext>
              </a:extLst>
            </p:cNvPr>
            <p:cNvSpPr/>
            <p:nvPr/>
          </p:nvSpPr>
          <p:spPr>
            <a:xfrm rot="8716295">
              <a:off x="5453161" y="2841180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6" name="Forme libre : forme 595">
              <a:extLst>
                <a:ext uri="{FF2B5EF4-FFF2-40B4-BE49-F238E27FC236}">
                  <a16:creationId xmlns:a16="http://schemas.microsoft.com/office/drawing/2014/main" id="{22573B7D-D596-4F8E-9E39-A045BCC2CF63}"/>
                </a:ext>
              </a:extLst>
            </p:cNvPr>
            <p:cNvSpPr/>
            <p:nvPr/>
          </p:nvSpPr>
          <p:spPr>
            <a:xfrm rot="8716295">
              <a:off x="5374752" y="268438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7" name="Forme libre : forme 596">
              <a:extLst>
                <a:ext uri="{FF2B5EF4-FFF2-40B4-BE49-F238E27FC236}">
                  <a16:creationId xmlns:a16="http://schemas.microsoft.com/office/drawing/2014/main" id="{4677ED04-0D7E-49F5-B71E-0D622A62ADD4}"/>
                </a:ext>
              </a:extLst>
            </p:cNvPr>
            <p:cNvSpPr/>
            <p:nvPr/>
          </p:nvSpPr>
          <p:spPr>
            <a:xfrm rot="8716295">
              <a:off x="5006588" y="273012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8" name="Forme libre : forme 597">
              <a:extLst>
                <a:ext uri="{FF2B5EF4-FFF2-40B4-BE49-F238E27FC236}">
                  <a16:creationId xmlns:a16="http://schemas.microsoft.com/office/drawing/2014/main" id="{D2F582D4-EF44-4379-A334-2FAC2AC458E7}"/>
                </a:ext>
              </a:extLst>
            </p:cNvPr>
            <p:cNvSpPr/>
            <p:nvPr/>
          </p:nvSpPr>
          <p:spPr>
            <a:xfrm rot="8716295">
              <a:off x="5275170" y="2489109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9" name="Forme libre : forme 598">
              <a:extLst>
                <a:ext uri="{FF2B5EF4-FFF2-40B4-BE49-F238E27FC236}">
                  <a16:creationId xmlns:a16="http://schemas.microsoft.com/office/drawing/2014/main" id="{84900379-879C-4E94-8EC3-3B7984623CAD}"/>
                </a:ext>
              </a:extLst>
            </p:cNvPr>
            <p:cNvSpPr/>
            <p:nvPr/>
          </p:nvSpPr>
          <p:spPr>
            <a:xfrm rot="8716295">
              <a:off x="4788394" y="407343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0" name="Forme libre : forme 599">
              <a:extLst>
                <a:ext uri="{FF2B5EF4-FFF2-40B4-BE49-F238E27FC236}">
                  <a16:creationId xmlns:a16="http://schemas.microsoft.com/office/drawing/2014/main" id="{4DC88A19-D799-4F8F-A66E-7F483954A8CF}"/>
                </a:ext>
              </a:extLst>
            </p:cNvPr>
            <p:cNvSpPr/>
            <p:nvPr/>
          </p:nvSpPr>
          <p:spPr>
            <a:xfrm rot="8716295">
              <a:off x="4923693" y="411769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1" name="Forme libre : forme 600">
              <a:extLst>
                <a:ext uri="{FF2B5EF4-FFF2-40B4-BE49-F238E27FC236}">
                  <a16:creationId xmlns:a16="http://schemas.microsoft.com/office/drawing/2014/main" id="{CC17534A-6773-4440-8E50-D7605DA4316B}"/>
                </a:ext>
              </a:extLst>
            </p:cNvPr>
            <p:cNvSpPr/>
            <p:nvPr/>
          </p:nvSpPr>
          <p:spPr>
            <a:xfrm rot="8716295">
              <a:off x="4855811" y="3987104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2" name="Forme libre : forme 601">
              <a:extLst>
                <a:ext uri="{FF2B5EF4-FFF2-40B4-BE49-F238E27FC236}">
                  <a16:creationId xmlns:a16="http://schemas.microsoft.com/office/drawing/2014/main" id="{72B2A07E-B506-443A-AB4D-FF9B71599735}"/>
                </a:ext>
              </a:extLst>
            </p:cNvPr>
            <p:cNvSpPr/>
            <p:nvPr/>
          </p:nvSpPr>
          <p:spPr>
            <a:xfrm rot="8716295">
              <a:off x="4618523" y="420744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3" name="Forme libre : forme 602">
              <a:extLst>
                <a:ext uri="{FF2B5EF4-FFF2-40B4-BE49-F238E27FC236}">
                  <a16:creationId xmlns:a16="http://schemas.microsoft.com/office/drawing/2014/main" id="{D19F9C0D-4352-499E-998A-34B9B0D7C7E9}"/>
                </a:ext>
              </a:extLst>
            </p:cNvPr>
            <p:cNvSpPr/>
            <p:nvPr/>
          </p:nvSpPr>
          <p:spPr>
            <a:xfrm rot="8716295">
              <a:off x="4429477" y="389161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4" name="Forme libre : forme 603">
              <a:extLst>
                <a:ext uri="{FF2B5EF4-FFF2-40B4-BE49-F238E27FC236}">
                  <a16:creationId xmlns:a16="http://schemas.microsoft.com/office/drawing/2014/main" id="{9C16ADD0-4CDE-43CE-BCE7-346E01482261}"/>
                </a:ext>
              </a:extLst>
            </p:cNvPr>
            <p:cNvSpPr/>
            <p:nvPr/>
          </p:nvSpPr>
          <p:spPr>
            <a:xfrm rot="8716295">
              <a:off x="4411236" y="3681563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5" name="Forme libre : forme 604">
              <a:extLst>
                <a:ext uri="{FF2B5EF4-FFF2-40B4-BE49-F238E27FC236}">
                  <a16:creationId xmlns:a16="http://schemas.microsoft.com/office/drawing/2014/main" id="{DF85051C-5928-4ACB-ABB6-0438F99C942D}"/>
                </a:ext>
              </a:extLst>
            </p:cNvPr>
            <p:cNvSpPr/>
            <p:nvPr/>
          </p:nvSpPr>
          <p:spPr>
            <a:xfrm rot="8716295">
              <a:off x="4755012" y="4269431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6" name="Forme libre : forme 605">
              <a:extLst>
                <a:ext uri="{FF2B5EF4-FFF2-40B4-BE49-F238E27FC236}">
                  <a16:creationId xmlns:a16="http://schemas.microsoft.com/office/drawing/2014/main" id="{8C93F37A-4AE0-46A6-B51D-241F87B310EC}"/>
                </a:ext>
              </a:extLst>
            </p:cNvPr>
            <p:cNvSpPr/>
            <p:nvPr/>
          </p:nvSpPr>
          <p:spPr>
            <a:xfrm rot="8716295">
              <a:off x="5225958" y="3694817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7" name="Forme libre : forme 606">
              <a:extLst>
                <a:ext uri="{FF2B5EF4-FFF2-40B4-BE49-F238E27FC236}">
                  <a16:creationId xmlns:a16="http://schemas.microsoft.com/office/drawing/2014/main" id="{D8EF92CC-16CE-4344-A7B3-112501178C1C}"/>
                </a:ext>
              </a:extLst>
            </p:cNvPr>
            <p:cNvSpPr/>
            <p:nvPr/>
          </p:nvSpPr>
          <p:spPr>
            <a:xfrm rot="8716295">
              <a:off x="5364349" y="3753375"/>
              <a:ext cx="325540" cy="385611"/>
            </a:xfrm>
            <a:custGeom>
              <a:avLst/>
              <a:gdLst>
                <a:gd name="connsiteX0" fmla="*/ 8983 w 325540"/>
                <a:gd name="connsiteY0" fmla="*/ 385611 h 385611"/>
                <a:gd name="connsiteX1" fmla="*/ 8983 w 325540"/>
                <a:gd name="connsiteY1" fmla="*/ 69053 h 385611"/>
                <a:gd name="connsiteX2" fmla="*/ 0 w 325540"/>
                <a:gd name="connsiteY2" fmla="*/ 69053 h 385611"/>
                <a:gd name="connsiteX3" fmla="*/ 55019 w 325540"/>
                <a:gd name="connsiteY3" fmla="*/ 2157 h 385611"/>
                <a:gd name="connsiteX4" fmla="*/ 89675 w 325540"/>
                <a:gd name="connsiteY4" fmla="*/ 2156 h 385611"/>
                <a:gd name="connsiteX5" fmla="*/ 89674 w 325540"/>
                <a:gd name="connsiteY5" fmla="*/ 113882 h 385611"/>
                <a:gd name="connsiteX6" fmla="*/ 91743 w 325540"/>
                <a:gd name="connsiteY6" fmla="*/ 113882 h 385611"/>
                <a:gd name="connsiteX7" fmla="*/ 164159 w 325540"/>
                <a:gd name="connsiteY7" fmla="*/ 9053 h 385611"/>
                <a:gd name="connsiteX8" fmla="*/ 211745 w 325540"/>
                <a:gd name="connsiteY8" fmla="*/ 87 h 385611"/>
                <a:gd name="connsiteX9" fmla="*/ 325540 w 325540"/>
                <a:gd name="connsiteY9" fmla="*/ 133882 h 385611"/>
                <a:gd name="connsiteX10" fmla="*/ 325540 w 325540"/>
                <a:gd name="connsiteY10" fmla="*/ 142848 h 385611"/>
                <a:gd name="connsiteX11" fmla="*/ 231746 w 325540"/>
                <a:gd name="connsiteY11" fmla="*/ 148366 h 385611"/>
                <a:gd name="connsiteX12" fmla="*/ 231746 w 325540"/>
                <a:gd name="connsiteY12" fmla="*/ 123538 h 385611"/>
                <a:gd name="connsiteX13" fmla="*/ 180710 w 325540"/>
                <a:gd name="connsiteY13" fmla="*/ 60778 h 385611"/>
                <a:gd name="connsiteX14" fmla="*/ 100020 w 325540"/>
                <a:gd name="connsiteY14" fmla="*/ 193194 h 385611"/>
                <a:gd name="connsiteX15" fmla="*/ 100020 w 325540"/>
                <a:gd name="connsiteY15" fmla="*/ 323541 h 385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5540" h="385611">
                  <a:moveTo>
                    <a:pt x="8983" y="385611"/>
                  </a:moveTo>
                  <a:lnTo>
                    <a:pt x="8983" y="69053"/>
                  </a:lnTo>
                  <a:lnTo>
                    <a:pt x="0" y="69053"/>
                  </a:lnTo>
                  <a:lnTo>
                    <a:pt x="55019" y="2157"/>
                  </a:lnTo>
                  <a:lnTo>
                    <a:pt x="89675" y="2156"/>
                  </a:lnTo>
                  <a:lnTo>
                    <a:pt x="89674" y="113882"/>
                  </a:lnTo>
                  <a:lnTo>
                    <a:pt x="91743" y="113882"/>
                  </a:lnTo>
                  <a:cubicBezTo>
                    <a:pt x="113813" y="48363"/>
                    <a:pt x="131055" y="22846"/>
                    <a:pt x="164159" y="9053"/>
                  </a:cubicBezTo>
                  <a:cubicBezTo>
                    <a:pt x="179331" y="2846"/>
                    <a:pt x="195193" y="-602"/>
                    <a:pt x="211745" y="87"/>
                  </a:cubicBezTo>
                  <a:cubicBezTo>
                    <a:pt x="282781" y="-1293"/>
                    <a:pt x="325540" y="48363"/>
                    <a:pt x="325540" y="133882"/>
                  </a:cubicBezTo>
                  <a:lnTo>
                    <a:pt x="325540" y="142848"/>
                  </a:lnTo>
                  <a:lnTo>
                    <a:pt x="231746" y="148366"/>
                  </a:lnTo>
                  <a:lnTo>
                    <a:pt x="231746" y="123538"/>
                  </a:lnTo>
                  <a:cubicBezTo>
                    <a:pt x="231746" y="86296"/>
                    <a:pt x="210367" y="60778"/>
                    <a:pt x="180710" y="60778"/>
                  </a:cubicBezTo>
                  <a:cubicBezTo>
                    <a:pt x="136572" y="60777"/>
                    <a:pt x="100020" y="119400"/>
                    <a:pt x="100020" y="193194"/>
                  </a:cubicBezTo>
                  <a:lnTo>
                    <a:pt x="100020" y="3235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8" name="Forme libre : forme 607">
              <a:extLst>
                <a:ext uri="{FF2B5EF4-FFF2-40B4-BE49-F238E27FC236}">
                  <a16:creationId xmlns:a16="http://schemas.microsoft.com/office/drawing/2014/main" id="{18839B14-F1F7-42D0-B065-28068F2B762B}"/>
                </a:ext>
              </a:extLst>
            </p:cNvPr>
            <p:cNvSpPr/>
            <p:nvPr/>
          </p:nvSpPr>
          <p:spPr>
            <a:xfrm rot="8716295">
              <a:off x="5056087" y="382883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9" name="Forme libre : forme 608">
              <a:extLst>
                <a:ext uri="{FF2B5EF4-FFF2-40B4-BE49-F238E27FC236}">
                  <a16:creationId xmlns:a16="http://schemas.microsoft.com/office/drawing/2014/main" id="{CCDA1945-4FFF-4C89-8478-EEDA05E07334}"/>
                </a:ext>
              </a:extLst>
            </p:cNvPr>
            <p:cNvSpPr/>
            <p:nvPr/>
          </p:nvSpPr>
          <p:spPr>
            <a:xfrm rot="8716295">
              <a:off x="4867043" y="351299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0" name="Forme libre : forme 609">
              <a:extLst>
                <a:ext uri="{FF2B5EF4-FFF2-40B4-BE49-F238E27FC236}">
                  <a16:creationId xmlns:a16="http://schemas.microsoft.com/office/drawing/2014/main" id="{62D52373-0C12-4466-A8A9-9FB4F9E50F37}"/>
                </a:ext>
              </a:extLst>
            </p:cNvPr>
            <p:cNvSpPr/>
            <p:nvPr/>
          </p:nvSpPr>
          <p:spPr>
            <a:xfrm rot="8716295">
              <a:off x="5192576" y="3890815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1" name="Forme libre : forme 610">
              <a:extLst>
                <a:ext uri="{FF2B5EF4-FFF2-40B4-BE49-F238E27FC236}">
                  <a16:creationId xmlns:a16="http://schemas.microsoft.com/office/drawing/2014/main" id="{9271E668-535D-45B8-BD34-6BB53627D632}"/>
                </a:ext>
              </a:extLst>
            </p:cNvPr>
            <p:cNvSpPr/>
            <p:nvPr/>
          </p:nvSpPr>
          <p:spPr>
            <a:xfrm rot="8716295">
              <a:off x="4827129" y="3664389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2" name="Forme libre : forme 611">
              <a:extLst>
                <a:ext uri="{FF2B5EF4-FFF2-40B4-BE49-F238E27FC236}">
                  <a16:creationId xmlns:a16="http://schemas.microsoft.com/office/drawing/2014/main" id="{68DD2D01-279E-4C98-9559-7C375E83C268}"/>
                </a:ext>
              </a:extLst>
            </p:cNvPr>
            <p:cNvSpPr/>
            <p:nvPr/>
          </p:nvSpPr>
          <p:spPr>
            <a:xfrm rot="7484129">
              <a:off x="5351393" y="418043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3" name="Forme libre : forme 612">
              <a:extLst>
                <a:ext uri="{FF2B5EF4-FFF2-40B4-BE49-F238E27FC236}">
                  <a16:creationId xmlns:a16="http://schemas.microsoft.com/office/drawing/2014/main" id="{4FF8E845-ABCD-4D75-BF78-6E50EC36768A}"/>
                </a:ext>
              </a:extLst>
            </p:cNvPr>
            <p:cNvSpPr/>
            <p:nvPr/>
          </p:nvSpPr>
          <p:spPr>
            <a:xfrm rot="13089394">
              <a:off x="5497067" y="4157639"/>
              <a:ext cx="336155" cy="433969"/>
            </a:xfrm>
            <a:custGeom>
              <a:avLst/>
              <a:gdLst>
                <a:gd name="connsiteX0" fmla="*/ 23241 w 222098"/>
                <a:gd name="connsiteY0" fmla="*/ 47275 h 286724"/>
                <a:gd name="connsiteX1" fmla="*/ 0 w 222098"/>
                <a:gd name="connsiteY1" fmla="*/ 11882 h 286724"/>
                <a:gd name="connsiteX2" fmla="*/ 22902 w 222098"/>
                <a:gd name="connsiteY2" fmla="*/ 0 h 286724"/>
                <a:gd name="connsiteX3" fmla="*/ 222098 w 222098"/>
                <a:gd name="connsiteY3" fmla="*/ 258238 h 286724"/>
                <a:gd name="connsiteX4" fmla="*/ 180472 w 222098"/>
                <a:gd name="connsiteY4" fmla="*/ 286724 h 286724"/>
                <a:gd name="connsiteX5" fmla="*/ 167667 w 222098"/>
                <a:gd name="connsiteY5" fmla="*/ 267224 h 286724"/>
                <a:gd name="connsiteX6" fmla="*/ 220995 w 222098"/>
                <a:gd name="connsiteY6" fmla="*/ 245547 h 286724"/>
                <a:gd name="connsiteX7" fmla="*/ 222098 w 222098"/>
                <a:gd name="connsiteY7" fmla="*/ 252720 h 286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2098" h="286724">
                  <a:moveTo>
                    <a:pt x="23241" y="47275"/>
                  </a:moveTo>
                  <a:lnTo>
                    <a:pt x="0" y="11882"/>
                  </a:lnTo>
                  <a:lnTo>
                    <a:pt x="22902" y="0"/>
                  </a:lnTo>
                  <a:close/>
                  <a:moveTo>
                    <a:pt x="222098" y="258238"/>
                  </a:moveTo>
                  <a:lnTo>
                    <a:pt x="180472" y="286724"/>
                  </a:lnTo>
                  <a:lnTo>
                    <a:pt x="167667" y="267224"/>
                  </a:lnTo>
                  <a:lnTo>
                    <a:pt x="220995" y="245547"/>
                  </a:lnTo>
                  <a:cubicBezTo>
                    <a:pt x="221546" y="247754"/>
                    <a:pt x="222098" y="250513"/>
                    <a:pt x="222098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4" name="Forme libre : forme 613">
              <a:extLst>
                <a:ext uri="{FF2B5EF4-FFF2-40B4-BE49-F238E27FC236}">
                  <a16:creationId xmlns:a16="http://schemas.microsoft.com/office/drawing/2014/main" id="{F78027CB-C390-4FC7-AC35-674EC7B9F409}"/>
                </a:ext>
              </a:extLst>
            </p:cNvPr>
            <p:cNvSpPr/>
            <p:nvPr/>
          </p:nvSpPr>
          <p:spPr>
            <a:xfrm rot="8716295">
              <a:off x="5689139" y="3701707"/>
              <a:ext cx="105382" cy="119090"/>
            </a:xfrm>
            <a:custGeom>
              <a:avLst/>
              <a:gdLst>
                <a:gd name="connsiteX0" fmla="*/ 0 w 69626"/>
                <a:gd name="connsiteY0" fmla="*/ 74288 h 78683"/>
                <a:gd name="connsiteX1" fmla="*/ 61446 w 69626"/>
                <a:gd name="connsiteY1" fmla="*/ 0 h 78683"/>
                <a:gd name="connsiteX2" fmla="*/ 69626 w 69626"/>
                <a:gd name="connsiteY2" fmla="*/ 19468 h 78683"/>
                <a:gd name="connsiteX3" fmla="*/ 52380 w 69626"/>
                <a:gd name="connsiteY3" fmla="*/ 61206 h 78683"/>
                <a:gd name="connsiteX4" fmla="*/ 10986 w 69626"/>
                <a:gd name="connsiteY4" fmla="*/ 78683 h 78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626" h="78683">
                  <a:moveTo>
                    <a:pt x="0" y="74288"/>
                  </a:moveTo>
                  <a:lnTo>
                    <a:pt x="61446" y="0"/>
                  </a:lnTo>
                  <a:lnTo>
                    <a:pt x="69626" y="19468"/>
                  </a:lnTo>
                  <a:cubicBezTo>
                    <a:pt x="69626" y="34531"/>
                    <a:pt x="63877" y="49708"/>
                    <a:pt x="52380" y="61206"/>
                  </a:cubicBezTo>
                  <a:cubicBezTo>
                    <a:pt x="41341" y="72244"/>
                    <a:pt x="26624" y="78683"/>
                    <a:pt x="10986" y="786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5" name="Forme libre : forme 614">
              <a:extLst>
                <a:ext uri="{FF2B5EF4-FFF2-40B4-BE49-F238E27FC236}">
                  <a16:creationId xmlns:a16="http://schemas.microsoft.com/office/drawing/2014/main" id="{CDCDCD36-D509-4E07-A579-1A4701D840AC}"/>
                </a:ext>
              </a:extLst>
            </p:cNvPr>
            <p:cNvSpPr/>
            <p:nvPr/>
          </p:nvSpPr>
          <p:spPr>
            <a:xfrm rot="8716295">
              <a:off x="5344361" y="372861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6" name="Forme libre : forme 615">
              <a:extLst>
                <a:ext uri="{FF2B5EF4-FFF2-40B4-BE49-F238E27FC236}">
                  <a16:creationId xmlns:a16="http://schemas.microsoft.com/office/drawing/2014/main" id="{8F810203-59B0-4DA5-A5DC-8690A9A9B005}"/>
                </a:ext>
              </a:extLst>
            </p:cNvPr>
            <p:cNvSpPr/>
            <p:nvPr/>
          </p:nvSpPr>
          <p:spPr>
            <a:xfrm rot="8716295">
              <a:off x="5599943" y="3480521"/>
              <a:ext cx="177855" cy="178203"/>
            </a:xfrm>
            <a:custGeom>
              <a:avLst/>
              <a:gdLst>
                <a:gd name="connsiteX0" fmla="*/ 17477 w 117509"/>
                <a:gd name="connsiteY0" fmla="*/ 101182 h 117739"/>
                <a:gd name="connsiteX1" fmla="*/ 0 w 117509"/>
                <a:gd name="connsiteY1" fmla="*/ 59790 h 117739"/>
                <a:gd name="connsiteX2" fmla="*/ 0 w 117509"/>
                <a:gd name="connsiteY2" fmla="*/ 58869 h 117739"/>
                <a:gd name="connsiteX3" fmla="*/ 2091 w 117509"/>
                <a:gd name="connsiteY3" fmla="*/ 48678 h 117739"/>
                <a:gd name="connsiteX4" fmla="*/ 38978 w 117509"/>
                <a:gd name="connsiteY4" fmla="*/ 4080 h 117739"/>
                <a:gd name="connsiteX5" fmla="*/ 58869 w 117509"/>
                <a:gd name="connsiteY5" fmla="*/ 0 h 117739"/>
                <a:gd name="connsiteX6" fmla="*/ 100263 w 117509"/>
                <a:gd name="connsiteY6" fmla="*/ 17477 h 117739"/>
                <a:gd name="connsiteX7" fmla="*/ 100263 w 117509"/>
                <a:gd name="connsiteY7" fmla="*/ 100262 h 117739"/>
                <a:gd name="connsiteX8" fmla="*/ 58869 w 117509"/>
                <a:gd name="connsiteY8" fmla="*/ 117739 h 117739"/>
                <a:gd name="connsiteX9" fmla="*/ 17477 w 117509"/>
                <a:gd name="connsiteY9" fmla="*/ 101182 h 117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09" h="117739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lnTo>
                    <a:pt x="2091" y="48678"/>
                  </a:lnTo>
                  <a:lnTo>
                    <a:pt x="38978" y="4080"/>
                  </a:lnTo>
                  <a:lnTo>
                    <a:pt x="58869" y="0"/>
                  </a:lnTo>
                  <a:cubicBezTo>
                    <a:pt x="74507" y="0"/>
                    <a:pt x="89224" y="6439"/>
                    <a:pt x="100263" y="17477"/>
                  </a:cubicBezTo>
                  <a:cubicBezTo>
                    <a:pt x="123258" y="39553"/>
                    <a:pt x="123258" y="77266"/>
                    <a:pt x="100263" y="100262"/>
                  </a:cubicBezTo>
                  <a:cubicBezTo>
                    <a:pt x="89224" y="111300"/>
                    <a:pt x="74507" y="117739"/>
                    <a:pt x="58869" y="117739"/>
                  </a:cubicBezTo>
                  <a:cubicBezTo>
                    <a:pt x="43233" y="117739"/>
                    <a:pt x="28515" y="112220"/>
                    <a:pt x="17477" y="10118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7" name="Forme libre : forme 616">
              <a:extLst>
                <a:ext uri="{FF2B5EF4-FFF2-40B4-BE49-F238E27FC236}">
                  <a16:creationId xmlns:a16="http://schemas.microsoft.com/office/drawing/2014/main" id="{B4D6BED0-10F3-4D86-8E3C-AFD0F7AE9965}"/>
                </a:ext>
              </a:extLst>
            </p:cNvPr>
            <p:cNvSpPr/>
            <p:nvPr/>
          </p:nvSpPr>
          <p:spPr>
            <a:xfrm rot="8716295">
              <a:off x="5090746" y="5117279"/>
              <a:ext cx="37096" cy="40385"/>
            </a:xfrm>
            <a:custGeom>
              <a:avLst/>
              <a:gdLst>
                <a:gd name="connsiteX0" fmla="*/ 0 w 37096"/>
                <a:gd name="connsiteY0" fmla="*/ 40385 h 40385"/>
                <a:gd name="connsiteX1" fmla="*/ 0 w 37096"/>
                <a:gd name="connsiteY1" fmla="*/ 0 h 40385"/>
                <a:gd name="connsiteX2" fmla="*/ 37096 w 37096"/>
                <a:gd name="connsiteY2" fmla="*/ 25713 h 40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096" h="40385">
                  <a:moveTo>
                    <a:pt x="0" y="40385"/>
                  </a:moveTo>
                  <a:lnTo>
                    <a:pt x="0" y="0"/>
                  </a:lnTo>
                  <a:lnTo>
                    <a:pt x="37096" y="2571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8" name="Forme libre : forme 617">
              <a:extLst>
                <a:ext uri="{FF2B5EF4-FFF2-40B4-BE49-F238E27FC236}">
                  <a16:creationId xmlns:a16="http://schemas.microsoft.com/office/drawing/2014/main" id="{0465DE69-E687-46E9-B069-E127CC514DB0}"/>
                </a:ext>
              </a:extLst>
            </p:cNvPr>
            <p:cNvSpPr/>
            <p:nvPr/>
          </p:nvSpPr>
          <p:spPr>
            <a:xfrm rot="8716295">
              <a:off x="5405706" y="5085046"/>
              <a:ext cx="60406" cy="83058"/>
            </a:xfrm>
            <a:custGeom>
              <a:avLst/>
              <a:gdLst>
                <a:gd name="connsiteX0" fmla="*/ 0 w 60406"/>
                <a:gd name="connsiteY0" fmla="*/ 83058 h 83058"/>
                <a:gd name="connsiteX1" fmla="*/ 0 w 60406"/>
                <a:gd name="connsiteY1" fmla="*/ 0 h 83058"/>
                <a:gd name="connsiteX2" fmla="*/ 60406 w 60406"/>
                <a:gd name="connsiteY2" fmla="*/ 41872 h 83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406" h="83058">
                  <a:moveTo>
                    <a:pt x="0" y="83058"/>
                  </a:moveTo>
                  <a:lnTo>
                    <a:pt x="0" y="0"/>
                  </a:lnTo>
                  <a:lnTo>
                    <a:pt x="60406" y="4187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9" name="Forme libre : forme 618">
              <a:extLst>
                <a:ext uri="{FF2B5EF4-FFF2-40B4-BE49-F238E27FC236}">
                  <a16:creationId xmlns:a16="http://schemas.microsoft.com/office/drawing/2014/main" id="{1225017D-5B5E-4D56-9AE0-45594E8EF6FF}"/>
                </a:ext>
              </a:extLst>
            </p:cNvPr>
            <p:cNvSpPr/>
            <p:nvPr/>
          </p:nvSpPr>
          <p:spPr>
            <a:xfrm rot="8716295">
              <a:off x="5207014" y="4975218"/>
              <a:ext cx="245211" cy="161994"/>
            </a:xfrm>
            <a:custGeom>
              <a:avLst/>
              <a:gdLst>
                <a:gd name="connsiteX0" fmla="*/ 8965 w 245211"/>
                <a:gd name="connsiteY0" fmla="*/ 161994 h 161994"/>
                <a:gd name="connsiteX1" fmla="*/ 0 w 245211"/>
                <a:gd name="connsiteY1" fmla="*/ 149580 h 161994"/>
                <a:gd name="connsiteX2" fmla="*/ 158971 w 245211"/>
                <a:gd name="connsiteY2" fmla="*/ 0 h 161994"/>
                <a:gd name="connsiteX3" fmla="*/ 245211 w 245211"/>
                <a:gd name="connsiteY3" fmla="*/ 59779 h 161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211" h="161994">
                  <a:moveTo>
                    <a:pt x="8965" y="161994"/>
                  </a:moveTo>
                  <a:lnTo>
                    <a:pt x="0" y="149580"/>
                  </a:lnTo>
                  <a:lnTo>
                    <a:pt x="158971" y="0"/>
                  </a:lnTo>
                  <a:lnTo>
                    <a:pt x="245211" y="5977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0" name="Forme libre : forme 619">
              <a:extLst>
                <a:ext uri="{FF2B5EF4-FFF2-40B4-BE49-F238E27FC236}">
                  <a16:creationId xmlns:a16="http://schemas.microsoft.com/office/drawing/2014/main" id="{AD260E0B-5D9F-4830-8DFF-9C5C4BD9CAC9}"/>
                </a:ext>
              </a:extLst>
            </p:cNvPr>
            <p:cNvSpPr/>
            <p:nvPr/>
          </p:nvSpPr>
          <p:spPr>
            <a:xfrm rot="8716295">
              <a:off x="4807372" y="4871188"/>
              <a:ext cx="249519" cy="296463"/>
            </a:xfrm>
            <a:custGeom>
              <a:avLst/>
              <a:gdLst>
                <a:gd name="connsiteX0" fmla="*/ 137293 w 249519"/>
                <a:gd name="connsiteY0" fmla="*/ 296463 h 296463"/>
                <a:gd name="connsiteX1" fmla="*/ 72418 w 249519"/>
                <a:gd name="connsiteY1" fmla="*/ 175766 h 296463"/>
                <a:gd name="connsiteX2" fmla="*/ 105610 w 249519"/>
                <a:gd name="connsiteY2" fmla="*/ 83734 h 296463"/>
                <a:gd name="connsiteX3" fmla="*/ 0 w 249519"/>
                <a:gd name="connsiteY3" fmla="*/ 83734 h 296463"/>
                <a:gd name="connsiteX4" fmla="*/ 0 w 249519"/>
                <a:gd name="connsiteY4" fmla="*/ 0 h 296463"/>
                <a:gd name="connsiteX5" fmla="*/ 128719 w 249519"/>
                <a:gd name="connsiteY5" fmla="*/ 0 h 296463"/>
                <a:gd name="connsiteX6" fmla="*/ 249519 w 249519"/>
                <a:gd name="connsiteY6" fmla="*/ 83734 h 296463"/>
                <a:gd name="connsiteX7" fmla="*/ 210465 w 249519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9519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128719" y="0"/>
                  </a:lnTo>
                  <a:lnTo>
                    <a:pt x="249519" y="83734"/>
                  </a:lnTo>
                  <a:lnTo>
                    <a:pt x="210465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1" name="Forme libre : forme 620">
              <a:extLst>
                <a:ext uri="{FF2B5EF4-FFF2-40B4-BE49-F238E27FC236}">
                  <a16:creationId xmlns:a16="http://schemas.microsoft.com/office/drawing/2014/main" id="{09F80257-FE3C-4D05-BA6D-6880C235959D}"/>
                </a:ext>
              </a:extLst>
            </p:cNvPr>
            <p:cNvSpPr/>
            <p:nvPr/>
          </p:nvSpPr>
          <p:spPr>
            <a:xfrm rot="8716295">
              <a:off x="4742203" y="467807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2" name="Forme libre : forme 621">
              <a:extLst>
                <a:ext uri="{FF2B5EF4-FFF2-40B4-BE49-F238E27FC236}">
                  <a16:creationId xmlns:a16="http://schemas.microsoft.com/office/drawing/2014/main" id="{3B04E0F0-2B8C-4F06-AF5E-7DEBDFF41168}"/>
                </a:ext>
              </a:extLst>
            </p:cNvPr>
            <p:cNvSpPr/>
            <p:nvPr/>
          </p:nvSpPr>
          <p:spPr>
            <a:xfrm rot="8716295">
              <a:off x="5548192" y="4732447"/>
              <a:ext cx="92415" cy="287093"/>
            </a:xfrm>
            <a:custGeom>
              <a:avLst/>
              <a:gdLst>
                <a:gd name="connsiteX0" fmla="*/ 0 w 61059"/>
                <a:gd name="connsiteY0" fmla="*/ 189683 h 189683"/>
                <a:gd name="connsiteX1" fmla="*/ 1 w 61059"/>
                <a:gd name="connsiteY1" fmla="*/ 70355 h 189683"/>
                <a:gd name="connsiteX2" fmla="*/ 58192 w 61059"/>
                <a:gd name="connsiteY2" fmla="*/ 0 h 189683"/>
                <a:gd name="connsiteX3" fmla="*/ 61059 w 61059"/>
                <a:gd name="connsiteY3" fmla="*/ 7418 h 189683"/>
                <a:gd name="connsiteX4" fmla="*/ 61059 w 61059"/>
                <a:gd name="connsiteY4" fmla="*/ 165533 h 189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59" h="189683">
                  <a:moveTo>
                    <a:pt x="0" y="189683"/>
                  </a:moveTo>
                  <a:lnTo>
                    <a:pt x="1" y="70355"/>
                  </a:lnTo>
                  <a:lnTo>
                    <a:pt x="58192" y="0"/>
                  </a:lnTo>
                  <a:lnTo>
                    <a:pt x="61059" y="7418"/>
                  </a:lnTo>
                  <a:lnTo>
                    <a:pt x="61059" y="1655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3" name="Forme libre : forme 622">
              <a:extLst>
                <a:ext uri="{FF2B5EF4-FFF2-40B4-BE49-F238E27FC236}">
                  <a16:creationId xmlns:a16="http://schemas.microsoft.com/office/drawing/2014/main" id="{E573200C-FAAB-40A5-A9EF-BD61E3F76A6C}"/>
                </a:ext>
              </a:extLst>
            </p:cNvPr>
            <p:cNvSpPr/>
            <p:nvPr/>
          </p:nvSpPr>
          <p:spPr>
            <a:xfrm rot="8716295">
              <a:off x="5387054" y="482534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4" name="Forme libre : forme 623">
              <a:extLst>
                <a:ext uri="{FF2B5EF4-FFF2-40B4-BE49-F238E27FC236}">
                  <a16:creationId xmlns:a16="http://schemas.microsoft.com/office/drawing/2014/main" id="{19C3230C-28AF-420E-9755-6F859DFAE8B6}"/>
                </a:ext>
              </a:extLst>
            </p:cNvPr>
            <p:cNvSpPr/>
            <p:nvPr/>
          </p:nvSpPr>
          <p:spPr>
            <a:xfrm rot="8716295">
              <a:off x="5198009" y="450950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5" name="Forme libre : forme 624">
              <a:extLst>
                <a:ext uri="{FF2B5EF4-FFF2-40B4-BE49-F238E27FC236}">
                  <a16:creationId xmlns:a16="http://schemas.microsoft.com/office/drawing/2014/main" id="{2E8CBA65-23E2-44CB-B992-A6497F02B6BB}"/>
                </a:ext>
              </a:extLst>
            </p:cNvPr>
            <p:cNvSpPr/>
            <p:nvPr/>
          </p:nvSpPr>
          <p:spPr>
            <a:xfrm rot="8716295">
              <a:off x="5503997" y="4913234"/>
              <a:ext cx="91035" cy="258752"/>
            </a:xfrm>
            <a:custGeom>
              <a:avLst/>
              <a:gdLst>
                <a:gd name="connsiteX0" fmla="*/ 91035 w 91035"/>
                <a:gd name="connsiteY0" fmla="*/ 258752 h 258752"/>
                <a:gd name="connsiteX1" fmla="*/ 0 w 91035"/>
                <a:gd name="connsiteY1" fmla="*/ 171163 h 258752"/>
                <a:gd name="connsiteX2" fmla="*/ 0 w 91035"/>
                <a:gd name="connsiteY2" fmla="*/ 43487 h 258752"/>
                <a:gd name="connsiteX3" fmla="*/ 35968 w 91035"/>
                <a:gd name="connsiteY3" fmla="*/ 0 h 258752"/>
                <a:gd name="connsiteX4" fmla="*/ 91035 w 91035"/>
                <a:gd name="connsiteY4" fmla="*/ 38170 h 258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035" h="258752">
                  <a:moveTo>
                    <a:pt x="91035" y="258752"/>
                  </a:moveTo>
                  <a:lnTo>
                    <a:pt x="0" y="171163"/>
                  </a:lnTo>
                  <a:lnTo>
                    <a:pt x="0" y="43487"/>
                  </a:lnTo>
                  <a:lnTo>
                    <a:pt x="35968" y="0"/>
                  </a:lnTo>
                  <a:lnTo>
                    <a:pt x="91035" y="3817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6" name="Forme libre : forme 625">
              <a:extLst>
                <a:ext uri="{FF2B5EF4-FFF2-40B4-BE49-F238E27FC236}">
                  <a16:creationId xmlns:a16="http://schemas.microsoft.com/office/drawing/2014/main" id="{B26AA3BD-AADA-4372-BD8D-21473C57A651}"/>
                </a:ext>
              </a:extLst>
            </p:cNvPr>
            <p:cNvSpPr/>
            <p:nvPr/>
          </p:nvSpPr>
          <p:spPr>
            <a:xfrm rot="8716295">
              <a:off x="5158096" y="466090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7" name="Forme libre : forme 626">
              <a:extLst>
                <a:ext uri="{FF2B5EF4-FFF2-40B4-BE49-F238E27FC236}">
                  <a16:creationId xmlns:a16="http://schemas.microsoft.com/office/drawing/2014/main" id="{547464F3-A56B-40EE-B7D7-F8D6AA7FE193}"/>
                </a:ext>
              </a:extLst>
            </p:cNvPr>
            <p:cNvSpPr/>
            <p:nvPr/>
          </p:nvSpPr>
          <p:spPr>
            <a:xfrm rot="8716295">
              <a:off x="4115344" y="2074537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8" name="Forme libre : forme 627">
              <a:extLst>
                <a:ext uri="{FF2B5EF4-FFF2-40B4-BE49-F238E27FC236}">
                  <a16:creationId xmlns:a16="http://schemas.microsoft.com/office/drawing/2014/main" id="{7B5D832C-BA75-4D29-B114-1E47C4BAE490}"/>
                </a:ext>
              </a:extLst>
            </p:cNvPr>
            <p:cNvSpPr/>
            <p:nvPr/>
          </p:nvSpPr>
          <p:spPr>
            <a:xfrm rot="8716295">
              <a:off x="4250643" y="2118796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9" name="Forme libre : forme 628">
              <a:extLst>
                <a:ext uri="{FF2B5EF4-FFF2-40B4-BE49-F238E27FC236}">
                  <a16:creationId xmlns:a16="http://schemas.microsoft.com/office/drawing/2014/main" id="{C64AC295-E4CE-44EE-A106-33EFFB41DEBE}"/>
                </a:ext>
              </a:extLst>
            </p:cNvPr>
            <p:cNvSpPr/>
            <p:nvPr/>
          </p:nvSpPr>
          <p:spPr>
            <a:xfrm rot="8716295">
              <a:off x="4182761" y="1988208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0" name="Forme libre : forme 629">
              <a:extLst>
                <a:ext uri="{FF2B5EF4-FFF2-40B4-BE49-F238E27FC236}">
                  <a16:creationId xmlns:a16="http://schemas.microsoft.com/office/drawing/2014/main" id="{FFA3ED08-9210-45D6-AA19-AFF70332BF0D}"/>
                </a:ext>
              </a:extLst>
            </p:cNvPr>
            <p:cNvSpPr/>
            <p:nvPr/>
          </p:nvSpPr>
          <p:spPr>
            <a:xfrm rot="8716295">
              <a:off x="3945473" y="220855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1" name="Forme libre : forme 630">
              <a:extLst>
                <a:ext uri="{FF2B5EF4-FFF2-40B4-BE49-F238E27FC236}">
                  <a16:creationId xmlns:a16="http://schemas.microsoft.com/office/drawing/2014/main" id="{211D7FA1-7CF8-4A2C-9624-5DB5F1253CA9}"/>
                </a:ext>
              </a:extLst>
            </p:cNvPr>
            <p:cNvSpPr/>
            <p:nvPr/>
          </p:nvSpPr>
          <p:spPr>
            <a:xfrm rot="8716295">
              <a:off x="3756427" y="189271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2" name="Forme libre : forme 631">
              <a:extLst>
                <a:ext uri="{FF2B5EF4-FFF2-40B4-BE49-F238E27FC236}">
                  <a16:creationId xmlns:a16="http://schemas.microsoft.com/office/drawing/2014/main" id="{ED1DCF33-40C8-4AEE-A0EE-4E241ABFAA91}"/>
                </a:ext>
              </a:extLst>
            </p:cNvPr>
            <p:cNvSpPr/>
            <p:nvPr/>
          </p:nvSpPr>
          <p:spPr>
            <a:xfrm rot="8716295">
              <a:off x="3738186" y="1682667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3" name="Forme libre : forme 632">
              <a:extLst>
                <a:ext uri="{FF2B5EF4-FFF2-40B4-BE49-F238E27FC236}">
                  <a16:creationId xmlns:a16="http://schemas.microsoft.com/office/drawing/2014/main" id="{1ED8E02A-9662-4C77-9CF8-F0AAAEDA7BF2}"/>
                </a:ext>
              </a:extLst>
            </p:cNvPr>
            <p:cNvSpPr/>
            <p:nvPr/>
          </p:nvSpPr>
          <p:spPr>
            <a:xfrm rot="8716295">
              <a:off x="4081962" y="2270535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4" name="Forme libre : forme 633">
              <a:extLst>
                <a:ext uri="{FF2B5EF4-FFF2-40B4-BE49-F238E27FC236}">
                  <a16:creationId xmlns:a16="http://schemas.microsoft.com/office/drawing/2014/main" id="{A5843512-5A07-4D47-96C0-9232DD1F4BAB}"/>
                </a:ext>
              </a:extLst>
            </p:cNvPr>
            <p:cNvSpPr/>
            <p:nvPr/>
          </p:nvSpPr>
          <p:spPr>
            <a:xfrm rot="8716295">
              <a:off x="4552908" y="169592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5" name="Forme libre : forme 634">
              <a:extLst>
                <a:ext uri="{FF2B5EF4-FFF2-40B4-BE49-F238E27FC236}">
                  <a16:creationId xmlns:a16="http://schemas.microsoft.com/office/drawing/2014/main" id="{4BB8EB0B-0F5A-4424-9318-733305CE126F}"/>
                </a:ext>
              </a:extLst>
            </p:cNvPr>
            <p:cNvSpPr/>
            <p:nvPr/>
          </p:nvSpPr>
          <p:spPr>
            <a:xfrm rot="8716295">
              <a:off x="4688207" y="174018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6" name="Forme libre : forme 635">
              <a:extLst>
                <a:ext uri="{FF2B5EF4-FFF2-40B4-BE49-F238E27FC236}">
                  <a16:creationId xmlns:a16="http://schemas.microsoft.com/office/drawing/2014/main" id="{EA2371B2-61DB-41BD-8EEA-A15B3FCB5FA9}"/>
                </a:ext>
              </a:extLst>
            </p:cNvPr>
            <p:cNvSpPr/>
            <p:nvPr/>
          </p:nvSpPr>
          <p:spPr>
            <a:xfrm rot="8716295">
              <a:off x="4383037" y="182993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7" name="Forme libre : forme 636">
              <a:extLst>
                <a:ext uri="{FF2B5EF4-FFF2-40B4-BE49-F238E27FC236}">
                  <a16:creationId xmlns:a16="http://schemas.microsoft.com/office/drawing/2014/main" id="{DA3AACAC-02B1-4FFC-A740-5475BDA0481C}"/>
                </a:ext>
              </a:extLst>
            </p:cNvPr>
            <p:cNvSpPr/>
            <p:nvPr/>
          </p:nvSpPr>
          <p:spPr>
            <a:xfrm rot="8716295">
              <a:off x="4193993" y="151410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8" name="Forme libre : forme 637">
              <a:extLst>
                <a:ext uri="{FF2B5EF4-FFF2-40B4-BE49-F238E27FC236}">
                  <a16:creationId xmlns:a16="http://schemas.microsoft.com/office/drawing/2014/main" id="{6A599191-FCF8-4596-88EE-55466D58320A}"/>
                </a:ext>
              </a:extLst>
            </p:cNvPr>
            <p:cNvSpPr/>
            <p:nvPr/>
          </p:nvSpPr>
          <p:spPr>
            <a:xfrm rot="8716295">
              <a:off x="4519525" y="1891919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9" name="Forme libre : forme 638">
              <a:extLst>
                <a:ext uri="{FF2B5EF4-FFF2-40B4-BE49-F238E27FC236}">
                  <a16:creationId xmlns:a16="http://schemas.microsoft.com/office/drawing/2014/main" id="{C2F74711-1315-40B4-BC17-926C1214DB54}"/>
                </a:ext>
              </a:extLst>
            </p:cNvPr>
            <p:cNvSpPr/>
            <p:nvPr/>
          </p:nvSpPr>
          <p:spPr>
            <a:xfrm rot="8716295">
              <a:off x="4154079" y="1665493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0" name="Forme libre : forme 639">
              <a:extLst>
                <a:ext uri="{FF2B5EF4-FFF2-40B4-BE49-F238E27FC236}">
                  <a16:creationId xmlns:a16="http://schemas.microsoft.com/office/drawing/2014/main" id="{D2AC2D0A-CAB8-4F27-AF57-67EBA74287A6}"/>
                </a:ext>
              </a:extLst>
            </p:cNvPr>
            <p:cNvSpPr/>
            <p:nvPr/>
          </p:nvSpPr>
          <p:spPr>
            <a:xfrm rot="7484129">
              <a:off x="4678343" y="218153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1" name="Forme libre : forme 640">
              <a:extLst>
                <a:ext uri="{FF2B5EF4-FFF2-40B4-BE49-F238E27FC236}">
                  <a16:creationId xmlns:a16="http://schemas.microsoft.com/office/drawing/2014/main" id="{E725B9A6-4A92-4445-9859-68BC43835400}"/>
                </a:ext>
              </a:extLst>
            </p:cNvPr>
            <p:cNvSpPr/>
            <p:nvPr/>
          </p:nvSpPr>
          <p:spPr>
            <a:xfrm rot="13089394">
              <a:off x="4836993" y="2130885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2" name="Forme libre : forme 641">
              <a:extLst>
                <a:ext uri="{FF2B5EF4-FFF2-40B4-BE49-F238E27FC236}">
                  <a16:creationId xmlns:a16="http://schemas.microsoft.com/office/drawing/2014/main" id="{7C076520-7FB2-4FC1-9D9B-18E7CCBFD41C}"/>
                </a:ext>
              </a:extLst>
            </p:cNvPr>
            <p:cNvSpPr/>
            <p:nvPr/>
          </p:nvSpPr>
          <p:spPr>
            <a:xfrm rot="8716295">
              <a:off x="5117884" y="1840767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3" name="Forme libre : forme 642">
              <a:extLst>
                <a:ext uri="{FF2B5EF4-FFF2-40B4-BE49-F238E27FC236}">
                  <a16:creationId xmlns:a16="http://schemas.microsoft.com/office/drawing/2014/main" id="{43D28BDB-F985-40C3-8623-0F5EBBCEA04D}"/>
                </a:ext>
              </a:extLst>
            </p:cNvPr>
            <p:cNvSpPr/>
            <p:nvPr/>
          </p:nvSpPr>
          <p:spPr>
            <a:xfrm rot="8716295">
              <a:off x="5039475" y="1683975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4" name="Forme libre : forme 643">
              <a:extLst>
                <a:ext uri="{FF2B5EF4-FFF2-40B4-BE49-F238E27FC236}">
                  <a16:creationId xmlns:a16="http://schemas.microsoft.com/office/drawing/2014/main" id="{94CC3131-BEE6-4558-87A2-311D6D4A02F7}"/>
                </a:ext>
              </a:extLst>
            </p:cNvPr>
            <p:cNvSpPr/>
            <p:nvPr/>
          </p:nvSpPr>
          <p:spPr>
            <a:xfrm rot="8716295">
              <a:off x="4671311" y="172971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5" name="Forme libre : forme 644">
              <a:extLst>
                <a:ext uri="{FF2B5EF4-FFF2-40B4-BE49-F238E27FC236}">
                  <a16:creationId xmlns:a16="http://schemas.microsoft.com/office/drawing/2014/main" id="{4E2DFEBE-3426-4677-92D1-1024B4DE927D}"/>
                </a:ext>
              </a:extLst>
            </p:cNvPr>
            <p:cNvSpPr/>
            <p:nvPr/>
          </p:nvSpPr>
          <p:spPr>
            <a:xfrm rot="8716295">
              <a:off x="4939893" y="148869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6" name="Forme libre : forme 645">
              <a:extLst>
                <a:ext uri="{FF2B5EF4-FFF2-40B4-BE49-F238E27FC236}">
                  <a16:creationId xmlns:a16="http://schemas.microsoft.com/office/drawing/2014/main" id="{4081BB24-256C-4F4B-9A6F-DFCDC854E455}"/>
                </a:ext>
              </a:extLst>
            </p:cNvPr>
            <p:cNvSpPr/>
            <p:nvPr/>
          </p:nvSpPr>
          <p:spPr>
            <a:xfrm rot="8716295">
              <a:off x="3777571" y="1076054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7" name="Forme libre : forme 646">
              <a:extLst>
                <a:ext uri="{FF2B5EF4-FFF2-40B4-BE49-F238E27FC236}">
                  <a16:creationId xmlns:a16="http://schemas.microsoft.com/office/drawing/2014/main" id="{AC1A7255-5142-49FD-A5EF-06FB37B43ABB}"/>
                </a:ext>
              </a:extLst>
            </p:cNvPr>
            <p:cNvSpPr/>
            <p:nvPr/>
          </p:nvSpPr>
          <p:spPr>
            <a:xfrm rot="8716295">
              <a:off x="3912870" y="1120313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8" name="Forme libre : forme 647">
              <a:extLst>
                <a:ext uri="{FF2B5EF4-FFF2-40B4-BE49-F238E27FC236}">
                  <a16:creationId xmlns:a16="http://schemas.microsoft.com/office/drawing/2014/main" id="{919DC854-1FBE-4BD6-B8D9-CFB434F98A7C}"/>
                </a:ext>
              </a:extLst>
            </p:cNvPr>
            <p:cNvSpPr/>
            <p:nvPr/>
          </p:nvSpPr>
          <p:spPr>
            <a:xfrm rot="8716295">
              <a:off x="3844988" y="989725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9" name="Forme libre : forme 648">
              <a:extLst>
                <a:ext uri="{FF2B5EF4-FFF2-40B4-BE49-F238E27FC236}">
                  <a16:creationId xmlns:a16="http://schemas.microsoft.com/office/drawing/2014/main" id="{49BA536C-15FC-4479-BC63-4330EBFC747C}"/>
                </a:ext>
              </a:extLst>
            </p:cNvPr>
            <p:cNvSpPr/>
            <p:nvPr/>
          </p:nvSpPr>
          <p:spPr>
            <a:xfrm rot="8716295">
              <a:off x="3607700" y="121006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0" name="Forme libre : forme 649">
              <a:extLst>
                <a:ext uri="{FF2B5EF4-FFF2-40B4-BE49-F238E27FC236}">
                  <a16:creationId xmlns:a16="http://schemas.microsoft.com/office/drawing/2014/main" id="{1EA376EA-CA36-4368-817C-E5E9817AD15D}"/>
                </a:ext>
              </a:extLst>
            </p:cNvPr>
            <p:cNvSpPr/>
            <p:nvPr/>
          </p:nvSpPr>
          <p:spPr>
            <a:xfrm rot="8716295">
              <a:off x="3418654" y="89423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1" name="Forme libre : forme 650">
              <a:extLst>
                <a:ext uri="{FF2B5EF4-FFF2-40B4-BE49-F238E27FC236}">
                  <a16:creationId xmlns:a16="http://schemas.microsoft.com/office/drawing/2014/main" id="{5E0794DE-9E5D-40F3-81B1-459355C8C354}"/>
                </a:ext>
              </a:extLst>
            </p:cNvPr>
            <p:cNvSpPr/>
            <p:nvPr/>
          </p:nvSpPr>
          <p:spPr>
            <a:xfrm rot="8716295">
              <a:off x="3400413" y="68418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2" name="Forme libre : forme 651">
              <a:extLst>
                <a:ext uri="{FF2B5EF4-FFF2-40B4-BE49-F238E27FC236}">
                  <a16:creationId xmlns:a16="http://schemas.microsoft.com/office/drawing/2014/main" id="{4B1EE519-963B-4DDE-8BB5-AFD17A3ACDDB}"/>
                </a:ext>
              </a:extLst>
            </p:cNvPr>
            <p:cNvSpPr/>
            <p:nvPr/>
          </p:nvSpPr>
          <p:spPr>
            <a:xfrm rot="8716295">
              <a:off x="3744189" y="1272052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3" name="Forme libre : forme 652">
              <a:extLst>
                <a:ext uri="{FF2B5EF4-FFF2-40B4-BE49-F238E27FC236}">
                  <a16:creationId xmlns:a16="http://schemas.microsoft.com/office/drawing/2014/main" id="{843B2CBD-6604-4C65-9A88-6BD15A621379}"/>
                </a:ext>
              </a:extLst>
            </p:cNvPr>
            <p:cNvSpPr/>
            <p:nvPr/>
          </p:nvSpPr>
          <p:spPr>
            <a:xfrm rot="8716295">
              <a:off x="4215135" y="69743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4" name="Forme libre : forme 653">
              <a:extLst>
                <a:ext uri="{FF2B5EF4-FFF2-40B4-BE49-F238E27FC236}">
                  <a16:creationId xmlns:a16="http://schemas.microsoft.com/office/drawing/2014/main" id="{04086C4C-0CCF-4C9C-8E36-431E5C44E1D5}"/>
                </a:ext>
              </a:extLst>
            </p:cNvPr>
            <p:cNvSpPr/>
            <p:nvPr/>
          </p:nvSpPr>
          <p:spPr>
            <a:xfrm rot="8716295">
              <a:off x="4350434" y="74169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5" name="Forme libre : forme 654">
              <a:extLst>
                <a:ext uri="{FF2B5EF4-FFF2-40B4-BE49-F238E27FC236}">
                  <a16:creationId xmlns:a16="http://schemas.microsoft.com/office/drawing/2014/main" id="{F3DB09AD-8322-4A1E-B882-3AB7A06EFC3E}"/>
                </a:ext>
              </a:extLst>
            </p:cNvPr>
            <p:cNvSpPr/>
            <p:nvPr/>
          </p:nvSpPr>
          <p:spPr>
            <a:xfrm rot="8716295">
              <a:off x="4045264" y="83145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6" name="Forme libre : forme 655">
              <a:extLst>
                <a:ext uri="{FF2B5EF4-FFF2-40B4-BE49-F238E27FC236}">
                  <a16:creationId xmlns:a16="http://schemas.microsoft.com/office/drawing/2014/main" id="{F3E1347F-AB08-4E88-8553-2C3259820F53}"/>
                </a:ext>
              </a:extLst>
            </p:cNvPr>
            <p:cNvSpPr/>
            <p:nvPr/>
          </p:nvSpPr>
          <p:spPr>
            <a:xfrm rot="8716295">
              <a:off x="3856220" y="51561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7" name="Forme libre : forme 656">
              <a:extLst>
                <a:ext uri="{FF2B5EF4-FFF2-40B4-BE49-F238E27FC236}">
                  <a16:creationId xmlns:a16="http://schemas.microsoft.com/office/drawing/2014/main" id="{37C0E351-F531-4AFA-9B5B-9FA1F4DA382D}"/>
                </a:ext>
              </a:extLst>
            </p:cNvPr>
            <p:cNvSpPr/>
            <p:nvPr/>
          </p:nvSpPr>
          <p:spPr>
            <a:xfrm rot="8716295">
              <a:off x="4181753" y="893436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8" name="Forme libre : forme 657">
              <a:extLst>
                <a:ext uri="{FF2B5EF4-FFF2-40B4-BE49-F238E27FC236}">
                  <a16:creationId xmlns:a16="http://schemas.microsoft.com/office/drawing/2014/main" id="{EAD233D4-FAEF-4359-9D80-A0C4EA0721BB}"/>
                </a:ext>
              </a:extLst>
            </p:cNvPr>
            <p:cNvSpPr/>
            <p:nvPr/>
          </p:nvSpPr>
          <p:spPr>
            <a:xfrm rot="8716295">
              <a:off x="3816306" y="66701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9" name="Forme libre : forme 658">
              <a:extLst>
                <a:ext uri="{FF2B5EF4-FFF2-40B4-BE49-F238E27FC236}">
                  <a16:creationId xmlns:a16="http://schemas.microsoft.com/office/drawing/2014/main" id="{4935AFB8-12C9-437A-A5F0-16D910596549}"/>
                </a:ext>
              </a:extLst>
            </p:cNvPr>
            <p:cNvSpPr/>
            <p:nvPr/>
          </p:nvSpPr>
          <p:spPr>
            <a:xfrm rot="7484129">
              <a:off x="4340570" y="118305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0" name="Forme libre : forme 659">
              <a:extLst>
                <a:ext uri="{FF2B5EF4-FFF2-40B4-BE49-F238E27FC236}">
                  <a16:creationId xmlns:a16="http://schemas.microsoft.com/office/drawing/2014/main" id="{60120E9A-5AF3-48E4-8013-AFB2DF22E98E}"/>
                </a:ext>
              </a:extLst>
            </p:cNvPr>
            <p:cNvSpPr/>
            <p:nvPr/>
          </p:nvSpPr>
          <p:spPr>
            <a:xfrm rot="13089394">
              <a:off x="4499220" y="1132402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1" name="Forme libre : forme 660">
              <a:extLst>
                <a:ext uri="{FF2B5EF4-FFF2-40B4-BE49-F238E27FC236}">
                  <a16:creationId xmlns:a16="http://schemas.microsoft.com/office/drawing/2014/main" id="{FADC80EF-D490-4090-83FB-CC043913DFB7}"/>
                </a:ext>
              </a:extLst>
            </p:cNvPr>
            <p:cNvSpPr/>
            <p:nvPr/>
          </p:nvSpPr>
          <p:spPr>
            <a:xfrm rot="8716295">
              <a:off x="4780111" y="842284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2" name="Forme libre : forme 661">
              <a:extLst>
                <a:ext uri="{FF2B5EF4-FFF2-40B4-BE49-F238E27FC236}">
                  <a16:creationId xmlns:a16="http://schemas.microsoft.com/office/drawing/2014/main" id="{54E99E4D-E8AE-4B8D-BD60-290E9CE34806}"/>
                </a:ext>
              </a:extLst>
            </p:cNvPr>
            <p:cNvSpPr/>
            <p:nvPr/>
          </p:nvSpPr>
          <p:spPr>
            <a:xfrm rot="8716295">
              <a:off x="4701702" y="68549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3" name="Forme libre : forme 662">
              <a:extLst>
                <a:ext uri="{FF2B5EF4-FFF2-40B4-BE49-F238E27FC236}">
                  <a16:creationId xmlns:a16="http://schemas.microsoft.com/office/drawing/2014/main" id="{0576F78A-7E96-4491-9B0E-F11A7E2D4FE9}"/>
                </a:ext>
              </a:extLst>
            </p:cNvPr>
            <p:cNvSpPr/>
            <p:nvPr/>
          </p:nvSpPr>
          <p:spPr>
            <a:xfrm rot="8716295">
              <a:off x="4333538" y="73123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4" name="Forme libre : forme 663">
              <a:extLst>
                <a:ext uri="{FF2B5EF4-FFF2-40B4-BE49-F238E27FC236}">
                  <a16:creationId xmlns:a16="http://schemas.microsoft.com/office/drawing/2014/main" id="{0C2E4D36-6AB6-46E1-94C2-74D996114D27}"/>
                </a:ext>
              </a:extLst>
            </p:cNvPr>
            <p:cNvSpPr/>
            <p:nvPr/>
          </p:nvSpPr>
          <p:spPr>
            <a:xfrm rot="8716295">
              <a:off x="4602120" y="49021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5" name="Forme libre : forme 664">
              <a:extLst>
                <a:ext uri="{FF2B5EF4-FFF2-40B4-BE49-F238E27FC236}">
                  <a16:creationId xmlns:a16="http://schemas.microsoft.com/office/drawing/2014/main" id="{F078AC73-930A-464F-BC7C-4B2C44A99116}"/>
                </a:ext>
              </a:extLst>
            </p:cNvPr>
            <p:cNvSpPr/>
            <p:nvPr/>
          </p:nvSpPr>
          <p:spPr>
            <a:xfrm rot="8716295">
              <a:off x="3446198" y="7400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6" name="Forme libre : forme 665">
              <a:extLst>
                <a:ext uri="{FF2B5EF4-FFF2-40B4-BE49-F238E27FC236}">
                  <a16:creationId xmlns:a16="http://schemas.microsoft.com/office/drawing/2014/main" id="{A5F5E230-97AC-427D-B3BD-EE358DADE21E}"/>
                </a:ext>
              </a:extLst>
            </p:cNvPr>
            <p:cNvSpPr/>
            <p:nvPr/>
          </p:nvSpPr>
          <p:spPr>
            <a:xfrm rot="8716295">
              <a:off x="3581496" y="11826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7" name="Forme libre : forme 666">
              <a:extLst>
                <a:ext uri="{FF2B5EF4-FFF2-40B4-BE49-F238E27FC236}">
                  <a16:creationId xmlns:a16="http://schemas.microsoft.com/office/drawing/2014/main" id="{91294318-E81E-4D53-9C61-072AF08CC387}"/>
                </a:ext>
              </a:extLst>
            </p:cNvPr>
            <p:cNvSpPr/>
            <p:nvPr/>
          </p:nvSpPr>
          <p:spPr>
            <a:xfrm rot="8716295">
              <a:off x="3522597" y="36248"/>
              <a:ext cx="234675" cy="172489"/>
            </a:xfrm>
            <a:custGeom>
              <a:avLst/>
              <a:gdLst>
                <a:gd name="connsiteX0" fmla="*/ 25756 w 155050"/>
                <a:gd name="connsiteY0" fmla="*/ 113964 h 113964"/>
                <a:gd name="connsiteX1" fmla="*/ 0 w 155050"/>
                <a:gd name="connsiteY1" fmla="*/ 96110 h 113964"/>
                <a:gd name="connsiteX2" fmla="*/ 72120 w 155050"/>
                <a:gd name="connsiteY2" fmla="*/ 28251 h 113964"/>
                <a:gd name="connsiteX3" fmla="*/ 126799 w 155050"/>
                <a:gd name="connsiteY3" fmla="*/ 0 h 113964"/>
                <a:gd name="connsiteX4" fmla="*/ 155050 w 155050"/>
                <a:gd name="connsiteY4" fmla="*/ 33719 h 113964"/>
                <a:gd name="connsiteX5" fmla="*/ 128622 w 155050"/>
                <a:gd name="connsiteY5" fmla="*/ 69261 h 113964"/>
                <a:gd name="connsiteX6" fmla="*/ 129077 w 155050"/>
                <a:gd name="connsiteY6" fmla="*/ 69261 h 113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5050" h="113964">
                  <a:moveTo>
                    <a:pt x="25756" y="113964"/>
                  </a:moveTo>
                  <a:lnTo>
                    <a:pt x="0" y="96110"/>
                  </a:lnTo>
                  <a:lnTo>
                    <a:pt x="72120" y="28251"/>
                  </a:lnTo>
                  <a:cubicBezTo>
                    <a:pt x="85790" y="12303"/>
                    <a:pt x="105383" y="2279"/>
                    <a:pt x="126799" y="0"/>
                  </a:cubicBezTo>
                  <a:cubicBezTo>
                    <a:pt x="148671" y="0"/>
                    <a:pt x="155050" y="19138"/>
                    <a:pt x="155050" y="33719"/>
                  </a:cubicBezTo>
                  <a:cubicBezTo>
                    <a:pt x="153683" y="49668"/>
                    <a:pt x="143203" y="62882"/>
                    <a:pt x="128622" y="69261"/>
                  </a:cubicBezTo>
                  <a:lnTo>
                    <a:pt x="129077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8" name="Forme libre : forme 667">
              <a:extLst>
                <a:ext uri="{FF2B5EF4-FFF2-40B4-BE49-F238E27FC236}">
                  <a16:creationId xmlns:a16="http://schemas.microsoft.com/office/drawing/2014/main" id="{4DD6A7C5-87D0-4D46-A46A-2254EFCA82E0}"/>
                </a:ext>
              </a:extLst>
            </p:cNvPr>
            <p:cNvSpPr/>
            <p:nvPr/>
          </p:nvSpPr>
          <p:spPr>
            <a:xfrm rot="8716295">
              <a:off x="3276327" y="20801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9" name="Forme libre : forme 668">
              <a:extLst>
                <a:ext uri="{FF2B5EF4-FFF2-40B4-BE49-F238E27FC236}">
                  <a16:creationId xmlns:a16="http://schemas.microsoft.com/office/drawing/2014/main" id="{043EBFB6-F58E-491F-85EF-3F196F60359F}"/>
                </a:ext>
              </a:extLst>
            </p:cNvPr>
            <p:cNvSpPr/>
            <p:nvPr/>
          </p:nvSpPr>
          <p:spPr>
            <a:xfrm rot="8716295">
              <a:off x="3107933" y="-20072"/>
              <a:ext cx="308531" cy="199994"/>
            </a:xfrm>
            <a:custGeom>
              <a:avLst/>
              <a:gdLst>
                <a:gd name="connsiteX0" fmla="*/ 112633 w 203847"/>
                <a:gd name="connsiteY0" fmla="*/ 132136 h 132136"/>
                <a:gd name="connsiteX1" fmla="*/ 56185 w 203847"/>
                <a:gd name="connsiteY1" fmla="*/ 93008 h 132136"/>
                <a:gd name="connsiteX2" fmla="*/ 69777 w 203847"/>
                <a:gd name="connsiteY2" fmla="*/ 55323 h 132136"/>
                <a:gd name="connsiteX3" fmla="*/ 1818 w 203847"/>
                <a:gd name="connsiteY3" fmla="*/ 55323 h 132136"/>
                <a:gd name="connsiteX4" fmla="*/ 0 w 203847"/>
                <a:gd name="connsiteY4" fmla="*/ 54062 h 132136"/>
                <a:gd name="connsiteX5" fmla="*/ 0 w 203847"/>
                <a:gd name="connsiteY5" fmla="*/ 0 h 132136"/>
                <a:gd name="connsiteX6" fmla="*/ 203847 w 203847"/>
                <a:gd name="connsiteY6" fmla="*/ 0 h 132136"/>
                <a:gd name="connsiteX7" fmla="*/ 203847 w 203847"/>
                <a:gd name="connsiteY7" fmla="*/ 55323 h 132136"/>
                <a:gd name="connsiteX8" fmla="*/ 139055 w 203847"/>
                <a:gd name="connsiteY8" fmla="*/ 55323 h 132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32136">
                  <a:moveTo>
                    <a:pt x="112633" y="132136"/>
                  </a:moveTo>
                  <a:lnTo>
                    <a:pt x="56185" y="93008"/>
                  </a:lnTo>
                  <a:lnTo>
                    <a:pt x="69777" y="55323"/>
                  </a:lnTo>
                  <a:lnTo>
                    <a:pt x="1818" y="55323"/>
                  </a:lnTo>
                  <a:lnTo>
                    <a:pt x="0" y="54062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0" name="Forme libre : forme 669">
              <a:extLst>
                <a:ext uri="{FF2B5EF4-FFF2-40B4-BE49-F238E27FC236}">
                  <a16:creationId xmlns:a16="http://schemas.microsoft.com/office/drawing/2014/main" id="{794489F5-14EC-448F-A5B0-DA1D69E37C43}"/>
                </a:ext>
              </a:extLst>
            </p:cNvPr>
            <p:cNvSpPr/>
            <p:nvPr/>
          </p:nvSpPr>
          <p:spPr>
            <a:xfrm rot="8716295">
              <a:off x="3475628" y="-31540"/>
              <a:ext cx="98161" cy="118527"/>
            </a:xfrm>
            <a:custGeom>
              <a:avLst/>
              <a:gdLst>
                <a:gd name="connsiteX0" fmla="*/ 64855 w 64855"/>
                <a:gd name="connsiteY0" fmla="*/ 78311 h 78311"/>
                <a:gd name="connsiteX1" fmla="*/ 0 w 64855"/>
                <a:gd name="connsiteY1" fmla="*/ 33356 h 78311"/>
                <a:gd name="connsiteX2" fmla="*/ 64294 w 64855"/>
                <a:gd name="connsiteY2" fmla="*/ 0 h 78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855" h="78311">
                  <a:moveTo>
                    <a:pt x="64855" y="78311"/>
                  </a:moveTo>
                  <a:lnTo>
                    <a:pt x="0" y="33356"/>
                  </a:lnTo>
                  <a:lnTo>
                    <a:pt x="64294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1" name="Forme libre : forme 670">
              <a:extLst>
                <a:ext uri="{FF2B5EF4-FFF2-40B4-BE49-F238E27FC236}">
                  <a16:creationId xmlns:a16="http://schemas.microsoft.com/office/drawing/2014/main" id="{59D78A42-B1E7-4E9A-BC44-71C049BD09F4}"/>
                </a:ext>
              </a:extLst>
            </p:cNvPr>
            <p:cNvSpPr/>
            <p:nvPr/>
          </p:nvSpPr>
          <p:spPr>
            <a:xfrm rot="8716295">
              <a:off x="3412815" y="26999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2" name="Forme libre : forme 671">
              <a:extLst>
                <a:ext uri="{FF2B5EF4-FFF2-40B4-BE49-F238E27FC236}">
                  <a16:creationId xmlns:a16="http://schemas.microsoft.com/office/drawing/2014/main" id="{6913FE15-3938-4556-BC90-F97E03344291}"/>
                </a:ext>
              </a:extLst>
            </p:cNvPr>
            <p:cNvSpPr/>
            <p:nvPr/>
          </p:nvSpPr>
          <p:spPr>
            <a:xfrm rot="8716295">
              <a:off x="3966406" y="-35912"/>
              <a:ext cx="123741" cy="85774"/>
            </a:xfrm>
            <a:custGeom>
              <a:avLst/>
              <a:gdLst>
                <a:gd name="connsiteX0" fmla="*/ 81756 w 81756"/>
                <a:gd name="connsiteY0" fmla="*/ 56671 h 56671"/>
                <a:gd name="connsiteX1" fmla="*/ 0 w 81756"/>
                <a:gd name="connsiteY1" fmla="*/ 0 h 56671"/>
                <a:gd name="connsiteX2" fmla="*/ 24798 w 81756"/>
                <a:gd name="connsiteY2" fmla="*/ 0 h 56671"/>
                <a:gd name="connsiteX3" fmla="*/ 81756 w 81756"/>
                <a:gd name="connsiteY3" fmla="*/ 50123 h 56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1756" h="56671">
                  <a:moveTo>
                    <a:pt x="81756" y="56671"/>
                  </a:moveTo>
                  <a:lnTo>
                    <a:pt x="0" y="0"/>
                  </a:lnTo>
                  <a:lnTo>
                    <a:pt x="24798" y="0"/>
                  </a:lnTo>
                  <a:cubicBezTo>
                    <a:pt x="61707" y="0"/>
                    <a:pt x="81756" y="15949"/>
                    <a:pt x="81756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3" name="Forme libre : forme 672">
              <a:extLst>
                <a:ext uri="{FF2B5EF4-FFF2-40B4-BE49-F238E27FC236}">
                  <a16:creationId xmlns:a16="http://schemas.microsoft.com/office/drawing/2014/main" id="{5D62EEDF-CAA6-4BE4-A77A-50FBAB69143C}"/>
                </a:ext>
              </a:extLst>
            </p:cNvPr>
            <p:cNvSpPr/>
            <p:nvPr/>
          </p:nvSpPr>
          <p:spPr>
            <a:xfrm rot="8716295">
              <a:off x="4089146" y="-31808"/>
              <a:ext cx="332088" cy="148365"/>
            </a:xfrm>
            <a:custGeom>
              <a:avLst/>
              <a:gdLst>
                <a:gd name="connsiteX0" fmla="*/ 63575 w 219411"/>
                <a:gd name="connsiteY0" fmla="*/ 45493 h 98025"/>
                <a:gd name="connsiteX1" fmla="*/ 0 w 219411"/>
                <a:gd name="connsiteY1" fmla="*/ 1425 h 98025"/>
                <a:gd name="connsiteX2" fmla="*/ 63575 w 219411"/>
                <a:gd name="connsiteY2" fmla="*/ 1425 h 98025"/>
                <a:gd name="connsiteX3" fmla="*/ 88634 w 219411"/>
                <a:gd name="connsiteY3" fmla="*/ 62863 h 98025"/>
                <a:gd name="connsiteX4" fmla="*/ 73596 w 219411"/>
                <a:gd name="connsiteY4" fmla="*/ 52439 h 98025"/>
                <a:gd name="connsiteX5" fmla="*/ 75493 w 219411"/>
                <a:gd name="connsiteY5" fmla="*/ 47439 h 98025"/>
                <a:gd name="connsiteX6" fmla="*/ 112786 w 219411"/>
                <a:gd name="connsiteY6" fmla="*/ 5981 h 98025"/>
                <a:gd name="connsiteX7" fmla="*/ 144227 w 219411"/>
                <a:gd name="connsiteY7" fmla="*/ 57 h 98025"/>
                <a:gd name="connsiteX8" fmla="*/ 219411 w 219411"/>
                <a:gd name="connsiteY8" fmla="*/ 88456 h 98025"/>
                <a:gd name="connsiteX9" fmla="*/ 219411 w 219411"/>
                <a:gd name="connsiteY9" fmla="*/ 94380 h 98025"/>
                <a:gd name="connsiteX10" fmla="*/ 157441 w 219411"/>
                <a:gd name="connsiteY10" fmla="*/ 98025 h 98025"/>
                <a:gd name="connsiteX11" fmla="*/ 157441 w 219411"/>
                <a:gd name="connsiteY11" fmla="*/ 81621 h 98025"/>
                <a:gd name="connsiteX12" fmla="*/ 123722 w 219411"/>
                <a:gd name="connsiteY12" fmla="*/ 40156 h 98025"/>
                <a:gd name="connsiteX13" fmla="*/ 103089 w 219411"/>
                <a:gd name="connsiteY13" fmla="*/ 46969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9411" h="98025">
                  <a:moveTo>
                    <a:pt x="63575" y="45493"/>
                  </a:moveTo>
                  <a:lnTo>
                    <a:pt x="0" y="1425"/>
                  </a:lnTo>
                  <a:lnTo>
                    <a:pt x="63575" y="1425"/>
                  </a:lnTo>
                  <a:close/>
                  <a:moveTo>
                    <a:pt x="88634" y="62863"/>
                  </a:moveTo>
                  <a:lnTo>
                    <a:pt x="73596" y="52439"/>
                  </a:lnTo>
                  <a:lnTo>
                    <a:pt x="75493" y="47439"/>
                  </a:lnTo>
                  <a:cubicBezTo>
                    <a:pt x="85874" y="24008"/>
                    <a:pt x="96382" y="12816"/>
                    <a:pt x="112786" y="5981"/>
                  </a:cubicBezTo>
                  <a:cubicBezTo>
                    <a:pt x="122811" y="1880"/>
                    <a:pt x="133291" y="-398"/>
                    <a:pt x="144227" y="57"/>
                  </a:cubicBezTo>
                  <a:cubicBezTo>
                    <a:pt x="191160" y="-854"/>
                    <a:pt x="219411" y="31954"/>
                    <a:pt x="219411" y="88456"/>
                  </a:cubicBezTo>
                  <a:lnTo>
                    <a:pt x="219411" y="94380"/>
                  </a:lnTo>
                  <a:lnTo>
                    <a:pt x="157441" y="98025"/>
                  </a:lnTo>
                  <a:lnTo>
                    <a:pt x="157441" y="81621"/>
                  </a:lnTo>
                  <a:cubicBezTo>
                    <a:pt x="157441" y="57016"/>
                    <a:pt x="143316" y="40156"/>
                    <a:pt x="123722" y="40156"/>
                  </a:cubicBezTo>
                  <a:cubicBezTo>
                    <a:pt x="116431" y="40156"/>
                    <a:pt x="109454" y="42577"/>
                    <a:pt x="103089" y="4696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4" name="Forme libre : forme 673">
              <a:extLst>
                <a:ext uri="{FF2B5EF4-FFF2-40B4-BE49-F238E27FC236}">
                  <a16:creationId xmlns:a16="http://schemas.microsoft.com/office/drawing/2014/main" id="{204312F2-EA49-4439-8CE2-22C6633888E5}"/>
                </a:ext>
              </a:extLst>
            </p:cNvPr>
            <p:cNvSpPr/>
            <p:nvPr/>
          </p:nvSpPr>
          <p:spPr>
            <a:xfrm rot="8716295">
              <a:off x="3850379" y="-108618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5" name="Forme libre : forme 674">
              <a:extLst>
                <a:ext uri="{FF2B5EF4-FFF2-40B4-BE49-F238E27FC236}">
                  <a16:creationId xmlns:a16="http://schemas.microsoft.com/office/drawing/2014/main" id="{AE25CBF0-6DB2-42A0-99B2-802E91B6C3FD}"/>
                </a:ext>
              </a:extLst>
            </p:cNvPr>
            <p:cNvSpPr/>
            <p:nvPr/>
          </p:nvSpPr>
          <p:spPr>
            <a:xfrm rot="7484129">
              <a:off x="4009196" y="18100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6" name="Forme libre : forme 675">
              <a:extLst>
                <a:ext uri="{FF2B5EF4-FFF2-40B4-BE49-F238E27FC236}">
                  <a16:creationId xmlns:a16="http://schemas.microsoft.com/office/drawing/2014/main" id="{B5E963F4-D065-4C0F-BC9C-E6E170542019}"/>
                </a:ext>
              </a:extLst>
            </p:cNvPr>
            <p:cNvSpPr/>
            <p:nvPr/>
          </p:nvSpPr>
          <p:spPr>
            <a:xfrm rot="13089394">
              <a:off x="4167846" y="130348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7" name="Forme libre : forme 676">
              <a:extLst>
                <a:ext uri="{FF2B5EF4-FFF2-40B4-BE49-F238E27FC236}">
                  <a16:creationId xmlns:a16="http://schemas.microsoft.com/office/drawing/2014/main" id="{76D605A8-75FB-413E-9850-E731D16B25B6}"/>
                </a:ext>
              </a:extLst>
            </p:cNvPr>
            <p:cNvSpPr/>
            <p:nvPr/>
          </p:nvSpPr>
          <p:spPr>
            <a:xfrm rot="8716295">
              <a:off x="4488057" y="-10608"/>
              <a:ext cx="169580" cy="136116"/>
            </a:xfrm>
            <a:custGeom>
              <a:avLst/>
              <a:gdLst>
                <a:gd name="connsiteX0" fmla="*/ 62355 w 112042"/>
                <a:gd name="connsiteY0" fmla="*/ 89932 h 89932"/>
                <a:gd name="connsiteX1" fmla="*/ 0 w 112042"/>
                <a:gd name="connsiteY1" fmla="*/ 46710 h 89932"/>
                <a:gd name="connsiteX2" fmla="*/ 14231 w 112042"/>
                <a:gd name="connsiteY2" fmla="*/ 33321 h 89932"/>
                <a:gd name="connsiteX3" fmla="*/ 78722 w 112042"/>
                <a:gd name="connsiteY3" fmla="*/ 0 h 89932"/>
                <a:gd name="connsiteX4" fmla="*/ 112042 w 112042"/>
                <a:gd name="connsiteY4" fmla="*/ 39770 h 89932"/>
                <a:gd name="connsiteX5" fmla="*/ 80872 w 112042"/>
                <a:gd name="connsiteY5" fmla="*/ 81689 h 89932"/>
                <a:gd name="connsiteX6" fmla="*/ 81408 w 112042"/>
                <a:gd name="connsiteY6" fmla="*/ 81689 h 89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2042" h="89932">
                  <a:moveTo>
                    <a:pt x="62355" y="89932"/>
                  </a:moveTo>
                  <a:lnTo>
                    <a:pt x="0" y="46710"/>
                  </a:lnTo>
                  <a:lnTo>
                    <a:pt x="14231" y="33321"/>
                  </a:lnTo>
                  <a:cubicBezTo>
                    <a:pt x="30353" y="14511"/>
                    <a:pt x="53462" y="2687"/>
                    <a:pt x="78722" y="0"/>
                  </a:cubicBezTo>
                  <a:cubicBezTo>
                    <a:pt x="104518" y="0"/>
                    <a:pt x="112042" y="22572"/>
                    <a:pt x="112042" y="39770"/>
                  </a:cubicBezTo>
                  <a:cubicBezTo>
                    <a:pt x="110429" y="58580"/>
                    <a:pt x="98068" y="74165"/>
                    <a:pt x="80872" y="81689"/>
                  </a:cubicBezTo>
                  <a:lnTo>
                    <a:pt x="81408" y="816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8" name="Forme libre : forme 677">
              <a:extLst>
                <a:ext uri="{FF2B5EF4-FFF2-40B4-BE49-F238E27FC236}">
                  <a16:creationId xmlns:a16="http://schemas.microsoft.com/office/drawing/2014/main" id="{4F3B7A35-9F70-4C60-A362-537BA842EBF8}"/>
                </a:ext>
              </a:extLst>
            </p:cNvPr>
            <p:cNvSpPr/>
            <p:nvPr/>
          </p:nvSpPr>
          <p:spPr>
            <a:xfrm rot="8716295">
              <a:off x="3111565" y="373623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9" name="Forme libre : forme 678">
              <a:extLst>
                <a:ext uri="{FF2B5EF4-FFF2-40B4-BE49-F238E27FC236}">
                  <a16:creationId xmlns:a16="http://schemas.microsoft.com/office/drawing/2014/main" id="{84E0A451-4FD1-411C-AC65-26E7DCFC5AE7}"/>
                </a:ext>
              </a:extLst>
            </p:cNvPr>
            <p:cNvSpPr/>
            <p:nvPr/>
          </p:nvSpPr>
          <p:spPr>
            <a:xfrm rot="8716295">
              <a:off x="3246864" y="378049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0" name="Forme libre : forme 679">
              <a:extLst>
                <a:ext uri="{FF2B5EF4-FFF2-40B4-BE49-F238E27FC236}">
                  <a16:creationId xmlns:a16="http://schemas.microsoft.com/office/drawing/2014/main" id="{ED63A363-D142-4852-ADC9-3EB78E55F392}"/>
                </a:ext>
              </a:extLst>
            </p:cNvPr>
            <p:cNvSpPr/>
            <p:nvPr/>
          </p:nvSpPr>
          <p:spPr>
            <a:xfrm rot="8716295">
              <a:off x="3178981" y="3649901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1" name="Forme libre : forme 680">
              <a:extLst>
                <a:ext uri="{FF2B5EF4-FFF2-40B4-BE49-F238E27FC236}">
                  <a16:creationId xmlns:a16="http://schemas.microsoft.com/office/drawing/2014/main" id="{F107AA4D-9993-4946-BCBA-1D03F3965881}"/>
                </a:ext>
              </a:extLst>
            </p:cNvPr>
            <p:cNvSpPr/>
            <p:nvPr/>
          </p:nvSpPr>
          <p:spPr>
            <a:xfrm rot="8716295">
              <a:off x="2941694" y="387024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2" name="Forme libre : forme 681">
              <a:extLst>
                <a:ext uri="{FF2B5EF4-FFF2-40B4-BE49-F238E27FC236}">
                  <a16:creationId xmlns:a16="http://schemas.microsoft.com/office/drawing/2014/main" id="{65B10BB0-E676-4F90-9054-FB79523A1724}"/>
                </a:ext>
              </a:extLst>
            </p:cNvPr>
            <p:cNvSpPr/>
            <p:nvPr/>
          </p:nvSpPr>
          <p:spPr>
            <a:xfrm rot="8716295">
              <a:off x="2752648" y="355441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3" name="Forme libre : forme 682">
              <a:extLst>
                <a:ext uri="{FF2B5EF4-FFF2-40B4-BE49-F238E27FC236}">
                  <a16:creationId xmlns:a16="http://schemas.microsoft.com/office/drawing/2014/main" id="{DCBB16BD-D124-496F-BCB6-D9884BAFBA8A}"/>
                </a:ext>
              </a:extLst>
            </p:cNvPr>
            <p:cNvSpPr/>
            <p:nvPr/>
          </p:nvSpPr>
          <p:spPr>
            <a:xfrm rot="8716295">
              <a:off x="2734407" y="334436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4" name="Forme libre : forme 683">
              <a:extLst>
                <a:ext uri="{FF2B5EF4-FFF2-40B4-BE49-F238E27FC236}">
                  <a16:creationId xmlns:a16="http://schemas.microsoft.com/office/drawing/2014/main" id="{BA7B781B-C49E-49C3-853F-E110F097EADD}"/>
                </a:ext>
              </a:extLst>
            </p:cNvPr>
            <p:cNvSpPr/>
            <p:nvPr/>
          </p:nvSpPr>
          <p:spPr>
            <a:xfrm rot="8716295">
              <a:off x="3078183" y="393222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5" name="Forme libre : forme 684">
              <a:extLst>
                <a:ext uri="{FF2B5EF4-FFF2-40B4-BE49-F238E27FC236}">
                  <a16:creationId xmlns:a16="http://schemas.microsoft.com/office/drawing/2014/main" id="{1E08FA39-4108-445F-B2C5-D79E17CF02D4}"/>
                </a:ext>
              </a:extLst>
            </p:cNvPr>
            <p:cNvSpPr/>
            <p:nvPr/>
          </p:nvSpPr>
          <p:spPr>
            <a:xfrm rot="8716295">
              <a:off x="3549129" y="335761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6" name="Forme libre : forme 685">
              <a:extLst>
                <a:ext uri="{FF2B5EF4-FFF2-40B4-BE49-F238E27FC236}">
                  <a16:creationId xmlns:a16="http://schemas.microsoft.com/office/drawing/2014/main" id="{2DFB8EEE-C6EB-4042-B3C7-6D64C618E03F}"/>
                </a:ext>
              </a:extLst>
            </p:cNvPr>
            <p:cNvSpPr/>
            <p:nvPr/>
          </p:nvSpPr>
          <p:spPr>
            <a:xfrm rot="8716295">
              <a:off x="3684428" y="340187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7" name="Forme libre : forme 686">
              <a:extLst>
                <a:ext uri="{FF2B5EF4-FFF2-40B4-BE49-F238E27FC236}">
                  <a16:creationId xmlns:a16="http://schemas.microsoft.com/office/drawing/2014/main" id="{0F7B5112-37C8-4C58-BE24-BE46857F1D99}"/>
                </a:ext>
              </a:extLst>
            </p:cNvPr>
            <p:cNvSpPr/>
            <p:nvPr/>
          </p:nvSpPr>
          <p:spPr>
            <a:xfrm rot="8716295">
              <a:off x="3379258" y="349163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8" name="Forme libre : forme 687">
              <a:extLst>
                <a:ext uri="{FF2B5EF4-FFF2-40B4-BE49-F238E27FC236}">
                  <a16:creationId xmlns:a16="http://schemas.microsoft.com/office/drawing/2014/main" id="{0562A8EB-34BD-4915-997B-9EADBCB5D5E2}"/>
                </a:ext>
              </a:extLst>
            </p:cNvPr>
            <p:cNvSpPr/>
            <p:nvPr/>
          </p:nvSpPr>
          <p:spPr>
            <a:xfrm rot="8716295">
              <a:off x="3190213" y="317579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9" name="Forme libre : forme 688">
              <a:extLst>
                <a:ext uri="{FF2B5EF4-FFF2-40B4-BE49-F238E27FC236}">
                  <a16:creationId xmlns:a16="http://schemas.microsoft.com/office/drawing/2014/main" id="{FD5490B4-5CA1-4323-8DA1-3A8268719143}"/>
                </a:ext>
              </a:extLst>
            </p:cNvPr>
            <p:cNvSpPr/>
            <p:nvPr/>
          </p:nvSpPr>
          <p:spPr>
            <a:xfrm rot="8716295">
              <a:off x="3515746" y="3553613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0" name="Forme libre : forme 689">
              <a:extLst>
                <a:ext uri="{FF2B5EF4-FFF2-40B4-BE49-F238E27FC236}">
                  <a16:creationId xmlns:a16="http://schemas.microsoft.com/office/drawing/2014/main" id="{8D9B2EB7-9E8D-4A25-8D7C-BFC302DA6A1B}"/>
                </a:ext>
              </a:extLst>
            </p:cNvPr>
            <p:cNvSpPr/>
            <p:nvPr/>
          </p:nvSpPr>
          <p:spPr>
            <a:xfrm rot="8716295">
              <a:off x="3150300" y="332718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1" name="Forme libre : forme 690">
              <a:extLst>
                <a:ext uri="{FF2B5EF4-FFF2-40B4-BE49-F238E27FC236}">
                  <a16:creationId xmlns:a16="http://schemas.microsoft.com/office/drawing/2014/main" id="{3E0E55FC-47BD-40C5-B922-D3702F12DF26}"/>
                </a:ext>
              </a:extLst>
            </p:cNvPr>
            <p:cNvSpPr/>
            <p:nvPr/>
          </p:nvSpPr>
          <p:spPr>
            <a:xfrm rot="7484129">
              <a:off x="3674564" y="38432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2" name="Forme libre : forme 691">
              <a:extLst>
                <a:ext uri="{FF2B5EF4-FFF2-40B4-BE49-F238E27FC236}">
                  <a16:creationId xmlns:a16="http://schemas.microsoft.com/office/drawing/2014/main" id="{04819A13-0F26-4906-BEC9-BFAA857FEB52}"/>
                </a:ext>
              </a:extLst>
            </p:cNvPr>
            <p:cNvSpPr/>
            <p:nvPr/>
          </p:nvSpPr>
          <p:spPr>
            <a:xfrm rot="13089394">
              <a:off x="3833214" y="3792578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3" name="Forme libre : forme 692">
              <a:extLst>
                <a:ext uri="{FF2B5EF4-FFF2-40B4-BE49-F238E27FC236}">
                  <a16:creationId xmlns:a16="http://schemas.microsoft.com/office/drawing/2014/main" id="{7099CE46-9678-40AB-BC7E-D4C599B2EC77}"/>
                </a:ext>
              </a:extLst>
            </p:cNvPr>
            <p:cNvSpPr/>
            <p:nvPr/>
          </p:nvSpPr>
          <p:spPr>
            <a:xfrm rot="8716295">
              <a:off x="4114105" y="3502461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4" name="Forme libre : forme 693">
              <a:extLst>
                <a:ext uri="{FF2B5EF4-FFF2-40B4-BE49-F238E27FC236}">
                  <a16:creationId xmlns:a16="http://schemas.microsoft.com/office/drawing/2014/main" id="{930FE6A8-BA84-4D85-9462-1369A3BC2987}"/>
                </a:ext>
              </a:extLst>
            </p:cNvPr>
            <p:cNvSpPr/>
            <p:nvPr/>
          </p:nvSpPr>
          <p:spPr>
            <a:xfrm rot="8716295">
              <a:off x="4035696" y="334566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5" name="Forme libre : forme 694">
              <a:extLst>
                <a:ext uri="{FF2B5EF4-FFF2-40B4-BE49-F238E27FC236}">
                  <a16:creationId xmlns:a16="http://schemas.microsoft.com/office/drawing/2014/main" id="{6925581E-98AA-485C-AF67-05ACEFEFDF13}"/>
                </a:ext>
              </a:extLst>
            </p:cNvPr>
            <p:cNvSpPr/>
            <p:nvPr/>
          </p:nvSpPr>
          <p:spPr>
            <a:xfrm rot="8716295">
              <a:off x="3667532" y="339140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6" name="Forme libre : forme 695">
              <a:extLst>
                <a:ext uri="{FF2B5EF4-FFF2-40B4-BE49-F238E27FC236}">
                  <a16:creationId xmlns:a16="http://schemas.microsoft.com/office/drawing/2014/main" id="{59299429-87C0-470E-94D0-1EBBBD875A42}"/>
                </a:ext>
              </a:extLst>
            </p:cNvPr>
            <p:cNvSpPr/>
            <p:nvPr/>
          </p:nvSpPr>
          <p:spPr>
            <a:xfrm rot="8716295">
              <a:off x="3936113" y="315039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7" name="Forme libre : forme 696">
              <a:extLst>
                <a:ext uri="{FF2B5EF4-FFF2-40B4-BE49-F238E27FC236}">
                  <a16:creationId xmlns:a16="http://schemas.microsoft.com/office/drawing/2014/main" id="{20993448-B66A-4395-B0A3-8C600524A87B}"/>
                </a:ext>
              </a:extLst>
            </p:cNvPr>
            <p:cNvSpPr/>
            <p:nvPr/>
          </p:nvSpPr>
          <p:spPr>
            <a:xfrm rot="8716295">
              <a:off x="3449338" y="4734714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8" name="Forme libre : forme 697">
              <a:extLst>
                <a:ext uri="{FF2B5EF4-FFF2-40B4-BE49-F238E27FC236}">
                  <a16:creationId xmlns:a16="http://schemas.microsoft.com/office/drawing/2014/main" id="{5F68C16D-85E0-48B4-ABCD-457241BCE8FC}"/>
                </a:ext>
              </a:extLst>
            </p:cNvPr>
            <p:cNvSpPr/>
            <p:nvPr/>
          </p:nvSpPr>
          <p:spPr>
            <a:xfrm rot="8716295">
              <a:off x="3580975" y="4773824"/>
              <a:ext cx="394489" cy="383455"/>
            </a:xfrm>
            <a:custGeom>
              <a:avLst/>
              <a:gdLst>
                <a:gd name="connsiteX0" fmla="*/ 77932 w 394489"/>
                <a:gd name="connsiteY0" fmla="*/ 383455 h 383455"/>
                <a:gd name="connsiteX1" fmla="*/ 77932 w 394489"/>
                <a:gd name="connsiteY1" fmla="*/ 66898 h 383455"/>
                <a:gd name="connsiteX2" fmla="*/ 0 w 394489"/>
                <a:gd name="connsiteY2" fmla="*/ 66898 h 383455"/>
                <a:gd name="connsiteX3" fmla="*/ 0 w 394489"/>
                <a:gd name="connsiteY3" fmla="*/ 0 h 383455"/>
                <a:gd name="connsiteX4" fmla="*/ 158623 w 394489"/>
                <a:gd name="connsiteY4" fmla="*/ 0 h 383455"/>
                <a:gd name="connsiteX5" fmla="*/ 158623 w 394489"/>
                <a:gd name="connsiteY5" fmla="*/ 111726 h 383455"/>
                <a:gd name="connsiteX6" fmla="*/ 160692 w 394489"/>
                <a:gd name="connsiteY6" fmla="*/ 111726 h 383455"/>
                <a:gd name="connsiteX7" fmla="*/ 233107 w 394489"/>
                <a:gd name="connsiteY7" fmla="*/ 6897 h 383455"/>
                <a:gd name="connsiteX8" fmla="*/ 240854 w 394489"/>
                <a:gd name="connsiteY8" fmla="*/ 5438 h 383455"/>
                <a:gd name="connsiteX9" fmla="*/ 391511 w 394489"/>
                <a:gd name="connsiteY9" fmla="*/ 109868 h 383455"/>
                <a:gd name="connsiteX10" fmla="*/ 394489 w 394489"/>
                <a:gd name="connsiteY10" fmla="*/ 131726 h 383455"/>
                <a:gd name="connsiteX11" fmla="*/ 394489 w 394489"/>
                <a:gd name="connsiteY11" fmla="*/ 140692 h 383455"/>
                <a:gd name="connsiteX12" fmla="*/ 300695 w 394489"/>
                <a:gd name="connsiteY12" fmla="*/ 146210 h 383455"/>
                <a:gd name="connsiteX13" fmla="*/ 300695 w 394489"/>
                <a:gd name="connsiteY13" fmla="*/ 121382 h 383455"/>
                <a:gd name="connsiteX14" fmla="*/ 249659 w 394489"/>
                <a:gd name="connsiteY14" fmla="*/ 58622 h 383455"/>
                <a:gd name="connsiteX15" fmla="*/ 168969 w 394489"/>
                <a:gd name="connsiteY15" fmla="*/ 191038 h 383455"/>
                <a:gd name="connsiteX16" fmla="*/ 168969 w 394489"/>
                <a:gd name="connsiteY16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4489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82762" y="46208"/>
                    <a:pt x="200003" y="20690"/>
                    <a:pt x="233107" y="6897"/>
                  </a:cubicBezTo>
                  <a:lnTo>
                    <a:pt x="240854" y="5438"/>
                  </a:lnTo>
                  <a:lnTo>
                    <a:pt x="391511" y="109868"/>
                  </a:lnTo>
                  <a:lnTo>
                    <a:pt x="394489" y="131726"/>
                  </a:lnTo>
                  <a:lnTo>
                    <a:pt x="394489" y="140692"/>
                  </a:lnTo>
                  <a:lnTo>
                    <a:pt x="300695" y="146210"/>
                  </a:lnTo>
                  <a:lnTo>
                    <a:pt x="300695" y="121382"/>
                  </a:lnTo>
                  <a:cubicBezTo>
                    <a:pt x="300695" y="84140"/>
                    <a:pt x="279315" y="58621"/>
                    <a:pt x="249659" y="58622"/>
                  </a:cubicBezTo>
                  <a:cubicBezTo>
                    <a:pt x="205521" y="58622"/>
                    <a:pt x="168969" y="117244"/>
                    <a:pt x="168969" y="191038"/>
                  </a:cubicBez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9" name="Forme libre : forme 698">
              <a:extLst>
                <a:ext uri="{FF2B5EF4-FFF2-40B4-BE49-F238E27FC236}">
                  <a16:creationId xmlns:a16="http://schemas.microsoft.com/office/drawing/2014/main" id="{DDFDC7AC-7825-4F2D-8BC2-D122551871CE}"/>
                </a:ext>
              </a:extLst>
            </p:cNvPr>
            <p:cNvSpPr/>
            <p:nvPr/>
          </p:nvSpPr>
          <p:spPr>
            <a:xfrm rot="8716295">
              <a:off x="3516754" y="4648384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0" name="Forme libre : forme 699">
              <a:extLst>
                <a:ext uri="{FF2B5EF4-FFF2-40B4-BE49-F238E27FC236}">
                  <a16:creationId xmlns:a16="http://schemas.microsoft.com/office/drawing/2014/main" id="{9E124BC4-0A34-43AF-B268-C015D1E183F5}"/>
                </a:ext>
              </a:extLst>
            </p:cNvPr>
            <p:cNvSpPr/>
            <p:nvPr/>
          </p:nvSpPr>
          <p:spPr>
            <a:xfrm rot="8716295">
              <a:off x="3279467" y="486872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1" name="Forme libre : forme 700">
              <a:extLst>
                <a:ext uri="{FF2B5EF4-FFF2-40B4-BE49-F238E27FC236}">
                  <a16:creationId xmlns:a16="http://schemas.microsoft.com/office/drawing/2014/main" id="{BD9217FD-3B70-4A3D-8050-FAE9AD88FA69}"/>
                </a:ext>
              </a:extLst>
            </p:cNvPr>
            <p:cNvSpPr/>
            <p:nvPr/>
          </p:nvSpPr>
          <p:spPr>
            <a:xfrm rot="8716295">
              <a:off x="3090421" y="455289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2" name="Forme libre : forme 701">
              <a:extLst>
                <a:ext uri="{FF2B5EF4-FFF2-40B4-BE49-F238E27FC236}">
                  <a16:creationId xmlns:a16="http://schemas.microsoft.com/office/drawing/2014/main" id="{82574961-DC75-453C-B1E8-53CAF357269C}"/>
                </a:ext>
              </a:extLst>
            </p:cNvPr>
            <p:cNvSpPr/>
            <p:nvPr/>
          </p:nvSpPr>
          <p:spPr>
            <a:xfrm rot="8716295">
              <a:off x="3072180" y="434284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3" name="Forme libre : forme 702">
              <a:extLst>
                <a:ext uri="{FF2B5EF4-FFF2-40B4-BE49-F238E27FC236}">
                  <a16:creationId xmlns:a16="http://schemas.microsoft.com/office/drawing/2014/main" id="{F9FF2627-55AC-40EC-B2C7-E4BB0FC2841E}"/>
                </a:ext>
              </a:extLst>
            </p:cNvPr>
            <p:cNvSpPr/>
            <p:nvPr/>
          </p:nvSpPr>
          <p:spPr>
            <a:xfrm rot="8716295">
              <a:off x="3388475" y="4959102"/>
              <a:ext cx="91035" cy="230894"/>
            </a:xfrm>
            <a:custGeom>
              <a:avLst/>
              <a:gdLst>
                <a:gd name="connsiteX0" fmla="*/ 91035 w 91035"/>
                <a:gd name="connsiteY0" fmla="*/ 230894 h 230894"/>
                <a:gd name="connsiteX1" fmla="*/ 0 w 91035"/>
                <a:gd name="connsiteY1" fmla="*/ 143306 h 230894"/>
                <a:gd name="connsiteX2" fmla="*/ 0 w 91035"/>
                <a:gd name="connsiteY2" fmla="*/ 0 h 230894"/>
                <a:gd name="connsiteX3" fmla="*/ 91035 w 91035"/>
                <a:gd name="connsiteY3" fmla="*/ 63103 h 230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230894">
                  <a:moveTo>
                    <a:pt x="91035" y="230894"/>
                  </a:moveTo>
                  <a:lnTo>
                    <a:pt x="0" y="143306"/>
                  </a:lnTo>
                  <a:lnTo>
                    <a:pt x="0" y="0"/>
                  </a:lnTo>
                  <a:lnTo>
                    <a:pt x="91035" y="631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4" name="Forme libre : forme 703">
              <a:extLst>
                <a:ext uri="{FF2B5EF4-FFF2-40B4-BE49-F238E27FC236}">
                  <a16:creationId xmlns:a16="http://schemas.microsoft.com/office/drawing/2014/main" id="{E8EDEFFE-1CCB-4594-BF4D-83E9CF1C96A7}"/>
                </a:ext>
              </a:extLst>
            </p:cNvPr>
            <p:cNvSpPr/>
            <p:nvPr/>
          </p:nvSpPr>
          <p:spPr>
            <a:xfrm rot="8716295">
              <a:off x="3886902" y="435609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5" name="Forme libre : forme 704">
              <a:extLst>
                <a:ext uri="{FF2B5EF4-FFF2-40B4-BE49-F238E27FC236}">
                  <a16:creationId xmlns:a16="http://schemas.microsoft.com/office/drawing/2014/main" id="{55A94951-8E4E-4CA9-96D6-1FE7A4C337C6}"/>
                </a:ext>
              </a:extLst>
            </p:cNvPr>
            <p:cNvSpPr/>
            <p:nvPr/>
          </p:nvSpPr>
          <p:spPr>
            <a:xfrm rot="8716295">
              <a:off x="4022201" y="440035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6" name="Forme libre : forme 705">
              <a:extLst>
                <a:ext uri="{FF2B5EF4-FFF2-40B4-BE49-F238E27FC236}">
                  <a16:creationId xmlns:a16="http://schemas.microsoft.com/office/drawing/2014/main" id="{0D6FF806-864D-4C38-93A0-F9147C634CAC}"/>
                </a:ext>
              </a:extLst>
            </p:cNvPr>
            <p:cNvSpPr/>
            <p:nvPr/>
          </p:nvSpPr>
          <p:spPr>
            <a:xfrm rot="8716295">
              <a:off x="3717031" y="44901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7" name="Forme libre : forme 706">
              <a:extLst>
                <a:ext uri="{FF2B5EF4-FFF2-40B4-BE49-F238E27FC236}">
                  <a16:creationId xmlns:a16="http://schemas.microsoft.com/office/drawing/2014/main" id="{FBC6206E-0C5C-4787-A24D-53111B4AE1BD}"/>
                </a:ext>
              </a:extLst>
            </p:cNvPr>
            <p:cNvSpPr/>
            <p:nvPr/>
          </p:nvSpPr>
          <p:spPr>
            <a:xfrm rot="8716295">
              <a:off x="3527986" y="417427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8" name="Forme libre : forme 707">
              <a:extLst>
                <a:ext uri="{FF2B5EF4-FFF2-40B4-BE49-F238E27FC236}">
                  <a16:creationId xmlns:a16="http://schemas.microsoft.com/office/drawing/2014/main" id="{98187825-2EC9-4F80-8FFB-DB7FF0C2F09C}"/>
                </a:ext>
              </a:extLst>
            </p:cNvPr>
            <p:cNvSpPr/>
            <p:nvPr/>
          </p:nvSpPr>
          <p:spPr>
            <a:xfrm rot="8716295">
              <a:off x="3853519" y="4552096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9" name="Forme libre : forme 708">
              <a:extLst>
                <a:ext uri="{FF2B5EF4-FFF2-40B4-BE49-F238E27FC236}">
                  <a16:creationId xmlns:a16="http://schemas.microsoft.com/office/drawing/2014/main" id="{AAB4B000-0E9F-461C-AFEB-00262B0F810F}"/>
                </a:ext>
              </a:extLst>
            </p:cNvPr>
            <p:cNvSpPr/>
            <p:nvPr/>
          </p:nvSpPr>
          <p:spPr>
            <a:xfrm rot="8716295">
              <a:off x="3488073" y="432567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0" name="Forme libre : forme 709">
              <a:extLst>
                <a:ext uri="{FF2B5EF4-FFF2-40B4-BE49-F238E27FC236}">
                  <a16:creationId xmlns:a16="http://schemas.microsoft.com/office/drawing/2014/main" id="{9A1C13DA-0F62-4833-98DE-AA495BB59885}"/>
                </a:ext>
              </a:extLst>
            </p:cNvPr>
            <p:cNvSpPr/>
            <p:nvPr/>
          </p:nvSpPr>
          <p:spPr>
            <a:xfrm rot="7484129">
              <a:off x="4016569" y="4837237"/>
              <a:ext cx="295167" cy="296463"/>
            </a:xfrm>
            <a:custGeom>
              <a:avLst/>
              <a:gdLst>
                <a:gd name="connsiteX0" fmla="*/ 137293 w 295167"/>
                <a:gd name="connsiteY0" fmla="*/ 296463 h 296463"/>
                <a:gd name="connsiteX1" fmla="*/ 72418 w 295167"/>
                <a:gd name="connsiteY1" fmla="*/ 175766 h 296463"/>
                <a:gd name="connsiteX2" fmla="*/ 105610 w 295167"/>
                <a:gd name="connsiteY2" fmla="*/ 83734 h 296463"/>
                <a:gd name="connsiteX3" fmla="*/ 0 w 295167"/>
                <a:gd name="connsiteY3" fmla="*/ 83734 h 296463"/>
                <a:gd name="connsiteX4" fmla="*/ 0 w 295167"/>
                <a:gd name="connsiteY4" fmla="*/ 0 h 296463"/>
                <a:gd name="connsiteX5" fmla="*/ 237110 w 295167"/>
                <a:gd name="connsiteY5" fmla="*/ 0 h 296463"/>
                <a:gd name="connsiteX6" fmla="*/ 295167 w 295167"/>
                <a:gd name="connsiteY6" fmla="*/ 83734 h 296463"/>
                <a:gd name="connsiteX7" fmla="*/ 210466 w 295167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5167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37110" y="0"/>
                  </a:lnTo>
                  <a:lnTo>
                    <a:pt x="295167" y="83734"/>
                  </a:lnTo>
                  <a:lnTo>
                    <a:pt x="210466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1" name="Forme libre : forme 710">
              <a:extLst>
                <a:ext uri="{FF2B5EF4-FFF2-40B4-BE49-F238E27FC236}">
                  <a16:creationId xmlns:a16="http://schemas.microsoft.com/office/drawing/2014/main" id="{69127492-EB65-429C-9E8A-EB2855F4256A}"/>
                </a:ext>
              </a:extLst>
            </p:cNvPr>
            <p:cNvSpPr/>
            <p:nvPr/>
          </p:nvSpPr>
          <p:spPr>
            <a:xfrm rot="13089394">
              <a:off x="4226447" y="4804985"/>
              <a:ext cx="412568" cy="314062"/>
            </a:xfrm>
            <a:custGeom>
              <a:avLst/>
              <a:gdLst>
                <a:gd name="connsiteX0" fmla="*/ 412568 w 412568"/>
                <a:gd name="connsiteY0" fmla="*/ 206915 h 314062"/>
                <a:gd name="connsiteX1" fmla="*/ 138636 w 412568"/>
                <a:gd name="connsiteY1" fmla="*/ 313815 h 314062"/>
                <a:gd name="connsiteX2" fmla="*/ 35911 w 412568"/>
                <a:gd name="connsiteY2" fmla="*/ 272057 h 314062"/>
                <a:gd name="connsiteX3" fmla="*/ 0 w 412568"/>
                <a:gd name="connsiteY3" fmla="*/ 128410 h 314062"/>
                <a:gd name="connsiteX4" fmla="*/ 0 w 412568"/>
                <a:gd name="connsiteY4" fmla="*/ 88308 h 314062"/>
                <a:gd name="connsiteX5" fmla="*/ 112395 w 412568"/>
                <a:gd name="connsiteY5" fmla="*/ 0 h 314062"/>
                <a:gd name="connsiteX6" fmla="*/ 112747 w 412568"/>
                <a:gd name="connsiteY6" fmla="*/ 49070 h 314062"/>
                <a:gd name="connsiteX7" fmla="*/ 132789 w 412568"/>
                <a:gd name="connsiteY7" fmla="*/ 187707 h 314062"/>
                <a:gd name="connsiteX8" fmla="*/ 233008 w 412568"/>
                <a:gd name="connsiteY8" fmla="*/ 242827 h 314062"/>
                <a:gd name="connsiteX9" fmla="*/ 308172 w 412568"/>
                <a:gd name="connsiteY9" fmla="*/ 229465 h 314062"/>
                <a:gd name="connsiteX10" fmla="*/ 410898 w 412568"/>
                <a:gd name="connsiteY10" fmla="*/ 187707 h 314062"/>
                <a:gd name="connsiteX11" fmla="*/ 412568 w 412568"/>
                <a:gd name="connsiteY11" fmla="*/ 198563 h 314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2568" h="314062">
                  <a:moveTo>
                    <a:pt x="412568" y="206915"/>
                  </a:moveTo>
                  <a:cubicBezTo>
                    <a:pt x="324041" y="282914"/>
                    <a:pt x="207954" y="309640"/>
                    <a:pt x="138636" y="313815"/>
                  </a:cubicBezTo>
                  <a:cubicBezTo>
                    <a:pt x="100219" y="316321"/>
                    <a:pt x="62637" y="299618"/>
                    <a:pt x="35911" y="272057"/>
                  </a:cubicBezTo>
                  <a:cubicBezTo>
                    <a:pt x="7516" y="244497"/>
                    <a:pt x="0" y="196893"/>
                    <a:pt x="0" y="128410"/>
                  </a:cubicBezTo>
                  <a:lnTo>
                    <a:pt x="0" y="88308"/>
                  </a:lnTo>
                  <a:lnTo>
                    <a:pt x="112395" y="0"/>
                  </a:lnTo>
                  <a:lnTo>
                    <a:pt x="112747" y="49070"/>
                  </a:lnTo>
                  <a:cubicBezTo>
                    <a:pt x="110241" y="95839"/>
                    <a:pt x="117756" y="143443"/>
                    <a:pt x="132789" y="187707"/>
                  </a:cubicBezTo>
                  <a:cubicBezTo>
                    <a:pt x="146153" y="224453"/>
                    <a:pt x="180394" y="242827"/>
                    <a:pt x="233008" y="242827"/>
                  </a:cubicBezTo>
                  <a:cubicBezTo>
                    <a:pt x="258899" y="241992"/>
                    <a:pt x="283953" y="236980"/>
                    <a:pt x="308172" y="229465"/>
                  </a:cubicBezTo>
                  <a:cubicBezTo>
                    <a:pt x="343249" y="218607"/>
                    <a:pt x="377491" y="204410"/>
                    <a:pt x="410898" y="187707"/>
                  </a:cubicBezTo>
                  <a:cubicBezTo>
                    <a:pt x="411732" y="191047"/>
                    <a:pt x="412568" y="195223"/>
                    <a:pt x="412568" y="1985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2" name="Forme libre : forme 711">
              <a:extLst>
                <a:ext uri="{FF2B5EF4-FFF2-40B4-BE49-F238E27FC236}">
                  <a16:creationId xmlns:a16="http://schemas.microsoft.com/office/drawing/2014/main" id="{A9287E0A-DFD9-4AA6-8680-00180265377A}"/>
                </a:ext>
              </a:extLst>
            </p:cNvPr>
            <p:cNvSpPr/>
            <p:nvPr/>
          </p:nvSpPr>
          <p:spPr>
            <a:xfrm rot="8716295">
              <a:off x="4451878" y="4500944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3" name="Forme libre : forme 712">
              <a:extLst>
                <a:ext uri="{FF2B5EF4-FFF2-40B4-BE49-F238E27FC236}">
                  <a16:creationId xmlns:a16="http://schemas.microsoft.com/office/drawing/2014/main" id="{09BFE1EA-6A4F-4D09-B373-5566A2FCD583}"/>
                </a:ext>
              </a:extLst>
            </p:cNvPr>
            <p:cNvSpPr/>
            <p:nvPr/>
          </p:nvSpPr>
          <p:spPr>
            <a:xfrm rot="8716295">
              <a:off x="4373469" y="434415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4" name="Forme libre : forme 713">
              <a:extLst>
                <a:ext uri="{FF2B5EF4-FFF2-40B4-BE49-F238E27FC236}">
                  <a16:creationId xmlns:a16="http://schemas.microsoft.com/office/drawing/2014/main" id="{CC70F404-444F-494A-8724-6872C726683C}"/>
                </a:ext>
              </a:extLst>
            </p:cNvPr>
            <p:cNvSpPr/>
            <p:nvPr/>
          </p:nvSpPr>
          <p:spPr>
            <a:xfrm rot="8716295">
              <a:off x="4005305" y="438989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5" name="Forme libre : forme 714">
              <a:extLst>
                <a:ext uri="{FF2B5EF4-FFF2-40B4-BE49-F238E27FC236}">
                  <a16:creationId xmlns:a16="http://schemas.microsoft.com/office/drawing/2014/main" id="{C68DC1E1-E9D4-49BF-9F20-12E6BA298FAB}"/>
                </a:ext>
              </a:extLst>
            </p:cNvPr>
            <p:cNvSpPr/>
            <p:nvPr/>
          </p:nvSpPr>
          <p:spPr>
            <a:xfrm rot="8716295">
              <a:off x="4273886" y="414887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6" name="Forme libre : forme 715">
              <a:extLst>
                <a:ext uri="{FF2B5EF4-FFF2-40B4-BE49-F238E27FC236}">
                  <a16:creationId xmlns:a16="http://schemas.microsoft.com/office/drawing/2014/main" id="{298BA06B-FD3E-484C-A9BF-444E13BFC20E}"/>
                </a:ext>
              </a:extLst>
            </p:cNvPr>
            <p:cNvSpPr/>
            <p:nvPr/>
          </p:nvSpPr>
          <p:spPr>
            <a:xfrm rot="8716295">
              <a:off x="2776288" y="273581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7" name="Forme libre : forme 716">
              <a:extLst>
                <a:ext uri="{FF2B5EF4-FFF2-40B4-BE49-F238E27FC236}">
                  <a16:creationId xmlns:a16="http://schemas.microsoft.com/office/drawing/2014/main" id="{577CA89A-0469-4E44-B3B7-615251B777E0}"/>
                </a:ext>
              </a:extLst>
            </p:cNvPr>
            <p:cNvSpPr/>
            <p:nvPr/>
          </p:nvSpPr>
          <p:spPr>
            <a:xfrm rot="8716295">
              <a:off x="2911587" y="278007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8" name="Forme libre : forme 717">
              <a:extLst>
                <a:ext uri="{FF2B5EF4-FFF2-40B4-BE49-F238E27FC236}">
                  <a16:creationId xmlns:a16="http://schemas.microsoft.com/office/drawing/2014/main" id="{9749DAD3-E0F7-4F67-A9A9-D46BE20CA2A5}"/>
                </a:ext>
              </a:extLst>
            </p:cNvPr>
            <p:cNvSpPr/>
            <p:nvPr/>
          </p:nvSpPr>
          <p:spPr>
            <a:xfrm rot="8716295">
              <a:off x="2843704" y="2649488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9" name="Forme libre : forme 718">
              <a:extLst>
                <a:ext uri="{FF2B5EF4-FFF2-40B4-BE49-F238E27FC236}">
                  <a16:creationId xmlns:a16="http://schemas.microsoft.com/office/drawing/2014/main" id="{CC1D1038-8879-442B-B224-29424F89407C}"/>
                </a:ext>
              </a:extLst>
            </p:cNvPr>
            <p:cNvSpPr/>
            <p:nvPr/>
          </p:nvSpPr>
          <p:spPr>
            <a:xfrm rot="8716295">
              <a:off x="2606417" y="286983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0" name="Forme libre : forme 719">
              <a:extLst>
                <a:ext uri="{FF2B5EF4-FFF2-40B4-BE49-F238E27FC236}">
                  <a16:creationId xmlns:a16="http://schemas.microsoft.com/office/drawing/2014/main" id="{7C27CA1B-5474-4334-B2BC-5D5F6D801B37}"/>
                </a:ext>
              </a:extLst>
            </p:cNvPr>
            <p:cNvSpPr/>
            <p:nvPr/>
          </p:nvSpPr>
          <p:spPr>
            <a:xfrm rot="8716295">
              <a:off x="2417371" y="255399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1" name="Forme libre : forme 720">
              <a:extLst>
                <a:ext uri="{FF2B5EF4-FFF2-40B4-BE49-F238E27FC236}">
                  <a16:creationId xmlns:a16="http://schemas.microsoft.com/office/drawing/2014/main" id="{1789A997-6AF9-488A-BF6F-ED804306AC57}"/>
                </a:ext>
              </a:extLst>
            </p:cNvPr>
            <p:cNvSpPr/>
            <p:nvPr/>
          </p:nvSpPr>
          <p:spPr>
            <a:xfrm rot="8716295">
              <a:off x="2399130" y="2343948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2" name="Forme libre : forme 721">
              <a:extLst>
                <a:ext uri="{FF2B5EF4-FFF2-40B4-BE49-F238E27FC236}">
                  <a16:creationId xmlns:a16="http://schemas.microsoft.com/office/drawing/2014/main" id="{FDF8E98E-E1F4-4CD9-8714-50552C557374}"/>
                </a:ext>
              </a:extLst>
            </p:cNvPr>
            <p:cNvSpPr/>
            <p:nvPr/>
          </p:nvSpPr>
          <p:spPr>
            <a:xfrm rot="8716295">
              <a:off x="2742905" y="293181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3" name="Forme libre : forme 722">
              <a:extLst>
                <a:ext uri="{FF2B5EF4-FFF2-40B4-BE49-F238E27FC236}">
                  <a16:creationId xmlns:a16="http://schemas.microsoft.com/office/drawing/2014/main" id="{540D8D51-C0CC-45F4-A59F-CAB41A6564F1}"/>
                </a:ext>
              </a:extLst>
            </p:cNvPr>
            <p:cNvSpPr/>
            <p:nvPr/>
          </p:nvSpPr>
          <p:spPr>
            <a:xfrm rot="8716295">
              <a:off x="3213852" y="235720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4" name="Forme libre : forme 723">
              <a:extLst>
                <a:ext uri="{FF2B5EF4-FFF2-40B4-BE49-F238E27FC236}">
                  <a16:creationId xmlns:a16="http://schemas.microsoft.com/office/drawing/2014/main" id="{BA2BD7E8-A818-4C94-80AE-9E437B07AD6D}"/>
                </a:ext>
              </a:extLst>
            </p:cNvPr>
            <p:cNvSpPr/>
            <p:nvPr/>
          </p:nvSpPr>
          <p:spPr>
            <a:xfrm rot="8716295">
              <a:off x="3349151" y="240146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5" name="Forme libre : forme 724">
              <a:extLst>
                <a:ext uri="{FF2B5EF4-FFF2-40B4-BE49-F238E27FC236}">
                  <a16:creationId xmlns:a16="http://schemas.microsoft.com/office/drawing/2014/main" id="{BC52E005-0165-4382-BA93-B99E2F033DF8}"/>
                </a:ext>
              </a:extLst>
            </p:cNvPr>
            <p:cNvSpPr/>
            <p:nvPr/>
          </p:nvSpPr>
          <p:spPr>
            <a:xfrm rot="8716295">
              <a:off x="3043981" y="249121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6" name="Forme libre : forme 725">
              <a:extLst>
                <a:ext uri="{FF2B5EF4-FFF2-40B4-BE49-F238E27FC236}">
                  <a16:creationId xmlns:a16="http://schemas.microsoft.com/office/drawing/2014/main" id="{1EFDB2CB-3D68-4219-904B-16E2BB8FC2A1}"/>
                </a:ext>
              </a:extLst>
            </p:cNvPr>
            <p:cNvSpPr/>
            <p:nvPr/>
          </p:nvSpPr>
          <p:spPr>
            <a:xfrm rot="8716295">
              <a:off x="2854936" y="217538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7" name="Forme libre : forme 726">
              <a:extLst>
                <a:ext uri="{FF2B5EF4-FFF2-40B4-BE49-F238E27FC236}">
                  <a16:creationId xmlns:a16="http://schemas.microsoft.com/office/drawing/2014/main" id="{0453BE2C-684C-42DC-9D76-B653DD2CA6D7}"/>
                </a:ext>
              </a:extLst>
            </p:cNvPr>
            <p:cNvSpPr/>
            <p:nvPr/>
          </p:nvSpPr>
          <p:spPr>
            <a:xfrm rot="8716295">
              <a:off x="3180469" y="255320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8" name="Forme libre : forme 727">
              <a:extLst>
                <a:ext uri="{FF2B5EF4-FFF2-40B4-BE49-F238E27FC236}">
                  <a16:creationId xmlns:a16="http://schemas.microsoft.com/office/drawing/2014/main" id="{AB96B288-5418-4DF4-9F46-9CC63BBD2345}"/>
                </a:ext>
              </a:extLst>
            </p:cNvPr>
            <p:cNvSpPr/>
            <p:nvPr/>
          </p:nvSpPr>
          <p:spPr>
            <a:xfrm rot="8716295">
              <a:off x="2815023" y="232677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9" name="Forme libre : forme 728">
              <a:extLst>
                <a:ext uri="{FF2B5EF4-FFF2-40B4-BE49-F238E27FC236}">
                  <a16:creationId xmlns:a16="http://schemas.microsoft.com/office/drawing/2014/main" id="{219BA0B1-2BDE-4311-A560-60C891B83CA0}"/>
                </a:ext>
              </a:extLst>
            </p:cNvPr>
            <p:cNvSpPr/>
            <p:nvPr/>
          </p:nvSpPr>
          <p:spPr>
            <a:xfrm rot="7484129">
              <a:off x="3339287" y="284281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0" name="Forme libre : forme 729">
              <a:extLst>
                <a:ext uri="{FF2B5EF4-FFF2-40B4-BE49-F238E27FC236}">
                  <a16:creationId xmlns:a16="http://schemas.microsoft.com/office/drawing/2014/main" id="{73441630-8A4E-4926-A949-79FBC53AB30A}"/>
                </a:ext>
              </a:extLst>
            </p:cNvPr>
            <p:cNvSpPr/>
            <p:nvPr/>
          </p:nvSpPr>
          <p:spPr>
            <a:xfrm rot="13089394">
              <a:off x="3497937" y="279216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1" name="Forme libre : forme 730">
              <a:extLst>
                <a:ext uri="{FF2B5EF4-FFF2-40B4-BE49-F238E27FC236}">
                  <a16:creationId xmlns:a16="http://schemas.microsoft.com/office/drawing/2014/main" id="{6718FCAC-EC9F-4D5D-A7BA-5D07B614DD91}"/>
                </a:ext>
              </a:extLst>
            </p:cNvPr>
            <p:cNvSpPr/>
            <p:nvPr/>
          </p:nvSpPr>
          <p:spPr>
            <a:xfrm rot="8716295">
              <a:off x="3778828" y="2502048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2" name="Forme libre : forme 731">
              <a:extLst>
                <a:ext uri="{FF2B5EF4-FFF2-40B4-BE49-F238E27FC236}">
                  <a16:creationId xmlns:a16="http://schemas.microsoft.com/office/drawing/2014/main" id="{C6B6BF34-8D01-4B90-A150-1A215193326B}"/>
                </a:ext>
              </a:extLst>
            </p:cNvPr>
            <p:cNvSpPr/>
            <p:nvPr/>
          </p:nvSpPr>
          <p:spPr>
            <a:xfrm rot="8716295">
              <a:off x="3700418" y="234525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3" name="Forme libre : forme 732">
              <a:extLst>
                <a:ext uri="{FF2B5EF4-FFF2-40B4-BE49-F238E27FC236}">
                  <a16:creationId xmlns:a16="http://schemas.microsoft.com/office/drawing/2014/main" id="{46601907-3441-4476-B018-C88CFDF3BCEE}"/>
                </a:ext>
              </a:extLst>
            </p:cNvPr>
            <p:cNvSpPr/>
            <p:nvPr/>
          </p:nvSpPr>
          <p:spPr>
            <a:xfrm rot="8716295">
              <a:off x="3332255" y="239099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4" name="Forme libre : forme 733">
              <a:extLst>
                <a:ext uri="{FF2B5EF4-FFF2-40B4-BE49-F238E27FC236}">
                  <a16:creationId xmlns:a16="http://schemas.microsoft.com/office/drawing/2014/main" id="{7101F228-FC4A-45AF-B301-D6AE8B2C4CB0}"/>
                </a:ext>
              </a:extLst>
            </p:cNvPr>
            <p:cNvSpPr/>
            <p:nvPr/>
          </p:nvSpPr>
          <p:spPr>
            <a:xfrm rot="8716295">
              <a:off x="3600836" y="214997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5" name="Forme libre : forme 734">
              <a:extLst>
                <a:ext uri="{FF2B5EF4-FFF2-40B4-BE49-F238E27FC236}">
                  <a16:creationId xmlns:a16="http://schemas.microsoft.com/office/drawing/2014/main" id="{5EBBC394-2EF2-49FF-9DD5-B3DBEC059683}"/>
                </a:ext>
              </a:extLst>
            </p:cNvPr>
            <p:cNvSpPr/>
            <p:nvPr/>
          </p:nvSpPr>
          <p:spPr>
            <a:xfrm rot="8716295">
              <a:off x="2438515" y="173733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6" name="Forme libre : forme 735">
              <a:extLst>
                <a:ext uri="{FF2B5EF4-FFF2-40B4-BE49-F238E27FC236}">
                  <a16:creationId xmlns:a16="http://schemas.microsoft.com/office/drawing/2014/main" id="{9E64E25E-5581-4C5A-8FFA-6FA4EC36C5FC}"/>
                </a:ext>
              </a:extLst>
            </p:cNvPr>
            <p:cNvSpPr/>
            <p:nvPr/>
          </p:nvSpPr>
          <p:spPr>
            <a:xfrm rot="8716295">
              <a:off x="2573814" y="178159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7" name="Forme libre : forme 736">
              <a:extLst>
                <a:ext uri="{FF2B5EF4-FFF2-40B4-BE49-F238E27FC236}">
                  <a16:creationId xmlns:a16="http://schemas.microsoft.com/office/drawing/2014/main" id="{3EEB2466-11BF-47A2-B0A2-3EC6461F6092}"/>
                </a:ext>
              </a:extLst>
            </p:cNvPr>
            <p:cNvSpPr/>
            <p:nvPr/>
          </p:nvSpPr>
          <p:spPr>
            <a:xfrm rot="8716295">
              <a:off x="2505931" y="1651005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8" name="Forme libre : forme 737">
              <a:extLst>
                <a:ext uri="{FF2B5EF4-FFF2-40B4-BE49-F238E27FC236}">
                  <a16:creationId xmlns:a16="http://schemas.microsoft.com/office/drawing/2014/main" id="{E5AEA02F-88F3-46C9-8F84-C3EEF35923D9}"/>
                </a:ext>
              </a:extLst>
            </p:cNvPr>
            <p:cNvSpPr/>
            <p:nvPr/>
          </p:nvSpPr>
          <p:spPr>
            <a:xfrm rot="8716295">
              <a:off x="2268644" y="187135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9" name="Forme libre : forme 738">
              <a:extLst>
                <a:ext uri="{FF2B5EF4-FFF2-40B4-BE49-F238E27FC236}">
                  <a16:creationId xmlns:a16="http://schemas.microsoft.com/office/drawing/2014/main" id="{F1E768B8-3CD2-494D-853A-78A7274AEC37}"/>
                </a:ext>
              </a:extLst>
            </p:cNvPr>
            <p:cNvSpPr/>
            <p:nvPr/>
          </p:nvSpPr>
          <p:spPr>
            <a:xfrm rot="8716295">
              <a:off x="2079598" y="155551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0" name="Forme libre : forme 739">
              <a:extLst>
                <a:ext uri="{FF2B5EF4-FFF2-40B4-BE49-F238E27FC236}">
                  <a16:creationId xmlns:a16="http://schemas.microsoft.com/office/drawing/2014/main" id="{262ED69B-72FE-45DC-B072-76F3A4FAF2D5}"/>
                </a:ext>
              </a:extLst>
            </p:cNvPr>
            <p:cNvSpPr/>
            <p:nvPr/>
          </p:nvSpPr>
          <p:spPr>
            <a:xfrm rot="8716295">
              <a:off x="2061357" y="1345465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1" name="Forme libre : forme 740">
              <a:extLst>
                <a:ext uri="{FF2B5EF4-FFF2-40B4-BE49-F238E27FC236}">
                  <a16:creationId xmlns:a16="http://schemas.microsoft.com/office/drawing/2014/main" id="{0C3B92CD-7E55-4069-8C6E-6C53FF103262}"/>
                </a:ext>
              </a:extLst>
            </p:cNvPr>
            <p:cNvSpPr/>
            <p:nvPr/>
          </p:nvSpPr>
          <p:spPr>
            <a:xfrm rot="8716295">
              <a:off x="2405132" y="1933333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2" name="Forme libre : forme 741">
              <a:extLst>
                <a:ext uri="{FF2B5EF4-FFF2-40B4-BE49-F238E27FC236}">
                  <a16:creationId xmlns:a16="http://schemas.microsoft.com/office/drawing/2014/main" id="{12042862-BD55-4332-A928-2CD906AA369E}"/>
                </a:ext>
              </a:extLst>
            </p:cNvPr>
            <p:cNvSpPr/>
            <p:nvPr/>
          </p:nvSpPr>
          <p:spPr>
            <a:xfrm rot="8716295">
              <a:off x="2876079" y="135871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3" name="Forme libre : forme 742">
              <a:extLst>
                <a:ext uri="{FF2B5EF4-FFF2-40B4-BE49-F238E27FC236}">
                  <a16:creationId xmlns:a16="http://schemas.microsoft.com/office/drawing/2014/main" id="{6200C6E7-66CB-4309-B7D9-EFB7EDC24787}"/>
                </a:ext>
              </a:extLst>
            </p:cNvPr>
            <p:cNvSpPr/>
            <p:nvPr/>
          </p:nvSpPr>
          <p:spPr>
            <a:xfrm rot="8716295">
              <a:off x="3011378" y="140297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4" name="Forme libre : forme 743">
              <a:extLst>
                <a:ext uri="{FF2B5EF4-FFF2-40B4-BE49-F238E27FC236}">
                  <a16:creationId xmlns:a16="http://schemas.microsoft.com/office/drawing/2014/main" id="{AB122FD1-795D-425A-8721-EBB048E97CAB}"/>
                </a:ext>
              </a:extLst>
            </p:cNvPr>
            <p:cNvSpPr/>
            <p:nvPr/>
          </p:nvSpPr>
          <p:spPr>
            <a:xfrm rot="8716295">
              <a:off x="2706208" y="14927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5" name="Forme libre : forme 744">
              <a:extLst>
                <a:ext uri="{FF2B5EF4-FFF2-40B4-BE49-F238E27FC236}">
                  <a16:creationId xmlns:a16="http://schemas.microsoft.com/office/drawing/2014/main" id="{A1E137E0-6CF8-46C5-92D9-A51059448C1A}"/>
                </a:ext>
              </a:extLst>
            </p:cNvPr>
            <p:cNvSpPr/>
            <p:nvPr/>
          </p:nvSpPr>
          <p:spPr>
            <a:xfrm rot="8716295">
              <a:off x="2517163" y="11768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6" name="Forme libre : forme 745">
              <a:extLst>
                <a:ext uri="{FF2B5EF4-FFF2-40B4-BE49-F238E27FC236}">
                  <a16:creationId xmlns:a16="http://schemas.microsoft.com/office/drawing/2014/main" id="{7C3852D8-DFED-42E7-A4AD-A39FE8954AC8}"/>
                </a:ext>
              </a:extLst>
            </p:cNvPr>
            <p:cNvSpPr/>
            <p:nvPr/>
          </p:nvSpPr>
          <p:spPr>
            <a:xfrm rot="8716295">
              <a:off x="2842696" y="1554717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7" name="Forme libre : forme 746">
              <a:extLst>
                <a:ext uri="{FF2B5EF4-FFF2-40B4-BE49-F238E27FC236}">
                  <a16:creationId xmlns:a16="http://schemas.microsoft.com/office/drawing/2014/main" id="{62C60140-F01F-4488-BD03-9C9619AC1EB0}"/>
                </a:ext>
              </a:extLst>
            </p:cNvPr>
            <p:cNvSpPr/>
            <p:nvPr/>
          </p:nvSpPr>
          <p:spPr>
            <a:xfrm rot="8716295">
              <a:off x="2477250" y="1328291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8" name="Forme libre : forme 747">
              <a:extLst>
                <a:ext uri="{FF2B5EF4-FFF2-40B4-BE49-F238E27FC236}">
                  <a16:creationId xmlns:a16="http://schemas.microsoft.com/office/drawing/2014/main" id="{DBD569FB-C0A0-4F7B-87D2-0E26460F3557}"/>
                </a:ext>
              </a:extLst>
            </p:cNvPr>
            <p:cNvSpPr/>
            <p:nvPr/>
          </p:nvSpPr>
          <p:spPr>
            <a:xfrm rot="7484129">
              <a:off x="3001514" y="184433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9" name="Forme libre : forme 748">
              <a:extLst>
                <a:ext uri="{FF2B5EF4-FFF2-40B4-BE49-F238E27FC236}">
                  <a16:creationId xmlns:a16="http://schemas.microsoft.com/office/drawing/2014/main" id="{ABE42921-5DDC-4180-B584-E88059248493}"/>
                </a:ext>
              </a:extLst>
            </p:cNvPr>
            <p:cNvSpPr/>
            <p:nvPr/>
          </p:nvSpPr>
          <p:spPr>
            <a:xfrm rot="13089394">
              <a:off x="3160164" y="1793683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0" name="Forme libre : forme 749">
              <a:extLst>
                <a:ext uri="{FF2B5EF4-FFF2-40B4-BE49-F238E27FC236}">
                  <a16:creationId xmlns:a16="http://schemas.microsoft.com/office/drawing/2014/main" id="{88F98A94-8006-4488-8030-242FB6A3DA5A}"/>
                </a:ext>
              </a:extLst>
            </p:cNvPr>
            <p:cNvSpPr/>
            <p:nvPr/>
          </p:nvSpPr>
          <p:spPr>
            <a:xfrm rot="8716295">
              <a:off x="3441055" y="1503565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1" name="Forme libre : forme 750">
              <a:extLst>
                <a:ext uri="{FF2B5EF4-FFF2-40B4-BE49-F238E27FC236}">
                  <a16:creationId xmlns:a16="http://schemas.microsoft.com/office/drawing/2014/main" id="{A5A850AA-45A2-4846-8949-3857C38E889C}"/>
                </a:ext>
              </a:extLst>
            </p:cNvPr>
            <p:cNvSpPr/>
            <p:nvPr/>
          </p:nvSpPr>
          <p:spPr>
            <a:xfrm rot="8716295">
              <a:off x="3362645" y="134677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2" name="Forme libre : forme 751">
              <a:extLst>
                <a:ext uri="{FF2B5EF4-FFF2-40B4-BE49-F238E27FC236}">
                  <a16:creationId xmlns:a16="http://schemas.microsoft.com/office/drawing/2014/main" id="{5A64EB05-BC9D-42E7-8426-0CAB9C6910F8}"/>
                </a:ext>
              </a:extLst>
            </p:cNvPr>
            <p:cNvSpPr/>
            <p:nvPr/>
          </p:nvSpPr>
          <p:spPr>
            <a:xfrm rot="8716295">
              <a:off x="2994482" y="13925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3" name="Forme libre : forme 752">
              <a:extLst>
                <a:ext uri="{FF2B5EF4-FFF2-40B4-BE49-F238E27FC236}">
                  <a16:creationId xmlns:a16="http://schemas.microsoft.com/office/drawing/2014/main" id="{95781397-8B1D-423E-A53F-48B75A5D7E91}"/>
                </a:ext>
              </a:extLst>
            </p:cNvPr>
            <p:cNvSpPr/>
            <p:nvPr/>
          </p:nvSpPr>
          <p:spPr>
            <a:xfrm rot="8716295">
              <a:off x="3263063" y="115149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4" name="Forme libre : forme 753">
              <a:extLst>
                <a:ext uri="{FF2B5EF4-FFF2-40B4-BE49-F238E27FC236}">
                  <a16:creationId xmlns:a16="http://schemas.microsoft.com/office/drawing/2014/main" id="{BF63C671-ADC0-4488-BE74-E17F46742365}"/>
                </a:ext>
              </a:extLst>
            </p:cNvPr>
            <p:cNvSpPr/>
            <p:nvPr/>
          </p:nvSpPr>
          <p:spPr>
            <a:xfrm rot="8716295">
              <a:off x="2107141" y="73528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5" name="Forme libre : forme 754">
              <a:extLst>
                <a:ext uri="{FF2B5EF4-FFF2-40B4-BE49-F238E27FC236}">
                  <a16:creationId xmlns:a16="http://schemas.microsoft.com/office/drawing/2014/main" id="{5BC60D3E-6680-4205-9719-A6BFD5B4CA74}"/>
                </a:ext>
              </a:extLst>
            </p:cNvPr>
            <p:cNvSpPr/>
            <p:nvPr/>
          </p:nvSpPr>
          <p:spPr>
            <a:xfrm rot="8716295">
              <a:off x="2242440" y="77954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6" name="Forme libre : forme 755">
              <a:extLst>
                <a:ext uri="{FF2B5EF4-FFF2-40B4-BE49-F238E27FC236}">
                  <a16:creationId xmlns:a16="http://schemas.microsoft.com/office/drawing/2014/main" id="{B24E0A86-3E95-492C-8ED3-DB42420B5F2B}"/>
                </a:ext>
              </a:extLst>
            </p:cNvPr>
            <p:cNvSpPr/>
            <p:nvPr/>
          </p:nvSpPr>
          <p:spPr>
            <a:xfrm rot="8716295">
              <a:off x="2174558" y="64895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7" name="Forme libre : forme 756">
              <a:extLst>
                <a:ext uri="{FF2B5EF4-FFF2-40B4-BE49-F238E27FC236}">
                  <a16:creationId xmlns:a16="http://schemas.microsoft.com/office/drawing/2014/main" id="{5279EA4A-802F-4479-832C-B17D45EE4AD8}"/>
                </a:ext>
              </a:extLst>
            </p:cNvPr>
            <p:cNvSpPr/>
            <p:nvPr/>
          </p:nvSpPr>
          <p:spPr>
            <a:xfrm rot="8716295">
              <a:off x="1937270" y="86929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8" name="Forme libre : forme 757">
              <a:extLst>
                <a:ext uri="{FF2B5EF4-FFF2-40B4-BE49-F238E27FC236}">
                  <a16:creationId xmlns:a16="http://schemas.microsoft.com/office/drawing/2014/main" id="{943A13E3-FDDC-4FFC-86C5-237B81D039F9}"/>
                </a:ext>
              </a:extLst>
            </p:cNvPr>
            <p:cNvSpPr/>
            <p:nvPr/>
          </p:nvSpPr>
          <p:spPr>
            <a:xfrm rot="8716295">
              <a:off x="1748224" y="55346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9" name="Forme libre : forme 758">
              <a:extLst>
                <a:ext uri="{FF2B5EF4-FFF2-40B4-BE49-F238E27FC236}">
                  <a16:creationId xmlns:a16="http://schemas.microsoft.com/office/drawing/2014/main" id="{9A27531B-9027-43C6-B072-6C625D2EAEE5}"/>
                </a:ext>
              </a:extLst>
            </p:cNvPr>
            <p:cNvSpPr/>
            <p:nvPr/>
          </p:nvSpPr>
          <p:spPr>
            <a:xfrm rot="8716295">
              <a:off x="1729983" y="34341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0" name="Forme libre : forme 759">
              <a:extLst>
                <a:ext uri="{FF2B5EF4-FFF2-40B4-BE49-F238E27FC236}">
                  <a16:creationId xmlns:a16="http://schemas.microsoft.com/office/drawing/2014/main" id="{8C15947E-E7FF-4002-9209-9AF916BECF4E}"/>
                </a:ext>
              </a:extLst>
            </p:cNvPr>
            <p:cNvSpPr/>
            <p:nvPr/>
          </p:nvSpPr>
          <p:spPr>
            <a:xfrm rot="8716295">
              <a:off x="2073759" y="93127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1" name="Forme libre : forme 760">
              <a:extLst>
                <a:ext uri="{FF2B5EF4-FFF2-40B4-BE49-F238E27FC236}">
                  <a16:creationId xmlns:a16="http://schemas.microsoft.com/office/drawing/2014/main" id="{ED09FFD5-E403-40C0-982A-82CB1DFAD2FA}"/>
                </a:ext>
              </a:extLst>
            </p:cNvPr>
            <p:cNvSpPr/>
            <p:nvPr/>
          </p:nvSpPr>
          <p:spPr>
            <a:xfrm rot="8716295">
              <a:off x="2544705" y="35666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2" name="Forme libre : forme 761">
              <a:extLst>
                <a:ext uri="{FF2B5EF4-FFF2-40B4-BE49-F238E27FC236}">
                  <a16:creationId xmlns:a16="http://schemas.microsoft.com/office/drawing/2014/main" id="{6A20B064-35E9-40B2-8DEC-7F7E78DD5E29}"/>
                </a:ext>
              </a:extLst>
            </p:cNvPr>
            <p:cNvSpPr/>
            <p:nvPr/>
          </p:nvSpPr>
          <p:spPr>
            <a:xfrm rot="8716295">
              <a:off x="2680004" y="40092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3" name="Forme libre : forme 762">
              <a:extLst>
                <a:ext uri="{FF2B5EF4-FFF2-40B4-BE49-F238E27FC236}">
                  <a16:creationId xmlns:a16="http://schemas.microsoft.com/office/drawing/2014/main" id="{95066C84-9BA0-40F5-8ABE-4330ED4CAA56}"/>
                </a:ext>
              </a:extLst>
            </p:cNvPr>
            <p:cNvSpPr/>
            <p:nvPr/>
          </p:nvSpPr>
          <p:spPr>
            <a:xfrm rot="8716295">
              <a:off x="2374834" y="49068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4" name="Forme libre : forme 763">
              <a:extLst>
                <a:ext uri="{FF2B5EF4-FFF2-40B4-BE49-F238E27FC236}">
                  <a16:creationId xmlns:a16="http://schemas.microsoft.com/office/drawing/2014/main" id="{813C7B43-B2B3-4F1D-9157-BDC0F9C5A32B}"/>
                </a:ext>
              </a:extLst>
            </p:cNvPr>
            <p:cNvSpPr/>
            <p:nvPr/>
          </p:nvSpPr>
          <p:spPr>
            <a:xfrm rot="8716295">
              <a:off x="2185790" y="17484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5" name="Forme libre : forme 764">
              <a:extLst>
                <a:ext uri="{FF2B5EF4-FFF2-40B4-BE49-F238E27FC236}">
                  <a16:creationId xmlns:a16="http://schemas.microsoft.com/office/drawing/2014/main" id="{7B9B20DE-10B5-415B-AF37-1A858BED9045}"/>
                </a:ext>
              </a:extLst>
            </p:cNvPr>
            <p:cNvSpPr/>
            <p:nvPr/>
          </p:nvSpPr>
          <p:spPr>
            <a:xfrm rot="8716295">
              <a:off x="2511323" y="552663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6" name="Forme libre : forme 765">
              <a:extLst>
                <a:ext uri="{FF2B5EF4-FFF2-40B4-BE49-F238E27FC236}">
                  <a16:creationId xmlns:a16="http://schemas.microsoft.com/office/drawing/2014/main" id="{C142A28D-5F4A-435F-8A0C-3EE1232B3316}"/>
                </a:ext>
              </a:extLst>
            </p:cNvPr>
            <p:cNvSpPr/>
            <p:nvPr/>
          </p:nvSpPr>
          <p:spPr>
            <a:xfrm rot="8716295">
              <a:off x="2145876" y="32623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7" name="Forme libre : forme 766">
              <a:extLst>
                <a:ext uri="{FF2B5EF4-FFF2-40B4-BE49-F238E27FC236}">
                  <a16:creationId xmlns:a16="http://schemas.microsoft.com/office/drawing/2014/main" id="{53A62157-BB8A-476A-AC97-60C47D01F065}"/>
                </a:ext>
              </a:extLst>
            </p:cNvPr>
            <p:cNvSpPr/>
            <p:nvPr/>
          </p:nvSpPr>
          <p:spPr>
            <a:xfrm rot="7484129">
              <a:off x="2670140" y="84228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8" name="Forme libre : forme 767">
              <a:extLst>
                <a:ext uri="{FF2B5EF4-FFF2-40B4-BE49-F238E27FC236}">
                  <a16:creationId xmlns:a16="http://schemas.microsoft.com/office/drawing/2014/main" id="{4DFDA964-86BB-4756-BFFD-A4BB45FDCCFC}"/>
                </a:ext>
              </a:extLst>
            </p:cNvPr>
            <p:cNvSpPr/>
            <p:nvPr/>
          </p:nvSpPr>
          <p:spPr>
            <a:xfrm rot="13089394">
              <a:off x="2828790" y="791629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9" name="Forme libre : forme 768">
              <a:extLst>
                <a:ext uri="{FF2B5EF4-FFF2-40B4-BE49-F238E27FC236}">
                  <a16:creationId xmlns:a16="http://schemas.microsoft.com/office/drawing/2014/main" id="{F236D03A-C489-49B6-877B-67DCE2BF8270}"/>
                </a:ext>
              </a:extLst>
            </p:cNvPr>
            <p:cNvSpPr/>
            <p:nvPr/>
          </p:nvSpPr>
          <p:spPr>
            <a:xfrm rot="8716295">
              <a:off x="3109681" y="501511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0" name="Forme libre : forme 769">
              <a:extLst>
                <a:ext uri="{FF2B5EF4-FFF2-40B4-BE49-F238E27FC236}">
                  <a16:creationId xmlns:a16="http://schemas.microsoft.com/office/drawing/2014/main" id="{EBC623F4-7089-4B8F-B837-05F42B99914B}"/>
                </a:ext>
              </a:extLst>
            </p:cNvPr>
            <p:cNvSpPr/>
            <p:nvPr/>
          </p:nvSpPr>
          <p:spPr>
            <a:xfrm rot="8716295">
              <a:off x="3031272" y="344719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1" name="Forme libre : forme 770">
              <a:extLst>
                <a:ext uri="{FF2B5EF4-FFF2-40B4-BE49-F238E27FC236}">
                  <a16:creationId xmlns:a16="http://schemas.microsoft.com/office/drawing/2014/main" id="{1655DDF2-D4FC-4FBB-BBB8-910D2AC4BA5B}"/>
                </a:ext>
              </a:extLst>
            </p:cNvPr>
            <p:cNvSpPr/>
            <p:nvPr/>
          </p:nvSpPr>
          <p:spPr>
            <a:xfrm rot="8716295">
              <a:off x="2663108" y="39046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2" name="Forme libre : forme 771">
              <a:extLst>
                <a:ext uri="{FF2B5EF4-FFF2-40B4-BE49-F238E27FC236}">
                  <a16:creationId xmlns:a16="http://schemas.microsoft.com/office/drawing/2014/main" id="{542FABCE-557E-498E-A52F-DA91EDA52BBF}"/>
                </a:ext>
              </a:extLst>
            </p:cNvPr>
            <p:cNvSpPr/>
            <p:nvPr/>
          </p:nvSpPr>
          <p:spPr>
            <a:xfrm rot="8716295">
              <a:off x="2931690" y="14944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3" name="Forme libre : forme 772">
              <a:extLst>
                <a:ext uri="{FF2B5EF4-FFF2-40B4-BE49-F238E27FC236}">
                  <a16:creationId xmlns:a16="http://schemas.microsoft.com/office/drawing/2014/main" id="{1D6DD177-B2DC-4E34-A45B-89523B9B78BB}"/>
                </a:ext>
              </a:extLst>
            </p:cNvPr>
            <p:cNvSpPr/>
            <p:nvPr/>
          </p:nvSpPr>
          <p:spPr>
            <a:xfrm rot="8716295">
              <a:off x="1834766" y="-57684"/>
              <a:ext cx="186564" cy="129320"/>
            </a:xfrm>
            <a:custGeom>
              <a:avLst/>
              <a:gdLst>
                <a:gd name="connsiteX0" fmla="*/ 123263 w 123263"/>
                <a:gd name="connsiteY0" fmla="*/ 85442 h 85442"/>
                <a:gd name="connsiteX1" fmla="*/ 0 w 123263"/>
                <a:gd name="connsiteY1" fmla="*/ 0 h 85442"/>
                <a:gd name="connsiteX2" fmla="*/ 66305 w 123263"/>
                <a:gd name="connsiteY2" fmla="*/ 0 h 85442"/>
                <a:gd name="connsiteX3" fmla="*/ 123263 w 123263"/>
                <a:gd name="connsiteY3" fmla="*/ 50123 h 85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63" h="85442">
                  <a:moveTo>
                    <a:pt x="123263" y="85442"/>
                  </a:moveTo>
                  <a:lnTo>
                    <a:pt x="0" y="0"/>
                  </a:lnTo>
                  <a:lnTo>
                    <a:pt x="66305" y="0"/>
                  </a:lnTo>
                  <a:cubicBezTo>
                    <a:pt x="103214" y="0"/>
                    <a:pt x="123263" y="15948"/>
                    <a:pt x="123263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4" name="Forme libre : forme 773">
              <a:extLst>
                <a:ext uri="{FF2B5EF4-FFF2-40B4-BE49-F238E27FC236}">
                  <a16:creationId xmlns:a16="http://schemas.microsoft.com/office/drawing/2014/main" id="{4B325E05-93D6-4729-AC8E-3EF546AA40C7}"/>
                </a:ext>
              </a:extLst>
            </p:cNvPr>
            <p:cNvSpPr/>
            <p:nvPr/>
          </p:nvSpPr>
          <p:spPr>
            <a:xfrm rot="8716295">
              <a:off x="1969949" y="-13794"/>
              <a:ext cx="394488" cy="148365"/>
            </a:xfrm>
            <a:custGeom>
              <a:avLst/>
              <a:gdLst>
                <a:gd name="connsiteX0" fmla="*/ 104802 w 260639"/>
                <a:gd name="connsiteY0" fmla="*/ 74264 h 98025"/>
                <a:gd name="connsiteX1" fmla="*/ 0 w 260639"/>
                <a:gd name="connsiteY1" fmla="*/ 1618 h 98025"/>
                <a:gd name="connsiteX2" fmla="*/ 0 w 260639"/>
                <a:gd name="connsiteY2" fmla="*/ 1425 h 98025"/>
                <a:gd name="connsiteX3" fmla="*/ 104803 w 260639"/>
                <a:gd name="connsiteY3" fmla="*/ 1425 h 98025"/>
                <a:gd name="connsiteX4" fmla="*/ 122123 w 260639"/>
                <a:gd name="connsiteY4" fmla="*/ 86270 h 98025"/>
                <a:gd name="connsiteX5" fmla="*/ 106178 w 260639"/>
                <a:gd name="connsiteY5" fmla="*/ 75218 h 98025"/>
                <a:gd name="connsiteX6" fmla="*/ 116721 w 260639"/>
                <a:gd name="connsiteY6" fmla="*/ 47439 h 98025"/>
                <a:gd name="connsiteX7" fmla="*/ 154014 w 260639"/>
                <a:gd name="connsiteY7" fmla="*/ 5981 h 98025"/>
                <a:gd name="connsiteX8" fmla="*/ 185455 w 260639"/>
                <a:gd name="connsiteY8" fmla="*/ 57 h 98025"/>
                <a:gd name="connsiteX9" fmla="*/ 260639 w 260639"/>
                <a:gd name="connsiteY9" fmla="*/ 88456 h 98025"/>
                <a:gd name="connsiteX10" fmla="*/ 260639 w 260639"/>
                <a:gd name="connsiteY10" fmla="*/ 94380 h 98025"/>
                <a:gd name="connsiteX11" fmla="*/ 198669 w 260639"/>
                <a:gd name="connsiteY11" fmla="*/ 98025 h 98025"/>
                <a:gd name="connsiteX12" fmla="*/ 198669 w 260639"/>
                <a:gd name="connsiteY12" fmla="*/ 81621 h 98025"/>
                <a:gd name="connsiteX13" fmla="*/ 164950 w 260639"/>
                <a:gd name="connsiteY13" fmla="*/ 40156 h 98025"/>
                <a:gd name="connsiteX14" fmla="*/ 127358 w 260639"/>
                <a:gd name="connsiteY14" fmla="*/ 65616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60639" h="98025">
                  <a:moveTo>
                    <a:pt x="104802" y="74264"/>
                  </a:moveTo>
                  <a:lnTo>
                    <a:pt x="0" y="1618"/>
                  </a:lnTo>
                  <a:lnTo>
                    <a:pt x="0" y="1425"/>
                  </a:lnTo>
                  <a:lnTo>
                    <a:pt x="104803" y="1425"/>
                  </a:lnTo>
                  <a:close/>
                  <a:moveTo>
                    <a:pt x="122123" y="86270"/>
                  </a:moveTo>
                  <a:lnTo>
                    <a:pt x="106178" y="75218"/>
                  </a:lnTo>
                  <a:lnTo>
                    <a:pt x="116721" y="47439"/>
                  </a:lnTo>
                  <a:cubicBezTo>
                    <a:pt x="127102" y="24008"/>
                    <a:pt x="137610" y="12816"/>
                    <a:pt x="154014" y="5981"/>
                  </a:cubicBezTo>
                  <a:cubicBezTo>
                    <a:pt x="164038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50369" y="40156"/>
                    <a:pt x="137041" y="49839"/>
                    <a:pt x="127358" y="656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5" name="Forme libre : forme 774">
              <a:extLst>
                <a:ext uri="{FF2B5EF4-FFF2-40B4-BE49-F238E27FC236}">
                  <a16:creationId xmlns:a16="http://schemas.microsoft.com/office/drawing/2014/main" id="{1BED4C30-FCEC-4C8C-BB61-556D9D937503}"/>
                </a:ext>
              </a:extLst>
            </p:cNvPr>
            <p:cNvSpPr/>
            <p:nvPr/>
          </p:nvSpPr>
          <p:spPr>
            <a:xfrm rot="8716295">
              <a:off x="1736738" y="-7282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6" name="Forme libre : forme 775">
              <a:extLst>
                <a:ext uri="{FF2B5EF4-FFF2-40B4-BE49-F238E27FC236}">
                  <a16:creationId xmlns:a16="http://schemas.microsoft.com/office/drawing/2014/main" id="{9B4BC923-2016-4764-92A0-F47B951B54C3}"/>
                </a:ext>
              </a:extLst>
            </p:cNvPr>
            <p:cNvSpPr/>
            <p:nvPr/>
          </p:nvSpPr>
          <p:spPr>
            <a:xfrm rot="7484129">
              <a:off x="2399917" y="-21262"/>
              <a:ext cx="233243" cy="158079"/>
            </a:xfrm>
            <a:custGeom>
              <a:avLst/>
              <a:gdLst>
                <a:gd name="connsiteX0" fmla="*/ 72416 w 154104"/>
                <a:gd name="connsiteY0" fmla="*/ 104443 h 104443"/>
                <a:gd name="connsiteX1" fmla="*/ 0 w 154104"/>
                <a:gd name="connsiteY1" fmla="*/ 0 h 104443"/>
                <a:gd name="connsiteX2" fmla="*/ 154104 w 154104"/>
                <a:gd name="connsiteY2" fmla="*/ 0 h 104443"/>
                <a:gd name="connsiteX3" fmla="*/ 154104 w 154104"/>
                <a:gd name="connsiteY3" fmla="*/ 55323 h 104443"/>
                <a:gd name="connsiteX4" fmla="*/ 89312 w 154104"/>
                <a:gd name="connsiteY4" fmla="*/ 55323 h 104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4104" h="104443">
                  <a:moveTo>
                    <a:pt x="72416" y="104443"/>
                  </a:moveTo>
                  <a:lnTo>
                    <a:pt x="0" y="0"/>
                  </a:lnTo>
                  <a:lnTo>
                    <a:pt x="154104" y="0"/>
                  </a:lnTo>
                  <a:lnTo>
                    <a:pt x="154104" y="55323"/>
                  </a:lnTo>
                  <a:lnTo>
                    <a:pt x="89312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7" name="Forme libre : forme 776">
              <a:extLst>
                <a:ext uri="{FF2B5EF4-FFF2-40B4-BE49-F238E27FC236}">
                  <a16:creationId xmlns:a16="http://schemas.microsoft.com/office/drawing/2014/main" id="{E4F090A8-4655-44B0-9665-4E91BC39D1A8}"/>
                </a:ext>
              </a:extLst>
            </p:cNvPr>
            <p:cNvSpPr/>
            <p:nvPr/>
          </p:nvSpPr>
          <p:spPr>
            <a:xfrm rot="13089394">
              <a:off x="2721869" y="-65503"/>
              <a:ext cx="128296" cy="425348"/>
            </a:xfrm>
            <a:custGeom>
              <a:avLst/>
              <a:gdLst>
                <a:gd name="connsiteX0" fmla="*/ 84765 w 84765"/>
                <a:gd name="connsiteY0" fmla="*/ 225012 h 281028"/>
                <a:gd name="connsiteX1" fmla="*/ 13471 w 84765"/>
                <a:gd name="connsiteY1" fmla="*/ 281028 h 281028"/>
                <a:gd name="connsiteX2" fmla="*/ 4828 w 84765"/>
                <a:gd name="connsiteY2" fmla="*/ 263963 h 281028"/>
                <a:gd name="connsiteX3" fmla="*/ 0 w 84765"/>
                <a:gd name="connsiteY3" fmla="*/ 206370 h 281028"/>
                <a:gd name="connsiteX4" fmla="*/ 0 w 84765"/>
                <a:gd name="connsiteY4" fmla="*/ 38074 h 281028"/>
                <a:gd name="connsiteX5" fmla="*/ 73388 w 84765"/>
                <a:gd name="connsiteY5" fmla="*/ 0 h 281028"/>
                <a:gd name="connsiteX6" fmla="*/ 74492 w 84765"/>
                <a:gd name="connsiteY6" fmla="*/ 153950 h 281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4765" h="281028">
                  <a:moveTo>
                    <a:pt x="84765" y="225012"/>
                  </a:moveTo>
                  <a:lnTo>
                    <a:pt x="13471" y="281028"/>
                  </a:lnTo>
                  <a:lnTo>
                    <a:pt x="4828" y="263963"/>
                  </a:lnTo>
                  <a:cubicBezTo>
                    <a:pt x="1241" y="248168"/>
                    <a:pt x="0" y="228993"/>
                    <a:pt x="0" y="206370"/>
                  </a:cubicBez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8" name="Forme libre : forme 777">
              <a:extLst>
                <a:ext uri="{FF2B5EF4-FFF2-40B4-BE49-F238E27FC236}">
                  <a16:creationId xmlns:a16="http://schemas.microsoft.com/office/drawing/2014/main" id="{9DB33CAA-5433-47BF-989E-F22200A2870C}"/>
                </a:ext>
              </a:extLst>
            </p:cNvPr>
            <p:cNvSpPr/>
            <p:nvPr/>
          </p:nvSpPr>
          <p:spPr>
            <a:xfrm rot="8716295">
              <a:off x="5604774" y="3024342"/>
              <a:ext cx="274455" cy="132163"/>
            </a:xfrm>
            <a:custGeom>
              <a:avLst/>
              <a:gdLst>
                <a:gd name="connsiteX0" fmla="*/ 0 w 181333"/>
                <a:gd name="connsiteY0" fmla="*/ 87320 h 87320"/>
                <a:gd name="connsiteX1" fmla="*/ 42309 w 181333"/>
                <a:gd name="connsiteY1" fmla="*/ 36168 h 87320"/>
                <a:gd name="connsiteX2" fmla="*/ 54839 w 181333"/>
                <a:gd name="connsiteY2" fmla="*/ 38831 h 87320"/>
                <a:gd name="connsiteX3" fmla="*/ 107790 w 181333"/>
                <a:gd name="connsiteY3" fmla="*/ 29417 h 87320"/>
                <a:gd name="connsiteX4" fmla="*/ 180157 w 181333"/>
                <a:gd name="connsiteY4" fmla="*/ 0 h 87320"/>
                <a:gd name="connsiteX5" fmla="*/ 181333 w 181333"/>
                <a:gd name="connsiteY5" fmla="*/ 7648 h 87320"/>
                <a:gd name="connsiteX6" fmla="*/ 181333 w 181333"/>
                <a:gd name="connsiteY6" fmla="*/ 13532 h 87320"/>
                <a:gd name="connsiteX7" fmla="*/ 30340 w 181333"/>
                <a:gd name="connsiteY7" fmla="*/ 83361 h 87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333" h="87320">
                  <a:moveTo>
                    <a:pt x="0" y="87320"/>
                  </a:moveTo>
                  <a:lnTo>
                    <a:pt x="42309" y="36168"/>
                  </a:lnTo>
                  <a:lnTo>
                    <a:pt x="54839" y="38831"/>
                  </a:lnTo>
                  <a:cubicBezTo>
                    <a:pt x="73078" y="38242"/>
                    <a:pt x="90728" y="34712"/>
                    <a:pt x="107790" y="29417"/>
                  </a:cubicBezTo>
                  <a:cubicBezTo>
                    <a:pt x="132500" y="21768"/>
                    <a:pt x="156623" y="11767"/>
                    <a:pt x="180157" y="0"/>
                  </a:cubicBezTo>
                  <a:cubicBezTo>
                    <a:pt x="180745" y="2353"/>
                    <a:pt x="181333" y="5295"/>
                    <a:pt x="181333" y="7648"/>
                  </a:cubicBezTo>
                  <a:lnTo>
                    <a:pt x="181333" y="13532"/>
                  </a:lnTo>
                  <a:cubicBezTo>
                    <a:pt x="134560" y="53687"/>
                    <a:pt x="76865" y="74315"/>
                    <a:pt x="30340" y="833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9" name="Forme libre : forme 778">
              <a:extLst>
                <a:ext uri="{FF2B5EF4-FFF2-40B4-BE49-F238E27FC236}">
                  <a16:creationId xmlns:a16="http://schemas.microsoft.com/office/drawing/2014/main" id="{B43CFDC2-082C-4907-9138-CE468CF9D156}"/>
                </a:ext>
              </a:extLst>
            </p:cNvPr>
            <p:cNvSpPr/>
            <p:nvPr/>
          </p:nvSpPr>
          <p:spPr>
            <a:xfrm rot="8716295">
              <a:off x="5742786" y="2375436"/>
              <a:ext cx="92417" cy="296278"/>
            </a:xfrm>
            <a:custGeom>
              <a:avLst/>
              <a:gdLst>
                <a:gd name="connsiteX0" fmla="*/ 0 w 61060"/>
                <a:gd name="connsiteY0" fmla="*/ 195751 h 195751"/>
                <a:gd name="connsiteX1" fmla="*/ 0 w 61060"/>
                <a:gd name="connsiteY1" fmla="*/ 67520 h 195751"/>
                <a:gd name="connsiteX2" fmla="*/ 55847 w 61060"/>
                <a:gd name="connsiteY2" fmla="*/ 0 h 195751"/>
                <a:gd name="connsiteX3" fmla="*/ 61059 w 61060"/>
                <a:gd name="connsiteY3" fmla="*/ 13486 h 195751"/>
                <a:gd name="connsiteX4" fmla="*/ 61060 w 61060"/>
                <a:gd name="connsiteY4" fmla="*/ 171601 h 195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60" h="195751">
                  <a:moveTo>
                    <a:pt x="0" y="195751"/>
                  </a:moveTo>
                  <a:lnTo>
                    <a:pt x="0" y="67520"/>
                  </a:lnTo>
                  <a:lnTo>
                    <a:pt x="55847" y="0"/>
                  </a:lnTo>
                  <a:lnTo>
                    <a:pt x="61059" y="13486"/>
                  </a:lnTo>
                  <a:lnTo>
                    <a:pt x="61060" y="17160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0" name="Forme libre : forme 779">
              <a:extLst>
                <a:ext uri="{FF2B5EF4-FFF2-40B4-BE49-F238E27FC236}">
                  <a16:creationId xmlns:a16="http://schemas.microsoft.com/office/drawing/2014/main" id="{4D4A1F5E-B4EB-4CD4-BAB2-B2936E3BA1CA}"/>
                </a:ext>
              </a:extLst>
            </p:cNvPr>
            <p:cNvSpPr/>
            <p:nvPr/>
          </p:nvSpPr>
          <p:spPr>
            <a:xfrm rot="8716295">
              <a:off x="5579033" y="246915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1" name="Forme libre : forme 780">
              <a:extLst>
                <a:ext uri="{FF2B5EF4-FFF2-40B4-BE49-F238E27FC236}">
                  <a16:creationId xmlns:a16="http://schemas.microsoft.com/office/drawing/2014/main" id="{CE5CAFE6-1524-41DE-89BB-16FAB9036D83}"/>
                </a:ext>
              </a:extLst>
            </p:cNvPr>
            <p:cNvSpPr/>
            <p:nvPr/>
          </p:nvSpPr>
          <p:spPr>
            <a:xfrm rot="8716295">
              <a:off x="5389987" y="215331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2" name="Forme libre : forme 781">
              <a:extLst>
                <a:ext uri="{FF2B5EF4-FFF2-40B4-BE49-F238E27FC236}">
                  <a16:creationId xmlns:a16="http://schemas.microsoft.com/office/drawing/2014/main" id="{1078570C-FF38-413A-82DE-E38EF08EE2A9}"/>
                </a:ext>
              </a:extLst>
            </p:cNvPr>
            <p:cNvSpPr/>
            <p:nvPr/>
          </p:nvSpPr>
          <p:spPr>
            <a:xfrm rot="8716295">
              <a:off x="5371746" y="194326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3" name="Forme libre : forme 782">
              <a:extLst>
                <a:ext uri="{FF2B5EF4-FFF2-40B4-BE49-F238E27FC236}">
                  <a16:creationId xmlns:a16="http://schemas.microsoft.com/office/drawing/2014/main" id="{2DFDB502-0D6C-4245-AA56-DE338A411DD1}"/>
                </a:ext>
              </a:extLst>
            </p:cNvPr>
            <p:cNvSpPr/>
            <p:nvPr/>
          </p:nvSpPr>
          <p:spPr>
            <a:xfrm rot="8716295">
              <a:off x="5716764" y="2550542"/>
              <a:ext cx="91035" cy="331729"/>
            </a:xfrm>
            <a:custGeom>
              <a:avLst/>
              <a:gdLst>
                <a:gd name="connsiteX0" fmla="*/ 60147 w 60147"/>
                <a:gd name="connsiteY0" fmla="*/ 219174 h 219174"/>
                <a:gd name="connsiteX1" fmla="*/ 0 w 60147"/>
                <a:gd name="connsiteY1" fmla="*/ 161304 h 219174"/>
                <a:gd name="connsiteX2" fmla="*/ 0 w 60147"/>
                <a:gd name="connsiteY2" fmla="*/ 68045 h 219174"/>
                <a:gd name="connsiteX3" fmla="*/ 56210 w 60147"/>
                <a:gd name="connsiteY3" fmla="*/ 87 h 219174"/>
                <a:gd name="connsiteX4" fmla="*/ 60147 w 60147"/>
                <a:gd name="connsiteY4" fmla="*/ 0 h 219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47" h="219174">
                  <a:moveTo>
                    <a:pt x="60147" y="219174"/>
                  </a:moveTo>
                  <a:lnTo>
                    <a:pt x="0" y="161304"/>
                  </a:lnTo>
                  <a:lnTo>
                    <a:pt x="0" y="68045"/>
                  </a:lnTo>
                  <a:lnTo>
                    <a:pt x="56210" y="87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4" name="Forme libre : forme 783">
              <a:extLst>
                <a:ext uri="{FF2B5EF4-FFF2-40B4-BE49-F238E27FC236}">
                  <a16:creationId xmlns:a16="http://schemas.microsoft.com/office/drawing/2014/main" id="{D6EF1E2E-EA70-4C26-808A-AA6B7CC8B41E}"/>
                </a:ext>
              </a:extLst>
            </p:cNvPr>
            <p:cNvSpPr/>
            <p:nvPr/>
          </p:nvSpPr>
          <p:spPr>
            <a:xfrm rot="8716295">
              <a:off x="5787639" y="192609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5" name="Forme libre : forme 784">
              <a:extLst>
                <a:ext uri="{FF2B5EF4-FFF2-40B4-BE49-F238E27FC236}">
                  <a16:creationId xmlns:a16="http://schemas.microsoft.com/office/drawing/2014/main" id="{A2961F2A-DE92-482C-A65E-A4071D364F5E}"/>
                </a:ext>
              </a:extLst>
            </p:cNvPr>
            <p:cNvSpPr/>
            <p:nvPr/>
          </p:nvSpPr>
          <p:spPr>
            <a:xfrm rot="8716295">
              <a:off x="5411131" y="133665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6" name="Forme libre : forme 785">
              <a:extLst>
                <a:ext uri="{FF2B5EF4-FFF2-40B4-BE49-F238E27FC236}">
                  <a16:creationId xmlns:a16="http://schemas.microsoft.com/office/drawing/2014/main" id="{F345DFE8-8A89-4353-9132-2A3DD36A84F9}"/>
                </a:ext>
              </a:extLst>
            </p:cNvPr>
            <p:cNvSpPr/>
            <p:nvPr/>
          </p:nvSpPr>
          <p:spPr>
            <a:xfrm rot="8716295">
              <a:off x="5547629" y="1389153"/>
              <a:ext cx="346795" cy="385612"/>
            </a:xfrm>
            <a:custGeom>
              <a:avLst/>
              <a:gdLst>
                <a:gd name="connsiteX0" fmla="*/ 19979 w 229128"/>
                <a:gd name="connsiteY0" fmla="*/ 254774 h 254774"/>
                <a:gd name="connsiteX1" fmla="*/ 19979 w 229128"/>
                <a:gd name="connsiteY1" fmla="*/ 45624 h 254774"/>
                <a:gd name="connsiteX2" fmla="*/ 0 w 229128"/>
                <a:gd name="connsiteY2" fmla="*/ 45624 h 254774"/>
                <a:gd name="connsiteX3" fmla="*/ 36558 w 229128"/>
                <a:gd name="connsiteY3" fmla="*/ 1425 h 254774"/>
                <a:gd name="connsiteX4" fmla="*/ 73292 w 229128"/>
                <a:gd name="connsiteY4" fmla="*/ 1425 h 254774"/>
                <a:gd name="connsiteX5" fmla="*/ 73292 w 229128"/>
                <a:gd name="connsiteY5" fmla="*/ 75242 h 254774"/>
                <a:gd name="connsiteX6" fmla="*/ 74658 w 229128"/>
                <a:gd name="connsiteY6" fmla="*/ 75242 h 254774"/>
                <a:gd name="connsiteX7" fmla="*/ 122503 w 229128"/>
                <a:gd name="connsiteY7" fmla="*/ 5981 h 254774"/>
                <a:gd name="connsiteX8" fmla="*/ 153944 w 229128"/>
                <a:gd name="connsiteY8" fmla="*/ 57 h 254774"/>
                <a:gd name="connsiteX9" fmla="*/ 229128 w 229128"/>
                <a:gd name="connsiteY9" fmla="*/ 88456 h 254774"/>
                <a:gd name="connsiteX10" fmla="*/ 229128 w 229128"/>
                <a:gd name="connsiteY10" fmla="*/ 94380 h 254774"/>
                <a:gd name="connsiteX11" fmla="*/ 167158 w 229128"/>
                <a:gd name="connsiteY11" fmla="*/ 98025 h 254774"/>
                <a:gd name="connsiteX12" fmla="*/ 167158 w 229128"/>
                <a:gd name="connsiteY12" fmla="*/ 81621 h 254774"/>
                <a:gd name="connsiteX13" fmla="*/ 133439 w 229128"/>
                <a:gd name="connsiteY13" fmla="*/ 40156 h 254774"/>
                <a:gd name="connsiteX14" fmla="*/ 80127 w 229128"/>
                <a:gd name="connsiteY14" fmla="*/ 127643 h 254774"/>
                <a:gd name="connsiteX15" fmla="*/ 80127 w 229128"/>
                <a:gd name="connsiteY15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29128" h="254774">
                  <a:moveTo>
                    <a:pt x="19979" y="254774"/>
                  </a:moveTo>
                  <a:lnTo>
                    <a:pt x="19979" y="45624"/>
                  </a:lnTo>
                  <a:lnTo>
                    <a:pt x="0" y="45624"/>
                  </a:lnTo>
                  <a:lnTo>
                    <a:pt x="36558" y="1425"/>
                  </a:lnTo>
                  <a:lnTo>
                    <a:pt x="73292" y="1425"/>
                  </a:lnTo>
                  <a:lnTo>
                    <a:pt x="73292" y="75242"/>
                  </a:lnTo>
                  <a:lnTo>
                    <a:pt x="74658" y="75242"/>
                  </a:lnTo>
                  <a:cubicBezTo>
                    <a:pt x="89240" y="31954"/>
                    <a:pt x="100631" y="15094"/>
                    <a:pt x="122503" y="5981"/>
                  </a:cubicBezTo>
                  <a:cubicBezTo>
                    <a:pt x="132528" y="1880"/>
                    <a:pt x="143008" y="-398"/>
                    <a:pt x="153944" y="57"/>
                  </a:cubicBezTo>
                  <a:cubicBezTo>
                    <a:pt x="200877" y="-854"/>
                    <a:pt x="229128" y="31954"/>
                    <a:pt x="229128" y="88456"/>
                  </a:cubicBezTo>
                  <a:lnTo>
                    <a:pt x="229128" y="94380"/>
                  </a:lnTo>
                  <a:lnTo>
                    <a:pt x="167158" y="98025"/>
                  </a:lnTo>
                  <a:lnTo>
                    <a:pt x="167158" y="81621"/>
                  </a:lnTo>
                  <a:cubicBezTo>
                    <a:pt x="167158" y="57016"/>
                    <a:pt x="153033" y="40156"/>
                    <a:pt x="133439" y="40156"/>
                  </a:cubicBezTo>
                  <a:cubicBezTo>
                    <a:pt x="104277" y="40156"/>
                    <a:pt x="80127" y="78887"/>
                    <a:pt x="80127" y="127643"/>
                  </a:cubicBezTo>
                  <a:lnTo>
                    <a:pt x="80127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7" name="Forme libre : forme 786">
              <a:extLst>
                <a:ext uri="{FF2B5EF4-FFF2-40B4-BE49-F238E27FC236}">
                  <a16:creationId xmlns:a16="http://schemas.microsoft.com/office/drawing/2014/main" id="{5895E6F0-4399-4D04-958F-F7C3F4A74E7E}"/>
                </a:ext>
              </a:extLst>
            </p:cNvPr>
            <p:cNvSpPr/>
            <p:nvPr/>
          </p:nvSpPr>
          <p:spPr>
            <a:xfrm rot="8716295">
              <a:off x="5478548" y="125032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8" name="Forme libre : forme 787">
              <a:extLst>
                <a:ext uri="{FF2B5EF4-FFF2-40B4-BE49-F238E27FC236}">
                  <a16:creationId xmlns:a16="http://schemas.microsoft.com/office/drawing/2014/main" id="{793334F9-FA14-4BBF-95F9-C3325CD14C1E}"/>
                </a:ext>
              </a:extLst>
            </p:cNvPr>
            <p:cNvSpPr/>
            <p:nvPr/>
          </p:nvSpPr>
          <p:spPr>
            <a:xfrm rot="8716295">
              <a:off x="5241260" y="147066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9" name="Forme libre : forme 788">
              <a:extLst>
                <a:ext uri="{FF2B5EF4-FFF2-40B4-BE49-F238E27FC236}">
                  <a16:creationId xmlns:a16="http://schemas.microsoft.com/office/drawing/2014/main" id="{27BEE6E8-B5E4-4A65-91F8-0AE242F08908}"/>
                </a:ext>
              </a:extLst>
            </p:cNvPr>
            <p:cNvSpPr/>
            <p:nvPr/>
          </p:nvSpPr>
          <p:spPr>
            <a:xfrm rot="8716295">
              <a:off x="5052214" y="11548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0" name="Forme libre : forme 789">
              <a:extLst>
                <a:ext uri="{FF2B5EF4-FFF2-40B4-BE49-F238E27FC236}">
                  <a16:creationId xmlns:a16="http://schemas.microsoft.com/office/drawing/2014/main" id="{A3F0A921-0C90-45C3-AD51-00D52D70CCCC}"/>
                </a:ext>
              </a:extLst>
            </p:cNvPr>
            <p:cNvSpPr/>
            <p:nvPr/>
          </p:nvSpPr>
          <p:spPr>
            <a:xfrm rot="8716295">
              <a:off x="5033973" y="94478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1" name="Forme libre : forme 790">
              <a:extLst>
                <a:ext uri="{FF2B5EF4-FFF2-40B4-BE49-F238E27FC236}">
                  <a16:creationId xmlns:a16="http://schemas.microsoft.com/office/drawing/2014/main" id="{4F886E26-FD4E-485C-BE50-E0DBCD541B71}"/>
                </a:ext>
              </a:extLst>
            </p:cNvPr>
            <p:cNvSpPr/>
            <p:nvPr/>
          </p:nvSpPr>
          <p:spPr>
            <a:xfrm rot="8716295">
              <a:off x="5377749" y="153264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2" name="Forme libre : forme 791">
              <a:extLst>
                <a:ext uri="{FF2B5EF4-FFF2-40B4-BE49-F238E27FC236}">
                  <a16:creationId xmlns:a16="http://schemas.microsoft.com/office/drawing/2014/main" id="{04C1E3D7-9A53-4350-93B5-3A078BC5B4EB}"/>
                </a:ext>
              </a:extLst>
            </p:cNvPr>
            <p:cNvSpPr/>
            <p:nvPr/>
          </p:nvSpPr>
          <p:spPr>
            <a:xfrm rot="8716295">
              <a:off x="5847873" y="996679"/>
              <a:ext cx="92417" cy="314872"/>
            </a:xfrm>
            <a:custGeom>
              <a:avLst/>
              <a:gdLst>
                <a:gd name="connsiteX0" fmla="*/ 0 w 61060"/>
                <a:gd name="connsiteY0" fmla="*/ 208036 h 208036"/>
                <a:gd name="connsiteX1" fmla="*/ 1 w 61060"/>
                <a:gd name="connsiteY1" fmla="*/ 61780 h 208036"/>
                <a:gd name="connsiteX2" fmla="*/ 51100 w 61060"/>
                <a:gd name="connsiteY2" fmla="*/ 0 h 208036"/>
                <a:gd name="connsiteX3" fmla="*/ 61059 w 61060"/>
                <a:gd name="connsiteY3" fmla="*/ 25771 h 208036"/>
                <a:gd name="connsiteX4" fmla="*/ 61060 w 61060"/>
                <a:gd name="connsiteY4" fmla="*/ 183886 h 208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60" h="208036">
                  <a:moveTo>
                    <a:pt x="0" y="208036"/>
                  </a:moveTo>
                  <a:lnTo>
                    <a:pt x="1" y="61780"/>
                  </a:lnTo>
                  <a:lnTo>
                    <a:pt x="51100" y="0"/>
                  </a:lnTo>
                  <a:lnTo>
                    <a:pt x="61059" y="25771"/>
                  </a:lnTo>
                  <a:lnTo>
                    <a:pt x="61060" y="18388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3" name="Forme libre : forme 792">
              <a:extLst>
                <a:ext uri="{FF2B5EF4-FFF2-40B4-BE49-F238E27FC236}">
                  <a16:creationId xmlns:a16="http://schemas.microsoft.com/office/drawing/2014/main" id="{2A3AE8A9-4B1B-420D-8356-BE83AA6C92DA}"/>
                </a:ext>
              </a:extLst>
            </p:cNvPr>
            <p:cNvSpPr/>
            <p:nvPr/>
          </p:nvSpPr>
          <p:spPr>
            <a:xfrm rot="8716295">
              <a:off x="5678824" y="109205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4" name="Forme libre : forme 793">
              <a:extLst>
                <a:ext uri="{FF2B5EF4-FFF2-40B4-BE49-F238E27FC236}">
                  <a16:creationId xmlns:a16="http://schemas.microsoft.com/office/drawing/2014/main" id="{387B3690-57AF-4CCF-B9A7-55CB534D22BD}"/>
                </a:ext>
              </a:extLst>
            </p:cNvPr>
            <p:cNvSpPr/>
            <p:nvPr/>
          </p:nvSpPr>
          <p:spPr>
            <a:xfrm rot="8716295">
              <a:off x="5489780" y="77621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5" name="Forme libre : forme 794">
              <a:extLst>
                <a:ext uri="{FF2B5EF4-FFF2-40B4-BE49-F238E27FC236}">
                  <a16:creationId xmlns:a16="http://schemas.microsoft.com/office/drawing/2014/main" id="{F07D311E-335E-4C7D-82A0-742BBF375A4B}"/>
                </a:ext>
              </a:extLst>
            </p:cNvPr>
            <p:cNvSpPr/>
            <p:nvPr/>
          </p:nvSpPr>
          <p:spPr>
            <a:xfrm rot="8716295">
              <a:off x="5816554" y="1173443"/>
              <a:ext cx="91037" cy="331731"/>
            </a:xfrm>
            <a:custGeom>
              <a:avLst/>
              <a:gdLst>
                <a:gd name="connsiteX0" fmla="*/ 60148 w 60148"/>
                <a:gd name="connsiteY0" fmla="*/ 219175 h 219175"/>
                <a:gd name="connsiteX1" fmla="*/ 0 w 60148"/>
                <a:gd name="connsiteY1" fmla="*/ 161305 h 219175"/>
                <a:gd name="connsiteX2" fmla="*/ 0 w 60148"/>
                <a:gd name="connsiteY2" fmla="*/ 50021 h 219175"/>
                <a:gd name="connsiteX3" fmla="*/ 41025 w 60148"/>
                <a:gd name="connsiteY3" fmla="*/ 421 h 219175"/>
                <a:gd name="connsiteX4" fmla="*/ 60147 w 60148"/>
                <a:gd name="connsiteY4" fmla="*/ 0 h 219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48" h="219175">
                  <a:moveTo>
                    <a:pt x="60148" y="219175"/>
                  </a:moveTo>
                  <a:lnTo>
                    <a:pt x="0" y="161305"/>
                  </a:lnTo>
                  <a:lnTo>
                    <a:pt x="0" y="50021"/>
                  </a:lnTo>
                  <a:lnTo>
                    <a:pt x="41025" y="421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6" name="Forme libre : forme 795">
              <a:extLst>
                <a:ext uri="{FF2B5EF4-FFF2-40B4-BE49-F238E27FC236}">
                  <a16:creationId xmlns:a16="http://schemas.microsoft.com/office/drawing/2014/main" id="{66CDEC38-7CA1-4527-B6C7-5DCAC2442F65}"/>
                </a:ext>
              </a:extLst>
            </p:cNvPr>
            <p:cNvSpPr/>
            <p:nvPr/>
          </p:nvSpPr>
          <p:spPr>
            <a:xfrm rot="8716295">
              <a:off x="5449866" y="92760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7" name="Forme libre : forme 796">
              <a:extLst>
                <a:ext uri="{FF2B5EF4-FFF2-40B4-BE49-F238E27FC236}">
                  <a16:creationId xmlns:a16="http://schemas.microsoft.com/office/drawing/2014/main" id="{D2CA5B22-3CB9-4D61-9713-ECDE1E76381D}"/>
                </a:ext>
              </a:extLst>
            </p:cNvPr>
            <p:cNvSpPr/>
            <p:nvPr/>
          </p:nvSpPr>
          <p:spPr>
            <a:xfrm rot="8716295">
              <a:off x="5954717" y="1002572"/>
              <a:ext cx="48491" cy="55034"/>
            </a:xfrm>
            <a:custGeom>
              <a:avLst/>
              <a:gdLst>
                <a:gd name="connsiteX0" fmla="*/ 0 w 32038"/>
                <a:gd name="connsiteY0" fmla="*/ 35166 h 36361"/>
                <a:gd name="connsiteX1" fmla="*/ 29086 w 32038"/>
                <a:gd name="connsiteY1" fmla="*/ 0 h 36361"/>
                <a:gd name="connsiteX2" fmla="*/ 32038 w 32038"/>
                <a:gd name="connsiteY2" fmla="*/ 7028 h 36361"/>
                <a:gd name="connsiteX3" fmla="*/ 23495 w 32038"/>
                <a:gd name="connsiteY3" fmla="*/ 27704 h 36361"/>
                <a:gd name="connsiteX4" fmla="*/ 2990 w 32038"/>
                <a:gd name="connsiteY4" fmla="*/ 36361 h 36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038" h="36361">
                  <a:moveTo>
                    <a:pt x="0" y="35166"/>
                  </a:moveTo>
                  <a:lnTo>
                    <a:pt x="29086" y="0"/>
                  </a:lnTo>
                  <a:lnTo>
                    <a:pt x="32038" y="7028"/>
                  </a:lnTo>
                  <a:cubicBezTo>
                    <a:pt x="32039" y="14489"/>
                    <a:pt x="29191" y="22008"/>
                    <a:pt x="23495" y="27704"/>
                  </a:cubicBezTo>
                  <a:cubicBezTo>
                    <a:pt x="18027" y="33172"/>
                    <a:pt x="10736" y="36361"/>
                    <a:pt x="2990" y="363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8" name="Forme libre : forme 797">
              <a:extLst>
                <a:ext uri="{FF2B5EF4-FFF2-40B4-BE49-F238E27FC236}">
                  <a16:creationId xmlns:a16="http://schemas.microsoft.com/office/drawing/2014/main" id="{2C1218F4-7DC2-4ED8-8247-5696545760E1}"/>
                </a:ext>
              </a:extLst>
            </p:cNvPr>
            <p:cNvSpPr/>
            <p:nvPr/>
          </p:nvSpPr>
          <p:spPr>
            <a:xfrm rot="8716295">
              <a:off x="5079758" y="33459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9" name="Forme libre : forme 798">
              <a:extLst>
                <a:ext uri="{FF2B5EF4-FFF2-40B4-BE49-F238E27FC236}">
                  <a16:creationId xmlns:a16="http://schemas.microsoft.com/office/drawing/2014/main" id="{D0306570-766D-490D-9EC2-A97AB1BAB4C6}"/>
                </a:ext>
              </a:extLst>
            </p:cNvPr>
            <p:cNvSpPr/>
            <p:nvPr/>
          </p:nvSpPr>
          <p:spPr>
            <a:xfrm rot="8716295">
              <a:off x="5215056" y="37885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0" name="Forme libre : forme 799">
              <a:extLst>
                <a:ext uri="{FF2B5EF4-FFF2-40B4-BE49-F238E27FC236}">
                  <a16:creationId xmlns:a16="http://schemas.microsoft.com/office/drawing/2014/main" id="{77292053-0143-4408-B999-537084FF4DF1}"/>
                </a:ext>
              </a:extLst>
            </p:cNvPr>
            <p:cNvSpPr/>
            <p:nvPr/>
          </p:nvSpPr>
          <p:spPr>
            <a:xfrm rot="8716295">
              <a:off x="5147174" y="248268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1" name="Forme libre : forme 800">
              <a:extLst>
                <a:ext uri="{FF2B5EF4-FFF2-40B4-BE49-F238E27FC236}">
                  <a16:creationId xmlns:a16="http://schemas.microsoft.com/office/drawing/2014/main" id="{841FE04C-5195-472E-8787-746E4A4E8D7E}"/>
                </a:ext>
              </a:extLst>
            </p:cNvPr>
            <p:cNvSpPr/>
            <p:nvPr/>
          </p:nvSpPr>
          <p:spPr>
            <a:xfrm rot="8716295">
              <a:off x="4909887" y="4686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2" name="Forme libre : forme 801">
              <a:extLst>
                <a:ext uri="{FF2B5EF4-FFF2-40B4-BE49-F238E27FC236}">
                  <a16:creationId xmlns:a16="http://schemas.microsoft.com/office/drawing/2014/main" id="{F7B1085B-4858-4D70-A004-8B8F25F247C5}"/>
                </a:ext>
              </a:extLst>
            </p:cNvPr>
            <p:cNvSpPr/>
            <p:nvPr/>
          </p:nvSpPr>
          <p:spPr>
            <a:xfrm rot="8716295">
              <a:off x="4720840" y="15277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3" name="Forme libre : forme 802">
              <a:extLst>
                <a:ext uri="{FF2B5EF4-FFF2-40B4-BE49-F238E27FC236}">
                  <a16:creationId xmlns:a16="http://schemas.microsoft.com/office/drawing/2014/main" id="{B81144B8-8745-4F32-B198-B5E7831F9FA1}"/>
                </a:ext>
              </a:extLst>
            </p:cNvPr>
            <p:cNvSpPr/>
            <p:nvPr/>
          </p:nvSpPr>
          <p:spPr>
            <a:xfrm rot="8716295">
              <a:off x="4702019" y="-47743"/>
              <a:ext cx="439901" cy="516041"/>
            </a:xfrm>
            <a:custGeom>
              <a:avLst/>
              <a:gdLst>
                <a:gd name="connsiteX0" fmla="*/ 155476 w 290643"/>
                <a:gd name="connsiteY0" fmla="*/ 340949 h 340949"/>
                <a:gd name="connsiteX1" fmla="*/ 1169 w 290643"/>
                <a:gd name="connsiteY1" fmla="*/ 233989 h 340949"/>
                <a:gd name="connsiteX2" fmla="*/ 0 w 290643"/>
                <a:gd name="connsiteY2" fmla="*/ 220042 h 340949"/>
                <a:gd name="connsiteX3" fmla="*/ 0 w 290643"/>
                <a:gd name="connsiteY3" fmla="*/ 40596 h 340949"/>
                <a:gd name="connsiteX4" fmla="*/ 78250 w 290643"/>
                <a:gd name="connsiteY4" fmla="*/ 0 h 340949"/>
                <a:gd name="connsiteX5" fmla="*/ 79427 w 290643"/>
                <a:gd name="connsiteY5" fmla="*/ 164149 h 340949"/>
                <a:gd name="connsiteX6" fmla="*/ 93547 w 290643"/>
                <a:gd name="connsiteY6" fmla="*/ 261815 h 340949"/>
                <a:gd name="connsiteX7" fmla="*/ 164149 w 290643"/>
                <a:gd name="connsiteY7" fmla="*/ 300646 h 340949"/>
                <a:gd name="connsiteX8" fmla="*/ 217100 w 290643"/>
                <a:gd name="connsiteY8" fmla="*/ 291232 h 340949"/>
                <a:gd name="connsiteX9" fmla="*/ 289467 w 290643"/>
                <a:gd name="connsiteY9" fmla="*/ 261815 h 340949"/>
                <a:gd name="connsiteX10" fmla="*/ 290643 w 290643"/>
                <a:gd name="connsiteY10" fmla="*/ 269463 h 340949"/>
                <a:gd name="connsiteX11" fmla="*/ 290643 w 290643"/>
                <a:gd name="connsiteY11" fmla="*/ 275347 h 340949"/>
                <a:gd name="connsiteX12" fmla="*/ 189080 w 290643"/>
                <a:gd name="connsiteY12" fmla="*/ 331975 h 340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0643" h="340949">
                  <a:moveTo>
                    <a:pt x="155476" y="340949"/>
                  </a:moveTo>
                  <a:lnTo>
                    <a:pt x="1169" y="233989"/>
                  </a:lnTo>
                  <a:lnTo>
                    <a:pt x="0" y="220042"/>
                  </a:ln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9" y="300646"/>
                  </a:cubicBezTo>
                  <a:cubicBezTo>
                    <a:pt x="182388" y="300057"/>
                    <a:pt x="200038" y="296527"/>
                    <a:pt x="217100" y="291232"/>
                  </a:cubicBezTo>
                  <a:cubicBezTo>
                    <a:pt x="241810" y="283584"/>
                    <a:pt x="265933" y="273582"/>
                    <a:pt x="289467" y="261815"/>
                  </a:cubicBezTo>
                  <a:cubicBezTo>
                    <a:pt x="290055" y="264168"/>
                    <a:pt x="290643" y="267110"/>
                    <a:pt x="290643" y="269463"/>
                  </a:cubicBezTo>
                  <a:lnTo>
                    <a:pt x="290643" y="275347"/>
                  </a:lnTo>
                  <a:cubicBezTo>
                    <a:pt x="259461" y="302117"/>
                    <a:pt x="223425" y="320208"/>
                    <a:pt x="189080" y="3319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4" name="Forme libre : forme 803">
              <a:extLst>
                <a:ext uri="{FF2B5EF4-FFF2-40B4-BE49-F238E27FC236}">
                  <a16:creationId xmlns:a16="http://schemas.microsoft.com/office/drawing/2014/main" id="{97BB5D8E-77DF-4379-8FB9-C73059373491}"/>
                </a:ext>
              </a:extLst>
            </p:cNvPr>
            <p:cNvSpPr/>
            <p:nvPr/>
          </p:nvSpPr>
          <p:spPr>
            <a:xfrm rot="8716295">
              <a:off x="5046375" y="53059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5" name="Forme libre : forme 804">
              <a:extLst>
                <a:ext uri="{FF2B5EF4-FFF2-40B4-BE49-F238E27FC236}">
                  <a16:creationId xmlns:a16="http://schemas.microsoft.com/office/drawing/2014/main" id="{0E56D396-C685-4453-B6D5-C901E9191392}"/>
                </a:ext>
              </a:extLst>
            </p:cNvPr>
            <p:cNvSpPr/>
            <p:nvPr/>
          </p:nvSpPr>
          <p:spPr>
            <a:xfrm rot="8716295">
              <a:off x="5517321" y="-4401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6" name="Forme libre : forme 805">
              <a:extLst>
                <a:ext uri="{FF2B5EF4-FFF2-40B4-BE49-F238E27FC236}">
                  <a16:creationId xmlns:a16="http://schemas.microsoft.com/office/drawing/2014/main" id="{FDD18870-B961-4BA7-957F-21B8886A0CDC}"/>
                </a:ext>
              </a:extLst>
            </p:cNvPr>
            <p:cNvSpPr/>
            <p:nvPr/>
          </p:nvSpPr>
          <p:spPr>
            <a:xfrm rot="8716295">
              <a:off x="5660365" y="29418"/>
              <a:ext cx="361480" cy="358038"/>
            </a:xfrm>
            <a:custGeom>
              <a:avLst/>
              <a:gdLst>
                <a:gd name="connsiteX0" fmla="*/ 56401 w 238830"/>
                <a:gd name="connsiteY0" fmla="*/ 236556 h 236556"/>
                <a:gd name="connsiteX1" fmla="*/ 29681 w 238830"/>
                <a:gd name="connsiteY1" fmla="*/ 218034 h 236556"/>
                <a:gd name="connsiteX2" fmla="*/ 29681 w 238830"/>
                <a:gd name="connsiteY2" fmla="*/ 45624 h 236556"/>
                <a:gd name="connsiteX3" fmla="*/ 0 w 238830"/>
                <a:gd name="connsiteY3" fmla="*/ 45624 h 236556"/>
                <a:gd name="connsiteX4" fmla="*/ 36558 w 238830"/>
                <a:gd name="connsiteY4" fmla="*/ 1425 h 236556"/>
                <a:gd name="connsiteX5" fmla="*/ 82994 w 238830"/>
                <a:gd name="connsiteY5" fmla="*/ 1425 h 236556"/>
                <a:gd name="connsiteX6" fmla="*/ 82994 w 238830"/>
                <a:gd name="connsiteY6" fmla="*/ 75242 h 236556"/>
                <a:gd name="connsiteX7" fmla="*/ 84360 w 238830"/>
                <a:gd name="connsiteY7" fmla="*/ 75242 h 236556"/>
                <a:gd name="connsiteX8" fmla="*/ 132205 w 238830"/>
                <a:gd name="connsiteY8" fmla="*/ 5981 h 236556"/>
                <a:gd name="connsiteX9" fmla="*/ 163646 w 238830"/>
                <a:gd name="connsiteY9" fmla="*/ 57 h 236556"/>
                <a:gd name="connsiteX10" fmla="*/ 238830 w 238830"/>
                <a:gd name="connsiteY10" fmla="*/ 88456 h 236556"/>
                <a:gd name="connsiteX11" fmla="*/ 238830 w 238830"/>
                <a:gd name="connsiteY11" fmla="*/ 94380 h 236556"/>
                <a:gd name="connsiteX12" fmla="*/ 176860 w 238830"/>
                <a:gd name="connsiteY12" fmla="*/ 98025 h 236556"/>
                <a:gd name="connsiteX13" fmla="*/ 176860 w 238830"/>
                <a:gd name="connsiteY13" fmla="*/ 81621 h 236556"/>
                <a:gd name="connsiteX14" fmla="*/ 143141 w 238830"/>
                <a:gd name="connsiteY14" fmla="*/ 40156 h 236556"/>
                <a:gd name="connsiteX15" fmla="*/ 89829 w 238830"/>
                <a:gd name="connsiteY15" fmla="*/ 127643 h 236556"/>
                <a:gd name="connsiteX16" fmla="*/ 89829 w 238830"/>
                <a:gd name="connsiteY16" fmla="*/ 213764 h 236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8830" h="236556">
                  <a:moveTo>
                    <a:pt x="56401" y="236556"/>
                  </a:moveTo>
                  <a:lnTo>
                    <a:pt x="29681" y="218034"/>
                  </a:lnTo>
                  <a:lnTo>
                    <a:pt x="29681" y="45624"/>
                  </a:lnTo>
                  <a:lnTo>
                    <a:pt x="0" y="45624"/>
                  </a:lnTo>
                  <a:lnTo>
                    <a:pt x="36558" y="1425"/>
                  </a:lnTo>
                  <a:lnTo>
                    <a:pt x="82994" y="1425"/>
                  </a:lnTo>
                  <a:lnTo>
                    <a:pt x="82994" y="75242"/>
                  </a:lnTo>
                  <a:lnTo>
                    <a:pt x="84360" y="75242"/>
                  </a:lnTo>
                  <a:cubicBezTo>
                    <a:pt x="98942" y="31954"/>
                    <a:pt x="110333" y="15095"/>
                    <a:pt x="132205" y="5981"/>
                  </a:cubicBezTo>
                  <a:cubicBezTo>
                    <a:pt x="142230" y="1880"/>
                    <a:pt x="152710" y="-398"/>
                    <a:pt x="163646" y="57"/>
                  </a:cubicBezTo>
                  <a:cubicBezTo>
                    <a:pt x="210579" y="-854"/>
                    <a:pt x="238830" y="31954"/>
                    <a:pt x="238830" y="88456"/>
                  </a:cubicBezTo>
                  <a:lnTo>
                    <a:pt x="238830" y="94380"/>
                  </a:lnTo>
                  <a:lnTo>
                    <a:pt x="176860" y="98025"/>
                  </a:lnTo>
                  <a:lnTo>
                    <a:pt x="176860" y="81621"/>
                  </a:lnTo>
                  <a:cubicBezTo>
                    <a:pt x="176860" y="57016"/>
                    <a:pt x="162735" y="40156"/>
                    <a:pt x="143141" y="40156"/>
                  </a:cubicBezTo>
                  <a:cubicBezTo>
                    <a:pt x="113979" y="40156"/>
                    <a:pt x="89829" y="78887"/>
                    <a:pt x="89829" y="127643"/>
                  </a:cubicBezTo>
                  <a:lnTo>
                    <a:pt x="89829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7" name="Forme libre : forme 806">
              <a:extLst>
                <a:ext uri="{FF2B5EF4-FFF2-40B4-BE49-F238E27FC236}">
                  <a16:creationId xmlns:a16="http://schemas.microsoft.com/office/drawing/2014/main" id="{D0E1C294-DAF5-41B6-B115-06272F5F9B10}"/>
                </a:ext>
              </a:extLst>
            </p:cNvPr>
            <p:cNvSpPr/>
            <p:nvPr/>
          </p:nvSpPr>
          <p:spPr>
            <a:xfrm rot="8716295">
              <a:off x="5347450" y="8999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8" name="Forme libre : forme 807">
              <a:extLst>
                <a:ext uri="{FF2B5EF4-FFF2-40B4-BE49-F238E27FC236}">
                  <a16:creationId xmlns:a16="http://schemas.microsoft.com/office/drawing/2014/main" id="{74F1E207-7916-4202-A641-550B15EFECC8}"/>
                </a:ext>
              </a:extLst>
            </p:cNvPr>
            <p:cNvSpPr/>
            <p:nvPr/>
          </p:nvSpPr>
          <p:spPr>
            <a:xfrm rot="8716295">
              <a:off x="5220022" y="-7080"/>
              <a:ext cx="219414" cy="84041"/>
            </a:xfrm>
            <a:custGeom>
              <a:avLst/>
              <a:gdLst>
                <a:gd name="connsiteX0" fmla="*/ 80105 w 144967"/>
                <a:gd name="connsiteY0" fmla="*/ 55526 h 55526"/>
                <a:gd name="connsiteX1" fmla="*/ 0 w 144967"/>
                <a:gd name="connsiteY1" fmla="*/ 0 h 55526"/>
                <a:gd name="connsiteX2" fmla="*/ 144967 w 144967"/>
                <a:gd name="connsiteY2" fmla="*/ 0 h 55526"/>
                <a:gd name="connsiteX3" fmla="*/ 144967 w 144967"/>
                <a:gd name="connsiteY3" fmla="*/ 55323 h 55526"/>
                <a:gd name="connsiteX4" fmla="*/ 80175 w 144967"/>
                <a:gd name="connsiteY4" fmla="*/ 55323 h 55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967" h="55526">
                  <a:moveTo>
                    <a:pt x="80105" y="55526"/>
                  </a:moveTo>
                  <a:lnTo>
                    <a:pt x="0" y="0"/>
                  </a:lnTo>
                  <a:lnTo>
                    <a:pt x="144967" y="0"/>
                  </a:lnTo>
                  <a:lnTo>
                    <a:pt x="144967" y="55323"/>
                  </a:lnTo>
                  <a:lnTo>
                    <a:pt x="8017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9" name="Forme libre : forme 808">
              <a:extLst>
                <a:ext uri="{FF2B5EF4-FFF2-40B4-BE49-F238E27FC236}">
                  <a16:creationId xmlns:a16="http://schemas.microsoft.com/office/drawing/2014/main" id="{FFFA1363-71F4-445A-B608-E607D2E33C24}"/>
                </a:ext>
              </a:extLst>
            </p:cNvPr>
            <p:cNvSpPr/>
            <p:nvPr/>
          </p:nvSpPr>
          <p:spPr>
            <a:xfrm rot="8716295">
              <a:off x="5483939" y="15198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0" name="Forme libre : forme 809">
              <a:extLst>
                <a:ext uri="{FF2B5EF4-FFF2-40B4-BE49-F238E27FC236}">
                  <a16:creationId xmlns:a16="http://schemas.microsoft.com/office/drawing/2014/main" id="{F26EC522-D5AA-44BE-B119-A69633A6A7B7}"/>
                </a:ext>
              </a:extLst>
            </p:cNvPr>
            <p:cNvSpPr/>
            <p:nvPr/>
          </p:nvSpPr>
          <p:spPr>
            <a:xfrm rot="8716295">
              <a:off x="5128323" y="-20358"/>
              <a:ext cx="80664" cy="63766"/>
            </a:xfrm>
            <a:custGeom>
              <a:avLst/>
              <a:gdLst>
                <a:gd name="connsiteX0" fmla="*/ 51759 w 53295"/>
                <a:gd name="connsiteY0" fmla="*/ 42130 h 42130"/>
                <a:gd name="connsiteX1" fmla="*/ 0 w 53295"/>
                <a:gd name="connsiteY1" fmla="*/ 6252 h 42130"/>
                <a:gd name="connsiteX2" fmla="*/ 14807 w 53295"/>
                <a:gd name="connsiteY2" fmla="*/ 0 h 42130"/>
                <a:gd name="connsiteX3" fmla="*/ 41975 w 53295"/>
                <a:gd name="connsiteY3" fmla="*/ 11471 h 42130"/>
                <a:gd name="connsiteX4" fmla="*/ 53295 w 53295"/>
                <a:gd name="connsiteY4" fmla="*/ 38412 h 42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295" h="42130">
                  <a:moveTo>
                    <a:pt x="51759" y="42130"/>
                  </a:moveTo>
                  <a:lnTo>
                    <a:pt x="0" y="6252"/>
                  </a:lnTo>
                  <a:lnTo>
                    <a:pt x="14807" y="0"/>
                  </a:lnTo>
                  <a:cubicBezTo>
                    <a:pt x="25071" y="0"/>
                    <a:pt x="34731" y="4226"/>
                    <a:pt x="41975" y="11471"/>
                  </a:cubicBezTo>
                  <a:cubicBezTo>
                    <a:pt x="49522" y="18716"/>
                    <a:pt x="53295" y="28526"/>
                    <a:pt x="53295" y="3841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1" name="Forme libre : forme 810">
              <a:extLst>
                <a:ext uri="{FF2B5EF4-FFF2-40B4-BE49-F238E27FC236}">
                  <a16:creationId xmlns:a16="http://schemas.microsoft.com/office/drawing/2014/main" id="{FD43579C-B307-44A1-9A8C-8DE6E00BA9DE}"/>
                </a:ext>
              </a:extLst>
            </p:cNvPr>
            <p:cNvSpPr/>
            <p:nvPr/>
          </p:nvSpPr>
          <p:spPr>
            <a:xfrm rot="7484129">
              <a:off x="5642756" y="4415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2" name="Forme libre : forme 811">
              <a:extLst>
                <a:ext uri="{FF2B5EF4-FFF2-40B4-BE49-F238E27FC236}">
                  <a16:creationId xmlns:a16="http://schemas.microsoft.com/office/drawing/2014/main" id="{32F15E24-4369-4C59-AD66-4B724D73D54B}"/>
                </a:ext>
              </a:extLst>
            </p:cNvPr>
            <p:cNvSpPr/>
            <p:nvPr/>
          </p:nvSpPr>
          <p:spPr>
            <a:xfrm rot="13089394">
              <a:off x="5789679" y="415199"/>
              <a:ext cx="360116" cy="446294"/>
            </a:xfrm>
            <a:custGeom>
              <a:avLst/>
              <a:gdLst>
                <a:gd name="connsiteX0" fmla="*/ 39306 w 237929"/>
                <a:gd name="connsiteY0" fmla="*/ 79955 h 294867"/>
                <a:gd name="connsiteX1" fmla="*/ 0 w 237929"/>
                <a:gd name="connsiteY1" fmla="*/ 20095 h 294867"/>
                <a:gd name="connsiteX2" fmla="*/ 38733 w 237929"/>
                <a:gd name="connsiteY2" fmla="*/ 0 h 294867"/>
                <a:gd name="connsiteX3" fmla="*/ 237929 w 237929"/>
                <a:gd name="connsiteY3" fmla="*/ 258238 h 294867"/>
                <a:gd name="connsiteX4" fmla="*/ 191415 w 237929"/>
                <a:gd name="connsiteY4" fmla="*/ 290069 h 294867"/>
                <a:gd name="connsiteX5" fmla="*/ 180425 w 237929"/>
                <a:gd name="connsiteY5" fmla="*/ 294867 h 294867"/>
                <a:gd name="connsiteX6" fmla="*/ 166448 w 237929"/>
                <a:gd name="connsiteY6" fmla="*/ 273582 h 294867"/>
                <a:gd name="connsiteX7" fmla="*/ 168955 w 237929"/>
                <a:gd name="connsiteY7" fmla="*/ 273136 h 294867"/>
                <a:gd name="connsiteX8" fmla="*/ 236826 w 237929"/>
                <a:gd name="connsiteY8" fmla="*/ 245547 h 294867"/>
                <a:gd name="connsiteX9" fmla="*/ 237929 w 237929"/>
                <a:gd name="connsiteY9" fmla="*/ 252720 h 294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7929" h="294867">
                  <a:moveTo>
                    <a:pt x="39306" y="79955"/>
                  </a:moveTo>
                  <a:lnTo>
                    <a:pt x="0" y="20095"/>
                  </a:lnTo>
                  <a:lnTo>
                    <a:pt x="38733" y="0"/>
                  </a:lnTo>
                  <a:close/>
                  <a:moveTo>
                    <a:pt x="237929" y="258238"/>
                  </a:moveTo>
                  <a:cubicBezTo>
                    <a:pt x="223307" y="270791"/>
                    <a:pt x="207546" y="281309"/>
                    <a:pt x="191415" y="290069"/>
                  </a:cubicBezTo>
                  <a:lnTo>
                    <a:pt x="180425" y="294867"/>
                  </a:lnTo>
                  <a:lnTo>
                    <a:pt x="166448" y="273582"/>
                  </a:lnTo>
                  <a:lnTo>
                    <a:pt x="168955" y="273136"/>
                  </a:lnTo>
                  <a:cubicBezTo>
                    <a:pt x="192130" y="265963"/>
                    <a:pt x="214754" y="256582"/>
                    <a:pt x="236826" y="245547"/>
                  </a:cubicBezTo>
                  <a:cubicBezTo>
                    <a:pt x="237377" y="247754"/>
                    <a:pt x="237929" y="250513"/>
                    <a:pt x="237929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3" name="Forme libre : forme 812">
              <a:extLst>
                <a:ext uri="{FF2B5EF4-FFF2-40B4-BE49-F238E27FC236}">
                  <a16:creationId xmlns:a16="http://schemas.microsoft.com/office/drawing/2014/main" id="{4456445D-FEFF-4497-984E-23E7AE4DB2E6}"/>
                </a:ext>
              </a:extLst>
            </p:cNvPr>
            <p:cNvSpPr/>
            <p:nvPr/>
          </p:nvSpPr>
          <p:spPr>
            <a:xfrm rot="8716295">
              <a:off x="5996886" y="-12676"/>
              <a:ext cx="90399" cy="122140"/>
            </a:xfrm>
            <a:custGeom>
              <a:avLst/>
              <a:gdLst>
                <a:gd name="connsiteX0" fmla="*/ 0 w 59727"/>
                <a:gd name="connsiteY0" fmla="*/ 52945 h 80698"/>
                <a:gd name="connsiteX1" fmla="*/ 43791 w 59727"/>
                <a:gd name="connsiteY1" fmla="*/ 0 h 80698"/>
                <a:gd name="connsiteX2" fmla="*/ 59727 w 59727"/>
                <a:gd name="connsiteY2" fmla="*/ 37928 h 80698"/>
                <a:gd name="connsiteX3" fmla="*/ 42480 w 59727"/>
                <a:gd name="connsiteY3" fmla="*/ 79666 h 80698"/>
                <a:gd name="connsiteX4" fmla="*/ 40038 w 59727"/>
                <a:gd name="connsiteY4" fmla="*/ 80698 h 80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727" h="80698">
                  <a:moveTo>
                    <a:pt x="0" y="52945"/>
                  </a:moveTo>
                  <a:lnTo>
                    <a:pt x="43791" y="0"/>
                  </a:lnTo>
                  <a:lnTo>
                    <a:pt x="59727" y="37928"/>
                  </a:lnTo>
                  <a:cubicBezTo>
                    <a:pt x="59727" y="52991"/>
                    <a:pt x="53978" y="68168"/>
                    <a:pt x="42480" y="79666"/>
                  </a:cubicBezTo>
                  <a:lnTo>
                    <a:pt x="40038" y="806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4" name="Forme libre : forme 813">
              <a:extLst>
                <a:ext uri="{FF2B5EF4-FFF2-40B4-BE49-F238E27FC236}">
                  <a16:creationId xmlns:a16="http://schemas.microsoft.com/office/drawing/2014/main" id="{8608BF4F-989C-471C-8F7D-609DB58E76BD}"/>
                </a:ext>
              </a:extLst>
            </p:cNvPr>
            <p:cNvSpPr/>
            <p:nvPr/>
          </p:nvSpPr>
          <p:spPr>
            <a:xfrm rot="8716295">
              <a:off x="5631023" y="-8174"/>
              <a:ext cx="87445" cy="82387"/>
            </a:xfrm>
            <a:custGeom>
              <a:avLst/>
              <a:gdLst>
                <a:gd name="connsiteX0" fmla="*/ 37946 w 57775"/>
                <a:gd name="connsiteY0" fmla="*/ 54433 h 54433"/>
                <a:gd name="connsiteX1" fmla="*/ 0 w 57775"/>
                <a:gd name="connsiteY1" fmla="*/ 28130 h 54433"/>
                <a:gd name="connsiteX2" fmla="*/ 8222 w 57775"/>
                <a:gd name="connsiteY2" fmla="*/ 8658 h 54433"/>
                <a:gd name="connsiteX3" fmla="*/ 28726 w 57775"/>
                <a:gd name="connsiteY3" fmla="*/ 0 h 54433"/>
                <a:gd name="connsiteX4" fmla="*/ 49232 w 57775"/>
                <a:gd name="connsiteY4" fmla="*/ 8658 h 54433"/>
                <a:gd name="connsiteX5" fmla="*/ 49232 w 57775"/>
                <a:gd name="connsiteY5" fmla="*/ 49668 h 54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775" h="54433">
                  <a:moveTo>
                    <a:pt x="37946" y="54433"/>
                  </a:moveTo>
                  <a:lnTo>
                    <a:pt x="0" y="28130"/>
                  </a:lnTo>
                  <a:lnTo>
                    <a:pt x="8222" y="8658"/>
                  </a:lnTo>
                  <a:cubicBezTo>
                    <a:pt x="13690" y="3190"/>
                    <a:pt x="20981" y="0"/>
                    <a:pt x="28726" y="0"/>
                  </a:cubicBezTo>
                  <a:cubicBezTo>
                    <a:pt x="36473" y="0"/>
                    <a:pt x="43764" y="3190"/>
                    <a:pt x="49232" y="8658"/>
                  </a:cubicBezTo>
                  <a:cubicBezTo>
                    <a:pt x="60624" y="19594"/>
                    <a:pt x="60623" y="38276"/>
                    <a:pt x="49232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411" name="Espace réservé du texte 410">
            <a:extLst>
              <a:ext uri="{FF2B5EF4-FFF2-40B4-BE49-F238E27FC236}">
                <a16:creationId xmlns:a16="http://schemas.microsoft.com/office/drawing/2014/main" id="{E014E6DC-AD19-40E5-A2B7-DF68385EE1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3541" y="526470"/>
            <a:ext cx="7379432" cy="29918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1pPr>
            <a:lvl2pPr marL="0" indent="0">
              <a:buNone/>
              <a:defRPr sz="5400" b="1" cap="all" baseline="0">
                <a:solidFill>
                  <a:srgbClr val="009FE3"/>
                </a:solidFill>
              </a:defRPr>
            </a:lvl2pPr>
          </a:lstStyle>
          <a:p>
            <a:pPr lvl="0"/>
            <a:r>
              <a:rPr lang="fr-FR" dirty="0"/>
              <a:t>Titre de la présentation</a:t>
            </a:r>
          </a:p>
          <a:p>
            <a:pPr lvl="1"/>
            <a:r>
              <a:rPr lang="fr-FR" dirty="0"/>
              <a:t>exergue</a:t>
            </a:r>
          </a:p>
        </p:txBody>
      </p:sp>
      <p:pic>
        <p:nvPicPr>
          <p:cNvPr id="408" name="Graphique 407">
            <a:extLst>
              <a:ext uri="{FF2B5EF4-FFF2-40B4-BE49-F238E27FC236}">
                <a16:creationId xmlns:a16="http://schemas.microsoft.com/office/drawing/2014/main" id="{448F94F4-8E31-46DD-9D3E-E96498FF82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97194" y="3988359"/>
            <a:ext cx="2255854" cy="67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94596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uverture 2 - Foncé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que 2">
            <a:extLst>
              <a:ext uri="{FF2B5EF4-FFF2-40B4-BE49-F238E27FC236}">
                <a16:creationId xmlns:a16="http://schemas.microsoft.com/office/drawing/2014/main" id="{E7008A4A-56ED-4B79-8C76-07B31083E9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36903" y="2053956"/>
            <a:ext cx="3470194" cy="1035588"/>
          </a:xfrm>
          <a:prstGeom prst="rect">
            <a:avLst/>
          </a:prstGeom>
        </p:spPr>
      </p:pic>
      <p:sp>
        <p:nvSpPr>
          <p:cNvPr id="5" name="Forme libre : forme 4">
            <a:extLst>
              <a:ext uri="{FF2B5EF4-FFF2-40B4-BE49-F238E27FC236}">
                <a16:creationId xmlns:a16="http://schemas.microsoft.com/office/drawing/2014/main" id="{6BBA7953-6320-4985-B304-CAEF45B84CC1}"/>
              </a:ext>
            </a:extLst>
          </p:cNvPr>
          <p:cNvSpPr/>
          <p:nvPr userDrawn="1"/>
        </p:nvSpPr>
        <p:spPr>
          <a:xfrm rot="16200000">
            <a:off x="6276217" y="2274933"/>
            <a:ext cx="1037443" cy="4698124"/>
          </a:xfrm>
          <a:custGeom>
            <a:avLst/>
            <a:gdLst>
              <a:gd name="connsiteX0" fmla="*/ 1037443 w 1037443"/>
              <a:gd name="connsiteY0" fmla="*/ 4698124 h 4698124"/>
              <a:gd name="connsiteX1" fmla="*/ 0 w 1037443"/>
              <a:gd name="connsiteY1" fmla="*/ 4698124 h 4698124"/>
              <a:gd name="connsiteX2" fmla="*/ 386215 w 1037443"/>
              <a:gd name="connsiteY2" fmla="*/ 0 h 4698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37443" h="4698124">
                <a:moveTo>
                  <a:pt x="1037443" y="4698124"/>
                </a:moveTo>
                <a:lnTo>
                  <a:pt x="0" y="4698124"/>
                </a:lnTo>
                <a:lnTo>
                  <a:pt x="386215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48FA6A4C-949D-4D78-851A-5D85C0ACA219}"/>
              </a:ext>
            </a:extLst>
          </p:cNvPr>
          <p:cNvGrpSpPr/>
          <p:nvPr userDrawn="1"/>
        </p:nvGrpSpPr>
        <p:grpSpPr>
          <a:xfrm>
            <a:off x="4782105" y="4078441"/>
            <a:ext cx="4416497" cy="1125022"/>
            <a:chOff x="4782105" y="4078441"/>
            <a:chExt cx="4416497" cy="1125022"/>
          </a:xfrm>
          <a:solidFill>
            <a:schemeClr val="bg2">
              <a:alpha val="10000"/>
            </a:schemeClr>
          </a:solidFill>
        </p:grpSpPr>
        <p:sp>
          <p:nvSpPr>
            <p:cNvPr id="7" name="Forme libre : forme 6">
              <a:extLst>
                <a:ext uri="{FF2B5EF4-FFF2-40B4-BE49-F238E27FC236}">
                  <a16:creationId xmlns:a16="http://schemas.microsoft.com/office/drawing/2014/main" id="{791FB8C9-9221-4E4C-A4AC-2AAD9F08AE59}"/>
                </a:ext>
              </a:extLst>
            </p:cNvPr>
            <p:cNvSpPr/>
            <p:nvPr/>
          </p:nvSpPr>
          <p:spPr>
            <a:xfrm rot="8716295">
              <a:off x="8490768" y="467807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CAEA067D-BF83-4ED3-87B4-BB06FFFF2B66}"/>
                </a:ext>
              </a:extLst>
            </p:cNvPr>
            <p:cNvSpPr/>
            <p:nvPr/>
          </p:nvSpPr>
          <p:spPr>
            <a:xfrm rot="8716295">
              <a:off x="5559260" y="4523190"/>
              <a:ext cx="215177" cy="303156"/>
            </a:xfrm>
            <a:custGeom>
              <a:avLst/>
              <a:gdLst>
                <a:gd name="connsiteX0" fmla="*/ 122761 w 215177"/>
                <a:gd name="connsiteY0" fmla="*/ 256399 h 303156"/>
                <a:gd name="connsiteX1" fmla="*/ 122761 w 215177"/>
                <a:gd name="connsiteY1" fmla="*/ 105519 h 303156"/>
                <a:gd name="connsiteX2" fmla="*/ 122761 w 215177"/>
                <a:gd name="connsiteY2" fmla="*/ 99312 h 303156"/>
                <a:gd name="connsiteX3" fmla="*/ 91726 w 215177"/>
                <a:gd name="connsiteY3" fmla="*/ 75863 h 303156"/>
                <a:gd name="connsiteX4" fmla="*/ 0 w 215177"/>
                <a:gd name="connsiteY4" fmla="*/ 75863 h 303156"/>
                <a:gd name="connsiteX5" fmla="*/ 0 w 215177"/>
                <a:gd name="connsiteY5" fmla="*/ 0 h 303156"/>
                <a:gd name="connsiteX6" fmla="*/ 128968 w 215177"/>
                <a:gd name="connsiteY6" fmla="*/ 0 h 303156"/>
                <a:gd name="connsiteX7" fmla="*/ 215177 w 215177"/>
                <a:gd name="connsiteY7" fmla="*/ 75863 h 303156"/>
                <a:gd name="connsiteX8" fmla="*/ 215176 w 215177"/>
                <a:gd name="connsiteY8" fmla="*/ 303156 h 303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5177" h="303156">
                  <a:moveTo>
                    <a:pt x="122761" y="25639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0"/>
                  </a:lnTo>
                  <a:lnTo>
                    <a:pt x="128968" y="0"/>
                  </a:lnTo>
                  <a:cubicBezTo>
                    <a:pt x="184831" y="0"/>
                    <a:pt x="215176" y="24139"/>
                    <a:pt x="215177" y="75863"/>
                  </a:cubicBezTo>
                  <a:lnTo>
                    <a:pt x="215176" y="30315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ADF38186-185D-41F8-A6B1-FB10366A4CEE}"/>
                </a:ext>
              </a:extLst>
            </p:cNvPr>
            <p:cNvSpPr/>
            <p:nvPr/>
          </p:nvSpPr>
          <p:spPr>
            <a:xfrm rot="8716295">
              <a:off x="5692925" y="4561542"/>
              <a:ext cx="393603" cy="335006"/>
            </a:xfrm>
            <a:custGeom>
              <a:avLst/>
              <a:gdLst>
                <a:gd name="connsiteX0" fmla="*/ 77932 w 393603"/>
                <a:gd name="connsiteY0" fmla="*/ 299055 h 335006"/>
                <a:gd name="connsiteX1" fmla="*/ 77932 w 393603"/>
                <a:gd name="connsiteY1" fmla="*/ 66897 h 335006"/>
                <a:gd name="connsiteX2" fmla="*/ 0 w 393603"/>
                <a:gd name="connsiteY2" fmla="*/ 66898 h 335006"/>
                <a:gd name="connsiteX3" fmla="*/ 0 w 393603"/>
                <a:gd name="connsiteY3" fmla="*/ 0 h 335006"/>
                <a:gd name="connsiteX4" fmla="*/ 158623 w 393603"/>
                <a:gd name="connsiteY4" fmla="*/ 1 h 335006"/>
                <a:gd name="connsiteX5" fmla="*/ 158623 w 393603"/>
                <a:gd name="connsiteY5" fmla="*/ 111726 h 335006"/>
                <a:gd name="connsiteX6" fmla="*/ 160692 w 393603"/>
                <a:gd name="connsiteY6" fmla="*/ 111726 h 335006"/>
                <a:gd name="connsiteX7" fmla="*/ 192762 w 393603"/>
                <a:gd name="connsiteY7" fmla="*/ 39915 h 335006"/>
                <a:gd name="connsiteX8" fmla="*/ 231959 w 393603"/>
                <a:gd name="connsiteY8" fmla="*/ 7837 h 335006"/>
                <a:gd name="connsiteX9" fmla="*/ 393603 w 393603"/>
                <a:gd name="connsiteY9" fmla="*/ 140745 h 335006"/>
                <a:gd name="connsiteX10" fmla="*/ 300695 w 393603"/>
                <a:gd name="connsiteY10" fmla="*/ 146210 h 335006"/>
                <a:gd name="connsiteX11" fmla="*/ 300694 w 393603"/>
                <a:gd name="connsiteY11" fmla="*/ 121382 h 335006"/>
                <a:gd name="connsiteX12" fmla="*/ 249659 w 393603"/>
                <a:gd name="connsiteY12" fmla="*/ 58622 h 335006"/>
                <a:gd name="connsiteX13" fmla="*/ 168969 w 393603"/>
                <a:gd name="connsiteY13" fmla="*/ 191038 h 335006"/>
                <a:gd name="connsiteX14" fmla="*/ 168969 w 393603"/>
                <a:gd name="connsiteY14" fmla="*/ 321385 h 335006"/>
                <a:gd name="connsiteX15" fmla="*/ 148991 w 393603"/>
                <a:gd name="connsiteY15" fmla="*/ 335006 h 335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93603" h="335006">
                  <a:moveTo>
                    <a:pt x="77932" y="299055"/>
                  </a:moveTo>
                  <a:lnTo>
                    <a:pt x="77932" y="66897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1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71727" y="78967"/>
                    <a:pt x="181555" y="56208"/>
                    <a:pt x="192762" y="39915"/>
                  </a:cubicBezTo>
                  <a:lnTo>
                    <a:pt x="231959" y="7837"/>
                  </a:lnTo>
                  <a:lnTo>
                    <a:pt x="393603" y="140745"/>
                  </a:lnTo>
                  <a:lnTo>
                    <a:pt x="300695" y="146210"/>
                  </a:lnTo>
                  <a:lnTo>
                    <a:pt x="300694" y="121382"/>
                  </a:lnTo>
                  <a:cubicBezTo>
                    <a:pt x="300695" y="84140"/>
                    <a:pt x="279316" y="58622"/>
                    <a:pt x="249659" y="58622"/>
                  </a:cubicBezTo>
                  <a:cubicBezTo>
                    <a:pt x="205521" y="58621"/>
                    <a:pt x="168969" y="117244"/>
                    <a:pt x="168969" y="191038"/>
                  </a:cubicBezTo>
                  <a:lnTo>
                    <a:pt x="168969" y="321385"/>
                  </a:lnTo>
                  <a:lnTo>
                    <a:pt x="148991" y="33500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4B724F9D-95FF-4F02-B59A-7E5AC8B98AC8}"/>
                </a:ext>
              </a:extLst>
            </p:cNvPr>
            <p:cNvSpPr/>
            <p:nvPr/>
          </p:nvSpPr>
          <p:spPr>
            <a:xfrm rot="8716295">
              <a:off x="5659234" y="4556420"/>
              <a:ext cx="113018" cy="83608"/>
            </a:xfrm>
            <a:custGeom>
              <a:avLst/>
              <a:gdLst>
                <a:gd name="connsiteX0" fmla="*/ 0 w 113018"/>
                <a:gd name="connsiteY0" fmla="*/ 32910 h 83608"/>
                <a:gd name="connsiteX1" fmla="*/ 24482 w 113018"/>
                <a:gd name="connsiteY1" fmla="*/ 13621 h 83608"/>
                <a:gd name="connsiteX2" fmla="*/ 70259 w 113018"/>
                <a:gd name="connsiteY2" fmla="*/ 0 h 83608"/>
                <a:gd name="connsiteX3" fmla="*/ 113018 w 113018"/>
                <a:gd name="connsiteY3" fmla="*/ 51035 h 83608"/>
                <a:gd name="connsiteX4" fmla="*/ 100518 w 113018"/>
                <a:gd name="connsiteY4" fmla="*/ 83363 h 83608"/>
                <a:gd name="connsiteX5" fmla="*/ 100204 w 113018"/>
                <a:gd name="connsiteY5" fmla="*/ 83608 h 83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018" h="83608">
                  <a:moveTo>
                    <a:pt x="0" y="32910"/>
                  </a:moveTo>
                  <a:lnTo>
                    <a:pt x="24482" y="13621"/>
                  </a:lnTo>
                  <a:cubicBezTo>
                    <a:pt x="38534" y="6380"/>
                    <a:pt x="54052" y="1725"/>
                    <a:pt x="70259" y="0"/>
                  </a:cubicBezTo>
                  <a:cubicBezTo>
                    <a:pt x="103363" y="0"/>
                    <a:pt x="113018" y="28966"/>
                    <a:pt x="113018" y="51035"/>
                  </a:cubicBezTo>
                  <a:cubicBezTo>
                    <a:pt x="111984" y="63105"/>
                    <a:pt x="107501" y="74139"/>
                    <a:pt x="100518" y="83363"/>
                  </a:cubicBezTo>
                  <a:lnTo>
                    <a:pt x="100204" y="8360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D01436B5-D8EB-44DF-8B51-633BF4E9FB42}"/>
                </a:ext>
              </a:extLst>
            </p:cNvPr>
            <p:cNvSpPr/>
            <p:nvPr/>
          </p:nvSpPr>
          <p:spPr>
            <a:xfrm rot="8716295">
              <a:off x="5371633" y="4613095"/>
              <a:ext cx="88105" cy="83851"/>
            </a:xfrm>
            <a:custGeom>
              <a:avLst/>
              <a:gdLst>
                <a:gd name="connsiteX0" fmla="*/ 6112 w 88105"/>
                <a:gd name="connsiteY0" fmla="*/ 59305 h 83851"/>
                <a:gd name="connsiteX1" fmla="*/ 0 w 88105"/>
                <a:gd name="connsiteY1" fmla="*/ 44829 h 83851"/>
                <a:gd name="connsiteX2" fmla="*/ 0 w 88105"/>
                <a:gd name="connsiteY2" fmla="*/ 44139 h 83851"/>
                <a:gd name="connsiteX3" fmla="*/ 13104 w 88105"/>
                <a:gd name="connsiteY3" fmla="*/ 13104 h 83851"/>
                <a:gd name="connsiteX4" fmla="*/ 44139 w 88105"/>
                <a:gd name="connsiteY4" fmla="*/ 0 h 83851"/>
                <a:gd name="connsiteX5" fmla="*/ 75175 w 88105"/>
                <a:gd name="connsiteY5" fmla="*/ 13104 h 83851"/>
                <a:gd name="connsiteX6" fmla="*/ 75175 w 88105"/>
                <a:gd name="connsiteY6" fmla="*/ 75175 h 83851"/>
                <a:gd name="connsiteX7" fmla="*/ 54626 w 88105"/>
                <a:gd name="connsiteY7" fmla="*/ 83851 h 83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105" h="83851">
                  <a:moveTo>
                    <a:pt x="6112" y="59305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cubicBezTo>
                    <a:pt x="55864" y="0"/>
                    <a:pt x="66899" y="4828"/>
                    <a:pt x="75175" y="13104"/>
                  </a:cubicBezTo>
                  <a:cubicBezTo>
                    <a:pt x="92416" y="29657"/>
                    <a:pt x="92416" y="57933"/>
                    <a:pt x="75175" y="75175"/>
                  </a:cubicBezTo>
                  <a:lnTo>
                    <a:pt x="54626" y="8385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6F3BF20E-F037-4374-BB41-095B54D26F08}"/>
                </a:ext>
              </a:extLst>
            </p:cNvPr>
            <p:cNvSpPr/>
            <p:nvPr/>
          </p:nvSpPr>
          <p:spPr>
            <a:xfrm rot="8716295">
              <a:off x="5473646" y="4706746"/>
              <a:ext cx="91035" cy="188159"/>
            </a:xfrm>
            <a:custGeom>
              <a:avLst/>
              <a:gdLst>
                <a:gd name="connsiteX0" fmla="*/ 91035 w 91035"/>
                <a:gd name="connsiteY0" fmla="*/ 188159 h 188159"/>
                <a:gd name="connsiteX1" fmla="*/ 0 w 91035"/>
                <a:gd name="connsiteY1" fmla="*/ 100571 h 188159"/>
                <a:gd name="connsiteX2" fmla="*/ 0 w 91035"/>
                <a:gd name="connsiteY2" fmla="*/ 0 h 188159"/>
                <a:gd name="connsiteX3" fmla="*/ 91035 w 91035"/>
                <a:gd name="connsiteY3" fmla="*/ 74852 h 188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188159">
                  <a:moveTo>
                    <a:pt x="91035" y="188159"/>
                  </a:moveTo>
                  <a:lnTo>
                    <a:pt x="0" y="100571"/>
                  </a:lnTo>
                  <a:lnTo>
                    <a:pt x="0" y="0"/>
                  </a:lnTo>
                  <a:lnTo>
                    <a:pt x="91035" y="748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BBB1D061-FD31-402D-BCCB-6813149262F1}"/>
                </a:ext>
              </a:extLst>
            </p:cNvPr>
            <p:cNvSpPr/>
            <p:nvPr/>
          </p:nvSpPr>
          <p:spPr>
            <a:xfrm rot="8716295">
              <a:off x="6218962" y="4454620"/>
              <a:ext cx="171018" cy="106515"/>
            </a:xfrm>
            <a:custGeom>
              <a:avLst/>
              <a:gdLst>
                <a:gd name="connsiteX0" fmla="*/ 0 w 171018"/>
                <a:gd name="connsiteY0" fmla="*/ 19991 h 106515"/>
                <a:gd name="connsiteX1" fmla="*/ 13365 w 171018"/>
                <a:gd name="connsiteY1" fmla="*/ 9053 h 106515"/>
                <a:gd name="connsiteX2" fmla="*/ 60952 w 171018"/>
                <a:gd name="connsiteY2" fmla="*/ 87 h 106515"/>
                <a:gd name="connsiteX3" fmla="*/ 166956 w 171018"/>
                <a:gd name="connsiteY3" fmla="*/ 76705 h 106515"/>
                <a:gd name="connsiteX4" fmla="*/ 171018 w 171018"/>
                <a:gd name="connsiteY4" fmla="*/ 106515 h 106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018" h="106515">
                  <a:moveTo>
                    <a:pt x="0" y="19991"/>
                  </a:moveTo>
                  <a:lnTo>
                    <a:pt x="13365" y="9053"/>
                  </a:lnTo>
                  <a:cubicBezTo>
                    <a:pt x="28538" y="2846"/>
                    <a:pt x="44400" y="-602"/>
                    <a:pt x="60952" y="87"/>
                  </a:cubicBezTo>
                  <a:cubicBezTo>
                    <a:pt x="114229" y="-948"/>
                    <a:pt x="151600" y="26725"/>
                    <a:pt x="166956" y="76705"/>
                  </a:cubicBezTo>
                  <a:lnTo>
                    <a:pt x="171018" y="10651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B49834EB-4686-4A9A-AFBE-353B0A4BB9CC}"/>
                </a:ext>
              </a:extLst>
            </p:cNvPr>
            <p:cNvSpPr/>
            <p:nvPr/>
          </p:nvSpPr>
          <p:spPr>
            <a:xfrm rot="8716295">
              <a:off x="6005990" y="4487669"/>
              <a:ext cx="156555" cy="122067"/>
            </a:xfrm>
            <a:custGeom>
              <a:avLst/>
              <a:gdLst>
                <a:gd name="connsiteX0" fmla="*/ 65519 w 156555"/>
                <a:gd name="connsiteY0" fmla="*/ 76009 h 122067"/>
                <a:gd name="connsiteX1" fmla="*/ 65519 w 156555"/>
                <a:gd name="connsiteY1" fmla="*/ 24828 h 122067"/>
                <a:gd name="connsiteX2" fmla="*/ 0 w 156555"/>
                <a:gd name="connsiteY2" fmla="*/ 24828 h 122067"/>
                <a:gd name="connsiteX3" fmla="*/ 0 w 156555"/>
                <a:gd name="connsiteY3" fmla="*/ 3449 h 122067"/>
                <a:gd name="connsiteX4" fmla="*/ 156555 w 156555"/>
                <a:gd name="connsiteY4" fmla="*/ 0 h 122067"/>
                <a:gd name="connsiteX5" fmla="*/ 156554 w 156555"/>
                <a:gd name="connsiteY5" fmla="*/ 122067 h 122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6555" h="122067">
                  <a:moveTo>
                    <a:pt x="65519" y="76009"/>
                  </a:moveTo>
                  <a:lnTo>
                    <a:pt x="65519" y="24828"/>
                  </a:lnTo>
                  <a:lnTo>
                    <a:pt x="0" y="24828"/>
                  </a:lnTo>
                  <a:lnTo>
                    <a:pt x="0" y="3449"/>
                  </a:lnTo>
                  <a:cubicBezTo>
                    <a:pt x="49656" y="5517"/>
                    <a:pt x="101381" y="1379"/>
                    <a:pt x="156555" y="0"/>
                  </a:cubicBezTo>
                  <a:lnTo>
                    <a:pt x="156554" y="1220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676F5558-2730-4CE0-B993-EAC478371730}"/>
                </a:ext>
              </a:extLst>
            </p:cNvPr>
            <p:cNvSpPr/>
            <p:nvPr/>
          </p:nvSpPr>
          <p:spPr>
            <a:xfrm rot="7484129">
              <a:off x="6103422" y="4586563"/>
              <a:ext cx="308532" cy="296464"/>
            </a:xfrm>
            <a:custGeom>
              <a:avLst/>
              <a:gdLst>
                <a:gd name="connsiteX0" fmla="*/ 137293 w 308532"/>
                <a:gd name="connsiteY0" fmla="*/ 296464 h 296464"/>
                <a:gd name="connsiteX1" fmla="*/ 72419 w 308532"/>
                <a:gd name="connsiteY1" fmla="*/ 175766 h 296464"/>
                <a:gd name="connsiteX2" fmla="*/ 105610 w 308532"/>
                <a:gd name="connsiteY2" fmla="*/ 83734 h 296464"/>
                <a:gd name="connsiteX3" fmla="*/ 0 w 308532"/>
                <a:gd name="connsiteY3" fmla="*/ 83734 h 296464"/>
                <a:gd name="connsiteX4" fmla="*/ 0 w 308532"/>
                <a:gd name="connsiteY4" fmla="*/ 0 h 296464"/>
                <a:gd name="connsiteX5" fmla="*/ 265017 w 308532"/>
                <a:gd name="connsiteY5" fmla="*/ 0 h 296464"/>
                <a:gd name="connsiteX6" fmla="*/ 308532 w 308532"/>
                <a:gd name="connsiteY6" fmla="*/ 75260 h 296464"/>
                <a:gd name="connsiteX7" fmla="*/ 308532 w 308532"/>
                <a:gd name="connsiteY7" fmla="*/ 83734 h 296464"/>
                <a:gd name="connsiteX8" fmla="*/ 210466 w 308532"/>
                <a:gd name="connsiteY8" fmla="*/ 83734 h 296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532" h="296464">
                  <a:moveTo>
                    <a:pt x="137293" y="296464"/>
                  </a:moveTo>
                  <a:lnTo>
                    <a:pt x="72419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65017" y="0"/>
                  </a:lnTo>
                  <a:lnTo>
                    <a:pt x="308532" y="75260"/>
                  </a:lnTo>
                  <a:lnTo>
                    <a:pt x="308532" y="83734"/>
                  </a:lnTo>
                  <a:lnTo>
                    <a:pt x="210466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6446F284-DF3B-4BD3-84E9-63513197872A}"/>
                </a:ext>
              </a:extLst>
            </p:cNvPr>
            <p:cNvSpPr/>
            <p:nvPr/>
          </p:nvSpPr>
          <p:spPr>
            <a:xfrm rot="13089394">
              <a:off x="6309616" y="4543919"/>
              <a:ext cx="412568" cy="359948"/>
            </a:xfrm>
            <a:custGeom>
              <a:avLst/>
              <a:gdLst>
                <a:gd name="connsiteX0" fmla="*/ 412568 w 412568"/>
                <a:gd name="connsiteY0" fmla="*/ 252801 h 359948"/>
                <a:gd name="connsiteX1" fmla="*/ 138636 w 412568"/>
                <a:gd name="connsiteY1" fmla="*/ 359701 h 359948"/>
                <a:gd name="connsiteX2" fmla="*/ 35911 w 412568"/>
                <a:gd name="connsiteY2" fmla="*/ 317943 h 359948"/>
                <a:gd name="connsiteX3" fmla="*/ 0 w 412568"/>
                <a:gd name="connsiteY3" fmla="*/ 174296 h 359948"/>
                <a:gd name="connsiteX4" fmla="*/ 0 w 412568"/>
                <a:gd name="connsiteY4" fmla="*/ 74054 h 359948"/>
                <a:gd name="connsiteX5" fmla="*/ 112066 w 412568"/>
                <a:gd name="connsiteY5" fmla="*/ 0 h 359948"/>
                <a:gd name="connsiteX6" fmla="*/ 112747 w 412568"/>
                <a:gd name="connsiteY6" fmla="*/ 94956 h 359948"/>
                <a:gd name="connsiteX7" fmla="*/ 132789 w 412568"/>
                <a:gd name="connsiteY7" fmla="*/ 233593 h 359948"/>
                <a:gd name="connsiteX8" fmla="*/ 233008 w 412568"/>
                <a:gd name="connsiteY8" fmla="*/ 288713 h 359948"/>
                <a:gd name="connsiteX9" fmla="*/ 308172 w 412568"/>
                <a:gd name="connsiteY9" fmla="*/ 275351 h 359948"/>
                <a:gd name="connsiteX10" fmla="*/ 410898 w 412568"/>
                <a:gd name="connsiteY10" fmla="*/ 233593 h 359948"/>
                <a:gd name="connsiteX11" fmla="*/ 412568 w 412568"/>
                <a:gd name="connsiteY11" fmla="*/ 244449 h 359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2568" h="359948">
                  <a:moveTo>
                    <a:pt x="412568" y="252801"/>
                  </a:moveTo>
                  <a:cubicBezTo>
                    <a:pt x="324041" y="328800"/>
                    <a:pt x="207954" y="355526"/>
                    <a:pt x="138636" y="359701"/>
                  </a:cubicBezTo>
                  <a:cubicBezTo>
                    <a:pt x="100219" y="362207"/>
                    <a:pt x="62637" y="345504"/>
                    <a:pt x="35911" y="317943"/>
                  </a:cubicBezTo>
                  <a:cubicBezTo>
                    <a:pt x="7516" y="290383"/>
                    <a:pt x="0" y="242779"/>
                    <a:pt x="0" y="174296"/>
                  </a:cubicBezTo>
                  <a:lnTo>
                    <a:pt x="0" y="74054"/>
                  </a:lnTo>
                  <a:lnTo>
                    <a:pt x="112066" y="0"/>
                  </a:lnTo>
                  <a:lnTo>
                    <a:pt x="112747" y="94956"/>
                  </a:lnTo>
                  <a:cubicBezTo>
                    <a:pt x="110241" y="141725"/>
                    <a:pt x="117756" y="189329"/>
                    <a:pt x="132789" y="233593"/>
                  </a:cubicBezTo>
                  <a:cubicBezTo>
                    <a:pt x="146153" y="270339"/>
                    <a:pt x="180394" y="288713"/>
                    <a:pt x="233008" y="288713"/>
                  </a:cubicBezTo>
                  <a:cubicBezTo>
                    <a:pt x="258899" y="287878"/>
                    <a:pt x="283953" y="282866"/>
                    <a:pt x="308172" y="275351"/>
                  </a:cubicBezTo>
                  <a:cubicBezTo>
                    <a:pt x="343249" y="264493"/>
                    <a:pt x="377491" y="250296"/>
                    <a:pt x="410898" y="233593"/>
                  </a:cubicBezTo>
                  <a:cubicBezTo>
                    <a:pt x="411732" y="236933"/>
                    <a:pt x="412568" y="241109"/>
                    <a:pt x="412568" y="24444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88875692-D947-4058-8206-44233A06BFD3}"/>
                </a:ext>
              </a:extLst>
            </p:cNvPr>
            <p:cNvSpPr/>
            <p:nvPr/>
          </p:nvSpPr>
          <p:spPr>
            <a:xfrm rot="8716295">
              <a:off x="6597507" y="4422612"/>
              <a:ext cx="149044" cy="111064"/>
            </a:xfrm>
            <a:custGeom>
              <a:avLst/>
              <a:gdLst>
                <a:gd name="connsiteX0" fmla="*/ 0 w 149044"/>
                <a:gd name="connsiteY0" fmla="*/ 51375 h 111064"/>
                <a:gd name="connsiteX1" fmla="*/ 1002 w 149044"/>
                <a:gd name="connsiteY1" fmla="*/ 50432 h 111064"/>
                <a:gd name="connsiteX2" fmla="*/ 98612 w 149044"/>
                <a:gd name="connsiteY2" fmla="*/ 0 h 111064"/>
                <a:gd name="connsiteX3" fmla="*/ 149044 w 149044"/>
                <a:gd name="connsiteY3" fmla="*/ 60193 h 111064"/>
                <a:gd name="connsiteX4" fmla="*/ 134300 w 149044"/>
                <a:gd name="connsiteY4" fmla="*/ 98322 h 111064"/>
                <a:gd name="connsiteX5" fmla="*/ 117977 w 149044"/>
                <a:gd name="connsiteY5" fmla="*/ 111064 h 111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044" h="111064">
                  <a:moveTo>
                    <a:pt x="0" y="51375"/>
                  </a:moveTo>
                  <a:lnTo>
                    <a:pt x="1002" y="50432"/>
                  </a:lnTo>
                  <a:cubicBezTo>
                    <a:pt x="25404" y="21963"/>
                    <a:pt x="60381" y="4067"/>
                    <a:pt x="98612" y="0"/>
                  </a:cubicBezTo>
                  <a:cubicBezTo>
                    <a:pt x="137657" y="0"/>
                    <a:pt x="149044" y="34164"/>
                    <a:pt x="149044" y="60193"/>
                  </a:cubicBezTo>
                  <a:cubicBezTo>
                    <a:pt x="147824" y="74428"/>
                    <a:pt x="142536" y="87443"/>
                    <a:pt x="134300" y="98322"/>
                  </a:cubicBezTo>
                  <a:lnTo>
                    <a:pt x="117977" y="1110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371804DA-D0A5-4840-894B-07AAE1064663}"/>
                </a:ext>
              </a:extLst>
            </p:cNvPr>
            <p:cNvSpPr/>
            <p:nvPr/>
          </p:nvSpPr>
          <p:spPr>
            <a:xfrm rot="8716295">
              <a:off x="6708126" y="4876229"/>
              <a:ext cx="139286" cy="121327"/>
            </a:xfrm>
            <a:custGeom>
              <a:avLst/>
              <a:gdLst>
                <a:gd name="connsiteX0" fmla="*/ 26453 w 139286"/>
                <a:gd name="connsiteY0" fmla="*/ 96267 h 121327"/>
                <a:gd name="connsiteX1" fmla="*/ 0 w 139286"/>
                <a:gd name="connsiteY1" fmla="*/ 33618 h 121327"/>
                <a:gd name="connsiteX2" fmla="*/ 0 w 139286"/>
                <a:gd name="connsiteY2" fmla="*/ 32225 h 121327"/>
                <a:gd name="connsiteX3" fmla="*/ 13607 w 139286"/>
                <a:gd name="connsiteY3" fmla="*/ 0 h 121327"/>
                <a:gd name="connsiteX4" fmla="*/ 139286 w 139286"/>
                <a:gd name="connsiteY4" fmla="*/ 103337 h 121327"/>
                <a:gd name="connsiteX5" fmla="*/ 123037 w 139286"/>
                <a:gd name="connsiteY5" fmla="*/ 114366 h 121327"/>
                <a:gd name="connsiteX6" fmla="*/ 89101 w 139286"/>
                <a:gd name="connsiteY6" fmla="*/ 121327 h 121327"/>
                <a:gd name="connsiteX7" fmla="*/ 26453 w 139286"/>
                <a:gd name="connsiteY7" fmla="*/ 96267 h 121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9286" h="121327">
                  <a:moveTo>
                    <a:pt x="26453" y="96267"/>
                  </a:moveTo>
                  <a:cubicBezTo>
                    <a:pt x="9746" y="79561"/>
                    <a:pt x="0" y="57285"/>
                    <a:pt x="0" y="33618"/>
                  </a:cubicBezTo>
                  <a:lnTo>
                    <a:pt x="0" y="32225"/>
                  </a:lnTo>
                  <a:lnTo>
                    <a:pt x="13607" y="0"/>
                  </a:lnTo>
                  <a:lnTo>
                    <a:pt x="139286" y="103337"/>
                  </a:lnTo>
                  <a:lnTo>
                    <a:pt x="123037" y="114366"/>
                  </a:lnTo>
                  <a:cubicBezTo>
                    <a:pt x="112421" y="118890"/>
                    <a:pt x="100935" y="121327"/>
                    <a:pt x="89101" y="121327"/>
                  </a:cubicBezTo>
                  <a:cubicBezTo>
                    <a:pt x="65435" y="121327"/>
                    <a:pt x="43159" y="112973"/>
                    <a:pt x="26453" y="9626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6EEBC52A-3D14-419B-8366-97197098C604}"/>
                </a:ext>
              </a:extLst>
            </p:cNvPr>
            <p:cNvSpPr/>
            <p:nvPr/>
          </p:nvSpPr>
          <p:spPr>
            <a:xfrm rot="8716295">
              <a:off x="4782105" y="4823045"/>
              <a:ext cx="311921" cy="362797"/>
            </a:xfrm>
            <a:custGeom>
              <a:avLst/>
              <a:gdLst>
                <a:gd name="connsiteX0" fmla="*/ 311920 w 311921"/>
                <a:gd name="connsiteY0" fmla="*/ 120307 h 362797"/>
                <a:gd name="connsiteX1" fmla="*/ 138360 w 311921"/>
                <a:gd name="connsiteY1" fmla="*/ 1 h 362797"/>
                <a:gd name="connsiteX2" fmla="*/ 138360 w 311921"/>
                <a:gd name="connsiteY2" fmla="*/ 0 h 362797"/>
                <a:gd name="connsiteX3" fmla="*/ 311921 w 311921"/>
                <a:gd name="connsiteY3" fmla="*/ 120307 h 362797"/>
                <a:gd name="connsiteX4" fmla="*/ 0 w 311921"/>
                <a:gd name="connsiteY4" fmla="*/ 362797 h 362797"/>
                <a:gd name="connsiteX5" fmla="*/ 0 w 311921"/>
                <a:gd name="connsiteY5" fmla="*/ 320869 h 362797"/>
                <a:gd name="connsiteX6" fmla="*/ 27877 w 311921"/>
                <a:gd name="connsiteY6" fmla="*/ 343790 h 362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1921" h="362797">
                  <a:moveTo>
                    <a:pt x="311920" y="120307"/>
                  </a:moveTo>
                  <a:lnTo>
                    <a:pt x="138360" y="1"/>
                  </a:lnTo>
                  <a:lnTo>
                    <a:pt x="138360" y="0"/>
                  </a:lnTo>
                  <a:lnTo>
                    <a:pt x="311921" y="120307"/>
                  </a:lnTo>
                  <a:close/>
                  <a:moveTo>
                    <a:pt x="0" y="362797"/>
                  </a:moveTo>
                  <a:lnTo>
                    <a:pt x="0" y="320869"/>
                  </a:lnTo>
                  <a:lnTo>
                    <a:pt x="27877" y="34379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53F2D732-A25A-4CEE-B98E-E5DC8CC54158}"/>
                </a:ext>
              </a:extLst>
            </p:cNvPr>
            <p:cNvSpPr/>
            <p:nvPr/>
          </p:nvSpPr>
          <p:spPr>
            <a:xfrm rot="8716295">
              <a:off x="5132149" y="4738008"/>
              <a:ext cx="148614" cy="131720"/>
            </a:xfrm>
            <a:custGeom>
              <a:avLst/>
              <a:gdLst>
                <a:gd name="connsiteX0" fmla="*/ 26453 w 148614"/>
                <a:gd name="connsiteY0" fmla="*/ 106660 h 131720"/>
                <a:gd name="connsiteX1" fmla="*/ 0 w 148614"/>
                <a:gd name="connsiteY1" fmla="*/ 44011 h 131720"/>
                <a:gd name="connsiteX2" fmla="*/ 0 w 148614"/>
                <a:gd name="connsiteY2" fmla="*/ 42618 h 131720"/>
                <a:gd name="connsiteX3" fmla="*/ 17995 w 148614"/>
                <a:gd name="connsiteY3" fmla="*/ 0 h 131720"/>
                <a:gd name="connsiteX4" fmla="*/ 148614 w 148614"/>
                <a:gd name="connsiteY4" fmla="*/ 107398 h 131720"/>
                <a:gd name="connsiteX5" fmla="*/ 123037 w 148614"/>
                <a:gd name="connsiteY5" fmla="*/ 124759 h 131720"/>
                <a:gd name="connsiteX6" fmla="*/ 89101 w 148614"/>
                <a:gd name="connsiteY6" fmla="*/ 131720 h 131720"/>
                <a:gd name="connsiteX7" fmla="*/ 26453 w 148614"/>
                <a:gd name="connsiteY7" fmla="*/ 106660 h 13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8614" h="131720">
                  <a:moveTo>
                    <a:pt x="26453" y="106660"/>
                  </a:moveTo>
                  <a:cubicBezTo>
                    <a:pt x="9746" y="89954"/>
                    <a:pt x="0" y="67678"/>
                    <a:pt x="0" y="44011"/>
                  </a:cubicBezTo>
                  <a:lnTo>
                    <a:pt x="0" y="42618"/>
                  </a:lnTo>
                  <a:lnTo>
                    <a:pt x="17995" y="0"/>
                  </a:lnTo>
                  <a:lnTo>
                    <a:pt x="148614" y="107398"/>
                  </a:lnTo>
                  <a:lnTo>
                    <a:pt x="123037" y="124759"/>
                  </a:lnTo>
                  <a:cubicBezTo>
                    <a:pt x="112421" y="129283"/>
                    <a:pt x="100935" y="131720"/>
                    <a:pt x="89101" y="131720"/>
                  </a:cubicBezTo>
                  <a:cubicBezTo>
                    <a:pt x="65435" y="131720"/>
                    <a:pt x="43159" y="123366"/>
                    <a:pt x="26453" y="10666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937A52BD-510B-4C03-9C16-CD9D234ABB7D}"/>
                </a:ext>
              </a:extLst>
            </p:cNvPr>
            <p:cNvSpPr/>
            <p:nvPr/>
          </p:nvSpPr>
          <p:spPr>
            <a:xfrm rot="8716295">
              <a:off x="5043572" y="4624951"/>
              <a:ext cx="150722" cy="101024"/>
            </a:xfrm>
            <a:custGeom>
              <a:avLst/>
              <a:gdLst>
                <a:gd name="connsiteX0" fmla="*/ 0 w 150722"/>
                <a:gd name="connsiteY0" fmla="*/ 25991 h 101024"/>
                <a:gd name="connsiteX1" fmla="*/ 28034 w 150722"/>
                <a:gd name="connsiteY1" fmla="*/ 6961 h 101024"/>
                <a:gd name="connsiteX2" fmla="*/ 61968 w 150722"/>
                <a:gd name="connsiteY2" fmla="*/ 0 h 101024"/>
                <a:gd name="connsiteX3" fmla="*/ 124618 w 150722"/>
                <a:gd name="connsiteY3" fmla="*/ 26453 h 101024"/>
                <a:gd name="connsiteX4" fmla="*/ 150722 w 150722"/>
                <a:gd name="connsiteY4" fmla="*/ 88580 h 101024"/>
                <a:gd name="connsiteX5" fmla="*/ 148306 w 150722"/>
                <a:gd name="connsiteY5" fmla="*/ 101024 h 10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0722" h="101024">
                  <a:moveTo>
                    <a:pt x="0" y="25991"/>
                  </a:moveTo>
                  <a:lnTo>
                    <a:pt x="28034" y="6961"/>
                  </a:lnTo>
                  <a:cubicBezTo>
                    <a:pt x="38649" y="2437"/>
                    <a:pt x="50135" y="0"/>
                    <a:pt x="61968" y="0"/>
                  </a:cubicBezTo>
                  <a:cubicBezTo>
                    <a:pt x="85637" y="0"/>
                    <a:pt x="107912" y="9746"/>
                    <a:pt x="124618" y="26453"/>
                  </a:cubicBezTo>
                  <a:cubicBezTo>
                    <a:pt x="142021" y="43159"/>
                    <a:pt x="150722" y="65782"/>
                    <a:pt x="150722" y="88580"/>
                  </a:cubicBezTo>
                  <a:lnTo>
                    <a:pt x="148306" y="1010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C719F00E-5A8E-45CC-8F56-B823EE2F6BB7}"/>
                </a:ext>
              </a:extLst>
            </p:cNvPr>
            <p:cNvSpPr/>
            <p:nvPr/>
          </p:nvSpPr>
          <p:spPr>
            <a:xfrm rot="8716295">
              <a:off x="8546573" y="4108588"/>
              <a:ext cx="215176" cy="313567"/>
            </a:xfrm>
            <a:custGeom>
              <a:avLst/>
              <a:gdLst>
                <a:gd name="connsiteX0" fmla="*/ 122760 w 215176"/>
                <a:gd name="connsiteY0" fmla="*/ 266809 h 313567"/>
                <a:gd name="connsiteX1" fmla="*/ 122761 w 215176"/>
                <a:gd name="connsiteY1" fmla="*/ 105519 h 313567"/>
                <a:gd name="connsiteX2" fmla="*/ 122761 w 215176"/>
                <a:gd name="connsiteY2" fmla="*/ 99312 h 313567"/>
                <a:gd name="connsiteX3" fmla="*/ 91726 w 215176"/>
                <a:gd name="connsiteY3" fmla="*/ 75863 h 313567"/>
                <a:gd name="connsiteX4" fmla="*/ 0 w 215176"/>
                <a:gd name="connsiteY4" fmla="*/ 75863 h 313567"/>
                <a:gd name="connsiteX5" fmla="*/ 0 w 215176"/>
                <a:gd name="connsiteY5" fmla="*/ 0 h 313567"/>
                <a:gd name="connsiteX6" fmla="*/ 128968 w 215176"/>
                <a:gd name="connsiteY6" fmla="*/ 0 h 313567"/>
                <a:gd name="connsiteX7" fmla="*/ 215176 w 215176"/>
                <a:gd name="connsiteY7" fmla="*/ 75863 h 313567"/>
                <a:gd name="connsiteX8" fmla="*/ 215176 w 215176"/>
                <a:gd name="connsiteY8" fmla="*/ 313567 h 31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5176" h="313567">
                  <a:moveTo>
                    <a:pt x="122760" y="26680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0"/>
                  </a:lnTo>
                  <a:lnTo>
                    <a:pt x="128968" y="0"/>
                  </a:lnTo>
                  <a:cubicBezTo>
                    <a:pt x="184831" y="0"/>
                    <a:pt x="215177" y="24139"/>
                    <a:pt x="215176" y="75863"/>
                  </a:cubicBezTo>
                  <a:lnTo>
                    <a:pt x="215176" y="3135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25DD9CA0-AFE3-4B5F-B15D-E7FBAF734592}"/>
                </a:ext>
              </a:extLst>
            </p:cNvPr>
            <p:cNvSpPr/>
            <p:nvPr/>
          </p:nvSpPr>
          <p:spPr>
            <a:xfrm rot="8716295">
              <a:off x="8681306" y="4151041"/>
              <a:ext cx="394490" cy="343138"/>
            </a:xfrm>
            <a:custGeom>
              <a:avLst/>
              <a:gdLst>
                <a:gd name="connsiteX0" fmla="*/ 77932 w 394490"/>
                <a:gd name="connsiteY0" fmla="*/ 311621 h 343138"/>
                <a:gd name="connsiteX1" fmla="*/ 77932 w 394490"/>
                <a:gd name="connsiteY1" fmla="*/ 69053 h 343138"/>
                <a:gd name="connsiteX2" fmla="*/ 0 w 394490"/>
                <a:gd name="connsiteY2" fmla="*/ 69054 h 343138"/>
                <a:gd name="connsiteX3" fmla="*/ 0 w 394490"/>
                <a:gd name="connsiteY3" fmla="*/ 2156 h 343138"/>
                <a:gd name="connsiteX4" fmla="*/ 158623 w 394490"/>
                <a:gd name="connsiteY4" fmla="*/ 2157 h 343138"/>
                <a:gd name="connsiteX5" fmla="*/ 158624 w 394490"/>
                <a:gd name="connsiteY5" fmla="*/ 113882 h 343138"/>
                <a:gd name="connsiteX6" fmla="*/ 160692 w 394490"/>
                <a:gd name="connsiteY6" fmla="*/ 113882 h 343138"/>
                <a:gd name="connsiteX7" fmla="*/ 233107 w 394490"/>
                <a:gd name="connsiteY7" fmla="*/ 9053 h 343138"/>
                <a:gd name="connsiteX8" fmla="*/ 280694 w 394490"/>
                <a:gd name="connsiteY8" fmla="*/ 87 h 343138"/>
                <a:gd name="connsiteX9" fmla="*/ 394490 w 394490"/>
                <a:gd name="connsiteY9" fmla="*/ 133882 h 343138"/>
                <a:gd name="connsiteX10" fmla="*/ 394490 w 394490"/>
                <a:gd name="connsiteY10" fmla="*/ 142849 h 343138"/>
                <a:gd name="connsiteX11" fmla="*/ 300694 w 394490"/>
                <a:gd name="connsiteY11" fmla="*/ 148365 h 343138"/>
                <a:gd name="connsiteX12" fmla="*/ 300694 w 394490"/>
                <a:gd name="connsiteY12" fmla="*/ 123538 h 343138"/>
                <a:gd name="connsiteX13" fmla="*/ 249660 w 394490"/>
                <a:gd name="connsiteY13" fmla="*/ 60778 h 343138"/>
                <a:gd name="connsiteX14" fmla="*/ 168969 w 394490"/>
                <a:gd name="connsiteY14" fmla="*/ 193194 h 343138"/>
                <a:gd name="connsiteX15" fmla="*/ 168969 w 394490"/>
                <a:gd name="connsiteY15" fmla="*/ 323541 h 343138"/>
                <a:gd name="connsiteX16" fmla="*/ 140226 w 394490"/>
                <a:gd name="connsiteY16" fmla="*/ 343138 h 343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4490" h="343138">
                  <a:moveTo>
                    <a:pt x="77932" y="311621"/>
                  </a:moveTo>
                  <a:lnTo>
                    <a:pt x="77932" y="69053"/>
                  </a:lnTo>
                  <a:lnTo>
                    <a:pt x="0" y="69054"/>
                  </a:lnTo>
                  <a:lnTo>
                    <a:pt x="0" y="2156"/>
                  </a:lnTo>
                  <a:lnTo>
                    <a:pt x="158623" y="2157"/>
                  </a:lnTo>
                  <a:lnTo>
                    <a:pt x="158624" y="113882"/>
                  </a:lnTo>
                  <a:lnTo>
                    <a:pt x="160692" y="113882"/>
                  </a:lnTo>
                  <a:cubicBezTo>
                    <a:pt x="182762" y="48364"/>
                    <a:pt x="200003" y="22846"/>
                    <a:pt x="233107" y="9053"/>
                  </a:cubicBezTo>
                  <a:cubicBezTo>
                    <a:pt x="248280" y="2846"/>
                    <a:pt x="264142" y="-602"/>
                    <a:pt x="280694" y="87"/>
                  </a:cubicBezTo>
                  <a:cubicBezTo>
                    <a:pt x="351730" y="-1293"/>
                    <a:pt x="394490" y="48364"/>
                    <a:pt x="394490" y="133882"/>
                  </a:cubicBezTo>
                  <a:lnTo>
                    <a:pt x="394490" y="142849"/>
                  </a:lnTo>
                  <a:lnTo>
                    <a:pt x="300694" y="148365"/>
                  </a:lnTo>
                  <a:lnTo>
                    <a:pt x="300694" y="123538"/>
                  </a:lnTo>
                  <a:cubicBezTo>
                    <a:pt x="300695" y="86296"/>
                    <a:pt x="279316" y="60778"/>
                    <a:pt x="249660" y="60778"/>
                  </a:cubicBezTo>
                  <a:cubicBezTo>
                    <a:pt x="205521" y="60778"/>
                    <a:pt x="168968" y="119399"/>
                    <a:pt x="168969" y="193194"/>
                  </a:cubicBezTo>
                  <a:lnTo>
                    <a:pt x="168969" y="323541"/>
                  </a:lnTo>
                  <a:lnTo>
                    <a:pt x="140226" y="3431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24323A32-7D51-45A5-8D91-2223C2D14BC5}"/>
                </a:ext>
              </a:extLst>
            </p:cNvPr>
            <p:cNvSpPr/>
            <p:nvPr/>
          </p:nvSpPr>
          <p:spPr>
            <a:xfrm rot="8716295">
              <a:off x="8646997" y="4143256"/>
              <a:ext cx="121064" cy="89924"/>
            </a:xfrm>
            <a:custGeom>
              <a:avLst/>
              <a:gdLst>
                <a:gd name="connsiteX0" fmla="*/ 0 w 121064"/>
                <a:gd name="connsiteY0" fmla="*/ 39250 h 89924"/>
                <a:gd name="connsiteX1" fmla="*/ 32528 w 121064"/>
                <a:gd name="connsiteY1" fmla="*/ 13621 h 89924"/>
                <a:gd name="connsiteX2" fmla="*/ 78305 w 121064"/>
                <a:gd name="connsiteY2" fmla="*/ 0 h 89924"/>
                <a:gd name="connsiteX3" fmla="*/ 121064 w 121064"/>
                <a:gd name="connsiteY3" fmla="*/ 51035 h 89924"/>
                <a:gd name="connsiteX4" fmla="*/ 108563 w 121064"/>
                <a:gd name="connsiteY4" fmla="*/ 83363 h 89924"/>
                <a:gd name="connsiteX5" fmla="*/ 100159 w 121064"/>
                <a:gd name="connsiteY5" fmla="*/ 89924 h 89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1064" h="89924">
                  <a:moveTo>
                    <a:pt x="0" y="39250"/>
                  </a:moveTo>
                  <a:lnTo>
                    <a:pt x="32528" y="13621"/>
                  </a:lnTo>
                  <a:cubicBezTo>
                    <a:pt x="46580" y="6380"/>
                    <a:pt x="62098" y="1724"/>
                    <a:pt x="78305" y="0"/>
                  </a:cubicBezTo>
                  <a:cubicBezTo>
                    <a:pt x="111409" y="0"/>
                    <a:pt x="121065" y="28966"/>
                    <a:pt x="121064" y="51035"/>
                  </a:cubicBezTo>
                  <a:cubicBezTo>
                    <a:pt x="120030" y="63105"/>
                    <a:pt x="115546" y="74139"/>
                    <a:pt x="108563" y="83363"/>
                  </a:cubicBezTo>
                  <a:lnTo>
                    <a:pt x="100159" y="899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CF24F6A6-E56B-4B69-A6B4-F595B4AECDB5}"/>
                </a:ext>
              </a:extLst>
            </p:cNvPr>
            <p:cNvSpPr/>
            <p:nvPr/>
          </p:nvSpPr>
          <p:spPr>
            <a:xfrm rot="8716295">
              <a:off x="8360649" y="4203945"/>
              <a:ext cx="88105" cy="88278"/>
            </a:xfrm>
            <a:custGeom>
              <a:avLst/>
              <a:gdLst>
                <a:gd name="connsiteX0" fmla="*/ 11702 w 88105"/>
                <a:gd name="connsiteY0" fmla="*/ 72544 h 88278"/>
                <a:gd name="connsiteX1" fmla="*/ 0 w 88105"/>
                <a:gd name="connsiteY1" fmla="*/ 44829 h 88278"/>
                <a:gd name="connsiteX2" fmla="*/ 0 w 88105"/>
                <a:gd name="connsiteY2" fmla="*/ 44139 h 88278"/>
                <a:gd name="connsiteX3" fmla="*/ 13104 w 88105"/>
                <a:gd name="connsiteY3" fmla="*/ 13104 h 88278"/>
                <a:gd name="connsiteX4" fmla="*/ 44139 w 88105"/>
                <a:gd name="connsiteY4" fmla="*/ 0 h 88278"/>
                <a:gd name="connsiteX5" fmla="*/ 75175 w 88105"/>
                <a:gd name="connsiteY5" fmla="*/ 13104 h 88278"/>
                <a:gd name="connsiteX6" fmla="*/ 75175 w 88105"/>
                <a:gd name="connsiteY6" fmla="*/ 75175 h 88278"/>
                <a:gd name="connsiteX7" fmla="*/ 44139 w 88105"/>
                <a:gd name="connsiteY7" fmla="*/ 88278 h 88278"/>
                <a:gd name="connsiteX8" fmla="*/ 37752 w 88105"/>
                <a:gd name="connsiteY8" fmla="*/ 85724 h 88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8105" h="88278">
                  <a:moveTo>
                    <a:pt x="11702" y="72544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cubicBezTo>
                    <a:pt x="55864" y="0"/>
                    <a:pt x="66899" y="4828"/>
                    <a:pt x="75175" y="13104"/>
                  </a:cubicBezTo>
                  <a:cubicBezTo>
                    <a:pt x="92416" y="29657"/>
                    <a:pt x="92416" y="57933"/>
                    <a:pt x="75175" y="75175"/>
                  </a:cubicBezTo>
                  <a:cubicBezTo>
                    <a:pt x="66899" y="83451"/>
                    <a:pt x="55864" y="88278"/>
                    <a:pt x="44139" y="88278"/>
                  </a:cubicBezTo>
                  <a:lnTo>
                    <a:pt x="37752" y="857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823BDB41-A1E6-41AA-847A-64C2D14D0B20}"/>
                </a:ext>
              </a:extLst>
            </p:cNvPr>
            <p:cNvSpPr/>
            <p:nvPr/>
          </p:nvSpPr>
          <p:spPr>
            <a:xfrm rot="8716295">
              <a:off x="8270439" y="4208809"/>
              <a:ext cx="54467" cy="27557"/>
            </a:xfrm>
            <a:custGeom>
              <a:avLst/>
              <a:gdLst>
                <a:gd name="connsiteX0" fmla="*/ 0 w 54467"/>
                <a:gd name="connsiteY0" fmla="*/ 0 h 27557"/>
                <a:gd name="connsiteX1" fmla="*/ 54467 w 54467"/>
                <a:gd name="connsiteY1" fmla="*/ 0 h 27557"/>
                <a:gd name="connsiteX2" fmla="*/ 54467 w 54467"/>
                <a:gd name="connsiteY2" fmla="*/ 27557 h 27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467" h="27557">
                  <a:moveTo>
                    <a:pt x="0" y="0"/>
                  </a:moveTo>
                  <a:lnTo>
                    <a:pt x="54467" y="0"/>
                  </a:lnTo>
                  <a:lnTo>
                    <a:pt x="54467" y="2755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C4D7300C-5B1D-4389-9C36-32D5B08AA75A}"/>
                </a:ext>
              </a:extLst>
            </p:cNvPr>
            <p:cNvSpPr/>
            <p:nvPr/>
          </p:nvSpPr>
          <p:spPr>
            <a:xfrm rot="8716295">
              <a:off x="8503577" y="4269431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A57703A1-63B4-443D-A8D6-A43C23AB9B28}"/>
                </a:ext>
              </a:extLst>
            </p:cNvPr>
            <p:cNvSpPr/>
            <p:nvPr/>
          </p:nvSpPr>
          <p:spPr>
            <a:xfrm rot="8716295">
              <a:off x="8994983" y="4078441"/>
              <a:ext cx="137688" cy="132478"/>
            </a:xfrm>
            <a:custGeom>
              <a:avLst/>
              <a:gdLst>
                <a:gd name="connsiteX0" fmla="*/ 46653 w 137688"/>
                <a:gd name="connsiteY0" fmla="*/ 86420 h 132478"/>
                <a:gd name="connsiteX1" fmla="*/ 46653 w 137688"/>
                <a:gd name="connsiteY1" fmla="*/ 24828 h 132478"/>
                <a:gd name="connsiteX2" fmla="*/ 0 w 137688"/>
                <a:gd name="connsiteY2" fmla="*/ 24828 h 132478"/>
                <a:gd name="connsiteX3" fmla="*/ 15342 w 137688"/>
                <a:gd name="connsiteY3" fmla="*/ 2695 h 132478"/>
                <a:gd name="connsiteX4" fmla="*/ 137688 w 137688"/>
                <a:gd name="connsiteY4" fmla="*/ 0 h 132478"/>
                <a:gd name="connsiteX5" fmla="*/ 137688 w 137688"/>
                <a:gd name="connsiteY5" fmla="*/ 132478 h 132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7688" h="132478">
                  <a:moveTo>
                    <a:pt x="46653" y="86420"/>
                  </a:moveTo>
                  <a:lnTo>
                    <a:pt x="46653" y="24828"/>
                  </a:lnTo>
                  <a:lnTo>
                    <a:pt x="0" y="24828"/>
                  </a:lnTo>
                  <a:lnTo>
                    <a:pt x="15342" y="2695"/>
                  </a:lnTo>
                  <a:lnTo>
                    <a:pt x="137688" y="0"/>
                  </a:lnTo>
                  <a:lnTo>
                    <a:pt x="137688" y="13247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46727CBF-18BC-4939-8F2B-40813E13A972}"/>
                </a:ext>
              </a:extLst>
            </p:cNvPr>
            <p:cNvSpPr/>
            <p:nvPr/>
          </p:nvSpPr>
          <p:spPr>
            <a:xfrm rot="7484129">
              <a:off x="9136824" y="4228704"/>
              <a:ext cx="8392" cy="13068"/>
            </a:xfrm>
            <a:custGeom>
              <a:avLst/>
              <a:gdLst>
                <a:gd name="connsiteX0" fmla="*/ 3897 w 8392"/>
                <a:gd name="connsiteY0" fmla="*/ 13068 h 13068"/>
                <a:gd name="connsiteX1" fmla="*/ 0 w 8392"/>
                <a:gd name="connsiteY1" fmla="*/ 5818 h 13068"/>
                <a:gd name="connsiteX2" fmla="*/ 8392 w 8392"/>
                <a:gd name="connsiteY2" fmla="*/ 0 h 13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2" h="13068">
                  <a:moveTo>
                    <a:pt x="3897" y="13068"/>
                  </a:moveTo>
                  <a:lnTo>
                    <a:pt x="0" y="5818"/>
                  </a:lnTo>
                  <a:lnTo>
                    <a:pt x="839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D9037FA7-ED1D-4D57-8F2C-1298751D415A}"/>
                </a:ext>
              </a:extLst>
            </p:cNvPr>
            <p:cNvSpPr/>
            <p:nvPr/>
          </p:nvSpPr>
          <p:spPr>
            <a:xfrm rot="8716295">
              <a:off x="8839311" y="5117279"/>
              <a:ext cx="37096" cy="40385"/>
            </a:xfrm>
            <a:custGeom>
              <a:avLst/>
              <a:gdLst>
                <a:gd name="connsiteX0" fmla="*/ 37095 w 37096"/>
                <a:gd name="connsiteY0" fmla="*/ 25713 h 40385"/>
                <a:gd name="connsiteX1" fmla="*/ 0 w 37096"/>
                <a:gd name="connsiteY1" fmla="*/ 0 h 40385"/>
                <a:gd name="connsiteX2" fmla="*/ 0 w 37096"/>
                <a:gd name="connsiteY2" fmla="*/ 0 h 40385"/>
                <a:gd name="connsiteX3" fmla="*/ 37096 w 37096"/>
                <a:gd name="connsiteY3" fmla="*/ 25713 h 40385"/>
                <a:gd name="connsiteX4" fmla="*/ 0 w 37096"/>
                <a:gd name="connsiteY4" fmla="*/ 40385 h 40385"/>
                <a:gd name="connsiteX5" fmla="*/ 0 w 37096"/>
                <a:gd name="connsiteY5" fmla="*/ 28525 h 40385"/>
                <a:gd name="connsiteX6" fmla="*/ 9740 w 37096"/>
                <a:gd name="connsiteY6" fmla="*/ 36533 h 40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096" h="40385">
                  <a:moveTo>
                    <a:pt x="37095" y="25713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37096" y="25713"/>
                  </a:lnTo>
                  <a:close/>
                  <a:moveTo>
                    <a:pt x="0" y="40385"/>
                  </a:moveTo>
                  <a:lnTo>
                    <a:pt x="0" y="28525"/>
                  </a:lnTo>
                  <a:lnTo>
                    <a:pt x="9740" y="365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7762AEC2-4809-4723-B4B8-AD709205FF29}"/>
                </a:ext>
              </a:extLst>
            </p:cNvPr>
            <p:cNvSpPr/>
            <p:nvPr/>
          </p:nvSpPr>
          <p:spPr>
            <a:xfrm rot="8716295">
              <a:off x="8967255" y="4971567"/>
              <a:ext cx="231347" cy="158649"/>
            </a:xfrm>
            <a:custGeom>
              <a:avLst/>
              <a:gdLst>
                <a:gd name="connsiteX0" fmla="*/ 8965 w 231347"/>
                <a:gd name="connsiteY0" fmla="*/ 158649 h 158649"/>
                <a:gd name="connsiteX1" fmla="*/ 0 w 231347"/>
                <a:gd name="connsiteY1" fmla="*/ 146235 h 158649"/>
                <a:gd name="connsiteX2" fmla="*/ 155416 w 231347"/>
                <a:gd name="connsiteY2" fmla="*/ 0 h 158649"/>
                <a:gd name="connsiteX3" fmla="*/ 231347 w 231347"/>
                <a:gd name="connsiteY3" fmla="*/ 62433 h 158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347" h="158649">
                  <a:moveTo>
                    <a:pt x="8965" y="158649"/>
                  </a:moveTo>
                  <a:lnTo>
                    <a:pt x="0" y="146235"/>
                  </a:lnTo>
                  <a:lnTo>
                    <a:pt x="155416" y="0"/>
                  </a:lnTo>
                  <a:lnTo>
                    <a:pt x="231347" y="624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45E00815-1C71-4483-8D7E-4D817A5C21EF}"/>
                </a:ext>
              </a:extLst>
            </p:cNvPr>
            <p:cNvSpPr/>
            <p:nvPr/>
          </p:nvSpPr>
          <p:spPr>
            <a:xfrm rot="8716295">
              <a:off x="8555937" y="4871188"/>
              <a:ext cx="249519" cy="296463"/>
            </a:xfrm>
            <a:custGeom>
              <a:avLst/>
              <a:gdLst>
                <a:gd name="connsiteX0" fmla="*/ 249516 w 249519"/>
                <a:gd name="connsiteY0" fmla="*/ 83734 h 296463"/>
                <a:gd name="connsiteX1" fmla="*/ 128718 w 249519"/>
                <a:gd name="connsiteY1" fmla="*/ 0 h 296463"/>
                <a:gd name="connsiteX2" fmla="*/ 128719 w 249519"/>
                <a:gd name="connsiteY2" fmla="*/ 0 h 296463"/>
                <a:gd name="connsiteX3" fmla="*/ 249519 w 249519"/>
                <a:gd name="connsiteY3" fmla="*/ 83734 h 296463"/>
                <a:gd name="connsiteX4" fmla="*/ 137293 w 249519"/>
                <a:gd name="connsiteY4" fmla="*/ 296463 h 296463"/>
                <a:gd name="connsiteX5" fmla="*/ 72418 w 249519"/>
                <a:gd name="connsiteY5" fmla="*/ 175766 h 296463"/>
                <a:gd name="connsiteX6" fmla="*/ 105610 w 249519"/>
                <a:gd name="connsiteY6" fmla="*/ 83734 h 296463"/>
                <a:gd name="connsiteX7" fmla="*/ 0 w 249519"/>
                <a:gd name="connsiteY7" fmla="*/ 83734 h 296463"/>
                <a:gd name="connsiteX8" fmla="*/ 0 w 249519"/>
                <a:gd name="connsiteY8" fmla="*/ 0 h 296463"/>
                <a:gd name="connsiteX9" fmla="*/ 78196 w 249519"/>
                <a:gd name="connsiteY9" fmla="*/ 0 h 296463"/>
                <a:gd name="connsiteX10" fmla="*/ 203756 w 249519"/>
                <a:gd name="connsiteY10" fmla="*/ 103239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519" h="296463">
                  <a:moveTo>
                    <a:pt x="249516" y="83734"/>
                  </a:moveTo>
                  <a:lnTo>
                    <a:pt x="128718" y="0"/>
                  </a:lnTo>
                  <a:lnTo>
                    <a:pt x="128719" y="0"/>
                  </a:lnTo>
                  <a:lnTo>
                    <a:pt x="249519" y="83734"/>
                  </a:lnTo>
                  <a:close/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78196" y="0"/>
                  </a:lnTo>
                  <a:lnTo>
                    <a:pt x="203756" y="1032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58E38A6F-A61D-44CF-B900-AC3229C6053D}"/>
                </a:ext>
              </a:extLst>
            </p:cNvPr>
            <p:cNvSpPr/>
            <p:nvPr/>
          </p:nvSpPr>
          <p:spPr>
            <a:xfrm rot="8716295">
              <a:off x="9124182" y="4842281"/>
              <a:ext cx="37059" cy="48941"/>
            </a:xfrm>
            <a:custGeom>
              <a:avLst/>
              <a:gdLst>
                <a:gd name="connsiteX0" fmla="*/ 0 w 37059"/>
                <a:gd name="connsiteY0" fmla="*/ 48941 h 48941"/>
                <a:gd name="connsiteX1" fmla="*/ 33925 w 37059"/>
                <a:gd name="connsiteY1" fmla="*/ 0 h 48941"/>
                <a:gd name="connsiteX2" fmla="*/ 37059 w 37059"/>
                <a:gd name="connsiteY2" fmla="*/ 7460 h 48941"/>
                <a:gd name="connsiteX3" fmla="*/ 24128 w 37059"/>
                <a:gd name="connsiteY3" fmla="*/ 38754 h 48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059" h="48941">
                  <a:moveTo>
                    <a:pt x="0" y="48941"/>
                  </a:moveTo>
                  <a:lnTo>
                    <a:pt x="33925" y="0"/>
                  </a:lnTo>
                  <a:lnTo>
                    <a:pt x="37059" y="7460"/>
                  </a:lnTo>
                  <a:cubicBezTo>
                    <a:pt x="37059" y="18753"/>
                    <a:pt x="32749" y="30133"/>
                    <a:pt x="24128" y="3875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0438BEFE-52E9-475C-AF5B-D887CDB606B3}"/>
                </a:ext>
              </a:extLst>
            </p:cNvPr>
            <p:cNvSpPr/>
            <p:nvPr/>
          </p:nvSpPr>
          <p:spPr>
            <a:xfrm rot="8716295">
              <a:off x="8946271" y="4530250"/>
              <a:ext cx="235267" cy="296463"/>
            </a:xfrm>
            <a:custGeom>
              <a:avLst/>
              <a:gdLst>
                <a:gd name="connsiteX0" fmla="*/ 64028 w 235267"/>
                <a:gd name="connsiteY0" fmla="*/ 296463 h 296463"/>
                <a:gd name="connsiteX1" fmla="*/ 0 w 235267"/>
                <a:gd name="connsiteY1" fmla="*/ 177341 h 296463"/>
                <a:gd name="connsiteX2" fmla="*/ 122928 w 235267"/>
                <a:gd name="connsiteY2" fmla="*/ 0 h 296463"/>
                <a:gd name="connsiteX3" fmla="*/ 235266 w 235267"/>
                <a:gd name="connsiteY3" fmla="*/ 0 h 296463"/>
                <a:gd name="connsiteX4" fmla="*/ 235267 w 235267"/>
                <a:gd name="connsiteY4" fmla="*/ 83734 h 296463"/>
                <a:gd name="connsiteX5" fmla="*/ 137200 w 235267"/>
                <a:gd name="connsiteY5" fmla="*/ 83735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5267" h="296463">
                  <a:moveTo>
                    <a:pt x="64028" y="296463"/>
                  </a:moveTo>
                  <a:lnTo>
                    <a:pt x="0" y="177341"/>
                  </a:lnTo>
                  <a:lnTo>
                    <a:pt x="122928" y="0"/>
                  </a:lnTo>
                  <a:lnTo>
                    <a:pt x="235266" y="0"/>
                  </a:lnTo>
                  <a:lnTo>
                    <a:pt x="235267" y="83734"/>
                  </a:lnTo>
                  <a:lnTo>
                    <a:pt x="137200" y="837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D3F9B5D8-06D4-4B43-BC6C-7C19EABDD1C4}"/>
                </a:ext>
              </a:extLst>
            </p:cNvPr>
            <p:cNvSpPr/>
            <p:nvPr/>
          </p:nvSpPr>
          <p:spPr>
            <a:xfrm rot="8716295">
              <a:off x="8906661" y="466090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71905357-F1DF-411B-B59B-0F032583384E}"/>
                </a:ext>
              </a:extLst>
            </p:cNvPr>
            <p:cNvSpPr/>
            <p:nvPr/>
          </p:nvSpPr>
          <p:spPr>
            <a:xfrm rot="13089394">
              <a:off x="7765620" y="4253518"/>
              <a:ext cx="72828" cy="75543"/>
            </a:xfrm>
            <a:custGeom>
              <a:avLst/>
              <a:gdLst>
                <a:gd name="connsiteX0" fmla="*/ 0 w 72828"/>
                <a:gd name="connsiteY0" fmla="*/ 75543 h 75543"/>
                <a:gd name="connsiteX1" fmla="*/ 0 w 72828"/>
                <a:gd name="connsiteY1" fmla="*/ 37783 h 75543"/>
                <a:gd name="connsiteX2" fmla="*/ 72828 w 72828"/>
                <a:gd name="connsiteY2" fmla="*/ 0 h 7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828" h="75543">
                  <a:moveTo>
                    <a:pt x="0" y="75543"/>
                  </a:moveTo>
                  <a:lnTo>
                    <a:pt x="0" y="37783"/>
                  </a:lnTo>
                  <a:lnTo>
                    <a:pt x="7282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9CC70003-388A-4ED2-9C78-B5584C3B43A2}"/>
                </a:ext>
              </a:extLst>
            </p:cNvPr>
            <p:cNvSpPr/>
            <p:nvPr/>
          </p:nvSpPr>
          <p:spPr>
            <a:xfrm rot="8716295">
              <a:off x="7196646" y="4735107"/>
              <a:ext cx="215177" cy="351729"/>
            </a:xfrm>
            <a:custGeom>
              <a:avLst/>
              <a:gdLst>
                <a:gd name="connsiteX0" fmla="*/ 122761 w 215177"/>
                <a:gd name="connsiteY0" fmla="*/ 351729 h 351729"/>
                <a:gd name="connsiteX1" fmla="*/ 122761 w 215177"/>
                <a:gd name="connsiteY1" fmla="*/ 105519 h 351729"/>
                <a:gd name="connsiteX2" fmla="*/ 122761 w 215177"/>
                <a:gd name="connsiteY2" fmla="*/ 99312 h 351729"/>
                <a:gd name="connsiteX3" fmla="*/ 91726 w 215177"/>
                <a:gd name="connsiteY3" fmla="*/ 75863 h 351729"/>
                <a:gd name="connsiteX4" fmla="*/ 0 w 215177"/>
                <a:gd name="connsiteY4" fmla="*/ 75863 h 351729"/>
                <a:gd name="connsiteX5" fmla="*/ 0 w 215177"/>
                <a:gd name="connsiteY5" fmla="*/ 0 h 351729"/>
                <a:gd name="connsiteX6" fmla="*/ 20033 w 215177"/>
                <a:gd name="connsiteY6" fmla="*/ 0 h 351729"/>
                <a:gd name="connsiteX7" fmla="*/ 215177 w 215177"/>
                <a:gd name="connsiteY7" fmla="*/ 160452 h 351729"/>
                <a:gd name="connsiteX8" fmla="*/ 215176 w 215177"/>
                <a:gd name="connsiteY8" fmla="*/ 315177 h 351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5177" h="351729">
                  <a:moveTo>
                    <a:pt x="122761" y="35172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0"/>
                  </a:lnTo>
                  <a:lnTo>
                    <a:pt x="20033" y="0"/>
                  </a:lnTo>
                  <a:lnTo>
                    <a:pt x="215177" y="160452"/>
                  </a:lnTo>
                  <a:lnTo>
                    <a:pt x="215176" y="3151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E46A29A2-07B5-4D69-A57A-B7E84F78585B}"/>
                </a:ext>
              </a:extLst>
            </p:cNvPr>
            <p:cNvSpPr/>
            <p:nvPr/>
          </p:nvSpPr>
          <p:spPr>
            <a:xfrm rot="8716295">
              <a:off x="7519762" y="4714342"/>
              <a:ext cx="185667" cy="383455"/>
            </a:xfrm>
            <a:custGeom>
              <a:avLst/>
              <a:gdLst>
                <a:gd name="connsiteX0" fmla="*/ 77932 w 185667"/>
                <a:gd name="connsiteY0" fmla="*/ 383455 h 383455"/>
                <a:gd name="connsiteX1" fmla="*/ 77932 w 185667"/>
                <a:gd name="connsiteY1" fmla="*/ 66898 h 383455"/>
                <a:gd name="connsiteX2" fmla="*/ 0 w 185667"/>
                <a:gd name="connsiteY2" fmla="*/ 66898 h 383455"/>
                <a:gd name="connsiteX3" fmla="*/ 0 w 185667"/>
                <a:gd name="connsiteY3" fmla="*/ 0 h 383455"/>
                <a:gd name="connsiteX4" fmla="*/ 33456 w 185667"/>
                <a:gd name="connsiteY4" fmla="*/ 0 h 383455"/>
                <a:gd name="connsiteX5" fmla="*/ 158623 w 185667"/>
                <a:gd name="connsiteY5" fmla="*/ 102916 h 383455"/>
                <a:gd name="connsiteX6" fmla="*/ 158623 w 185667"/>
                <a:gd name="connsiteY6" fmla="*/ 111726 h 383455"/>
                <a:gd name="connsiteX7" fmla="*/ 160692 w 185667"/>
                <a:gd name="connsiteY7" fmla="*/ 111726 h 383455"/>
                <a:gd name="connsiteX8" fmla="*/ 162749 w 185667"/>
                <a:gd name="connsiteY8" fmla="*/ 106308 h 383455"/>
                <a:gd name="connsiteX9" fmla="*/ 185667 w 185667"/>
                <a:gd name="connsiteY9" fmla="*/ 125152 h 383455"/>
                <a:gd name="connsiteX10" fmla="*/ 168969 w 185667"/>
                <a:gd name="connsiteY10" fmla="*/ 191038 h 383455"/>
                <a:gd name="connsiteX11" fmla="*/ 168969 w 185667"/>
                <a:gd name="connsiteY11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5667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33456" y="0"/>
                  </a:lnTo>
                  <a:lnTo>
                    <a:pt x="158623" y="102916"/>
                  </a:lnTo>
                  <a:lnTo>
                    <a:pt x="158623" y="111726"/>
                  </a:lnTo>
                  <a:lnTo>
                    <a:pt x="160692" y="111726"/>
                  </a:lnTo>
                  <a:lnTo>
                    <a:pt x="162749" y="106308"/>
                  </a:lnTo>
                  <a:lnTo>
                    <a:pt x="185667" y="125152"/>
                  </a:lnTo>
                  <a:lnTo>
                    <a:pt x="168969" y="191038"/>
                  </a:ln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BB2B590A-BBED-49DF-BE0A-D7CDB8C7EA53}"/>
                </a:ext>
              </a:extLst>
            </p:cNvPr>
            <p:cNvSpPr/>
            <p:nvPr/>
          </p:nvSpPr>
          <p:spPr>
            <a:xfrm rot="8716295">
              <a:off x="7265319" y="4648384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7838B053-EE23-465E-B80C-0FDB953D8E9F}"/>
                </a:ext>
              </a:extLst>
            </p:cNvPr>
            <p:cNvSpPr/>
            <p:nvPr/>
          </p:nvSpPr>
          <p:spPr>
            <a:xfrm rot="8716295">
              <a:off x="7028032" y="486872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46F2EA92-FAA0-4CBD-8D20-0B7AF9B36906}"/>
                </a:ext>
              </a:extLst>
            </p:cNvPr>
            <p:cNvSpPr/>
            <p:nvPr/>
          </p:nvSpPr>
          <p:spPr>
            <a:xfrm rot="8716295">
              <a:off x="6838986" y="455289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C33E7506-2F8D-4DC7-82BD-DA6D9CD10C11}"/>
                </a:ext>
              </a:extLst>
            </p:cNvPr>
            <p:cNvSpPr/>
            <p:nvPr/>
          </p:nvSpPr>
          <p:spPr>
            <a:xfrm rot="8716295">
              <a:off x="6821466" y="4356542"/>
              <a:ext cx="439901" cy="511464"/>
            </a:xfrm>
            <a:custGeom>
              <a:avLst/>
              <a:gdLst>
                <a:gd name="connsiteX0" fmla="*/ 1873 w 439901"/>
                <a:gd name="connsiteY0" fmla="*/ 384681 h 511464"/>
                <a:gd name="connsiteX1" fmla="*/ 1725 w 439901"/>
                <a:gd name="connsiteY1" fmla="*/ 383648 h 511464"/>
                <a:gd name="connsiteX2" fmla="*/ 0 w 439901"/>
                <a:gd name="connsiteY2" fmla="*/ 333043 h 511464"/>
                <a:gd name="connsiteX3" fmla="*/ 0 w 439901"/>
                <a:gd name="connsiteY3" fmla="*/ 61444 h 511464"/>
                <a:gd name="connsiteX4" fmla="*/ 118434 w 439901"/>
                <a:gd name="connsiteY4" fmla="*/ 0 h 511464"/>
                <a:gd name="connsiteX5" fmla="*/ 120216 w 439901"/>
                <a:gd name="connsiteY5" fmla="*/ 248447 h 511464"/>
                <a:gd name="connsiteX6" fmla="*/ 141587 w 439901"/>
                <a:gd name="connsiteY6" fmla="*/ 396268 h 511464"/>
                <a:gd name="connsiteX7" fmla="*/ 248446 w 439901"/>
                <a:gd name="connsiteY7" fmla="*/ 455041 h 511464"/>
                <a:gd name="connsiteX8" fmla="*/ 328590 w 439901"/>
                <a:gd name="connsiteY8" fmla="*/ 440793 h 511464"/>
                <a:gd name="connsiteX9" fmla="*/ 438120 w 439901"/>
                <a:gd name="connsiteY9" fmla="*/ 396268 h 511464"/>
                <a:gd name="connsiteX10" fmla="*/ 439901 w 439901"/>
                <a:gd name="connsiteY10" fmla="*/ 407844 h 511464"/>
                <a:gd name="connsiteX11" fmla="*/ 439901 w 439901"/>
                <a:gd name="connsiteY11" fmla="*/ 416749 h 511464"/>
                <a:gd name="connsiteX12" fmla="*/ 286180 w 439901"/>
                <a:gd name="connsiteY12" fmla="*/ 502459 h 511464"/>
                <a:gd name="connsiteX13" fmla="*/ 252462 w 439901"/>
                <a:gd name="connsiteY13" fmla="*/ 511464 h 511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9901" h="511464">
                  <a:moveTo>
                    <a:pt x="1873" y="384681"/>
                  </a:moveTo>
                  <a:lnTo>
                    <a:pt x="1725" y="383648"/>
                  </a:lnTo>
                  <a:cubicBezTo>
                    <a:pt x="501" y="368162"/>
                    <a:pt x="0" y="351298"/>
                    <a:pt x="0" y="333043"/>
                  </a:cubicBezTo>
                  <a:lnTo>
                    <a:pt x="0" y="61444"/>
                  </a:lnTo>
                  <a:lnTo>
                    <a:pt x="118434" y="0"/>
                  </a:lnTo>
                  <a:lnTo>
                    <a:pt x="120216" y="248447"/>
                  </a:lnTo>
                  <a:cubicBezTo>
                    <a:pt x="117545" y="298315"/>
                    <a:pt x="125558" y="349072"/>
                    <a:pt x="141587" y="396268"/>
                  </a:cubicBezTo>
                  <a:cubicBezTo>
                    <a:pt x="155836" y="435450"/>
                    <a:pt x="192346" y="455041"/>
                    <a:pt x="248446" y="455041"/>
                  </a:cubicBezTo>
                  <a:cubicBezTo>
                    <a:pt x="276051" y="454150"/>
                    <a:pt x="302766" y="448807"/>
                    <a:pt x="328590" y="440793"/>
                  </a:cubicBezTo>
                  <a:cubicBezTo>
                    <a:pt x="365990" y="429216"/>
                    <a:pt x="402501" y="414078"/>
                    <a:pt x="438120" y="396268"/>
                  </a:cubicBezTo>
                  <a:cubicBezTo>
                    <a:pt x="439010" y="399830"/>
                    <a:pt x="439901" y="404282"/>
                    <a:pt x="439901" y="407844"/>
                  </a:cubicBezTo>
                  <a:lnTo>
                    <a:pt x="439901" y="416749"/>
                  </a:lnTo>
                  <a:cubicBezTo>
                    <a:pt x="392705" y="457267"/>
                    <a:pt x="338163" y="484649"/>
                    <a:pt x="286180" y="502459"/>
                  </a:cubicBezTo>
                  <a:lnTo>
                    <a:pt x="252462" y="5114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F0039EE6-19E5-4457-84A9-3D50560FF71B}"/>
                </a:ext>
              </a:extLst>
            </p:cNvPr>
            <p:cNvSpPr/>
            <p:nvPr/>
          </p:nvSpPr>
          <p:spPr>
            <a:xfrm rot="8716295">
              <a:off x="7635467" y="435609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62946C15-BE3C-45DF-BB3D-128249E4D1A5}"/>
                </a:ext>
              </a:extLst>
            </p:cNvPr>
            <p:cNvSpPr/>
            <p:nvPr/>
          </p:nvSpPr>
          <p:spPr>
            <a:xfrm rot="8716295">
              <a:off x="7770766" y="440035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3C27B629-4EE2-46C6-9535-F5382300825F}"/>
                </a:ext>
              </a:extLst>
            </p:cNvPr>
            <p:cNvSpPr/>
            <p:nvPr/>
          </p:nvSpPr>
          <p:spPr>
            <a:xfrm rot="8716295">
              <a:off x="7465596" y="44901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6592736C-E2B7-4AAA-9132-CE6867AFB7E6}"/>
                </a:ext>
              </a:extLst>
            </p:cNvPr>
            <p:cNvSpPr/>
            <p:nvPr/>
          </p:nvSpPr>
          <p:spPr>
            <a:xfrm rot="8716295">
              <a:off x="7313509" y="4314181"/>
              <a:ext cx="308532" cy="142740"/>
            </a:xfrm>
            <a:custGeom>
              <a:avLst/>
              <a:gdLst>
                <a:gd name="connsiteX0" fmla="*/ 0 w 308532"/>
                <a:gd name="connsiteY0" fmla="*/ 46525 h 142740"/>
                <a:gd name="connsiteX1" fmla="*/ 0 w 308532"/>
                <a:gd name="connsiteY1" fmla="*/ 0 h 142740"/>
                <a:gd name="connsiteX2" fmla="*/ 308532 w 308532"/>
                <a:gd name="connsiteY2" fmla="*/ 0 h 142740"/>
                <a:gd name="connsiteX3" fmla="*/ 308532 w 308532"/>
                <a:gd name="connsiteY3" fmla="*/ 83734 h 142740"/>
                <a:gd name="connsiteX4" fmla="*/ 210465 w 308532"/>
                <a:gd name="connsiteY4" fmla="*/ 83734 h 142740"/>
                <a:gd name="connsiteX5" fmla="*/ 190169 w 308532"/>
                <a:gd name="connsiteY5" fmla="*/ 142740 h 142740"/>
                <a:gd name="connsiteX6" fmla="*/ 100662 w 308532"/>
                <a:gd name="connsiteY6" fmla="*/ 97454 h 142740"/>
                <a:gd name="connsiteX7" fmla="*/ 105610 w 308532"/>
                <a:gd name="connsiteY7" fmla="*/ 83734 h 142740"/>
                <a:gd name="connsiteX8" fmla="*/ 73544 w 308532"/>
                <a:gd name="connsiteY8" fmla="*/ 83734 h 142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532" h="142740">
                  <a:moveTo>
                    <a:pt x="0" y="46525"/>
                  </a:moveTo>
                  <a:lnTo>
                    <a:pt x="0" y="0"/>
                  </a:lnTo>
                  <a:lnTo>
                    <a:pt x="308532" y="0"/>
                  </a:lnTo>
                  <a:lnTo>
                    <a:pt x="308532" y="83734"/>
                  </a:lnTo>
                  <a:lnTo>
                    <a:pt x="210465" y="83734"/>
                  </a:lnTo>
                  <a:lnTo>
                    <a:pt x="190169" y="142740"/>
                  </a:lnTo>
                  <a:lnTo>
                    <a:pt x="100662" y="97454"/>
                  </a:lnTo>
                  <a:lnTo>
                    <a:pt x="105610" y="83734"/>
                  </a:lnTo>
                  <a:lnTo>
                    <a:pt x="73544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39B2926A-51C6-4DDF-86D8-072C96B838B0}"/>
                </a:ext>
              </a:extLst>
            </p:cNvPr>
            <p:cNvSpPr/>
            <p:nvPr/>
          </p:nvSpPr>
          <p:spPr>
            <a:xfrm rot="8716295">
              <a:off x="7602084" y="4552096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A5226D1B-39C8-4DB7-A39D-DE8AE96085BA}"/>
                </a:ext>
              </a:extLst>
            </p:cNvPr>
            <p:cNvSpPr/>
            <p:nvPr/>
          </p:nvSpPr>
          <p:spPr>
            <a:xfrm rot="8716295">
              <a:off x="7233779" y="4339176"/>
              <a:ext cx="112931" cy="98229"/>
            </a:xfrm>
            <a:custGeom>
              <a:avLst/>
              <a:gdLst>
                <a:gd name="connsiteX0" fmla="*/ 0 w 112931"/>
                <a:gd name="connsiteY0" fmla="*/ 49475 h 98229"/>
                <a:gd name="connsiteX1" fmla="*/ 13559 w 112931"/>
                <a:gd name="connsiteY1" fmla="*/ 17362 h 98229"/>
                <a:gd name="connsiteX2" fmla="*/ 54678 w 112931"/>
                <a:gd name="connsiteY2" fmla="*/ 0 h 98229"/>
                <a:gd name="connsiteX3" fmla="*/ 95798 w 112931"/>
                <a:gd name="connsiteY3" fmla="*/ 17362 h 98229"/>
                <a:gd name="connsiteX4" fmla="*/ 112931 w 112931"/>
                <a:gd name="connsiteY4" fmla="*/ 58139 h 98229"/>
                <a:gd name="connsiteX5" fmla="*/ 96365 w 112931"/>
                <a:gd name="connsiteY5" fmla="*/ 98229 h 98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931" h="98229">
                  <a:moveTo>
                    <a:pt x="0" y="49475"/>
                  </a:moveTo>
                  <a:lnTo>
                    <a:pt x="13559" y="17362"/>
                  </a:lnTo>
                  <a:cubicBezTo>
                    <a:pt x="24524" y="6397"/>
                    <a:pt x="39145" y="0"/>
                    <a:pt x="54678" y="0"/>
                  </a:cubicBezTo>
                  <a:cubicBezTo>
                    <a:pt x="70213" y="0"/>
                    <a:pt x="84833" y="6397"/>
                    <a:pt x="95798" y="17362"/>
                  </a:cubicBezTo>
                  <a:cubicBezTo>
                    <a:pt x="107220" y="28327"/>
                    <a:pt x="112931" y="43176"/>
                    <a:pt x="112931" y="58139"/>
                  </a:cubicBezTo>
                  <a:lnTo>
                    <a:pt x="96365" y="9822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B8D891A1-7C58-4828-B849-358D4D72EA90}"/>
                </a:ext>
              </a:extLst>
            </p:cNvPr>
            <p:cNvSpPr/>
            <p:nvPr/>
          </p:nvSpPr>
          <p:spPr>
            <a:xfrm rot="7484129">
              <a:off x="7765134" y="4837237"/>
              <a:ext cx="295167" cy="296463"/>
            </a:xfrm>
            <a:custGeom>
              <a:avLst/>
              <a:gdLst>
                <a:gd name="connsiteX0" fmla="*/ 295165 w 295167"/>
                <a:gd name="connsiteY0" fmla="*/ 83734 h 296463"/>
                <a:gd name="connsiteX1" fmla="*/ 237109 w 295167"/>
                <a:gd name="connsiteY1" fmla="*/ 0 h 296463"/>
                <a:gd name="connsiteX2" fmla="*/ 237110 w 295167"/>
                <a:gd name="connsiteY2" fmla="*/ 0 h 296463"/>
                <a:gd name="connsiteX3" fmla="*/ 295167 w 295167"/>
                <a:gd name="connsiteY3" fmla="*/ 83734 h 296463"/>
                <a:gd name="connsiteX4" fmla="*/ 137293 w 295167"/>
                <a:gd name="connsiteY4" fmla="*/ 296463 h 296463"/>
                <a:gd name="connsiteX5" fmla="*/ 72418 w 295167"/>
                <a:gd name="connsiteY5" fmla="*/ 175766 h 296463"/>
                <a:gd name="connsiteX6" fmla="*/ 105610 w 295167"/>
                <a:gd name="connsiteY6" fmla="*/ 83734 h 296463"/>
                <a:gd name="connsiteX7" fmla="*/ 0 w 295167"/>
                <a:gd name="connsiteY7" fmla="*/ 83734 h 296463"/>
                <a:gd name="connsiteX8" fmla="*/ 0 w 295167"/>
                <a:gd name="connsiteY8" fmla="*/ 0 h 296463"/>
                <a:gd name="connsiteX9" fmla="*/ 126381 w 295167"/>
                <a:gd name="connsiteY9" fmla="*/ 0 h 296463"/>
                <a:gd name="connsiteX10" fmla="*/ 197160 w 295167"/>
                <a:gd name="connsiteY10" fmla="*/ 122416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5167" h="296463">
                  <a:moveTo>
                    <a:pt x="295165" y="83734"/>
                  </a:moveTo>
                  <a:lnTo>
                    <a:pt x="237109" y="0"/>
                  </a:lnTo>
                  <a:lnTo>
                    <a:pt x="237110" y="0"/>
                  </a:lnTo>
                  <a:lnTo>
                    <a:pt x="295167" y="83734"/>
                  </a:lnTo>
                  <a:close/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126381" y="0"/>
                  </a:lnTo>
                  <a:lnTo>
                    <a:pt x="197160" y="1224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527B4309-024C-4B07-A449-12F7536748C5}"/>
                </a:ext>
              </a:extLst>
            </p:cNvPr>
            <p:cNvSpPr/>
            <p:nvPr/>
          </p:nvSpPr>
          <p:spPr>
            <a:xfrm rot="13089394">
              <a:off x="8005038" y="4814171"/>
              <a:ext cx="409104" cy="218063"/>
            </a:xfrm>
            <a:custGeom>
              <a:avLst/>
              <a:gdLst>
                <a:gd name="connsiteX0" fmla="*/ 409104 w 409104"/>
                <a:gd name="connsiteY0" fmla="*/ 110916 h 218063"/>
                <a:gd name="connsiteX1" fmla="*/ 135172 w 409104"/>
                <a:gd name="connsiteY1" fmla="*/ 217816 h 218063"/>
                <a:gd name="connsiteX2" fmla="*/ 32447 w 409104"/>
                <a:gd name="connsiteY2" fmla="*/ 176058 h 218063"/>
                <a:gd name="connsiteX3" fmla="*/ 3843 w 409104"/>
                <a:gd name="connsiteY3" fmla="*/ 119581 h 218063"/>
                <a:gd name="connsiteX4" fmla="*/ 0 w 409104"/>
                <a:gd name="connsiteY4" fmla="*/ 73735 h 218063"/>
                <a:gd name="connsiteX5" fmla="*/ 111583 w 409104"/>
                <a:gd name="connsiteY5" fmla="*/ 0 h 218063"/>
                <a:gd name="connsiteX6" fmla="*/ 112727 w 409104"/>
                <a:gd name="connsiteY6" fmla="*/ 23329 h 218063"/>
                <a:gd name="connsiteX7" fmla="*/ 129325 w 409104"/>
                <a:gd name="connsiteY7" fmla="*/ 91708 h 218063"/>
                <a:gd name="connsiteX8" fmla="*/ 229544 w 409104"/>
                <a:gd name="connsiteY8" fmla="*/ 146828 h 218063"/>
                <a:gd name="connsiteX9" fmla="*/ 304708 w 409104"/>
                <a:gd name="connsiteY9" fmla="*/ 133466 h 218063"/>
                <a:gd name="connsiteX10" fmla="*/ 407434 w 409104"/>
                <a:gd name="connsiteY10" fmla="*/ 91708 h 218063"/>
                <a:gd name="connsiteX11" fmla="*/ 409104 w 409104"/>
                <a:gd name="connsiteY11" fmla="*/ 102564 h 218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9104" h="218063">
                  <a:moveTo>
                    <a:pt x="409104" y="110916"/>
                  </a:moveTo>
                  <a:cubicBezTo>
                    <a:pt x="320577" y="186915"/>
                    <a:pt x="204490" y="213641"/>
                    <a:pt x="135172" y="217816"/>
                  </a:cubicBezTo>
                  <a:cubicBezTo>
                    <a:pt x="96755" y="220322"/>
                    <a:pt x="59173" y="203619"/>
                    <a:pt x="32447" y="176058"/>
                  </a:cubicBezTo>
                  <a:cubicBezTo>
                    <a:pt x="18249" y="162278"/>
                    <a:pt x="9272" y="143487"/>
                    <a:pt x="3843" y="119581"/>
                  </a:cubicBezTo>
                  <a:lnTo>
                    <a:pt x="0" y="73735"/>
                  </a:lnTo>
                  <a:lnTo>
                    <a:pt x="111583" y="0"/>
                  </a:lnTo>
                  <a:lnTo>
                    <a:pt x="112727" y="23329"/>
                  </a:lnTo>
                  <a:cubicBezTo>
                    <a:pt x="116171" y="46609"/>
                    <a:pt x="121808" y="69576"/>
                    <a:pt x="129325" y="91708"/>
                  </a:cubicBezTo>
                  <a:cubicBezTo>
                    <a:pt x="142689" y="128454"/>
                    <a:pt x="176930" y="146828"/>
                    <a:pt x="229544" y="146828"/>
                  </a:cubicBezTo>
                  <a:cubicBezTo>
                    <a:pt x="255435" y="145993"/>
                    <a:pt x="280489" y="140981"/>
                    <a:pt x="304708" y="133466"/>
                  </a:cubicBezTo>
                  <a:cubicBezTo>
                    <a:pt x="339785" y="122608"/>
                    <a:pt x="374027" y="108411"/>
                    <a:pt x="407434" y="91708"/>
                  </a:cubicBezTo>
                  <a:cubicBezTo>
                    <a:pt x="408268" y="95048"/>
                    <a:pt x="409104" y="99224"/>
                    <a:pt x="409104" y="10256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A6665952-BEBA-4083-8857-192589F92F66}"/>
                </a:ext>
              </a:extLst>
            </p:cNvPr>
            <p:cNvSpPr/>
            <p:nvPr/>
          </p:nvSpPr>
          <p:spPr>
            <a:xfrm rot="8716295">
              <a:off x="8200443" y="4500944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48E8912F-96AC-4641-B68F-1FAC8423EE44}"/>
                </a:ext>
              </a:extLst>
            </p:cNvPr>
            <p:cNvSpPr/>
            <p:nvPr/>
          </p:nvSpPr>
          <p:spPr>
            <a:xfrm rot="8716295">
              <a:off x="8122034" y="434415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53758D6F-45BC-4683-9BA4-5F935E950CCD}"/>
                </a:ext>
              </a:extLst>
            </p:cNvPr>
            <p:cNvSpPr/>
            <p:nvPr/>
          </p:nvSpPr>
          <p:spPr>
            <a:xfrm rot="8716295">
              <a:off x="7753870" y="438989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3D33FD22-12AD-4D1A-88D7-5F0D534CAA44}"/>
                </a:ext>
              </a:extLst>
            </p:cNvPr>
            <p:cNvSpPr/>
            <p:nvPr/>
          </p:nvSpPr>
          <p:spPr>
            <a:xfrm rot="8716295">
              <a:off x="8030791" y="4210054"/>
              <a:ext cx="154744" cy="110503"/>
            </a:xfrm>
            <a:custGeom>
              <a:avLst/>
              <a:gdLst>
                <a:gd name="connsiteX0" fmla="*/ 0 w 154744"/>
                <a:gd name="connsiteY0" fmla="*/ 34366 h 110503"/>
                <a:gd name="connsiteX1" fmla="*/ 3342 w 154744"/>
                <a:gd name="connsiteY1" fmla="*/ 26453 h 110503"/>
                <a:gd name="connsiteX2" fmla="*/ 65990 w 154744"/>
                <a:gd name="connsiteY2" fmla="*/ 0 h 110503"/>
                <a:gd name="connsiteX3" fmla="*/ 128640 w 154744"/>
                <a:gd name="connsiteY3" fmla="*/ 26453 h 110503"/>
                <a:gd name="connsiteX4" fmla="*/ 154744 w 154744"/>
                <a:gd name="connsiteY4" fmla="*/ 88580 h 110503"/>
                <a:gd name="connsiteX5" fmla="*/ 150487 w 154744"/>
                <a:gd name="connsiteY5" fmla="*/ 110503 h 110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4744" h="110503">
                  <a:moveTo>
                    <a:pt x="0" y="34366"/>
                  </a:moveTo>
                  <a:lnTo>
                    <a:pt x="3342" y="26453"/>
                  </a:lnTo>
                  <a:cubicBezTo>
                    <a:pt x="20048" y="9746"/>
                    <a:pt x="42323" y="0"/>
                    <a:pt x="65990" y="0"/>
                  </a:cubicBezTo>
                  <a:cubicBezTo>
                    <a:pt x="89659" y="0"/>
                    <a:pt x="111934" y="9746"/>
                    <a:pt x="128640" y="26453"/>
                  </a:cubicBezTo>
                  <a:cubicBezTo>
                    <a:pt x="146043" y="43159"/>
                    <a:pt x="154744" y="65782"/>
                    <a:pt x="154744" y="88580"/>
                  </a:cubicBezTo>
                  <a:lnTo>
                    <a:pt x="150487" y="1105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55" name="Rectangle 7">
            <a:extLst>
              <a:ext uri="{FF2B5EF4-FFF2-40B4-BE49-F238E27FC236}">
                <a16:creationId xmlns:a16="http://schemas.microsoft.com/office/drawing/2014/main" id="{88941299-7323-4585-91C3-38C1B71800C4}"/>
              </a:ext>
            </a:extLst>
          </p:cNvPr>
          <p:cNvSpPr/>
          <p:nvPr userDrawn="1"/>
        </p:nvSpPr>
        <p:spPr>
          <a:xfrm>
            <a:off x="0" y="4391025"/>
            <a:ext cx="9153528" cy="752475"/>
          </a:xfrm>
          <a:custGeom>
            <a:avLst/>
            <a:gdLst>
              <a:gd name="connsiteX0" fmla="*/ 0 w 9153528"/>
              <a:gd name="connsiteY0" fmla="*/ 0 h 752475"/>
              <a:gd name="connsiteX1" fmla="*/ 9153528 w 9153528"/>
              <a:gd name="connsiteY1" fmla="*/ 0 h 752475"/>
              <a:gd name="connsiteX2" fmla="*/ 9153528 w 9153528"/>
              <a:gd name="connsiteY2" fmla="*/ 752475 h 752475"/>
              <a:gd name="connsiteX3" fmla="*/ 0 w 9153528"/>
              <a:gd name="connsiteY3" fmla="*/ 752475 h 752475"/>
              <a:gd name="connsiteX4" fmla="*/ 0 w 9153528"/>
              <a:gd name="connsiteY4" fmla="*/ 0 h 752475"/>
              <a:gd name="connsiteX0" fmla="*/ 0 w 9153528"/>
              <a:gd name="connsiteY0" fmla="*/ 0 h 752475"/>
              <a:gd name="connsiteX1" fmla="*/ 9153528 w 9153528"/>
              <a:gd name="connsiteY1" fmla="*/ 752475 h 752475"/>
              <a:gd name="connsiteX2" fmla="*/ 0 w 9153528"/>
              <a:gd name="connsiteY2" fmla="*/ 752475 h 752475"/>
              <a:gd name="connsiteX3" fmla="*/ 0 w 9153528"/>
              <a:gd name="connsiteY3" fmla="*/ 0 h 752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53528" h="752475">
                <a:moveTo>
                  <a:pt x="0" y="0"/>
                </a:moveTo>
                <a:lnTo>
                  <a:pt x="9153528" y="752475"/>
                </a:lnTo>
                <a:lnTo>
                  <a:pt x="0" y="752475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666402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 2 avec image - Foncé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Forme libre : forme 69">
            <a:extLst>
              <a:ext uri="{FF2B5EF4-FFF2-40B4-BE49-F238E27FC236}">
                <a16:creationId xmlns:a16="http://schemas.microsoft.com/office/drawing/2014/main" id="{7A9D45F7-F6EE-4110-A350-96F73BCE90D1}"/>
              </a:ext>
            </a:extLst>
          </p:cNvPr>
          <p:cNvSpPr/>
          <p:nvPr userDrawn="1"/>
        </p:nvSpPr>
        <p:spPr>
          <a:xfrm>
            <a:off x="0" y="3708637"/>
            <a:ext cx="9153528" cy="1434863"/>
          </a:xfrm>
          <a:custGeom>
            <a:avLst/>
            <a:gdLst>
              <a:gd name="connsiteX0" fmla="*/ 0 w 9153528"/>
              <a:gd name="connsiteY0" fmla="*/ 0 h 1434863"/>
              <a:gd name="connsiteX1" fmla="*/ 9097717 w 9153528"/>
              <a:gd name="connsiteY1" fmla="*/ 747887 h 1434863"/>
              <a:gd name="connsiteX2" fmla="*/ 9153528 w 9153528"/>
              <a:gd name="connsiteY2" fmla="*/ 747887 h 1434863"/>
              <a:gd name="connsiteX3" fmla="*/ 9153528 w 9153528"/>
              <a:gd name="connsiteY3" fmla="*/ 752475 h 1434863"/>
              <a:gd name="connsiteX4" fmla="*/ 9153528 w 9153528"/>
              <a:gd name="connsiteY4" fmla="*/ 1434863 h 1434863"/>
              <a:gd name="connsiteX5" fmla="*/ 0 w 9153528"/>
              <a:gd name="connsiteY5" fmla="*/ 1434863 h 1434863"/>
              <a:gd name="connsiteX6" fmla="*/ 0 w 9153528"/>
              <a:gd name="connsiteY6" fmla="*/ 752475 h 1434863"/>
              <a:gd name="connsiteX7" fmla="*/ 0 w 9153528"/>
              <a:gd name="connsiteY7" fmla="*/ 747887 h 1434863"/>
              <a:gd name="connsiteX0" fmla="*/ 0 w 9153528"/>
              <a:gd name="connsiteY0" fmla="*/ 0 h 1434863"/>
              <a:gd name="connsiteX1" fmla="*/ 9097717 w 9153528"/>
              <a:gd name="connsiteY1" fmla="*/ 747887 h 1434863"/>
              <a:gd name="connsiteX2" fmla="*/ 9153528 w 9153528"/>
              <a:gd name="connsiteY2" fmla="*/ 752475 h 1434863"/>
              <a:gd name="connsiteX3" fmla="*/ 9153528 w 9153528"/>
              <a:gd name="connsiteY3" fmla="*/ 1434863 h 1434863"/>
              <a:gd name="connsiteX4" fmla="*/ 0 w 9153528"/>
              <a:gd name="connsiteY4" fmla="*/ 1434863 h 1434863"/>
              <a:gd name="connsiteX5" fmla="*/ 0 w 9153528"/>
              <a:gd name="connsiteY5" fmla="*/ 752475 h 1434863"/>
              <a:gd name="connsiteX6" fmla="*/ 0 w 9153528"/>
              <a:gd name="connsiteY6" fmla="*/ 747887 h 1434863"/>
              <a:gd name="connsiteX7" fmla="*/ 0 w 9153528"/>
              <a:gd name="connsiteY7" fmla="*/ 0 h 1434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53528" h="1434863">
                <a:moveTo>
                  <a:pt x="0" y="0"/>
                </a:moveTo>
                <a:lnTo>
                  <a:pt x="9097717" y="747887"/>
                </a:lnTo>
                <a:lnTo>
                  <a:pt x="9153528" y="752475"/>
                </a:lnTo>
                <a:lnTo>
                  <a:pt x="9153528" y="1434863"/>
                </a:lnTo>
                <a:lnTo>
                  <a:pt x="0" y="1434863"/>
                </a:lnTo>
                <a:lnTo>
                  <a:pt x="0" y="752475"/>
                </a:lnTo>
                <a:lnTo>
                  <a:pt x="0" y="747887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48FA6A4C-949D-4D78-851A-5D85C0ACA219}"/>
              </a:ext>
            </a:extLst>
          </p:cNvPr>
          <p:cNvGrpSpPr/>
          <p:nvPr userDrawn="1"/>
        </p:nvGrpSpPr>
        <p:grpSpPr>
          <a:xfrm>
            <a:off x="4782105" y="3396053"/>
            <a:ext cx="4416497" cy="1125022"/>
            <a:chOff x="4782105" y="4078441"/>
            <a:chExt cx="4416497" cy="1125022"/>
          </a:xfrm>
          <a:solidFill>
            <a:schemeClr val="bg2">
              <a:alpha val="10000"/>
            </a:schemeClr>
          </a:solidFill>
        </p:grpSpPr>
        <p:sp>
          <p:nvSpPr>
            <p:cNvPr id="7" name="Forme libre : forme 6">
              <a:extLst>
                <a:ext uri="{FF2B5EF4-FFF2-40B4-BE49-F238E27FC236}">
                  <a16:creationId xmlns:a16="http://schemas.microsoft.com/office/drawing/2014/main" id="{791FB8C9-9221-4E4C-A4AC-2AAD9F08AE59}"/>
                </a:ext>
              </a:extLst>
            </p:cNvPr>
            <p:cNvSpPr/>
            <p:nvPr/>
          </p:nvSpPr>
          <p:spPr>
            <a:xfrm rot="8716295">
              <a:off x="8490768" y="467807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CAEA067D-BF83-4ED3-87B4-BB06FFFF2B66}"/>
                </a:ext>
              </a:extLst>
            </p:cNvPr>
            <p:cNvSpPr/>
            <p:nvPr/>
          </p:nvSpPr>
          <p:spPr>
            <a:xfrm rot="8716295">
              <a:off x="5559260" y="4523190"/>
              <a:ext cx="215177" cy="303156"/>
            </a:xfrm>
            <a:custGeom>
              <a:avLst/>
              <a:gdLst>
                <a:gd name="connsiteX0" fmla="*/ 122761 w 215177"/>
                <a:gd name="connsiteY0" fmla="*/ 256399 h 303156"/>
                <a:gd name="connsiteX1" fmla="*/ 122761 w 215177"/>
                <a:gd name="connsiteY1" fmla="*/ 105519 h 303156"/>
                <a:gd name="connsiteX2" fmla="*/ 122761 w 215177"/>
                <a:gd name="connsiteY2" fmla="*/ 99312 h 303156"/>
                <a:gd name="connsiteX3" fmla="*/ 91726 w 215177"/>
                <a:gd name="connsiteY3" fmla="*/ 75863 h 303156"/>
                <a:gd name="connsiteX4" fmla="*/ 0 w 215177"/>
                <a:gd name="connsiteY4" fmla="*/ 75863 h 303156"/>
                <a:gd name="connsiteX5" fmla="*/ 0 w 215177"/>
                <a:gd name="connsiteY5" fmla="*/ 0 h 303156"/>
                <a:gd name="connsiteX6" fmla="*/ 128968 w 215177"/>
                <a:gd name="connsiteY6" fmla="*/ 0 h 303156"/>
                <a:gd name="connsiteX7" fmla="*/ 215177 w 215177"/>
                <a:gd name="connsiteY7" fmla="*/ 75863 h 303156"/>
                <a:gd name="connsiteX8" fmla="*/ 215176 w 215177"/>
                <a:gd name="connsiteY8" fmla="*/ 303156 h 303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5177" h="303156">
                  <a:moveTo>
                    <a:pt x="122761" y="25639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0"/>
                  </a:lnTo>
                  <a:lnTo>
                    <a:pt x="128968" y="0"/>
                  </a:lnTo>
                  <a:cubicBezTo>
                    <a:pt x="184831" y="0"/>
                    <a:pt x="215176" y="24139"/>
                    <a:pt x="215177" y="75863"/>
                  </a:cubicBezTo>
                  <a:lnTo>
                    <a:pt x="215176" y="30315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ADF38186-185D-41F8-A6B1-FB10366A4CEE}"/>
                </a:ext>
              </a:extLst>
            </p:cNvPr>
            <p:cNvSpPr/>
            <p:nvPr/>
          </p:nvSpPr>
          <p:spPr>
            <a:xfrm rot="8716295">
              <a:off x="5692925" y="4561542"/>
              <a:ext cx="393603" cy="335006"/>
            </a:xfrm>
            <a:custGeom>
              <a:avLst/>
              <a:gdLst>
                <a:gd name="connsiteX0" fmla="*/ 77932 w 393603"/>
                <a:gd name="connsiteY0" fmla="*/ 299055 h 335006"/>
                <a:gd name="connsiteX1" fmla="*/ 77932 w 393603"/>
                <a:gd name="connsiteY1" fmla="*/ 66897 h 335006"/>
                <a:gd name="connsiteX2" fmla="*/ 0 w 393603"/>
                <a:gd name="connsiteY2" fmla="*/ 66898 h 335006"/>
                <a:gd name="connsiteX3" fmla="*/ 0 w 393603"/>
                <a:gd name="connsiteY3" fmla="*/ 0 h 335006"/>
                <a:gd name="connsiteX4" fmla="*/ 158623 w 393603"/>
                <a:gd name="connsiteY4" fmla="*/ 1 h 335006"/>
                <a:gd name="connsiteX5" fmla="*/ 158623 w 393603"/>
                <a:gd name="connsiteY5" fmla="*/ 111726 h 335006"/>
                <a:gd name="connsiteX6" fmla="*/ 160692 w 393603"/>
                <a:gd name="connsiteY6" fmla="*/ 111726 h 335006"/>
                <a:gd name="connsiteX7" fmla="*/ 192762 w 393603"/>
                <a:gd name="connsiteY7" fmla="*/ 39915 h 335006"/>
                <a:gd name="connsiteX8" fmla="*/ 231959 w 393603"/>
                <a:gd name="connsiteY8" fmla="*/ 7837 h 335006"/>
                <a:gd name="connsiteX9" fmla="*/ 393603 w 393603"/>
                <a:gd name="connsiteY9" fmla="*/ 140745 h 335006"/>
                <a:gd name="connsiteX10" fmla="*/ 300695 w 393603"/>
                <a:gd name="connsiteY10" fmla="*/ 146210 h 335006"/>
                <a:gd name="connsiteX11" fmla="*/ 300694 w 393603"/>
                <a:gd name="connsiteY11" fmla="*/ 121382 h 335006"/>
                <a:gd name="connsiteX12" fmla="*/ 249659 w 393603"/>
                <a:gd name="connsiteY12" fmla="*/ 58622 h 335006"/>
                <a:gd name="connsiteX13" fmla="*/ 168969 w 393603"/>
                <a:gd name="connsiteY13" fmla="*/ 191038 h 335006"/>
                <a:gd name="connsiteX14" fmla="*/ 168969 w 393603"/>
                <a:gd name="connsiteY14" fmla="*/ 321385 h 335006"/>
                <a:gd name="connsiteX15" fmla="*/ 148991 w 393603"/>
                <a:gd name="connsiteY15" fmla="*/ 335006 h 335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93603" h="335006">
                  <a:moveTo>
                    <a:pt x="77932" y="299055"/>
                  </a:moveTo>
                  <a:lnTo>
                    <a:pt x="77932" y="66897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1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71727" y="78967"/>
                    <a:pt x="181555" y="56208"/>
                    <a:pt x="192762" y="39915"/>
                  </a:cubicBezTo>
                  <a:lnTo>
                    <a:pt x="231959" y="7837"/>
                  </a:lnTo>
                  <a:lnTo>
                    <a:pt x="393603" y="140745"/>
                  </a:lnTo>
                  <a:lnTo>
                    <a:pt x="300695" y="146210"/>
                  </a:lnTo>
                  <a:lnTo>
                    <a:pt x="300694" y="121382"/>
                  </a:lnTo>
                  <a:cubicBezTo>
                    <a:pt x="300695" y="84140"/>
                    <a:pt x="279316" y="58622"/>
                    <a:pt x="249659" y="58622"/>
                  </a:cubicBezTo>
                  <a:cubicBezTo>
                    <a:pt x="205521" y="58621"/>
                    <a:pt x="168969" y="117244"/>
                    <a:pt x="168969" y="191038"/>
                  </a:cubicBezTo>
                  <a:lnTo>
                    <a:pt x="168969" y="321385"/>
                  </a:lnTo>
                  <a:lnTo>
                    <a:pt x="148991" y="33500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4B724F9D-95FF-4F02-B59A-7E5AC8B98AC8}"/>
                </a:ext>
              </a:extLst>
            </p:cNvPr>
            <p:cNvSpPr/>
            <p:nvPr/>
          </p:nvSpPr>
          <p:spPr>
            <a:xfrm rot="8716295">
              <a:off x="5659234" y="4556420"/>
              <a:ext cx="113018" cy="83608"/>
            </a:xfrm>
            <a:custGeom>
              <a:avLst/>
              <a:gdLst>
                <a:gd name="connsiteX0" fmla="*/ 0 w 113018"/>
                <a:gd name="connsiteY0" fmla="*/ 32910 h 83608"/>
                <a:gd name="connsiteX1" fmla="*/ 24482 w 113018"/>
                <a:gd name="connsiteY1" fmla="*/ 13621 h 83608"/>
                <a:gd name="connsiteX2" fmla="*/ 70259 w 113018"/>
                <a:gd name="connsiteY2" fmla="*/ 0 h 83608"/>
                <a:gd name="connsiteX3" fmla="*/ 113018 w 113018"/>
                <a:gd name="connsiteY3" fmla="*/ 51035 h 83608"/>
                <a:gd name="connsiteX4" fmla="*/ 100518 w 113018"/>
                <a:gd name="connsiteY4" fmla="*/ 83363 h 83608"/>
                <a:gd name="connsiteX5" fmla="*/ 100204 w 113018"/>
                <a:gd name="connsiteY5" fmla="*/ 83608 h 83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018" h="83608">
                  <a:moveTo>
                    <a:pt x="0" y="32910"/>
                  </a:moveTo>
                  <a:lnTo>
                    <a:pt x="24482" y="13621"/>
                  </a:lnTo>
                  <a:cubicBezTo>
                    <a:pt x="38534" y="6380"/>
                    <a:pt x="54052" y="1725"/>
                    <a:pt x="70259" y="0"/>
                  </a:cubicBezTo>
                  <a:cubicBezTo>
                    <a:pt x="103363" y="0"/>
                    <a:pt x="113018" y="28966"/>
                    <a:pt x="113018" y="51035"/>
                  </a:cubicBezTo>
                  <a:cubicBezTo>
                    <a:pt x="111984" y="63105"/>
                    <a:pt x="107501" y="74139"/>
                    <a:pt x="100518" y="83363"/>
                  </a:cubicBezTo>
                  <a:lnTo>
                    <a:pt x="100204" y="8360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D01436B5-D8EB-44DF-8B51-633BF4E9FB42}"/>
                </a:ext>
              </a:extLst>
            </p:cNvPr>
            <p:cNvSpPr/>
            <p:nvPr/>
          </p:nvSpPr>
          <p:spPr>
            <a:xfrm rot="8716295">
              <a:off x="5371633" y="4613095"/>
              <a:ext cx="88105" cy="83851"/>
            </a:xfrm>
            <a:custGeom>
              <a:avLst/>
              <a:gdLst>
                <a:gd name="connsiteX0" fmla="*/ 6112 w 88105"/>
                <a:gd name="connsiteY0" fmla="*/ 59305 h 83851"/>
                <a:gd name="connsiteX1" fmla="*/ 0 w 88105"/>
                <a:gd name="connsiteY1" fmla="*/ 44829 h 83851"/>
                <a:gd name="connsiteX2" fmla="*/ 0 w 88105"/>
                <a:gd name="connsiteY2" fmla="*/ 44139 h 83851"/>
                <a:gd name="connsiteX3" fmla="*/ 13104 w 88105"/>
                <a:gd name="connsiteY3" fmla="*/ 13104 h 83851"/>
                <a:gd name="connsiteX4" fmla="*/ 44139 w 88105"/>
                <a:gd name="connsiteY4" fmla="*/ 0 h 83851"/>
                <a:gd name="connsiteX5" fmla="*/ 75175 w 88105"/>
                <a:gd name="connsiteY5" fmla="*/ 13104 h 83851"/>
                <a:gd name="connsiteX6" fmla="*/ 75175 w 88105"/>
                <a:gd name="connsiteY6" fmla="*/ 75175 h 83851"/>
                <a:gd name="connsiteX7" fmla="*/ 54626 w 88105"/>
                <a:gd name="connsiteY7" fmla="*/ 83851 h 83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105" h="83851">
                  <a:moveTo>
                    <a:pt x="6112" y="59305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cubicBezTo>
                    <a:pt x="55864" y="0"/>
                    <a:pt x="66899" y="4828"/>
                    <a:pt x="75175" y="13104"/>
                  </a:cubicBezTo>
                  <a:cubicBezTo>
                    <a:pt x="92416" y="29657"/>
                    <a:pt x="92416" y="57933"/>
                    <a:pt x="75175" y="75175"/>
                  </a:cubicBezTo>
                  <a:lnTo>
                    <a:pt x="54626" y="8385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6F3BF20E-F037-4374-BB41-095B54D26F08}"/>
                </a:ext>
              </a:extLst>
            </p:cNvPr>
            <p:cNvSpPr/>
            <p:nvPr/>
          </p:nvSpPr>
          <p:spPr>
            <a:xfrm rot="8716295">
              <a:off x="5473646" y="4706746"/>
              <a:ext cx="91035" cy="188159"/>
            </a:xfrm>
            <a:custGeom>
              <a:avLst/>
              <a:gdLst>
                <a:gd name="connsiteX0" fmla="*/ 91035 w 91035"/>
                <a:gd name="connsiteY0" fmla="*/ 188159 h 188159"/>
                <a:gd name="connsiteX1" fmla="*/ 0 w 91035"/>
                <a:gd name="connsiteY1" fmla="*/ 100571 h 188159"/>
                <a:gd name="connsiteX2" fmla="*/ 0 w 91035"/>
                <a:gd name="connsiteY2" fmla="*/ 0 h 188159"/>
                <a:gd name="connsiteX3" fmla="*/ 91035 w 91035"/>
                <a:gd name="connsiteY3" fmla="*/ 74852 h 188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188159">
                  <a:moveTo>
                    <a:pt x="91035" y="188159"/>
                  </a:moveTo>
                  <a:lnTo>
                    <a:pt x="0" y="100571"/>
                  </a:lnTo>
                  <a:lnTo>
                    <a:pt x="0" y="0"/>
                  </a:lnTo>
                  <a:lnTo>
                    <a:pt x="91035" y="748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BBB1D061-FD31-402D-BCCB-6813149262F1}"/>
                </a:ext>
              </a:extLst>
            </p:cNvPr>
            <p:cNvSpPr/>
            <p:nvPr/>
          </p:nvSpPr>
          <p:spPr>
            <a:xfrm rot="8716295">
              <a:off x="6218962" y="4454620"/>
              <a:ext cx="171018" cy="106515"/>
            </a:xfrm>
            <a:custGeom>
              <a:avLst/>
              <a:gdLst>
                <a:gd name="connsiteX0" fmla="*/ 0 w 171018"/>
                <a:gd name="connsiteY0" fmla="*/ 19991 h 106515"/>
                <a:gd name="connsiteX1" fmla="*/ 13365 w 171018"/>
                <a:gd name="connsiteY1" fmla="*/ 9053 h 106515"/>
                <a:gd name="connsiteX2" fmla="*/ 60952 w 171018"/>
                <a:gd name="connsiteY2" fmla="*/ 87 h 106515"/>
                <a:gd name="connsiteX3" fmla="*/ 166956 w 171018"/>
                <a:gd name="connsiteY3" fmla="*/ 76705 h 106515"/>
                <a:gd name="connsiteX4" fmla="*/ 171018 w 171018"/>
                <a:gd name="connsiteY4" fmla="*/ 106515 h 106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018" h="106515">
                  <a:moveTo>
                    <a:pt x="0" y="19991"/>
                  </a:moveTo>
                  <a:lnTo>
                    <a:pt x="13365" y="9053"/>
                  </a:lnTo>
                  <a:cubicBezTo>
                    <a:pt x="28538" y="2846"/>
                    <a:pt x="44400" y="-602"/>
                    <a:pt x="60952" y="87"/>
                  </a:cubicBezTo>
                  <a:cubicBezTo>
                    <a:pt x="114229" y="-948"/>
                    <a:pt x="151600" y="26725"/>
                    <a:pt x="166956" y="76705"/>
                  </a:cubicBezTo>
                  <a:lnTo>
                    <a:pt x="171018" y="10651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B49834EB-4686-4A9A-AFBE-353B0A4BB9CC}"/>
                </a:ext>
              </a:extLst>
            </p:cNvPr>
            <p:cNvSpPr/>
            <p:nvPr/>
          </p:nvSpPr>
          <p:spPr>
            <a:xfrm rot="8716295">
              <a:off x="6005990" y="4487669"/>
              <a:ext cx="156555" cy="122067"/>
            </a:xfrm>
            <a:custGeom>
              <a:avLst/>
              <a:gdLst>
                <a:gd name="connsiteX0" fmla="*/ 65519 w 156555"/>
                <a:gd name="connsiteY0" fmla="*/ 76009 h 122067"/>
                <a:gd name="connsiteX1" fmla="*/ 65519 w 156555"/>
                <a:gd name="connsiteY1" fmla="*/ 24828 h 122067"/>
                <a:gd name="connsiteX2" fmla="*/ 0 w 156555"/>
                <a:gd name="connsiteY2" fmla="*/ 24828 h 122067"/>
                <a:gd name="connsiteX3" fmla="*/ 0 w 156555"/>
                <a:gd name="connsiteY3" fmla="*/ 3449 h 122067"/>
                <a:gd name="connsiteX4" fmla="*/ 156555 w 156555"/>
                <a:gd name="connsiteY4" fmla="*/ 0 h 122067"/>
                <a:gd name="connsiteX5" fmla="*/ 156554 w 156555"/>
                <a:gd name="connsiteY5" fmla="*/ 122067 h 122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6555" h="122067">
                  <a:moveTo>
                    <a:pt x="65519" y="76009"/>
                  </a:moveTo>
                  <a:lnTo>
                    <a:pt x="65519" y="24828"/>
                  </a:lnTo>
                  <a:lnTo>
                    <a:pt x="0" y="24828"/>
                  </a:lnTo>
                  <a:lnTo>
                    <a:pt x="0" y="3449"/>
                  </a:lnTo>
                  <a:cubicBezTo>
                    <a:pt x="49656" y="5517"/>
                    <a:pt x="101381" y="1379"/>
                    <a:pt x="156555" y="0"/>
                  </a:cubicBezTo>
                  <a:lnTo>
                    <a:pt x="156554" y="1220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676F5558-2730-4CE0-B993-EAC478371730}"/>
                </a:ext>
              </a:extLst>
            </p:cNvPr>
            <p:cNvSpPr/>
            <p:nvPr/>
          </p:nvSpPr>
          <p:spPr>
            <a:xfrm rot="7484129">
              <a:off x="6103422" y="4586563"/>
              <a:ext cx="308532" cy="296464"/>
            </a:xfrm>
            <a:custGeom>
              <a:avLst/>
              <a:gdLst>
                <a:gd name="connsiteX0" fmla="*/ 137293 w 308532"/>
                <a:gd name="connsiteY0" fmla="*/ 296464 h 296464"/>
                <a:gd name="connsiteX1" fmla="*/ 72419 w 308532"/>
                <a:gd name="connsiteY1" fmla="*/ 175766 h 296464"/>
                <a:gd name="connsiteX2" fmla="*/ 105610 w 308532"/>
                <a:gd name="connsiteY2" fmla="*/ 83734 h 296464"/>
                <a:gd name="connsiteX3" fmla="*/ 0 w 308532"/>
                <a:gd name="connsiteY3" fmla="*/ 83734 h 296464"/>
                <a:gd name="connsiteX4" fmla="*/ 0 w 308532"/>
                <a:gd name="connsiteY4" fmla="*/ 0 h 296464"/>
                <a:gd name="connsiteX5" fmla="*/ 265017 w 308532"/>
                <a:gd name="connsiteY5" fmla="*/ 0 h 296464"/>
                <a:gd name="connsiteX6" fmla="*/ 308532 w 308532"/>
                <a:gd name="connsiteY6" fmla="*/ 75260 h 296464"/>
                <a:gd name="connsiteX7" fmla="*/ 308532 w 308532"/>
                <a:gd name="connsiteY7" fmla="*/ 83734 h 296464"/>
                <a:gd name="connsiteX8" fmla="*/ 210466 w 308532"/>
                <a:gd name="connsiteY8" fmla="*/ 83734 h 296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532" h="296464">
                  <a:moveTo>
                    <a:pt x="137293" y="296464"/>
                  </a:moveTo>
                  <a:lnTo>
                    <a:pt x="72419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65017" y="0"/>
                  </a:lnTo>
                  <a:lnTo>
                    <a:pt x="308532" y="75260"/>
                  </a:lnTo>
                  <a:lnTo>
                    <a:pt x="308532" y="83734"/>
                  </a:lnTo>
                  <a:lnTo>
                    <a:pt x="210466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6446F284-DF3B-4BD3-84E9-63513197872A}"/>
                </a:ext>
              </a:extLst>
            </p:cNvPr>
            <p:cNvSpPr/>
            <p:nvPr/>
          </p:nvSpPr>
          <p:spPr>
            <a:xfrm rot="13089394">
              <a:off x="6309616" y="4543919"/>
              <a:ext cx="412568" cy="359948"/>
            </a:xfrm>
            <a:custGeom>
              <a:avLst/>
              <a:gdLst>
                <a:gd name="connsiteX0" fmla="*/ 412568 w 412568"/>
                <a:gd name="connsiteY0" fmla="*/ 252801 h 359948"/>
                <a:gd name="connsiteX1" fmla="*/ 138636 w 412568"/>
                <a:gd name="connsiteY1" fmla="*/ 359701 h 359948"/>
                <a:gd name="connsiteX2" fmla="*/ 35911 w 412568"/>
                <a:gd name="connsiteY2" fmla="*/ 317943 h 359948"/>
                <a:gd name="connsiteX3" fmla="*/ 0 w 412568"/>
                <a:gd name="connsiteY3" fmla="*/ 174296 h 359948"/>
                <a:gd name="connsiteX4" fmla="*/ 0 w 412568"/>
                <a:gd name="connsiteY4" fmla="*/ 74054 h 359948"/>
                <a:gd name="connsiteX5" fmla="*/ 112066 w 412568"/>
                <a:gd name="connsiteY5" fmla="*/ 0 h 359948"/>
                <a:gd name="connsiteX6" fmla="*/ 112747 w 412568"/>
                <a:gd name="connsiteY6" fmla="*/ 94956 h 359948"/>
                <a:gd name="connsiteX7" fmla="*/ 132789 w 412568"/>
                <a:gd name="connsiteY7" fmla="*/ 233593 h 359948"/>
                <a:gd name="connsiteX8" fmla="*/ 233008 w 412568"/>
                <a:gd name="connsiteY8" fmla="*/ 288713 h 359948"/>
                <a:gd name="connsiteX9" fmla="*/ 308172 w 412568"/>
                <a:gd name="connsiteY9" fmla="*/ 275351 h 359948"/>
                <a:gd name="connsiteX10" fmla="*/ 410898 w 412568"/>
                <a:gd name="connsiteY10" fmla="*/ 233593 h 359948"/>
                <a:gd name="connsiteX11" fmla="*/ 412568 w 412568"/>
                <a:gd name="connsiteY11" fmla="*/ 244449 h 359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2568" h="359948">
                  <a:moveTo>
                    <a:pt x="412568" y="252801"/>
                  </a:moveTo>
                  <a:cubicBezTo>
                    <a:pt x="324041" y="328800"/>
                    <a:pt x="207954" y="355526"/>
                    <a:pt x="138636" y="359701"/>
                  </a:cubicBezTo>
                  <a:cubicBezTo>
                    <a:pt x="100219" y="362207"/>
                    <a:pt x="62637" y="345504"/>
                    <a:pt x="35911" y="317943"/>
                  </a:cubicBezTo>
                  <a:cubicBezTo>
                    <a:pt x="7516" y="290383"/>
                    <a:pt x="0" y="242779"/>
                    <a:pt x="0" y="174296"/>
                  </a:cubicBezTo>
                  <a:lnTo>
                    <a:pt x="0" y="74054"/>
                  </a:lnTo>
                  <a:lnTo>
                    <a:pt x="112066" y="0"/>
                  </a:lnTo>
                  <a:lnTo>
                    <a:pt x="112747" y="94956"/>
                  </a:lnTo>
                  <a:cubicBezTo>
                    <a:pt x="110241" y="141725"/>
                    <a:pt x="117756" y="189329"/>
                    <a:pt x="132789" y="233593"/>
                  </a:cubicBezTo>
                  <a:cubicBezTo>
                    <a:pt x="146153" y="270339"/>
                    <a:pt x="180394" y="288713"/>
                    <a:pt x="233008" y="288713"/>
                  </a:cubicBezTo>
                  <a:cubicBezTo>
                    <a:pt x="258899" y="287878"/>
                    <a:pt x="283953" y="282866"/>
                    <a:pt x="308172" y="275351"/>
                  </a:cubicBezTo>
                  <a:cubicBezTo>
                    <a:pt x="343249" y="264493"/>
                    <a:pt x="377491" y="250296"/>
                    <a:pt x="410898" y="233593"/>
                  </a:cubicBezTo>
                  <a:cubicBezTo>
                    <a:pt x="411732" y="236933"/>
                    <a:pt x="412568" y="241109"/>
                    <a:pt x="412568" y="24444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88875692-D947-4058-8206-44233A06BFD3}"/>
                </a:ext>
              </a:extLst>
            </p:cNvPr>
            <p:cNvSpPr/>
            <p:nvPr/>
          </p:nvSpPr>
          <p:spPr>
            <a:xfrm rot="8716295">
              <a:off x="6597507" y="4422612"/>
              <a:ext cx="149044" cy="111064"/>
            </a:xfrm>
            <a:custGeom>
              <a:avLst/>
              <a:gdLst>
                <a:gd name="connsiteX0" fmla="*/ 0 w 149044"/>
                <a:gd name="connsiteY0" fmla="*/ 51375 h 111064"/>
                <a:gd name="connsiteX1" fmla="*/ 1002 w 149044"/>
                <a:gd name="connsiteY1" fmla="*/ 50432 h 111064"/>
                <a:gd name="connsiteX2" fmla="*/ 98612 w 149044"/>
                <a:gd name="connsiteY2" fmla="*/ 0 h 111064"/>
                <a:gd name="connsiteX3" fmla="*/ 149044 w 149044"/>
                <a:gd name="connsiteY3" fmla="*/ 60193 h 111064"/>
                <a:gd name="connsiteX4" fmla="*/ 134300 w 149044"/>
                <a:gd name="connsiteY4" fmla="*/ 98322 h 111064"/>
                <a:gd name="connsiteX5" fmla="*/ 117977 w 149044"/>
                <a:gd name="connsiteY5" fmla="*/ 111064 h 111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044" h="111064">
                  <a:moveTo>
                    <a:pt x="0" y="51375"/>
                  </a:moveTo>
                  <a:lnTo>
                    <a:pt x="1002" y="50432"/>
                  </a:lnTo>
                  <a:cubicBezTo>
                    <a:pt x="25404" y="21963"/>
                    <a:pt x="60381" y="4067"/>
                    <a:pt x="98612" y="0"/>
                  </a:cubicBezTo>
                  <a:cubicBezTo>
                    <a:pt x="137657" y="0"/>
                    <a:pt x="149044" y="34164"/>
                    <a:pt x="149044" y="60193"/>
                  </a:cubicBezTo>
                  <a:cubicBezTo>
                    <a:pt x="147824" y="74428"/>
                    <a:pt x="142536" y="87443"/>
                    <a:pt x="134300" y="98322"/>
                  </a:cubicBezTo>
                  <a:lnTo>
                    <a:pt x="117977" y="1110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371804DA-D0A5-4840-894B-07AAE1064663}"/>
                </a:ext>
              </a:extLst>
            </p:cNvPr>
            <p:cNvSpPr/>
            <p:nvPr/>
          </p:nvSpPr>
          <p:spPr>
            <a:xfrm rot="8716295">
              <a:off x="6708126" y="4876229"/>
              <a:ext cx="139286" cy="121327"/>
            </a:xfrm>
            <a:custGeom>
              <a:avLst/>
              <a:gdLst>
                <a:gd name="connsiteX0" fmla="*/ 26453 w 139286"/>
                <a:gd name="connsiteY0" fmla="*/ 96267 h 121327"/>
                <a:gd name="connsiteX1" fmla="*/ 0 w 139286"/>
                <a:gd name="connsiteY1" fmla="*/ 33618 h 121327"/>
                <a:gd name="connsiteX2" fmla="*/ 0 w 139286"/>
                <a:gd name="connsiteY2" fmla="*/ 32225 h 121327"/>
                <a:gd name="connsiteX3" fmla="*/ 13607 w 139286"/>
                <a:gd name="connsiteY3" fmla="*/ 0 h 121327"/>
                <a:gd name="connsiteX4" fmla="*/ 139286 w 139286"/>
                <a:gd name="connsiteY4" fmla="*/ 103337 h 121327"/>
                <a:gd name="connsiteX5" fmla="*/ 123037 w 139286"/>
                <a:gd name="connsiteY5" fmla="*/ 114366 h 121327"/>
                <a:gd name="connsiteX6" fmla="*/ 89101 w 139286"/>
                <a:gd name="connsiteY6" fmla="*/ 121327 h 121327"/>
                <a:gd name="connsiteX7" fmla="*/ 26453 w 139286"/>
                <a:gd name="connsiteY7" fmla="*/ 96267 h 121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9286" h="121327">
                  <a:moveTo>
                    <a:pt x="26453" y="96267"/>
                  </a:moveTo>
                  <a:cubicBezTo>
                    <a:pt x="9746" y="79561"/>
                    <a:pt x="0" y="57285"/>
                    <a:pt x="0" y="33618"/>
                  </a:cubicBezTo>
                  <a:lnTo>
                    <a:pt x="0" y="32225"/>
                  </a:lnTo>
                  <a:lnTo>
                    <a:pt x="13607" y="0"/>
                  </a:lnTo>
                  <a:lnTo>
                    <a:pt x="139286" y="103337"/>
                  </a:lnTo>
                  <a:lnTo>
                    <a:pt x="123037" y="114366"/>
                  </a:lnTo>
                  <a:cubicBezTo>
                    <a:pt x="112421" y="118890"/>
                    <a:pt x="100935" y="121327"/>
                    <a:pt x="89101" y="121327"/>
                  </a:cubicBezTo>
                  <a:cubicBezTo>
                    <a:pt x="65435" y="121327"/>
                    <a:pt x="43159" y="112973"/>
                    <a:pt x="26453" y="9626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6EEBC52A-3D14-419B-8366-97197098C604}"/>
                </a:ext>
              </a:extLst>
            </p:cNvPr>
            <p:cNvSpPr/>
            <p:nvPr/>
          </p:nvSpPr>
          <p:spPr>
            <a:xfrm rot="8716295">
              <a:off x="4782105" y="4823045"/>
              <a:ext cx="311921" cy="362797"/>
            </a:xfrm>
            <a:custGeom>
              <a:avLst/>
              <a:gdLst>
                <a:gd name="connsiteX0" fmla="*/ 311920 w 311921"/>
                <a:gd name="connsiteY0" fmla="*/ 120307 h 362797"/>
                <a:gd name="connsiteX1" fmla="*/ 138360 w 311921"/>
                <a:gd name="connsiteY1" fmla="*/ 1 h 362797"/>
                <a:gd name="connsiteX2" fmla="*/ 138360 w 311921"/>
                <a:gd name="connsiteY2" fmla="*/ 0 h 362797"/>
                <a:gd name="connsiteX3" fmla="*/ 311921 w 311921"/>
                <a:gd name="connsiteY3" fmla="*/ 120307 h 362797"/>
                <a:gd name="connsiteX4" fmla="*/ 0 w 311921"/>
                <a:gd name="connsiteY4" fmla="*/ 362797 h 362797"/>
                <a:gd name="connsiteX5" fmla="*/ 0 w 311921"/>
                <a:gd name="connsiteY5" fmla="*/ 320869 h 362797"/>
                <a:gd name="connsiteX6" fmla="*/ 27877 w 311921"/>
                <a:gd name="connsiteY6" fmla="*/ 343790 h 362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1921" h="362797">
                  <a:moveTo>
                    <a:pt x="311920" y="120307"/>
                  </a:moveTo>
                  <a:lnTo>
                    <a:pt x="138360" y="1"/>
                  </a:lnTo>
                  <a:lnTo>
                    <a:pt x="138360" y="0"/>
                  </a:lnTo>
                  <a:lnTo>
                    <a:pt x="311921" y="120307"/>
                  </a:lnTo>
                  <a:close/>
                  <a:moveTo>
                    <a:pt x="0" y="362797"/>
                  </a:moveTo>
                  <a:lnTo>
                    <a:pt x="0" y="320869"/>
                  </a:lnTo>
                  <a:lnTo>
                    <a:pt x="27877" y="34379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53F2D732-A25A-4CEE-B98E-E5DC8CC54158}"/>
                </a:ext>
              </a:extLst>
            </p:cNvPr>
            <p:cNvSpPr/>
            <p:nvPr/>
          </p:nvSpPr>
          <p:spPr>
            <a:xfrm rot="8716295">
              <a:off x="5132149" y="4738008"/>
              <a:ext cx="148614" cy="131720"/>
            </a:xfrm>
            <a:custGeom>
              <a:avLst/>
              <a:gdLst>
                <a:gd name="connsiteX0" fmla="*/ 26453 w 148614"/>
                <a:gd name="connsiteY0" fmla="*/ 106660 h 131720"/>
                <a:gd name="connsiteX1" fmla="*/ 0 w 148614"/>
                <a:gd name="connsiteY1" fmla="*/ 44011 h 131720"/>
                <a:gd name="connsiteX2" fmla="*/ 0 w 148614"/>
                <a:gd name="connsiteY2" fmla="*/ 42618 h 131720"/>
                <a:gd name="connsiteX3" fmla="*/ 17995 w 148614"/>
                <a:gd name="connsiteY3" fmla="*/ 0 h 131720"/>
                <a:gd name="connsiteX4" fmla="*/ 148614 w 148614"/>
                <a:gd name="connsiteY4" fmla="*/ 107398 h 131720"/>
                <a:gd name="connsiteX5" fmla="*/ 123037 w 148614"/>
                <a:gd name="connsiteY5" fmla="*/ 124759 h 131720"/>
                <a:gd name="connsiteX6" fmla="*/ 89101 w 148614"/>
                <a:gd name="connsiteY6" fmla="*/ 131720 h 131720"/>
                <a:gd name="connsiteX7" fmla="*/ 26453 w 148614"/>
                <a:gd name="connsiteY7" fmla="*/ 106660 h 13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8614" h="131720">
                  <a:moveTo>
                    <a:pt x="26453" y="106660"/>
                  </a:moveTo>
                  <a:cubicBezTo>
                    <a:pt x="9746" y="89954"/>
                    <a:pt x="0" y="67678"/>
                    <a:pt x="0" y="44011"/>
                  </a:cubicBezTo>
                  <a:lnTo>
                    <a:pt x="0" y="42618"/>
                  </a:lnTo>
                  <a:lnTo>
                    <a:pt x="17995" y="0"/>
                  </a:lnTo>
                  <a:lnTo>
                    <a:pt x="148614" y="107398"/>
                  </a:lnTo>
                  <a:lnTo>
                    <a:pt x="123037" y="124759"/>
                  </a:lnTo>
                  <a:cubicBezTo>
                    <a:pt x="112421" y="129283"/>
                    <a:pt x="100935" y="131720"/>
                    <a:pt x="89101" y="131720"/>
                  </a:cubicBezTo>
                  <a:cubicBezTo>
                    <a:pt x="65435" y="131720"/>
                    <a:pt x="43159" y="123366"/>
                    <a:pt x="26453" y="10666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937A52BD-510B-4C03-9C16-CD9D234ABB7D}"/>
                </a:ext>
              </a:extLst>
            </p:cNvPr>
            <p:cNvSpPr/>
            <p:nvPr/>
          </p:nvSpPr>
          <p:spPr>
            <a:xfrm rot="8716295">
              <a:off x="5043572" y="4624951"/>
              <a:ext cx="150722" cy="101024"/>
            </a:xfrm>
            <a:custGeom>
              <a:avLst/>
              <a:gdLst>
                <a:gd name="connsiteX0" fmla="*/ 0 w 150722"/>
                <a:gd name="connsiteY0" fmla="*/ 25991 h 101024"/>
                <a:gd name="connsiteX1" fmla="*/ 28034 w 150722"/>
                <a:gd name="connsiteY1" fmla="*/ 6961 h 101024"/>
                <a:gd name="connsiteX2" fmla="*/ 61968 w 150722"/>
                <a:gd name="connsiteY2" fmla="*/ 0 h 101024"/>
                <a:gd name="connsiteX3" fmla="*/ 124618 w 150722"/>
                <a:gd name="connsiteY3" fmla="*/ 26453 h 101024"/>
                <a:gd name="connsiteX4" fmla="*/ 150722 w 150722"/>
                <a:gd name="connsiteY4" fmla="*/ 88580 h 101024"/>
                <a:gd name="connsiteX5" fmla="*/ 148306 w 150722"/>
                <a:gd name="connsiteY5" fmla="*/ 101024 h 10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0722" h="101024">
                  <a:moveTo>
                    <a:pt x="0" y="25991"/>
                  </a:moveTo>
                  <a:lnTo>
                    <a:pt x="28034" y="6961"/>
                  </a:lnTo>
                  <a:cubicBezTo>
                    <a:pt x="38649" y="2437"/>
                    <a:pt x="50135" y="0"/>
                    <a:pt x="61968" y="0"/>
                  </a:cubicBezTo>
                  <a:cubicBezTo>
                    <a:pt x="85637" y="0"/>
                    <a:pt x="107912" y="9746"/>
                    <a:pt x="124618" y="26453"/>
                  </a:cubicBezTo>
                  <a:cubicBezTo>
                    <a:pt x="142021" y="43159"/>
                    <a:pt x="150722" y="65782"/>
                    <a:pt x="150722" y="88580"/>
                  </a:cubicBezTo>
                  <a:lnTo>
                    <a:pt x="148306" y="1010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C719F00E-5A8E-45CC-8F56-B823EE2F6BB7}"/>
                </a:ext>
              </a:extLst>
            </p:cNvPr>
            <p:cNvSpPr/>
            <p:nvPr/>
          </p:nvSpPr>
          <p:spPr>
            <a:xfrm rot="8716295">
              <a:off x="8546573" y="4108588"/>
              <a:ext cx="215176" cy="313567"/>
            </a:xfrm>
            <a:custGeom>
              <a:avLst/>
              <a:gdLst>
                <a:gd name="connsiteX0" fmla="*/ 122760 w 215176"/>
                <a:gd name="connsiteY0" fmla="*/ 266809 h 313567"/>
                <a:gd name="connsiteX1" fmla="*/ 122761 w 215176"/>
                <a:gd name="connsiteY1" fmla="*/ 105519 h 313567"/>
                <a:gd name="connsiteX2" fmla="*/ 122761 w 215176"/>
                <a:gd name="connsiteY2" fmla="*/ 99312 h 313567"/>
                <a:gd name="connsiteX3" fmla="*/ 91726 w 215176"/>
                <a:gd name="connsiteY3" fmla="*/ 75863 h 313567"/>
                <a:gd name="connsiteX4" fmla="*/ 0 w 215176"/>
                <a:gd name="connsiteY4" fmla="*/ 75863 h 313567"/>
                <a:gd name="connsiteX5" fmla="*/ 0 w 215176"/>
                <a:gd name="connsiteY5" fmla="*/ 0 h 313567"/>
                <a:gd name="connsiteX6" fmla="*/ 128968 w 215176"/>
                <a:gd name="connsiteY6" fmla="*/ 0 h 313567"/>
                <a:gd name="connsiteX7" fmla="*/ 215176 w 215176"/>
                <a:gd name="connsiteY7" fmla="*/ 75863 h 313567"/>
                <a:gd name="connsiteX8" fmla="*/ 215176 w 215176"/>
                <a:gd name="connsiteY8" fmla="*/ 313567 h 31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5176" h="313567">
                  <a:moveTo>
                    <a:pt x="122760" y="26680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0"/>
                  </a:lnTo>
                  <a:lnTo>
                    <a:pt x="128968" y="0"/>
                  </a:lnTo>
                  <a:cubicBezTo>
                    <a:pt x="184831" y="0"/>
                    <a:pt x="215177" y="24139"/>
                    <a:pt x="215176" y="75863"/>
                  </a:cubicBezTo>
                  <a:lnTo>
                    <a:pt x="215176" y="3135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25DD9CA0-AFE3-4B5F-B15D-E7FBAF734592}"/>
                </a:ext>
              </a:extLst>
            </p:cNvPr>
            <p:cNvSpPr/>
            <p:nvPr/>
          </p:nvSpPr>
          <p:spPr>
            <a:xfrm rot="8716295">
              <a:off x="8681306" y="4151041"/>
              <a:ext cx="394490" cy="343138"/>
            </a:xfrm>
            <a:custGeom>
              <a:avLst/>
              <a:gdLst>
                <a:gd name="connsiteX0" fmla="*/ 77932 w 394490"/>
                <a:gd name="connsiteY0" fmla="*/ 311621 h 343138"/>
                <a:gd name="connsiteX1" fmla="*/ 77932 w 394490"/>
                <a:gd name="connsiteY1" fmla="*/ 69053 h 343138"/>
                <a:gd name="connsiteX2" fmla="*/ 0 w 394490"/>
                <a:gd name="connsiteY2" fmla="*/ 69054 h 343138"/>
                <a:gd name="connsiteX3" fmla="*/ 0 w 394490"/>
                <a:gd name="connsiteY3" fmla="*/ 2156 h 343138"/>
                <a:gd name="connsiteX4" fmla="*/ 158623 w 394490"/>
                <a:gd name="connsiteY4" fmla="*/ 2157 h 343138"/>
                <a:gd name="connsiteX5" fmla="*/ 158624 w 394490"/>
                <a:gd name="connsiteY5" fmla="*/ 113882 h 343138"/>
                <a:gd name="connsiteX6" fmla="*/ 160692 w 394490"/>
                <a:gd name="connsiteY6" fmla="*/ 113882 h 343138"/>
                <a:gd name="connsiteX7" fmla="*/ 233107 w 394490"/>
                <a:gd name="connsiteY7" fmla="*/ 9053 h 343138"/>
                <a:gd name="connsiteX8" fmla="*/ 280694 w 394490"/>
                <a:gd name="connsiteY8" fmla="*/ 87 h 343138"/>
                <a:gd name="connsiteX9" fmla="*/ 394490 w 394490"/>
                <a:gd name="connsiteY9" fmla="*/ 133882 h 343138"/>
                <a:gd name="connsiteX10" fmla="*/ 394490 w 394490"/>
                <a:gd name="connsiteY10" fmla="*/ 142849 h 343138"/>
                <a:gd name="connsiteX11" fmla="*/ 300694 w 394490"/>
                <a:gd name="connsiteY11" fmla="*/ 148365 h 343138"/>
                <a:gd name="connsiteX12" fmla="*/ 300694 w 394490"/>
                <a:gd name="connsiteY12" fmla="*/ 123538 h 343138"/>
                <a:gd name="connsiteX13" fmla="*/ 249660 w 394490"/>
                <a:gd name="connsiteY13" fmla="*/ 60778 h 343138"/>
                <a:gd name="connsiteX14" fmla="*/ 168969 w 394490"/>
                <a:gd name="connsiteY14" fmla="*/ 193194 h 343138"/>
                <a:gd name="connsiteX15" fmla="*/ 168969 w 394490"/>
                <a:gd name="connsiteY15" fmla="*/ 323541 h 343138"/>
                <a:gd name="connsiteX16" fmla="*/ 140226 w 394490"/>
                <a:gd name="connsiteY16" fmla="*/ 343138 h 343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4490" h="343138">
                  <a:moveTo>
                    <a:pt x="77932" y="311621"/>
                  </a:moveTo>
                  <a:lnTo>
                    <a:pt x="77932" y="69053"/>
                  </a:lnTo>
                  <a:lnTo>
                    <a:pt x="0" y="69054"/>
                  </a:lnTo>
                  <a:lnTo>
                    <a:pt x="0" y="2156"/>
                  </a:lnTo>
                  <a:lnTo>
                    <a:pt x="158623" y="2157"/>
                  </a:lnTo>
                  <a:lnTo>
                    <a:pt x="158624" y="113882"/>
                  </a:lnTo>
                  <a:lnTo>
                    <a:pt x="160692" y="113882"/>
                  </a:lnTo>
                  <a:cubicBezTo>
                    <a:pt x="182762" y="48364"/>
                    <a:pt x="200003" y="22846"/>
                    <a:pt x="233107" y="9053"/>
                  </a:cubicBezTo>
                  <a:cubicBezTo>
                    <a:pt x="248280" y="2846"/>
                    <a:pt x="264142" y="-602"/>
                    <a:pt x="280694" y="87"/>
                  </a:cubicBezTo>
                  <a:cubicBezTo>
                    <a:pt x="351730" y="-1293"/>
                    <a:pt x="394490" y="48364"/>
                    <a:pt x="394490" y="133882"/>
                  </a:cubicBezTo>
                  <a:lnTo>
                    <a:pt x="394490" y="142849"/>
                  </a:lnTo>
                  <a:lnTo>
                    <a:pt x="300694" y="148365"/>
                  </a:lnTo>
                  <a:lnTo>
                    <a:pt x="300694" y="123538"/>
                  </a:lnTo>
                  <a:cubicBezTo>
                    <a:pt x="300695" y="86296"/>
                    <a:pt x="279316" y="60778"/>
                    <a:pt x="249660" y="60778"/>
                  </a:cubicBezTo>
                  <a:cubicBezTo>
                    <a:pt x="205521" y="60778"/>
                    <a:pt x="168968" y="119399"/>
                    <a:pt x="168969" y="193194"/>
                  </a:cubicBezTo>
                  <a:lnTo>
                    <a:pt x="168969" y="323541"/>
                  </a:lnTo>
                  <a:lnTo>
                    <a:pt x="140226" y="3431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24323A32-7D51-45A5-8D91-2223C2D14BC5}"/>
                </a:ext>
              </a:extLst>
            </p:cNvPr>
            <p:cNvSpPr/>
            <p:nvPr/>
          </p:nvSpPr>
          <p:spPr>
            <a:xfrm rot="8716295">
              <a:off x="8646997" y="4143256"/>
              <a:ext cx="121064" cy="89924"/>
            </a:xfrm>
            <a:custGeom>
              <a:avLst/>
              <a:gdLst>
                <a:gd name="connsiteX0" fmla="*/ 0 w 121064"/>
                <a:gd name="connsiteY0" fmla="*/ 39250 h 89924"/>
                <a:gd name="connsiteX1" fmla="*/ 32528 w 121064"/>
                <a:gd name="connsiteY1" fmla="*/ 13621 h 89924"/>
                <a:gd name="connsiteX2" fmla="*/ 78305 w 121064"/>
                <a:gd name="connsiteY2" fmla="*/ 0 h 89924"/>
                <a:gd name="connsiteX3" fmla="*/ 121064 w 121064"/>
                <a:gd name="connsiteY3" fmla="*/ 51035 h 89924"/>
                <a:gd name="connsiteX4" fmla="*/ 108563 w 121064"/>
                <a:gd name="connsiteY4" fmla="*/ 83363 h 89924"/>
                <a:gd name="connsiteX5" fmla="*/ 100159 w 121064"/>
                <a:gd name="connsiteY5" fmla="*/ 89924 h 89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1064" h="89924">
                  <a:moveTo>
                    <a:pt x="0" y="39250"/>
                  </a:moveTo>
                  <a:lnTo>
                    <a:pt x="32528" y="13621"/>
                  </a:lnTo>
                  <a:cubicBezTo>
                    <a:pt x="46580" y="6380"/>
                    <a:pt x="62098" y="1724"/>
                    <a:pt x="78305" y="0"/>
                  </a:cubicBezTo>
                  <a:cubicBezTo>
                    <a:pt x="111409" y="0"/>
                    <a:pt x="121065" y="28966"/>
                    <a:pt x="121064" y="51035"/>
                  </a:cubicBezTo>
                  <a:cubicBezTo>
                    <a:pt x="120030" y="63105"/>
                    <a:pt x="115546" y="74139"/>
                    <a:pt x="108563" y="83363"/>
                  </a:cubicBezTo>
                  <a:lnTo>
                    <a:pt x="100159" y="899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CF24F6A6-E56B-4B69-A6B4-F595B4AECDB5}"/>
                </a:ext>
              </a:extLst>
            </p:cNvPr>
            <p:cNvSpPr/>
            <p:nvPr/>
          </p:nvSpPr>
          <p:spPr>
            <a:xfrm rot="8716295">
              <a:off x="8360649" y="4203945"/>
              <a:ext cx="88105" cy="88278"/>
            </a:xfrm>
            <a:custGeom>
              <a:avLst/>
              <a:gdLst>
                <a:gd name="connsiteX0" fmla="*/ 11702 w 88105"/>
                <a:gd name="connsiteY0" fmla="*/ 72544 h 88278"/>
                <a:gd name="connsiteX1" fmla="*/ 0 w 88105"/>
                <a:gd name="connsiteY1" fmla="*/ 44829 h 88278"/>
                <a:gd name="connsiteX2" fmla="*/ 0 w 88105"/>
                <a:gd name="connsiteY2" fmla="*/ 44139 h 88278"/>
                <a:gd name="connsiteX3" fmla="*/ 13104 w 88105"/>
                <a:gd name="connsiteY3" fmla="*/ 13104 h 88278"/>
                <a:gd name="connsiteX4" fmla="*/ 44139 w 88105"/>
                <a:gd name="connsiteY4" fmla="*/ 0 h 88278"/>
                <a:gd name="connsiteX5" fmla="*/ 75175 w 88105"/>
                <a:gd name="connsiteY5" fmla="*/ 13104 h 88278"/>
                <a:gd name="connsiteX6" fmla="*/ 75175 w 88105"/>
                <a:gd name="connsiteY6" fmla="*/ 75175 h 88278"/>
                <a:gd name="connsiteX7" fmla="*/ 44139 w 88105"/>
                <a:gd name="connsiteY7" fmla="*/ 88278 h 88278"/>
                <a:gd name="connsiteX8" fmla="*/ 37752 w 88105"/>
                <a:gd name="connsiteY8" fmla="*/ 85724 h 88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8105" h="88278">
                  <a:moveTo>
                    <a:pt x="11702" y="72544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cubicBezTo>
                    <a:pt x="55864" y="0"/>
                    <a:pt x="66899" y="4828"/>
                    <a:pt x="75175" y="13104"/>
                  </a:cubicBezTo>
                  <a:cubicBezTo>
                    <a:pt x="92416" y="29657"/>
                    <a:pt x="92416" y="57933"/>
                    <a:pt x="75175" y="75175"/>
                  </a:cubicBezTo>
                  <a:cubicBezTo>
                    <a:pt x="66899" y="83451"/>
                    <a:pt x="55864" y="88278"/>
                    <a:pt x="44139" y="88278"/>
                  </a:cubicBezTo>
                  <a:lnTo>
                    <a:pt x="37752" y="857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823BDB41-A1E6-41AA-847A-64C2D14D0B20}"/>
                </a:ext>
              </a:extLst>
            </p:cNvPr>
            <p:cNvSpPr/>
            <p:nvPr/>
          </p:nvSpPr>
          <p:spPr>
            <a:xfrm rot="8716295">
              <a:off x="8270439" y="4208809"/>
              <a:ext cx="54467" cy="27557"/>
            </a:xfrm>
            <a:custGeom>
              <a:avLst/>
              <a:gdLst>
                <a:gd name="connsiteX0" fmla="*/ 0 w 54467"/>
                <a:gd name="connsiteY0" fmla="*/ 0 h 27557"/>
                <a:gd name="connsiteX1" fmla="*/ 54467 w 54467"/>
                <a:gd name="connsiteY1" fmla="*/ 0 h 27557"/>
                <a:gd name="connsiteX2" fmla="*/ 54467 w 54467"/>
                <a:gd name="connsiteY2" fmla="*/ 27557 h 27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467" h="27557">
                  <a:moveTo>
                    <a:pt x="0" y="0"/>
                  </a:moveTo>
                  <a:lnTo>
                    <a:pt x="54467" y="0"/>
                  </a:lnTo>
                  <a:lnTo>
                    <a:pt x="54467" y="2755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C4D7300C-5B1D-4389-9C36-32D5B08AA75A}"/>
                </a:ext>
              </a:extLst>
            </p:cNvPr>
            <p:cNvSpPr/>
            <p:nvPr/>
          </p:nvSpPr>
          <p:spPr>
            <a:xfrm rot="8716295">
              <a:off x="8503577" y="4269431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A57703A1-63B4-443D-A8D6-A43C23AB9B28}"/>
                </a:ext>
              </a:extLst>
            </p:cNvPr>
            <p:cNvSpPr/>
            <p:nvPr/>
          </p:nvSpPr>
          <p:spPr>
            <a:xfrm rot="8716295">
              <a:off x="8994983" y="4078441"/>
              <a:ext cx="137688" cy="132478"/>
            </a:xfrm>
            <a:custGeom>
              <a:avLst/>
              <a:gdLst>
                <a:gd name="connsiteX0" fmla="*/ 46653 w 137688"/>
                <a:gd name="connsiteY0" fmla="*/ 86420 h 132478"/>
                <a:gd name="connsiteX1" fmla="*/ 46653 w 137688"/>
                <a:gd name="connsiteY1" fmla="*/ 24828 h 132478"/>
                <a:gd name="connsiteX2" fmla="*/ 0 w 137688"/>
                <a:gd name="connsiteY2" fmla="*/ 24828 h 132478"/>
                <a:gd name="connsiteX3" fmla="*/ 15342 w 137688"/>
                <a:gd name="connsiteY3" fmla="*/ 2695 h 132478"/>
                <a:gd name="connsiteX4" fmla="*/ 137688 w 137688"/>
                <a:gd name="connsiteY4" fmla="*/ 0 h 132478"/>
                <a:gd name="connsiteX5" fmla="*/ 137688 w 137688"/>
                <a:gd name="connsiteY5" fmla="*/ 132478 h 132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7688" h="132478">
                  <a:moveTo>
                    <a:pt x="46653" y="86420"/>
                  </a:moveTo>
                  <a:lnTo>
                    <a:pt x="46653" y="24828"/>
                  </a:lnTo>
                  <a:lnTo>
                    <a:pt x="0" y="24828"/>
                  </a:lnTo>
                  <a:lnTo>
                    <a:pt x="15342" y="2695"/>
                  </a:lnTo>
                  <a:lnTo>
                    <a:pt x="137688" y="0"/>
                  </a:lnTo>
                  <a:lnTo>
                    <a:pt x="137688" y="13247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46727CBF-18BC-4939-8F2B-40813E13A972}"/>
                </a:ext>
              </a:extLst>
            </p:cNvPr>
            <p:cNvSpPr/>
            <p:nvPr/>
          </p:nvSpPr>
          <p:spPr>
            <a:xfrm rot="7484129">
              <a:off x="9136824" y="4228704"/>
              <a:ext cx="8392" cy="13068"/>
            </a:xfrm>
            <a:custGeom>
              <a:avLst/>
              <a:gdLst>
                <a:gd name="connsiteX0" fmla="*/ 3897 w 8392"/>
                <a:gd name="connsiteY0" fmla="*/ 13068 h 13068"/>
                <a:gd name="connsiteX1" fmla="*/ 0 w 8392"/>
                <a:gd name="connsiteY1" fmla="*/ 5818 h 13068"/>
                <a:gd name="connsiteX2" fmla="*/ 8392 w 8392"/>
                <a:gd name="connsiteY2" fmla="*/ 0 h 13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2" h="13068">
                  <a:moveTo>
                    <a:pt x="3897" y="13068"/>
                  </a:moveTo>
                  <a:lnTo>
                    <a:pt x="0" y="5818"/>
                  </a:lnTo>
                  <a:lnTo>
                    <a:pt x="839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D9037FA7-ED1D-4D57-8F2C-1298751D415A}"/>
                </a:ext>
              </a:extLst>
            </p:cNvPr>
            <p:cNvSpPr/>
            <p:nvPr/>
          </p:nvSpPr>
          <p:spPr>
            <a:xfrm rot="8716295">
              <a:off x="8839311" y="5117279"/>
              <a:ext cx="37096" cy="40385"/>
            </a:xfrm>
            <a:custGeom>
              <a:avLst/>
              <a:gdLst>
                <a:gd name="connsiteX0" fmla="*/ 37095 w 37096"/>
                <a:gd name="connsiteY0" fmla="*/ 25713 h 40385"/>
                <a:gd name="connsiteX1" fmla="*/ 0 w 37096"/>
                <a:gd name="connsiteY1" fmla="*/ 0 h 40385"/>
                <a:gd name="connsiteX2" fmla="*/ 0 w 37096"/>
                <a:gd name="connsiteY2" fmla="*/ 0 h 40385"/>
                <a:gd name="connsiteX3" fmla="*/ 37096 w 37096"/>
                <a:gd name="connsiteY3" fmla="*/ 25713 h 40385"/>
                <a:gd name="connsiteX4" fmla="*/ 0 w 37096"/>
                <a:gd name="connsiteY4" fmla="*/ 40385 h 40385"/>
                <a:gd name="connsiteX5" fmla="*/ 0 w 37096"/>
                <a:gd name="connsiteY5" fmla="*/ 28525 h 40385"/>
                <a:gd name="connsiteX6" fmla="*/ 9740 w 37096"/>
                <a:gd name="connsiteY6" fmla="*/ 36533 h 40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096" h="40385">
                  <a:moveTo>
                    <a:pt x="37095" y="25713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37096" y="25713"/>
                  </a:lnTo>
                  <a:close/>
                  <a:moveTo>
                    <a:pt x="0" y="40385"/>
                  </a:moveTo>
                  <a:lnTo>
                    <a:pt x="0" y="28525"/>
                  </a:lnTo>
                  <a:lnTo>
                    <a:pt x="9740" y="365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7762AEC2-4809-4723-B4B8-AD709205FF29}"/>
                </a:ext>
              </a:extLst>
            </p:cNvPr>
            <p:cNvSpPr/>
            <p:nvPr/>
          </p:nvSpPr>
          <p:spPr>
            <a:xfrm rot="8716295">
              <a:off x="8967255" y="4971567"/>
              <a:ext cx="231347" cy="158649"/>
            </a:xfrm>
            <a:custGeom>
              <a:avLst/>
              <a:gdLst>
                <a:gd name="connsiteX0" fmla="*/ 8965 w 231347"/>
                <a:gd name="connsiteY0" fmla="*/ 158649 h 158649"/>
                <a:gd name="connsiteX1" fmla="*/ 0 w 231347"/>
                <a:gd name="connsiteY1" fmla="*/ 146235 h 158649"/>
                <a:gd name="connsiteX2" fmla="*/ 155416 w 231347"/>
                <a:gd name="connsiteY2" fmla="*/ 0 h 158649"/>
                <a:gd name="connsiteX3" fmla="*/ 231347 w 231347"/>
                <a:gd name="connsiteY3" fmla="*/ 62433 h 158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347" h="158649">
                  <a:moveTo>
                    <a:pt x="8965" y="158649"/>
                  </a:moveTo>
                  <a:lnTo>
                    <a:pt x="0" y="146235"/>
                  </a:lnTo>
                  <a:lnTo>
                    <a:pt x="155416" y="0"/>
                  </a:lnTo>
                  <a:lnTo>
                    <a:pt x="231347" y="624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45E00815-1C71-4483-8D7E-4D817A5C21EF}"/>
                </a:ext>
              </a:extLst>
            </p:cNvPr>
            <p:cNvSpPr/>
            <p:nvPr/>
          </p:nvSpPr>
          <p:spPr>
            <a:xfrm rot="8716295">
              <a:off x="8555937" y="4871188"/>
              <a:ext cx="249519" cy="296463"/>
            </a:xfrm>
            <a:custGeom>
              <a:avLst/>
              <a:gdLst>
                <a:gd name="connsiteX0" fmla="*/ 249516 w 249519"/>
                <a:gd name="connsiteY0" fmla="*/ 83734 h 296463"/>
                <a:gd name="connsiteX1" fmla="*/ 128718 w 249519"/>
                <a:gd name="connsiteY1" fmla="*/ 0 h 296463"/>
                <a:gd name="connsiteX2" fmla="*/ 128719 w 249519"/>
                <a:gd name="connsiteY2" fmla="*/ 0 h 296463"/>
                <a:gd name="connsiteX3" fmla="*/ 249519 w 249519"/>
                <a:gd name="connsiteY3" fmla="*/ 83734 h 296463"/>
                <a:gd name="connsiteX4" fmla="*/ 137293 w 249519"/>
                <a:gd name="connsiteY4" fmla="*/ 296463 h 296463"/>
                <a:gd name="connsiteX5" fmla="*/ 72418 w 249519"/>
                <a:gd name="connsiteY5" fmla="*/ 175766 h 296463"/>
                <a:gd name="connsiteX6" fmla="*/ 105610 w 249519"/>
                <a:gd name="connsiteY6" fmla="*/ 83734 h 296463"/>
                <a:gd name="connsiteX7" fmla="*/ 0 w 249519"/>
                <a:gd name="connsiteY7" fmla="*/ 83734 h 296463"/>
                <a:gd name="connsiteX8" fmla="*/ 0 w 249519"/>
                <a:gd name="connsiteY8" fmla="*/ 0 h 296463"/>
                <a:gd name="connsiteX9" fmla="*/ 78196 w 249519"/>
                <a:gd name="connsiteY9" fmla="*/ 0 h 296463"/>
                <a:gd name="connsiteX10" fmla="*/ 203756 w 249519"/>
                <a:gd name="connsiteY10" fmla="*/ 103239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519" h="296463">
                  <a:moveTo>
                    <a:pt x="249516" y="83734"/>
                  </a:moveTo>
                  <a:lnTo>
                    <a:pt x="128718" y="0"/>
                  </a:lnTo>
                  <a:lnTo>
                    <a:pt x="128719" y="0"/>
                  </a:lnTo>
                  <a:lnTo>
                    <a:pt x="249519" y="83734"/>
                  </a:lnTo>
                  <a:close/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78196" y="0"/>
                  </a:lnTo>
                  <a:lnTo>
                    <a:pt x="203756" y="1032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58E38A6F-A61D-44CF-B900-AC3229C6053D}"/>
                </a:ext>
              </a:extLst>
            </p:cNvPr>
            <p:cNvSpPr/>
            <p:nvPr/>
          </p:nvSpPr>
          <p:spPr>
            <a:xfrm rot="8716295">
              <a:off x="9124182" y="4842281"/>
              <a:ext cx="37059" cy="48941"/>
            </a:xfrm>
            <a:custGeom>
              <a:avLst/>
              <a:gdLst>
                <a:gd name="connsiteX0" fmla="*/ 0 w 37059"/>
                <a:gd name="connsiteY0" fmla="*/ 48941 h 48941"/>
                <a:gd name="connsiteX1" fmla="*/ 33925 w 37059"/>
                <a:gd name="connsiteY1" fmla="*/ 0 h 48941"/>
                <a:gd name="connsiteX2" fmla="*/ 37059 w 37059"/>
                <a:gd name="connsiteY2" fmla="*/ 7460 h 48941"/>
                <a:gd name="connsiteX3" fmla="*/ 24128 w 37059"/>
                <a:gd name="connsiteY3" fmla="*/ 38754 h 48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059" h="48941">
                  <a:moveTo>
                    <a:pt x="0" y="48941"/>
                  </a:moveTo>
                  <a:lnTo>
                    <a:pt x="33925" y="0"/>
                  </a:lnTo>
                  <a:lnTo>
                    <a:pt x="37059" y="7460"/>
                  </a:lnTo>
                  <a:cubicBezTo>
                    <a:pt x="37059" y="18753"/>
                    <a:pt x="32749" y="30133"/>
                    <a:pt x="24128" y="3875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0438BEFE-52E9-475C-AF5B-D887CDB606B3}"/>
                </a:ext>
              </a:extLst>
            </p:cNvPr>
            <p:cNvSpPr/>
            <p:nvPr/>
          </p:nvSpPr>
          <p:spPr>
            <a:xfrm rot="8716295">
              <a:off x="8946271" y="4530250"/>
              <a:ext cx="235267" cy="296463"/>
            </a:xfrm>
            <a:custGeom>
              <a:avLst/>
              <a:gdLst>
                <a:gd name="connsiteX0" fmla="*/ 64028 w 235267"/>
                <a:gd name="connsiteY0" fmla="*/ 296463 h 296463"/>
                <a:gd name="connsiteX1" fmla="*/ 0 w 235267"/>
                <a:gd name="connsiteY1" fmla="*/ 177341 h 296463"/>
                <a:gd name="connsiteX2" fmla="*/ 122928 w 235267"/>
                <a:gd name="connsiteY2" fmla="*/ 0 h 296463"/>
                <a:gd name="connsiteX3" fmla="*/ 235266 w 235267"/>
                <a:gd name="connsiteY3" fmla="*/ 0 h 296463"/>
                <a:gd name="connsiteX4" fmla="*/ 235267 w 235267"/>
                <a:gd name="connsiteY4" fmla="*/ 83734 h 296463"/>
                <a:gd name="connsiteX5" fmla="*/ 137200 w 235267"/>
                <a:gd name="connsiteY5" fmla="*/ 83735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5267" h="296463">
                  <a:moveTo>
                    <a:pt x="64028" y="296463"/>
                  </a:moveTo>
                  <a:lnTo>
                    <a:pt x="0" y="177341"/>
                  </a:lnTo>
                  <a:lnTo>
                    <a:pt x="122928" y="0"/>
                  </a:lnTo>
                  <a:lnTo>
                    <a:pt x="235266" y="0"/>
                  </a:lnTo>
                  <a:lnTo>
                    <a:pt x="235267" y="83734"/>
                  </a:lnTo>
                  <a:lnTo>
                    <a:pt x="137200" y="837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D3F9B5D8-06D4-4B43-BC6C-7C19EABDD1C4}"/>
                </a:ext>
              </a:extLst>
            </p:cNvPr>
            <p:cNvSpPr/>
            <p:nvPr/>
          </p:nvSpPr>
          <p:spPr>
            <a:xfrm rot="8716295">
              <a:off x="8906661" y="466090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71905357-F1DF-411B-B59B-0F032583384E}"/>
                </a:ext>
              </a:extLst>
            </p:cNvPr>
            <p:cNvSpPr/>
            <p:nvPr/>
          </p:nvSpPr>
          <p:spPr>
            <a:xfrm rot="13089394">
              <a:off x="7765620" y="4253518"/>
              <a:ext cx="72828" cy="75543"/>
            </a:xfrm>
            <a:custGeom>
              <a:avLst/>
              <a:gdLst>
                <a:gd name="connsiteX0" fmla="*/ 0 w 72828"/>
                <a:gd name="connsiteY0" fmla="*/ 75543 h 75543"/>
                <a:gd name="connsiteX1" fmla="*/ 0 w 72828"/>
                <a:gd name="connsiteY1" fmla="*/ 37783 h 75543"/>
                <a:gd name="connsiteX2" fmla="*/ 72828 w 72828"/>
                <a:gd name="connsiteY2" fmla="*/ 0 h 7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828" h="75543">
                  <a:moveTo>
                    <a:pt x="0" y="75543"/>
                  </a:moveTo>
                  <a:lnTo>
                    <a:pt x="0" y="37783"/>
                  </a:lnTo>
                  <a:lnTo>
                    <a:pt x="7282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9CC70003-388A-4ED2-9C78-B5584C3B43A2}"/>
                </a:ext>
              </a:extLst>
            </p:cNvPr>
            <p:cNvSpPr/>
            <p:nvPr/>
          </p:nvSpPr>
          <p:spPr>
            <a:xfrm rot="8716295">
              <a:off x="7196646" y="4735107"/>
              <a:ext cx="215177" cy="351729"/>
            </a:xfrm>
            <a:custGeom>
              <a:avLst/>
              <a:gdLst>
                <a:gd name="connsiteX0" fmla="*/ 122761 w 215177"/>
                <a:gd name="connsiteY0" fmla="*/ 351729 h 351729"/>
                <a:gd name="connsiteX1" fmla="*/ 122761 w 215177"/>
                <a:gd name="connsiteY1" fmla="*/ 105519 h 351729"/>
                <a:gd name="connsiteX2" fmla="*/ 122761 w 215177"/>
                <a:gd name="connsiteY2" fmla="*/ 99312 h 351729"/>
                <a:gd name="connsiteX3" fmla="*/ 91726 w 215177"/>
                <a:gd name="connsiteY3" fmla="*/ 75863 h 351729"/>
                <a:gd name="connsiteX4" fmla="*/ 0 w 215177"/>
                <a:gd name="connsiteY4" fmla="*/ 75863 h 351729"/>
                <a:gd name="connsiteX5" fmla="*/ 0 w 215177"/>
                <a:gd name="connsiteY5" fmla="*/ 0 h 351729"/>
                <a:gd name="connsiteX6" fmla="*/ 20033 w 215177"/>
                <a:gd name="connsiteY6" fmla="*/ 0 h 351729"/>
                <a:gd name="connsiteX7" fmla="*/ 215177 w 215177"/>
                <a:gd name="connsiteY7" fmla="*/ 160452 h 351729"/>
                <a:gd name="connsiteX8" fmla="*/ 215176 w 215177"/>
                <a:gd name="connsiteY8" fmla="*/ 315177 h 351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5177" h="351729">
                  <a:moveTo>
                    <a:pt x="122761" y="35172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0"/>
                  </a:lnTo>
                  <a:lnTo>
                    <a:pt x="20033" y="0"/>
                  </a:lnTo>
                  <a:lnTo>
                    <a:pt x="215177" y="160452"/>
                  </a:lnTo>
                  <a:lnTo>
                    <a:pt x="215176" y="3151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E46A29A2-07B5-4D69-A57A-B7E84F78585B}"/>
                </a:ext>
              </a:extLst>
            </p:cNvPr>
            <p:cNvSpPr/>
            <p:nvPr/>
          </p:nvSpPr>
          <p:spPr>
            <a:xfrm rot="8716295">
              <a:off x="7519762" y="4714342"/>
              <a:ext cx="185667" cy="383455"/>
            </a:xfrm>
            <a:custGeom>
              <a:avLst/>
              <a:gdLst>
                <a:gd name="connsiteX0" fmla="*/ 77932 w 185667"/>
                <a:gd name="connsiteY0" fmla="*/ 383455 h 383455"/>
                <a:gd name="connsiteX1" fmla="*/ 77932 w 185667"/>
                <a:gd name="connsiteY1" fmla="*/ 66898 h 383455"/>
                <a:gd name="connsiteX2" fmla="*/ 0 w 185667"/>
                <a:gd name="connsiteY2" fmla="*/ 66898 h 383455"/>
                <a:gd name="connsiteX3" fmla="*/ 0 w 185667"/>
                <a:gd name="connsiteY3" fmla="*/ 0 h 383455"/>
                <a:gd name="connsiteX4" fmla="*/ 33456 w 185667"/>
                <a:gd name="connsiteY4" fmla="*/ 0 h 383455"/>
                <a:gd name="connsiteX5" fmla="*/ 158623 w 185667"/>
                <a:gd name="connsiteY5" fmla="*/ 102916 h 383455"/>
                <a:gd name="connsiteX6" fmla="*/ 158623 w 185667"/>
                <a:gd name="connsiteY6" fmla="*/ 111726 h 383455"/>
                <a:gd name="connsiteX7" fmla="*/ 160692 w 185667"/>
                <a:gd name="connsiteY7" fmla="*/ 111726 h 383455"/>
                <a:gd name="connsiteX8" fmla="*/ 162749 w 185667"/>
                <a:gd name="connsiteY8" fmla="*/ 106308 h 383455"/>
                <a:gd name="connsiteX9" fmla="*/ 185667 w 185667"/>
                <a:gd name="connsiteY9" fmla="*/ 125152 h 383455"/>
                <a:gd name="connsiteX10" fmla="*/ 168969 w 185667"/>
                <a:gd name="connsiteY10" fmla="*/ 191038 h 383455"/>
                <a:gd name="connsiteX11" fmla="*/ 168969 w 185667"/>
                <a:gd name="connsiteY11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5667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33456" y="0"/>
                  </a:lnTo>
                  <a:lnTo>
                    <a:pt x="158623" y="102916"/>
                  </a:lnTo>
                  <a:lnTo>
                    <a:pt x="158623" y="111726"/>
                  </a:lnTo>
                  <a:lnTo>
                    <a:pt x="160692" y="111726"/>
                  </a:lnTo>
                  <a:lnTo>
                    <a:pt x="162749" y="106308"/>
                  </a:lnTo>
                  <a:lnTo>
                    <a:pt x="185667" y="125152"/>
                  </a:lnTo>
                  <a:lnTo>
                    <a:pt x="168969" y="191038"/>
                  </a:ln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BB2B590A-BBED-49DF-BE0A-D7CDB8C7EA53}"/>
                </a:ext>
              </a:extLst>
            </p:cNvPr>
            <p:cNvSpPr/>
            <p:nvPr/>
          </p:nvSpPr>
          <p:spPr>
            <a:xfrm rot="8716295">
              <a:off x="7265319" y="4648384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7838B053-EE23-465E-B80C-0FDB953D8E9F}"/>
                </a:ext>
              </a:extLst>
            </p:cNvPr>
            <p:cNvSpPr/>
            <p:nvPr/>
          </p:nvSpPr>
          <p:spPr>
            <a:xfrm rot="8716295">
              <a:off x="7028032" y="486872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46F2EA92-FAA0-4CBD-8D20-0B7AF9B36906}"/>
                </a:ext>
              </a:extLst>
            </p:cNvPr>
            <p:cNvSpPr/>
            <p:nvPr/>
          </p:nvSpPr>
          <p:spPr>
            <a:xfrm rot="8716295">
              <a:off x="6838986" y="455289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C33E7506-2F8D-4DC7-82BD-DA6D9CD10C11}"/>
                </a:ext>
              </a:extLst>
            </p:cNvPr>
            <p:cNvSpPr/>
            <p:nvPr/>
          </p:nvSpPr>
          <p:spPr>
            <a:xfrm rot="8716295">
              <a:off x="6821466" y="4356542"/>
              <a:ext cx="439901" cy="511464"/>
            </a:xfrm>
            <a:custGeom>
              <a:avLst/>
              <a:gdLst>
                <a:gd name="connsiteX0" fmla="*/ 1873 w 439901"/>
                <a:gd name="connsiteY0" fmla="*/ 384681 h 511464"/>
                <a:gd name="connsiteX1" fmla="*/ 1725 w 439901"/>
                <a:gd name="connsiteY1" fmla="*/ 383648 h 511464"/>
                <a:gd name="connsiteX2" fmla="*/ 0 w 439901"/>
                <a:gd name="connsiteY2" fmla="*/ 333043 h 511464"/>
                <a:gd name="connsiteX3" fmla="*/ 0 w 439901"/>
                <a:gd name="connsiteY3" fmla="*/ 61444 h 511464"/>
                <a:gd name="connsiteX4" fmla="*/ 118434 w 439901"/>
                <a:gd name="connsiteY4" fmla="*/ 0 h 511464"/>
                <a:gd name="connsiteX5" fmla="*/ 120216 w 439901"/>
                <a:gd name="connsiteY5" fmla="*/ 248447 h 511464"/>
                <a:gd name="connsiteX6" fmla="*/ 141587 w 439901"/>
                <a:gd name="connsiteY6" fmla="*/ 396268 h 511464"/>
                <a:gd name="connsiteX7" fmla="*/ 248446 w 439901"/>
                <a:gd name="connsiteY7" fmla="*/ 455041 h 511464"/>
                <a:gd name="connsiteX8" fmla="*/ 328590 w 439901"/>
                <a:gd name="connsiteY8" fmla="*/ 440793 h 511464"/>
                <a:gd name="connsiteX9" fmla="*/ 438120 w 439901"/>
                <a:gd name="connsiteY9" fmla="*/ 396268 h 511464"/>
                <a:gd name="connsiteX10" fmla="*/ 439901 w 439901"/>
                <a:gd name="connsiteY10" fmla="*/ 407844 h 511464"/>
                <a:gd name="connsiteX11" fmla="*/ 439901 w 439901"/>
                <a:gd name="connsiteY11" fmla="*/ 416749 h 511464"/>
                <a:gd name="connsiteX12" fmla="*/ 286180 w 439901"/>
                <a:gd name="connsiteY12" fmla="*/ 502459 h 511464"/>
                <a:gd name="connsiteX13" fmla="*/ 252462 w 439901"/>
                <a:gd name="connsiteY13" fmla="*/ 511464 h 511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9901" h="511464">
                  <a:moveTo>
                    <a:pt x="1873" y="384681"/>
                  </a:moveTo>
                  <a:lnTo>
                    <a:pt x="1725" y="383648"/>
                  </a:lnTo>
                  <a:cubicBezTo>
                    <a:pt x="501" y="368162"/>
                    <a:pt x="0" y="351298"/>
                    <a:pt x="0" y="333043"/>
                  </a:cubicBezTo>
                  <a:lnTo>
                    <a:pt x="0" y="61444"/>
                  </a:lnTo>
                  <a:lnTo>
                    <a:pt x="118434" y="0"/>
                  </a:lnTo>
                  <a:lnTo>
                    <a:pt x="120216" y="248447"/>
                  </a:lnTo>
                  <a:cubicBezTo>
                    <a:pt x="117545" y="298315"/>
                    <a:pt x="125558" y="349072"/>
                    <a:pt x="141587" y="396268"/>
                  </a:cubicBezTo>
                  <a:cubicBezTo>
                    <a:pt x="155836" y="435450"/>
                    <a:pt x="192346" y="455041"/>
                    <a:pt x="248446" y="455041"/>
                  </a:cubicBezTo>
                  <a:cubicBezTo>
                    <a:pt x="276051" y="454150"/>
                    <a:pt x="302766" y="448807"/>
                    <a:pt x="328590" y="440793"/>
                  </a:cubicBezTo>
                  <a:cubicBezTo>
                    <a:pt x="365990" y="429216"/>
                    <a:pt x="402501" y="414078"/>
                    <a:pt x="438120" y="396268"/>
                  </a:cubicBezTo>
                  <a:cubicBezTo>
                    <a:pt x="439010" y="399830"/>
                    <a:pt x="439901" y="404282"/>
                    <a:pt x="439901" y="407844"/>
                  </a:cubicBezTo>
                  <a:lnTo>
                    <a:pt x="439901" y="416749"/>
                  </a:lnTo>
                  <a:cubicBezTo>
                    <a:pt x="392705" y="457267"/>
                    <a:pt x="338163" y="484649"/>
                    <a:pt x="286180" y="502459"/>
                  </a:cubicBezTo>
                  <a:lnTo>
                    <a:pt x="252462" y="5114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F0039EE6-19E5-4457-84A9-3D50560FF71B}"/>
                </a:ext>
              </a:extLst>
            </p:cNvPr>
            <p:cNvSpPr/>
            <p:nvPr/>
          </p:nvSpPr>
          <p:spPr>
            <a:xfrm rot="8716295">
              <a:off x="7635467" y="435609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62946C15-BE3C-45DF-BB3D-128249E4D1A5}"/>
                </a:ext>
              </a:extLst>
            </p:cNvPr>
            <p:cNvSpPr/>
            <p:nvPr/>
          </p:nvSpPr>
          <p:spPr>
            <a:xfrm rot="8716295">
              <a:off x="7770766" y="440035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3C27B629-4EE2-46C6-9535-F5382300825F}"/>
                </a:ext>
              </a:extLst>
            </p:cNvPr>
            <p:cNvSpPr/>
            <p:nvPr/>
          </p:nvSpPr>
          <p:spPr>
            <a:xfrm rot="8716295">
              <a:off x="7465596" y="44901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6592736C-E2B7-4AAA-9132-CE6867AFB7E6}"/>
                </a:ext>
              </a:extLst>
            </p:cNvPr>
            <p:cNvSpPr/>
            <p:nvPr/>
          </p:nvSpPr>
          <p:spPr>
            <a:xfrm rot="8716295">
              <a:off x="7313509" y="4314181"/>
              <a:ext cx="308532" cy="142740"/>
            </a:xfrm>
            <a:custGeom>
              <a:avLst/>
              <a:gdLst>
                <a:gd name="connsiteX0" fmla="*/ 0 w 308532"/>
                <a:gd name="connsiteY0" fmla="*/ 46525 h 142740"/>
                <a:gd name="connsiteX1" fmla="*/ 0 w 308532"/>
                <a:gd name="connsiteY1" fmla="*/ 0 h 142740"/>
                <a:gd name="connsiteX2" fmla="*/ 308532 w 308532"/>
                <a:gd name="connsiteY2" fmla="*/ 0 h 142740"/>
                <a:gd name="connsiteX3" fmla="*/ 308532 w 308532"/>
                <a:gd name="connsiteY3" fmla="*/ 83734 h 142740"/>
                <a:gd name="connsiteX4" fmla="*/ 210465 w 308532"/>
                <a:gd name="connsiteY4" fmla="*/ 83734 h 142740"/>
                <a:gd name="connsiteX5" fmla="*/ 190169 w 308532"/>
                <a:gd name="connsiteY5" fmla="*/ 142740 h 142740"/>
                <a:gd name="connsiteX6" fmla="*/ 100662 w 308532"/>
                <a:gd name="connsiteY6" fmla="*/ 97454 h 142740"/>
                <a:gd name="connsiteX7" fmla="*/ 105610 w 308532"/>
                <a:gd name="connsiteY7" fmla="*/ 83734 h 142740"/>
                <a:gd name="connsiteX8" fmla="*/ 73544 w 308532"/>
                <a:gd name="connsiteY8" fmla="*/ 83734 h 142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532" h="142740">
                  <a:moveTo>
                    <a:pt x="0" y="46525"/>
                  </a:moveTo>
                  <a:lnTo>
                    <a:pt x="0" y="0"/>
                  </a:lnTo>
                  <a:lnTo>
                    <a:pt x="308532" y="0"/>
                  </a:lnTo>
                  <a:lnTo>
                    <a:pt x="308532" y="83734"/>
                  </a:lnTo>
                  <a:lnTo>
                    <a:pt x="210465" y="83734"/>
                  </a:lnTo>
                  <a:lnTo>
                    <a:pt x="190169" y="142740"/>
                  </a:lnTo>
                  <a:lnTo>
                    <a:pt x="100662" y="97454"/>
                  </a:lnTo>
                  <a:lnTo>
                    <a:pt x="105610" y="83734"/>
                  </a:lnTo>
                  <a:lnTo>
                    <a:pt x="73544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39B2926A-51C6-4DDF-86D8-072C96B838B0}"/>
                </a:ext>
              </a:extLst>
            </p:cNvPr>
            <p:cNvSpPr/>
            <p:nvPr/>
          </p:nvSpPr>
          <p:spPr>
            <a:xfrm rot="8716295">
              <a:off x="7602084" y="4552096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A5226D1B-39C8-4DB7-A39D-DE8AE96085BA}"/>
                </a:ext>
              </a:extLst>
            </p:cNvPr>
            <p:cNvSpPr/>
            <p:nvPr/>
          </p:nvSpPr>
          <p:spPr>
            <a:xfrm rot="8716295">
              <a:off x="7233779" y="4339176"/>
              <a:ext cx="112931" cy="98229"/>
            </a:xfrm>
            <a:custGeom>
              <a:avLst/>
              <a:gdLst>
                <a:gd name="connsiteX0" fmla="*/ 0 w 112931"/>
                <a:gd name="connsiteY0" fmla="*/ 49475 h 98229"/>
                <a:gd name="connsiteX1" fmla="*/ 13559 w 112931"/>
                <a:gd name="connsiteY1" fmla="*/ 17362 h 98229"/>
                <a:gd name="connsiteX2" fmla="*/ 54678 w 112931"/>
                <a:gd name="connsiteY2" fmla="*/ 0 h 98229"/>
                <a:gd name="connsiteX3" fmla="*/ 95798 w 112931"/>
                <a:gd name="connsiteY3" fmla="*/ 17362 h 98229"/>
                <a:gd name="connsiteX4" fmla="*/ 112931 w 112931"/>
                <a:gd name="connsiteY4" fmla="*/ 58139 h 98229"/>
                <a:gd name="connsiteX5" fmla="*/ 96365 w 112931"/>
                <a:gd name="connsiteY5" fmla="*/ 98229 h 98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931" h="98229">
                  <a:moveTo>
                    <a:pt x="0" y="49475"/>
                  </a:moveTo>
                  <a:lnTo>
                    <a:pt x="13559" y="17362"/>
                  </a:lnTo>
                  <a:cubicBezTo>
                    <a:pt x="24524" y="6397"/>
                    <a:pt x="39145" y="0"/>
                    <a:pt x="54678" y="0"/>
                  </a:cubicBezTo>
                  <a:cubicBezTo>
                    <a:pt x="70213" y="0"/>
                    <a:pt x="84833" y="6397"/>
                    <a:pt x="95798" y="17362"/>
                  </a:cubicBezTo>
                  <a:cubicBezTo>
                    <a:pt x="107220" y="28327"/>
                    <a:pt x="112931" y="43176"/>
                    <a:pt x="112931" y="58139"/>
                  </a:cubicBezTo>
                  <a:lnTo>
                    <a:pt x="96365" y="9822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B8D891A1-7C58-4828-B849-358D4D72EA90}"/>
                </a:ext>
              </a:extLst>
            </p:cNvPr>
            <p:cNvSpPr/>
            <p:nvPr/>
          </p:nvSpPr>
          <p:spPr>
            <a:xfrm rot="7484129">
              <a:off x="7765134" y="4837237"/>
              <a:ext cx="295167" cy="296463"/>
            </a:xfrm>
            <a:custGeom>
              <a:avLst/>
              <a:gdLst>
                <a:gd name="connsiteX0" fmla="*/ 295165 w 295167"/>
                <a:gd name="connsiteY0" fmla="*/ 83734 h 296463"/>
                <a:gd name="connsiteX1" fmla="*/ 237109 w 295167"/>
                <a:gd name="connsiteY1" fmla="*/ 0 h 296463"/>
                <a:gd name="connsiteX2" fmla="*/ 237110 w 295167"/>
                <a:gd name="connsiteY2" fmla="*/ 0 h 296463"/>
                <a:gd name="connsiteX3" fmla="*/ 295167 w 295167"/>
                <a:gd name="connsiteY3" fmla="*/ 83734 h 296463"/>
                <a:gd name="connsiteX4" fmla="*/ 137293 w 295167"/>
                <a:gd name="connsiteY4" fmla="*/ 296463 h 296463"/>
                <a:gd name="connsiteX5" fmla="*/ 72418 w 295167"/>
                <a:gd name="connsiteY5" fmla="*/ 175766 h 296463"/>
                <a:gd name="connsiteX6" fmla="*/ 105610 w 295167"/>
                <a:gd name="connsiteY6" fmla="*/ 83734 h 296463"/>
                <a:gd name="connsiteX7" fmla="*/ 0 w 295167"/>
                <a:gd name="connsiteY7" fmla="*/ 83734 h 296463"/>
                <a:gd name="connsiteX8" fmla="*/ 0 w 295167"/>
                <a:gd name="connsiteY8" fmla="*/ 0 h 296463"/>
                <a:gd name="connsiteX9" fmla="*/ 126381 w 295167"/>
                <a:gd name="connsiteY9" fmla="*/ 0 h 296463"/>
                <a:gd name="connsiteX10" fmla="*/ 197160 w 295167"/>
                <a:gd name="connsiteY10" fmla="*/ 122416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5167" h="296463">
                  <a:moveTo>
                    <a:pt x="295165" y="83734"/>
                  </a:moveTo>
                  <a:lnTo>
                    <a:pt x="237109" y="0"/>
                  </a:lnTo>
                  <a:lnTo>
                    <a:pt x="237110" y="0"/>
                  </a:lnTo>
                  <a:lnTo>
                    <a:pt x="295167" y="83734"/>
                  </a:lnTo>
                  <a:close/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126381" y="0"/>
                  </a:lnTo>
                  <a:lnTo>
                    <a:pt x="197160" y="1224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527B4309-024C-4B07-A449-12F7536748C5}"/>
                </a:ext>
              </a:extLst>
            </p:cNvPr>
            <p:cNvSpPr/>
            <p:nvPr/>
          </p:nvSpPr>
          <p:spPr>
            <a:xfrm rot="13089394">
              <a:off x="8005038" y="4814171"/>
              <a:ext cx="409104" cy="218063"/>
            </a:xfrm>
            <a:custGeom>
              <a:avLst/>
              <a:gdLst>
                <a:gd name="connsiteX0" fmla="*/ 409104 w 409104"/>
                <a:gd name="connsiteY0" fmla="*/ 110916 h 218063"/>
                <a:gd name="connsiteX1" fmla="*/ 135172 w 409104"/>
                <a:gd name="connsiteY1" fmla="*/ 217816 h 218063"/>
                <a:gd name="connsiteX2" fmla="*/ 32447 w 409104"/>
                <a:gd name="connsiteY2" fmla="*/ 176058 h 218063"/>
                <a:gd name="connsiteX3" fmla="*/ 3843 w 409104"/>
                <a:gd name="connsiteY3" fmla="*/ 119581 h 218063"/>
                <a:gd name="connsiteX4" fmla="*/ 0 w 409104"/>
                <a:gd name="connsiteY4" fmla="*/ 73735 h 218063"/>
                <a:gd name="connsiteX5" fmla="*/ 111583 w 409104"/>
                <a:gd name="connsiteY5" fmla="*/ 0 h 218063"/>
                <a:gd name="connsiteX6" fmla="*/ 112727 w 409104"/>
                <a:gd name="connsiteY6" fmla="*/ 23329 h 218063"/>
                <a:gd name="connsiteX7" fmla="*/ 129325 w 409104"/>
                <a:gd name="connsiteY7" fmla="*/ 91708 h 218063"/>
                <a:gd name="connsiteX8" fmla="*/ 229544 w 409104"/>
                <a:gd name="connsiteY8" fmla="*/ 146828 h 218063"/>
                <a:gd name="connsiteX9" fmla="*/ 304708 w 409104"/>
                <a:gd name="connsiteY9" fmla="*/ 133466 h 218063"/>
                <a:gd name="connsiteX10" fmla="*/ 407434 w 409104"/>
                <a:gd name="connsiteY10" fmla="*/ 91708 h 218063"/>
                <a:gd name="connsiteX11" fmla="*/ 409104 w 409104"/>
                <a:gd name="connsiteY11" fmla="*/ 102564 h 218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9104" h="218063">
                  <a:moveTo>
                    <a:pt x="409104" y="110916"/>
                  </a:moveTo>
                  <a:cubicBezTo>
                    <a:pt x="320577" y="186915"/>
                    <a:pt x="204490" y="213641"/>
                    <a:pt x="135172" y="217816"/>
                  </a:cubicBezTo>
                  <a:cubicBezTo>
                    <a:pt x="96755" y="220322"/>
                    <a:pt x="59173" y="203619"/>
                    <a:pt x="32447" y="176058"/>
                  </a:cubicBezTo>
                  <a:cubicBezTo>
                    <a:pt x="18249" y="162278"/>
                    <a:pt x="9272" y="143487"/>
                    <a:pt x="3843" y="119581"/>
                  </a:cubicBezTo>
                  <a:lnTo>
                    <a:pt x="0" y="73735"/>
                  </a:lnTo>
                  <a:lnTo>
                    <a:pt x="111583" y="0"/>
                  </a:lnTo>
                  <a:lnTo>
                    <a:pt x="112727" y="23329"/>
                  </a:lnTo>
                  <a:cubicBezTo>
                    <a:pt x="116171" y="46609"/>
                    <a:pt x="121808" y="69576"/>
                    <a:pt x="129325" y="91708"/>
                  </a:cubicBezTo>
                  <a:cubicBezTo>
                    <a:pt x="142689" y="128454"/>
                    <a:pt x="176930" y="146828"/>
                    <a:pt x="229544" y="146828"/>
                  </a:cubicBezTo>
                  <a:cubicBezTo>
                    <a:pt x="255435" y="145993"/>
                    <a:pt x="280489" y="140981"/>
                    <a:pt x="304708" y="133466"/>
                  </a:cubicBezTo>
                  <a:cubicBezTo>
                    <a:pt x="339785" y="122608"/>
                    <a:pt x="374027" y="108411"/>
                    <a:pt x="407434" y="91708"/>
                  </a:cubicBezTo>
                  <a:cubicBezTo>
                    <a:pt x="408268" y="95048"/>
                    <a:pt x="409104" y="99224"/>
                    <a:pt x="409104" y="10256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A6665952-BEBA-4083-8857-192589F92F66}"/>
                </a:ext>
              </a:extLst>
            </p:cNvPr>
            <p:cNvSpPr/>
            <p:nvPr/>
          </p:nvSpPr>
          <p:spPr>
            <a:xfrm rot="8716295">
              <a:off x="8200443" y="4500944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48E8912F-96AC-4641-B68F-1FAC8423EE44}"/>
                </a:ext>
              </a:extLst>
            </p:cNvPr>
            <p:cNvSpPr/>
            <p:nvPr/>
          </p:nvSpPr>
          <p:spPr>
            <a:xfrm rot="8716295">
              <a:off x="8122034" y="434415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53758D6F-45BC-4683-9BA4-5F935E950CCD}"/>
                </a:ext>
              </a:extLst>
            </p:cNvPr>
            <p:cNvSpPr/>
            <p:nvPr/>
          </p:nvSpPr>
          <p:spPr>
            <a:xfrm rot="8716295">
              <a:off x="7753870" y="438989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3D33FD22-12AD-4D1A-88D7-5F0D534CAA44}"/>
                </a:ext>
              </a:extLst>
            </p:cNvPr>
            <p:cNvSpPr/>
            <p:nvPr/>
          </p:nvSpPr>
          <p:spPr>
            <a:xfrm rot="8716295">
              <a:off x="8030791" y="4210054"/>
              <a:ext cx="154744" cy="110503"/>
            </a:xfrm>
            <a:custGeom>
              <a:avLst/>
              <a:gdLst>
                <a:gd name="connsiteX0" fmla="*/ 0 w 154744"/>
                <a:gd name="connsiteY0" fmla="*/ 34366 h 110503"/>
                <a:gd name="connsiteX1" fmla="*/ 3342 w 154744"/>
                <a:gd name="connsiteY1" fmla="*/ 26453 h 110503"/>
                <a:gd name="connsiteX2" fmla="*/ 65990 w 154744"/>
                <a:gd name="connsiteY2" fmla="*/ 0 h 110503"/>
                <a:gd name="connsiteX3" fmla="*/ 128640 w 154744"/>
                <a:gd name="connsiteY3" fmla="*/ 26453 h 110503"/>
                <a:gd name="connsiteX4" fmla="*/ 154744 w 154744"/>
                <a:gd name="connsiteY4" fmla="*/ 88580 h 110503"/>
                <a:gd name="connsiteX5" fmla="*/ 150487 w 154744"/>
                <a:gd name="connsiteY5" fmla="*/ 110503 h 110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4744" h="110503">
                  <a:moveTo>
                    <a:pt x="0" y="34366"/>
                  </a:moveTo>
                  <a:lnTo>
                    <a:pt x="3342" y="26453"/>
                  </a:lnTo>
                  <a:cubicBezTo>
                    <a:pt x="20048" y="9746"/>
                    <a:pt x="42323" y="0"/>
                    <a:pt x="65990" y="0"/>
                  </a:cubicBezTo>
                  <a:cubicBezTo>
                    <a:pt x="89659" y="0"/>
                    <a:pt x="111934" y="9746"/>
                    <a:pt x="128640" y="26453"/>
                  </a:cubicBezTo>
                  <a:cubicBezTo>
                    <a:pt x="146043" y="43159"/>
                    <a:pt x="154744" y="65782"/>
                    <a:pt x="154744" y="88580"/>
                  </a:cubicBezTo>
                  <a:lnTo>
                    <a:pt x="150487" y="1105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69" name="Espace réservé pour une image  68">
            <a:extLst>
              <a:ext uri="{FF2B5EF4-FFF2-40B4-BE49-F238E27FC236}">
                <a16:creationId xmlns:a16="http://schemas.microsoft.com/office/drawing/2014/main" id="{407212D0-4ACD-410B-8E9A-EE07511F0C4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9153528" cy="4075643"/>
          </a:xfrm>
          <a:custGeom>
            <a:avLst/>
            <a:gdLst>
              <a:gd name="connsiteX0" fmla="*/ 0 w 9153528"/>
              <a:gd name="connsiteY0" fmla="*/ 5143499 h 5143500"/>
              <a:gd name="connsiteX1" fmla="*/ 9153528 w 9153528"/>
              <a:gd name="connsiteY1" fmla="*/ 5143499 h 5143500"/>
              <a:gd name="connsiteX2" fmla="*/ 9153528 w 9153528"/>
              <a:gd name="connsiteY2" fmla="*/ 5143500 h 5143500"/>
              <a:gd name="connsiteX3" fmla="*/ 0 w 9153528"/>
              <a:gd name="connsiteY3" fmla="*/ 5143500 h 5143500"/>
              <a:gd name="connsiteX4" fmla="*/ 0 w 9153528"/>
              <a:gd name="connsiteY4" fmla="*/ 0 h 5143500"/>
              <a:gd name="connsiteX5" fmla="*/ 9153528 w 9153528"/>
              <a:gd name="connsiteY5" fmla="*/ 0 h 5143500"/>
              <a:gd name="connsiteX6" fmla="*/ 9153528 w 9153528"/>
              <a:gd name="connsiteY6" fmla="*/ 4204192 h 5143500"/>
              <a:gd name="connsiteX7" fmla="*/ 9145341 w 9153528"/>
              <a:gd name="connsiteY7" fmla="*/ 4199282 h 5143500"/>
              <a:gd name="connsiteX8" fmla="*/ 9144001 w 9153528"/>
              <a:gd name="connsiteY8" fmla="*/ 4198735 h 5143500"/>
              <a:gd name="connsiteX9" fmla="*/ 9144001 w 9153528"/>
              <a:gd name="connsiteY9" fmla="*/ 3426281 h 5143500"/>
              <a:gd name="connsiteX10" fmla="*/ 4464473 w 9153528"/>
              <a:gd name="connsiteY10" fmla="*/ 4075643 h 5143500"/>
              <a:gd name="connsiteX11" fmla="*/ 0 w 9153528"/>
              <a:gd name="connsiteY11" fmla="*/ 3708636 h 5143500"/>
              <a:gd name="connsiteX0" fmla="*/ 0 w 9153528"/>
              <a:gd name="connsiteY0" fmla="*/ 5143499 h 5143500"/>
              <a:gd name="connsiteX1" fmla="*/ 9153528 w 9153528"/>
              <a:gd name="connsiteY1" fmla="*/ 5143499 h 5143500"/>
              <a:gd name="connsiteX2" fmla="*/ 9153528 w 9153528"/>
              <a:gd name="connsiteY2" fmla="*/ 5143500 h 5143500"/>
              <a:gd name="connsiteX3" fmla="*/ 0 w 9153528"/>
              <a:gd name="connsiteY3" fmla="*/ 5143500 h 5143500"/>
              <a:gd name="connsiteX4" fmla="*/ 0 w 9153528"/>
              <a:gd name="connsiteY4" fmla="*/ 5143499 h 5143500"/>
              <a:gd name="connsiteX5" fmla="*/ 0 w 9153528"/>
              <a:gd name="connsiteY5" fmla="*/ 0 h 5143500"/>
              <a:gd name="connsiteX6" fmla="*/ 9153528 w 9153528"/>
              <a:gd name="connsiteY6" fmla="*/ 0 h 5143500"/>
              <a:gd name="connsiteX7" fmla="*/ 9153528 w 9153528"/>
              <a:gd name="connsiteY7" fmla="*/ 4204192 h 5143500"/>
              <a:gd name="connsiteX8" fmla="*/ 9145341 w 9153528"/>
              <a:gd name="connsiteY8" fmla="*/ 4199282 h 5143500"/>
              <a:gd name="connsiteX9" fmla="*/ 9144001 w 9153528"/>
              <a:gd name="connsiteY9" fmla="*/ 3426281 h 5143500"/>
              <a:gd name="connsiteX10" fmla="*/ 4464473 w 9153528"/>
              <a:gd name="connsiteY10" fmla="*/ 4075643 h 5143500"/>
              <a:gd name="connsiteX11" fmla="*/ 0 w 9153528"/>
              <a:gd name="connsiteY11" fmla="*/ 3708636 h 5143500"/>
              <a:gd name="connsiteX12" fmla="*/ 0 w 9153528"/>
              <a:gd name="connsiteY12" fmla="*/ 0 h 5143500"/>
              <a:gd name="connsiteX0" fmla="*/ 0 w 9153528"/>
              <a:gd name="connsiteY0" fmla="*/ 5143499 h 5143500"/>
              <a:gd name="connsiteX1" fmla="*/ 9153528 w 9153528"/>
              <a:gd name="connsiteY1" fmla="*/ 5143499 h 5143500"/>
              <a:gd name="connsiteX2" fmla="*/ 9153528 w 9153528"/>
              <a:gd name="connsiteY2" fmla="*/ 5143500 h 5143500"/>
              <a:gd name="connsiteX3" fmla="*/ 0 w 9153528"/>
              <a:gd name="connsiteY3" fmla="*/ 5143500 h 5143500"/>
              <a:gd name="connsiteX4" fmla="*/ 0 w 9153528"/>
              <a:gd name="connsiteY4" fmla="*/ 5143499 h 5143500"/>
              <a:gd name="connsiteX5" fmla="*/ 0 w 9153528"/>
              <a:gd name="connsiteY5" fmla="*/ 0 h 5143500"/>
              <a:gd name="connsiteX6" fmla="*/ 9153528 w 9153528"/>
              <a:gd name="connsiteY6" fmla="*/ 0 h 5143500"/>
              <a:gd name="connsiteX7" fmla="*/ 9153528 w 9153528"/>
              <a:gd name="connsiteY7" fmla="*/ 4204192 h 5143500"/>
              <a:gd name="connsiteX8" fmla="*/ 9144001 w 9153528"/>
              <a:gd name="connsiteY8" fmla="*/ 3426281 h 5143500"/>
              <a:gd name="connsiteX9" fmla="*/ 4464473 w 9153528"/>
              <a:gd name="connsiteY9" fmla="*/ 4075643 h 5143500"/>
              <a:gd name="connsiteX10" fmla="*/ 0 w 9153528"/>
              <a:gd name="connsiteY10" fmla="*/ 3708636 h 5143500"/>
              <a:gd name="connsiteX11" fmla="*/ 0 w 9153528"/>
              <a:gd name="connsiteY11" fmla="*/ 0 h 5143500"/>
              <a:gd name="connsiteX0" fmla="*/ 0 w 9153528"/>
              <a:gd name="connsiteY0" fmla="*/ 5143499 h 5143500"/>
              <a:gd name="connsiteX1" fmla="*/ 9153528 w 9153528"/>
              <a:gd name="connsiteY1" fmla="*/ 5143499 h 5143500"/>
              <a:gd name="connsiteX2" fmla="*/ 9153528 w 9153528"/>
              <a:gd name="connsiteY2" fmla="*/ 5143500 h 5143500"/>
              <a:gd name="connsiteX3" fmla="*/ 0 w 9153528"/>
              <a:gd name="connsiteY3" fmla="*/ 5143500 h 5143500"/>
              <a:gd name="connsiteX4" fmla="*/ 0 w 9153528"/>
              <a:gd name="connsiteY4" fmla="*/ 5143499 h 5143500"/>
              <a:gd name="connsiteX5" fmla="*/ 0 w 9153528"/>
              <a:gd name="connsiteY5" fmla="*/ 0 h 5143500"/>
              <a:gd name="connsiteX6" fmla="*/ 9153528 w 9153528"/>
              <a:gd name="connsiteY6" fmla="*/ 0 h 5143500"/>
              <a:gd name="connsiteX7" fmla="*/ 9144001 w 9153528"/>
              <a:gd name="connsiteY7" fmla="*/ 3426281 h 5143500"/>
              <a:gd name="connsiteX8" fmla="*/ 4464473 w 9153528"/>
              <a:gd name="connsiteY8" fmla="*/ 4075643 h 5143500"/>
              <a:gd name="connsiteX9" fmla="*/ 0 w 9153528"/>
              <a:gd name="connsiteY9" fmla="*/ 3708636 h 5143500"/>
              <a:gd name="connsiteX10" fmla="*/ 0 w 9153528"/>
              <a:gd name="connsiteY10" fmla="*/ 0 h 5143500"/>
              <a:gd name="connsiteX0" fmla="*/ 0 w 9153528"/>
              <a:gd name="connsiteY0" fmla="*/ 5143499 h 5143500"/>
              <a:gd name="connsiteX1" fmla="*/ 9153528 w 9153528"/>
              <a:gd name="connsiteY1" fmla="*/ 5143499 h 5143500"/>
              <a:gd name="connsiteX2" fmla="*/ 0 w 9153528"/>
              <a:gd name="connsiteY2" fmla="*/ 5143500 h 5143500"/>
              <a:gd name="connsiteX3" fmla="*/ 0 w 9153528"/>
              <a:gd name="connsiteY3" fmla="*/ 5143499 h 5143500"/>
              <a:gd name="connsiteX4" fmla="*/ 0 w 9153528"/>
              <a:gd name="connsiteY4" fmla="*/ 0 h 5143500"/>
              <a:gd name="connsiteX5" fmla="*/ 9153528 w 9153528"/>
              <a:gd name="connsiteY5" fmla="*/ 0 h 5143500"/>
              <a:gd name="connsiteX6" fmla="*/ 9144001 w 9153528"/>
              <a:gd name="connsiteY6" fmla="*/ 3426281 h 5143500"/>
              <a:gd name="connsiteX7" fmla="*/ 4464473 w 9153528"/>
              <a:gd name="connsiteY7" fmla="*/ 4075643 h 5143500"/>
              <a:gd name="connsiteX8" fmla="*/ 0 w 9153528"/>
              <a:gd name="connsiteY8" fmla="*/ 3708636 h 5143500"/>
              <a:gd name="connsiteX9" fmla="*/ 0 w 9153528"/>
              <a:gd name="connsiteY9" fmla="*/ 0 h 5143500"/>
              <a:gd name="connsiteX0" fmla="*/ 0 w 9153528"/>
              <a:gd name="connsiteY0" fmla="*/ 5143499 h 5143500"/>
              <a:gd name="connsiteX1" fmla="*/ 0 w 9153528"/>
              <a:gd name="connsiteY1" fmla="*/ 5143500 h 5143500"/>
              <a:gd name="connsiteX2" fmla="*/ 0 w 9153528"/>
              <a:gd name="connsiteY2" fmla="*/ 5143499 h 5143500"/>
              <a:gd name="connsiteX3" fmla="*/ 0 w 9153528"/>
              <a:gd name="connsiteY3" fmla="*/ 0 h 5143500"/>
              <a:gd name="connsiteX4" fmla="*/ 9153528 w 9153528"/>
              <a:gd name="connsiteY4" fmla="*/ 0 h 5143500"/>
              <a:gd name="connsiteX5" fmla="*/ 9144001 w 9153528"/>
              <a:gd name="connsiteY5" fmla="*/ 3426281 h 5143500"/>
              <a:gd name="connsiteX6" fmla="*/ 4464473 w 9153528"/>
              <a:gd name="connsiteY6" fmla="*/ 4075643 h 5143500"/>
              <a:gd name="connsiteX7" fmla="*/ 0 w 9153528"/>
              <a:gd name="connsiteY7" fmla="*/ 3708636 h 5143500"/>
              <a:gd name="connsiteX8" fmla="*/ 0 w 9153528"/>
              <a:gd name="connsiteY8" fmla="*/ 0 h 5143500"/>
              <a:gd name="connsiteX0" fmla="*/ 0 w 9153528"/>
              <a:gd name="connsiteY0" fmla="*/ 0 h 4075643"/>
              <a:gd name="connsiteX1" fmla="*/ 9153528 w 9153528"/>
              <a:gd name="connsiteY1" fmla="*/ 0 h 4075643"/>
              <a:gd name="connsiteX2" fmla="*/ 9144001 w 9153528"/>
              <a:gd name="connsiteY2" fmla="*/ 3426281 h 4075643"/>
              <a:gd name="connsiteX3" fmla="*/ 4464473 w 9153528"/>
              <a:gd name="connsiteY3" fmla="*/ 4075643 h 4075643"/>
              <a:gd name="connsiteX4" fmla="*/ 0 w 9153528"/>
              <a:gd name="connsiteY4" fmla="*/ 3708636 h 4075643"/>
              <a:gd name="connsiteX5" fmla="*/ 0 w 9153528"/>
              <a:gd name="connsiteY5" fmla="*/ 0 h 4075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53528" h="4075643">
                <a:moveTo>
                  <a:pt x="0" y="0"/>
                </a:moveTo>
                <a:lnTo>
                  <a:pt x="9153528" y="0"/>
                </a:lnTo>
                <a:cubicBezTo>
                  <a:pt x="9150352" y="1142094"/>
                  <a:pt x="9147177" y="2284187"/>
                  <a:pt x="9144001" y="3426281"/>
                </a:cubicBezTo>
                <a:lnTo>
                  <a:pt x="4464473" y="4075643"/>
                </a:lnTo>
                <a:lnTo>
                  <a:pt x="0" y="3708636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  <p:pic>
        <p:nvPicPr>
          <p:cNvPr id="3" name="Graphique 2">
            <a:extLst>
              <a:ext uri="{FF2B5EF4-FFF2-40B4-BE49-F238E27FC236}">
                <a16:creationId xmlns:a16="http://schemas.microsoft.com/office/drawing/2014/main" id="{E7008A4A-56ED-4B79-8C76-07B31083E9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6275" y="4150109"/>
            <a:ext cx="2174263" cy="648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089415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uverture 2 - C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e libre : forme 4">
            <a:extLst>
              <a:ext uri="{FF2B5EF4-FFF2-40B4-BE49-F238E27FC236}">
                <a16:creationId xmlns:a16="http://schemas.microsoft.com/office/drawing/2014/main" id="{6BBA7953-6320-4985-B304-CAEF45B84CC1}"/>
              </a:ext>
            </a:extLst>
          </p:cNvPr>
          <p:cNvSpPr/>
          <p:nvPr userDrawn="1"/>
        </p:nvSpPr>
        <p:spPr>
          <a:xfrm rot="16200000">
            <a:off x="6276217" y="2274933"/>
            <a:ext cx="1037443" cy="4698124"/>
          </a:xfrm>
          <a:custGeom>
            <a:avLst/>
            <a:gdLst>
              <a:gd name="connsiteX0" fmla="*/ 1037443 w 1037443"/>
              <a:gd name="connsiteY0" fmla="*/ 4698124 h 4698124"/>
              <a:gd name="connsiteX1" fmla="*/ 0 w 1037443"/>
              <a:gd name="connsiteY1" fmla="*/ 4698124 h 4698124"/>
              <a:gd name="connsiteX2" fmla="*/ 386215 w 1037443"/>
              <a:gd name="connsiteY2" fmla="*/ 0 h 4698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37443" h="4698124">
                <a:moveTo>
                  <a:pt x="1037443" y="4698124"/>
                </a:moveTo>
                <a:lnTo>
                  <a:pt x="0" y="4698124"/>
                </a:lnTo>
                <a:lnTo>
                  <a:pt x="386215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48FA6A4C-949D-4D78-851A-5D85C0ACA219}"/>
              </a:ext>
            </a:extLst>
          </p:cNvPr>
          <p:cNvGrpSpPr/>
          <p:nvPr userDrawn="1"/>
        </p:nvGrpSpPr>
        <p:grpSpPr>
          <a:xfrm>
            <a:off x="4782105" y="4078441"/>
            <a:ext cx="4416497" cy="1125022"/>
            <a:chOff x="4782105" y="4078441"/>
            <a:chExt cx="4416497" cy="1125022"/>
          </a:xfrm>
          <a:solidFill>
            <a:schemeClr val="bg2">
              <a:alpha val="10000"/>
            </a:schemeClr>
          </a:solidFill>
        </p:grpSpPr>
        <p:sp>
          <p:nvSpPr>
            <p:cNvPr id="7" name="Forme libre : forme 6">
              <a:extLst>
                <a:ext uri="{FF2B5EF4-FFF2-40B4-BE49-F238E27FC236}">
                  <a16:creationId xmlns:a16="http://schemas.microsoft.com/office/drawing/2014/main" id="{791FB8C9-9221-4E4C-A4AC-2AAD9F08AE59}"/>
                </a:ext>
              </a:extLst>
            </p:cNvPr>
            <p:cNvSpPr/>
            <p:nvPr/>
          </p:nvSpPr>
          <p:spPr>
            <a:xfrm rot="8716295">
              <a:off x="8490768" y="467807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CAEA067D-BF83-4ED3-87B4-BB06FFFF2B66}"/>
                </a:ext>
              </a:extLst>
            </p:cNvPr>
            <p:cNvSpPr/>
            <p:nvPr/>
          </p:nvSpPr>
          <p:spPr>
            <a:xfrm rot="8716295">
              <a:off x="5559260" y="4523190"/>
              <a:ext cx="215177" cy="303156"/>
            </a:xfrm>
            <a:custGeom>
              <a:avLst/>
              <a:gdLst>
                <a:gd name="connsiteX0" fmla="*/ 122761 w 215177"/>
                <a:gd name="connsiteY0" fmla="*/ 256399 h 303156"/>
                <a:gd name="connsiteX1" fmla="*/ 122761 w 215177"/>
                <a:gd name="connsiteY1" fmla="*/ 105519 h 303156"/>
                <a:gd name="connsiteX2" fmla="*/ 122761 w 215177"/>
                <a:gd name="connsiteY2" fmla="*/ 99312 h 303156"/>
                <a:gd name="connsiteX3" fmla="*/ 91726 w 215177"/>
                <a:gd name="connsiteY3" fmla="*/ 75863 h 303156"/>
                <a:gd name="connsiteX4" fmla="*/ 0 w 215177"/>
                <a:gd name="connsiteY4" fmla="*/ 75863 h 303156"/>
                <a:gd name="connsiteX5" fmla="*/ 0 w 215177"/>
                <a:gd name="connsiteY5" fmla="*/ 0 h 303156"/>
                <a:gd name="connsiteX6" fmla="*/ 128968 w 215177"/>
                <a:gd name="connsiteY6" fmla="*/ 0 h 303156"/>
                <a:gd name="connsiteX7" fmla="*/ 215177 w 215177"/>
                <a:gd name="connsiteY7" fmla="*/ 75863 h 303156"/>
                <a:gd name="connsiteX8" fmla="*/ 215176 w 215177"/>
                <a:gd name="connsiteY8" fmla="*/ 303156 h 303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5177" h="303156">
                  <a:moveTo>
                    <a:pt x="122761" y="25639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0"/>
                  </a:lnTo>
                  <a:lnTo>
                    <a:pt x="128968" y="0"/>
                  </a:lnTo>
                  <a:cubicBezTo>
                    <a:pt x="184831" y="0"/>
                    <a:pt x="215176" y="24139"/>
                    <a:pt x="215177" y="75863"/>
                  </a:cubicBezTo>
                  <a:lnTo>
                    <a:pt x="215176" y="30315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ADF38186-185D-41F8-A6B1-FB10366A4CEE}"/>
                </a:ext>
              </a:extLst>
            </p:cNvPr>
            <p:cNvSpPr/>
            <p:nvPr/>
          </p:nvSpPr>
          <p:spPr>
            <a:xfrm rot="8716295">
              <a:off x="5692925" y="4561542"/>
              <a:ext cx="393603" cy="335006"/>
            </a:xfrm>
            <a:custGeom>
              <a:avLst/>
              <a:gdLst>
                <a:gd name="connsiteX0" fmla="*/ 77932 w 393603"/>
                <a:gd name="connsiteY0" fmla="*/ 299055 h 335006"/>
                <a:gd name="connsiteX1" fmla="*/ 77932 w 393603"/>
                <a:gd name="connsiteY1" fmla="*/ 66897 h 335006"/>
                <a:gd name="connsiteX2" fmla="*/ 0 w 393603"/>
                <a:gd name="connsiteY2" fmla="*/ 66898 h 335006"/>
                <a:gd name="connsiteX3" fmla="*/ 0 w 393603"/>
                <a:gd name="connsiteY3" fmla="*/ 0 h 335006"/>
                <a:gd name="connsiteX4" fmla="*/ 158623 w 393603"/>
                <a:gd name="connsiteY4" fmla="*/ 1 h 335006"/>
                <a:gd name="connsiteX5" fmla="*/ 158623 w 393603"/>
                <a:gd name="connsiteY5" fmla="*/ 111726 h 335006"/>
                <a:gd name="connsiteX6" fmla="*/ 160692 w 393603"/>
                <a:gd name="connsiteY6" fmla="*/ 111726 h 335006"/>
                <a:gd name="connsiteX7" fmla="*/ 192762 w 393603"/>
                <a:gd name="connsiteY7" fmla="*/ 39915 h 335006"/>
                <a:gd name="connsiteX8" fmla="*/ 231959 w 393603"/>
                <a:gd name="connsiteY8" fmla="*/ 7837 h 335006"/>
                <a:gd name="connsiteX9" fmla="*/ 393603 w 393603"/>
                <a:gd name="connsiteY9" fmla="*/ 140745 h 335006"/>
                <a:gd name="connsiteX10" fmla="*/ 300695 w 393603"/>
                <a:gd name="connsiteY10" fmla="*/ 146210 h 335006"/>
                <a:gd name="connsiteX11" fmla="*/ 300694 w 393603"/>
                <a:gd name="connsiteY11" fmla="*/ 121382 h 335006"/>
                <a:gd name="connsiteX12" fmla="*/ 249659 w 393603"/>
                <a:gd name="connsiteY12" fmla="*/ 58622 h 335006"/>
                <a:gd name="connsiteX13" fmla="*/ 168969 w 393603"/>
                <a:gd name="connsiteY13" fmla="*/ 191038 h 335006"/>
                <a:gd name="connsiteX14" fmla="*/ 168969 w 393603"/>
                <a:gd name="connsiteY14" fmla="*/ 321385 h 335006"/>
                <a:gd name="connsiteX15" fmla="*/ 148991 w 393603"/>
                <a:gd name="connsiteY15" fmla="*/ 335006 h 335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93603" h="335006">
                  <a:moveTo>
                    <a:pt x="77932" y="299055"/>
                  </a:moveTo>
                  <a:lnTo>
                    <a:pt x="77932" y="66897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1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71727" y="78967"/>
                    <a:pt x="181555" y="56208"/>
                    <a:pt x="192762" y="39915"/>
                  </a:cubicBezTo>
                  <a:lnTo>
                    <a:pt x="231959" y="7837"/>
                  </a:lnTo>
                  <a:lnTo>
                    <a:pt x="393603" y="140745"/>
                  </a:lnTo>
                  <a:lnTo>
                    <a:pt x="300695" y="146210"/>
                  </a:lnTo>
                  <a:lnTo>
                    <a:pt x="300694" y="121382"/>
                  </a:lnTo>
                  <a:cubicBezTo>
                    <a:pt x="300695" y="84140"/>
                    <a:pt x="279316" y="58622"/>
                    <a:pt x="249659" y="58622"/>
                  </a:cubicBezTo>
                  <a:cubicBezTo>
                    <a:pt x="205521" y="58621"/>
                    <a:pt x="168969" y="117244"/>
                    <a:pt x="168969" y="191038"/>
                  </a:cubicBezTo>
                  <a:lnTo>
                    <a:pt x="168969" y="321385"/>
                  </a:lnTo>
                  <a:lnTo>
                    <a:pt x="148991" y="33500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4B724F9D-95FF-4F02-B59A-7E5AC8B98AC8}"/>
                </a:ext>
              </a:extLst>
            </p:cNvPr>
            <p:cNvSpPr/>
            <p:nvPr/>
          </p:nvSpPr>
          <p:spPr>
            <a:xfrm rot="8716295">
              <a:off x="5659234" y="4556420"/>
              <a:ext cx="113018" cy="83608"/>
            </a:xfrm>
            <a:custGeom>
              <a:avLst/>
              <a:gdLst>
                <a:gd name="connsiteX0" fmla="*/ 0 w 113018"/>
                <a:gd name="connsiteY0" fmla="*/ 32910 h 83608"/>
                <a:gd name="connsiteX1" fmla="*/ 24482 w 113018"/>
                <a:gd name="connsiteY1" fmla="*/ 13621 h 83608"/>
                <a:gd name="connsiteX2" fmla="*/ 70259 w 113018"/>
                <a:gd name="connsiteY2" fmla="*/ 0 h 83608"/>
                <a:gd name="connsiteX3" fmla="*/ 113018 w 113018"/>
                <a:gd name="connsiteY3" fmla="*/ 51035 h 83608"/>
                <a:gd name="connsiteX4" fmla="*/ 100518 w 113018"/>
                <a:gd name="connsiteY4" fmla="*/ 83363 h 83608"/>
                <a:gd name="connsiteX5" fmla="*/ 100204 w 113018"/>
                <a:gd name="connsiteY5" fmla="*/ 83608 h 83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018" h="83608">
                  <a:moveTo>
                    <a:pt x="0" y="32910"/>
                  </a:moveTo>
                  <a:lnTo>
                    <a:pt x="24482" y="13621"/>
                  </a:lnTo>
                  <a:cubicBezTo>
                    <a:pt x="38534" y="6380"/>
                    <a:pt x="54052" y="1725"/>
                    <a:pt x="70259" y="0"/>
                  </a:cubicBezTo>
                  <a:cubicBezTo>
                    <a:pt x="103363" y="0"/>
                    <a:pt x="113018" y="28966"/>
                    <a:pt x="113018" y="51035"/>
                  </a:cubicBezTo>
                  <a:cubicBezTo>
                    <a:pt x="111984" y="63105"/>
                    <a:pt x="107501" y="74139"/>
                    <a:pt x="100518" y="83363"/>
                  </a:cubicBezTo>
                  <a:lnTo>
                    <a:pt x="100204" y="8360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D01436B5-D8EB-44DF-8B51-633BF4E9FB42}"/>
                </a:ext>
              </a:extLst>
            </p:cNvPr>
            <p:cNvSpPr/>
            <p:nvPr/>
          </p:nvSpPr>
          <p:spPr>
            <a:xfrm rot="8716295">
              <a:off x="5371633" y="4613095"/>
              <a:ext cx="88105" cy="83851"/>
            </a:xfrm>
            <a:custGeom>
              <a:avLst/>
              <a:gdLst>
                <a:gd name="connsiteX0" fmla="*/ 6112 w 88105"/>
                <a:gd name="connsiteY0" fmla="*/ 59305 h 83851"/>
                <a:gd name="connsiteX1" fmla="*/ 0 w 88105"/>
                <a:gd name="connsiteY1" fmla="*/ 44829 h 83851"/>
                <a:gd name="connsiteX2" fmla="*/ 0 w 88105"/>
                <a:gd name="connsiteY2" fmla="*/ 44139 h 83851"/>
                <a:gd name="connsiteX3" fmla="*/ 13104 w 88105"/>
                <a:gd name="connsiteY3" fmla="*/ 13104 h 83851"/>
                <a:gd name="connsiteX4" fmla="*/ 44139 w 88105"/>
                <a:gd name="connsiteY4" fmla="*/ 0 h 83851"/>
                <a:gd name="connsiteX5" fmla="*/ 75175 w 88105"/>
                <a:gd name="connsiteY5" fmla="*/ 13104 h 83851"/>
                <a:gd name="connsiteX6" fmla="*/ 75175 w 88105"/>
                <a:gd name="connsiteY6" fmla="*/ 75175 h 83851"/>
                <a:gd name="connsiteX7" fmla="*/ 54626 w 88105"/>
                <a:gd name="connsiteY7" fmla="*/ 83851 h 83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105" h="83851">
                  <a:moveTo>
                    <a:pt x="6112" y="59305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cubicBezTo>
                    <a:pt x="55864" y="0"/>
                    <a:pt x="66899" y="4828"/>
                    <a:pt x="75175" y="13104"/>
                  </a:cubicBezTo>
                  <a:cubicBezTo>
                    <a:pt x="92416" y="29657"/>
                    <a:pt x="92416" y="57933"/>
                    <a:pt x="75175" y="75175"/>
                  </a:cubicBezTo>
                  <a:lnTo>
                    <a:pt x="54626" y="8385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6F3BF20E-F037-4374-BB41-095B54D26F08}"/>
                </a:ext>
              </a:extLst>
            </p:cNvPr>
            <p:cNvSpPr/>
            <p:nvPr/>
          </p:nvSpPr>
          <p:spPr>
            <a:xfrm rot="8716295">
              <a:off x="5473646" y="4706746"/>
              <a:ext cx="91035" cy="188159"/>
            </a:xfrm>
            <a:custGeom>
              <a:avLst/>
              <a:gdLst>
                <a:gd name="connsiteX0" fmla="*/ 91035 w 91035"/>
                <a:gd name="connsiteY0" fmla="*/ 188159 h 188159"/>
                <a:gd name="connsiteX1" fmla="*/ 0 w 91035"/>
                <a:gd name="connsiteY1" fmla="*/ 100571 h 188159"/>
                <a:gd name="connsiteX2" fmla="*/ 0 w 91035"/>
                <a:gd name="connsiteY2" fmla="*/ 0 h 188159"/>
                <a:gd name="connsiteX3" fmla="*/ 91035 w 91035"/>
                <a:gd name="connsiteY3" fmla="*/ 74852 h 188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188159">
                  <a:moveTo>
                    <a:pt x="91035" y="188159"/>
                  </a:moveTo>
                  <a:lnTo>
                    <a:pt x="0" y="100571"/>
                  </a:lnTo>
                  <a:lnTo>
                    <a:pt x="0" y="0"/>
                  </a:lnTo>
                  <a:lnTo>
                    <a:pt x="91035" y="748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BBB1D061-FD31-402D-BCCB-6813149262F1}"/>
                </a:ext>
              </a:extLst>
            </p:cNvPr>
            <p:cNvSpPr/>
            <p:nvPr/>
          </p:nvSpPr>
          <p:spPr>
            <a:xfrm rot="8716295">
              <a:off x="6218962" y="4454620"/>
              <a:ext cx="171018" cy="106515"/>
            </a:xfrm>
            <a:custGeom>
              <a:avLst/>
              <a:gdLst>
                <a:gd name="connsiteX0" fmla="*/ 0 w 171018"/>
                <a:gd name="connsiteY0" fmla="*/ 19991 h 106515"/>
                <a:gd name="connsiteX1" fmla="*/ 13365 w 171018"/>
                <a:gd name="connsiteY1" fmla="*/ 9053 h 106515"/>
                <a:gd name="connsiteX2" fmla="*/ 60952 w 171018"/>
                <a:gd name="connsiteY2" fmla="*/ 87 h 106515"/>
                <a:gd name="connsiteX3" fmla="*/ 166956 w 171018"/>
                <a:gd name="connsiteY3" fmla="*/ 76705 h 106515"/>
                <a:gd name="connsiteX4" fmla="*/ 171018 w 171018"/>
                <a:gd name="connsiteY4" fmla="*/ 106515 h 106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018" h="106515">
                  <a:moveTo>
                    <a:pt x="0" y="19991"/>
                  </a:moveTo>
                  <a:lnTo>
                    <a:pt x="13365" y="9053"/>
                  </a:lnTo>
                  <a:cubicBezTo>
                    <a:pt x="28538" y="2846"/>
                    <a:pt x="44400" y="-602"/>
                    <a:pt x="60952" y="87"/>
                  </a:cubicBezTo>
                  <a:cubicBezTo>
                    <a:pt x="114229" y="-948"/>
                    <a:pt x="151600" y="26725"/>
                    <a:pt x="166956" y="76705"/>
                  </a:cubicBezTo>
                  <a:lnTo>
                    <a:pt x="171018" y="10651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B49834EB-4686-4A9A-AFBE-353B0A4BB9CC}"/>
                </a:ext>
              </a:extLst>
            </p:cNvPr>
            <p:cNvSpPr/>
            <p:nvPr/>
          </p:nvSpPr>
          <p:spPr>
            <a:xfrm rot="8716295">
              <a:off x="6005990" y="4487669"/>
              <a:ext cx="156555" cy="122067"/>
            </a:xfrm>
            <a:custGeom>
              <a:avLst/>
              <a:gdLst>
                <a:gd name="connsiteX0" fmla="*/ 65519 w 156555"/>
                <a:gd name="connsiteY0" fmla="*/ 76009 h 122067"/>
                <a:gd name="connsiteX1" fmla="*/ 65519 w 156555"/>
                <a:gd name="connsiteY1" fmla="*/ 24828 h 122067"/>
                <a:gd name="connsiteX2" fmla="*/ 0 w 156555"/>
                <a:gd name="connsiteY2" fmla="*/ 24828 h 122067"/>
                <a:gd name="connsiteX3" fmla="*/ 0 w 156555"/>
                <a:gd name="connsiteY3" fmla="*/ 3449 h 122067"/>
                <a:gd name="connsiteX4" fmla="*/ 156555 w 156555"/>
                <a:gd name="connsiteY4" fmla="*/ 0 h 122067"/>
                <a:gd name="connsiteX5" fmla="*/ 156554 w 156555"/>
                <a:gd name="connsiteY5" fmla="*/ 122067 h 122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6555" h="122067">
                  <a:moveTo>
                    <a:pt x="65519" y="76009"/>
                  </a:moveTo>
                  <a:lnTo>
                    <a:pt x="65519" y="24828"/>
                  </a:lnTo>
                  <a:lnTo>
                    <a:pt x="0" y="24828"/>
                  </a:lnTo>
                  <a:lnTo>
                    <a:pt x="0" y="3449"/>
                  </a:lnTo>
                  <a:cubicBezTo>
                    <a:pt x="49656" y="5517"/>
                    <a:pt x="101381" y="1379"/>
                    <a:pt x="156555" y="0"/>
                  </a:cubicBezTo>
                  <a:lnTo>
                    <a:pt x="156554" y="1220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676F5558-2730-4CE0-B993-EAC478371730}"/>
                </a:ext>
              </a:extLst>
            </p:cNvPr>
            <p:cNvSpPr/>
            <p:nvPr/>
          </p:nvSpPr>
          <p:spPr>
            <a:xfrm rot="7484129">
              <a:off x="6103422" y="4586563"/>
              <a:ext cx="308532" cy="296464"/>
            </a:xfrm>
            <a:custGeom>
              <a:avLst/>
              <a:gdLst>
                <a:gd name="connsiteX0" fmla="*/ 137293 w 308532"/>
                <a:gd name="connsiteY0" fmla="*/ 296464 h 296464"/>
                <a:gd name="connsiteX1" fmla="*/ 72419 w 308532"/>
                <a:gd name="connsiteY1" fmla="*/ 175766 h 296464"/>
                <a:gd name="connsiteX2" fmla="*/ 105610 w 308532"/>
                <a:gd name="connsiteY2" fmla="*/ 83734 h 296464"/>
                <a:gd name="connsiteX3" fmla="*/ 0 w 308532"/>
                <a:gd name="connsiteY3" fmla="*/ 83734 h 296464"/>
                <a:gd name="connsiteX4" fmla="*/ 0 w 308532"/>
                <a:gd name="connsiteY4" fmla="*/ 0 h 296464"/>
                <a:gd name="connsiteX5" fmla="*/ 265017 w 308532"/>
                <a:gd name="connsiteY5" fmla="*/ 0 h 296464"/>
                <a:gd name="connsiteX6" fmla="*/ 308532 w 308532"/>
                <a:gd name="connsiteY6" fmla="*/ 75260 h 296464"/>
                <a:gd name="connsiteX7" fmla="*/ 308532 w 308532"/>
                <a:gd name="connsiteY7" fmla="*/ 83734 h 296464"/>
                <a:gd name="connsiteX8" fmla="*/ 210466 w 308532"/>
                <a:gd name="connsiteY8" fmla="*/ 83734 h 296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532" h="296464">
                  <a:moveTo>
                    <a:pt x="137293" y="296464"/>
                  </a:moveTo>
                  <a:lnTo>
                    <a:pt x="72419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65017" y="0"/>
                  </a:lnTo>
                  <a:lnTo>
                    <a:pt x="308532" y="75260"/>
                  </a:lnTo>
                  <a:lnTo>
                    <a:pt x="308532" y="83734"/>
                  </a:lnTo>
                  <a:lnTo>
                    <a:pt x="210466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6446F284-DF3B-4BD3-84E9-63513197872A}"/>
                </a:ext>
              </a:extLst>
            </p:cNvPr>
            <p:cNvSpPr/>
            <p:nvPr/>
          </p:nvSpPr>
          <p:spPr>
            <a:xfrm rot="13089394">
              <a:off x="6309616" y="4543919"/>
              <a:ext cx="412568" cy="359948"/>
            </a:xfrm>
            <a:custGeom>
              <a:avLst/>
              <a:gdLst>
                <a:gd name="connsiteX0" fmla="*/ 412568 w 412568"/>
                <a:gd name="connsiteY0" fmla="*/ 252801 h 359948"/>
                <a:gd name="connsiteX1" fmla="*/ 138636 w 412568"/>
                <a:gd name="connsiteY1" fmla="*/ 359701 h 359948"/>
                <a:gd name="connsiteX2" fmla="*/ 35911 w 412568"/>
                <a:gd name="connsiteY2" fmla="*/ 317943 h 359948"/>
                <a:gd name="connsiteX3" fmla="*/ 0 w 412568"/>
                <a:gd name="connsiteY3" fmla="*/ 174296 h 359948"/>
                <a:gd name="connsiteX4" fmla="*/ 0 w 412568"/>
                <a:gd name="connsiteY4" fmla="*/ 74054 h 359948"/>
                <a:gd name="connsiteX5" fmla="*/ 112066 w 412568"/>
                <a:gd name="connsiteY5" fmla="*/ 0 h 359948"/>
                <a:gd name="connsiteX6" fmla="*/ 112747 w 412568"/>
                <a:gd name="connsiteY6" fmla="*/ 94956 h 359948"/>
                <a:gd name="connsiteX7" fmla="*/ 132789 w 412568"/>
                <a:gd name="connsiteY7" fmla="*/ 233593 h 359948"/>
                <a:gd name="connsiteX8" fmla="*/ 233008 w 412568"/>
                <a:gd name="connsiteY8" fmla="*/ 288713 h 359948"/>
                <a:gd name="connsiteX9" fmla="*/ 308172 w 412568"/>
                <a:gd name="connsiteY9" fmla="*/ 275351 h 359948"/>
                <a:gd name="connsiteX10" fmla="*/ 410898 w 412568"/>
                <a:gd name="connsiteY10" fmla="*/ 233593 h 359948"/>
                <a:gd name="connsiteX11" fmla="*/ 412568 w 412568"/>
                <a:gd name="connsiteY11" fmla="*/ 244449 h 359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2568" h="359948">
                  <a:moveTo>
                    <a:pt x="412568" y="252801"/>
                  </a:moveTo>
                  <a:cubicBezTo>
                    <a:pt x="324041" y="328800"/>
                    <a:pt x="207954" y="355526"/>
                    <a:pt x="138636" y="359701"/>
                  </a:cubicBezTo>
                  <a:cubicBezTo>
                    <a:pt x="100219" y="362207"/>
                    <a:pt x="62637" y="345504"/>
                    <a:pt x="35911" y="317943"/>
                  </a:cubicBezTo>
                  <a:cubicBezTo>
                    <a:pt x="7516" y="290383"/>
                    <a:pt x="0" y="242779"/>
                    <a:pt x="0" y="174296"/>
                  </a:cubicBezTo>
                  <a:lnTo>
                    <a:pt x="0" y="74054"/>
                  </a:lnTo>
                  <a:lnTo>
                    <a:pt x="112066" y="0"/>
                  </a:lnTo>
                  <a:lnTo>
                    <a:pt x="112747" y="94956"/>
                  </a:lnTo>
                  <a:cubicBezTo>
                    <a:pt x="110241" y="141725"/>
                    <a:pt x="117756" y="189329"/>
                    <a:pt x="132789" y="233593"/>
                  </a:cubicBezTo>
                  <a:cubicBezTo>
                    <a:pt x="146153" y="270339"/>
                    <a:pt x="180394" y="288713"/>
                    <a:pt x="233008" y="288713"/>
                  </a:cubicBezTo>
                  <a:cubicBezTo>
                    <a:pt x="258899" y="287878"/>
                    <a:pt x="283953" y="282866"/>
                    <a:pt x="308172" y="275351"/>
                  </a:cubicBezTo>
                  <a:cubicBezTo>
                    <a:pt x="343249" y="264493"/>
                    <a:pt x="377491" y="250296"/>
                    <a:pt x="410898" y="233593"/>
                  </a:cubicBezTo>
                  <a:cubicBezTo>
                    <a:pt x="411732" y="236933"/>
                    <a:pt x="412568" y="241109"/>
                    <a:pt x="412568" y="24444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88875692-D947-4058-8206-44233A06BFD3}"/>
                </a:ext>
              </a:extLst>
            </p:cNvPr>
            <p:cNvSpPr/>
            <p:nvPr/>
          </p:nvSpPr>
          <p:spPr>
            <a:xfrm rot="8716295">
              <a:off x="6597507" y="4422612"/>
              <a:ext cx="149044" cy="111064"/>
            </a:xfrm>
            <a:custGeom>
              <a:avLst/>
              <a:gdLst>
                <a:gd name="connsiteX0" fmla="*/ 0 w 149044"/>
                <a:gd name="connsiteY0" fmla="*/ 51375 h 111064"/>
                <a:gd name="connsiteX1" fmla="*/ 1002 w 149044"/>
                <a:gd name="connsiteY1" fmla="*/ 50432 h 111064"/>
                <a:gd name="connsiteX2" fmla="*/ 98612 w 149044"/>
                <a:gd name="connsiteY2" fmla="*/ 0 h 111064"/>
                <a:gd name="connsiteX3" fmla="*/ 149044 w 149044"/>
                <a:gd name="connsiteY3" fmla="*/ 60193 h 111064"/>
                <a:gd name="connsiteX4" fmla="*/ 134300 w 149044"/>
                <a:gd name="connsiteY4" fmla="*/ 98322 h 111064"/>
                <a:gd name="connsiteX5" fmla="*/ 117977 w 149044"/>
                <a:gd name="connsiteY5" fmla="*/ 111064 h 111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044" h="111064">
                  <a:moveTo>
                    <a:pt x="0" y="51375"/>
                  </a:moveTo>
                  <a:lnTo>
                    <a:pt x="1002" y="50432"/>
                  </a:lnTo>
                  <a:cubicBezTo>
                    <a:pt x="25404" y="21963"/>
                    <a:pt x="60381" y="4067"/>
                    <a:pt x="98612" y="0"/>
                  </a:cubicBezTo>
                  <a:cubicBezTo>
                    <a:pt x="137657" y="0"/>
                    <a:pt x="149044" y="34164"/>
                    <a:pt x="149044" y="60193"/>
                  </a:cubicBezTo>
                  <a:cubicBezTo>
                    <a:pt x="147824" y="74428"/>
                    <a:pt x="142536" y="87443"/>
                    <a:pt x="134300" y="98322"/>
                  </a:cubicBezTo>
                  <a:lnTo>
                    <a:pt x="117977" y="1110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371804DA-D0A5-4840-894B-07AAE1064663}"/>
                </a:ext>
              </a:extLst>
            </p:cNvPr>
            <p:cNvSpPr/>
            <p:nvPr/>
          </p:nvSpPr>
          <p:spPr>
            <a:xfrm rot="8716295">
              <a:off x="6708126" y="4876229"/>
              <a:ext cx="139286" cy="121327"/>
            </a:xfrm>
            <a:custGeom>
              <a:avLst/>
              <a:gdLst>
                <a:gd name="connsiteX0" fmla="*/ 26453 w 139286"/>
                <a:gd name="connsiteY0" fmla="*/ 96267 h 121327"/>
                <a:gd name="connsiteX1" fmla="*/ 0 w 139286"/>
                <a:gd name="connsiteY1" fmla="*/ 33618 h 121327"/>
                <a:gd name="connsiteX2" fmla="*/ 0 w 139286"/>
                <a:gd name="connsiteY2" fmla="*/ 32225 h 121327"/>
                <a:gd name="connsiteX3" fmla="*/ 13607 w 139286"/>
                <a:gd name="connsiteY3" fmla="*/ 0 h 121327"/>
                <a:gd name="connsiteX4" fmla="*/ 139286 w 139286"/>
                <a:gd name="connsiteY4" fmla="*/ 103337 h 121327"/>
                <a:gd name="connsiteX5" fmla="*/ 123037 w 139286"/>
                <a:gd name="connsiteY5" fmla="*/ 114366 h 121327"/>
                <a:gd name="connsiteX6" fmla="*/ 89101 w 139286"/>
                <a:gd name="connsiteY6" fmla="*/ 121327 h 121327"/>
                <a:gd name="connsiteX7" fmla="*/ 26453 w 139286"/>
                <a:gd name="connsiteY7" fmla="*/ 96267 h 121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9286" h="121327">
                  <a:moveTo>
                    <a:pt x="26453" y="96267"/>
                  </a:moveTo>
                  <a:cubicBezTo>
                    <a:pt x="9746" y="79561"/>
                    <a:pt x="0" y="57285"/>
                    <a:pt x="0" y="33618"/>
                  </a:cubicBezTo>
                  <a:lnTo>
                    <a:pt x="0" y="32225"/>
                  </a:lnTo>
                  <a:lnTo>
                    <a:pt x="13607" y="0"/>
                  </a:lnTo>
                  <a:lnTo>
                    <a:pt x="139286" y="103337"/>
                  </a:lnTo>
                  <a:lnTo>
                    <a:pt x="123037" y="114366"/>
                  </a:lnTo>
                  <a:cubicBezTo>
                    <a:pt x="112421" y="118890"/>
                    <a:pt x="100935" y="121327"/>
                    <a:pt x="89101" y="121327"/>
                  </a:cubicBezTo>
                  <a:cubicBezTo>
                    <a:pt x="65435" y="121327"/>
                    <a:pt x="43159" y="112973"/>
                    <a:pt x="26453" y="9626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6EEBC52A-3D14-419B-8366-97197098C604}"/>
                </a:ext>
              </a:extLst>
            </p:cNvPr>
            <p:cNvSpPr/>
            <p:nvPr/>
          </p:nvSpPr>
          <p:spPr>
            <a:xfrm rot="8716295">
              <a:off x="4782105" y="4823045"/>
              <a:ext cx="311921" cy="362797"/>
            </a:xfrm>
            <a:custGeom>
              <a:avLst/>
              <a:gdLst>
                <a:gd name="connsiteX0" fmla="*/ 311920 w 311921"/>
                <a:gd name="connsiteY0" fmla="*/ 120307 h 362797"/>
                <a:gd name="connsiteX1" fmla="*/ 138360 w 311921"/>
                <a:gd name="connsiteY1" fmla="*/ 1 h 362797"/>
                <a:gd name="connsiteX2" fmla="*/ 138360 w 311921"/>
                <a:gd name="connsiteY2" fmla="*/ 0 h 362797"/>
                <a:gd name="connsiteX3" fmla="*/ 311921 w 311921"/>
                <a:gd name="connsiteY3" fmla="*/ 120307 h 362797"/>
                <a:gd name="connsiteX4" fmla="*/ 0 w 311921"/>
                <a:gd name="connsiteY4" fmla="*/ 362797 h 362797"/>
                <a:gd name="connsiteX5" fmla="*/ 0 w 311921"/>
                <a:gd name="connsiteY5" fmla="*/ 320869 h 362797"/>
                <a:gd name="connsiteX6" fmla="*/ 27877 w 311921"/>
                <a:gd name="connsiteY6" fmla="*/ 343790 h 362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1921" h="362797">
                  <a:moveTo>
                    <a:pt x="311920" y="120307"/>
                  </a:moveTo>
                  <a:lnTo>
                    <a:pt x="138360" y="1"/>
                  </a:lnTo>
                  <a:lnTo>
                    <a:pt x="138360" y="0"/>
                  </a:lnTo>
                  <a:lnTo>
                    <a:pt x="311921" y="120307"/>
                  </a:lnTo>
                  <a:close/>
                  <a:moveTo>
                    <a:pt x="0" y="362797"/>
                  </a:moveTo>
                  <a:lnTo>
                    <a:pt x="0" y="320869"/>
                  </a:lnTo>
                  <a:lnTo>
                    <a:pt x="27877" y="34379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53F2D732-A25A-4CEE-B98E-E5DC8CC54158}"/>
                </a:ext>
              </a:extLst>
            </p:cNvPr>
            <p:cNvSpPr/>
            <p:nvPr/>
          </p:nvSpPr>
          <p:spPr>
            <a:xfrm rot="8716295">
              <a:off x="5132149" y="4738008"/>
              <a:ext cx="148614" cy="131720"/>
            </a:xfrm>
            <a:custGeom>
              <a:avLst/>
              <a:gdLst>
                <a:gd name="connsiteX0" fmla="*/ 26453 w 148614"/>
                <a:gd name="connsiteY0" fmla="*/ 106660 h 131720"/>
                <a:gd name="connsiteX1" fmla="*/ 0 w 148614"/>
                <a:gd name="connsiteY1" fmla="*/ 44011 h 131720"/>
                <a:gd name="connsiteX2" fmla="*/ 0 w 148614"/>
                <a:gd name="connsiteY2" fmla="*/ 42618 h 131720"/>
                <a:gd name="connsiteX3" fmla="*/ 17995 w 148614"/>
                <a:gd name="connsiteY3" fmla="*/ 0 h 131720"/>
                <a:gd name="connsiteX4" fmla="*/ 148614 w 148614"/>
                <a:gd name="connsiteY4" fmla="*/ 107398 h 131720"/>
                <a:gd name="connsiteX5" fmla="*/ 123037 w 148614"/>
                <a:gd name="connsiteY5" fmla="*/ 124759 h 131720"/>
                <a:gd name="connsiteX6" fmla="*/ 89101 w 148614"/>
                <a:gd name="connsiteY6" fmla="*/ 131720 h 131720"/>
                <a:gd name="connsiteX7" fmla="*/ 26453 w 148614"/>
                <a:gd name="connsiteY7" fmla="*/ 106660 h 13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8614" h="131720">
                  <a:moveTo>
                    <a:pt x="26453" y="106660"/>
                  </a:moveTo>
                  <a:cubicBezTo>
                    <a:pt x="9746" y="89954"/>
                    <a:pt x="0" y="67678"/>
                    <a:pt x="0" y="44011"/>
                  </a:cubicBezTo>
                  <a:lnTo>
                    <a:pt x="0" y="42618"/>
                  </a:lnTo>
                  <a:lnTo>
                    <a:pt x="17995" y="0"/>
                  </a:lnTo>
                  <a:lnTo>
                    <a:pt x="148614" y="107398"/>
                  </a:lnTo>
                  <a:lnTo>
                    <a:pt x="123037" y="124759"/>
                  </a:lnTo>
                  <a:cubicBezTo>
                    <a:pt x="112421" y="129283"/>
                    <a:pt x="100935" y="131720"/>
                    <a:pt x="89101" y="131720"/>
                  </a:cubicBezTo>
                  <a:cubicBezTo>
                    <a:pt x="65435" y="131720"/>
                    <a:pt x="43159" y="123366"/>
                    <a:pt x="26453" y="10666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937A52BD-510B-4C03-9C16-CD9D234ABB7D}"/>
                </a:ext>
              </a:extLst>
            </p:cNvPr>
            <p:cNvSpPr/>
            <p:nvPr/>
          </p:nvSpPr>
          <p:spPr>
            <a:xfrm rot="8716295">
              <a:off x="5043572" y="4624951"/>
              <a:ext cx="150722" cy="101024"/>
            </a:xfrm>
            <a:custGeom>
              <a:avLst/>
              <a:gdLst>
                <a:gd name="connsiteX0" fmla="*/ 0 w 150722"/>
                <a:gd name="connsiteY0" fmla="*/ 25991 h 101024"/>
                <a:gd name="connsiteX1" fmla="*/ 28034 w 150722"/>
                <a:gd name="connsiteY1" fmla="*/ 6961 h 101024"/>
                <a:gd name="connsiteX2" fmla="*/ 61968 w 150722"/>
                <a:gd name="connsiteY2" fmla="*/ 0 h 101024"/>
                <a:gd name="connsiteX3" fmla="*/ 124618 w 150722"/>
                <a:gd name="connsiteY3" fmla="*/ 26453 h 101024"/>
                <a:gd name="connsiteX4" fmla="*/ 150722 w 150722"/>
                <a:gd name="connsiteY4" fmla="*/ 88580 h 101024"/>
                <a:gd name="connsiteX5" fmla="*/ 148306 w 150722"/>
                <a:gd name="connsiteY5" fmla="*/ 101024 h 10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0722" h="101024">
                  <a:moveTo>
                    <a:pt x="0" y="25991"/>
                  </a:moveTo>
                  <a:lnTo>
                    <a:pt x="28034" y="6961"/>
                  </a:lnTo>
                  <a:cubicBezTo>
                    <a:pt x="38649" y="2437"/>
                    <a:pt x="50135" y="0"/>
                    <a:pt x="61968" y="0"/>
                  </a:cubicBezTo>
                  <a:cubicBezTo>
                    <a:pt x="85637" y="0"/>
                    <a:pt x="107912" y="9746"/>
                    <a:pt x="124618" y="26453"/>
                  </a:cubicBezTo>
                  <a:cubicBezTo>
                    <a:pt x="142021" y="43159"/>
                    <a:pt x="150722" y="65782"/>
                    <a:pt x="150722" y="88580"/>
                  </a:cubicBezTo>
                  <a:lnTo>
                    <a:pt x="148306" y="1010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C719F00E-5A8E-45CC-8F56-B823EE2F6BB7}"/>
                </a:ext>
              </a:extLst>
            </p:cNvPr>
            <p:cNvSpPr/>
            <p:nvPr/>
          </p:nvSpPr>
          <p:spPr>
            <a:xfrm rot="8716295">
              <a:off x="8546573" y="4108588"/>
              <a:ext cx="215176" cy="313567"/>
            </a:xfrm>
            <a:custGeom>
              <a:avLst/>
              <a:gdLst>
                <a:gd name="connsiteX0" fmla="*/ 122760 w 215176"/>
                <a:gd name="connsiteY0" fmla="*/ 266809 h 313567"/>
                <a:gd name="connsiteX1" fmla="*/ 122761 w 215176"/>
                <a:gd name="connsiteY1" fmla="*/ 105519 h 313567"/>
                <a:gd name="connsiteX2" fmla="*/ 122761 w 215176"/>
                <a:gd name="connsiteY2" fmla="*/ 99312 h 313567"/>
                <a:gd name="connsiteX3" fmla="*/ 91726 w 215176"/>
                <a:gd name="connsiteY3" fmla="*/ 75863 h 313567"/>
                <a:gd name="connsiteX4" fmla="*/ 0 w 215176"/>
                <a:gd name="connsiteY4" fmla="*/ 75863 h 313567"/>
                <a:gd name="connsiteX5" fmla="*/ 0 w 215176"/>
                <a:gd name="connsiteY5" fmla="*/ 0 h 313567"/>
                <a:gd name="connsiteX6" fmla="*/ 128968 w 215176"/>
                <a:gd name="connsiteY6" fmla="*/ 0 h 313567"/>
                <a:gd name="connsiteX7" fmla="*/ 215176 w 215176"/>
                <a:gd name="connsiteY7" fmla="*/ 75863 h 313567"/>
                <a:gd name="connsiteX8" fmla="*/ 215176 w 215176"/>
                <a:gd name="connsiteY8" fmla="*/ 313567 h 31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5176" h="313567">
                  <a:moveTo>
                    <a:pt x="122760" y="26680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0"/>
                  </a:lnTo>
                  <a:lnTo>
                    <a:pt x="128968" y="0"/>
                  </a:lnTo>
                  <a:cubicBezTo>
                    <a:pt x="184831" y="0"/>
                    <a:pt x="215177" y="24139"/>
                    <a:pt x="215176" y="75863"/>
                  </a:cubicBezTo>
                  <a:lnTo>
                    <a:pt x="215176" y="3135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25DD9CA0-AFE3-4B5F-B15D-E7FBAF734592}"/>
                </a:ext>
              </a:extLst>
            </p:cNvPr>
            <p:cNvSpPr/>
            <p:nvPr/>
          </p:nvSpPr>
          <p:spPr>
            <a:xfrm rot="8716295">
              <a:off x="8681306" y="4151041"/>
              <a:ext cx="394490" cy="343138"/>
            </a:xfrm>
            <a:custGeom>
              <a:avLst/>
              <a:gdLst>
                <a:gd name="connsiteX0" fmla="*/ 77932 w 394490"/>
                <a:gd name="connsiteY0" fmla="*/ 311621 h 343138"/>
                <a:gd name="connsiteX1" fmla="*/ 77932 w 394490"/>
                <a:gd name="connsiteY1" fmla="*/ 69053 h 343138"/>
                <a:gd name="connsiteX2" fmla="*/ 0 w 394490"/>
                <a:gd name="connsiteY2" fmla="*/ 69054 h 343138"/>
                <a:gd name="connsiteX3" fmla="*/ 0 w 394490"/>
                <a:gd name="connsiteY3" fmla="*/ 2156 h 343138"/>
                <a:gd name="connsiteX4" fmla="*/ 158623 w 394490"/>
                <a:gd name="connsiteY4" fmla="*/ 2157 h 343138"/>
                <a:gd name="connsiteX5" fmla="*/ 158624 w 394490"/>
                <a:gd name="connsiteY5" fmla="*/ 113882 h 343138"/>
                <a:gd name="connsiteX6" fmla="*/ 160692 w 394490"/>
                <a:gd name="connsiteY6" fmla="*/ 113882 h 343138"/>
                <a:gd name="connsiteX7" fmla="*/ 233107 w 394490"/>
                <a:gd name="connsiteY7" fmla="*/ 9053 h 343138"/>
                <a:gd name="connsiteX8" fmla="*/ 280694 w 394490"/>
                <a:gd name="connsiteY8" fmla="*/ 87 h 343138"/>
                <a:gd name="connsiteX9" fmla="*/ 394490 w 394490"/>
                <a:gd name="connsiteY9" fmla="*/ 133882 h 343138"/>
                <a:gd name="connsiteX10" fmla="*/ 394490 w 394490"/>
                <a:gd name="connsiteY10" fmla="*/ 142849 h 343138"/>
                <a:gd name="connsiteX11" fmla="*/ 300694 w 394490"/>
                <a:gd name="connsiteY11" fmla="*/ 148365 h 343138"/>
                <a:gd name="connsiteX12" fmla="*/ 300694 w 394490"/>
                <a:gd name="connsiteY12" fmla="*/ 123538 h 343138"/>
                <a:gd name="connsiteX13" fmla="*/ 249660 w 394490"/>
                <a:gd name="connsiteY13" fmla="*/ 60778 h 343138"/>
                <a:gd name="connsiteX14" fmla="*/ 168969 w 394490"/>
                <a:gd name="connsiteY14" fmla="*/ 193194 h 343138"/>
                <a:gd name="connsiteX15" fmla="*/ 168969 w 394490"/>
                <a:gd name="connsiteY15" fmla="*/ 323541 h 343138"/>
                <a:gd name="connsiteX16" fmla="*/ 140226 w 394490"/>
                <a:gd name="connsiteY16" fmla="*/ 343138 h 343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4490" h="343138">
                  <a:moveTo>
                    <a:pt x="77932" y="311621"/>
                  </a:moveTo>
                  <a:lnTo>
                    <a:pt x="77932" y="69053"/>
                  </a:lnTo>
                  <a:lnTo>
                    <a:pt x="0" y="69054"/>
                  </a:lnTo>
                  <a:lnTo>
                    <a:pt x="0" y="2156"/>
                  </a:lnTo>
                  <a:lnTo>
                    <a:pt x="158623" y="2157"/>
                  </a:lnTo>
                  <a:lnTo>
                    <a:pt x="158624" y="113882"/>
                  </a:lnTo>
                  <a:lnTo>
                    <a:pt x="160692" y="113882"/>
                  </a:lnTo>
                  <a:cubicBezTo>
                    <a:pt x="182762" y="48364"/>
                    <a:pt x="200003" y="22846"/>
                    <a:pt x="233107" y="9053"/>
                  </a:cubicBezTo>
                  <a:cubicBezTo>
                    <a:pt x="248280" y="2846"/>
                    <a:pt x="264142" y="-602"/>
                    <a:pt x="280694" y="87"/>
                  </a:cubicBezTo>
                  <a:cubicBezTo>
                    <a:pt x="351730" y="-1293"/>
                    <a:pt x="394490" y="48364"/>
                    <a:pt x="394490" y="133882"/>
                  </a:cubicBezTo>
                  <a:lnTo>
                    <a:pt x="394490" y="142849"/>
                  </a:lnTo>
                  <a:lnTo>
                    <a:pt x="300694" y="148365"/>
                  </a:lnTo>
                  <a:lnTo>
                    <a:pt x="300694" y="123538"/>
                  </a:lnTo>
                  <a:cubicBezTo>
                    <a:pt x="300695" y="86296"/>
                    <a:pt x="279316" y="60778"/>
                    <a:pt x="249660" y="60778"/>
                  </a:cubicBezTo>
                  <a:cubicBezTo>
                    <a:pt x="205521" y="60778"/>
                    <a:pt x="168968" y="119399"/>
                    <a:pt x="168969" y="193194"/>
                  </a:cubicBezTo>
                  <a:lnTo>
                    <a:pt x="168969" y="323541"/>
                  </a:lnTo>
                  <a:lnTo>
                    <a:pt x="140226" y="3431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24323A32-7D51-45A5-8D91-2223C2D14BC5}"/>
                </a:ext>
              </a:extLst>
            </p:cNvPr>
            <p:cNvSpPr/>
            <p:nvPr/>
          </p:nvSpPr>
          <p:spPr>
            <a:xfrm rot="8716295">
              <a:off x="8646997" y="4143256"/>
              <a:ext cx="121064" cy="89924"/>
            </a:xfrm>
            <a:custGeom>
              <a:avLst/>
              <a:gdLst>
                <a:gd name="connsiteX0" fmla="*/ 0 w 121064"/>
                <a:gd name="connsiteY0" fmla="*/ 39250 h 89924"/>
                <a:gd name="connsiteX1" fmla="*/ 32528 w 121064"/>
                <a:gd name="connsiteY1" fmla="*/ 13621 h 89924"/>
                <a:gd name="connsiteX2" fmla="*/ 78305 w 121064"/>
                <a:gd name="connsiteY2" fmla="*/ 0 h 89924"/>
                <a:gd name="connsiteX3" fmla="*/ 121064 w 121064"/>
                <a:gd name="connsiteY3" fmla="*/ 51035 h 89924"/>
                <a:gd name="connsiteX4" fmla="*/ 108563 w 121064"/>
                <a:gd name="connsiteY4" fmla="*/ 83363 h 89924"/>
                <a:gd name="connsiteX5" fmla="*/ 100159 w 121064"/>
                <a:gd name="connsiteY5" fmla="*/ 89924 h 89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1064" h="89924">
                  <a:moveTo>
                    <a:pt x="0" y="39250"/>
                  </a:moveTo>
                  <a:lnTo>
                    <a:pt x="32528" y="13621"/>
                  </a:lnTo>
                  <a:cubicBezTo>
                    <a:pt x="46580" y="6380"/>
                    <a:pt x="62098" y="1724"/>
                    <a:pt x="78305" y="0"/>
                  </a:cubicBezTo>
                  <a:cubicBezTo>
                    <a:pt x="111409" y="0"/>
                    <a:pt x="121065" y="28966"/>
                    <a:pt x="121064" y="51035"/>
                  </a:cubicBezTo>
                  <a:cubicBezTo>
                    <a:pt x="120030" y="63105"/>
                    <a:pt x="115546" y="74139"/>
                    <a:pt x="108563" y="83363"/>
                  </a:cubicBezTo>
                  <a:lnTo>
                    <a:pt x="100159" y="899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CF24F6A6-E56B-4B69-A6B4-F595B4AECDB5}"/>
                </a:ext>
              </a:extLst>
            </p:cNvPr>
            <p:cNvSpPr/>
            <p:nvPr/>
          </p:nvSpPr>
          <p:spPr>
            <a:xfrm rot="8716295">
              <a:off x="8360649" y="4203945"/>
              <a:ext cx="88105" cy="88278"/>
            </a:xfrm>
            <a:custGeom>
              <a:avLst/>
              <a:gdLst>
                <a:gd name="connsiteX0" fmla="*/ 11702 w 88105"/>
                <a:gd name="connsiteY0" fmla="*/ 72544 h 88278"/>
                <a:gd name="connsiteX1" fmla="*/ 0 w 88105"/>
                <a:gd name="connsiteY1" fmla="*/ 44829 h 88278"/>
                <a:gd name="connsiteX2" fmla="*/ 0 w 88105"/>
                <a:gd name="connsiteY2" fmla="*/ 44139 h 88278"/>
                <a:gd name="connsiteX3" fmla="*/ 13104 w 88105"/>
                <a:gd name="connsiteY3" fmla="*/ 13104 h 88278"/>
                <a:gd name="connsiteX4" fmla="*/ 44139 w 88105"/>
                <a:gd name="connsiteY4" fmla="*/ 0 h 88278"/>
                <a:gd name="connsiteX5" fmla="*/ 75175 w 88105"/>
                <a:gd name="connsiteY5" fmla="*/ 13104 h 88278"/>
                <a:gd name="connsiteX6" fmla="*/ 75175 w 88105"/>
                <a:gd name="connsiteY6" fmla="*/ 75175 h 88278"/>
                <a:gd name="connsiteX7" fmla="*/ 44139 w 88105"/>
                <a:gd name="connsiteY7" fmla="*/ 88278 h 88278"/>
                <a:gd name="connsiteX8" fmla="*/ 37752 w 88105"/>
                <a:gd name="connsiteY8" fmla="*/ 85724 h 88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8105" h="88278">
                  <a:moveTo>
                    <a:pt x="11702" y="72544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cubicBezTo>
                    <a:pt x="55864" y="0"/>
                    <a:pt x="66899" y="4828"/>
                    <a:pt x="75175" y="13104"/>
                  </a:cubicBezTo>
                  <a:cubicBezTo>
                    <a:pt x="92416" y="29657"/>
                    <a:pt x="92416" y="57933"/>
                    <a:pt x="75175" y="75175"/>
                  </a:cubicBezTo>
                  <a:cubicBezTo>
                    <a:pt x="66899" y="83451"/>
                    <a:pt x="55864" y="88278"/>
                    <a:pt x="44139" y="88278"/>
                  </a:cubicBezTo>
                  <a:lnTo>
                    <a:pt x="37752" y="857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823BDB41-A1E6-41AA-847A-64C2D14D0B20}"/>
                </a:ext>
              </a:extLst>
            </p:cNvPr>
            <p:cNvSpPr/>
            <p:nvPr/>
          </p:nvSpPr>
          <p:spPr>
            <a:xfrm rot="8716295">
              <a:off x="8270439" y="4208809"/>
              <a:ext cx="54467" cy="27557"/>
            </a:xfrm>
            <a:custGeom>
              <a:avLst/>
              <a:gdLst>
                <a:gd name="connsiteX0" fmla="*/ 0 w 54467"/>
                <a:gd name="connsiteY0" fmla="*/ 0 h 27557"/>
                <a:gd name="connsiteX1" fmla="*/ 54467 w 54467"/>
                <a:gd name="connsiteY1" fmla="*/ 0 h 27557"/>
                <a:gd name="connsiteX2" fmla="*/ 54467 w 54467"/>
                <a:gd name="connsiteY2" fmla="*/ 27557 h 27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467" h="27557">
                  <a:moveTo>
                    <a:pt x="0" y="0"/>
                  </a:moveTo>
                  <a:lnTo>
                    <a:pt x="54467" y="0"/>
                  </a:lnTo>
                  <a:lnTo>
                    <a:pt x="54467" y="2755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C4D7300C-5B1D-4389-9C36-32D5B08AA75A}"/>
                </a:ext>
              </a:extLst>
            </p:cNvPr>
            <p:cNvSpPr/>
            <p:nvPr/>
          </p:nvSpPr>
          <p:spPr>
            <a:xfrm rot="8716295">
              <a:off x="8503577" y="4269431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A57703A1-63B4-443D-A8D6-A43C23AB9B28}"/>
                </a:ext>
              </a:extLst>
            </p:cNvPr>
            <p:cNvSpPr/>
            <p:nvPr/>
          </p:nvSpPr>
          <p:spPr>
            <a:xfrm rot="8716295">
              <a:off x="8994983" y="4078441"/>
              <a:ext cx="137688" cy="132478"/>
            </a:xfrm>
            <a:custGeom>
              <a:avLst/>
              <a:gdLst>
                <a:gd name="connsiteX0" fmla="*/ 46653 w 137688"/>
                <a:gd name="connsiteY0" fmla="*/ 86420 h 132478"/>
                <a:gd name="connsiteX1" fmla="*/ 46653 w 137688"/>
                <a:gd name="connsiteY1" fmla="*/ 24828 h 132478"/>
                <a:gd name="connsiteX2" fmla="*/ 0 w 137688"/>
                <a:gd name="connsiteY2" fmla="*/ 24828 h 132478"/>
                <a:gd name="connsiteX3" fmla="*/ 15342 w 137688"/>
                <a:gd name="connsiteY3" fmla="*/ 2695 h 132478"/>
                <a:gd name="connsiteX4" fmla="*/ 137688 w 137688"/>
                <a:gd name="connsiteY4" fmla="*/ 0 h 132478"/>
                <a:gd name="connsiteX5" fmla="*/ 137688 w 137688"/>
                <a:gd name="connsiteY5" fmla="*/ 132478 h 132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7688" h="132478">
                  <a:moveTo>
                    <a:pt x="46653" y="86420"/>
                  </a:moveTo>
                  <a:lnTo>
                    <a:pt x="46653" y="24828"/>
                  </a:lnTo>
                  <a:lnTo>
                    <a:pt x="0" y="24828"/>
                  </a:lnTo>
                  <a:lnTo>
                    <a:pt x="15342" y="2695"/>
                  </a:lnTo>
                  <a:lnTo>
                    <a:pt x="137688" y="0"/>
                  </a:lnTo>
                  <a:lnTo>
                    <a:pt x="137688" y="13247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46727CBF-18BC-4939-8F2B-40813E13A972}"/>
                </a:ext>
              </a:extLst>
            </p:cNvPr>
            <p:cNvSpPr/>
            <p:nvPr/>
          </p:nvSpPr>
          <p:spPr>
            <a:xfrm rot="7484129">
              <a:off x="9136824" y="4228704"/>
              <a:ext cx="8392" cy="13068"/>
            </a:xfrm>
            <a:custGeom>
              <a:avLst/>
              <a:gdLst>
                <a:gd name="connsiteX0" fmla="*/ 3897 w 8392"/>
                <a:gd name="connsiteY0" fmla="*/ 13068 h 13068"/>
                <a:gd name="connsiteX1" fmla="*/ 0 w 8392"/>
                <a:gd name="connsiteY1" fmla="*/ 5818 h 13068"/>
                <a:gd name="connsiteX2" fmla="*/ 8392 w 8392"/>
                <a:gd name="connsiteY2" fmla="*/ 0 h 13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2" h="13068">
                  <a:moveTo>
                    <a:pt x="3897" y="13068"/>
                  </a:moveTo>
                  <a:lnTo>
                    <a:pt x="0" y="5818"/>
                  </a:lnTo>
                  <a:lnTo>
                    <a:pt x="839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D9037FA7-ED1D-4D57-8F2C-1298751D415A}"/>
                </a:ext>
              </a:extLst>
            </p:cNvPr>
            <p:cNvSpPr/>
            <p:nvPr/>
          </p:nvSpPr>
          <p:spPr>
            <a:xfrm rot="8716295">
              <a:off x="8839311" y="5117279"/>
              <a:ext cx="37096" cy="40385"/>
            </a:xfrm>
            <a:custGeom>
              <a:avLst/>
              <a:gdLst>
                <a:gd name="connsiteX0" fmla="*/ 37095 w 37096"/>
                <a:gd name="connsiteY0" fmla="*/ 25713 h 40385"/>
                <a:gd name="connsiteX1" fmla="*/ 0 w 37096"/>
                <a:gd name="connsiteY1" fmla="*/ 0 h 40385"/>
                <a:gd name="connsiteX2" fmla="*/ 0 w 37096"/>
                <a:gd name="connsiteY2" fmla="*/ 0 h 40385"/>
                <a:gd name="connsiteX3" fmla="*/ 37096 w 37096"/>
                <a:gd name="connsiteY3" fmla="*/ 25713 h 40385"/>
                <a:gd name="connsiteX4" fmla="*/ 0 w 37096"/>
                <a:gd name="connsiteY4" fmla="*/ 40385 h 40385"/>
                <a:gd name="connsiteX5" fmla="*/ 0 w 37096"/>
                <a:gd name="connsiteY5" fmla="*/ 28525 h 40385"/>
                <a:gd name="connsiteX6" fmla="*/ 9740 w 37096"/>
                <a:gd name="connsiteY6" fmla="*/ 36533 h 40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096" h="40385">
                  <a:moveTo>
                    <a:pt x="37095" y="25713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37096" y="25713"/>
                  </a:lnTo>
                  <a:close/>
                  <a:moveTo>
                    <a:pt x="0" y="40385"/>
                  </a:moveTo>
                  <a:lnTo>
                    <a:pt x="0" y="28525"/>
                  </a:lnTo>
                  <a:lnTo>
                    <a:pt x="9740" y="365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7762AEC2-4809-4723-B4B8-AD709205FF29}"/>
                </a:ext>
              </a:extLst>
            </p:cNvPr>
            <p:cNvSpPr/>
            <p:nvPr/>
          </p:nvSpPr>
          <p:spPr>
            <a:xfrm rot="8716295">
              <a:off x="8967255" y="4971567"/>
              <a:ext cx="231347" cy="158649"/>
            </a:xfrm>
            <a:custGeom>
              <a:avLst/>
              <a:gdLst>
                <a:gd name="connsiteX0" fmla="*/ 8965 w 231347"/>
                <a:gd name="connsiteY0" fmla="*/ 158649 h 158649"/>
                <a:gd name="connsiteX1" fmla="*/ 0 w 231347"/>
                <a:gd name="connsiteY1" fmla="*/ 146235 h 158649"/>
                <a:gd name="connsiteX2" fmla="*/ 155416 w 231347"/>
                <a:gd name="connsiteY2" fmla="*/ 0 h 158649"/>
                <a:gd name="connsiteX3" fmla="*/ 231347 w 231347"/>
                <a:gd name="connsiteY3" fmla="*/ 62433 h 158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347" h="158649">
                  <a:moveTo>
                    <a:pt x="8965" y="158649"/>
                  </a:moveTo>
                  <a:lnTo>
                    <a:pt x="0" y="146235"/>
                  </a:lnTo>
                  <a:lnTo>
                    <a:pt x="155416" y="0"/>
                  </a:lnTo>
                  <a:lnTo>
                    <a:pt x="231347" y="624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45E00815-1C71-4483-8D7E-4D817A5C21EF}"/>
                </a:ext>
              </a:extLst>
            </p:cNvPr>
            <p:cNvSpPr/>
            <p:nvPr/>
          </p:nvSpPr>
          <p:spPr>
            <a:xfrm rot="8716295">
              <a:off x="8555937" y="4871188"/>
              <a:ext cx="249519" cy="296463"/>
            </a:xfrm>
            <a:custGeom>
              <a:avLst/>
              <a:gdLst>
                <a:gd name="connsiteX0" fmla="*/ 249516 w 249519"/>
                <a:gd name="connsiteY0" fmla="*/ 83734 h 296463"/>
                <a:gd name="connsiteX1" fmla="*/ 128718 w 249519"/>
                <a:gd name="connsiteY1" fmla="*/ 0 h 296463"/>
                <a:gd name="connsiteX2" fmla="*/ 128719 w 249519"/>
                <a:gd name="connsiteY2" fmla="*/ 0 h 296463"/>
                <a:gd name="connsiteX3" fmla="*/ 249519 w 249519"/>
                <a:gd name="connsiteY3" fmla="*/ 83734 h 296463"/>
                <a:gd name="connsiteX4" fmla="*/ 137293 w 249519"/>
                <a:gd name="connsiteY4" fmla="*/ 296463 h 296463"/>
                <a:gd name="connsiteX5" fmla="*/ 72418 w 249519"/>
                <a:gd name="connsiteY5" fmla="*/ 175766 h 296463"/>
                <a:gd name="connsiteX6" fmla="*/ 105610 w 249519"/>
                <a:gd name="connsiteY6" fmla="*/ 83734 h 296463"/>
                <a:gd name="connsiteX7" fmla="*/ 0 w 249519"/>
                <a:gd name="connsiteY7" fmla="*/ 83734 h 296463"/>
                <a:gd name="connsiteX8" fmla="*/ 0 w 249519"/>
                <a:gd name="connsiteY8" fmla="*/ 0 h 296463"/>
                <a:gd name="connsiteX9" fmla="*/ 78196 w 249519"/>
                <a:gd name="connsiteY9" fmla="*/ 0 h 296463"/>
                <a:gd name="connsiteX10" fmla="*/ 203756 w 249519"/>
                <a:gd name="connsiteY10" fmla="*/ 103239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519" h="296463">
                  <a:moveTo>
                    <a:pt x="249516" y="83734"/>
                  </a:moveTo>
                  <a:lnTo>
                    <a:pt x="128718" y="0"/>
                  </a:lnTo>
                  <a:lnTo>
                    <a:pt x="128719" y="0"/>
                  </a:lnTo>
                  <a:lnTo>
                    <a:pt x="249519" y="83734"/>
                  </a:lnTo>
                  <a:close/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78196" y="0"/>
                  </a:lnTo>
                  <a:lnTo>
                    <a:pt x="203756" y="1032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58E38A6F-A61D-44CF-B900-AC3229C6053D}"/>
                </a:ext>
              </a:extLst>
            </p:cNvPr>
            <p:cNvSpPr/>
            <p:nvPr/>
          </p:nvSpPr>
          <p:spPr>
            <a:xfrm rot="8716295">
              <a:off x="9124182" y="4842281"/>
              <a:ext cx="37059" cy="48941"/>
            </a:xfrm>
            <a:custGeom>
              <a:avLst/>
              <a:gdLst>
                <a:gd name="connsiteX0" fmla="*/ 0 w 37059"/>
                <a:gd name="connsiteY0" fmla="*/ 48941 h 48941"/>
                <a:gd name="connsiteX1" fmla="*/ 33925 w 37059"/>
                <a:gd name="connsiteY1" fmla="*/ 0 h 48941"/>
                <a:gd name="connsiteX2" fmla="*/ 37059 w 37059"/>
                <a:gd name="connsiteY2" fmla="*/ 7460 h 48941"/>
                <a:gd name="connsiteX3" fmla="*/ 24128 w 37059"/>
                <a:gd name="connsiteY3" fmla="*/ 38754 h 48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059" h="48941">
                  <a:moveTo>
                    <a:pt x="0" y="48941"/>
                  </a:moveTo>
                  <a:lnTo>
                    <a:pt x="33925" y="0"/>
                  </a:lnTo>
                  <a:lnTo>
                    <a:pt x="37059" y="7460"/>
                  </a:lnTo>
                  <a:cubicBezTo>
                    <a:pt x="37059" y="18753"/>
                    <a:pt x="32749" y="30133"/>
                    <a:pt x="24128" y="3875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0438BEFE-52E9-475C-AF5B-D887CDB606B3}"/>
                </a:ext>
              </a:extLst>
            </p:cNvPr>
            <p:cNvSpPr/>
            <p:nvPr/>
          </p:nvSpPr>
          <p:spPr>
            <a:xfrm rot="8716295">
              <a:off x="8946271" y="4530250"/>
              <a:ext cx="235267" cy="296463"/>
            </a:xfrm>
            <a:custGeom>
              <a:avLst/>
              <a:gdLst>
                <a:gd name="connsiteX0" fmla="*/ 64028 w 235267"/>
                <a:gd name="connsiteY0" fmla="*/ 296463 h 296463"/>
                <a:gd name="connsiteX1" fmla="*/ 0 w 235267"/>
                <a:gd name="connsiteY1" fmla="*/ 177341 h 296463"/>
                <a:gd name="connsiteX2" fmla="*/ 122928 w 235267"/>
                <a:gd name="connsiteY2" fmla="*/ 0 h 296463"/>
                <a:gd name="connsiteX3" fmla="*/ 235266 w 235267"/>
                <a:gd name="connsiteY3" fmla="*/ 0 h 296463"/>
                <a:gd name="connsiteX4" fmla="*/ 235267 w 235267"/>
                <a:gd name="connsiteY4" fmla="*/ 83734 h 296463"/>
                <a:gd name="connsiteX5" fmla="*/ 137200 w 235267"/>
                <a:gd name="connsiteY5" fmla="*/ 83735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5267" h="296463">
                  <a:moveTo>
                    <a:pt x="64028" y="296463"/>
                  </a:moveTo>
                  <a:lnTo>
                    <a:pt x="0" y="177341"/>
                  </a:lnTo>
                  <a:lnTo>
                    <a:pt x="122928" y="0"/>
                  </a:lnTo>
                  <a:lnTo>
                    <a:pt x="235266" y="0"/>
                  </a:lnTo>
                  <a:lnTo>
                    <a:pt x="235267" y="83734"/>
                  </a:lnTo>
                  <a:lnTo>
                    <a:pt x="137200" y="837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D3F9B5D8-06D4-4B43-BC6C-7C19EABDD1C4}"/>
                </a:ext>
              </a:extLst>
            </p:cNvPr>
            <p:cNvSpPr/>
            <p:nvPr/>
          </p:nvSpPr>
          <p:spPr>
            <a:xfrm rot="8716295">
              <a:off x="8906661" y="466090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71905357-F1DF-411B-B59B-0F032583384E}"/>
                </a:ext>
              </a:extLst>
            </p:cNvPr>
            <p:cNvSpPr/>
            <p:nvPr/>
          </p:nvSpPr>
          <p:spPr>
            <a:xfrm rot="13089394">
              <a:off x="7765620" y="4253518"/>
              <a:ext cx="72828" cy="75543"/>
            </a:xfrm>
            <a:custGeom>
              <a:avLst/>
              <a:gdLst>
                <a:gd name="connsiteX0" fmla="*/ 0 w 72828"/>
                <a:gd name="connsiteY0" fmla="*/ 75543 h 75543"/>
                <a:gd name="connsiteX1" fmla="*/ 0 w 72828"/>
                <a:gd name="connsiteY1" fmla="*/ 37783 h 75543"/>
                <a:gd name="connsiteX2" fmla="*/ 72828 w 72828"/>
                <a:gd name="connsiteY2" fmla="*/ 0 h 7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828" h="75543">
                  <a:moveTo>
                    <a:pt x="0" y="75543"/>
                  </a:moveTo>
                  <a:lnTo>
                    <a:pt x="0" y="37783"/>
                  </a:lnTo>
                  <a:lnTo>
                    <a:pt x="7282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9CC70003-388A-4ED2-9C78-B5584C3B43A2}"/>
                </a:ext>
              </a:extLst>
            </p:cNvPr>
            <p:cNvSpPr/>
            <p:nvPr/>
          </p:nvSpPr>
          <p:spPr>
            <a:xfrm rot="8716295">
              <a:off x="7196646" y="4735107"/>
              <a:ext cx="215177" cy="351729"/>
            </a:xfrm>
            <a:custGeom>
              <a:avLst/>
              <a:gdLst>
                <a:gd name="connsiteX0" fmla="*/ 122761 w 215177"/>
                <a:gd name="connsiteY0" fmla="*/ 351729 h 351729"/>
                <a:gd name="connsiteX1" fmla="*/ 122761 w 215177"/>
                <a:gd name="connsiteY1" fmla="*/ 105519 h 351729"/>
                <a:gd name="connsiteX2" fmla="*/ 122761 w 215177"/>
                <a:gd name="connsiteY2" fmla="*/ 99312 h 351729"/>
                <a:gd name="connsiteX3" fmla="*/ 91726 w 215177"/>
                <a:gd name="connsiteY3" fmla="*/ 75863 h 351729"/>
                <a:gd name="connsiteX4" fmla="*/ 0 w 215177"/>
                <a:gd name="connsiteY4" fmla="*/ 75863 h 351729"/>
                <a:gd name="connsiteX5" fmla="*/ 0 w 215177"/>
                <a:gd name="connsiteY5" fmla="*/ 0 h 351729"/>
                <a:gd name="connsiteX6" fmla="*/ 20033 w 215177"/>
                <a:gd name="connsiteY6" fmla="*/ 0 h 351729"/>
                <a:gd name="connsiteX7" fmla="*/ 215177 w 215177"/>
                <a:gd name="connsiteY7" fmla="*/ 160452 h 351729"/>
                <a:gd name="connsiteX8" fmla="*/ 215176 w 215177"/>
                <a:gd name="connsiteY8" fmla="*/ 315177 h 351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5177" h="351729">
                  <a:moveTo>
                    <a:pt x="122761" y="35172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0"/>
                  </a:lnTo>
                  <a:lnTo>
                    <a:pt x="20033" y="0"/>
                  </a:lnTo>
                  <a:lnTo>
                    <a:pt x="215177" y="160452"/>
                  </a:lnTo>
                  <a:lnTo>
                    <a:pt x="215176" y="3151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E46A29A2-07B5-4D69-A57A-B7E84F78585B}"/>
                </a:ext>
              </a:extLst>
            </p:cNvPr>
            <p:cNvSpPr/>
            <p:nvPr/>
          </p:nvSpPr>
          <p:spPr>
            <a:xfrm rot="8716295">
              <a:off x="7519762" y="4714342"/>
              <a:ext cx="185667" cy="383455"/>
            </a:xfrm>
            <a:custGeom>
              <a:avLst/>
              <a:gdLst>
                <a:gd name="connsiteX0" fmla="*/ 77932 w 185667"/>
                <a:gd name="connsiteY0" fmla="*/ 383455 h 383455"/>
                <a:gd name="connsiteX1" fmla="*/ 77932 w 185667"/>
                <a:gd name="connsiteY1" fmla="*/ 66898 h 383455"/>
                <a:gd name="connsiteX2" fmla="*/ 0 w 185667"/>
                <a:gd name="connsiteY2" fmla="*/ 66898 h 383455"/>
                <a:gd name="connsiteX3" fmla="*/ 0 w 185667"/>
                <a:gd name="connsiteY3" fmla="*/ 0 h 383455"/>
                <a:gd name="connsiteX4" fmla="*/ 33456 w 185667"/>
                <a:gd name="connsiteY4" fmla="*/ 0 h 383455"/>
                <a:gd name="connsiteX5" fmla="*/ 158623 w 185667"/>
                <a:gd name="connsiteY5" fmla="*/ 102916 h 383455"/>
                <a:gd name="connsiteX6" fmla="*/ 158623 w 185667"/>
                <a:gd name="connsiteY6" fmla="*/ 111726 h 383455"/>
                <a:gd name="connsiteX7" fmla="*/ 160692 w 185667"/>
                <a:gd name="connsiteY7" fmla="*/ 111726 h 383455"/>
                <a:gd name="connsiteX8" fmla="*/ 162749 w 185667"/>
                <a:gd name="connsiteY8" fmla="*/ 106308 h 383455"/>
                <a:gd name="connsiteX9" fmla="*/ 185667 w 185667"/>
                <a:gd name="connsiteY9" fmla="*/ 125152 h 383455"/>
                <a:gd name="connsiteX10" fmla="*/ 168969 w 185667"/>
                <a:gd name="connsiteY10" fmla="*/ 191038 h 383455"/>
                <a:gd name="connsiteX11" fmla="*/ 168969 w 185667"/>
                <a:gd name="connsiteY11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5667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33456" y="0"/>
                  </a:lnTo>
                  <a:lnTo>
                    <a:pt x="158623" y="102916"/>
                  </a:lnTo>
                  <a:lnTo>
                    <a:pt x="158623" y="111726"/>
                  </a:lnTo>
                  <a:lnTo>
                    <a:pt x="160692" y="111726"/>
                  </a:lnTo>
                  <a:lnTo>
                    <a:pt x="162749" y="106308"/>
                  </a:lnTo>
                  <a:lnTo>
                    <a:pt x="185667" y="125152"/>
                  </a:lnTo>
                  <a:lnTo>
                    <a:pt x="168969" y="191038"/>
                  </a:ln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BB2B590A-BBED-49DF-BE0A-D7CDB8C7EA53}"/>
                </a:ext>
              </a:extLst>
            </p:cNvPr>
            <p:cNvSpPr/>
            <p:nvPr/>
          </p:nvSpPr>
          <p:spPr>
            <a:xfrm rot="8716295">
              <a:off x="7265319" y="4648384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7838B053-EE23-465E-B80C-0FDB953D8E9F}"/>
                </a:ext>
              </a:extLst>
            </p:cNvPr>
            <p:cNvSpPr/>
            <p:nvPr/>
          </p:nvSpPr>
          <p:spPr>
            <a:xfrm rot="8716295">
              <a:off x="7028032" y="486872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46F2EA92-FAA0-4CBD-8D20-0B7AF9B36906}"/>
                </a:ext>
              </a:extLst>
            </p:cNvPr>
            <p:cNvSpPr/>
            <p:nvPr/>
          </p:nvSpPr>
          <p:spPr>
            <a:xfrm rot="8716295">
              <a:off x="6838986" y="455289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C33E7506-2F8D-4DC7-82BD-DA6D9CD10C11}"/>
                </a:ext>
              </a:extLst>
            </p:cNvPr>
            <p:cNvSpPr/>
            <p:nvPr/>
          </p:nvSpPr>
          <p:spPr>
            <a:xfrm rot="8716295">
              <a:off x="6821466" y="4356542"/>
              <a:ext cx="439901" cy="511464"/>
            </a:xfrm>
            <a:custGeom>
              <a:avLst/>
              <a:gdLst>
                <a:gd name="connsiteX0" fmla="*/ 1873 w 439901"/>
                <a:gd name="connsiteY0" fmla="*/ 384681 h 511464"/>
                <a:gd name="connsiteX1" fmla="*/ 1725 w 439901"/>
                <a:gd name="connsiteY1" fmla="*/ 383648 h 511464"/>
                <a:gd name="connsiteX2" fmla="*/ 0 w 439901"/>
                <a:gd name="connsiteY2" fmla="*/ 333043 h 511464"/>
                <a:gd name="connsiteX3" fmla="*/ 0 w 439901"/>
                <a:gd name="connsiteY3" fmla="*/ 61444 h 511464"/>
                <a:gd name="connsiteX4" fmla="*/ 118434 w 439901"/>
                <a:gd name="connsiteY4" fmla="*/ 0 h 511464"/>
                <a:gd name="connsiteX5" fmla="*/ 120216 w 439901"/>
                <a:gd name="connsiteY5" fmla="*/ 248447 h 511464"/>
                <a:gd name="connsiteX6" fmla="*/ 141587 w 439901"/>
                <a:gd name="connsiteY6" fmla="*/ 396268 h 511464"/>
                <a:gd name="connsiteX7" fmla="*/ 248446 w 439901"/>
                <a:gd name="connsiteY7" fmla="*/ 455041 h 511464"/>
                <a:gd name="connsiteX8" fmla="*/ 328590 w 439901"/>
                <a:gd name="connsiteY8" fmla="*/ 440793 h 511464"/>
                <a:gd name="connsiteX9" fmla="*/ 438120 w 439901"/>
                <a:gd name="connsiteY9" fmla="*/ 396268 h 511464"/>
                <a:gd name="connsiteX10" fmla="*/ 439901 w 439901"/>
                <a:gd name="connsiteY10" fmla="*/ 407844 h 511464"/>
                <a:gd name="connsiteX11" fmla="*/ 439901 w 439901"/>
                <a:gd name="connsiteY11" fmla="*/ 416749 h 511464"/>
                <a:gd name="connsiteX12" fmla="*/ 286180 w 439901"/>
                <a:gd name="connsiteY12" fmla="*/ 502459 h 511464"/>
                <a:gd name="connsiteX13" fmla="*/ 252462 w 439901"/>
                <a:gd name="connsiteY13" fmla="*/ 511464 h 511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9901" h="511464">
                  <a:moveTo>
                    <a:pt x="1873" y="384681"/>
                  </a:moveTo>
                  <a:lnTo>
                    <a:pt x="1725" y="383648"/>
                  </a:lnTo>
                  <a:cubicBezTo>
                    <a:pt x="501" y="368162"/>
                    <a:pt x="0" y="351298"/>
                    <a:pt x="0" y="333043"/>
                  </a:cubicBezTo>
                  <a:lnTo>
                    <a:pt x="0" y="61444"/>
                  </a:lnTo>
                  <a:lnTo>
                    <a:pt x="118434" y="0"/>
                  </a:lnTo>
                  <a:lnTo>
                    <a:pt x="120216" y="248447"/>
                  </a:lnTo>
                  <a:cubicBezTo>
                    <a:pt x="117545" y="298315"/>
                    <a:pt x="125558" y="349072"/>
                    <a:pt x="141587" y="396268"/>
                  </a:cubicBezTo>
                  <a:cubicBezTo>
                    <a:pt x="155836" y="435450"/>
                    <a:pt x="192346" y="455041"/>
                    <a:pt x="248446" y="455041"/>
                  </a:cubicBezTo>
                  <a:cubicBezTo>
                    <a:pt x="276051" y="454150"/>
                    <a:pt x="302766" y="448807"/>
                    <a:pt x="328590" y="440793"/>
                  </a:cubicBezTo>
                  <a:cubicBezTo>
                    <a:pt x="365990" y="429216"/>
                    <a:pt x="402501" y="414078"/>
                    <a:pt x="438120" y="396268"/>
                  </a:cubicBezTo>
                  <a:cubicBezTo>
                    <a:pt x="439010" y="399830"/>
                    <a:pt x="439901" y="404282"/>
                    <a:pt x="439901" y="407844"/>
                  </a:cubicBezTo>
                  <a:lnTo>
                    <a:pt x="439901" y="416749"/>
                  </a:lnTo>
                  <a:cubicBezTo>
                    <a:pt x="392705" y="457267"/>
                    <a:pt x="338163" y="484649"/>
                    <a:pt x="286180" y="502459"/>
                  </a:cubicBezTo>
                  <a:lnTo>
                    <a:pt x="252462" y="5114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F0039EE6-19E5-4457-84A9-3D50560FF71B}"/>
                </a:ext>
              </a:extLst>
            </p:cNvPr>
            <p:cNvSpPr/>
            <p:nvPr/>
          </p:nvSpPr>
          <p:spPr>
            <a:xfrm rot="8716295">
              <a:off x="7635467" y="435609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62946C15-BE3C-45DF-BB3D-128249E4D1A5}"/>
                </a:ext>
              </a:extLst>
            </p:cNvPr>
            <p:cNvSpPr/>
            <p:nvPr/>
          </p:nvSpPr>
          <p:spPr>
            <a:xfrm rot="8716295">
              <a:off x="7770766" y="440035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3C27B629-4EE2-46C6-9535-F5382300825F}"/>
                </a:ext>
              </a:extLst>
            </p:cNvPr>
            <p:cNvSpPr/>
            <p:nvPr/>
          </p:nvSpPr>
          <p:spPr>
            <a:xfrm rot="8716295">
              <a:off x="7465596" y="44901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6592736C-E2B7-4AAA-9132-CE6867AFB7E6}"/>
                </a:ext>
              </a:extLst>
            </p:cNvPr>
            <p:cNvSpPr/>
            <p:nvPr/>
          </p:nvSpPr>
          <p:spPr>
            <a:xfrm rot="8716295">
              <a:off x="7313509" y="4314181"/>
              <a:ext cx="308532" cy="142740"/>
            </a:xfrm>
            <a:custGeom>
              <a:avLst/>
              <a:gdLst>
                <a:gd name="connsiteX0" fmla="*/ 0 w 308532"/>
                <a:gd name="connsiteY0" fmla="*/ 46525 h 142740"/>
                <a:gd name="connsiteX1" fmla="*/ 0 w 308532"/>
                <a:gd name="connsiteY1" fmla="*/ 0 h 142740"/>
                <a:gd name="connsiteX2" fmla="*/ 308532 w 308532"/>
                <a:gd name="connsiteY2" fmla="*/ 0 h 142740"/>
                <a:gd name="connsiteX3" fmla="*/ 308532 w 308532"/>
                <a:gd name="connsiteY3" fmla="*/ 83734 h 142740"/>
                <a:gd name="connsiteX4" fmla="*/ 210465 w 308532"/>
                <a:gd name="connsiteY4" fmla="*/ 83734 h 142740"/>
                <a:gd name="connsiteX5" fmla="*/ 190169 w 308532"/>
                <a:gd name="connsiteY5" fmla="*/ 142740 h 142740"/>
                <a:gd name="connsiteX6" fmla="*/ 100662 w 308532"/>
                <a:gd name="connsiteY6" fmla="*/ 97454 h 142740"/>
                <a:gd name="connsiteX7" fmla="*/ 105610 w 308532"/>
                <a:gd name="connsiteY7" fmla="*/ 83734 h 142740"/>
                <a:gd name="connsiteX8" fmla="*/ 73544 w 308532"/>
                <a:gd name="connsiteY8" fmla="*/ 83734 h 142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532" h="142740">
                  <a:moveTo>
                    <a:pt x="0" y="46525"/>
                  </a:moveTo>
                  <a:lnTo>
                    <a:pt x="0" y="0"/>
                  </a:lnTo>
                  <a:lnTo>
                    <a:pt x="308532" y="0"/>
                  </a:lnTo>
                  <a:lnTo>
                    <a:pt x="308532" y="83734"/>
                  </a:lnTo>
                  <a:lnTo>
                    <a:pt x="210465" y="83734"/>
                  </a:lnTo>
                  <a:lnTo>
                    <a:pt x="190169" y="142740"/>
                  </a:lnTo>
                  <a:lnTo>
                    <a:pt x="100662" y="97454"/>
                  </a:lnTo>
                  <a:lnTo>
                    <a:pt x="105610" y="83734"/>
                  </a:lnTo>
                  <a:lnTo>
                    <a:pt x="73544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39B2926A-51C6-4DDF-86D8-072C96B838B0}"/>
                </a:ext>
              </a:extLst>
            </p:cNvPr>
            <p:cNvSpPr/>
            <p:nvPr/>
          </p:nvSpPr>
          <p:spPr>
            <a:xfrm rot="8716295">
              <a:off x="7602084" y="4552096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A5226D1B-39C8-4DB7-A39D-DE8AE96085BA}"/>
                </a:ext>
              </a:extLst>
            </p:cNvPr>
            <p:cNvSpPr/>
            <p:nvPr/>
          </p:nvSpPr>
          <p:spPr>
            <a:xfrm rot="8716295">
              <a:off x="7233779" y="4339176"/>
              <a:ext cx="112931" cy="98229"/>
            </a:xfrm>
            <a:custGeom>
              <a:avLst/>
              <a:gdLst>
                <a:gd name="connsiteX0" fmla="*/ 0 w 112931"/>
                <a:gd name="connsiteY0" fmla="*/ 49475 h 98229"/>
                <a:gd name="connsiteX1" fmla="*/ 13559 w 112931"/>
                <a:gd name="connsiteY1" fmla="*/ 17362 h 98229"/>
                <a:gd name="connsiteX2" fmla="*/ 54678 w 112931"/>
                <a:gd name="connsiteY2" fmla="*/ 0 h 98229"/>
                <a:gd name="connsiteX3" fmla="*/ 95798 w 112931"/>
                <a:gd name="connsiteY3" fmla="*/ 17362 h 98229"/>
                <a:gd name="connsiteX4" fmla="*/ 112931 w 112931"/>
                <a:gd name="connsiteY4" fmla="*/ 58139 h 98229"/>
                <a:gd name="connsiteX5" fmla="*/ 96365 w 112931"/>
                <a:gd name="connsiteY5" fmla="*/ 98229 h 98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931" h="98229">
                  <a:moveTo>
                    <a:pt x="0" y="49475"/>
                  </a:moveTo>
                  <a:lnTo>
                    <a:pt x="13559" y="17362"/>
                  </a:lnTo>
                  <a:cubicBezTo>
                    <a:pt x="24524" y="6397"/>
                    <a:pt x="39145" y="0"/>
                    <a:pt x="54678" y="0"/>
                  </a:cubicBezTo>
                  <a:cubicBezTo>
                    <a:pt x="70213" y="0"/>
                    <a:pt x="84833" y="6397"/>
                    <a:pt x="95798" y="17362"/>
                  </a:cubicBezTo>
                  <a:cubicBezTo>
                    <a:pt x="107220" y="28327"/>
                    <a:pt x="112931" y="43176"/>
                    <a:pt x="112931" y="58139"/>
                  </a:cubicBezTo>
                  <a:lnTo>
                    <a:pt x="96365" y="9822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B8D891A1-7C58-4828-B849-358D4D72EA90}"/>
                </a:ext>
              </a:extLst>
            </p:cNvPr>
            <p:cNvSpPr/>
            <p:nvPr/>
          </p:nvSpPr>
          <p:spPr>
            <a:xfrm rot="7484129">
              <a:off x="7765134" y="4837237"/>
              <a:ext cx="295167" cy="296463"/>
            </a:xfrm>
            <a:custGeom>
              <a:avLst/>
              <a:gdLst>
                <a:gd name="connsiteX0" fmla="*/ 295165 w 295167"/>
                <a:gd name="connsiteY0" fmla="*/ 83734 h 296463"/>
                <a:gd name="connsiteX1" fmla="*/ 237109 w 295167"/>
                <a:gd name="connsiteY1" fmla="*/ 0 h 296463"/>
                <a:gd name="connsiteX2" fmla="*/ 237110 w 295167"/>
                <a:gd name="connsiteY2" fmla="*/ 0 h 296463"/>
                <a:gd name="connsiteX3" fmla="*/ 295167 w 295167"/>
                <a:gd name="connsiteY3" fmla="*/ 83734 h 296463"/>
                <a:gd name="connsiteX4" fmla="*/ 137293 w 295167"/>
                <a:gd name="connsiteY4" fmla="*/ 296463 h 296463"/>
                <a:gd name="connsiteX5" fmla="*/ 72418 w 295167"/>
                <a:gd name="connsiteY5" fmla="*/ 175766 h 296463"/>
                <a:gd name="connsiteX6" fmla="*/ 105610 w 295167"/>
                <a:gd name="connsiteY6" fmla="*/ 83734 h 296463"/>
                <a:gd name="connsiteX7" fmla="*/ 0 w 295167"/>
                <a:gd name="connsiteY7" fmla="*/ 83734 h 296463"/>
                <a:gd name="connsiteX8" fmla="*/ 0 w 295167"/>
                <a:gd name="connsiteY8" fmla="*/ 0 h 296463"/>
                <a:gd name="connsiteX9" fmla="*/ 126381 w 295167"/>
                <a:gd name="connsiteY9" fmla="*/ 0 h 296463"/>
                <a:gd name="connsiteX10" fmla="*/ 197160 w 295167"/>
                <a:gd name="connsiteY10" fmla="*/ 122416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5167" h="296463">
                  <a:moveTo>
                    <a:pt x="295165" y="83734"/>
                  </a:moveTo>
                  <a:lnTo>
                    <a:pt x="237109" y="0"/>
                  </a:lnTo>
                  <a:lnTo>
                    <a:pt x="237110" y="0"/>
                  </a:lnTo>
                  <a:lnTo>
                    <a:pt x="295167" y="83734"/>
                  </a:lnTo>
                  <a:close/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126381" y="0"/>
                  </a:lnTo>
                  <a:lnTo>
                    <a:pt x="197160" y="1224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527B4309-024C-4B07-A449-12F7536748C5}"/>
                </a:ext>
              </a:extLst>
            </p:cNvPr>
            <p:cNvSpPr/>
            <p:nvPr/>
          </p:nvSpPr>
          <p:spPr>
            <a:xfrm rot="13089394">
              <a:off x="8005038" y="4814171"/>
              <a:ext cx="409104" cy="218063"/>
            </a:xfrm>
            <a:custGeom>
              <a:avLst/>
              <a:gdLst>
                <a:gd name="connsiteX0" fmla="*/ 409104 w 409104"/>
                <a:gd name="connsiteY0" fmla="*/ 110916 h 218063"/>
                <a:gd name="connsiteX1" fmla="*/ 135172 w 409104"/>
                <a:gd name="connsiteY1" fmla="*/ 217816 h 218063"/>
                <a:gd name="connsiteX2" fmla="*/ 32447 w 409104"/>
                <a:gd name="connsiteY2" fmla="*/ 176058 h 218063"/>
                <a:gd name="connsiteX3" fmla="*/ 3843 w 409104"/>
                <a:gd name="connsiteY3" fmla="*/ 119581 h 218063"/>
                <a:gd name="connsiteX4" fmla="*/ 0 w 409104"/>
                <a:gd name="connsiteY4" fmla="*/ 73735 h 218063"/>
                <a:gd name="connsiteX5" fmla="*/ 111583 w 409104"/>
                <a:gd name="connsiteY5" fmla="*/ 0 h 218063"/>
                <a:gd name="connsiteX6" fmla="*/ 112727 w 409104"/>
                <a:gd name="connsiteY6" fmla="*/ 23329 h 218063"/>
                <a:gd name="connsiteX7" fmla="*/ 129325 w 409104"/>
                <a:gd name="connsiteY7" fmla="*/ 91708 h 218063"/>
                <a:gd name="connsiteX8" fmla="*/ 229544 w 409104"/>
                <a:gd name="connsiteY8" fmla="*/ 146828 h 218063"/>
                <a:gd name="connsiteX9" fmla="*/ 304708 w 409104"/>
                <a:gd name="connsiteY9" fmla="*/ 133466 h 218063"/>
                <a:gd name="connsiteX10" fmla="*/ 407434 w 409104"/>
                <a:gd name="connsiteY10" fmla="*/ 91708 h 218063"/>
                <a:gd name="connsiteX11" fmla="*/ 409104 w 409104"/>
                <a:gd name="connsiteY11" fmla="*/ 102564 h 218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9104" h="218063">
                  <a:moveTo>
                    <a:pt x="409104" y="110916"/>
                  </a:moveTo>
                  <a:cubicBezTo>
                    <a:pt x="320577" y="186915"/>
                    <a:pt x="204490" y="213641"/>
                    <a:pt x="135172" y="217816"/>
                  </a:cubicBezTo>
                  <a:cubicBezTo>
                    <a:pt x="96755" y="220322"/>
                    <a:pt x="59173" y="203619"/>
                    <a:pt x="32447" y="176058"/>
                  </a:cubicBezTo>
                  <a:cubicBezTo>
                    <a:pt x="18249" y="162278"/>
                    <a:pt x="9272" y="143487"/>
                    <a:pt x="3843" y="119581"/>
                  </a:cubicBezTo>
                  <a:lnTo>
                    <a:pt x="0" y="73735"/>
                  </a:lnTo>
                  <a:lnTo>
                    <a:pt x="111583" y="0"/>
                  </a:lnTo>
                  <a:lnTo>
                    <a:pt x="112727" y="23329"/>
                  </a:lnTo>
                  <a:cubicBezTo>
                    <a:pt x="116171" y="46609"/>
                    <a:pt x="121808" y="69576"/>
                    <a:pt x="129325" y="91708"/>
                  </a:cubicBezTo>
                  <a:cubicBezTo>
                    <a:pt x="142689" y="128454"/>
                    <a:pt x="176930" y="146828"/>
                    <a:pt x="229544" y="146828"/>
                  </a:cubicBezTo>
                  <a:cubicBezTo>
                    <a:pt x="255435" y="145993"/>
                    <a:pt x="280489" y="140981"/>
                    <a:pt x="304708" y="133466"/>
                  </a:cubicBezTo>
                  <a:cubicBezTo>
                    <a:pt x="339785" y="122608"/>
                    <a:pt x="374027" y="108411"/>
                    <a:pt x="407434" y="91708"/>
                  </a:cubicBezTo>
                  <a:cubicBezTo>
                    <a:pt x="408268" y="95048"/>
                    <a:pt x="409104" y="99224"/>
                    <a:pt x="409104" y="10256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A6665952-BEBA-4083-8857-192589F92F66}"/>
                </a:ext>
              </a:extLst>
            </p:cNvPr>
            <p:cNvSpPr/>
            <p:nvPr/>
          </p:nvSpPr>
          <p:spPr>
            <a:xfrm rot="8716295">
              <a:off x="8200443" y="4500944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48E8912F-96AC-4641-B68F-1FAC8423EE44}"/>
                </a:ext>
              </a:extLst>
            </p:cNvPr>
            <p:cNvSpPr/>
            <p:nvPr/>
          </p:nvSpPr>
          <p:spPr>
            <a:xfrm rot="8716295">
              <a:off x="8122034" y="434415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53758D6F-45BC-4683-9BA4-5F935E950CCD}"/>
                </a:ext>
              </a:extLst>
            </p:cNvPr>
            <p:cNvSpPr/>
            <p:nvPr/>
          </p:nvSpPr>
          <p:spPr>
            <a:xfrm rot="8716295">
              <a:off x="7753870" y="438989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3D33FD22-12AD-4D1A-88D7-5F0D534CAA44}"/>
                </a:ext>
              </a:extLst>
            </p:cNvPr>
            <p:cNvSpPr/>
            <p:nvPr/>
          </p:nvSpPr>
          <p:spPr>
            <a:xfrm rot="8716295">
              <a:off x="8030791" y="4210054"/>
              <a:ext cx="154744" cy="110503"/>
            </a:xfrm>
            <a:custGeom>
              <a:avLst/>
              <a:gdLst>
                <a:gd name="connsiteX0" fmla="*/ 0 w 154744"/>
                <a:gd name="connsiteY0" fmla="*/ 34366 h 110503"/>
                <a:gd name="connsiteX1" fmla="*/ 3342 w 154744"/>
                <a:gd name="connsiteY1" fmla="*/ 26453 h 110503"/>
                <a:gd name="connsiteX2" fmla="*/ 65990 w 154744"/>
                <a:gd name="connsiteY2" fmla="*/ 0 h 110503"/>
                <a:gd name="connsiteX3" fmla="*/ 128640 w 154744"/>
                <a:gd name="connsiteY3" fmla="*/ 26453 h 110503"/>
                <a:gd name="connsiteX4" fmla="*/ 154744 w 154744"/>
                <a:gd name="connsiteY4" fmla="*/ 88580 h 110503"/>
                <a:gd name="connsiteX5" fmla="*/ 150487 w 154744"/>
                <a:gd name="connsiteY5" fmla="*/ 110503 h 110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4744" h="110503">
                  <a:moveTo>
                    <a:pt x="0" y="34366"/>
                  </a:moveTo>
                  <a:lnTo>
                    <a:pt x="3342" y="26453"/>
                  </a:lnTo>
                  <a:cubicBezTo>
                    <a:pt x="20048" y="9746"/>
                    <a:pt x="42323" y="0"/>
                    <a:pt x="65990" y="0"/>
                  </a:cubicBezTo>
                  <a:cubicBezTo>
                    <a:pt x="89659" y="0"/>
                    <a:pt x="111934" y="9746"/>
                    <a:pt x="128640" y="26453"/>
                  </a:cubicBezTo>
                  <a:cubicBezTo>
                    <a:pt x="146043" y="43159"/>
                    <a:pt x="154744" y="65782"/>
                    <a:pt x="154744" y="88580"/>
                  </a:cubicBezTo>
                  <a:lnTo>
                    <a:pt x="150487" y="1105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55" name="Rectangle 7">
            <a:extLst>
              <a:ext uri="{FF2B5EF4-FFF2-40B4-BE49-F238E27FC236}">
                <a16:creationId xmlns:a16="http://schemas.microsoft.com/office/drawing/2014/main" id="{88941299-7323-4585-91C3-38C1B71800C4}"/>
              </a:ext>
            </a:extLst>
          </p:cNvPr>
          <p:cNvSpPr/>
          <p:nvPr userDrawn="1"/>
        </p:nvSpPr>
        <p:spPr>
          <a:xfrm>
            <a:off x="0" y="4391025"/>
            <a:ext cx="9153528" cy="752475"/>
          </a:xfrm>
          <a:custGeom>
            <a:avLst/>
            <a:gdLst>
              <a:gd name="connsiteX0" fmla="*/ 0 w 9153528"/>
              <a:gd name="connsiteY0" fmla="*/ 0 h 752475"/>
              <a:gd name="connsiteX1" fmla="*/ 9153528 w 9153528"/>
              <a:gd name="connsiteY1" fmla="*/ 0 h 752475"/>
              <a:gd name="connsiteX2" fmla="*/ 9153528 w 9153528"/>
              <a:gd name="connsiteY2" fmla="*/ 752475 h 752475"/>
              <a:gd name="connsiteX3" fmla="*/ 0 w 9153528"/>
              <a:gd name="connsiteY3" fmla="*/ 752475 h 752475"/>
              <a:gd name="connsiteX4" fmla="*/ 0 w 9153528"/>
              <a:gd name="connsiteY4" fmla="*/ 0 h 752475"/>
              <a:gd name="connsiteX0" fmla="*/ 0 w 9153528"/>
              <a:gd name="connsiteY0" fmla="*/ 0 h 752475"/>
              <a:gd name="connsiteX1" fmla="*/ 9153528 w 9153528"/>
              <a:gd name="connsiteY1" fmla="*/ 752475 h 752475"/>
              <a:gd name="connsiteX2" fmla="*/ 0 w 9153528"/>
              <a:gd name="connsiteY2" fmla="*/ 752475 h 752475"/>
              <a:gd name="connsiteX3" fmla="*/ 0 w 9153528"/>
              <a:gd name="connsiteY3" fmla="*/ 0 h 752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53528" h="752475">
                <a:moveTo>
                  <a:pt x="0" y="0"/>
                </a:moveTo>
                <a:lnTo>
                  <a:pt x="9153528" y="752475"/>
                </a:lnTo>
                <a:lnTo>
                  <a:pt x="0" y="752475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pic>
        <p:nvPicPr>
          <p:cNvPr id="56" name="Graphique 55">
            <a:extLst>
              <a:ext uri="{FF2B5EF4-FFF2-40B4-BE49-F238E27FC236}">
                <a16:creationId xmlns:a16="http://schemas.microsoft.com/office/drawing/2014/main" id="{A88B7565-C7DC-40EA-B5DD-A4245568A9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34871" y="2053350"/>
            <a:ext cx="3474258" cy="103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062227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itre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>
            <a:extLst>
              <a:ext uri="{FF2B5EF4-FFF2-40B4-BE49-F238E27FC236}">
                <a16:creationId xmlns:a16="http://schemas.microsoft.com/office/drawing/2014/main" id="{6A348ADD-AB0E-41AD-9203-40019D501D09}"/>
              </a:ext>
            </a:extLst>
          </p:cNvPr>
          <p:cNvGrpSpPr/>
          <p:nvPr userDrawn="1"/>
        </p:nvGrpSpPr>
        <p:grpSpPr>
          <a:xfrm>
            <a:off x="-134707" y="-108618"/>
            <a:ext cx="6284502" cy="5381969"/>
            <a:chOff x="-134707" y="-108618"/>
            <a:chExt cx="6284502" cy="5381969"/>
          </a:xfrm>
          <a:solidFill>
            <a:schemeClr val="bg2">
              <a:alpha val="10000"/>
            </a:schemeClr>
          </a:solidFill>
        </p:grpSpPr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4588E603-EA6D-4A8D-ABC7-9DE29315EF7F}"/>
                </a:ext>
              </a:extLst>
            </p:cNvPr>
            <p:cNvSpPr/>
            <p:nvPr/>
          </p:nvSpPr>
          <p:spPr>
            <a:xfrm rot="8716295">
              <a:off x="1460344" y="348006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8D98135C-BBC2-4D16-96A0-7D0791CBF234}"/>
                </a:ext>
              </a:extLst>
            </p:cNvPr>
            <p:cNvSpPr/>
            <p:nvPr/>
          </p:nvSpPr>
          <p:spPr>
            <a:xfrm rot="8716295">
              <a:off x="1595642" y="352432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99CC6255-5792-4F9C-BE71-CF421386A627}"/>
                </a:ext>
              </a:extLst>
            </p:cNvPr>
            <p:cNvSpPr/>
            <p:nvPr/>
          </p:nvSpPr>
          <p:spPr>
            <a:xfrm rot="8716295">
              <a:off x="1527760" y="339373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4D44D8C2-4775-4ED6-AF57-EBCE00D0B723}"/>
                </a:ext>
              </a:extLst>
            </p:cNvPr>
            <p:cNvSpPr/>
            <p:nvPr/>
          </p:nvSpPr>
          <p:spPr>
            <a:xfrm rot="8716295">
              <a:off x="1290473" y="361408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EC13E85B-F308-4A84-A6BC-C18C71386F58}"/>
                </a:ext>
              </a:extLst>
            </p:cNvPr>
            <p:cNvSpPr/>
            <p:nvPr/>
          </p:nvSpPr>
          <p:spPr>
            <a:xfrm rot="8716295">
              <a:off x="1101427" y="329824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6E015BB2-4D35-4CF4-A5C2-59649EEBFF40}"/>
                </a:ext>
              </a:extLst>
            </p:cNvPr>
            <p:cNvSpPr/>
            <p:nvPr/>
          </p:nvSpPr>
          <p:spPr>
            <a:xfrm rot="8716295">
              <a:off x="1083185" y="3088198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9BFD4E55-95DB-4948-9F11-510807EC9D8A}"/>
                </a:ext>
              </a:extLst>
            </p:cNvPr>
            <p:cNvSpPr/>
            <p:nvPr/>
          </p:nvSpPr>
          <p:spPr>
            <a:xfrm rot="8716295">
              <a:off x="1426961" y="367606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4A110395-765E-4DD5-AC3E-A28545974AAB}"/>
                </a:ext>
              </a:extLst>
            </p:cNvPr>
            <p:cNvSpPr/>
            <p:nvPr/>
          </p:nvSpPr>
          <p:spPr>
            <a:xfrm rot="8716295">
              <a:off x="1897908" y="310145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752DD23B-ED4C-4692-9CB0-792B6E8C38E8}"/>
                </a:ext>
              </a:extLst>
            </p:cNvPr>
            <p:cNvSpPr/>
            <p:nvPr/>
          </p:nvSpPr>
          <p:spPr>
            <a:xfrm rot="8716295">
              <a:off x="2033206" y="314571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407B9478-6D17-4EBC-AE18-7FD28A2FC874}"/>
                </a:ext>
              </a:extLst>
            </p:cNvPr>
            <p:cNvSpPr/>
            <p:nvPr/>
          </p:nvSpPr>
          <p:spPr>
            <a:xfrm rot="8716295">
              <a:off x="1728037" y="323546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DDF2324E-ABD3-44DC-8D06-AD3B881C1A39}"/>
                </a:ext>
              </a:extLst>
            </p:cNvPr>
            <p:cNvSpPr/>
            <p:nvPr/>
          </p:nvSpPr>
          <p:spPr>
            <a:xfrm rot="8716295">
              <a:off x="1538992" y="291963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EF0C42E5-DDE5-4434-B96B-A910A8DADC60}"/>
                </a:ext>
              </a:extLst>
            </p:cNvPr>
            <p:cNvSpPr/>
            <p:nvPr/>
          </p:nvSpPr>
          <p:spPr>
            <a:xfrm rot="8716295">
              <a:off x="1864525" y="329745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1AF80BC5-2FE2-47AB-8E9C-E26EB916D016}"/>
                </a:ext>
              </a:extLst>
            </p:cNvPr>
            <p:cNvSpPr/>
            <p:nvPr/>
          </p:nvSpPr>
          <p:spPr>
            <a:xfrm rot="8716295">
              <a:off x="1499078" y="307102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B1E25E5F-E250-4318-97CF-E3EF2CD18D72}"/>
                </a:ext>
              </a:extLst>
            </p:cNvPr>
            <p:cNvSpPr/>
            <p:nvPr/>
          </p:nvSpPr>
          <p:spPr>
            <a:xfrm rot="7484129">
              <a:off x="2023343" y="358706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3240DB54-B585-4364-A4CC-E94E9F63B7D1}"/>
                </a:ext>
              </a:extLst>
            </p:cNvPr>
            <p:cNvSpPr/>
            <p:nvPr/>
          </p:nvSpPr>
          <p:spPr>
            <a:xfrm rot="13089394">
              <a:off x="2181992" y="353641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273F70D5-0FDD-4CE1-814B-D9312EE2ED7C}"/>
                </a:ext>
              </a:extLst>
            </p:cNvPr>
            <p:cNvSpPr/>
            <p:nvPr/>
          </p:nvSpPr>
          <p:spPr>
            <a:xfrm rot="8716295">
              <a:off x="2462883" y="3246298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C7DAFD7E-6F4A-40E6-A59C-00BDC917B87B}"/>
                </a:ext>
              </a:extLst>
            </p:cNvPr>
            <p:cNvSpPr/>
            <p:nvPr/>
          </p:nvSpPr>
          <p:spPr>
            <a:xfrm rot="8716295">
              <a:off x="2384474" y="308950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48BC9105-C681-433B-8AF1-4FE2E6AF7484}"/>
                </a:ext>
              </a:extLst>
            </p:cNvPr>
            <p:cNvSpPr/>
            <p:nvPr/>
          </p:nvSpPr>
          <p:spPr>
            <a:xfrm rot="8716295">
              <a:off x="2016311" y="313524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1A014423-3778-467F-945D-40491D2DDC50}"/>
                </a:ext>
              </a:extLst>
            </p:cNvPr>
            <p:cNvSpPr/>
            <p:nvPr/>
          </p:nvSpPr>
          <p:spPr>
            <a:xfrm rot="8716295">
              <a:off x="2284892" y="289422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754E4A02-6646-4EF0-8CC5-B9030AE2C233}"/>
                </a:ext>
              </a:extLst>
            </p:cNvPr>
            <p:cNvSpPr/>
            <p:nvPr/>
          </p:nvSpPr>
          <p:spPr>
            <a:xfrm rot="8716295">
              <a:off x="1798117" y="447855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84764706-CB95-4A07-B328-B801005B7146}"/>
                </a:ext>
              </a:extLst>
            </p:cNvPr>
            <p:cNvSpPr/>
            <p:nvPr/>
          </p:nvSpPr>
          <p:spPr>
            <a:xfrm rot="8716295">
              <a:off x="1933415" y="452281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B1C7133F-9245-4557-9366-3880E57EEB00}"/>
                </a:ext>
              </a:extLst>
            </p:cNvPr>
            <p:cNvSpPr/>
            <p:nvPr/>
          </p:nvSpPr>
          <p:spPr>
            <a:xfrm rot="8716295">
              <a:off x="1865533" y="439222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34C731BB-8709-4827-B371-DEB3D84B9346}"/>
                </a:ext>
              </a:extLst>
            </p:cNvPr>
            <p:cNvSpPr/>
            <p:nvPr/>
          </p:nvSpPr>
          <p:spPr>
            <a:xfrm rot="8716295">
              <a:off x="1628246" y="461256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800CC594-61C3-4799-9C62-0BE95617F0FD}"/>
                </a:ext>
              </a:extLst>
            </p:cNvPr>
            <p:cNvSpPr/>
            <p:nvPr/>
          </p:nvSpPr>
          <p:spPr>
            <a:xfrm rot="8716295">
              <a:off x="1439200" y="42967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6F690A0E-19E3-4512-B7F9-01EE4EBA9F6E}"/>
                </a:ext>
              </a:extLst>
            </p:cNvPr>
            <p:cNvSpPr/>
            <p:nvPr/>
          </p:nvSpPr>
          <p:spPr>
            <a:xfrm rot="8716295">
              <a:off x="1420958" y="408668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2D91E14E-69D9-458E-AA57-95A8078F1A19}"/>
                </a:ext>
              </a:extLst>
            </p:cNvPr>
            <p:cNvSpPr/>
            <p:nvPr/>
          </p:nvSpPr>
          <p:spPr>
            <a:xfrm rot="8716295">
              <a:off x="1764734" y="467454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4AA00D19-4A76-4DED-BF30-5DD56557E862}"/>
                </a:ext>
              </a:extLst>
            </p:cNvPr>
            <p:cNvSpPr/>
            <p:nvPr/>
          </p:nvSpPr>
          <p:spPr>
            <a:xfrm rot="8716295">
              <a:off x="2235681" y="409993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CBB48ABD-C4EA-4731-A8E5-5C6B6C5A0C84}"/>
                </a:ext>
              </a:extLst>
            </p:cNvPr>
            <p:cNvSpPr/>
            <p:nvPr/>
          </p:nvSpPr>
          <p:spPr>
            <a:xfrm rot="8716295">
              <a:off x="2370979" y="414419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FCD4CF90-F0E0-483F-9CE2-EAEE6404C598}"/>
                </a:ext>
              </a:extLst>
            </p:cNvPr>
            <p:cNvSpPr/>
            <p:nvPr/>
          </p:nvSpPr>
          <p:spPr>
            <a:xfrm rot="8716295">
              <a:off x="2065810" y="423395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F3A52091-BF4B-4E28-BD12-E3FE0875DBCF}"/>
                </a:ext>
              </a:extLst>
            </p:cNvPr>
            <p:cNvSpPr/>
            <p:nvPr/>
          </p:nvSpPr>
          <p:spPr>
            <a:xfrm rot="8716295">
              <a:off x="1876765" y="391811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75F64C77-DBE2-4786-9809-DB042689E4B6}"/>
                </a:ext>
              </a:extLst>
            </p:cNvPr>
            <p:cNvSpPr/>
            <p:nvPr/>
          </p:nvSpPr>
          <p:spPr>
            <a:xfrm rot="8716295">
              <a:off x="2202298" y="4295933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12F37080-96E6-4BE1-9E48-2B02CD2E20C4}"/>
                </a:ext>
              </a:extLst>
            </p:cNvPr>
            <p:cNvSpPr/>
            <p:nvPr/>
          </p:nvSpPr>
          <p:spPr>
            <a:xfrm rot="8716295">
              <a:off x="1836851" y="406950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BA151B90-2B5B-4D4D-A2AA-26322C46F857}"/>
                </a:ext>
              </a:extLst>
            </p:cNvPr>
            <p:cNvSpPr/>
            <p:nvPr/>
          </p:nvSpPr>
          <p:spPr>
            <a:xfrm rot="7484129">
              <a:off x="2361116" y="458555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0655C4A9-132B-4E8E-AB50-E63B4234234E}"/>
                </a:ext>
              </a:extLst>
            </p:cNvPr>
            <p:cNvSpPr/>
            <p:nvPr/>
          </p:nvSpPr>
          <p:spPr>
            <a:xfrm rot="13089394">
              <a:off x="2519765" y="4534899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51BD05F6-BFFD-42CC-A6C8-403F5F81023E}"/>
                </a:ext>
              </a:extLst>
            </p:cNvPr>
            <p:cNvSpPr/>
            <p:nvPr/>
          </p:nvSpPr>
          <p:spPr>
            <a:xfrm rot="8716295">
              <a:off x="2800656" y="4244781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609B85C6-C9FE-4876-9C99-F8DA190549CF}"/>
                </a:ext>
              </a:extLst>
            </p:cNvPr>
            <p:cNvSpPr/>
            <p:nvPr/>
          </p:nvSpPr>
          <p:spPr>
            <a:xfrm rot="8716295">
              <a:off x="2722247" y="4087989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AB57FACB-9405-4A22-84F1-4CDEB84773AC}"/>
                </a:ext>
              </a:extLst>
            </p:cNvPr>
            <p:cNvSpPr/>
            <p:nvPr/>
          </p:nvSpPr>
          <p:spPr>
            <a:xfrm rot="8716295">
              <a:off x="2354084" y="413373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65AC372A-885B-4835-966A-B09A3AC7B1A3}"/>
                </a:ext>
              </a:extLst>
            </p:cNvPr>
            <p:cNvSpPr/>
            <p:nvPr/>
          </p:nvSpPr>
          <p:spPr>
            <a:xfrm rot="8716295">
              <a:off x="2622665" y="389271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16EC5E3E-C2D3-4E46-B9F8-A7FD4A85025F}"/>
                </a:ext>
              </a:extLst>
            </p:cNvPr>
            <p:cNvSpPr/>
            <p:nvPr/>
          </p:nvSpPr>
          <p:spPr>
            <a:xfrm rot="8716295">
              <a:off x="1836002" y="5051565"/>
              <a:ext cx="229466" cy="172677"/>
            </a:xfrm>
            <a:custGeom>
              <a:avLst/>
              <a:gdLst>
                <a:gd name="connsiteX0" fmla="*/ 37429 w 229466"/>
                <a:gd name="connsiteY0" fmla="*/ 127889 h 172677"/>
                <a:gd name="connsiteX1" fmla="*/ 864 w 229466"/>
                <a:gd name="connsiteY1" fmla="*/ 25330 h 172677"/>
                <a:gd name="connsiteX2" fmla="*/ 0 w 229466"/>
                <a:gd name="connsiteY2" fmla="*/ 0 h 172677"/>
                <a:gd name="connsiteX3" fmla="*/ 229466 w 229466"/>
                <a:gd name="connsiteY3" fmla="*/ 159058 h 172677"/>
                <a:gd name="connsiteX4" fmla="*/ 210504 w 229466"/>
                <a:gd name="connsiteY4" fmla="*/ 164122 h 172677"/>
                <a:gd name="connsiteX5" fmla="*/ 146960 w 229466"/>
                <a:gd name="connsiteY5" fmla="*/ 172414 h 172677"/>
                <a:gd name="connsiteX6" fmla="*/ 37429 w 229466"/>
                <a:gd name="connsiteY6" fmla="*/ 127889 h 172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9466" h="172677">
                  <a:moveTo>
                    <a:pt x="37429" y="127889"/>
                  </a:moveTo>
                  <a:cubicBezTo>
                    <a:pt x="14722" y="105850"/>
                    <a:pt x="4537" y="71789"/>
                    <a:pt x="864" y="25330"/>
                  </a:cubicBezTo>
                  <a:lnTo>
                    <a:pt x="0" y="0"/>
                  </a:lnTo>
                  <a:lnTo>
                    <a:pt x="229466" y="159058"/>
                  </a:lnTo>
                  <a:lnTo>
                    <a:pt x="210504" y="164122"/>
                  </a:lnTo>
                  <a:cubicBezTo>
                    <a:pt x="187032" y="168685"/>
                    <a:pt x="165437" y="171301"/>
                    <a:pt x="146960" y="172414"/>
                  </a:cubicBezTo>
                  <a:cubicBezTo>
                    <a:pt x="105998" y="175086"/>
                    <a:pt x="65926" y="157276"/>
                    <a:pt x="37429" y="12788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F08DD499-2506-4E8C-B26B-EF1D8CEA3AA9}"/>
                </a:ext>
              </a:extLst>
            </p:cNvPr>
            <p:cNvSpPr/>
            <p:nvPr/>
          </p:nvSpPr>
          <p:spPr>
            <a:xfrm rot="8716295">
              <a:off x="2865171" y="5107739"/>
              <a:ext cx="36955" cy="50812"/>
            </a:xfrm>
            <a:custGeom>
              <a:avLst/>
              <a:gdLst>
                <a:gd name="connsiteX0" fmla="*/ 0 w 36955"/>
                <a:gd name="connsiteY0" fmla="*/ 50812 h 50812"/>
                <a:gd name="connsiteX1" fmla="*/ 0 w 36955"/>
                <a:gd name="connsiteY1" fmla="*/ 0 h 50812"/>
                <a:gd name="connsiteX2" fmla="*/ 36955 w 36955"/>
                <a:gd name="connsiteY2" fmla="*/ 25616 h 50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955" h="50812">
                  <a:moveTo>
                    <a:pt x="0" y="50812"/>
                  </a:moveTo>
                  <a:lnTo>
                    <a:pt x="0" y="0"/>
                  </a:lnTo>
                  <a:lnTo>
                    <a:pt x="36955" y="256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D6EEB4E8-6237-4C85-A670-00A3A02268AB}"/>
                </a:ext>
              </a:extLst>
            </p:cNvPr>
            <p:cNvSpPr/>
            <p:nvPr/>
          </p:nvSpPr>
          <p:spPr>
            <a:xfrm rot="8716295">
              <a:off x="2291544" y="4886156"/>
              <a:ext cx="209028" cy="296463"/>
            </a:xfrm>
            <a:custGeom>
              <a:avLst/>
              <a:gdLst>
                <a:gd name="connsiteX0" fmla="*/ 137293 w 209028"/>
                <a:gd name="connsiteY0" fmla="*/ 296463 h 296463"/>
                <a:gd name="connsiteX1" fmla="*/ 72418 w 209028"/>
                <a:gd name="connsiteY1" fmla="*/ 175766 h 296463"/>
                <a:gd name="connsiteX2" fmla="*/ 105610 w 209028"/>
                <a:gd name="connsiteY2" fmla="*/ 83734 h 296463"/>
                <a:gd name="connsiteX3" fmla="*/ 0 w 209028"/>
                <a:gd name="connsiteY3" fmla="*/ 83734 h 296463"/>
                <a:gd name="connsiteX4" fmla="*/ 0 w 209028"/>
                <a:gd name="connsiteY4" fmla="*/ 0 h 296463"/>
                <a:gd name="connsiteX5" fmla="*/ 82199 w 209028"/>
                <a:gd name="connsiteY5" fmla="*/ 0 h 296463"/>
                <a:gd name="connsiteX6" fmla="*/ 209028 w 209028"/>
                <a:gd name="connsiteY6" fmla="*/ 87913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028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82199" y="0"/>
                  </a:lnTo>
                  <a:lnTo>
                    <a:pt x="209028" y="8791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75A29BD1-A3F5-48BC-80D8-DAC3DEE5842D}"/>
                </a:ext>
              </a:extLst>
            </p:cNvPr>
            <p:cNvSpPr/>
            <p:nvPr/>
          </p:nvSpPr>
          <p:spPr>
            <a:xfrm rot="8716295">
              <a:off x="2159594" y="5061280"/>
              <a:ext cx="112869" cy="105684"/>
            </a:xfrm>
            <a:custGeom>
              <a:avLst/>
              <a:gdLst>
                <a:gd name="connsiteX0" fmla="*/ 17362 w 112869"/>
                <a:gd name="connsiteY0" fmla="*/ 89236 h 105684"/>
                <a:gd name="connsiteX1" fmla="*/ 0 w 112869"/>
                <a:gd name="connsiteY1" fmla="*/ 48117 h 105684"/>
                <a:gd name="connsiteX2" fmla="*/ 0 w 112869"/>
                <a:gd name="connsiteY2" fmla="*/ 47203 h 105684"/>
                <a:gd name="connsiteX3" fmla="*/ 17362 w 112869"/>
                <a:gd name="connsiteY3" fmla="*/ 6084 h 105684"/>
                <a:gd name="connsiteX4" fmla="*/ 31771 w 112869"/>
                <a:gd name="connsiteY4" fmla="*/ 0 h 105684"/>
                <a:gd name="connsiteX5" fmla="*/ 112869 w 112869"/>
                <a:gd name="connsiteY5" fmla="*/ 56215 h 105684"/>
                <a:gd name="connsiteX6" fmla="*/ 99601 w 112869"/>
                <a:gd name="connsiteY6" fmla="*/ 88323 h 105684"/>
                <a:gd name="connsiteX7" fmla="*/ 58481 w 112869"/>
                <a:gd name="connsiteY7" fmla="*/ 105684 h 105684"/>
                <a:gd name="connsiteX8" fmla="*/ 17362 w 112869"/>
                <a:gd name="connsiteY8" fmla="*/ 89236 h 105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869" h="105684">
                  <a:moveTo>
                    <a:pt x="17362" y="89236"/>
                  </a:moveTo>
                  <a:cubicBezTo>
                    <a:pt x="6397" y="78271"/>
                    <a:pt x="0" y="63651"/>
                    <a:pt x="0" y="48117"/>
                  </a:cubicBezTo>
                  <a:lnTo>
                    <a:pt x="0" y="47203"/>
                  </a:lnTo>
                  <a:cubicBezTo>
                    <a:pt x="0" y="31669"/>
                    <a:pt x="6397" y="17049"/>
                    <a:pt x="17362" y="6084"/>
                  </a:cubicBezTo>
                  <a:lnTo>
                    <a:pt x="31771" y="0"/>
                  </a:lnTo>
                  <a:lnTo>
                    <a:pt x="112869" y="56215"/>
                  </a:lnTo>
                  <a:lnTo>
                    <a:pt x="99601" y="88323"/>
                  </a:lnTo>
                  <a:cubicBezTo>
                    <a:pt x="88636" y="99288"/>
                    <a:pt x="74015" y="105684"/>
                    <a:pt x="58481" y="105684"/>
                  </a:cubicBezTo>
                  <a:cubicBezTo>
                    <a:pt x="42947" y="105684"/>
                    <a:pt x="28327" y="100202"/>
                    <a:pt x="17362" y="8923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758380ED-469C-45F2-855D-EE8309CFADD8}"/>
                </a:ext>
              </a:extLst>
            </p:cNvPr>
            <p:cNvSpPr/>
            <p:nvPr/>
          </p:nvSpPr>
          <p:spPr>
            <a:xfrm rot="8716295">
              <a:off x="3051941" y="5073759"/>
              <a:ext cx="145251" cy="115110"/>
            </a:xfrm>
            <a:custGeom>
              <a:avLst/>
              <a:gdLst>
                <a:gd name="connsiteX0" fmla="*/ 26453 w 145251"/>
                <a:gd name="connsiteY0" fmla="*/ 90050 h 115110"/>
                <a:gd name="connsiteX1" fmla="*/ 0 w 145251"/>
                <a:gd name="connsiteY1" fmla="*/ 27401 h 115110"/>
                <a:gd name="connsiteX2" fmla="*/ 0 w 145251"/>
                <a:gd name="connsiteY2" fmla="*/ 26008 h 115110"/>
                <a:gd name="connsiteX3" fmla="*/ 10982 w 145251"/>
                <a:gd name="connsiteY3" fmla="*/ 0 h 115110"/>
                <a:gd name="connsiteX4" fmla="*/ 145251 w 145251"/>
                <a:gd name="connsiteY4" fmla="*/ 93071 h 115110"/>
                <a:gd name="connsiteX5" fmla="*/ 123037 w 145251"/>
                <a:gd name="connsiteY5" fmla="*/ 108149 h 115110"/>
                <a:gd name="connsiteX6" fmla="*/ 89101 w 145251"/>
                <a:gd name="connsiteY6" fmla="*/ 115110 h 115110"/>
                <a:gd name="connsiteX7" fmla="*/ 26453 w 145251"/>
                <a:gd name="connsiteY7" fmla="*/ 90050 h 11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5251" h="115110">
                  <a:moveTo>
                    <a:pt x="26453" y="90050"/>
                  </a:moveTo>
                  <a:cubicBezTo>
                    <a:pt x="9746" y="73344"/>
                    <a:pt x="0" y="51068"/>
                    <a:pt x="0" y="27401"/>
                  </a:cubicBezTo>
                  <a:lnTo>
                    <a:pt x="0" y="26008"/>
                  </a:lnTo>
                  <a:lnTo>
                    <a:pt x="10982" y="0"/>
                  </a:lnTo>
                  <a:lnTo>
                    <a:pt x="145251" y="93071"/>
                  </a:lnTo>
                  <a:lnTo>
                    <a:pt x="123037" y="108149"/>
                  </a:lnTo>
                  <a:cubicBezTo>
                    <a:pt x="112421" y="112674"/>
                    <a:pt x="100936" y="115110"/>
                    <a:pt x="89101" y="115110"/>
                  </a:cubicBezTo>
                  <a:cubicBezTo>
                    <a:pt x="65434" y="115110"/>
                    <a:pt x="43159" y="106756"/>
                    <a:pt x="26453" y="900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D2FD6770-3791-4A82-87D2-F41D30AA61F3}"/>
                </a:ext>
              </a:extLst>
            </p:cNvPr>
            <p:cNvSpPr/>
            <p:nvPr/>
          </p:nvSpPr>
          <p:spPr>
            <a:xfrm rot="8716295">
              <a:off x="2953631" y="488922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109B9DB6-A180-42FF-BEBB-6114EE67841E}"/>
                </a:ext>
              </a:extLst>
            </p:cNvPr>
            <p:cNvSpPr/>
            <p:nvPr/>
          </p:nvSpPr>
          <p:spPr>
            <a:xfrm rot="8716295">
              <a:off x="1125067" y="247965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D4702D56-6C32-4790-8116-5036F59380ED}"/>
                </a:ext>
              </a:extLst>
            </p:cNvPr>
            <p:cNvSpPr/>
            <p:nvPr/>
          </p:nvSpPr>
          <p:spPr>
            <a:xfrm rot="8716295">
              <a:off x="1260365" y="252391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55878CEF-C667-4CA0-83B8-66D034466A4C}"/>
                </a:ext>
              </a:extLst>
            </p:cNvPr>
            <p:cNvSpPr/>
            <p:nvPr/>
          </p:nvSpPr>
          <p:spPr>
            <a:xfrm rot="8716295">
              <a:off x="1192483" y="2393326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E6E1C2BC-10AA-4F2A-83E2-85D799983A4B}"/>
                </a:ext>
              </a:extLst>
            </p:cNvPr>
            <p:cNvSpPr/>
            <p:nvPr/>
          </p:nvSpPr>
          <p:spPr>
            <a:xfrm rot="8716295">
              <a:off x="955196" y="261367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6DA02057-79DE-4340-93FA-D8616C8993CD}"/>
                </a:ext>
              </a:extLst>
            </p:cNvPr>
            <p:cNvSpPr/>
            <p:nvPr/>
          </p:nvSpPr>
          <p:spPr>
            <a:xfrm rot="8716295">
              <a:off x="766149" y="229783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F3D3F9A3-B786-4BB9-92E8-BAA2206B9AFB}"/>
                </a:ext>
              </a:extLst>
            </p:cNvPr>
            <p:cNvSpPr/>
            <p:nvPr/>
          </p:nvSpPr>
          <p:spPr>
            <a:xfrm rot="8716295">
              <a:off x="747908" y="2087785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777BD4C8-2DD8-47D0-9247-9DDE2E15298C}"/>
                </a:ext>
              </a:extLst>
            </p:cNvPr>
            <p:cNvSpPr/>
            <p:nvPr/>
          </p:nvSpPr>
          <p:spPr>
            <a:xfrm rot="8716295">
              <a:off x="1091684" y="2675653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orme libre : forme 58">
              <a:extLst>
                <a:ext uri="{FF2B5EF4-FFF2-40B4-BE49-F238E27FC236}">
                  <a16:creationId xmlns:a16="http://schemas.microsoft.com/office/drawing/2014/main" id="{A1948EB1-3E61-48E9-872F-CED3F8D5CC5E}"/>
                </a:ext>
              </a:extLst>
            </p:cNvPr>
            <p:cNvSpPr/>
            <p:nvPr/>
          </p:nvSpPr>
          <p:spPr>
            <a:xfrm rot="8716295">
              <a:off x="1562630" y="210103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orme libre : forme 59">
              <a:extLst>
                <a:ext uri="{FF2B5EF4-FFF2-40B4-BE49-F238E27FC236}">
                  <a16:creationId xmlns:a16="http://schemas.microsoft.com/office/drawing/2014/main" id="{AF9F2A1A-5C85-4204-9B23-373EE49CB276}"/>
                </a:ext>
              </a:extLst>
            </p:cNvPr>
            <p:cNvSpPr/>
            <p:nvPr/>
          </p:nvSpPr>
          <p:spPr>
            <a:xfrm rot="8716295">
              <a:off x="1697929" y="214529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orme libre : forme 60">
              <a:extLst>
                <a:ext uri="{FF2B5EF4-FFF2-40B4-BE49-F238E27FC236}">
                  <a16:creationId xmlns:a16="http://schemas.microsoft.com/office/drawing/2014/main" id="{4763868B-B7EF-4B8B-B818-D645A2592C05}"/>
                </a:ext>
              </a:extLst>
            </p:cNvPr>
            <p:cNvSpPr/>
            <p:nvPr/>
          </p:nvSpPr>
          <p:spPr>
            <a:xfrm rot="8716295">
              <a:off x="1392759" y="223505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orme libre : forme 61">
              <a:extLst>
                <a:ext uri="{FF2B5EF4-FFF2-40B4-BE49-F238E27FC236}">
                  <a16:creationId xmlns:a16="http://schemas.microsoft.com/office/drawing/2014/main" id="{046CA86F-6D3D-407A-B321-54764D2D59CB}"/>
                </a:ext>
              </a:extLst>
            </p:cNvPr>
            <p:cNvSpPr/>
            <p:nvPr/>
          </p:nvSpPr>
          <p:spPr>
            <a:xfrm rot="8716295">
              <a:off x="1203715" y="191921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orme libre : forme 62">
              <a:extLst>
                <a:ext uri="{FF2B5EF4-FFF2-40B4-BE49-F238E27FC236}">
                  <a16:creationId xmlns:a16="http://schemas.microsoft.com/office/drawing/2014/main" id="{AFD12AFD-CB5D-4640-9FE9-92C355A72778}"/>
                </a:ext>
              </a:extLst>
            </p:cNvPr>
            <p:cNvSpPr/>
            <p:nvPr/>
          </p:nvSpPr>
          <p:spPr>
            <a:xfrm rot="8716295">
              <a:off x="1529248" y="2297037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orme libre : forme 63">
              <a:extLst>
                <a:ext uri="{FF2B5EF4-FFF2-40B4-BE49-F238E27FC236}">
                  <a16:creationId xmlns:a16="http://schemas.microsoft.com/office/drawing/2014/main" id="{59BA9B88-1225-4DFD-8724-1F80AE18C3C2}"/>
                </a:ext>
              </a:extLst>
            </p:cNvPr>
            <p:cNvSpPr/>
            <p:nvPr/>
          </p:nvSpPr>
          <p:spPr>
            <a:xfrm rot="8716295">
              <a:off x="1163801" y="2070611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orme libre : forme 64">
              <a:extLst>
                <a:ext uri="{FF2B5EF4-FFF2-40B4-BE49-F238E27FC236}">
                  <a16:creationId xmlns:a16="http://schemas.microsoft.com/office/drawing/2014/main" id="{1F6A3148-93CD-4912-914F-8421DD424A09}"/>
                </a:ext>
              </a:extLst>
            </p:cNvPr>
            <p:cNvSpPr/>
            <p:nvPr/>
          </p:nvSpPr>
          <p:spPr>
            <a:xfrm rot="7484129">
              <a:off x="1688065" y="258665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orme libre : forme 65">
              <a:extLst>
                <a:ext uri="{FF2B5EF4-FFF2-40B4-BE49-F238E27FC236}">
                  <a16:creationId xmlns:a16="http://schemas.microsoft.com/office/drawing/2014/main" id="{0BDE36BD-7206-4F9A-9356-56E83345F790}"/>
                </a:ext>
              </a:extLst>
            </p:cNvPr>
            <p:cNvSpPr/>
            <p:nvPr/>
          </p:nvSpPr>
          <p:spPr>
            <a:xfrm rot="13089394">
              <a:off x="1846715" y="2536003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orme libre : forme 66">
              <a:extLst>
                <a:ext uri="{FF2B5EF4-FFF2-40B4-BE49-F238E27FC236}">
                  <a16:creationId xmlns:a16="http://schemas.microsoft.com/office/drawing/2014/main" id="{6239D104-F777-403D-9315-E21DA6A3EEC6}"/>
                </a:ext>
              </a:extLst>
            </p:cNvPr>
            <p:cNvSpPr/>
            <p:nvPr/>
          </p:nvSpPr>
          <p:spPr>
            <a:xfrm rot="8716295">
              <a:off x="2127606" y="2245885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7D0AE68E-C325-4D34-A9E9-2281E6887FAE}"/>
                </a:ext>
              </a:extLst>
            </p:cNvPr>
            <p:cNvSpPr/>
            <p:nvPr/>
          </p:nvSpPr>
          <p:spPr>
            <a:xfrm rot="8716295">
              <a:off x="2049197" y="208909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orme libre : forme 68">
              <a:extLst>
                <a:ext uri="{FF2B5EF4-FFF2-40B4-BE49-F238E27FC236}">
                  <a16:creationId xmlns:a16="http://schemas.microsoft.com/office/drawing/2014/main" id="{951597CD-8FD0-420C-8BE6-25D28A25DDE8}"/>
                </a:ext>
              </a:extLst>
            </p:cNvPr>
            <p:cNvSpPr/>
            <p:nvPr/>
          </p:nvSpPr>
          <p:spPr>
            <a:xfrm rot="8716295">
              <a:off x="1681033" y="21348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orme libre : forme 69">
              <a:extLst>
                <a:ext uri="{FF2B5EF4-FFF2-40B4-BE49-F238E27FC236}">
                  <a16:creationId xmlns:a16="http://schemas.microsoft.com/office/drawing/2014/main" id="{A7CD329F-8CED-4DA2-A304-EE2009E4062D}"/>
                </a:ext>
              </a:extLst>
            </p:cNvPr>
            <p:cNvSpPr/>
            <p:nvPr/>
          </p:nvSpPr>
          <p:spPr>
            <a:xfrm rot="8716295">
              <a:off x="1949615" y="189381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orme libre : forme 70">
              <a:extLst>
                <a:ext uri="{FF2B5EF4-FFF2-40B4-BE49-F238E27FC236}">
                  <a16:creationId xmlns:a16="http://schemas.microsoft.com/office/drawing/2014/main" id="{D4BADD55-B2B9-4053-A92A-A804648D0A9D}"/>
                </a:ext>
              </a:extLst>
            </p:cNvPr>
            <p:cNvSpPr/>
            <p:nvPr/>
          </p:nvSpPr>
          <p:spPr>
            <a:xfrm rot="8716295">
              <a:off x="787294" y="148117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orme libre : forme 71">
              <a:extLst>
                <a:ext uri="{FF2B5EF4-FFF2-40B4-BE49-F238E27FC236}">
                  <a16:creationId xmlns:a16="http://schemas.microsoft.com/office/drawing/2014/main" id="{313FE4B5-4E98-415B-AE99-26EEB0846C87}"/>
                </a:ext>
              </a:extLst>
            </p:cNvPr>
            <p:cNvSpPr/>
            <p:nvPr/>
          </p:nvSpPr>
          <p:spPr>
            <a:xfrm rot="8716295">
              <a:off x="922592" y="152543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orme libre : forme 72">
              <a:extLst>
                <a:ext uri="{FF2B5EF4-FFF2-40B4-BE49-F238E27FC236}">
                  <a16:creationId xmlns:a16="http://schemas.microsoft.com/office/drawing/2014/main" id="{2E069437-A0B3-49B8-BC79-1EE3FD296BEA}"/>
                </a:ext>
              </a:extLst>
            </p:cNvPr>
            <p:cNvSpPr/>
            <p:nvPr/>
          </p:nvSpPr>
          <p:spPr>
            <a:xfrm rot="8716295">
              <a:off x="854710" y="1394843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" name="Forme libre : forme 73">
              <a:extLst>
                <a:ext uri="{FF2B5EF4-FFF2-40B4-BE49-F238E27FC236}">
                  <a16:creationId xmlns:a16="http://schemas.microsoft.com/office/drawing/2014/main" id="{6B76B21D-C865-4228-A4DA-51B112FED31F}"/>
                </a:ext>
              </a:extLst>
            </p:cNvPr>
            <p:cNvSpPr/>
            <p:nvPr/>
          </p:nvSpPr>
          <p:spPr>
            <a:xfrm rot="8716295">
              <a:off x="617423" y="161518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" name="Forme libre : forme 74">
              <a:extLst>
                <a:ext uri="{FF2B5EF4-FFF2-40B4-BE49-F238E27FC236}">
                  <a16:creationId xmlns:a16="http://schemas.microsoft.com/office/drawing/2014/main" id="{9C509C7D-5C6F-42FB-9A15-E611792EFEA1}"/>
                </a:ext>
              </a:extLst>
            </p:cNvPr>
            <p:cNvSpPr/>
            <p:nvPr/>
          </p:nvSpPr>
          <p:spPr>
            <a:xfrm rot="8716295">
              <a:off x="428376" y="129935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" name="Forme libre : forme 75">
              <a:extLst>
                <a:ext uri="{FF2B5EF4-FFF2-40B4-BE49-F238E27FC236}">
                  <a16:creationId xmlns:a16="http://schemas.microsoft.com/office/drawing/2014/main" id="{25514701-F05E-45CE-9E8C-F263D950578E}"/>
                </a:ext>
              </a:extLst>
            </p:cNvPr>
            <p:cNvSpPr/>
            <p:nvPr/>
          </p:nvSpPr>
          <p:spPr>
            <a:xfrm rot="8716295">
              <a:off x="410135" y="1089302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" name="Forme libre : forme 76">
              <a:extLst>
                <a:ext uri="{FF2B5EF4-FFF2-40B4-BE49-F238E27FC236}">
                  <a16:creationId xmlns:a16="http://schemas.microsoft.com/office/drawing/2014/main" id="{4F1DD0BF-A36A-4AF7-BAF7-588D33FE30E2}"/>
                </a:ext>
              </a:extLst>
            </p:cNvPr>
            <p:cNvSpPr/>
            <p:nvPr/>
          </p:nvSpPr>
          <p:spPr>
            <a:xfrm rot="8716295">
              <a:off x="753911" y="1677170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" name="Forme libre : forme 77">
              <a:extLst>
                <a:ext uri="{FF2B5EF4-FFF2-40B4-BE49-F238E27FC236}">
                  <a16:creationId xmlns:a16="http://schemas.microsoft.com/office/drawing/2014/main" id="{86EB67B0-A057-4D07-8844-7A83556C99CC}"/>
                </a:ext>
              </a:extLst>
            </p:cNvPr>
            <p:cNvSpPr/>
            <p:nvPr/>
          </p:nvSpPr>
          <p:spPr>
            <a:xfrm rot="8716295">
              <a:off x="1224858" y="1102556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orme libre : forme 78">
              <a:extLst>
                <a:ext uri="{FF2B5EF4-FFF2-40B4-BE49-F238E27FC236}">
                  <a16:creationId xmlns:a16="http://schemas.microsoft.com/office/drawing/2014/main" id="{8B1E7611-C4A8-43A8-BF26-46C4341A14DB}"/>
                </a:ext>
              </a:extLst>
            </p:cNvPr>
            <p:cNvSpPr/>
            <p:nvPr/>
          </p:nvSpPr>
          <p:spPr>
            <a:xfrm rot="8716295">
              <a:off x="1360156" y="1146815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Forme libre : forme 79">
              <a:extLst>
                <a:ext uri="{FF2B5EF4-FFF2-40B4-BE49-F238E27FC236}">
                  <a16:creationId xmlns:a16="http://schemas.microsoft.com/office/drawing/2014/main" id="{BEBD671E-1FA5-4603-8F2B-FA9516AF8638}"/>
                </a:ext>
              </a:extLst>
            </p:cNvPr>
            <p:cNvSpPr/>
            <p:nvPr/>
          </p:nvSpPr>
          <p:spPr>
            <a:xfrm rot="8716295">
              <a:off x="1054986" y="123657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" name="Forme libre : forme 80">
              <a:extLst>
                <a:ext uri="{FF2B5EF4-FFF2-40B4-BE49-F238E27FC236}">
                  <a16:creationId xmlns:a16="http://schemas.microsoft.com/office/drawing/2014/main" id="{F6AD6C56-BF4C-4518-8F9A-D5095F4E40C8}"/>
                </a:ext>
              </a:extLst>
            </p:cNvPr>
            <p:cNvSpPr/>
            <p:nvPr/>
          </p:nvSpPr>
          <p:spPr>
            <a:xfrm rot="8716295">
              <a:off x="865942" y="92073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orme libre : forme 81">
              <a:extLst>
                <a:ext uri="{FF2B5EF4-FFF2-40B4-BE49-F238E27FC236}">
                  <a16:creationId xmlns:a16="http://schemas.microsoft.com/office/drawing/2014/main" id="{4181F286-2CA0-4AF5-9316-EE2B4FDBB08E}"/>
                </a:ext>
              </a:extLst>
            </p:cNvPr>
            <p:cNvSpPr/>
            <p:nvPr/>
          </p:nvSpPr>
          <p:spPr>
            <a:xfrm rot="8716295">
              <a:off x="1191475" y="1298554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Forme libre : forme 82">
              <a:extLst>
                <a:ext uri="{FF2B5EF4-FFF2-40B4-BE49-F238E27FC236}">
                  <a16:creationId xmlns:a16="http://schemas.microsoft.com/office/drawing/2014/main" id="{6E154404-167F-4146-9BEC-311C41267A4F}"/>
                </a:ext>
              </a:extLst>
            </p:cNvPr>
            <p:cNvSpPr/>
            <p:nvPr/>
          </p:nvSpPr>
          <p:spPr>
            <a:xfrm rot="8716295">
              <a:off x="826028" y="1072128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4" name="Forme libre : forme 83">
              <a:extLst>
                <a:ext uri="{FF2B5EF4-FFF2-40B4-BE49-F238E27FC236}">
                  <a16:creationId xmlns:a16="http://schemas.microsoft.com/office/drawing/2014/main" id="{E6806809-8D8F-4EE1-BB26-3F2C826B2E90}"/>
                </a:ext>
              </a:extLst>
            </p:cNvPr>
            <p:cNvSpPr/>
            <p:nvPr/>
          </p:nvSpPr>
          <p:spPr>
            <a:xfrm rot="7484129">
              <a:off x="1350292" y="158817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5" name="Forme libre : forme 84">
              <a:extLst>
                <a:ext uri="{FF2B5EF4-FFF2-40B4-BE49-F238E27FC236}">
                  <a16:creationId xmlns:a16="http://schemas.microsoft.com/office/drawing/2014/main" id="{8AA32DBC-713F-46C2-9609-C454BB2EBAAE}"/>
                </a:ext>
              </a:extLst>
            </p:cNvPr>
            <p:cNvSpPr/>
            <p:nvPr/>
          </p:nvSpPr>
          <p:spPr>
            <a:xfrm rot="13089394">
              <a:off x="1508942" y="1537520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6" name="Forme libre : forme 85">
              <a:extLst>
                <a:ext uri="{FF2B5EF4-FFF2-40B4-BE49-F238E27FC236}">
                  <a16:creationId xmlns:a16="http://schemas.microsoft.com/office/drawing/2014/main" id="{51EBFD3A-7611-46FF-AE7D-0AC9AF9511B5}"/>
                </a:ext>
              </a:extLst>
            </p:cNvPr>
            <p:cNvSpPr/>
            <p:nvPr/>
          </p:nvSpPr>
          <p:spPr>
            <a:xfrm rot="8716295">
              <a:off x="1789833" y="1247402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7" name="Forme libre : forme 86">
              <a:extLst>
                <a:ext uri="{FF2B5EF4-FFF2-40B4-BE49-F238E27FC236}">
                  <a16:creationId xmlns:a16="http://schemas.microsoft.com/office/drawing/2014/main" id="{7BC619E6-2AA2-4557-84AC-D6D182B996C5}"/>
                </a:ext>
              </a:extLst>
            </p:cNvPr>
            <p:cNvSpPr/>
            <p:nvPr/>
          </p:nvSpPr>
          <p:spPr>
            <a:xfrm rot="8716295">
              <a:off x="1711424" y="109061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8" name="Forme libre : forme 87">
              <a:extLst>
                <a:ext uri="{FF2B5EF4-FFF2-40B4-BE49-F238E27FC236}">
                  <a16:creationId xmlns:a16="http://schemas.microsoft.com/office/drawing/2014/main" id="{F81A7437-8336-4876-95A7-BD572FAED152}"/>
                </a:ext>
              </a:extLst>
            </p:cNvPr>
            <p:cNvSpPr/>
            <p:nvPr/>
          </p:nvSpPr>
          <p:spPr>
            <a:xfrm rot="8716295">
              <a:off x="1343261" y="113635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9" name="Forme libre : forme 88">
              <a:extLst>
                <a:ext uri="{FF2B5EF4-FFF2-40B4-BE49-F238E27FC236}">
                  <a16:creationId xmlns:a16="http://schemas.microsoft.com/office/drawing/2014/main" id="{B70DD9BD-1FC9-4B98-8769-B37CAAFCEC17}"/>
                </a:ext>
              </a:extLst>
            </p:cNvPr>
            <p:cNvSpPr/>
            <p:nvPr/>
          </p:nvSpPr>
          <p:spPr>
            <a:xfrm rot="8716295">
              <a:off x="1611842" y="89533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" name="Forme libre : forme 89">
              <a:extLst>
                <a:ext uri="{FF2B5EF4-FFF2-40B4-BE49-F238E27FC236}">
                  <a16:creationId xmlns:a16="http://schemas.microsoft.com/office/drawing/2014/main" id="{DC2940E5-7415-40BB-B706-4016B27C3DB2}"/>
                </a:ext>
              </a:extLst>
            </p:cNvPr>
            <p:cNvSpPr/>
            <p:nvPr/>
          </p:nvSpPr>
          <p:spPr>
            <a:xfrm rot="8716295">
              <a:off x="455920" y="47911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" name="Forme libre : forme 90">
              <a:extLst>
                <a:ext uri="{FF2B5EF4-FFF2-40B4-BE49-F238E27FC236}">
                  <a16:creationId xmlns:a16="http://schemas.microsoft.com/office/drawing/2014/main" id="{52585AAE-B2D0-438C-BC9F-C750F15F890C}"/>
                </a:ext>
              </a:extLst>
            </p:cNvPr>
            <p:cNvSpPr/>
            <p:nvPr/>
          </p:nvSpPr>
          <p:spPr>
            <a:xfrm rot="8716295">
              <a:off x="591219" y="52337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" name="Forme libre : forme 91">
              <a:extLst>
                <a:ext uri="{FF2B5EF4-FFF2-40B4-BE49-F238E27FC236}">
                  <a16:creationId xmlns:a16="http://schemas.microsoft.com/office/drawing/2014/main" id="{E63C71D8-D175-46A8-AA42-AB77BF57CFF3}"/>
                </a:ext>
              </a:extLst>
            </p:cNvPr>
            <p:cNvSpPr/>
            <p:nvPr/>
          </p:nvSpPr>
          <p:spPr>
            <a:xfrm rot="8716295">
              <a:off x="523336" y="39278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" name="Forme libre : forme 92">
              <a:extLst>
                <a:ext uri="{FF2B5EF4-FFF2-40B4-BE49-F238E27FC236}">
                  <a16:creationId xmlns:a16="http://schemas.microsoft.com/office/drawing/2014/main" id="{C200F3C8-A4FA-4E06-9F43-7329A49AF0A1}"/>
                </a:ext>
              </a:extLst>
            </p:cNvPr>
            <p:cNvSpPr/>
            <p:nvPr/>
          </p:nvSpPr>
          <p:spPr>
            <a:xfrm rot="8716295">
              <a:off x="286049" y="6131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" name="Forme libre : forme 93">
              <a:extLst>
                <a:ext uri="{FF2B5EF4-FFF2-40B4-BE49-F238E27FC236}">
                  <a16:creationId xmlns:a16="http://schemas.microsoft.com/office/drawing/2014/main" id="{154A22C5-EC1E-43BA-ACAF-79BC6F3D576D}"/>
                </a:ext>
              </a:extLst>
            </p:cNvPr>
            <p:cNvSpPr/>
            <p:nvPr/>
          </p:nvSpPr>
          <p:spPr>
            <a:xfrm rot="8716295">
              <a:off x="97003" y="2972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orme libre : forme 94">
              <a:extLst>
                <a:ext uri="{FF2B5EF4-FFF2-40B4-BE49-F238E27FC236}">
                  <a16:creationId xmlns:a16="http://schemas.microsoft.com/office/drawing/2014/main" id="{046AC798-93FA-43CE-B018-2724737AFAB7}"/>
                </a:ext>
              </a:extLst>
            </p:cNvPr>
            <p:cNvSpPr/>
            <p:nvPr/>
          </p:nvSpPr>
          <p:spPr>
            <a:xfrm rot="8716295">
              <a:off x="78761" y="87249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Forme libre : forme 95">
              <a:extLst>
                <a:ext uri="{FF2B5EF4-FFF2-40B4-BE49-F238E27FC236}">
                  <a16:creationId xmlns:a16="http://schemas.microsoft.com/office/drawing/2014/main" id="{7EB63D12-C97A-4806-9B7E-492DAF5A8D97}"/>
                </a:ext>
              </a:extLst>
            </p:cNvPr>
            <p:cNvSpPr/>
            <p:nvPr/>
          </p:nvSpPr>
          <p:spPr>
            <a:xfrm rot="8716295">
              <a:off x="422537" y="67511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" name="Forme libre : forme 96">
              <a:extLst>
                <a:ext uri="{FF2B5EF4-FFF2-40B4-BE49-F238E27FC236}">
                  <a16:creationId xmlns:a16="http://schemas.microsoft.com/office/drawing/2014/main" id="{1806B75B-8705-4074-AEFF-3715A3B4A58C}"/>
                </a:ext>
              </a:extLst>
            </p:cNvPr>
            <p:cNvSpPr/>
            <p:nvPr/>
          </p:nvSpPr>
          <p:spPr>
            <a:xfrm rot="8716295">
              <a:off x="893484" y="10050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" name="Forme libre : forme 97">
              <a:extLst>
                <a:ext uri="{FF2B5EF4-FFF2-40B4-BE49-F238E27FC236}">
                  <a16:creationId xmlns:a16="http://schemas.microsoft.com/office/drawing/2014/main" id="{AB690B93-68A6-412B-BE9D-7BF4A62DFBAE}"/>
                </a:ext>
              </a:extLst>
            </p:cNvPr>
            <p:cNvSpPr/>
            <p:nvPr/>
          </p:nvSpPr>
          <p:spPr>
            <a:xfrm rot="8716295">
              <a:off x="1028783" y="14476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" name="Forme libre : forme 98">
              <a:extLst>
                <a:ext uri="{FF2B5EF4-FFF2-40B4-BE49-F238E27FC236}">
                  <a16:creationId xmlns:a16="http://schemas.microsoft.com/office/drawing/2014/main" id="{CF4399C2-6A4B-4B09-A803-90528B9B6BB5}"/>
                </a:ext>
              </a:extLst>
            </p:cNvPr>
            <p:cNvSpPr/>
            <p:nvPr/>
          </p:nvSpPr>
          <p:spPr>
            <a:xfrm rot="8716295">
              <a:off x="723613" y="23451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orme libre : forme 99">
              <a:extLst>
                <a:ext uri="{FF2B5EF4-FFF2-40B4-BE49-F238E27FC236}">
                  <a16:creationId xmlns:a16="http://schemas.microsoft.com/office/drawing/2014/main" id="{244D8443-8208-40F5-B1CF-110ABB79D7E7}"/>
                </a:ext>
              </a:extLst>
            </p:cNvPr>
            <p:cNvSpPr/>
            <p:nvPr/>
          </p:nvSpPr>
          <p:spPr>
            <a:xfrm rot="8716295">
              <a:off x="547803" y="-17289"/>
              <a:ext cx="308531" cy="226033"/>
            </a:xfrm>
            <a:custGeom>
              <a:avLst/>
              <a:gdLst>
                <a:gd name="connsiteX0" fmla="*/ 106716 w 203847"/>
                <a:gd name="connsiteY0" fmla="*/ 149340 h 149340"/>
                <a:gd name="connsiteX1" fmla="*/ 50038 w 203847"/>
                <a:gd name="connsiteY1" fmla="*/ 110053 h 149340"/>
                <a:gd name="connsiteX2" fmla="*/ 69777 w 203847"/>
                <a:gd name="connsiteY2" fmla="*/ 55323 h 149340"/>
                <a:gd name="connsiteX3" fmla="*/ 0 w 203847"/>
                <a:gd name="connsiteY3" fmla="*/ 55323 h 149340"/>
                <a:gd name="connsiteX4" fmla="*/ 0 w 203847"/>
                <a:gd name="connsiteY4" fmla="*/ 0 h 149340"/>
                <a:gd name="connsiteX5" fmla="*/ 203847 w 203847"/>
                <a:gd name="connsiteY5" fmla="*/ 0 h 149340"/>
                <a:gd name="connsiteX6" fmla="*/ 203847 w 203847"/>
                <a:gd name="connsiteY6" fmla="*/ 55323 h 149340"/>
                <a:gd name="connsiteX7" fmla="*/ 139055 w 203847"/>
                <a:gd name="connsiteY7" fmla="*/ 55323 h 14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49340">
                  <a:moveTo>
                    <a:pt x="106716" y="149340"/>
                  </a:moveTo>
                  <a:lnTo>
                    <a:pt x="50038" y="110053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Forme libre : forme 100">
              <a:extLst>
                <a:ext uri="{FF2B5EF4-FFF2-40B4-BE49-F238E27FC236}">
                  <a16:creationId xmlns:a16="http://schemas.microsoft.com/office/drawing/2014/main" id="{1DC1AB77-DFBD-48D5-BA47-D445EDCA0CEF}"/>
                </a:ext>
              </a:extLst>
            </p:cNvPr>
            <p:cNvSpPr/>
            <p:nvPr/>
          </p:nvSpPr>
          <p:spPr>
            <a:xfrm rot="8716295">
              <a:off x="860101" y="29650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" name="Forme libre : forme 101">
              <a:extLst>
                <a:ext uri="{FF2B5EF4-FFF2-40B4-BE49-F238E27FC236}">
                  <a16:creationId xmlns:a16="http://schemas.microsoft.com/office/drawing/2014/main" id="{F59B8FC1-4AE7-4990-AF75-539F5B58458B}"/>
                </a:ext>
              </a:extLst>
            </p:cNvPr>
            <p:cNvSpPr/>
            <p:nvPr/>
          </p:nvSpPr>
          <p:spPr>
            <a:xfrm rot="8716295">
              <a:off x="494655" y="7007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" name="Forme libre : forme 102">
              <a:extLst>
                <a:ext uri="{FF2B5EF4-FFF2-40B4-BE49-F238E27FC236}">
                  <a16:creationId xmlns:a16="http://schemas.microsoft.com/office/drawing/2014/main" id="{868AEFC4-250F-471C-A43A-28F6923BB61D}"/>
                </a:ext>
              </a:extLst>
            </p:cNvPr>
            <p:cNvSpPr/>
            <p:nvPr/>
          </p:nvSpPr>
          <p:spPr>
            <a:xfrm rot="7484129">
              <a:off x="1018919" y="58611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" name="Forme libre : forme 103">
              <a:extLst>
                <a:ext uri="{FF2B5EF4-FFF2-40B4-BE49-F238E27FC236}">
                  <a16:creationId xmlns:a16="http://schemas.microsoft.com/office/drawing/2014/main" id="{7720FECD-8541-443F-AFBA-99868EB29B55}"/>
                </a:ext>
              </a:extLst>
            </p:cNvPr>
            <p:cNvSpPr/>
            <p:nvPr/>
          </p:nvSpPr>
          <p:spPr>
            <a:xfrm rot="13089394">
              <a:off x="1177568" y="53546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" name="Forme libre : forme 104">
              <a:extLst>
                <a:ext uri="{FF2B5EF4-FFF2-40B4-BE49-F238E27FC236}">
                  <a16:creationId xmlns:a16="http://schemas.microsoft.com/office/drawing/2014/main" id="{EC21D4C1-E07B-4E45-A18C-FDC88EB32F75}"/>
                </a:ext>
              </a:extLst>
            </p:cNvPr>
            <p:cNvSpPr/>
            <p:nvPr/>
          </p:nvSpPr>
          <p:spPr>
            <a:xfrm rot="8716295">
              <a:off x="1458459" y="24534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" name="Forme libre : forme 105">
              <a:extLst>
                <a:ext uri="{FF2B5EF4-FFF2-40B4-BE49-F238E27FC236}">
                  <a16:creationId xmlns:a16="http://schemas.microsoft.com/office/drawing/2014/main" id="{F27332C2-A714-4595-B5C0-9F2B9BA6FD2B}"/>
                </a:ext>
              </a:extLst>
            </p:cNvPr>
            <p:cNvSpPr/>
            <p:nvPr/>
          </p:nvSpPr>
          <p:spPr>
            <a:xfrm rot="8716295">
              <a:off x="1380050" y="8855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" name="Forme libre : forme 106">
              <a:extLst>
                <a:ext uri="{FF2B5EF4-FFF2-40B4-BE49-F238E27FC236}">
                  <a16:creationId xmlns:a16="http://schemas.microsoft.com/office/drawing/2014/main" id="{674A78BA-4944-4138-B4F5-A2FBC8048D50}"/>
                </a:ext>
              </a:extLst>
            </p:cNvPr>
            <p:cNvSpPr/>
            <p:nvPr/>
          </p:nvSpPr>
          <p:spPr>
            <a:xfrm rot="8716295">
              <a:off x="1011887" y="13429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" name="Forme libre : forme 107">
              <a:extLst>
                <a:ext uri="{FF2B5EF4-FFF2-40B4-BE49-F238E27FC236}">
                  <a16:creationId xmlns:a16="http://schemas.microsoft.com/office/drawing/2014/main" id="{7D76DD03-F270-4ACF-B774-06410BC28EE6}"/>
                </a:ext>
              </a:extLst>
            </p:cNvPr>
            <p:cNvSpPr/>
            <p:nvPr/>
          </p:nvSpPr>
          <p:spPr>
            <a:xfrm rot="8716295">
              <a:off x="1291652" y="-36449"/>
              <a:ext cx="134197" cy="106947"/>
            </a:xfrm>
            <a:custGeom>
              <a:avLst/>
              <a:gdLst>
                <a:gd name="connsiteX0" fmla="*/ 83649 w 88664"/>
                <a:gd name="connsiteY0" fmla="*/ 70660 h 70660"/>
                <a:gd name="connsiteX1" fmla="*/ 0 w 88664"/>
                <a:gd name="connsiteY1" fmla="*/ 12677 h 70660"/>
                <a:gd name="connsiteX2" fmla="*/ 30024 w 88664"/>
                <a:gd name="connsiteY2" fmla="*/ 0 h 70660"/>
                <a:gd name="connsiteX3" fmla="*/ 71417 w 88664"/>
                <a:gd name="connsiteY3" fmla="*/ 17477 h 70660"/>
                <a:gd name="connsiteX4" fmla="*/ 88664 w 88664"/>
                <a:gd name="connsiteY4" fmla="*/ 58525 h 70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664" h="70660">
                  <a:moveTo>
                    <a:pt x="83649" y="70660"/>
                  </a:moveTo>
                  <a:lnTo>
                    <a:pt x="0" y="12677"/>
                  </a:lnTo>
                  <a:lnTo>
                    <a:pt x="30024" y="0"/>
                  </a:lnTo>
                  <a:cubicBezTo>
                    <a:pt x="45662" y="0"/>
                    <a:pt x="60379" y="6439"/>
                    <a:pt x="71417" y="17477"/>
                  </a:cubicBezTo>
                  <a:cubicBezTo>
                    <a:pt x="82915" y="28515"/>
                    <a:pt x="88664" y="43462"/>
                    <a:pt x="88664" y="58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" name="Forme libre : forme 108">
              <a:extLst>
                <a:ext uri="{FF2B5EF4-FFF2-40B4-BE49-F238E27FC236}">
                  <a16:creationId xmlns:a16="http://schemas.microsoft.com/office/drawing/2014/main" id="{3E28A378-29F9-4E63-8D2F-7910EE2CA370}"/>
                </a:ext>
              </a:extLst>
            </p:cNvPr>
            <p:cNvSpPr/>
            <p:nvPr/>
          </p:nvSpPr>
          <p:spPr>
            <a:xfrm rot="13089394">
              <a:off x="990163" y="-39748"/>
              <a:ext cx="111277" cy="115595"/>
            </a:xfrm>
            <a:custGeom>
              <a:avLst/>
              <a:gdLst>
                <a:gd name="connsiteX0" fmla="*/ 73521 w 73521"/>
                <a:gd name="connsiteY0" fmla="*/ 18609 h 76374"/>
                <a:gd name="connsiteX1" fmla="*/ 0 w 73521"/>
                <a:gd name="connsiteY1" fmla="*/ 76374 h 76374"/>
                <a:gd name="connsiteX2" fmla="*/ 0 w 73521"/>
                <a:gd name="connsiteY2" fmla="*/ 38074 h 76374"/>
                <a:gd name="connsiteX3" fmla="*/ 73388 w 73521"/>
                <a:gd name="connsiteY3" fmla="*/ 0 h 7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521" h="76374">
                  <a:moveTo>
                    <a:pt x="73521" y="18609"/>
                  </a:moveTo>
                  <a:lnTo>
                    <a:pt x="0" y="76374"/>
                  </a:lnTo>
                  <a:lnTo>
                    <a:pt x="0" y="38074"/>
                  </a:lnTo>
                  <a:lnTo>
                    <a:pt x="7338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" name="Forme libre : forme 109">
              <a:extLst>
                <a:ext uri="{FF2B5EF4-FFF2-40B4-BE49-F238E27FC236}">
                  <a16:creationId xmlns:a16="http://schemas.microsoft.com/office/drawing/2014/main" id="{F1CC83E5-A4EB-42DD-9A17-370BFA21AAE9}"/>
                </a:ext>
              </a:extLst>
            </p:cNvPr>
            <p:cNvSpPr/>
            <p:nvPr/>
          </p:nvSpPr>
          <p:spPr>
            <a:xfrm rot="8716295">
              <a:off x="121288" y="414134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" name="Forme libre : forme 110">
              <a:extLst>
                <a:ext uri="{FF2B5EF4-FFF2-40B4-BE49-F238E27FC236}">
                  <a16:creationId xmlns:a16="http://schemas.microsoft.com/office/drawing/2014/main" id="{9526DB8B-159A-416E-9CE4-0D6F2D18F32F}"/>
                </a:ext>
              </a:extLst>
            </p:cNvPr>
            <p:cNvSpPr/>
            <p:nvPr/>
          </p:nvSpPr>
          <p:spPr>
            <a:xfrm rot="8716295">
              <a:off x="256586" y="418560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" name="Forme libre : forme 111">
              <a:extLst>
                <a:ext uri="{FF2B5EF4-FFF2-40B4-BE49-F238E27FC236}">
                  <a16:creationId xmlns:a16="http://schemas.microsoft.com/office/drawing/2014/main" id="{8B12B296-AAE6-463A-B5CB-324F979AE957}"/>
                </a:ext>
              </a:extLst>
            </p:cNvPr>
            <p:cNvSpPr/>
            <p:nvPr/>
          </p:nvSpPr>
          <p:spPr>
            <a:xfrm rot="8716295">
              <a:off x="188704" y="405501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" name="Forme libre : forme 112">
              <a:extLst>
                <a:ext uri="{FF2B5EF4-FFF2-40B4-BE49-F238E27FC236}">
                  <a16:creationId xmlns:a16="http://schemas.microsoft.com/office/drawing/2014/main" id="{9A3F4C45-E84E-45F4-A1D8-E67A24057076}"/>
                </a:ext>
              </a:extLst>
            </p:cNvPr>
            <p:cNvSpPr/>
            <p:nvPr/>
          </p:nvSpPr>
          <p:spPr>
            <a:xfrm rot="8716295">
              <a:off x="-22408" y="4278013"/>
              <a:ext cx="57413" cy="71926"/>
            </a:xfrm>
            <a:custGeom>
              <a:avLst/>
              <a:gdLst>
                <a:gd name="connsiteX0" fmla="*/ 11441 w 57413"/>
                <a:gd name="connsiteY0" fmla="*/ 71926 h 71926"/>
                <a:gd name="connsiteX1" fmla="*/ 0 w 57413"/>
                <a:gd name="connsiteY1" fmla="*/ 44829 h 71926"/>
                <a:gd name="connsiteX2" fmla="*/ 0 w 57413"/>
                <a:gd name="connsiteY2" fmla="*/ 44139 h 71926"/>
                <a:gd name="connsiteX3" fmla="*/ 13104 w 57413"/>
                <a:gd name="connsiteY3" fmla="*/ 13104 h 71926"/>
                <a:gd name="connsiteX4" fmla="*/ 44139 w 57413"/>
                <a:gd name="connsiteY4" fmla="*/ 0 h 71926"/>
                <a:gd name="connsiteX5" fmla="*/ 57413 w 57413"/>
                <a:gd name="connsiteY5" fmla="*/ 5605 h 71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413" h="71926">
                  <a:moveTo>
                    <a:pt x="11441" y="71926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lnTo>
                    <a:pt x="57413" y="5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" name="Forme libre : forme 113">
              <a:extLst>
                <a:ext uri="{FF2B5EF4-FFF2-40B4-BE49-F238E27FC236}">
                  <a16:creationId xmlns:a16="http://schemas.microsoft.com/office/drawing/2014/main" id="{9EDF78AD-4158-4BDF-B490-2317803ACA6E}"/>
                </a:ext>
              </a:extLst>
            </p:cNvPr>
            <p:cNvSpPr/>
            <p:nvPr/>
          </p:nvSpPr>
          <p:spPr>
            <a:xfrm rot="8716295">
              <a:off x="-36969" y="4107248"/>
              <a:ext cx="147272" cy="83734"/>
            </a:xfrm>
            <a:custGeom>
              <a:avLst/>
              <a:gdLst>
                <a:gd name="connsiteX0" fmla="*/ 0 w 147272"/>
                <a:gd name="connsiteY0" fmla="*/ 83734 h 83734"/>
                <a:gd name="connsiteX1" fmla="*/ 0 w 147272"/>
                <a:gd name="connsiteY1" fmla="*/ 0 h 83734"/>
                <a:gd name="connsiteX2" fmla="*/ 147272 w 147272"/>
                <a:gd name="connsiteY2" fmla="*/ 0 h 83734"/>
                <a:gd name="connsiteX3" fmla="*/ 89230 w 147272"/>
                <a:gd name="connsiteY3" fmla="*/ 83734 h 83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272" h="83734">
                  <a:moveTo>
                    <a:pt x="0" y="83734"/>
                  </a:moveTo>
                  <a:lnTo>
                    <a:pt x="0" y="0"/>
                  </a:lnTo>
                  <a:lnTo>
                    <a:pt x="147272" y="0"/>
                  </a:lnTo>
                  <a:lnTo>
                    <a:pt x="89230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" name="Forme libre : forme 114">
              <a:extLst>
                <a:ext uri="{FF2B5EF4-FFF2-40B4-BE49-F238E27FC236}">
                  <a16:creationId xmlns:a16="http://schemas.microsoft.com/office/drawing/2014/main" id="{18A6ED0C-2A06-421B-B360-5120C1917E60}"/>
                </a:ext>
              </a:extLst>
            </p:cNvPr>
            <p:cNvSpPr/>
            <p:nvPr/>
          </p:nvSpPr>
          <p:spPr>
            <a:xfrm rot="8716295">
              <a:off x="43378" y="3712531"/>
              <a:ext cx="125537" cy="468763"/>
            </a:xfrm>
            <a:custGeom>
              <a:avLst/>
              <a:gdLst>
                <a:gd name="connsiteX0" fmla="*/ 29455 w 125537"/>
                <a:gd name="connsiteY0" fmla="*/ 468763 h 468763"/>
                <a:gd name="connsiteX1" fmla="*/ 7792 w 125537"/>
                <a:gd name="connsiteY1" fmla="*/ 425988 h 468763"/>
                <a:gd name="connsiteX2" fmla="*/ 0 w 125537"/>
                <a:gd name="connsiteY2" fmla="*/ 333043 h 468763"/>
                <a:gd name="connsiteX3" fmla="*/ 0 w 125537"/>
                <a:gd name="connsiteY3" fmla="*/ 61444 h 468763"/>
                <a:gd name="connsiteX4" fmla="*/ 118434 w 125537"/>
                <a:gd name="connsiteY4" fmla="*/ 0 h 468763"/>
                <a:gd name="connsiteX5" fmla="*/ 120216 w 125537"/>
                <a:gd name="connsiteY5" fmla="*/ 248447 h 468763"/>
                <a:gd name="connsiteX6" fmla="*/ 123889 w 125537"/>
                <a:gd name="connsiteY6" fmla="*/ 323359 h 468763"/>
                <a:gd name="connsiteX7" fmla="*/ 125537 w 125537"/>
                <a:gd name="connsiteY7" fmla="*/ 330150 h 468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537" h="468763">
                  <a:moveTo>
                    <a:pt x="29455" y="468763"/>
                  </a:moveTo>
                  <a:lnTo>
                    <a:pt x="7792" y="425988"/>
                  </a:lnTo>
                  <a:cubicBezTo>
                    <a:pt x="2003" y="400498"/>
                    <a:pt x="0" y="369553"/>
                    <a:pt x="0" y="333043"/>
                  </a:cubicBezTo>
                  <a:lnTo>
                    <a:pt x="0" y="61444"/>
                  </a:lnTo>
                  <a:lnTo>
                    <a:pt x="118434" y="0"/>
                  </a:lnTo>
                  <a:lnTo>
                    <a:pt x="120216" y="248447"/>
                  </a:lnTo>
                  <a:cubicBezTo>
                    <a:pt x="118880" y="273381"/>
                    <a:pt x="120216" y="298537"/>
                    <a:pt x="123889" y="323359"/>
                  </a:cubicBezTo>
                  <a:lnTo>
                    <a:pt x="125537" y="3301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" name="Forme libre : forme 115">
              <a:extLst>
                <a:ext uri="{FF2B5EF4-FFF2-40B4-BE49-F238E27FC236}">
                  <a16:creationId xmlns:a16="http://schemas.microsoft.com/office/drawing/2014/main" id="{E0FDC8EF-8848-4C0A-9102-11E05499477A}"/>
                </a:ext>
              </a:extLst>
            </p:cNvPr>
            <p:cNvSpPr/>
            <p:nvPr/>
          </p:nvSpPr>
          <p:spPr>
            <a:xfrm rot="8716295">
              <a:off x="87905" y="4337347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" name="Forme libre : forme 116">
              <a:extLst>
                <a:ext uri="{FF2B5EF4-FFF2-40B4-BE49-F238E27FC236}">
                  <a16:creationId xmlns:a16="http://schemas.microsoft.com/office/drawing/2014/main" id="{5A06B087-2ED7-4364-B770-117460F6509C}"/>
                </a:ext>
              </a:extLst>
            </p:cNvPr>
            <p:cNvSpPr/>
            <p:nvPr/>
          </p:nvSpPr>
          <p:spPr>
            <a:xfrm rot="8716295">
              <a:off x="558851" y="376273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" name="Forme libre : forme 117">
              <a:extLst>
                <a:ext uri="{FF2B5EF4-FFF2-40B4-BE49-F238E27FC236}">
                  <a16:creationId xmlns:a16="http://schemas.microsoft.com/office/drawing/2014/main" id="{A9CE4EB9-9050-492E-8BE3-E347F06FFDC2}"/>
                </a:ext>
              </a:extLst>
            </p:cNvPr>
            <p:cNvSpPr/>
            <p:nvPr/>
          </p:nvSpPr>
          <p:spPr>
            <a:xfrm rot="8716295">
              <a:off x="694150" y="380699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" name="Forme libre : forme 118">
              <a:extLst>
                <a:ext uri="{FF2B5EF4-FFF2-40B4-BE49-F238E27FC236}">
                  <a16:creationId xmlns:a16="http://schemas.microsoft.com/office/drawing/2014/main" id="{760AB253-194C-499B-8D42-794DA9755956}"/>
                </a:ext>
              </a:extLst>
            </p:cNvPr>
            <p:cNvSpPr/>
            <p:nvPr/>
          </p:nvSpPr>
          <p:spPr>
            <a:xfrm rot="8716295">
              <a:off x="388980" y="389674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" name="Forme libre : forme 119">
              <a:extLst>
                <a:ext uri="{FF2B5EF4-FFF2-40B4-BE49-F238E27FC236}">
                  <a16:creationId xmlns:a16="http://schemas.microsoft.com/office/drawing/2014/main" id="{40898D3E-1FCF-4F50-8E01-1AFEA6AF3C33}"/>
                </a:ext>
              </a:extLst>
            </p:cNvPr>
            <p:cNvSpPr/>
            <p:nvPr/>
          </p:nvSpPr>
          <p:spPr>
            <a:xfrm rot="8716295">
              <a:off x="199936" y="358091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" name="Forme libre : forme 120">
              <a:extLst>
                <a:ext uri="{FF2B5EF4-FFF2-40B4-BE49-F238E27FC236}">
                  <a16:creationId xmlns:a16="http://schemas.microsoft.com/office/drawing/2014/main" id="{D3FAD429-F566-4023-B7BD-D5217FAA5D96}"/>
                </a:ext>
              </a:extLst>
            </p:cNvPr>
            <p:cNvSpPr/>
            <p:nvPr/>
          </p:nvSpPr>
          <p:spPr>
            <a:xfrm rot="8716295">
              <a:off x="525469" y="3958731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" name="Forme libre : forme 121">
              <a:extLst>
                <a:ext uri="{FF2B5EF4-FFF2-40B4-BE49-F238E27FC236}">
                  <a16:creationId xmlns:a16="http://schemas.microsoft.com/office/drawing/2014/main" id="{D20A67B5-6AA2-4AB0-B207-C07057BDE093}"/>
                </a:ext>
              </a:extLst>
            </p:cNvPr>
            <p:cNvSpPr/>
            <p:nvPr/>
          </p:nvSpPr>
          <p:spPr>
            <a:xfrm rot="8716295">
              <a:off x="160022" y="3732305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" name="Forme libre : forme 122">
              <a:extLst>
                <a:ext uri="{FF2B5EF4-FFF2-40B4-BE49-F238E27FC236}">
                  <a16:creationId xmlns:a16="http://schemas.microsoft.com/office/drawing/2014/main" id="{91FEBD80-6813-4F8F-ACF7-9087BB051204}"/>
                </a:ext>
              </a:extLst>
            </p:cNvPr>
            <p:cNvSpPr/>
            <p:nvPr/>
          </p:nvSpPr>
          <p:spPr>
            <a:xfrm rot="7484129">
              <a:off x="684286" y="424834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" name="Forme libre : forme 123">
              <a:extLst>
                <a:ext uri="{FF2B5EF4-FFF2-40B4-BE49-F238E27FC236}">
                  <a16:creationId xmlns:a16="http://schemas.microsoft.com/office/drawing/2014/main" id="{4CAAD98F-1BEB-4716-B4A0-F4F1C4393647}"/>
                </a:ext>
              </a:extLst>
            </p:cNvPr>
            <p:cNvSpPr/>
            <p:nvPr/>
          </p:nvSpPr>
          <p:spPr>
            <a:xfrm rot="13089394">
              <a:off x="842936" y="4197697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" name="Forme libre : forme 124">
              <a:extLst>
                <a:ext uri="{FF2B5EF4-FFF2-40B4-BE49-F238E27FC236}">
                  <a16:creationId xmlns:a16="http://schemas.microsoft.com/office/drawing/2014/main" id="{B934D86F-56B5-4940-9189-1F845F67AF3D}"/>
                </a:ext>
              </a:extLst>
            </p:cNvPr>
            <p:cNvSpPr/>
            <p:nvPr/>
          </p:nvSpPr>
          <p:spPr>
            <a:xfrm rot="8716295">
              <a:off x="1123827" y="390757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" name="Forme libre : forme 125">
              <a:extLst>
                <a:ext uri="{FF2B5EF4-FFF2-40B4-BE49-F238E27FC236}">
                  <a16:creationId xmlns:a16="http://schemas.microsoft.com/office/drawing/2014/main" id="{0BB740E0-5261-47F5-A043-EC9887338951}"/>
                </a:ext>
              </a:extLst>
            </p:cNvPr>
            <p:cNvSpPr/>
            <p:nvPr/>
          </p:nvSpPr>
          <p:spPr>
            <a:xfrm rot="8716295">
              <a:off x="1045418" y="375078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" name="Forme libre : forme 126">
              <a:extLst>
                <a:ext uri="{FF2B5EF4-FFF2-40B4-BE49-F238E27FC236}">
                  <a16:creationId xmlns:a16="http://schemas.microsoft.com/office/drawing/2014/main" id="{07B02AA0-438E-4A9F-9E86-C7798EAE77E1}"/>
                </a:ext>
              </a:extLst>
            </p:cNvPr>
            <p:cNvSpPr/>
            <p:nvPr/>
          </p:nvSpPr>
          <p:spPr>
            <a:xfrm rot="8716295">
              <a:off x="677254" y="379652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" name="Forme libre : forme 127">
              <a:extLst>
                <a:ext uri="{FF2B5EF4-FFF2-40B4-BE49-F238E27FC236}">
                  <a16:creationId xmlns:a16="http://schemas.microsoft.com/office/drawing/2014/main" id="{500903EF-2A49-42E8-AD78-049F43A296FF}"/>
                </a:ext>
              </a:extLst>
            </p:cNvPr>
            <p:cNvSpPr/>
            <p:nvPr/>
          </p:nvSpPr>
          <p:spPr>
            <a:xfrm rot="8716295">
              <a:off x="945836" y="355550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" name="Forme libre : forme 128">
              <a:extLst>
                <a:ext uri="{FF2B5EF4-FFF2-40B4-BE49-F238E27FC236}">
                  <a16:creationId xmlns:a16="http://schemas.microsoft.com/office/drawing/2014/main" id="{480AF78A-BA1A-4D97-9E00-1B9DCCFB07D3}"/>
                </a:ext>
              </a:extLst>
            </p:cNvPr>
            <p:cNvSpPr/>
            <p:nvPr/>
          </p:nvSpPr>
          <p:spPr>
            <a:xfrm rot="8716295">
              <a:off x="601570" y="5027951"/>
              <a:ext cx="169680" cy="113030"/>
            </a:xfrm>
            <a:custGeom>
              <a:avLst/>
              <a:gdLst>
                <a:gd name="connsiteX0" fmla="*/ 8965 w 169680"/>
                <a:gd name="connsiteY0" fmla="*/ 113030 h 113030"/>
                <a:gd name="connsiteX1" fmla="*/ 0 w 169680"/>
                <a:gd name="connsiteY1" fmla="*/ 100616 h 113030"/>
                <a:gd name="connsiteX2" fmla="*/ 106933 w 169680"/>
                <a:gd name="connsiteY2" fmla="*/ 0 h 113030"/>
                <a:gd name="connsiteX3" fmla="*/ 169680 w 169680"/>
                <a:gd name="connsiteY3" fmla="*/ 43494 h 113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680" h="113030">
                  <a:moveTo>
                    <a:pt x="8965" y="113030"/>
                  </a:moveTo>
                  <a:lnTo>
                    <a:pt x="0" y="100616"/>
                  </a:lnTo>
                  <a:lnTo>
                    <a:pt x="106933" y="0"/>
                  </a:lnTo>
                  <a:lnTo>
                    <a:pt x="169680" y="434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" name="Forme libre : forme 129">
              <a:extLst>
                <a:ext uri="{FF2B5EF4-FFF2-40B4-BE49-F238E27FC236}">
                  <a16:creationId xmlns:a16="http://schemas.microsoft.com/office/drawing/2014/main" id="{EE8617F6-3CC3-49C7-A836-7CB9E4E540AD}"/>
                </a:ext>
              </a:extLst>
            </p:cNvPr>
            <p:cNvSpPr/>
            <p:nvPr/>
          </p:nvSpPr>
          <p:spPr>
            <a:xfrm rot="8716295">
              <a:off x="197311" y="4925365"/>
              <a:ext cx="194366" cy="296463"/>
            </a:xfrm>
            <a:custGeom>
              <a:avLst/>
              <a:gdLst>
                <a:gd name="connsiteX0" fmla="*/ 137293 w 194366"/>
                <a:gd name="connsiteY0" fmla="*/ 296463 h 296463"/>
                <a:gd name="connsiteX1" fmla="*/ 72418 w 194366"/>
                <a:gd name="connsiteY1" fmla="*/ 175766 h 296463"/>
                <a:gd name="connsiteX2" fmla="*/ 105610 w 194366"/>
                <a:gd name="connsiteY2" fmla="*/ 83734 h 296463"/>
                <a:gd name="connsiteX3" fmla="*/ 0 w 194366"/>
                <a:gd name="connsiteY3" fmla="*/ 83734 h 296463"/>
                <a:gd name="connsiteX4" fmla="*/ 0 w 194366"/>
                <a:gd name="connsiteY4" fmla="*/ 0 h 296463"/>
                <a:gd name="connsiteX5" fmla="*/ 6043 w 194366"/>
                <a:gd name="connsiteY5" fmla="*/ 0 h 296463"/>
                <a:gd name="connsiteX6" fmla="*/ 194366 w 194366"/>
                <a:gd name="connsiteY6" fmla="*/ 130539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4366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6043" y="0"/>
                  </a:lnTo>
                  <a:lnTo>
                    <a:pt x="194366" y="1305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" name="Forme libre : forme 130">
              <a:extLst>
                <a:ext uri="{FF2B5EF4-FFF2-40B4-BE49-F238E27FC236}">
                  <a16:creationId xmlns:a16="http://schemas.microsoft.com/office/drawing/2014/main" id="{7A3770F8-0F14-4D5B-BC93-8BDF0237ED5F}"/>
                </a:ext>
              </a:extLst>
            </p:cNvPr>
            <p:cNvSpPr/>
            <p:nvPr/>
          </p:nvSpPr>
          <p:spPr>
            <a:xfrm rot="8716295">
              <a:off x="81902" y="4747962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" name="Forme libre : forme 131">
              <a:extLst>
                <a:ext uri="{FF2B5EF4-FFF2-40B4-BE49-F238E27FC236}">
                  <a16:creationId xmlns:a16="http://schemas.microsoft.com/office/drawing/2014/main" id="{6F3531E0-325E-4C4E-9F22-978D3BA0B1C2}"/>
                </a:ext>
              </a:extLst>
            </p:cNvPr>
            <p:cNvSpPr/>
            <p:nvPr/>
          </p:nvSpPr>
          <p:spPr>
            <a:xfrm rot="8716295">
              <a:off x="896624" y="4761216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" name="Forme libre : forme 132">
              <a:extLst>
                <a:ext uri="{FF2B5EF4-FFF2-40B4-BE49-F238E27FC236}">
                  <a16:creationId xmlns:a16="http://schemas.microsoft.com/office/drawing/2014/main" id="{0B981DC2-26C2-44B6-A24A-4014CF42843D}"/>
                </a:ext>
              </a:extLst>
            </p:cNvPr>
            <p:cNvSpPr/>
            <p:nvPr/>
          </p:nvSpPr>
          <p:spPr>
            <a:xfrm rot="8716295">
              <a:off x="1032483" y="4799006"/>
              <a:ext cx="389853" cy="383455"/>
            </a:xfrm>
            <a:custGeom>
              <a:avLst/>
              <a:gdLst>
                <a:gd name="connsiteX0" fmla="*/ 77932 w 389853"/>
                <a:gd name="connsiteY0" fmla="*/ 383455 h 383455"/>
                <a:gd name="connsiteX1" fmla="*/ 77932 w 389853"/>
                <a:gd name="connsiteY1" fmla="*/ 66898 h 383455"/>
                <a:gd name="connsiteX2" fmla="*/ 0 w 389853"/>
                <a:gd name="connsiteY2" fmla="*/ 66898 h 383455"/>
                <a:gd name="connsiteX3" fmla="*/ 0 w 389853"/>
                <a:gd name="connsiteY3" fmla="*/ 0 h 383455"/>
                <a:gd name="connsiteX4" fmla="*/ 158623 w 389853"/>
                <a:gd name="connsiteY4" fmla="*/ 0 h 383455"/>
                <a:gd name="connsiteX5" fmla="*/ 158623 w 389853"/>
                <a:gd name="connsiteY5" fmla="*/ 111726 h 383455"/>
                <a:gd name="connsiteX6" fmla="*/ 160692 w 389853"/>
                <a:gd name="connsiteY6" fmla="*/ 111726 h 383455"/>
                <a:gd name="connsiteX7" fmla="*/ 192762 w 389853"/>
                <a:gd name="connsiteY7" fmla="*/ 39914 h 383455"/>
                <a:gd name="connsiteX8" fmla="*/ 216292 w 389853"/>
                <a:gd name="connsiteY8" fmla="*/ 20658 h 383455"/>
                <a:gd name="connsiteX9" fmla="*/ 389853 w 389853"/>
                <a:gd name="connsiteY9" fmla="*/ 140965 h 383455"/>
                <a:gd name="connsiteX10" fmla="*/ 300695 w 389853"/>
                <a:gd name="connsiteY10" fmla="*/ 146210 h 383455"/>
                <a:gd name="connsiteX11" fmla="*/ 300694 w 389853"/>
                <a:gd name="connsiteY11" fmla="*/ 121382 h 383455"/>
                <a:gd name="connsiteX12" fmla="*/ 249659 w 389853"/>
                <a:gd name="connsiteY12" fmla="*/ 58622 h 383455"/>
                <a:gd name="connsiteX13" fmla="*/ 168969 w 389853"/>
                <a:gd name="connsiteY13" fmla="*/ 191038 h 383455"/>
                <a:gd name="connsiteX14" fmla="*/ 168969 w 389853"/>
                <a:gd name="connsiteY14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9853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71727" y="78967"/>
                    <a:pt x="181555" y="56208"/>
                    <a:pt x="192762" y="39914"/>
                  </a:cubicBezTo>
                  <a:lnTo>
                    <a:pt x="216292" y="20658"/>
                  </a:lnTo>
                  <a:lnTo>
                    <a:pt x="389853" y="140965"/>
                  </a:lnTo>
                  <a:lnTo>
                    <a:pt x="300695" y="146210"/>
                  </a:lnTo>
                  <a:lnTo>
                    <a:pt x="300694" y="121382"/>
                  </a:lnTo>
                  <a:cubicBezTo>
                    <a:pt x="300695" y="84140"/>
                    <a:pt x="279315" y="58621"/>
                    <a:pt x="249659" y="58622"/>
                  </a:cubicBezTo>
                  <a:cubicBezTo>
                    <a:pt x="205521" y="58621"/>
                    <a:pt x="168969" y="117244"/>
                    <a:pt x="168969" y="191038"/>
                  </a:cubicBez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" name="Forme libre : forme 133">
              <a:extLst>
                <a:ext uri="{FF2B5EF4-FFF2-40B4-BE49-F238E27FC236}">
                  <a16:creationId xmlns:a16="http://schemas.microsoft.com/office/drawing/2014/main" id="{A3972FDD-BF94-4723-9E5F-9672CBFB9038}"/>
                </a:ext>
              </a:extLst>
            </p:cNvPr>
            <p:cNvSpPr/>
            <p:nvPr/>
          </p:nvSpPr>
          <p:spPr>
            <a:xfrm rot="8716295">
              <a:off x="726753" y="489523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" name="Forme libre : forme 134">
              <a:extLst>
                <a:ext uri="{FF2B5EF4-FFF2-40B4-BE49-F238E27FC236}">
                  <a16:creationId xmlns:a16="http://schemas.microsoft.com/office/drawing/2014/main" id="{53E7288B-8855-433D-88B5-BB9A05F8E9B6}"/>
                </a:ext>
              </a:extLst>
            </p:cNvPr>
            <p:cNvSpPr/>
            <p:nvPr/>
          </p:nvSpPr>
          <p:spPr>
            <a:xfrm rot="8716295">
              <a:off x="537709" y="457939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" name="Forme libre : forme 135">
              <a:extLst>
                <a:ext uri="{FF2B5EF4-FFF2-40B4-BE49-F238E27FC236}">
                  <a16:creationId xmlns:a16="http://schemas.microsoft.com/office/drawing/2014/main" id="{6D0BADDB-ADF9-4A5A-9268-3F374A71F372}"/>
                </a:ext>
              </a:extLst>
            </p:cNvPr>
            <p:cNvSpPr/>
            <p:nvPr/>
          </p:nvSpPr>
          <p:spPr>
            <a:xfrm rot="8716295">
              <a:off x="826576" y="4988476"/>
              <a:ext cx="91035" cy="198648"/>
            </a:xfrm>
            <a:custGeom>
              <a:avLst/>
              <a:gdLst>
                <a:gd name="connsiteX0" fmla="*/ 91035 w 91035"/>
                <a:gd name="connsiteY0" fmla="*/ 198648 h 198648"/>
                <a:gd name="connsiteX1" fmla="*/ 0 w 91035"/>
                <a:gd name="connsiteY1" fmla="*/ 111060 h 198648"/>
                <a:gd name="connsiteX2" fmla="*/ 0 w 91035"/>
                <a:gd name="connsiteY2" fmla="*/ 0 h 198648"/>
                <a:gd name="connsiteX3" fmla="*/ 91035 w 91035"/>
                <a:gd name="connsiteY3" fmla="*/ 63103 h 198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198648">
                  <a:moveTo>
                    <a:pt x="91035" y="198648"/>
                  </a:moveTo>
                  <a:lnTo>
                    <a:pt x="0" y="111060"/>
                  </a:lnTo>
                  <a:lnTo>
                    <a:pt x="0" y="0"/>
                  </a:lnTo>
                  <a:lnTo>
                    <a:pt x="91035" y="631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" name="Forme libre : forme 136">
              <a:extLst>
                <a:ext uri="{FF2B5EF4-FFF2-40B4-BE49-F238E27FC236}">
                  <a16:creationId xmlns:a16="http://schemas.microsoft.com/office/drawing/2014/main" id="{7A0A28EA-B520-49BA-800F-B4282BF0ECB8}"/>
                </a:ext>
              </a:extLst>
            </p:cNvPr>
            <p:cNvSpPr/>
            <p:nvPr/>
          </p:nvSpPr>
          <p:spPr>
            <a:xfrm rot="8716295">
              <a:off x="497795" y="4730788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" name="Forme libre : forme 137">
              <a:extLst>
                <a:ext uri="{FF2B5EF4-FFF2-40B4-BE49-F238E27FC236}">
                  <a16:creationId xmlns:a16="http://schemas.microsoft.com/office/drawing/2014/main" id="{8781DCBF-8301-4C81-B93D-E186016AF47F}"/>
                </a:ext>
              </a:extLst>
            </p:cNvPr>
            <p:cNvSpPr/>
            <p:nvPr/>
          </p:nvSpPr>
          <p:spPr>
            <a:xfrm rot="8716295">
              <a:off x="1459248" y="4904357"/>
              <a:ext cx="328004" cy="223069"/>
            </a:xfrm>
            <a:custGeom>
              <a:avLst/>
              <a:gdLst>
                <a:gd name="connsiteX0" fmla="*/ 10574 w 328004"/>
                <a:gd name="connsiteY0" fmla="*/ 223069 h 223069"/>
                <a:gd name="connsiteX1" fmla="*/ 0 w 328004"/>
                <a:gd name="connsiteY1" fmla="*/ 208428 h 223069"/>
                <a:gd name="connsiteX2" fmla="*/ 192781 w 328004"/>
                <a:gd name="connsiteY2" fmla="*/ 27035 h 223069"/>
                <a:gd name="connsiteX3" fmla="*/ 227094 w 328004"/>
                <a:gd name="connsiteY3" fmla="*/ 0 h 223069"/>
                <a:gd name="connsiteX4" fmla="*/ 328004 w 328004"/>
                <a:gd name="connsiteY4" fmla="*/ 69948 h 223069"/>
                <a:gd name="connsiteX5" fmla="*/ 326080 w 328004"/>
                <a:gd name="connsiteY5" fmla="*/ 74925 h 223069"/>
                <a:gd name="connsiteX6" fmla="*/ 293645 w 328004"/>
                <a:gd name="connsiteY6" fmla="*/ 100243 h 223069"/>
                <a:gd name="connsiteX7" fmla="*/ 294458 w 328004"/>
                <a:gd name="connsiteY7" fmla="*/ 100243 h 223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8004" h="223069">
                  <a:moveTo>
                    <a:pt x="10574" y="223069"/>
                  </a:moveTo>
                  <a:lnTo>
                    <a:pt x="0" y="208428"/>
                  </a:lnTo>
                  <a:lnTo>
                    <a:pt x="192781" y="27035"/>
                  </a:lnTo>
                  <a:lnTo>
                    <a:pt x="227094" y="0"/>
                  </a:lnTo>
                  <a:lnTo>
                    <a:pt x="328004" y="69948"/>
                  </a:lnTo>
                  <a:lnTo>
                    <a:pt x="326080" y="74925"/>
                  </a:lnTo>
                  <a:cubicBezTo>
                    <a:pt x="317843" y="85805"/>
                    <a:pt x="306659" y="94549"/>
                    <a:pt x="293645" y="100243"/>
                  </a:cubicBezTo>
                  <a:lnTo>
                    <a:pt x="294458" y="10024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" name="Forme libre : forme 138">
              <a:extLst>
                <a:ext uri="{FF2B5EF4-FFF2-40B4-BE49-F238E27FC236}">
                  <a16:creationId xmlns:a16="http://schemas.microsoft.com/office/drawing/2014/main" id="{3ED78FC6-709C-4AA3-BB63-2CC979D6E8FB}"/>
                </a:ext>
              </a:extLst>
            </p:cNvPr>
            <p:cNvSpPr/>
            <p:nvPr/>
          </p:nvSpPr>
          <p:spPr>
            <a:xfrm rot="8716295">
              <a:off x="1383191" y="474927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" name="Forme libre : forme 139">
              <a:extLst>
                <a:ext uri="{FF2B5EF4-FFF2-40B4-BE49-F238E27FC236}">
                  <a16:creationId xmlns:a16="http://schemas.microsoft.com/office/drawing/2014/main" id="{AC25FEFC-06C2-45EF-9330-9EAB676F1680}"/>
                </a:ext>
              </a:extLst>
            </p:cNvPr>
            <p:cNvSpPr/>
            <p:nvPr/>
          </p:nvSpPr>
          <p:spPr>
            <a:xfrm rot="8716295">
              <a:off x="1015027" y="479501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" name="Forme libre : forme 140">
              <a:extLst>
                <a:ext uri="{FF2B5EF4-FFF2-40B4-BE49-F238E27FC236}">
                  <a16:creationId xmlns:a16="http://schemas.microsoft.com/office/drawing/2014/main" id="{6FCEE809-B78B-468F-8A4F-11AD6B5B5DFE}"/>
                </a:ext>
              </a:extLst>
            </p:cNvPr>
            <p:cNvSpPr/>
            <p:nvPr/>
          </p:nvSpPr>
          <p:spPr>
            <a:xfrm rot="8716295">
              <a:off x="1283609" y="455399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" name="Forme libre : forme 141">
              <a:extLst>
                <a:ext uri="{FF2B5EF4-FFF2-40B4-BE49-F238E27FC236}">
                  <a16:creationId xmlns:a16="http://schemas.microsoft.com/office/drawing/2014/main" id="{4D7B8EF3-5C2F-4403-A58E-C6455E9DC2F8}"/>
                </a:ext>
              </a:extLst>
            </p:cNvPr>
            <p:cNvSpPr/>
            <p:nvPr/>
          </p:nvSpPr>
          <p:spPr>
            <a:xfrm rot="8716295">
              <a:off x="-30381" y="3359388"/>
              <a:ext cx="98497" cy="75863"/>
            </a:xfrm>
            <a:custGeom>
              <a:avLst/>
              <a:gdLst>
                <a:gd name="connsiteX0" fmla="*/ 0 w 98497"/>
                <a:gd name="connsiteY0" fmla="*/ 75863 h 75863"/>
                <a:gd name="connsiteX1" fmla="*/ 0 w 98497"/>
                <a:gd name="connsiteY1" fmla="*/ 0 h 75863"/>
                <a:gd name="connsiteX2" fmla="*/ 98497 w 98497"/>
                <a:gd name="connsiteY2" fmla="*/ 0 h 75863"/>
                <a:gd name="connsiteX3" fmla="*/ 45911 w 98497"/>
                <a:gd name="connsiteY3" fmla="*/ 75863 h 75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497" h="75863">
                  <a:moveTo>
                    <a:pt x="0" y="75863"/>
                  </a:moveTo>
                  <a:lnTo>
                    <a:pt x="0" y="0"/>
                  </a:lnTo>
                  <a:lnTo>
                    <a:pt x="98497" y="0"/>
                  </a:lnTo>
                  <a:lnTo>
                    <a:pt x="45911" y="758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" name="Forme libre : forme 142">
              <a:extLst>
                <a:ext uri="{FF2B5EF4-FFF2-40B4-BE49-F238E27FC236}">
                  <a16:creationId xmlns:a16="http://schemas.microsoft.com/office/drawing/2014/main" id="{E1CB3E01-5CB9-4779-88E3-4FF297370B3E}"/>
                </a:ext>
              </a:extLst>
            </p:cNvPr>
            <p:cNvSpPr/>
            <p:nvPr/>
          </p:nvSpPr>
          <p:spPr>
            <a:xfrm rot="8716295">
              <a:off x="-77334" y="3178477"/>
              <a:ext cx="389652" cy="385611"/>
            </a:xfrm>
            <a:custGeom>
              <a:avLst/>
              <a:gdLst>
                <a:gd name="connsiteX0" fmla="*/ 77932 w 389652"/>
                <a:gd name="connsiteY0" fmla="*/ 385611 h 385611"/>
                <a:gd name="connsiteX1" fmla="*/ 77932 w 389652"/>
                <a:gd name="connsiteY1" fmla="*/ 69054 h 385611"/>
                <a:gd name="connsiteX2" fmla="*/ 0 w 389652"/>
                <a:gd name="connsiteY2" fmla="*/ 69054 h 385611"/>
                <a:gd name="connsiteX3" fmla="*/ 0 w 389652"/>
                <a:gd name="connsiteY3" fmla="*/ 2156 h 385611"/>
                <a:gd name="connsiteX4" fmla="*/ 158623 w 389652"/>
                <a:gd name="connsiteY4" fmla="*/ 2156 h 385611"/>
                <a:gd name="connsiteX5" fmla="*/ 158623 w 389652"/>
                <a:gd name="connsiteY5" fmla="*/ 113882 h 385611"/>
                <a:gd name="connsiteX6" fmla="*/ 160692 w 389652"/>
                <a:gd name="connsiteY6" fmla="*/ 113882 h 385611"/>
                <a:gd name="connsiteX7" fmla="*/ 233107 w 389652"/>
                <a:gd name="connsiteY7" fmla="*/ 9053 h 385611"/>
                <a:gd name="connsiteX8" fmla="*/ 280694 w 389652"/>
                <a:gd name="connsiteY8" fmla="*/ 87 h 385611"/>
                <a:gd name="connsiteX9" fmla="*/ 364230 w 389652"/>
                <a:gd name="connsiteY9" fmla="*/ 34398 h 385611"/>
                <a:gd name="connsiteX10" fmla="*/ 389652 w 389652"/>
                <a:gd name="connsiteY10" fmla="*/ 117977 h 385611"/>
                <a:gd name="connsiteX11" fmla="*/ 371473 w 389652"/>
                <a:gd name="connsiteY11" fmla="*/ 144202 h 385611"/>
                <a:gd name="connsiteX12" fmla="*/ 300695 w 389652"/>
                <a:gd name="connsiteY12" fmla="*/ 148366 h 385611"/>
                <a:gd name="connsiteX13" fmla="*/ 300695 w 389652"/>
                <a:gd name="connsiteY13" fmla="*/ 123538 h 385611"/>
                <a:gd name="connsiteX14" fmla="*/ 249659 w 389652"/>
                <a:gd name="connsiteY14" fmla="*/ 60778 h 385611"/>
                <a:gd name="connsiteX15" fmla="*/ 168969 w 389652"/>
                <a:gd name="connsiteY15" fmla="*/ 193194 h 385611"/>
                <a:gd name="connsiteX16" fmla="*/ 168969 w 389652"/>
                <a:gd name="connsiteY16" fmla="*/ 323541 h 385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89652" h="385611">
                  <a:moveTo>
                    <a:pt x="77932" y="385611"/>
                  </a:moveTo>
                  <a:lnTo>
                    <a:pt x="77932" y="69054"/>
                  </a:lnTo>
                  <a:lnTo>
                    <a:pt x="0" y="69054"/>
                  </a:lnTo>
                  <a:lnTo>
                    <a:pt x="0" y="2156"/>
                  </a:lnTo>
                  <a:lnTo>
                    <a:pt x="158623" y="2156"/>
                  </a:lnTo>
                  <a:lnTo>
                    <a:pt x="158623" y="113882"/>
                  </a:lnTo>
                  <a:lnTo>
                    <a:pt x="160692" y="113882"/>
                  </a:lnTo>
                  <a:cubicBezTo>
                    <a:pt x="182762" y="48364"/>
                    <a:pt x="200003" y="22846"/>
                    <a:pt x="233107" y="9053"/>
                  </a:cubicBezTo>
                  <a:cubicBezTo>
                    <a:pt x="248280" y="2846"/>
                    <a:pt x="264142" y="-602"/>
                    <a:pt x="280694" y="87"/>
                  </a:cubicBezTo>
                  <a:cubicBezTo>
                    <a:pt x="316212" y="-603"/>
                    <a:pt x="344661" y="11466"/>
                    <a:pt x="364230" y="34398"/>
                  </a:cubicBezTo>
                  <a:lnTo>
                    <a:pt x="389652" y="117977"/>
                  </a:lnTo>
                  <a:lnTo>
                    <a:pt x="371473" y="144202"/>
                  </a:lnTo>
                  <a:lnTo>
                    <a:pt x="300695" y="148366"/>
                  </a:lnTo>
                  <a:lnTo>
                    <a:pt x="300695" y="123538"/>
                  </a:lnTo>
                  <a:cubicBezTo>
                    <a:pt x="300695" y="86296"/>
                    <a:pt x="279315" y="60778"/>
                    <a:pt x="249659" y="60778"/>
                  </a:cubicBezTo>
                  <a:cubicBezTo>
                    <a:pt x="205521" y="60778"/>
                    <a:pt x="168969" y="119400"/>
                    <a:pt x="168969" y="193194"/>
                  </a:cubicBezTo>
                  <a:lnTo>
                    <a:pt x="168969" y="3235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4" name="Forme libre : forme 143">
              <a:extLst>
                <a:ext uri="{FF2B5EF4-FFF2-40B4-BE49-F238E27FC236}">
                  <a16:creationId xmlns:a16="http://schemas.microsoft.com/office/drawing/2014/main" id="{693C3616-465F-40B5-99BD-A4355895EC1C}"/>
                </a:ext>
              </a:extLst>
            </p:cNvPr>
            <p:cNvSpPr/>
            <p:nvPr/>
          </p:nvSpPr>
          <p:spPr>
            <a:xfrm rot="8716295">
              <a:off x="-71352" y="3029015"/>
              <a:ext cx="193594" cy="189959"/>
            </a:xfrm>
            <a:custGeom>
              <a:avLst/>
              <a:gdLst>
                <a:gd name="connsiteX0" fmla="*/ 8965 w 193594"/>
                <a:gd name="connsiteY0" fmla="*/ 189959 h 189959"/>
                <a:gd name="connsiteX1" fmla="*/ 0 w 193594"/>
                <a:gd name="connsiteY1" fmla="*/ 177545 h 189959"/>
                <a:gd name="connsiteX2" fmla="*/ 163451 w 193594"/>
                <a:gd name="connsiteY2" fmla="*/ 23749 h 189959"/>
                <a:gd name="connsiteX3" fmla="*/ 193594 w 193594"/>
                <a:gd name="connsiteY3" fmla="*/ 0 h 189959"/>
                <a:gd name="connsiteX4" fmla="*/ 84606 w 193594"/>
                <a:gd name="connsiteY4" fmla="*/ 157232 h 189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594" h="189959">
                  <a:moveTo>
                    <a:pt x="8965" y="189959"/>
                  </a:moveTo>
                  <a:lnTo>
                    <a:pt x="0" y="177545"/>
                  </a:lnTo>
                  <a:lnTo>
                    <a:pt x="163451" y="23749"/>
                  </a:lnTo>
                  <a:lnTo>
                    <a:pt x="193594" y="0"/>
                  </a:lnTo>
                  <a:lnTo>
                    <a:pt x="84606" y="15723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5" name="Forme libre : forme 144">
              <a:extLst>
                <a:ext uri="{FF2B5EF4-FFF2-40B4-BE49-F238E27FC236}">
                  <a16:creationId xmlns:a16="http://schemas.microsoft.com/office/drawing/2014/main" id="{24B29AA9-322C-494E-97CF-CB28B697D24F}"/>
                </a:ext>
              </a:extLst>
            </p:cNvPr>
            <p:cNvSpPr/>
            <p:nvPr/>
          </p:nvSpPr>
          <p:spPr>
            <a:xfrm rot="8716295">
              <a:off x="223574" y="276232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6" name="Forme libre : forme 145">
              <a:extLst>
                <a:ext uri="{FF2B5EF4-FFF2-40B4-BE49-F238E27FC236}">
                  <a16:creationId xmlns:a16="http://schemas.microsoft.com/office/drawing/2014/main" id="{F8DE088E-7554-4812-9E9E-4D30E041F578}"/>
                </a:ext>
              </a:extLst>
            </p:cNvPr>
            <p:cNvSpPr/>
            <p:nvPr/>
          </p:nvSpPr>
          <p:spPr>
            <a:xfrm rot="8716295">
              <a:off x="358873" y="2806579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7" name="Forme libre : forme 146">
              <a:extLst>
                <a:ext uri="{FF2B5EF4-FFF2-40B4-BE49-F238E27FC236}">
                  <a16:creationId xmlns:a16="http://schemas.microsoft.com/office/drawing/2014/main" id="{B9E26502-E7AD-4DA1-9955-0A4E18FDB87E}"/>
                </a:ext>
              </a:extLst>
            </p:cNvPr>
            <p:cNvSpPr/>
            <p:nvPr/>
          </p:nvSpPr>
          <p:spPr>
            <a:xfrm rot="8716295">
              <a:off x="53703" y="2896335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8" name="Forme libre : forme 147">
              <a:extLst>
                <a:ext uri="{FF2B5EF4-FFF2-40B4-BE49-F238E27FC236}">
                  <a16:creationId xmlns:a16="http://schemas.microsoft.com/office/drawing/2014/main" id="{916CFE5B-3405-43DB-8C30-699019D1BD67}"/>
                </a:ext>
              </a:extLst>
            </p:cNvPr>
            <p:cNvSpPr/>
            <p:nvPr/>
          </p:nvSpPr>
          <p:spPr>
            <a:xfrm rot="8716295">
              <a:off x="-92201" y="2622488"/>
              <a:ext cx="271732" cy="238722"/>
            </a:xfrm>
            <a:custGeom>
              <a:avLst/>
              <a:gdLst>
                <a:gd name="connsiteX0" fmla="*/ 106257 w 271732"/>
                <a:gd name="connsiteY0" fmla="*/ 238722 h 238722"/>
                <a:gd name="connsiteX1" fmla="*/ 72418 w 271732"/>
                <a:gd name="connsiteY1" fmla="*/ 175766 h 238722"/>
                <a:gd name="connsiteX2" fmla="*/ 105610 w 271732"/>
                <a:gd name="connsiteY2" fmla="*/ 83734 h 238722"/>
                <a:gd name="connsiteX3" fmla="*/ 0 w 271732"/>
                <a:gd name="connsiteY3" fmla="*/ 83734 h 238722"/>
                <a:gd name="connsiteX4" fmla="*/ 0 w 271732"/>
                <a:gd name="connsiteY4" fmla="*/ 0 h 238722"/>
                <a:gd name="connsiteX5" fmla="*/ 271732 w 271732"/>
                <a:gd name="connsiteY5" fmla="*/ 0 h 238722"/>
                <a:gd name="connsiteX6" fmla="*/ 213690 w 271732"/>
                <a:gd name="connsiteY6" fmla="*/ 83734 h 238722"/>
                <a:gd name="connsiteX7" fmla="*/ 210465 w 271732"/>
                <a:gd name="connsiteY7" fmla="*/ 83734 h 238722"/>
                <a:gd name="connsiteX8" fmla="*/ 207289 w 271732"/>
                <a:gd name="connsiteY8" fmla="*/ 92969 h 238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1732" h="238722">
                  <a:moveTo>
                    <a:pt x="106257" y="238722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71732" y="0"/>
                  </a:lnTo>
                  <a:lnTo>
                    <a:pt x="213690" y="83734"/>
                  </a:lnTo>
                  <a:lnTo>
                    <a:pt x="210465" y="83734"/>
                  </a:lnTo>
                  <a:lnTo>
                    <a:pt x="207289" y="929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9" name="Forme libre : forme 148">
              <a:extLst>
                <a:ext uri="{FF2B5EF4-FFF2-40B4-BE49-F238E27FC236}">
                  <a16:creationId xmlns:a16="http://schemas.microsoft.com/office/drawing/2014/main" id="{D3C330C6-8ED8-4019-9D23-534F7E32B7C3}"/>
                </a:ext>
              </a:extLst>
            </p:cNvPr>
            <p:cNvSpPr/>
            <p:nvPr/>
          </p:nvSpPr>
          <p:spPr>
            <a:xfrm rot="8716295">
              <a:off x="190192" y="2958318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0" name="Forme libre : forme 149">
              <a:extLst>
                <a:ext uri="{FF2B5EF4-FFF2-40B4-BE49-F238E27FC236}">
                  <a16:creationId xmlns:a16="http://schemas.microsoft.com/office/drawing/2014/main" id="{7556479F-3BE7-4641-97C7-A31999C980CD}"/>
                </a:ext>
              </a:extLst>
            </p:cNvPr>
            <p:cNvSpPr/>
            <p:nvPr/>
          </p:nvSpPr>
          <p:spPr>
            <a:xfrm rot="7484129">
              <a:off x="349009" y="324793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1" name="Forme libre : forme 150">
              <a:extLst>
                <a:ext uri="{FF2B5EF4-FFF2-40B4-BE49-F238E27FC236}">
                  <a16:creationId xmlns:a16="http://schemas.microsoft.com/office/drawing/2014/main" id="{C9126667-6906-4254-B833-2535AC138F99}"/>
                </a:ext>
              </a:extLst>
            </p:cNvPr>
            <p:cNvSpPr/>
            <p:nvPr/>
          </p:nvSpPr>
          <p:spPr>
            <a:xfrm rot="13089394">
              <a:off x="507659" y="3197284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2" name="Forme libre : forme 151">
              <a:extLst>
                <a:ext uri="{FF2B5EF4-FFF2-40B4-BE49-F238E27FC236}">
                  <a16:creationId xmlns:a16="http://schemas.microsoft.com/office/drawing/2014/main" id="{EB63A53B-C558-41C6-87D3-6E3EEB414D38}"/>
                </a:ext>
              </a:extLst>
            </p:cNvPr>
            <p:cNvSpPr/>
            <p:nvPr/>
          </p:nvSpPr>
          <p:spPr>
            <a:xfrm rot="8716295">
              <a:off x="788550" y="2907166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3" name="Forme libre : forme 152">
              <a:extLst>
                <a:ext uri="{FF2B5EF4-FFF2-40B4-BE49-F238E27FC236}">
                  <a16:creationId xmlns:a16="http://schemas.microsoft.com/office/drawing/2014/main" id="{EBE3A45E-76C2-41F7-84F5-A2A181D50E91}"/>
                </a:ext>
              </a:extLst>
            </p:cNvPr>
            <p:cNvSpPr/>
            <p:nvPr/>
          </p:nvSpPr>
          <p:spPr>
            <a:xfrm rot="8716295">
              <a:off x="710141" y="275037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4" name="Forme libre : forme 153">
              <a:extLst>
                <a:ext uri="{FF2B5EF4-FFF2-40B4-BE49-F238E27FC236}">
                  <a16:creationId xmlns:a16="http://schemas.microsoft.com/office/drawing/2014/main" id="{871F770F-4D72-4427-86D1-F18744993E05}"/>
                </a:ext>
              </a:extLst>
            </p:cNvPr>
            <p:cNvSpPr/>
            <p:nvPr/>
          </p:nvSpPr>
          <p:spPr>
            <a:xfrm rot="8716295">
              <a:off x="341977" y="279611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5" name="Forme libre : forme 154">
              <a:extLst>
                <a:ext uri="{FF2B5EF4-FFF2-40B4-BE49-F238E27FC236}">
                  <a16:creationId xmlns:a16="http://schemas.microsoft.com/office/drawing/2014/main" id="{CBA9ADD5-0B79-42BB-A803-7DD5C3582812}"/>
                </a:ext>
              </a:extLst>
            </p:cNvPr>
            <p:cNvSpPr/>
            <p:nvPr/>
          </p:nvSpPr>
          <p:spPr>
            <a:xfrm rot="8716295">
              <a:off x="610559" y="2555095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6" name="Forme libre : forme 155">
              <a:extLst>
                <a:ext uri="{FF2B5EF4-FFF2-40B4-BE49-F238E27FC236}">
                  <a16:creationId xmlns:a16="http://schemas.microsoft.com/office/drawing/2014/main" id="{7B5F712C-46C4-40C0-B35F-823DEC5DC95D}"/>
                </a:ext>
              </a:extLst>
            </p:cNvPr>
            <p:cNvSpPr/>
            <p:nvPr/>
          </p:nvSpPr>
          <p:spPr>
            <a:xfrm rot="8716295">
              <a:off x="-24305" y="2374348"/>
              <a:ext cx="58950" cy="66898"/>
            </a:xfrm>
            <a:custGeom>
              <a:avLst/>
              <a:gdLst>
                <a:gd name="connsiteX0" fmla="*/ 0 w 58950"/>
                <a:gd name="connsiteY0" fmla="*/ 66898 h 66898"/>
                <a:gd name="connsiteX1" fmla="*/ 0 w 58950"/>
                <a:gd name="connsiteY1" fmla="*/ 0 h 66898"/>
                <a:gd name="connsiteX2" fmla="*/ 58950 w 58950"/>
                <a:gd name="connsiteY2" fmla="*/ 0 h 66898"/>
                <a:gd name="connsiteX3" fmla="*/ 12579 w 58950"/>
                <a:gd name="connsiteY3" fmla="*/ 66898 h 6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950" h="66898">
                  <a:moveTo>
                    <a:pt x="0" y="66898"/>
                  </a:moveTo>
                  <a:lnTo>
                    <a:pt x="0" y="0"/>
                  </a:lnTo>
                  <a:lnTo>
                    <a:pt x="58950" y="0"/>
                  </a:lnTo>
                  <a:lnTo>
                    <a:pt x="12579" y="668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7" name="Forme libre : forme 156">
              <a:extLst>
                <a:ext uri="{FF2B5EF4-FFF2-40B4-BE49-F238E27FC236}">
                  <a16:creationId xmlns:a16="http://schemas.microsoft.com/office/drawing/2014/main" id="{7F46186A-3310-4CD5-864B-686D76F3E8C2}"/>
                </a:ext>
              </a:extLst>
            </p:cNvPr>
            <p:cNvSpPr/>
            <p:nvPr/>
          </p:nvSpPr>
          <p:spPr>
            <a:xfrm rot="8716295">
              <a:off x="-39593" y="1952072"/>
              <a:ext cx="198050" cy="140164"/>
            </a:xfrm>
            <a:custGeom>
              <a:avLst/>
              <a:gdLst>
                <a:gd name="connsiteX0" fmla="*/ 0 w 198050"/>
                <a:gd name="connsiteY0" fmla="*/ 75863 h 140164"/>
                <a:gd name="connsiteX1" fmla="*/ 0 w 198050"/>
                <a:gd name="connsiteY1" fmla="*/ 0 h 140164"/>
                <a:gd name="connsiteX2" fmla="*/ 128968 w 198050"/>
                <a:gd name="connsiteY2" fmla="*/ 0 h 140164"/>
                <a:gd name="connsiteX3" fmla="*/ 193021 w 198050"/>
                <a:gd name="connsiteY3" fmla="*/ 18535 h 140164"/>
                <a:gd name="connsiteX4" fmla="*/ 198050 w 198050"/>
                <a:gd name="connsiteY4" fmla="*/ 31548 h 140164"/>
                <a:gd name="connsiteX5" fmla="*/ 122761 w 198050"/>
                <a:gd name="connsiteY5" fmla="*/ 140164 h 140164"/>
                <a:gd name="connsiteX6" fmla="*/ 122761 w 198050"/>
                <a:gd name="connsiteY6" fmla="*/ 105519 h 140164"/>
                <a:gd name="connsiteX7" fmla="*/ 122761 w 198050"/>
                <a:gd name="connsiteY7" fmla="*/ 99312 h 140164"/>
                <a:gd name="connsiteX8" fmla="*/ 91726 w 198050"/>
                <a:gd name="connsiteY8" fmla="*/ 75863 h 140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8050" h="140164">
                  <a:moveTo>
                    <a:pt x="0" y="75863"/>
                  </a:moveTo>
                  <a:lnTo>
                    <a:pt x="0" y="0"/>
                  </a:lnTo>
                  <a:lnTo>
                    <a:pt x="128968" y="0"/>
                  </a:lnTo>
                  <a:cubicBezTo>
                    <a:pt x="156900" y="0"/>
                    <a:pt x="178452" y="6034"/>
                    <a:pt x="193021" y="18535"/>
                  </a:cubicBezTo>
                  <a:lnTo>
                    <a:pt x="198050" y="31548"/>
                  </a:lnTo>
                  <a:lnTo>
                    <a:pt x="122761" y="140164"/>
                  </a:ln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4"/>
                    <a:pt x="91726" y="758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8" name="Forme libre : forme 157">
              <a:extLst>
                <a:ext uri="{FF2B5EF4-FFF2-40B4-BE49-F238E27FC236}">
                  <a16:creationId xmlns:a16="http://schemas.microsoft.com/office/drawing/2014/main" id="{A7D40018-F0E5-4DC0-8F24-CC5DD724ED71}"/>
                </a:ext>
              </a:extLst>
            </p:cNvPr>
            <p:cNvSpPr/>
            <p:nvPr/>
          </p:nvSpPr>
          <p:spPr>
            <a:xfrm rot="8716295">
              <a:off x="21100" y="1808096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9" name="Forme libre : forme 158">
              <a:extLst>
                <a:ext uri="{FF2B5EF4-FFF2-40B4-BE49-F238E27FC236}">
                  <a16:creationId xmlns:a16="http://schemas.microsoft.com/office/drawing/2014/main" id="{DE6A0D39-0B43-4DC3-9F56-137223FC9AF7}"/>
                </a:ext>
              </a:extLst>
            </p:cNvPr>
            <p:cNvSpPr/>
            <p:nvPr/>
          </p:nvSpPr>
          <p:spPr>
            <a:xfrm rot="8716295">
              <a:off x="-24330" y="2197782"/>
              <a:ext cx="102508" cy="53362"/>
            </a:xfrm>
            <a:custGeom>
              <a:avLst/>
              <a:gdLst>
                <a:gd name="connsiteX0" fmla="*/ 0 w 102508"/>
                <a:gd name="connsiteY0" fmla="*/ 23637 h 53362"/>
                <a:gd name="connsiteX1" fmla="*/ 0 w 102508"/>
                <a:gd name="connsiteY1" fmla="*/ 2258 h 53362"/>
                <a:gd name="connsiteX2" fmla="*/ 102508 w 102508"/>
                <a:gd name="connsiteY2" fmla="*/ 0 h 53362"/>
                <a:gd name="connsiteX3" fmla="*/ 65519 w 102508"/>
                <a:gd name="connsiteY3" fmla="*/ 53362 h 53362"/>
                <a:gd name="connsiteX4" fmla="*/ 65519 w 102508"/>
                <a:gd name="connsiteY4" fmla="*/ 23637 h 5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508" h="53362">
                  <a:moveTo>
                    <a:pt x="0" y="23637"/>
                  </a:moveTo>
                  <a:lnTo>
                    <a:pt x="0" y="2258"/>
                  </a:lnTo>
                  <a:lnTo>
                    <a:pt x="102508" y="0"/>
                  </a:lnTo>
                  <a:lnTo>
                    <a:pt x="65519" y="53362"/>
                  </a:lnTo>
                  <a:lnTo>
                    <a:pt x="65519" y="2363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0" name="Forme libre : forme 159">
              <a:extLst>
                <a:ext uri="{FF2B5EF4-FFF2-40B4-BE49-F238E27FC236}">
                  <a16:creationId xmlns:a16="http://schemas.microsoft.com/office/drawing/2014/main" id="{53869A83-F18C-41C3-A8D6-8AA2F169F6A9}"/>
                </a:ext>
              </a:extLst>
            </p:cNvPr>
            <p:cNvSpPr/>
            <p:nvPr/>
          </p:nvSpPr>
          <p:spPr>
            <a:xfrm rot="7484129">
              <a:off x="11236" y="224945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1" name="Forme libre : forme 160">
              <a:extLst>
                <a:ext uri="{FF2B5EF4-FFF2-40B4-BE49-F238E27FC236}">
                  <a16:creationId xmlns:a16="http://schemas.microsoft.com/office/drawing/2014/main" id="{47FF6EA9-61FE-4C53-86BC-F03ADA0CF577}"/>
                </a:ext>
              </a:extLst>
            </p:cNvPr>
            <p:cNvSpPr/>
            <p:nvPr/>
          </p:nvSpPr>
          <p:spPr>
            <a:xfrm rot="13089394">
              <a:off x="169886" y="2198801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2" name="Forme libre : forme 161">
              <a:extLst>
                <a:ext uri="{FF2B5EF4-FFF2-40B4-BE49-F238E27FC236}">
                  <a16:creationId xmlns:a16="http://schemas.microsoft.com/office/drawing/2014/main" id="{6ED294D2-DD3A-4323-ADB4-4D2A485D31FA}"/>
                </a:ext>
              </a:extLst>
            </p:cNvPr>
            <p:cNvSpPr/>
            <p:nvPr/>
          </p:nvSpPr>
          <p:spPr>
            <a:xfrm rot="8716295">
              <a:off x="450777" y="1908683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3" name="Forme libre : forme 162">
              <a:extLst>
                <a:ext uri="{FF2B5EF4-FFF2-40B4-BE49-F238E27FC236}">
                  <a16:creationId xmlns:a16="http://schemas.microsoft.com/office/drawing/2014/main" id="{4D7140F9-06B5-4BA8-BEAB-23BD75B9DD53}"/>
                </a:ext>
              </a:extLst>
            </p:cNvPr>
            <p:cNvSpPr/>
            <p:nvPr/>
          </p:nvSpPr>
          <p:spPr>
            <a:xfrm rot="8716295">
              <a:off x="372368" y="175189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4" name="Forme libre : forme 163">
              <a:extLst>
                <a:ext uri="{FF2B5EF4-FFF2-40B4-BE49-F238E27FC236}">
                  <a16:creationId xmlns:a16="http://schemas.microsoft.com/office/drawing/2014/main" id="{068812F1-37A6-4A0A-A392-F4B3E8D2782D}"/>
                </a:ext>
              </a:extLst>
            </p:cNvPr>
            <p:cNvSpPr/>
            <p:nvPr/>
          </p:nvSpPr>
          <p:spPr>
            <a:xfrm rot="8716295">
              <a:off x="4204" y="179763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5" name="Forme libre : forme 164">
              <a:extLst>
                <a:ext uri="{FF2B5EF4-FFF2-40B4-BE49-F238E27FC236}">
                  <a16:creationId xmlns:a16="http://schemas.microsoft.com/office/drawing/2014/main" id="{B62F2753-FDB5-4835-8322-FC678E060DC4}"/>
                </a:ext>
              </a:extLst>
            </p:cNvPr>
            <p:cNvSpPr/>
            <p:nvPr/>
          </p:nvSpPr>
          <p:spPr>
            <a:xfrm rot="8716295">
              <a:off x="272786" y="155661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6" name="Forme libre : forme 165">
              <a:extLst>
                <a:ext uri="{FF2B5EF4-FFF2-40B4-BE49-F238E27FC236}">
                  <a16:creationId xmlns:a16="http://schemas.microsoft.com/office/drawing/2014/main" id="{16BB8F81-6062-4A6D-AD9A-0C3CC09E65D3}"/>
                </a:ext>
              </a:extLst>
            </p:cNvPr>
            <p:cNvSpPr/>
            <p:nvPr/>
          </p:nvSpPr>
          <p:spPr>
            <a:xfrm rot="8716295">
              <a:off x="-35149" y="938156"/>
              <a:ext cx="158623" cy="159016"/>
            </a:xfrm>
            <a:custGeom>
              <a:avLst/>
              <a:gdLst>
                <a:gd name="connsiteX0" fmla="*/ 77932 w 158623"/>
                <a:gd name="connsiteY0" fmla="*/ 159016 h 159016"/>
                <a:gd name="connsiteX1" fmla="*/ 77932 w 158623"/>
                <a:gd name="connsiteY1" fmla="*/ 66898 h 159016"/>
                <a:gd name="connsiteX2" fmla="*/ 0 w 158623"/>
                <a:gd name="connsiteY2" fmla="*/ 66898 h 159016"/>
                <a:gd name="connsiteX3" fmla="*/ 0 w 158623"/>
                <a:gd name="connsiteY3" fmla="*/ 0 h 159016"/>
                <a:gd name="connsiteX4" fmla="*/ 158623 w 158623"/>
                <a:gd name="connsiteY4" fmla="*/ 0 h 159016"/>
                <a:gd name="connsiteX5" fmla="*/ 158623 w 158623"/>
                <a:gd name="connsiteY5" fmla="*/ 42606 h 15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8623" h="159016">
                  <a:moveTo>
                    <a:pt x="77932" y="159016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4260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7" name="Forme libre : forme 166">
              <a:extLst>
                <a:ext uri="{FF2B5EF4-FFF2-40B4-BE49-F238E27FC236}">
                  <a16:creationId xmlns:a16="http://schemas.microsoft.com/office/drawing/2014/main" id="{102294D5-AEAF-4B56-AF06-6647D3303B85}"/>
                </a:ext>
              </a:extLst>
            </p:cNvPr>
            <p:cNvSpPr/>
            <p:nvPr/>
          </p:nvSpPr>
          <p:spPr>
            <a:xfrm rot="7484129">
              <a:off x="-32979" y="1345537"/>
              <a:ext cx="65961" cy="45734"/>
            </a:xfrm>
            <a:custGeom>
              <a:avLst/>
              <a:gdLst>
                <a:gd name="connsiteX0" fmla="*/ 0 w 65961"/>
                <a:gd name="connsiteY0" fmla="*/ 45734 h 45734"/>
                <a:gd name="connsiteX1" fmla="*/ 0 w 65961"/>
                <a:gd name="connsiteY1" fmla="*/ 0 h 45734"/>
                <a:gd name="connsiteX2" fmla="*/ 65961 w 65961"/>
                <a:gd name="connsiteY2" fmla="*/ 0 h 45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5961" h="45734">
                  <a:moveTo>
                    <a:pt x="0" y="45734"/>
                  </a:moveTo>
                  <a:lnTo>
                    <a:pt x="0" y="0"/>
                  </a:lnTo>
                  <a:lnTo>
                    <a:pt x="6596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8" name="Forme libre : forme 167">
              <a:extLst>
                <a:ext uri="{FF2B5EF4-FFF2-40B4-BE49-F238E27FC236}">
                  <a16:creationId xmlns:a16="http://schemas.microsoft.com/office/drawing/2014/main" id="{6A1A2358-10CF-4FD5-A4AA-FC64164263AF}"/>
                </a:ext>
              </a:extLst>
            </p:cNvPr>
            <p:cNvSpPr/>
            <p:nvPr/>
          </p:nvSpPr>
          <p:spPr>
            <a:xfrm rot="13089394">
              <a:off x="-134707" y="1200752"/>
              <a:ext cx="386820" cy="481345"/>
            </a:xfrm>
            <a:custGeom>
              <a:avLst/>
              <a:gdLst>
                <a:gd name="connsiteX0" fmla="*/ 386820 w 386820"/>
                <a:gd name="connsiteY0" fmla="*/ 391818 h 481345"/>
                <a:gd name="connsiteX1" fmla="*/ 342166 w 386820"/>
                <a:gd name="connsiteY1" fmla="*/ 422376 h 481345"/>
                <a:gd name="connsiteX2" fmla="*/ 138636 w 386820"/>
                <a:gd name="connsiteY2" fmla="*/ 481098 h 481345"/>
                <a:gd name="connsiteX3" fmla="*/ 35911 w 386820"/>
                <a:gd name="connsiteY3" fmla="*/ 439340 h 481345"/>
                <a:gd name="connsiteX4" fmla="*/ 0 w 386820"/>
                <a:gd name="connsiteY4" fmla="*/ 295693 h 481345"/>
                <a:gd name="connsiteX5" fmla="*/ 0 w 386820"/>
                <a:gd name="connsiteY5" fmla="*/ 40970 h 481345"/>
                <a:gd name="connsiteX6" fmla="*/ 78970 w 386820"/>
                <a:gd name="connsiteY6" fmla="*/ 0 h 481345"/>
                <a:gd name="connsiteX7" fmla="*/ 111492 w 386820"/>
                <a:gd name="connsiteY7" fmla="*/ 41392 h 481345"/>
                <a:gd name="connsiteX8" fmla="*/ 112747 w 386820"/>
                <a:gd name="connsiteY8" fmla="*/ 216353 h 481345"/>
                <a:gd name="connsiteX9" fmla="*/ 132789 w 386820"/>
                <a:gd name="connsiteY9" fmla="*/ 354990 h 481345"/>
                <a:gd name="connsiteX10" fmla="*/ 233008 w 386820"/>
                <a:gd name="connsiteY10" fmla="*/ 410110 h 481345"/>
                <a:gd name="connsiteX11" fmla="*/ 308173 w 386820"/>
                <a:gd name="connsiteY11" fmla="*/ 396747 h 481345"/>
                <a:gd name="connsiteX12" fmla="*/ 370717 w 386820"/>
                <a:gd name="connsiteY12" fmla="*/ 371323 h 481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6820" h="481345">
                  <a:moveTo>
                    <a:pt x="386820" y="391818"/>
                  </a:moveTo>
                  <a:lnTo>
                    <a:pt x="342166" y="422376"/>
                  </a:lnTo>
                  <a:cubicBezTo>
                    <a:pt x="268920" y="462151"/>
                    <a:pt x="190624" y="477966"/>
                    <a:pt x="138636" y="481098"/>
                  </a:cubicBezTo>
                  <a:cubicBezTo>
                    <a:pt x="100219" y="483604"/>
                    <a:pt x="62637" y="466901"/>
                    <a:pt x="35911" y="439340"/>
                  </a:cubicBezTo>
                  <a:cubicBezTo>
                    <a:pt x="7516" y="411780"/>
                    <a:pt x="0" y="364176"/>
                    <a:pt x="0" y="295693"/>
                  </a:cubicBezTo>
                  <a:lnTo>
                    <a:pt x="0" y="40970"/>
                  </a:lnTo>
                  <a:lnTo>
                    <a:pt x="78970" y="0"/>
                  </a:lnTo>
                  <a:lnTo>
                    <a:pt x="111492" y="41392"/>
                  </a:lnTo>
                  <a:lnTo>
                    <a:pt x="112747" y="216353"/>
                  </a:lnTo>
                  <a:cubicBezTo>
                    <a:pt x="110241" y="263122"/>
                    <a:pt x="117757" y="310726"/>
                    <a:pt x="132789" y="354990"/>
                  </a:cubicBezTo>
                  <a:cubicBezTo>
                    <a:pt x="146153" y="391736"/>
                    <a:pt x="180394" y="410110"/>
                    <a:pt x="233008" y="410110"/>
                  </a:cubicBezTo>
                  <a:cubicBezTo>
                    <a:pt x="258899" y="409274"/>
                    <a:pt x="283953" y="404263"/>
                    <a:pt x="308173" y="396747"/>
                  </a:cubicBezTo>
                  <a:lnTo>
                    <a:pt x="370717" y="371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9" name="Forme libre : forme 168">
              <a:extLst>
                <a:ext uri="{FF2B5EF4-FFF2-40B4-BE49-F238E27FC236}">
                  <a16:creationId xmlns:a16="http://schemas.microsoft.com/office/drawing/2014/main" id="{EA80D635-6F53-4857-9F50-4111495DC12C}"/>
                </a:ext>
              </a:extLst>
            </p:cNvPr>
            <p:cNvSpPr/>
            <p:nvPr/>
          </p:nvSpPr>
          <p:spPr>
            <a:xfrm rot="8716295">
              <a:off x="119403" y="90662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0" name="Forme libre : forme 169">
              <a:extLst>
                <a:ext uri="{FF2B5EF4-FFF2-40B4-BE49-F238E27FC236}">
                  <a16:creationId xmlns:a16="http://schemas.microsoft.com/office/drawing/2014/main" id="{40670C43-A49A-4C3B-A39B-628E23BE1E4B}"/>
                </a:ext>
              </a:extLst>
            </p:cNvPr>
            <p:cNvSpPr/>
            <p:nvPr/>
          </p:nvSpPr>
          <p:spPr>
            <a:xfrm rot="8716295">
              <a:off x="40994" y="74983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1" name="Forme libre : forme 170">
              <a:extLst>
                <a:ext uri="{FF2B5EF4-FFF2-40B4-BE49-F238E27FC236}">
                  <a16:creationId xmlns:a16="http://schemas.microsoft.com/office/drawing/2014/main" id="{A1E0B69E-7457-4A6E-B80C-0CDACC682BEC}"/>
                </a:ext>
              </a:extLst>
            </p:cNvPr>
            <p:cNvSpPr/>
            <p:nvPr/>
          </p:nvSpPr>
          <p:spPr>
            <a:xfrm rot="8716295">
              <a:off x="-44934" y="551941"/>
              <a:ext cx="152592" cy="165412"/>
            </a:xfrm>
            <a:custGeom>
              <a:avLst/>
              <a:gdLst>
                <a:gd name="connsiteX0" fmla="*/ 26453 w 152592"/>
                <a:gd name="connsiteY0" fmla="*/ 153143 h 165412"/>
                <a:gd name="connsiteX1" fmla="*/ 0 w 152592"/>
                <a:gd name="connsiteY1" fmla="*/ 90494 h 165412"/>
                <a:gd name="connsiteX2" fmla="*/ 0 w 152592"/>
                <a:gd name="connsiteY2" fmla="*/ 89101 h 165412"/>
                <a:gd name="connsiteX3" fmla="*/ 26453 w 152592"/>
                <a:gd name="connsiteY3" fmla="*/ 26453 h 165412"/>
                <a:gd name="connsiteX4" fmla="*/ 89101 w 152592"/>
                <a:gd name="connsiteY4" fmla="*/ 0 h 165412"/>
                <a:gd name="connsiteX5" fmla="*/ 151752 w 152592"/>
                <a:gd name="connsiteY5" fmla="*/ 26453 h 165412"/>
                <a:gd name="connsiteX6" fmla="*/ 152592 w 152592"/>
                <a:gd name="connsiteY6" fmla="*/ 27688 h 165412"/>
                <a:gd name="connsiteX7" fmla="*/ 57126 w 152592"/>
                <a:gd name="connsiteY7" fmla="*/ 165412 h 165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592" h="165412">
                  <a:moveTo>
                    <a:pt x="26453" y="153143"/>
                  </a:moveTo>
                  <a:cubicBezTo>
                    <a:pt x="9746" y="136436"/>
                    <a:pt x="0" y="114161"/>
                    <a:pt x="0" y="90494"/>
                  </a:cubicBezTo>
                  <a:lnTo>
                    <a:pt x="0" y="89101"/>
                  </a:lnTo>
                  <a:cubicBezTo>
                    <a:pt x="0" y="65434"/>
                    <a:pt x="9746" y="43159"/>
                    <a:pt x="26453" y="26453"/>
                  </a:cubicBezTo>
                  <a:cubicBezTo>
                    <a:pt x="43159" y="9746"/>
                    <a:pt x="65435" y="0"/>
                    <a:pt x="89101" y="0"/>
                  </a:cubicBezTo>
                  <a:cubicBezTo>
                    <a:pt x="112770" y="0"/>
                    <a:pt x="135045" y="9746"/>
                    <a:pt x="151752" y="26453"/>
                  </a:cubicBezTo>
                  <a:lnTo>
                    <a:pt x="152592" y="27688"/>
                  </a:lnTo>
                  <a:lnTo>
                    <a:pt x="57126" y="1654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2" name="Forme libre : forme 171">
              <a:extLst>
                <a:ext uri="{FF2B5EF4-FFF2-40B4-BE49-F238E27FC236}">
                  <a16:creationId xmlns:a16="http://schemas.microsoft.com/office/drawing/2014/main" id="{8305DDDC-A62B-4F5B-99D8-968A303BB880}"/>
                </a:ext>
              </a:extLst>
            </p:cNvPr>
            <p:cNvSpPr/>
            <p:nvPr/>
          </p:nvSpPr>
          <p:spPr>
            <a:xfrm rot="8716295">
              <a:off x="-69806" y="4587027"/>
              <a:ext cx="183810" cy="187594"/>
            </a:xfrm>
            <a:custGeom>
              <a:avLst/>
              <a:gdLst>
                <a:gd name="connsiteX0" fmla="*/ 10574 w 183810"/>
                <a:gd name="connsiteY0" fmla="*/ 187594 h 187594"/>
                <a:gd name="connsiteX1" fmla="*/ 0 w 183810"/>
                <a:gd name="connsiteY1" fmla="*/ 172952 h 187594"/>
                <a:gd name="connsiteX2" fmla="*/ 183810 w 183810"/>
                <a:gd name="connsiteY2" fmla="*/ 0 h 187594"/>
                <a:gd name="connsiteX3" fmla="*/ 72284 w 183810"/>
                <a:gd name="connsiteY3" fmla="*/ 160894 h 187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810" h="187594">
                  <a:moveTo>
                    <a:pt x="10574" y="187594"/>
                  </a:moveTo>
                  <a:lnTo>
                    <a:pt x="0" y="172952"/>
                  </a:lnTo>
                  <a:lnTo>
                    <a:pt x="183810" y="0"/>
                  </a:lnTo>
                  <a:lnTo>
                    <a:pt x="72284" y="1608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3" name="Forme libre : forme 172">
              <a:extLst>
                <a:ext uri="{FF2B5EF4-FFF2-40B4-BE49-F238E27FC236}">
                  <a16:creationId xmlns:a16="http://schemas.microsoft.com/office/drawing/2014/main" id="{1A0E6ECB-8294-4BA3-8422-8334524ECB58}"/>
                </a:ext>
              </a:extLst>
            </p:cNvPr>
            <p:cNvSpPr/>
            <p:nvPr/>
          </p:nvSpPr>
          <p:spPr>
            <a:xfrm rot="8716295">
              <a:off x="4450621" y="307495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4" name="Forme libre : forme 173">
              <a:extLst>
                <a:ext uri="{FF2B5EF4-FFF2-40B4-BE49-F238E27FC236}">
                  <a16:creationId xmlns:a16="http://schemas.microsoft.com/office/drawing/2014/main" id="{01833036-FD07-46D7-82C2-88C1FC05C85F}"/>
                </a:ext>
              </a:extLst>
            </p:cNvPr>
            <p:cNvSpPr/>
            <p:nvPr/>
          </p:nvSpPr>
          <p:spPr>
            <a:xfrm rot="8716295">
              <a:off x="4585920" y="3119209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5" name="Forme libre : forme 174">
              <a:extLst>
                <a:ext uri="{FF2B5EF4-FFF2-40B4-BE49-F238E27FC236}">
                  <a16:creationId xmlns:a16="http://schemas.microsoft.com/office/drawing/2014/main" id="{B278615F-BCB7-43C6-82A0-33FD907351F5}"/>
                </a:ext>
              </a:extLst>
            </p:cNvPr>
            <p:cNvSpPr/>
            <p:nvPr/>
          </p:nvSpPr>
          <p:spPr>
            <a:xfrm rot="8716295">
              <a:off x="4518038" y="2988621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6" name="Forme libre : forme 175">
              <a:extLst>
                <a:ext uri="{FF2B5EF4-FFF2-40B4-BE49-F238E27FC236}">
                  <a16:creationId xmlns:a16="http://schemas.microsoft.com/office/drawing/2014/main" id="{A4CB9629-4E70-40F0-ADB7-98AF33E8FA82}"/>
                </a:ext>
              </a:extLst>
            </p:cNvPr>
            <p:cNvSpPr/>
            <p:nvPr/>
          </p:nvSpPr>
          <p:spPr>
            <a:xfrm rot="8716295">
              <a:off x="4280750" y="3208965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7" name="Forme libre : forme 176">
              <a:extLst>
                <a:ext uri="{FF2B5EF4-FFF2-40B4-BE49-F238E27FC236}">
                  <a16:creationId xmlns:a16="http://schemas.microsoft.com/office/drawing/2014/main" id="{DCB1DF66-902F-43AF-B912-90C47BAC4CD5}"/>
                </a:ext>
              </a:extLst>
            </p:cNvPr>
            <p:cNvSpPr/>
            <p:nvPr/>
          </p:nvSpPr>
          <p:spPr>
            <a:xfrm rot="8716295">
              <a:off x="4091704" y="289313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8" name="Forme libre : forme 177">
              <a:extLst>
                <a:ext uri="{FF2B5EF4-FFF2-40B4-BE49-F238E27FC236}">
                  <a16:creationId xmlns:a16="http://schemas.microsoft.com/office/drawing/2014/main" id="{206347F6-E053-48F4-AFC6-9C0856F4BFCC}"/>
                </a:ext>
              </a:extLst>
            </p:cNvPr>
            <p:cNvSpPr/>
            <p:nvPr/>
          </p:nvSpPr>
          <p:spPr>
            <a:xfrm rot="8716295">
              <a:off x="4073463" y="2683080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9" name="Forme libre : forme 178">
              <a:extLst>
                <a:ext uri="{FF2B5EF4-FFF2-40B4-BE49-F238E27FC236}">
                  <a16:creationId xmlns:a16="http://schemas.microsoft.com/office/drawing/2014/main" id="{8D2A26C7-C64C-4331-AB8E-BC64F42E6746}"/>
                </a:ext>
              </a:extLst>
            </p:cNvPr>
            <p:cNvSpPr/>
            <p:nvPr/>
          </p:nvSpPr>
          <p:spPr>
            <a:xfrm rot="8716295">
              <a:off x="4417239" y="327094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0" name="Forme libre : forme 179">
              <a:extLst>
                <a:ext uri="{FF2B5EF4-FFF2-40B4-BE49-F238E27FC236}">
                  <a16:creationId xmlns:a16="http://schemas.microsoft.com/office/drawing/2014/main" id="{71D50DC1-7D15-42D6-980A-E78799DC451B}"/>
                </a:ext>
              </a:extLst>
            </p:cNvPr>
            <p:cNvSpPr/>
            <p:nvPr/>
          </p:nvSpPr>
          <p:spPr>
            <a:xfrm rot="8716295">
              <a:off x="4888185" y="2696334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" name="Forme libre : forme 180">
              <a:extLst>
                <a:ext uri="{FF2B5EF4-FFF2-40B4-BE49-F238E27FC236}">
                  <a16:creationId xmlns:a16="http://schemas.microsoft.com/office/drawing/2014/main" id="{EB82C4E3-BE8E-4F27-B36D-E48F91D55981}"/>
                </a:ext>
              </a:extLst>
            </p:cNvPr>
            <p:cNvSpPr/>
            <p:nvPr/>
          </p:nvSpPr>
          <p:spPr>
            <a:xfrm rot="8716295">
              <a:off x="5023484" y="2740593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" name="Forme libre : forme 181">
              <a:extLst>
                <a:ext uri="{FF2B5EF4-FFF2-40B4-BE49-F238E27FC236}">
                  <a16:creationId xmlns:a16="http://schemas.microsoft.com/office/drawing/2014/main" id="{8CF0FAB3-0C6A-450B-9525-29BB7A59C040}"/>
                </a:ext>
              </a:extLst>
            </p:cNvPr>
            <p:cNvSpPr/>
            <p:nvPr/>
          </p:nvSpPr>
          <p:spPr>
            <a:xfrm rot="8716295">
              <a:off x="4718314" y="283034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" name="Forme libre : forme 182">
              <a:extLst>
                <a:ext uri="{FF2B5EF4-FFF2-40B4-BE49-F238E27FC236}">
                  <a16:creationId xmlns:a16="http://schemas.microsoft.com/office/drawing/2014/main" id="{10FB87B4-C488-45C6-AE08-E0AAB6025014}"/>
                </a:ext>
              </a:extLst>
            </p:cNvPr>
            <p:cNvSpPr/>
            <p:nvPr/>
          </p:nvSpPr>
          <p:spPr>
            <a:xfrm rot="8716295">
              <a:off x="4529270" y="251451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" name="Forme libre : forme 183">
              <a:extLst>
                <a:ext uri="{FF2B5EF4-FFF2-40B4-BE49-F238E27FC236}">
                  <a16:creationId xmlns:a16="http://schemas.microsoft.com/office/drawing/2014/main" id="{780E062E-8239-40E1-A336-E5540670A1BD}"/>
                </a:ext>
              </a:extLst>
            </p:cNvPr>
            <p:cNvSpPr/>
            <p:nvPr/>
          </p:nvSpPr>
          <p:spPr>
            <a:xfrm rot="8716295">
              <a:off x="4854803" y="2892332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" name="Forme libre : forme 184">
              <a:extLst>
                <a:ext uri="{FF2B5EF4-FFF2-40B4-BE49-F238E27FC236}">
                  <a16:creationId xmlns:a16="http://schemas.microsoft.com/office/drawing/2014/main" id="{DF4CDF9E-3E83-42B9-8060-460760813751}"/>
                </a:ext>
              </a:extLst>
            </p:cNvPr>
            <p:cNvSpPr/>
            <p:nvPr/>
          </p:nvSpPr>
          <p:spPr>
            <a:xfrm rot="8716295">
              <a:off x="4489356" y="2665906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" name="Forme libre : forme 185">
              <a:extLst>
                <a:ext uri="{FF2B5EF4-FFF2-40B4-BE49-F238E27FC236}">
                  <a16:creationId xmlns:a16="http://schemas.microsoft.com/office/drawing/2014/main" id="{0A35FA8D-2DA5-4890-87D4-1B3451916FA9}"/>
                </a:ext>
              </a:extLst>
            </p:cNvPr>
            <p:cNvSpPr/>
            <p:nvPr/>
          </p:nvSpPr>
          <p:spPr>
            <a:xfrm rot="7484129">
              <a:off x="5013620" y="318195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" name="Forme libre : forme 186">
              <a:extLst>
                <a:ext uri="{FF2B5EF4-FFF2-40B4-BE49-F238E27FC236}">
                  <a16:creationId xmlns:a16="http://schemas.microsoft.com/office/drawing/2014/main" id="{E6A0D96F-008F-4023-A0B6-38102FB3F884}"/>
                </a:ext>
              </a:extLst>
            </p:cNvPr>
            <p:cNvSpPr/>
            <p:nvPr/>
          </p:nvSpPr>
          <p:spPr>
            <a:xfrm rot="13089394">
              <a:off x="5172270" y="3131298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" name="Forme libre : forme 187">
              <a:extLst>
                <a:ext uri="{FF2B5EF4-FFF2-40B4-BE49-F238E27FC236}">
                  <a16:creationId xmlns:a16="http://schemas.microsoft.com/office/drawing/2014/main" id="{34516B6B-1C6B-4061-A441-0A96C5F85F2D}"/>
                </a:ext>
              </a:extLst>
            </p:cNvPr>
            <p:cNvSpPr/>
            <p:nvPr/>
          </p:nvSpPr>
          <p:spPr>
            <a:xfrm rot="8716295">
              <a:off x="5453161" y="2841180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" name="Forme libre : forme 188">
              <a:extLst>
                <a:ext uri="{FF2B5EF4-FFF2-40B4-BE49-F238E27FC236}">
                  <a16:creationId xmlns:a16="http://schemas.microsoft.com/office/drawing/2014/main" id="{25C5FA48-0926-4D19-8036-167D5A8A0B0F}"/>
                </a:ext>
              </a:extLst>
            </p:cNvPr>
            <p:cNvSpPr/>
            <p:nvPr/>
          </p:nvSpPr>
          <p:spPr>
            <a:xfrm rot="8716295">
              <a:off x="5374752" y="268438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" name="Forme libre : forme 189">
              <a:extLst>
                <a:ext uri="{FF2B5EF4-FFF2-40B4-BE49-F238E27FC236}">
                  <a16:creationId xmlns:a16="http://schemas.microsoft.com/office/drawing/2014/main" id="{DAF894AD-B4B7-410F-8EC1-02725EF382CF}"/>
                </a:ext>
              </a:extLst>
            </p:cNvPr>
            <p:cNvSpPr/>
            <p:nvPr/>
          </p:nvSpPr>
          <p:spPr>
            <a:xfrm rot="8716295">
              <a:off x="5006588" y="273012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" name="Forme libre : forme 190">
              <a:extLst>
                <a:ext uri="{FF2B5EF4-FFF2-40B4-BE49-F238E27FC236}">
                  <a16:creationId xmlns:a16="http://schemas.microsoft.com/office/drawing/2014/main" id="{050039E8-AFBF-4BD9-96DB-778F55B5F2C4}"/>
                </a:ext>
              </a:extLst>
            </p:cNvPr>
            <p:cNvSpPr/>
            <p:nvPr/>
          </p:nvSpPr>
          <p:spPr>
            <a:xfrm rot="8716295">
              <a:off x="5275170" y="2489109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" name="Forme libre : forme 191">
              <a:extLst>
                <a:ext uri="{FF2B5EF4-FFF2-40B4-BE49-F238E27FC236}">
                  <a16:creationId xmlns:a16="http://schemas.microsoft.com/office/drawing/2014/main" id="{BAF5AA66-DC18-43A5-AAAE-6EB312E4E790}"/>
                </a:ext>
              </a:extLst>
            </p:cNvPr>
            <p:cNvSpPr/>
            <p:nvPr/>
          </p:nvSpPr>
          <p:spPr>
            <a:xfrm rot="8716295">
              <a:off x="4788394" y="407343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" name="Forme libre : forme 192">
              <a:extLst>
                <a:ext uri="{FF2B5EF4-FFF2-40B4-BE49-F238E27FC236}">
                  <a16:creationId xmlns:a16="http://schemas.microsoft.com/office/drawing/2014/main" id="{780EC621-519F-489B-BFBA-B49F228A0641}"/>
                </a:ext>
              </a:extLst>
            </p:cNvPr>
            <p:cNvSpPr/>
            <p:nvPr/>
          </p:nvSpPr>
          <p:spPr>
            <a:xfrm rot="8716295">
              <a:off x="4923693" y="411769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" name="Forme libre : forme 193">
              <a:extLst>
                <a:ext uri="{FF2B5EF4-FFF2-40B4-BE49-F238E27FC236}">
                  <a16:creationId xmlns:a16="http://schemas.microsoft.com/office/drawing/2014/main" id="{56C02974-8A88-4B14-998C-3296551B1E9D}"/>
                </a:ext>
              </a:extLst>
            </p:cNvPr>
            <p:cNvSpPr/>
            <p:nvPr/>
          </p:nvSpPr>
          <p:spPr>
            <a:xfrm rot="8716295">
              <a:off x="4855811" y="3987104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" name="Forme libre : forme 194">
              <a:extLst>
                <a:ext uri="{FF2B5EF4-FFF2-40B4-BE49-F238E27FC236}">
                  <a16:creationId xmlns:a16="http://schemas.microsoft.com/office/drawing/2014/main" id="{1315A3F8-95CA-4F67-BF42-435167A25A7A}"/>
                </a:ext>
              </a:extLst>
            </p:cNvPr>
            <p:cNvSpPr/>
            <p:nvPr/>
          </p:nvSpPr>
          <p:spPr>
            <a:xfrm rot="8716295">
              <a:off x="4618523" y="420744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" name="Forme libre : forme 195">
              <a:extLst>
                <a:ext uri="{FF2B5EF4-FFF2-40B4-BE49-F238E27FC236}">
                  <a16:creationId xmlns:a16="http://schemas.microsoft.com/office/drawing/2014/main" id="{5FBA9E77-EEAF-4196-9EB3-AAB7591C02B4}"/>
                </a:ext>
              </a:extLst>
            </p:cNvPr>
            <p:cNvSpPr/>
            <p:nvPr/>
          </p:nvSpPr>
          <p:spPr>
            <a:xfrm rot="8716295">
              <a:off x="4429477" y="389161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" name="Forme libre : forme 196">
              <a:extLst>
                <a:ext uri="{FF2B5EF4-FFF2-40B4-BE49-F238E27FC236}">
                  <a16:creationId xmlns:a16="http://schemas.microsoft.com/office/drawing/2014/main" id="{9640743B-2A63-41D0-B596-466D8A1999D1}"/>
                </a:ext>
              </a:extLst>
            </p:cNvPr>
            <p:cNvSpPr/>
            <p:nvPr/>
          </p:nvSpPr>
          <p:spPr>
            <a:xfrm rot="8716295">
              <a:off x="4411236" y="3681563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" name="Forme libre : forme 197">
              <a:extLst>
                <a:ext uri="{FF2B5EF4-FFF2-40B4-BE49-F238E27FC236}">
                  <a16:creationId xmlns:a16="http://schemas.microsoft.com/office/drawing/2014/main" id="{58E0BAB6-4A71-4FD6-9833-700BF9E78B7C}"/>
                </a:ext>
              </a:extLst>
            </p:cNvPr>
            <p:cNvSpPr/>
            <p:nvPr/>
          </p:nvSpPr>
          <p:spPr>
            <a:xfrm rot="8716295">
              <a:off x="4755012" y="4269431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" name="Forme libre : forme 198">
              <a:extLst>
                <a:ext uri="{FF2B5EF4-FFF2-40B4-BE49-F238E27FC236}">
                  <a16:creationId xmlns:a16="http://schemas.microsoft.com/office/drawing/2014/main" id="{75BB7597-AEE7-44BA-A895-6BF134870ADB}"/>
                </a:ext>
              </a:extLst>
            </p:cNvPr>
            <p:cNvSpPr/>
            <p:nvPr/>
          </p:nvSpPr>
          <p:spPr>
            <a:xfrm rot="8716295">
              <a:off x="5225958" y="3694817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" name="Forme libre : forme 199">
              <a:extLst>
                <a:ext uri="{FF2B5EF4-FFF2-40B4-BE49-F238E27FC236}">
                  <a16:creationId xmlns:a16="http://schemas.microsoft.com/office/drawing/2014/main" id="{EEB3834C-1DBD-4E8A-80F2-2243D4B0C7C6}"/>
                </a:ext>
              </a:extLst>
            </p:cNvPr>
            <p:cNvSpPr/>
            <p:nvPr/>
          </p:nvSpPr>
          <p:spPr>
            <a:xfrm rot="8716295">
              <a:off x="5364349" y="3753375"/>
              <a:ext cx="325540" cy="385611"/>
            </a:xfrm>
            <a:custGeom>
              <a:avLst/>
              <a:gdLst>
                <a:gd name="connsiteX0" fmla="*/ 8983 w 325540"/>
                <a:gd name="connsiteY0" fmla="*/ 385611 h 385611"/>
                <a:gd name="connsiteX1" fmla="*/ 8983 w 325540"/>
                <a:gd name="connsiteY1" fmla="*/ 69053 h 385611"/>
                <a:gd name="connsiteX2" fmla="*/ 0 w 325540"/>
                <a:gd name="connsiteY2" fmla="*/ 69053 h 385611"/>
                <a:gd name="connsiteX3" fmla="*/ 55019 w 325540"/>
                <a:gd name="connsiteY3" fmla="*/ 2157 h 385611"/>
                <a:gd name="connsiteX4" fmla="*/ 89675 w 325540"/>
                <a:gd name="connsiteY4" fmla="*/ 2156 h 385611"/>
                <a:gd name="connsiteX5" fmla="*/ 89674 w 325540"/>
                <a:gd name="connsiteY5" fmla="*/ 113882 h 385611"/>
                <a:gd name="connsiteX6" fmla="*/ 91743 w 325540"/>
                <a:gd name="connsiteY6" fmla="*/ 113882 h 385611"/>
                <a:gd name="connsiteX7" fmla="*/ 164159 w 325540"/>
                <a:gd name="connsiteY7" fmla="*/ 9053 h 385611"/>
                <a:gd name="connsiteX8" fmla="*/ 211745 w 325540"/>
                <a:gd name="connsiteY8" fmla="*/ 87 h 385611"/>
                <a:gd name="connsiteX9" fmla="*/ 325540 w 325540"/>
                <a:gd name="connsiteY9" fmla="*/ 133882 h 385611"/>
                <a:gd name="connsiteX10" fmla="*/ 325540 w 325540"/>
                <a:gd name="connsiteY10" fmla="*/ 142848 h 385611"/>
                <a:gd name="connsiteX11" fmla="*/ 231746 w 325540"/>
                <a:gd name="connsiteY11" fmla="*/ 148366 h 385611"/>
                <a:gd name="connsiteX12" fmla="*/ 231746 w 325540"/>
                <a:gd name="connsiteY12" fmla="*/ 123538 h 385611"/>
                <a:gd name="connsiteX13" fmla="*/ 180710 w 325540"/>
                <a:gd name="connsiteY13" fmla="*/ 60778 h 385611"/>
                <a:gd name="connsiteX14" fmla="*/ 100020 w 325540"/>
                <a:gd name="connsiteY14" fmla="*/ 193194 h 385611"/>
                <a:gd name="connsiteX15" fmla="*/ 100020 w 325540"/>
                <a:gd name="connsiteY15" fmla="*/ 323541 h 385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5540" h="385611">
                  <a:moveTo>
                    <a:pt x="8983" y="385611"/>
                  </a:moveTo>
                  <a:lnTo>
                    <a:pt x="8983" y="69053"/>
                  </a:lnTo>
                  <a:lnTo>
                    <a:pt x="0" y="69053"/>
                  </a:lnTo>
                  <a:lnTo>
                    <a:pt x="55019" y="2157"/>
                  </a:lnTo>
                  <a:lnTo>
                    <a:pt x="89675" y="2156"/>
                  </a:lnTo>
                  <a:lnTo>
                    <a:pt x="89674" y="113882"/>
                  </a:lnTo>
                  <a:lnTo>
                    <a:pt x="91743" y="113882"/>
                  </a:lnTo>
                  <a:cubicBezTo>
                    <a:pt x="113813" y="48363"/>
                    <a:pt x="131055" y="22846"/>
                    <a:pt x="164159" y="9053"/>
                  </a:cubicBezTo>
                  <a:cubicBezTo>
                    <a:pt x="179331" y="2846"/>
                    <a:pt x="195193" y="-602"/>
                    <a:pt x="211745" y="87"/>
                  </a:cubicBezTo>
                  <a:cubicBezTo>
                    <a:pt x="282781" y="-1293"/>
                    <a:pt x="325540" y="48363"/>
                    <a:pt x="325540" y="133882"/>
                  </a:cubicBezTo>
                  <a:lnTo>
                    <a:pt x="325540" y="142848"/>
                  </a:lnTo>
                  <a:lnTo>
                    <a:pt x="231746" y="148366"/>
                  </a:lnTo>
                  <a:lnTo>
                    <a:pt x="231746" y="123538"/>
                  </a:lnTo>
                  <a:cubicBezTo>
                    <a:pt x="231746" y="86296"/>
                    <a:pt x="210367" y="60778"/>
                    <a:pt x="180710" y="60778"/>
                  </a:cubicBezTo>
                  <a:cubicBezTo>
                    <a:pt x="136572" y="60777"/>
                    <a:pt x="100020" y="119400"/>
                    <a:pt x="100020" y="193194"/>
                  </a:cubicBezTo>
                  <a:lnTo>
                    <a:pt x="100020" y="3235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" name="Forme libre : forme 200">
              <a:extLst>
                <a:ext uri="{FF2B5EF4-FFF2-40B4-BE49-F238E27FC236}">
                  <a16:creationId xmlns:a16="http://schemas.microsoft.com/office/drawing/2014/main" id="{372D1467-D2E3-4216-9E90-20982CF5734F}"/>
                </a:ext>
              </a:extLst>
            </p:cNvPr>
            <p:cNvSpPr/>
            <p:nvPr/>
          </p:nvSpPr>
          <p:spPr>
            <a:xfrm rot="8716295">
              <a:off x="5056087" y="382883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" name="Forme libre : forme 201">
              <a:extLst>
                <a:ext uri="{FF2B5EF4-FFF2-40B4-BE49-F238E27FC236}">
                  <a16:creationId xmlns:a16="http://schemas.microsoft.com/office/drawing/2014/main" id="{B604E5DA-CBD2-466D-A47E-4EAA9B5B7623}"/>
                </a:ext>
              </a:extLst>
            </p:cNvPr>
            <p:cNvSpPr/>
            <p:nvPr/>
          </p:nvSpPr>
          <p:spPr>
            <a:xfrm rot="8716295">
              <a:off x="4867043" y="351299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" name="Forme libre : forme 202">
              <a:extLst>
                <a:ext uri="{FF2B5EF4-FFF2-40B4-BE49-F238E27FC236}">
                  <a16:creationId xmlns:a16="http://schemas.microsoft.com/office/drawing/2014/main" id="{E20F76FB-79A8-44FD-A97E-07BAE8CB93F0}"/>
                </a:ext>
              </a:extLst>
            </p:cNvPr>
            <p:cNvSpPr/>
            <p:nvPr/>
          </p:nvSpPr>
          <p:spPr>
            <a:xfrm rot="8716295">
              <a:off x="5192576" y="3890815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" name="Forme libre : forme 203">
              <a:extLst>
                <a:ext uri="{FF2B5EF4-FFF2-40B4-BE49-F238E27FC236}">
                  <a16:creationId xmlns:a16="http://schemas.microsoft.com/office/drawing/2014/main" id="{07DA70CF-480A-435C-9C90-6F5E70E02F28}"/>
                </a:ext>
              </a:extLst>
            </p:cNvPr>
            <p:cNvSpPr/>
            <p:nvPr/>
          </p:nvSpPr>
          <p:spPr>
            <a:xfrm rot="8716295">
              <a:off x="4827129" y="3664389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" name="Forme libre : forme 204">
              <a:extLst>
                <a:ext uri="{FF2B5EF4-FFF2-40B4-BE49-F238E27FC236}">
                  <a16:creationId xmlns:a16="http://schemas.microsoft.com/office/drawing/2014/main" id="{EFCDF1BC-CE63-46A7-BBB7-A0FD6C01682D}"/>
                </a:ext>
              </a:extLst>
            </p:cNvPr>
            <p:cNvSpPr/>
            <p:nvPr/>
          </p:nvSpPr>
          <p:spPr>
            <a:xfrm rot="7484129">
              <a:off x="5351393" y="418043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" name="Forme libre : forme 205">
              <a:extLst>
                <a:ext uri="{FF2B5EF4-FFF2-40B4-BE49-F238E27FC236}">
                  <a16:creationId xmlns:a16="http://schemas.microsoft.com/office/drawing/2014/main" id="{DC92A656-7063-4EB8-9B18-5A621F03BDBB}"/>
                </a:ext>
              </a:extLst>
            </p:cNvPr>
            <p:cNvSpPr/>
            <p:nvPr/>
          </p:nvSpPr>
          <p:spPr>
            <a:xfrm rot="13089394">
              <a:off x="5497067" y="4157639"/>
              <a:ext cx="336155" cy="433969"/>
            </a:xfrm>
            <a:custGeom>
              <a:avLst/>
              <a:gdLst>
                <a:gd name="connsiteX0" fmla="*/ 23241 w 222098"/>
                <a:gd name="connsiteY0" fmla="*/ 47275 h 286724"/>
                <a:gd name="connsiteX1" fmla="*/ 0 w 222098"/>
                <a:gd name="connsiteY1" fmla="*/ 11882 h 286724"/>
                <a:gd name="connsiteX2" fmla="*/ 22902 w 222098"/>
                <a:gd name="connsiteY2" fmla="*/ 0 h 286724"/>
                <a:gd name="connsiteX3" fmla="*/ 222098 w 222098"/>
                <a:gd name="connsiteY3" fmla="*/ 258238 h 286724"/>
                <a:gd name="connsiteX4" fmla="*/ 180472 w 222098"/>
                <a:gd name="connsiteY4" fmla="*/ 286724 h 286724"/>
                <a:gd name="connsiteX5" fmla="*/ 167667 w 222098"/>
                <a:gd name="connsiteY5" fmla="*/ 267224 h 286724"/>
                <a:gd name="connsiteX6" fmla="*/ 220995 w 222098"/>
                <a:gd name="connsiteY6" fmla="*/ 245547 h 286724"/>
                <a:gd name="connsiteX7" fmla="*/ 222098 w 222098"/>
                <a:gd name="connsiteY7" fmla="*/ 252720 h 286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2098" h="286724">
                  <a:moveTo>
                    <a:pt x="23241" y="47275"/>
                  </a:moveTo>
                  <a:lnTo>
                    <a:pt x="0" y="11882"/>
                  </a:lnTo>
                  <a:lnTo>
                    <a:pt x="22902" y="0"/>
                  </a:lnTo>
                  <a:close/>
                  <a:moveTo>
                    <a:pt x="222098" y="258238"/>
                  </a:moveTo>
                  <a:lnTo>
                    <a:pt x="180472" y="286724"/>
                  </a:lnTo>
                  <a:lnTo>
                    <a:pt x="167667" y="267224"/>
                  </a:lnTo>
                  <a:lnTo>
                    <a:pt x="220995" y="245547"/>
                  </a:lnTo>
                  <a:cubicBezTo>
                    <a:pt x="221546" y="247754"/>
                    <a:pt x="222098" y="250513"/>
                    <a:pt x="222098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" name="Forme libre : forme 206">
              <a:extLst>
                <a:ext uri="{FF2B5EF4-FFF2-40B4-BE49-F238E27FC236}">
                  <a16:creationId xmlns:a16="http://schemas.microsoft.com/office/drawing/2014/main" id="{5B6131FF-A409-4EA9-81CC-0C3D2782942F}"/>
                </a:ext>
              </a:extLst>
            </p:cNvPr>
            <p:cNvSpPr/>
            <p:nvPr/>
          </p:nvSpPr>
          <p:spPr>
            <a:xfrm rot="8716295">
              <a:off x="5689139" y="3701707"/>
              <a:ext cx="105382" cy="119090"/>
            </a:xfrm>
            <a:custGeom>
              <a:avLst/>
              <a:gdLst>
                <a:gd name="connsiteX0" fmla="*/ 0 w 69626"/>
                <a:gd name="connsiteY0" fmla="*/ 74288 h 78683"/>
                <a:gd name="connsiteX1" fmla="*/ 61446 w 69626"/>
                <a:gd name="connsiteY1" fmla="*/ 0 h 78683"/>
                <a:gd name="connsiteX2" fmla="*/ 69626 w 69626"/>
                <a:gd name="connsiteY2" fmla="*/ 19468 h 78683"/>
                <a:gd name="connsiteX3" fmla="*/ 52380 w 69626"/>
                <a:gd name="connsiteY3" fmla="*/ 61206 h 78683"/>
                <a:gd name="connsiteX4" fmla="*/ 10986 w 69626"/>
                <a:gd name="connsiteY4" fmla="*/ 78683 h 78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626" h="78683">
                  <a:moveTo>
                    <a:pt x="0" y="74288"/>
                  </a:moveTo>
                  <a:lnTo>
                    <a:pt x="61446" y="0"/>
                  </a:lnTo>
                  <a:lnTo>
                    <a:pt x="69626" y="19468"/>
                  </a:lnTo>
                  <a:cubicBezTo>
                    <a:pt x="69626" y="34531"/>
                    <a:pt x="63877" y="49708"/>
                    <a:pt x="52380" y="61206"/>
                  </a:cubicBezTo>
                  <a:cubicBezTo>
                    <a:pt x="41341" y="72244"/>
                    <a:pt x="26624" y="78683"/>
                    <a:pt x="10986" y="786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" name="Forme libre : forme 207">
              <a:extLst>
                <a:ext uri="{FF2B5EF4-FFF2-40B4-BE49-F238E27FC236}">
                  <a16:creationId xmlns:a16="http://schemas.microsoft.com/office/drawing/2014/main" id="{F418276D-8E57-4C97-A0E3-69608568D520}"/>
                </a:ext>
              </a:extLst>
            </p:cNvPr>
            <p:cNvSpPr/>
            <p:nvPr/>
          </p:nvSpPr>
          <p:spPr>
            <a:xfrm rot="8716295">
              <a:off x="5344361" y="372861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" name="Forme libre : forme 208">
              <a:extLst>
                <a:ext uri="{FF2B5EF4-FFF2-40B4-BE49-F238E27FC236}">
                  <a16:creationId xmlns:a16="http://schemas.microsoft.com/office/drawing/2014/main" id="{18CB7434-4843-4498-9ECE-196E31359917}"/>
                </a:ext>
              </a:extLst>
            </p:cNvPr>
            <p:cNvSpPr/>
            <p:nvPr/>
          </p:nvSpPr>
          <p:spPr>
            <a:xfrm rot="8716295">
              <a:off x="5599943" y="3480521"/>
              <a:ext cx="177855" cy="178203"/>
            </a:xfrm>
            <a:custGeom>
              <a:avLst/>
              <a:gdLst>
                <a:gd name="connsiteX0" fmla="*/ 17477 w 117509"/>
                <a:gd name="connsiteY0" fmla="*/ 101182 h 117739"/>
                <a:gd name="connsiteX1" fmla="*/ 0 w 117509"/>
                <a:gd name="connsiteY1" fmla="*/ 59790 h 117739"/>
                <a:gd name="connsiteX2" fmla="*/ 0 w 117509"/>
                <a:gd name="connsiteY2" fmla="*/ 58869 h 117739"/>
                <a:gd name="connsiteX3" fmla="*/ 2091 w 117509"/>
                <a:gd name="connsiteY3" fmla="*/ 48678 h 117739"/>
                <a:gd name="connsiteX4" fmla="*/ 38978 w 117509"/>
                <a:gd name="connsiteY4" fmla="*/ 4080 h 117739"/>
                <a:gd name="connsiteX5" fmla="*/ 58869 w 117509"/>
                <a:gd name="connsiteY5" fmla="*/ 0 h 117739"/>
                <a:gd name="connsiteX6" fmla="*/ 100263 w 117509"/>
                <a:gd name="connsiteY6" fmla="*/ 17477 h 117739"/>
                <a:gd name="connsiteX7" fmla="*/ 100263 w 117509"/>
                <a:gd name="connsiteY7" fmla="*/ 100262 h 117739"/>
                <a:gd name="connsiteX8" fmla="*/ 58869 w 117509"/>
                <a:gd name="connsiteY8" fmla="*/ 117739 h 117739"/>
                <a:gd name="connsiteX9" fmla="*/ 17477 w 117509"/>
                <a:gd name="connsiteY9" fmla="*/ 101182 h 117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09" h="117739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lnTo>
                    <a:pt x="2091" y="48678"/>
                  </a:lnTo>
                  <a:lnTo>
                    <a:pt x="38978" y="4080"/>
                  </a:lnTo>
                  <a:lnTo>
                    <a:pt x="58869" y="0"/>
                  </a:lnTo>
                  <a:cubicBezTo>
                    <a:pt x="74507" y="0"/>
                    <a:pt x="89224" y="6439"/>
                    <a:pt x="100263" y="17477"/>
                  </a:cubicBezTo>
                  <a:cubicBezTo>
                    <a:pt x="123258" y="39553"/>
                    <a:pt x="123258" y="77266"/>
                    <a:pt x="100263" y="100262"/>
                  </a:cubicBezTo>
                  <a:cubicBezTo>
                    <a:pt x="89224" y="111300"/>
                    <a:pt x="74507" y="117739"/>
                    <a:pt x="58869" y="117739"/>
                  </a:cubicBezTo>
                  <a:cubicBezTo>
                    <a:pt x="43233" y="117739"/>
                    <a:pt x="28515" y="112220"/>
                    <a:pt x="17477" y="10118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" name="Forme libre : forme 209">
              <a:extLst>
                <a:ext uri="{FF2B5EF4-FFF2-40B4-BE49-F238E27FC236}">
                  <a16:creationId xmlns:a16="http://schemas.microsoft.com/office/drawing/2014/main" id="{80007C47-775F-43EE-9BFF-1043A7C3649A}"/>
                </a:ext>
              </a:extLst>
            </p:cNvPr>
            <p:cNvSpPr/>
            <p:nvPr/>
          </p:nvSpPr>
          <p:spPr>
            <a:xfrm rot="8716295">
              <a:off x="5090746" y="5117279"/>
              <a:ext cx="37096" cy="40385"/>
            </a:xfrm>
            <a:custGeom>
              <a:avLst/>
              <a:gdLst>
                <a:gd name="connsiteX0" fmla="*/ 0 w 37096"/>
                <a:gd name="connsiteY0" fmla="*/ 40385 h 40385"/>
                <a:gd name="connsiteX1" fmla="*/ 0 w 37096"/>
                <a:gd name="connsiteY1" fmla="*/ 0 h 40385"/>
                <a:gd name="connsiteX2" fmla="*/ 37096 w 37096"/>
                <a:gd name="connsiteY2" fmla="*/ 25713 h 40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096" h="40385">
                  <a:moveTo>
                    <a:pt x="0" y="40385"/>
                  </a:moveTo>
                  <a:lnTo>
                    <a:pt x="0" y="0"/>
                  </a:lnTo>
                  <a:lnTo>
                    <a:pt x="37096" y="2571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" name="Forme libre : forme 210">
              <a:extLst>
                <a:ext uri="{FF2B5EF4-FFF2-40B4-BE49-F238E27FC236}">
                  <a16:creationId xmlns:a16="http://schemas.microsoft.com/office/drawing/2014/main" id="{5820CA8C-9225-440D-B86D-A9CE799D1C39}"/>
                </a:ext>
              </a:extLst>
            </p:cNvPr>
            <p:cNvSpPr/>
            <p:nvPr/>
          </p:nvSpPr>
          <p:spPr>
            <a:xfrm rot="8716295">
              <a:off x="5405706" y="5085046"/>
              <a:ext cx="60406" cy="83058"/>
            </a:xfrm>
            <a:custGeom>
              <a:avLst/>
              <a:gdLst>
                <a:gd name="connsiteX0" fmla="*/ 0 w 60406"/>
                <a:gd name="connsiteY0" fmla="*/ 83058 h 83058"/>
                <a:gd name="connsiteX1" fmla="*/ 0 w 60406"/>
                <a:gd name="connsiteY1" fmla="*/ 0 h 83058"/>
                <a:gd name="connsiteX2" fmla="*/ 60406 w 60406"/>
                <a:gd name="connsiteY2" fmla="*/ 41872 h 83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406" h="83058">
                  <a:moveTo>
                    <a:pt x="0" y="83058"/>
                  </a:moveTo>
                  <a:lnTo>
                    <a:pt x="0" y="0"/>
                  </a:lnTo>
                  <a:lnTo>
                    <a:pt x="60406" y="4187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" name="Forme libre : forme 211">
              <a:extLst>
                <a:ext uri="{FF2B5EF4-FFF2-40B4-BE49-F238E27FC236}">
                  <a16:creationId xmlns:a16="http://schemas.microsoft.com/office/drawing/2014/main" id="{14119B8B-36AC-4498-96E0-570BA8C54C01}"/>
                </a:ext>
              </a:extLst>
            </p:cNvPr>
            <p:cNvSpPr/>
            <p:nvPr/>
          </p:nvSpPr>
          <p:spPr>
            <a:xfrm rot="8716295">
              <a:off x="5207014" y="4975218"/>
              <a:ext cx="245211" cy="161994"/>
            </a:xfrm>
            <a:custGeom>
              <a:avLst/>
              <a:gdLst>
                <a:gd name="connsiteX0" fmla="*/ 8965 w 245211"/>
                <a:gd name="connsiteY0" fmla="*/ 161994 h 161994"/>
                <a:gd name="connsiteX1" fmla="*/ 0 w 245211"/>
                <a:gd name="connsiteY1" fmla="*/ 149580 h 161994"/>
                <a:gd name="connsiteX2" fmla="*/ 158971 w 245211"/>
                <a:gd name="connsiteY2" fmla="*/ 0 h 161994"/>
                <a:gd name="connsiteX3" fmla="*/ 245211 w 245211"/>
                <a:gd name="connsiteY3" fmla="*/ 59779 h 161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211" h="161994">
                  <a:moveTo>
                    <a:pt x="8965" y="161994"/>
                  </a:moveTo>
                  <a:lnTo>
                    <a:pt x="0" y="149580"/>
                  </a:lnTo>
                  <a:lnTo>
                    <a:pt x="158971" y="0"/>
                  </a:lnTo>
                  <a:lnTo>
                    <a:pt x="245211" y="5977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" name="Forme libre : forme 212">
              <a:extLst>
                <a:ext uri="{FF2B5EF4-FFF2-40B4-BE49-F238E27FC236}">
                  <a16:creationId xmlns:a16="http://schemas.microsoft.com/office/drawing/2014/main" id="{4FCFFEE2-AEF7-46AC-BCAB-E4AB6356A9CD}"/>
                </a:ext>
              </a:extLst>
            </p:cNvPr>
            <p:cNvSpPr/>
            <p:nvPr/>
          </p:nvSpPr>
          <p:spPr>
            <a:xfrm rot="8716295">
              <a:off x="4807372" y="4871188"/>
              <a:ext cx="249519" cy="296463"/>
            </a:xfrm>
            <a:custGeom>
              <a:avLst/>
              <a:gdLst>
                <a:gd name="connsiteX0" fmla="*/ 137293 w 249519"/>
                <a:gd name="connsiteY0" fmla="*/ 296463 h 296463"/>
                <a:gd name="connsiteX1" fmla="*/ 72418 w 249519"/>
                <a:gd name="connsiteY1" fmla="*/ 175766 h 296463"/>
                <a:gd name="connsiteX2" fmla="*/ 105610 w 249519"/>
                <a:gd name="connsiteY2" fmla="*/ 83734 h 296463"/>
                <a:gd name="connsiteX3" fmla="*/ 0 w 249519"/>
                <a:gd name="connsiteY3" fmla="*/ 83734 h 296463"/>
                <a:gd name="connsiteX4" fmla="*/ 0 w 249519"/>
                <a:gd name="connsiteY4" fmla="*/ 0 h 296463"/>
                <a:gd name="connsiteX5" fmla="*/ 128719 w 249519"/>
                <a:gd name="connsiteY5" fmla="*/ 0 h 296463"/>
                <a:gd name="connsiteX6" fmla="*/ 249519 w 249519"/>
                <a:gd name="connsiteY6" fmla="*/ 83734 h 296463"/>
                <a:gd name="connsiteX7" fmla="*/ 210465 w 249519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9519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128719" y="0"/>
                  </a:lnTo>
                  <a:lnTo>
                    <a:pt x="249519" y="83734"/>
                  </a:lnTo>
                  <a:lnTo>
                    <a:pt x="210465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" name="Forme libre : forme 213">
              <a:extLst>
                <a:ext uri="{FF2B5EF4-FFF2-40B4-BE49-F238E27FC236}">
                  <a16:creationId xmlns:a16="http://schemas.microsoft.com/office/drawing/2014/main" id="{1B41E071-0693-46BD-92E2-292036356EEC}"/>
                </a:ext>
              </a:extLst>
            </p:cNvPr>
            <p:cNvSpPr/>
            <p:nvPr/>
          </p:nvSpPr>
          <p:spPr>
            <a:xfrm rot="8716295">
              <a:off x="4742203" y="467807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" name="Forme libre : forme 214">
              <a:extLst>
                <a:ext uri="{FF2B5EF4-FFF2-40B4-BE49-F238E27FC236}">
                  <a16:creationId xmlns:a16="http://schemas.microsoft.com/office/drawing/2014/main" id="{3D04A71D-E109-4B4F-89C3-FA4AB19F4E1D}"/>
                </a:ext>
              </a:extLst>
            </p:cNvPr>
            <p:cNvSpPr/>
            <p:nvPr/>
          </p:nvSpPr>
          <p:spPr>
            <a:xfrm rot="8716295">
              <a:off x="5548192" y="4732447"/>
              <a:ext cx="92415" cy="287093"/>
            </a:xfrm>
            <a:custGeom>
              <a:avLst/>
              <a:gdLst>
                <a:gd name="connsiteX0" fmla="*/ 0 w 61059"/>
                <a:gd name="connsiteY0" fmla="*/ 189683 h 189683"/>
                <a:gd name="connsiteX1" fmla="*/ 1 w 61059"/>
                <a:gd name="connsiteY1" fmla="*/ 70355 h 189683"/>
                <a:gd name="connsiteX2" fmla="*/ 58192 w 61059"/>
                <a:gd name="connsiteY2" fmla="*/ 0 h 189683"/>
                <a:gd name="connsiteX3" fmla="*/ 61059 w 61059"/>
                <a:gd name="connsiteY3" fmla="*/ 7418 h 189683"/>
                <a:gd name="connsiteX4" fmla="*/ 61059 w 61059"/>
                <a:gd name="connsiteY4" fmla="*/ 165533 h 189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59" h="189683">
                  <a:moveTo>
                    <a:pt x="0" y="189683"/>
                  </a:moveTo>
                  <a:lnTo>
                    <a:pt x="1" y="70355"/>
                  </a:lnTo>
                  <a:lnTo>
                    <a:pt x="58192" y="0"/>
                  </a:lnTo>
                  <a:lnTo>
                    <a:pt x="61059" y="7418"/>
                  </a:lnTo>
                  <a:lnTo>
                    <a:pt x="61059" y="1655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" name="Forme libre : forme 215">
              <a:extLst>
                <a:ext uri="{FF2B5EF4-FFF2-40B4-BE49-F238E27FC236}">
                  <a16:creationId xmlns:a16="http://schemas.microsoft.com/office/drawing/2014/main" id="{AAC7FAB2-F735-42A2-BE55-7C8B153DECE5}"/>
                </a:ext>
              </a:extLst>
            </p:cNvPr>
            <p:cNvSpPr/>
            <p:nvPr/>
          </p:nvSpPr>
          <p:spPr>
            <a:xfrm rot="8716295">
              <a:off x="5387054" y="482534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" name="Forme libre : forme 216">
              <a:extLst>
                <a:ext uri="{FF2B5EF4-FFF2-40B4-BE49-F238E27FC236}">
                  <a16:creationId xmlns:a16="http://schemas.microsoft.com/office/drawing/2014/main" id="{4B03EBBE-E237-4565-BE6F-56E70942310E}"/>
                </a:ext>
              </a:extLst>
            </p:cNvPr>
            <p:cNvSpPr/>
            <p:nvPr/>
          </p:nvSpPr>
          <p:spPr>
            <a:xfrm rot="8716295">
              <a:off x="5198009" y="450950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" name="Forme libre : forme 217">
              <a:extLst>
                <a:ext uri="{FF2B5EF4-FFF2-40B4-BE49-F238E27FC236}">
                  <a16:creationId xmlns:a16="http://schemas.microsoft.com/office/drawing/2014/main" id="{230714BC-B4D4-483B-9F0B-D1990593F59D}"/>
                </a:ext>
              </a:extLst>
            </p:cNvPr>
            <p:cNvSpPr/>
            <p:nvPr/>
          </p:nvSpPr>
          <p:spPr>
            <a:xfrm rot="8716295">
              <a:off x="5503997" y="4913234"/>
              <a:ext cx="91035" cy="258752"/>
            </a:xfrm>
            <a:custGeom>
              <a:avLst/>
              <a:gdLst>
                <a:gd name="connsiteX0" fmla="*/ 91035 w 91035"/>
                <a:gd name="connsiteY0" fmla="*/ 258752 h 258752"/>
                <a:gd name="connsiteX1" fmla="*/ 0 w 91035"/>
                <a:gd name="connsiteY1" fmla="*/ 171163 h 258752"/>
                <a:gd name="connsiteX2" fmla="*/ 0 w 91035"/>
                <a:gd name="connsiteY2" fmla="*/ 43487 h 258752"/>
                <a:gd name="connsiteX3" fmla="*/ 35968 w 91035"/>
                <a:gd name="connsiteY3" fmla="*/ 0 h 258752"/>
                <a:gd name="connsiteX4" fmla="*/ 91035 w 91035"/>
                <a:gd name="connsiteY4" fmla="*/ 38170 h 258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035" h="258752">
                  <a:moveTo>
                    <a:pt x="91035" y="258752"/>
                  </a:moveTo>
                  <a:lnTo>
                    <a:pt x="0" y="171163"/>
                  </a:lnTo>
                  <a:lnTo>
                    <a:pt x="0" y="43487"/>
                  </a:lnTo>
                  <a:lnTo>
                    <a:pt x="35968" y="0"/>
                  </a:lnTo>
                  <a:lnTo>
                    <a:pt x="91035" y="3817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" name="Forme libre : forme 218">
              <a:extLst>
                <a:ext uri="{FF2B5EF4-FFF2-40B4-BE49-F238E27FC236}">
                  <a16:creationId xmlns:a16="http://schemas.microsoft.com/office/drawing/2014/main" id="{14A36AFC-3634-423C-BC16-BDB2283C28B3}"/>
                </a:ext>
              </a:extLst>
            </p:cNvPr>
            <p:cNvSpPr/>
            <p:nvPr/>
          </p:nvSpPr>
          <p:spPr>
            <a:xfrm rot="8716295">
              <a:off x="5158096" y="466090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" name="Forme libre : forme 219">
              <a:extLst>
                <a:ext uri="{FF2B5EF4-FFF2-40B4-BE49-F238E27FC236}">
                  <a16:creationId xmlns:a16="http://schemas.microsoft.com/office/drawing/2014/main" id="{BC237E43-FDD5-4FDC-8C88-3D3E992DDCCE}"/>
                </a:ext>
              </a:extLst>
            </p:cNvPr>
            <p:cNvSpPr/>
            <p:nvPr/>
          </p:nvSpPr>
          <p:spPr>
            <a:xfrm rot="8716295">
              <a:off x="4115344" y="2074537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" name="Forme libre : forme 220">
              <a:extLst>
                <a:ext uri="{FF2B5EF4-FFF2-40B4-BE49-F238E27FC236}">
                  <a16:creationId xmlns:a16="http://schemas.microsoft.com/office/drawing/2014/main" id="{74F2CD5F-27E1-4B05-BDE3-F9CAEE63E34B}"/>
                </a:ext>
              </a:extLst>
            </p:cNvPr>
            <p:cNvSpPr/>
            <p:nvPr/>
          </p:nvSpPr>
          <p:spPr>
            <a:xfrm rot="8716295">
              <a:off x="4250643" y="2118796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" name="Forme libre : forme 221">
              <a:extLst>
                <a:ext uri="{FF2B5EF4-FFF2-40B4-BE49-F238E27FC236}">
                  <a16:creationId xmlns:a16="http://schemas.microsoft.com/office/drawing/2014/main" id="{3D2EAE98-2CEC-4E31-BF79-1D13D51EDB3B}"/>
                </a:ext>
              </a:extLst>
            </p:cNvPr>
            <p:cNvSpPr/>
            <p:nvPr/>
          </p:nvSpPr>
          <p:spPr>
            <a:xfrm rot="8716295">
              <a:off x="4182761" y="1988208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" name="Forme libre : forme 222">
              <a:extLst>
                <a:ext uri="{FF2B5EF4-FFF2-40B4-BE49-F238E27FC236}">
                  <a16:creationId xmlns:a16="http://schemas.microsoft.com/office/drawing/2014/main" id="{F7C21745-E98A-49A1-BB89-EF4C58D2B535}"/>
                </a:ext>
              </a:extLst>
            </p:cNvPr>
            <p:cNvSpPr/>
            <p:nvPr/>
          </p:nvSpPr>
          <p:spPr>
            <a:xfrm rot="8716295">
              <a:off x="3945473" y="220855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" name="Forme libre : forme 223">
              <a:extLst>
                <a:ext uri="{FF2B5EF4-FFF2-40B4-BE49-F238E27FC236}">
                  <a16:creationId xmlns:a16="http://schemas.microsoft.com/office/drawing/2014/main" id="{3C933A0E-48CB-40A4-AD69-869889C9C116}"/>
                </a:ext>
              </a:extLst>
            </p:cNvPr>
            <p:cNvSpPr/>
            <p:nvPr/>
          </p:nvSpPr>
          <p:spPr>
            <a:xfrm rot="8716295">
              <a:off x="3756427" y="189271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" name="Forme libre : forme 224">
              <a:extLst>
                <a:ext uri="{FF2B5EF4-FFF2-40B4-BE49-F238E27FC236}">
                  <a16:creationId xmlns:a16="http://schemas.microsoft.com/office/drawing/2014/main" id="{A02DB2FC-04B5-4966-BEE6-FB30AD9722F6}"/>
                </a:ext>
              </a:extLst>
            </p:cNvPr>
            <p:cNvSpPr/>
            <p:nvPr/>
          </p:nvSpPr>
          <p:spPr>
            <a:xfrm rot="8716295">
              <a:off x="3738186" y="1682667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" name="Forme libre : forme 225">
              <a:extLst>
                <a:ext uri="{FF2B5EF4-FFF2-40B4-BE49-F238E27FC236}">
                  <a16:creationId xmlns:a16="http://schemas.microsoft.com/office/drawing/2014/main" id="{F8510F0D-1176-4749-A0F4-7938F16AABD4}"/>
                </a:ext>
              </a:extLst>
            </p:cNvPr>
            <p:cNvSpPr/>
            <p:nvPr/>
          </p:nvSpPr>
          <p:spPr>
            <a:xfrm rot="8716295">
              <a:off x="4081962" y="2270535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" name="Forme libre : forme 226">
              <a:extLst>
                <a:ext uri="{FF2B5EF4-FFF2-40B4-BE49-F238E27FC236}">
                  <a16:creationId xmlns:a16="http://schemas.microsoft.com/office/drawing/2014/main" id="{7359A2E2-1A1C-4AB5-9888-9A67C8F381ED}"/>
                </a:ext>
              </a:extLst>
            </p:cNvPr>
            <p:cNvSpPr/>
            <p:nvPr/>
          </p:nvSpPr>
          <p:spPr>
            <a:xfrm rot="8716295">
              <a:off x="4552908" y="169592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" name="Forme libre : forme 227">
              <a:extLst>
                <a:ext uri="{FF2B5EF4-FFF2-40B4-BE49-F238E27FC236}">
                  <a16:creationId xmlns:a16="http://schemas.microsoft.com/office/drawing/2014/main" id="{F162CF17-3696-46D1-BBA9-E595114BD290}"/>
                </a:ext>
              </a:extLst>
            </p:cNvPr>
            <p:cNvSpPr/>
            <p:nvPr/>
          </p:nvSpPr>
          <p:spPr>
            <a:xfrm rot="8716295">
              <a:off x="4688207" y="174018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" name="Forme libre : forme 228">
              <a:extLst>
                <a:ext uri="{FF2B5EF4-FFF2-40B4-BE49-F238E27FC236}">
                  <a16:creationId xmlns:a16="http://schemas.microsoft.com/office/drawing/2014/main" id="{CB7640C0-A77D-4C20-99F3-99AC8C5EA399}"/>
                </a:ext>
              </a:extLst>
            </p:cNvPr>
            <p:cNvSpPr/>
            <p:nvPr/>
          </p:nvSpPr>
          <p:spPr>
            <a:xfrm rot="8716295">
              <a:off x="4383037" y="182993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" name="Forme libre : forme 229">
              <a:extLst>
                <a:ext uri="{FF2B5EF4-FFF2-40B4-BE49-F238E27FC236}">
                  <a16:creationId xmlns:a16="http://schemas.microsoft.com/office/drawing/2014/main" id="{7221721D-60FE-4C4C-9396-20240CB24747}"/>
                </a:ext>
              </a:extLst>
            </p:cNvPr>
            <p:cNvSpPr/>
            <p:nvPr/>
          </p:nvSpPr>
          <p:spPr>
            <a:xfrm rot="8716295">
              <a:off x="4193993" y="151410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" name="Forme libre : forme 230">
              <a:extLst>
                <a:ext uri="{FF2B5EF4-FFF2-40B4-BE49-F238E27FC236}">
                  <a16:creationId xmlns:a16="http://schemas.microsoft.com/office/drawing/2014/main" id="{72815BA9-45F4-424C-8C61-85FB1E0CD670}"/>
                </a:ext>
              </a:extLst>
            </p:cNvPr>
            <p:cNvSpPr/>
            <p:nvPr/>
          </p:nvSpPr>
          <p:spPr>
            <a:xfrm rot="8716295">
              <a:off x="4519525" y="1891919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" name="Forme libre : forme 231">
              <a:extLst>
                <a:ext uri="{FF2B5EF4-FFF2-40B4-BE49-F238E27FC236}">
                  <a16:creationId xmlns:a16="http://schemas.microsoft.com/office/drawing/2014/main" id="{2386F46E-7D0B-4733-83CE-A3BA85A841D0}"/>
                </a:ext>
              </a:extLst>
            </p:cNvPr>
            <p:cNvSpPr/>
            <p:nvPr/>
          </p:nvSpPr>
          <p:spPr>
            <a:xfrm rot="8716295">
              <a:off x="4154079" y="1665493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" name="Forme libre : forme 232">
              <a:extLst>
                <a:ext uri="{FF2B5EF4-FFF2-40B4-BE49-F238E27FC236}">
                  <a16:creationId xmlns:a16="http://schemas.microsoft.com/office/drawing/2014/main" id="{7C49EAA5-EA80-4FD2-B8EE-8A5326A137F1}"/>
                </a:ext>
              </a:extLst>
            </p:cNvPr>
            <p:cNvSpPr/>
            <p:nvPr/>
          </p:nvSpPr>
          <p:spPr>
            <a:xfrm rot="7484129">
              <a:off x="4678343" y="218153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" name="Forme libre : forme 233">
              <a:extLst>
                <a:ext uri="{FF2B5EF4-FFF2-40B4-BE49-F238E27FC236}">
                  <a16:creationId xmlns:a16="http://schemas.microsoft.com/office/drawing/2014/main" id="{E5F42144-89A8-465A-AA8E-5830C7BF1E60}"/>
                </a:ext>
              </a:extLst>
            </p:cNvPr>
            <p:cNvSpPr/>
            <p:nvPr/>
          </p:nvSpPr>
          <p:spPr>
            <a:xfrm rot="13089394">
              <a:off x="4836993" y="2130885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" name="Forme libre : forme 234">
              <a:extLst>
                <a:ext uri="{FF2B5EF4-FFF2-40B4-BE49-F238E27FC236}">
                  <a16:creationId xmlns:a16="http://schemas.microsoft.com/office/drawing/2014/main" id="{4B643A7D-0F4D-44EF-8082-E475252D919E}"/>
                </a:ext>
              </a:extLst>
            </p:cNvPr>
            <p:cNvSpPr/>
            <p:nvPr/>
          </p:nvSpPr>
          <p:spPr>
            <a:xfrm rot="8716295">
              <a:off x="5117884" y="1840767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" name="Forme libre : forme 235">
              <a:extLst>
                <a:ext uri="{FF2B5EF4-FFF2-40B4-BE49-F238E27FC236}">
                  <a16:creationId xmlns:a16="http://schemas.microsoft.com/office/drawing/2014/main" id="{A286EB77-2A92-49EB-B662-F67A780E72C3}"/>
                </a:ext>
              </a:extLst>
            </p:cNvPr>
            <p:cNvSpPr/>
            <p:nvPr/>
          </p:nvSpPr>
          <p:spPr>
            <a:xfrm rot="8716295">
              <a:off x="5039475" y="1683975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" name="Forme libre : forme 236">
              <a:extLst>
                <a:ext uri="{FF2B5EF4-FFF2-40B4-BE49-F238E27FC236}">
                  <a16:creationId xmlns:a16="http://schemas.microsoft.com/office/drawing/2014/main" id="{D76415DF-3D0E-46A1-A992-CAEF6C90F935}"/>
                </a:ext>
              </a:extLst>
            </p:cNvPr>
            <p:cNvSpPr/>
            <p:nvPr/>
          </p:nvSpPr>
          <p:spPr>
            <a:xfrm rot="8716295">
              <a:off x="4671311" y="172971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" name="Forme libre : forme 237">
              <a:extLst>
                <a:ext uri="{FF2B5EF4-FFF2-40B4-BE49-F238E27FC236}">
                  <a16:creationId xmlns:a16="http://schemas.microsoft.com/office/drawing/2014/main" id="{22B5BB48-3533-4C75-B095-5C6392290E1E}"/>
                </a:ext>
              </a:extLst>
            </p:cNvPr>
            <p:cNvSpPr/>
            <p:nvPr/>
          </p:nvSpPr>
          <p:spPr>
            <a:xfrm rot="8716295">
              <a:off x="4939893" y="148869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" name="Forme libre : forme 238">
              <a:extLst>
                <a:ext uri="{FF2B5EF4-FFF2-40B4-BE49-F238E27FC236}">
                  <a16:creationId xmlns:a16="http://schemas.microsoft.com/office/drawing/2014/main" id="{D4F7953A-EB21-471D-9CE6-DFD037BB3D9B}"/>
                </a:ext>
              </a:extLst>
            </p:cNvPr>
            <p:cNvSpPr/>
            <p:nvPr/>
          </p:nvSpPr>
          <p:spPr>
            <a:xfrm rot="8716295">
              <a:off x="3777571" y="1076054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" name="Forme libre : forme 239">
              <a:extLst>
                <a:ext uri="{FF2B5EF4-FFF2-40B4-BE49-F238E27FC236}">
                  <a16:creationId xmlns:a16="http://schemas.microsoft.com/office/drawing/2014/main" id="{B31F3CAF-6E5C-4883-9D56-37A77E8E54A5}"/>
                </a:ext>
              </a:extLst>
            </p:cNvPr>
            <p:cNvSpPr/>
            <p:nvPr/>
          </p:nvSpPr>
          <p:spPr>
            <a:xfrm rot="8716295">
              <a:off x="3912870" y="1120313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" name="Forme libre : forme 240">
              <a:extLst>
                <a:ext uri="{FF2B5EF4-FFF2-40B4-BE49-F238E27FC236}">
                  <a16:creationId xmlns:a16="http://schemas.microsoft.com/office/drawing/2014/main" id="{C147FD5B-3693-4B4F-88B4-175EF4DCAB5D}"/>
                </a:ext>
              </a:extLst>
            </p:cNvPr>
            <p:cNvSpPr/>
            <p:nvPr/>
          </p:nvSpPr>
          <p:spPr>
            <a:xfrm rot="8716295">
              <a:off x="3844988" y="989725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" name="Forme libre : forme 241">
              <a:extLst>
                <a:ext uri="{FF2B5EF4-FFF2-40B4-BE49-F238E27FC236}">
                  <a16:creationId xmlns:a16="http://schemas.microsoft.com/office/drawing/2014/main" id="{ADDA2175-F82B-4C1C-A775-DCF7ED389EE1}"/>
                </a:ext>
              </a:extLst>
            </p:cNvPr>
            <p:cNvSpPr/>
            <p:nvPr/>
          </p:nvSpPr>
          <p:spPr>
            <a:xfrm rot="8716295">
              <a:off x="3607700" y="121006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" name="Forme libre : forme 242">
              <a:extLst>
                <a:ext uri="{FF2B5EF4-FFF2-40B4-BE49-F238E27FC236}">
                  <a16:creationId xmlns:a16="http://schemas.microsoft.com/office/drawing/2014/main" id="{3DA66E2A-B271-4CA4-B9FF-6AFE032DC966}"/>
                </a:ext>
              </a:extLst>
            </p:cNvPr>
            <p:cNvSpPr/>
            <p:nvPr/>
          </p:nvSpPr>
          <p:spPr>
            <a:xfrm rot="8716295">
              <a:off x="3418654" y="89423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" name="Forme libre : forme 243">
              <a:extLst>
                <a:ext uri="{FF2B5EF4-FFF2-40B4-BE49-F238E27FC236}">
                  <a16:creationId xmlns:a16="http://schemas.microsoft.com/office/drawing/2014/main" id="{5F0B065E-4F1B-43F1-9813-90200634675E}"/>
                </a:ext>
              </a:extLst>
            </p:cNvPr>
            <p:cNvSpPr/>
            <p:nvPr/>
          </p:nvSpPr>
          <p:spPr>
            <a:xfrm rot="8716295">
              <a:off x="3400413" y="68418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" name="Forme libre : forme 244">
              <a:extLst>
                <a:ext uri="{FF2B5EF4-FFF2-40B4-BE49-F238E27FC236}">
                  <a16:creationId xmlns:a16="http://schemas.microsoft.com/office/drawing/2014/main" id="{20854BC4-5849-4EDA-A9AD-8A9CB02779EC}"/>
                </a:ext>
              </a:extLst>
            </p:cNvPr>
            <p:cNvSpPr/>
            <p:nvPr/>
          </p:nvSpPr>
          <p:spPr>
            <a:xfrm rot="8716295">
              <a:off x="3744189" y="1272052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" name="Forme libre : forme 245">
              <a:extLst>
                <a:ext uri="{FF2B5EF4-FFF2-40B4-BE49-F238E27FC236}">
                  <a16:creationId xmlns:a16="http://schemas.microsoft.com/office/drawing/2014/main" id="{7833AF6E-AF2A-42B3-84D3-9F8F342AAC2A}"/>
                </a:ext>
              </a:extLst>
            </p:cNvPr>
            <p:cNvSpPr/>
            <p:nvPr/>
          </p:nvSpPr>
          <p:spPr>
            <a:xfrm rot="8716295">
              <a:off x="4215135" y="69743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" name="Forme libre : forme 246">
              <a:extLst>
                <a:ext uri="{FF2B5EF4-FFF2-40B4-BE49-F238E27FC236}">
                  <a16:creationId xmlns:a16="http://schemas.microsoft.com/office/drawing/2014/main" id="{5CCDB5E7-FFA9-4665-85A4-71445280D93D}"/>
                </a:ext>
              </a:extLst>
            </p:cNvPr>
            <p:cNvSpPr/>
            <p:nvPr/>
          </p:nvSpPr>
          <p:spPr>
            <a:xfrm rot="8716295">
              <a:off x="4350434" y="74169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" name="Forme libre : forme 247">
              <a:extLst>
                <a:ext uri="{FF2B5EF4-FFF2-40B4-BE49-F238E27FC236}">
                  <a16:creationId xmlns:a16="http://schemas.microsoft.com/office/drawing/2014/main" id="{2DD39E77-D511-475C-B9A4-1F96A0A8FEEA}"/>
                </a:ext>
              </a:extLst>
            </p:cNvPr>
            <p:cNvSpPr/>
            <p:nvPr/>
          </p:nvSpPr>
          <p:spPr>
            <a:xfrm rot="8716295">
              <a:off x="4045264" y="83145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" name="Forme libre : forme 248">
              <a:extLst>
                <a:ext uri="{FF2B5EF4-FFF2-40B4-BE49-F238E27FC236}">
                  <a16:creationId xmlns:a16="http://schemas.microsoft.com/office/drawing/2014/main" id="{37119436-3DF5-44F0-88C8-59BCDF9BA3E8}"/>
                </a:ext>
              </a:extLst>
            </p:cNvPr>
            <p:cNvSpPr/>
            <p:nvPr/>
          </p:nvSpPr>
          <p:spPr>
            <a:xfrm rot="8716295">
              <a:off x="3856220" y="51561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" name="Forme libre : forme 249">
              <a:extLst>
                <a:ext uri="{FF2B5EF4-FFF2-40B4-BE49-F238E27FC236}">
                  <a16:creationId xmlns:a16="http://schemas.microsoft.com/office/drawing/2014/main" id="{5EFF1AF7-D116-4A78-8A60-0881E3BE9924}"/>
                </a:ext>
              </a:extLst>
            </p:cNvPr>
            <p:cNvSpPr/>
            <p:nvPr/>
          </p:nvSpPr>
          <p:spPr>
            <a:xfrm rot="8716295">
              <a:off x="4181753" y="893436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" name="Forme libre : forme 250">
              <a:extLst>
                <a:ext uri="{FF2B5EF4-FFF2-40B4-BE49-F238E27FC236}">
                  <a16:creationId xmlns:a16="http://schemas.microsoft.com/office/drawing/2014/main" id="{C38BBAB8-EA94-46A9-B44D-F77A303742D6}"/>
                </a:ext>
              </a:extLst>
            </p:cNvPr>
            <p:cNvSpPr/>
            <p:nvPr/>
          </p:nvSpPr>
          <p:spPr>
            <a:xfrm rot="8716295">
              <a:off x="3816306" y="66701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" name="Forme libre : forme 251">
              <a:extLst>
                <a:ext uri="{FF2B5EF4-FFF2-40B4-BE49-F238E27FC236}">
                  <a16:creationId xmlns:a16="http://schemas.microsoft.com/office/drawing/2014/main" id="{726FB4EE-DE4A-475E-B9CA-BDA728B96056}"/>
                </a:ext>
              </a:extLst>
            </p:cNvPr>
            <p:cNvSpPr/>
            <p:nvPr/>
          </p:nvSpPr>
          <p:spPr>
            <a:xfrm rot="7484129">
              <a:off x="4340570" y="118305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" name="Forme libre : forme 252">
              <a:extLst>
                <a:ext uri="{FF2B5EF4-FFF2-40B4-BE49-F238E27FC236}">
                  <a16:creationId xmlns:a16="http://schemas.microsoft.com/office/drawing/2014/main" id="{3778C4A8-DD8F-40FB-BF36-85A62335E025}"/>
                </a:ext>
              </a:extLst>
            </p:cNvPr>
            <p:cNvSpPr/>
            <p:nvPr/>
          </p:nvSpPr>
          <p:spPr>
            <a:xfrm rot="13089394">
              <a:off x="4499220" y="1132402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" name="Forme libre : forme 253">
              <a:extLst>
                <a:ext uri="{FF2B5EF4-FFF2-40B4-BE49-F238E27FC236}">
                  <a16:creationId xmlns:a16="http://schemas.microsoft.com/office/drawing/2014/main" id="{E67B04C4-DF6C-4AF3-A306-EC57702A7EA7}"/>
                </a:ext>
              </a:extLst>
            </p:cNvPr>
            <p:cNvSpPr/>
            <p:nvPr/>
          </p:nvSpPr>
          <p:spPr>
            <a:xfrm rot="8716295">
              <a:off x="4780111" y="842284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" name="Forme libre : forme 254">
              <a:extLst>
                <a:ext uri="{FF2B5EF4-FFF2-40B4-BE49-F238E27FC236}">
                  <a16:creationId xmlns:a16="http://schemas.microsoft.com/office/drawing/2014/main" id="{0C3B947F-A89B-45FB-9A8F-3A9BCC6CD484}"/>
                </a:ext>
              </a:extLst>
            </p:cNvPr>
            <p:cNvSpPr/>
            <p:nvPr/>
          </p:nvSpPr>
          <p:spPr>
            <a:xfrm rot="8716295">
              <a:off x="4701702" y="68549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" name="Forme libre : forme 255">
              <a:extLst>
                <a:ext uri="{FF2B5EF4-FFF2-40B4-BE49-F238E27FC236}">
                  <a16:creationId xmlns:a16="http://schemas.microsoft.com/office/drawing/2014/main" id="{65FF4858-B1A0-42D2-ADCA-DB484EB1FE6D}"/>
                </a:ext>
              </a:extLst>
            </p:cNvPr>
            <p:cNvSpPr/>
            <p:nvPr/>
          </p:nvSpPr>
          <p:spPr>
            <a:xfrm rot="8716295">
              <a:off x="4333538" y="73123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" name="Forme libre : forme 256">
              <a:extLst>
                <a:ext uri="{FF2B5EF4-FFF2-40B4-BE49-F238E27FC236}">
                  <a16:creationId xmlns:a16="http://schemas.microsoft.com/office/drawing/2014/main" id="{28C1BE2D-A511-4E2F-AC16-ED6DA95D0016}"/>
                </a:ext>
              </a:extLst>
            </p:cNvPr>
            <p:cNvSpPr/>
            <p:nvPr/>
          </p:nvSpPr>
          <p:spPr>
            <a:xfrm rot="8716295">
              <a:off x="4602120" y="49021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" name="Forme libre : forme 257">
              <a:extLst>
                <a:ext uri="{FF2B5EF4-FFF2-40B4-BE49-F238E27FC236}">
                  <a16:creationId xmlns:a16="http://schemas.microsoft.com/office/drawing/2014/main" id="{414A6022-94D3-4CA0-800F-BAEAE0FC105C}"/>
                </a:ext>
              </a:extLst>
            </p:cNvPr>
            <p:cNvSpPr/>
            <p:nvPr/>
          </p:nvSpPr>
          <p:spPr>
            <a:xfrm rot="8716295">
              <a:off x="3446198" y="7400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" name="Forme libre : forme 258">
              <a:extLst>
                <a:ext uri="{FF2B5EF4-FFF2-40B4-BE49-F238E27FC236}">
                  <a16:creationId xmlns:a16="http://schemas.microsoft.com/office/drawing/2014/main" id="{2CDD9144-31FA-487A-AF8B-34A135FB089A}"/>
                </a:ext>
              </a:extLst>
            </p:cNvPr>
            <p:cNvSpPr/>
            <p:nvPr/>
          </p:nvSpPr>
          <p:spPr>
            <a:xfrm rot="8716295">
              <a:off x="3581496" y="11826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" name="Forme libre : forme 259">
              <a:extLst>
                <a:ext uri="{FF2B5EF4-FFF2-40B4-BE49-F238E27FC236}">
                  <a16:creationId xmlns:a16="http://schemas.microsoft.com/office/drawing/2014/main" id="{7FE16051-BF2A-4B51-837A-7B2C211B57E4}"/>
                </a:ext>
              </a:extLst>
            </p:cNvPr>
            <p:cNvSpPr/>
            <p:nvPr/>
          </p:nvSpPr>
          <p:spPr>
            <a:xfrm rot="8716295">
              <a:off x="3522597" y="36248"/>
              <a:ext cx="234675" cy="172489"/>
            </a:xfrm>
            <a:custGeom>
              <a:avLst/>
              <a:gdLst>
                <a:gd name="connsiteX0" fmla="*/ 25756 w 155050"/>
                <a:gd name="connsiteY0" fmla="*/ 113964 h 113964"/>
                <a:gd name="connsiteX1" fmla="*/ 0 w 155050"/>
                <a:gd name="connsiteY1" fmla="*/ 96110 h 113964"/>
                <a:gd name="connsiteX2" fmla="*/ 72120 w 155050"/>
                <a:gd name="connsiteY2" fmla="*/ 28251 h 113964"/>
                <a:gd name="connsiteX3" fmla="*/ 126799 w 155050"/>
                <a:gd name="connsiteY3" fmla="*/ 0 h 113964"/>
                <a:gd name="connsiteX4" fmla="*/ 155050 w 155050"/>
                <a:gd name="connsiteY4" fmla="*/ 33719 h 113964"/>
                <a:gd name="connsiteX5" fmla="*/ 128622 w 155050"/>
                <a:gd name="connsiteY5" fmla="*/ 69261 h 113964"/>
                <a:gd name="connsiteX6" fmla="*/ 129077 w 155050"/>
                <a:gd name="connsiteY6" fmla="*/ 69261 h 113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5050" h="113964">
                  <a:moveTo>
                    <a:pt x="25756" y="113964"/>
                  </a:moveTo>
                  <a:lnTo>
                    <a:pt x="0" y="96110"/>
                  </a:lnTo>
                  <a:lnTo>
                    <a:pt x="72120" y="28251"/>
                  </a:lnTo>
                  <a:cubicBezTo>
                    <a:pt x="85790" y="12303"/>
                    <a:pt x="105383" y="2279"/>
                    <a:pt x="126799" y="0"/>
                  </a:cubicBezTo>
                  <a:cubicBezTo>
                    <a:pt x="148671" y="0"/>
                    <a:pt x="155050" y="19138"/>
                    <a:pt x="155050" y="33719"/>
                  </a:cubicBezTo>
                  <a:cubicBezTo>
                    <a:pt x="153683" y="49668"/>
                    <a:pt x="143203" y="62882"/>
                    <a:pt x="128622" y="69261"/>
                  </a:cubicBezTo>
                  <a:lnTo>
                    <a:pt x="129077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" name="Forme libre : forme 260">
              <a:extLst>
                <a:ext uri="{FF2B5EF4-FFF2-40B4-BE49-F238E27FC236}">
                  <a16:creationId xmlns:a16="http://schemas.microsoft.com/office/drawing/2014/main" id="{FB6AA26B-D49A-416A-8CAC-16E489B31447}"/>
                </a:ext>
              </a:extLst>
            </p:cNvPr>
            <p:cNvSpPr/>
            <p:nvPr/>
          </p:nvSpPr>
          <p:spPr>
            <a:xfrm rot="8716295">
              <a:off x="3276327" y="20801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" name="Forme libre : forme 261">
              <a:extLst>
                <a:ext uri="{FF2B5EF4-FFF2-40B4-BE49-F238E27FC236}">
                  <a16:creationId xmlns:a16="http://schemas.microsoft.com/office/drawing/2014/main" id="{28AC6B7B-6FBF-49BE-A75A-A0128A514084}"/>
                </a:ext>
              </a:extLst>
            </p:cNvPr>
            <p:cNvSpPr/>
            <p:nvPr/>
          </p:nvSpPr>
          <p:spPr>
            <a:xfrm rot="8716295">
              <a:off x="3107933" y="-20072"/>
              <a:ext cx="308531" cy="199994"/>
            </a:xfrm>
            <a:custGeom>
              <a:avLst/>
              <a:gdLst>
                <a:gd name="connsiteX0" fmla="*/ 112633 w 203847"/>
                <a:gd name="connsiteY0" fmla="*/ 132136 h 132136"/>
                <a:gd name="connsiteX1" fmla="*/ 56185 w 203847"/>
                <a:gd name="connsiteY1" fmla="*/ 93008 h 132136"/>
                <a:gd name="connsiteX2" fmla="*/ 69777 w 203847"/>
                <a:gd name="connsiteY2" fmla="*/ 55323 h 132136"/>
                <a:gd name="connsiteX3" fmla="*/ 1818 w 203847"/>
                <a:gd name="connsiteY3" fmla="*/ 55323 h 132136"/>
                <a:gd name="connsiteX4" fmla="*/ 0 w 203847"/>
                <a:gd name="connsiteY4" fmla="*/ 54062 h 132136"/>
                <a:gd name="connsiteX5" fmla="*/ 0 w 203847"/>
                <a:gd name="connsiteY5" fmla="*/ 0 h 132136"/>
                <a:gd name="connsiteX6" fmla="*/ 203847 w 203847"/>
                <a:gd name="connsiteY6" fmla="*/ 0 h 132136"/>
                <a:gd name="connsiteX7" fmla="*/ 203847 w 203847"/>
                <a:gd name="connsiteY7" fmla="*/ 55323 h 132136"/>
                <a:gd name="connsiteX8" fmla="*/ 139055 w 203847"/>
                <a:gd name="connsiteY8" fmla="*/ 55323 h 132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32136">
                  <a:moveTo>
                    <a:pt x="112633" y="132136"/>
                  </a:moveTo>
                  <a:lnTo>
                    <a:pt x="56185" y="93008"/>
                  </a:lnTo>
                  <a:lnTo>
                    <a:pt x="69777" y="55323"/>
                  </a:lnTo>
                  <a:lnTo>
                    <a:pt x="1818" y="55323"/>
                  </a:lnTo>
                  <a:lnTo>
                    <a:pt x="0" y="54062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" name="Forme libre : forme 262">
              <a:extLst>
                <a:ext uri="{FF2B5EF4-FFF2-40B4-BE49-F238E27FC236}">
                  <a16:creationId xmlns:a16="http://schemas.microsoft.com/office/drawing/2014/main" id="{CE04BDAF-0764-44CB-B173-496F062D8434}"/>
                </a:ext>
              </a:extLst>
            </p:cNvPr>
            <p:cNvSpPr/>
            <p:nvPr/>
          </p:nvSpPr>
          <p:spPr>
            <a:xfrm rot="8716295">
              <a:off x="3475628" y="-31540"/>
              <a:ext cx="98161" cy="118527"/>
            </a:xfrm>
            <a:custGeom>
              <a:avLst/>
              <a:gdLst>
                <a:gd name="connsiteX0" fmla="*/ 64855 w 64855"/>
                <a:gd name="connsiteY0" fmla="*/ 78311 h 78311"/>
                <a:gd name="connsiteX1" fmla="*/ 0 w 64855"/>
                <a:gd name="connsiteY1" fmla="*/ 33356 h 78311"/>
                <a:gd name="connsiteX2" fmla="*/ 64294 w 64855"/>
                <a:gd name="connsiteY2" fmla="*/ 0 h 78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855" h="78311">
                  <a:moveTo>
                    <a:pt x="64855" y="78311"/>
                  </a:moveTo>
                  <a:lnTo>
                    <a:pt x="0" y="33356"/>
                  </a:lnTo>
                  <a:lnTo>
                    <a:pt x="64294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" name="Forme libre : forme 263">
              <a:extLst>
                <a:ext uri="{FF2B5EF4-FFF2-40B4-BE49-F238E27FC236}">
                  <a16:creationId xmlns:a16="http://schemas.microsoft.com/office/drawing/2014/main" id="{79FA5AFC-AB70-4D92-BC44-1181877F58C8}"/>
                </a:ext>
              </a:extLst>
            </p:cNvPr>
            <p:cNvSpPr/>
            <p:nvPr/>
          </p:nvSpPr>
          <p:spPr>
            <a:xfrm rot="8716295">
              <a:off x="3412815" y="26999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" name="Forme libre : forme 264">
              <a:extLst>
                <a:ext uri="{FF2B5EF4-FFF2-40B4-BE49-F238E27FC236}">
                  <a16:creationId xmlns:a16="http://schemas.microsoft.com/office/drawing/2014/main" id="{3C1D95D8-2F29-45A0-9BA8-42D88BD37B32}"/>
                </a:ext>
              </a:extLst>
            </p:cNvPr>
            <p:cNvSpPr/>
            <p:nvPr/>
          </p:nvSpPr>
          <p:spPr>
            <a:xfrm rot="8716295">
              <a:off x="3966406" y="-35912"/>
              <a:ext cx="123741" cy="85774"/>
            </a:xfrm>
            <a:custGeom>
              <a:avLst/>
              <a:gdLst>
                <a:gd name="connsiteX0" fmla="*/ 81756 w 81756"/>
                <a:gd name="connsiteY0" fmla="*/ 56671 h 56671"/>
                <a:gd name="connsiteX1" fmla="*/ 0 w 81756"/>
                <a:gd name="connsiteY1" fmla="*/ 0 h 56671"/>
                <a:gd name="connsiteX2" fmla="*/ 24798 w 81756"/>
                <a:gd name="connsiteY2" fmla="*/ 0 h 56671"/>
                <a:gd name="connsiteX3" fmla="*/ 81756 w 81756"/>
                <a:gd name="connsiteY3" fmla="*/ 50123 h 56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1756" h="56671">
                  <a:moveTo>
                    <a:pt x="81756" y="56671"/>
                  </a:moveTo>
                  <a:lnTo>
                    <a:pt x="0" y="0"/>
                  </a:lnTo>
                  <a:lnTo>
                    <a:pt x="24798" y="0"/>
                  </a:lnTo>
                  <a:cubicBezTo>
                    <a:pt x="61707" y="0"/>
                    <a:pt x="81756" y="15949"/>
                    <a:pt x="81756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" name="Forme libre : forme 265">
              <a:extLst>
                <a:ext uri="{FF2B5EF4-FFF2-40B4-BE49-F238E27FC236}">
                  <a16:creationId xmlns:a16="http://schemas.microsoft.com/office/drawing/2014/main" id="{58EB0588-BD8B-459E-AF8B-F1A7C9A84E72}"/>
                </a:ext>
              </a:extLst>
            </p:cNvPr>
            <p:cNvSpPr/>
            <p:nvPr/>
          </p:nvSpPr>
          <p:spPr>
            <a:xfrm rot="8716295">
              <a:off x="4089146" y="-31808"/>
              <a:ext cx="332088" cy="148365"/>
            </a:xfrm>
            <a:custGeom>
              <a:avLst/>
              <a:gdLst>
                <a:gd name="connsiteX0" fmla="*/ 63575 w 219411"/>
                <a:gd name="connsiteY0" fmla="*/ 45493 h 98025"/>
                <a:gd name="connsiteX1" fmla="*/ 0 w 219411"/>
                <a:gd name="connsiteY1" fmla="*/ 1425 h 98025"/>
                <a:gd name="connsiteX2" fmla="*/ 63575 w 219411"/>
                <a:gd name="connsiteY2" fmla="*/ 1425 h 98025"/>
                <a:gd name="connsiteX3" fmla="*/ 88634 w 219411"/>
                <a:gd name="connsiteY3" fmla="*/ 62863 h 98025"/>
                <a:gd name="connsiteX4" fmla="*/ 73596 w 219411"/>
                <a:gd name="connsiteY4" fmla="*/ 52439 h 98025"/>
                <a:gd name="connsiteX5" fmla="*/ 75493 w 219411"/>
                <a:gd name="connsiteY5" fmla="*/ 47439 h 98025"/>
                <a:gd name="connsiteX6" fmla="*/ 112786 w 219411"/>
                <a:gd name="connsiteY6" fmla="*/ 5981 h 98025"/>
                <a:gd name="connsiteX7" fmla="*/ 144227 w 219411"/>
                <a:gd name="connsiteY7" fmla="*/ 57 h 98025"/>
                <a:gd name="connsiteX8" fmla="*/ 219411 w 219411"/>
                <a:gd name="connsiteY8" fmla="*/ 88456 h 98025"/>
                <a:gd name="connsiteX9" fmla="*/ 219411 w 219411"/>
                <a:gd name="connsiteY9" fmla="*/ 94380 h 98025"/>
                <a:gd name="connsiteX10" fmla="*/ 157441 w 219411"/>
                <a:gd name="connsiteY10" fmla="*/ 98025 h 98025"/>
                <a:gd name="connsiteX11" fmla="*/ 157441 w 219411"/>
                <a:gd name="connsiteY11" fmla="*/ 81621 h 98025"/>
                <a:gd name="connsiteX12" fmla="*/ 123722 w 219411"/>
                <a:gd name="connsiteY12" fmla="*/ 40156 h 98025"/>
                <a:gd name="connsiteX13" fmla="*/ 103089 w 219411"/>
                <a:gd name="connsiteY13" fmla="*/ 46969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9411" h="98025">
                  <a:moveTo>
                    <a:pt x="63575" y="45493"/>
                  </a:moveTo>
                  <a:lnTo>
                    <a:pt x="0" y="1425"/>
                  </a:lnTo>
                  <a:lnTo>
                    <a:pt x="63575" y="1425"/>
                  </a:lnTo>
                  <a:close/>
                  <a:moveTo>
                    <a:pt x="88634" y="62863"/>
                  </a:moveTo>
                  <a:lnTo>
                    <a:pt x="73596" y="52439"/>
                  </a:lnTo>
                  <a:lnTo>
                    <a:pt x="75493" y="47439"/>
                  </a:lnTo>
                  <a:cubicBezTo>
                    <a:pt x="85874" y="24008"/>
                    <a:pt x="96382" y="12816"/>
                    <a:pt x="112786" y="5981"/>
                  </a:cubicBezTo>
                  <a:cubicBezTo>
                    <a:pt x="122811" y="1880"/>
                    <a:pt x="133291" y="-398"/>
                    <a:pt x="144227" y="57"/>
                  </a:cubicBezTo>
                  <a:cubicBezTo>
                    <a:pt x="191160" y="-854"/>
                    <a:pt x="219411" y="31954"/>
                    <a:pt x="219411" y="88456"/>
                  </a:cubicBezTo>
                  <a:lnTo>
                    <a:pt x="219411" y="94380"/>
                  </a:lnTo>
                  <a:lnTo>
                    <a:pt x="157441" y="98025"/>
                  </a:lnTo>
                  <a:lnTo>
                    <a:pt x="157441" y="81621"/>
                  </a:lnTo>
                  <a:cubicBezTo>
                    <a:pt x="157441" y="57016"/>
                    <a:pt x="143316" y="40156"/>
                    <a:pt x="123722" y="40156"/>
                  </a:cubicBezTo>
                  <a:cubicBezTo>
                    <a:pt x="116431" y="40156"/>
                    <a:pt x="109454" y="42577"/>
                    <a:pt x="103089" y="4696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" name="Forme libre : forme 266">
              <a:extLst>
                <a:ext uri="{FF2B5EF4-FFF2-40B4-BE49-F238E27FC236}">
                  <a16:creationId xmlns:a16="http://schemas.microsoft.com/office/drawing/2014/main" id="{8BF71B65-6E28-4BBD-90CF-EB6990FA2B3D}"/>
                </a:ext>
              </a:extLst>
            </p:cNvPr>
            <p:cNvSpPr/>
            <p:nvPr/>
          </p:nvSpPr>
          <p:spPr>
            <a:xfrm rot="8716295">
              <a:off x="3850379" y="-108618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" name="Forme libre : forme 267">
              <a:extLst>
                <a:ext uri="{FF2B5EF4-FFF2-40B4-BE49-F238E27FC236}">
                  <a16:creationId xmlns:a16="http://schemas.microsoft.com/office/drawing/2014/main" id="{C234B460-A852-4BC6-9223-625373ACE475}"/>
                </a:ext>
              </a:extLst>
            </p:cNvPr>
            <p:cNvSpPr/>
            <p:nvPr/>
          </p:nvSpPr>
          <p:spPr>
            <a:xfrm rot="7484129">
              <a:off x="4009196" y="18100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" name="Forme libre : forme 268">
              <a:extLst>
                <a:ext uri="{FF2B5EF4-FFF2-40B4-BE49-F238E27FC236}">
                  <a16:creationId xmlns:a16="http://schemas.microsoft.com/office/drawing/2014/main" id="{ED1521F3-7A8A-439A-8C00-B7EE31751298}"/>
                </a:ext>
              </a:extLst>
            </p:cNvPr>
            <p:cNvSpPr/>
            <p:nvPr/>
          </p:nvSpPr>
          <p:spPr>
            <a:xfrm rot="13089394">
              <a:off x="4167846" y="130348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0" name="Forme libre : forme 269">
              <a:extLst>
                <a:ext uri="{FF2B5EF4-FFF2-40B4-BE49-F238E27FC236}">
                  <a16:creationId xmlns:a16="http://schemas.microsoft.com/office/drawing/2014/main" id="{33189A82-B861-4219-AF6A-9F08FA6A03EE}"/>
                </a:ext>
              </a:extLst>
            </p:cNvPr>
            <p:cNvSpPr/>
            <p:nvPr/>
          </p:nvSpPr>
          <p:spPr>
            <a:xfrm rot="8716295">
              <a:off x="4488057" y="-10608"/>
              <a:ext cx="169580" cy="136116"/>
            </a:xfrm>
            <a:custGeom>
              <a:avLst/>
              <a:gdLst>
                <a:gd name="connsiteX0" fmla="*/ 62355 w 112042"/>
                <a:gd name="connsiteY0" fmla="*/ 89932 h 89932"/>
                <a:gd name="connsiteX1" fmla="*/ 0 w 112042"/>
                <a:gd name="connsiteY1" fmla="*/ 46710 h 89932"/>
                <a:gd name="connsiteX2" fmla="*/ 14231 w 112042"/>
                <a:gd name="connsiteY2" fmla="*/ 33321 h 89932"/>
                <a:gd name="connsiteX3" fmla="*/ 78722 w 112042"/>
                <a:gd name="connsiteY3" fmla="*/ 0 h 89932"/>
                <a:gd name="connsiteX4" fmla="*/ 112042 w 112042"/>
                <a:gd name="connsiteY4" fmla="*/ 39770 h 89932"/>
                <a:gd name="connsiteX5" fmla="*/ 80872 w 112042"/>
                <a:gd name="connsiteY5" fmla="*/ 81689 h 89932"/>
                <a:gd name="connsiteX6" fmla="*/ 81408 w 112042"/>
                <a:gd name="connsiteY6" fmla="*/ 81689 h 89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2042" h="89932">
                  <a:moveTo>
                    <a:pt x="62355" y="89932"/>
                  </a:moveTo>
                  <a:lnTo>
                    <a:pt x="0" y="46710"/>
                  </a:lnTo>
                  <a:lnTo>
                    <a:pt x="14231" y="33321"/>
                  </a:lnTo>
                  <a:cubicBezTo>
                    <a:pt x="30353" y="14511"/>
                    <a:pt x="53462" y="2687"/>
                    <a:pt x="78722" y="0"/>
                  </a:cubicBezTo>
                  <a:cubicBezTo>
                    <a:pt x="104518" y="0"/>
                    <a:pt x="112042" y="22572"/>
                    <a:pt x="112042" y="39770"/>
                  </a:cubicBezTo>
                  <a:cubicBezTo>
                    <a:pt x="110429" y="58580"/>
                    <a:pt x="98068" y="74165"/>
                    <a:pt x="80872" y="81689"/>
                  </a:cubicBezTo>
                  <a:lnTo>
                    <a:pt x="81408" y="816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1" name="Forme libre : forme 270">
              <a:extLst>
                <a:ext uri="{FF2B5EF4-FFF2-40B4-BE49-F238E27FC236}">
                  <a16:creationId xmlns:a16="http://schemas.microsoft.com/office/drawing/2014/main" id="{1EF7387F-9F93-4D5B-AD0B-A9B5B150D750}"/>
                </a:ext>
              </a:extLst>
            </p:cNvPr>
            <p:cNvSpPr/>
            <p:nvPr/>
          </p:nvSpPr>
          <p:spPr>
            <a:xfrm rot="8716295">
              <a:off x="3111565" y="373623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2" name="Forme libre : forme 271">
              <a:extLst>
                <a:ext uri="{FF2B5EF4-FFF2-40B4-BE49-F238E27FC236}">
                  <a16:creationId xmlns:a16="http://schemas.microsoft.com/office/drawing/2014/main" id="{B4768996-8D29-4ED8-9892-576EE6810B22}"/>
                </a:ext>
              </a:extLst>
            </p:cNvPr>
            <p:cNvSpPr/>
            <p:nvPr/>
          </p:nvSpPr>
          <p:spPr>
            <a:xfrm rot="8716295">
              <a:off x="3246864" y="378049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3" name="Forme libre : forme 272">
              <a:extLst>
                <a:ext uri="{FF2B5EF4-FFF2-40B4-BE49-F238E27FC236}">
                  <a16:creationId xmlns:a16="http://schemas.microsoft.com/office/drawing/2014/main" id="{303FB1DD-DCD5-4C62-8A14-00277F3DAA40}"/>
                </a:ext>
              </a:extLst>
            </p:cNvPr>
            <p:cNvSpPr/>
            <p:nvPr/>
          </p:nvSpPr>
          <p:spPr>
            <a:xfrm rot="8716295">
              <a:off x="3178981" y="3649901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4" name="Forme libre : forme 273">
              <a:extLst>
                <a:ext uri="{FF2B5EF4-FFF2-40B4-BE49-F238E27FC236}">
                  <a16:creationId xmlns:a16="http://schemas.microsoft.com/office/drawing/2014/main" id="{FE02E440-C3F4-4D87-B8DD-6EFE0A4EF84D}"/>
                </a:ext>
              </a:extLst>
            </p:cNvPr>
            <p:cNvSpPr/>
            <p:nvPr/>
          </p:nvSpPr>
          <p:spPr>
            <a:xfrm rot="8716295">
              <a:off x="2941694" y="387024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5" name="Forme libre : forme 274">
              <a:extLst>
                <a:ext uri="{FF2B5EF4-FFF2-40B4-BE49-F238E27FC236}">
                  <a16:creationId xmlns:a16="http://schemas.microsoft.com/office/drawing/2014/main" id="{79A8277D-0F31-4A40-BC3D-FDA2697AD79E}"/>
                </a:ext>
              </a:extLst>
            </p:cNvPr>
            <p:cNvSpPr/>
            <p:nvPr/>
          </p:nvSpPr>
          <p:spPr>
            <a:xfrm rot="8716295">
              <a:off x="2752648" y="355441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6" name="Forme libre : forme 275">
              <a:extLst>
                <a:ext uri="{FF2B5EF4-FFF2-40B4-BE49-F238E27FC236}">
                  <a16:creationId xmlns:a16="http://schemas.microsoft.com/office/drawing/2014/main" id="{FDF6C6F6-1950-4480-853C-710CE9CA14A1}"/>
                </a:ext>
              </a:extLst>
            </p:cNvPr>
            <p:cNvSpPr/>
            <p:nvPr/>
          </p:nvSpPr>
          <p:spPr>
            <a:xfrm rot="8716295">
              <a:off x="2734407" y="334436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7" name="Forme libre : forme 276">
              <a:extLst>
                <a:ext uri="{FF2B5EF4-FFF2-40B4-BE49-F238E27FC236}">
                  <a16:creationId xmlns:a16="http://schemas.microsoft.com/office/drawing/2014/main" id="{F7DE91C7-8472-4B32-8DA3-B40AD12704F7}"/>
                </a:ext>
              </a:extLst>
            </p:cNvPr>
            <p:cNvSpPr/>
            <p:nvPr/>
          </p:nvSpPr>
          <p:spPr>
            <a:xfrm rot="8716295">
              <a:off x="3078183" y="393222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8" name="Forme libre : forme 277">
              <a:extLst>
                <a:ext uri="{FF2B5EF4-FFF2-40B4-BE49-F238E27FC236}">
                  <a16:creationId xmlns:a16="http://schemas.microsoft.com/office/drawing/2014/main" id="{56FC047B-D272-4172-A288-45148C4BFE0D}"/>
                </a:ext>
              </a:extLst>
            </p:cNvPr>
            <p:cNvSpPr/>
            <p:nvPr/>
          </p:nvSpPr>
          <p:spPr>
            <a:xfrm rot="8716295">
              <a:off x="3549129" y="335761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9" name="Forme libre : forme 278">
              <a:extLst>
                <a:ext uri="{FF2B5EF4-FFF2-40B4-BE49-F238E27FC236}">
                  <a16:creationId xmlns:a16="http://schemas.microsoft.com/office/drawing/2014/main" id="{B13EC7A5-2676-4C63-B64E-8B2F38021996}"/>
                </a:ext>
              </a:extLst>
            </p:cNvPr>
            <p:cNvSpPr/>
            <p:nvPr/>
          </p:nvSpPr>
          <p:spPr>
            <a:xfrm rot="8716295">
              <a:off x="3684428" y="340187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0" name="Forme libre : forme 279">
              <a:extLst>
                <a:ext uri="{FF2B5EF4-FFF2-40B4-BE49-F238E27FC236}">
                  <a16:creationId xmlns:a16="http://schemas.microsoft.com/office/drawing/2014/main" id="{6ECF7C58-1973-4F69-8DD3-556AA77C8D04}"/>
                </a:ext>
              </a:extLst>
            </p:cNvPr>
            <p:cNvSpPr/>
            <p:nvPr/>
          </p:nvSpPr>
          <p:spPr>
            <a:xfrm rot="8716295">
              <a:off x="3379258" y="349163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1" name="Forme libre : forme 280">
              <a:extLst>
                <a:ext uri="{FF2B5EF4-FFF2-40B4-BE49-F238E27FC236}">
                  <a16:creationId xmlns:a16="http://schemas.microsoft.com/office/drawing/2014/main" id="{2B29EFE5-ACFF-4048-807E-18A0A68A503E}"/>
                </a:ext>
              </a:extLst>
            </p:cNvPr>
            <p:cNvSpPr/>
            <p:nvPr/>
          </p:nvSpPr>
          <p:spPr>
            <a:xfrm rot="8716295">
              <a:off x="3190213" y="317579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2" name="Forme libre : forme 281">
              <a:extLst>
                <a:ext uri="{FF2B5EF4-FFF2-40B4-BE49-F238E27FC236}">
                  <a16:creationId xmlns:a16="http://schemas.microsoft.com/office/drawing/2014/main" id="{09E572E1-09FC-45A6-A1BF-D06157BE552F}"/>
                </a:ext>
              </a:extLst>
            </p:cNvPr>
            <p:cNvSpPr/>
            <p:nvPr/>
          </p:nvSpPr>
          <p:spPr>
            <a:xfrm rot="8716295">
              <a:off x="3515746" y="3553613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3" name="Forme libre : forme 282">
              <a:extLst>
                <a:ext uri="{FF2B5EF4-FFF2-40B4-BE49-F238E27FC236}">
                  <a16:creationId xmlns:a16="http://schemas.microsoft.com/office/drawing/2014/main" id="{85DB8E68-2D02-4177-B998-21F4EDDAA547}"/>
                </a:ext>
              </a:extLst>
            </p:cNvPr>
            <p:cNvSpPr/>
            <p:nvPr/>
          </p:nvSpPr>
          <p:spPr>
            <a:xfrm rot="8716295">
              <a:off x="3150300" y="332718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4" name="Forme libre : forme 283">
              <a:extLst>
                <a:ext uri="{FF2B5EF4-FFF2-40B4-BE49-F238E27FC236}">
                  <a16:creationId xmlns:a16="http://schemas.microsoft.com/office/drawing/2014/main" id="{833C9746-3293-4FB8-8420-FBDB2ADD8FDE}"/>
                </a:ext>
              </a:extLst>
            </p:cNvPr>
            <p:cNvSpPr/>
            <p:nvPr/>
          </p:nvSpPr>
          <p:spPr>
            <a:xfrm rot="7484129">
              <a:off x="3674564" y="38432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5" name="Forme libre : forme 284">
              <a:extLst>
                <a:ext uri="{FF2B5EF4-FFF2-40B4-BE49-F238E27FC236}">
                  <a16:creationId xmlns:a16="http://schemas.microsoft.com/office/drawing/2014/main" id="{F36C90B8-C19D-40C0-9F6E-8BC40DAF6680}"/>
                </a:ext>
              </a:extLst>
            </p:cNvPr>
            <p:cNvSpPr/>
            <p:nvPr/>
          </p:nvSpPr>
          <p:spPr>
            <a:xfrm rot="13089394">
              <a:off x="3833214" y="3792578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6" name="Forme libre : forme 285">
              <a:extLst>
                <a:ext uri="{FF2B5EF4-FFF2-40B4-BE49-F238E27FC236}">
                  <a16:creationId xmlns:a16="http://schemas.microsoft.com/office/drawing/2014/main" id="{25D579E4-7F89-49C7-A73E-844BD68A125D}"/>
                </a:ext>
              </a:extLst>
            </p:cNvPr>
            <p:cNvSpPr/>
            <p:nvPr/>
          </p:nvSpPr>
          <p:spPr>
            <a:xfrm rot="8716295">
              <a:off x="4114105" y="3502461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7" name="Forme libre : forme 286">
              <a:extLst>
                <a:ext uri="{FF2B5EF4-FFF2-40B4-BE49-F238E27FC236}">
                  <a16:creationId xmlns:a16="http://schemas.microsoft.com/office/drawing/2014/main" id="{3F032AF9-E492-4124-9A15-3F5109B4E944}"/>
                </a:ext>
              </a:extLst>
            </p:cNvPr>
            <p:cNvSpPr/>
            <p:nvPr/>
          </p:nvSpPr>
          <p:spPr>
            <a:xfrm rot="8716295">
              <a:off x="4035696" y="334566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8" name="Forme libre : forme 287">
              <a:extLst>
                <a:ext uri="{FF2B5EF4-FFF2-40B4-BE49-F238E27FC236}">
                  <a16:creationId xmlns:a16="http://schemas.microsoft.com/office/drawing/2014/main" id="{AB866341-425E-43E2-A992-45F1B8F969FA}"/>
                </a:ext>
              </a:extLst>
            </p:cNvPr>
            <p:cNvSpPr/>
            <p:nvPr/>
          </p:nvSpPr>
          <p:spPr>
            <a:xfrm rot="8716295">
              <a:off x="3667532" y="339140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9" name="Forme libre : forme 288">
              <a:extLst>
                <a:ext uri="{FF2B5EF4-FFF2-40B4-BE49-F238E27FC236}">
                  <a16:creationId xmlns:a16="http://schemas.microsoft.com/office/drawing/2014/main" id="{6CDA98C5-481F-4686-9DE1-F1AA20FC6223}"/>
                </a:ext>
              </a:extLst>
            </p:cNvPr>
            <p:cNvSpPr/>
            <p:nvPr/>
          </p:nvSpPr>
          <p:spPr>
            <a:xfrm rot="8716295">
              <a:off x="3936113" y="315039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0" name="Forme libre : forme 289">
              <a:extLst>
                <a:ext uri="{FF2B5EF4-FFF2-40B4-BE49-F238E27FC236}">
                  <a16:creationId xmlns:a16="http://schemas.microsoft.com/office/drawing/2014/main" id="{13373414-24F1-4D1B-ADBB-1E220625DF7D}"/>
                </a:ext>
              </a:extLst>
            </p:cNvPr>
            <p:cNvSpPr/>
            <p:nvPr/>
          </p:nvSpPr>
          <p:spPr>
            <a:xfrm rot="8716295">
              <a:off x="3449338" y="4734714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1" name="Forme libre : forme 290">
              <a:extLst>
                <a:ext uri="{FF2B5EF4-FFF2-40B4-BE49-F238E27FC236}">
                  <a16:creationId xmlns:a16="http://schemas.microsoft.com/office/drawing/2014/main" id="{B70E33AD-70BB-4576-ADCA-5363A243B741}"/>
                </a:ext>
              </a:extLst>
            </p:cNvPr>
            <p:cNvSpPr/>
            <p:nvPr/>
          </p:nvSpPr>
          <p:spPr>
            <a:xfrm rot="8716295">
              <a:off x="3580975" y="4773824"/>
              <a:ext cx="394489" cy="383455"/>
            </a:xfrm>
            <a:custGeom>
              <a:avLst/>
              <a:gdLst>
                <a:gd name="connsiteX0" fmla="*/ 77932 w 394489"/>
                <a:gd name="connsiteY0" fmla="*/ 383455 h 383455"/>
                <a:gd name="connsiteX1" fmla="*/ 77932 w 394489"/>
                <a:gd name="connsiteY1" fmla="*/ 66898 h 383455"/>
                <a:gd name="connsiteX2" fmla="*/ 0 w 394489"/>
                <a:gd name="connsiteY2" fmla="*/ 66898 h 383455"/>
                <a:gd name="connsiteX3" fmla="*/ 0 w 394489"/>
                <a:gd name="connsiteY3" fmla="*/ 0 h 383455"/>
                <a:gd name="connsiteX4" fmla="*/ 158623 w 394489"/>
                <a:gd name="connsiteY4" fmla="*/ 0 h 383455"/>
                <a:gd name="connsiteX5" fmla="*/ 158623 w 394489"/>
                <a:gd name="connsiteY5" fmla="*/ 111726 h 383455"/>
                <a:gd name="connsiteX6" fmla="*/ 160692 w 394489"/>
                <a:gd name="connsiteY6" fmla="*/ 111726 h 383455"/>
                <a:gd name="connsiteX7" fmla="*/ 233107 w 394489"/>
                <a:gd name="connsiteY7" fmla="*/ 6897 h 383455"/>
                <a:gd name="connsiteX8" fmla="*/ 240854 w 394489"/>
                <a:gd name="connsiteY8" fmla="*/ 5438 h 383455"/>
                <a:gd name="connsiteX9" fmla="*/ 391511 w 394489"/>
                <a:gd name="connsiteY9" fmla="*/ 109868 h 383455"/>
                <a:gd name="connsiteX10" fmla="*/ 394489 w 394489"/>
                <a:gd name="connsiteY10" fmla="*/ 131726 h 383455"/>
                <a:gd name="connsiteX11" fmla="*/ 394489 w 394489"/>
                <a:gd name="connsiteY11" fmla="*/ 140692 h 383455"/>
                <a:gd name="connsiteX12" fmla="*/ 300695 w 394489"/>
                <a:gd name="connsiteY12" fmla="*/ 146210 h 383455"/>
                <a:gd name="connsiteX13" fmla="*/ 300695 w 394489"/>
                <a:gd name="connsiteY13" fmla="*/ 121382 h 383455"/>
                <a:gd name="connsiteX14" fmla="*/ 249659 w 394489"/>
                <a:gd name="connsiteY14" fmla="*/ 58622 h 383455"/>
                <a:gd name="connsiteX15" fmla="*/ 168969 w 394489"/>
                <a:gd name="connsiteY15" fmla="*/ 191038 h 383455"/>
                <a:gd name="connsiteX16" fmla="*/ 168969 w 394489"/>
                <a:gd name="connsiteY16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4489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82762" y="46208"/>
                    <a:pt x="200003" y="20690"/>
                    <a:pt x="233107" y="6897"/>
                  </a:cubicBezTo>
                  <a:lnTo>
                    <a:pt x="240854" y="5438"/>
                  </a:lnTo>
                  <a:lnTo>
                    <a:pt x="391511" y="109868"/>
                  </a:lnTo>
                  <a:lnTo>
                    <a:pt x="394489" y="131726"/>
                  </a:lnTo>
                  <a:lnTo>
                    <a:pt x="394489" y="140692"/>
                  </a:lnTo>
                  <a:lnTo>
                    <a:pt x="300695" y="146210"/>
                  </a:lnTo>
                  <a:lnTo>
                    <a:pt x="300695" y="121382"/>
                  </a:lnTo>
                  <a:cubicBezTo>
                    <a:pt x="300695" y="84140"/>
                    <a:pt x="279315" y="58621"/>
                    <a:pt x="249659" y="58622"/>
                  </a:cubicBezTo>
                  <a:cubicBezTo>
                    <a:pt x="205521" y="58622"/>
                    <a:pt x="168969" y="117244"/>
                    <a:pt x="168969" y="191038"/>
                  </a:cubicBez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2" name="Forme libre : forme 291">
              <a:extLst>
                <a:ext uri="{FF2B5EF4-FFF2-40B4-BE49-F238E27FC236}">
                  <a16:creationId xmlns:a16="http://schemas.microsoft.com/office/drawing/2014/main" id="{00B826E8-9537-4128-8AFA-9DB695ED94E7}"/>
                </a:ext>
              </a:extLst>
            </p:cNvPr>
            <p:cNvSpPr/>
            <p:nvPr/>
          </p:nvSpPr>
          <p:spPr>
            <a:xfrm rot="8716295">
              <a:off x="3516754" y="4648384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3" name="Forme libre : forme 292">
              <a:extLst>
                <a:ext uri="{FF2B5EF4-FFF2-40B4-BE49-F238E27FC236}">
                  <a16:creationId xmlns:a16="http://schemas.microsoft.com/office/drawing/2014/main" id="{FFE48F5E-5149-4118-92C8-4116821F574B}"/>
                </a:ext>
              </a:extLst>
            </p:cNvPr>
            <p:cNvSpPr/>
            <p:nvPr/>
          </p:nvSpPr>
          <p:spPr>
            <a:xfrm rot="8716295">
              <a:off x="3279467" y="486872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4" name="Forme libre : forme 293">
              <a:extLst>
                <a:ext uri="{FF2B5EF4-FFF2-40B4-BE49-F238E27FC236}">
                  <a16:creationId xmlns:a16="http://schemas.microsoft.com/office/drawing/2014/main" id="{890C4AC4-E0F9-4914-B99E-81FA866D2C0A}"/>
                </a:ext>
              </a:extLst>
            </p:cNvPr>
            <p:cNvSpPr/>
            <p:nvPr/>
          </p:nvSpPr>
          <p:spPr>
            <a:xfrm rot="8716295">
              <a:off x="3090421" y="455289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5" name="Forme libre : forme 294">
              <a:extLst>
                <a:ext uri="{FF2B5EF4-FFF2-40B4-BE49-F238E27FC236}">
                  <a16:creationId xmlns:a16="http://schemas.microsoft.com/office/drawing/2014/main" id="{9E7C0995-D53C-4E22-B438-2332B5C132C7}"/>
                </a:ext>
              </a:extLst>
            </p:cNvPr>
            <p:cNvSpPr/>
            <p:nvPr/>
          </p:nvSpPr>
          <p:spPr>
            <a:xfrm rot="8716295">
              <a:off x="3072180" y="434284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6" name="Forme libre : forme 295">
              <a:extLst>
                <a:ext uri="{FF2B5EF4-FFF2-40B4-BE49-F238E27FC236}">
                  <a16:creationId xmlns:a16="http://schemas.microsoft.com/office/drawing/2014/main" id="{B2DA7643-AE8F-4F78-929C-4968C3EC4902}"/>
                </a:ext>
              </a:extLst>
            </p:cNvPr>
            <p:cNvSpPr/>
            <p:nvPr/>
          </p:nvSpPr>
          <p:spPr>
            <a:xfrm rot="8716295">
              <a:off x="3388475" y="4959102"/>
              <a:ext cx="91035" cy="230894"/>
            </a:xfrm>
            <a:custGeom>
              <a:avLst/>
              <a:gdLst>
                <a:gd name="connsiteX0" fmla="*/ 91035 w 91035"/>
                <a:gd name="connsiteY0" fmla="*/ 230894 h 230894"/>
                <a:gd name="connsiteX1" fmla="*/ 0 w 91035"/>
                <a:gd name="connsiteY1" fmla="*/ 143306 h 230894"/>
                <a:gd name="connsiteX2" fmla="*/ 0 w 91035"/>
                <a:gd name="connsiteY2" fmla="*/ 0 h 230894"/>
                <a:gd name="connsiteX3" fmla="*/ 91035 w 91035"/>
                <a:gd name="connsiteY3" fmla="*/ 63103 h 230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230894">
                  <a:moveTo>
                    <a:pt x="91035" y="230894"/>
                  </a:moveTo>
                  <a:lnTo>
                    <a:pt x="0" y="143306"/>
                  </a:lnTo>
                  <a:lnTo>
                    <a:pt x="0" y="0"/>
                  </a:lnTo>
                  <a:lnTo>
                    <a:pt x="91035" y="631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7" name="Forme libre : forme 296">
              <a:extLst>
                <a:ext uri="{FF2B5EF4-FFF2-40B4-BE49-F238E27FC236}">
                  <a16:creationId xmlns:a16="http://schemas.microsoft.com/office/drawing/2014/main" id="{93603EC3-AC55-411D-BFDF-9FDB7506B4C7}"/>
                </a:ext>
              </a:extLst>
            </p:cNvPr>
            <p:cNvSpPr/>
            <p:nvPr/>
          </p:nvSpPr>
          <p:spPr>
            <a:xfrm rot="8716295">
              <a:off x="3886902" y="435609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8" name="Forme libre : forme 297">
              <a:extLst>
                <a:ext uri="{FF2B5EF4-FFF2-40B4-BE49-F238E27FC236}">
                  <a16:creationId xmlns:a16="http://schemas.microsoft.com/office/drawing/2014/main" id="{08CBBA4D-FF43-40D2-8BFA-84CB4DCCF31B}"/>
                </a:ext>
              </a:extLst>
            </p:cNvPr>
            <p:cNvSpPr/>
            <p:nvPr/>
          </p:nvSpPr>
          <p:spPr>
            <a:xfrm rot="8716295">
              <a:off x="4022201" y="440035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9" name="Forme libre : forme 298">
              <a:extLst>
                <a:ext uri="{FF2B5EF4-FFF2-40B4-BE49-F238E27FC236}">
                  <a16:creationId xmlns:a16="http://schemas.microsoft.com/office/drawing/2014/main" id="{835E253D-33C4-431B-B8C8-357E6AAC9C52}"/>
                </a:ext>
              </a:extLst>
            </p:cNvPr>
            <p:cNvSpPr/>
            <p:nvPr/>
          </p:nvSpPr>
          <p:spPr>
            <a:xfrm rot="8716295">
              <a:off x="3717031" y="44901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0" name="Forme libre : forme 299">
              <a:extLst>
                <a:ext uri="{FF2B5EF4-FFF2-40B4-BE49-F238E27FC236}">
                  <a16:creationId xmlns:a16="http://schemas.microsoft.com/office/drawing/2014/main" id="{22AF57EC-DC68-40A4-9C71-BCBD0C50FBE3}"/>
                </a:ext>
              </a:extLst>
            </p:cNvPr>
            <p:cNvSpPr/>
            <p:nvPr/>
          </p:nvSpPr>
          <p:spPr>
            <a:xfrm rot="8716295">
              <a:off x="3527986" y="417427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1" name="Forme libre : forme 300">
              <a:extLst>
                <a:ext uri="{FF2B5EF4-FFF2-40B4-BE49-F238E27FC236}">
                  <a16:creationId xmlns:a16="http://schemas.microsoft.com/office/drawing/2014/main" id="{7AC81511-7180-4392-A0BB-C0785E6FFDB2}"/>
                </a:ext>
              </a:extLst>
            </p:cNvPr>
            <p:cNvSpPr/>
            <p:nvPr/>
          </p:nvSpPr>
          <p:spPr>
            <a:xfrm rot="8716295">
              <a:off x="3853519" y="4552096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2" name="Forme libre : forme 301">
              <a:extLst>
                <a:ext uri="{FF2B5EF4-FFF2-40B4-BE49-F238E27FC236}">
                  <a16:creationId xmlns:a16="http://schemas.microsoft.com/office/drawing/2014/main" id="{1EACC1C7-884B-4139-9EC6-9BA9AA34D223}"/>
                </a:ext>
              </a:extLst>
            </p:cNvPr>
            <p:cNvSpPr/>
            <p:nvPr/>
          </p:nvSpPr>
          <p:spPr>
            <a:xfrm rot="8716295">
              <a:off x="3488073" y="432567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3" name="Forme libre : forme 302">
              <a:extLst>
                <a:ext uri="{FF2B5EF4-FFF2-40B4-BE49-F238E27FC236}">
                  <a16:creationId xmlns:a16="http://schemas.microsoft.com/office/drawing/2014/main" id="{8A54AD41-7272-4697-A5DB-CEFCE19789FC}"/>
                </a:ext>
              </a:extLst>
            </p:cNvPr>
            <p:cNvSpPr/>
            <p:nvPr/>
          </p:nvSpPr>
          <p:spPr>
            <a:xfrm rot="7484129">
              <a:off x="4016569" y="4837237"/>
              <a:ext cx="295167" cy="296463"/>
            </a:xfrm>
            <a:custGeom>
              <a:avLst/>
              <a:gdLst>
                <a:gd name="connsiteX0" fmla="*/ 137293 w 295167"/>
                <a:gd name="connsiteY0" fmla="*/ 296463 h 296463"/>
                <a:gd name="connsiteX1" fmla="*/ 72418 w 295167"/>
                <a:gd name="connsiteY1" fmla="*/ 175766 h 296463"/>
                <a:gd name="connsiteX2" fmla="*/ 105610 w 295167"/>
                <a:gd name="connsiteY2" fmla="*/ 83734 h 296463"/>
                <a:gd name="connsiteX3" fmla="*/ 0 w 295167"/>
                <a:gd name="connsiteY3" fmla="*/ 83734 h 296463"/>
                <a:gd name="connsiteX4" fmla="*/ 0 w 295167"/>
                <a:gd name="connsiteY4" fmla="*/ 0 h 296463"/>
                <a:gd name="connsiteX5" fmla="*/ 237110 w 295167"/>
                <a:gd name="connsiteY5" fmla="*/ 0 h 296463"/>
                <a:gd name="connsiteX6" fmla="*/ 295167 w 295167"/>
                <a:gd name="connsiteY6" fmla="*/ 83734 h 296463"/>
                <a:gd name="connsiteX7" fmla="*/ 210466 w 295167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5167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37110" y="0"/>
                  </a:lnTo>
                  <a:lnTo>
                    <a:pt x="295167" y="83734"/>
                  </a:lnTo>
                  <a:lnTo>
                    <a:pt x="210466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4" name="Forme libre : forme 303">
              <a:extLst>
                <a:ext uri="{FF2B5EF4-FFF2-40B4-BE49-F238E27FC236}">
                  <a16:creationId xmlns:a16="http://schemas.microsoft.com/office/drawing/2014/main" id="{B0BB4A2B-6236-4AB8-8AEF-499FEFD9934C}"/>
                </a:ext>
              </a:extLst>
            </p:cNvPr>
            <p:cNvSpPr/>
            <p:nvPr/>
          </p:nvSpPr>
          <p:spPr>
            <a:xfrm rot="13089394">
              <a:off x="4226447" y="4804985"/>
              <a:ext cx="412568" cy="314062"/>
            </a:xfrm>
            <a:custGeom>
              <a:avLst/>
              <a:gdLst>
                <a:gd name="connsiteX0" fmla="*/ 412568 w 412568"/>
                <a:gd name="connsiteY0" fmla="*/ 206915 h 314062"/>
                <a:gd name="connsiteX1" fmla="*/ 138636 w 412568"/>
                <a:gd name="connsiteY1" fmla="*/ 313815 h 314062"/>
                <a:gd name="connsiteX2" fmla="*/ 35911 w 412568"/>
                <a:gd name="connsiteY2" fmla="*/ 272057 h 314062"/>
                <a:gd name="connsiteX3" fmla="*/ 0 w 412568"/>
                <a:gd name="connsiteY3" fmla="*/ 128410 h 314062"/>
                <a:gd name="connsiteX4" fmla="*/ 0 w 412568"/>
                <a:gd name="connsiteY4" fmla="*/ 88308 h 314062"/>
                <a:gd name="connsiteX5" fmla="*/ 112395 w 412568"/>
                <a:gd name="connsiteY5" fmla="*/ 0 h 314062"/>
                <a:gd name="connsiteX6" fmla="*/ 112747 w 412568"/>
                <a:gd name="connsiteY6" fmla="*/ 49070 h 314062"/>
                <a:gd name="connsiteX7" fmla="*/ 132789 w 412568"/>
                <a:gd name="connsiteY7" fmla="*/ 187707 h 314062"/>
                <a:gd name="connsiteX8" fmla="*/ 233008 w 412568"/>
                <a:gd name="connsiteY8" fmla="*/ 242827 h 314062"/>
                <a:gd name="connsiteX9" fmla="*/ 308172 w 412568"/>
                <a:gd name="connsiteY9" fmla="*/ 229465 h 314062"/>
                <a:gd name="connsiteX10" fmla="*/ 410898 w 412568"/>
                <a:gd name="connsiteY10" fmla="*/ 187707 h 314062"/>
                <a:gd name="connsiteX11" fmla="*/ 412568 w 412568"/>
                <a:gd name="connsiteY11" fmla="*/ 198563 h 314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2568" h="314062">
                  <a:moveTo>
                    <a:pt x="412568" y="206915"/>
                  </a:moveTo>
                  <a:cubicBezTo>
                    <a:pt x="324041" y="282914"/>
                    <a:pt x="207954" y="309640"/>
                    <a:pt x="138636" y="313815"/>
                  </a:cubicBezTo>
                  <a:cubicBezTo>
                    <a:pt x="100219" y="316321"/>
                    <a:pt x="62637" y="299618"/>
                    <a:pt x="35911" y="272057"/>
                  </a:cubicBezTo>
                  <a:cubicBezTo>
                    <a:pt x="7516" y="244497"/>
                    <a:pt x="0" y="196893"/>
                    <a:pt x="0" y="128410"/>
                  </a:cubicBezTo>
                  <a:lnTo>
                    <a:pt x="0" y="88308"/>
                  </a:lnTo>
                  <a:lnTo>
                    <a:pt x="112395" y="0"/>
                  </a:lnTo>
                  <a:lnTo>
                    <a:pt x="112747" y="49070"/>
                  </a:lnTo>
                  <a:cubicBezTo>
                    <a:pt x="110241" y="95839"/>
                    <a:pt x="117756" y="143443"/>
                    <a:pt x="132789" y="187707"/>
                  </a:cubicBezTo>
                  <a:cubicBezTo>
                    <a:pt x="146153" y="224453"/>
                    <a:pt x="180394" y="242827"/>
                    <a:pt x="233008" y="242827"/>
                  </a:cubicBezTo>
                  <a:cubicBezTo>
                    <a:pt x="258899" y="241992"/>
                    <a:pt x="283953" y="236980"/>
                    <a:pt x="308172" y="229465"/>
                  </a:cubicBezTo>
                  <a:cubicBezTo>
                    <a:pt x="343249" y="218607"/>
                    <a:pt x="377491" y="204410"/>
                    <a:pt x="410898" y="187707"/>
                  </a:cubicBezTo>
                  <a:cubicBezTo>
                    <a:pt x="411732" y="191047"/>
                    <a:pt x="412568" y="195223"/>
                    <a:pt x="412568" y="1985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5" name="Forme libre : forme 304">
              <a:extLst>
                <a:ext uri="{FF2B5EF4-FFF2-40B4-BE49-F238E27FC236}">
                  <a16:creationId xmlns:a16="http://schemas.microsoft.com/office/drawing/2014/main" id="{41417B88-C9BD-4BA9-91EE-73AA587DB73F}"/>
                </a:ext>
              </a:extLst>
            </p:cNvPr>
            <p:cNvSpPr/>
            <p:nvPr/>
          </p:nvSpPr>
          <p:spPr>
            <a:xfrm rot="8716295">
              <a:off x="4451878" y="4500944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6" name="Forme libre : forme 305">
              <a:extLst>
                <a:ext uri="{FF2B5EF4-FFF2-40B4-BE49-F238E27FC236}">
                  <a16:creationId xmlns:a16="http://schemas.microsoft.com/office/drawing/2014/main" id="{BE88A8B4-3593-449C-B0AC-26CECAA3950B}"/>
                </a:ext>
              </a:extLst>
            </p:cNvPr>
            <p:cNvSpPr/>
            <p:nvPr/>
          </p:nvSpPr>
          <p:spPr>
            <a:xfrm rot="8716295">
              <a:off x="4373469" y="434415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7" name="Forme libre : forme 306">
              <a:extLst>
                <a:ext uri="{FF2B5EF4-FFF2-40B4-BE49-F238E27FC236}">
                  <a16:creationId xmlns:a16="http://schemas.microsoft.com/office/drawing/2014/main" id="{3E1F62FF-668F-4B24-81E3-7F413DC37761}"/>
                </a:ext>
              </a:extLst>
            </p:cNvPr>
            <p:cNvSpPr/>
            <p:nvPr/>
          </p:nvSpPr>
          <p:spPr>
            <a:xfrm rot="8716295">
              <a:off x="4005305" y="438989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8" name="Forme libre : forme 307">
              <a:extLst>
                <a:ext uri="{FF2B5EF4-FFF2-40B4-BE49-F238E27FC236}">
                  <a16:creationId xmlns:a16="http://schemas.microsoft.com/office/drawing/2014/main" id="{271936E6-CFC4-4CBF-80D3-0DD03A6DA43A}"/>
                </a:ext>
              </a:extLst>
            </p:cNvPr>
            <p:cNvSpPr/>
            <p:nvPr/>
          </p:nvSpPr>
          <p:spPr>
            <a:xfrm rot="8716295">
              <a:off x="4273886" y="414887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9" name="Forme libre : forme 308">
              <a:extLst>
                <a:ext uri="{FF2B5EF4-FFF2-40B4-BE49-F238E27FC236}">
                  <a16:creationId xmlns:a16="http://schemas.microsoft.com/office/drawing/2014/main" id="{BA906EC6-3DC5-4DE2-8F95-209D99503493}"/>
                </a:ext>
              </a:extLst>
            </p:cNvPr>
            <p:cNvSpPr/>
            <p:nvPr/>
          </p:nvSpPr>
          <p:spPr>
            <a:xfrm rot="8716295">
              <a:off x="2776288" y="273581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0" name="Forme libre : forme 309">
              <a:extLst>
                <a:ext uri="{FF2B5EF4-FFF2-40B4-BE49-F238E27FC236}">
                  <a16:creationId xmlns:a16="http://schemas.microsoft.com/office/drawing/2014/main" id="{86353AD3-86B9-454E-8316-ED48EDD5C43A}"/>
                </a:ext>
              </a:extLst>
            </p:cNvPr>
            <p:cNvSpPr/>
            <p:nvPr/>
          </p:nvSpPr>
          <p:spPr>
            <a:xfrm rot="8716295">
              <a:off x="2911587" y="278007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1" name="Forme libre : forme 310">
              <a:extLst>
                <a:ext uri="{FF2B5EF4-FFF2-40B4-BE49-F238E27FC236}">
                  <a16:creationId xmlns:a16="http://schemas.microsoft.com/office/drawing/2014/main" id="{0B2A58FB-010E-417B-8E1C-9997876763AE}"/>
                </a:ext>
              </a:extLst>
            </p:cNvPr>
            <p:cNvSpPr/>
            <p:nvPr/>
          </p:nvSpPr>
          <p:spPr>
            <a:xfrm rot="8716295">
              <a:off x="2843704" y="2649488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2" name="Forme libre : forme 311">
              <a:extLst>
                <a:ext uri="{FF2B5EF4-FFF2-40B4-BE49-F238E27FC236}">
                  <a16:creationId xmlns:a16="http://schemas.microsoft.com/office/drawing/2014/main" id="{487219BD-DC26-4E15-BDA1-CA5CCE916C41}"/>
                </a:ext>
              </a:extLst>
            </p:cNvPr>
            <p:cNvSpPr/>
            <p:nvPr/>
          </p:nvSpPr>
          <p:spPr>
            <a:xfrm rot="8716295">
              <a:off x="2606417" y="286983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3" name="Forme libre : forme 312">
              <a:extLst>
                <a:ext uri="{FF2B5EF4-FFF2-40B4-BE49-F238E27FC236}">
                  <a16:creationId xmlns:a16="http://schemas.microsoft.com/office/drawing/2014/main" id="{E49C695E-663D-4558-8A6D-FAB5771CCDF7}"/>
                </a:ext>
              </a:extLst>
            </p:cNvPr>
            <p:cNvSpPr/>
            <p:nvPr/>
          </p:nvSpPr>
          <p:spPr>
            <a:xfrm rot="8716295">
              <a:off x="2417371" y="255399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4" name="Forme libre : forme 313">
              <a:extLst>
                <a:ext uri="{FF2B5EF4-FFF2-40B4-BE49-F238E27FC236}">
                  <a16:creationId xmlns:a16="http://schemas.microsoft.com/office/drawing/2014/main" id="{33F36FCD-6977-4A63-8D14-D1E1625E9D31}"/>
                </a:ext>
              </a:extLst>
            </p:cNvPr>
            <p:cNvSpPr/>
            <p:nvPr/>
          </p:nvSpPr>
          <p:spPr>
            <a:xfrm rot="8716295">
              <a:off x="2399130" y="2343948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5" name="Forme libre : forme 314">
              <a:extLst>
                <a:ext uri="{FF2B5EF4-FFF2-40B4-BE49-F238E27FC236}">
                  <a16:creationId xmlns:a16="http://schemas.microsoft.com/office/drawing/2014/main" id="{B3474DC3-02FE-406E-A9DB-66680A910D3C}"/>
                </a:ext>
              </a:extLst>
            </p:cNvPr>
            <p:cNvSpPr/>
            <p:nvPr/>
          </p:nvSpPr>
          <p:spPr>
            <a:xfrm rot="8716295">
              <a:off x="2742905" y="293181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6" name="Forme libre : forme 315">
              <a:extLst>
                <a:ext uri="{FF2B5EF4-FFF2-40B4-BE49-F238E27FC236}">
                  <a16:creationId xmlns:a16="http://schemas.microsoft.com/office/drawing/2014/main" id="{A49C2E0F-EE8D-44EF-9BA8-BEBCE07245A7}"/>
                </a:ext>
              </a:extLst>
            </p:cNvPr>
            <p:cNvSpPr/>
            <p:nvPr/>
          </p:nvSpPr>
          <p:spPr>
            <a:xfrm rot="8716295">
              <a:off x="3213852" y="235720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7" name="Forme libre : forme 316">
              <a:extLst>
                <a:ext uri="{FF2B5EF4-FFF2-40B4-BE49-F238E27FC236}">
                  <a16:creationId xmlns:a16="http://schemas.microsoft.com/office/drawing/2014/main" id="{F24F931D-D0BA-4754-8EFA-1E41547520B4}"/>
                </a:ext>
              </a:extLst>
            </p:cNvPr>
            <p:cNvSpPr/>
            <p:nvPr/>
          </p:nvSpPr>
          <p:spPr>
            <a:xfrm rot="8716295">
              <a:off x="3349151" y="240146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8" name="Forme libre : forme 317">
              <a:extLst>
                <a:ext uri="{FF2B5EF4-FFF2-40B4-BE49-F238E27FC236}">
                  <a16:creationId xmlns:a16="http://schemas.microsoft.com/office/drawing/2014/main" id="{77E8D478-ED04-4063-AB60-82AA395CE7E1}"/>
                </a:ext>
              </a:extLst>
            </p:cNvPr>
            <p:cNvSpPr/>
            <p:nvPr/>
          </p:nvSpPr>
          <p:spPr>
            <a:xfrm rot="8716295">
              <a:off x="3043981" y="249121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9" name="Forme libre : forme 318">
              <a:extLst>
                <a:ext uri="{FF2B5EF4-FFF2-40B4-BE49-F238E27FC236}">
                  <a16:creationId xmlns:a16="http://schemas.microsoft.com/office/drawing/2014/main" id="{D68F4A66-E6DC-4D6F-A05F-B0ED1AAF9752}"/>
                </a:ext>
              </a:extLst>
            </p:cNvPr>
            <p:cNvSpPr/>
            <p:nvPr/>
          </p:nvSpPr>
          <p:spPr>
            <a:xfrm rot="8716295">
              <a:off x="2854936" y="217538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0" name="Forme libre : forme 319">
              <a:extLst>
                <a:ext uri="{FF2B5EF4-FFF2-40B4-BE49-F238E27FC236}">
                  <a16:creationId xmlns:a16="http://schemas.microsoft.com/office/drawing/2014/main" id="{2E7E02DC-19A7-4427-8DD0-9CBD70741C55}"/>
                </a:ext>
              </a:extLst>
            </p:cNvPr>
            <p:cNvSpPr/>
            <p:nvPr/>
          </p:nvSpPr>
          <p:spPr>
            <a:xfrm rot="8716295">
              <a:off x="3180469" y="255320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1" name="Forme libre : forme 320">
              <a:extLst>
                <a:ext uri="{FF2B5EF4-FFF2-40B4-BE49-F238E27FC236}">
                  <a16:creationId xmlns:a16="http://schemas.microsoft.com/office/drawing/2014/main" id="{5F22C34B-662E-4288-A98A-07600645D826}"/>
                </a:ext>
              </a:extLst>
            </p:cNvPr>
            <p:cNvSpPr/>
            <p:nvPr/>
          </p:nvSpPr>
          <p:spPr>
            <a:xfrm rot="8716295">
              <a:off x="2815023" y="232677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2" name="Forme libre : forme 321">
              <a:extLst>
                <a:ext uri="{FF2B5EF4-FFF2-40B4-BE49-F238E27FC236}">
                  <a16:creationId xmlns:a16="http://schemas.microsoft.com/office/drawing/2014/main" id="{F9C4954F-8E31-441D-8E0D-8B0514C0CCEA}"/>
                </a:ext>
              </a:extLst>
            </p:cNvPr>
            <p:cNvSpPr/>
            <p:nvPr/>
          </p:nvSpPr>
          <p:spPr>
            <a:xfrm rot="7484129">
              <a:off x="3339287" y="284281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3" name="Forme libre : forme 322">
              <a:extLst>
                <a:ext uri="{FF2B5EF4-FFF2-40B4-BE49-F238E27FC236}">
                  <a16:creationId xmlns:a16="http://schemas.microsoft.com/office/drawing/2014/main" id="{96BDAC49-7C90-455C-A6A8-F21767004646}"/>
                </a:ext>
              </a:extLst>
            </p:cNvPr>
            <p:cNvSpPr/>
            <p:nvPr/>
          </p:nvSpPr>
          <p:spPr>
            <a:xfrm rot="13089394">
              <a:off x="3497937" y="279216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4" name="Forme libre : forme 323">
              <a:extLst>
                <a:ext uri="{FF2B5EF4-FFF2-40B4-BE49-F238E27FC236}">
                  <a16:creationId xmlns:a16="http://schemas.microsoft.com/office/drawing/2014/main" id="{EE32A375-D70E-46A2-83EF-D2C25C11FC27}"/>
                </a:ext>
              </a:extLst>
            </p:cNvPr>
            <p:cNvSpPr/>
            <p:nvPr/>
          </p:nvSpPr>
          <p:spPr>
            <a:xfrm rot="8716295">
              <a:off x="3778828" y="2502048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5" name="Forme libre : forme 324">
              <a:extLst>
                <a:ext uri="{FF2B5EF4-FFF2-40B4-BE49-F238E27FC236}">
                  <a16:creationId xmlns:a16="http://schemas.microsoft.com/office/drawing/2014/main" id="{1FF92686-85A8-4017-922B-2458FE401EB8}"/>
                </a:ext>
              </a:extLst>
            </p:cNvPr>
            <p:cNvSpPr/>
            <p:nvPr/>
          </p:nvSpPr>
          <p:spPr>
            <a:xfrm rot="8716295">
              <a:off x="3700418" y="234525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6" name="Forme libre : forme 325">
              <a:extLst>
                <a:ext uri="{FF2B5EF4-FFF2-40B4-BE49-F238E27FC236}">
                  <a16:creationId xmlns:a16="http://schemas.microsoft.com/office/drawing/2014/main" id="{D45E52B0-C4FD-4155-A0DD-45195433970C}"/>
                </a:ext>
              </a:extLst>
            </p:cNvPr>
            <p:cNvSpPr/>
            <p:nvPr/>
          </p:nvSpPr>
          <p:spPr>
            <a:xfrm rot="8716295">
              <a:off x="3332255" y="239099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7" name="Forme libre : forme 326">
              <a:extLst>
                <a:ext uri="{FF2B5EF4-FFF2-40B4-BE49-F238E27FC236}">
                  <a16:creationId xmlns:a16="http://schemas.microsoft.com/office/drawing/2014/main" id="{F21AB6E7-AC7E-4350-A5BF-CDF7EE2573C5}"/>
                </a:ext>
              </a:extLst>
            </p:cNvPr>
            <p:cNvSpPr/>
            <p:nvPr/>
          </p:nvSpPr>
          <p:spPr>
            <a:xfrm rot="8716295">
              <a:off x="3600836" y="214997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8" name="Forme libre : forme 327">
              <a:extLst>
                <a:ext uri="{FF2B5EF4-FFF2-40B4-BE49-F238E27FC236}">
                  <a16:creationId xmlns:a16="http://schemas.microsoft.com/office/drawing/2014/main" id="{81ADFF02-63EB-4A30-B800-167FCE598798}"/>
                </a:ext>
              </a:extLst>
            </p:cNvPr>
            <p:cNvSpPr/>
            <p:nvPr/>
          </p:nvSpPr>
          <p:spPr>
            <a:xfrm rot="8716295">
              <a:off x="2438515" y="173733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9" name="Forme libre : forme 328">
              <a:extLst>
                <a:ext uri="{FF2B5EF4-FFF2-40B4-BE49-F238E27FC236}">
                  <a16:creationId xmlns:a16="http://schemas.microsoft.com/office/drawing/2014/main" id="{FEEE40D0-1ED4-4D89-A553-8246351195B7}"/>
                </a:ext>
              </a:extLst>
            </p:cNvPr>
            <p:cNvSpPr/>
            <p:nvPr/>
          </p:nvSpPr>
          <p:spPr>
            <a:xfrm rot="8716295">
              <a:off x="2573814" y="178159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0" name="Forme libre : forme 329">
              <a:extLst>
                <a:ext uri="{FF2B5EF4-FFF2-40B4-BE49-F238E27FC236}">
                  <a16:creationId xmlns:a16="http://schemas.microsoft.com/office/drawing/2014/main" id="{AA5B5D88-69C3-43FC-A9FF-1BC20CA01055}"/>
                </a:ext>
              </a:extLst>
            </p:cNvPr>
            <p:cNvSpPr/>
            <p:nvPr/>
          </p:nvSpPr>
          <p:spPr>
            <a:xfrm rot="8716295">
              <a:off x="2505931" y="1651005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1" name="Forme libre : forme 330">
              <a:extLst>
                <a:ext uri="{FF2B5EF4-FFF2-40B4-BE49-F238E27FC236}">
                  <a16:creationId xmlns:a16="http://schemas.microsoft.com/office/drawing/2014/main" id="{3433A715-4852-4C6F-BD57-E5BFC48256EE}"/>
                </a:ext>
              </a:extLst>
            </p:cNvPr>
            <p:cNvSpPr/>
            <p:nvPr/>
          </p:nvSpPr>
          <p:spPr>
            <a:xfrm rot="8716295">
              <a:off x="2268644" y="187135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2" name="Forme libre : forme 331">
              <a:extLst>
                <a:ext uri="{FF2B5EF4-FFF2-40B4-BE49-F238E27FC236}">
                  <a16:creationId xmlns:a16="http://schemas.microsoft.com/office/drawing/2014/main" id="{AA3826BF-36B5-4F42-9A9C-0857F8AFC9E9}"/>
                </a:ext>
              </a:extLst>
            </p:cNvPr>
            <p:cNvSpPr/>
            <p:nvPr/>
          </p:nvSpPr>
          <p:spPr>
            <a:xfrm rot="8716295">
              <a:off x="2079598" y="155551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3" name="Forme libre : forme 332">
              <a:extLst>
                <a:ext uri="{FF2B5EF4-FFF2-40B4-BE49-F238E27FC236}">
                  <a16:creationId xmlns:a16="http://schemas.microsoft.com/office/drawing/2014/main" id="{6B18E7D7-D7AA-4E20-850E-3799436161FA}"/>
                </a:ext>
              </a:extLst>
            </p:cNvPr>
            <p:cNvSpPr/>
            <p:nvPr/>
          </p:nvSpPr>
          <p:spPr>
            <a:xfrm rot="8716295">
              <a:off x="2061357" y="1345465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4" name="Forme libre : forme 333">
              <a:extLst>
                <a:ext uri="{FF2B5EF4-FFF2-40B4-BE49-F238E27FC236}">
                  <a16:creationId xmlns:a16="http://schemas.microsoft.com/office/drawing/2014/main" id="{43032E37-9C7A-492A-8A2C-109CA7245F5F}"/>
                </a:ext>
              </a:extLst>
            </p:cNvPr>
            <p:cNvSpPr/>
            <p:nvPr/>
          </p:nvSpPr>
          <p:spPr>
            <a:xfrm rot="8716295">
              <a:off x="2405132" y="1933333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5" name="Forme libre : forme 334">
              <a:extLst>
                <a:ext uri="{FF2B5EF4-FFF2-40B4-BE49-F238E27FC236}">
                  <a16:creationId xmlns:a16="http://schemas.microsoft.com/office/drawing/2014/main" id="{17B53965-E3A1-4010-BB29-B66E80C0AA24}"/>
                </a:ext>
              </a:extLst>
            </p:cNvPr>
            <p:cNvSpPr/>
            <p:nvPr/>
          </p:nvSpPr>
          <p:spPr>
            <a:xfrm rot="8716295">
              <a:off x="2876079" y="135871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6" name="Forme libre : forme 335">
              <a:extLst>
                <a:ext uri="{FF2B5EF4-FFF2-40B4-BE49-F238E27FC236}">
                  <a16:creationId xmlns:a16="http://schemas.microsoft.com/office/drawing/2014/main" id="{5A10F28E-8329-4CB2-9E8E-AF5ADC5D984D}"/>
                </a:ext>
              </a:extLst>
            </p:cNvPr>
            <p:cNvSpPr/>
            <p:nvPr/>
          </p:nvSpPr>
          <p:spPr>
            <a:xfrm rot="8716295">
              <a:off x="3011378" y="140297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7" name="Forme libre : forme 336">
              <a:extLst>
                <a:ext uri="{FF2B5EF4-FFF2-40B4-BE49-F238E27FC236}">
                  <a16:creationId xmlns:a16="http://schemas.microsoft.com/office/drawing/2014/main" id="{A3E6B7D3-30F0-4F00-9AE4-FB7C5336C17B}"/>
                </a:ext>
              </a:extLst>
            </p:cNvPr>
            <p:cNvSpPr/>
            <p:nvPr/>
          </p:nvSpPr>
          <p:spPr>
            <a:xfrm rot="8716295">
              <a:off x="2706208" y="14927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8" name="Forme libre : forme 337">
              <a:extLst>
                <a:ext uri="{FF2B5EF4-FFF2-40B4-BE49-F238E27FC236}">
                  <a16:creationId xmlns:a16="http://schemas.microsoft.com/office/drawing/2014/main" id="{632D1FEF-F08F-4C8C-8E0E-3985E6CFB126}"/>
                </a:ext>
              </a:extLst>
            </p:cNvPr>
            <p:cNvSpPr/>
            <p:nvPr/>
          </p:nvSpPr>
          <p:spPr>
            <a:xfrm rot="8716295">
              <a:off x="2517163" y="11768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9" name="Forme libre : forme 338">
              <a:extLst>
                <a:ext uri="{FF2B5EF4-FFF2-40B4-BE49-F238E27FC236}">
                  <a16:creationId xmlns:a16="http://schemas.microsoft.com/office/drawing/2014/main" id="{12813E1E-715D-4101-9BCD-409373887F04}"/>
                </a:ext>
              </a:extLst>
            </p:cNvPr>
            <p:cNvSpPr/>
            <p:nvPr/>
          </p:nvSpPr>
          <p:spPr>
            <a:xfrm rot="8716295">
              <a:off x="2842696" y="1554717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0" name="Forme libre : forme 339">
              <a:extLst>
                <a:ext uri="{FF2B5EF4-FFF2-40B4-BE49-F238E27FC236}">
                  <a16:creationId xmlns:a16="http://schemas.microsoft.com/office/drawing/2014/main" id="{AA2FCEEA-252F-42A1-A6F0-2BDC14E98266}"/>
                </a:ext>
              </a:extLst>
            </p:cNvPr>
            <p:cNvSpPr/>
            <p:nvPr/>
          </p:nvSpPr>
          <p:spPr>
            <a:xfrm rot="8716295">
              <a:off x="2477250" y="1328291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1" name="Forme libre : forme 340">
              <a:extLst>
                <a:ext uri="{FF2B5EF4-FFF2-40B4-BE49-F238E27FC236}">
                  <a16:creationId xmlns:a16="http://schemas.microsoft.com/office/drawing/2014/main" id="{884AD109-F04C-43C6-A88C-32CD36BAA4FA}"/>
                </a:ext>
              </a:extLst>
            </p:cNvPr>
            <p:cNvSpPr/>
            <p:nvPr/>
          </p:nvSpPr>
          <p:spPr>
            <a:xfrm rot="7484129">
              <a:off x="3001514" y="184433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2" name="Forme libre : forme 341">
              <a:extLst>
                <a:ext uri="{FF2B5EF4-FFF2-40B4-BE49-F238E27FC236}">
                  <a16:creationId xmlns:a16="http://schemas.microsoft.com/office/drawing/2014/main" id="{E48D40E2-82AD-4B99-AF4E-871FA4B10FDC}"/>
                </a:ext>
              </a:extLst>
            </p:cNvPr>
            <p:cNvSpPr/>
            <p:nvPr/>
          </p:nvSpPr>
          <p:spPr>
            <a:xfrm rot="13089394">
              <a:off x="3160164" y="1793683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3" name="Forme libre : forme 342">
              <a:extLst>
                <a:ext uri="{FF2B5EF4-FFF2-40B4-BE49-F238E27FC236}">
                  <a16:creationId xmlns:a16="http://schemas.microsoft.com/office/drawing/2014/main" id="{5110A4C9-803C-4F01-A8FB-E8911DB784FA}"/>
                </a:ext>
              </a:extLst>
            </p:cNvPr>
            <p:cNvSpPr/>
            <p:nvPr/>
          </p:nvSpPr>
          <p:spPr>
            <a:xfrm rot="8716295">
              <a:off x="3441055" y="1503565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4" name="Forme libre : forme 343">
              <a:extLst>
                <a:ext uri="{FF2B5EF4-FFF2-40B4-BE49-F238E27FC236}">
                  <a16:creationId xmlns:a16="http://schemas.microsoft.com/office/drawing/2014/main" id="{4B71D1CA-954E-40F5-BAE1-391BC7E00EAC}"/>
                </a:ext>
              </a:extLst>
            </p:cNvPr>
            <p:cNvSpPr/>
            <p:nvPr/>
          </p:nvSpPr>
          <p:spPr>
            <a:xfrm rot="8716295">
              <a:off x="3362645" y="134677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5" name="Forme libre : forme 344">
              <a:extLst>
                <a:ext uri="{FF2B5EF4-FFF2-40B4-BE49-F238E27FC236}">
                  <a16:creationId xmlns:a16="http://schemas.microsoft.com/office/drawing/2014/main" id="{778C13D4-A0D9-47A6-97AC-A7265054F880}"/>
                </a:ext>
              </a:extLst>
            </p:cNvPr>
            <p:cNvSpPr/>
            <p:nvPr/>
          </p:nvSpPr>
          <p:spPr>
            <a:xfrm rot="8716295">
              <a:off x="2994482" y="13925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6" name="Forme libre : forme 345">
              <a:extLst>
                <a:ext uri="{FF2B5EF4-FFF2-40B4-BE49-F238E27FC236}">
                  <a16:creationId xmlns:a16="http://schemas.microsoft.com/office/drawing/2014/main" id="{018BC788-46BE-420C-AA9D-351862A75FA9}"/>
                </a:ext>
              </a:extLst>
            </p:cNvPr>
            <p:cNvSpPr/>
            <p:nvPr/>
          </p:nvSpPr>
          <p:spPr>
            <a:xfrm rot="8716295">
              <a:off x="3263063" y="115149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7" name="Forme libre : forme 346">
              <a:extLst>
                <a:ext uri="{FF2B5EF4-FFF2-40B4-BE49-F238E27FC236}">
                  <a16:creationId xmlns:a16="http://schemas.microsoft.com/office/drawing/2014/main" id="{0E9463B7-1F06-4DEB-A058-446E8844EA8B}"/>
                </a:ext>
              </a:extLst>
            </p:cNvPr>
            <p:cNvSpPr/>
            <p:nvPr/>
          </p:nvSpPr>
          <p:spPr>
            <a:xfrm rot="8716295">
              <a:off x="2107141" y="73528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8" name="Forme libre : forme 347">
              <a:extLst>
                <a:ext uri="{FF2B5EF4-FFF2-40B4-BE49-F238E27FC236}">
                  <a16:creationId xmlns:a16="http://schemas.microsoft.com/office/drawing/2014/main" id="{73CCCCE8-C732-40A3-953D-8C4E26ECE894}"/>
                </a:ext>
              </a:extLst>
            </p:cNvPr>
            <p:cNvSpPr/>
            <p:nvPr/>
          </p:nvSpPr>
          <p:spPr>
            <a:xfrm rot="8716295">
              <a:off x="2242440" y="77954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9" name="Forme libre : forme 348">
              <a:extLst>
                <a:ext uri="{FF2B5EF4-FFF2-40B4-BE49-F238E27FC236}">
                  <a16:creationId xmlns:a16="http://schemas.microsoft.com/office/drawing/2014/main" id="{46418248-47C2-468E-8F48-18C4C7CDB219}"/>
                </a:ext>
              </a:extLst>
            </p:cNvPr>
            <p:cNvSpPr/>
            <p:nvPr/>
          </p:nvSpPr>
          <p:spPr>
            <a:xfrm rot="8716295">
              <a:off x="2174558" y="64895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0" name="Forme libre : forme 349">
              <a:extLst>
                <a:ext uri="{FF2B5EF4-FFF2-40B4-BE49-F238E27FC236}">
                  <a16:creationId xmlns:a16="http://schemas.microsoft.com/office/drawing/2014/main" id="{CF6485DD-C84B-431E-B394-8EC27CA6D055}"/>
                </a:ext>
              </a:extLst>
            </p:cNvPr>
            <p:cNvSpPr/>
            <p:nvPr/>
          </p:nvSpPr>
          <p:spPr>
            <a:xfrm rot="8716295">
              <a:off x="1937270" y="86929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1" name="Forme libre : forme 350">
              <a:extLst>
                <a:ext uri="{FF2B5EF4-FFF2-40B4-BE49-F238E27FC236}">
                  <a16:creationId xmlns:a16="http://schemas.microsoft.com/office/drawing/2014/main" id="{C462C7C6-AFD1-4D6E-868F-DFD5908371AE}"/>
                </a:ext>
              </a:extLst>
            </p:cNvPr>
            <p:cNvSpPr/>
            <p:nvPr/>
          </p:nvSpPr>
          <p:spPr>
            <a:xfrm rot="8716295">
              <a:off x="1748224" y="55346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2" name="Forme libre : forme 351">
              <a:extLst>
                <a:ext uri="{FF2B5EF4-FFF2-40B4-BE49-F238E27FC236}">
                  <a16:creationId xmlns:a16="http://schemas.microsoft.com/office/drawing/2014/main" id="{3BF602CB-BB96-4BFD-9890-5020E5C70107}"/>
                </a:ext>
              </a:extLst>
            </p:cNvPr>
            <p:cNvSpPr/>
            <p:nvPr/>
          </p:nvSpPr>
          <p:spPr>
            <a:xfrm rot="8716295">
              <a:off x="1729983" y="34341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3" name="Forme libre : forme 352">
              <a:extLst>
                <a:ext uri="{FF2B5EF4-FFF2-40B4-BE49-F238E27FC236}">
                  <a16:creationId xmlns:a16="http://schemas.microsoft.com/office/drawing/2014/main" id="{D123FE48-43A2-4EF2-A75E-82641468BE05}"/>
                </a:ext>
              </a:extLst>
            </p:cNvPr>
            <p:cNvSpPr/>
            <p:nvPr/>
          </p:nvSpPr>
          <p:spPr>
            <a:xfrm rot="8716295">
              <a:off x="2073759" y="93127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4" name="Forme libre : forme 353">
              <a:extLst>
                <a:ext uri="{FF2B5EF4-FFF2-40B4-BE49-F238E27FC236}">
                  <a16:creationId xmlns:a16="http://schemas.microsoft.com/office/drawing/2014/main" id="{9368862D-396D-4FD2-B4BF-9090111F2572}"/>
                </a:ext>
              </a:extLst>
            </p:cNvPr>
            <p:cNvSpPr/>
            <p:nvPr/>
          </p:nvSpPr>
          <p:spPr>
            <a:xfrm rot="8716295">
              <a:off x="2544705" y="35666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5" name="Forme libre : forme 354">
              <a:extLst>
                <a:ext uri="{FF2B5EF4-FFF2-40B4-BE49-F238E27FC236}">
                  <a16:creationId xmlns:a16="http://schemas.microsoft.com/office/drawing/2014/main" id="{08DA4440-5C40-4A9D-A195-E7F5A36FB8E5}"/>
                </a:ext>
              </a:extLst>
            </p:cNvPr>
            <p:cNvSpPr/>
            <p:nvPr/>
          </p:nvSpPr>
          <p:spPr>
            <a:xfrm rot="8716295">
              <a:off x="2680004" y="40092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6" name="Forme libre : forme 355">
              <a:extLst>
                <a:ext uri="{FF2B5EF4-FFF2-40B4-BE49-F238E27FC236}">
                  <a16:creationId xmlns:a16="http://schemas.microsoft.com/office/drawing/2014/main" id="{499C4215-CE78-4D06-B1F1-0EFC66D2B8A8}"/>
                </a:ext>
              </a:extLst>
            </p:cNvPr>
            <p:cNvSpPr/>
            <p:nvPr/>
          </p:nvSpPr>
          <p:spPr>
            <a:xfrm rot="8716295">
              <a:off x="2374834" y="49068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7" name="Forme libre : forme 356">
              <a:extLst>
                <a:ext uri="{FF2B5EF4-FFF2-40B4-BE49-F238E27FC236}">
                  <a16:creationId xmlns:a16="http://schemas.microsoft.com/office/drawing/2014/main" id="{0DF46042-A994-48E9-AACA-0079FAE5D34F}"/>
                </a:ext>
              </a:extLst>
            </p:cNvPr>
            <p:cNvSpPr/>
            <p:nvPr/>
          </p:nvSpPr>
          <p:spPr>
            <a:xfrm rot="8716295">
              <a:off x="2185790" y="17484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8" name="Forme libre : forme 357">
              <a:extLst>
                <a:ext uri="{FF2B5EF4-FFF2-40B4-BE49-F238E27FC236}">
                  <a16:creationId xmlns:a16="http://schemas.microsoft.com/office/drawing/2014/main" id="{C56CBFD7-CE58-4F68-AE5F-EEAC0B0B2F26}"/>
                </a:ext>
              </a:extLst>
            </p:cNvPr>
            <p:cNvSpPr/>
            <p:nvPr/>
          </p:nvSpPr>
          <p:spPr>
            <a:xfrm rot="8716295">
              <a:off x="2511323" y="552663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9" name="Forme libre : forme 358">
              <a:extLst>
                <a:ext uri="{FF2B5EF4-FFF2-40B4-BE49-F238E27FC236}">
                  <a16:creationId xmlns:a16="http://schemas.microsoft.com/office/drawing/2014/main" id="{5026E243-7CAA-469D-B3FD-2DEEF3B52A6D}"/>
                </a:ext>
              </a:extLst>
            </p:cNvPr>
            <p:cNvSpPr/>
            <p:nvPr/>
          </p:nvSpPr>
          <p:spPr>
            <a:xfrm rot="8716295">
              <a:off x="2145876" y="32623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0" name="Forme libre : forme 359">
              <a:extLst>
                <a:ext uri="{FF2B5EF4-FFF2-40B4-BE49-F238E27FC236}">
                  <a16:creationId xmlns:a16="http://schemas.microsoft.com/office/drawing/2014/main" id="{69635373-7069-4076-9294-1FD2A4827397}"/>
                </a:ext>
              </a:extLst>
            </p:cNvPr>
            <p:cNvSpPr/>
            <p:nvPr/>
          </p:nvSpPr>
          <p:spPr>
            <a:xfrm rot="7484129">
              <a:off x="2670140" y="84228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1" name="Forme libre : forme 360">
              <a:extLst>
                <a:ext uri="{FF2B5EF4-FFF2-40B4-BE49-F238E27FC236}">
                  <a16:creationId xmlns:a16="http://schemas.microsoft.com/office/drawing/2014/main" id="{65F0089C-08D4-41A5-B19D-05C5D2A763BC}"/>
                </a:ext>
              </a:extLst>
            </p:cNvPr>
            <p:cNvSpPr/>
            <p:nvPr/>
          </p:nvSpPr>
          <p:spPr>
            <a:xfrm rot="13089394">
              <a:off x="2828790" y="791629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2" name="Forme libre : forme 361">
              <a:extLst>
                <a:ext uri="{FF2B5EF4-FFF2-40B4-BE49-F238E27FC236}">
                  <a16:creationId xmlns:a16="http://schemas.microsoft.com/office/drawing/2014/main" id="{10F0587B-FBC8-4526-B416-2C74092E74E3}"/>
                </a:ext>
              </a:extLst>
            </p:cNvPr>
            <p:cNvSpPr/>
            <p:nvPr/>
          </p:nvSpPr>
          <p:spPr>
            <a:xfrm rot="8716295">
              <a:off x="3109681" y="501511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3" name="Forme libre : forme 362">
              <a:extLst>
                <a:ext uri="{FF2B5EF4-FFF2-40B4-BE49-F238E27FC236}">
                  <a16:creationId xmlns:a16="http://schemas.microsoft.com/office/drawing/2014/main" id="{2065DAB7-B994-4ECC-90EA-43FF767C9150}"/>
                </a:ext>
              </a:extLst>
            </p:cNvPr>
            <p:cNvSpPr/>
            <p:nvPr/>
          </p:nvSpPr>
          <p:spPr>
            <a:xfrm rot="8716295">
              <a:off x="3031272" y="344719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4" name="Forme libre : forme 363">
              <a:extLst>
                <a:ext uri="{FF2B5EF4-FFF2-40B4-BE49-F238E27FC236}">
                  <a16:creationId xmlns:a16="http://schemas.microsoft.com/office/drawing/2014/main" id="{06C29BA8-D38F-498C-9EF2-99B1FD452BF5}"/>
                </a:ext>
              </a:extLst>
            </p:cNvPr>
            <p:cNvSpPr/>
            <p:nvPr/>
          </p:nvSpPr>
          <p:spPr>
            <a:xfrm rot="8716295">
              <a:off x="2663108" y="39046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5" name="Forme libre : forme 364">
              <a:extLst>
                <a:ext uri="{FF2B5EF4-FFF2-40B4-BE49-F238E27FC236}">
                  <a16:creationId xmlns:a16="http://schemas.microsoft.com/office/drawing/2014/main" id="{19957925-F105-47F6-A52F-63EE7BCADA72}"/>
                </a:ext>
              </a:extLst>
            </p:cNvPr>
            <p:cNvSpPr/>
            <p:nvPr/>
          </p:nvSpPr>
          <p:spPr>
            <a:xfrm rot="8716295">
              <a:off x="2931690" y="14944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6" name="Forme libre : forme 365">
              <a:extLst>
                <a:ext uri="{FF2B5EF4-FFF2-40B4-BE49-F238E27FC236}">
                  <a16:creationId xmlns:a16="http://schemas.microsoft.com/office/drawing/2014/main" id="{E0E33F2F-8222-4600-9D1F-1A85DBD9DDB6}"/>
                </a:ext>
              </a:extLst>
            </p:cNvPr>
            <p:cNvSpPr/>
            <p:nvPr/>
          </p:nvSpPr>
          <p:spPr>
            <a:xfrm rot="8716295">
              <a:off x="1834766" y="-57684"/>
              <a:ext cx="186564" cy="129320"/>
            </a:xfrm>
            <a:custGeom>
              <a:avLst/>
              <a:gdLst>
                <a:gd name="connsiteX0" fmla="*/ 123263 w 123263"/>
                <a:gd name="connsiteY0" fmla="*/ 85442 h 85442"/>
                <a:gd name="connsiteX1" fmla="*/ 0 w 123263"/>
                <a:gd name="connsiteY1" fmla="*/ 0 h 85442"/>
                <a:gd name="connsiteX2" fmla="*/ 66305 w 123263"/>
                <a:gd name="connsiteY2" fmla="*/ 0 h 85442"/>
                <a:gd name="connsiteX3" fmla="*/ 123263 w 123263"/>
                <a:gd name="connsiteY3" fmla="*/ 50123 h 85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63" h="85442">
                  <a:moveTo>
                    <a:pt x="123263" y="85442"/>
                  </a:moveTo>
                  <a:lnTo>
                    <a:pt x="0" y="0"/>
                  </a:lnTo>
                  <a:lnTo>
                    <a:pt x="66305" y="0"/>
                  </a:lnTo>
                  <a:cubicBezTo>
                    <a:pt x="103214" y="0"/>
                    <a:pt x="123263" y="15948"/>
                    <a:pt x="123263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7" name="Forme libre : forme 366">
              <a:extLst>
                <a:ext uri="{FF2B5EF4-FFF2-40B4-BE49-F238E27FC236}">
                  <a16:creationId xmlns:a16="http://schemas.microsoft.com/office/drawing/2014/main" id="{85E9DB2D-8095-4090-AC49-070A81C428A4}"/>
                </a:ext>
              </a:extLst>
            </p:cNvPr>
            <p:cNvSpPr/>
            <p:nvPr/>
          </p:nvSpPr>
          <p:spPr>
            <a:xfrm rot="8716295">
              <a:off x="1969949" y="-13794"/>
              <a:ext cx="394488" cy="148365"/>
            </a:xfrm>
            <a:custGeom>
              <a:avLst/>
              <a:gdLst>
                <a:gd name="connsiteX0" fmla="*/ 104802 w 260639"/>
                <a:gd name="connsiteY0" fmla="*/ 74264 h 98025"/>
                <a:gd name="connsiteX1" fmla="*/ 0 w 260639"/>
                <a:gd name="connsiteY1" fmla="*/ 1618 h 98025"/>
                <a:gd name="connsiteX2" fmla="*/ 0 w 260639"/>
                <a:gd name="connsiteY2" fmla="*/ 1425 h 98025"/>
                <a:gd name="connsiteX3" fmla="*/ 104803 w 260639"/>
                <a:gd name="connsiteY3" fmla="*/ 1425 h 98025"/>
                <a:gd name="connsiteX4" fmla="*/ 122123 w 260639"/>
                <a:gd name="connsiteY4" fmla="*/ 86270 h 98025"/>
                <a:gd name="connsiteX5" fmla="*/ 106178 w 260639"/>
                <a:gd name="connsiteY5" fmla="*/ 75218 h 98025"/>
                <a:gd name="connsiteX6" fmla="*/ 116721 w 260639"/>
                <a:gd name="connsiteY6" fmla="*/ 47439 h 98025"/>
                <a:gd name="connsiteX7" fmla="*/ 154014 w 260639"/>
                <a:gd name="connsiteY7" fmla="*/ 5981 h 98025"/>
                <a:gd name="connsiteX8" fmla="*/ 185455 w 260639"/>
                <a:gd name="connsiteY8" fmla="*/ 57 h 98025"/>
                <a:gd name="connsiteX9" fmla="*/ 260639 w 260639"/>
                <a:gd name="connsiteY9" fmla="*/ 88456 h 98025"/>
                <a:gd name="connsiteX10" fmla="*/ 260639 w 260639"/>
                <a:gd name="connsiteY10" fmla="*/ 94380 h 98025"/>
                <a:gd name="connsiteX11" fmla="*/ 198669 w 260639"/>
                <a:gd name="connsiteY11" fmla="*/ 98025 h 98025"/>
                <a:gd name="connsiteX12" fmla="*/ 198669 w 260639"/>
                <a:gd name="connsiteY12" fmla="*/ 81621 h 98025"/>
                <a:gd name="connsiteX13" fmla="*/ 164950 w 260639"/>
                <a:gd name="connsiteY13" fmla="*/ 40156 h 98025"/>
                <a:gd name="connsiteX14" fmla="*/ 127358 w 260639"/>
                <a:gd name="connsiteY14" fmla="*/ 65616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60639" h="98025">
                  <a:moveTo>
                    <a:pt x="104802" y="74264"/>
                  </a:moveTo>
                  <a:lnTo>
                    <a:pt x="0" y="1618"/>
                  </a:lnTo>
                  <a:lnTo>
                    <a:pt x="0" y="1425"/>
                  </a:lnTo>
                  <a:lnTo>
                    <a:pt x="104803" y="1425"/>
                  </a:lnTo>
                  <a:close/>
                  <a:moveTo>
                    <a:pt x="122123" y="86270"/>
                  </a:moveTo>
                  <a:lnTo>
                    <a:pt x="106178" y="75218"/>
                  </a:lnTo>
                  <a:lnTo>
                    <a:pt x="116721" y="47439"/>
                  </a:lnTo>
                  <a:cubicBezTo>
                    <a:pt x="127102" y="24008"/>
                    <a:pt x="137610" y="12816"/>
                    <a:pt x="154014" y="5981"/>
                  </a:cubicBezTo>
                  <a:cubicBezTo>
                    <a:pt x="164038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50369" y="40156"/>
                    <a:pt x="137041" y="49839"/>
                    <a:pt x="127358" y="656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8" name="Forme libre : forme 367">
              <a:extLst>
                <a:ext uri="{FF2B5EF4-FFF2-40B4-BE49-F238E27FC236}">
                  <a16:creationId xmlns:a16="http://schemas.microsoft.com/office/drawing/2014/main" id="{2112AB6E-ECBC-48CC-8F85-503CE29BF697}"/>
                </a:ext>
              </a:extLst>
            </p:cNvPr>
            <p:cNvSpPr/>
            <p:nvPr/>
          </p:nvSpPr>
          <p:spPr>
            <a:xfrm rot="8716295">
              <a:off x="1736738" y="-7282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9" name="Forme libre : forme 368">
              <a:extLst>
                <a:ext uri="{FF2B5EF4-FFF2-40B4-BE49-F238E27FC236}">
                  <a16:creationId xmlns:a16="http://schemas.microsoft.com/office/drawing/2014/main" id="{0CED55EE-2402-40E1-B7FC-4C64963DE5BE}"/>
                </a:ext>
              </a:extLst>
            </p:cNvPr>
            <p:cNvSpPr/>
            <p:nvPr/>
          </p:nvSpPr>
          <p:spPr>
            <a:xfrm rot="7484129">
              <a:off x="2399917" y="-21262"/>
              <a:ext cx="233243" cy="158079"/>
            </a:xfrm>
            <a:custGeom>
              <a:avLst/>
              <a:gdLst>
                <a:gd name="connsiteX0" fmla="*/ 72416 w 154104"/>
                <a:gd name="connsiteY0" fmla="*/ 104443 h 104443"/>
                <a:gd name="connsiteX1" fmla="*/ 0 w 154104"/>
                <a:gd name="connsiteY1" fmla="*/ 0 h 104443"/>
                <a:gd name="connsiteX2" fmla="*/ 154104 w 154104"/>
                <a:gd name="connsiteY2" fmla="*/ 0 h 104443"/>
                <a:gd name="connsiteX3" fmla="*/ 154104 w 154104"/>
                <a:gd name="connsiteY3" fmla="*/ 55323 h 104443"/>
                <a:gd name="connsiteX4" fmla="*/ 89312 w 154104"/>
                <a:gd name="connsiteY4" fmla="*/ 55323 h 104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4104" h="104443">
                  <a:moveTo>
                    <a:pt x="72416" y="104443"/>
                  </a:moveTo>
                  <a:lnTo>
                    <a:pt x="0" y="0"/>
                  </a:lnTo>
                  <a:lnTo>
                    <a:pt x="154104" y="0"/>
                  </a:lnTo>
                  <a:lnTo>
                    <a:pt x="154104" y="55323"/>
                  </a:lnTo>
                  <a:lnTo>
                    <a:pt x="89312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0" name="Forme libre : forme 369">
              <a:extLst>
                <a:ext uri="{FF2B5EF4-FFF2-40B4-BE49-F238E27FC236}">
                  <a16:creationId xmlns:a16="http://schemas.microsoft.com/office/drawing/2014/main" id="{2AB77741-1425-4B03-9370-5D34269ACC61}"/>
                </a:ext>
              </a:extLst>
            </p:cNvPr>
            <p:cNvSpPr/>
            <p:nvPr/>
          </p:nvSpPr>
          <p:spPr>
            <a:xfrm rot="13089394">
              <a:off x="2721869" y="-65503"/>
              <a:ext cx="128296" cy="425348"/>
            </a:xfrm>
            <a:custGeom>
              <a:avLst/>
              <a:gdLst>
                <a:gd name="connsiteX0" fmla="*/ 84765 w 84765"/>
                <a:gd name="connsiteY0" fmla="*/ 225012 h 281028"/>
                <a:gd name="connsiteX1" fmla="*/ 13471 w 84765"/>
                <a:gd name="connsiteY1" fmla="*/ 281028 h 281028"/>
                <a:gd name="connsiteX2" fmla="*/ 4828 w 84765"/>
                <a:gd name="connsiteY2" fmla="*/ 263963 h 281028"/>
                <a:gd name="connsiteX3" fmla="*/ 0 w 84765"/>
                <a:gd name="connsiteY3" fmla="*/ 206370 h 281028"/>
                <a:gd name="connsiteX4" fmla="*/ 0 w 84765"/>
                <a:gd name="connsiteY4" fmla="*/ 38074 h 281028"/>
                <a:gd name="connsiteX5" fmla="*/ 73388 w 84765"/>
                <a:gd name="connsiteY5" fmla="*/ 0 h 281028"/>
                <a:gd name="connsiteX6" fmla="*/ 74492 w 84765"/>
                <a:gd name="connsiteY6" fmla="*/ 153950 h 281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4765" h="281028">
                  <a:moveTo>
                    <a:pt x="84765" y="225012"/>
                  </a:moveTo>
                  <a:lnTo>
                    <a:pt x="13471" y="281028"/>
                  </a:lnTo>
                  <a:lnTo>
                    <a:pt x="4828" y="263963"/>
                  </a:lnTo>
                  <a:cubicBezTo>
                    <a:pt x="1241" y="248168"/>
                    <a:pt x="0" y="228993"/>
                    <a:pt x="0" y="206370"/>
                  </a:cubicBez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1" name="Forme libre : forme 370">
              <a:extLst>
                <a:ext uri="{FF2B5EF4-FFF2-40B4-BE49-F238E27FC236}">
                  <a16:creationId xmlns:a16="http://schemas.microsoft.com/office/drawing/2014/main" id="{FAA815E1-BD11-411E-A301-A66D6E5B5B5D}"/>
                </a:ext>
              </a:extLst>
            </p:cNvPr>
            <p:cNvSpPr/>
            <p:nvPr/>
          </p:nvSpPr>
          <p:spPr>
            <a:xfrm rot="8716295">
              <a:off x="5604774" y="3024342"/>
              <a:ext cx="274455" cy="132163"/>
            </a:xfrm>
            <a:custGeom>
              <a:avLst/>
              <a:gdLst>
                <a:gd name="connsiteX0" fmla="*/ 0 w 181333"/>
                <a:gd name="connsiteY0" fmla="*/ 87320 h 87320"/>
                <a:gd name="connsiteX1" fmla="*/ 42309 w 181333"/>
                <a:gd name="connsiteY1" fmla="*/ 36168 h 87320"/>
                <a:gd name="connsiteX2" fmla="*/ 54839 w 181333"/>
                <a:gd name="connsiteY2" fmla="*/ 38831 h 87320"/>
                <a:gd name="connsiteX3" fmla="*/ 107790 w 181333"/>
                <a:gd name="connsiteY3" fmla="*/ 29417 h 87320"/>
                <a:gd name="connsiteX4" fmla="*/ 180157 w 181333"/>
                <a:gd name="connsiteY4" fmla="*/ 0 h 87320"/>
                <a:gd name="connsiteX5" fmla="*/ 181333 w 181333"/>
                <a:gd name="connsiteY5" fmla="*/ 7648 h 87320"/>
                <a:gd name="connsiteX6" fmla="*/ 181333 w 181333"/>
                <a:gd name="connsiteY6" fmla="*/ 13532 h 87320"/>
                <a:gd name="connsiteX7" fmla="*/ 30340 w 181333"/>
                <a:gd name="connsiteY7" fmla="*/ 83361 h 87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333" h="87320">
                  <a:moveTo>
                    <a:pt x="0" y="87320"/>
                  </a:moveTo>
                  <a:lnTo>
                    <a:pt x="42309" y="36168"/>
                  </a:lnTo>
                  <a:lnTo>
                    <a:pt x="54839" y="38831"/>
                  </a:lnTo>
                  <a:cubicBezTo>
                    <a:pt x="73078" y="38242"/>
                    <a:pt x="90728" y="34712"/>
                    <a:pt x="107790" y="29417"/>
                  </a:cubicBezTo>
                  <a:cubicBezTo>
                    <a:pt x="132500" y="21768"/>
                    <a:pt x="156623" y="11767"/>
                    <a:pt x="180157" y="0"/>
                  </a:cubicBezTo>
                  <a:cubicBezTo>
                    <a:pt x="180745" y="2353"/>
                    <a:pt x="181333" y="5295"/>
                    <a:pt x="181333" y="7648"/>
                  </a:cubicBezTo>
                  <a:lnTo>
                    <a:pt x="181333" y="13532"/>
                  </a:lnTo>
                  <a:cubicBezTo>
                    <a:pt x="134560" y="53687"/>
                    <a:pt x="76865" y="74315"/>
                    <a:pt x="30340" y="833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2" name="Forme libre : forme 371">
              <a:extLst>
                <a:ext uri="{FF2B5EF4-FFF2-40B4-BE49-F238E27FC236}">
                  <a16:creationId xmlns:a16="http://schemas.microsoft.com/office/drawing/2014/main" id="{0B206B84-4FE5-4D53-9D1E-DD02DB41D254}"/>
                </a:ext>
              </a:extLst>
            </p:cNvPr>
            <p:cNvSpPr/>
            <p:nvPr/>
          </p:nvSpPr>
          <p:spPr>
            <a:xfrm rot="8716295">
              <a:off x="5742786" y="2375436"/>
              <a:ext cx="92417" cy="296278"/>
            </a:xfrm>
            <a:custGeom>
              <a:avLst/>
              <a:gdLst>
                <a:gd name="connsiteX0" fmla="*/ 0 w 61060"/>
                <a:gd name="connsiteY0" fmla="*/ 195751 h 195751"/>
                <a:gd name="connsiteX1" fmla="*/ 0 w 61060"/>
                <a:gd name="connsiteY1" fmla="*/ 67520 h 195751"/>
                <a:gd name="connsiteX2" fmla="*/ 55847 w 61060"/>
                <a:gd name="connsiteY2" fmla="*/ 0 h 195751"/>
                <a:gd name="connsiteX3" fmla="*/ 61059 w 61060"/>
                <a:gd name="connsiteY3" fmla="*/ 13486 h 195751"/>
                <a:gd name="connsiteX4" fmla="*/ 61060 w 61060"/>
                <a:gd name="connsiteY4" fmla="*/ 171601 h 195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60" h="195751">
                  <a:moveTo>
                    <a:pt x="0" y="195751"/>
                  </a:moveTo>
                  <a:lnTo>
                    <a:pt x="0" y="67520"/>
                  </a:lnTo>
                  <a:lnTo>
                    <a:pt x="55847" y="0"/>
                  </a:lnTo>
                  <a:lnTo>
                    <a:pt x="61059" y="13486"/>
                  </a:lnTo>
                  <a:lnTo>
                    <a:pt x="61060" y="17160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3" name="Forme libre : forme 372">
              <a:extLst>
                <a:ext uri="{FF2B5EF4-FFF2-40B4-BE49-F238E27FC236}">
                  <a16:creationId xmlns:a16="http://schemas.microsoft.com/office/drawing/2014/main" id="{77194E30-CE70-4AEC-BB0F-106D75678D26}"/>
                </a:ext>
              </a:extLst>
            </p:cNvPr>
            <p:cNvSpPr/>
            <p:nvPr/>
          </p:nvSpPr>
          <p:spPr>
            <a:xfrm rot="8716295">
              <a:off x="5579033" y="246915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4" name="Forme libre : forme 373">
              <a:extLst>
                <a:ext uri="{FF2B5EF4-FFF2-40B4-BE49-F238E27FC236}">
                  <a16:creationId xmlns:a16="http://schemas.microsoft.com/office/drawing/2014/main" id="{F8F32B20-B35C-4702-8768-E6EC077080C3}"/>
                </a:ext>
              </a:extLst>
            </p:cNvPr>
            <p:cNvSpPr/>
            <p:nvPr/>
          </p:nvSpPr>
          <p:spPr>
            <a:xfrm rot="8716295">
              <a:off x="5389987" y="215331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5" name="Forme libre : forme 374">
              <a:extLst>
                <a:ext uri="{FF2B5EF4-FFF2-40B4-BE49-F238E27FC236}">
                  <a16:creationId xmlns:a16="http://schemas.microsoft.com/office/drawing/2014/main" id="{03FB5FAB-F686-40AC-9940-1E92242C962D}"/>
                </a:ext>
              </a:extLst>
            </p:cNvPr>
            <p:cNvSpPr/>
            <p:nvPr/>
          </p:nvSpPr>
          <p:spPr>
            <a:xfrm rot="8716295">
              <a:off x="5371746" y="194326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6" name="Forme libre : forme 375">
              <a:extLst>
                <a:ext uri="{FF2B5EF4-FFF2-40B4-BE49-F238E27FC236}">
                  <a16:creationId xmlns:a16="http://schemas.microsoft.com/office/drawing/2014/main" id="{7697AE3D-D280-4B41-97E4-E67BBE2838D4}"/>
                </a:ext>
              </a:extLst>
            </p:cNvPr>
            <p:cNvSpPr/>
            <p:nvPr/>
          </p:nvSpPr>
          <p:spPr>
            <a:xfrm rot="8716295">
              <a:off x="5716764" y="2550542"/>
              <a:ext cx="91035" cy="331729"/>
            </a:xfrm>
            <a:custGeom>
              <a:avLst/>
              <a:gdLst>
                <a:gd name="connsiteX0" fmla="*/ 60147 w 60147"/>
                <a:gd name="connsiteY0" fmla="*/ 219174 h 219174"/>
                <a:gd name="connsiteX1" fmla="*/ 0 w 60147"/>
                <a:gd name="connsiteY1" fmla="*/ 161304 h 219174"/>
                <a:gd name="connsiteX2" fmla="*/ 0 w 60147"/>
                <a:gd name="connsiteY2" fmla="*/ 68045 h 219174"/>
                <a:gd name="connsiteX3" fmla="*/ 56210 w 60147"/>
                <a:gd name="connsiteY3" fmla="*/ 87 h 219174"/>
                <a:gd name="connsiteX4" fmla="*/ 60147 w 60147"/>
                <a:gd name="connsiteY4" fmla="*/ 0 h 219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47" h="219174">
                  <a:moveTo>
                    <a:pt x="60147" y="219174"/>
                  </a:moveTo>
                  <a:lnTo>
                    <a:pt x="0" y="161304"/>
                  </a:lnTo>
                  <a:lnTo>
                    <a:pt x="0" y="68045"/>
                  </a:lnTo>
                  <a:lnTo>
                    <a:pt x="56210" y="87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7" name="Forme libre : forme 376">
              <a:extLst>
                <a:ext uri="{FF2B5EF4-FFF2-40B4-BE49-F238E27FC236}">
                  <a16:creationId xmlns:a16="http://schemas.microsoft.com/office/drawing/2014/main" id="{46E8B4E6-46F9-4CF4-A6B7-A87039F21F77}"/>
                </a:ext>
              </a:extLst>
            </p:cNvPr>
            <p:cNvSpPr/>
            <p:nvPr/>
          </p:nvSpPr>
          <p:spPr>
            <a:xfrm rot="8716295">
              <a:off x="5787639" y="192609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8" name="Forme libre : forme 377">
              <a:extLst>
                <a:ext uri="{FF2B5EF4-FFF2-40B4-BE49-F238E27FC236}">
                  <a16:creationId xmlns:a16="http://schemas.microsoft.com/office/drawing/2014/main" id="{CE3A86F3-9EF3-4CAC-BAE7-301BACB20DC2}"/>
                </a:ext>
              </a:extLst>
            </p:cNvPr>
            <p:cNvSpPr/>
            <p:nvPr/>
          </p:nvSpPr>
          <p:spPr>
            <a:xfrm rot="8716295">
              <a:off x="5411131" y="133665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9" name="Forme libre : forme 378">
              <a:extLst>
                <a:ext uri="{FF2B5EF4-FFF2-40B4-BE49-F238E27FC236}">
                  <a16:creationId xmlns:a16="http://schemas.microsoft.com/office/drawing/2014/main" id="{5ADA9701-4026-4003-B92A-BE45A4B58CA1}"/>
                </a:ext>
              </a:extLst>
            </p:cNvPr>
            <p:cNvSpPr/>
            <p:nvPr/>
          </p:nvSpPr>
          <p:spPr>
            <a:xfrm rot="8716295">
              <a:off x="5547629" y="1389153"/>
              <a:ext cx="346795" cy="385612"/>
            </a:xfrm>
            <a:custGeom>
              <a:avLst/>
              <a:gdLst>
                <a:gd name="connsiteX0" fmla="*/ 19979 w 229128"/>
                <a:gd name="connsiteY0" fmla="*/ 254774 h 254774"/>
                <a:gd name="connsiteX1" fmla="*/ 19979 w 229128"/>
                <a:gd name="connsiteY1" fmla="*/ 45624 h 254774"/>
                <a:gd name="connsiteX2" fmla="*/ 0 w 229128"/>
                <a:gd name="connsiteY2" fmla="*/ 45624 h 254774"/>
                <a:gd name="connsiteX3" fmla="*/ 36558 w 229128"/>
                <a:gd name="connsiteY3" fmla="*/ 1425 h 254774"/>
                <a:gd name="connsiteX4" fmla="*/ 73292 w 229128"/>
                <a:gd name="connsiteY4" fmla="*/ 1425 h 254774"/>
                <a:gd name="connsiteX5" fmla="*/ 73292 w 229128"/>
                <a:gd name="connsiteY5" fmla="*/ 75242 h 254774"/>
                <a:gd name="connsiteX6" fmla="*/ 74658 w 229128"/>
                <a:gd name="connsiteY6" fmla="*/ 75242 h 254774"/>
                <a:gd name="connsiteX7" fmla="*/ 122503 w 229128"/>
                <a:gd name="connsiteY7" fmla="*/ 5981 h 254774"/>
                <a:gd name="connsiteX8" fmla="*/ 153944 w 229128"/>
                <a:gd name="connsiteY8" fmla="*/ 57 h 254774"/>
                <a:gd name="connsiteX9" fmla="*/ 229128 w 229128"/>
                <a:gd name="connsiteY9" fmla="*/ 88456 h 254774"/>
                <a:gd name="connsiteX10" fmla="*/ 229128 w 229128"/>
                <a:gd name="connsiteY10" fmla="*/ 94380 h 254774"/>
                <a:gd name="connsiteX11" fmla="*/ 167158 w 229128"/>
                <a:gd name="connsiteY11" fmla="*/ 98025 h 254774"/>
                <a:gd name="connsiteX12" fmla="*/ 167158 w 229128"/>
                <a:gd name="connsiteY12" fmla="*/ 81621 h 254774"/>
                <a:gd name="connsiteX13" fmla="*/ 133439 w 229128"/>
                <a:gd name="connsiteY13" fmla="*/ 40156 h 254774"/>
                <a:gd name="connsiteX14" fmla="*/ 80127 w 229128"/>
                <a:gd name="connsiteY14" fmla="*/ 127643 h 254774"/>
                <a:gd name="connsiteX15" fmla="*/ 80127 w 229128"/>
                <a:gd name="connsiteY15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29128" h="254774">
                  <a:moveTo>
                    <a:pt x="19979" y="254774"/>
                  </a:moveTo>
                  <a:lnTo>
                    <a:pt x="19979" y="45624"/>
                  </a:lnTo>
                  <a:lnTo>
                    <a:pt x="0" y="45624"/>
                  </a:lnTo>
                  <a:lnTo>
                    <a:pt x="36558" y="1425"/>
                  </a:lnTo>
                  <a:lnTo>
                    <a:pt x="73292" y="1425"/>
                  </a:lnTo>
                  <a:lnTo>
                    <a:pt x="73292" y="75242"/>
                  </a:lnTo>
                  <a:lnTo>
                    <a:pt x="74658" y="75242"/>
                  </a:lnTo>
                  <a:cubicBezTo>
                    <a:pt x="89240" y="31954"/>
                    <a:pt x="100631" y="15094"/>
                    <a:pt x="122503" y="5981"/>
                  </a:cubicBezTo>
                  <a:cubicBezTo>
                    <a:pt x="132528" y="1880"/>
                    <a:pt x="143008" y="-398"/>
                    <a:pt x="153944" y="57"/>
                  </a:cubicBezTo>
                  <a:cubicBezTo>
                    <a:pt x="200877" y="-854"/>
                    <a:pt x="229128" y="31954"/>
                    <a:pt x="229128" y="88456"/>
                  </a:cubicBezTo>
                  <a:lnTo>
                    <a:pt x="229128" y="94380"/>
                  </a:lnTo>
                  <a:lnTo>
                    <a:pt x="167158" y="98025"/>
                  </a:lnTo>
                  <a:lnTo>
                    <a:pt x="167158" y="81621"/>
                  </a:lnTo>
                  <a:cubicBezTo>
                    <a:pt x="167158" y="57016"/>
                    <a:pt x="153033" y="40156"/>
                    <a:pt x="133439" y="40156"/>
                  </a:cubicBezTo>
                  <a:cubicBezTo>
                    <a:pt x="104277" y="40156"/>
                    <a:pt x="80127" y="78887"/>
                    <a:pt x="80127" y="127643"/>
                  </a:cubicBezTo>
                  <a:lnTo>
                    <a:pt x="80127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0" name="Forme libre : forme 379">
              <a:extLst>
                <a:ext uri="{FF2B5EF4-FFF2-40B4-BE49-F238E27FC236}">
                  <a16:creationId xmlns:a16="http://schemas.microsoft.com/office/drawing/2014/main" id="{3801A8FD-71D9-43D4-9A13-F62B93652117}"/>
                </a:ext>
              </a:extLst>
            </p:cNvPr>
            <p:cNvSpPr/>
            <p:nvPr/>
          </p:nvSpPr>
          <p:spPr>
            <a:xfrm rot="8716295">
              <a:off x="5478548" y="125032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1" name="Forme libre : forme 380">
              <a:extLst>
                <a:ext uri="{FF2B5EF4-FFF2-40B4-BE49-F238E27FC236}">
                  <a16:creationId xmlns:a16="http://schemas.microsoft.com/office/drawing/2014/main" id="{4CC9B929-E3B4-4677-AB6A-C1B0E025204C}"/>
                </a:ext>
              </a:extLst>
            </p:cNvPr>
            <p:cNvSpPr/>
            <p:nvPr/>
          </p:nvSpPr>
          <p:spPr>
            <a:xfrm rot="8716295">
              <a:off x="5241260" y="147066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2" name="Forme libre : forme 381">
              <a:extLst>
                <a:ext uri="{FF2B5EF4-FFF2-40B4-BE49-F238E27FC236}">
                  <a16:creationId xmlns:a16="http://schemas.microsoft.com/office/drawing/2014/main" id="{43D5D927-BA42-496D-BC4E-8674E3CE6A51}"/>
                </a:ext>
              </a:extLst>
            </p:cNvPr>
            <p:cNvSpPr/>
            <p:nvPr/>
          </p:nvSpPr>
          <p:spPr>
            <a:xfrm rot="8716295">
              <a:off x="5052214" y="11548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3" name="Forme libre : forme 382">
              <a:extLst>
                <a:ext uri="{FF2B5EF4-FFF2-40B4-BE49-F238E27FC236}">
                  <a16:creationId xmlns:a16="http://schemas.microsoft.com/office/drawing/2014/main" id="{A9CA7264-4BDA-4273-8C76-8511057A1B85}"/>
                </a:ext>
              </a:extLst>
            </p:cNvPr>
            <p:cNvSpPr/>
            <p:nvPr/>
          </p:nvSpPr>
          <p:spPr>
            <a:xfrm rot="8716295">
              <a:off x="5033973" y="94478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4" name="Forme libre : forme 383">
              <a:extLst>
                <a:ext uri="{FF2B5EF4-FFF2-40B4-BE49-F238E27FC236}">
                  <a16:creationId xmlns:a16="http://schemas.microsoft.com/office/drawing/2014/main" id="{5E95C0C0-B211-4D78-A1DF-BE4FC385DAC5}"/>
                </a:ext>
              </a:extLst>
            </p:cNvPr>
            <p:cNvSpPr/>
            <p:nvPr/>
          </p:nvSpPr>
          <p:spPr>
            <a:xfrm rot="8716295">
              <a:off x="5377749" y="153264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5" name="Forme libre : forme 384">
              <a:extLst>
                <a:ext uri="{FF2B5EF4-FFF2-40B4-BE49-F238E27FC236}">
                  <a16:creationId xmlns:a16="http://schemas.microsoft.com/office/drawing/2014/main" id="{299B9701-5011-4B98-BC25-888CE3D4A261}"/>
                </a:ext>
              </a:extLst>
            </p:cNvPr>
            <p:cNvSpPr/>
            <p:nvPr/>
          </p:nvSpPr>
          <p:spPr>
            <a:xfrm rot="8716295">
              <a:off x="5847873" y="996679"/>
              <a:ext cx="92417" cy="314872"/>
            </a:xfrm>
            <a:custGeom>
              <a:avLst/>
              <a:gdLst>
                <a:gd name="connsiteX0" fmla="*/ 0 w 61060"/>
                <a:gd name="connsiteY0" fmla="*/ 208036 h 208036"/>
                <a:gd name="connsiteX1" fmla="*/ 1 w 61060"/>
                <a:gd name="connsiteY1" fmla="*/ 61780 h 208036"/>
                <a:gd name="connsiteX2" fmla="*/ 51100 w 61060"/>
                <a:gd name="connsiteY2" fmla="*/ 0 h 208036"/>
                <a:gd name="connsiteX3" fmla="*/ 61059 w 61060"/>
                <a:gd name="connsiteY3" fmla="*/ 25771 h 208036"/>
                <a:gd name="connsiteX4" fmla="*/ 61060 w 61060"/>
                <a:gd name="connsiteY4" fmla="*/ 183886 h 208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60" h="208036">
                  <a:moveTo>
                    <a:pt x="0" y="208036"/>
                  </a:moveTo>
                  <a:lnTo>
                    <a:pt x="1" y="61780"/>
                  </a:lnTo>
                  <a:lnTo>
                    <a:pt x="51100" y="0"/>
                  </a:lnTo>
                  <a:lnTo>
                    <a:pt x="61059" y="25771"/>
                  </a:lnTo>
                  <a:lnTo>
                    <a:pt x="61060" y="18388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6" name="Forme libre : forme 385">
              <a:extLst>
                <a:ext uri="{FF2B5EF4-FFF2-40B4-BE49-F238E27FC236}">
                  <a16:creationId xmlns:a16="http://schemas.microsoft.com/office/drawing/2014/main" id="{D1B55AC6-0E14-4AD6-A463-2BC5AB8BBB90}"/>
                </a:ext>
              </a:extLst>
            </p:cNvPr>
            <p:cNvSpPr/>
            <p:nvPr/>
          </p:nvSpPr>
          <p:spPr>
            <a:xfrm rot="8716295">
              <a:off x="5678824" y="109205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7" name="Forme libre : forme 386">
              <a:extLst>
                <a:ext uri="{FF2B5EF4-FFF2-40B4-BE49-F238E27FC236}">
                  <a16:creationId xmlns:a16="http://schemas.microsoft.com/office/drawing/2014/main" id="{35C0CB49-4515-4D6B-805D-6EE1D83F55CD}"/>
                </a:ext>
              </a:extLst>
            </p:cNvPr>
            <p:cNvSpPr/>
            <p:nvPr/>
          </p:nvSpPr>
          <p:spPr>
            <a:xfrm rot="8716295">
              <a:off x="5489780" y="77621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8" name="Forme libre : forme 387">
              <a:extLst>
                <a:ext uri="{FF2B5EF4-FFF2-40B4-BE49-F238E27FC236}">
                  <a16:creationId xmlns:a16="http://schemas.microsoft.com/office/drawing/2014/main" id="{393CE68B-9315-410C-84F0-0D845DB03A75}"/>
                </a:ext>
              </a:extLst>
            </p:cNvPr>
            <p:cNvSpPr/>
            <p:nvPr/>
          </p:nvSpPr>
          <p:spPr>
            <a:xfrm rot="8716295">
              <a:off x="5816554" y="1173443"/>
              <a:ext cx="91037" cy="331731"/>
            </a:xfrm>
            <a:custGeom>
              <a:avLst/>
              <a:gdLst>
                <a:gd name="connsiteX0" fmla="*/ 60148 w 60148"/>
                <a:gd name="connsiteY0" fmla="*/ 219175 h 219175"/>
                <a:gd name="connsiteX1" fmla="*/ 0 w 60148"/>
                <a:gd name="connsiteY1" fmla="*/ 161305 h 219175"/>
                <a:gd name="connsiteX2" fmla="*/ 0 w 60148"/>
                <a:gd name="connsiteY2" fmla="*/ 50021 h 219175"/>
                <a:gd name="connsiteX3" fmla="*/ 41025 w 60148"/>
                <a:gd name="connsiteY3" fmla="*/ 421 h 219175"/>
                <a:gd name="connsiteX4" fmla="*/ 60147 w 60148"/>
                <a:gd name="connsiteY4" fmla="*/ 0 h 219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48" h="219175">
                  <a:moveTo>
                    <a:pt x="60148" y="219175"/>
                  </a:moveTo>
                  <a:lnTo>
                    <a:pt x="0" y="161305"/>
                  </a:lnTo>
                  <a:lnTo>
                    <a:pt x="0" y="50021"/>
                  </a:lnTo>
                  <a:lnTo>
                    <a:pt x="41025" y="421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9" name="Forme libre : forme 388">
              <a:extLst>
                <a:ext uri="{FF2B5EF4-FFF2-40B4-BE49-F238E27FC236}">
                  <a16:creationId xmlns:a16="http://schemas.microsoft.com/office/drawing/2014/main" id="{B917A23A-4403-425A-9C2A-27DE35CB443E}"/>
                </a:ext>
              </a:extLst>
            </p:cNvPr>
            <p:cNvSpPr/>
            <p:nvPr/>
          </p:nvSpPr>
          <p:spPr>
            <a:xfrm rot="8716295">
              <a:off x="5449866" y="92760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0" name="Forme libre : forme 389">
              <a:extLst>
                <a:ext uri="{FF2B5EF4-FFF2-40B4-BE49-F238E27FC236}">
                  <a16:creationId xmlns:a16="http://schemas.microsoft.com/office/drawing/2014/main" id="{8689535D-A8DA-4F0E-9DBC-CBAFC078B2CB}"/>
                </a:ext>
              </a:extLst>
            </p:cNvPr>
            <p:cNvSpPr/>
            <p:nvPr/>
          </p:nvSpPr>
          <p:spPr>
            <a:xfrm rot="8716295">
              <a:off x="5954717" y="1002572"/>
              <a:ext cx="48491" cy="55034"/>
            </a:xfrm>
            <a:custGeom>
              <a:avLst/>
              <a:gdLst>
                <a:gd name="connsiteX0" fmla="*/ 0 w 32038"/>
                <a:gd name="connsiteY0" fmla="*/ 35166 h 36361"/>
                <a:gd name="connsiteX1" fmla="*/ 29086 w 32038"/>
                <a:gd name="connsiteY1" fmla="*/ 0 h 36361"/>
                <a:gd name="connsiteX2" fmla="*/ 32038 w 32038"/>
                <a:gd name="connsiteY2" fmla="*/ 7028 h 36361"/>
                <a:gd name="connsiteX3" fmla="*/ 23495 w 32038"/>
                <a:gd name="connsiteY3" fmla="*/ 27704 h 36361"/>
                <a:gd name="connsiteX4" fmla="*/ 2990 w 32038"/>
                <a:gd name="connsiteY4" fmla="*/ 36361 h 36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038" h="36361">
                  <a:moveTo>
                    <a:pt x="0" y="35166"/>
                  </a:moveTo>
                  <a:lnTo>
                    <a:pt x="29086" y="0"/>
                  </a:lnTo>
                  <a:lnTo>
                    <a:pt x="32038" y="7028"/>
                  </a:lnTo>
                  <a:cubicBezTo>
                    <a:pt x="32039" y="14489"/>
                    <a:pt x="29191" y="22008"/>
                    <a:pt x="23495" y="27704"/>
                  </a:cubicBezTo>
                  <a:cubicBezTo>
                    <a:pt x="18027" y="33172"/>
                    <a:pt x="10736" y="36361"/>
                    <a:pt x="2990" y="363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1" name="Forme libre : forme 390">
              <a:extLst>
                <a:ext uri="{FF2B5EF4-FFF2-40B4-BE49-F238E27FC236}">
                  <a16:creationId xmlns:a16="http://schemas.microsoft.com/office/drawing/2014/main" id="{4277FFB2-58A8-4A02-AADF-E018D5998562}"/>
                </a:ext>
              </a:extLst>
            </p:cNvPr>
            <p:cNvSpPr/>
            <p:nvPr/>
          </p:nvSpPr>
          <p:spPr>
            <a:xfrm rot="8716295">
              <a:off x="5079758" y="33459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2" name="Forme libre : forme 391">
              <a:extLst>
                <a:ext uri="{FF2B5EF4-FFF2-40B4-BE49-F238E27FC236}">
                  <a16:creationId xmlns:a16="http://schemas.microsoft.com/office/drawing/2014/main" id="{EA35B526-89AB-4A06-AA35-B12BC8F0AB1F}"/>
                </a:ext>
              </a:extLst>
            </p:cNvPr>
            <p:cNvSpPr/>
            <p:nvPr/>
          </p:nvSpPr>
          <p:spPr>
            <a:xfrm rot="8716295">
              <a:off x="5215056" y="37885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3" name="Forme libre : forme 392">
              <a:extLst>
                <a:ext uri="{FF2B5EF4-FFF2-40B4-BE49-F238E27FC236}">
                  <a16:creationId xmlns:a16="http://schemas.microsoft.com/office/drawing/2014/main" id="{0E946C4C-ED44-46D8-8F43-896DC93007DB}"/>
                </a:ext>
              </a:extLst>
            </p:cNvPr>
            <p:cNvSpPr/>
            <p:nvPr/>
          </p:nvSpPr>
          <p:spPr>
            <a:xfrm rot="8716295">
              <a:off x="5147174" y="248268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4" name="Forme libre : forme 393">
              <a:extLst>
                <a:ext uri="{FF2B5EF4-FFF2-40B4-BE49-F238E27FC236}">
                  <a16:creationId xmlns:a16="http://schemas.microsoft.com/office/drawing/2014/main" id="{8B9BAAAD-4871-45E0-9808-B6AF30F7C6CF}"/>
                </a:ext>
              </a:extLst>
            </p:cNvPr>
            <p:cNvSpPr/>
            <p:nvPr/>
          </p:nvSpPr>
          <p:spPr>
            <a:xfrm rot="8716295">
              <a:off x="4909887" y="4686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5" name="Forme libre : forme 394">
              <a:extLst>
                <a:ext uri="{FF2B5EF4-FFF2-40B4-BE49-F238E27FC236}">
                  <a16:creationId xmlns:a16="http://schemas.microsoft.com/office/drawing/2014/main" id="{7D346B9D-669B-40E6-8A36-5A7046F06D7F}"/>
                </a:ext>
              </a:extLst>
            </p:cNvPr>
            <p:cNvSpPr/>
            <p:nvPr/>
          </p:nvSpPr>
          <p:spPr>
            <a:xfrm rot="8716295">
              <a:off x="4720840" y="15277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6" name="Forme libre : forme 395">
              <a:extLst>
                <a:ext uri="{FF2B5EF4-FFF2-40B4-BE49-F238E27FC236}">
                  <a16:creationId xmlns:a16="http://schemas.microsoft.com/office/drawing/2014/main" id="{66103F96-93DC-4231-9A89-20615F9DAE20}"/>
                </a:ext>
              </a:extLst>
            </p:cNvPr>
            <p:cNvSpPr/>
            <p:nvPr/>
          </p:nvSpPr>
          <p:spPr>
            <a:xfrm rot="8716295">
              <a:off x="4702019" y="-47743"/>
              <a:ext cx="439901" cy="516041"/>
            </a:xfrm>
            <a:custGeom>
              <a:avLst/>
              <a:gdLst>
                <a:gd name="connsiteX0" fmla="*/ 155476 w 290643"/>
                <a:gd name="connsiteY0" fmla="*/ 340949 h 340949"/>
                <a:gd name="connsiteX1" fmla="*/ 1169 w 290643"/>
                <a:gd name="connsiteY1" fmla="*/ 233989 h 340949"/>
                <a:gd name="connsiteX2" fmla="*/ 0 w 290643"/>
                <a:gd name="connsiteY2" fmla="*/ 220042 h 340949"/>
                <a:gd name="connsiteX3" fmla="*/ 0 w 290643"/>
                <a:gd name="connsiteY3" fmla="*/ 40596 h 340949"/>
                <a:gd name="connsiteX4" fmla="*/ 78250 w 290643"/>
                <a:gd name="connsiteY4" fmla="*/ 0 h 340949"/>
                <a:gd name="connsiteX5" fmla="*/ 79427 w 290643"/>
                <a:gd name="connsiteY5" fmla="*/ 164149 h 340949"/>
                <a:gd name="connsiteX6" fmla="*/ 93547 w 290643"/>
                <a:gd name="connsiteY6" fmla="*/ 261815 h 340949"/>
                <a:gd name="connsiteX7" fmla="*/ 164149 w 290643"/>
                <a:gd name="connsiteY7" fmla="*/ 300646 h 340949"/>
                <a:gd name="connsiteX8" fmla="*/ 217100 w 290643"/>
                <a:gd name="connsiteY8" fmla="*/ 291232 h 340949"/>
                <a:gd name="connsiteX9" fmla="*/ 289467 w 290643"/>
                <a:gd name="connsiteY9" fmla="*/ 261815 h 340949"/>
                <a:gd name="connsiteX10" fmla="*/ 290643 w 290643"/>
                <a:gd name="connsiteY10" fmla="*/ 269463 h 340949"/>
                <a:gd name="connsiteX11" fmla="*/ 290643 w 290643"/>
                <a:gd name="connsiteY11" fmla="*/ 275347 h 340949"/>
                <a:gd name="connsiteX12" fmla="*/ 189080 w 290643"/>
                <a:gd name="connsiteY12" fmla="*/ 331975 h 340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0643" h="340949">
                  <a:moveTo>
                    <a:pt x="155476" y="340949"/>
                  </a:moveTo>
                  <a:lnTo>
                    <a:pt x="1169" y="233989"/>
                  </a:lnTo>
                  <a:lnTo>
                    <a:pt x="0" y="220042"/>
                  </a:ln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9" y="300646"/>
                  </a:cubicBezTo>
                  <a:cubicBezTo>
                    <a:pt x="182388" y="300057"/>
                    <a:pt x="200038" y="296527"/>
                    <a:pt x="217100" y="291232"/>
                  </a:cubicBezTo>
                  <a:cubicBezTo>
                    <a:pt x="241810" y="283584"/>
                    <a:pt x="265933" y="273582"/>
                    <a:pt x="289467" y="261815"/>
                  </a:cubicBezTo>
                  <a:cubicBezTo>
                    <a:pt x="290055" y="264168"/>
                    <a:pt x="290643" y="267110"/>
                    <a:pt x="290643" y="269463"/>
                  </a:cubicBezTo>
                  <a:lnTo>
                    <a:pt x="290643" y="275347"/>
                  </a:lnTo>
                  <a:cubicBezTo>
                    <a:pt x="259461" y="302117"/>
                    <a:pt x="223425" y="320208"/>
                    <a:pt x="189080" y="3319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7" name="Forme libre : forme 396">
              <a:extLst>
                <a:ext uri="{FF2B5EF4-FFF2-40B4-BE49-F238E27FC236}">
                  <a16:creationId xmlns:a16="http://schemas.microsoft.com/office/drawing/2014/main" id="{E7200A70-679E-46A4-89BB-E2CFE2F1D7AE}"/>
                </a:ext>
              </a:extLst>
            </p:cNvPr>
            <p:cNvSpPr/>
            <p:nvPr/>
          </p:nvSpPr>
          <p:spPr>
            <a:xfrm rot="8716295">
              <a:off x="5046375" y="53059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8" name="Forme libre : forme 397">
              <a:extLst>
                <a:ext uri="{FF2B5EF4-FFF2-40B4-BE49-F238E27FC236}">
                  <a16:creationId xmlns:a16="http://schemas.microsoft.com/office/drawing/2014/main" id="{5D528D3B-7826-4D4D-96B5-43ADE18F1EA6}"/>
                </a:ext>
              </a:extLst>
            </p:cNvPr>
            <p:cNvSpPr/>
            <p:nvPr/>
          </p:nvSpPr>
          <p:spPr>
            <a:xfrm rot="8716295">
              <a:off x="5517321" y="-4401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9" name="Forme libre : forme 398">
              <a:extLst>
                <a:ext uri="{FF2B5EF4-FFF2-40B4-BE49-F238E27FC236}">
                  <a16:creationId xmlns:a16="http://schemas.microsoft.com/office/drawing/2014/main" id="{2614F3E9-F724-4FC2-90FF-F1B58DCC0522}"/>
                </a:ext>
              </a:extLst>
            </p:cNvPr>
            <p:cNvSpPr/>
            <p:nvPr/>
          </p:nvSpPr>
          <p:spPr>
            <a:xfrm rot="8716295">
              <a:off x="5660365" y="29418"/>
              <a:ext cx="361480" cy="358038"/>
            </a:xfrm>
            <a:custGeom>
              <a:avLst/>
              <a:gdLst>
                <a:gd name="connsiteX0" fmla="*/ 56401 w 238830"/>
                <a:gd name="connsiteY0" fmla="*/ 236556 h 236556"/>
                <a:gd name="connsiteX1" fmla="*/ 29681 w 238830"/>
                <a:gd name="connsiteY1" fmla="*/ 218034 h 236556"/>
                <a:gd name="connsiteX2" fmla="*/ 29681 w 238830"/>
                <a:gd name="connsiteY2" fmla="*/ 45624 h 236556"/>
                <a:gd name="connsiteX3" fmla="*/ 0 w 238830"/>
                <a:gd name="connsiteY3" fmla="*/ 45624 h 236556"/>
                <a:gd name="connsiteX4" fmla="*/ 36558 w 238830"/>
                <a:gd name="connsiteY4" fmla="*/ 1425 h 236556"/>
                <a:gd name="connsiteX5" fmla="*/ 82994 w 238830"/>
                <a:gd name="connsiteY5" fmla="*/ 1425 h 236556"/>
                <a:gd name="connsiteX6" fmla="*/ 82994 w 238830"/>
                <a:gd name="connsiteY6" fmla="*/ 75242 h 236556"/>
                <a:gd name="connsiteX7" fmla="*/ 84360 w 238830"/>
                <a:gd name="connsiteY7" fmla="*/ 75242 h 236556"/>
                <a:gd name="connsiteX8" fmla="*/ 132205 w 238830"/>
                <a:gd name="connsiteY8" fmla="*/ 5981 h 236556"/>
                <a:gd name="connsiteX9" fmla="*/ 163646 w 238830"/>
                <a:gd name="connsiteY9" fmla="*/ 57 h 236556"/>
                <a:gd name="connsiteX10" fmla="*/ 238830 w 238830"/>
                <a:gd name="connsiteY10" fmla="*/ 88456 h 236556"/>
                <a:gd name="connsiteX11" fmla="*/ 238830 w 238830"/>
                <a:gd name="connsiteY11" fmla="*/ 94380 h 236556"/>
                <a:gd name="connsiteX12" fmla="*/ 176860 w 238830"/>
                <a:gd name="connsiteY12" fmla="*/ 98025 h 236556"/>
                <a:gd name="connsiteX13" fmla="*/ 176860 w 238830"/>
                <a:gd name="connsiteY13" fmla="*/ 81621 h 236556"/>
                <a:gd name="connsiteX14" fmla="*/ 143141 w 238830"/>
                <a:gd name="connsiteY14" fmla="*/ 40156 h 236556"/>
                <a:gd name="connsiteX15" fmla="*/ 89829 w 238830"/>
                <a:gd name="connsiteY15" fmla="*/ 127643 h 236556"/>
                <a:gd name="connsiteX16" fmla="*/ 89829 w 238830"/>
                <a:gd name="connsiteY16" fmla="*/ 213764 h 236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8830" h="236556">
                  <a:moveTo>
                    <a:pt x="56401" y="236556"/>
                  </a:moveTo>
                  <a:lnTo>
                    <a:pt x="29681" y="218034"/>
                  </a:lnTo>
                  <a:lnTo>
                    <a:pt x="29681" y="45624"/>
                  </a:lnTo>
                  <a:lnTo>
                    <a:pt x="0" y="45624"/>
                  </a:lnTo>
                  <a:lnTo>
                    <a:pt x="36558" y="1425"/>
                  </a:lnTo>
                  <a:lnTo>
                    <a:pt x="82994" y="1425"/>
                  </a:lnTo>
                  <a:lnTo>
                    <a:pt x="82994" y="75242"/>
                  </a:lnTo>
                  <a:lnTo>
                    <a:pt x="84360" y="75242"/>
                  </a:lnTo>
                  <a:cubicBezTo>
                    <a:pt x="98942" y="31954"/>
                    <a:pt x="110333" y="15095"/>
                    <a:pt x="132205" y="5981"/>
                  </a:cubicBezTo>
                  <a:cubicBezTo>
                    <a:pt x="142230" y="1880"/>
                    <a:pt x="152710" y="-398"/>
                    <a:pt x="163646" y="57"/>
                  </a:cubicBezTo>
                  <a:cubicBezTo>
                    <a:pt x="210579" y="-854"/>
                    <a:pt x="238830" y="31954"/>
                    <a:pt x="238830" y="88456"/>
                  </a:cubicBezTo>
                  <a:lnTo>
                    <a:pt x="238830" y="94380"/>
                  </a:lnTo>
                  <a:lnTo>
                    <a:pt x="176860" y="98025"/>
                  </a:lnTo>
                  <a:lnTo>
                    <a:pt x="176860" y="81621"/>
                  </a:lnTo>
                  <a:cubicBezTo>
                    <a:pt x="176860" y="57016"/>
                    <a:pt x="162735" y="40156"/>
                    <a:pt x="143141" y="40156"/>
                  </a:cubicBezTo>
                  <a:cubicBezTo>
                    <a:pt x="113979" y="40156"/>
                    <a:pt x="89829" y="78887"/>
                    <a:pt x="89829" y="127643"/>
                  </a:cubicBezTo>
                  <a:lnTo>
                    <a:pt x="89829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0" name="Forme libre : forme 399">
              <a:extLst>
                <a:ext uri="{FF2B5EF4-FFF2-40B4-BE49-F238E27FC236}">
                  <a16:creationId xmlns:a16="http://schemas.microsoft.com/office/drawing/2014/main" id="{30961414-E4AD-4BB3-9FB3-626F7F1FE23D}"/>
                </a:ext>
              </a:extLst>
            </p:cNvPr>
            <p:cNvSpPr/>
            <p:nvPr/>
          </p:nvSpPr>
          <p:spPr>
            <a:xfrm rot="8716295">
              <a:off x="5347450" y="8999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1" name="Forme libre : forme 400">
              <a:extLst>
                <a:ext uri="{FF2B5EF4-FFF2-40B4-BE49-F238E27FC236}">
                  <a16:creationId xmlns:a16="http://schemas.microsoft.com/office/drawing/2014/main" id="{30769E12-B50E-4874-9A5A-F158D8D6A603}"/>
                </a:ext>
              </a:extLst>
            </p:cNvPr>
            <p:cNvSpPr/>
            <p:nvPr/>
          </p:nvSpPr>
          <p:spPr>
            <a:xfrm rot="8716295">
              <a:off x="5220022" y="-7080"/>
              <a:ext cx="219414" cy="84041"/>
            </a:xfrm>
            <a:custGeom>
              <a:avLst/>
              <a:gdLst>
                <a:gd name="connsiteX0" fmla="*/ 80105 w 144967"/>
                <a:gd name="connsiteY0" fmla="*/ 55526 h 55526"/>
                <a:gd name="connsiteX1" fmla="*/ 0 w 144967"/>
                <a:gd name="connsiteY1" fmla="*/ 0 h 55526"/>
                <a:gd name="connsiteX2" fmla="*/ 144967 w 144967"/>
                <a:gd name="connsiteY2" fmla="*/ 0 h 55526"/>
                <a:gd name="connsiteX3" fmla="*/ 144967 w 144967"/>
                <a:gd name="connsiteY3" fmla="*/ 55323 h 55526"/>
                <a:gd name="connsiteX4" fmla="*/ 80175 w 144967"/>
                <a:gd name="connsiteY4" fmla="*/ 55323 h 55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967" h="55526">
                  <a:moveTo>
                    <a:pt x="80105" y="55526"/>
                  </a:moveTo>
                  <a:lnTo>
                    <a:pt x="0" y="0"/>
                  </a:lnTo>
                  <a:lnTo>
                    <a:pt x="144967" y="0"/>
                  </a:lnTo>
                  <a:lnTo>
                    <a:pt x="144967" y="55323"/>
                  </a:lnTo>
                  <a:lnTo>
                    <a:pt x="8017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2" name="Forme libre : forme 401">
              <a:extLst>
                <a:ext uri="{FF2B5EF4-FFF2-40B4-BE49-F238E27FC236}">
                  <a16:creationId xmlns:a16="http://schemas.microsoft.com/office/drawing/2014/main" id="{DED468EA-B834-46DE-9EEF-86FA34FB4D87}"/>
                </a:ext>
              </a:extLst>
            </p:cNvPr>
            <p:cNvSpPr/>
            <p:nvPr/>
          </p:nvSpPr>
          <p:spPr>
            <a:xfrm rot="8716295">
              <a:off x="5483939" y="15198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3" name="Forme libre : forme 402">
              <a:extLst>
                <a:ext uri="{FF2B5EF4-FFF2-40B4-BE49-F238E27FC236}">
                  <a16:creationId xmlns:a16="http://schemas.microsoft.com/office/drawing/2014/main" id="{3C1561C2-2060-4974-8514-2DC34975F6D4}"/>
                </a:ext>
              </a:extLst>
            </p:cNvPr>
            <p:cNvSpPr/>
            <p:nvPr/>
          </p:nvSpPr>
          <p:spPr>
            <a:xfrm rot="8716295">
              <a:off x="5128323" y="-20358"/>
              <a:ext cx="80664" cy="63766"/>
            </a:xfrm>
            <a:custGeom>
              <a:avLst/>
              <a:gdLst>
                <a:gd name="connsiteX0" fmla="*/ 51759 w 53295"/>
                <a:gd name="connsiteY0" fmla="*/ 42130 h 42130"/>
                <a:gd name="connsiteX1" fmla="*/ 0 w 53295"/>
                <a:gd name="connsiteY1" fmla="*/ 6252 h 42130"/>
                <a:gd name="connsiteX2" fmla="*/ 14807 w 53295"/>
                <a:gd name="connsiteY2" fmla="*/ 0 h 42130"/>
                <a:gd name="connsiteX3" fmla="*/ 41975 w 53295"/>
                <a:gd name="connsiteY3" fmla="*/ 11471 h 42130"/>
                <a:gd name="connsiteX4" fmla="*/ 53295 w 53295"/>
                <a:gd name="connsiteY4" fmla="*/ 38412 h 42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295" h="42130">
                  <a:moveTo>
                    <a:pt x="51759" y="42130"/>
                  </a:moveTo>
                  <a:lnTo>
                    <a:pt x="0" y="6252"/>
                  </a:lnTo>
                  <a:lnTo>
                    <a:pt x="14807" y="0"/>
                  </a:lnTo>
                  <a:cubicBezTo>
                    <a:pt x="25071" y="0"/>
                    <a:pt x="34731" y="4226"/>
                    <a:pt x="41975" y="11471"/>
                  </a:cubicBezTo>
                  <a:cubicBezTo>
                    <a:pt x="49522" y="18716"/>
                    <a:pt x="53295" y="28526"/>
                    <a:pt x="53295" y="3841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4" name="Forme libre : forme 403">
              <a:extLst>
                <a:ext uri="{FF2B5EF4-FFF2-40B4-BE49-F238E27FC236}">
                  <a16:creationId xmlns:a16="http://schemas.microsoft.com/office/drawing/2014/main" id="{BE3C9C9C-FBEC-4353-AF9E-1F8508D75B04}"/>
                </a:ext>
              </a:extLst>
            </p:cNvPr>
            <p:cNvSpPr/>
            <p:nvPr/>
          </p:nvSpPr>
          <p:spPr>
            <a:xfrm rot="7484129">
              <a:off x="5642756" y="4415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5" name="Forme libre : forme 404">
              <a:extLst>
                <a:ext uri="{FF2B5EF4-FFF2-40B4-BE49-F238E27FC236}">
                  <a16:creationId xmlns:a16="http://schemas.microsoft.com/office/drawing/2014/main" id="{8A4BC53C-40CB-4B8B-A2E3-E4599AA1DEB7}"/>
                </a:ext>
              </a:extLst>
            </p:cNvPr>
            <p:cNvSpPr/>
            <p:nvPr/>
          </p:nvSpPr>
          <p:spPr>
            <a:xfrm rot="13089394">
              <a:off x="5789679" y="415199"/>
              <a:ext cx="360116" cy="446294"/>
            </a:xfrm>
            <a:custGeom>
              <a:avLst/>
              <a:gdLst>
                <a:gd name="connsiteX0" fmla="*/ 39306 w 237929"/>
                <a:gd name="connsiteY0" fmla="*/ 79955 h 294867"/>
                <a:gd name="connsiteX1" fmla="*/ 0 w 237929"/>
                <a:gd name="connsiteY1" fmla="*/ 20095 h 294867"/>
                <a:gd name="connsiteX2" fmla="*/ 38733 w 237929"/>
                <a:gd name="connsiteY2" fmla="*/ 0 h 294867"/>
                <a:gd name="connsiteX3" fmla="*/ 237929 w 237929"/>
                <a:gd name="connsiteY3" fmla="*/ 258238 h 294867"/>
                <a:gd name="connsiteX4" fmla="*/ 191415 w 237929"/>
                <a:gd name="connsiteY4" fmla="*/ 290069 h 294867"/>
                <a:gd name="connsiteX5" fmla="*/ 180425 w 237929"/>
                <a:gd name="connsiteY5" fmla="*/ 294867 h 294867"/>
                <a:gd name="connsiteX6" fmla="*/ 166448 w 237929"/>
                <a:gd name="connsiteY6" fmla="*/ 273582 h 294867"/>
                <a:gd name="connsiteX7" fmla="*/ 168955 w 237929"/>
                <a:gd name="connsiteY7" fmla="*/ 273136 h 294867"/>
                <a:gd name="connsiteX8" fmla="*/ 236826 w 237929"/>
                <a:gd name="connsiteY8" fmla="*/ 245547 h 294867"/>
                <a:gd name="connsiteX9" fmla="*/ 237929 w 237929"/>
                <a:gd name="connsiteY9" fmla="*/ 252720 h 294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7929" h="294867">
                  <a:moveTo>
                    <a:pt x="39306" y="79955"/>
                  </a:moveTo>
                  <a:lnTo>
                    <a:pt x="0" y="20095"/>
                  </a:lnTo>
                  <a:lnTo>
                    <a:pt x="38733" y="0"/>
                  </a:lnTo>
                  <a:close/>
                  <a:moveTo>
                    <a:pt x="237929" y="258238"/>
                  </a:moveTo>
                  <a:cubicBezTo>
                    <a:pt x="223307" y="270791"/>
                    <a:pt x="207546" y="281309"/>
                    <a:pt x="191415" y="290069"/>
                  </a:cubicBezTo>
                  <a:lnTo>
                    <a:pt x="180425" y="294867"/>
                  </a:lnTo>
                  <a:lnTo>
                    <a:pt x="166448" y="273582"/>
                  </a:lnTo>
                  <a:lnTo>
                    <a:pt x="168955" y="273136"/>
                  </a:lnTo>
                  <a:cubicBezTo>
                    <a:pt x="192130" y="265963"/>
                    <a:pt x="214754" y="256582"/>
                    <a:pt x="236826" y="245547"/>
                  </a:cubicBezTo>
                  <a:cubicBezTo>
                    <a:pt x="237377" y="247754"/>
                    <a:pt x="237929" y="250513"/>
                    <a:pt x="237929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6" name="Forme libre : forme 405">
              <a:extLst>
                <a:ext uri="{FF2B5EF4-FFF2-40B4-BE49-F238E27FC236}">
                  <a16:creationId xmlns:a16="http://schemas.microsoft.com/office/drawing/2014/main" id="{800D034F-ECF4-4F0F-8FF6-C97DAD2143D3}"/>
                </a:ext>
              </a:extLst>
            </p:cNvPr>
            <p:cNvSpPr/>
            <p:nvPr/>
          </p:nvSpPr>
          <p:spPr>
            <a:xfrm rot="8716295">
              <a:off x="5996886" y="-12676"/>
              <a:ext cx="90399" cy="122140"/>
            </a:xfrm>
            <a:custGeom>
              <a:avLst/>
              <a:gdLst>
                <a:gd name="connsiteX0" fmla="*/ 0 w 59727"/>
                <a:gd name="connsiteY0" fmla="*/ 52945 h 80698"/>
                <a:gd name="connsiteX1" fmla="*/ 43791 w 59727"/>
                <a:gd name="connsiteY1" fmla="*/ 0 h 80698"/>
                <a:gd name="connsiteX2" fmla="*/ 59727 w 59727"/>
                <a:gd name="connsiteY2" fmla="*/ 37928 h 80698"/>
                <a:gd name="connsiteX3" fmla="*/ 42480 w 59727"/>
                <a:gd name="connsiteY3" fmla="*/ 79666 h 80698"/>
                <a:gd name="connsiteX4" fmla="*/ 40038 w 59727"/>
                <a:gd name="connsiteY4" fmla="*/ 80698 h 80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727" h="80698">
                  <a:moveTo>
                    <a:pt x="0" y="52945"/>
                  </a:moveTo>
                  <a:lnTo>
                    <a:pt x="43791" y="0"/>
                  </a:lnTo>
                  <a:lnTo>
                    <a:pt x="59727" y="37928"/>
                  </a:lnTo>
                  <a:cubicBezTo>
                    <a:pt x="59727" y="52991"/>
                    <a:pt x="53978" y="68168"/>
                    <a:pt x="42480" y="79666"/>
                  </a:cubicBezTo>
                  <a:lnTo>
                    <a:pt x="40038" y="806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7" name="Forme libre : forme 406">
              <a:extLst>
                <a:ext uri="{FF2B5EF4-FFF2-40B4-BE49-F238E27FC236}">
                  <a16:creationId xmlns:a16="http://schemas.microsoft.com/office/drawing/2014/main" id="{3B32A0F8-96EA-444F-A5F3-4315A6F0F2B6}"/>
                </a:ext>
              </a:extLst>
            </p:cNvPr>
            <p:cNvSpPr/>
            <p:nvPr/>
          </p:nvSpPr>
          <p:spPr>
            <a:xfrm rot="8716295">
              <a:off x="5631023" y="-8174"/>
              <a:ext cx="87445" cy="82387"/>
            </a:xfrm>
            <a:custGeom>
              <a:avLst/>
              <a:gdLst>
                <a:gd name="connsiteX0" fmla="*/ 37946 w 57775"/>
                <a:gd name="connsiteY0" fmla="*/ 54433 h 54433"/>
                <a:gd name="connsiteX1" fmla="*/ 0 w 57775"/>
                <a:gd name="connsiteY1" fmla="*/ 28130 h 54433"/>
                <a:gd name="connsiteX2" fmla="*/ 8222 w 57775"/>
                <a:gd name="connsiteY2" fmla="*/ 8658 h 54433"/>
                <a:gd name="connsiteX3" fmla="*/ 28726 w 57775"/>
                <a:gd name="connsiteY3" fmla="*/ 0 h 54433"/>
                <a:gd name="connsiteX4" fmla="*/ 49232 w 57775"/>
                <a:gd name="connsiteY4" fmla="*/ 8658 h 54433"/>
                <a:gd name="connsiteX5" fmla="*/ 49232 w 57775"/>
                <a:gd name="connsiteY5" fmla="*/ 49668 h 54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775" h="54433">
                  <a:moveTo>
                    <a:pt x="37946" y="54433"/>
                  </a:moveTo>
                  <a:lnTo>
                    <a:pt x="0" y="28130"/>
                  </a:lnTo>
                  <a:lnTo>
                    <a:pt x="8222" y="8658"/>
                  </a:lnTo>
                  <a:cubicBezTo>
                    <a:pt x="13690" y="3190"/>
                    <a:pt x="20981" y="0"/>
                    <a:pt x="28726" y="0"/>
                  </a:cubicBezTo>
                  <a:cubicBezTo>
                    <a:pt x="36473" y="0"/>
                    <a:pt x="43764" y="3190"/>
                    <a:pt x="49232" y="8658"/>
                  </a:cubicBezTo>
                  <a:cubicBezTo>
                    <a:pt x="60624" y="19594"/>
                    <a:pt x="60623" y="38276"/>
                    <a:pt x="49232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pic>
        <p:nvPicPr>
          <p:cNvPr id="408" name="Graphique 407">
            <a:extLst>
              <a:ext uri="{FF2B5EF4-FFF2-40B4-BE49-F238E27FC236}">
                <a16:creationId xmlns:a16="http://schemas.microsoft.com/office/drawing/2014/main" id="{448F94F4-8E31-46DD-9D3E-E96498FF82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97194" y="3988359"/>
            <a:ext cx="2255854" cy="673200"/>
          </a:xfrm>
          <a:prstGeom prst="rect">
            <a:avLst/>
          </a:prstGeom>
        </p:spPr>
      </p:pic>
      <p:sp>
        <p:nvSpPr>
          <p:cNvPr id="411" name="Espace réservé du texte 410">
            <a:extLst>
              <a:ext uri="{FF2B5EF4-FFF2-40B4-BE49-F238E27FC236}">
                <a16:creationId xmlns:a16="http://schemas.microsoft.com/office/drawing/2014/main" id="{E014E6DC-AD19-40E5-A2B7-DF68385EE1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3141" y="526470"/>
            <a:ext cx="7379432" cy="29918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1pPr>
            <a:lvl2pPr marL="0" indent="0" algn="r">
              <a:buNone/>
              <a:defRPr sz="5400" b="1" cap="all" normalizeH="0" baseline="0">
                <a:solidFill>
                  <a:srgbClr val="009FE3"/>
                </a:solidFill>
              </a:defRPr>
            </a:lvl2pPr>
          </a:lstStyle>
          <a:p>
            <a:pPr lvl="0"/>
            <a:r>
              <a:rPr lang="fr-FR" dirty="0"/>
              <a:t>Titre de la présentation</a:t>
            </a:r>
          </a:p>
          <a:p>
            <a:pPr lvl="1"/>
            <a:r>
              <a:rPr lang="fr-FR" dirty="0"/>
              <a:t>exergue</a:t>
            </a:r>
          </a:p>
        </p:txBody>
      </p:sp>
    </p:spTree>
    <p:extLst>
      <p:ext uri="{BB962C8B-B14F-4D97-AF65-F5344CB8AC3E}">
        <p14:creationId xmlns:p14="http://schemas.microsoft.com/office/powerpoint/2010/main" val="244769976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itr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4" name="Groupe 413">
            <a:extLst>
              <a:ext uri="{FF2B5EF4-FFF2-40B4-BE49-F238E27FC236}">
                <a16:creationId xmlns:a16="http://schemas.microsoft.com/office/drawing/2014/main" id="{2644C3EB-70A8-4825-90FB-0BA5647C44C3}"/>
              </a:ext>
            </a:extLst>
          </p:cNvPr>
          <p:cNvGrpSpPr/>
          <p:nvPr userDrawn="1"/>
        </p:nvGrpSpPr>
        <p:grpSpPr>
          <a:xfrm>
            <a:off x="-134707" y="-108618"/>
            <a:ext cx="6284502" cy="5381969"/>
            <a:chOff x="-134707" y="-108618"/>
            <a:chExt cx="6284502" cy="5381969"/>
          </a:xfrm>
          <a:solidFill>
            <a:schemeClr val="bg2">
              <a:alpha val="10000"/>
            </a:schemeClr>
          </a:solidFill>
        </p:grpSpPr>
        <p:sp>
          <p:nvSpPr>
            <p:cNvPr id="415" name="Forme libre : forme 414">
              <a:extLst>
                <a:ext uri="{FF2B5EF4-FFF2-40B4-BE49-F238E27FC236}">
                  <a16:creationId xmlns:a16="http://schemas.microsoft.com/office/drawing/2014/main" id="{26D76879-6717-4423-9F18-EA639E20D75F}"/>
                </a:ext>
              </a:extLst>
            </p:cNvPr>
            <p:cNvSpPr/>
            <p:nvPr/>
          </p:nvSpPr>
          <p:spPr>
            <a:xfrm rot="8716295">
              <a:off x="1460344" y="348006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6" name="Forme libre : forme 415">
              <a:extLst>
                <a:ext uri="{FF2B5EF4-FFF2-40B4-BE49-F238E27FC236}">
                  <a16:creationId xmlns:a16="http://schemas.microsoft.com/office/drawing/2014/main" id="{6F6CD235-6DDC-4933-9FDE-9403C4655E9F}"/>
                </a:ext>
              </a:extLst>
            </p:cNvPr>
            <p:cNvSpPr/>
            <p:nvPr/>
          </p:nvSpPr>
          <p:spPr>
            <a:xfrm rot="8716295">
              <a:off x="1595642" y="352432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7" name="Forme libre : forme 416">
              <a:extLst>
                <a:ext uri="{FF2B5EF4-FFF2-40B4-BE49-F238E27FC236}">
                  <a16:creationId xmlns:a16="http://schemas.microsoft.com/office/drawing/2014/main" id="{1DE6B810-CC68-4D75-A0DA-3AB15B93C310}"/>
                </a:ext>
              </a:extLst>
            </p:cNvPr>
            <p:cNvSpPr/>
            <p:nvPr/>
          </p:nvSpPr>
          <p:spPr>
            <a:xfrm rot="8716295">
              <a:off x="1527760" y="339373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8" name="Forme libre : forme 417">
              <a:extLst>
                <a:ext uri="{FF2B5EF4-FFF2-40B4-BE49-F238E27FC236}">
                  <a16:creationId xmlns:a16="http://schemas.microsoft.com/office/drawing/2014/main" id="{B2F3E872-B9FB-4C1E-8FFB-A353888D6487}"/>
                </a:ext>
              </a:extLst>
            </p:cNvPr>
            <p:cNvSpPr/>
            <p:nvPr/>
          </p:nvSpPr>
          <p:spPr>
            <a:xfrm rot="8716295">
              <a:off x="1290473" y="361408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9" name="Forme libre : forme 418">
              <a:extLst>
                <a:ext uri="{FF2B5EF4-FFF2-40B4-BE49-F238E27FC236}">
                  <a16:creationId xmlns:a16="http://schemas.microsoft.com/office/drawing/2014/main" id="{58C1A8CA-96AF-45F6-BEF0-2F79DFAA8D08}"/>
                </a:ext>
              </a:extLst>
            </p:cNvPr>
            <p:cNvSpPr/>
            <p:nvPr/>
          </p:nvSpPr>
          <p:spPr>
            <a:xfrm rot="8716295">
              <a:off x="1101427" y="329824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0" name="Forme libre : forme 419">
              <a:extLst>
                <a:ext uri="{FF2B5EF4-FFF2-40B4-BE49-F238E27FC236}">
                  <a16:creationId xmlns:a16="http://schemas.microsoft.com/office/drawing/2014/main" id="{E4D6370E-93EF-40F5-A0C4-77E41F8C5928}"/>
                </a:ext>
              </a:extLst>
            </p:cNvPr>
            <p:cNvSpPr/>
            <p:nvPr/>
          </p:nvSpPr>
          <p:spPr>
            <a:xfrm rot="8716295">
              <a:off x="1083185" y="3088198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1" name="Forme libre : forme 420">
              <a:extLst>
                <a:ext uri="{FF2B5EF4-FFF2-40B4-BE49-F238E27FC236}">
                  <a16:creationId xmlns:a16="http://schemas.microsoft.com/office/drawing/2014/main" id="{75EE660D-490C-4E91-B35C-9971F1A8A457}"/>
                </a:ext>
              </a:extLst>
            </p:cNvPr>
            <p:cNvSpPr/>
            <p:nvPr/>
          </p:nvSpPr>
          <p:spPr>
            <a:xfrm rot="8716295">
              <a:off x="1426961" y="367606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2" name="Forme libre : forme 421">
              <a:extLst>
                <a:ext uri="{FF2B5EF4-FFF2-40B4-BE49-F238E27FC236}">
                  <a16:creationId xmlns:a16="http://schemas.microsoft.com/office/drawing/2014/main" id="{D1E2AD0B-852D-4FB3-B735-8BDD01079661}"/>
                </a:ext>
              </a:extLst>
            </p:cNvPr>
            <p:cNvSpPr/>
            <p:nvPr/>
          </p:nvSpPr>
          <p:spPr>
            <a:xfrm rot="8716295">
              <a:off x="1897908" y="310145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3" name="Forme libre : forme 422">
              <a:extLst>
                <a:ext uri="{FF2B5EF4-FFF2-40B4-BE49-F238E27FC236}">
                  <a16:creationId xmlns:a16="http://schemas.microsoft.com/office/drawing/2014/main" id="{429C4CB7-99F5-4D34-89E6-B179CBB2792F}"/>
                </a:ext>
              </a:extLst>
            </p:cNvPr>
            <p:cNvSpPr/>
            <p:nvPr/>
          </p:nvSpPr>
          <p:spPr>
            <a:xfrm rot="8716295">
              <a:off x="2033206" y="314571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4" name="Forme libre : forme 423">
              <a:extLst>
                <a:ext uri="{FF2B5EF4-FFF2-40B4-BE49-F238E27FC236}">
                  <a16:creationId xmlns:a16="http://schemas.microsoft.com/office/drawing/2014/main" id="{33EC79B0-46E8-4552-B0C2-EA4BA94B076A}"/>
                </a:ext>
              </a:extLst>
            </p:cNvPr>
            <p:cNvSpPr/>
            <p:nvPr/>
          </p:nvSpPr>
          <p:spPr>
            <a:xfrm rot="8716295">
              <a:off x="1728037" y="323546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5" name="Forme libre : forme 424">
              <a:extLst>
                <a:ext uri="{FF2B5EF4-FFF2-40B4-BE49-F238E27FC236}">
                  <a16:creationId xmlns:a16="http://schemas.microsoft.com/office/drawing/2014/main" id="{F11F5A76-7590-43AE-A2CA-DBD4FA198BE7}"/>
                </a:ext>
              </a:extLst>
            </p:cNvPr>
            <p:cNvSpPr/>
            <p:nvPr/>
          </p:nvSpPr>
          <p:spPr>
            <a:xfrm rot="8716295">
              <a:off x="1538992" y="291963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6" name="Forme libre : forme 425">
              <a:extLst>
                <a:ext uri="{FF2B5EF4-FFF2-40B4-BE49-F238E27FC236}">
                  <a16:creationId xmlns:a16="http://schemas.microsoft.com/office/drawing/2014/main" id="{4B4E85B8-2719-4100-97B6-FA850AC933E3}"/>
                </a:ext>
              </a:extLst>
            </p:cNvPr>
            <p:cNvSpPr/>
            <p:nvPr/>
          </p:nvSpPr>
          <p:spPr>
            <a:xfrm rot="8716295">
              <a:off x="1864525" y="329745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7" name="Forme libre : forme 426">
              <a:extLst>
                <a:ext uri="{FF2B5EF4-FFF2-40B4-BE49-F238E27FC236}">
                  <a16:creationId xmlns:a16="http://schemas.microsoft.com/office/drawing/2014/main" id="{A27E076C-BF8A-4B98-AA33-E1406E0774AD}"/>
                </a:ext>
              </a:extLst>
            </p:cNvPr>
            <p:cNvSpPr/>
            <p:nvPr/>
          </p:nvSpPr>
          <p:spPr>
            <a:xfrm rot="8716295">
              <a:off x="1499078" y="307102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8" name="Forme libre : forme 427">
              <a:extLst>
                <a:ext uri="{FF2B5EF4-FFF2-40B4-BE49-F238E27FC236}">
                  <a16:creationId xmlns:a16="http://schemas.microsoft.com/office/drawing/2014/main" id="{D95DFA88-032A-4498-8D4C-A6BC58A967C4}"/>
                </a:ext>
              </a:extLst>
            </p:cNvPr>
            <p:cNvSpPr/>
            <p:nvPr/>
          </p:nvSpPr>
          <p:spPr>
            <a:xfrm rot="7484129">
              <a:off x="2023343" y="358706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9" name="Forme libre : forme 428">
              <a:extLst>
                <a:ext uri="{FF2B5EF4-FFF2-40B4-BE49-F238E27FC236}">
                  <a16:creationId xmlns:a16="http://schemas.microsoft.com/office/drawing/2014/main" id="{2D20AB0B-B576-4C51-BD2C-ADE38038FD4A}"/>
                </a:ext>
              </a:extLst>
            </p:cNvPr>
            <p:cNvSpPr/>
            <p:nvPr/>
          </p:nvSpPr>
          <p:spPr>
            <a:xfrm rot="13089394">
              <a:off x="2181992" y="353641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0" name="Forme libre : forme 429">
              <a:extLst>
                <a:ext uri="{FF2B5EF4-FFF2-40B4-BE49-F238E27FC236}">
                  <a16:creationId xmlns:a16="http://schemas.microsoft.com/office/drawing/2014/main" id="{9F954357-46D8-4091-9893-D6D2863074FC}"/>
                </a:ext>
              </a:extLst>
            </p:cNvPr>
            <p:cNvSpPr/>
            <p:nvPr/>
          </p:nvSpPr>
          <p:spPr>
            <a:xfrm rot="8716295">
              <a:off x="2462883" y="3246298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1" name="Forme libre : forme 430">
              <a:extLst>
                <a:ext uri="{FF2B5EF4-FFF2-40B4-BE49-F238E27FC236}">
                  <a16:creationId xmlns:a16="http://schemas.microsoft.com/office/drawing/2014/main" id="{6CD2C382-A770-4048-AFF9-571A0AF515B2}"/>
                </a:ext>
              </a:extLst>
            </p:cNvPr>
            <p:cNvSpPr/>
            <p:nvPr/>
          </p:nvSpPr>
          <p:spPr>
            <a:xfrm rot="8716295">
              <a:off x="2384474" y="308950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2" name="Forme libre : forme 431">
              <a:extLst>
                <a:ext uri="{FF2B5EF4-FFF2-40B4-BE49-F238E27FC236}">
                  <a16:creationId xmlns:a16="http://schemas.microsoft.com/office/drawing/2014/main" id="{43A496C9-D536-4357-8044-8DE46896BD6D}"/>
                </a:ext>
              </a:extLst>
            </p:cNvPr>
            <p:cNvSpPr/>
            <p:nvPr/>
          </p:nvSpPr>
          <p:spPr>
            <a:xfrm rot="8716295">
              <a:off x="2016311" y="313524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3" name="Forme libre : forme 432">
              <a:extLst>
                <a:ext uri="{FF2B5EF4-FFF2-40B4-BE49-F238E27FC236}">
                  <a16:creationId xmlns:a16="http://schemas.microsoft.com/office/drawing/2014/main" id="{F97B172E-F70A-4826-9B46-D11622283D88}"/>
                </a:ext>
              </a:extLst>
            </p:cNvPr>
            <p:cNvSpPr/>
            <p:nvPr/>
          </p:nvSpPr>
          <p:spPr>
            <a:xfrm rot="8716295">
              <a:off x="2284892" y="289422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4" name="Forme libre : forme 433">
              <a:extLst>
                <a:ext uri="{FF2B5EF4-FFF2-40B4-BE49-F238E27FC236}">
                  <a16:creationId xmlns:a16="http://schemas.microsoft.com/office/drawing/2014/main" id="{DBE1C2D7-8DEA-409D-8977-EC4395FEE5AE}"/>
                </a:ext>
              </a:extLst>
            </p:cNvPr>
            <p:cNvSpPr/>
            <p:nvPr/>
          </p:nvSpPr>
          <p:spPr>
            <a:xfrm rot="8716295">
              <a:off x="1798117" y="447855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5" name="Forme libre : forme 434">
              <a:extLst>
                <a:ext uri="{FF2B5EF4-FFF2-40B4-BE49-F238E27FC236}">
                  <a16:creationId xmlns:a16="http://schemas.microsoft.com/office/drawing/2014/main" id="{6CCD94BF-3540-4400-ADAD-029941EA6E42}"/>
                </a:ext>
              </a:extLst>
            </p:cNvPr>
            <p:cNvSpPr/>
            <p:nvPr/>
          </p:nvSpPr>
          <p:spPr>
            <a:xfrm rot="8716295">
              <a:off x="1933415" y="452281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6" name="Forme libre : forme 435">
              <a:extLst>
                <a:ext uri="{FF2B5EF4-FFF2-40B4-BE49-F238E27FC236}">
                  <a16:creationId xmlns:a16="http://schemas.microsoft.com/office/drawing/2014/main" id="{6A711F46-BB76-441D-BBB2-E8BB742A8FA0}"/>
                </a:ext>
              </a:extLst>
            </p:cNvPr>
            <p:cNvSpPr/>
            <p:nvPr/>
          </p:nvSpPr>
          <p:spPr>
            <a:xfrm rot="8716295">
              <a:off x="1865533" y="439222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7" name="Forme libre : forme 436">
              <a:extLst>
                <a:ext uri="{FF2B5EF4-FFF2-40B4-BE49-F238E27FC236}">
                  <a16:creationId xmlns:a16="http://schemas.microsoft.com/office/drawing/2014/main" id="{080AD499-612A-4324-9D7F-432F8DA35F24}"/>
                </a:ext>
              </a:extLst>
            </p:cNvPr>
            <p:cNvSpPr/>
            <p:nvPr/>
          </p:nvSpPr>
          <p:spPr>
            <a:xfrm rot="8716295">
              <a:off x="1628246" y="461256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8" name="Forme libre : forme 437">
              <a:extLst>
                <a:ext uri="{FF2B5EF4-FFF2-40B4-BE49-F238E27FC236}">
                  <a16:creationId xmlns:a16="http://schemas.microsoft.com/office/drawing/2014/main" id="{F65DE21A-C7F5-490D-803A-5E27AE79387F}"/>
                </a:ext>
              </a:extLst>
            </p:cNvPr>
            <p:cNvSpPr/>
            <p:nvPr/>
          </p:nvSpPr>
          <p:spPr>
            <a:xfrm rot="8716295">
              <a:off x="1439200" y="42967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9" name="Forme libre : forme 438">
              <a:extLst>
                <a:ext uri="{FF2B5EF4-FFF2-40B4-BE49-F238E27FC236}">
                  <a16:creationId xmlns:a16="http://schemas.microsoft.com/office/drawing/2014/main" id="{4870EC0D-8313-4FB2-9F0D-D062D3F8FE46}"/>
                </a:ext>
              </a:extLst>
            </p:cNvPr>
            <p:cNvSpPr/>
            <p:nvPr/>
          </p:nvSpPr>
          <p:spPr>
            <a:xfrm rot="8716295">
              <a:off x="1420958" y="408668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0" name="Forme libre : forme 439">
              <a:extLst>
                <a:ext uri="{FF2B5EF4-FFF2-40B4-BE49-F238E27FC236}">
                  <a16:creationId xmlns:a16="http://schemas.microsoft.com/office/drawing/2014/main" id="{1C3E68D2-805A-4614-B9F0-EF8296EB21E7}"/>
                </a:ext>
              </a:extLst>
            </p:cNvPr>
            <p:cNvSpPr/>
            <p:nvPr/>
          </p:nvSpPr>
          <p:spPr>
            <a:xfrm rot="8716295">
              <a:off x="1764734" y="467454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1" name="Forme libre : forme 440">
              <a:extLst>
                <a:ext uri="{FF2B5EF4-FFF2-40B4-BE49-F238E27FC236}">
                  <a16:creationId xmlns:a16="http://schemas.microsoft.com/office/drawing/2014/main" id="{7D006425-5A7F-45EC-8C07-6540BE529EFF}"/>
                </a:ext>
              </a:extLst>
            </p:cNvPr>
            <p:cNvSpPr/>
            <p:nvPr/>
          </p:nvSpPr>
          <p:spPr>
            <a:xfrm rot="8716295">
              <a:off x="2235681" y="409993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2" name="Forme libre : forme 441">
              <a:extLst>
                <a:ext uri="{FF2B5EF4-FFF2-40B4-BE49-F238E27FC236}">
                  <a16:creationId xmlns:a16="http://schemas.microsoft.com/office/drawing/2014/main" id="{EEBCE819-4C86-43C8-A8FD-538E58BE173E}"/>
                </a:ext>
              </a:extLst>
            </p:cNvPr>
            <p:cNvSpPr/>
            <p:nvPr/>
          </p:nvSpPr>
          <p:spPr>
            <a:xfrm rot="8716295">
              <a:off x="2370979" y="414419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3" name="Forme libre : forme 442">
              <a:extLst>
                <a:ext uri="{FF2B5EF4-FFF2-40B4-BE49-F238E27FC236}">
                  <a16:creationId xmlns:a16="http://schemas.microsoft.com/office/drawing/2014/main" id="{5925BB99-2A21-4A4D-AEE9-C74CAEFFF456}"/>
                </a:ext>
              </a:extLst>
            </p:cNvPr>
            <p:cNvSpPr/>
            <p:nvPr/>
          </p:nvSpPr>
          <p:spPr>
            <a:xfrm rot="8716295">
              <a:off x="2065810" y="423395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4" name="Forme libre : forme 443">
              <a:extLst>
                <a:ext uri="{FF2B5EF4-FFF2-40B4-BE49-F238E27FC236}">
                  <a16:creationId xmlns:a16="http://schemas.microsoft.com/office/drawing/2014/main" id="{D90AB38E-9535-4B07-A3B0-C983BFD87309}"/>
                </a:ext>
              </a:extLst>
            </p:cNvPr>
            <p:cNvSpPr/>
            <p:nvPr/>
          </p:nvSpPr>
          <p:spPr>
            <a:xfrm rot="8716295">
              <a:off x="1876765" y="391811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5" name="Forme libre : forme 444">
              <a:extLst>
                <a:ext uri="{FF2B5EF4-FFF2-40B4-BE49-F238E27FC236}">
                  <a16:creationId xmlns:a16="http://schemas.microsoft.com/office/drawing/2014/main" id="{C3701EF3-1A02-4242-AC07-BCBDBF764E8D}"/>
                </a:ext>
              </a:extLst>
            </p:cNvPr>
            <p:cNvSpPr/>
            <p:nvPr/>
          </p:nvSpPr>
          <p:spPr>
            <a:xfrm rot="8716295">
              <a:off x="2202298" y="4295933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6" name="Forme libre : forme 445">
              <a:extLst>
                <a:ext uri="{FF2B5EF4-FFF2-40B4-BE49-F238E27FC236}">
                  <a16:creationId xmlns:a16="http://schemas.microsoft.com/office/drawing/2014/main" id="{AF59F773-3F62-40D5-B816-693C7D75563E}"/>
                </a:ext>
              </a:extLst>
            </p:cNvPr>
            <p:cNvSpPr/>
            <p:nvPr/>
          </p:nvSpPr>
          <p:spPr>
            <a:xfrm rot="8716295">
              <a:off x="1836851" y="406950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7" name="Forme libre : forme 446">
              <a:extLst>
                <a:ext uri="{FF2B5EF4-FFF2-40B4-BE49-F238E27FC236}">
                  <a16:creationId xmlns:a16="http://schemas.microsoft.com/office/drawing/2014/main" id="{FE3D7341-86E2-4F15-99E5-17E65F18A557}"/>
                </a:ext>
              </a:extLst>
            </p:cNvPr>
            <p:cNvSpPr/>
            <p:nvPr/>
          </p:nvSpPr>
          <p:spPr>
            <a:xfrm rot="7484129">
              <a:off x="2361116" y="458555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8" name="Forme libre : forme 447">
              <a:extLst>
                <a:ext uri="{FF2B5EF4-FFF2-40B4-BE49-F238E27FC236}">
                  <a16:creationId xmlns:a16="http://schemas.microsoft.com/office/drawing/2014/main" id="{5C1D71A6-936B-459D-9722-F2C5B66EA99D}"/>
                </a:ext>
              </a:extLst>
            </p:cNvPr>
            <p:cNvSpPr/>
            <p:nvPr/>
          </p:nvSpPr>
          <p:spPr>
            <a:xfrm rot="13089394">
              <a:off x="2519765" y="4534899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9" name="Forme libre : forme 448">
              <a:extLst>
                <a:ext uri="{FF2B5EF4-FFF2-40B4-BE49-F238E27FC236}">
                  <a16:creationId xmlns:a16="http://schemas.microsoft.com/office/drawing/2014/main" id="{239A055E-FAA5-4946-B5AA-160CD0F24098}"/>
                </a:ext>
              </a:extLst>
            </p:cNvPr>
            <p:cNvSpPr/>
            <p:nvPr/>
          </p:nvSpPr>
          <p:spPr>
            <a:xfrm rot="8716295">
              <a:off x="2800656" y="4244781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0" name="Forme libre : forme 449">
              <a:extLst>
                <a:ext uri="{FF2B5EF4-FFF2-40B4-BE49-F238E27FC236}">
                  <a16:creationId xmlns:a16="http://schemas.microsoft.com/office/drawing/2014/main" id="{C61941C7-A0C9-4F01-BFEB-50DC9178AB17}"/>
                </a:ext>
              </a:extLst>
            </p:cNvPr>
            <p:cNvSpPr/>
            <p:nvPr/>
          </p:nvSpPr>
          <p:spPr>
            <a:xfrm rot="8716295">
              <a:off x="2722247" y="4087989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1" name="Forme libre : forme 450">
              <a:extLst>
                <a:ext uri="{FF2B5EF4-FFF2-40B4-BE49-F238E27FC236}">
                  <a16:creationId xmlns:a16="http://schemas.microsoft.com/office/drawing/2014/main" id="{1C15DEFB-74F4-471B-9873-5AB46E67254D}"/>
                </a:ext>
              </a:extLst>
            </p:cNvPr>
            <p:cNvSpPr/>
            <p:nvPr/>
          </p:nvSpPr>
          <p:spPr>
            <a:xfrm rot="8716295">
              <a:off x="2354084" y="413373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2" name="Forme libre : forme 451">
              <a:extLst>
                <a:ext uri="{FF2B5EF4-FFF2-40B4-BE49-F238E27FC236}">
                  <a16:creationId xmlns:a16="http://schemas.microsoft.com/office/drawing/2014/main" id="{9F9771F8-06F4-4F00-A689-90F319B4F22E}"/>
                </a:ext>
              </a:extLst>
            </p:cNvPr>
            <p:cNvSpPr/>
            <p:nvPr/>
          </p:nvSpPr>
          <p:spPr>
            <a:xfrm rot="8716295">
              <a:off x="2622665" y="389271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3" name="Forme libre : forme 452">
              <a:extLst>
                <a:ext uri="{FF2B5EF4-FFF2-40B4-BE49-F238E27FC236}">
                  <a16:creationId xmlns:a16="http://schemas.microsoft.com/office/drawing/2014/main" id="{F08877F6-FFCF-44A0-9498-6A62589B37A0}"/>
                </a:ext>
              </a:extLst>
            </p:cNvPr>
            <p:cNvSpPr/>
            <p:nvPr/>
          </p:nvSpPr>
          <p:spPr>
            <a:xfrm rot="8716295">
              <a:off x="1836002" y="5051565"/>
              <a:ext cx="229466" cy="172677"/>
            </a:xfrm>
            <a:custGeom>
              <a:avLst/>
              <a:gdLst>
                <a:gd name="connsiteX0" fmla="*/ 37429 w 229466"/>
                <a:gd name="connsiteY0" fmla="*/ 127889 h 172677"/>
                <a:gd name="connsiteX1" fmla="*/ 864 w 229466"/>
                <a:gd name="connsiteY1" fmla="*/ 25330 h 172677"/>
                <a:gd name="connsiteX2" fmla="*/ 0 w 229466"/>
                <a:gd name="connsiteY2" fmla="*/ 0 h 172677"/>
                <a:gd name="connsiteX3" fmla="*/ 229466 w 229466"/>
                <a:gd name="connsiteY3" fmla="*/ 159058 h 172677"/>
                <a:gd name="connsiteX4" fmla="*/ 210504 w 229466"/>
                <a:gd name="connsiteY4" fmla="*/ 164122 h 172677"/>
                <a:gd name="connsiteX5" fmla="*/ 146960 w 229466"/>
                <a:gd name="connsiteY5" fmla="*/ 172414 h 172677"/>
                <a:gd name="connsiteX6" fmla="*/ 37429 w 229466"/>
                <a:gd name="connsiteY6" fmla="*/ 127889 h 172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9466" h="172677">
                  <a:moveTo>
                    <a:pt x="37429" y="127889"/>
                  </a:moveTo>
                  <a:cubicBezTo>
                    <a:pt x="14722" y="105850"/>
                    <a:pt x="4537" y="71789"/>
                    <a:pt x="864" y="25330"/>
                  </a:cubicBezTo>
                  <a:lnTo>
                    <a:pt x="0" y="0"/>
                  </a:lnTo>
                  <a:lnTo>
                    <a:pt x="229466" y="159058"/>
                  </a:lnTo>
                  <a:lnTo>
                    <a:pt x="210504" y="164122"/>
                  </a:lnTo>
                  <a:cubicBezTo>
                    <a:pt x="187032" y="168685"/>
                    <a:pt x="165437" y="171301"/>
                    <a:pt x="146960" y="172414"/>
                  </a:cubicBezTo>
                  <a:cubicBezTo>
                    <a:pt x="105998" y="175086"/>
                    <a:pt x="65926" y="157276"/>
                    <a:pt x="37429" y="12788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4" name="Forme libre : forme 453">
              <a:extLst>
                <a:ext uri="{FF2B5EF4-FFF2-40B4-BE49-F238E27FC236}">
                  <a16:creationId xmlns:a16="http://schemas.microsoft.com/office/drawing/2014/main" id="{2206BB34-A379-4319-86EE-02F9BAF96CEF}"/>
                </a:ext>
              </a:extLst>
            </p:cNvPr>
            <p:cNvSpPr/>
            <p:nvPr/>
          </p:nvSpPr>
          <p:spPr>
            <a:xfrm rot="8716295">
              <a:off x="2865171" y="5107739"/>
              <a:ext cx="36955" cy="50812"/>
            </a:xfrm>
            <a:custGeom>
              <a:avLst/>
              <a:gdLst>
                <a:gd name="connsiteX0" fmla="*/ 0 w 36955"/>
                <a:gd name="connsiteY0" fmla="*/ 50812 h 50812"/>
                <a:gd name="connsiteX1" fmla="*/ 0 w 36955"/>
                <a:gd name="connsiteY1" fmla="*/ 0 h 50812"/>
                <a:gd name="connsiteX2" fmla="*/ 36955 w 36955"/>
                <a:gd name="connsiteY2" fmla="*/ 25616 h 50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955" h="50812">
                  <a:moveTo>
                    <a:pt x="0" y="50812"/>
                  </a:moveTo>
                  <a:lnTo>
                    <a:pt x="0" y="0"/>
                  </a:lnTo>
                  <a:lnTo>
                    <a:pt x="36955" y="256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5" name="Forme libre : forme 454">
              <a:extLst>
                <a:ext uri="{FF2B5EF4-FFF2-40B4-BE49-F238E27FC236}">
                  <a16:creationId xmlns:a16="http://schemas.microsoft.com/office/drawing/2014/main" id="{90C6BA39-5B60-4C98-B3CF-8834D6D8FD79}"/>
                </a:ext>
              </a:extLst>
            </p:cNvPr>
            <p:cNvSpPr/>
            <p:nvPr/>
          </p:nvSpPr>
          <p:spPr>
            <a:xfrm rot="8716295">
              <a:off x="2291544" y="4886156"/>
              <a:ext cx="209028" cy="296463"/>
            </a:xfrm>
            <a:custGeom>
              <a:avLst/>
              <a:gdLst>
                <a:gd name="connsiteX0" fmla="*/ 137293 w 209028"/>
                <a:gd name="connsiteY0" fmla="*/ 296463 h 296463"/>
                <a:gd name="connsiteX1" fmla="*/ 72418 w 209028"/>
                <a:gd name="connsiteY1" fmla="*/ 175766 h 296463"/>
                <a:gd name="connsiteX2" fmla="*/ 105610 w 209028"/>
                <a:gd name="connsiteY2" fmla="*/ 83734 h 296463"/>
                <a:gd name="connsiteX3" fmla="*/ 0 w 209028"/>
                <a:gd name="connsiteY3" fmla="*/ 83734 h 296463"/>
                <a:gd name="connsiteX4" fmla="*/ 0 w 209028"/>
                <a:gd name="connsiteY4" fmla="*/ 0 h 296463"/>
                <a:gd name="connsiteX5" fmla="*/ 82199 w 209028"/>
                <a:gd name="connsiteY5" fmla="*/ 0 h 296463"/>
                <a:gd name="connsiteX6" fmla="*/ 209028 w 209028"/>
                <a:gd name="connsiteY6" fmla="*/ 87913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028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82199" y="0"/>
                  </a:lnTo>
                  <a:lnTo>
                    <a:pt x="209028" y="8791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6" name="Forme libre : forme 455">
              <a:extLst>
                <a:ext uri="{FF2B5EF4-FFF2-40B4-BE49-F238E27FC236}">
                  <a16:creationId xmlns:a16="http://schemas.microsoft.com/office/drawing/2014/main" id="{AAE782AF-C820-4904-B08F-997B904CDC4A}"/>
                </a:ext>
              </a:extLst>
            </p:cNvPr>
            <p:cNvSpPr/>
            <p:nvPr/>
          </p:nvSpPr>
          <p:spPr>
            <a:xfrm rot="8716295">
              <a:off x="2159594" y="5061280"/>
              <a:ext cx="112869" cy="105684"/>
            </a:xfrm>
            <a:custGeom>
              <a:avLst/>
              <a:gdLst>
                <a:gd name="connsiteX0" fmla="*/ 17362 w 112869"/>
                <a:gd name="connsiteY0" fmla="*/ 89236 h 105684"/>
                <a:gd name="connsiteX1" fmla="*/ 0 w 112869"/>
                <a:gd name="connsiteY1" fmla="*/ 48117 h 105684"/>
                <a:gd name="connsiteX2" fmla="*/ 0 w 112869"/>
                <a:gd name="connsiteY2" fmla="*/ 47203 h 105684"/>
                <a:gd name="connsiteX3" fmla="*/ 17362 w 112869"/>
                <a:gd name="connsiteY3" fmla="*/ 6084 h 105684"/>
                <a:gd name="connsiteX4" fmla="*/ 31771 w 112869"/>
                <a:gd name="connsiteY4" fmla="*/ 0 h 105684"/>
                <a:gd name="connsiteX5" fmla="*/ 112869 w 112869"/>
                <a:gd name="connsiteY5" fmla="*/ 56215 h 105684"/>
                <a:gd name="connsiteX6" fmla="*/ 99601 w 112869"/>
                <a:gd name="connsiteY6" fmla="*/ 88323 h 105684"/>
                <a:gd name="connsiteX7" fmla="*/ 58481 w 112869"/>
                <a:gd name="connsiteY7" fmla="*/ 105684 h 105684"/>
                <a:gd name="connsiteX8" fmla="*/ 17362 w 112869"/>
                <a:gd name="connsiteY8" fmla="*/ 89236 h 105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869" h="105684">
                  <a:moveTo>
                    <a:pt x="17362" y="89236"/>
                  </a:moveTo>
                  <a:cubicBezTo>
                    <a:pt x="6397" y="78271"/>
                    <a:pt x="0" y="63651"/>
                    <a:pt x="0" y="48117"/>
                  </a:cubicBezTo>
                  <a:lnTo>
                    <a:pt x="0" y="47203"/>
                  </a:lnTo>
                  <a:cubicBezTo>
                    <a:pt x="0" y="31669"/>
                    <a:pt x="6397" y="17049"/>
                    <a:pt x="17362" y="6084"/>
                  </a:cubicBezTo>
                  <a:lnTo>
                    <a:pt x="31771" y="0"/>
                  </a:lnTo>
                  <a:lnTo>
                    <a:pt x="112869" y="56215"/>
                  </a:lnTo>
                  <a:lnTo>
                    <a:pt x="99601" y="88323"/>
                  </a:lnTo>
                  <a:cubicBezTo>
                    <a:pt x="88636" y="99288"/>
                    <a:pt x="74015" y="105684"/>
                    <a:pt x="58481" y="105684"/>
                  </a:cubicBezTo>
                  <a:cubicBezTo>
                    <a:pt x="42947" y="105684"/>
                    <a:pt x="28327" y="100202"/>
                    <a:pt x="17362" y="8923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7" name="Forme libre : forme 456">
              <a:extLst>
                <a:ext uri="{FF2B5EF4-FFF2-40B4-BE49-F238E27FC236}">
                  <a16:creationId xmlns:a16="http://schemas.microsoft.com/office/drawing/2014/main" id="{DEEDD910-88E0-46A6-9511-30F91F188D7C}"/>
                </a:ext>
              </a:extLst>
            </p:cNvPr>
            <p:cNvSpPr/>
            <p:nvPr/>
          </p:nvSpPr>
          <p:spPr>
            <a:xfrm rot="8716295">
              <a:off x="3051941" y="5073759"/>
              <a:ext cx="145251" cy="115110"/>
            </a:xfrm>
            <a:custGeom>
              <a:avLst/>
              <a:gdLst>
                <a:gd name="connsiteX0" fmla="*/ 26453 w 145251"/>
                <a:gd name="connsiteY0" fmla="*/ 90050 h 115110"/>
                <a:gd name="connsiteX1" fmla="*/ 0 w 145251"/>
                <a:gd name="connsiteY1" fmla="*/ 27401 h 115110"/>
                <a:gd name="connsiteX2" fmla="*/ 0 w 145251"/>
                <a:gd name="connsiteY2" fmla="*/ 26008 h 115110"/>
                <a:gd name="connsiteX3" fmla="*/ 10982 w 145251"/>
                <a:gd name="connsiteY3" fmla="*/ 0 h 115110"/>
                <a:gd name="connsiteX4" fmla="*/ 145251 w 145251"/>
                <a:gd name="connsiteY4" fmla="*/ 93071 h 115110"/>
                <a:gd name="connsiteX5" fmla="*/ 123037 w 145251"/>
                <a:gd name="connsiteY5" fmla="*/ 108149 h 115110"/>
                <a:gd name="connsiteX6" fmla="*/ 89101 w 145251"/>
                <a:gd name="connsiteY6" fmla="*/ 115110 h 115110"/>
                <a:gd name="connsiteX7" fmla="*/ 26453 w 145251"/>
                <a:gd name="connsiteY7" fmla="*/ 90050 h 11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5251" h="115110">
                  <a:moveTo>
                    <a:pt x="26453" y="90050"/>
                  </a:moveTo>
                  <a:cubicBezTo>
                    <a:pt x="9746" y="73344"/>
                    <a:pt x="0" y="51068"/>
                    <a:pt x="0" y="27401"/>
                  </a:cubicBezTo>
                  <a:lnTo>
                    <a:pt x="0" y="26008"/>
                  </a:lnTo>
                  <a:lnTo>
                    <a:pt x="10982" y="0"/>
                  </a:lnTo>
                  <a:lnTo>
                    <a:pt x="145251" y="93071"/>
                  </a:lnTo>
                  <a:lnTo>
                    <a:pt x="123037" y="108149"/>
                  </a:lnTo>
                  <a:cubicBezTo>
                    <a:pt x="112421" y="112674"/>
                    <a:pt x="100936" y="115110"/>
                    <a:pt x="89101" y="115110"/>
                  </a:cubicBezTo>
                  <a:cubicBezTo>
                    <a:pt x="65434" y="115110"/>
                    <a:pt x="43159" y="106756"/>
                    <a:pt x="26453" y="900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8" name="Forme libre : forme 457">
              <a:extLst>
                <a:ext uri="{FF2B5EF4-FFF2-40B4-BE49-F238E27FC236}">
                  <a16:creationId xmlns:a16="http://schemas.microsoft.com/office/drawing/2014/main" id="{43CB19E1-F549-45B3-BD6D-2F3BBB712FCF}"/>
                </a:ext>
              </a:extLst>
            </p:cNvPr>
            <p:cNvSpPr/>
            <p:nvPr/>
          </p:nvSpPr>
          <p:spPr>
            <a:xfrm rot="8716295">
              <a:off x="2953631" y="488922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9" name="Forme libre : forme 458">
              <a:extLst>
                <a:ext uri="{FF2B5EF4-FFF2-40B4-BE49-F238E27FC236}">
                  <a16:creationId xmlns:a16="http://schemas.microsoft.com/office/drawing/2014/main" id="{62ED84A3-6167-4C83-A181-D227CFE89DEE}"/>
                </a:ext>
              </a:extLst>
            </p:cNvPr>
            <p:cNvSpPr/>
            <p:nvPr/>
          </p:nvSpPr>
          <p:spPr>
            <a:xfrm rot="8716295">
              <a:off x="1125067" y="247965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0" name="Forme libre : forme 459">
              <a:extLst>
                <a:ext uri="{FF2B5EF4-FFF2-40B4-BE49-F238E27FC236}">
                  <a16:creationId xmlns:a16="http://schemas.microsoft.com/office/drawing/2014/main" id="{6629C390-204C-4458-B724-2A6C51816D1A}"/>
                </a:ext>
              </a:extLst>
            </p:cNvPr>
            <p:cNvSpPr/>
            <p:nvPr/>
          </p:nvSpPr>
          <p:spPr>
            <a:xfrm rot="8716295">
              <a:off x="1260365" y="252391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1" name="Forme libre : forme 460">
              <a:extLst>
                <a:ext uri="{FF2B5EF4-FFF2-40B4-BE49-F238E27FC236}">
                  <a16:creationId xmlns:a16="http://schemas.microsoft.com/office/drawing/2014/main" id="{97B7B890-581D-4115-8816-FCD753CF66AD}"/>
                </a:ext>
              </a:extLst>
            </p:cNvPr>
            <p:cNvSpPr/>
            <p:nvPr/>
          </p:nvSpPr>
          <p:spPr>
            <a:xfrm rot="8716295">
              <a:off x="1192483" y="2393326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2" name="Forme libre : forme 461">
              <a:extLst>
                <a:ext uri="{FF2B5EF4-FFF2-40B4-BE49-F238E27FC236}">
                  <a16:creationId xmlns:a16="http://schemas.microsoft.com/office/drawing/2014/main" id="{BD8D3F38-EB27-45DE-9B7A-0BBD45B7402D}"/>
                </a:ext>
              </a:extLst>
            </p:cNvPr>
            <p:cNvSpPr/>
            <p:nvPr/>
          </p:nvSpPr>
          <p:spPr>
            <a:xfrm rot="8716295">
              <a:off x="955196" y="261367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3" name="Forme libre : forme 462">
              <a:extLst>
                <a:ext uri="{FF2B5EF4-FFF2-40B4-BE49-F238E27FC236}">
                  <a16:creationId xmlns:a16="http://schemas.microsoft.com/office/drawing/2014/main" id="{5B75726D-49A3-4FF8-933B-6C7B899241CE}"/>
                </a:ext>
              </a:extLst>
            </p:cNvPr>
            <p:cNvSpPr/>
            <p:nvPr/>
          </p:nvSpPr>
          <p:spPr>
            <a:xfrm rot="8716295">
              <a:off x="766149" y="229783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4" name="Forme libre : forme 463">
              <a:extLst>
                <a:ext uri="{FF2B5EF4-FFF2-40B4-BE49-F238E27FC236}">
                  <a16:creationId xmlns:a16="http://schemas.microsoft.com/office/drawing/2014/main" id="{E24EBA4F-EA30-42CA-AE82-25AD970D7646}"/>
                </a:ext>
              </a:extLst>
            </p:cNvPr>
            <p:cNvSpPr/>
            <p:nvPr/>
          </p:nvSpPr>
          <p:spPr>
            <a:xfrm rot="8716295">
              <a:off x="747908" y="2087785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5" name="Forme libre : forme 464">
              <a:extLst>
                <a:ext uri="{FF2B5EF4-FFF2-40B4-BE49-F238E27FC236}">
                  <a16:creationId xmlns:a16="http://schemas.microsoft.com/office/drawing/2014/main" id="{E2A695D6-7168-4A61-BBE4-65A85205EC8D}"/>
                </a:ext>
              </a:extLst>
            </p:cNvPr>
            <p:cNvSpPr/>
            <p:nvPr/>
          </p:nvSpPr>
          <p:spPr>
            <a:xfrm rot="8716295">
              <a:off x="1091684" y="2675653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6" name="Forme libre : forme 465">
              <a:extLst>
                <a:ext uri="{FF2B5EF4-FFF2-40B4-BE49-F238E27FC236}">
                  <a16:creationId xmlns:a16="http://schemas.microsoft.com/office/drawing/2014/main" id="{E30794E6-5983-41A0-85F7-1177811DAA69}"/>
                </a:ext>
              </a:extLst>
            </p:cNvPr>
            <p:cNvSpPr/>
            <p:nvPr/>
          </p:nvSpPr>
          <p:spPr>
            <a:xfrm rot="8716295">
              <a:off x="1562630" y="210103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7" name="Forme libre : forme 466">
              <a:extLst>
                <a:ext uri="{FF2B5EF4-FFF2-40B4-BE49-F238E27FC236}">
                  <a16:creationId xmlns:a16="http://schemas.microsoft.com/office/drawing/2014/main" id="{AB100FB8-5A47-45FF-A736-AC13181C693F}"/>
                </a:ext>
              </a:extLst>
            </p:cNvPr>
            <p:cNvSpPr/>
            <p:nvPr/>
          </p:nvSpPr>
          <p:spPr>
            <a:xfrm rot="8716295">
              <a:off x="1697929" y="214529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8" name="Forme libre : forme 467">
              <a:extLst>
                <a:ext uri="{FF2B5EF4-FFF2-40B4-BE49-F238E27FC236}">
                  <a16:creationId xmlns:a16="http://schemas.microsoft.com/office/drawing/2014/main" id="{81FCAA69-A703-43D5-90B2-A5FE09CDC15A}"/>
                </a:ext>
              </a:extLst>
            </p:cNvPr>
            <p:cNvSpPr/>
            <p:nvPr/>
          </p:nvSpPr>
          <p:spPr>
            <a:xfrm rot="8716295">
              <a:off x="1392759" y="223505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9" name="Forme libre : forme 468">
              <a:extLst>
                <a:ext uri="{FF2B5EF4-FFF2-40B4-BE49-F238E27FC236}">
                  <a16:creationId xmlns:a16="http://schemas.microsoft.com/office/drawing/2014/main" id="{F72C6E00-EB30-4F27-B358-913C2822A889}"/>
                </a:ext>
              </a:extLst>
            </p:cNvPr>
            <p:cNvSpPr/>
            <p:nvPr/>
          </p:nvSpPr>
          <p:spPr>
            <a:xfrm rot="8716295">
              <a:off x="1203715" y="191921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0" name="Forme libre : forme 469">
              <a:extLst>
                <a:ext uri="{FF2B5EF4-FFF2-40B4-BE49-F238E27FC236}">
                  <a16:creationId xmlns:a16="http://schemas.microsoft.com/office/drawing/2014/main" id="{361BE4A3-8069-446D-90C4-26FC3152CCE0}"/>
                </a:ext>
              </a:extLst>
            </p:cNvPr>
            <p:cNvSpPr/>
            <p:nvPr/>
          </p:nvSpPr>
          <p:spPr>
            <a:xfrm rot="8716295">
              <a:off x="1529248" y="2297037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1" name="Forme libre : forme 470">
              <a:extLst>
                <a:ext uri="{FF2B5EF4-FFF2-40B4-BE49-F238E27FC236}">
                  <a16:creationId xmlns:a16="http://schemas.microsoft.com/office/drawing/2014/main" id="{A6315079-AF63-4B06-AD9B-40EEFE3B3E8B}"/>
                </a:ext>
              </a:extLst>
            </p:cNvPr>
            <p:cNvSpPr/>
            <p:nvPr/>
          </p:nvSpPr>
          <p:spPr>
            <a:xfrm rot="8716295">
              <a:off x="1163801" y="2070611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2" name="Forme libre : forme 471">
              <a:extLst>
                <a:ext uri="{FF2B5EF4-FFF2-40B4-BE49-F238E27FC236}">
                  <a16:creationId xmlns:a16="http://schemas.microsoft.com/office/drawing/2014/main" id="{2C75BE5F-5979-4F78-A59E-3840B80E9CA3}"/>
                </a:ext>
              </a:extLst>
            </p:cNvPr>
            <p:cNvSpPr/>
            <p:nvPr/>
          </p:nvSpPr>
          <p:spPr>
            <a:xfrm rot="7484129">
              <a:off x="1688065" y="258665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3" name="Forme libre : forme 472">
              <a:extLst>
                <a:ext uri="{FF2B5EF4-FFF2-40B4-BE49-F238E27FC236}">
                  <a16:creationId xmlns:a16="http://schemas.microsoft.com/office/drawing/2014/main" id="{F508FCB0-FB88-480F-9341-2213C529AF00}"/>
                </a:ext>
              </a:extLst>
            </p:cNvPr>
            <p:cNvSpPr/>
            <p:nvPr/>
          </p:nvSpPr>
          <p:spPr>
            <a:xfrm rot="13089394">
              <a:off x="1846715" y="2536003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4" name="Forme libre : forme 473">
              <a:extLst>
                <a:ext uri="{FF2B5EF4-FFF2-40B4-BE49-F238E27FC236}">
                  <a16:creationId xmlns:a16="http://schemas.microsoft.com/office/drawing/2014/main" id="{B959FEB1-DFD0-4DE6-B296-0E35D4323808}"/>
                </a:ext>
              </a:extLst>
            </p:cNvPr>
            <p:cNvSpPr/>
            <p:nvPr/>
          </p:nvSpPr>
          <p:spPr>
            <a:xfrm rot="8716295">
              <a:off x="2127606" y="2245885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5" name="Forme libre : forme 474">
              <a:extLst>
                <a:ext uri="{FF2B5EF4-FFF2-40B4-BE49-F238E27FC236}">
                  <a16:creationId xmlns:a16="http://schemas.microsoft.com/office/drawing/2014/main" id="{67FA008A-954F-42E5-B276-F1C227A67F8E}"/>
                </a:ext>
              </a:extLst>
            </p:cNvPr>
            <p:cNvSpPr/>
            <p:nvPr/>
          </p:nvSpPr>
          <p:spPr>
            <a:xfrm rot="8716295">
              <a:off x="2049197" y="208909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6" name="Forme libre : forme 475">
              <a:extLst>
                <a:ext uri="{FF2B5EF4-FFF2-40B4-BE49-F238E27FC236}">
                  <a16:creationId xmlns:a16="http://schemas.microsoft.com/office/drawing/2014/main" id="{F2F193F6-2E0D-41E8-95C5-8F1192FDE740}"/>
                </a:ext>
              </a:extLst>
            </p:cNvPr>
            <p:cNvSpPr/>
            <p:nvPr/>
          </p:nvSpPr>
          <p:spPr>
            <a:xfrm rot="8716295">
              <a:off x="1681033" y="21348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7" name="Forme libre : forme 476">
              <a:extLst>
                <a:ext uri="{FF2B5EF4-FFF2-40B4-BE49-F238E27FC236}">
                  <a16:creationId xmlns:a16="http://schemas.microsoft.com/office/drawing/2014/main" id="{A96550A6-B207-45AD-A7BA-4B8953554164}"/>
                </a:ext>
              </a:extLst>
            </p:cNvPr>
            <p:cNvSpPr/>
            <p:nvPr/>
          </p:nvSpPr>
          <p:spPr>
            <a:xfrm rot="8716295">
              <a:off x="1949615" y="189381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8" name="Forme libre : forme 477">
              <a:extLst>
                <a:ext uri="{FF2B5EF4-FFF2-40B4-BE49-F238E27FC236}">
                  <a16:creationId xmlns:a16="http://schemas.microsoft.com/office/drawing/2014/main" id="{6F37CD06-4319-4DC6-9617-4E1A5DB80D5C}"/>
                </a:ext>
              </a:extLst>
            </p:cNvPr>
            <p:cNvSpPr/>
            <p:nvPr/>
          </p:nvSpPr>
          <p:spPr>
            <a:xfrm rot="8716295">
              <a:off x="787294" y="148117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9" name="Forme libre : forme 478">
              <a:extLst>
                <a:ext uri="{FF2B5EF4-FFF2-40B4-BE49-F238E27FC236}">
                  <a16:creationId xmlns:a16="http://schemas.microsoft.com/office/drawing/2014/main" id="{1D10C06F-21E5-4932-8315-49C11C1DF8B1}"/>
                </a:ext>
              </a:extLst>
            </p:cNvPr>
            <p:cNvSpPr/>
            <p:nvPr/>
          </p:nvSpPr>
          <p:spPr>
            <a:xfrm rot="8716295">
              <a:off x="922592" y="152543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0" name="Forme libre : forme 479">
              <a:extLst>
                <a:ext uri="{FF2B5EF4-FFF2-40B4-BE49-F238E27FC236}">
                  <a16:creationId xmlns:a16="http://schemas.microsoft.com/office/drawing/2014/main" id="{38C358EC-E58C-4C5E-9C0A-AF30964E5E3F}"/>
                </a:ext>
              </a:extLst>
            </p:cNvPr>
            <p:cNvSpPr/>
            <p:nvPr/>
          </p:nvSpPr>
          <p:spPr>
            <a:xfrm rot="8716295">
              <a:off x="854710" y="1394843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1" name="Forme libre : forme 480">
              <a:extLst>
                <a:ext uri="{FF2B5EF4-FFF2-40B4-BE49-F238E27FC236}">
                  <a16:creationId xmlns:a16="http://schemas.microsoft.com/office/drawing/2014/main" id="{67BF3E00-6BD7-4B0A-BB51-FD922EDEE623}"/>
                </a:ext>
              </a:extLst>
            </p:cNvPr>
            <p:cNvSpPr/>
            <p:nvPr/>
          </p:nvSpPr>
          <p:spPr>
            <a:xfrm rot="8716295">
              <a:off x="617423" y="161518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2" name="Forme libre : forme 481">
              <a:extLst>
                <a:ext uri="{FF2B5EF4-FFF2-40B4-BE49-F238E27FC236}">
                  <a16:creationId xmlns:a16="http://schemas.microsoft.com/office/drawing/2014/main" id="{E3A6DB3D-9EF4-4413-8FD5-EEC3980C3376}"/>
                </a:ext>
              </a:extLst>
            </p:cNvPr>
            <p:cNvSpPr/>
            <p:nvPr/>
          </p:nvSpPr>
          <p:spPr>
            <a:xfrm rot="8716295">
              <a:off x="428376" y="129935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3" name="Forme libre : forme 482">
              <a:extLst>
                <a:ext uri="{FF2B5EF4-FFF2-40B4-BE49-F238E27FC236}">
                  <a16:creationId xmlns:a16="http://schemas.microsoft.com/office/drawing/2014/main" id="{6D423D62-7B8A-436E-AD6C-850B60BB03AE}"/>
                </a:ext>
              </a:extLst>
            </p:cNvPr>
            <p:cNvSpPr/>
            <p:nvPr/>
          </p:nvSpPr>
          <p:spPr>
            <a:xfrm rot="8716295">
              <a:off x="410135" y="1089302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4" name="Forme libre : forme 483">
              <a:extLst>
                <a:ext uri="{FF2B5EF4-FFF2-40B4-BE49-F238E27FC236}">
                  <a16:creationId xmlns:a16="http://schemas.microsoft.com/office/drawing/2014/main" id="{D0C637D4-3E92-4154-B446-44CE8B7CE721}"/>
                </a:ext>
              </a:extLst>
            </p:cNvPr>
            <p:cNvSpPr/>
            <p:nvPr/>
          </p:nvSpPr>
          <p:spPr>
            <a:xfrm rot="8716295">
              <a:off x="753911" y="1677170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5" name="Forme libre : forme 484">
              <a:extLst>
                <a:ext uri="{FF2B5EF4-FFF2-40B4-BE49-F238E27FC236}">
                  <a16:creationId xmlns:a16="http://schemas.microsoft.com/office/drawing/2014/main" id="{84081F2F-BF8F-4E91-A344-93A6DA6FC1E0}"/>
                </a:ext>
              </a:extLst>
            </p:cNvPr>
            <p:cNvSpPr/>
            <p:nvPr/>
          </p:nvSpPr>
          <p:spPr>
            <a:xfrm rot="8716295">
              <a:off x="1224858" y="1102556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6" name="Forme libre : forme 485">
              <a:extLst>
                <a:ext uri="{FF2B5EF4-FFF2-40B4-BE49-F238E27FC236}">
                  <a16:creationId xmlns:a16="http://schemas.microsoft.com/office/drawing/2014/main" id="{7C9184F4-BF5B-4DA9-A062-83FD3655E3F6}"/>
                </a:ext>
              </a:extLst>
            </p:cNvPr>
            <p:cNvSpPr/>
            <p:nvPr/>
          </p:nvSpPr>
          <p:spPr>
            <a:xfrm rot="8716295">
              <a:off x="1360156" y="1146815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7" name="Forme libre : forme 486">
              <a:extLst>
                <a:ext uri="{FF2B5EF4-FFF2-40B4-BE49-F238E27FC236}">
                  <a16:creationId xmlns:a16="http://schemas.microsoft.com/office/drawing/2014/main" id="{B8ECE7A3-302A-4D3D-9B90-035B6382DA0C}"/>
                </a:ext>
              </a:extLst>
            </p:cNvPr>
            <p:cNvSpPr/>
            <p:nvPr/>
          </p:nvSpPr>
          <p:spPr>
            <a:xfrm rot="8716295">
              <a:off x="1054986" y="123657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8" name="Forme libre : forme 487">
              <a:extLst>
                <a:ext uri="{FF2B5EF4-FFF2-40B4-BE49-F238E27FC236}">
                  <a16:creationId xmlns:a16="http://schemas.microsoft.com/office/drawing/2014/main" id="{E0DF77FC-C3A0-462E-8020-761B7D4843AA}"/>
                </a:ext>
              </a:extLst>
            </p:cNvPr>
            <p:cNvSpPr/>
            <p:nvPr/>
          </p:nvSpPr>
          <p:spPr>
            <a:xfrm rot="8716295">
              <a:off x="865942" y="92073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9" name="Forme libre : forme 488">
              <a:extLst>
                <a:ext uri="{FF2B5EF4-FFF2-40B4-BE49-F238E27FC236}">
                  <a16:creationId xmlns:a16="http://schemas.microsoft.com/office/drawing/2014/main" id="{52D29D01-2445-47B5-91EF-D02F08E5948B}"/>
                </a:ext>
              </a:extLst>
            </p:cNvPr>
            <p:cNvSpPr/>
            <p:nvPr/>
          </p:nvSpPr>
          <p:spPr>
            <a:xfrm rot="8716295">
              <a:off x="1191475" y="1298554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0" name="Forme libre : forme 489">
              <a:extLst>
                <a:ext uri="{FF2B5EF4-FFF2-40B4-BE49-F238E27FC236}">
                  <a16:creationId xmlns:a16="http://schemas.microsoft.com/office/drawing/2014/main" id="{31533B8B-357B-4036-93FD-FF1E10E0FE0E}"/>
                </a:ext>
              </a:extLst>
            </p:cNvPr>
            <p:cNvSpPr/>
            <p:nvPr/>
          </p:nvSpPr>
          <p:spPr>
            <a:xfrm rot="8716295">
              <a:off x="826028" y="1072128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1" name="Forme libre : forme 490">
              <a:extLst>
                <a:ext uri="{FF2B5EF4-FFF2-40B4-BE49-F238E27FC236}">
                  <a16:creationId xmlns:a16="http://schemas.microsoft.com/office/drawing/2014/main" id="{0319CBD7-2844-4889-A47B-BEF0E4A2AACF}"/>
                </a:ext>
              </a:extLst>
            </p:cNvPr>
            <p:cNvSpPr/>
            <p:nvPr/>
          </p:nvSpPr>
          <p:spPr>
            <a:xfrm rot="7484129">
              <a:off x="1350292" y="158817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2" name="Forme libre : forme 491">
              <a:extLst>
                <a:ext uri="{FF2B5EF4-FFF2-40B4-BE49-F238E27FC236}">
                  <a16:creationId xmlns:a16="http://schemas.microsoft.com/office/drawing/2014/main" id="{537AE2C1-B9DD-443D-860F-907323537C0F}"/>
                </a:ext>
              </a:extLst>
            </p:cNvPr>
            <p:cNvSpPr/>
            <p:nvPr/>
          </p:nvSpPr>
          <p:spPr>
            <a:xfrm rot="13089394">
              <a:off x="1508942" y="1537520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3" name="Forme libre : forme 492">
              <a:extLst>
                <a:ext uri="{FF2B5EF4-FFF2-40B4-BE49-F238E27FC236}">
                  <a16:creationId xmlns:a16="http://schemas.microsoft.com/office/drawing/2014/main" id="{62070BB3-5EB6-454F-8436-ED4636F6C6C0}"/>
                </a:ext>
              </a:extLst>
            </p:cNvPr>
            <p:cNvSpPr/>
            <p:nvPr/>
          </p:nvSpPr>
          <p:spPr>
            <a:xfrm rot="8716295">
              <a:off x="1789833" y="1247402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4" name="Forme libre : forme 493">
              <a:extLst>
                <a:ext uri="{FF2B5EF4-FFF2-40B4-BE49-F238E27FC236}">
                  <a16:creationId xmlns:a16="http://schemas.microsoft.com/office/drawing/2014/main" id="{63D06019-DB35-49E7-9B75-C5C677486C47}"/>
                </a:ext>
              </a:extLst>
            </p:cNvPr>
            <p:cNvSpPr/>
            <p:nvPr/>
          </p:nvSpPr>
          <p:spPr>
            <a:xfrm rot="8716295">
              <a:off x="1711424" y="109061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5" name="Forme libre : forme 494">
              <a:extLst>
                <a:ext uri="{FF2B5EF4-FFF2-40B4-BE49-F238E27FC236}">
                  <a16:creationId xmlns:a16="http://schemas.microsoft.com/office/drawing/2014/main" id="{AC35D58D-6BCA-422D-A84A-C08AE882F755}"/>
                </a:ext>
              </a:extLst>
            </p:cNvPr>
            <p:cNvSpPr/>
            <p:nvPr/>
          </p:nvSpPr>
          <p:spPr>
            <a:xfrm rot="8716295">
              <a:off x="1343261" y="113635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6" name="Forme libre : forme 495">
              <a:extLst>
                <a:ext uri="{FF2B5EF4-FFF2-40B4-BE49-F238E27FC236}">
                  <a16:creationId xmlns:a16="http://schemas.microsoft.com/office/drawing/2014/main" id="{C3F0E063-06D9-403B-99E6-BB3237996E1B}"/>
                </a:ext>
              </a:extLst>
            </p:cNvPr>
            <p:cNvSpPr/>
            <p:nvPr/>
          </p:nvSpPr>
          <p:spPr>
            <a:xfrm rot="8716295">
              <a:off x="1611842" y="89533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7" name="Forme libre : forme 496">
              <a:extLst>
                <a:ext uri="{FF2B5EF4-FFF2-40B4-BE49-F238E27FC236}">
                  <a16:creationId xmlns:a16="http://schemas.microsoft.com/office/drawing/2014/main" id="{83B9BD85-375F-4AB1-BC95-AAD81C50A908}"/>
                </a:ext>
              </a:extLst>
            </p:cNvPr>
            <p:cNvSpPr/>
            <p:nvPr/>
          </p:nvSpPr>
          <p:spPr>
            <a:xfrm rot="8716295">
              <a:off x="455920" y="47911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8" name="Forme libre : forme 497">
              <a:extLst>
                <a:ext uri="{FF2B5EF4-FFF2-40B4-BE49-F238E27FC236}">
                  <a16:creationId xmlns:a16="http://schemas.microsoft.com/office/drawing/2014/main" id="{FC92AE50-339F-438A-B507-6C2370C5AFF3}"/>
                </a:ext>
              </a:extLst>
            </p:cNvPr>
            <p:cNvSpPr/>
            <p:nvPr/>
          </p:nvSpPr>
          <p:spPr>
            <a:xfrm rot="8716295">
              <a:off x="591219" y="52337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9" name="Forme libre : forme 498">
              <a:extLst>
                <a:ext uri="{FF2B5EF4-FFF2-40B4-BE49-F238E27FC236}">
                  <a16:creationId xmlns:a16="http://schemas.microsoft.com/office/drawing/2014/main" id="{54C59C12-6A91-48F2-87DB-0682382DD09D}"/>
                </a:ext>
              </a:extLst>
            </p:cNvPr>
            <p:cNvSpPr/>
            <p:nvPr/>
          </p:nvSpPr>
          <p:spPr>
            <a:xfrm rot="8716295">
              <a:off x="523336" y="39278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0" name="Forme libre : forme 499">
              <a:extLst>
                <a:ext uri="{FF2B5EF4-FFF2-40B4-BE49-F238E27FC236}">
                  <a16:creationId xmlns:a16="http://schemas.microsoft.com/office/drawing/2014/main" id="{F0F22371-A174-4D4A-8A0A-5D19546D786C}"/>
                </a:ext>
              </a:extLst>
            </p:cNvPr>
            <p:cNvSpPr/>
            <p:nvPr/>
          </p:nvSpPr>
          <p:spPr>
            <a:xfrm rot="8716295">
              <a:off x="286049" y="6131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1" name="Forme libre : forme 500">
              <a:extLst>
                <a:ext uri="{FF2B5EF4-FFF2-40B4-BE49-F238E27FC236}">
                  <a16:creationId xmlns:a16="http://schemas.microsoft.com/office/drawing/2014/main" id="{D0BB4669-780F-4E5E-B642-FB1F4E6F67B9}"/>
                </a:ext>
              </a:extLst>
            </p:cNvPr>
            <p:cNvSpPr/>
            <p:nvPr/>
          </p:nvSpPr>
          <p:spPr>
            <a:xfrm rot="8716295">
              <a:off x="97003" y="2972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2" name="Forme libre : forme 501">
              <a:extLst>
                <a:ext uri="{FF2B5EF4-FFF2-40B4-BE49-F238E27FC236}">
                  <a16:creationId xmlns:a16="http://schemas.microsoft.com/office/drawing/2014/main" id="{78FC04FC-3C5A-4110-BA92-C74135DB8751}"/>
                </a:ext>
              </a:extLst>
            </p:cNvPr>
            <p:cNvSpPr/>
            <p:nvPr/>
          </p:nvSpPr>
          <p:spPr>
            <a:xfrm rot="8716295">
              <a:off x="78761" y="87249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3" name="Forme libre : forme 502">
              <a:extLst>
                <a:ext uri="{FF2B5EF4-FFF2-40B4-BE49-F238E27FC236}">
                  <a16:creationId xmlns:a16="http://schemas.microsoft.com/office/drawing/2014/main" id="{C2E6CE4F-5F3A-4543-9D9D-2001E6575F77}"/>
                </a:ext>
              </a:extLst>
            </p:cNvPr>
            <p:cNvSpPr/>
            <p:nvPr/>
          </p:nvSpPr>
          <p:spPr>
            <a:xfrm rot="8716295">
              <a:off x="422537" y="67511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4" name="Forme libre : forme 503">
              <a:extLst>
                <a:ext uri="{FF2B5EF4-FFF2-40B4-BE49-F238E27FC236}">
                  <a16:creationId xmlns:a16="http://schemas.microsoft.com/office/drawing/2014/main" id="{19E20CB2-4A2B-49CF-9B17-B00F225DAA21}"/>
                </a:ext>
              </a:extLst>
            </p:cNvPr>
            <p:cNvSpPr/>
            <p:nvPr/>
          </p:nvSpPr>
          <p:spPr>
            <a:xfrm rot="8716295">
              <a:off x="893484" y="10050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5" name="Forme libre : forme 504">
              <a:extLst>
                <a:ext uri="{FF2B5EF4-FFF2-40B4-BE49-F238E27FC236}">
                  <a16:creationId xmlns:a16="http://schemas.microsoft.com/office/drawing/2014/main" id="{7B6646AF-3F73-4CC0-A23D-AB23A3A10661}"/>
                </a:ext>
              </a:extLst>
            </p:cNvPr>
            <p:cNvSpPr/>
            <p:nvPr/>
          </p:nvSpPr>
          <p:spPr>
            <a:xfrm rot="8716295">
              <a:off x="1028783" y="14476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6" name="Forme libre : forme 505">
              <a:extLst>
                <a:ext uri="{FF2B5EF4-FFF2-40B4-BE49-F238E27FC236}">
                  <a16:creationId xmlns:a16="http://schemas.microsoft.com/office/drawing/2014/main" id="{73DB9AE6-8F32-4BD7-8EF8-F9845AE6D585}"/>
                </a:ext>
              </a:extLst>
            </p:cNvPr>
            <p:cNvSpPr/>
            <p:nvPr/>
          </p:nvSpPr>
          <p:spPr>
            <a:xfrm rot="8716295">
              <a:off x="723613" y="23451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7" name="Forme libre : forme 506">
              <a:extLst>
                <a:ext uri="{FF2B5EF4-FFF2-40B4-BE49-F238E27FC236}">
                  <a16:creationId xmlns:a16="http://schemas.microsoft.com/office/drawing/2014/main" id="{8B1BC984-37F5-4C1C-AA88-33F4EF21408C}"/>
                </a:ext>
              </a:extLst>
            </p:cNvPr>
            <p:cNvSpPr/>
            <p:nvPr/>
          </p:nvSpPr>
          <p:spPr>
            <a:xfrm rot="8716295">
              <a:off x="547803" y="-17289"/>
              <a:ext cx="308531" cy="226033"/>
            </a:xfrm>
            <a:custGeom>
              <a:avLst/>
              <a:gdLst>
                <a:gd name="connsiteX0" fmla="*/ 106716 w 203847"/>
                <a:gd name="connsiteY0" fmla="*/ 149340 h 149340"/>
                <a:gd name="connsiteX1" fmla="*/ 50038 w 203847"/>
                <a:gd name="connsiteY1" fmla="*/ 110053 h 149340"/>
                <a:gd name="connsiteX2" fmla="*/ 69777 w 203847"/>
                <a:gd name="connsiteY2" fmla="*/ 55323 h 149340"/>
                <a:gd name="connsiteX3" fmla="*/ 0 w 203847"/>
                <a:gd name="connsiteY3" fmla="*/ 55323 h 149340"/>
                <a:gd name="connsiteX4" fmla="*/ 0 w 203847"/>
                <a:gd name="connsiteY4" fmla="*/ 0 h 149340"/>
                <a:gd name="connsiteX5" fmla="*/ 203847 w 203847"/>
                <a:gd name="connsiteY5" fmla="*/ 0 h 149340"/>
                <a:gd name="connsiteX6" fmla="*/ 203847 w 203847"/>
                <a:gd name="connsiteY6" fmla="*/ 55323 h 149340"/>
                <a:gd name="connsiteX7" fmla="*/ 139055 w 203847"/>
                <a:gd name="connsiteY7" fmla="*/ 55323 h 14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49340">
                  <a:moveTo>
                    <a:pt x="106716" y="149340"/>
                  </a:moveTo>
                  <a:lnTo>
                    <a:pt x="50038" y="110053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8" name="Forme libre : forme 507">
              <a:extLst>
                <a:ext uri="{FF2B5EF4-FFF2-40B4-BE49-F238E27FC236}">
                  <a16:creationId xmlns:a16="http://schemas.microsoft.com/office/drawing/2014/main" id="{AA6E9B9A-88DC-4BB7-810B-97399B40FACE}"/>
                </a:ext>
              </a:extLst>
            </p:cNvPr>
            <p:cNvSpPr/>
            <p:nvPr/>
          </p:nvSpPr>
          <p:spPr>
            <a:xfrm rot="8716295">
              <a:off x="860101" y="29650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9" name="Forme libre : forme 508">
              <a:extLst>
                <a:ext uri="{FF2B5EF4-FFF2-40B4-BE49-F238E27FC236}">
                  <a16:creationId xmlns:a16="http://schemas.microsoft.com/office/drawing/2014/main" id="{C2E3FBE5-FDDF-4B02-AD4F-2ADFB2584906}"/>
                </a:ext>
              </a:extLst>
            </p:cNvPr>
            <p:cNvSpPr/>
            <p:nvPr/>
          </p:nvSpPr>
          <p:spPr>
            <a:xfrm rot="8716295">
              <a:off x="494655" y="7007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0" name="Forme libre : forme 509">
              <a:extLst>
                <a:ext uri="{FF2B5EF4-FFF2-40B4-BE49-F238E27FC236}">
                  <a16:creationId xmlns:a16="http://schemas.microsoft.com/office/drawing/2014/main" id="{8D7DCA7A-0D6F-4030-B7E0-0EA6D8ACDAA6}"/>
                </a:ext>
              </a:extLst>
            </p:cNvPr>
            <p:cNvSpPr/>
            <p:nvPr/>
          </p:nvSpPr>
          <p:spPr>
            <a:xfrm rot="7484129">
              <a:off x="1018919" y="58611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1" name="Forme libre : forme 510">
              <a:extLst>
                <a:ext uri="{FF2B5EF4-FFF2-40B4-BE49-F238E27FC236}">
                  <a16:creationId xmlns:a16="http://schemas.microsoft.com/office/drawing/2014/main" id="{6D4EAF04-5D5F-44DD-A3E0-0E1DDC2042FF}"/>
                </a:ext>
              </a:extLst>
            </p:cNvPr>
            <p:cNvSpPr/>
            <p:nvPr/>
          </p:nvSpPr>
          <p:spPr>
            <a:xfrm rot="13089394">
              <a:off x="1177568" y="53546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2" name="Forme libre : forme 511">
              <a:extLst>
                <a:ext uri="{FF2B5EF4-FFF2-40B4-BE49-F238E27FC236}">
                  <a16:creationId xmlns:a16="http://schemas.microsoft.com/office/drawing/2014/main" id="{200143E0-7D80-44AE-AF14-B3CC222BC375}"/>
                </a:ext>
              </a:extLst>
            </p:cNvPr>
            <p:cNvSpPr/>
            <p:nvPr/>
          </p:nvSpPr>
          <p:spPr>
            <a:xfrm rot="8716295">
              <a:off x="1458459" y="24534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3" name="Forme libre : forme 512">
              <a:extLst>
                <a:ext uri="{FF2B5EF4-FFF2-40B4-BE49-F238E27FC236}">
                  <a16:creationId xmlns:a16="http://schemas.microsoft.com/office/drawing/2014/main" id="{9CE5AF88-C20D-48EF-AF58-A03290B7BA4C}"/>
                </a:ext>
              </a:extLst>
            </p:cNvPr>
            <p:cNvSpPr/>
            <p:nvPr/>
          </p:nvSpPr>
          <p:spPr>
            <a:xfrm rot="8716295">
              <a:off x="1380050" y="8855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4" name="Forme libre : forme 513">
              <a:extLst>
                <a:ext uri="{FF2B5EF4-FFF2-40B4-BE49-F238E27FC236}">
                  <a16:creationId xmlns:a16="http://schemas.microsoft.com/office/drawing/2014/main" id="{99B484F1-3CA8-4FD2-BC39-A8183120B894}"/>
                </a:ext>
              </a:extLst>
            </p:cNvPr>
            <p:cNvSpPr/>
            <p:nvPr/>
          </p:nvSpPr>
          <p:spPr>
            <a:xfrm rot="8716295">
              <a:off x="1011887" y="13429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5" name="Forme libre : forme 514">
              <a:extLst>
                <a:ext uri="{FF2B5EF4-FFF2-40B4-BE49-F238E27FC236}">
                  <a16:creationId xmlns:a16="http://schemas.microsoft.com/office/drawing/2014/main" id="{1253AC62-0DE9-44F9-9AB2-21C92FCEF50A}"/>
                </a:ext>
              </a:extLst>
            </p:cNvPr>
            <p:cNvSpPr/>
            <p:nvPr/>
          </p:nvSpPr>
          <p:spPr>
            <a:xfrm rot="8716295">
              <a:off x="1291652" y="-36449"/>
              <a:ext cx="134197" cy="106947"/>
            </a:xfrm>
            <a:custGeom>
              <a:avLst/>
              <a:gdLst>
                <a:gd name="connsiteX0" fmla="*/ 83649 w 88664"/>
                <a:gd name="connsiteY0" fmla="*/ 70660 h 70660"/>
                <a:gd name="connsiteX1" fmla="*/ 0 w 88664"/>
                <a:gd name="connsiteY1" fmla="*/ 12677 h 70660"/>
                <a:gd name="connsiteX2" fmla="*/ 30024 w 88664"/>
                <a:gd name="connsiteY2" fmla="*/ 0 h 70660"/>
                <a:gd name="connsiteX3" fmla="*/ 71417 w 88664"/>
                <a:gd name="connsiteY3" fmla="*/ 17477 h 70660"/>
                <a:gd name="connsiteX4" fmla="*/ 88664 w 88664"/>
                <a:gd name="connsiteY4" fmla="*/ 58525 h 70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664" h="70660">
                  <a:moveTo>
                    <a:pt x="83649" y="70660"/>
                  </a:moveTo>
                  <a:lnTo>
                    <a:pt x="0" y="12677"/>
                  </a:lnTo>
                  <a:lnTo>
                    <a:pt x="30024" y="0"/>
                  </a:lnTo>
                  <a:cubicBezTo>
                    <a:pt x="45662" y="0"/>
                    <a:pt x="60379" y="6439"/>
                    <a:pt x="71417" y="17477"/>
                  </a:cubicBezTo>
                  <a:cubicBezTo>
                    <a:pt x="82915" y="28515"/>
                    <a:pt x="88664" y="43462"/>
                    <a:pt x="88664" y="58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6" name="Forme libre : forme 515">
              <a:extLst>
                <a:ext uri="{FF2B5EF4-FFF2-40B4-BE49-F238E27FC236}">
                  <a16:creationId xmlns:a16="http://schemas.microsoft.com/office/drawing/2014/main" id="{73FDFCAD-75A6-474E-8BA1-4C60FF021A16}"/>
                </a:ext>
              </a:extLst>
            </p:cNvPr>
            <p:cNvSpPr/>
            <p:nvPr/>
          </p:nvSpPr>
          <p:spPr>
            <a:xfrm rot="13089394">
              <a:off x="990163" y="-39748"/>
              <a:ext cx="111277" cy="115595"/>
            </a:xfrm>
            <a:custGeom>
              <a:avLst/>
              <a:gdLst>
                <a:gd name="connsiteX0" fmla="*/ 73521 w 73521"/>
                <a:gd name="connsiteY0" fmla="*/ 18609 h 76374"/>
                <a:gd name="connsiteX1" fmla="*/ 0 w 73521"/>
                <a:gd name="connsiteY1" fmla="*/ 76374 h 76374"/>
                <a:gd name="connsiteX2" fmla="*/ 0 w 73521"/>
                <a:gd name="connsiteY2" fmla="*/ 38074 h 76374"/>
                <a:gd name="connsiteX3" fmla="*/ 73388 w 73521"/>
                <a:gd name="connsiteY3" fmla="*/ 0 h 7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521" h="76374">
                  <a:moveTo>
                    <a:pt x="73521" y="18609"/>
                  </a:moveTo>
                  <a:lnTo>
                    <a:pt x="0" y="76374"/>
                  </a:lnTo>
                  <a:lnTo>
                    <a:pt x="0" y="38074"/>
                  </a:lnTo>
                  <a:lnTo>
                    <a:pt x="7338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7" name="Forme libre : forme 516">
              <a:extLst>
                <a:ext uri="{FF2B5EF4-FFF2-40B4-BE49-F238E27FC236}">
                  <a16:creationId xmlns:a16="http://schemas.microsoft.com/office/drawing/2014/main" id="{BE611C7D-8BA6-43CB-A58B-F8EA1A27689B}"/>
                </a:ext>
              </a:extLst>
            </p:cNvPr>
            <p:cNvSpPr/>
            <p:nvPr/>
          </p:nvSpPr>
          <p:spPr>
            <a:xfrm rot="8716295">
              <a:off x="121288" y="414134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8" name="Forme libre : forme 517">
              <a:extLst>
                <a:ext uri="{FF2B5EF4-FFF2-40B4-BE49-F238E27FC236}">
                  <a16:creationId xmlns:a16="http://schemas.microsoft.com/office/drawing/2014/main" id="{537B7576-15D7-45FC-9504-149B076B9937}"/>
                </a:ext>
              </a:extLst>
            </p:cNvPr>
            <p:cNvSpPr/>
            <p:nvPr/>
          </p:nvSpPr>
          <p:spPr>
            <a:xfrm rot="8716295">
              <a:off x="256586" y="418560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9" name="Forme libre : forme 518">
              <a:extLst>
                <a:ext uri="{FF2B5EF4-FFF2-40B4-BE49-F238E27FC236}">
                  <a16:creationId xmlns:a16="http://schemas.microsoft.com/office/drawing/2014/main" id="{0A1143F2-3F82-47D4-91E8-F0134D901FA7}"/>
                </a:ext>
              </a:extLst>
            </p:cNvPr>
            <p:cNvSpPr/>
            <p:nvPr/>
          </p:nvSpPr>
          <p:spPr>
            <a:xfrm rot="8716295">
              <a:off x="188704" y="405501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0" name="Forme libre : forme 519">
              <a:extLst>
                <a:ext uri="{FF2B5EF4-FFF2-40B4-BE49-F238E27FC236}">
                  <a16:creationId xmlns:a16="http://schemas.microsoft.com/office/drawing/2014/main" id="{B5D55B28-879B-49A7-B221-37C39BC82601}"/>
                </a:ext>
              </a:extLst>
            </p:cNvPr>
            <p:cNvSpPr/>
            <p:nvPr/>
          </p:nvSpPr>
          <p:spPr>
            <a:xfrm rot="8716295">
              <a:off x="-22408" y="4278013"/>
              <a:ext cx="57413" cy="71926"/>
            </a:xfrm>
            <a:custGeom>
              <a:avLst/>
              <a:gdLst>
                <a:gd name="connsiteX0" fmla="*/ 11441 w 57413"/>
                <a:gd name="connsiteY0" fmla="*/ 71926 h 71926"/>
                <a:gd name="connsiteX1" fmla="*/ 0 w 57413"/>
                <a:gd name="connsiteY1" fmla="*/ 44829 h 71926"/>
                <a:gd name="connsiteX2" fmla="*/ 0 w 57413"/>
                <a:gd name="connsiteY2" fmla="*/ 44139 h 71926"/>
                <a:gd name="connsiteX3" fmla="*/ 13104 w 57413"/>
                <a:gd name="connsiteY3" fmla="*/ 13104 h 71926"/>
                <a:gd name="connsiteX4" fmla="*/ 44139 w 57413"/>
                <a:gd name="connsiteY4" fmla="*/ 0 h 71926"/>
                <a:gd name="connsiteX5" fmla="*/ 57413 w 57413"/>
                <a:gd name="connsiteY5" fmla="*/ 5605 h 71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413" h="71926">
                  <a:moveTo>
                    <a:pt x="11441" y="71926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lnTo>
                    <a:pt x="57413" y="5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1" name="Forme libre : forme 520">
              <a:extLst>
                <a:ext uri="{FF2B5EF4-FFF2-40B4-BE49-F238E27FC236}">
                  <a16:creationId xmlns:a16="http://schemas.microsoft.com/office/drawing/2014/main" id="{7E605206-C485-4E6D-8FEE-341C14E73705}"/>
                </a:ext>
              </a:extLst>
            </p:cNvPr>
            <p:cNvSpPr/>
            <p:nvPr/>
          </p:nvSpPr>
          <p:spPr>
            <a:xfrm rot="8716295">
              <a:off x="-36969" y="4107248"/>
              <a:ext cx="147272" cy="83734"/>
            </a:xfrm>
            <a:custGeom>
              <a:avLst/>
              <a:gdLst>
                <a:gd name="connsiteX0" fmla="*/ 0 w 147272"/>
                <a:gd name="connsiteY0" fmla="*/ 83734 h 83734"/>
                <a:gd name="connsiteX1" fmla="*/ 0 w 147272"/>
                <a:gd name="connsiteY1" fmla="*/ 0 h 83734"/>
                <a:gd name="connsiteX2" fmla="*/ 147272 w 147272"/>
                <a:gd name="connsiteY2" fmla="*/ 0 h 83734"/>
                <a:gd name="connsiteX3" fmla="*/ 89230 w 147272"/>
                <a:gd name="connsiteY3" fmla="*/ 83734 h 83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272" h="83734">
                  <a:moveTo>
                    <a:pt x="0" y="83734"/>
                  </a:moveTo>
                  <a:lnTo>
                    <a:pt x="0" y="0"/>
                  </a:lnTo>
                  <a:lnTo>
                    <a:pt x="147272" y="0"/>
                  </a:lnTo>
                  <a:lnTo>
                    <a:pt x="89230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2" name="Forme libre : forme 521">
              <a:extLst>
                <a:ext uri="{FF2B5EF4-FFF2-40B4-BE49-F238E27FC236}">
                  <a16:creationId xmlns:a16="http://schemas.microsoft.com/office/drawing/2014/main" id="{9262118B-C43E-403C-A844-12CE419F6DFC}"/>
                </a:ext>
              </a:extLst>
            </p:cNvPr>
            <p:cNvSpPr/>
            <p:nvPr/>
          </p:nvSpPr>
          <p:spPr>
            <a:xfrm rot="8716295">
              <a:off x="43378" y="3712531"/>
              <a:ext cx="125537" cy="468763"/>
            </a:xfrm>
            <a:custGeom>
              <a:avLst/>
              <a:gdLst>
                <a:gd name="connsiteX0" fmla="*/ 29455 w 125537"/>
                <a:gd name="connsiteY0" fmla="*/ 468763 h 468763"/>
                <a:gd name="connsiteX1" fmla="*/ 7792 w 125537"/>
                <a:gd name="connsiteY1" fmla="*/ 425988 h 468763"/>
                <a:gd name="connsiteX2" fmla="*/ 0 w 125537"/>
                <a:gd name="connsiteY2" fmla="*/ 333043 h 468763"/>
                <a:gd name="connsiteX3" fmla="*/ 0 w 125537"/>
                <a:gd name="connsiteY3" fmla="*/ 61444 h 468763"/>
                <a:gd name="connsiteX4" fmla="*/ 118434 w 125537"/>
                <a:gd name="connsiteY4" fmla="*/ 0 h 468763"/>
                <a:gd name="connsiteX5" fmla="*/ 120216 w 125537"/>
                <a:gd name="connsiteY5" fmla="*/ 248447 h 468763"/>
                <a:gd name="connsiteX6" fmla="*/ 123889 w 125537"/>
                <a:gd name="connsiteY6" fmla="*/ 323359 h 468763"/>
                <a:gd name="connsiteX7" fmla="*/ 125537 w 125537"/>
                <a:gd name="connsiteY7" fmla="*/ 330150 h 468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537" h="468763">
                  <a:moveTo>
                    <a:pt x="29455" y="468763"/>
                  </a:moveTo>
                  <a:lnTo>
                    <a:pt x="7792" y="425988"/>
                  </a:lnTo>
                  <a:cubicBezTo>
                    <a:pt x="2003" y="400498"/>
                    <a:pt x="0" y="369553"/>
                    <a:pt x="0" y="333043"/>
                  </a:cubicBezTo>
                  <a:lnTo>
                    <a:pt x="0" y="61444"/>
                  </a:lnTo>
                  <a:lnTo>
                    <a:pt x="118434" y="0"/>
                  </a:lnTo>
                  <a:lnTo>
                    <a:pt x="120216" y="248447"/>
                  </a:lnTo>
                  <a:cubicBezTo>
                    <a:pt x="118880" y="273381"/>
                    <a:pt x="120216" y="298537"/>
                    <a:pt x="123889" y="323359"/>
                  </a:cubicBezTo>
                  <a:lnTo>
                    <a:pt x="125537" y="3301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3" name="Forme libre : forme 522">
              <a:extLst>
                <a:ext uri="{FF2B5EF4-FFF2-40B4-BE49-F238E27FC236}">
                  <a16:creationId xmlns:a16="http://schemas.microsoft.com/office/drawing/2014/main" id="{4BDDBD24-F9E2-4370-BF1B-2A9C91E4A4FF}"/>
                </a:ext>
              </a:extLst>
            </p:cNvPr>
            <p:cNvSpPr/>
            <p:nvPr/>
          </p:nvSpPr>
          <p:spPr>
            <a:xfrm rot="8716295">
              <a:off x="87905" y="4337347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4" name="Forme libre : forme 523">
              <a:extLst>
                <a:ext uri="{FF2B5EF4-FFF2-40B4-BE49-F238E27FC236}">
                  <a16:creationId xmlns:a16="http://schemas.microsoft.com/office/drawing/2014/main" id="{E770B9C9-EE23-473B-B01E-6BB3712BE82B}"/>
                </a:ext>
              </a:extLst>
            </p:cNvPr>
            <p:cNvSpPr/>
            <p:nvPr/>
          </p:nvSpPr>
          <p:spPr>
            <a:xfrm rot="8716295">
              <a:off x="558851" y="376273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5" name="Forme libre : forme 524">
              <a:extLst>
                <a:ext uri="{FF2B5EF4-FFF2-40B4-BE49-F238E27FC236}">
                  <a16:creationId xmlns:a16="http://schemas.microsoft.com/office/drawing/2014/main" id="{69CD1B6A-90CE-49F4-8CA4-B80659E38C5D}"/>
                </a:ext>
              </a:extLst>
            </p:cNvPr>
            <p:cNvSpPr/>
            <p:nvPr/>
          </p:nvSpPr>
          <p:spPr>
            <a:xfrm rot="8716295">
              <a:off x="694150" y="380699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6" name="Forme libre : forme 525">
              <a:extLst>
                <a:ext uri="{FF2B5EF4-FFF2-40B4-BE49-F238E27FC236}">
                  <a16:creationId xmlns:a16="http://schemas.microsoft.com/office/drawing/2014/main" id="{354B8CCD-805B-4819-BC93-507146A6D2AC}"/>
                </a:ext>
              </a:extLst>
            </p:cNvPr>
            <p:cNvSpPr/>
            <p:nvPr/>
          </p:nvSpPr>
          <p:spPr>
            <a:xfrm rot="8716295">
              <a:off x="388980" y="389674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7" name="Forme libre : forme 526">
              <a:extLst>
                <a:ext uri="{FF2B5EF4-FFF2-40B4-BE49-F238E27FC236}">
                  <a16:creationId xmlns:a16="http://schemas.microsoft.com/office/drawing/2014/main" id="{FCD4B19E-37FF-4C42-AA11-3F7471268AD4}"/>
                </a:ext>
              </a:extLst>
            </p:cNvPr>
            <p:cNvSpPr/>
            <p:nvPr/>
          </p:nvSpPr>
          <p:spPr>
            <a:xfrm rot="8716295">
              <a:off x="199936" y="358091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8" name="Forme libre : forme 527">
              <a:extLst>
                <a:ext uri="{FF2B5EF4-FFF2-40B4-BE49-F238E27FC236}">
                  <a16:creationId xmlns:a16="http://schemas.microsoft.com/office/drawing/2014/main" id="{7B22B143-3C4D-4536-9820-8662B8F3F3CC}"/>
                </a:ext>
              </a:extLst>
            </p:cNvPr>
            <p:cNvSpPr/>
            <p:nvPr/>
          </p:nvSpPr>
          <p:spPr>
            <a:xfrm rot="8716295">
              <a:off x="525469" y="3958731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9" name="Forme libre : forme 528">
              <a:extLst>
                <a:ext uri="{FF2B5EF4-FFF2-40B4-BE49-F238E27FC236}">
                  <a16:creationId xmlns:a16="http://schemas.microsoft.com/office/drawing/2014/main" id="{3BFA5721-0E15-4A36-915F-A957BACB9B6B}"/>
                </a:ext>
              </a:extLst>
            </p:cNvPr>
            <p:cNvSpPr/>
            <p:nvPr/>
          </p:nvSpPr>
          <p:spPr>
            <a:xfrm rot="8716295">
              <a:off x="160022" y="3732305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0" name="Forme libre : forme 529">
              <a:extLst>
                <a:ext uri="{FF2B5EF4-FFF2-40B4-BE49-F238E27FC236}">
                  <a16:creationId xmlns:a16="http://schemas.microsoft.com/office/drawing/2014/main" id="{350A0875-8913-4861-A26B-5026CC870AB7}"/>
                </a:ext>
              </a:extLst>
            </p:cNvPr>
            <p:cNvSpPr/>
            <p:nvPr/>
          </p:nvSpPr>
          <p:spPr>
            <a:xfrm rot="7484129">
              <a:off x="684286" y="424834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1" name="Forme libre : forme 530">
              <a:extLst>
                <a:ext uri="{FF2B5EF4-FFF2-40B4-BE49-F238E27FC236}">
                  <a16:creationId xmlns:a16="http://schemas.microsoft.com/office/drawing/2014/main" id="{180B0A13-53B0-43A7-9AB8-C87CD24102F1}"/>
                </a:ext>
              </a:extLst>
            </p:cNvPr>
            <p:cNvSpPr/>
            <p:nvPr/>
          </p:nvSpPr>
          <p:spPr>
            <a:xfrm rot="13089394">
              <a:off x="842936" y="4197697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2" name="Forme libre : forme 531">
              <a:extLst>
                <a:ext uri="{FF2B5EF4-FFF2-40B4-BE49-F238E27FC236}">
                  <a16:creationId xmlns:a16="http://schemas.microsoft.com/office/drawing/2014/main" id="{977134C1-FB1A-4DF1-BB49-2753CD9EFE64}"/>
                </a:ext>
              </a:extLst>
            </p:cNvPr>
            <p:cNvSpPr/>
            <p:nvPr/>
          </p:nvSpPr>
          <p:spPr>
            <a:xfrm rot="8716295">
              <a:off x="1123827" y="390757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3" name="Forme libre : forme 532">
              <a:extLst>
                <a:ext uri="{FF2B5EF4-FFF2-40B4-BE49-F238E27FC236}">
                  <a16:creationId xmlns:a16="http://schemas.microsoft.com/office/drawing/2014/main" id="{995F6F00-62E2-46A6-B6D6-2E24CC951A9A}"/>
                </a:ext>
              </a:extLst>
            </p:cNvPr>
            <p:cNvSpPr/>
            <p:nvPr/>
          </p:nvSpPr>
          <p:spPr>
            <a:xfrm rot="8716295">
              <a:off x="1045418" y="375078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4" name="Forme libre : forme 533">
              <a:extLst>
                <a:ext uri="{FF2B5EF4-FFF2-40B4-BE49-F238E27FC236}">
                  <a16:creationId xmlns:a16="http://schemas.microsoft.com/office/drawing/2014/main" id="{A3F1DE5A-4286-4044-969C-2885B786F6A8}"/>
                </a:ext>
              </a:extLst>
            </p:cNvPr>
            <p:cNvSpPr/>
            <p:nvPr/>
          </p:nvSpPr>
          <p:spPr>
            <a:xfrm rot="8716295">
              <a:off x="677254" y="379652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5" name="Forme libre : forme 534">
              <a:extLst>
                <a:ext uri="{FF2B5EF4-FFF2-40B4-BE49-F238E27FC236}">
                  <a16:creationId xmlns:a16="http://schemas.microsoft.com/office/drawing/2014/main" id="{94E18040-33C6-4F17-A913-2CCF3B22084B}"/>
                </a:ext>
              </a:extLst>
            </p:cNvPr>
            <p:cNvSpPr/>
            <p:nvPr/>
          </p:nvSpPr>
          <p:spPr>
            <a:xfrm rot="8716295">
              <a:off x="945836" y="355550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6" name="Forme libre : forme 535">
              <a:extLst>
                <a:ext uri="{FF2B5EF4-FFF2-40B4-BE49-F238E27FC236}">
                  <a16:creationId xmlns:a16="http://schemas.microsoft.com/office/drawing/2014/main" id="{A9C222B1-4EB2-4073-B2D7-C74FB6F4EB84}"/>
                </a:ext>
              </a:extLst>
            </p:cNvPr>
            <p:cNvSpPr/>
            <p:nvPr/>
          </p:nvSpPr>
          <p:spPr>
            <a:xfrm rot="8716295">
              <a:off x="601570" y="5027951"/>
              <a:ext cx="169680" cy="113030"/>
            </a:xfrm>
            <a:custGeom>
              <a:avLst/>
              <a:gdLst>
                <a:gd name="connsiteX0" fmla="*/ 8965 w 169680"/>
                <a:gd name="connsiteY0" fmla="*/ 113030 h 113030"/>
                <a:gd name="connsiteX1" fmla="*/ 0 w 169680"/>
                <a:gd name="connsiteY1" fmla="*/ 100616 h 113030"/>
                <a:gd name="connsiteX2" fmla="*/ 106933 w 169680"/>
                <a:gd name="connsiteY2" fmla="*/ 0 h 113030"/>
                <a:gd name="connsiteX3" fmla="*/ 169680 w 169680"/>
                <a:gd name="connsiteY3" fmla="*/ 43494 h 113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680" h="113030">
                  <a:moveTo>
                    <a:pt x="8965" y="113030"/>
                  </a:moveTo>
                  <a:lnTo>
                    <a:pt x="0" y="100616"/>
                  </a:lnTo>
                  <a:lnTo>
                    <a:pt x="106933" y="0"/>
                  </a:lnTo>
                  <a:lnTo>
                    <a:pt x="169680" y="434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7" name="Forme libre : forme 536">
              <a:extLst>
                <a:ext uri="{FF2B5EF4-FFF2-40B4-BE49-F238E27FC236}">
                  <a16:creationId xmlns:a16="http://schemas.microsoft.com/office/drawing/2014/main" id="{44BF5385-3A6A-43AF-83DC-C028C02E5E2C}"/>
                </a:ext>
              </a:extLst>
            </p:cNvPr>
            <p:cNvSpPr/>
            <p:nvPr/>
          </p:nvSpPr>
          <p:spPr>
            <a:xfrm rot="8716295">
              <a:off x="197311" y="4925365"/>
              <a:ext cx="194366" cy="296463"/>
            </a:xfrm>
            <a:custGeom>
              <a:avLst/>
              <a:gdLst>
                <a:gd name="connsiteX0" fmla="*/ 137293 w 194366"/>
                <a:gd name="connsiteY0" fmla="*/ 296463 h 296463"/>
                <a:gd name="connsiteX1" fmla="*/ 72418 w 194366"/>
                <a:gd name="connsiteY1" fmla="*/ 175766 h 296463"/>
                <a:gd name="connsiteX2" fmla="*/ 105610 w 194366"/>
                <a:gd name="connsiteY2" fmla="*/ 83734 h 296463"/>
                <a:gd name="connsiteX3" fmla="*/ 0 w 194366"/>
                <a:gd name="connsiteY3" fmla="*/ 83734 h 296463"/>
                <a:gd name="connsiteX4" fmla="*/ 0 w 194366"/>
                <a:gd name="connsiteY4" fmla="*/ 0 h 296463"/>
                <a:gd name="connsiteX5" fmla="*/ 6043 w 194366"/>
                <a:gd name="connsiteY5" fmla="*/ 0 h 296463"/>
                <a:gd name="connsiteX6" fmla="*/ 194366 w 194366"/>
                <a:gd name="connsiteY6" fmla="*/ 130539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4366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6043" y="0"/>
                  </a:lnTo>
                  <a:lnTo>
                    <a:pt x="194366" y="1305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8" name="Forme libre : forme 537">
              <a:extLst>
                <a:ext uri="{FF2B5EF4-FFF2-40B4-BE49-F238E27FC236}">
                  <a16:creationId xmlns:a16="http://schemas.microsoft.com/office/drawing/2014/main" id="{5CF1CD9D-552A-4CCB-B9A3-0F1972CF10E7}"/>
                </a:ext>
              </a:extLst>
            </p:cNvPr>
            <p:cNvSpPr/>
            <p:nvPr/>
          </p:nvSpPr>
          <p:spPr>
            <a:xfrm rot="8716295">
              <a:off x="81902" y="4747962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9" name="Forme libre : forme 538">
              <a:extLst>
                <a:ext uri="{FF2B5EF4-FFF2-40B4-BE49-F238E27FC236}">
                  <a16:creationId xmlns:a16="http://schemas.microsoft.com/office/drawing/2014/main" id="{89D63773-02CD-4D03-8182-ECDC8799BAA4}"/>
                </a:ext>
              </a:extLst>
            </p:cNvPr>
            <p:cNvSpPr/>
            <p:nvPr/>
          </p:nvSpPr>
          <p:spPr>
            <a:xfrm rot="8716295">
              <a:off x="896624" y="4761216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0" name="Forme libre : forme 539">
              <a:extLst>
                <a:ext uri="{FF2B5EF4-FFF2-40B4-BE49-F238E27FC236}">
                  <a16:creationId xmlns:a16="http://schemas.microsoft.com/office/drawing/2014/main" id="{33BF861B-C1D8-40D6-A4A6-F4A4F57DC0A7}"/>
                </a:ext>
              </a:extLst>
            </p:cNvPr>
            <p:cNvSpPr/>
            <p:nvPr/>
          </p:nvSpPr>
          <p:spPr>
            <a:xfrm rot="8716295">
              <a:off x="1032483" y="4799006"/>
              <a:ext cx="389853" cy="383455"/>
            </a:xfrm>
            <a:custGeom>
              <a:avLst/>
              <a:gdLst>
                <a:gd name="connsiteX0" fmla="*/ 77932 w 389853"/>
                <a:gd name="connsiteY0" fmla="*/ 383455 h 383455"/>
                <a:gd name="connsiteX1" fmla="*/ 77932 w 389853"/>
                <a:gd name="connsiteY1" fmla="*/ 66898 h 383455"/>
                <a:gd name="connsiteX2" fmla="*/ 0 w 389853"/>
                <a:gd name="connsiteY2" fmla="*/ 66898 h 383455"/>
                <a:gd name="connsiteX3" fmla="*/ 0 w 389853"/>
                <a:gd name="connsiteY3" fmla="*/ 0 h 383455"/>
                <a:gd name="connsiteX4" fmla="*/ 158623 w 389853"/>
                <a:gd name="connsiteY4" fmla="*/ 0 h 383455"/>
                <a:gd name="connsiteX5" fmla="*/ 158623 w 389853"/>
                <a:gd name="connsiteY5" fmla="*/ 111726 h 383455"/>
                <a:gd name="connsiteX6" fmla="*/ 160692 w 389853"/>
                <a:gd name="connsiteY6" fmla="*/ 111726 h 383455"/>
                <a:gd name="connsiteX7" fmla="*/ 192762 w 389853"/>
                <a:gd name="connsiteY7" fmla="*/ 39914 h 383455"/>
                <a:gd name="connsiteX8" fmla="*/ 216292 w 389853"/>
                <a:gd name="connsiteY8" fmla="*/ 20658 h 383455"/>
                <a:gd name="connsiteX9" fmla="*/ 389853 w 389853"/>
                <a:gd name="connsiteY9" fmla="*/ 140965 h 383455"/>
                <a:gd name="connsiteX10" fmla="*/ 300695 w 389853"/>
                <a:gd name="connsiteY10" fmla="*/ 146210 h 383455"/>
                <a:gd name="connsiteX11" fmla="*/ 300694 w 389853"/>
                <a:gd name="connsiteY11" fmla="*/ 121382 h 383455"/>
                <a:gd name="connsiteX12" fmla="*/ 249659 w 389853"/>
                <a:gd name="connsiteY12" fmla="*/ 58622 h 383455"/>
                <a:gd name="connsiteX13" fmla="*/ 168969 w 389853"/>
                <a:gd name="connsiteY13" fmla="*/ 191038 h 383455"/>
                <a:gd name="connsiteX14" fmla="*/ 168969 w 389853"/>
                <a:gd name="connsiteY14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9853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71727" y="78967"/>
                    <a:pt x="181555" y="56208"/>
                    <a:pt x="192762" y="39914"/>
                  </a:cubicBezTo>
                  <a:lnTo>
                    <a:pt x="216292" y="20658"/>
                  </a:lnTo>
                  <a:lnTo>
                    <a:pt x="389853" y="140965"/>
                  </a:lnTo>
                  <a:lnTo>
                    <a:pt x="300695" y="146210"/>
                  </a:lnTo>
                  <a:lnTo>
                    <a:pt x="300694" y="121382"/>
                  </a:lnTo>
                  <a:cubicBezTo>
                    <a:pt x="300695" y="84140"/>
                    <a:pt x="279315" y="58621"/>
                    <a:pt x="249659" y="58622"/>
                  </a:cubicBezTo>
                  <a:cubicBezTo>
                    <a:pt x="205521" y="58621"/>
                    <a:pt x="168969" y="117244"/>
                    <a:pt x="168969" y="191038"/>
                  </a:cubicBez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1" name="Forme libre : forme 540">
              <a:extLst>
                <a:ext uri="{FF2B5EF4-FFF2-40B4-BE49-F238E27FC236}">
                  <a16:creationId xmlns:a16="http://schemas.microsoft.com/office/drawing/2014/main" id="{C420EFCB-7AD0-4F78-ABFA-EF93E239A8B5}"/>
                </a:ext>
              </a:extLst>
            </p:cNvPr>
            <p:cNvSpPr/>
            <p:nvPr/>
          </p:nvSpPr>
          <p:spPr>
            <a:xfrm rot="8716295">
              <a:off x="726753" y="489523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2" name="Forme libre : forme 541">
              <a:extLst>
                <a:ext uri="{FF2B5EF4-FFF2-40B4-BE49-F238E27FC236}">
                  <a16:creationId xmlns:a16="http://schemas.microsoft.com/office/drawing/2014/main" id="{0A5B3530-D6C0-4EE2-8CA9-FA8536749993}"/>
                </a:ext>
              </a:extLst>
            </p:cNvPr>
            <p:cNvSpPr/>
            <p:nvPr/>
          </p:nvSpPr>
          <p:spPr>
            <a:xfrm rot="8716295">
              <a:off x="537709" y="457939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3" name="Forme libre : forme 542">
              <a:extLst>
                <a:ext uri="{FF2B5EF4-FFF2-40B4-BE49-F238E27FC236}">
                  <a16:creationId xmlns:a16="http://schemas.microsoft.com/office/drawing/2014/main" id="{4CBF89FF-5526-4991-BDD9-741DD1ACD91A}"/>
                </a:ext>
              </a:extLst>
            </p:cNvPr>
            <p:cNvSpPr/>
            <p:nvPr/>
          </p:nvSpPr>
          <p:spPr>
            <a:xfrm rot="8716295">
              <a:off x="826576" y="4988476"/>
              <a:ext cx="91035" cy="198648"/>
            </a:xfrm>
            <a:custGeom>
              <a:avLst/>
              <a:gdLst>
                <a:gd name="connsiteX0" fmla="*/ 91035 w 91035"/>
                <a:gd name="connsiteY0" fmla="*/ 198648 h 198648"/>
                <a:gd name="connsiteX1" fmla="*/ 0 w 91035"/>
                <a:gd name="connsiteY1" fmla="*/ 111060 h 198648"/>
                <a:gd name="connsiteX2" fmla="*/ 0 w 91035"/>
                <a:gd name="connsiteY2" fmla="*/ 0 h 198648"/>
                <a:gd name="connsiteX3" fmla="*/ 91035 w 91035"/>
                <a:gd name="connsiteY3" fmla="*/ 63103 h 198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198648">
                  <a:moveTo>
                    <a:pt x="91035" y="198648"/>
                  </a:moveTo>
                  <a:lnTo>
                    <a:pt x="0" y="111060"/>
                  </a:lnTo>
                  <a:lnTo>
                    <a:pt x="0" y="0"/>
                  </a:lnTo>
                  <a:lnTo>
                    <a:pt x="91035" y="631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4" name="Forme libre : forme 543">
              <a:extLst>
                <a:ext uri="{FF2B5EF4-FFF2-40B4-BE49-F238E27FC236}">
                  <a16:creationId xmlns:a16="http://schemas.microsoft.com/office/drawing/2014/main" id="{2B19B256-A6B8-458D-8003-2780D79D3EB3}"/>
                </a:ext>
              </a:extLst>
            </p:cNvPr>
            <p:cNvSpPr/>
            <p:nvPr/>
          </p:nvSpPr>
          <p:spPr>
            <a:xfrm rot="8716295">
              <a:off x="497795" y="4730788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5" name="Forme libre : forme 544">
              <a:extLst>
                <a:ext uri="{FF2B5EF4-FFF2-40B4-BE49-F238E27FC236}">
                  <a16:creationId xmlns:a16="http://schemas.microsoft.com/office/drawing/2014/main" id="{38C331B5-12FF-441E-AFC8-4295F59727BE}"/>
                </a:ext>
              </a:extLst>
            </p:cNvPr>
            <p:cNvSpPr/>
            <p:nvPr/>
          </p:nvSpPr>
          <p:spPr>
            <a:xfrm rot="8716295">
              <a:off x="1459248" y="4904357"/>
              <a:ext cx="328004" cy="223069"/>
            </a:xfrm>
            <a:custGeom>
              <a:avLst/>
              <a:gdLst>
                <a:gd name="connsiteX0" fmla="*/ 10574 w 328004"/>
                <a:gd name="connsiteY0" fmla="*/ 223069 h 223069"/>
                <a:gd name="connsiteX1" fmla="*/ 0 w 328004"/>
                <a:gd name="connsiteY1" fmla="*/ 208428 h 223069"/>
                <a:gd name="connsiteX2" fmla="*/ 192781 w 328004"/>
                <a:gd name="connsiteY2" fmla="*/ 27035 h 223069"/>
                <a:gd name="connsiteX3" fmla="*/ 227094 w 328004"/>
                <a:gd name="connsiteY3" fmla="*/ 0 h 223069"/>
                <a:gd name="connsiteX4" fmla="*/ 328004 w 328004"/>
                <a:gd name="connsiteY4" fmla="*/ 69948 h 223069"/>
                <a:gd name="connsiteX5" fmla="*/ 326080 w 328004"/>
                <a:gd name="connsiteY5" fmla="*/ 74925 h 223069"/>
                <a:gd name="connsiteX6" fmla="*/ 293645 w 328004"/>
                <a:gd name="connsiteY6" fmla="*/ 100243 h 223069"/>
                <a:gd name="connsiteX7" fmla="*/ 294458 w 328004"/>
                <a:gd name="connsiteY7" fmla="*/ 100243 h 223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8004" h="223069">
                  <a:moveTo>
                    <a:pt x="10574" y="223069"/>
                  </a:moveTo>
                  <a:lnTo>
                    <a:pt x="0" y="208428"/>
                  </a:lnTo>
                  <a:lnTo>
                    <a:pt x="192781" y="27035"/>
                  </a:lnTo>
                  <a:lnTo>
                    <a:pt x="227094" y="0"/>
                  </a:lnTo>
                  <a:lnTo>
                    <a:pt x="328004" y="69948"/>
                  </a:lnTo>
                  <a:lnTo>
                    <a:pt x="326080" y="74925"/>
                  </a:lnTo>
                  <a:cubicBezTo>
                    <a:pt x="317843" y="85805"/>
                    <a:pt x="306659" y="94549"/>
                    <a:pt x="293645" y="100243"/>
                  </a:cubicBezTo>
                  <a:lnTo>
                    <a:pt x="294458" y="10024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6" name="Forme libre : forme 545">
              <a:extLst>
                <a:ext uri="{FF2B5EF4-FFF2-40B4-BE49-F238E27FC236}">
                  <a16:creationId xmlns:a16="http://schemas.microsoft.com/office/drawing/2014/main" id="{2EF13EE3-4590-46FE-815C-89B113D51647}"/>
                </a:ext>
              </a:extLst>
            </p:cNvPr>
            <p:cNvSpPr/>
            <p:nvPr/>
          </p:nvSpPr>
          <p:spPr>
            <a:xfrm rot="8716295">
              <a:off x="1383191" y="474927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7" name="Forme libre : forme 546">
              <a:extLst>
                <a:ext uri="{FF2B5EF4-FFF2-40B4-BE49-F238E27FC236}">
                  <a16:creationId xmlns:a16="http://schemas.microsoft.com/office/drawing/2014/main" id="{ACF317BC-C487-48DA-AAF1-A734E1B80AFC}"/>
                </a:ext>
              </a:extLst>
            </p:cNvPr>
            <p:cNvSpPr/>
            <p:nvPr/>
          </p:nvSpPr>
          <p:spPr>
            <a:xfrm rot="8716295">
              <a:off x="1015027" y="479501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8" name="Forme libre : forme 547">
              <a:extLst>
                <a:ext uri="{FF2B5EF4-FFF2-40B4-BE49-F238E27FC236}">
                  <a16:creationId xmlns:a16="http://schemas.microsoft.com/office/drawing/2014/main" id="{B791FEAA-DC33-4F32-8880-340A058FD832}"/>
                </a:ext>
              </a:extLst>
            </p:cNvPr>
            <p:cNvSpPr/>
            <p:nvPr/>
          </p:nvSpPr>
          <p:spPr>
            <a:xfrm rot="8716295">
              <a:off x="1283609" y="455399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9" name="Forme libre : forme 548">
              <a:extLst>
                <a:ext uri="{FF2B5EF4-FFF2-40B4-BE49-F238E27FC236}">
                  <a16:creationId xmlns:a16="http://schemas.microsoft.com/office/drawing/2014/main" id="{E17616AF-8BAE-4050-B11F-682C7E2BF991}"/>
                </a:ext>
              </a:extLst>
            </p:cNvPr>
            <p:cNvSpPr/>
            <p:nvPr/>
          </p:nvSpPr>
          <p:spPr>
            <a:xfrm rot="8716295">
              <a:off x="-30381" y="3359388"/>
              <a:ext cx="98497" cy="75863"/>
            </a:xfrm>
            <a:custGeom>
              <a:avLst/>
              <a:gdLst>
                <a:gd name="connsiteX0" fmla="*/ 0 w 98497"/>
                <a:gd name="connsiteY0" fmla="*/ 75863 h 75863"/>
                <a:gd name="connsiteX1" fmla="*/ 0 w 98497"/>
                <a:gd name="connsiteY1" fmla="*/ 0 h 75863"/>
                <a:gd name="connsiteX2" fmla="*/ 98497 w 98497"/>
                <a:gd name="connsiteY2" fmla="*/ 0 h 75863"/>
                <a:gd name="connsiteX3" fmla="*/ 45911 w 98497"/>
                <a:gd name="connsiteY3" fmla="*/ 75863 h 75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497" h="75863">
                  <a:moveTo>
                    <a:pt x="0" y="75863"/>
                  </a:moveTo>
                  <a:lnTo>
                    <a:pt x="0" y="0"/>
                  </a:lnTo>
                  <a:lnTo>
                    <a:pt x="98497" y="0"/>
                  </a:lnTo>
                  <a:lnTo>
                    <a:pt x="45911" y="758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0" name="Forme libre : forme 549">
              <a:extLst>
                <a:ext uri="{FF2B5EF4-FFF2-40B4-BE49-F238E27FC236}">
                  <a16:creationId xmlns:a16="http://schemas.microsoft.com/office/drawing/2014/main" id="{F7A06632-7A82-4771-B4F7-5A48BC7BBB8C}"/>
                </a:ext>
              </a:extLst>
            </p:cNvPr>
            <p:cNvSpPr/>
            <p:nvPr/>
          </p:nvSpPr>
          <p:spPr>
            <a:xfrm rot="8716295">
              <a:off x="-77334" y="3178477"/>
              <a:ext cx="389652" cy="385611"/>
            </a:xfrm>
            <a:custGeom>
              <a:avLst/>
              <a:gdLst>
                <a:gd name="connsiteX0" fmla="*/ 77932 w 389652"/>
                <a:gd name="connsiteY0" fmla="*/ 385611 h 385611"/>
                <a:gd name="connsiteX1" fmla="*/ 77932 w 389652"/>
                <a:gd name="connsiteY1" fmla="*/ 69054 h 385611"/>
                <a:gd name="connsiteX2" fmla="*/ 0 w 389652"/>
                <a:gd name="connsiteY2" fmla="*/ 69054 h 385611"/>
                <a:gd name="connsiteX3" fmla="*/ 0 w 389652"/>
                <a:gd name="connsiteY3" fmla="*/ 2156 h 385611"/>
                <a:gd name="connsiteX4" fmla="*/ 158623 w 389652"/>
                <a:gd name="connsiteY4" fmla="*/ 2156 h 385611"/>
                <a:gd name="connsiteX5" fmla="*/ 158623 w 389652"/>
                <a:gd name="connsiteY5" fmla="*/ 113882 h 385611"/>
                <a:gd name="connsiteX6" fmla="*/ 160692 w 389652"/>
                <a:gd name="connsiteY6" fmla="*/ 113882 h 385611"/>
                <a:gd name="connsiteX7" fmla="*/ 233107 w 389652"/>
                <a:gd name="connsiteY7" fmla="*/ 9053 h 385611"/>
                <a:gd name="connsiteX8" fmla="*/ 280694 w 389652"/>
                <a:gd name="connsiteY8" fmla="*/ 87 h 385611"/>
                <a:gd name="connsiteX9" fmla="*/ 364230 w 389652"/>
                <a:gd name="connsiteY9" fmla="*/ 34398 h 385611"/>
                <a:gd name="connsiteX10" fmla="*/ 389652 w 389652"/>
                <a:gd name="connsiteY10" fmla="*/ 117977 h 385611"/>
                <a:gd name="connsiteX11" fmla="*/ 371473 w 389652"/>
                <a:gd name="connsiteY11" fmla="*/ 144202 h 385611"/>
                <a:gd name="connsiteX12" fmla="*/ 300695 w 389652"/>
                <a:gd name="connsiteY12" fmla="*/ 148366 h 385611"/>
                <a:gd name="connsiteX13" fmla="*/ 300695 w 389652"/>
                <a:gd name="connsiteY13" fmla="*/ 123538 h 385611"/>
                <a:gd name="connsiteX14" fmla="*/ 249659 w 389652"/>
                <a:gd name="connsiteY14" fmla="*/ 60778 h 385611"/>
                <a:gd name="connsiteX15" fmla="*/ 168969 w 389652"/>
                <a:gd name="connsiteY15" fmla="*/ 193194 h 385611"/>
                <a:gd name="connsiteX16" fmla="*/ 168969 w 389652"/>
                <a:gd name="connsiteY16" fmla="*/ 323541 h 385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89652" h="385611">
                  <a:moveTo>
                    <a:pt x="77932" y="385611"/>
                  </a:moveTo>
                  <a:lnTo>
                    <a:pt x="77932" y="69054"/>
                  </a:lnTo>
                  <a:lnTo>
                    <a:pt x="0" y="69054"/>
                  </a:lnTo>
                  <a:lnTo>
                    <a:pt x="0" y="2156"/>
                  </a:lnTo>
                  <a:lnTo>
                    <a:pt x="158623" y="2156"/>
                  </a:lnTo>
                  <a:lnTo>
                    <a:pt x="158623" y="113882"/>
                  </a:lnTo>
                  <a:lnTo>
                    <a:pt x="160692" y="113882"/>
                  </a:lnTo>
                  <a:cubicBezTo>
                    <a:pt x="182762" y="48364"/>
                    <a:pt x="200003" y="22846"/>
                    <a:pt x="233107" y="9053"/>
                  </a:cubicBezTo>
                  <a:cubicBezTo>
                    <a:pt x="248280" y="2846"/>
                    <a:pt x="264142" y="-602"/>
                    <a:pt x="280694" y="87"/>
                  </a:cubicBezTo>
                  <a:cubicBezTo>
                    <a:pt x="316212" y="-603"/>
                    <a:pt x="344661" y="11466"/>
                    <a:pt x="364230" y="34398"/>
                  </a:cubicBezTo>
                  <a:lnTo>
                    <a:pt x="389652" y="117977"/>
                  </a:lnTo>
                  <a:lnTo>
                    <a:pt x="371473" y="144202"/>
                  </a:lnTo>
                  <a:lnTo>
                    <a:pt x="300695" y="148366"/>
                  </a:lnTo>
                  <a:lnTo>
                    <a:pt x="300695" y="123538"/>
                  </a:lnTo>
                  <a:cubicBezTo>
                    <a:pt x="300695" y="86296"/>
                    <a:pt x="279315" y="60778"/>
                    <a:pt x="249659" y="60778"/>
                  </a:cubicBezTo>
                  <a:cubicBezTo>
                    <a:pt x="205521" y="60778"/>
                    <a:pt x="168969" y="119400"/>
                    <a:pt x="168969" y="193194"/>
                  </a:cubicBezTo>
                  <a:lnTo>
                    <a:pt x="168969" y="3235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1" name="Forme libre : forme 550">
              <a:extLst>
                <a:ext uri="{FF2B5EF4-FFF2-40B4-BE49-F238E27FC236}">
                  <a16:creationId xmlns:a16="http://schemas.microsoft.com/office/drawing/2014/main" id="{497925DD-6E6C-4259-BA1E-97C604ADFD78}"/>
                </a:ext>
              </a:extLst>
            </p:cNvPr>
            <p:cNvSpPr/>
            <p:nvPr/>
          </p:nvSpPr>
          <p:spPr>
            <a:xfrm rot="8716295">
              <a:off x="-71352" y="3029015"/>
              <a:ext cx="193594" cy="189959"/>
            </a:xfrm>
            <a:custGeom>
              <a:avLst/>
              <a:gdLst>
                <a:gd name="connsiteX0" fmla="*/ 8965 w 193594"/>
                <a:gd name="connsiteY0" fmla="*/ 189959 h 189959"/>
                <a:gd name="connsiteX1" fmla="*/ 0 w 193594"/>
                <a:gd name="connsiteY1" fmla="*/ 177545 h 189959"/>
                <a:gd name="connsiteX2" fmla="*/ 163451 w 193594"/>
                <a:gd name="connsiteY2" fmla="*/ 23749 h 189959"/>
                <a:gd name="connsiteX3" fmla="*/ 193594 w 193594"/>
                <a:gd name="connsiteY3" fmla="*/ 0 h 189959"/>
                <a:gd name="connsiteX4" fmla="*/ 84606 w 193594"/>
                <a:gd name="connsiteY4" fmla="*/ 157232 h 189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594" h="189959">
                  <a:moveTo>
                    <a:pt x="8965" y="189959"/>
                  </a:moveTo>
                  <a:lnTo>
                    <a:pt x="0" y="177545"/>
                  </a:lnTo>
                  <a:lnTo>
                    <a:pt x="163451" y="23749"/>
                  </a:lnTo>
                  <a:lnTo>
                    <a:pt x="193594" y="0"/>
                  </a:lnTo>
                  <a:lnTo>
                    <a:pt x="84606" y="15723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2" name="Forme libre : forme 551">
              <a:extLst>
                <a:ext uri="{FF2B5EF4-FFF2-40B4-BE49-F238E27FC236}">
                  <a16:creationId xmlns:a16="http://schemas.microsoft.com/office/drawing/2014/main" id="{E29BD41D-2F5C-497A-8BF9-AF2F5B2427C3}"/>
                </a:ext>
              </a:extLst>
            </p:cNvPr>
            <p:cNvSpPr/>
            <p:nvPr/>
          </p:nvSpPr>
          <p:spPr>
            <a:xfrm rot="8716295">
              <a:off x="223574" y="276232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3" name="Forme libre : forme 552">
              <a:extLst>
                <a:ext uri="{FF2B5EF4-FFF2-40B4-BE49-F238E27FC236}">
                  <a16:creationId xmlns:a16="http://schemas.microsoft.com/office/drawing/2014/main" id="{6A4C14F3-A2C0-4F87-AC82-3B459E04B788}"/>
                </a:ext>
              </a:extLst>
            </p:cNvPr>
            <p:cNvSpPr/>
            <p:nvPr/>
          </p:nvSpPr>
          <p:spPr>
            <a:xfrm rot="8716295">
              <a:off x="358873" y="2806579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4" name="Forme libre : forme 553">
              <a:extLst>
                <a:ext uri="{FF2B5EF4-FFF2-40B4-BE49-F238E27FC236}">
                  <a16:creationId xmlns:a16="http://schemas.microsoft.com/office/drawing/2014/main" id="{935BD79C-492F-44F8-B4F1-B103EB9A56A0}"/>
                </a:ext>
              </a:extLst>
            </p:cNvPr>
            <p:cNvSpPr/>
            <p:nvPr/>
          </p:nvSpPr>
          <p:spPr>
            <a:xfrm rot="8716295">
              <a:off x="53703" y="2896335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5" name="Forme libre : forme 554">
              <a:extLst>
                <a:ext uri="{FF2B5EF4-FFF2-40B4-BE49-F238E27FC236}">
                  <a16:creationId xmlns:a16="http://schemas.microsoft.com/office/drawing/2014/main" id="{20269E7A-5297-42E3-A791-BAD958B2ADF9}"/>
                </a:ext>
              </a:extLst>
            </p:cNvPr>
            <p:cNvSpPr/>
            <p:nvPr/>
          </p:nvSpPr>
          <p:spPr>
            <a:xfrm rot="8716295">
              <a:off x="-92201" y="2622488"/>
              <a:ext cx="271732" cy="238722"/>
            </a:xfrm>
            <a:custGeom>
              <a:avLst/>
              <a:gdLst>
                <a:gd name="connsiteX0" fmla="*/ 106257 w 271732"/>
                <a:gd name="connsiteY0" fmla="*/ 238722 h 238722"/>
                <a:gd name="connsiteX1" fmla="*/ 72418 w 271732"/>
                <a:gd name="connsiteY1" fmla="*/ 175766 h 238722"/>
                <a:gd name="connsiteX2" fmla="*/ 105610 w 271732"/>
                <a:gd name="connsiteY2" fmla="*/ 83734 h 238722"/>
                <a:gd name="connsiteX3" fmla="*/ 0 w 271732"/>
                <a:gd name="connsiteY3" fmla="*/ 83734 h 238722"/>
                <a:gd name="connsiteX4" fmla="*/ 0 w 271732"/>
                <a:gd name="connsiteY4" fmla="*/ 0 h 238722"/>
                <a:gd name="connsiteX5" fmla="*/ 271732 w 271732"/>
                <a:gd name="connsiteY5" fmla="*/ 0 h 238722"/>
                <a:gd name="connsiteX6" fmla="*/ 213690 w 271732"/>
                <a:gd name="connsiteY6" fmla="*/ 83734 h 238722"/>
                <a:gd name="connsiteX7" fmla="*/ 210465 w 271732"/>
                <a:gd name="connsiteY7" fmla="*/ 83734 h 238722"/>
                <a:gd name="connsiteX8" fmla="*/ 207289 w 271732"/>
                <a:gd name="connsiteY8" fmla="*/ 92969 h 238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1732" h="238722">
                  <a:moveTo>
                    <a:pt x="106257" y="238722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71732" y="0"/>
                  </a:lnTo>
                  <a:lnTo>
                    <a:pt x="213690" y="83734"/>
                  </a:lnTo>
                  <a:lnTo>
                    <a:pt x="210465" y="83734"/>
                  </a:lnTo>
                  <a:lnTo>
                    <a:pt x="207289" y="929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6" name="Forme libre : forme 555">
              <a:extLst>
                <a:ext uri="{FF2B5EF4-FFF2-40B4-BE49-F238E27FC236}">
                  <a16:creationId xmlns:a16="http://schemas.microsoft.com/office/drawing/2014/main" id="{F59E69C4-B8C8-4B2C-9ACE-4F40F98BFC84}"/>
                </a:ext>
              </a:extLst>
            </p:cNvPr>
            <p:cNvSpPr/>
            <p:nvPr/>
          </p:nvSpPr>
          <p:spPr>
            <a:xfrm rot="8716295">
              <a:off x="190192" y="2958318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7" name="Forme libre : forme 556">
              <a:extLst>
                <a:ext uri="{FF2B5EF4-FFF2-40B4-BE49-F238E27FC236}">
                  <a16:creationId xmlns:a16="http://schemas.microsoft.com/office/drawing/2014/main" id="{60A06DA4-F392-4C9B-B810-DC33F0E06EF7}"/>
                </a:ext>
              </a:extLst>
            </p:cNvPr>
            <p:cNvSpPr/>
            <p:nvPr/>
          </p:nvSpPr>
          <p:spPr>
            <a:xfrm rot="7484129">
              <a:off x="349009" y="324793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8" name="Forme libre : forme 557">
              <a:extLst>
                <a:ext uri="{FF2B5EF4-FFF2-40B4-BE49-F238E27FC236}">
                  <a16:creationId xmlns:a16="http://schemas.microsoft.com/office/drawing/2014/main" id="{AB6A2932-14BD-4774-A352-7D5D644B3B5A}"/>
                </a:ext>
              </a:extLst>
            </p:cNvPr>
            <p:cNvSpPr/>
            <p:nvPr/>
          </p:nvSpPr>
          <p:spPr>
            <a:xfrm rot="13089394">
              <a:off x="507659" y="3197284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9" name="Forme libre : forme 558">
              <a:extLst>
                <a:ext uri="{FF2B5EF4-FFF2-40B4-BE49-F238E27FC236}">
                  <a16:creationId xmlns:a16="http://schemas.microsoft.com/office/drawing/2014/main" id="{B0C0F300-8F87-4878-A242-83480CD0F594}"/>
                </a:ext>
              </a:extLst>
            </p:cNvPr>
            <p:cNvSpPr/>
            <p:nvPr/>
          </p:nvSpPr>
          <p:spPr>
            <a:xfrm rot="8716295">
              <a:off x="788550" y="2907166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0" name="Forme libre : forme 559">
              <a:extLst>
                <a:ext uri="{FF2B5EF4-FFF2-40B4-BE49-F238E27FC236}">
                  <a16:creationId xmlns:a16="http://schemas.microsoft.com/office/drawing/2014/main" id="{51D26EC8-7FBF-4DE9-AD62-79231B0281F0}"/>
                </a:ext>
              </a:extLst>
            </p:cNvPr>
            <p:cNvSpPr/>
            <p:nvPr/>
          </p:nvSpPr>
          <p:spPr>
            <a:xfrm rot="8716295">
              <a:off x="710141" y="275037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1" name="Forme libre : forme 560">
              <a:extLst>
                <a:ext uri="{FF2B5EF4-FFF2-40B4-BE49-F238E27FC236}">
                  <a16:creationId xmlns:a16="http://schemas.microsoft.com/office/drawing/2014/main" id="{DED5A4F2-08F4-473E-85B0-2FEDFE194CE3}"/>
                </a:ext>
              </a:extLst>
            </p:cNvPr>
            <p:cNvSpPr/>
            <p:nvPr/>
          </p:nvSpPr>
          <p:spPr>
            <a:xfrm rot="8716295">
              <a:off x="341977" y="279611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2" name="Forme libre : forme 561">
              <a:extLst>
                <a:ext uri="{FF2B5EF4-FFF2-40B4-BE49-F238E27FC236}">
                  <a16:creationId xmlns:a16="http://schemas.microsoft.com/office/drawing/2014/main" id="{8A2A6A83-C634-477C-AA7B-D4BF2D37CB9F}"/>
                </a:ext>
              </a:extLst>
            </p:cNvPr>
            <p:cNvSpPr/>
            <p:nvPr/>
          </p:nvSpPr>
          <p:spPr>
            <a:xfrm rot="8716295">
              <a:off x="610559" y="2555095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3" name="Forme libre : forme 562">
              <a:extLst>
                <a:ext uri="{FF2B5EF4-FFF2-40B4-BE49-F238E27FC236}">
                  <a16:creationId xmlns:a16="http://schemas.microsoft.com/office/drawing/2014/main" id="{C7E28CB5-C215-4110-A37F-DBD52F99C5AA}"/>
                </a:ext>
              </a:extLst>
            </p:cNvPr>
            <p:cNvSpPr/>
            <p:nvPr/>
          </p:nvSpPr>
          <p:spPr>
            <a:xfrm rot="8716295">
              <a:off x="-24305" y="2374348"/>
              <a:ext cx="58950" cy="66898"/>
            </a:xfrm>
            <a:custGeom>
              <a:avLst/>
              <a:gdLst>
                <a:gd name="connsiteX0" fmla="*/ 0 w 58950"/>
                <a:gd name="connsiteY0" fmla="*/ 66898 h 66898"/>
                <a:gd name="connsiteX1" fmla="*/ 0 w 58950"/>
                <a:gd name="connsiteY1" fmla="*/ 0 h 66898"/>
                <a:gd name="connsiteX2" fmla="*/ 58950 w 58950"/>
                <a:gd name="connsiteY2" fmla="*/ 0 h 66898"/>
                <a:gd name="connsiteX3" fmla="*/ 12579 w 58950"/>
                <a:gd name="connsiteY3" fmla="*/ 66898 h 6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950" h="66898">
                  <a:moveTo>
                    <a:pt x="0" y="66898"/>
                  </a:moveTo>
                  <a:lnTo>
                    <a:pt x="0" y="0"/>
                  </a:lnTo>
                  <a:lnTo>
                    <a:pt x="58950" y="0"/>
                  </a:lnTo>
                  <a:lnTo>
                    <a:pt x="12579" y="668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4" name="Forme libre : forme 563">
              <a:extLst>
                <a:ext uri="{FF2B5EF4-FFF2-40B4-BE49-F238E27FC236}">
                  <a16:creationId xmlns:a16="http://schemas.microsoft.com/office/drawing/2014/main" id="{446F17DC-5A7F-43EF-8C54-EB403552B710}"/>
                </a:ext>
              </a:extLst>
            </p:cNvPr>
            <p:cNvSpPr/>
            <p:nvPr/>
          </p:nvSpPr>
          <p:spPr>
            <a:xfrm rot="8716295">
              <a:off x="-39593" y="1952072"/>
              <a:ext cx="198050" cy="140164"/>
            </a:xfrm>
            <a:custGeom>
              <a:avLst/>
              <a:gdLst>
                <a:gd name="connsiteX0" fmla="*/ 0 w 198050"/>
                <a:gd name="connsiteY0" fmla="*/ 75863 h 140164"/>
                <a:gd name="connsiteX1" fmla="*/ 0 w 198050"/>
                <a:gd name="connsiteY1" fmla="*/ 0 h 140164"/>
                <a:gd name="connsiteX2" fmla="*/ 128968 w 198050"/>
                <a:gd name="connsiteY2" fmla="*/ 0 h 140164"/>
                <a:gd name="connsiteX3" fmla="*/ 193021 w 198050"/>
                <a:gd name="connsiteY3" fmla="*/ 18535 h 140164"/>
                <a:gd name="connsiteX4" fmla="*/ 198050 w 198050"/>
                <a:gd name="connsiteY4" fmla="*/ 31548 h 140164"/>
                <a:gd name="connsiteX5" fmla="*/ 122761 w 198050"/>
                <a:gd name="connsiteY5" fmla="*/ 140164 h 140164"/>
                <a:gd name="connsiteX6" fmla="*/ 122761 w 198050"/>
                <a:gd name="connsiteY6" fmla="*/ 105519 h 140164"/>
                <a:gd name="connsiteX7" fmla="*/ 122761 w 198050"/>
                <a:gd name="connsiteY7" fmla="*/ 99312 h 140164"/>
                <a:gd name="connsiteX8" fmla="*/ 91726 w 198050"/>
                <a:gd name="connsiteY8" fmla="*/ 75863 h 140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8050" h="140164">
                  <a:moveTo>
                    <a:pt x="0" y="75863"/>
                  </a:moveTo>
                  <a:lnTo>
                    <a:pt x="0" y="0"/>
                  </a:lnTo>
                  <a:lnTo>
                    <a:pt x="128968" y="0"/>
                  </a:lnTo>
                  <a:cubicBezTo>
                    <a:pt x="156900" y="0"/>
                    <a:pt x="178452" y="6034"/>
                    <a:pt x="193021" y="18535"/>
                  </a:cubicBezTo>
                  <a:lnTo>
                    <a:pt x="198050" y="31548"/>
                  </a:lnTo>
                  <a:lnTo>
                    <a:pt x="122761" y="140164"/>
                  </a:ln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4"/>
                    <a:pt x="91726" y="758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5" name="Forme libre : forme 564">
              <a:extLst>
                <a:ext uri="{FF2B5EF4-FFF2-40B4-BE49-F238E27FC236}">
                  <a16:creationId xmlns:a16="http://schemas.microsoft.com/office/drawing/2014/main" id="{CE6D21DD-4C35-491F-883F-DFE604B382BF}"/>
                </a:ext>
              </a:extLst>
            </p:cNvPr>
            <p:cNvSpPr/>
            <p:nvPr/>
          </p:nvSpPr>
          <p:spPr>
            <a:xfrm rot="8716295">
              <a:off x="21100" y="1808096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6" name="Forme libre : forme 565">
              <a:extLst>
                <a:ext uri="{FF2B5EF4-FFF2-40B4-BE49-F238E27FC236}">
                  <a16:creationId xmlns:a16="http://schemas.microsoft.com/office/drawing/2014/main" id="{162C0E93-A925-40E7-B101-4C145B43E018}"/>
                </a:ext>
              </a:extLst>
            </p:cNvPr>
            <p:cNvSpPr/>
            <p:nvPr/>
          </p:nvSpPr>
          <p:spPr>
            <a:xfrm rot="8716295">
              <a:off x="-24330" y="2197782"/>
              <a:ext cx="102508" cy="53362"/>
            </a:xfrm>
            <a:custGeom>
              <a:avLst/>
              <a:gdLst>
                <a:gd name="connsiteX0" fmla="*/ 0 w 102508"/>
                <a:gd name="connsiteY0" fmla="*/ 23637 h 53362"/>
                <a:gd name="connsiteX1" fmla="*/ 0 w 102508"/>
                <a:gd name="connsiteY1" fmla="*/ 2258 h 53362"/>
                <a:gd name="connsiteX2" fmla="*/ 102508 w 102508"/>
                <a:gd name="connsiteY2" fmla="*/ 0 h 53362"/>
                <a:gd name="connsiteX3" fmla="*/ 65519 w 102508"/>
                <a:gd name="connsiteY3" fmla="*/ 53362 h 53362"/>
                <a:gd name="connsiteX4" fmla="*/ 65519 w 102508"/>
                <a:gd name="connsiteY4" fmla="*/ 23637 h 5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508" h="53362">
                  <a:moveTo>
                    <a:pt x="0" y="23637"/>
                  </a:moveTo>
                  <a:lnTo>
                    <a:pt x="0" y="2258"/>
                  </a:lnTo>
                  <a:lnTo>
                    <a:pt x="102508" y="0"/>
                  </a:lnTo>
                  <a:lnTo>
                    <a:pt x="65519" y="53362"/>
                  </a:lnTo>
                  <a:lnTo>
                    <a:pt x="65519" y="2363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7" name="Forme libre : forme 566">
              <a:extLst>
                <a:ext uri="{FF2B5EF4-FFF2-40B4-BE49-F238E27FC236}">
                  <a16:creationId xmlns:a16="http://schemas.microsoft.com/office/drawing/2014/main" id="{39C657D0-D62F-4F7C-A612-53DB4B79E5E3}"/>
                </a:ext>
              </a:extLst>
            </p:cNvPr>
            <p:cNvSpPr/>
            <p:nvPr/>
          </p:nvSpPr>
          <p:spPr>
            <a:xfrm rot="7484129">
              <a:off x="11236" y="224945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8" name="Forme libre : forme 567">
              <a:extLst>
                <a:ext uri="{FF2B5EF4-FFF2-40B4-BE49-F238E27FC236}">
                  <a16:creationId xmlns:a16="http://schemas.microsoft.com/office/drawing/2014/main" id="{23C2327F-1812-4891-A555-8CFAF24BC9F9}"/>
                </a:ext>
              </a:extLst>
            </p:cNvPr>
            <p:cNvSpPr/>
            <p:nvPr/>
          </p:nvSpPr>
          <p:spPr>
            <a:xfrm rot="13089394">
              <a:off x="169886" y="2198801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9" name="Forme libre : forme 568">
              <a:extLst>
                <a:ext uri="{FF2B5EF4-FFF2-40B4-BE49-F238E27FC236}">
                  <a16:creationId xmlns:a16="http://schemas.microsoft.com/office/drawing/2014/main" id="{E72BEF7B-6435-411F-BE32-BB8EAB9D905E}"/>
                </a:ext>
              </a:extLst>
            </p:cNvPr>
            <p:cNvSpPr/>
            <p:nvPr/>
          </p:nvSpPr>
          <p:spPr>
            <a:xfrm rot="8716295">
              <a:off x="450777" y="1908683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0" name="Forme libre : forme 569">
              <a:extLst>
                <a:ext uri="{FF2B5EF4-FFF2-40B4-BE49-F238E27FC236}">
                  <a16:creationId xmlns:a16="http://schemas.microsoft.com/office/drawing/2014/main" id="{DE1DA05C-2419-4744-8AE0-392B948F57E7}"/>
                </a:ext>
              </a:extLst>
            </p:cNvPr>
            <p:cNvSpPr/>
            <p:nvPr/>
          </p:nvSpPr>
          <p:spPr>
            <a:xfrm rot="8716295">
              <a:off x="372368" y="175189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1" name="Forme libre : forme 570">
              <a:extLst>
                <a:ext uri="{FF2B5EF4-FFF2-40B4-BE49-F238E27FC236}">
                  <a16:creationId xmlns:a16="http://schemas.microsoft.com/office/drawing/2014/main" id="{337322B4-128F-4422-98A6-2E33A9550E4C}"/>
                </a:ext>
              </a:extLst>
            </p:cNvPr>
            <p:cNvSpPr/>
            <p:nvPr/>
          </p:nvSpPr>
          <p:spPr>
            <a:xfrm rot="8716295">
              <a:off x="4204" y="179763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2" name="Forme libre : forme 571">
              <a:extLst>
                <a:ext uri="{FF2B5EF4-FFF2-40B4-BE49-F238E27FC236}">
                  <a16:creationId xmlns:a16="http://schemas.microsoft.com/office/drawing/2014/main" id="{595DF5B3-B2D1-4308-B916-9800ADEDFEAC}"/>
                </a:ext>
              </a:extLst>
            </p:cNvPr>
            <p:cNvSpPr/>
            <p:nvPr/>
          </p:nvSpPr>
          <p:spPr>
            <a:xfrm rot="8716295">
              <a:off x="272786" y="155661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3" name="Forme libre : forme 572">
              <a:extLst>
                <a:ext uri="{FF2B5EF4-FFF2-40B4-BE49-F238E27FC236}">
                  <a16:creationId xmlns:a16="http://schemas.microsoft.com/office/drawing/2014/main" id="{93A9ECEA-4D95-4585-ACB4-69C0DE623EDA}"/>
                </a:ext>
              </a:extLst>
            </p:cNvPr>
            <p:cNvSpPr/>
            <p:nvPr/>
          </p:nvSpPr>
          <p:spPr>
            <a:xfrm rot="8716295">
              <a:off x="-35149" y="938156"/>
              <a:ext cx="158623" cy="159016"/>
            </a:xfrm>
            <a:custGeom>
              <a:avLst/>
              <a:gdLst>
                <a:gd name="connsiteX0" fmla="*/ 77932 w 158623"/>
                <a:gd name="connsiteY0" fmla="*/ 159016 h 159016"/>
                <a:gd name="connsiteX1" fmla="*/ 77932 w 158623"/>
                <a:gd name="connsiteY1" fmla="*/ 66898 h 159016"/>
                <a:gd name="connsiteX2" fmla="*/ 0 w 158623"/>
                <a:gd name="connsiteY2" fmla="*/ 66898 h 159016"/>
                <a:gd name="connsiteX3" fmla="*/ 0 w 158623"/>
                <a:gd name="connsiteY3" fmla="*/ 0 h 159016"/>
                <a:gd name="connsiteX4" fmla="*/ 158623 w 158623"/>
                <a:gd name="connsiteY4" fmla="*/ 0 h 159016"/>
                <a:gd name="connsiteX5" fmla="*/ 158623 w 158623"/>
                <a:gd name="connsiteY5" fmla="*/ 42606 h 15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8623" h="159016">
                  <a:moveTo>
                    <a:pt x="77932" y="159016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4260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4" name="Forme libre : forme 573">
              <a:extLst>
                <a:ext uri="{FF2B5EF4-FFF2-40B4-BE49-F238E27FC236}">
                  <a16:creationId xmlns:a16="http://schemas.microsoft.com/office/drawing/2014/main" id="{8B3F0D63-11FD-4E8B-94AA-29A3E1B840B5}"/>
                </a:ext>
              </a:extLst>
            </p:cNvPr>
            <p:cNvSpPr/>
            <p:nvPr/>
          </p:nvSpPr>
          <p:spPr>
            <a:xfrm rot="7484129">
              <a:off x="-32979" y="1345537"/>
              <a:ext cx="65961" cy="45734"/>
            </a:xfrm>
            <a:custGeom>
              <a:avLst/>
              <a:gdLst>
                <a:gd name="connsiteX0" fmla="*/ 0 w 65961"/>
                <a:gd name="connsiteY0" fmla="*/ 45734 h 45734"/>
                <a:gd name="connsiteX1" fmla="*/ 0 w 65961"/>
                <a:gd name="connsiteY1" fmla="*/ 0 h 45734"/>
                <a:gd name="connsiteX2" fmla="*/ 65961 w 65961"/>
                <a:gd name="connsiteY2" fmla="*/ 0 h 45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5961" h="45734">
                  <a:moveTo>
                    <a:pt x="0" y="45734"/>
                  </a:moveTo>
                  <a:lnTo>
                    <a:pt x="0" y="0"/>
                  </a:lnTo>
                  <a:lnTo>
                    <a:pt x="6596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5" name="Forme libre : forme 574">
              <a:extLst>
                <a:ext uri="{FF2B5EF4-FFF2-40B4-BE49-F238E27FC236}">
                  <a16:creationId xmlns:a16="http://schemas.microsoft.com/office/drawing/2014/main" id="{3995846C-C66B-490D-8C5F-179A05C89C6A}"/>
                </a:ext>
              </a:extLst>
            </p:cNvPr>
            <p:cNvSpPr/>
            <p:nvPr/>
          </p:nvSpPr>
          <p:spPr>
            <a:xfrm rot="13089394">
              <a:off x="-134707" y="1200752"/>
              <a:ext cx="386820" cy="481345"/>
            </a:xfrm>
            <a:custGeom>
              <a:avLst/>
              <a:gdLst>
                <a:gd name="connsiteX0" fmla="*/ 386820 w 386820"/>
                <a:gd name="connsiteY0" fmla="*/ 391818 h 481345"/>
                <a:gd name="connsiteX1" fmla="*/ 342166 w 386820"/>
                <a:gd name="connsiteY1" fmla="*/ 422376 h 481345"/>
                <a:gd name="connsiteX2" fmla="*/ 138636 w 386820"/>
                <a:gd name="connsiteY2" fmla="*/ 481098 h 481345"/>
                <a:gd name="connsiteX3" fmla="*/ 35911 w 386820"/>
                <a:gd name="connsiteY3" fmla="*/ 439340 h 481345"/>
                <a:gd name="connsiteX4" fmla="*/ 0 w 386820"/>
                <a:gd name="connsiteY4" fmla="*/ 295693 h 481345"/>
                <a:gd name="connsiteX5" fmla="*/ 0 w 386820"/>
                <a:gd name="connsiteY5" fmla="*/ 40970 h 481345"/>
                <a:gd name="connsiteX6" fmla="*/ 78970 w 386820"/>
                <a:gd name="connsiteY6" fmla="*/ 0 h 481345"/>
                <a:gd name="connsiteX7" fmla="*/ 111492 w 386820"/>
                <a:gd name="connsiteY7" fmla="*/ 41392 h 481345"/>
                <a:gd name="connsiteX8" fmla="*/ 112747 w 386820"/>
                <a:gd name="connsiteY8" fmla="*/ 216353 h 481345"/>
                <a:gd name="connsiteX9" fmla="*/ 132789 w 386820"/>
                <a:gd name="connsiteY9" fmla="*/ 354990 h 481345"/>
                <a:gd name="connsiteX10" fmla="*/ 233008 w 386820"/>
                <a:gd name="connsiteY10" fmla="*/ 410110 h 481345"/>
                <a:gd name="connsiteX11" fmla="*/ 308173 w 386820"/>
                <a:gd name="connsiteY11" fmla="*/ 396747 h 481345"/>
                <a:gd name="connsiteX12" fmla="*/ 370717 w 386820"/>
                <a:gd name="connsiteY12" fmla="*/ 371323 h 481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6820" h="481345">
                  <a:moveTo>
                    <a:pt x="386820" y="391818"/>
                  </a:moveTo>
                  <a:lnTo>
                    <a:pt x="342166" y="422376"/>
                  </a:lnTo>
                  <a:cubicBezTo>
                    <a:pt x="268920" y="462151"/>
                    <a:pt x="190624" y="477966"/>
                    <a:pt x="138636" y="481098"/>
                  </a:cubicBezTo>
                  <a:cubicBezTo>
                    <a:pt x="100219" y="483604"/>
                    <a:pt x="62637" y="466901"/>
                    <a:pt x="35911" y="439340"/>
                  </a:cubicBezTo>
                  <a:cubicBezTo>
                    <a:pt x="7516" y="411780"/>
                    <a:pt x="0" y="364176"/>
                    <a:pt x="0" y="295693"/>
                  </a:cubicBezTo>
                  <a:lnTo>
                    <a:pt x="0" y="40970"/>
                  </a:lnTo>
                  <a:lnTo>
                    <a:pt x="78970" y="0"/>
                  </a:lnTo>
                  <a:lnTo>
                    <a:pt x="111492" y="41392"/>
                  </a:lnTo>
                  <a:lnTo>
                    <a:pt x="112747" y="216353"/>
                  </a:lnTo>
                  <a:cubicBezTo>
                    <a:pt x="110241" y="263122"/>
                    <a:pt x="117757" y="310726"/>
                    <a:pt x="132789" y="354990"/>
                  </a:cubicBezTo>
                  <a:cubicBezTo>
                    <a:pt x="146153" y="391736"/>
                    <a:pt x="180394" y="410110"/>
                    <a:pt x="233008" y="410110"/>
                  </a:cubicBezTo>
                  <a:cubicBezTo>
                    <a:pt x="258899" y="409274"/>
                    <a:pt x="283953" y="404263"/>
                    <a:pt x="308173" y="396747"/>
                  </a:cubicBezTo>
                  <a:lnTo>
                    <a:pt x="370717" y="371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6" name="Forme libre : forme 575">
              <a:extLst>
                <a:ext uri="{FF2B5EF4-FFF2-40B4-BE49-F238E27FC236}">
                  <a16:creationId xmlns:a16="http://schemas.microsoft.com/office/drawing/2014/main" id="{526F0D4E-209F-45B7-8D0B-5F52AEBBFFB5}"/>
                </a:ext>
              </a:extLst>
            </p:cNvPr>
            <p:cNvSpPr/>
            <p:nvPr/>
          </p:nvSpPr>
          <p:spPr>
            <a:xfrm rot="8716295">
              <a:off x="119403" y="90662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7" name="Forme libre : forme 576">
              <a:extLst>
                <a:ext uri="{FF2B5EF4-FFF2-40B4-BE49-F238E27FC236}">
                  <a16:creationId xmlns:a16="http://schemas.microsoft.com/office/drawing/2014/main" id="{E4487EF6-2C0D-4ADC-9B8D-2F6D6193CD68}"/>
                </a:ext>
              </a:extLst>
            </p:cNvPr>
            <p:cNvSpPr/>
            <p:nvPr/>
          </p:nvSpPr>
          <p:spPr>
            <a:xfrm rot="8716295">
              <a:off x="40994" y="74983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8" name="Forme libre : forme 577">
              <a:extLst>
                <a:ext uri="{FF2B5EF4-FFF2-40B4-BE49-F238E27FC236}">
                  <a16:creationId xmlns:a16="http://schemas.microsoft.com/office/drawing/2014/main" id="{7C0A915F-CAC9-450A-B192-FAACB7FBD55B}"/>
                </a:ext>
              </a:extLst>
            </p:cNvPr>
            <p:cNvSpPr/>
            <p:nvPr/>
          </p:nvSpPr>
          <p:spPr>
            <a:xfrm rot="8716295">
              <a:off x="-44934" y="551941"/>
              <a:ext cx="152592" cy="165412"/>
            </a:xfrm>
            <a:custGeom>
              <a:avLst/>
              <a:gdLst>
                <a:gd name="connsiteX0" fmla="*/ 26453 w 152592"/>
                <a:gd name="connsiteY0" fmla="*/ 153143 h 165412"/>
                <a:gd name="connsiteX1" fmla="*/ 0 w 152592"/>
                <a:gd name="connsiteY1" fmla="*/ 90494 h 165412"/>
                <a:gd name="connsiteX2" fmla="*/ 0 w 152592"/>
                <a:gd name="connsiteY2" fmla="*/ 89101 h 165412"/>
                <a:gd name="connsiteX3" fmla="*/ 26453 w 152592"/>
                <a:gd name="connsiteY3" fmla="*/ 26453 h 165412"/>
                <a:gd name="connsiteX4" fmla="*/ 89101 w 152592"/>
                <a:gd name="connsiteY4" fmla="*/ 0 h 165412"/>
                <a:gd name="connsiteX5" fmla="*/ 151752 w 152592"/>
                <a:gd name="connsiteY5" fmla="*/ 26453 h 165412"/>
                <a:gd name="connsiteX6" fmla="*/ 152592 w 152592"/>
                <a:gd name="connsiteY6" fmla="*/ 27688 h 165412"/>
                <a:gd name="connsiteX7" fmla="*/ 57126 w 152592"/>
                <a:gd name="connsiteY7" fmla="*/ 165412 h 165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592" h="165412">
                  <a:moveTo>
                    <a:pt x="26453" y="153143"/>
                  </a:moveTo>
                  <a:cubicBezTo>
                    <a:pt x="9746" y="136436"/>
                    <a:pt x="0" y="114161"/>
                    <a:pt x="0" y="90494"/>
                  </a:cubicBezTo>
                  <a:lnTo>
                    <a:pt x="0" y="89101"/>
                  </a:lnTo>
                  <a:cubicBezTo>
                    <a:pt x="0" y="65434"/>
                    <a:pt x="9746" y="43159"/>
                    <a:pt x="26453" y="26453"/>
                  </a:cubicBezTo>
                  <a:cubicBezTo>
                    <a:pt x="43159" y="9746"/>
                    <a:pt x="65435" y="0"/>
                    <a:pt x="89101" y="0"/>
                  </a:cubicBezTo>
                  <a:cubicBezTo>
                    <a:pt x="112770" y="0"/>
                    <a:pt x="135045" y="9746"/>
                    <a:pt x="151752" y="26453"/>
                  </a:cubicBezTo>
                  <a:lnTo>
                    <a:pt x="152592" y="27688"/>
                  </a:lnTo>
                  <a:lnTo>
                    <a:pt x="57126" y="1654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9" name="Forme libre : forme 578">
              <a:extLst>
                <a:ext uri="{FF2B5EF4-FFF2-40B4-BE49-F238E27FC236}">
                  <a16:creationId xmlns:a16="http://schemas.microsoft.com/office/drawing/2014/main" id="{F58403BF-2302-4726-985B-EDA0C69E1FA1}"/>
                </a:ext>
              </a:extLst>
            </p:cNvPr>
            <p:cNvSpPr/>
            <p:nvPr/>
          </p:nvSpPr>
          <p:spPr>
            <a:xfrm rot="8716295">
              <a:off x="-69806" y="4587027"/>
              <a:ext cx="183810" cy="187594"/>
            </a:xfrm>
            <a:custGeom>
              <a:avLst/>
              <a:gdLst>
                <a:gd name="connsiteX0" fmla="*/ 10574 w 183810"/>
                <a:gd name="connsiteY0" fmla="*/ 187594 h 187594"/>
                <a:gd name="connsiteX1" fmla="*/ 0 w 183810"/>
                <a:gd name="connsiteY1" fmla="*/ 172952 h 187594"/>
                <a:gd name="connsiteX2" fmla="*/ 183810 w 183810"/>
                <a:gd name="connsiteY2" fmla="*/ 0 h 187594"/>
                <a:gd name="connsiteX3" fmla="*/ 72284 w 183810"/>
                <a:gd name="connsiteY3" fmla="*/ 160894 h 187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810" h="187594">
                  <a:moveTo>
                    <a:pt x="10574" y="187594"/>
                  </a:moveTo>
                  <a:lnTo>
                    <a:pt x="0" y="172952"/>
                  </a:lnTo>
                  <a:lnTo>
                    <a:pt x="183810" y="0"/>
                  </a:lnTo>
                  <a:lnTo>
                    <a:pt x="72284" y="1608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0" name="Forme libre : forme 579">
              <a:extLst>
                <a:ext uri="{FF2B5EF4-FFF2-40B4-BE49-F238E27FC236}">
                  <a16:creationId xmlns:a16="http://schemas.microsoft.com/office/drawing/2014/main" id="{BDEDB1D6-CD3F-4286-9F37-FC31932639CB}"/>
                </a:ext>
              </a:extLst>
            </p:cNvPr>
            <p:cNvSpPr/>
            <p:nvPr/>
          </p:nvSpPr>
          <p:spPr>
            <a:xfrm rot="8716295">
              <a:off x="4450621" y="307495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1" name="Forme libre : forme 580">
              <a:extLst>
                <a:ext uri="{FF2B5EF4-FFF2-40B4-BE49-F238E27FC236}">
                  <a16:creationId xmlns:a16="http://schemas.microsoft.com/office/drawing/2014/main" id="{4AAFF489-2EF8-4A1D-A5BE-9FFA1F256B78}"/>
                </a:ext>
              </a:extLst>
            </p:cNvPr>
            <p:cNvSpPr/>
            <p:nvPr/>
          </p:nvSpPr>
          <p:spPr>
            <a:xfrm rot="8716295">
              <a:off x="4585920" y="3119209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2" name="Forme libre : forme 581">
              <a:extLst>
                <a:ext uri="{FF2B5EF4-FFF2-40B4-BE49-F238E27FC236}">
                  <a16:creationId xmlns:a16="http://schemas.microsoft.com/office/drawing/2014/main" id="{08C5AAF3-2EAB-4F45-9664-88E9C0000541}"/>
                </a:ext>
              </a:extLst>
            </p:cNvPr>
            <p:cNvSpPr/>
            <p:nvPr/>
          </p:nvSpPr>
          <p:spPr>
            <a:xfrm rot="8716295">
              <a:off x="4518038" y="2988621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3" name="Forme libre : forme 582">
              <a:extLst>
                <a:ext uri="{FF2B5EF4-FFF2-40B4-BE49-F238E27FC236}">
                  <a16:creationId xmlns:a16="http://schemas.microsoft.com/office/drawing/2014/main" id="{638603A9-A80C-466B-8956-7709A279FB5A}"/>
                </a:ext>
              </a:extLst>
            </p:cNvPr>
            <p:cNvSpPr/>
            <p:nvPr/>
          </p:nvSpPr>
          <p:spPr>
            <a:xfrm rot="8716295">
              <a:off x="4280750" y="3208965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4" name="Forme libre : forme 583">
              <a:extLst>
                <a:ext uri="{FF2B5EF4-FFF2-40B4-BE49-F238E27FC236}">
                  <a16:creationId xmlns:a16="http://schemas.microsoft.com/office/drawing/2014/main" id="{A8E33E04-89D6-4F98-BAEF-EDE8630206B1}"/>
                </a:ext>
              </a:extLst>
            </p:cNvPr>
            <p:cNvSpPr/>
            <p:nvPr/>
          </p:nvSpPr>
          <p:spPr>
            <a:xfrm rot="8716295">
              <a:off x="4091704" y="289313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5" name="Forme libre : forme 584">
              <a:extLst>
                <a:ext uri="{FF2B5EF4-FFF2-40B4-BE49-F238E27FC236}">
                  <a16:creationId xmlns:a16="http://schemas.microsoft.com/office/drawing/2014/main" id="{A7666627-38C9-4B80-8E99-5407F0D530DB}"/>
                </a:ext>
              </a:extLst>
            </p:cNvPr>
            <p:cNvSpPr/>
            <p:nvPr/>
          </p:nvSpPr>
          <p:spPr>
            <a:xfrm rot="8716295">
              <a:off x="4073463" y="2683080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6" name="Forme libre : forme 585">
              <a:extLst>
                <a:ext uri="{FF2B5EF4-FFF2-40B4-BE49-F238E27FC236}">
                  <a16:creationId xmlns:a16="http://schemas.microsoft.com/office/drawing/2014/main" id="{898A3276-9FA7-4E65-A5A0-224B87B17902}"/>
                </a:ext>
              </a:extLst>
            </p:cNvPr>
            <p:cNvSpPr/>
            <p:nvPr/>
          </p:nvSpPr>
          <p:spPr>
            <a:xfrm rot="8716295">
              <a:off x="4417239" y="327094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7" name="Forme libre : forme 586">
              <a:extLst>
                <a:ext uri="{FF2B5EF4-FFF2-40B4-BE49-F238E27FC236}">
                  <a16:creationId xmlns:a16="http://schemas.microsoft.com/office/drawing/2014/main" id="{CF0A1147-FB9D-46F4-871B-248D48678B41}"/>
                </a:ext>
              </a:extLst>
            </p:cNvPr>
            <p:cNvSpPr/>
            <p:nvPr/>
          </p:nvSpPr>
          <p:spPr>
            <a:xfrm rot="8716295">
              <a:off x="4888185" y="2696334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8" name="Forme libre : forme 587">
              <a:extLst>
                <a:ext uri="{FF2B5EF4-FFF2-40B4-BE49-F238E27FC236}">
                  <a16:creationId xmlns:a16="http://schemas.microsoft.com/office/drawing/2014/main" id="{6D3AA320-C4A1-450B-B139-FAA6B857C782}"/>
                </a:ext>
              </a:extLst>
            </p:cNvPr>
            <p:cNvSpPr/>
            <p:nvPr/>
          </p:nvSpPr>
          <p:spPr>
            <a:xfrm rot="8716295">
              <a:off x="5023484" y="2740593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9" name="Forme libre : forme 588">
              <a:extLst>
                <a:ext uri="{FF2B5EF4-FFF2-40B4-BE49-F238E27FC236}">
                  <a16:creationId xmlns:a16="http://schemas.microsoft.com/office/drawing/2014/main" id="{2F150BFB-64B1-4976-855B-5F1B82B29D1E}"/>
                </a:ext>
              </a:extLst>
            </p:cNvPr>
            <p:cNvSpPr/>
            <p:nvPr/>
          </p:nvSpPr>
          <p:spPr>
            <a:xfrm rot="8716295">
              <a:off x="4718314" y="283034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0" name="Forme libre : forme 589">
              <a:extLst>
                <a:ext uri="{FF2B5EF4-FFF2-40B4-BE49-F238E27FC236}">
                  <a16:creationId xmlns:a16="http://schemas.microsoft.com/office/drawing/2014/main" id="{8612B4F0-1F44-4CE1-88B9-E057888AB1EF}"/>
                </a:ext>
              </a:extLst>
            </p:cNvPr>
            <p:cNvSpPr/>
            <p:nvPr/>
          </p:nvSpPr>
          <p:spPr>
            <a:xfrm rot="8716295">
              <a:off x="4529270" y="251451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1" name="Forme libre : forme 590">
              <a:extLst>
                <a:ext uri="{FF2B5EF4-FFF2-40B4-BE49-F238E27FC236}">
                  <a16:creationId xmlns:a16="http://schemas.microsoft.com/office/drawing/2014/main" id="{AEBD3D06-0DA7-425C-875C-E411E70FF11D}"/>
                </a:ext>
              </a:extLst>
            </p:cNvPr>
            <p:cNvSpPr/>
            <p:nvPr/>
          </p:nvSpPr>
          <p:spPr>
            <a:xfrm rot="8716295">
              <a:off x="4854803" y="2892332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2" name="Forme libre : forme 591">
              <a:extLst>
                <a:ext uri="{FF2B5EF4-FFF2-40B4-BE49-F238E27FC236}">
                  <a16:creationId xmlns:a16="http://schemas.microsoft.com/office/drawing/2014/main" id="{9199237A-0E56-4FAF-BB9D-EF00685C58E3}"/>
                </a:ext>
              </a:extLst>
            </p:cNvPr>
            <p:cNvSpPr/>
            <p:nvPr/>
          </p:nvSpPr>
          <p:spPr>
            <a:xfrm rot="8716295">
              <a:off x="4489356" y="2665906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3" name="Forme libre : forme 592">
              <a:extLst>
                <a:ext uri="{FF2B5EF4-FFF2-40B4-BE49-F238E27FC236}">
                  <a16:creationId xmlns:a16="http://schemas.microsoft.com/office/drawing/2014/main" id="{E963605C-F6B8-4C5B-92E3-0FAFE8235053}"/>
                </a:ext>
              </a:extLst>
            </p:cNvPr>
            <p:cNvSpPr/>
            <p:nvPr/>
          </p:nvSpPr>
          <p:spPr>
            <a:xfrm rot="7484129">
              <a:off x="5013620" y="318195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4" name="Forme libre : forme 593">
              <a:extLst>
                <a:ext uri="{FF2B5EF4-FFF2-40B4-BE49-F238E27FC236}">
                  <a16:creationId xmlns:a16="http://schemas.microsoft.com/office/drawing/2014/main" id="{1392E43B-D559-4A8D-AB98-72C488E4E1E8}"/>
                </a:ext>
              </a:extLst>
            </p:cNvPr>
            <p:cNvSpPr/>
            <p:nvPr/>
          </p:nvSpPr>
          <p:spPr>
            <a:xfrm rot="13089394">
              <a:off x="5172270" y="3131298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5" name="Forme libre : forme 594">
              <a:extLst>
                <a:ext uri="{FF2B5EF4-FFF2-40B4-BE49-F238E27FC236}">
                  <a16:creationId xmlns:a16="http://schemas.microsoft.com/office/drawing/2014/main" id="{EB748E85-117E-4407-87DE-3644DEF09573}"/>
                </a:ext>
              </a:extLst>
            </p:cNvPr>
            <p:cNvSpPr/>
            <p:nvPr/>
          </p:nvSpPr>
          <p:spPr>
            <a:xfrm rot="8716295">
              <a:off x="5453161" y="2841180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6" name="Forme libre : forme 595">
              <a:extLst>
                <a:ext uri="{FF2B5EF4-FFF2-40B4-BE49-F238E27FC236}">
                  <a16:creationId xmlns:a16="http://schemas.microsoft.com/office/drawing/2014/main" id="{22573B7D-D596-4F8E-9E39-A045BCC2CF63}"/>
                </a:ext>
              </a:extLst>
            </p:cNvPr>
            <p:cNvSpPr/>
            <p:nvPr/>
          </p:nvSpPr>
          <p:spPr>
            <a:xfrm rot="8716295">
              <a:off x="5374752" y="268438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7" name="Forme libre : forme 596">
              <a:extLst>
                <a:ext uri="{FF2B5EF4-FFF2-40B4-BE49-F238E27FC236}">
                  <a16:creationId xmlns:a16="http://schemas.microsoft.com/office/drawing/2014/main" id="{4677ED04-0D7E-49F5-B71E-0D622A62ADD4}"/>
                </a:ext>
              </a:extLst>
            </p:cNvPr>
            <p:cNvSpPr/>
            <p:nvPr/>
          </p:nvSpPr>
          <p:spPr>
            <a:xfrm rot="8716295">
              <a:off x="5006588" y="273012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8" name="Forme libre : forme 597">
              <a:extLst>
                <a:ext uri="{FF2B5EF4-FFF2-40B4-BE49-F238E27FC236}">
                  <a16:creationId xmlns:a16="http://schemas.microsoft.com/office/drawing/2014/main" id="{D2F582D4-EF44-4379-A334-2FAC2AC458E7}"/>
                </a:ext>
              </a:extLst>
            </p:cNvPr>
            <p:cNvSpPr/>
            <p:nvPr/>
          </p:nvSpPr>
          <p:spPr>
            <a:xfrm rot="8716295">
              <a:off x="5275170" y="2489109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9" name="Forme libre : forme 598">
              <a:extLst>
                <a:ext uri="{FF2B5EF4-FFF2-40B4-BE49-F238E27FC236}">
                  <a16:creationId xmlns:a16="http://schemas.microsoft.com/office/drawing/2014/main" id="{84900379-879C-4E94-8EC3-3B7984623CAD}"/>
                </a:ext>
              </a:extLst>
            </p:cNvPr>
            <p:cNvSpPr/>
            <p:nvPr/>
          </p:nvSpPr>
          <p:spPr>
            <a:xfrm rot="8716295">
              <a:off x="4788394" y="407343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0" name="Forme libre : forme 599">
              <a:extLst>
                <a:ext uri="{FF2B5EF4-FFF2-40B4-BE49-F238E27FC236}">
                  <a16:creationId xmlns:a16="http://schemas.microsoft.com/office/drawing/2014/main" id="{4DC88A19-D799-4F8F-A66E-7F483954A8CF}"/>
                </a:ext>
              </a:extLst>
            </p:cNvPr>
            <p:cNvSpPr/>
            <p:nvPr/>
          </p:nvSpPr>
          <p:spPr>
            <a:xfrm rot="8716295">
              <a:off x="4923693" y="411769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1" name="Forme libre : forme 600">
              <a:extLst>
                <a:ext uri="{FF2B5EF4-FFF2-40B4-BE49-F238E27FC236}">
                  <a16:creationId xmlns:a16="http://schemas.microsoft.com/office/drawing/2014/main" id="{CC17534A-6773-4440-8E50-D7605DA4316B}"/>
                </a:ext>
              </a:extLst>
            </p:cNvPr>
            <p:cNvSpPr/>
            <p:nvPr/>
          </p:nvSpPr>
          <p:spPr>
            <a:xfrm rot="8716295">
              <a:off x="4855811" y="3987104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2" name="Forme libre : forme 601">
              <a:extLst>
                <a:ext uri="{FF2B5EF4-FFF2-40B4-BE49-F238E27FC236}">
                  <a16:creationId xmlns:a16="http://schemas.microsoft.com/office/drawing/2014/main" id="{72B2A07E-B506-443A-AB4D-FF9B71599735}"/>
                </a:ext>
              </a:extLst>
            </p:cNvPr>
            <p:cNvSpPr/>
            <p:nvPr/>
          </p:nvSpPr>
          <p:spPr>
            <a:xfrm rot="8716295">
              <a:off x="4618523" y="420744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3" name="Forme libre : forme 602">
              <a:extLst>
                <a:ext uri="{FF2B5EF4-FFF2-40B4-BE49-F238E27FC236}">
                  <a16:creationId xmlns:a16="http://schemas.microsoft.com/office/drawing/2014/main" id="{D19F9C0D-4352-499E-998A-34B9B0D7C7E9}"/>
                </a:ext>
              </a:extLst>
            </p:cNvPr>
            <p:cNvSpPr/>
            <p:nvPr/>
          </p:nvSpPr>
          <p:spPr>
            <a:xfrm rot="8716295">
              <a:off x="4429477" y="389161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4" name="Forme libre : forme 603">
              <a:extLst>
                <a:ext uri="{FF2B5EF4-FFF2-40B4-BE49-F238E27FC236}">
                  <a16:creationId xmlns:a16="http://schemas.microsoft.com/office/drawing/2014/main" id="{9C16ADD0-4CDE-43CE-BCE7-346E01482261}"/>
                </a:ext>
              </a:extLst>
            </p:cNvPr>
            <p:cNvSpPr/>
            <p:nvPr/>
          </p:nvSpPr>
          <p:spPr>
            <a:xfrm rot="8716295">
              <a:off x="4411236" y="3681563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5" name="Forme libre : forme 604">
              <a:extLst>
                <a:ext uri="{FF2B5EF4-FFF2-40B4-BE49-F238E27FC236}">
                  <a16:creationId xmlns:a16="http://schemas.microsoft.com/office/drawing/2014/main" id="{DF85051C-5928-4ACB-ABB6-0438F99C942D}"/>
                </a:ext>
              </a:extLst>
            </p:cNvPr>
            <p:cNvSpPr/>
            <p:nvPr/>
          </p:nvSpPr>
          <p:spPr>
            <a:xfrm rot="8716295">
              <a:off x="4755012" y="4269431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6" name="Forme libre : forme 605">
              <a:extLst>
                <a:ext uri="{FF2B5EF4-FFF2-40B4-BE49-F238E27FC236}">
                  <a16:creationId xmlns:a16="http://schemas.microsoft.com/office/drawing/2014/main" id="{8C93F37A-4AE0-46A6-B51D-241F87B310EC}"/>
                </a:ext>
              </a:extLst>
            </p:cNvPr>
            <p:cNvSpPr/>
            <p:nvPr/>
          </p:nvSpPr>
          <p:spPr>
            <a:xfrm rot="8716295">
              <a:off x="5225958" y="3694817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7" name="Forme libre : forme 606">
              <a:extLst>
                <a:ext uri="{FF2B5EF4-FFF2-40B4-BE49-F238E27FC236}">
                  <a16:creationId xmlns:a16="http://schemas.microsoft.com/office/drawing/2014/main" id="{D8EF92CC-16CE-4344-A7B3-112501178C1C}"/>
                </a:ext>
              </a:extLst>
            </p:cNvPr>
            <p:cNvSpPr/>
            <p:nvPr/>
          </p:nvSpPr>
          <p:spPr>
            <a:xfrm rot="8716295">
              <a:off x="5364349" y="3753375"/>
              <a:ext cx="325540" cy="385611"/>
            </a:xfrm>
            <a:custGeom>
              <a:avLst/>
              <a:gdLst>
                <a:gd name="connsiteX0" fmla="*/ 8983 w 325540"/>
                <a:gd name="connsiteY0" fmla="*/ 385611 h 385611"/>
                <a:gd name="connsiteX1" fmla="*/ 8983 w 325540"/>
                <a:gd name="connsiteY1" fmla="*/ 69053 h 385611"/>
                <a:gd name="connsiteX2" fmla="*/ 0 w 325540"/>
                <a:gd name="connsiteY2" fmla="*/ 69053 h 385611"/>
                <a:gd name="connsiteX3" fmla="*/ 55019 w 325540"/>
                <a:gd name="connsiteY3" fmla="*/ 2157 h 385611"/>
                <a:gd name="connsiteX4" fmla="*/ 89675 w 325540"/>
                <a:gd name="connsiteY4" fmla="*/ 2156 h 385611"/>
                <a:gd name="connsiteX5" fmla="*/ 89674 w 325540"/>
                <a:gd name="connsiteY5" fmla="*/ 113882 h 385611"/>
                <a:gd name="connsiteX6" fmla="*/ 91743 w 325540"/>
                <a:gd name="connsiteY6" fmla="*/ 113882 h 385611"/>
                <a:gd name="connsiteX7" fmla="*/ 164159 w 325540"/>
                <a:gd name="connsiteY7" fmla="*/ 9053 h 385611"/>
                <a:gd name="connsiteX8" fmla="*/ 211745 w 325540"/>
                <a:gd name="connsiteY8" fmla="*/ 87 h 385611"/>
                <a:gd name="connsiteX9" fmla="*/ 325540 w 325540"/>
                <a:gd name="connsiteY9" fmla="*/ 133882 h 385611"/>
                <a:gd name="connsiteX10" fmla="*/ 325540 w 325540"/>
                <a:gd name="connsiteY10" fmla="*/ 142848 h 385611"/>
                <a:gd name="connsiteX11" fmla="*/ 231746 w 325540"/>
                <a:gd name="connsiteY11" fmla="*/ 148366 h 385611"/>
                <a:gd name="connsiteX12" fmla="*/ 231746 w 325540"/>
                <a:gd name="connsiteY12" fmla="*/ 123538 h 385611"/>
                <a:gd name="connsiteX13" fmla="*/ 180710 w 325540"/>
                <a:gd name="connsiteY13" fmla="*/ 60778 h 385611"/>
                <a:gd name="connsiteX14" fmla="*/ 100020 w 325540"/>
                <a:gd name="connsiteY14" fmla="*/ 193194 h 385611"/>
                <a:gd name="connsiteX15" fmla="*/ 100020 w 325540"/>
                <a:gd name="connsiteY15" fmla="*/ 323541 h 385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5540" h="385611">
                  <a:moveTo>
                    <a:pt x="8983" y="385611"/>
                  </a:moveTo>
                  <a:lnTo>
                    <a:pt x="8983" y="69053"/>
                  </a:lnTo>
                  <a:lnTo>
                    <a:pt x="0" y="69053"/>
                  </a:lnTo>
                  <a:lnTo>
                    <a:pt x="55019" y="2157"/>
                  </a:lnTo>
                  <a:lnTo>
                    <a:pt x="89675" y="2156"/>
                  </a:lnTo>
                  <a:lnTo>
                    <a:pt x="89674" y="113882"/>
                  </a:lnTo>
                  <a:lnTo>
                    <a:pt x="91743" y="113882"/>
                  </a:lnTo>
                  <a:cubicBezTo>
                    <a:pt x="113813" y="48363"/>
                    <a:pt x="131055" y="22846"/>
                    <a:pt x="164159" y="9053"/>
                  </a:cubicBezTo>
                  <a:cubicBezTo>
                    <a:pt x="179331" y="2846"/>
                    <a:pt x="195193" y="-602"/>
                    <a:pt x="211745" y="87"/>
                  </a:cubicBezTo>
                  <a:cubicBezTo>
                    <a:pt x="282781" y="-1293"/>
                    <a:pt x="325540" y="48363"/>
                    <a:pt x="325540" y="133882"/>
                  </a:cubicBezTo>
                  <a:lnTo>
                    <a:pt x="325540" y="142848"/>
                  </a:lnTo>
                  <a:lnTo>
                    <a:pt x="231746" y="148366"/>
                  </a:lnTo>
                  <a:lnTo>
                    <a:pt x="231746" y="123538"/>
                  </a:lnTo>
                  <a:cubicBezTo>
                    <a:pt x="231746" y="86296"/>
                    <a:pt x="210367" y="60778"/>
                    <a:pt x="180710" y="60778"/>
                  </a:cubicBezTo>
                  <a:cubicBezTo>
                    <a:pt x="136572" y="60777"/>
                    <a:pt x="100020" y="119400"/>
                    <a:pt x="100020" y="193194"/>
                  </a:cubicBezTo>
                  <a:lnTo>
                    <a:pt x="100020" y="3235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8" name="Forme libre : forme 607">
              <a:extLst>
                <a:ext uri="{FF2B5EF4-FFF2-40B4-BE49-F238E27FC236}">
                  <a16:creationId xmlns:a16="http://schemas.microsoft.com/office/drawing/2014/main" id="{18839B14-F1F7-42D0-B065-28068F2B762B}"/>
                </a:ext>
              </a:extLst>
            </p:cNvPr>
            <p:cNvSpPr/>
            <p:nvPr/>
          </p:nvSpPr>
          <p:spPr>
            <a:xfrm rot="8716295">
              <a:off x="5056087" y="382883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9" name="Forme libre : forme 608">
              <a:extLst>
                <a:ext uri="{FF2B5EF4-FFF2-40B4-BE49-F238E27FC236}">
                  <a16:creationId xmlns:a16="http://schemas.microsoft.com/office/drawing/2014/main" id="{CCDA1945-4FFF-4C89-8478-EEDA05E07334}"/>
                </a:ext>
              </a:extLst>
            </p:cNvPr>
            <p:cNvSpPr/>
            <p:nvPr/>
          </p:nvSpPr>
          <p:spPr>
            <a:xfrm rot="8716295">
              <a:off x="4867043" y="351299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0" name="Forme libre : forme 609">
              <a:extLst>
                <a:ext uri="{FF2B5EF4-FFF2-40B4-BE49-F238E27FC236}">
                  <a16:creationId xmlns:a16="http://schemas.microsoft.com/office/drawing/2014/main" id="{62D52373-0C12-4466-A8A9-9FB4F9E50F37}"/>
                </a:ext>
              </a:extLst>
            </p:cNvPr>
            <p:cNvSpPr/>
            <p:nvPr/>
          </p:nvSpPr>
          <p:spPr>
            <a:xfrm rot="8716295">
              <a:off x="5192576" y="3890815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1" name="Forme libre : forme 610">
              <a:extLst>
                <a:ext uri="{FF2B5EF4-FFF2-40B4-BE49-F238E27FC236}">
                  <a16:creationId xmlns:a16="http://schemas.microsoft.com/office/drawing/2014/main" id="{9271E668-535D-45B8-BD34-6BB53627D632}"/>
                </a:ext>
              </a:extLst>
            </p:cNvPr>
            <p:cNvSpPr/>
            <p:nvPr/>
          </p:nvSpPr>
          <p:spPr>
            <a:xfrm rot="8716295">
              <a:off x="4827129" y="3664389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2" name="Forme libre : forme 611">
              <a:extLst>
                <a:ext uri="{FF2B5EF4-FFF2-40B4-BE49-F238E27FC236}">
                  <a16:creationId xmlns:a16="http://schemas.microsoft.com/office/drawing/2014/main" id="{68DD2D01-279E-4C98-9559-7C375E83C268}"/>
                </a:ext>
              </a:extLst>
            </p:cNvPr>
            <p:cNvSpPr/>
            <p:nvPr/>
          </p:nvSpPr>
          <p:spPr>
            <a:xfrm rot="7484129">
              <a:off x="5351393" y="418043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3" name="Forme libre : forme 612">
              <a:extLst>
                <a:ext uri="{FF2B5EF4-FFF2-40B4-BE49-F238E27FC236}">
                  <a16:creationId xmlns:a16="http://schemas.microsoft.com/office/drawing/2014/main" id="{4FF8E845-ABCD-4D75-BF78-6E50EC36768A}"/>
                </a:ext>
              </a:extLst>
            </p:cNvPr>
            <p:cNvSpPr/>
            <p:nvPr/>
          </p:nvSpPr>
          <p:spPr>
            <a:xfrm rot="13089394">
              <a:off x="5497067" y="4157639"/>
              <a:ext cx="336155" cy="433969"/>
            </a:xfrm>
            <a:custGeom>
              <a:avLst/>
              <a:gdLst>
                <a:gd name="connsiteX0" fmla="*/ 23241 w 222098"/>
                <a:gd name="connsiteY0" fmla="*/ 47275 h 286724"/>
                <a:gd name="connsiteX1" fmla="*/ 0 w 222098"/>
                <a:gd name="connsiteY1" fmla="*/ 11882 h 286724"/>
                <a:gd name="connsiteX2" fmla="*/ 22902 w 222098"/>
                <a:gd name="connsiteY2" fmla="*/ 0 h 286724"/>
                <a:gd name="connsiteX3" fmla="*/ 222098 w 222098"/>
                <a:gd name="connsiteY3" fmla="*/ 258238 h 286724"/>
                <a:gd name="connsiteX4" fmla="*/ 180472 w 222098"/>
                <a:gd name="connsiteY4" fmla="*/ 286724 h 286724"/>
                <a:gd name="connsiteX5" fmla="*/ 167667 w 222098"/>
                <a:gd name="connsiteY5" fmla="*/ 267224 h 286724"/>
                <a:gd name="connsiteX6" fmla="*/ 220995 w 222098"/>
                <a:gd name="connsiteY6" fmla="*/ 245547 h 286724"/>
                <a:gd name="connsiteX7" fmla="*/ 222098 w 222098"/>
                <a:gd name="connsiteY7" fmla="*/ 252720 h 286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2098" h="286724">
                  <a:moveTo>
                    <a:pt x="23241" y="47275"/>
                  </a:moveTo>
                  <a:lnTo>
                    <a:pt x="0" y="11882"/>
                  </a:lnTo>
                  <a:lnTo>
                    <a:pt x="22902" y="0"/>
                  </a:lnTo>
                  <a:close/>
                  <a:moveTo>
                    <a:pt x="222098" y="258238"/>
                  </a:moveTo>
                  <a:lnTo>
                    <a:pt x="180472" y="286724"/>
                  </a:lnTo>
                  <a:lnTo>
                    <a:pt x="167667" y="267224"/>
                  </a:lnTo>
                  <a:lnTo>
                    <a:pt x="220995" y="245547"/>
                  </a:lnTo>
                  <a:cubicBezTo>
                    <a:pt x="221546" y="247754"/>
                    <a:pt x="222098" y="250513"/>
                    <a:pt x="222098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4" name="Forme libre : forme 613">
              <a:extLst>
                <a:ext uri="{FF2B5EF4-FFF2-40B4-BE49-F238E27FC236}">
                  <a16:creationId xmlns:a16="http://schemas.microsoft.com/office/drawing/2014/main" id="{F78027CB-C390-4FC7-AC35-674EC7B9F409}"/>
                </a:ext>
              </a:extLst>
            </p:cNvPr>
            <p:cNvSpPr/>
            <p:nvPr/>
          </p:nvSpPr>
          <p:spPr>
            <a:xfrm rot="8716295">
              <a:off x="5689139" y="3701707"/>
              <a:ext cx="105382" cy="119090"/>
            </a:xfrm>
            <a:custGeom>
              <a:avLst/>
              <a:gdLst>
                <a:gd name="connsiteX0" fmla="*/ 0 w 69626"/>
                <a:gd name="connsiteY0" fmla="*/ 74288 h 78683"/>
                <a:gd name="connsiteX1" fmla="*/ 61446 w 69626"/>
                <a:gd name="connsiteY1" fmla="*/ 0 h 78683"/>
                <a:gd name="connsiteX2" fmla="*/ 69626 w 69626"/>
                <a:gd name="connsiteY2" fmla="*/ 19468 h 78683"/>
                <a:gd name="connsiteX3" fmla="*/ 52380 w 69626"/>
                <a:gd name="connsiteY3" fmla="*/ 61206 h 78683"/>
                <a:gd name="connsiteX4" fmla="*/ 10986 w 69626"/>
                <a:gd name="connsiteY4" fmla="*/ 78683 h 78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626" h="78683">
                  <a:moveTo>
                    <a:pt x="0" y="74288"/>
                  </a:moveTo>
                  <a:lnTo>
                    <a:pt x="61446" y="0"/>
                  </a:lnTo>
                  <a:lnTo>
                    <a:pt x="69626" y="19468"/>
                  </a:lnTo>
                  <a:cubicBezTo>
                    <a:pt x="69626" y="34531"/>
                    <a:pt x="63877" y="49708"/>
                    <a:pt x="52380" y="61206"/>
                  </a:cubicBezTo>
                  <a:cubicBezTo>
                    <a:pt x="41341" y="72244"/>
                    <a:pt x="26624" y="78683"/>
                    <a:pt x="10986" y="786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5" name="Forme libre : forme 614">
              <a:extLst>
                <a:ext uri="{FF2B5EF4-FFF2-40B4-BE49-F238E27FC236}">
                  <a16:creationId xmlns:a16="http://schemas.microsoft.com/office/drawing/2014/main" id="{CDCDCD36-D509-4E07-A579-1A4701D840AC}"/>
                </a:ext>
              </a:extLst>
            </p:cNvPr>
            <p:cNvSpPr/>
            <p:nvPr/>
          </p:nvSpPr>
          <p:spPr>
            <a:xfrm rot="8716295">
              <a:off x="5344361" y="372861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6" name="Forme libre : forme 615">
              <a:extLst>
                <a:ext uri="{FF2B5EF4-FFF2-40B4-BE49-F238E27FC236}">
                  <a16:creationId xmlns:a16="http://schemas.microsoft.com/office/drawing/2014/main" id="{8F810203-59B0-4DA5-A5DC-8690A9A9B005}"/>
                </a:ext>
              </a:extLst>
            </p:cNvPr>
            <p:cNvSpPr/>
            <p:nvPr/>
          </p:nvSpPr>
          <p:spPr>
            <a:xfrm rot="8716295">
              <a:off x="5599943" y="3480521"/>
              <a:ext cx="177855" cy="178203"/>
            </a:xfrm>
            <a:custGeom>
              <a:avLst/>
              <a:gdLst>
                <a:gd name="connsiteX0" fmla="*/ 17477 w 117509"/>
                <a:gd name="connsiteY0" fmla="*/ 101182 h 117739"/>
                <a:gd name="connsiteX1" fmla="*/ 0 w 117509"/>
                <a:gd name="connsiteY1" fmla="*/ 59790 h 117739"/>
                <a:gd name="connsiteX2" fmla="*/ 0 w 117509"/>
                <a:gd name="connsiteY2" fmla="*/ 58869 h 117739"/>
                <a:gd name="connsiteX3" fmla="*/ 2091 w 117509"/>
                <a:gd name="connsiteY3" fmla="*/ 48678 h 117739"/>
                <a:gd name="connsiteX4" fmla="*/ 38978 w 117509"/>
                <a:gd name="connsiteY4" fmla="*/ 4080 h 117739"/>
                <a:gd name="connsiteX5" fmla="*/ 58869 w 117509"/>
                <a:gd name="connsiteY5" fmla="*/ 0 h 117739"/>
                <a:gd name="connsiteX6" fmla="*/ 100263 w 117509"/>
                <a:gd name="connsiteY6" fmla="*/ 17477 h 117739"/>
                <a:gd name="connsiteX7" fmla="*/ 100263 w 117509"/>
                <a:gd name="connsiteY7" fmla="*/ 100262 h 117739"/>
                <a:gd name="connsiteX8" fmla="*/ 58869 w 117509"/>
                <a:gd name="connsiteY8" fmla="*/ 117739 h 117739"/>
                <a:gd name="connsiteX9" fmla="*/ 17477 w 117509"/>
                <a:gd name="connsiteY9" fmla="*/ 101182 h 117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09" h="117739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lnTo>
                    <a:pt x="2091" y="48678"/>
                  </a:lnTo>
                  <a:lnTo>
                    <a:pt x="38978" y="4080"/>
                  </a:lnTo>
                  <a:lnTo>
                    <a:pt x="58869" y="0"/>
                  </a:lnTo>
                  <a:cubicBezTo>
                    <a:pt x="74507" y="0"/>
                    <a:pt x="89224" y="6439"/>
                    <a:pt x="100263" y="17477"/>
                  </a:cubicBezTo>
                  <a:cubicBezTo>
                    <a:pt x="123258" y="39553"/>
                    <a:pt x="123258" y="77266"/>
                    <a:pt x="100263" y="100262"/>
                  </a:cubicBezTo>
                  <a:cubicBezTo>
                    <a:pt x="89224" y="111300"/>
                    <a:pt x="74507" y="117739"/>
                    <a:pt x="58869" y="117739"/>
                  </a:cubicBezTo>
                  <a:cubicBezTo>
                    <a:pt x="43233" y="117739"/>
                    <a:pt x="28515" y="112220"/>
                    <a:pt x="17477" y="10118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7" name="Forme libre : forme 616">
              <a:extLst>
                <a:ext uri="{FF2B5EF4-FFF2-40B4-BE49-F238E27FC236}">
                  <a16:creationId xmlns:a16="http://schemas.microsoft.com/office/drawing/2014/main" id="{B4D6BED0-10F3-4D86-8E3C-AFD0F7AE9965}"/>
                </a:ext>
              </a:extLst>
            </p:cNvPr>
            <p:cNvSpPr/>
            <p:nvPr/>
          </p:nvSpPr>
          <p:spPr>
            <a:xfrm rot="8716295">
              <a:off x="5090746" y="5117279"/>
              <a:ext cx="37096" cy="40385"/>
            </a:xfrm>
            <a:custGeom>
              <a:avLst/>
              <a:gdLst>
                <a:gd name="connsiteX0" fmla="*/ 0 w 37096"/>
                <a:gd name="connsiteY0" fmla="*/ 40385 h 40385"/>
                <a:gd name="connsiteX1" fmla="*/ 0 w 37096"/>
                <a:gd name="connsiteY1" fmla="*/ 0 h 40385"/>
                <a:gd name="connsiteX2" fmla="*/ 37096 w 37096"/>
                <a:gd name="connsiteY2" fmla="*/ 25713 h 40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096" h="40385">
                  <a:moveTo>
                    <a:pt x="0" y="40385"/>
                  </a:moveTo>
                  <a:lnTo>
                    <a:pt x="0" y="0"/>
                  </a:lnTo>
                  <a:lnTo>
                    <a:pt x="37096" y="2571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8" name="Forme libre : forme 617">
              <a:extLst>
                <a:ext uri="{FF2B5EF4-FFF2-40B4-BE49-F238E27FC236}">
                  <a16:creationId xmlns:a16="http://schemas.microsoft.com/office/drawing/2014/main" id="{0465DE69-E687-46E9-B069-E127CC514DB0}"/>
                </a:ext>
              </a:extLst>
            </p:cNvPr>
            <p:cNvSpPr/>
            <p:nvPr/>
          </p:nvSpPr>
          <p:spPr>
            <a:xfrm rot="8716295">
              <a:off x="5405706" y="5085046"/>
              <a:ext cx="60406" cy="83058"/>
            </a:xfrm>
            <a:custGeom>
              <a:avLst/>
              <a:gdLst>
                <a:gd name="connsiteX0" fmla="*/ 0 w 60406"/>
                <a:gd name="connsiteY0" fmla="*/ 83058 h 83058"/>
                <a:gd name="connsiteX1" fmla="*/ 0 w 60406"/>
                <a:gd name="connsiteY1" fmla="*/ 0 h 83058"/>
                <a:gd name="connsiteX2" fmla="*/ 60406 w 60406"/>
                <a:gd name="connsiteY2" fmla="*/ 41872 h 83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406" h="83058">
                  <a:moveTo>
                    <a:pt x="0" y="83058"/>
                  </a:moveTo>
                  <a:lnTo>
                    <a:pt x="0" y="0"/>
                  </a:lnTo>
                  <a:lnTo>
                    <a:pt x="60406" y="4187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9" name="Forme libre : forme 618">
              <a:extLst>
                <a:ext uri="{FF2B5EF4-FFF2-40B4-BE49-F238E27FC236}">
                  <a16:creationId xmlns:a16="http://schemas.microsoft.com/office/drawing/2014/main" id="{1225017D-5B5E-4D56-9AE0-45594E8EF6FF}"/>
                </a:ext>
              </a:extLst>
            </p:cNvPr>
            <p:cNvSpPr/>
            <p:nvPr/>
          </p:nvSpPr>
          <p:spPr>
            <a:xfrm rot="8716295">
              <a:off x="5207014" y="4975218"/>
              <a:ext cx="245211" cy="161994"/>
            </a:xfrm>
            <a:custGeom>
              <a:avLst/>
              <a:gdLst>
                <a:gd name="connsiteX0" fmla="*/ 8965 w 245211"/>
                <a:gd name="connsiteY0" fmla="*/ 161994 h 161994"/>
                <a:gd name="connsiteX1" fmla="*/ 0 w 245211"/>
                <a:gd name="connsiteY1" fmla="*/ 149580 h 161994"/>
                <a:gd name="connsiteX2" fmla="*/ 158971 w 245211"/>
                <a:gd name="connsiteY2" fmla="*/ 0 h 161994"/>
                <a:gd name="connsiteX3" fmla="*/ 245211 w 245211"/>
                <a:gd name="connsiteY3" fmla="*/ 59779 h 161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211" h="161994">
                  <a:moveTo>
                    <a:pt x="8965" y="161994"/>
                  </a:moveTo>
                  <a:lnTo>
                    <a:pt x="0" y="149580"/>
                  </a:lnTo>
                  <a:lnTo>
                    <a:pt x="158971" y="0"/>
                  </a:lnTo>
                  <a:lnTo>
                    <a:pt x="245211" y="5977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0" name="Forme libre : forme 619">
              <a:extLst>
                <a:ext uri="{FF2B5EF4-FFF2-40B4-BE49-F238E27FC236}">
                  <a16:creationId xmlns:a16="http://schemas.microsoft.com/office/drawing/2014/main" id="{AD260E0B-5D9F-4830-8DFF-9C5C4BD9CAC9}"/>
                </a:ext>
              </a:extLst>
            </p:cNvPr>
            <p:cNvSpPr/>
            <p:nvPr/>
          </p:nvSpPr>
          <p:spPr>
            <a:xfrm rot="8716295">
              <a:off x="4807372" y="4871188"/>
              <a:ext cx="249519" cy="296463"/>
            </a:xfrm>
            <a:custGeom>
              <a:avLst/>
              <a:gdLst>
                <a:gd name="connsiteX0" fmla="*/ 137293 w 249519"/>
                <a:gd name="connsiteY0" fmla="*/ 296463 h 296463"/>
                <a:gd name="connsiteX1" fmla="*/ 72418 w 249519"/>
                <a:gd name="connsiteY1" fmla="*/ 175766 h 296463"/>
                <a:gd name="connsiteX2" fmla="*/ 105610 w 249519"/>
                <a:gd name="connsiteY2" fmla="*/ 83734 h 296463"/>
                <a:gd name="connsiteX3" fmla="*/ 0 w 249519"/>
                <a:gd name="connsiteY3" fmla="*/ 83734 h 296463"/>
                <a:gd name="connsiteX4" fmla="*/ 0 w 249519"/>
                <a:gd name="connsiteY4" fmla="*/ 0 h 296463"/>
                <a:gd name="connsiteX5" fmla="*/ 128719 w 249519"/>
                <a:gd name="connsiteY5" fmla="*/ 0 h 296463"/>
                <a:gd name="connsiteX6" fmla="*/ 249519 w 249519"/>
                <a:gd name="connsiteY6" fmla="*/ 83734 h 296463"/>
                <a:gd name="connsiteX7" fmla="*/ 210465 w 249519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9519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128719" y="0"/>
                  </a:lnTo>
                  <a:lnTo>
                    <a:pt x="249519" y="83734"/>
                  </a:lnTo>
                  <a:lnTo>
                    <a:pt x="210465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1" name="Forme libre : forme 620">
              <a:extLst>
                <a:ext uri="{FF2B5EF4-FFF2-40B4-BE49-F238E27FC236}">
                  <a16:creationId xmlns:a16="http://schemas.microsoft.com/office/drawing/2014/main" id="{09F80257-FE3C-4D05-BA6D-6880C235959D}"/>
                </a:ext>
              </a:extLst>
            </p:cNvPr>
            <p:cNvSpPr/>
            <p:nvPr/>
          </p:nvSpPr>
          <p:spPr>
            <a:xfrm rot="8716295">
              <a:off x="4742203" y="467807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2" name="Forme libre : forme 621">
              <a:extLst>
                <a:ext uri="{FF2B5EF4-FFF2-40B4-BE49-F238E27FC236}">
                  <a16:creationId xmlns:a16="http://schemas.microsoft.com/office/drawing/2014/main" id="{3B04E0F0-2B8C-4F06-AF5E-7DEBDFF41168}"/>
                </a:ext>
              </a:extLst>
            </p:cNvPr>
            <p:cNvSpPr/>
            <p:nvPr/>
          </p:nvSpPr>
          <p:spPr>
            <a:xfrm rot="8716295">
              <a:off x="5548192" y="4732447"/>
              <a:ext cx="92415" cy="287093"/>
            </a:xfrm>
            <a:custGeom>
              <a:avLst/>
              <a:gdLst>
                <a:gd name="connsiteX0" fmla="*/ 0 w 61059"/>
                <a:gd name="connsiteY0" fmla="*/ 189683 h 189683"/>
                <a:gd name="connsiteX1" fmla="*/ 1 w 61059"/>
                <a:gd name="connsiteY1" fmla="*/ 70355 h 189683"/>
                <a:gd name="connsiteX2" fmla="*/ 58192 w 61059"/>
                <a:gd name="connsiteY2" fmla="*/ 0 h 189683"/>
                <a:gd name="connsiteX3" fmla="*/ 61059 w 61059"/>
                <a:gd name="connsiteY3" fmla="*/ 7418 h 189683"/>
                <a:gd name="connsiteX4" fmla="*/ 61059 w 61059"/>
                <a:gd name="connsiteY4" fmla="*/ 165533 h 189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59" h="189683">
                  <a:moveTo>
                    <a:pt x="0" y="189683"/>
                  </a:moveTo>
                  <a:lnTo>
                    <a:pt x="1" y="70355"/>
                  </a:lnTo>
                  <a:lnTo>
                    <a:pt x="58192" y="0"/>
                  </a:lnTo>
                  <a:lnTo>
                    <a:pt x="61059" y="7418"/>
                  </a:lnTo>
                  <a:lnTo>
                    <a:pt x="61059" y="1655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3" name="Forme libre : forme 622">
              <a:extLst>
                <a:ext uri="{FF2B5EF4-FFF2-40B4-BE49-F238E27FC236}">
                  <a16:creationId xmlns:a16="http://schemas.microsoft.com/office/drawing/2014/main" id="{E573200C-FAAB-40A5-A9EF-BD61E3F76A6C}"/>
                </a:ext>
              </a:extLst>
            </p:cNvPr>
            <p:cNvSpPr/>
            <p:nvPr/>
          </p:nvSpPr>
          <p:spPr>
            <a:xfrm rot="8716295">
              <a:off x="5387054" y="482534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4" name="Forme libre : forme 623">
              <a:extLst>
                <a:ext uri="{FF2B5EF4-FFF2-40B4-BE49-F238E27FC236}">
                  <a16:creationId xmlns:a16="http://schemas.microsoft.com/office/drawing/2014/main" id="{19C3230C-28AF-420E-9755-6F859DFAE8B6}"/>
                </a:ext>
              </a:extLst>
            </p:cNvPr>
            <p:cNvSpPr/>
            <p:nvPr/>
          </p:nvSpPr>
          <p:spPr>
            <a:xfrm rot="8716295">
              <a:off x="5198009" y="450950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5" name="Forme libre : forme 624">
              <a:extLst>
                <a:ext uri="{FF2B5EF4-FFF2-40B4-BE49-F238E27FC236}">
                  <a16:creationId xmlns:a16="http://schemas.microsoft.com/office/drawing/2014/main" id="{2E8CBA65-23E2-44CB-B992-A6497F02B6BB}"/>
                </a:ext>
              </a:extLst>
            </p:cNvPr>
            <p:cNvSpPr/>
            <p:nvPr/>
          </p:nvSpPr>
          <p:spPr>
            <a:xfrm rot="8716295">
              <a:off x="5503997" y="4913234"/>
              <a:ext cx="91035" cy="258752"/>
            </a:xfrm>
            <a:custGeom>
              <a:avLst/>
              <a:gdLst>
                <a:gd name="connsiteX0" fmla="*/ 91035 w 91035"/>
                <a:gd name="connsiteY0" fmla="*/ 258752 h 258752"/>
                <a:gd name="connsiteX1" fmla="*/ 0 w 91035"/>
                <a:gd name="connsiteY1" fmla="*/ 171163 h 258752"/>
                <a:gd name="connsiteX2" fmla="*/ 0 w 91035"/>
                <a:gd name="connsiteY2" fmla="*/ 43487 h 258752"/>
                <a:gd name="connsiteX3" fmla="*/ 35968 w 91035"/>
                <a:gd name="connsiteY3" fmla="*/ 0 h 258752"/>
                <a:gd name="connsiteX4" fmla="*/ 91035 w 91035"/>
                <a:gd name="connsiteY4" fmla="*/ 38170 h 258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035" h="258752">
                  <a:moveTo>
                    <a:pt x="91035" y="258752"/>
                  </a:moveTo>
                  <a:lnTo>
                    <a:pt x="0" y="171163"/>
                  </a:lnTo>
                  <a:lnTo>
                    <a:pt x="0" y="43487"/>
                  </a:lnTo>
                  <a:lnTo>
                    <a:pt x="35968" y="0"/>
                  </a:lnTo>
                  <a:lnTo>
                    <a:pt x="91035" y="3817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6" name="Forme libre : forme 625">
              <a:extLst>
                <a:ext uri="{FF2B5EF4-FFF2-40B4-BE49-F238E27FC236}">
                  <a16:creationId xmlns:a16="http://schemas.microsoft.com/office/drawing/2014/main" id="{B26AA3BD-AADA-4372-BD8D-21473C57A651}"/>
                </a:ext>
              </a:extLst>
            </p:cNvPr>
            <p:cNvSpPr/>
            <p:nvPr/>
          </p:nvSpPr>
          <p:spPr>
            <a:xfrm rot="8716295">
              <a:off x="5158096" y="466090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7" name="Forme libre : forme 626">
              <a:extLst>
                <a:ext uri="{FF2B5EF4-FFF2-40B4-BE49-F238E27FC236}">
                  <a16:creationId xmlns:a16="http://schemas.microsoft.com/office/drawing/2014/main" id="{547464F3-A56B-40EE-B7D7-F8D6AA7FE193}"/>
                </a:ext>
              </a:extLst>
            </p:cNvPr>
            <p:cNvSpPr/>
            <p:nvPr/>
          </p:nvSpPr>
          <p:spPr>
            <a:xfrm rot="8716295">
              <a:off x="4115344" y="2074537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8" name="Forme libre : forme 627">
              <a:extLst>
                <a:ext uri="{FF2B5EF4-FFF2-40B4-BE49-F238E27FC236}">
                  <a16:creationId xmlns:a16="http://schemas.microsoft.com/office/drawing/2014/main" id="{7B5D832C-BA75-4D29-B114-1E47C4BAE490}"/>
                </a:ext>
              </a:extLst>
            </p:cNvPr>
            <p:cNvSpPr/>
            <p:nvPr/>
          </p:nvSpPr>
          <p:spPr>
            <a:xfrm rot="8716295">
              <a:off x="4250643" y="2118796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9" name="Forme libre : forme 628">
              <a:extLst>
                <a:ext uri="{FF2B5EF4-FFF2-40B4-BE49-F238E27FC236}">
                  <a16:creationId xmlns:a16="http://schemas.microsoft.com/office/drawing/2014/main" id="{C64AC295-E4CE-44EE-A106-33EFFB41DEBE}"/>
                </a:ext>
              </a:extLst>
            </p:cNvPr>
            <p:cNvSpPr/>
            <p:nvPr/>
          </p:nvSpPr>
          <p:spPr>
            <a:xfrm rot="8716295">
              <a:off x="4182761" y="1988208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0" name="Forme libre : forme 629">
              <a:extLst>
                <a:ext uri="{FF2B5EF4-FFF2-40B4-BE49-F238E27FC236}">
                  <a16:creationId xmlns:a16="http://schemas.microsoft.com/office/drawing/2014/main" id="{FFA3ED08-9210-45D6-AA19-AFF70332BF0D}"/>
                </a:ext>
              </a:extLst>
            </p:cNvPr>
            <p:cNvSpPr/>
            <p:nvPr/>
          </p:nvSpPr>
          <p:spPr>
            <a:xfrm rot="8716295">
              <a:off x="3945473" y="220855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1" name="Forme libre : forme 630">
              <a:extLst>
                <a:ext uri="{FF2B5EF4-FFF2-40B4-BE49-F238E27FC236}">
                  <a16:creationId xmlns:a16="http://schemas.microsoft.com/office/drawing/2014/main" id="{211D7FA1-7CF8-4A2C-9624-5DB5F1253CA9}"/>
                </a:ext>
              </a:extLst>
            </p:cNvPr>
            <p:cNvSpPr/>
            <p:nvPr/>
          </p:nvSpPr>
          <p:spPr>
            <a:xfrm rot="8716295">
              <a:off x="3756427" y="189271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2" name="Forme libre : forme 631">
              <a:extLst>
                <a:ext uri="{FF2B5EF4-FFF2-40B4-BE49-F238E27FC236}">
                  <a16:creationId xmlns:a16="http://schemas.microsoft.com/office/drawing/2014/main" id="{ED1DCF33-40C8-4AEE-A0EE-4E241ABFAA91}"/>
                </a:ext>
              </a:extLst>
            </p:cNvPr>
            <p:cNvSpPr/>
            <p:nvPr/>
          </p:nvSpPr>
          <p:spPr>
            <a:xfrm rot="8716295">
              <a:off x="3738186" y="1682667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3" name="Forme libre : forme 632">
              <a:extLst>
                <a:ext uri="{FF2B5EF4-FFF2-40B4-BE49-F238E27FC236}">
                  <a16:creationId xmlns:a16="http://schemas.microsoft.com/office/drawing/2014/main" id="{1ED8E02A-9662-4C77-9CF8-F0AAAEDA7BF2}"/>
                </a:ext>
              </a:extLst>
            </p:cNvPr>
            <p:cNvSpPr/>
            <p:nvPr/>
          </p:nvSpPr>
          <p:spPr>
            <a:xfrm rot="8716295">
              <a:off x="4081962" y="2270535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4" name="Forme libre : forme 633">
              <a:extLst>
                <a:ext uri="{FF2B5EF4-FFF2-40B4-BE49-F238E27FC236}">
                  <a16:creationId xmlns:a16="http://schemas.microsoft.com/office/drawing/2014/main" id="{A5843512-5A07-4D47-96C0-9232DD1F4BAB}"/>
                </a:ext>
              </a:extLst>
            </p:cNvPr>
            <p:cNvSpPr/>
            <p:nvPr/>
          </p:nvSpPr>
          <p:spPr>
            <a:xfrm rot="8716295">
              <a:off x="4552908" y="169592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5" name="Forme libre : forme 634">
              <a:extLst>
                <a:ext uri="{FF2B5EF4-FFF2-40B4-BE49-F238E27FC236}">
                  <a16:creationId xmlns:a16="http://schemas.microsoft.com/office/drawing/2014/main" id="{4BB8EB0B-0F5A-4424-9318-733305CE126F}"/>
                </a:ext>
              </a:extLst>
            </p:cNvPr>
            <p:cNvSpPr/>
            <p:nvPr/>
          </p:nvSpPr>
          <p:spPr>
            <a:xfrm rot="8716295">
              <a:off x="4688207" y="174018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6" name="Forme libre : forme 635">
              <a:extLst>
                <a:ext uri="{FF2B5EF4-FFF2-40B4-BE49-F238E27FC236}">
                  <a16:creationId xmlns:a16="http://schemas.microsoft.com/office/drawing/2014/main" id="{EA2371B2-61DB-41BD-8EEA-A15B3FCB5FA9}"/>
                </a:ext>
              </a:extLst>
            </p:cNvPr>
            <p:cNvSpPr/>
            <p:nvPr/>
          </p:nvSpPr>
          <p:spPr>
            <a:xfrm rot="8716295">
              <a:off x="4383037" y="182993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7" name="Forme libre : forme 636">
              <a:extLst>
                <a:ext uri="{FF2B5EF4-FFF2-40B4-BE49-F238E27FC236}">
                  <a16:creationId xmlns:a16="http://schemas.microsoft.com/office/drawing/2014/main" id="{DA3AACAC-02B1-4FFC-A740-5475BDA0481C}"/>
                </a:ext>
              </a:extLst>
            </p:cNvPr>
            <p:cNvSpPr/>
            <p:nvPr/>
          </p:nvSpPr>
          <p:spPr>
            <a:xfrm rot="8716295">
              <a:off x="4193993" y="151410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8" name="Forme libre : forme 637">
              <a:extLst>
                <a:ext uri="{FF2B5EF4-FFF2-40B4-BE49-F238E27FC236}">
                  <a16:creationId xmlns:a16="http://schemas.microsoft.com/office/drawing/2014/main" id="{6A599191-FCF8-4596-88EE-55466D58320A}"/>
                </a:ext>
              </a:extLst>
            </p:cNvPr>
            <p:cNvSpPr/>
            <p:nvPr/>
          </p:nvSpPr>
          <p:spPr>
            <a:xfrm rot="8716295">
              <a:off x="4519525" y="1891919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9" name="Forme libre : forme 638">
              <a:extLst>
                <a:ext uri="{FF2B5EF4-FFF2-40B4-BE49-F238E27FC236}">
                  <a16:creationId xmlns:a16="http://schemas.microsoft.com/office/drawing/2014/main" id="{C2F74711-1315-40B4-BC17-926C1214DB54}"/>
                </a:ext>
              </a:extLst>
            </p:cNvPr>
            <p:cNvSpPr/>
            <p:nvPr/>
          </p:nvSpPr>
          <p:spPr>
            <a:xfrm rot="8716295">
              <a:off x="4154079" y="1665493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0" name="Forme libre : forme 639">
              <a:extLst>
                <a:ext uri="{FF2B5EF4-FFF2-40B4-BE49-F238E27FC236}">
                  <a16:creationId xmlns:a16="http://schemas.microsoft.com/office/drawing/2014/main" id="{D2AC2D0A-CAB8-4F27-AF57-67EBA74287A6}"/>
                </a:ext>
              </a:extLst>
            </p:cNvPr>
            <p:cNvSpPr/>
            <p:nvPr/>
          </p:nvSpPr>
          <p:spPr>
            <a:xfrm rot="7484129">
              <a:off x="4678343" y="218153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1" name="Forme libre : forme 640">
              <a:extLst>
                <a:ext uri="{FF2B5EF4-FFF2-40B4-BE49-F238E27FC236}">
                  <a16:creationId xmlns:a16="http://schemas.microsoft.com/office/drawing/2014/main" id="{E725B9A6-4A92-4445-9859-68BC43835400}"/>
                </a:ext>
              </a:extLst>
            </p:cNvPr>
            <p:cNvSpPr/>
            <p:nvPr/>
          </p:nvSpPr>
          <p:spPr>
            <a:xfrm rot="13089394">
              <a:off x="4836993" y="2130885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2" name="Forme libre : forme 641">
              <a:extLst>
                <a:ext uri="{FF2B5EF4-FFF2-40B4-BE49-F238E27FC236}">
                  <a16:creationId xmlns:a16="http://schemas.microsoft.com/office/drawing/2014/main" id="{7C076520-7FB2-4FC1-9D9B-18E7CCBFD41C}"/>
                </a:ext>
              </a:extLst>
            </p:cNvPr>
            <p:cNvSpPr/>
            <p:nvPr/>
          </p:nvSpPr>
          <p:spPr>
            <a:xfrm rot="8716295">
              <a:off x="5117884" y="1840767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3" name="Forme libre : forme 642">
              <a:extLst>
                <a:ext uri="{FF2B5EF4-FFF2-40B4-BE49-F238E27FC236}">
                  <a16:creationId xmlns:a16="http://schemas.microsoft.com/office/drawing/2014/main" id="{43D28BDB-F985-40C3-8623-0F5EBBCEA04D}"/>
                </a:ext>
              </a:extLst>
            </p:cNvPr>
            <p:cNvSpPr/>
            <p:nvPr/>
          </p:nvSpPr>
          <p:spPr>
            <a:xfrm rot="8716295">
              <a:off x="5039475" y="1683975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4" name="Forme libre : forme 643">
              <a:extLst>
                <a:ext uri="{FF2B5EF4-FFF2-40B4-BE49-F238E27FC236}">
                  <a16:creationId xmlns:a16="http://schemas.microsoft.com/office/drawing/2014/main" id="{94CC3131-BEE6-4558-87A2-311D6D4A02F7}"/>
                </a:ext>
              </a:extLst>
            </p:cNvPr>
            <p:cNvSpPr/>
            <p:nvPr/>
          </p:nvSpPr>
          <p:spPr>
            <a:xfrm rot="8716295">
              <a:off x="4671311" y="172971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5" name="Forme libre : forme 644">
              <a:extLst>
                <a:ext uri="{FF2B5EF4-FFF2-40B4-BE49-F238E27FC236}">
                  <a16:creationId xmlns:a16="http://schemas.microsoft.com/office/drawing/2014/main" id="{4E2DFEBE-3426-4677-92D1-1024B4DE927D}"/>
                </a:ext>
              </a:extLst>
            </p:cNvPr>
            <p:cNvSpPr/>
            <p:nvPr/>
          </p:nvSpPr>
          <p:spPr>
            <a:xfrm rot="8716295">
              <a:off x="4939893" y="148869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6" name="Forme libre : forme 645">
              <a:extLst>
                <a:ext uri="{FF2B5EF4-FFF2-40B4-BE49-F238E27FC236}">
                  <a16:creationId xmlns:a16="http://schemas.microsoft.com/office/drawing/2014/main" id="{4081BB24-256C-4F4B-9A6F-DFCDC854E455}"/>
                </a:ext>
              </a:extLst>
            </p:cNvPr>
            <p:cNvSpPr/>
            <p:nvPr/>
          </p:nvSpPr>
          <p:spPr>
            <a:xfrm rot="8716295">
              <a:off x="3777571" y="1076054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7" name="Forme libre : forme 646">
              <a:extLst>
                <a:ext uri="{FF2B5EF4-FFF2-40B4-BE49-F238E27FC236}">
                  <a16:creationId xmlns:a16="http://schemas.microsoft.com/office/drawing/2014/main" id="{AC1A7255-5142-49FD-A5EF-06FB37B43ABB}"/>
                </a:ext>
              </a:extLst>
            </p:cNvPr>
            <p:cNvSpPr/>
            <p:nvPr/>
          </p:nvSpPr>
          <p:spPr>
            <a:xfrm rot="8716295">
              <a:off x="3912870" y="1120313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8" name="Forme libre : forme 647">
              <a:extLst>
                <a:ext uri="{FF2B5EF4-FFF2-40B4-BE49-F238E27FC236}">
                  <a16:creationId xmlns:a16="http://schemas.microsoft.com/office/drawing/2014/main" id="{919DC854-1FBE-4BD6-B8D9-CFB434F98A7C}"/>
                </a:ext>
              </a:extLst>
            </p:cNvPr>
            <p:cNvSpPr/>
            <p:nvPr/>
          </p:nvSpPr>
          <p:spPr>
            <a:xfrm rot="8716295">
              <a:off x="3844988" y="989725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9" name="Forme libre : forme 648">
              <a:extLst>
                <a:ext uri="{FF2B5EF4-FFF2-40B4-BE49-F238E27FC236}">
                  <a16:creationId xmlns:a16="http://schemas.microsoft.com/office/drawing/2014/main" id="{49BA536C-15FC-4479-BC63-4330EBFC747C}"/>
                </a:ext>
              </a:extLst>
            </p:cNvPr>
            <p:cNvSpPr/>
            <p:nvPr/>
          </p:nvSpPr>
          <p:spPr>
            <a:xfrm rot="8716295">
              <a:off x="3607700" y="121006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0" name="Forme libre : forme 649">
              <a:extLst>
                <a:ext uri="{FF2B5EF4-FFF2-40B4-BE49-F238E27FC236}">
                  <a16:creationId xmlns:a16="http://schemas.microsoft.com/office/drawing/2014/main" id="{1EA376EA-CA36-4368-817C-E5E9817AD15D}"/>
                </a:ext>
              </a:extLst>
            </p:cNvPr>
            <p:cNvSpPr/>
            <p:nvPr/>
          </p:nvSpPr>
          <p:spPr>
            <a:xfrm rot="8716295">
              <a:off x="3418654" y="89423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1" name="Forme libre : forme 650">
              <a:extLst>
                <a:ext uri="{FF2B5EF4-FFF2-40B4-BE49-F238E27FC236}">
                  <a16:creationId xmlns:a16="http://schemas.microsoft.com/office/drawing/2014/main" id="{5E0794DE-9E5D-40F3-81B1-459355C8C354}"/>
                </a:ext>
              </a:extLst>
            </p:cNvPr>
            <p:cNvSpPr/>
            <p:nvPr/>
          </p:nvSpPr>
          <p:spPr>
            <a:xfrm rot="8716295">
              <a:off x="3400413" y="68418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2" name="Forme libre : forme 651">
              <a:extLst>
                <a:ext uri="{FF2B5EF4-FFF2-40B4-BE49-F238E27FC236}">
                  <a16:creationId xmlns:a16="http://schemas.microsoft.com/office/drawing/2014/main" id="{4B1EE519-963B-4DDE-8BB5-AFD17A3ACDDB}"/>
                </a:ext>
              </a:extLst>
            </p:cNvPr>
            <p:cNvSpPr/>
            <p:nvPr/>
          </p:nvSpPr>
          <p:spPr>
            <a:xfrm rot="8716295">
              <a:off x="3744189" y="1272052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3" name="Forme libre : forme 652">
              <a:extLst>
                <a:ext uri="{FF2B5EF4-FFF2-40B4-BE49-F238E27FC236}">
                  <a16:creationId xmlns:a16="http://schemas.microsoft.com/office/drawing/2014/main" id="{843B2CBD-6604-4C65-9A88-6BD15A621379}"/>
                </a:ext>
              </a:extLst>
            </p:cNvPr>
            <p:cNvSpPr/>
            <p:nvPr/>
          </p:nvSpPr>
          <p:spPr>
            <a:xfrm rot="8716295">
              <a:off x="4215135" y="69743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4" name="Forme libre : forme 653">
              <a:extLst>
                <a:ext uri="{FF2B5EF4-FFF2-40B4-BE49-F238E27FC236}">
                  <a16:creationId xmlns:a16="http://schemas.microsoft.com/office/drawing/2014/main" id="{04086C4C-0CCF-4C9C-8E36-431E5C44E1D5}"/>
                </a:ext>
              </a:extLst>
            </p:cNvPr>
            <p:cNvSpPr/>
            <p:nvPr/>
          </p:nvSpPr>
          <p:spPr>
            <a:xfrm rot="8716295">
              <a:off x="4350434" y="74169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5" name="Forme libre : forme 654">
              <a:extLst>
                <a:ext uri="{FF2B5EF4-FFF2-40B4-BE49-F238E27FC236}">
                  <a16:creationId xmlns:a16="http://schemas.microsoft.com/office/drawing/2014/main" id="{F3DB09AD-8322-4A1E-B882-3AB7A06EFC3E}"/>
                </a:ext>
              </a:extLst>
            </p:cNvPr>
            <p:cNvSpPr/>
            <p:nvPr/>
          </p:nvSpPr>
          <p:spPr>
            <a:xfrm rot="8716295">
              <a:off x="4045264" y="83145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6" name="Forme libre : forme 655">
              <a:extLst>
                <a:ext uri="{FF2B5EF4-FFF2-40B4-BE49-F238E27FC236}">
                  <a16:creationId xmlns:a16="http://schemas.microsoft.com/office/drawing/2014/main" id="{F3E1347F-AB08-4E88-8553-2C3259820F53}"/>
                </a:ext>
              </a:extLst>
            </p:cNvPr>
            <p:cNvSpPr/>
            <p:nvPr/>
          </p:nvSpPr>
          <p:spPr>
            <a:xfrm rot="8716295">
              <a:off x="3856220" y="51561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7" name="Forme libre : forme 656">
              <a:extLst>
                <a:ext uri="{FF2B5EF4-FFF2-40B4-BE49-F238E27FC236}">
                  <a16:creationId xmlns:a16="http://schemas.microsoft.com/office/drawing/2014/main" id="{37C0E351-F531-4AFA-9B5B-9FA1F4DA382D}"/>
                </a:ext>
              </a:extLst>
            </p:cNvPr>
            <p:cNvSpPr/>
            <p:nvPr/>
          </p:nvSpPr>
          <p:spPr>
            <a:xfrm rot="8716295">
              <a:off x="4181753" y="893436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8" name="Forme libre : forme 657">
              <a:extLst>
                <a:ext uri="{FF2B5EF4-FFF2-40B4-BE49-F238E27FC236}">
                  <a16:creationId xmlns:a16="http://schemas.microsoft.com/office/drawing/2014/main" id="{EAD233D4-FAEF-4359-9D80-A0C4EA0721BB}"/>
                </a:ext>
              </a:extLst>
            </p:cNvPr>
            <p:cNvSpPr/>
            <p:nvPr/>
          </p:nvSpPr>
          <p:spPr>
            <a:xfrm rot="8716295">
              <a:off x="3816306" y="66701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9" name="Forme libre : forme 658">
              <a:extLst>
                <a:ext uri="{FF2B5EF4-FFF2-40B4-BE49-F238E27FC236}">
                  <a16:creationId xmlns:a16="http://schemas.microsoft.com/office/drawing/2014/main" id="{4935AFB8-12C9-437A-A5F0-16D910596549}"/>
                </a:ext>
              </a:extLst>
            </p:cNvPr>
            <p:cNvSpPr/>
            <p:nvPr/>
          </p:nvSpPr>
          <p:spPr>
            <a:xfrm rot="7484129">
              <a:off x="4340570" y="118305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0" name="Forme libre : forme 659">
              <a:extLst>
                <a:ext uri="{FF2B5EF4-FFF2-40B4-BE49-F238E27FC236}">
                  <a16:creationId xmlns:a16="http://schemas.microsoft.com/office/drawing/2014/main" id="{60120E9A-5AF3-48E4-8013-AFB2DF22E98E}"/>
                </a:ext>
              </a:extLst>
            </p:cNvPr>
            <p:cNvSpPr/>
            <p:nvPr/>
          </p:nvSpPr>
          <p:spPr>
            <a:xfrm rot="13089394">
              <a:off x="4499220" y="1132402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1" name="Forme libre : forme 660">
              <a:extLst>
                <a:ext uri="{FF2B5EF4-FFF2-40B4-BE49-F238E27FC236}">
                  <a16:creationId xmlns:a16="http://schemas.microsoft.com/office/drawing/2014/main" id="{FADC80EF-D490-4090-83FB-CC043913DFB7}"/>
                </a:ext>
              </a:extLst>
            </p:cNvPr>
            <p:cNvSpPr/>
            <p:nvPr/>
          </p:nvSpPr>
          <p:spPr>
            <a:xfrm rot="8716295">
              <a:off x="4780111" y="842284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2" name="Forme libre : forme 661">
              <a:extLst>
                <a:ext uri="{FF2B5EF4-FFF2-40B4-BE49-F238E27FC236}">
                  <a16:creationId xmlns:a16="http://schemas.microsoft.com/office/drawing/2014/main" id="{54E99E4D-E8AE-4B8D-BD60-290E9CE34806}"/>
                </a:ext>
              </a:extLst>
            </p:cNvPr>
            <p:cNvSpPr/>
            <p:nvPr/>
          </p:nvSpPr>
          <p:spPr>
            <a:xfrm rot="8716295">
              <a:off x="4701702" y="68549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3" name="Forme libre : forme 662">
              <a:extLst>
                <a:ext uri="{FF2B5EF4-FFF2-40B4-BE49-F238E27FC236}">
                  <a16:creationId xmlns:a16="http://schemas.microsoft.com/office/drawing/2014/main" id="{0576F78A-7E96-4491-9B0E-F11A7E2D4FE9}"/>
                </a:ext>
              </a:extLst>
            </p:cNvPr>
            <p:cNvSpPr/>
            <p:nvPr/>
          </p:nvSpPr>
          <p:spPr>
            <a:xfrm rot="8716295">
              <a:off x="4333538" y="73123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4" name="Forme libre : forme 663">
              <a:extLst>
                <a:ext uri="{FF2B5EF4-FFF2-40B4-BE49-F238E27FC236}">
                  <a16:creationId xmlns:a16="http://schemas.microsoft.com/office/drawing/2014/main" id="{0C2E4D36-6AB6-46E1-94C2-74D996114D27}"/>
                </a:ext>
              </a:extLst>
            </p:cNvPr>
            <p:cNvSpPr/>
            <p:nvPr/>
          </p:nvSpPr>
          <p:spPr>
            <a:xfrm rot="8716295">
              <a:off x="4602120" y="49021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5" name="Forme libre : forme 664">
              <a:extLst>
                <a:ext uri="{FF2B5EF4-FFF2-40B4-BE49-F238E27FC236}">
                  <a16:creationId xmlns:a16="http://schemas.microsoft.com/office/drawing/2014/main" id="{F078AC73-930A-464F-BC7C-4B2C44A99116}"/>
                </a:ext>
              </a:extLst>
            </p:cNvPr>
            <p:cNvSpPr/>
            <p:nvPr/>
          </p:nvSpPr>
          <p:spPr>
            <a:xfrm rot="8716295">
              <a:off x="3446198" y="7400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6" name="Forme libre : forme 665">
              <a:extLst>
                <a:ext uri="{FF2B5EF4-FFF2-40B4-BE49-F238E27FC236}">
                  <a16:creationId xmlns:a16="http://schemas.microsoft.com/office/drawing/2014/main" id="{A5F5E230-97AC-427D-B3BD-EE358DADE21E}"/>
                </a:ext>
              </a:extLst>
            </p:cNvPr>
            <p:cNvSpPr/>
            <p:nvPr/>
          </p:nvSpPr>
          <p:spPr>
            <a:xfrm rot="8716295">
              <a:off x="3581496" y="11826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7" name="Forme libre : forme 666">
              <a:extLst>
                <a:ext uri="{FF2B5EF4-FFF2-40B4-BE49-F238E27FC236}">
                  <a16:creationId xmlns:a16="http://schemas.microsoft.com/office/drawing/2014/main" id="{91294318-E81E-4D53-9C61-072AF08CC387}"/>
                </a:ext>
              </a:extLst>
            </p:cNvPr>
            <p:cNvSpPr/>
            <p:nvPr/>
          </p:nvSpPr>
          <p:spPr>
            <a:xfrm rot="8716295">
              <a:off x="3522597" y="36248"/>
              <a:ext cx="234675" cy="172489"/>
            </a:xfrm>
            <a:custGeom>
              <a:avLst/>
              <a:gdLst>
                <a:gd name="connsiteX0" fmla="*/ 25756 w 155050"/>
                <a:gd name="connsiteY0" fmla="*/ 113964 h 113964"/>
                <a:gd name="connsiteX1" fmla="*/ 0 w 155050"/>
                <a:gd name="connsiteY1" fmla="*/ 96110 h 113964"/>
                <a:gd name="connsiteX2" fmla="*/ 72120 w 155050"/>
                <a:gd name="connsiteY2" fmla="*/ 28251 h 113964"/>
                <a:gd name="connsiteX3" fmla="*/ 126799 w 155050"/>
                <a:gd name="connsiteY3" fmla="*/ 0 h 113964"/>
                <a:gd name="connsiteX4" fmla="*/ 155050 w 155050"/>
                <a:gd name="connsiteY4" fmla="*/ 33719 h 113964"/>
                <a:gd name="connsiteX5" fmla="*/ 128622 w 155050"/>
                <a:gd name="connsiteY5" fmla="*/ 69261 h 113964"/>
                <a:gd name="connsiteX6" fmla="*/ 129077 w 155050"/>
                <a:gd name="connsiteY6" fmla="*/ 69261 h 113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5050" h="113964">
                  <a:moveTo>
                    <a:pt x="25756" y="113964"/>
                  </a:moveTo>
                  <a:lnTo>
                    <a:pt x="0" y="96110"/>
                  </a:lnTo>
                  <a:lnTo>
                    <a:pt x="72120" y="28251"/>
                  </a:lnTo>
                  <a:cubicBezTo>
                    <a:pt x="85790" y="12303"/>
                    <a:pt x="105383" y="2279"/>
                    <a:pt x="126799" y="0"/>
                  </a:cubicBezTo>
                  <a:cubicBezTo>
                    <a:pt x="148671" y="0"/>
                    <a:pt x="155050" y="19138"/>
                    <a:pt x="155050" y="33719"/>
                  </a:cubicBezTo>
                  <a:cubicBezTo>
                    <a:pt x="153683" y="49668"/>
                    <a:pt x="143203" y="62882"/>
                    <a:pt x="128622" y="69261"/>
                  </a:cubicBezTo>
                  <a:lnTo>
                    <a:pt x="129077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8" name="Forme libre : forme 667">
              <a:extLst>
                <a:ext uri="{FF2B5EF4-FFF2-40B4-BE49-F238E27FC236}">
                  <a16:creationId xmlns:a16="http://schemas.microsoft.com/office/drawing/2014/main" id="{4DD6A7C5-87D0-4D46-A46A-2254EFCA82E0}"/>
                </a:ext>
              </a:extLst>
            </p:cNvPr>
            <p:cNvSpPr/>
            <p:nvPr/>
          </p:nvSpPr>
          <p:spPr>
            <a:xfrm rot="8716295">
              <a:off x="3276327" y="20801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9" name="Forme libre : forme 668">
              <a:extLst>
                <a:ext uri="{FF2B5EF4-FFF2-40B4-BE49-F238E27FC236}">
                  <a16:creationId xmlns:a16="http://schemas.microsoft.com/office/drawing/2014/main" id="{043EBFB6-F58E-491F-85EF-3F196F60359F}"/>
                </a:ext>
              </a:extLst>
            </p:cNvPr>
            <p:cNvSpPr/>
            <p:nvPr/>
          </p:nvSpPr>
          <p:spPr>
            <a:xfrm rot="8716295">
              <a:off x="3107933" y="-20072"/>
              <a:ext cx="308531" cy="199994"/>
            </a:xfrm>
            <a:custGeom>
              <a:avLst/>
              <a:gdLst>
                <a:gd name="connsiteX0" fmla="*/ 112633 w 203847"/>
                <a:gd name="connsiteY0" fmla="*/ 132136 h 132136"/>
                <a:gd name="connsiteX1" fmla="*/ 56185 w 203847"/>
                <a:gd name="connsiteY1" fmla="*/ 93008 h 132136"/>
                <a:gd name="connsiteX2" fmla="*/ 69777 w 203847"/>
                <a:gd name="connsiteY2" fmla="*/ 55323 h 132136"/>
                <a:gd name="connsiteX3" fmla="*/ 1818 w 203847"/>
                <a:gd name="connsiteY3" fmla="*/ 55323 h 132136"/>
                <a:gd name="connsiteX4" fmla="*/ 0 w 203847"/>
                <a:gd name="connsiteY4" fmla="*/ 54062 h 132136"/>
                <a:gd name="connsiteX5" fmla="*/ 0 w 203847"/>
                <a:gd name="connsiteY5" fmla="*/ 0 h 132136"/>
                <a:gd name="connsiteX6" fmla="*/ 203847 w 203847"/>
                <a:gd name="connsiteY6" fmla="*/ 0 h 132136"/>
                <a:gd name="connsiteX7" fmla="*/ 203847 w 203847"/>
                <a:gd name="connsiteY7" fmla="*/ 55323 h 132136"/>
                <a:gd name="connsiteX8" fmla="*/ 139055 w 203847"/>
                <a:gd name="connsiteY8" fmla="*/ 55323 h 132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32136">
                  <a:moveTo>
                    <a:pt x="112633" y="132136"/>
                  </a:moveTo>
                  <a:lnTo>
                    <a:pt x="56185" y="93008"/>
                  </a:lnTo>
                  <a:lnTo>
                    <a:pt x="69777" y="55323"/>
                  </a:lnTo>
                  <a:lnTo>
                    <a:pt x="1818" y="55323"/>
                  </a:lnTo>
                  <a:lnTo>
                    <a:pt x="0" y="54062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0" name="Forme libre : forme 669">
              <a:extLst>
                <a:ext uri="{FF2B5EF4-FFF2-40B4-BE49-F238E27FC236}">
                  <a16:creationId xmlns:a16="http://schemas.microsoft.com/office/drawing/2014/main" id="{794489F5-14EC-448F-A5B0-DA1D69E37C43}"/>
                </a:ext>
              </a:extLst>
            </p:cNvPr>
            <p:cNvSpPr/>
            <p:nvPr/>
          </p:nvSpPr>
          <p:spPr>
            <a:xfrm rot="8716295">
              <a:off x="3475628" y="-31540"/>
              <a:ext cx="98161" cy="118527"/>
            </a:xfrm>
            <a:custGeom>
              <a:avLst/>
              <a:gdLst>
                <a:gd name="connsiteX0" fmla="*/ 64855 w 64855"/>
                <a:gd name="connsiteY0" fmla="*/ 78311 h 78311"/>
                <a:gd name="connsiteX1" fmla="*/ 0 w 64855"/>
                <a:gd name="connsiteY1" fmla="*/ 33356 h 78311"/>
                <a:gd name="connsiteX2" fmla="*/ 64294 w 64855"/>
                <a:gd name="connsiteY2" fmla="*/ 0 h 78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855" h="78311">
                  <a:moveTo>
                    <a:pt x="64855" y="78311"/>
                  </a:moveTo>
                  <a:lnTo>
                    <a:pt x="0" y="33356"/>
                  </a:lnTo>
                  <a:lnTo>
                    <a:pt x="64294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1" name="Forme libre : forme 670">
              <a:extLst>
                <a:ext uri="{FF2B5EF4-FFF2-40B4-BE49-F238E27FC236}">
                  <a16:creationId xmlns:a16="http://schemas.microsoft.com/office/drawing/2014/main" id="{59D78A42-B1E7-4E9A-BC44-71C049BD09F4}"/>
                </a:ext>
              </a:extLst>
            </p:cNvPr>
            <p:cNvSpPr/>
            <p:nvPr/>
          </p:nvSpPr>
          <p:spPr>
            <a:xfrm rot="8716295">
              <a:off x="3412815" y="26999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2" name="Forme libre : forme 671">
              <a:extLst>
                <a:ext uri="{FF2B5EF4-FFF2-40B4-BE49-F238E27FC236}">
                  <a16:creationId xmlns:a16="http://schemas.microsoft.com/office/drawing/2014/main" id="{6913FE15-3938-4556-BC90-F97E03344291}"/>
                </a:ext>
              </a:extLst>
            </p:cNvPr>
            <p:cNvSpPr/>
            <p:nvPr/>
          </p:nvSpPr>
          <p:spPr>
            <a:xfrm rot="8716295">
              <a:off x="3966406" y="-35912"/>
              <a:ext cx="123741" cy="85774"/>
            </a:xfrm>
            <a:custGeom>
              <a:avLst/>
              <a:gdLst>
                <a:gd name="connsiteX0" fmla="*/ 81756 w 81756"/>
                <a:gd name="connsiteY0" fmla="*/ 56671 h 56671"/>
                <a:gd name="connsiteX1" fmla="*/ 0 w 81756"/>
                <a:gd name="connsiteY1" fmla="*/ 0 h 56671"/>
                <a:gd name="connsiteX2" fmla="*/ 24798 w 81756"/>
                <a:gd name="connsiteY2" fmla="*/ 0 h 56671"/>
                <a:gd name="connsiteX3" fmla="*/ 81756 w 81756"/>
                <a:gd name="connsiteY3" fmla="*/ 50123 h 56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1756" h="56671">
                  <a:moveTo>
                    <a:pt x="81756" y="56671"/>
                  </a:moveTo>
                  <a:lnTo>
                    <a:pt x="0" y="0"/>
                  </a:lnTo>
                  <a:lnTo>
                    <a:pt x="24798" y="0"/>
                  </a:lnTo>
                  <a:cubicBezTo>
                    <a:pt x="61707" y="0"/>
                    <a:pt x="81756" y="15949"/>
                    <a:pt x="81756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3" name="Forme libre : forme 672">
              <a:extLst>
                <a:ext uri="{FF2B5EF4-FFF2-40B4-BE49-F238E27FC236}">
                  <a16:creationId xmlns:a16="http://schemas.microsoft.com/office/drawing/2014/main" id="{5D62EEDF-CAA6-4BE4-A77A-50FBAB69143C}"/>
                </a:ext>
              </a:extLst>
            </p:cNvPr>
            <p:cNvSpPr/>
            <p:nvPr/>
          </p:nvSpPr>
          <p:spPr>
            <a:xfrm rot="8716295">
              <a:off x="4089146" y="-31808"/>
              <a:ext cx="332088" cy="148365"/>
            </a:xfrm>
            <a:custGeom>
              <a:avLst/>
              <a:gdLst>
                <a:gd name="connsiteX0" fmla="*/ 63575 w 219411"/>
                <a:gd name="connsiteY0" fmla="*/ 45493 h 98025"/>
                <a:gd name="connsiteX1" fmla="*/ 0 w 219411"/>
                <a:gd name="connsiteY1" fmla="*/ 1425 h 98025"/>
                <a:gd name="connsiteX2" fmla="*/ 63575 w 219411"/>
                <a:gd name="connsiteY2" fmla="*/ 1425 h 98025"/>
                <a:gd name="connsiteX3" fmla="*/ 88634 w 219411"/>
                <a:gd name="connsiteY3" fmla="*/ 62863 h 98025"/>
                <a:gd name="connsiteX4" fmla="*/ 73596 w 219411"/>
                <a:gd name="connsiteY4" fmla="*/ 52439 h 98025"/>
                <a:gd name="connsiteX5" fmla="*/ 75493 w 219411"/>
                <a:gd name="connsiteY5" fmla="*/ 47439 h 98025"/>
                <a:gd name="connsiteX6" fmla="*/ 112786 w 219411"/>
                <a:gd name="connsiteY6" fmla="*/ 5981 h 98025"/>
                <a:gd name="connsiteX7" fmla="*/ 144227 w 219411"/>
                <a:gd name="connsiteY7" fmla="*/ 57 h 98025"/>
                <a:gd name="connsiteX8" fmla="*/ 219411 w 219411"/>
                <a:gd name="connsiteY8" fmla="*/ 88456 h 98025"/>
                <a:gd name="connsiteX9" fmla="*/ 219411 w 219411"/>
                <a:gd name="connsiteY9" fmla="*/ 94380 h 98025"/>
                <a:gd name="connsiteX10" fmla="*/ 157441 w 219411"/>
                <a:gd name="connsiteY10" fmla="*/ 98025 h 98025"/>
                <a:gd name="connsiteX11" fmla="*/ 157441 w 219411"/>
                <a:gd name="connsiteY11" fmla="*/ 81621 h 98025"/>
                <a:gd name="connsiteX12" fmla="*/ 123722 w 219411"/>
                <a:gd name="connsiteY12" fmla="*/ 40156 h 98025"/>
                <a:gd name="connsiteX13" fmla="*/ 103089 w 219411"/>
                <a:gd name="connsiteY13" fmla="*/ 46969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9411" h="98025">
                  <a:moveTo>
                    <a:pt x="63575" y="45493"/>
                  </a:moveTo>
                  <a:lnTo>
                    <a:pt x="0" y="1425"/>
                  </a:lnTo>
                  <a:lnTo>
                    <a:pt x="63575" y="1425"/>
                  </a:lnTo>
                  <a:close/>
                  <a:moveTo>
                    <a:pt x="88634" y="62863"/>
                  </a:moveTo>
                  <a:lnTo>
                    <a:pt x="73596" y="52439"/>
                  </a:lnTo>
                  <a:lnTo>
                    <a:pt x="75493" y="47439"/>
                  </a:lnTo>
                  <a:cubicBezTo>
                    <a:pt x="85874" y="24008"/>
                    <a:pt x="96382" y="12816"/>
                    <a:pt x="112786" y="5981"/>
                  </a:cubicBezTo>
                  <a:cubicBezTo>
                    <a:pt x="122811" y="1880"/>
                    <a:pt x="133291" y="-398"/>
                    <a:pt x="144227" y="57"/>
                  </a:cubicBezTo>
                  <a:cubicBezTo>
                    <a:pt x="191160" y="-854"/>
                    <a:pt x="219411" y="31954"/>
                    <a:pt x="219411" y="88456"/>
                  </a:cubicBezTo>
                  <a:lnTo>
                    <a:pt x="219411" y="94380"/>
                  </a:lnTo>
                  <a:lnTo>
                    <a:pt x="157441" y="98025"/>
                  </a:lnTo>
                  <a:lnTo>
                    <a:pt x="157441" y="81621"/>
                  </a:lnTo>
                  <a:cubicBezTo>
                    <a:pt x="157441" y="57016"/>
                    <a:pt x="143316" y="40156"/>
                    <a:pt x="123722" y="40156"/>
                  </a:cubicBezTo>
                  <a:cubicBezTo>
                    <a:pt x="116431" y="40156"/>
                    <a:pt x="109454" y="42577"/>
                    <a:pt x="103089" y="4696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4" name="Forme libre : forme 673">
              <a:extLst>
                <a:ext uri="{FF2B5EF4-FFF2-40B4-BE49-F238E27FC236}">
                  <a16:creationId xmlns:a16="http://schemas.microsoft.com/office/drawing/2014/main" id="{204312F2-EA49-4439-8CE2-22C6633888E5}"/>
                </a:ext>
              </a:extLst>
            </p:cNvPr>
            <p:cNvSpPr/>
            <p:nvPr/>
          </p:nvSpPr>
          <p:spPr>
            <a:xfrm rot="8716295">
              <a:off x="3850379" y="-108618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5" name="Forme libre : forme 674">
              <a:extLst>
                <a:ext uri="{FF2B5EF4-FFF2-40B4-BE49-F238E27FC236}">
                  <a16:creationId xmlns:a16="http://schemas.microsoft.com/office/drawing/2014/main" id="{AE25CBF0-6DB2-42A0-99B2-802E91B6C3FD}"/>
                </a:ext>
              </a:extLst>
            </p:cNvPr>
            <p:cNvSpPr/>
            <p:nvPr/>
          </p:nvSpPr>
          <p:spPr>
            <a:xfrm rot="7484129">
              <a:off x="4009196" y="18100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6" name="Forme libre : forme 675">
              <a:extLst>
                <a:ext uri="{FF2B5EF4-FFF2-40B4-BE49-F238E27FC236}">
                  <a16:creationId xmlns:a16="http://schemas.microsoft.com/office/drawing/2014/main" id="{B5E963F4-D065-4C0F-BC9C-E6E170542019}"/>
                </a:ext>
              </a:extLst>
            </p:cNvPr>
            <p:cNvSpPr/>
            <p:nvPr/>
          </p:nvSpPr>
          <p:spPr>
            <a:xfrm rot="13089394">
              <a:off x="4167846" y="130348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7" name="Forme libre : forme 676">
              <a:extLst>
                <a:ext uri="{FF2B5EF4-FFF2-40B4-BE49-F238E27FC236}">
                  <a16:creationId xmlns:a16="http://schemas.microsoft.com/office/drawing/2014/main" id="{76D605A8-75FB-413E-9850-E731D16B25B6}"/>
                </a:ext>
              </a:extLst>
            </p:cNvPr>
            <p:cNvSpPr/>
            <p:nvPr/>
          </p:nvSpPr>
          <p:spPr>
            <a:xfrm rot="8716295">
              <a:off x="4488057" y="-10608"/>
              <a:ext cx="169580" cy="136116"/>
            </a:xfrm>
            <a:custGeom>
              <a:avLst/>
              <a:gdLst>
                <a:gd name="connsiteX0" fmla="*/ 62355 w 112042"/>
                <a:gd name="connsiteY0" fmla="*/ 89932 h 89932"/>
                <a:gd name="connsiteX1" fmla="*/ 0 w 112042"/>
                <a:gd name="connsiteY1" fmla="*/ 46710 h 89932"/>
                <a:gd name="connsiteX2" fmla="*/ 14231 w 112042"/>
                <a:gd name="connsiteY2" fmla="*/ 33321 h 89932"/>
                <a:gd name="connsiteX3" fmla="*/ 78722 w 112042"/>
                <a:gd name="connsiteY3" fmla="*/ 0 h 89932"/>
                <a:gd name="connsiteX4" fmla="*/ 112042 w 112042"/>
                <a:gd name="connsiteY4" fmla="*/ 39770 h 89932"/>
                <a:gd name="connsiteX5" fmla="*/ 80872 w 112042"/>
                <a:gd name="connsiteY5" fmla="*/ 81689 h 89932"/>
                <a:gd name="connsiteX6" fmla="*/ 81408 w 112042"/>
                <a:gd name="connsiteY6" fmla="*/ 81689 h 89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2042" h="89932">
                  <a:moveTo>
                    <a:pt x="62355" y="89932"/>
                  </a:moveTo>
                  <a:lnTo>
                    <a:pt x="0" y="46710"/>
                  </a:lnTo>
                  <a:lnTo>
                    <a:pt x="14231" y="33321"/>
                  </a:lnTo>
                  <a:cubicBezTo>
                    <a:pt x="30353" y="14511"/>
                    <a:pt x="53462" y="2687"/>
                    <a:pt x="78722" y="0"/>
                  </a:cubicBezTo>
                  <a:cubicBezTo>
                    <a:pt x="104518" y="0"/>
                    <a:pt x="112042" y="22572"/>
                    <a:pt x="112042" y="39770"/>
                  </a:cubicBezTo>
                  <a:cubicBezTo>
                    <a:pt x="110429" y="58580"/>
                    <a:pt x="98068" y="74165"/>
                    <a:pt x="80872" y="81689"/>
                  </a:cubicBezTo>
                  <a:lnTo>
                    <a:pt x="81408" y="816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8" name="Forme libre : forme 677">
              <a:extLst>
                <a:ext uri="{FF2B5EF4-FFF2-40B4-BE49-F238E27FC236}">
                  <a16:creationId xmlns:a16="http://schemas.microsoft.com/office/drawing/2014/main" id="{4F3B7A35-9F70-4C60-A362-537BA842EBF8}"/>
                </a:ext>
              </a:extLst>
            </p:cNvPr>
            <p:cNvSpPr/>
            <p:nvPr/>
          </p:nvSpPr>
          <p:spPr>
            <a:xfrm rot="8716295">
              <a:off x="3111565" y="373623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9" name="Forme libre : forme 678">
              <a:extLst>
                <a:ext uri="{FF2B5EF4-FFF2-40B4-BE49-F238E27FC236}">
                  <a16:creationId xmlns:a16="http://schemas.microsoft.com/office/drawing/2014/main" id="{84E0A451-4FD1-411C-AC65-26E7DCFC5AE7}"/>
                </a:ext>
              </a:extLst>
            </p:cNvPr>
            <p:cNvSpPr/>
            <p:nvPr/>
          </p:nvSpPr>
          <p:spPr>
            <a:xfrm rot="8716295">
              <a:off x="3246864" y="378049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0" name="Forme libre : forme 679">
              <a:extLst>
                <a:ext uri="{FF2B5EF4-FFF2-40B4-BE49-F238E27FC236}">
                  <a16:creationId xmlns:a16="http://schemas.microsoft.com/office/drawing/2014/main" id="{ED63A363-D142-4852-ADC9-3EB78E55F392}"/>
                </a:ext>
              </a:extLst>
            </p:cNvPr>
            <p:cNvSpPr/>
            <p:nvPr/>
          </p:nvSpPr>
          <p:spPr>
            <a:xfrm rot="8716295">
              <a:off x="3178981" y="3649901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1" name="Forme libre : forme 680">
              <a:extLst>
                <a:ext uri="{FF2B5EF4-FFF2-40B4-BE49-F238E27FC236}">
                  <a16:creationId xmlns:a16="http://schemas.microsoft.com/office/drawing/2014/main" id="{F107AA4D-9993-4946-BCBA-1D03F3965881}"/>
                </a:ext>
              </a:extLst>
            </p:cNvPr>
            <p:cNvSpPr/>
            <p:nvPr/>
          </p:nvSpPr>
          <p:spPr>
            <a:xfrm rot="8716295">
              <a:off x="2941694" y="387024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2" name="Forme libre : forme 681">
              <a:extLst>
                <a:ext uri="{FF2B5EF4-FFF2-40B4-BE49-F238E27FC236}">
                  <a16:creationId xmlns:a16="http://schemas.microsoft.com/office/drawing/2014/main" id="{65B10BB0-E676-4F90-9054-FB79523A1724}"/>
                </a:ext>
              </a:extLst>
            </p:cNvPr>
            <p:cNvSpPr/>
            <p:nvPr/>
          </p:nvSpPr>
          <p:spPr>
            <a:xfrm rot="8716295">
              <a:off x="2752648" y="355441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3" name="Forme libre : forme 682">
              <a:extLst>
                <a:ext uri="{FF2B5EF4-FFF2-40B4-BE49-F238E27FC236}">
                  <a16:creationId xmlns:a16="http://schemas.microsoft.com/office/drawing/2014/main" id="{DCBB16BD-D124-496F-BCB6-D9884BAFBA8A}"/>
                </a:ext>
              </a:extLst>
            </p:cNvPr>
            <p:cNvSpPr/>
            <p:nvPr/>
          </p:nvSpPr>
          <p:spPr>
            <a:xfrm rot="8716295">
              <a:off x="2734407" y="334436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4" name="Forme libre : forme 683">
              <a:extLst>
                <a:ext uri="{FF2B5EF4-FFF2-40B4-BE49-F238E27FC236}">
                  <a16:creationId xmlns:a16="http://schemas.microsoft.com/office/drawing/2014/main" id="{BA7B781B-C49E-49C3-853F-E110F097EADD}"/>
                </a:ext>
              </a:extLst>
            </p:cNvPr>
            <p:cNvSpPr/>
            <p:nvPr/>
          </p:nvSpPr>
          <p:spPr>
            <a:xfrm rot="8716295">
              <a:off x="3078183" y="393222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5" name="Forme libre : forme 684">
              <a:extLst>
                <a:ext uri="{FF2B5EF4-FFF2-40B4-BE49-F238E27FC236}">
                  <a16:creationId xmlns:a16="http://schemas.microsoft.com/office/drawing/2014/main" id="{1E08FA39-4108-445F-B2C5-D79E17CF02D4}"/>
                </a:ext>
              </a:extLst>
            </p:cNvPr>
            <p:cNvSpPr/>
            <p:nvPr/>
          </p:nvSpPr>
          <p:spPr>
            <a:xfrm rot="8716295">
              <a:off x="3549129" y="335761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6" name="Forme libre : forme 685">
              <a:extLst>
                <a:ext uri="{FF2B5EF4-FFF2-40B4-BE49-F238E27FC236}">
                  <a16:creationId xmlns:a16="http://schemas.microsoft.com/office/drawing/2014/main" id="{2DFB8EEE-C6EB-4042-B3C7-6D64C618E03F}"/>
                </a:ext>
              </a:extLst>
            </p:cNvPr>
            <p:cNvSpPr/>
            <p:nvPr/>
          </p:nvSpPr>
          <p:spPr>
            <a:xfrm rot="8716295">
              <a:off x="3684428" y="340187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7" name="Forme libre : forme 686">
              <a:extLst>
                <a:ext uri="{FF2B5EF4-FFF2-40B4-BE49-F238E27FC236}">
                  <a16:creationId xmlns:a16="http://schemas.microsoft.com/office/drawing/2014/main" id="{0F7B5112-37C8-4C58-BE24-BE46857F1D99}"/>
                </a:ext>
              </a:extLst>
            </p:cNvPr>
            <p:cNvSpPr/>
            <p:nvPr/>
          </p:nvSpPr>
          <p:spPr>
            <a:xfrm rot="8716295">
              <a:off x="3379258" y="349163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8" name="Forme libre : forme 687">
              <a:extLst>
                <a:ext uri="{FF2B5EF4-FFF2-40B4-BE49-F238E27FC236}">
                  <a16:creationId xmlns:a16="http://schemas.microsoft.com/office/drawing/2014/main" id="{0562A8EB-34BD-4915-997B-9EADBCB5D5E2}"/>
                </a:ext>
              </a:extLst>
            </p:cNvPr>
            <p:cNvSpPr/>
            <p:nvPr/>
          </p:nvSpPr>
          <p:spPr>
            <a:xfrm rot="8716295">
              <a:off x="3190213" y="317579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9" name="Forme libre : forme 688">
              <a:extLst>
                <a:ext uri="{FF2B5EF4-FFF2-40B4-BE49-F238E27FC236}">
                  <a16:creationId xmlns:a16="http://schemas.microsoft.com/office/drawing/2014/main" id="{FD5490B4-5CA1-4323-8DA1-3A8268719143}"/>
                </a:ext>
              </a:extLst>
            </p:cNvPr>
            <p:cNvSpPr/>
            <p:nvPr/>
          </p:nvSpPr>
          <p:spPr>
            <a:xfrm rot="8716295">
              <a:off x="3515746" y="3553613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0" name="Forme libre : forme 689">
              <a:extLst>
                <a:ext uri="{FF2B5EF4-FFF2-40B4-BE49-F238E27FC236}">
                  <a16:creationId xmlns:a16="http://schemas.microsoft.com/office/drawing/2014/main" id="{8D9B2EB7-9E8D-4A25-8D7C-BFC302DA6A1B}"/>
                </a:ext>
              </a:extLst>
            </p:cNvPr>
            <p:cNvSpPr/>
            <p:nvPr/>
          </p:nvSpPr>
          <p:spPr>
            <a:xfrm rot="8716295">
              <a:off x="3150300" y="332718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1" name="Forme libre : forme 690">
              <a:extLst>
                <a:ext uri="{FF2B5EF4-FFF2-40B4-BE49-F238E27FC236}">
                  <a16:creationId xmlns:a16="http://schemas.microsoft.com/office/drawing/2014/main" id="{3E0E55FC-47BD-40C5-B922-D3702F12DF26}"/>
                </a:ext>
              </a:extLst>
            </p:cNvPr>
            <p:cNvSpPr/>
            <p:nvPr/>
          </p:nvSpPr>
          <p:spPr>
            <a:xfrm rot="7484129">
              <a:off x="3674564" y="38432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2" name="Forme libre : forme 691">
              <a:extLst>
                <a:ext uri="{FF2B5EF4-FFF2-40B4-BE49-F238E27FC236}">
                  <a16:creationId xmlns:a16="http://schemas.microsoft.com/office/drawing/2014/main" id="{04819A13-0F26-4906-BEC9-BFAA857FEB52}"/>
                </a:ext>
              </a:extLst>
            </p:cNvPr>
            <p:cNvSpPr/>
            <p:nvPr/>
          </p:nvSpPr>
          <p:spPr>
            <a:xfrm rot="13089394">
              <a:off x="3833214" y="3792578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3" name="Forme libre : forme 692">
              <a:extLst>
                <a:ext uri="{FF2B5EF4-FFF2-40B4-BE49-F238E27FC236}">
                  <a16:creationId xmlns:a16="http://schemas.microsoft.com/office/drawing/2014/main" id="{7099CE46-9678-40AB-BC7E-D4C599B2EC77}"/>
                </a:ext>
              </a:extLst>
            </p:cNvPr>
            <p:cNvSpPr/>
            <p:nvPr/>
          </p:nvSpPr>
          <p:spPr>
            <a:xfrm rot="8716295">
              <a:off x="4114105" y="3502461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4" name="Forme libre : forme 693">
              <a:extLst>
                <a:ext uri="{FF2B5EF4-FFF2-40B4-BE49-F238E27FC236}">
                  <a16:creationId xmlns:a16="http://schemas.microsoft.com/office/drawing/2014/main" id="{930FE6A8-BA84-4D85-9462-1369A3BC2987}"/>
                </a:ext>
              </a:extLst>
            </p:cNvPr>
            <p:cNvSpPr/>
            <p:nvPr/>
          </p:nvSpPr>
          <p:spPr>
            <a:xfrm rot="8716295">
              <a:off x="4035696" y="334566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5" name="Forme libre : forme 694">
              <a:extLst>
                <a:ext uri="{FF2B5EF4-FFF2-40B4-BE49-F238E27FC236}">
                  <a16:creationId xmlns:a16="http://schemas.microsoft.com/office/drawing/2014/main" id="{6925581E-98AA-485C-AF67-05ACEFEFDF13}"/>
                </a:ext>
              </a:extLst>
            </p:cNvPr>
            <p:cNvSpPr/>
            <p:nvPr/>
          </p:nvSpPr>
          <p:spPr>
            <a:xfrm rot="8716295">
              <a:off x="3667532" y="339140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6" name="Forme libre : forme 695">
              <a:extLst>
                <a:ext uri="{FF2B5EF4-FFF2-40B4-BE49-F238E27FC236}">
                  <a16:creationId xmlns:a16="http://schemas.microsoft.com/office/drawing/2014/main" id="{59299429-87C0-470E-94D0-1EBBBD875A42}"/>
                </a:ext>
              </a:extLst>
            </p:cNvPr>
            <p:cNvSpPr/>
            <p:nvPr/>
          </p:nvSpPr>
          <p:spPr>
            <a:xfrm rot="8716295">
              <a:off x="3936113" y="315039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7" name="Forme libre : forme 696">
              <a:extLst>
                <a:ext uri="{FF2B5EF4-FFF2-40B4-BE49-F238E27FC236}">
                  <a16:creationId xmlns:a16="http://schemas.microsoft.com/office/drawing/2014/main" id="{20993448-B66A-4395-B0A3-8C600524A87B}"/>
                </a:ext>
              </a:extLst>
            </p:cNvPr>
            <p:cNvSpPr/>
            <p:nvPr/>
          </p:nvSpPr>
          <p:spPr>
            <a:xfrm rot="8716295">
              <a:off x="3449338" y="4734714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8" name="Forme libre : forme 697">
              <a:extLst>
                <a:ext uri="{FF2B5EF4-FFF2-40B4-BE49-F238E27FC236}">
                  <a16:creationId xmlns:a16="http://schemas.microsoft.com/office/drawing/2014/main" id="{5F68C16D-85E0-48B4-ABCD-457241BCE8FC}"/>
                </a:ext>
              </a:extLst>
            </p:cNvPr>
            <p:cNvSpPr/>
            <p:nvPr/>
          </p:nvSpPr>
          <p:spPr>
            <a:xfrm rot="8716295">
              <a:off x="3580975" y="4773824"/>
              <a:ext cx="394489" cy="383455"/>
            </a:xfrm>
            <a:custGeom>
              <a:avLst/>
              <a:gdLst>
                <a:gd name="connsiteX0" fmla="*/ 77932 w 394489"/>
                <a:gd name="connsiteY0" fmla="*/ 383455 h 383455"/>
                <a:gd name="connsiteX1" fmla="*/ 77932 w 394489"/>
                <a:gd name="connsiteY1" fmla="*/ 66898 h 383455"/>
                <a:gd name="connsiteX2" fmla="*/ 0 w 394489"/>
                <a:gd name="connsiteY2" fmla="*/ 66898 h 383455"/>
                <a:gd name="connsiteX3" fmla="*/ 0 w 394489"/>
                <a:gd name="connsiteY3" fmla="*/ 0 h 383455"/>
                <a:gd name="connsiteX4" fmla="*/ 158623 w 394489"/>
                <a:gd name="connsiteY4" fmla="*/ 0 h 383455"/>
                <a:gd name="connsiteX5" fmla="*/ 158623 w 394489"/>
                <a:gd name="connsiteY5" fmla="*/ 111726 h 383455"/>
                <a:gd name="connsiteX6" fmla="*/ 160692 w 394489"/>
                <a:gd name="connsiteY6" fmla="*/ 111726 h 383455"/>
                <a:gd name="connsiteX7" fmla="*/ 233107 w 394489"/>
                <a:gd name="connsiteY7" fmla="*/ 6897 h 383455"/>
                <a:gd name="connsiteX8" fmla="*/ 240854 w 394489"/>
                <a:gd name="connsiteY8" fmla="*/ 5438 h 383455"/>
                <a:gd name="connsiteX9" fmla="*/ 391511 w 394489"/>
                <a:gd name="connsiteY9" fmla="*/ 109868 h 383455"/>
                <a:gd name="connsiteX10" fmla="*/ 394489 w 394489"/>
                <a:gd name="connsiteY10" fmla="*/ 131726 h 383455"/>
                <a:gd name="connsiteX11" fmla="*/ 394489 w 394489"/>
                <a:gd name="connsiteY11" fmla="*/ 140692 h 383455"/>
                <a:gd name="connsiteX12" fmla="*/ 300695 w 394489"/>
                <a:gd name="connsiteY12" fmla="*/ 146210 h 383455"/>
                <a:gd name="connsiteX13" fmla="*/ 300695 w 394489"/>
                <a:gd name="connsiteY13" fmla="*/ 121382 h 383455"/>
                <a:gd name="connsiteX14" fmla="*/ 249659 w 394489"/>
                <a:gd name="connsiteY14" fmla="*/ 58622 h 383455"/>
                <a:gd name="connsiteX15" fmla="*/ 168969 w 394489"/>
                <a:gd name="connsiteY15" fmla="*/ 191038 h 383455"/>
                <a:gd name="connsiteX16" fmla="*/ 168969 w 394489"/>
                <a:gd name="connsiteY16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4489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82762" y="46208"/>
                    <a:pt x="200003" y="20690"/>
                    <a:pt x="233107" y="6897"/>
                  </a:cubicBezTo>
                  <a:lnTo>
                    <a:pt x="240854" y="5438"/>
                  </a:lnTo>
                  <a:lnTo>
                    <a:pt x="391511" y="109868"/>
                  </a:lnTo>
                  <a:lnTo>
                    <a:pt x="394489" y="131726"/>
                  </a:lnTo>
                  <a:lnTo>
                    <a:pt x="394489" y="140692"/>
                  </a:lnTo>
                  <a:lnTo>
                    <a:pt x="300695" y="146210"/>
                  </a:lnTo>
                  <a:lnTo>
                    <a:pt x="300695" y="121382"/>
                  </a:lnTo>
                  <a:cubicBezTo>
                    <a:pt x="300695" y="84140"/>
                    <a:pt x="279315" y="58621"/>
                    <a:pt x="249659" y="58622"/>
                  </a:cubicBezTo>
                  <a:cubicBezTo>
                    <a:pt x="205521" y="58622"/>
                    <a:pt x="168969" y="117244"/>
                    <a:pt x="168969" y="191038"/>
                  </a:cubicBez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9" name="Forme libre : forme 698">
              <a:extLst>
                <a:ext uri="{FF2B5EF4-FFF2-40B4-BE49-F238E27FC236}">
                  <a16:creationId xmlns:a16="http://schemas.microsoft.com/office/drawing/2014/main" id="{DDFDC7AC-7825-4F2D-8BC2-D122551871CE}"/>
                </a:ext>
              </a:extLst>
            </p:cNvPr>
            <p:cNvSpPr/>
            <p:nvPr/>
          </p:nvSpPr>
          <p:spPr>
            <a:xfrm rot="8716295">
              <a:off x="3516754" y="4648384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0" name="Forme libre : forme 699">
              <a:extLst>
                <a:ext uri="{FF2B5EF4-FFF2-40B4-BE49-F238E27FC236}">
                  <a16:creationId xmlns:a16="http://schemas.microsoft.com/office/drawing/2014/main" id="{9E124BC4-0A34-43AF-B268-C015D1E183F5}"/>
                </a:ext>
              </a:extLst>
            </p:cNvPr>
            <p:cNvSpPr/>
            <p:nvPr/>
          </p:nvSpPr>
          <p:spPr>
            <a:xfrm rot="8716295">
              <a:off x="3279467" y="486872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1" name="Forme libre : forme 700">
              <a:extLst>
                <a:ext uri="{FF2B5EF4-FFF2-40B4-BE49-F238E27FC236}">
                  <a16:creationId xmlns:a16="http://schemas.microsoft.com/office/drawing/2014/main" id="{BD9217FD-3B70-4A3D-8050-FAE9AD88FA69}"/>
                </a:ext>
              </a:extLst>
            </p:cNvPr>
            <p:cNvSpPr/>
            <p:nvPr/>
          </p:nvSpPr>
          <p:spPr>
            <a:xfrm rot="8716295">
              <a:off x="3090421" y="455289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2" name="Forme libre : forme 701">
              <a:extLst>
                <a:ext uri="{FF2B5EF4-FFF2-40B4-BE49-F238E27FC236}">
                  <a16:creationId xmlns:a16="http://schemas.microsoft.com/office/drawing/2014/main" id="{82574961-DC75-453C-B1E8-53CAF357269C}"/>
                </a:ext>
              </a:extLst>
            </p:cNvPr>
            <p:cNvSpPr/>
            <p:nvPr/>
          </p:nvSpPr>
          <p:spPr>
            <a:xfrm rot="8716295">
              <a:off x="3072180" y="434284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3" name="Forme libre : forme 702">
              <a:extLst>
                <a:ext uri="{FF2B5EF4-FFF2-40B4-BE49-F238E27FC236}">
                  <a16:creationId xmlns:a16="http://schemas.microsoft.com/office/drawing/2014/main" id="{F9FF2627-55AC-40EC-B2C7-E4BB0FC2841E}"/>
                </a:ext>
              </a:extLst>
            </p:cNvPr>
            <p:cNvSpPr/>
            <p:nvPr/>
          </p:nvSpPr>
          <p:spPr>
            <a:xfrm rot="8716295">
              <a:off x="3388475" y="4959102"/>
              <a:ext cx="91035" cy="230894"/>
            </a:xfrm>
            <a:custGeom>
              <a:avLst/>
              <a:gdLst>
                <a:gd name="connsiteX0" fmla="*/ 91035 w 91035"/>
                <a:gd name="connsiteY0" fmla="*/ 230894 h 230894"/>
                <a:gd name="connsiteX1" fmla="*/ 0 w 91035"/>
                <a:gd name="connsiteY1" fmla="*/ 143306 h 230894"/>
                <a:gd name="connsiteX2" fmla="*/ 0 w 91035"/>
                <a:gd name="connsiteY2" fmla="*/ 0 h 230894"/>
                <a:gd name="connsiteX3" fmla="*/ 91035 w 91035"/>
                <a:gd name="connsiteY3" fmla="*/ 63103 h 230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230894">
                  <a:moveTo>
                    <a:pt x="91035" y="230894"/>
                  </a:moveTo>
                  <a:lnTo>
                    <a:pt x="0" y="143306"/>
                  </a:lnTo>
                  <a:lnTo>
                    <a:pt x="0" y="0"/>
                  </a:lnTo>
                  <a:lnTo>
                    <a:pt x="91035" y="631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4" name="Forme libre : forme 703">
              <a:extLst>
                <a:ext uri="{FF2B5EF4-FFF2-40B4-BE49-F238E27FC236}">
                  <a16:creationId xmlns:a16="http://schemas.microsoft.com/office/drawing/2014/main" id="{E8EDEFFE-1CCB-4594-BF4D-83E9CF1C96A7}"/>
                </a:ext>
              </a:extLst>
            </p:cNvPr>
            <p:cNvSpPr/>
            <p:nvPr/>
          </p:nvSpPr>
          <p:spPr>
            <a:xfrm rot="8716295">
              <a:off x="3886902" y="435609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5" name="Forme libre : forme 704">
              <a:extLst>
                <a:ext uri="{FF2B5EF4-FFF2-40B4-BE49-F238E27FC236}">
                  <a16:creationId xmlns:a16="http://schemas.microsoft.com/office/drawing/2014/main" id="{55A94951-8E4E-4CA9-96D6-1FE7A4C337C6}"/>
                </a:ext>
              </a:extLst>
            </p:cNvPr>
            <p:cNvSpPr/>
            <p:nvPr/>
          </p:nvSpPr>
          <p:spPr>
            <a:xfrm rot="8716295">
              <a:off x="4022201" y="440035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6" name="Forme libre : forme 705">
              <a:extLst>
                <a:ext uri="{FF2B5EF4-FFF2-40B4-BE49-F238E27FC236}">
                  <a16:creationId xmlns:a16="http://schemas.microsoft.com/office/drawing/2014/main" id="{0D6FF806-864D-4C38-93A0-F9147C634CAC}"/>
                </a:ext>
              </a:extLst>
            </p:cNvPr>
            <p:cNvSpPr/>
            <p:nvPr/>
          </p:nvSpPr>
          <p:spPr>
            <a:xfrm rot="8716295">
              <a:off x="3717031" y="44901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7" name="Forme libre : forme 706">
              <a:extLst>
                <a:ext uri="{FF2B5EF4-FFF2-40B4-BE49-F238E27FC236}">
                  <a16:creationId xmlns:a16="http://schemas.microsoft.com/office/drawing/2014/main" id="{FBC6206E-0C5C-4787-A24D-53111B4AE1BD}"/>
                </a:ext>
              </a:extLst>
            </p:cNvPr>
            <p:cNvSpPr/>
            <p:nvPr/>
          </p:nvSpPr>
          <p:spPr>
            <a:xfrm rot="8716295">
              <a:off x="3527986" y="417427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8" name="Forme libre : forme 707">
              <a:extLst>
                <a:ext uri="{FF2B5EF4-FFF2-40B4-BE49-F238E27FC236}">
                  <a16:creationId xmlns:a16="http://schemas.microsoft.com/office/drawing/2014/main" id="{98187825-2EC9-4F80-8FFB-DB7FF0C2F09C}"/>
                </a:ext>
              </a:extLst>
            </p:cNvPr>
            <p:cNvSpPr/>
            <p:nvPr/>
          </p:nvSpPr>
          <p:spPr>
            <a:xfrm rot="8716295">
              <a:off x="3853519" y="4552096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9" name="Forme libre : forme 708">
              <a:extLst>
                <a:ext uri="{FF2B5EF4-FFF2-40B4-BE49-F238E27FC236}">
                  <a16:creationId xmlns:a16="http://schemas.microsoft.com/office/drawing/2014/main" id="{AAB4B000-0E9F-461C-AFEB-00262B0F810F}"/>
                </a:ext>
              </a:extLst>
            </p:cNvPr>
            <p:cNvSpPr/>
            <p:nvPr/>
          </p:nvSpPr>
          <p:spPr>
            <a:xfrm rot="8716295">
              <a:off x="3488073" y="432567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0" name="Forme libre : forme 709">
              <a:extLst>
                <a:ext uri="{FF2B5EF4-FFF2-40B4-BE49-F238E27FC236}">
                  <a16:creationId xmlns:a16="http://schemas.microsoft.com/office/drawing/2014/main" id="{9A1C13DA-0F62-4833-98DE-AA495BB59885}"/>
                </a:ext>
              </a:extLst>
            </p:cNvPr>
            <p:cNvSpPr/>
            <p:nvPr/>
          </p:nvSpPr>
          <p:spPr>
            <a:xfrm rot="7484129">
              <a:off x="4016569" y="4837237"/>
              <a:ext cx="295167" cy="296463"/>
            </a:xfrm>
            <a:custGeom>
              <a:avLst/>
              <a:gdLst>
                <a:gd name="connsiteX0" fmla="*/ 137293 w 295167"/>
                <a:gd name="connsiteY0" fmla="*/ 296463 h 296463"/>
                <a:gd name="connsiteX1" fmla="*/ 72418 w 295167"/>
                <a:gd name="connsiteY1" fmla="*/ 175766 h 296463"/>
                <a:gd name="connsiteX2" fmla="*/ 105610 w 295167"/>
                <a:gd name="connsiteY2" fmla="*/ 83734 h 296463"/>
                <a:gd name="connsiteX3" fmla="*/ 0 w 295167"/>
                <a:gd name="connsiteY3" fmla="*/ 83734 h 296463"/>
                <a:gd name="connsiteX4" fmla="*/ 0 w 295167"/>
                <a:gd name="connsiteY4" fmla="*/ 0 h 296463"/>
                <a:gd name="connsiteX5" fmla="*/ 237110 w 295167"/>
                <a:gd name="connsiteY5" fmla="*/ 0 h 296463"/>
                <a:gd name="connsiteX6" fmla="*/ 295167 w 295167"/>
                <a:gd name="connsiteY6" fmla="*/ 83734 h 296463"/>
                <a:gd name="connsiteX7" fmla="*/ 210466 w 295167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5167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37110" y="0"/>
                  </a:lnTo>
                  <a:lnTo>
                    <a:pt x="295167" y="83734"/>
                  </a:lnTo>
                  <a:lnTo>
                    <a:pt x="210466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1" name="Forme libre : forme 710">
              <a:extLst>
                <a:ext uri="{FF2B5EF4-FFF2-40B4-BE49-F238E27FC236}">
                  <a16:creationId xmlns:a16="http://schemas.microsoft.com/office/drawing/2014/main" id="{69127492-EB65-429C-9E8A-EB2855F4256A}"/>
                </a:ext>
              </a:extLst>
            </p:cNvPr>
            <p:cNvSpPr/>
            <p:nvPr/>
          </p:nvSpPr>
          <p:spPr>
            <a:xfrm rot="13089394">
              <a:off x="4226447" y="4804985"/>
              <a:ext cx="412568" cy="314062"/>
            </a:xfrm>
            <a:custGeom>
              <a:avLst/>
              <a:gdLst>
                <a:gd name="connsiteX0" fmla="*/ 412568 w 412568"/>
                <a:gd name="connsiteY0" fmla="*/ 206915 h 314062"/>
                <a:gd name="connsiteX1" fmla="*/ 138636 w 412568"/>
                <a:gd name="connsiteY1" fmla="*/ 313815 h 314062"/>
                <a:gd name="connsiteX2" fmla="*/ 35911 w 412568"/>
                <a:gd name="connsiteY2" fmla="*/ 272057 h 314062"/>
                <a:gd name="connsiteX3" fmla="*/ 0 w 412568"/>
                <a:gd name="connsiteY3" fmla="*/ 128410 h 314062"/>
                <a:gd name="connsiteX4" fmla="*/ 0 w 412568"/>
                <a:gd name="connsiteY4" fmla="*/ 88308 h 314062"/>
                <a:gd name="connsiteX5" fmla="*/ 112395 w 412568"/>
                <a:gd name="connsiteY5" fmla="*/ 0 h 314062"/>
                <a:gd name="connsiteX6" fmla="*/ 112747 w 412568"/>
                <a:gd name="connsiteY6" fmla="*/ 49070 h 314062"/>
                <a:gd name="connsiteX7" fmla="*/ 132789 w 412568"/>
                <a:gd name="connsiteY7" fmla="*/ 187707 h 314062"/>
                <a:gd name="connsiteX8" fmla="*/ 233008 w 412568"/>
                <a:gd name="connsiteY8" fmla="*/ 242827 h 314062"/>
                <a:gd name="connsiteX9" fmla="*/ 308172 w 412568"/>
                <a:gd name="connsiteY9" fmla="*/ 229465 h 314062"/>
                <a:gd name="connsiteX10" fmla="*/ 410898 w 412568"/>
                <a:gd name="connsiteY10" fmla="*/ 187707 h 314062"/>
                <a:gd name="connsiteX11" fmla="*/ 412568 w 412568"/>
                <a:gd name="connsiteY11" fmla="*/ 198563 h 314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2568" h="314062">
                  <a:moveTo>
                    <a:pt x="412568" y="206915"/>
                  </a:moveTo>
                  <a:cubicBezTo>
                    <a:pt x="324041" y="282914"/>
                    <a:pt x="207954" y="309640"/>
                    <a:pt x="138636" y="313815"/>
                  </a:cubicBezTo>
                  <a:cubicBezTo>
                    <a:pt x="100219" y="316321"/>
                    <a:pt x="62637" y="299618"/>
                    <a:pt x="35911" y="272057"/>
                  </a:cubicBezTo>
                  <a:cubicBezTo>
                    <a:pt x="7516" y="244497"/>
                    <a:pt x="0" y="196893"/>
                    <a:pt x="0" y="128410"/>
                  </a:cubicBezTo>
                  <a:lnTo>
                    <a:pt x="0" y="88308"/>
                  </a:lnTo>
                  <a:lnTo>
                    <a:pt x="112395" y="0"/>
                  </a:lnTo>
                  <a:lnTo>
                    <a:pt x="112747" y="49070"/>
                  </a:lnTo>
                  <a:cubicBezTo>
                    <a:pt x="110241" y="95839"/>
                    <a:pt x="117756" y="143443"/>
                    <a:pt x="132789" y="187707"/>
                  </a:cubicBezTo>
                  <a:cubicBezTo>
                    <a:pt x="146153" y="224453"/>
                    <a:pt x="180394" y="242827"/>
                    <a:pt x="233008" y="242827"/>
                  </a:cubicBezTo>
                  <a:cubicBezTo>
                    <a:pt x="258899" y="241992"/>
                    <a:pt x="283953" y="236980"/>
                    <a:pt x="308172" y="229465"/>
                  </a:cubicBezTo>
                  <a:cubicBezTo>
                    <a:pt x="343249" y="218607"/>
                    <a:pt x="377491" y="204410"/>
                    <a:pt x="410898" y="187707"/>
                  </a:cubicBezTo>
                  <a:cubicBezTo>
                    <a:pt x="411732" y="191047"/>
                    <a:pt x="412568" y="195223"/>
                    <a:pt x="412568" y="1985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2" name="Forme libre : forme 711">
              <a:extLst>
                <a:ext uri="{FF2B5EF4-FFF2-40B4-BE49-F238E27FC236}">
                  <a16:creationId xmlns:a16="http://schemas.microsoft.com/office/drawing/2014/main" id="{A9287E0A-DFD9-4AA6-8680-00180265377A}"/>
                </a:ext>
              </a:extLst>
            </p:cNvPr>
            <p:cNvSpPr/>
            <p:nvPr/>
          </p:nvSpPr>
          <p:spPr>
            <a:xfrm rot="8716295">
              <a:off x="4451878" y="4500944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3" name="Forme libre : forme 712">
              <a:extLst>
                <a:ext uri="{FF2B5EF4-FFF2-40B4-BE49-F238E27FC236}">
                  <a16:creationId xmlns:a16="http://schemas.microsoft.com/office/drawing/2014/main" id="{09BFE1EA-6A4F-4D09-B373-5566A2FCD583}"/>
                </a:ext>
              </a:extLst>
            </p:cNvPr>
            <p:cNvSpPr/>
            <p:nvPr/>
          </p:nvSpPr>
          <p:spPr>
            <a:xfrm rot="8716295">
              <a:off x="4373469" y="434415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4" name="Forme libre : forme 713">
              <a:extLst>
                <a:ext uri="{FF2B5EF4-FFF2-40B4-BE49-F238E27FC236}">
                  <a16:creationId xmlns:a16="http://schemas.microsoft.com/office/drawing/2014/main" id="{CC70F404-444F-494A-8724-6872C726683C}"/>
                </a:ext>
              </a:extLst>
            </p:cNvPr>
            <p:cNvSpPr/>
            <p:nvPr/>
          </p:nvSpPr>
          <p:spPr>
            <a:xfrm rot="8716295">
              <a:off x="4005305" y="438989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5" name="Forme libre : forme 714">
              <a:extLst>
                <a:ext uri="{FF2B5EF4-FFF2-40B4-BE49-F238E27FC236}">
                  <a16:creationId xmlns:a16="http://schemas.microsoft.com/office/drawing/2014/main" id="{C68DC1E1-E9D4-49BF-9F20-12E6BA298FAB}"/>
                </a:ext>
              </a:extLst>
            </p:cNvPr>
            <p:cNvSpPr/>
            <p:nvPr/>
          </p:nvSpPr>
          <p:spPr>
            <a:xfrm rot="8716295">
              <a:off x="4273886" y="414887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6" name="Forme libre : forme 715">
              <a:extLst>
                <a:ext uri="{FF2B5EF4-FFF2-40B4-BE49-F238E27FC236}">
                  <a16:creationId xmlns:a16="http://schemas.microsoft.com/office/drawing/2014/main" id="{298BA06B-FD3E-484C-A9BF-444E13BFC20E}"/>
                </a:ext>
              </a:extLst>
            </p:cNvPr>
            <p:cNvSpPr/>
            <p:nvPr/>
          </p:nvSpPr>
          <p:spPr>
            <a:xfrm rot="8716295">
              <a:off x="2776288" y="273581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7" name="Forme libre : forme 716">
              <a:extLst>
                <a:ext uri="{FF2B5EF4-FFF2-40B4-BE49-F238E27FC236}">
                  <a16:creationId xmlns:a16="http://schemas.microsoft.com/office/drawing/2014/main" id="{577CA89A-0469-4E44-B3B7-615251B777E0}"/>
                </a:ext>
              </a:extLst>
            </p:cNvPr>
            <p:cNvSpPr/>
            <p:nvPr/>
          </p:nvSpPr>
          <p:spPr>
            <a:xfrm rot="8716295">
              <a:off x="2911587" y="278007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8" name="Forme libre : forme 717">
              <a:extLst>
                <a:ext uri="{FF2B5EF4-FFF2-40B4-BE49-F238E27FC236}">
                  <a16:creationId xmlns:a16="http://schemas.microsoft.com/office/drawing/2014/main" id="{9749DAD3-E0F7-4F67-A9A9-D46BE20CA2A5}"/>
                </a:ext>
              </a:extLst>
            </p:cNvPr>
            <p:cNvSpPr/>
            <p:nvPr/>
          </p:nvSpPr>
          <p:spPr>
            <a:xfrm rot="8716295">
              <a:off x="2843704" y="2649488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9" name="Forme libre : forme 718">
              <a:extLst>
                <a:ext uri="{FF2B5EF4-FFF2-40B4-BE49-F238E27FC236}">
                  <a16:creationId xmlns:a16="http://schemas.microsoft.com/office/drawing/2014/main" id="{CC1D1038-8879-442B-B224-29424F89407C}"/>
                </a:ext>
              </a:extLst>
            </p:cNvPr>
            <p:cNvSpPr/>
            <p:nvPr/>
          </p:nvSpPr>
          <p:spPr>
            <a:xfrm rot="8716295">
              <a:off x="2606417" y="286983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0" name="Forme libre : forme 719">
              <a:extLst>
                <a:ext uri="{FF2B5EF4-FFF2-40B4-BE49-F238E27FC236}">
                  <a16:creationId xmlns:a16="http://schemas.microsoft.com/office/drawing/2014/main" id="{7C27CA1B-5474-4334-B2BC-5D5F6D801B37}"/>
                </a:ext>
              </a:extLst>
            </p:cNvPr>
            <p:cNvSpPr/>
            <p:nvPr/>
          </p:nvSpPr>
          <p:spPr>
            <a:xfrm rot="8716295">
              <a:off x="2417371" y="255399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1" name="Forme libre : forme 720">
              <a:extLst>
                <a:ext uri="{FF2B5EF4-FFF2-40B4-BE49-F238E27FC236}">
                  <a16:creationId xmlns:a16="http://schemas.microsoft.com/office/drawing/2014/main" id="{1789A997-6AF9-488A-BF6F-ED804306AC57}"/>
                </a:ext>
              </a:extLst>
            </p:cNvPr>
            <p:cNvSpPr/>
            <p:nvPr/>
          </p:nvSpPr>
          <p:spPr>
            <a:xfrm rot="8716295">
              <a:off x="2399130" y="2343948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2" name="Forme libre : forme 721">
              <a:extLst>
                <a:ext uri="{FF2B5EF4-FFF2-40B4-BE49-F238E27FC236}">
                  <a16:creationId xmlns:a16="http://schemas.microsoft.com/office/drawing/2014/main" id="{FDF8E98E-E1F4-4CD9-8714-50552C557374}"/>
                </a:ext>
              </a:extLst>
            </p:cNvPr>
            <p:cNvSpPr/>
            <p:nvPr/>
          </p:nvSpPr>
          <p:spPr>
            <a:xfrm rot="8716295">
              <a:off x="2742905" y="293181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3" name="Forme libre : forme 722">
              <a:extLst>
                <a:ext uri="{FF2B5EF4-FFF2-40B4-BE49-F238E27FC236}">
                  <a16:creationId xmlns:a16="http://schemas.microsoft.com/office/drawing/2014/main" id="{540D8D51-C0CC-45F4-A59F-CAB41A6564F1}"/>
                </a:ext>
              </a:extLst>
            </p:cNvPr>
            <p:cNvSpPr/>
            <p:nvPr/>
          </p:nvSpPr>
          <p:spPr>
            <a:xfrm rot="8716295">
              <a:off x="3213852" y="235720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4" name="Forme libre : forme 723">
              <a:extLst>
                <a:ext uri="{FF2B5EF4-FFF2-40B4-BE49-F238E27FC236}">
                  <a16:creationId xmlns:a16="http://schemas.microsoft.com/office/drawing/2014/main" id="{BA2BD7E8-A818-4C94-80AE-9E437B07AD6D}"/>
                </a:ext>
              </a:extLst>
            </p:cNvPr>
            <p:cNvSpPr/>
            <p:nvPr/>
          </p:nvSpPr>
          <p:spPr>
            <a:xfrm rot="8716295">
              <a:off x="3349151" y="240146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5" name="Forme libre : forme 724">
              <a:extLst>
                <a:ext uri="{FF2B5EF4-FFF2-40B4-BE49-F238E27FC236}">
                  <a16:creationId xmlns:a16="http://schemas.microsoft.com/office/drawing/2014/main" id="{BC52E005-0165-4382-BA93-B99E2F033DF8}"/>
                </a:ext>
              </a:extLst>
            </p:cNvPr>
            <p:cNvSpPr/>
            <p:nvPr/>
          </p:nvSpPr>
          <p:spPr>
            <a:xfrm rot="8716295">
              <a:off x="3043981" y="249121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6" name="Forme libre : forme 725">
              <a:extLst>
                <a:ext uri="{FF2B5EF4-FFF2-40B4-BE49-F238E27FC236}">
                  <a16:creationId xmlns:a16="http://schemas.microsoft.com/office/drawing/2014/main" id="{1EFDB2CB-3D68-4219-904B-16E2BB8FC2A1}"/>
                </a:ext>
              </a:extLst>
            </p:cNvPr>
            <p:cNvSpPr/>
            <p:nvPr/>
          </p:nvSpPr>
          <p:spPr>
            <a:xfrm rot="8716295">
              <a:off x="2854936" y="217538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7" name="Forme libre : forme 726">
              <a:extLst>
                <a:ext uri="{FF2B5EF4-FFF2-40B4-BE49-F238E27FC236}">
                  <a16:creationId xmlns:a16="http://schemas.microsoft.com/office/drawing/2014/main" id="{0453BE2C-684C-42DC-9D76-B653DD2CA6D7}"/>
                </a:ext>
              </a:extLst>
            </p:cNvPr>
            <p:cNvSpPr/>
            <p:nvPr/>
          </p:nvSpPr>
          <p:spPr>
            <a:xfrm rot="8716295">
              <a:off x="3180469" y="255320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8" name="Forme libre : forme 727">
              <a:extLst>
                <a:ext uri="{FF2B5EF4-FFF2-40B4-BE49-F238E27FC236}">
                  <a16:creationId xmlns:a16="http://schemas.microsoft.com/office/drawing/2014/main" id="{AB96B288-5418-4DF4-9F46-9CC63BBD2345}"/>
                </a:ext>
              </a:extLst>
            </p:cNvPr>
            <p:cNvSpPr/>
            <p:nvPr/>
          </p:nvSpPr>
          <p:spPr>
            <a:xfrm rot="8716295">
              <a:off x="2815023" y="232677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9" name="Forme libre : forme 728">
              <a:extLst>
                <a:ext uri="{FF2B5EF4-FFF2-40B4-BE49-F238E27FC236}">
                  <a16:creationId xmlns:a16="http://schemas.microsoft.com/office/drawing/2014/main" id="{219BA0B1-2BDE-4311-A560-60C891B83CA0}"/>
                </a:ext>
              </a:extLst>
            </p:cNvPr>
            <p:cNvSpPr/>
            <p:nvPr/>
          </p:nvSpPr>
          <p:spPr>
            <a:xfrm rot="7484129">
              <a:off x="3339287" y="284281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0" name="Forme libre : forme 729">
              <a:extLst>
                <a:ext uri="{FF2B5EF4-FFF2-40B4-BE49-F238E27FC236}">
                  <a16:creationId xmlns:a16="http://schemas.microsoft.com/office/drawing/2014/main" id="{73441630-8A4E-4926-A949-79FBC53AB30A}"/>
                </a:ext>
              </a:extLst>
            </p:cNvPr>
            <p:cNvSpPr/>
            <p:nvPr/>
          </p:nvSpPr>
          <p:spPr>
            <a:xfrm rot="13089394">
              <a:off x="3497937" y="279216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1" name="Forme libre : forme 730">
              <a:extLst>
                <a:ext uri="{FF2B5EF4-FFF2-40B4-BE49-F238E27FC236}">
                  <a16:creationId xmlns:a16="http://schemas.microsoft.com/office/drawing/2014/main" id="{6718FCAC-EC9F-4D5D-A7BA-5D07B614DD91}"/>
                </a:ext>
              </a:extLst>
            </p:cNvPr>
            <p:cNvSpPr/>
            <p:nvPr/>
          </p:nvSpPr>
          <p:spPr>
            <a:xfrm rot="8716295">
              <a:off x="3778828" y="2502048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2" name="Forme libre : forme 731">
              <a:extLst>
                <a:ext uri="{FF2B5EF4-FFF2-40B4-BE49-F238E27FC236}">
                  <a16:creationId xmlns:a16="http://schemas.microsoft.com/office/drawing/2014/main" id="{C6B6BF34-8D01-4B90-A150-1A215193326B}"/>
                </a:ext>
              </a:extLst>
            </p:cNvPr>
            <p:cNvSpPr/>
            <p:nvPr/>
          </p:nvSpPr>
          <p:spPr>
            <a:xfrm rot="8716295">
              <a:off x="3700418" y="234525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3" name="Forme libre : forme 732">
              <a:extLst>
                <a:ext uri="{FF2B5EF4-FFF2-40B4-BE49-F238E27FC236}">
                  <a16:creationId xmlns:a16="http://schemas.microsoft.com/office/drawing/2014/main" id="{46601907-3441-4476-B018-C88CFDF3BCEE}"/>
                </a:ext>
              </a:extLst>
            </p:cNvPr>
            <p:cNvSpPr/>
            <p:nvPr/>
          </p:nvSpPr>
          <p:spPr>
            <a:xfrm rot="8716295">
              <a:off x="3332255" y="239099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4" name="Forme libre : forme 733">
              <a:extLst>
                <a:ext uri="{FF2B5EF4-FFF2-40B4-BE49-F238E27FC236}">
                  <a16:creationId xmlns:a16="http://schemas.microsoft.com/office/drawing/2014/main" id="{7101F228-FC4A-45AF-B301-D6AE8B2C4CB0}"/>
                </a:ext>
              </a:extLst>
            </p:cNvPr>
            <p:cNvSpPr/>
            <p:nvPr/>
          </p:nvSpPr>
          <p:spPr>
            <a:xfrm rot="8716295">
              <a:off x="3600836" y="214997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5" name="Forme libre : forme 734">
              <a:extLst>
                <a:ext uri="{FF2B5EF4-FFF2-40B4-BE49-F238E27FC236}">
                  <a16:creationId xmlns:a16="http://schemas.microsoft.com/office/drawing/2014/main" id="{5EBBC394-2EF2-49FF-9DD5-B3DBEC059683}"/>
                </a:ext>
              </a:extLst>
            </p:cNvPr>
            <p:cNvSpPr/>
            <p:nvPr/>
          </p:nvSpPr>
          <p:spPr>
            <a:xfrm rot="8716295">
              <a:off x="2438515" y="173733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6" name="Forme libre : forme 735">
              <a:extLst>
                <a:ext uri="{FF2B5EF4-FFF2-40B4-BE49-F238E27FC236}">
                  <a16:creationId xmlns:a16="http://schemas.microsoft.com/office/drawing/2014/main" id="{9E64E25E-5581-4C5A-8FFA-6FA4EC36C5FC}"/>
                </a:ext>
              </a:extLst>
            </p:cNvPr>
            <p:cNvSpPr/>
            <p:nvPr/>
          </p:nvSpPr>
          <p:spPr>
            <a:xfrm rot="8716295">
              <a:off x="2573814" y="178159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7" name="Forme libre : forme 736">
              <a:extLst>
                <a:ext uri="{FF2B5EF4-FFF2-40B4-BE49-F238E27FC236}">
                  <a16:creationId xmlns:a16="http://schemas.microsoft.com/office/drawing/2014/main" id="{3EEB2466-11BF-47A2-B0A2-3EC6461F6092}"/>
                </a:ext>
              </a:extLst>
            </p:cNvPr>
            <p:cNvSpPr/>
            <p:nvPr/>
          </p:nvSpPr>
          <p:spPr>
            <a:xfrm rot="8716295">
              <a:off x="2505931" y="1651005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8" name="Forme libre : forme 737">
              <a:extLst>
                <a:ext uri="{FF2B5EF4-FFF2-40B4-BE49-F238E27FC236}">
                  <a16:creationId xmlns:a16="http://schemas.microsoft.com/office/drawing/2014/main" id="{E5AEA02F-88F3-46C9-8F84-C3EEF35923D9}"/>
                </a:ext>
              </a:extLst>
            </p:cNvPr>
            <p:cNvSpPr/>
            <p:nvPr/>
          </p:nvSpPr>
          <p:spPr>
            <a:xfrm rot="8716295">
              <a:off x="2268644" y="187135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9" name="Forme libre : forme 738">
              <a:extLst>
                <a:ext uri="{FF2B5EF4-FFF2-40B4-BE49-F238E27FC236}">
                  <a16:creationId xmlns:a16="http://schemas.microsoft.com/office/drawing/2014/main" id="{F1E768B8-3CD2-494D-853A-78A7274AEC37}"/>
                </a:ext>
              </a:extLst>
            </p:cNvPr>
            <p:cNvSpPr/>
            <p:nvPr/>
          </p:nvSpPr>
          <p:spPr>
            <a:xfrm rot="8716295">
              <a:off x="2079598" y="155551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0" name="Forme libre : forme 739">
              <a:extLst>
                <a:ext uri="{FF2B5EF4-FFF2-40B4-BE49-F238E27FC236}">
                  <a16:creationId xmlns:a16="http://schemas.microsoft.com/office/drawing/2014/main" id="{262ED69B-72FE-45DC-B072-76F3A4FAF2D5}"/>
                </a:ext>
              </a:extLst>
            </p:cNvPr>
            <p:cNvSpPr/>
            <p:nvPr/>
          </p:nvSpPr>
          <p:spPr>
            <a:xfrm rot="8716295">
              <a:off x="2061357" y="1345465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1" name="Forme libre : forme 740">
              <a:extLst>
                <a:ext uri="{FF2B5EF4-FFF2-40B4-BE49-F238E27FC236}">
                  <a16:creationId xmlns:a16="http://schemas.microsoft.com/office/drawing/2014/main" id="{0C3B92CD-7E55-4069-8C6E-6C53FF103262}"/>
                </a:ext>
              </a:extLst>
            </p:cNvPr>
            <p:cNvSpPr/>
            <p:nvPr/>
          </p:nvSpPr>
          <p:spPr>
            <a:xfrm rot="8716295">
              <a:off x="2405132" y="1933333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2" name="Forme libre : forme 741">
              <a:extLst>
                <a:ext uri="{FF2B5EF4-FFF2-40B4-BE49-F238E27FC236}">
                  <a16:creationId xmlns:a16="http://schemas.microsoft.com/office/drawing/2014/main" id="{12042862-BD55-4332-A928-2CD906AA369E}"/>
                </a:ext>
              </a:extLst>
            </p:cNvPr>
            <p:cNvSpPr/>
            <p:nvPr/>
          </p:nvSpPr>
          <p:spPr>
            <a:xfrm rot="8716295">
              <a:off x="2876079" y="135871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3" name="Forme libre : forme 742">
              <a:extLst>
                <a:ext uri="{FF2B5EF4-FFF2-40B4-BE49-F238E27FC236}">
                  <a16:creationId xmlns:a16="http://schemas.microsoft.com/office/drawing/2014/main" id="{6200C6E7-66CB-4309-B7D9-EFB7EDC24787}"/>
                </a:ext>
              </a:extLst>
            </p:cNvPr>
            <p:cNvSpPr/>
            <p:nvPr/>
          </p:nvSpPr>
          <p:spPr>
            <a:xfrm rot="8716295">
              <a:off x="3011378" y="140297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4" name="Forme libre : forme 743">
              <a:extLst>
                <a:ext uri="{FF2B5EF4-FFF2-40B4-BE49-F238E27FC236}">
                  <a16:creationId xmlns:a16="http://schemas.microsoft.com/office/drawing/2014/main" id="{AB122FD1-795D-425A-8721-EBB048E97CAB}"/>
                </a:ext>
              </a:extLst>
            </p:cNvPr>
            <p:cNvSpPr/>
            <p:nvPr/>
          </p:nvSpPr>
          <p:spPr>
            <a:xfrm rot="8716295">
              <a:off x="2706208" y="14927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5" name="Forme libre : forme 744">
              <a:extLst>
                <a:ext uri="{FF2B5EF4-FFF2-40B4-BE49-F238E27FC236}">
                  <a16:creationId xmlns:a16="http://schemas.microsoft.com/office/drawing/2014/main" id="{A1E137E0-6CF8-46C5-92D9-A51059448C1A}"/>
                </a:ext>
              </a:extLst>
            </p:cNvPr>
            <p:cNvSpPr/>
            <p:nvPr/>
          </p:nvSpPr>
          <p:spPr>
            <a:xfrm rot="8716295">
              <a:off x="2517163" y="11768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6" name="Forme libre : forme 745">
              <a:extLst>
                <a:ext uri="{FF2B5EF4-FFF2-40B4-BE49-F238E27FC236}">
                  <a16:creationId xmlns:a16="http://schemas.microsoft.com/office/drawing/2014/main" id="{7C3852D8-DFED-42E7-A4AD-A39FE8954AC8}"/>
                </a:ext>
              </a:extLst>
            </p:cNvPr>
            <p:cNvSpPr/>
            <p:nvPr/>
          </p:nvSpPr>
          <p:spPr>
            <a:xfrm rot="8716295">
              <a:off x="2842696" y="1554717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7" name="Forme libre : forme 746">
              <a:extLst>
                <a:ext uri="{FF2B5EF4-FFF2-40B4-BE49-F238E27FC236}">
                  <a16:creationId xmlns:a16="http://schemas.microsoft.com/office/drawing/2014/main" id="{62C60140-F01F-4488-BD03-9C9619AC1EB0}"/>
                </a:ext>
              </a:extLst>
            </p:cNvPr>
            <p:cNvSpPr/>
            <p:nvPr/>
          </p:nvSpPr>
          <p:spPr>
            <a:xfrm rot="8716295">
              <a:off x="2477250" y="1328291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8" name="Forme libre : forme 747">
              <a:extLst>
                <a:ext uri="{FF2B5EF4-FFF2-40B4-BE49-F238E27FC236}">
                  <a16:creationId xmlns:a16="http://schemas.microsoft.com/office/drawing/2014/main" id="{DBD569FB-C0A0-4F7B-87D2-0E26460F3557}"/>
                </a:ext>
              </a:extLst>
            </p:cNvPr>
            <p:cNvSpPr/>
            <p:nvPr/>
          </p:nvSpPr>
          <p:spPr>
            <a:xfrm rot="7484129">
              <a:off x="3001514" y="184433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9" name="Forme libre : forme 748">
              <a:extLst>
                <a:ext uri="{FF2B5EF4-FFF2-40B4-BE49-F238E27FC236}">
                  <a16:creationId xmlns:a16="http://schemas.microsoft.com/office/drawing/2014/main" id="{ABE42921-5DDC-4180-B584-E88059248493}"/>
                </a:ext>
              </a:extLst>
            </p:cNvPr>
            <p:cNvSpPr/>
            <p:nvPr/>
          </p:nvSpPr>
          <p:spPr>
            <a:xfrm rot="13089394">
              <a:off x="3160164" y="1793683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0" name="Forme libre : forme 749">
              <a:extLst>
                <a:ext uri="{FF2B5EF4-FFF2-40B4-BE49-F238E27FC236}">
                  <a16:creationId xmlns:a16="http://schemas.microsoft.com/office/drawing/2014/main" id="{88F98A94-8006-4488-8030-242FB6A3DA5A}"/>
                </a:ext>
              </a:extLst>
            </p:cNvPr>
            <p:cNvSpPr/>
            <p:nvPr/>
          </p:nvSpPr>
          <p:spPr>
            <a:xfrm rot="8716295">
              <a:off x="3441055" y="1503565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1" name="Forme libre : forme 750">
              <a:extLst>
                <a:ext uri="{FF2B5EF4-FFF2-40B4-BE49-F238E27FC236}">
                  <a16:creationId xmlns:a16="http://schemas.microsoft.com/office/drawing/2014/main" id="{A5A850AA-45A2-4846-8949-3857C38E889C}"/>
                </a:ext>
              </a:extLst>
            </p:cNvPr>
            <p:cNvSpPr/>
            <p:nvPr/>
          </p:nvSpPr>
          <p:spPr>
            <a:xfrm rot="8716295">
              <a:off x="3362645" y="134677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2" name="Forme libre : forme 751">
              <a:extLst>
                <a:ext uri="{FF2B5EF4-FFF2-40B4-BE49-F238E27FC236}">
                  <a16:creationId xmlns:a16="http://schemas.microsoft.com/office/drawing/2014/main" id="{5A64EB05-BC9D-42E7-8426-0CAB9C6910F8}"/>
                </a:ext>
              </a:extLst>
            </p:cNvPr>
            <p:cNvSpPr/>
            <p:nvPr/>
          </p:nvSpPr>
          <p:spPr>
            <a:xfrm rot="8716295">
              <a:off x="2994482" y="13925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3" name="Forme libre : forme 752">
              <a:extLst>
                <a:ext uri="{FF2B5EF4-FFF2-40B4-BE49-F238E27FC236}">
                  <a16:creationId xmlns:a16="http://schemas.microsoft.com/office/drawing/2014/main" id="{95781397-8B1D-423E-A53F-48B75A5D7E91}"/>
                </a:ext>
              </a:extLst>
            </p:cNvPr>
            <p:cNvSpPr/>
            <p:nvPr/>
          </p:nvSpPr>
          <p:spPr>
            <a:xfrm rot="8716295">
              <a:off x="3263063" y="115149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4" name="Forme libre : forme 753">
              <a:extLst>
                <a:ext uri="{FF2B5EF4-FFF2-40B4-BE49-F238E27FC236}">
                  <a16:creationId xmlns:a16="http://schemas.microsoft.com/office/drawing/2014/main" id="{BF63C671-ADC0-4488-BE74-E17F46742365}"/>
                </a:ext>
              </a:extLst>
            </p:cNvPr>
            <p:cNvSpPr/>
            <p:nvPr/>
          </p:nvSpPr>
          <p:spPr>
            <a:xfrm rot="8716295">
              <a:off x="2107141" y="73528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5" name="Forme libre : forme 754">
              <a:extLst>
                <a:ext uri="{FF2B5EF4-FFF2-40B4-BE49-F238E27FC236}">
                  <a16:creationId xmlns:a16="http://schemas.microsoft.com/office/drawing/2014/main" id="{5BC60D3E-6680-4205-9719-A6BFD5B4CA74}"/>
                </a:ext>
              </a:extLst>
            </p:cNvPr>
            <p:cNvSpPr/>
            <p:nvPr/>
          </p:nvSpPr>
          <p:spPr>
            <a:xfrm rot="8716295">
              <a:off x="2242440" y="77954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6" name="Forme libre : forme 755">
              <a:extLst>
                <a:ext uri="{FF2B5EF4-FFF2-40B4-BE49-F238E27FC236}">
                  <a16:creationId xmlns:a16="http://schemas.microsoft.com/office/drawing/2014/main" id="{B24E0A86-3E95-492C-8ED3-DB42420B5F2B}"/>
                </a:ext>
              </a:extLst>
            </p:cNvPr>
            <p:cNvSpPr/>
            <p:nvPr/>
          </p:nvSpPr>
          <p:spPr>
            <a:xfrm rot="8716295">
              <a:off x="2174558" y="64895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7" name="Forme libre : forme 756">
              <a:extLst>
                <a:ext uri="{FF2B5EF4-FFF2-40B4-BE49-F238E27FC236}">
                  <a16:creationId xmlns:a16="http://schemas.microsoft.com/office/drawing/2014/main" id="{5279EA4A-802F-4479-832C-B17D45EE4AD8}"/>
                </a:ext>
              </a:extLst>
            </p:cNvPr>
            <p:cNvSpPr/>
            <p:nvPr/>
          </p:nvSpPr>
          <p:spPr>
            <a:xfrm rot="8716295">
              <a:off x="1937270" y="86929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8" name="Forme libre : forme 757">
              <a:extLst>
                <a:ext uri="{FF2B5EF4-FFF2-40B4-BE49-F238E27FC236}">
                  <a16:creationId xmlns:a16="http://schemas.microsoft.com/office/drawing/2014/main" id="{943A13E3-FDDC-4FFC-86C5-237B81D039F9}"/>
                </a:ext>
              </a:extLst>
            </p:cNvPr>
            <p:cNvSpPr/>
            <p:nvPr/>
          </p:nvSpPr>
          <p:spPr>
            <a:xfrm rot="8716295">
              <a:off x="1748224" y="55346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9" name="Forme libre : forme 758">
              <a:extLst>
                <a:ext uri="{FF2B5EF4-FFF2-40B4-BE49-F238E27FC236}">
                  <a16:creationId xmlns:a16="http://schemas.microsoft.com/office/drawing/2014/main" id="{9A27531B-9027-43C6-B072-6C625D2EAEE5}"/>
                </a:ext>
              </a:extLst>
            </p:cNvPr>
            <p:cNvSpPr/>
            <p:nvPr/>
          </p:nvSpPr>
          <p:spPr>
            <a:xfrm rot="8716295">
              <a:off x="1729983" y="34341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0" name="Forme libre : forme 759">
              <a:extLst>
                <a:ext uri="{FF2B5EF4-FFF2-40B4-BE49-F238E27FC236}">
                  <a16:creationId xmlns:a16="http://schemas.microsoft.com/office/drawing/2014/main" id="{8C15947E-E7FF-4002-9209-9AF916BECF4E}"/>
                </a:ext>
              </a:extLst>
            </p:cNvPr>
            <p:cNvSpPr/>
            <p:nvPr/>
          </p:nvSpPr>
          <p:spPr>
            <a:xfrm rot="8716295">
              <a:off x="2073759" y="93127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1" name="Forme libre : forme 760">
              <a:extLst>
                <a:ext uri="{FF2B5EF4-FFF2-40B4-BE49-F238E27FC236}">
                  <a16:creationId xmlns:a16="http://schemas.microsoft.com/office/drawing/2014/main" id="{ED09FFD5-E403-40C0-982A-82CB1DFAD2FA}"/>
                </a:ext>
              </a:extLst>
            </p:cNvPr>
            <p:cNvSpPr/>
            <p:nvPr/>
          </p:nvSpPr>
          <p:spPr>
            <a:xfrm rot="8716295">
              <a:off x="2544705" y="35666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2" name="Forme libre : forme 761">
              <a:extLst>
                <a:ext uri="{FF2B5EF4-FFF2-40B4-BE49-F238E27FC236}">
                  <a16:creationId xmlns:a16="http://schemas.microsoft.com/office/drawing/2014/main" id="{6A20B064-35E9-40B2-8DEC-7F7E78DD5E29}"/>
                </a:ext>
              </a:extLst>
            </p:cNvPr>
            <p:cNvSpPr/>
            <p:nvPr/>
          </p:nvSpPr>
          <p:spPr>
            <a:xfrm rot="8716295">
              <a:off x="2680004" y="40092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3" name="Forme libre : forme 762">
              <a:extLst>
                <a:ext uri="{FF2B5EF4-FFF2-40B4-BE49-F238E27FC236}">
                  <a16:creationId xmlns:a16="http://schemas.microsoft.com/office/drawing/2014/main" id="{95066C84-9BA0-40F5-8ABE-4330ED4CAA56}"/>
                </a:ext>
              </a:extLst>
            </p:cNvPr>
            <p:cNvSpPr/>
            <p:nvPr/>
          </p:nvSpPr>
          <p:spPr>
            <a:xfrm rot="8716295">
              <a:off x="2374834" y="49068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4" name="Forme libre : forme 763">
              <a:extLst>
                <a:ext uri="{FF2B5EF4-FFF2-40B4-BE49-F238E27FC236}">
                  <a16:creationId xmlns:a16="http://schemas.microsoft.com/office/drawing/2014/main" id="{813C7B43-B2B3-4F1D-9157-BDC0F9C5A32B}"/>
                </a:ext>
              </a:extLst>
            </p:cNvPr>
            <p:cNvSpPr/>
            <p:nvPr/>
          </p:nvSpPr>
          <p:spPr>
            <a:xfrm rot="8716295">
              <a:off x="2185790" y="17484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5" name="Forme libre : forme 764">
              <a:extLst>
                <a:ext uri="{FF2B5EF4-FFF2-40B4-BE49-F238E27FC236}">
                  <a16:creationId xmlns:a16="http://schemas.microsoft.com/office/drawing/2014/main" id="{7B9B20DE-10B5-415B-AF37-1A858BED9045}"/>
                </a:ext>
              </a:extLst>
            </p:cNvPr>
            <p:cNvSpPr/>
            <p:nvPr/>
          </p:nvSpPr>
          <p:spPr>
            <a:xfrm rot="8716295">
              <a:off x="2511323" y="552663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6" name="Forme libre : forme 765">
              <a:extLst>
                <a:ext uri="{FF2B5EF4-FFF2-40B4-BE49-F238E27FC236}">
                  <a16:creationId xmlns:a16="http://schemas.microsoft.com/office/drawing/2014/main" id="{C142A28D-5F4A-435F-8A0C-3EE1232B3316}"/>
                </a:ext>
              </a:extLst>
            </p:cNvPr>
            <p:cNvSpPr/>
            <p:nvPr/>
          </p:nvSpPr>
          <p:spPr>
            <a:xfrm rot="8716295">
              <a:off x="2145876" y="32623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7" name="Forme libre : forme 766">
              <a:extLst>
                <a:ext uri="{FF2B5EF4-FFF2-40B4-BE49-F238E27FC236}">
                  <a16:creationId xmlns:a16="http://schemas.microsoft.com/office/drawing/2014/main" id="{53A62157-BB8A-476A-AC97-60C47D01F065}"/>
                </a:ext>
              </a:extLst>
            </p:cNvPr>
            <p:cNvSpPr/>
            <p:nvPr/>
          </p:nvSpPr>
          <p:spPr>
            <a:xfrm rot="7484129">
              <a:off x="2670140" y="84228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8" name="Forme libre : forme 767">
              <a:extLst>
                <a:ext uri="{FF2B5EF4-FFF2-40B4-BE49-F238E27FC236}">
                  <a16:creationId xmlns:a16="http://schemas.microsoft.com/office/drawing/2014/main" id="{4DFDA964-86BB-4756-BFFD-A4BB45FDCCFC}"/>
                </a:ext>
              </a:extLst>
            </p:cNvPr>
            <p:cNvSpPr/>
            <p:nvPr/>
          </p:nvSpPr>
          <p:spPr>
            <a:xfrm rot="13089394">
              <a:off x="2828790" y="791629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9" name="Forme libre : forme 768">
              <a:extLst>
                <a:ext uri="{FF2B5EF4-FFF2-40B4-BE49-F238E27FC236}">
                  <a16:creationId xmlns:a16="http://schemas.microsoft.com/office/drawing/2014/main" id="{F236D03A-C489-49B6-877B-67DCE2BF8270}"/>
                </a:ext>
              </a:extLst>
            </p:cNvPr>
            <p:cNvSpPr/>
            <p:nvPr/>
          </p:nvSpPr>
          <p:spPr>
            <a:xfrm rot="8716295">
              <a:off x="3109681" y="501511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0" name="Forme libre : forme 769">
              <a:extLst>
                <a:ext uri="{FF2B5EF4-FFF2-40B4-BE49-F238E27FC236}">
                  <a16:creationId xmlns:a16="http://schemas.microsoft.com/office/drawing/2014/main" id="{EBC623F4-7089-4B8F-B837-05F42B99914B}"/>
                </a:ext>
              </a:extLst>
            </p:cNvPr>
            <p:cNvSpPr/>
            <p:nvPr/>
          </p:nvSpPr>
          <p:spPr>
            <a:xfrm rot="8716295">
              <a:off x="3031272" y="344719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1" name="Forme libre : forme 770">
              <a:extLst>
                <a:ext uri="{FF2B5EF4-FFF2-40B4-BE49-F238E27FC236}">
                  <a16:creationId xmlns:a16="http://schemas.microsoft.com/office/drawing/2014/main" id="{1655DDF2-D4FC-4FBB-BBB8-910D2AC4BA5B}"/>
                </a:ext>
              </a:extLst>
            </p:cNvPr>
            <p:cNvSpPr/>
            <p:nvPr/>
          </p:nvSpPr>
          <p:spPr>
            <a:xfrm rot="8716295">
              <a:off x="2663108" y="39046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2" name="Forme libre : forme 771">
              <a:extLst>
                <a:ext uri="{FF2B5EF4-FFF2-40B4-BE49-F238E27FC236}">
                  <a16:creationId xmlns:a16="http://schemas.microsoft.com/office/drawing/2014/main" id="{542FABCE-557E-498E-A52F-DA91EDA52BBF}"/>
                </a:ext>
              </a:extLst>
            </p:cNvPr>
            <p:cNvSpPr/>
            <p:nvPr/>
          </p:nvSpPr>
          <p:spPr>
            <a:xfrm rot="8716295">
              <a:off x="2931690" y="14944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3" name="Forme libre : forme 772">
              <a:extLst>
                <a:ext uri="{FF2B5EF4-FFF2-40B4-BE49-F238E27FC236}">
                  <a16:creationId xmlns:a16="http://schemas.microsoft.com/office/drawing/2014/main" id="{1D6DD177-B2DC-4E34-A45B-89523B9B78BB}"/>
                </a:ext>
              </a:extLst>
            </p:cNvPr>
            <p:cNvSpPr/>
            <p:nvPr/>
          </p:nvSpPr>
          <p:spPr>
            <a:xfrm rot="8716295">
              <a:off x="1834766" y="-57684"/>
              <a:ext cx="186564" cy="129320"/>
            </a:xfrm>
            <a:custGeom>
              <a:avLst/>
              <a:gdLst>
                <a:gd name="connsiteX0" fmla="*/ 123263 w 123263"/>
                <a:gd name="connsiteY0" fmla="*/ 85442 h 85442"/>
                <a:gd name="connsiteX1" fmla="*/ 0 w 123263"/>
                <a:gd name="connsiteY1" fmla="*/ 0 h 85442"/>
                <a:gd name="connsiteX2" fmla="*/ 66305 w 123263"/>
                <a:gd name="connsiteY2" fmla="*/ 0 h 85442"/>
                <a:gd name="connsiteX3" fmla="*/ 123263 w 123263"/>
                <a:gd name="connsiteY3" fmla="*/ 50123 h 85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63" h="85442">
                  <a:moveTo>
                    <a:pt x="123263" y="85442"/>
                  </a:moveTo>
                  <a:lnTo>
                    <a:pt x="0" y="0"/>
                  </a:lnTo>
                  <a:lnTo>
                    <a:pt x="66305" y="0"/>
                  </a:lnTo>
                  <a:cubicBezTo>
                    <a:pt x="103214" y="0"/>
                    <a:pt x="123263" y="15948"/>
                    <a:pt x="123263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4" name="Forme libre : forme 773">
              <a:extLst>
                <a:ext uri="{FF2B5EF4-FFF2-40B4-BE49-F238E27FC236}">
                  <a16:creationId xmlns:a16="http://schemas.microsoft.com/office/drawing/2014/main" id="{4B325E05-93D6-4729-AC8E-3EF546AA40C7}"/>
                </a:ext>
              </a:extLst>
            </p:cNvPr>
            <p:cNvSpPr/>
            <p:nvPr/>
          </p:nvSpPr>
          <p:spPr>
            <a:xfrm rot="8716295">
              <a:off x="1969949" y="-13794"/>
              <a:ext cx="394488" cy="148365"/>
            </a:xfrm>
            <a:custGeom>
              <a:avLst/>
              <a:gdLst>
                <a:gd name="connsiteX0" fmla="*/ 104802 w 260639"/>
                <a:gd name="connsiteY0" fmla="*/ 74264 h 98025"/>
                <a:gd name="connsiteX1" fmla="*/ 0 w 260639"/>
                <a:gd name="connsiteY1" fmla="*/ 1618 h 98025"/>
                <a:gd name="connsiteX2" fmla="*/ 0 w 260639"/>
                <a:gd name="connsiteY2" fmla="*/ 1425 h 98025"/>
                <a:gd name="connsiteX3" fmla="*/ 104803 w 260639"/>
                <a:gd name="connsiteY3" fmla="*/ 1425 h 98025"/>
                <a:gd name="connsiteX4" fmla="*/ 122123 w 260639"/>
                <a:gd name="connsiteY4" fmla="*/ 86270 h 98025"/>
                <a:gd name="connsiteX5" fmla="*/ 106178 w 260639"/>
                <a:gd name="connsiteY5" fmla="*/ 75218 h 98025"/>
                <a:gd name="connsiteX6" fmla="*/ 116721 w 260639"/>
                <a:gd name="connsiteY6" fmla="*/ 47439 h 98025"/>
                <a:gd name="connsiteX7" fmla="*/ 154014 w 260639"/>
                <a:gd name="connsiteY7" fmla="*/ 5981 h 98025"/>
                <a:gd name="connsiteX8" fmla="*/ 185455 w 260639"/>
                <a:gd name="connsiteY8" fmla="*/ 57 h 98025"/>
                <a:gd name="connsiteX9" fmla="*/ 260639 w 260639"/>
                <a:gd name="connsiteY9" fmla="*/ 88456 h 98025"/>
                <a:gd name="connsiteX10" fmla="*/ 260639 w 260639"/>
                <a:gd name="connsiteY10" fmla="*/ 94380 h 98025"/>
                <a:gd name="connsiteX11" fmla="*/ 198669 w 260639"/>
                <a:gd name="connsiteY11" fmla="*/ 98025 h 98025"/>
                <a:gd name="connsiteX12" fmla="*/ 198669 w 260639"/>
                <a:gd name="connsiteY12" fmla="*/ 81621 h 98025"/>
                <a:gd name="connsiteX13" fmla="*/ 164950 w 260639"/>
                <a:gd name="connsiteY13" fmla="*/ 40156 h 98025"/>
                <a:gd name="connsiteX14" fmla="*/ 127358 w 260639"/>
                <a:gd name="connsiteY14" fmla="*/ 65616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60639" h="98025">
                  <a:moveTo>
                    <a:pt x="104802" y="74264"/>
                  </a:moveTo>
                  <a:lnTo>
                    <a:pt x="0" y="1618"/>
                  </a:lnTo>
                  <a:lnTo>
                    <a:pt x="0" y="1425"/>
                  </a:lnTo>
                  <a:lnTo>
                    <a:pt x="104803" y="1425"/>
                  </a:lnTo>
                  <a:close/>
                  <a:moveTo>
                    <a:pt x="122123" y="86270"/>
                  </a:moveTo>
                  <a:lnTo>
                    <a:pt x="106178" y="75218"/>
                  </a:lnTo>
                  <a:lnTo>
                    <a:pt x="116721" y="47439"/>
                  </a:lnTo>
                  <a:cubicBezTo>
                    <a:pt x="127102" y="24008"/>
                    <a:pt x="137610" y="12816"/>
                    <a:pt x="154014" y="5981"/>
                  </a:cubicBezTo>
                  <a:cubicBezTo>
                    <a:pt x="164038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50369" y="40156"/>
                    <a:pt x="137041" y="49839"/>
                    <a:pt x="127358" y="656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5" name="Forme libre : forme 774">
              <a:extLst>
                <a:ext uri="{FF2B5EF4-FFF2-40B4-BE49-F238E27FC236}">
                  <a16:creationId xmlns:a16="http://schemas.microsoft.com/office/drawing/2014/main" id="{1BED4C30-FCEC-4C8C-BB61-556D9D937503}"/>
                </a:ext>
              </a:extLst>
            </p:cNvPr>
            <p:cNvSpPr/>
            <p:nvPr/>
          </p:nvSpPr>
          <p:spPr>
            <a:xfrm rot="8716295">
              <a:off x="1736738" y="-7282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6" name="Forme libre : forme 775">
              <a:extLst>
                <a:ext uri="{FF2B5EF4-FFF2-40B4-BE49-F238E27FC236}">
                  <a16:creationId xmlns:a16="http://schemas.microsoft.com/office/drawing/2014/main" id="{9B4BC923-2016-4764-92A0-F47B951B54C3}"/>
                </a:ext>
              </a:extLst>
            </p:cNvPr>
            <p:cNvSpPr/>
            <p:nvPr/>
          </p:nvSpPr>
          <p:spPr>
            <a:xfrm rot="7484129">
              <a:off x="2399917" y="-21262"/>
              <a:ext cx="233243" cy="158079"/>
            </a:xfrm>
            <a:custGeom>
              <a:avLst/>
              <a:gdLst>
                <a:gd name="connsiteX0" fmla="*/ 72416 w 154104"/>
                <a:gd name="connsiteY0" fmla="*/ 104443 h 104443"/>
                <a:gd name="connsiteX1" fmla="*/ 0 w 154104"/>
                <a:gd name="connsiteY1" fmla="*/ 0 h 104443"/>
                <a:gd name="connsiteX2" fmla="*/ 154104 w 154104"/>
                <a:gd name="connsiteY2" fmla="*/ 0 h 104443"/>
                <a:gd name="connsiteX3" fmla="*/ 154104 w 154104"/>
                <a:gd name="connsiteY3" fmla="*/ 55323 h 104443"/>
                <a:gd name="connsiteX4" fmla="*/ 89312 w 154104"/>
                <a:gd name="connsiteY4" fmla="*/ 55323 h 104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4104" h="104443">
                  <a:moveTo>
                    <a:pt x="72416" y="104443"/>
                  </a:moveTo>
                  <a:lnTo>
                    <a:pt x="0" y="0"/>
                  </a:lnTo>
                  <a:lnTo>
                    <a:pt x="154104" y="0"/>
                  </a:lnTo>
                  <a:lnTo>
                    <a:pt x="154104" y="55323"/>
                  </a:lnTo>
                  <a:lnTo>
                    <a:pt x="89312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7" name="Forme libre : forme 776">
              <a:extLst>
                <a:ext uri="{FF2B5EF4-FFF2-40B4-BE49-F238E27FC236}">
                  <a16:creationId xmlns:a16="http://schemas.microsoft.com/office/drawing/2014/main" id="{E4F090A8-4655-44B0-9665-4E91BC39D1A8}"/>
                </a:ext>
              </a:extLst>
            </p:cNvPr>
            <p:cNvSpPr/>
            <p:nvPr/>
          </p:nvSpPr>
          <p:spPr>
            <a:xfrm rot="13089394">
              <a:off x="2721869" y="-65503"/>
              <a:ext cx="128296" cy="425348"/>
            </a:xfrm>
            <a:custGeom>
              <a:avLst/>
              <a:gdLst>
                <a:gd name="connsiteX0" fmla="*/ 84765 w 84765"/>
                <a:gd name="connsiteY0" fmla="*/ 225012 h 281028"/>
                <a:gd name="connsiteX1" fmla="*/ 13471 w 84765"/>
                <a:gd name="connsiteY1" fmla="*/ 281028 h 281028"/>
                <a:gd name="connsiteX2" fmla="*/ 4828 w 84765"/>
                <a:gd name="connsiteY2" fmla="*/ 263963 h 281028"/>
                <a:gd name="connsiteX3" fmla="*/ 0 w 84765"/>
                <a:gd name="connsiteY3" fmla="*/ 206370 h 281028"/>
                <a:gd name="connsiteX4" fmla="*/ 0 w 84765"/>
                <a:gd name="connsiteY4" fmla="*/ 38074 h 281028"/>
                <a:gd name="connsiteX5" fmla="*/ 73388 w 84765"/>
                <a:gd name="connsiteY5" fmla="*/ 0 h 281028"/>
                <a:gd name="connsiteX6" fmla="*/ 74492 w 84765"/>
                <a:gd name="connsiteY6" fmla="*/ 153950 h 281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4765" h="281028">
                  <a:moveTo>
                    <a:pt x="84765" y="225012"/>
                  </a:moveTo>
                  <a:lnTo>
                    <a:pt x="13471" y="281028"/>
                  </a:lnTo>
                  <a:lnTo>
                    <a:pt x="4828" y="263963"/>
                  </a:lnTo>
                  <a:cubicBezTo>
                    <a:pt x="1241" y="248168"/>
                    <a:pt x="0" y="228993"/>
                    <a:pt x="0" y="206370"/>
                  </a:cubicBez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8" name="Forme libre : forme 777">
              <a:extLst>
                <a:ext uri="{FF2B5EF4-FFF2-40B4-BE49-F238E27FC236}">
                  <a16:creationId xmlns:a16="http://schemas.microsoft.com/office/drawing/2014/main" id="{9DB33CAA-5433-47BF-989E-F22200A2870C}"/>
                </a:ext>
              </a:extLst>
            </p:cNvPr>
            <p:cNvSpPr/>
            <p:nvPr/>
          </p:nvSpPr>
          <p:spPr>
            <a:xfrm rot="8716295">
              <a:off x="5604774" y="3024342"/>
              <a:ext cx="274455" cy="132163"/>
            </a:xfrm>
            <a:custGeom>
              <a:avLst/>
              <a:gdLst>
                <a:gd name="connsiteX0" fmla="*/ 0 w 181333"/>
                <a:gd name="connsiteY0" fmla="*/ 87320 h 87320"/>
                <a:gd name="connsiteX1" fmla="*/ 42309 w 181333"/>
                <a:gd name="connsiteY1" fmla="*/ 36168 h 87320"/>
                <a:gd name="connsiteX2" fmla="*/ 54839 w 181333"/>
                <a:gd name="connsiteY2" fmla="*/ 38831 h 87320"/>
                <a:gd name="connsiteX3" fmla="*/ 107790 w 181333"/>
                <a:gd name="connsiteY3" fmla="*/ 29417 h 87320"/>
                <a:gd name="connsiteX4" fmla="*/ 180157 w 181333"/>
                <a:gd name="connsiteY4" fmla="*/ 0 h 87320"/>
                <a:gd name="connsiteX5" fmla="*/ 181333 w 181333"/>
                <a:gd name="connsiteY5" fmla="*/ 7648 h 87320"/>
                <a:gd name="connsiteX6" fmla="*/ 181333 w 181333"/>
                <a:gd name="connsiteY6" fmla="*/ 13532 h 87320"/>
                <a:gd name="connsiteX7" fmla="*/ 30340 w 181333"/>
                <a:gd name="connsiteY7" fmla="*/ 83361 h 87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333" h="87320">
                  <a:moveTo>
                    <a:pt x="0" y="87320"/>
                  </a:moveTo>
                  <a:lnTo>
                    <a:pt x="42309" y="36168"/>
                  </a:lnTo>
                  <a:lnTo>
                    <a:pt x="54839" y="38831"/>
                  </a:lnTo>
                  <a:cubicBezTo>
                    <a:pt x="73078" y="38242"/>
                    <a:pt x="90728" y="34712"/>
                    <a:pt x="107790" y="29417"/>
                  </a:cubicBezTo>
                  <a:cubicBezTo>
                    <a:pt x="132500" y="21768"/>
                    <a:pt x="156623" y="11767"/>
                    <a:pt x="180157" y="0"/>
                  </a:cubicBezTo>
                  <a:cubicBezTo>
                    <a:pt x="180745" y="2353"/>
                    <a:pt x="181333" y="5295"/>
                    <a:pt x="181333" y="7648"/>
                  </a:cubicBezTo>
                  <a:lnTo>
                    <a:pt x="181333" y="13532"/>
                  </a:lnTo>
                  <a:cubicBezTo>
                    <a:pt x="134560" y="53687"/>
                    <a:pt x="76865" y="74315"/>
                    <a:pt x="30340" y="833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9" name="Forme libre : forme 778">
              <a:extLst>
                <a:ext uri="{FF2B5EF4-FFF2-40B4-BE49-F238E27FC236}">
                  <a16:creationId xmlns:a16="http://schemas.microsoft.com/office/drawing/2014/main" id="{B43CFDC2-082C-4907-9138-CE468CF9D156}"/>
                </a:ext>
              </a:extLst>
            </p:cNvPr>
            <p:cNvSpPr/>
            <p:nvPr/>
          </p:nvSpPr>
          <p:spPr>
            <a:xfrm rot="8716295">
              <a:off x="5742786" y="2375436"/>
              <a:ext cx="92417" cy="296278"/>
            </a:xfrm>
            <a:custGeom>
              <a:avLst/>
              <a:gdLst>
                <a:gd name="connsiteX0" fmla="*/ 0 w 61060"/>
                <a:gd name="connsiteY0" fmla="*/ 195751 h 195751"/>
                <a:gd name="connsiteX1" fmla="*/ 0 w 61060"/>
                <a:gd name="connsiteY1" fmla="*/ 67520 h 195751"/>
                <a:gd name="connsiteX2" fmla="*/ 55847 w 61060"/>
                <a:gd name="connsiteY2" fmla="*/ 0 h 195751"/>
                <a:gd name="connsiteX3" fmla="*/ 61059 w 61060"/>
                <a:gd name="connsiteY3" fmla="*/ 13486 h 195751"/>
                <a:gd name="connsiteX4" fmla="*/ 61060 w 61060"/>
                <a:gd name="connsiteY4" fmla="*/ 171601 h 195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60" h="195751">
                  <a:moveTo>
                    <a:pt x="0" y="195751"/>
                  </a:moveTo>
                  <a:lnTo>
                    <a:pt x="0" y="67520"/>
                  </a:lnTo>
                  <a:lnTo>
                    <a:pt x="55847" y="0"/>
                  </a:lnTo>
                  <a:lnTo>
                    <a:pt x="61059" y="13486"/>
                  </a:lnTo>
                  <a:lnTo>
                    <a:pt x="61060" y="17160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0" name="Forme libre : forme 779">
              <a:extLst>
                <a:ext uri="{FF2B5EF4-FFF2-40B4-BE49-F238E27FC236}">
                  <a16:creationId xmlns:a16="http://schemas.microsoft.com/office/drawing/2014/main" id="{4D4A1F5E-B4EB-4CD4-BAB2-B2936E3BA1CA}"/>
                </a:ext>
              </a:extLst>
            </p:cNvPr>
            <p:cNvSpPr/>
            <p:nvPr/>
          </p:nvSpPr>
          <p:spPr>
            <a:xfrm rot="8716295">
              <a:off x="5579033" y="246915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1" name="Forme libre : forme 780">
              <a:extLst>
                <a:ext uri="{FF2B5EF4-FFF2-40B4-BE49-F238E27FC236}">
                  <a16:creationId xmlns:a16="http://schemas.microsoft.com/office/drawing/2014/main" id="{CE5CAFE6-1524-41DE-89BB-16FAB9036D83}"/>
                </a:ext>
              </a:extLst>
            </p:cNvPr>
            <p:cNvSpPr/>
            <p:nvPr/>
          </p:nvSpPr>
          <p:spPr>
            <a:xfrm rot="8716295">
              <a:off x="5389987" y="215331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2" name="Forme libre : forme 781">
              <a:extLst>
                <a:ext uri="{FF2B5EF4-FFF2-40B4-BE49-F238E27FC236}">
                  <a16:creationId xmlns:a16="http://schemas.microsoft.com/office/drawing/2014/main" id="{1078570C-FF38-413A-82DE-E38EF08EE2A9}"/>
                </a:ext>
              </a:extLst>
            </p:cNvPr>
            <p:cNvSpPr/>
            <p:nvPr/>
          </p:nvSpPr>
          <p:spPr>
            <a:xfrm rot="8716295">
              <a:off x="5371746" y="194326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3" name="Forme libre : forme 782">
              <a:extLst>
                <a:ext uri="{FF2B5EF4-FFF2-40B4-BE49-F238E27FC236}">
                  <a16:creationId xmlns:a16="http://schemas.microsoft.com/office/drawing/2014/main" id="{2DFDB502-0D6C-4245-AA56-DE338A411DD1}"/>
                </a:ext>
              </a:extLst>
            </p:cNvPr>
            <p:cNvSpPr/>
            <p:nvPr/>
          </p:nvSpPr>
          <p:spPr>
            <a:xfrm rot="8716295">
              <a:off x="5716764" y="2550542"/>
              <a:ext cx="91035" cy="331729"/>
            </a:xfrm>
            <a:custGeom>
              <a:avLst/>
              <a:gdLst>
                <a:gd name="connsiteX0" fmla="*/ 60147 w 60147"/>
                <a:gd name="connsiteY0" fmla="*/ 219174 h 219174"/>
                <a:gd name="connsiteX1" fmla="*/ 0 w 60147"/>
                <a:gd name="connsiteY1" fmla="*/ 161304 h 219174"/>
                <a:gd name="connsiteX2" fmla="*/ 0 w 60147"/>
                <a:gd name="connsiteY2" fmla="*/ 68045 h 219174"/>
                <a:gd name="connsiteX3" fmla="*/ 56210 w 60147"/>
                <a:gd name="connsiteY3" fmla="*/ 87 h 219174"/>
                <a:gd name="connsiteX4" fmla="*/ 60147 w 60147"/>
                <a:gd name="connsiteY4" fmla="*/ 0 h 219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47" h="219174">
                  <a:moveTo>
                    <a:pt x="60147" y="219174"/>
                  </a:moveTo>
                  <a:lnTo>
                    <a:pt x="0" y="161304"/>
                  </a:lnTo>
                  <a:lnTo>
                    <a:pt x="0" y="68045"/>
                  </a:lnTo>
                  <a:lnTo>
                    <a:pt x="56210" y="87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4" name="Forme libre : forme 783">
              <a:extLst>
                <a:ext uri="{FF2B5EF4-FFF2-40B4-BE49-F238E27FC236}">
                  <a16:creationId xmlns:a16="http://schemas.microsoft.com/office/drawing/2014/main" id="{D6EF1E2E-EA70-4C26-808A-AA6B7CC8B41E}"/>
                </a:ext>
              </a:extLst>
            </p:cNvPr>
            <p:cNvSpPr/>
            <p:nvPr/>
          </p:nvSpPr>
          <p:spPr>
            <a:xfrm rot="8716295">
              <a:off x="5787639" y="192609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5" name="Forme libre : forme 784">
              <a:extLst>
                <a:ext uri="{FF2B5EF4-FFF2-40B4-BE49-F238E27FC236}">
                  <a16:creationId xmlns:a16="http://schemas.microsoft.com/office/drawing/2014/main" id="{A2961F2A-DE92-482C-A65E-A4071D364F5E}"/>
                </a:ext>
              </a:extLst>
            </p:cNvPr>
            <p:cNvSpPr/>
            <p:nvPr/>
          </p:nvSpPr>
          <p:spPr>
            <a:xfrm rot="8716295">
              <a:off x="5411131" y="133665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6" name="Forme libre : forme 785">
              <a:extLst>
                <a:ext uri="{FF2B5EF4-FFF2-40B4-BE49-F238E27FC236}">
                  <a16:creationId xmlns:a16="http://schemas.microsoft.com/office/drawing/2014/main" id="{F345DFE8-8A89-4353-9132-2A3DD36A84F9}"/>
                </a:ext>
              </a:extLst>
            </p:cNvPr>
            <p:cNvSpPr/>
            <p:nvPr/>
          </p:nvSpPr>
          <p:spPr>
            <a:xfrm rot="8716295">
              <a:off x="5547629" y="1389153"/>
              <a:ext cx="346795" cy="385612"/>
            </a:xfrm>
            <a:custGeom>
              <a:avLst/>
              <a:gdLst>
                <a:gd name="connsiteX0" fmla="*/ 19979 w 229128"/>
                <a:gd name="connsiteY0" fmla="*/ 254774 h 254774"/>
                <a:gd name="connsiteX1" fmla="*/ 19979 w 229128"/>
                <a:gd name="connsiteY1" fmla="*/ 45624 h 254774"/>
                <a:gd name="connsiteX2" fmla="*/ 0 w 229128"/>
                <a:gd name="connsiteY2" fmla="*/ 45624 h 254774"/>
                <a:gd name="connsiteX3" fmla="*/ 36558 w 229128"/>
                <a:gd name="connsiteY3" fmla="*/ 1425 h 254774"/>
                <a:gd name="connsiteX4" fmla="*/ 73292 w 229128"/>
                <a:gd name="connsiteY4" fmla="*/ 1425 h 254774"/>
                <a:gd name="connsiteX5" fmla="*/ 73292 w 229128"/>
                <a:gd name="connsiteY5" fmla="*/ 75242 h 254774"/>
                <a:gd name="connsiteX6" fmla="*/ 74658 w 229128"/>
                <a:gd name="connsiteY6" fmla="*/ 75242 h 254774"/>
                <a:gd name="connsiteX7" fmla="*/ 122503 w 229128"/>
                <a:gd name="connsiteY7" fmla="*/ 5981 h 254774"/>
                <a:gd name="connsiteX8" fmla="*/ 153944 w 229128"/>
                <a:gd name="connsiteY8" fmla="*/ 57 h 254774"/>
                <a:gd name="connsiteX9" fmla="*/ 229128 w 229128"/>
                <a:gd name="connsiteY9" fmla="*/ 88456 h 254774"/>
                <a:gd name="connsiteX10" fmla="*/ 229128 w 229128"/>
                <a:gd name="connsiteY10" fmla="*/ 94380 h 254774"/>
                <a:gd name="connsiteX11" fmla="*/ 167158 w 229128"/>
                <a:gd name="connsiteY11" fmla="*/ 98025 h 254774"/>
                <a:gd name="connsiteX12" fmla="*/ 167158 w 229128"/>
                <a:gd name="connsiteY12" fmla="*/ 81621 h 254774"/>
                <a:gd name="connsiteX13" fmla="*/ 133439 w 229128"/>
                <a:gd name="connsiteY13" fmla="*/ 40156 h 254774"/>
                <a:gd name="connsiteX14" fmla="*/ 80127 w 229128"/>
                <a:gd name="connsiteY14" fmla="*/ 127643 h 254774"/>
                <a:gd name="connsiteX15" fmla="*/ 80127 w 229128"/>
                <a:gd name="connsiteY15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29128" h="254774">
                  <a:moveTo>
                    <a:pt x="19979" y="254774"/>
                  </a:moveTo>
                  <a:lnTo>
                    <a:pt x="19979" y="45624"/>
                  </a:lnTo>
                  <a:lnTo>
                    <a:pt x="0" y="45624"/>
                  </a:lnTo>
                  <a:lnTo>
                    <a:pt x="36558" y="1425"/>
                  </a:lnTo>
                  <a:lnTo>
                    <a:pt x="73292" y="1425"/>
                  </a:lnTo>
                  <a:lnTo>
                    <a:pt x="73292" y="75242"/>
                  </a:lnTo>
                  <a:lnTo>
                    <a:pt x="74658" y="75242"/>
                  </a:lnTo>
                  <a:cubicBezTo>
                    <a:pt x="89240" y="31954"/>
                    <a:pt x="100631" y="15094"/>
                    <a:pt x="122503" y="5981"/>
                  </a:cubicBezTo>
                  <a:cubicBezTo>
                    <a:pt x="132528" y="1880"/>
                    <a:pt x="143008" y="-398"/>
                    <a:pt x="153944" y="57"/>
                  </a:cubicBezTo>
                  <a:cubicBezTo>
                    <a:pt x="200877" y="-854"/>
                    <a:pt x="229128" y="31954"/>
                    <a:pt x="229128" y="88456"/>
                  </a:cubicBezTo>
                  <a:lnTo>
                    <a:pt x="229128" y="94380"/>
                  </a:lnTo>
                  <a:lnTo>
                    <a:pt x="167158" y="98025"/>
                  </a:lnTo>
                  <a:lnTo>
                    <a:pt x="167158" y="81621"/>
                  </a:lnTo>
                  <a:cubicBezTo>
                    <a:pt x="167158" y="57016"/>
                    <a:pt x="153033" y="40156"/>
                    <a:pt x="133439" y="40156"/>
                  </a:cubicBezTo>
                  <a:cubicBezTo>
                    <a:pt x="104277" y="40156"/>
                    <a:pt x="80127" y="78887"/>
                    <a:pt x="80127" y="127643"/>
                  </a:cubicBezTo>
                  <a:lnTo>
                    <a:pt x="80127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7" name="Forme libre : forme 786">
              <a:extLst>
                <a:ext uri="{FF2B5EF4-FFF2-40B4-BE49-F238E27FC236}">
                  <a16:creationId xmlns:a16="http://schemas.microsoft.com/office/drawing/2014/main" id="{5895E6F0-4399-4D04-958F-F7C3F4A74E7E}"/>
                </a:ext>
              </a:extLst>
            </p:cNvPr>
            <p:cNvSpPr/>
            <p:nvPr/>
          </p:nvSpPr>
          <p:spPr>
            <a:xfrm rot="8716295">
              <a:off x="5478548" y="125032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8" name="Forme libre : forme 787">
              <a:extLst>
                <a:ext uri="{FF2B5EF4-FFF2-40B4-BE49-F238E27FC236}">
                  <a16:creationId xmlns:a16="http://schemas.microsoft.com/office/drawing/2014/main" id="{793334F9-FA14-4BBF-95F9-C3325CD14C1E}"/>
                </a:ext>
              </a:extLst>
            </p:cNvPr>
            <p:cNvSpPr/>
            <p:nvPr/>
          </p:nvSpPr>
          <p:spPr>
            <a:xfrm rot="8716295">
              <a:off x="5241260" y="147066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9" name="Forme libre : forme 788">
              <a:extLst>
                <a:ext uri="{FF2B5EF4-FFF2-40B4-BE49-F238E27FC236}">
                  <a16:creationId xmlns:a16="http://schemas.microsoft.com/office/drawing/2014/main" id="{27BEE6E8-B5E4-4A65-91F8-0AE242F08908}"/>
                </a:ext>
              </a:extLst>
            </p:cNvPr>
            <p:cNvSpPr/>
            <p:nvPr/>
          </p:nvSpPr>
          <p:spPr>
            <a:xfrm rot="8716295">
              <a:off x="5052214" y="11548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0" name="Forme libre : forme 789">
              <a:extLst>
                <a:ext uri="{FF2B5EF4-FFF2-40B4-BE49-F238E27FC236}">
                  <a16:creationId xmlns:a16="http://schemas.microsoft.com/office/drawing/2014/main" id="{A3F0A921-0C90-45C3-AD51-00D52D70CCCC}"/>
                </a:ext>
              </a:extLst>
            </p:cNvPr>
            <p:cNvSpPr/>
            <p:nvPr/>
          </p:nvSpPr>
          <p:spPr>
            <a:xfrm rot="8716295">
              <a:off x="5033973" y="94478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1" name="Forme libre : forme 790">
              <a:extLst>
                <a:ext uri="{FF2B5EF4-FFF2-40B4-BE49-F238E27FC236}">
                  <a16:creationId xmlns:a16="http://schemas.microsoft.com/office/drawing/2014/main" id="{4F886E26-FD4E-485C-BE50-E0DBCD541B71}"/>
                </a:ext>
              </a:extLst>
            </p:cNvPr>
            <p:cNvSpPr/>
            <p:nvPr/>
          </p:nvSpPr>
          <p:spPr>
            <a:xfrm rot="8716295">
              <a:off x="5377749" y="153264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2" name="Forme libre : forme 791">
              <a:extLst>
                <a:ext uri="{FF2B5EF4-FFF2-40B4-BE49-F238E27FC236}">
                  <a16:creationId xmlns:a16="http://schemas.microsoft.com/office/drawing/2014/main" id="{04C1E3D7-9A53-4350-93B5-3A078BC5B4EB}"/>
                </a:ext>
              </a:extLst>
            </p:cNvPr>
            <p:cNvSpPr/>
            <p:nvPr/>
          </p:nvSpPr>
          <p:spPr>
            <a:xfrm rot="8716295">
              <a:off x="5847873" y="996679"/>
              <a:ext cx="92417" cy="314872"/>
            </a:xfrm>
            <a:custGeom>
              <a:avLst/>
              <a:gdLst>
                <a:gd name="connsiteX0" fmla="*/ 0 w 61060"/>
                <a:gd name="connsiteY0" fmla="*/ 208036 h 208036"/>
                <a:gd name="connsiteX1" fmla="*/ 1 w 61060"/>
                <a:gd name="connsiteY1" fmla="*/ 61780 h 208036"/>
                <a:gd name="connsiteX2" fmla="*/ 51100 w 61060"/>
                <a:gd name="connsiteY2" fmla="*/ 0 h 208036"/>
                <a:gd name="connsiteX3" fmla="*/ 61059 w 61060"/>
                <a:gd name="connsiteY3" fmla="*/ 25771 h 208036"/>
                <a:gd name="connsiteX4" fmla="*/ 61060 w 61060"/>
                <a:gd name="connsiteY4" fmla="*/ 183886 h 208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60" h="208036">
                  <a:moveTo>
                    <a:pt x="0" y="208036"/>
                  </a:moveTo>
                  <a:lnTo>
                    <a:pt x="1" y="61780"/>
                  </a:lnTo>
                  <a:lnTo>
                    <a:pt x="51100" y="0"/>
                  </a:lnTo>
                  <a:lnTo>
                    <a:pt x="61059" y="25771"/>
                  </a:lnTo>
                  <a:lnTo>
                    <a:pt x="61060" y="18388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3" name="Forme libre : forme 792">
              <a:extLst>
                <a:ext uri="{FF2B5EF4-FFF2-40B4-BE49-F238E27FC236}">
                  <a16:creationId xmlns:a16="http://schemas.microsoft.com/office/drawing/2014/main" id="{2A3AE8A9-4B1B-420D-8356-BE83AA6C92DA}"/>
                </a:ext>
              </a:extLst>
            </p:cNvPr>
            <p:cNvSpPr/>
            <p:nvPr/>
          </p:nvSpPr>
          <p:spPr>
            <a:xfrm rot="8716295">
              <a:off x="5678824" y="109205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4" name="Forme libre : forme 793">
              <a:extLst>
                <a:ext uri="{FF2B5EF4-FFF2-40B4-BE49-F238E27FC236}">
                  <a16:creationId xmlns:a16="http://schemas.microsoft.com/office/drawing/2014/main" id="{387B3690-57AF-4CCF-B9A7-55CB534D22BD}"/>
                </a:ext>
              </a:extLst>
            </p:cNvPr>
            <p:cNvSpPr/>
            <p:nvPr/>
          </p:nvSpPr>
          <p:spPr>
            <a:xfrm rot="8716295">
              <a:off x="5489780" y="77621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5" name="Forme libre : forme 794">
              <a:extLst>
                <a:ext uri="{FF2B5EF4-FFF2-40B4-BE49-F238E27FC236}">
                  <a16:creationId xmlns:a16="http://schemas.microsoft.com/office/drawing/2014/main" id="{F07D311E-335E-4C7D-82A0-742BBF375A4B}"/>
                </a:ext>
              </a:extLst>
            </p:cNvPr>
            <p:cNvSpPr/>
            <p:nvPr/>
          </p:nvSpPr>
          <p:spPr>
            <a:xfrm rot="8716295">
              <a:off x="5816554" y="1173443"/>
              <a:ext cx="91037" cy="331731"/>
            </a:xfrm>
            <a:custGeom>
              <a:avLst/>
              <a:gdLst>
                <a:gd name="connsiteX0" fmla="*/ 60148 w 60148"/>
                <a:gd name="connsiteY0" fmla="*/ 219175 h 219175"/>
                <a:gd name="connsiteX1" fmla="*/ 0 w 60148"/>
                <a:gd name="connsiteY1" fmla="*/ 161305 h 219175"/>
                <a:gd name="connsiteX2" fmla="*/ 0 w 60148"/>
                <a:gd name="connsiteY2" fmla="*/ 50021 h 219175"/>
                <a:gd name="connsiteX3" fmla="*/ 41025 w 60148"/>
                <a:gd name="connsiteY3" fmla="*/ 421 h 219175"/>
                <a:gd name="connsiteX4" fmla="*/ 60147 w 60148"/>
                <a:gd name="connsiteY4" fmla="*/ 0 h 219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48" h="219175">
                  <a:moveTo>
                    <a:pt x="60148" y="219175"/>
                  </a:moveTo>
                  <a:lnTo>
                    <a:pt x="0" y="161305"/>
                  </a:lnTo>
                  <a:lnTo>
                    <a:pt x="0" y="50021"/>
                  </a:lnTo>
                  <a:lnTo>
                    <a:pt x="41025" y="421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6" name="Forme libre : forme 795">
              <a:extLst>
                <a:ext uri="{FF2B5EF4-FFF2-40B4-BE49-F238E27FC236}">
                  <a16:creationId xmlns:a16="http://schemas.microsoft.com/office/drawing/2014/main" id="{66CDEC38-7CA1-4527-B6C7-5DCAC2442F65}"/>
                </a:ext>
              </a:extLst>
            </p:cNvPr>
            <p:cNvSpPr/>
            <p:nvPr/>
          </p:nvSpPr>
          <p:spPr>
            <a:xfrm rot="8716295">
              <a:off x="5449866" y="92760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7" name="Forme libre : forme 796">
              <a:extLst>
                <a:ext uri="{FF2B5EF4-FFF2-40B4-BE49-F238E27FC236}">
                  <a16:creationId xmlns:a16="http://schemas.microsoft.com/office/drawing/2014/main" id="{D2CA5B22-3CB9-4D61-9713-ECDE1E76381D}"/>
                </a:ext>
              </a:extLst>
            </p:cNvPr>
            <p:cNvSpPr/>
            <p:nvPr/>
          </p:nvSpPr>
          <p:spPr>
            <a:xfrm rot="8716295">
              <a:off x="5954717" y="1002572"/>
              <a:ext cx="48491" cy="55034"/>
            </a:xfrm>
            <a:custGeom>
              <a:avLst/>
              <a:gdLst>
                <a:gd name="connsiteX0" fmla="*/ 0 w 32038"/>
                <a:gd name="connsiteY0" fmla="*/ 35166 h 36361"/>
                <a:gd name="connsiteX1" fmla="*/ 29086 w 32038"/>
                <a:gd name="connsiteY1" fmla="*/ 0 h 36361"/>
                <a:gd name="connsiteX2" fmla="*/ 32038 w 32038"/>
                <a:gd name="connsiteY2" fmla="*/ 7028 h 36361"/>
                <a:gd name="connsiteX3" fmla="*/ 23495 w 32038"/>
                <a:gd name="connsiteY3" fmla="*/ 27704 h 36361"/>
                <a:gd name="connsiteX4" fmla="*/ 2990 w 32038"/>
                <a:gd name="connsiteY4" fmla="*/ 36361 h 36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038" h="36361">
                  <a:moveTo>
                    <a:pt x="0" y="35166"/>
                  </a:moveTo>
                  <a:lnTo>
                    <a:pt x="29086" y="0"/>
                  </a:lnTo>
                  <a:lnTo>
                    <a:pt x="32038" y="7028"/>
                  </a:lnTo>
                  <a:cubicBezTo>
                    <a:pt x="32039" y="14489"/>
                    <a:pt x="29191" y="22008"/>
                    <a:pt x="23495" y="27704"/>
                  </a:cubicBezTo>
                  <a:cubicBezTo>
                    <a:pt x="18027" y="33172"/>
                    <a:pt x="10736" y="36361"/>
                    <a:pt x="2990" y="363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8" name="Forme libre : forme 797">
              <a:extLst>
                <a:ext uri="{FF2B5EF4-FFF2-40B4-BE49-F238E27FC236}">
                  <a16:creationId xmlns:a16="http://schemas.microsoft.com/office/drawing/2014/main" id="{2C1218F4-7DC2-4ED8-8247-5696545760E1}"/>
                </a:ext>
              </a:extLst>
            </p:cNvPr>
            <p:cNvSpPr/>
            <p:nvPr/>
          </p:nvSpPr>
          <p:spPr>
            <a:xfrm rot="8716295">
              <a:off x="5079758" y="33459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9" name="Forme libre : forme 798">
              <a:extLst>
                <a:ext uri="{FF2B5EF4-FFF2-40B4-BE49-F238E27FC236}">
                  <a16:creationId xmlns:a16="http://schemas.microsoft.com/office/drawing/2014/main" id="{D0306570-766D-490D-9EC2-A97AB1BAB4C6}"/>
                </a:ext>
              </a:extLst>
            </p:cNvPr>
            <p:cNvSpPr/>
            <p:nvPr/>
          </p:nvSpPr>
          <p:spPr>
            <a:xfrm rot="8716295">
              <a:off x="5215056" y="37885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0" name="Forme libre : forme 799">
              <a:extLst>
                <a:ext uri="{FF2B5EF4-FFF2-40B4-BE49-F238E27FC236}">
                  <a16:creationId xmlns:a16="http://schemas.microsoft.com/office/drawing/2014/main" id="{77292053-0143-4408-B999-537084FF4DF1}"/>
                </a:ext>
              </a:extLst>
            </p:cNvPr>
            <p:cNvSpPr/>
            <p:nvPr/>
          </p:nvSpPr>
          <p:spPr>
            <a:xfrm rot="8716295">
              <a:off x="5147174" y="248268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1" name="Forme libre : forme 800">
              <a:extLst>
                <a:ext uri="{FF2B5EF4-FFF2-40B4-BE49-F238E27FC236}">
                  <a16:creationId xmlns:a16="http://schemas.microsoft.com/office/drawing/2014/main" id="{841FE04C-5195-472E-8787-746E4A4E8D7E}"/>
                </a:ext>
              </a:extLst>
            </p:cNvPr>
            <p:cNvSpPr/>
            <p:nvPr/>
          </p:nvSpPr>
          <p:spPr>
            <a:xfrm rot="8716295">
              <a:off x="4909887" y="4686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2" name="Forme libre : forme 801">
              <a:extLst>
                <a:ext uri="{FF2B5EF4-FFF2-40B4-BE49-F238E27FC236}">
                  <a16:creationId xmlns:a16="http://schemas.microsoft.com/office/drawing/2014/main" id="{F7B1085B-4858-4D70-A004-8B8F25F247C5}"/>
                </a:ext>
              </a:extLst>
            </p:cNvPr>
            <p:cNvSpPr/>
            <p:nvPr/>
          </p:nvSpPr>
          <p:spPr>
            <a:xfrm rot="8716295">
              <a:off x="4720840" y="15277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3" name="Forme libre : forme 802">
              <a:extLst>
                <a:ext uri="{FF2B5EF4-FFF2-40B4-BE49-F238E27FC236}">
                  <a16:creationId xmlns:a16="http://schemas.microsoft.com/office/drawing/2014/main" id="{B81144B8-8745-4F32-B198-B5E7831F9FA1}"/>
                </a:ext>
              </a:extLst>
            </p:cNvPr>
            <p:cNvSpPr/>
            <p:nvPr/>
          </p:nvSpPr>
          <p:spPr>
            <a:xfrm rot="8716295">
              <a:off x="4702019" y="-47743"/>
              <a:ext cx="439901" cy="516041"/>
            </a:xfrm>
            <a:custGeom>
              <a:avLst/>
              <a:gdLst>
                <a:gd name="connsiteX0" fmla="*/ 155476 w 290643"/>
                <a:gd name="connsiteY0" fmla="*/ 340949 h 340949"/>
                <a:gd name="connsiteX1" fmla="*/ 1169 w 290643"/>
                <a:gd name="connsiteY1" fmla="*/ 233989 h 340949"/>
                <a:gd name="connsiteX2" fmla="*/ 0 w 290643"/>
                <a:gd name="connsiteY2" fmla="*/ 220042 h 340949"/>
                <a:gd name="connsiteX3" fmla="*/ 0 w 290643"/>
                <a:gd name="connsiteY3" fmla="*/ 40596 h 340949"/>
                <a:gd name="connsiteX4" fmla="*/ 78250 w 290643"/>
                <a:gd name="connsiteY4" fmla="*/ 0 h 340949"/>
                <a:gd name="connsiteX5" fmla="*/ 79427 w 290643"/>
                <a:gd name="connsiteY5" fmla="*/ 164149 h 340949"/>
                <a:gd name="connsiteX6" fmla="*/ 93547 w 290643"/>
                <a:gd name="connsiteY6" fmla="*/ 261815 h 340949"/>
                <a:gd name="connsiteX7" fmla="*/ 164149 w 290643"/>
                <a:gd name="connsiteY7" fmla="*/ 300646 h 340949"/>
                <a:gd name="connsiteX8" fmla="*/ 217100 w 290643"/>
                <a:gd name="connsiteY8" fmla="*/ 291232 h 340949"/>
                <a:gd name="connsiteX9" fmla="*/ 289467 w 290643"/>
                <a:gd name="connsiteY9" fmla="*/ 261815 h 340949"/>
                <a:gd name="connsiteX10" fmla="*/ 290643 w 290643"/>
                <a:gd name="connsiteY10" fmla="*/ 269463 h 340949"/>
                <a:gd name="connsiteX11" fmla="*/ 290643 w 290643"/>
                <a:gd name="connsiteY11" fmla="*/ 275347 h 340949"/>
                <a:gd name="connsiteX12" fmla="*/ 189080 w 290643"/>
                <a:gd name="connsiteY12" fmla="*/ 331975 h 340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0643" h="340949">
                  <a:moveTo>
                    <a:pt x="155476" y="340949"/>
                  </a:moveTo>
                  <a:lnTo>
                    <a:pt x="1169" y="233989"/>
                  </a:lnTo>
                  <a:lnTo>
                    <a:pt x="0" y="220042"/>
                  </a:ln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9" y="300646"/>
                  </a:cubicBezTo>
                  <a:cubicBezTo>
                    <a:pt x="182388" y="300057"/>
                    <a:pt x="200038" y="296527"/>
                    <a:pt x="217100" y="291232"/>
                  </a:cubicBezTo>
                  <a:cubicBezTo>
                    <a:pt x="241810" y="283584"/>
                    <a:pt x="265933" y="273582"/>
                    <a:pt x="289467" y="261815"/>
                  </a:cubicBezTo>
                  <a:cubicBezTo>
                    <a:pt x="290055" y="264168"/>
                    <a:pt x="290643" y="267110"/>
                    <a:pt x="290643" y="269463"/>
                  </a:cubicBezTo>
                  <a:lnTo>
                    <a:pt x="290643" y="275347"/>
                  </a:lnTo>
                  <a:cubicBezTo>
                    <a:pt x="259461" y="302117"/>
                    <a:pt x="223425" y="320208"/>
                    <a:pt x="189080" y="3319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4" name="Forme libre : forme 803">
              <a:extLst>
                <a:ext uri="{FF2B5EF4-FFF2-40B4-BE49-F238E27FC236}">
                  <a16:creationId xmlns:a16="http://schemas.microsoft.com/office/drawing/2014/main" id="{97BB5D8E-77DF-4379-8FB9-C73059373491}"/>
                </a:ext>
              </a:extLst>
            </p:cNvPr>
            <p:cNvSpPr/>
            <p:nvPr/>
          </p:nvSpPr>
          <p:spPr>
            <a:xfrm rot="8716295">
              <a:off x="5046375" y="53059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5" name="Forme libre : forme 804">
              <a:extLst>
                <a:ext uri="{FF2B5EF4-FFF2-40B4-BE49-F238E27FC236}">
                  <a16:creationId xmlns:a16="http://schemas.microsoft.com/office/drawing/2014/main" id="{0E56D396-C685-4453-B6D5-C901E9191392}"/>
                </a:ext>
              </a:extLst>
            </p:cNvPr>
            <p:cNvSpPr/>
            <p:nvPr/>
          </p:nvSpPr>
          <p:spPr>
            <a:xfrm rot="8716295">
              <a:off x="5517321" y="-4401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6" name="Forme libre : forme 805">
              <a:extLst>
                <a:ext uri="{FF2B5EF4-FFF2-40B4-BE49-F238E27FC236}">
                  <a16:creationId xmlns:a16="http://schemas.microsoft.com/office/drawing/2014/main" id="{FDD18870-B961-4BA7-957F-21B8886A0CDC}"/>
                </a:ext>
              </a:extLst>
            </p:cNvPr>
            <p:cNvSpPr/>
            <p:nvPr/>
          </p:nvSpPr>
          <p:spPr>
            <a:xfrm rot="8716295">
              <a:off x="5660365" y="29418"/>
              <a:ext cx="361480" cy="358038"/>
            </a:xfrm>
            <a:custGeom>
              <a:avLst/>
              <a:gdLst>
                <a:gd name="connsiteX0" fmla="*/ 56401 w 238830"/>
                <a:gd name="connsiteY0" fmla="*/ 236556 h 236556"/>
                <a:gd name="connsiteX1" fmla="*/ 29681 w 238830"/>
                <a:gd name="connsiteY1" fmla="*/ 218034 h 236556"/>
                <a:gd name="connsiteX2" fmla="*/ 29681 w 238830"/>
                <a:gd name="connsiteY2" fmla="*/ 45624 h 236556"/>
                <a:gd name="connsiteX3" fmla="*/ 0 w 238830"/>
                <a:gd name="connsiteY3" fmla="*/ 45624 h 236556"/>
                <a:gd name="connsiteX4" fmla="*/ 36558 w 238830"/>
                <a:gd name="connsiteY4" fmla="*/ 1425 h 236556"/>
                <a:gd name="connsiteX5" fmla="*/ 82994 w 238830"/>
                <a:gd name="connsiteY5" fmla="*/ 1425 h 236556"/>
                <a:gd name="connsiteX6" fmla="*/ 82994 w 238830"/>
                <a:gd name="connsiteY6" fmla="*/ 75242 h 236556"/>
                <a:gd name="connsiteX7" fmla="*/ 84360 w 238830"/>
                <a:gd name="connsiteY7" fmla="*/ 75242 h 236556"/>
                <a:gd name="connsiteX8" fmla="*/ 132205 w 238830"/>
                <a:gd name="connsiteY8" fmla="*/ 5981 h 236556"/>
                <a:gd name="connsiteX9" fmla="*/ 163646 w 238830"/>
                <a:gd name="connsiteY9" fmla="*/ 57 h 236556"/>
                <a:gd name="connsiteX10" fmla="*/ 238830 w 238830"/>
                <a:gd name="connsiteY10" fmla="*/ 88456 h 236556"/>
                <a:gd name="connsiteX11" fmla="*/ 238830 w 238830"/>
                <a:gd name="connsiteY11" fmla="*/ 94380 h 236556"/>
                <a:gd name="connsiteX12" fmla="*/ 176860 w 238830"/>
                <a:gd name="connsiteY12" fmla="*/ 98025 h 236556"/>
                <a:gd name="connsiteX13" fmla="*/ 176860 w 238830"/>
                <a:gd name="connsiteY13" fmla="*/ 81621 h 236556"/>
                <a:gd name="connsiteX14" fmla="*/ 143141 w 238830"/>
                <a:gd name="connsiteY14" fmla="*/ 40156 h 236556"/>
                <a:gd name="connsiteX15" fmla="*/ 89829 w 238830"/>
                <a:gd name="connsiteY15" fmla="*/ 127643 h 236556"/>
                <a:gd name="connsiteX16" fmla="*/ 89829 w 238830"/>
                <a:gd name="connsiteY16" fmla="*/ 213764 h 236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8830" h="236556">
                  <a:moveTo>
                    <a:pt x="56401" y="236556"/>
                  </a:moveTo>
                  <a:lnTo>
                    <a:pt x="29681" y="218034"/>
                  </a:lnTo>
                  <a:lnTo>
                    <a:pt x="29681" y="45624"/>
                  </a:lnTo>
                  <a:lnTo>
                    <a:pt x="0" y="45624"/>
                  </a:lnTo>
                  <a:lnTo>
                    <a:pt x="36558" y="1425"/>
                  </a:lnTo>
                  <a:lnTo>
                    <a:pt x="82994" y="1425"/>
                  </a:lnTo>
                  <a:lnTo>
                    <a:pt x="82994" y="75242"/>
                  </a:lnTo>
                  <a:lnTo>
                    <a:pt x="84360" y="75242"/>
                  </a:lnTo>
                  <a:cubicBezTo>
                    <a:pt x="98942" y="31954"/>
                    <a:pt x="110333" y="15095"/>
                    <a:pt x="132205" y="5981"/>
                  </a:cubicBezTo>
                  <a:cubicBezTo>
                    <a:pt x="142230" y="1880"/>
                    <a:pt x="152710" y="-398"/>
                    <a:pt x="163646" y="57"/>
                  </a:cubicBezTo>
                  <a:cubicBezTo>
                    <a:pt x="210579" y="-854"/>
                    <a:pt x="238830" y="31954"/>
                    <a:pt x="238830" y="88456"/>
                  </a:cubicBezTo>
                  <a:lnTo>
                    <a:pt x="238830" y="94380"/>
                  </a:lnTo>
                  <a:lnTo>
                    <a:pt x="176860" y="98025"/>
                  </a:lnTo>
                  <a:lnTo>
                    <a:pt x="176860" y="81621"/>
                  </a:lnTo>
                  <a:cubicBezTo>
                    <a:pt x="176860" y="57016"/>
                    <a:pt x="162735" y="40156"/>
                    <a:pt x="143141" y="40156"/>
                  </a:cubicBezTo>
                  <a:cubicBezTo>
                    <a:pt x="113979" y="40156"/>
                    <a:pt x="89829" y="78887"/>
                    <a:pt x="89829" y="127643"/>
                  </a:cubicBezTo>
                  <a:lnTo>
                    <a:pt x="89829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7" name="Forme libre : forme 806">
              <a:extLst>
                <a:ext uri="{FF2B5EF4-FFF2-40B4-BE49-F238E27FC236}">
                  <a16:creationId xmlns:a16="http://schemas.microsoft.com/office/drawing/2014/main" id="{D0E1C294-DAF5-41B6-B115-06272F5F9B10}"/>
                </a:ext>
              </a:extLst>
            </p:cNvPr>
            <p:cNvSpPr/>
            <p:nvPr/>
          </p:nvSpPr>
          <p:spPr>
            <a:xfrm rot="8716295">
              <a:off x="5347450" y="8999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8" name="Forme libre : forme 807">
              <a:extLst>
                <a:ext uri="{FF2B5EF4-FFF2-40B4-BE49-F238E27FC236}">
                  <a16:creationId xmlns:a16="http://schemas.microsoft.com/office/drawing/2014/main" id="{74F1E207-7916-4202-A641-550B15EFECC8}"/>
                </a:ext>
              </a:extLst>
            </p:cNvPr>
            <p:cNvSpPr/>
            <p:nvPr/>
          </p:nvSpPr>
          <p:spPr>
            <a:xfrm rot="8716295">
              <a:off x="5220022" y="-7080"/>
              <a:ext cx="219414" cy="84041"/>
            </a:xfrm>
            <a:custGeom>
              <a:avLst/>
              <a:gdLst>
                <a:gd name="connsiteX0" fmla="*/ 80105 w 144967"/>
                <a:gd name="connsiteY0" fmla="*/ 55526 h 55526"/>
                <a:gd name="connsiteX1" fmla="*/ 0 w 144967"/>
                <a:gd name="connsiteY1" fmla="*/ 0 h 55526"/>
                <a:gd name="connsiteX2" fmla="*/ 144967 w 144967"/>
                <a:gd name="connsiteY2" fmla="*/ 0 h 55526"/>
                <a:gd name="connsiteX3" fmla="*/ 144967 w 144967"/>
                <a:gd name="connsiteY3" fmla="*/ 55323 h 55526"/>
                <a:gd name="connsiteX4" fmla="*/ 80175 w 144967"/>
                <a:gd name="connsiteY4" fmla="*/ 55323 h 55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967" h="55526">
                  <a:moveTo>
                    <a:pt x="80105" y="55526"/>
                  </a:moveTo>
                  <a:lnTo>
                    <a:pt x="0" y="0"/>
                  </a:lnTo>
                  <a:lnTo>
                    <a:pt x="144967" y="0"/>
                  </a:lnTo>
                  <a:lnTo>
                    <a:pt x="144967" y="55323"/>
                  </a:lnTo>
                  <a:lnTo>
                    <a:pt x="8017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9" name="Forme libre : forme 808">
              <a:extLst>
                <a:ext uri="{FF2B5EF4-FFF2-40B4-BE49-F238E27FC236}">
                  <a16:creationId xmlns:a16="http://schemas.microsoft.com/office/drawing/2014/main" id="{FFFA1363-71F4-445A-B608-E607D2E33C24}"/>
                </a:ext>
              </a:extLst>
            </p:cNvPr>
            <p:cNvSpPr/>
            <p:nvPr/>
          </p:nvSpPr>
          <p:spPr>
            <a:xfrm rot="8716295">
              <a:off x="5483939" y="15198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0" name="Forme libre : forme 809">
              <a:extLst>
                <a:ext uri="{FF2B5EF4-FFF2-40B4-BE49-F238E27FC236}">
                  <a16:creationId xmlns:a16="http://schemas.microsoft.com/office/drawing/2014/main" id="{F26EC522-D5AA-44BE-B119-A69633A6A7B7}"/>
                </a:ext>
              </a:extLst>
            </p:cNvPr>
            <p:cNvSpPr/>
            <p:nvPr/>
          </p:nvSpPr>
          <p:spPr>
            <a:xfrm rot="8716295">
              <a:off x="5128323" y="-20358"/>
              <a:ext cx="80664" cy="63766"/>
            </a:xfrm>
            <a:custGeom>
              <a:avLst/>
              <a:gdLst>
                <a:gd name="connsiteX0" fmla="*/ 51759 w 53295"/>
                <a:gd name="connsiteY0" fmla="*/ 42130 h 42130"/>
                <a:gd name="connsiteX1" fmla="*/ 0 w 53295"/>
                <a:gd name="connsiteY1" fmla="*/ 6252 h 42130"/>
                <a:gd name="connsiteX2" fmla="*/ 14807 w 53295"/>
                <a:gd name="connsiteY2" fmla="*/ 0 h 42130"/>
                <a:gd name="connsiteX3" fmla="*/ 41975 w 53295"/>
                <a:gd name="connsiteY3" fmla="*/ 11471 h 42130"/>
                <a:gd name="connsiteX4" fmla="*/ 53295 w 53295"/>
                <a:gd name="connsiteY4" fmla="*/ 38412 h 42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295" h="42130">
                  <a:moveTo>
                    <a:pt x="51759" y="42130"/>
                  </a:moveTo>
                  <a:lnTo>
                    <a:pt x="0" y="6252"/>
                  </a:lnTo>
                  <a:lnTo>
                    <a:pt x="14807" y="0"/>
                  </a:lnTo>
                  <a:cubicBezTo>
                    <a:pt x="25071" y="0"/>
                    <a:pt x="34731" y="4226"/>
                    <a:pt x="41975" y="11471"/>
                  </a:cubicBezTo>
                  <a:cubicBezTo>
                    <a:pt x="49522" y="18716"/>
                    <a:pt x="53295" y="28526"/>
                    <a:pt x="53295" y="3841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1" name="Forme libre : forme 810">
              <a:extLst>
                <a:ext uri="{FF2B5EF4-FFF2-40B4-BE49-F238E27FC236}">
                  <a16:creationId xmlns:a16="http://schemas.microsoft.com/office/drawing/2014/main" id="{FD43579C-B307-44A1-9A8C-8DE6E00BA9DE}"/>
                </a:ext>
              </a:extLst>
            </p:cNvPr>
            <p:cNvSpPr/>
            <p:nvPr/>
          </p:nvSpPr>
          <p:spPr>
            <a:xfrm rot="7484129">
              <a:off x="5642756" y="4415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2" name="Forme libre : forme 811">
              <a:extLst>
                <a:ext uri="{FF2B5EF4-FFF2-40B4-BE49-F238E27FC236}">
                  <a16:creationId xmlns:a16="http://schemas.microsoft.com/office/drawing/2014/main" id="{32F15E24-4369-4C59-AD66-4B724D73D54B}"/>
                </a:ext>
              </a:extLst>
            </p:cNvPr>
            <p:cNvSpPr/>
            <p:nvPr/>
          </p:nvSpPr>
          <p:spPr>
            <a:xfrm rot="13089394">
              <a:off x="5789679" y="415199"/>
              <a:ext cx="360116" cy="446294"/>
            </a:xfrm>
            <a:custGeom>
              <a:avLst/>
              <a:gdLst>
                <a:gd name="connsiteX0" fmla="*/ 39306 w 237929"/>
                <a:gd name="connsiteY0" fmla="*/ 79955 h 294867"/>
                <a:gd name="connsiteX1" fmla="*/ 0 w 237929"/>
                <a:gd name="connsiteY1" fmla="*/ 20095 h 294867"/>
                <a:gd name="connsiteX2" fmla="*/ 38733 w 237929"/>
                <a:gd name="connsiteY2" fmla="*/ 0 h 294867"/>
                <a:gd name="connsiteX3" fmla="*/ 237929 w 237929"/>
                <a:gd name="connsiteY3" fmla="*/ 258238 h 294867"/>
                <a:gd name="connsiteX4" fmla="*/ 191415 w 237929"/>
                <a:gd name="connsiteY4" fmla="*/ 290069 h 294867"/>
                <a:gd name="connsiteX5" fmla="*/ 180425 w 237929"/>
                <a:gd name="connsiteY5" fmla="*/ 294867 h 294867"/>
                <a:gd name="connsiteX6" fmla="*/ 166448 w 237929"/>
                <a:gd name="connsiteY6" fmla="*/ 273582 h 294867"/>
                <a:gd name="connsiteX7" fmla="*/ 168955 w 237929"/>
                <a:gd name="connsiteY7" fmla="*/ 273136 h 294867"/>
                <a:gd name="connsiteX8" fmla="*/ 236826 w 237929"/>
                <a:gd name="connsiteY8" fmla="*/ 245547 h 294867"/>
                <a:gd name="connsiteX9" fmla="*/ 237929 w 237929"/>
                <a:gd name="connsiteY9" fmla="*/ 252720 h 294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7929" h="294867">
                  <a:moveTo>
                    <a:pt x="39306" y="79955"/>
                  </a:moveTo>
                  <a:lnTo>
                    <a:pt x="0" y="20095"/>
                  </a:lnTo>
                  <a:lnTo>
                    <a:pt x="38733" y="0"/>
                  </a:lnTo>
                  <a:close/>
                  <a:moveTo>
                    <a:pt x="237929" y="258238"/>
                  </a:moveTo>
                  <a:cubicBezTo>
                    <a:pt x="223307" y="270791"/>
                    <a:pt x="207546" y="281309"/>
                    <a:pt x="191415" y="290069"/>
                  </a:cubicBezTo>
                  <a:lnTo>
                    <a:pt x="180425" y="294867"/>
                  </a:lnTo>
                  <a:lnTo>
                    <a:pt x="166448" y="273582"/>
                  </a:lnTo>
                  <a:lnTo>
                    <a:pt x="168955" y="273136"/>
                  </a:lnTo>
                  <a:cubicBezTo>
                    <a:pt x="192130" y="265963"/>
                    <a:pt x="214754" y="256582"/>
                    <a:pt x="236826" y="245547"/>
                  </a:cubicBezTo>
                  <a:cubicBezTo>
                    <a:pt x="237377" y="247754"/>
                    <a:pt x="237929" y="250513"/>
                    <a:pt x="237929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3" name="Forme libre : forme 812">
              <a:extLst>
                <a:ext uri="{FF2B5EF4-FFF2-40B4-BE49-F238E27FC236}">
                  <a16:creationId xmlns:a16="http://schemas.microsoft.com/office/drawing/2014/main" id="{4456445D-FEFF-4497-984E-23E7AE4DB2E6}"/>
                </a:ext>
              </a:extLst>
            </p:cNvPr>
            <p:cNvSpPr/>
            <p:nvPr/>
          </p:nvSpPr>
          <p:spPr>
            <a:xfrm rot="8716295">
              <a:off x="5996886" y="-12676"/>
              <a:ext cx="90399" cy="122140"/>
            </a:xfrm>
            <a:custGeom>
              <a:avLst/>
              <a:gdLst>
                <a:gd name="connsiteX0" fmla="*/ 0 w 59727"/>
                <a:gd name="connsiteY0" fmla="*/ 52945 h 80698"/>
                <a:gd name="connsiteX1" fmla="*/ 43791 w 59727"/>
                <a:gd name="connsiteY1" fmla="*/ 0 h 80698"/>
                <a:gd name="connsiteX2" fmla="*/ 59727 w 59727"/>
                <a:gd name="connsiteY2" fmla="*/ 37928 h 80698"/>
                <a:gd name="connsiteX3" fmla="*/ 42480 w 59727"/>
                <a:gd name="connsiteY3" fmla="*/ 79666 h 80698"/>
                <a:gd name="connsiteX4" fmla="*/ 40038 w 59727"/>
                <a:gd name="connsiteY4" fmla="*/ 80698 h 80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727" h="80698">
                  <a:moveTo>
                    <a:pt x="0" y="52945"/>
                  </a:moveTo>
                  <a:lnTo>
                    <a:pt x="43791" y="0"/>
                  </a:lnTo>
                  <a:lnTo>
                    <a:pt x="59727" y="37928"/>
                  </a:lnTo>
                  <a:cubicBezTo>
                    <a:pt x="59727" y="52991"/>
                    <a:pt x="53978" y="68168"/>
                    <a:pt x="42480" y="79666"/>
                  </a:cubicBezTo>
                  <a:lnTo>
                    <a:pt x="40038" y="806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4" name="Forme libre : forme 813">
              <a:extLst>
                <a:ext uri="{FF2B5EF4-FFF2-40B4-BE49-F238E27FC236}">
                  <a16:creationId xmlns:a16="http://schemas.microsoft.com/office/drawing/2014/main" id="{8608BF4F-989C-471C-8F7D-609DB58E76BD}"/>
                </a:ext>
              </a:extLst>
            </p:cNvPr>
            <p:cNvSpPr/>
            <p:nvPr/>
          </p:nvSpPr>
          <p:spPr>
            <a:xfrm rot="8716295">
              <a:off x="5631023" y="-8174"/>
              <a:ext cx="87445" cy="82387"/>
            </a:xfrm>
            <a:custGeom>
              <a:avLst/>
              <a:gdLst>
                <a:gd name="connsiteX0" fmla="*/ 37946 w 57775"/>
                <a:gd name="connsiteY0" fmla="*/ 54433 h 54433"/>
                <a:gd name="connsiteX1" fmla="*/ 0 w 57775"/>
                <a:gd name="connsiteY1" fmla="*/ 28130 h 54433"/>
                <a:gd name="connsiteX2" fmla="*/ 8222 w 57775"/>
                <a:gd name="connsiteY2" fmla="*/ 8658 h 54433"/>
                <a:gd name="connsiteX3" fmla="*/ 28726 w 57775"/>
                <a:gd name="connsiteY3" fmla="*/ 0 h 54433"/>
                <a:gd name="connsiteX4" fmla="*/ 49232 w 57775"/>
                <a:gd name="connsiteY4" fmla="*/ 8658 h 54433"/>
                <a:gd name="connsiteX5" fmla="*/ 49232 w 57775"/>
                <a:gd name="connsiteY5" fmla="*/ 49668 h 54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775" h="54433">
                  <a:moveTo>
                    <a:pt x="37946" y="54433"/>
                  </a:moveTo>
                  <a:lnTo>
                    <a:pt x="0" y="28130"/>
                  </a:lnTo>
                  <a:lnTo>
                    <a:pt x="8222" y="8658"/>
                  </a:lnTo>
                  <a:cubicBezTo>
                    <a:pt x="13690" y="3190"/>
                    <a:pt x="20981" y="0"/>
                    <a:pt x="28726" y="0"/>
                  </a:cubicBezTo>
                  <a:cubicBezTo>
                    <a:pt x="36473" y="0"/>
                    <a:pt x="43764" y="3190"/>
                    <a:pt x="49232" y="8658"/>
                  </a:cubicBezTo>
                  <a:cubicBezTo>
                    <a:pt x="60624" y="19594"/>
                    <a:pt x="60623" y="38276"/>
                    <a:pt x="49232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411" name="Espace réservé du texte 410">
            <a:extLst>
              <a:ext uri="{FF2B5EF4-FFF2-40B4-BE49-F238E27FC236}">
                <a16:creationId xmlns:a16="http://schemas.microsoft.com/office/drawing/2014/main" id="{E014E6DC-AD19-40E5-A2B7-DF68385EE1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3541" y="526470"/>
            <a:ext cx="7379432" cy="29918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1pPr>
            <a:lvl2pPr marL="0" indent="0">
              <a:buNone/>
              <a:defRPr sz="5400" b="1" cap="all" baseline="0">
                <a:solidFill>
                  <a:srgbClr val="009FE3"/>
                </a:solidFill>
              </a:defRPr>
            </a:lvl2pPr>
          </a:lstStyle>
          <a:p>
            <a:pPr lvl="0"/>
            <a:r>
              <a:rPr lang="fr-FR" dirty="0"/>
              <a:t>Titre de la présentation</a:t>
            </a:r>
          </a:p>
          <a:p>
            <a:pPr lvl="1"/>
            <a:r>
              <a:rPr lang="fr-FR" dirty="0"/>
              <a:t>exergue</a:t>
            </a:r>
          </a:p>
        </p:txBody>
      </p:sp>
      <p:pic>
        <p:nvPicPr>
          <p:cNvPr id="408" name="Graphique 407">
            <a:extLst>
              <a:ext uri="{FF2B5EF4-FFF2-40B4-BE49-F238E27FC236}">
                <a16:creationId xmlns:a16="http://schemas.microsoft.com/office/drawing/2014/main" id="{448F94F4-8E31-46DD-9D3E-E96498FF82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97194" y="3988359"/>
            <a:ext cx="2255854" cy="67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890763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itr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>
            <a:extLst>
              <a:ext uri="{FF2B5EF4-FFF2-40B4-BE49-F238E27FC236}">
                <a16:creationId xmlns:a16="http://schemas.microsoft.com/office/drawing/2014/main" id="{6A348ADD-AB0E-41AD-9203-40019D501D09}"/>
              </a:ext>
            </a:extLst>
          </p:cNvPr>
          <p:cNvGrpSpPr/>
          <p:nvPr userDrawn="1"/>
        </p:nvGrpSpPr>
        <p:grpSpPr>
          <a:xfrm>
            <a:off x="-134707" y="-108618"/>
            <a:ext cx="6284502" cy="5381969"/>
            <a:chOff x="-134707" y="-108618"/>
            <a:chExt cx="6284502" cy="5381969"/>
          </a:xfrm>
          <a:solidFill>
            <a:schemeClr val="bg2">
              <a:alpha val="10000"/>
            </a:schemeClr>
          </a:solidFill>
        </p:grpSpPr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4588E603-EA6D-4A8D-ABC7-9DE29315EF7F}"/>
                </a:ext>
              </a:extLst>
            </p:cNvPr>
            <p:cNvSpPr/>
            <p:nvPr/>
          </p:nvSpPr>
          <p:spPr>
            <a:xfrm rot="8716295">
              <a:off x="1460344" y="348006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8D98135C-BBC2-4D16-96A0-7D0791CBF234}"/>
                </a:ext>
              </a:extLst>
            </p:cNvPr>
            <p:cNvSpPr/>
            <p:nvPr/>
          </p:nvSpPr>
          <p:spPr>
            <a:xfrm rot="8716295">
              <a:off x="1595642" y="352432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99CC6255-5792-4F9C-BE71-CF421386A627}"/>
                </a:ext>
              </a:extLst>
            </p:cNvPr>
            <p:cNvSpPr/>
            <p:nvPr/>
          </p:nvSpPr>
          <p:spPr>
            <a:xfrm rot="8716295">
              <a:off x="1527760" y="339373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4D44D8C2-4775-4ED6-AF57-EBCE00D0B723}"/>
                </a:ext>
              </a:extLst>
            </p:cNvPr>
            <p:cNvSpPr/>
            <p:nvPr/>
          </p:nvSpPr>
          <p:spPr>
            <a:xfrm rot="8716295">
              <a:off x="1290473" y="361408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EC13E85B-F308-4A84-A6BC-C18C71386F58}"/>
                </a:ext>
              </a:extLst>
            </p:cNvPr>
            <p:cNvSpPr/>
            <p:nvPr/>
          </p:nvSpPr>
          <p:spPr>
            <a:xfrm rot="8716295">
              <a:off x="1101427" y="329824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6E015BB2-4D35-4CF4-A5C2-59649EEBFF40}"/>
                </a:ext>
              </a:extLst>
            </p:cNvPr>
            <p:cNvSpPr/>
            <p:nvPr/>
          </p:nvSpPr>
          <p:spPr>
            <a:xfrm rot="8716295">
              <a:off x="1083185" y="3088198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9BFD4E55-95DB-4948-9F11-510807EC9D8A}"/>
                </a:ext>
              </a:extLst>
            </p:cNvPr>
            <p:cNvSpPr/>
            <p:nvPr/>
          </p:nvSpPr>
          <p:spPr>
            <a:xfrm rot="8716295">
              <a:off x="1426961" y="367606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4A110395-765E-4DD5-AC3E-A28545974AAB}"/>
                </a:ext>
              </a:extLst>
            </p:cNvPr>
            <p:cNvSpPr/>
            <p:nvPr/>
          </p:nvSpPr>
          <p:spPr>
            <a:xfrm rot="8716295">
              <a:off x="1897908" y="310145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752DD23B-ED4C-4692-9CB0-792B6E8C38E8}"/>
                </a:ext>
              </a:extLst>
            </p:cNvPr>
            <p:cNvSpPr/>
            <p:nvPr/>
          </p:nvSpPr>
          <p:spPr>
            <a:xfrm rot="8716295">
              <a:off x="2033206" y="314571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407B9478-6D17-4EBC-AE18-7FD28A2FC874}"/>
                </a:ext>
              </a:extLst>
            </p:cNvPr>
            <p:cNvSpPr/>
            <p:nvPr/>
          </p:nvSpPr>
          <p:spPr>
            <a:xfrm rot="8716295">
              <a:off x="1728037" y="323546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DDF2324E-ABD3-44DC-8D06-AD3B881C1A39}"/>
                </a:ext>
              </a:extLst>
            </p:cNvPr>
            <p:cNvSpPr/>
            <p:nvPr/>
          </p:nvSpPr>
          <p:spPr>
            <a:xfrm rot="8716295">
              <a:off x="1538992" y="291963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EF0C42E5-DDE5-4434-B96B-A910A8DADC60}"/>
                </a:ext>
              </a:extLst>
            </p:cNvPr>
            <p:cNvSpPr/>
            <p:nvPr/>
          </p:nvSpPr>
          <p:spPr>
            <a:xfrm rot="8716295">
              <a:off x="1864525" y="329745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1AF80BC5-2FE2-47AB-8E9C-E26EB916D016}"/>
                </a:ext>
              </a:extLst>
            </p:cNvPr>
            <p:cNvSpPr/>
            <p:nvPr/>
          </p:nvSpPr>
          <p:spPr>
            <a:xfrm rot="8716295">
              <a:off x="1499078" y="307102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B1E25E5F-E250-4318-97CF-E3EF2CD18D72}"/>
                </a:ext>
              </a:extLst>
            </p:cNvPr>
            <p:cNvSpPr/>
            <p:nvPr/>
          </p:nvSpPr>
          <p:spPr>
            <a:xfrm rot="7484129">
              <a:off x="2023343" y="358706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3240DB54-B585-4364-A4CC-E94E9F63B7D1}"/>
                </a:ext>
              </a:extLst>
            </p:cNvPr>
            <p:cNvSpPr/>
            <p:nvPr/>
          </p:nvSpPr>
          <p:spPr>
            <a:xfrm rot="13089394">
              <a:off x="2181992" y="353641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273F70D5-0FDD-4CE1-814B-D9312EE2ED7C}"/>
                </a:ext>
              </a:extLst>
            </p:cNvPr>
            <p:cNvSpPr/>
            <p:nvPr/>
          </p:nvSpPr>
          <p:spPr>
            <a:xfrm rot="8716295">
              <a:off x="2462883" y="3246298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C7DAFD7E-6F4A-40E6-A59C-00BDC917B87B}"/>
                </a:ext>
              </a:extLst>
            </p:cNvPr>
            <p:cNvSpPr/>
            <p:nvPr/>
          </p:nvSpPr>
          <p:spPr>
            <a:xfrm rot="8716295">
              <a:off x="2384474" y="308950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48BC9105-C681-433B-8AF1-4FE2E6AF7484}"/>
                </a:ext>
              </a:extLst>
            </p:cNvPr>
            <p:cNvSpPr/>
            <p:nvPr/>
          </p:nvSpPr>
          <p:spPr>
            <a:xfrm rot="8716295">
              <a:off x="2016311" y="313524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1A014423-3778-467F-945D-40491D2DDC50}"/>
                </a:ext>
              </a:extLst>
            </p:cNvPr>
            <p:cNvSpPr/>
            <p:nvPr/>
          </p:nvSpPr>
          <p:spPr>
            <a:xfrm rot="8716295">
              <a:off x="2284892" y="289422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754E4A02-6646-4EF0-8CC5-B9030AE2C233}"/>
                </a:ext>
              </a:extLst>
            </p:cNvPr>
            <p:cNvSpPr/>
            <p:nvPr/>
          </p:nvSpPr>
          <p:spPr>
            <a:xfrm rot="8716295">
              <a:off x="1798117" y="447855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84764706-CB95-4A07-B328-B801005B7146}"/>
                </a:ext>
              </a:extLst>
            </p:cNvPr>
            <p:cNvSpPr/>
            <p:nvPr/>
          </p:nvSpPr>
          <p:spPr>
            <a:xfrm rot="8716295">
              <a:off x="1933415" y="452281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B1C7133F-9245-4557-9366-3880E57EEB00}"/>
                </a:ext>
              </a:extLst>
            </p:cNvPr>
            <p:cNvSpPr/>
            <p:nvPr/>
          </p:nvSpPr>
          <p:spPr>
            <a:xfrm rot="8716295">
              <a:off x="1865533" y="439222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34C731BB-8709-4827-B371-DEB3D84B9346}"/>
                </a:ext>
              </a:extLst>
            </p:cNvPr>
            <p:cNvSpPr/>
            <p:nvPr/>
          </p:nvSpPr>
          <p:spPr>
            <a:xfrm rot="8716295">
              <a:off x="1628246" y="461256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800CC594-61C3-4799-9C62-0BE95617F0FD}"/>
                </a:ext>
              </a:extLst>
            </p:cNvPr>
            <p:cNvSpPr/>
            <p:nvPr/>
          </p:nvSpPr>
          <p:spPr>
            <a:xfrm rot="8716295">
              <a:off x="1439200" y="42967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6F690A0E-19E3-4512-B7F9-01EE4EBA9F6E}"/>
                </a:ext>
              </a:extLst>
            </p:cNvPr>
            <p:cNvSpPr/>
            <p:nvPr/>
          </p:nvSpPr>
          <p:spPr>
            <a:xfrm rot="8716295">
              <a:off x="1420958" y="408668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2D91E14E-69D9-458E-AA57-95A8078F1A19}"/>
                </a:ext>
              </a:extLst>
            </p:cNvPr>
            <p:cNvSpPr/>
            <p:nvPr/>
          </p:nvSpPr>
          <p:spPr>
            <a:xfrm rot="8716295">
              <a:off x="1764734" y="467454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4AA00D19-4A76-4DED-BF30-5DD56557E862}"/>
                </a:ext>
              </a:extLst>
            </p:cNvPr>
            <p:cNvSpPr/>
            <p:nvPr/>
          </p:nvSpPr>
          <p:spPr>
            <a:xfrm rot="8716295">
              <a:off x="2235681" y="409993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CBB48ABD-C4EA-4731-A8E5-5C6B6C5A0C84}"/>
                </a:ext>
              </a:extLst>
            </p:cNvPr>
            <p:cNvSpPr/>
            <p:nvPr/>
          </p:nvSpPr>
          <p:spPr>
            <a:xfrm rot="8716295">
              <a:off x="2370979" y="414419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FCD4CF90-F0E0-483F-9CE2-EAEE6404C598}"/>
                </a:ext>
              </a:extLst>
            </p:cNvPr>
            <p:cNvSpPr/>
            <p:nvPr/>
          </p:nvSpPr>
          <p:spPr>
            <a:xfrm rot="8716295">
              <a:off x="2065810" y="423395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F3A52091-BF4B-4E28-BD12-E3FE0875DBCF}"/>
                </a:ext>
              </a:extLst>
            </p:cNvPr>
            <p:cNvSpPr/>
            <p:nvPr/>
          </p:nvSpPr>
          <p:spPr>
            <a:xfrm rot="8716295">
              <a:off x="1876765" y="391811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75F64C77-DBE2-4786-9809-DB042689E4B6}"/>
                </a:ext>
              </a:extLst>
            </p:cNvPr>
            <p:cNvSpPr/>
            <p:nvPr/>
          </p:nvSpPr>
          <p:spPr>
            <a:xfrm rot="8716295">
              <a:off x="2202298" y="4295933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12F37080-96E6-4BE1-9E48-2B02CD2E20C4}"/>
                </a:ext>
              </a:extLst>
            </p:cNvPr>
            <p:cNvSpPr/>
            <p:nvPr/>
          </p:nvSpPr>
          <p:spPr>
            <a:xfrm rot="8716295">
              <a:off x="1836851" y="406950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BA151B90-2B5B-4D4D-A2AA-26322C46F857}"/>
                </a:ext>
              </a:extLst>
            </p:cNvPr>
            <p:cNvSpPr/>
            <p:nvPr/>
          </p:nvSpPr>
          <p:spPr>
            <a:xfrm rot="7484129">
              <a:off x="2361116" y="458555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0655C4A9-132B-4E8E-AB50-E63B4234234E}"/>
                </a:ext>
              </a:extLst>
            </p:cNvPr>
            <p:cNvSpPr/>
            <p:nvPr/>
          </p:nvSpPr>
          <p:spPr>
            <a:xfrm rot="13089394">
              <a:off x="2519765" y="4534899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51BD05F6-BFFD-42CC-A6C8-403F5F81023E}"/>
                </a:ext>
              </a:extLst>
            </p:cNvPr>
            <p:cNvSpPr/>
            <p:nvPr/>
          </p:nvSpPr>
          <p:spPr>
            <a:xfrm rot="8716295">
              <a:off x="2800656" y="4244781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609B85C6-C9FE-4876-9C99-F8DA190549CF}"/>
                </a:ext>
              </a:extLst>
            </p:cNvPr>
            <p:cNvSpPr/>
            <p:nvPr/>
          </p:nvSpPr>
          <p:spPr>
            <a:xfrm rot="8716295">
              <a:off x="2722247" y="4087989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AB57FACB-9405-4A22-84F1-4CDEB84773AC}"/>
                </a:ext>
              </a:extLst>
            </p:cNvPr>
            <p:cNvSpPr/>
            <p:nvPr/>
          </p:nvSpPr>
          <p:spPr>
            <a:xfrm rot="8716295">
              <a:off x="2354084" y="413373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65AC372A-885B-4835-966A-B09A3AC7B1A3}"/>
                </a:ext>
              </a:extLst>
            </p:cNvPr>
            <p:cNvSpPr/>
            <p:nvPr/>
          </p:nvSpPr>
          <p:spPr>
            <a:xfrm rot="8716295">
              <a:off x="2622665" y="389271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16EC5E3E-C2D3-4E46-B9F8-A7FD4A85025F}"/>
                </a:ext>
              </a:extLst>
            </p:cNvPr>
            <p:cNvSpPr/>
            <p:nvPr/>
          </p:nvSpPr>
          <p:spPr>
            <a:xfrm rot="8716295">
              <a:off x="1836002" y="5051565"/>
              <a:ext cx="229466" cy="172677"/>
            </a:xfrm>
            <a:custGeom>
              <a:avLst/>
              <a:gdLst>
                <a:gd name="connsiteX0" fmla="*/ 37429 w 229466"/>
                <a:gd name="connsiteY0" fmla="*/ 127889 h 172677"/>
                <a:gd name="connsiteX1" fmla="*/ 864 w 229466"/>
                <a:gd name="connsiteY1" fmla="*/ 25330 h 172677"/>
                <a:gd name="connsiteX2" fmla="*/ 0 w 229466"/>
                <a:gd name="connsiteY2" fmla="*/ 0 h 172677"/>
                <a:gd name="connsiteX3" fmla="*/ 229466 w 229466"/>
                <a:gd name="connsiteY3" fmla="*/ 159058 h 172677"/>
                <a:gd name="connsiteX4" fmla="*/ 210504 w 229466"/>
                <a:gd name="connsiteY4" fmla="*/ 164122 h 172677"/>
                <a:gd name="connsiteX5" fmla="*/ 146960 w 229466"/>
                <a:gd name="connsiteY5" fmla="*/ 172414 h 172677"/>
                <a:gd name="connsiteX6" fmla="*/ 37429 w 229466"/>
                <a:gd name="connsiteY6" fmla="*/ 127889 h 172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9466" h="172677">
                  <a:moveTo>
                    <a:pt x="37429" y="127889"/>
                  </a:moveTo>
                  <a:cubicBezTo>
                    <a:pt x="14722" y="105850"/>
                    <a:pt x="4537" y="71789"/>
                    <a:pt x="864" y="25330"/>
                  </a:cubicBezTo>
                  <a:lnTo>
                    <a:pt x="0" y="0"/>
                  </a:lnTo>
                  <a:lnTo>
                    <a:pt x="229466" y="159058"/>
                  </a:lnTo>
                  <a:lnTo>
                    <a:pt x="210504" y="164122"/>
                  </a:lnTo>
                  <a:cubicBezTo>
                    <a:pt x="187032" y="168685"/>
                    <a:pt x="165437" y="171301"/>
                    <a:pt x="146960" y="172414"/>
                  </a:cubicBezTo>
                  <a:cubicBezTo>
                    <a:pt x="105998" y="175086"/>
                    <a:pt x="65926" y="157276"/>
                    <a:pt x="37429" y="12788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F08DD499-2506-4E8C-B26B-EF1D8CEA3AA9}"/>
                </a:ext>
              </a:extLst>
            </p:cNvPr>
            <p:cNvSpPr/>
            <p:nvPr/>
          </p:nvSpPr>
          <p:spPr>
            <a:xfrm rot="8716295">
              <a:off x="2865171" y="5107739"/>
              <a:ext cx="36955" cy="50812"/>
            </a:xfrm>
            <a:custGeom>
              <a:avLst/>
              <a:gdLst>
                <a:gd name="connsiteX0" fmla="*/ 0 w 36955"/>
                <a:gd name="connsiteY0" fmla="*/ 50812 h 50812"/>
                <a:gd name="connsiteX1" fmla="*/ 0 w 36955"/>
                <a:gd name="connsiteY1" fmla="*/ 0 h 50812"/>
                <a:gd name="connsiteX2" fmla="*/ 36955 w 36955"/>
                <a:gd name="connsiteY2" fmla="*/ 25616 h 50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955" h="50812">
                  <a:moveTo>
                    <a:pt x="0" y="50812"/>
                  </a:moveTo>
                  <a:lnTo>
                    <a:pt x="0" y="0"/>
                  </a:lnTo>
                  <a:lnTo>
                    <a:pt x="36955" y="256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D6EEB4E8-6237-4C85-A670-00A3A02268AB}"/>
                </a:ext>
              </a:extLst>
            </p:cNvPr>
            <p:cNvSpPr/>
            <p:nvPr/>
          </p:nvSpPr>
          <p:spPr>
            <a:xfrm rot="8716295">
              <a:off x="2291544" y="4886156"/>
              <a:ext cx="209028" cy="296463"/>
            </a:xfrm>
            <a:custGeom>
              <a:avLst/>
              <a:gdLst>
                <a:gd name="connsiteX0" fmla="*/ 137293 w 209028"/>
                <a:gd name="connsiteY0" fmla="*/ 296463 h 296463"/>
                <a:gd name="connsiteX1" fmla="*/ 72418 w 209028"/>
                <a:gd name="connsiteY1" fmla="*/ 175766 h 296463"/>
                <a:gd name="connsiteX2" fmla="*/ 105610 w 209028"/>
                <a:gd name="connsiteY2" fmla="*/ 83734 h 296463"/>
                <a:gd name="connsiteX3" fmla="*/ 0 w 209028"/>
                <a:gd name="connsiteY3" fmla="*/ 83734 h 296463"/>
                <a:gd name="connsiteX4" fmla="*/ 0 w 209028"/>
                <a:gd name="connsiteY4" fmla="*/ 0 h 296463"/>
                <a:gd name="connsiteX5" fmla="*/ 82199 w 209028"/>
                <a:gd name="connsiteY5" fmla="*/ 0 h 296463"/>
                <a:gd name="connsiteX6" fmla="*/ 209028 w 209028"/>
                <a:gd name="connsiteY6" fmla="*/ 87913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028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82199" y="0"/>
                  </a:lnTo>
                  <a:lnTo>
                    <a:pt x="209028" y="8791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75A29BD1-A3F5-48BC-80D8-DAC3DEE5842D}"/>
                </a:ext>
              </a:extLst>
            </p:cNvPr>
            <p:cNvSpPr/>
            <p:nvPr/>
          </p:nvSpPr>
          <p:spPr>
            <a:xfrm rot="8716295">
              <a:off x="2159594" y="5061280"/>
              <a:ext cx="112869" cy="105684"/>
            </a:xfrm>
            <a:custGeom>
              <a:avLst/>
              <a:gdLst>
                <a:gd name="connsiteX0" fmla="*/ 17362 w 112869"/>
                <a:gd name="connsiteY0" fmla="*/ 89236 h 105684"/>
                <a:gd name="connsiteX1" fmla="*/ 0 w 112869"/>
                <a:gd name="connsiteY1" fmla="*/ 48117 h 105684"/>
                <a:gd name="connsiteX2" fmla="*/ 0 w 112869"/>
                <a:gd name="connsiteY2" fmla="*/ 47203 h 105684"/>
                <a:gd name="connsiteX3" fmla="*/ 17362 w 112869"/>
                <a:gd name="connsiteY3" fmla="*/ 6084 h 105684"/>
                <a:gd name="connsiteX4" fmla="*/ 31771 w 112869"/>
                <a:gd name="connsiteY4" fmla="*/ 0 h 105684"/>
                <a:gd name="connsiteX5" fmla="*/ 112869 w 112869"/>
                <a:gd name="connsiteY5" fmla="*/ 56215 h 105684"/>
                <a:gd name="connsiteX6" fmla="*/ 99601 w 112869"/>
                <a:gd name="connsiteY6" fmla="*/ 88323 h 105684"/>
                <a:gd name="connsiteX7" fmla="*/ 58481 w 112869"/>
                <a:gd name="connsiteY7" fmla="*/ 105684 h 105684"/>
                <a:gd name="connsiteX8" fmla="*/ 17362 w 112869"/>
                <a:gd name="connsiteY8" fmla="*/ 89236 h 105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869" h="105684">
                  <a:moveTo>
                    <a:pt x="17362" y="89236"/>
                  </a:moveTo>
                  <a:cubicBezTo>
                    <a:pt x="6397" y="78271"/>
                    <a:pt x="0" y="63651"/>
                    <a:pt x="0" y="48117"/>
                  </a:cubicBezTo>
                  <a:lnTo>
                    <a:pt x="0" y="47203"/>
                  </a:lnTo>
                  <a:cubicBezTo>
                    <a:pt x="0" y="31669"/>
                    <a:pt x="6397" y="17049"/>
                    <a:pt x="17362" y="6084"/>
                  </a:cubicBezTo>
                  <a:lnTo>
                    <a:pt x="31771" y="0"/>
                  </a:lnTo>
                  <a:lnTo>
                    <a:pt x="112869" y="56215"/>
                  </a:lnTo>
                  <a:lnTo>
                    <a:pt x="99601" y="88323"/>
                  </a:lnTo>
                  <a:cubicBezTo>
                    <a:pt x="88636" y="99288"/>
                    <a:pt x="74015" y="105684"/>
                    <a:pt x="58481" y="105684"/>
                  </a:cubicBezTo>
                  <a:cubicBezTo>
                    <a:pt x="42947" y="105684"/>
                    <a:pt x="28327" y="100202"/>
                    <a:pt x="17362" y="8923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758380ED-469C-45F2-855D-EE8309CFADD8}"/>
                </a:ext>
              </a:extLst>
            </p:cNvPr>
            <p:cNvSpPr/>
            <p:nvPr/>
          </p:nvSpPr>
          <p:spPr>
            <a:xfrm rot="8716295">
              <a:off x="3051941" y="5073759"/>
              <a:ext cx="145251" cy="115110"/>
            </a:xfrm>
            <a:custGeom>
              <a:avLst/>
              <a:gdLst>
                <a:gd name="connsiteX0" fmla="*/ 26453 w 145251"/>
                <a:gd name="connsiteY0" fmla="*/ 90050 h 115110"/>
                <a:gd name="connsiteX1" fmla="*/ 0 w 145251"/>
                <a:gd name="connsiteY1" fmla="*/ 27401 h 115110"/>
                <a:gd name="connsiteX2" fmla="*/ 0 w 145251"/>
                <a:gd name="connsiteY2" fmla="*/ 26008 h 115110"/>
                <a:gd name="connsiteX3" fmla="*/ 10982 w 145251"/>
                <a:gd name="connsiteY3" fmla="*/ 0 h 115110"/>
                <a:gd name="connsiteX4" fmla="*/ 145251 w 145251"/>
                <a:gd name="connsiteY4" fmla="*/ 93071 h 115110"/>
                <a:gd name="connsiteX5" fmla="*/ 123037 w 145251"/>
                <a:gd name="connsiteY5" fmla="*/ 108149 h 115110"/>
                <a:gd name="connsiteX6" fmla="*/ 89101 w 145251"/>
                <a:gd name="connsiteY6" fmla="*/ 115110 h 115110"/>
                <a:gd name="connsiteX7" fmla="*/ 26453 w 145251"/>
                <a:gd name="connsiteY7" fmla="*/ 90050 h 11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5251" h="115110">
                  <a:moveTo>
                    <a:pt x="26453" y="90050"/>
                  </a:moveTo>
                  <a:cubicBezTo>
                    <a:pt x="9746" y="73344"/>
                    <a:pt x="0" y="51068"/>
                    <a:pt x="0" y="27401"/>
                  </a:cubicBezTo>
                  <a:lnTo>
                    <a:pt x="0" y="26008"/>
                  </a:lnTo>
                  <a:lnTo>
                    <a:pt x="10982" y="0"/>
                  </a:lnTo>
                  <a:lnTo>
                    <a:pt x="145251" y="93071"/>
                  </a:lnTo>
                  <a:lnTo>
                    <a:pt x="123037" y="108149"/>
                  </a:lnTo>
                  <a:cubicBezTo>
                    <a:pt x="112421" y="112674"/>
                    <a:pt x="100936" y="115110"/>
                    <a:pt x="89101" y="115110"/>
                  </a:cubicBezTo>
                  <a:cubicBezTo>
                    <a:pt x="65434" y="115110"/>
                    <a:pt x="43159" y="106756"/>
                    <a:pt x="26453" y="900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D2FD6770-3791-4A82-87D2-F41D30AA61F3}"/>
                </a:ext>
              </a:extLst>
            </p:cNvPr>
            <p:cNvSpPr/>
            <p:nvPr/>
          </p:nvSpPr>
          <p:spPr>
            <a:xfrm rot="8716295">
              <a:off x="2953631" y="488922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109B9DB6-A180-42FF-BEBB-6114EE67841E}"/>
                </a:ext>
              </a:extLst>
            </p:cNvPr>
            <p:cNvSpPr/>
            <p:nvPr/>
          </p:nvSpPr>
          <p:spPr>
            <a:xfrm rot="8716295">
              <a:off x="1125067" y="247965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D4702D56-6C32-4790-8116-5036F59380ED}"/>
                </a:ext>
              </a:extLst>
            </p:cNvPr>
            <p:cNvSpPr/>
            <p:nvPr/>
          </p:nvSpPr>
          <p:spPr>
            <a:xfrm rot="8716295">
              <a:off x="1260365" y="252391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55878CEF-C667-4CA0-83B8-66D034466A4C}"/>
                </a:ext>
              </a:extLst>
            </p:cNvPr>
            <p:cNvSpPr/>
            <p:nvPr/>
          </p:nvSpPr>
          <p:spPr>
            <a:xfrm rot="8716295">
              <a:off x="1192483" y="2393326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E6E1C2BC-10AA-4F2A-83E2-85D799983A4B}"/>
                </a:ext>
              </a:extLst>
            </p:cNvPr>
            <p:cNvSpPr/>
            <p:nvPr/>
          </p:nvSpPr>
          <p:spPr>
            <a:xfrm rot="8716295">
              <a:off x="955196" y="261367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6DA02057-79DE-4340-93FA-D8616C8993CD}"/>
                </a:ext>
              </a:extLst>
            </p:cNvPr>
            <p:cNvSpPr/>
            <p:nvPr/>
          </p:nvSpPr>
          <p:spPr>
            <a:xfrm rot="8716295">
              <a:off x="766149" y="229783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F3D3F9A3-B786-4BB9-92E8-BAA2206B9AFB}"/>
                </a:ext>
              </a:extLst>
            </p:cNvPr>
            <p:cNvSpPr/>
            <p:nvPr/>
          </p:nvSpPr>
          <p:spPr>
            <a:xfrm rot="8716295">
              <a:off x="747908" y="2087785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777BD4C8-2DD8-47D0-9247-9DDE2E15298C}"/>
                </a:ext>
              </a:extLst>
            </p:cNvPr>
            <p:cNvSpPr/>
            <p:nvPr/>
          </p:nvSpPr>
          <p:spPr>
            <a:xfrm rot="8716295">
              <a:off x="1091684" y="2675653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orme libre : forme 58">
              <a:extLst>
                <a:ext uri="{FF2B5EF4-FFF2-40B4-BE49-F238E27FC236}">
                  <a16:creationId xmlns:a16="http://schemas.microsoft.com/office/drawing/2014/main" id="{A1948EB1-3E61-48E9-872F-CED3F8D5CC5E}"/>
                </a:ext>
              </a:extLst>
            </p:cNvPr>
            <p:cNvSpPr/>
            <p:nvPr/>
          </p:nvSpPr>
          <p:spPr>
            <a:xfrm rot="8716295">
              <a:off x="1562630" y="210103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orme libre : forme 59">
              <a:extLst>
                <a:ext uri="{FF2B5EF4-FFF2-40B4-BE49-F238E27FC236}">
                  <a16:creationId xmlns:a16="http://schemas.microsoft.com/office/drawing/2014/main" id="{AF9F2A1A-5C85-4204-9B23-373EE49CB276}"/>
                </a:ext>
              </a:extLst>
            </p:cNvPr>
            <p:cNvSpPr/>
            <p:nvPr/>
          </p:nvSpPr>
          <p:spPr>
            <a:xfrm rot="8716295">
              <a:off x="1697929" y="214529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orme libre : forme 60">
              <a:extLst>
                <a:ext uri="{FF2B5EF4-FFF2-40B4-BE49-F238E27FC236}">
                  <a16:creationId xmlns:a16="http://schemas.microsoft.com/office/drawing/2014/main" id="{4763868B-B7EF-4B8B-B818-D645A2592C05}"/>
                </a:ext>
              </a:extLst>
            </p:cNvPr>
            <p:cNvSpPr/>
            <p:nvPr/>
          </p:nvSpPr>
          <p:spPr>
            <a:xfrm rot="8716295">
              <a:off x="1392759" y="223505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orme libre : forme 61">
              <a:extLst>
                <a:ext uri="{FF2B5EF4-FFF2-40B4-BE49-F238E27FC236}">
                  <a16:creationId xmlns:a16="http://schemas.microsoft.com/office/drawing/2014/main" id="{046CA86F-6D3D-407A-B321-54764D2D59CB}"/>
                </a:ext>
              </a:extLst>
            </p:cNvPr>
            <p:cNvSpPr/>
            <p:nvPr/>
          </p:nvSpPr>
          <p:spPr>
            <a:xfrm rot="8716295">
              <a:off x="1203715" y="191921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orme libre : forme 62">
              <a:extLst>
                <a:ext uri="{FF2B5EF4-FFF2-40B4-BE49-F238E27FC236}">
                  <a16:creationId xmlns:a16="http://schemas.microsoft.com/office/drawing/2014/main" id="{AFD12AFD-CB5D-4640-9FE9-92C355A72778}"/>
                </a:ext>
              </a:extLst>
            </p:cNvPr>
            <p:cNvSpPr/>
            <p:nvPr/>
          </p:nvSpPr>
          <p:spPr>
            <a:xfrm rot="8716295">
              <a:off x="1529248" y="2297037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orme libre : forme 63">
              <a:extLst>
                <a:ext uri="{FF2B5EF4-FFF2-40B4-BE49-F238E27FC236}">
                  <a16:creationId xmlns:a16="http://schemas.microsoft.com/office/drawing/2014/main" id="{59BA9B88-1225-4DFD-8724-1F80AE18C3C2}"/>
                </a:ext>
              </a:extLst>
            </p:cNvPr>
            <p:cNvSpPr/>
            <p:nvPr/>
          </p:nvSpPr>
          <p:spPr>
            <a:xfrm rot="8716295">
              <a:off x="1163801" y="2070611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orme libre : forme 64">
              <a:extLst>
                <a:ext uri="{FF2B5EF4-FFF2-40B4-BE49-F238E27FC236}">
                  <a16:creationId xmlns:a16="http://schemas.microsoft.com/office/drawing/2014/main" id="{1F6A3148-93CD-4912-914F-8421DD424A09}"/>
                </a:ext>
              </a:extLst>
            </p:cNvPr>
            <p:cNvSpPr/>
            <p:nvPr/>
          </p:nvSpPr>
          <p:spPr>
            <a:xfrm rot="7484129">
              <a:off x="1688065" y="258665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orme libre : forme 65">
              <a:extLst>
                <a:ext uri="{FF2B5EF4-FFF2-40B4-BE49-F238E27FC236}">
                  <a16:creationId xmlns:a16="http://schemas.microsoft.com/office/drawing/2014/main" id="{0BDE36BD-7206-4F9A-9356-56E83345F790}"/>
                </a:ext>
              </a:extLst>
            </p:cNvPr>
            <p:cNvSpPr/>
            <p:nvPr/>
          </p:nvSpPr>
          <p:spPr>
            <a:xfrm rot="13089394">
              <a:off x="1846715" y="2536003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orme libre : forme 66">
              <a:extLst>
                <a:ext uri="{FF2B5EF4-FFF2-40B4-BE49-F238E27FC236}">
                  <a16:creationId xmlns:a16="http://schemas.microsoft.com/office/drawing/2014/main" id="{6239D104-F777-403D-9315-E21DA6A3EEC6}"/>
                </a:ext>
              </a:extLst>
            </p:cNvPr>
            <p:cNvSpPr/>
            <p:nvPr/>
          </p:nvSpPr>
          <p:spPr>
            <a:xfrm rot="8716295">
              <a:off x="2127606" y="2245885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7D0AE68E-C325-4D34-A9E9-2281E6887FAE}"/>
                </a:ext>
              </a:extLst>
            </p:cNvPr>
            <p:cNvSpPr/>
            <p:nvPr/>
          </p:nvSpPr>
          <p:spPr>
            <a:xfrm rot="8716295">
              <a:off x="2049197" y="208909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orme libre : forme 68">
              <a:extLst>
                <a:ext uri="{FF2B5EF4-FFF2-40B4-BE49-F238E27FC236}">
                  <a16:creationId xmlns:a16="http://schemas.microsoft.com/office/drawing/2014/main" id="{951597CD-8FD0-420C-8BE6-25D28A25DDE8}"/>
                </a:ext>
              </a:extLst>
            </p:cNvPr>
            <p:cNvSpPr/>
            <p:nvPr/>
          </p:nvSpPr>
          <p:spPr>
            <a:xfrm rot="8716295">
              <a:off x="1681033" y="21348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orme libre : forme 69">
              <a:extLst>
                <a:ext uri="{FF2B5EF4-FFF2-40B4-BE49-F238E27FC236}">
                  <a16:creationId xmlns:a16="http://schemas.microsoft.com/office/drawing/2014/main" id="{A7CD329F-8CED-4DA2-A304-EE2009E4062D}"/>
                </a:ext>
              </a:extLst>
            </p:cNvPr>
            <p:cNvSpPr/>
            <p:nvPr/>
          </p:nvSpPr>
          <p:spPr>
            <a:xfrm rot="8716295">
              <a:off x="1949615" y="189381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orme libre : forme 70">
              <a:extLst>
                <a:ext uri="{FF2B5EF4-FFF2-40B4-BE49-F238E27FC236}">
                  <a16:creationId xmlns:a16="http://schemas.microsoft.com/office/drawing/2014/main" id="{D4BADD55-B2B9-4053-A92A-A804648D0A9D}"/>
                </a:ext>
              </a:extLst>
            </p:cNvPr>
            <p:cNvSpPr/>
            <p:nvPr/>
          </p:nvSpPr>
          <p:spPr>
            <a:xfrm rot="8716295">
              <a:off x="787294" y="148117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orme libre : forme 71">
              <a:extLst>
                <a:ext uri="{FF2B5EF4-FFF2-40B4-BE49-F238E27FC236}">
                  <a16:creationId xmlns:a16="http://schemas.microsoft.com/office/drawing/2014/main" id="{313FE4B5-4E98-415B-AE99-26EEB0846C87}"/>
                </a:ext>
              </a:extLst>
            </p:cNvPr>
            <p:cNvSpPr/>
            <p:nvPr/>
          </p:nvSpPr>
          <p:spPr>
            <a:xfrm rot="8716295">
              <a:off x="922592" y="152543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orme libre : forme 72">
              <a:extLst>
                <a:ext uri="{FF2B5EF4-FFF2-40B4-BE49-F238E27FC236}">
                  <a16:creationId xmlns:a16="http://schemas.microsoft.com/office/drawing/2014/main" id="{2E069437-A0B3-49B8-BC79-1EE3FD296BEA}"/>
                </a:ext>
              </a:extLst>
            </p:cNvPr>
            <p:cNvSpPr/>
            <p:nvPr/>
          </p:nvSpPr>
          <p:spPr>
            <a:xfrm rot="8716295">
              <a:off x="854710" y="1394843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" name="Forme libre : forme 73">
              <a:extLst>
                <a:ext uri="{FF2B5EF4-FFF2-40B4-BE49-F238E27FC236}">
                  <a16:creationId xmlns:a16="http://schemas.microsoft.com/office/drawing/2014/main" id="{6B76B21D-C865-4228-A4DA-51B112FED31F}"/>
                </a:ext>
              </a:extLst>
            </p:cNvPr>
            <p:cNvSpPr/>
            <p:nvPr/>
          </p:nvSpPr>
          <p:spPr>
            <a:xfrm rot="8716295">
              <a:off x="617423" y="161518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" name="Forme libre : forme 74">
              <a:extLst>
                <a:ext uri="{FF2B5EF4-FFF2-40B4-BE49-F238E27FC236}">
                  <a16:creationId xmlns:a16="http://schemas.microsoft.com/office/drawing/2014/main" id="{9C509C7D-5C6F-42FB-9A15-E611792EFEA1}"/>
                </a:ext>
              </a:extLst>
            </p:cNvPr>
            <p:cNvSpPr/>
            <p:nvPr/>
          </p:nvSpPr>
          <p:spPr>
            <a:xfrm rot="8716295">
              <a:off x="428376" y="129935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" name="Forme libre : forme 75">
              <a:extLst>
                <a:ext uri="{FF2B5EF4-FFF2-40B4-BE49-F238E27FC236}">
                  <a16:creationId xmlns:a16="http://schemas.microsoft.com/office/drawing/2014/main" id="{25514701-F05E-45CE-9E8C-F263D950578E}"/>
                </a:ext>
              </a:extLst>
            </p:cNvPr>
            <p:cNvSpPr/>
            <p:nvPr/>
          </p:nvSpPr>
          <p:spPr>
            <a:xfrm rot="8716295">
              <a:off x="410135" y="1089302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" name="Forme libre : forme 76">
              <a:extLst>
                <a:ext uri="{FF2B5EF4-FFF2-40B4-BE49-F238E27FC236}">
                  <a16:creationId xmlns:a16="http://schemas.microsoft.com/office/drawing/2014/main" id="{4F1DD0BF-A36A-4AF7-BAF7-588D33FE30E2}"/>
                </a:ext>
              </a:extLst>
            </p:cNvPr>
            <p:cNvSpPr/>
            <p:nvPr/>
          </p:nvSpPr>
          <p:spPr>
            <a:xfrm rot="8716295">
              <a:off x="753911" y="1677170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" name="Forme libre : forme 77">
              <a:extLst>
                <a:ext uri="{FF2B5EF4-FFF2-40B4-BE49-F238E27FC236}">
                  <a16:creationId xmlns:a16="http://schemas.microsoft.com/office/drawing/2014/main" id="{86EB67B0-A057-4D07-8844-7A83556C99CC}"/>
                </a:ext>
              </a:extLst>
            </p:cNvPr>
            <p:cNvSpPr/>
            <p:nvPr/>
          </p:nvSpPr>
          <p:spPr>
            <a:xfrm rot="8716295">
              <a:off x="1224858" y="1102556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orme libre : forme 78">
              <a:extLst>
                <a:ext uri="{FF2B5EF4-FFF2-40B4-BE49-F238E27FC236}">
                  <a16:creationId xmlns:a16="http://schemas.microsoft.com/office/drawing/2014/main" id="{8B1E7611-C4A8-43A8-BF26-46C4341A14DB}"/>
                </a:ext>
              </a:extLst>
            </p:cNvPr>
            <p:cNvSpPr/>
            <p:nvPr/>
          </p:nvSpPr>
          <p:spPr>
            <a:xfrm rot="8716295">
              <a:off x="1360156" y="1146815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Forme libre : forme 79">
              <a:extLst>
                <a:ext uri="{FF2B5EF4-FFF2-40B4-BE49-F238E27FC236}">
                  <a16:creationId xmlns:a16="http://schemas.microsoft.com/office/drawing/2014/main" id="{BEBD671E-1FA5-4603-8F2B-FA9516AF8638}"/>
                </a:ext>
              </a:extLst>
            </p:cNvPr>
            <p:cNvSpPr/>
            <p:nvPr/>
          </p:nvSpPr>
          <p:spPr>
            <a:xfrm rot="8716295">
              <a:off x="1054986" y="123657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" name="Forme libre : forme 80">
              <a:extLst>
                <a:ext uri="{FF2B5EF4-FFF2-40B4-BE49-F238E27FC236}">
                  <a16:creationId xmlns:a16="http://schemas.microsoft.com/office/drawing/2014/main" id="{F6AD6C56-BF4C-4518-8F9A-D5095F4E40C8}"/>
                </a:ext>
              </a:extLst>
            </p:cNvPr>
            <p:cNvSpPr/>
            <p:nvPr/>
          </p:nvSpPr>
          <p:spPr>
            <a:xfrm rot="8716295">
              <a:off x="865942" y="92073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orme libre : forme 81">
              <a:extLst>
                <a:ext uri="{FF2B5EF4-FFF2-40B4-BE49-F238E27FC236}">
                  <a16:creationId xmlns:a16="http://schemas.microsoft.com/office/drawing/2014/main" id="{4181F286-2CA0-4AF5-9316-EE2B4FDBB08E}"/>
                </a:ext>
              </a:extLst>
            </p:cNvPr>
            <p:cNvSpPr/>
            <p:nvPr/>
          </p:nvSpPr>
          <p:spPr>
            <a:xfrm rot="8716295">
              <a:off x="1191475" y="1298554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Forme libre : forme 82">
              <a:extLst>
                <a:ext uri="{FF2B5EF4-FFF2-40B4-BE49-F238E27FC236}">
                  <a16:creationId xmlns:a16="http://schemas.microsoft.com/office/drawing/2014/main" id="{6E154404-167F-4146-9BEC-311C41267A4F}"/>
                </a:ext>
              </a:extLst>
            </p:cNvPr>
            <p:cNvSpPr/>
            <p:nvPr/>
          </p:nvSpPr>
          <p:spPr>
            <a:xfrm rot="8716295">
              <a:off x="826028" y="1072128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4" name="Forme libre : forme 83">
              <a:extLst>
                <a:ext uri="{FF2B5EF4-FFF2-40B4-BE49-F238E27FC236}">
                  <a16:creationId xmlns:a16="http://schemas.microsoft.com/office/drawing/2014/main" id="{E6806809-8D8F-4EE1-BB26-3F2C826B2E90}"/>
                </a:ext>
              </a:extLst>
            </p:cNvPr>
            <p:cNvSpPr/>
            <p:nvPr/>
          </p:nvSpPr>
          <p:spPr>
            <a:xfrm rot="7484129">
              <a:off x="1350292" y="158817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5" name="Forme libre : forme 84">
              <a:extLst>
                <a:ext uri="{FF2B5EF4-FFF2-40B4-BE49-F238E27FC236}">
                  <a16:creationId xmlns:a16="http://schemas.microsoft.com/office/drawing/2014/main" id="{8AA32DBC-713F-46C2-9609-C454BB2EBAAE}"/>
                </a:ext>
              </a:extLst>
            </p:cNvPr>
            <p:cNvSpPr/>
            <p:nvPr/>
          </p:nvSpPr>
          <p:spPr>
            <a:xfrm rot="13089394">
              <a:off x="1508942" y="1537520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6" name="Forme libre : forme 85">
              <a:extLst>
                <a:ext uri="{FF2B5EF4-FFF2-40B4-BE49-F238E27FC236}">
                  <a16:creationId xmlns:a16="http://schemas.microsoft.com/office/drawing/2014/main" id="{51EBFD3A-7611-46FF-AE7D-0AC9AF9511B5}"/>
                </a:ext>
              </a:extLst>
            </p:cNvPr>
            <p:cNvSpPr/>
            <p:nvPr/>
          </p:nvSpPr>
          <p:spPr>
            <a:xfrm rot="8716295">
              <a:off x="1789833" y="1247402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7" name="Forme libre : forme 86">
              <a:extLst>
                <a:ext uri="{FF2B5EF4-FFF2-40B4-BE49-F238E27FC236}">
                  <a16:creationId xmlns:a16="http://schemas.microsoft.com/office/drawing/2014/main" id="{7BC619E6-2AA2-4557-84AC-D6D182B996C5}"/>
                </a:ext>
              </a:extLst>
            </p:cNvPr>
            <p:cNvSpPr/>
            <p:nvPr/>
          </p:nvSpPr>
          <p:spPr>
            <a:xfrm rot="8716295">
              <a:off x="1711424" y="109061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8" name="Forme libre : forme 87">
              <a:extLst>
                <a:ext uri="{FF2B5EF4-FFF2-40B4-BE49-F238E27FC236}">
                  <a16:creationId xmlns:a16="http://schemas.microsoft.com/office/drawing/2014/main" id="{F81A7437-8336-4876-95A7-BD572FAED152}"/>
                </a:ext>
              </a:extLst>
            </p:cNvPr>
            <p:cNvSpPr/>
            <p:nvPr/>
          </p:nvSpPr>
          <p:spPr>
            <a:xfrm rot="8716295">
              <a:off x="1343261" y="113635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9" name="Forme libre : forme 88">
              <a:extLst>
                <a:ext uri="{FF2B5EF4-FFF2-40B4-BE49-F238E27FC236}">
                  <a16:creationId xmlns:a16="http://schemas.microsoft.com/office/drawing/2014/main" id="{B70DD9BD-1FC9-4B98-8769-B37CAAFCEC17}"/>
                </a:ext>
              </a:extLst>
            </p:cNvPr>
            <p:cNvSpPr/>
            <p:nvPr/>
          </p:nvSpPr>
          <p:spPr>
            <a:xfrm rot="8716295">
              <a:off x="1611842" y="89533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" name="Forme libre : forme 89">
              <a:extLst>
                <a:ext uri="{FF2B5EF4-FFF2-40B4-BE49-F238E27FC236}">
                  <a16:creationId xmlns:a16="http://schemas.microsoft.com/office/drawing/2014/main" id="{DC2940E5-7415-40BB-B706-4016B27C3DB2}"/>
                </a:ext>
              </a:extLst>
            </p:cNvPr>
            <p:cNvSpPr/>
            <p:nvPr/>
          </p:nvSpPr>
          <p:spPr>
            <a:xfrm rot="8716295">
              <a:off x="455920" y="47911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" name="Forme libre : forme 90">
              <a:extLst>
                <a:ext uri="{FF2B5EF4-FFF2-40B4-BE49-F238E27FC236}">
                  <a16:creationId xmlns:a16="http://schemas.microsoft.com/office/drawing/2014/main" id="{52585AAE-B2D0-438C-BC9F-C750F15F890C}"/>
                </a:ext>
              </a:extLst>
            </p:cNvPr>
            <p:cNvSpPr/>
            <p:nvPr/>
          </p:nvSpPr>
          <p:spPr>
            <a:xfrm rot="8716295">
              <a:off x="591219" y="52337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" name="Forme libre : forme 91">
              <a:extLst>
                <a:ext uri="{FF2B5EF4-FFF2-40B4-BE49-F238E27FC236}">
                  <a16:creationId xmlns:a16="http://schemas.microsoft.com/office/drawing/2014/main" id="{E63C71D8-D175-46A8-AA42-AB77BF57CFF3}"/>
                </a:ext>
              </a:extLst>
            </p:cNvPr>
            <p:cNvSpPr/>
            <p:nvPr/>
          </p:nvSpPr>
          <p:spPr>
            <a:xfrm rot="8716295">
              <a:off x="523336" y="39278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" name="Forme libre : forme 92">
              <a:extLst>
                <a:ext uri="{FF2B5EF4-FFF2-40B4-BE49-F238E27FC236}">
                  <a16:creationId xmlns:a16="http://schemas.microsoft.com/office/drawing/2014/main" id="{C200F3C8-A4FA-4E06-9F43-7329A49AF0A1}"/>
                </a:ext>
              </a:extLst>
            </p:cNvPr>
            <p:cNvSpPr/>
            <p:nvPr/>
          </p:nvSpPr>
          <p:spPr>
            <a:xfrm rot="8716295">
              <a:off x="286049" y="6131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" name="Forme libre : forme 93">
              <a:extLst>
                <a:ext uri="{FF2B5EF4-FFF2-40B4-BE49-F238E27FC236}">
                  <a16:creationId xmlns:a16="http://schemas.microsoft.com/office/drawing/2014/main" id="{154A22C5-EC1E-43BA-ACAF-79BC6F3D576D}"/>
                </a:ext>
              </a:extLst>
            </p:cNvPr>
            <p:cNvSpPr/>
            <p:nvPr/>
          </p:nvSpPr>
          <p:spPr>
            <a:xfrm rot="8716295">
              <a:off x="97003" y="2972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orme libre : forme 94">
              <a:extLst>
                <a:ext uri="{FF2B5EF4-FFF2-40B4-BE49-F238E27FC236}">
                  <a16:creationId xmlns:a16="http://schemas.microsoft.com/office/drawing/2014/main" id="{046AC798-93FA-43CE-B018-2724737AFAB7}"/>
                </a:ext>
              </a:extLst>
            </p:cNvPr>
            <p:cNvSpPr/>
            <p:nvPr/>
          </p:nvSpPr>
          <p:spPr>
            <a:xfrm rot="8716295">
              <a:off x="78761" y="87249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Forme libre : forme 95">
              <a:extLst>
                <a:ext uri="{FF2B5EF4-FFF2-40B4-BE49-F238E27FC236}">
                  <a16:creationId xmlns:a16="http://schemas.microsoft.com/office/drawing/2014/main" id="{7EB63D12-C97A-4806-9B7E-492DAF5A8D97}"/>
                </a:ext>
              </a:extLst>
            </p:cNvPr>
            <p:cNvSpPr/>
            <p:nvPr/>
          </p:nvSpPr>
          <p:spPr>
            <a:xfrm rot="8716295">
              <a:off x="422537" y="67511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" name="Forme libre : forme 96">
              <a:extLst>
                <a:ext uri="{FF2B5EF4-FFF2-40B4-BE49-F238E27FC236}">
                  <a16:creationId xmlns:a16="http://schemas.microsoft.com/office/drawing/2014/main" id="{1806B75B-8705-4074-AEFF-3715A3B4A58C}"/>
                </a:ext>
              </a:extLst>
            </p:cNvPr>
            <p:cNvSpPr/>
            <p:nvPr/>
          </p:nvSpPr>
          <p:spPr>
            <a:xfrm rot="8716295">
              <a:off x="893484" y="10050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" name="Forme libre : forme 97">
              <a:extLst>
                <a:ext uri="{FF2B5EF4-FFF2-40B4-BE49-F238E27FC236}">
                  <a16:creationId xmlns:a16="http://schemas.microsoft.com/office/drawing/2014/main" id="{AB690B93-68A6-412B-BE9D-7BF4A62DFBAE}"/>
                </a:ext>
              </a:extLst>
            </p:cNvPr>
            <p:cNvSpPr/>
            <p:nvPr/>
          </p:nvSpPr>
          <p:spPr>
            <a:xfrm rot="8716295">
              <a:off x="1028783" y="14476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" name="Forme libre : forme 98">
              <a:extLst>
                <a:ext uri="{FF2B5EF4-FFF2-40B4-BE49-F238E27FC236}">
                  <a16:creationId xmlns:a16="http://schemas.microsoft.com/office/drawing/2014/main" id="{CF4399C2-6A4B-4B09-A803-90528B9B6BB5}"/>
                </a:ext>
              </a:extLst>
            </p:cNvPr>
            <p:cNvSpPr/>
            <p:nvPr/>
          </p:nvSpPr>
          <p:spPr>
            <a:xfrm rot="8716295">
              <a:off x="723613" y="23451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orme libre : forme 99">
              <a:extLst>
                <a:ext uri="{FF2B5EF4-FFF2-40B4-BE49-F238E27FC236}">
                  <a16:creationId xmlns:a16="http://schemas.microsoft.com/office/drawing/2014/main" id="{244D8443-8208-40F5-B1CF-110ABB79D7E7}"/>
                </a:ext>
              </a:extLst>
            </p:cNvPr>
            <p:cNvSpPr/>
            <p:nvPr/>
          </p:nvSpPr>
          <p:spPr>
            <a:xfrm rot="8716295">
              <a:off x="547803" y="-17289"/>
              <a:ext cx="308531" cy="226033"/>
            </a:xfrm>
            <a:custGeom>
              <a:avLst/>
              <a:gdLst>
                <a:gd name="connsiteX0" fmla="*/ 106716 w 203847"/>
                <a:gd name="connsiteY0" fmla="*/ 149340 h 149340"/>
                <a:gd name="connsiteX1" fmla="*/ 50038 w 203847"/>
                <a:gd name="connsiteY1" fmla="*/ 110053 h 149340"/>
                <a:gd name="connsiteX2" fmla="*/ 69777 w 203847"/>
                <a:gd name="connsiteY2" fmla="*/ 55323 h 149340"/>
                <a:gd name="connsiteX3" fmla="*/ 0 w 203847"/>
                <a:gd name="connsiteY3" fmla="*/ 55323 h 149340"/>
                <a:gd name="connsiteX4" fmla="*/ 0 w 203847"/>
                <a:gd name="connsiteY4" fmla="*/ 0 h 149340"/>
                <a:gd name="connsiteX5" fmla="*/ 203847 w 203847"/>
                <a:gd name="connsiteY5" fmla="*/ 0 h 149340"/>
                <a:gd name="connsiteX6" fmla="*/ 203847 w 203847"/>
                <a:gd name="connsiteY6" fmla="*/ 55323 h 149340"/>
                <a:gd name="connsiteX7" fmla="*/ 139055 w 203847"/>
                <a:gd name="connsiteY7" fmla="*/ 55323 h 14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49340">
                  <a:moveTo>
                    <a:pt x="106716" y="149340"/>
                  </a:moveTo>
                  <a:lnTo>
                    <a:pt x="50038" y="110053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Forme libre : forme 100">
              <a:extLst>
                <a:ext uri="{FF2B5EF4-FFF2-40B4-BE49-F238E27FC236}">
                  <a16:creationId xmlns:a16="http://schemas.microsoft.com/office/drawing/2014/main" id="{1DC1AB77-DFBD-48D5-BA47-D445EDCA0CEF}"/>
                </a:ext>
              </a:extLst>
            </p:cNvPr>
            <p:cNvSpPr/>
            <p:nvPr/>
          </p:nvSpPr>
          <p:spPr>
            <a:xfrm rot="8716295">
              <a:off x="860101" y="29650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" name="Forme libre : forme 101">
              <a:extLst>
                <a:ext uri="{FF2B5EF4-FFF2-40B4-BE49-F238E27FC236}">
                  <a16:creationId xmlns:a16="http://schemas.microsoft.com/office/drawing/2014/main" id="{F59B8FC1-4AE7-4990-AF75-539F5B58458B}"/>
                </a:ext>
              </a:extLst>
            </p:cNvPr>
            <p:cNvSpPr/>
            <p:nvPr/>
          </p:nvSpPr>
          <p:spPr>
            <a:xfrm rot="8716295">
              <a:off x="494655" y="7007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" name="Forme libre : forme 102">
              <a:extLst>
                <a:ext uri="{FF2B5EF4-FFF2-40B4-BE49-F238E27FC236}">
                  <a16:creationId xmlns:a16="http://schemas.microsoft.com/office/drawing/2014/main" id="{868AEFC4-250F-471C-A43A-28F6923BB61D}"/>
                </a:ext>
              </a:extLst>
            </p:cNvPr>
            <p:cNvSpPr/>
            <p:nvPr/>
          </p:nvSpPr>
          <p:spPr>
            <a:xfrm rot="7484129">
              <a:off x="1018919" y="58611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" name="Forme libre : forme 103">
              <a:extLst>
                <a:ext uri="{FF2B5EF4-FFF2-40B4-BE49-F238E27FC236}">
                  <a16:creationId xmlns:a16="http://schemas.microsoft.com/office/drawing/2014/main" id="{7720FECD-8541-443F-AFBA-99868EB29B55}"/>
                </a:ext>
              </a:extLst>
            </p:cNvPr>
            <p:cNvSpPr/>
            <p:nvPr/>
          </p:nvSpPr>
          <p:spPr>
            <a:xfrm rot="13089394">
              <a:off x="1177568" y="53546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" name="Forme libre : forme 104">
              <a:extLst>
                <a:ext uri="{FF2B5EF4-FFF2-40B4-BE49-F238E27FC236}">
                  <a16:creationId xmlns:a16="http://schemas.microsoft.com/office/drawing/2014/main" id="{EC21D4C1-E07B-4E45-A18C-FDC88EB32F75}"/>
                </a:ext>
              </a:extLst>
            </p:cNvPr>
            <p:cNvSpPr/>
            <p:nvPr/>
          </p:nvSpPr>
          <p:spPr>
            <a:xfrm rot="8716295">
              <a:off x="1458459" y="24534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" name="Forme libre : forme 105">
              <a:extLst>
                <a:ext uri="{FF2B5EF4-FFF2-40B4-BE49-F238E27FC236}">
                  <a16:creationId xmlns:a16="http://schemas.microsoft.com/office/drawing/2014/main" id="{F27332C2-A714-4595-B5C0-9F2B9BA6FD2B}"/>
                </a:ext>
              </a:extLst>
            </p:cNvPr>
            <p:cNvSpPr/>
            <p:nvPr/>
          </p:nvSpPr>
          <p:spPr>
            <a:xfrm rot="8716295">
              <a:off x="1380050" y="8855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" name="Forme libre : forme 106">
              <a:extLst>
                <a:ext uri="{FF2B5EF4-FFF2-40B4-BE49-F238E27FC236}">
                  <a16:creationId xmlns:a16="http://schemas.microsoft.com/office/drawing/2014/main" id="{674A78BA-4944-4138-B4F5-A2FBC8048D50}"/>
                </a:ext>
              </a:extLst>
            </p:cNvPr>
            <p:cNvSpPr/>
            <p:nvPr/>
          </p:nvSpPr>
          <p:spPr>
            <a:xfrm rot="8716295">
              <a:off x="1011887" y="13429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" name="Forme libre : forme 107">
              <a:extLst>
                <a:ext uri="{FF2B5EF4-FFF2-40B4-BE49-F238E27FC236}">
                  <a16:creationId xmlns:a16="http://schemas.microsoft.com/office/drawing/2014/main" id="{7D76DD03-F270-4ACF-B774-06410BC28EE6}"/>
                </a:ext>
              </a:extLst>
            </p:cNvPr>
            <p:cNvSpPr/>
            <p:nvPr/>
          </p:nvSpPr>
          <p:spPr>
            <a:xfrm rot="8716295">
              <a:off x="1291652" y="-36449"/>
              <a:ext cx="134197" cy="106947"/>
            </a:xfrm>
            <a:custGeom>
              <a:avLst/>
              <a:gdLst>
                <a:gd name="connsiteX0" fmla="*/ 83649 w 88664"/>
                <a:gd name="connsiteY0" fmla="*/ 70660 h 70660"/>
                <a:gd name="connsiteX1" fmla="*/ 0 w 88664"/>
                <a:gd name="connsiteY1" fmla="*/ 12677 h 70660"/>
                <a:gd name="connsiteX2" fmla="*/ 30024 w 88664"/>
                <a:gd name="connsiteY2" fmla="*/ 0 h 70660"/>
                <a:gd name="connsiteX3" fmla="*/ 71417 w 88664"/>
                <a:gd name="connsiteY3" fmla="*/ 17477 h 70660"/>
                <a:gd name="connsiteX4" fmla="*/ 88664 w 88664"/>
                <a:gd name="connsiteY4" fmla="*/ 58525 h 70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664" h="70660">
                  <a:moveTo>
                    <a:pt x="83649" y="70660"/>
                  </a:moveTo>
                  <a:lnTo>
                    <a:pt x="0" y="12677"/>
                  </a:lnTo>
                  <a:lnTo>
                    <a:pt x="30024" y="0"/>
                  </a:lnTo>
                  <a:cubicBezTo>
                    <a:pt x="45662" y="0"/>
                    <a:pt x="60379" y="6439"/>
                    <a:pt x="71417" y="17477"/>
                  </a:cubicBezTo>
                  <a:cubicBezTo>
                    <a:pt x="82915" y="28515"/>
                    <a:pt x="88664" y="43462"/>
                    <a:pt x="88664" y="58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" name="Forme libre : forme 108">
              <a:extLst>
                <a:ext uri="{FF2B5EF4-FFF2-40B4-BE49-F238E27FC236}">
                  <a16:creationId xmlns:a16="http://schemas.microsoft.com/office/drawing/2014/main" id="{3E28A378-29F9-4E63-8D2F-7910EE2CA370}"/>
                </a:ext>
              </a:extLst>
            </p:cNvPr>
            <p:cNvSpPr/>
            <p:nvPr/>
          </p:nvSpPr>
          <p:spPr>
            <a:xfrm rot="13089394">
              <a:off x="990163" y="-39748"/>
              <a:ext cx="111277" cy="115595"/>
            </a:xfrm>
            <a:custGeom>
              <a:avLst/>
              <a:gdLst>
                <a:gd name="connsiteX0" fmla="*/ 73521 w 73521"/>
                <a:gd name="connsiteY0" fmla="*/ 18609 h 76374"/>
                <a:gd name="connsiteX1" fmla="*/ 0 w 73521"/>
                <a:gd name="connsiteY1" fmla="*/ 76374 h 76374"/>
                <a:gd name="connsiteX2" fmla="*/ 0 w 73521"/>
                <a:gd name="connsiteY2" fmla="*/ 38074 h 76374"/>
                <a:gd name="connsiteX3" fmla="*/ 73388 w 73521"/>
                <a:gd name="connsiteY3" fmla="*/ 0 h 7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521" h="76374">
                  <a:moveTo>
                    <a:pt x="73521" y="18609"/>
                  </a:moveTo>
                  <a:lnTo>
                    <a:pt x="0" y="76374"/>
                  </a:lnTo>
                  <a:lnTo>
                    <a:pt x="0" y="38074"/>
                  </a:lnTo>
                  <a:lnTo>
                    <a:pt x="7338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" name="Forme libre : forme 109">
              <a:extLst>
                <a:ext uri="{FF2B5EF4-FFF2-40B4-BE49-F238E27FC236}">
                  <a16:creationId xmlns:a16="http://schemas.microsoft.com/office/drawing/2014/main" id="{F1CC83E5-A4EB-42DD-9A17-370BFA21AAE9}"/>
                </a:ext>
              </a:extLst>
            </p:cNvPr>
            <p:cNvSpPr/>
            <p:nvPr/>
          </p:nvSpPr>
          <p:spPr>
            <a:xfrm rot="8716295">
              <a:off x="121288" y="414134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" name="Forme libre : forme 110">
              <a:extLst>
                <a:ext uri="{FF2B5EF4-FFF2-40B4-BE49-F238E27FC236}">
                  <a16:creationId xmlns:a16="http://schemas.microsoft.com/office/drawing/2014/main" id="{9526DB8B-159A-416E-9CE4-0D6F2D18F32F}"/>
                </a:ext>
              </a:extLst>
            </p:cNvPr>
            <p:cNvSpPr/>
            <p:nvPr/>
          </p:nvSpPr>
          <p:spPr>
            <a:xfrm rot="8716295">
              <a:off x="256586" y="418560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" name="Forme libre : forme 111">
              <a:extLst>
                <a:ext uri="{FF2B5EF4-FFF2-40B4-BE49-F238E27FC236}">
                  <a16:creationId xmlns:a16="http://schemas.microsoft.com/office/drawing/2014/main" id="{8B12B296-AAE6-463A-B5CB-324F979AE957}"/>
                </a:ext>
              </a:extLst>
            </p:cNvPr>
            <p:cNvSpPr/>
            <p:nvPr/>
          </p:nvSpPr>
          <p:spPr>
            <a:xfrm rot="8716295">
              <a:off x="188704" y="405501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" name="Forme libre : forme 112">
              <a:extLst>
                <a:ext uri="{FF2B5EF4-FFF2-40B4-BE49-F238E27FC236}">
                  <a16:creationId xmlns:a16="http://schemas.microsoft.com/office/drawing/2014/main" id="{9A3F4C45-E84E-45F4-A1D8-E67A24057076}"/>
                </a:ext>
              </a:extLst>
            </p:cNvPr>
            <p:cNvSpPr/>
            <p:nvPr/>
          </p:nvSpPr>
          <p:spPr>
            <a:xfrm rot="8716295">
              <a:off x="-22408" y="4278013"/>
              <a:ext cx="57413" cy="71926"/>
            </a:xfrm>
            <a:custGeom>
              <a:avLst/>
              <a:gdLst>
                <a:gd name="connsiteX0" fmla="*/ 11441 w 57413"/>
                <a:gd name="connsiteY0" fmla="*/ 71926 h 71926"/>
                <a:gd name="connsiteX1" fmla="*/ 0 w 57413"/>
                <a:gd name="connsiteY1" fmla="*/ 44829 h 71926"/>
                <a:gd name="connsiteX2" fmla="*/ 0 w 57413"/>
                <a:gd name="connsiteY2" fmla="*/ 44139 h 71926"/>
                <a:gd name="connsiteX3" fmla="*/ 13104 w 57413"/>
                <a:gd name="connsiteY3" fmla="*/ 13104 h 71926"/>
                <a:gd name="connsiteX4" fmla="*/ 44139 w 57413"/>
                <a:gd name="connsiteY4" fmla="*/ 0 h 71926"/>
                <a:gd name="connsiteX5" fmla="*/ 57413 w 57413"/>
                <a:gd name="connsiteY5" fmla="*/ 5605 h 71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413" h="71926">
                  <a:moveTo>
                    <a:pt x="11441" y="71926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lnTo>
                    <a:pt x="57413" y="5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" name="Forme libre : forme 113">
              <a:extLst>
                <a:ext uri="{FF2B5EF4-FFF2-40B4-BE49-F238E27FC236}">
                  <a16:creationId xmlns:a16="http://schemas.microsoft.com/office/drawing/2014/main" id="{9EDF78AD-4158-4BDF-B490-2317803ACA6E}"/>
                </a:ext>
              </a:extLst>
            </p:cNvPr>
            <p:cNvSpPr/>
            <p:nvPr/>
          </p:nvSpPr>
          <p:spPr>
            <a:xfrm rot="8716295">
              <a:off x="-36969" y="4107248"/>
              <a:ext cx="147272" cy="83734"/>
            </a:xfrm>
            <a:custGeom>
              <a:avLst/>
              <a:gdLst>
                <a:gd name="connsiteX0" fmla="*/ 0 w 147272"/>
                <a:gd name="connsiteY0" fmla="*/ 83734 h 83734"/>
                <a:gd name="connsiteX1" fmla="*/ 0 w 147272"/>
                <a:gd name="connsiteY1" fmla="*/ 0 h 83734"/>
                <a:gd name="connsiteX2" fmla="*/ 147272 w 147272"/>
                <a:gd name="connsiteY2" fmla="*/ 0 h 83734"/>
                <a:gd name="connsiteX3" fmla="*/ 89230 w 147272"/>
                <a:gd name="connsiteY3" fmla="*/ 83734 h 83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272" h="83734">
                  <a:moveTo>
                    <a:pt x="0" y="83734"/>
                  </a:moveTo>
                  <a:lnTo>
                    <a:pt x="0" y="0"/>
                  </a:lnTo>
                  <a:lnTo>
                    <a:pt x="147272" y="0"/>
                  </a:lnTo>
                  <a:lnTo>
                    <a:pt x="89230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" name="Forme libre : forme 114">
              <a:extLst>
                <a:ext uri="{FF2B5EF4-FFF2-40B4-BE49-F238E27FC236}">
                  <a16:creationId xmlns:a16="http://schemas.microsoft.com/office/drawing/2014/main" id="{18A6ED0C-2A06-421B-B360-5120C1917E60}"/>
                </a:ext>
              </a:extLst>
            </p:cNvPr>
            <p:cNvSpPr/>
            <p:nvPr/>
          </p:nvSpPr>
          <p:spPr>
            <a:xfrm rot="8716295">
              <a:off x="43378" y="3712531"/>
              <a:ext cx="125537" cy="468763"/>
            </a:xfrm>
            <a:custGeom>
              <a:avLst/>
              <a:gdLst>
                <a:gd name="connsiteX0" fmla="*/ 29455 w 125537"/>
                <a:gd name="connsiteY0" fmla="*/ 468763 h 468763"/>
                <a:gd name="connsiteX1" fmla="*/ 7792 w 125537"/>
                <a:gd name="connsiteY1" fmla="*/ 425988 h 468763"/>
                <a:gd name="connsiteX2" fmla="*/ 0 w 125537"/>
                <a:gd name="connsiteY2" fmla="*/ 333043 h 468763"/>
                <a:gd name="connsiteX3" fmla="*/ 0 w 125537"/>
                <a:gd name="connsiteY3" fmla="*/ 61444 h 468763"/>
                <a:gd name="connsiteX4" fmla="*/ 118434 w 125537"/>
                <a:gd name="connsiteY4" fmla="*/ 0 h 468763"/>
                <a:gd name="connsiteX5" fmla="*/ 120216 w 125537"/>
                <a:gd name="connsiteY5" fmla="*/ 248447 h 468763"/>
                <a:gd name="connsiteX6" fmla="*/ 123889 w 125537"/>
                <a:gd name="connsiteY6" fmla="*/ 323359 h 468763"/>
                <a:gd name="connsiteX7" fmla="*/ 125537 w 125537"/>
                <a:gd name="connsiteY7" fmla="*/ 330150 h 468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537" h="468763">
                  <a:moveTo>
                    <a:pt x="29455" y="468763"/>
                  </a:moveTo>
                  <a:lnTo>
                    <a:pt x="7792" y="425988"/>
                  </a:lnTo>
                  <a:cubicBezTo>
                    <a:pt x="2003" y="400498"/>
                    <a:pt x="0" y="369553"/>
                    <a:pt x="0" y="333043"/>
                  </a:cubicBezTo>
                  <a:lnTo>
                    <a:pt x="0" y="61444"/>
                  </a:lnTo>
                  <a:lnTo>
                    <a:pt x="118434" y="0"/>
                  </a:lnTo>
                  <a:lnTo>
                    <a:pt x="120216" y="248447"/>
                  </a:lnTo>
                  <a:cubicBezTo>
                    <a:pt x="118880" y="273381"/>
                    <a:pt x="120216" y="298537"/>
                    <a:pt x="123889" y="323359"/>
                  </a:cubicBezTo>
                  <a:lnTo>
                    <a:pt x="125537" y="3301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" name="Forme libre : forme 115">
              <a:extLst>
                <a:ext uri="{FF2B5EF4-FFF2-40B4-BE49-F238E27FC236}">
                  <a16:creationId xmlns:a16="http://schemas.microsoft.com/office/drawing/2014/main" id="{E0FDC8EF-8848-4C0A-9102-11E05499477A}"/>
                </a:ext>
              </a:extLst>
            </p:cNvPr>
            <p:cNvSpPr/>
            <p:nvPr/>
          </p:nvSpPr>
          <p:spPr>
            <a:xfrm rot="8716295">
              <a:off x="87905" y="4337347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" name="Forme libre : forme 116">
              <a:extLst>
                <a:ext uri="{FF2B5EF4-FFF2-40B4-BE49-F238E27FC236}">
                  <a16:creationId xmlns:a16="http://schemas.microsoft.com/office/drawing/2014/main" id="{5A06B087-2ED7-4364-B770-117460F6509C}"/>
                </a:ext>
              </a:extLst>
            </p:cNvPr>
            <p:cNvSpPr/>
            <p:nvPr/>
          </p:nvSpPr>
          <p:spPr>
            <a:xfrm rot="8716295">
              <a:off x="558851" y="376273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" name="Forme libre : forme 117">
              <a:extLst>
                <a:ext uri="{FF2B5EF4-FFF2-40B4-BE49-F238E27FC236}">
                  <a16:creationId xmlns:a16="http://schemas.microsoft.com/office/drawing/2014/main" id="{A9CE4EB9-9050-492E-8BE3-E347F06FFDC2}"/>
                </a:ext>
              </a:extLst>
            </p:cNvPr>
            <p:cNvSpPr/>
            <p:nvPr/>
          </p:nvSpPr>
          <p:spPr>
            <a:xfrm rot="8716295">
              <a:off x="694150" y="380699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" name="Forme libre : forme 118">
              <a:extLst>
                <a:ext uri="{FF2B5EF4-FFF2-40B4-BE49-F238E27FC236}">
                  <a16:creationId xmlns:a16="http://schemas.microsoft.com/office/drawing/2014/main" id="{760AB253-194C-499B-8D42-794DA9755956}"/>
                </a:ext>
              </a:extLst>
            </p:cNvPr>
            <p:cNvSpPr/>
            <p:nvPr/>
          </p:nvSpPr>
          <p:spPr>
            <a:xfrm rot="8716295">
              <a:off x="388980" y="389674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" name="Forme libre : forme 119">
              <a:extLst>
                <a:ext uri="{FF2B5EF4-FFF2-40B4-BE49-F238E27FC236}">
                  <a16:creationId xmlns:a16="http://schemas.microsoft.com/office/drawing/2014/main" id="{40898D3E-1FCF-4F50-8E01-1AFEA6AF3C33}"/>
                </a:ext>
              </a:extLst>
            </p:cNvPr>
            <p:cNvSpPr/>
            <p:nvPr/>
          </p:nvSpPr>
          <p:spPr>
            <a:xfrm rot="8716295">
              <a:off x="199936" y="358091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" name="Forme libre : forme 120">
              <a:extLst>
                <a:ext uri="{FF2B5EF4-FFF2-40B4-BE49-F238E27FC236}">
                  <a16:creationId xmlns:a16="http://schemas.microsoft.com/office/drawing/2014/main" id="{D3FAD429-F566-4023-B7BD-D5217FAA5D96}"/>
                </a:ext>
              </a:extLst>
            </p:cNvPr>
            <p:cNvSpPr/>
            <p:nvPr/>
          </p:nvSpPr>
          <p:spPr>
            <a:xfrm rot="8716295">
              <a:off x="525469" y="3958731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" name="Forme libre : forme 121">
              <a:extLst>
                <a:ext uri="{FF2B5EF4-FFF2-40B4-BE49-F238E27FC236}">
                  <a16:creationId xmlns:a16="http://schemas.microsoft.com/office/drawing/2014/main" id="{D20A67B5-6AA2-4AB0-B207-C07057BDE093}"/>
                </a:ext>
              </a:extLst>
            </p:cNvPr>
            <p:cNvSpPr/>
            <p:nvPr/>
          </p:nvSpPr>
          <p:spPr>
            <a:xfrm rot="8716295">
              <a:off x="160022" y="3732305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" name="Forme libre : forme 122">
              <a:extLst>
                <a:ext uri="{FF2B5EF4-FFF2-40B4-BE49-F238E27FC236}">
                  <a16:creationId xmlns:a16="http://schemas.microsoft.com/office/drawing/2014/main" id="{91FEBD80-6813-4F8F-ACF7-9087BB051204}"/>
                </a:ext>
              </a:extLst>
            </p:cNvPr>
            <p:cNvSpPr/>
            <p:nvPr/>
          </p:nvSpPr>
          <p:spPr>
            <a:xfrm rot="7484129">
              <a:off x="684286" y="424834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" name="Forme libre : forme 123">
              <a:extLst>
                <a:ext uri="{FF2B5EF4-FFF2-40B4-BE49-F238E27FC236}">
                  <a16:creationId xmlns:a16="http://schemas.microsoft.com/office/drawing/2014/main" id="{4CAAD98F-1BEB-4716-B4A0-F4F1C4393647}"/>
                </a:ext>
              </a:extLst>
            </p:cNvPr>
            <p:cNvSpPr/>
            <p:nvPr/>
          </p:nvSpPr>
          <p:spPr>
            <a:xfrm rot="13089394">
              <a:off x="842936" y="4197697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" name="Forme libre : forme 124">
              <a:extLst>
                <a:ext uri="{FF2B5EF4-FFF2-40B4-BE49-F238E27FC236}">
                  <a16:creationId xmlns:a16="http://schemas.microsoft.com/office/drawing/2014/main" id="{B934D86F-56B5-4940-9189-1F845F67AF3D}"/>
                </a:ext>
              </a:extLst>
            </p:cNvPr>
            <p:cNvSpPr/>
            <p:nvPr/>
          </p:nvSpPr>
          <p:spPr>
            <a:xfrm rot="8716295">
              <a:off x="1123827" y="390757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" name="Forme libre : forme 125">
              <a:extLst>
                <a:ext uri="{FF2B5EF4-FFF2-40B4-BE49-F238E27FC236}">
                  <a16:creationId xmlns:a16="http://schemas.microsoft.com/office/drawing/2014/main" id="{0BB740E0-5261-47F5-A043-EC9887338951}"/>
                </a:ext>
              </a:extLst>
            </p:cNvPr>
            <p:cNvSpPr/>
            <p:nvPr/>
          </p:nvSpPr>
          <p:spPr>
            <a:xfrm rot="8716295">
              <a:off x="1045418" y="375078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" name="Forme libre : forme 126">
              <a:extLst>
                <a:ext uri="{FF2B5EF4-FFF2-40B4-BE49-F238E27FC236}">
                  <a16:creationId xmlns:a16="http://schemas.microsoft.com/office/drawing/2014/main" id="{07B02AA0-438E-4A9F-9E86-C7798EAE77E1}"/>
                </a:ext>
              </a:extLst>
            </p:cNvPr>
            <p:cNvSpPr/>
            <p:nvPr/>
          </p:nvSpPr>
          <p:spPr>
            <a:xfrm rot="8716295">
              <a:off x="677254" y="379652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" name="Forme libre : forme 127">
              <a:extLst>
                <a:ext uri="{FF2B5EF4-FFF2-40B4-BE49-F238E27FC236}">
                  <a16:creationId xmlns:a16="http://schemas.microsoft.com/office/drawing/2014/main" id="{500903EF-2A49-42E8-AD78-049F43A296FF}"/>
                </a:ext>
              </a:extLst>
            </p:cNvPr>
            <p:cNvSpPr/>
            <p:nvPr/>
          </p:nvSpPr>
          <p:spPr>
            <a:xfrm rot="8716295">
              <a:off x="945836" y="355550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" name="Forme libre : forme 128">
              <a:extLst>
                <a:ext uri="{FF2B5EF4-FFF2-40B4-BE49-F238E27FC236}">
                  <a16:creationId xmlns:a16="http://schemas.microsoft.com/office/drawing/2014/main" id="{480AF78A-BA1A-4D97-9E00-1B9DCCFB07D3}"/>
                </a:ext>
              </a:extLst>
            </p:cNvPr>
            <p:cNvSpPr/>
            <p:nvPr/>
          </p:nvSpPr>
          <p:spPr>
            <a:xfrm rot="8716295">
              <a:off x="601570" y="5027951"/>
              <a:ext cx="169680" cy="113030"/>
            </a:xfrm>
            <a:custGeom>
              <a:avLst/>
              <a:gdLst>
                <a:gd name="connsiteX0" fmla="*/ 8965 w 169680"/>
                <a:gd name="connsiteY0" fmla="*/ 113030 h 113030"/>
                <a:gd name="connsiteX1" fmla="*/ 0 w 169680"/>
                <a:gd name="connsiteY1" fmla="*/ 100616 h 113030"/>
                <a:gd name="connsiteX2" fmla="*/ 106933 w 169680"/>
                <a:gd name="connsiteY2" fmla="*/ 0 h 113030"/>
                <a:gd name="connsiteX3" fmla="*/ 169680 w 169680"/>
                <a:gd name="connsiteY3" fmla="*/ 43494 h 113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680" h="113030">
                  <a:moveTo>
                    <a:pt x="8965" y="113030"/>
                  </a:moveTo>
                  <a:lnTo>
                    <a:pt x="0" y="100616"/>
                  </a:lnTo>
                  <a:lnTo>
                    <a:pt x="106933" y="0"/>
                  </a:lnTo>
                  <a:lnTo>
                    <a:pt x="169680" y="434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" name="Forme libre : forme 129">
              <a:extLst>
                <a:ext uri="{FF2B5EF4-FFF2-40B4-BE49-F238E27FC236}">
                  <a16:creationId xmlns:a16="http://schemas.microsoft.com/office/drawing/2014/main" id="{EE8617F6-3CC3-49C7-A836-7CB9E4E540AD}"/>
                </a:ext>
              </a:extLst>
            </p:cNvPr>
            <p:cNvSpPr/>
            <p:nvPr/>
          </p:nvSpPr>
          <p:spPr>
            <a:xfrm rot="8716295">
              <a:off x="197311" y="4925365"/>
              <a:ext cx="194366" cy="296463"/>
            </a:xfrm>
            <a:custGeom>
              <a:avLst/>
              <a:gdLst>
                <a:gd name="connsiteX0" fmla="*/ 137293 w 194366"/>
                <a:gd name="connsiteY0" fmla="*/ 296463 h 296463"/>
                <a:gd name="connsiteX1" fmla="*/ 72418 w 194366"/>
                <a:gd name="connsiteY1" fmla="*/ 175766 h 296463"/>
                <a:gd name="connsiteX2" fmla="*/ 105610 w 194366"/>
                <a:gd name="connsiteY2" fmla="*/ 83734 h 296463"/>
                <a:gd name="connsiteX3" fmla="*/ 0 w 194366"/>
                <a:gd name="connsiteY3" fmla="*/ 83734 h 296463"/>
                <a:gd name="connsiteX4" fmla="*/ 0 w 194366"/>
                <a:gd name="connsiteY4" fmla="*/ 0 h 296463"/>
                <a:gd name="connsiteX5" fmla="*/ 6043 w 194366"/>
                <a:gd name="connsiteY5" fmla="*/ 0 h 296463"/>
                <a:gd name="connsiteX6" fmla="*/ 194366 w 194366"/>
                <a:gd name="connsiteY6" fmla="*/ 130539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4366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6043" y="0"/>
                  </a:lnTo>
                  <a:lnTo>
                    <a:pt x="194366" y="1305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" name="Forme libre : forme 130">
              <a:extLst>
                <a:ext uri="{FF2B5EF4-FFF2-40B4-BE49-F238E27FC236}">
                  <a16:creationId xmlns:a16="http://schemas.microsoft.com/office/drawing/2014/main" id="{7A3770F8-0F14-4D5B-BC93-8BDF0237ED5F}"/>
                </a:ext>
              </a:extLst>
            </p:cNvPr>
            <p:cNvSpPr/>
            <p:nvPr/>
          </p:nvSpPr>
          <p:spPr>
            <a:xfrm rot="8716295">
              <a:off x="81902" y="4747962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" name="Forme libre : forme 131">
              <a:extLst>
                <a:ext uri="{FF2B5EF4-FFF2-40B4-BE49-F238E27FC236}">
                  <a16:creationId xmlns:a16="http://schemas.microsoft.com/office/drawing/2014/main" id="{6F3531E0-325E-4C4E-9F22-978D3BA0B1C2}"/>
                </a:ext>
              </a:extLst>
            </p:cNvPr>
            <p:cNvSpPr/>
            <p:nvPr/>
          </p:nvSpPr>
          <p:spPr>
            <a:xfrm rot="8716295">
              <a:off x="896624" y="4761216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" name="Forme libre : forme 132">
              <a:extLst>
                <a:ext uri="{FF2B5EF4-FFF2-40B4-BE49-F238E27FC236}">
                  <a16:creationId xmlns:a16="http://schemas.microsoft.com/office/drawing/2014/main" id="{0B981DC2-26C2-44B6-A24A-4014CF42843D}"/>
                </a:ext>
              </a:extLst>
            </p:cNvPr>
            <p:cNvSpPr/>
            <p:nvPr/>
          </p:nvSpPr>
          <p:spPr>
            <a:xfrm rot="8716295">
              <a:off x="1032483" y="4799006"/>
              <a:ext cx="389853" cy="383455"/>
            </a:xfrm>
            <a:custGeom>
              <a:avLst/>
              <a:gdLst>
                <a:gd name="connsiteX0" fmla="*/ 77932 w 389853"/>
                <a:gd name="connsiteY0" fmla="*/ 383455 h 383455"/>
                <a:gd name="connsiteX1" fmla="*/ 77932 w 389853"/>
                <a:gd name="connsiteY1" fmla="*/ 66898 h 383455"/>
                <a:gd name="connsiteX2" fmla="*/ 0 w 389853"/>
                <a:gd name="connsiteY2" fmla="*/ 66898 h 383455"/>
                <a:gd name="connsiteX3" fmla="*/ 0 w 389853"/>
                <a:gd name="connsiteY3" fmla="*/ 0 h 383455"/>
                <a:gd name="connsiteX4" fmla="*/ 158623 w 389853"/>
                <a:gd name="connsiteY4" fmla="*/ 0 h 383455"/>
                <a:gd name="connsiteX5" fmla="*/ 158623 w 389853"/>
                <a:gd name="connsiteY5" fmla="*/ 111726 h 383455"/>
                <a:gd name="connsiteX6" fmla="*/ 160692 w 389853"/>
                <a:gd name="connsiteY6" fmla="*/ 111726 h 383455"/>
                <a:gd name="connsiteX7" fmla="*/ 192762 w 389853"/>
                <a:gd name="connsiteY7" fmla="*/ 39914 h 383455"/>
                <a:gd name="connsiteX8" fmla="*/ 216292 w 389853"/>
                <a:gd name="connsiteY8" fmla="*/ 20658 h 383455"/>
                <a:gd name="connsiteX9" fmla="*/ 389853 w 389853"/>
                <a:gd name="connsiteY9" fmla="*/ 140965 h 383455"/>
                <a:gd name="connsiteX10" fmla="*/ 300695 w 389853"/>
                <a:gd name="connsiteY10" fmla="*/ 146210 h 383455"/>
                <a:gd name="connsiteX11" fmla="*/ 300694 w 389853"/>
                <a:gd name="connsiteY11" fmla="*/ 121382 h 383455"/>
                <a:gd name="connsiteX12" fmla="*/ 249659 w 389853"/>
                <a:gd name="connsiteY12" fmla="*/ 58622 h 383455"/>
                <a:gd name="connsiteX13" fmla="*/ 168969 w 389853"/>
                <a:gd name="connsiteY13" fmla="*/ 191038 h 383455"/>
                <a:gd name="connsiteX14" fmla="*/ 168969 w 389853"/>
                <a:gd name="connsiteY14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9853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71727" y="78967"/>
                    <a:pt x="181555" y="56208"/>
                    <a:pt x="192762" y="39914"/>
                  </a:cubicBezTo>
                  <a:lnTo>
                    <a:pt x="216292" y="20658"/>
                  </a:lnTo>
                  <a:lnTo>
                    <a:pt x="389853" y="140965"/>
                  </a:lnTo>
                  <a:lnTo>
                    <a:pt x="300695" y="146210"/>
                  </a:lnTo>
                  <a:lnTo>
                    <a:pt x="300694" y="121382"/>
                  </a:lnTo>
                  <a:cubicBezTo>
                    <a:pt x="300695" y="84140"/>
                    <a:pt x="279315" y="58621"/>
                    <a:pt x="249659" y="58622"/>
                  </a:cubicBezTo>
                  <a:cubicBezTo>
                    <a:pt x="205521" y="58621"/>
                    <a:pt x="168969" y="117244"/>
                    <a:pt x="168969" y="191038"/>
                  </a:cubicBez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" name="Forme libre : forme 133">
              <a:extLst>
                <a:ext uri="{FF2B5EF4-FFF2-40B4-BE49-F238E27FC236}">
                  <a16:creationId xmlns:a16="http://schemas.microsoft.com/office/drawing/2014/main" id="{A3972FDD-BF94-4723-9E5F-9672CBFB9038}"/>
                </a:ext>
              </a:extLst>
            </p:cNvPr>
            <p:cNvSpPr/>
            <p:nvPr/>
          </p:nvSpPr>
          <p:spPr>
            <a:xfrm rot="8716295">
              <a:off x="726753" y="489523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" name="Forme libre : forme 134">
              <a:extLst>
                <a:ext uri="{FF2B5EF4-FFF2-40B4-BE49-F238E27FC236}">
                  <a16:creationId xmlns:a16="http://schemas.microsoft.com/office/drawing/2014/main" id="{53E7288B-8855-433D-88B5-BB9A05F8E9B6}"/>
                </a:ext>
              </a:extLst>
            </p:cNvPr>
            <p:cNvSpPr/>
            <p:nvPr/>
          </p:nvSpPr>
          <p:spPr>
            <a:xfrm rot="8716295">
              <a:off x="537709" y="457939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" name="Forme libre : forme 135">
              <a:extLst>
                <a:ext uri="{FF2B5EF4-FFF2-40B4-BE49-F238E27FC236}">
                  <a16:creationId xmlns:a16="http://schemas.microsoft.com/office/drawing/2014/main" id="{6D0BADDB-ADF9-4A5A-9268-3F374A71F372}"/>
                </a:ext>
              </a:extLst>
            </p:cNvPr>
            <p:cNvSpPr/>
            <p:nvPr/>
          </p:nvSpPr>
          <p:spPr>
            <a:xfrm rot="8716295">
              <a:off x="826576" y="4988476"/>
              <a:ext cx="91035" cy="198648"/>
            </a:xfrm>
            <a:custGeom>
              <a:avLst/>
              <a:gdLst>
                <a:gd name="connsiteX0" fmla="*/ 91035 w 91035"/>
                <a:gd name="connsiteY0" fmla="*/ 198648 h 198648"/>
                <a:gd name="connsiteX1" fmla="*/ 0 w 91035"/>
                <a:gd name="connsiteY1" fmla="*/ 111060 h 198648"/>
                <a:gd name="connsiteX2" fmla="*/ 0 w 91035"/>
                <a:gd name="connsiteY2" fmla="*/ 0 h 198648"/>
                <a:gd name="connsiteX3" fmla="*/ 91035 w 91035"/>
                <a:gd name="connsiteY3" fmla="*/ 63103 h 198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198648">
                  <a:moveTo>
                    <a:pt x="91035" y="198648"/>
                  </a:moveTo>
                  <a:lnTo>
                    <a:pt x="0" y="111060"/>
                  </a:lnTo>
                  <a:lnTo>
                    <a:pt x="0" y="0"/>
                  </a:lnTo>
                  <a:lnTo>
                    <a:pt x="91035" y="631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" name="Forme libre : forme 136">
              <a:extLst>
                <a:ext uri="{FF2B5EF4-FFF2-40B4-BE49-F238E27FC236}">
                  <a16:creationId xmlns:a16="http://schemas.microsoft.com/office/drawing/2014/main" id="{7A0A28EA-B520-49BA-800F-B4282BF0ECB8}"/>
                </a:ext>
              </a:extLst>
            </p:cNvPr>
            <p:cNvSpPr/>
            <p:nvPr/>
          </p:nvSpPr>
          <p:spPr>
            <a:xfrm rot="8716295">
              <a:off x="497795" y="4730788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" name="Forme libre : forme 137">
              <a:extLst>
                <a:ext uri="{FF2B5EF4-FFF2-40B4-BE49-F238E27FC236}">
                  <a16:creationId xmlns:a16="http://schemas.microsoft.com/office/drawing/2014/main" id="{8781DCBF-8301-4C81-B93D-E186016AF47F}"/>
                </a:ext>
              </a:extLst>
            </p:cNvPr>
            <p:cNvSpPr/>
            <p:nvPr/>
          </p:nvSpPr>
          <p:spPr>
            <a:xfrm rot="8716295">
              <a:off x="1459248" y="4904357"/>
              <a:ext cx="328004" cy="223069"/>
            </a:xfrm>
            <a:custGeom>
              <a:avLst/>
              <a:gdLst>
                <a:gd name="connsiteX0" fmla="*/ 10574 w 328004"/>
                <a:gd name="connsiteY0" fmla="*/ 223069 h 223069"/>
                <a:gd name="connsiteX1" fmla="*/ 0 w 328004"/>
                <a:gd name="connsiteY1" fmla="*/ 208428 h 223069"/>
                <a:gd name="connsiteX2" fmla="*/ 192781 w 328004"/>
                <a:gd name="connsiteY2" fmla="*/ 27035 h 223069"/>
                <a:gd name="connsiteX3" fmla="*/ 227094 w 328004"/>
                <a:gd name="connsiteY3" fmla="*/ 0 h 223069"/>
                <a:gd name="connsiteX4" fmla="*/ 328004 w 328004"/>
                <a:gd name="connsiteY4" fmla="*/ 69948 h 223069"/>
                <a:gd name="connsiteX5" fmla="*/ 326080 w 328004"/>
                <a:gd name="connsiteY5" fmla="*/ 74925 h 223069"/>
                <a:gd name="connsiteX6" fmla="*/ 293645 w 328004"/>
                <a:gd name="connsiteY6" fmla="*/ 100243 h 223069"/>
                <a:gd name="connsiteX7" fmla="*/ 294458 w 328004"/>
                <a:gd name="connsiteY7" fmla="*/ 100243 h 223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8004" h="223069">
                  <a:moveTo>
                    <a:pt x="10574" y="223069"/>
                  </a:moveTo>
                  <a:lnTo>
                    <a:pt x="0" y="208428"/>
                  </a:lnTo>
                  <a:lnTo>
                    <a:pt x="192781" y="27035"/>
                  </a:lnTo>
                  <a:lnTo>
                    <a:pt x="227094" y="0"/>
                  </a:lnTo>
                  <a:lnTo>
                    <a:pt x="328004" y="69948"/>
                  </a:lnTo>
                  <a:lnTo>
                    <a:pt x="326080" y="74925"/>
                  </a:lnTo>
                  <a:cubicBezTo>
                    <a:pt x="317843" y="85805"/>
                    <a:pt x="306659" y="94549"/>
                    <a:pt x="293645" y="100243"/>
                  </a:cubicBezTo>
                  <a:lnTo>
                    <a:pt x="294458" y="10024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" name="Forme libre : forme 138">
              <a:extLst>
                <a:ext uri="{FF2B5EF4-FFF2-40B4-BE49-F238E27FC236}">
                  <a16:creationId xmlns:a16="http://schemas.microsoft.com/office/drawing/2014/main" id="{3ED78FC6-709C-4AA3-BB63-2CC979D6E8FB}"/>
                </a:ext>
              </a:extLst>
            </p:cNvPr>
            <p:cNvSpPr/>
            <p:nvPr/>
          </p:nvSpPr>
          <p:spPr>
            <a:xfrm rot="8716295">
              <a:off x="1383191" y="474927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" name="Forme libre : forme 139">
              <a:extLst>
                <a:ext uri="{FF2B5EF4-FFF2-40B4-BE49-F238E27FC236}">
                  <a16:creationId xmlns:a16="http://schemas.microsoft.com/office/drawing/2014/main" id="{AC25FEFC-06C2-45EF-9330-9EAB676F1680}"/>
                </a:ext>
              </a:extLst>
            </p:cNvPr>
            <p:cNvSpPr/>
            <p:nvPr/>
          </p:nvSpPr>
          <p:spPr>
            <a:xfrm rot="8716295">
              <a:off x="1015027" y="479501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" name="Forme libre : forme 140">
              <a:extLst>
                <a:ext uri="{FF2B5EF4-FFF2-40B4-BE49-F238E27FC236}">
                  <a16:creationId xmlns:a16="http://schemas.microsoft.com/office/drawing/2014/main" id="{6FCEE809-B78B-468F-8A4F-11AD6B5B5DFE}"/>
                </a:ext>
              </a:extLst>
            </p:cNvPr>
            <p:cNvSpPr/>
            <p:nvPr/>
          </p:nvSpPr>
          <p:spPr>
            <a:xfrm rot="8716295">
              <a:off x="1283609" y="455399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" name="Forme libre : forme 141">
              <a:extLst>
                <a:ext uri="{FF2B5EF4-FFF2-40B4-BE49-F238E27FC236}">
                  <a16:creationId xmlns:a16="http://schemas.microsoft.com/office/drawing/2014/main" id="{4D7B8EF3-5C2F-4403-A58E-C6455E9DC2F8}"/>
                </a:ext>
              </a:extLst>
            </p:cNvPr>
            <p:cNvSpPr/>
            <p:nvPr/>
          </p:nvSpPr>
          <p:spPr>
            <a:xfrm rot="8716295">
              <a:off x="-30381" y="3359388"/>
              <a:ext cx="98497" cy="75863"/>
            </a:xfrm>
            <a:custGeom>
              <a:avLst/>
              <a:gdLst>
                <a:gd name="connsiteX0" fmla="*/ 0 w 98497"/>
                <a:gd name="connsiteY0" fmla="*/ 75863 h 75863"/>
                <a:gd name="connsiteX1" fmla="*/ 0 w 98497"/>
                <a:gd name="connsiteY1" fmla="*/ 0 h 75863"/>
                <a:gd name="connsiteX2" fmla="*/ 98497 w 98497"/>
                <a:gd name="connsiteY2" fmla="*/ 0 h 75863"/>
                <a:gd name="connsiteX3" fmla="*/ 45911 w 98497"/>
                <a:gd name="connsiteY3" fmla="*/ 75863 h 75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497" h="75863">
                  <a:moveTo>
                    <a:pt x="0" y="75863"/>
                  </a:moveTo>
                  <a:lnTo>
                    <a:pt x="0" y="0"/>
                  </a:lnTo>
                  <a:lnTo>
                    <a:pt x="98497" y="0"/>
                  </a:lnTo>
                  <a:lnTo>
                    <a:pt x="45911" y="758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" name="Forme libre : forme 142">
              <a:extLst>
                <a:ext uri="{FF2B5EF4-FFF2-40B4-BE49-F238E27FC236}">
                  <a16:creationId xmlns:a16="http://schemas.microsoft.com/office/drawing/2014/main" id="{E1CB3E01-5CB9-4779-88E3-4FF297370B3E}"/>
                </a:ext>
              </a:extLst>
            </p:cNvPr>
            <p:cNvSpPr/>
            <p:nvPr/>
          </p:nvSpPr>
          <p:spPr>
            <a:xfrm rot="8716295">
              <a:off x="-77334" y="3178477"/>
              <a:ext cx="389652" cy="385611"/>
            </a:xfrm>
            <a:custGeom>
              <a:avLst/>
              <a:gdLst>
                <a:gd name="connsiteX0" fmla="*/ 77932 w 389652"/>
                <a:gd name="connsiteY0" fmla="*/ 385611 h 385611"/>
                <a:gd name="connsiteX1" fmla="*/ 77932 w 389652"/>
                <a:gd name="connsiteY1" fmla="*/ 69054 h 385611"/>
                <a:gd name="connsiteX2" fmla="*/ 0 w 389652"/>
                <a:gd name="connsiteY2" fmla="*/ 69054 h 385611"/>
                <a:gd name="connsiteX3" fmla="*/ 0 w 389652"/>
                <a:gd name="connsiteY3" fmla="*/ 2156 h 385611"/>
                <a:gd name="connsiteX4" fmla="*/ 158623 w 389652"/>
                <a:gd name="connsiteY4" fmla="*/ 2156 h 385611"/>
                <a:gd name="connsiteX5" fmla="*/ 158623 w 389652"/>
                <a:gd name="connsiteY5" fmla="*/ 113882 h 385611"/>
                <a:gd name="connsiteX6" fmla="*/ 160692 w 389652"/>
                <a:gd name="connsiteY6" fmla="*/ 113882 h 385611"/>
                <a:gd name="connsiteX7" fmla="*/ 233107 w 389652"/>
                <a:gd name="connsiteY7" fmla="*/ 9053 h 385611"/>
                <a:gd name="connsiteX8" fmla="*/ 280694 w 389652"/>
                <a:gd name="connsiteY8" fmla="*/ 87 h 385611"/>
                <a:gd name="connsiteX9" fmla="*/ 364230 w 389652"/>
                <a:gd name="connsiteY9" fmla="*/ 34398 h 385611"/>
                <a:gd name="connsiteX10" fmla="*/ 389652 w 389652"/>
                <a:gd name="connsiteY10" fmla="*/ 117977 h 385611"/>
                <a:gd name="connsiteX11" fmla="*/ 371473 w 389652"/>
                <a:gd name="connsiteY11" fmla="*/ 144202 h 385611"/>
                <a:gd name="connsiteX12" fmla="*/ 300695 w 389652"/>
                <a:gd name="connsiteY12" fmla="*/ 148366 h 385611"/>
                <a:gd name="connsiteX13" fmla="*/ 300695 w 389652"/>
                <a:gd name="connsiteY13" fmla="*/ 123538 h 385611"/>
                <a:gd name="connsiteX14" fmla="*/ 249659 w 389652"/>
                <a:gd name="connsiteY14" fmla="*/ 60778 h 385611"/>
                <a:gd name="connsiteX15" fmla="*/ 168969 w 389652"/>
                <a:gd name="connsiteY15" fmla="*/ 193194 h 385611"/>
                <a:gd name="connsiteX16" fmla="*/ 168969 w 389652"/>
                <a:gd name="connsiteY16" fmla="*/ 323541 h 385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89652" h="385611">
                  <a:moveTo>
                    <a:pt x="77932" y="385611"/>
                  </a:moveTo>
                  <a:lnTo>
                    <a:pt x="77932" y="69054"/>
                  </a:lnTo>
                  <a:lnTo>
                    <a:pt x="0" y="69054"/>
                  </a:lnTo>
                  <a:lnTo>
                    <a:pt x="0" y="2156"/>
                  </a:lnTo>
                  <a:lnTo>
                    <a:pt x="158623" y="2156"/>
                  </a:lnTo>
                  <a:lnTo>
                    <a:pt x="158623" y="113882"/>
                  </a:lnTo>
                  <a:lnTo>
                    <a:pt x="160692" y="113882"/>
                  </a:lnTo>
                  <a:cubicBezTo>
                    <a:pt x="182762" y="48364"/>
                    <a:pt x="200003" y="22846"/>
                    <a:pt x="233107" y="9053"/>
                  </a:cubicBezTo>
                  <a:cubicBezTo>
                    <a:pt x="248280" y="2846"/>
                    <a:pt x="264142" y="-602"/>
                    <a:pt x="280694" y="87"/>
                  </a:cubicBezTo>
                  <a:cubicBezTo>
                    <a:pt x="316212" y="-603"/>
                    <a:pt x="344661" y="11466"/>
                    <a:pt x="364230" y="34398"/>
                  </a:cubicBezTo>
                  <a:lnTo>
                    <a:pt x="389652" y="117977"/>
                  </a:lnTo>
                  <a:lnTo>
                    <a:pt x="371473" y="144202"/>
                  </a:lnTo>
                  <a:lnTo>
                    <a:pt x="300695" y="148366"/>
                  </a:lnTo>
                  <a:lnTo>
                    <a:pt x="300695" y="123538"/>
                  </a:lnTo>
                  <a:cubicBezTo>
                    <a:pt x="300695" y="86296"/>
                    <a:pt x="279315" y="60778"/>
                    <a:pt x="249659" y="60778"/>
                  </a:cubicBezTo>
                  <a:cubicBezTo>
                    <a:pt x="205521" y="60778"/>
                    <a:pt x="168969" y="119400"/>
                    <a:pt x="168969" y="193194"/>
                  </a:cubicBezTo>
                  <a:lnTo>
                    <a:pt x="168969" y="3235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4" name="Forme libre : forme 143">
              <a:extLst>
                <a:ext uri="{FF2B5EF4-FFF2-40B4-BE49-F238E27FC236}">
                  <a16:creationId xmlns:a16="http://schemas.microsoft.com/office/drawing/2014/main" id="{693C3616-465F-40B5-99BD-A4355895EC1C}"/>
                </a:ext>
              </a:extLst>
            </p:cNvPr>
            <p:cNvSpPr/>
            <p:nvPr/>
          </p:nvSpPr>
          <p:spPr>
            <a:xfrm rot="8716295">
              <a:off x="-71352" y="3029015"/>
              <a:ext cx="193594" cy="189959"/>
            </a:xfrm>
            <a:custGeom>
              <a:avLst/>
              <a:gdLst>
                <a:gd name="connsiteX0" fmla="*/ 8965 w 193594"/>
                <a:gd name="connsiteY0" fmla="*/ 189959 h 189959"/>
                <a:gd name="connsiteX1" fmla="*/ 0 w 193594"/>
                <a:gd name="connsiteY1" fmla="*/ 177545 h 189959"/>
                <a:gd name="connsiteX2" fmla="*/ 163451 w 193594"/>
                <a:gd name="connsiteY2" fmla="*/ 23749 h 189959"/>
                <a:gd name="connsiteX3" fmla="*/ 193594 w 193594"/>
                <a:gd name="connsiteY3" fmla="*/ 0 h 189959"/>
                <a:gd name="connsiteX4" fmla="*/ 84606 w 193594"/>
                <a:gd name="connsiteY4" fmla="*/ 157232 h 189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594" h="189959">
                  <a:moveTo>
                    <a:pt x="8965" y="189959"/>
                  </a:moveTo>
                  <a:lnTo>
                    <a:pt x="0" y="177545"/>
                  </a:lnTo>
                  <a:lnTo>
                    <a:pt x="163451" y="23749"/>
                  </a:lnTo>
                  <a:lnTo>
                    <a:pt x="193594" y="0"/>
                  </a:lnTo>
                  <a:lnTo>
                    <a:pt x="84606" y="15723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5" name="Forme libre : forme 144">
              <a:extLst>
                <a:ext uri="{FF2B5EF4-FFF2-40B4-BE49-F238E27FC236}">
                  <a16:creationId xmlns:a16="http://schemas.microsoft.com/office/drawing/2014/main" id="{24B29AA9-322C-494E-97CF-CB28B697D24F}"/>
                </a:ext>
              </a:extLst>
            </p:cNvPr>
            <p:cNvSpPr/>
            <p:nvPr/>
          </p:nvSpPr>
          <p:spPr>
            <a:xfrm rot="8716295">
              <a:off x="223574" y="276232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6" name="Forme libre : forme 145">
              <a:extLst>
                <a:ext uri="{FF2B5EF4-FFF2-40B4-BE49-F238E27FC236}">
                  <a16:creationId xmlns:a16="http://schemas.microsoft.com/office/drawing/2014/main" id="{F8DE088E-7554-4812-9E9E-4D30E041F578}"/>
                </a:ext>
              </a:extLst>
            </p:cNvPr>
            <p:cNvSpPr/>
            <p:nvPr/>
          </p:nvSpPr>
          <p:spPr>
            <a:xfrm rot="8716295">
              <a:off x="358873" y="2806579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7" name="Forme libre : forme 146">
              <a:extLst>
                <a:ext uri="{FF2B5EF4-FFF2-40B4-BE49-F238E27FC236}">
                  <a16:creationId xmlns:a16="http://schemas.microsoft.com/office/drawing/2014/main" id="{B9E26502-E7AD-4DA1-9955-0A4E18FDB87E}"/>
                </a:ext>
              </a:extLst>
            </p:cNvPr>
            <p:cNvSpPr/>
            <p:nvPr/>
          </p:nvSpPr>
          <p:spPr>
            <a:xfrm rot="8716295">
              <a:off x="53703" y="2896335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8" name="Forme libre : forme 147">
              <a:extLst>
                <a:ext uri="{FF2B5EF4-FFF2-40B4-BE49-F238E27FC236}">
                  <a16:creationId xmlns:a16="http://schemas.microsoft.com/office/drawing/2014/main" id="{916CFE5B-3405-43DB-8C30-699019D1BD67}"/>
                </a:ext>
              </a:extLst>
            </p:cNvPr>
            <p:cNvSpPr/>
            <p:nvPr/>
          </p:nvSpPr>
          <p:spPr>
            <a:xfrm rot="8716295">
              <a:off x="-92201" y="2622488"/>
              <a:ext cx="271732" cy="238722"/>
            </a:xfrm>
            <a:custGeom>
              <a:avLst/>
              <a:gdLst>
                <a:gd name="connsiteX0" fmla="*/ 106257 w 271732"/>
                <a:gd name="connsiteY0" fmla="*/ 238722 h 238722"/>
                <a:gd name="connsiteX1" fmla="*/ 72418 w 271732"/>
                <a:gd name="connsiteY1" fmla="*/ 175766 h 238722"/>
                <a:gd name="connsiteX2" fmla="*/ 105610 w 271732"/>
                <a:gd name="connsiteY2" fmla="*/ 83734 h 238722"/>
                <a:gd name="connsiteX3" fmla="*/ 0 w 271732"/>
                <a:gd name="connsiteY3" fmla="*/ 83734 h 238722"/>
                <a:gd name="connsiteX4" fmla="*/ 0 w 271732"/>
                <a:gd name="connsiteY4" fmla="*/ 0 h 238722"/>
                <a:gd name="connsiteX5" fmla="*/ 271732 w 271732"/>
                <a:gd name="connsiteY5" fmla="*/ 0 h 238722"/>
                <a:gd name="connsiteX6" fmla="*/ 213690 w 271732"/>
                <a:gd name="connsiteY6" fmla="*/ 83734 h 238722"/>
                <a:gd name="connsiteX7" fmla="*/ 210465 w 271732"/>
                <a:gd name="connsiteY7" fmla="*/ 83734 h 238722"/>
                <a:gd name="connsiteX8" fmla="*/ 207289 w 271732"/>
                <a:gd name="connsiteY8" fmla="*/ 92969 h 238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1732" h="238722">
                  <a:moveTo>
                    <a:pt x="106257" y="238722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71732" y="0"/>
                  </a:lnTo>
                  <a:lnTo>
                    <a:pt x="213690" y="83734"/>
                  </a:lnTo>
                  <a:lnTo>
                    <a:pt x="210465" y="83734"/>
                  </a:lnTo>
                  <a:lnTo>
                    <a:pt x="207289" y="929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9" name="Forme libre : forme 148">
              <a:extLst>
                <a:ext uri="{FF2B5EF4-FFF2-40B4-BE49-F238E27FC236}">
                  <a16:creationId xmlns:a16="http://schemas.microsoft.com/office/drawing/2014/main" id="{D3C330C6-8ED8-4019-9D23-534F7E32B7C3}"/>
                </a:ext>
              </a:extLst>
            </p:cNvPr>
            <p:cNvSpPr/>
            <p:nvPr/>
          </p:nvSpPr>
          <p:spPr>
            <a:xfrm rot="8716295">
              <a:off x="190192" y="2958318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0" name="Forme libre : forme 149">
              <a:extLst>
                <a:ext uri="{FF2B5EF4-FFF2-40B4-BE49-F238E27FC236}">
                  <a16:creationId xmlns:a16="http://schemas.microsoft.com/office/drawing/2014/main" id="{7556479F-3BE7-4641-97C7-A31999C980CD}"/>
                </a:ext>
              </a:extLst>
            </p:cNvPr>
            <p:cNvSpPr/>
            <p:nvPr/>
          </p:nvSpPr>
          <p:spPr>
            <a:xfrm rot="7484129">
              <a:off x="349009" y="324793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1" name="Forme libre : forme 150">
              <a:extLst>
                <a:ext uri="{FF2B5EF4-FFF2-40B4-BE49-F238E27FC236}">
                  <a16:creationId xmlns:a16="http://schemas.microsoft.com/office/drawing/2014/main" id="{C9126667-6906-4254-B833-2535AC138F99}"/>
                </a:ext>
              </a:extLst>
            </p:cNvPr>
            <p:cNvSpPr/>
            <p:nvPr/>
          </p:nvSpPr>
          <p:spPr>
            <a:xfrm rot="13089394">
              <a:off x="507659" y="3197284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2" name="Forme libre : forme 151">
              <a:extLst>
                <a:ext uri="{FF2B5EF4-FFF2-40B4-BE49-F238E27FC236}">
                  <a16:creationId xmlns:a16="http://schemas.microsoft.com/office/drawing/2014/main" id="{EB63A53B-C558-41C6-87D3-6E3EEB414D38}"/>
                </a:ext>
              </a:extLst>
            </p:cNvPr>
            <p:cNvSpPr/>
            <p:nvPr/>
          </p:nvSpPr>
          <p:spPr>
            <a:xfrm rot="8716295">
              <a:off x="788550" y="2907166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3" name="Forme libre : forme 152">
              <a:extLst>
                <a:ext uri="{FF2B5EF4-FFF2-40B4-BE49-F238E27FC236}">
                  <a16:creationId xmlns:a16="http://schemas.microsoft.com/office/drawing/2014/main" id="{EBE3A45E-76C2-41F7-84F5-A2A181D50E91}"/>
                </a:ext>
              </a:extLst>
            </p:cNvPr>
            <p:cNvSpPr/>
            <p:nvPr/>
          </p:nvSpPr>
          <p:spPr>
            <a:xfrm rot="8716295">
              <a:off x="710141" y="275037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4" name="Forme libre : forme 153">
              <a:extLst>
                <a:ext uri="{FF2B5EF4-FFF2-40B4-BE49-F238E27FC236}">
                  <a16:creationId xmlns:a16="http://schemas.microsoft.com/office/drawing/2014/main" id="{871F770F-4D72-4427-86D1-F18744993E05}"/>
                </a:ext>
              </a:extLst>
            </p:cNvPr>
            <p:cNvSpPr/>
            <p:nvPr/>
          </p:nvSpPr>
          <p:spPr>
            <a:xfrm rot="8716295">
              <a:off x="341977" y="279611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5" name="Forme libre : forme 154">
              <a:extLst>
                <a:ext uri="{FF2B5EF4-FFF2-40B4-BE49-F238E27FC236}">
                  <a16:creationId xmlns:a16="http://schemas.microsoft.com/office/drawing/2014/main" id="{CBA9ADD5-0B79-42BB-A803-7DD5C3582812}"/>
                </a:ext>
              </a:extLst>
            </p:cNvPr>
            <p:cNvSpPr/>
            <p:nvPr/>
          </p:nvSpPr>
          <p:spPr>
            <a:xfrm rot="8716295">
              <a:off x="610559" y="2555095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6" name="Forme libre : forme 155">
              <a:extLst>
                <a:ext uri="{FF2B5EF4-FFF2-40B4-BE49-F238E27FC236}">
                  <a16:creationId xmlns:a16="http://schemas.microsoft.com/office/drawing/2014/main" id="{7B5F712C-46C4-40C0-B35F-823DEC5DC95D}"/>
                </a:ext>
              </a:extLst>
            </p:cNvPr>
            <p:cNvSpPr/>
            <p:nvPr/>
          </p:nvSpPr>
          <p:spPr>
            <a:xfrm rot="8716295">
              <a:off x="-24305" y="2374348"/>
              <a:ext cx="58950" cy="66898"/>
            </a:xfrm>
            <a:custGeom>
              <a:avLst/>
              <a:gdLst>
                <a:gd name="connsiteX0" fmla="*/ 0 w 58950"/>
                <a:gd name="connsiteY0" fmla="*/ 66898 h 66898"/>
                <a:gd name="connsiteX1" fmla="*/ 0 w 58950"/>
                <a:gd name="connsiteY1" fmla="*/ 0 h 66898"/>
                <a:gd name="connsiteX2" fmla="*/ 58950 w 58950"/>
                <a:gd name="connsiteY2" fmla="*/ 0 h 66898"/>
                <a:gd name="connsiteX3" fmla="*/ 12579 w 58950"/>
                <a:gd name="connsiteY3" fmla="*/ 66898 h 6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950" h="66898">
                  <a:moveTo>
                    <a:pt x="0" y="66898"/>
                  </a:moveTo>
                  <a:lnTo>
                    <a:pt x="0" y="0"/>
                  </a:lnTo>
                  <a:lnTo>
                    <a:pt x="58950" y="0"/>
                  </a:lnTo>
                  <a:lnTo>
                    <a:pt x="12579" y="668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7" name="Forme libre : forme 156">
              <a:extLst>
                <a:ext uri="{FF2B5EF4-FFF2-40B4-BE49-F238E27FC236}">
                  <a16:creationId xmlns:a16="http://schemas.microsoft.com/office/drawing/2014/main" id="{7F46186A-3310-4CD5-864B-686D76F3E8C2}"/>
                </a:ext>
              </a:extLst>
            </p:cNvPr>
            <p:cNvSpPr/>
            <p:nvPr/>
          </p:nvSpPr>
          <p:spPr>
            <a:xfrm rot="8716295">
              <a:off x="-39593" y="1952072"/>
              <a:ext cx="198050" cy="140164"/>
            </a:xfrm>
            <a:custGeom>
              <a:avLst/>
              <a:gdLst>
                <a:gd name="connsiteX0" fmla="*/ 0 w 198050"/>
                <a:gd name="connsiteY0" fmla="*/ 75863 h 140164"/>
                <a:gd name="connsiteX1" fmla="*/ 0 w 198050"/>
                <a:gd name="connsiteY1" fmla="*/ 0 h 140164"/>
                <a:gd name="connsiteX2" fmla="*/ 128968 w 198050"/>
                <a:gd name="connsiteY2" fmla="*/ 0 h 140164"/>
                <a:gd name="connsiteX3" fmla="*/ 193021 w 198050"/>
                <a:gd name="connsiteY3" fmla="*/ 18535 h 140164"/>
                <a:gd name="connsiteX4" fmla="*/ 198050 w 198050"/>
                <a:gd name="connsiteY4" fmla="*/ 31548 h 140164"/>
                <a:gd name="connsiteX5" fmla="*/ 122761 w 198050"/>
                <a:gd name="connsiteY5" fmla="*/ 140164 h 140164"/>
                <a:gd name="connsiteX6" fmla="*/ 122761 w 198050"/>
                <a:gd name="connsiteY6" fmla="*/ 105519 h 140164"/>
                <a:gd name="connsiteX7" fmla="*/ 122761 w 198050"/>
                <a:gd name="connsiteY7" fmla="*/ 99312 h 140164"/>
                <a:gd name="connsiteX8" fmla="*/ 91726 w 198050"/>
                <a:gd name="connsiteY8" fmla="*/ 75863 h 140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8050" h="140164">
                  <a:moveTo>
                    <a:pt x="0" y="75863"/>
                  </a:moveTo>
                  <a:lnTo>
                    <a:pt x="0" y="0"/>
                  </a:lnTo>
                  <a:lnTo>
                    <a:pt x="128968" y="0"/>
                  </a:lnTo>
                  <a:cubicBezTo>
                    <a:pt x="156900" y="0"/>
                    <a:pt x="178452" y="6034"/>
                    <a:pt x="193021" y="18535"/>
                  </a:cubicBezTo>
                  <a:lnTo>
                    <a:pt x="198050" y="31548"/>
                  </a:lnTo>
                  <a:lnTo>
                    <a:pt x="122761" y="140164"/>
                  </a:ln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4"/>
                    <a:pt x="91726" y="758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8" name="Forme libre : forme 157">
              <a:extLst>
                <a:ext uri="{FF2B5EF4-FFF2-40B4-BE49-F238E27FC236}">
                  <a16:creationId xmlns:a16="http://schemas.microsoft.com/office/drawing/2014/main" id="{A7D40018-F0E5-4DC0-8F24-CC5DD724ED71}"/>
                </a:ext>
              </a:extLst>
            </p:cNvPr>
            <p:cNvSpPr/>
            <p:nvPr/>
          </p:nvSpPr>
          <p:spPr>
            <a:xfrm rot="8716295">
              <a:off x="21100" y="1808096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9" name="Forme libre : forme 158">
              <a:extLst>
                <a:ext uri="{FF2B5EF4-FFF2-40B4-BE49-F238E27FC236}">
                  <a16:creationId xmlns:a16="http://schemas.microsoft.com/office/drawing/2014/main" id="{DE6A0D39-0B43-4DC3-9F56-137223FC9AF7}"/>
                </a:ext>
              </a:extLst>
            </p:cNvPr>
            <p:cNvSpPr/>
            <p:nvPr/>
          </p:nvSpPr>
          <p:spPr>
            <a:xfrm rot="8716295">
              <a:off x="-24330" y="2197782"/>
              <a:ext cx="102508" cy="53362"/>
            </a:xfrm>
            <a:custGeom>
              <a:avLst/>
              <a:gdLst>
                <a:gd name="connsiteX0" fmla="*/ 0 w 102508"/>
                <a:gd name="connsiteY0" fmla="*/ 23637 h 53362"/>
                <a:gd name="connsiteX1" fmla="*/ 0 w 102508"/>
                <a:gd name="connsiteY1" fmla="*/ 2258 h 53362"/>
                <a:gd name="connsiteX2" fmla="*/ 102508 w 102508"/>
                <a:gd name="connsiteY2" fmla="*/ 0 h 53362"/>
                <a:gd name="connsiteX3" fmla="*/ 65519 w 102508"/>
                <a:gd name="connsiteY3" fmla="*/ 53362 h 53362"/>
                <a:gd name="connsiteX4" fmla="*/ 65519 w 102508"/>
                <a:gd name="connsiteY4" fmla="*/ 23637 h 5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508" h="53362">
                  <a:moveTo>
                    <a:pt x="0" y="23637"/>
                  </a:moveTo>
                  <a:lnTo>
                    <a:pt x="0" y="2258"/>
                  </a:lnTo>
                  <a:lnTo>
                    <a:pt x="102508" y="0"/>
                  </a:lnTo>
                  <a:lnTo>
                    <a:pt x="65519" y="53362"/>
                  </a:lnTo>
                  <a:lnTo>
                    <a:pt x="65519" y="2363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0" name="Forme libre : forme 159">
              <a:extLst>
                <a:ext uri="{FF2B5EF4-FFF2-40B4-BE49-F238E27FC236}">
                  <a16:creationId xmlns:a16="http://schemas.microsoft.com/office/drawing/2014/main" id="{53869A83-F18C-41C3-A8D6-8AA2F169F6A9}"/>
                </a:ext>
              </a:extLst>
            </p:cNvPr>
            <p:cNvSpPr/>
            <p:nvPr/>
          </p:nvSpPr>
          <p:spPr>
            <a:xfrm rot="7484129">
              <a:off x="11236" y="224945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1" name="Forme libre : forme 160">
              <a:extLst>
                <a:ext uri="{FF2B5EF4-FFF2-40B4-BE49-F238E27FC236}">
                  <a16:creationId xmlns:a16="http://schemas.microsoft.com/office/drawing/2014/main" id="{47FF6EA9-61FE-4C53-86BC-F03ADA0CF577}"/>
                </a:ext>
              </a:extLst>
            </p:cNvPr>
            <p:cNvSpPr/>
            <p:nvPr/>
          </p:nvSpPr>
          <p:spPr>
            <a:xfrm rot="13089394">
              <a:off x="169886" y="2198801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2" name="Forme libre : forme 161">
              <a:extLst>
                <a:ext uri="{FF2B5EF4-FFF2-40B4-BE49-F238E27FC236}">
                  <a16:creationId xmlns:a16="http://schemas.microsoft.com/office/drawing/2014/main" id="{6ED294D2-DD3A-4323-ADB4-4D2A485D31FA}"/>
                </a:ext>
              </a:extLst>
            </p:cNvPr>
            <p:cNvSpPr/>
            <p:nvPr/>
          </p:nvSpPr>
          <p:spPr>
            <a:xfrm rot="8716295">
              <a:off x="450777" y="1908683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3" name="Forme libre : forme 162">
              <a:extLst>
                <a:ext uri="{FF2B5EF4-FFF2-40B4-BE49-F238E27FC236}">
                  <a16:creationId xmlns:a16="http://schemas.microsoft.com/office/drawing/2014/main" id="{4D7140F9-06B5-4BA8-BEAB-23BD75B9DD53}"/>
                </a:ext>
              </a:extLst>
            </p:cNvPr>
            <p:cNvSpPr/>
            <p:nvPr/>
          </p:nvSpPr>
          <p:spPr>
            <a:xfrm rot="8716295">
              <a:off x="372368" y="175189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4" name="Forme libre : forme 163">
              <a:extLst>
                <a:ext uri="{FF2B5EF4-FFF2-40B4-BE49-F238E27FC236}">
                  <a16:creationId xmlns:a16="http://schemas.microsoft.com/office/drawing/2014/main" id="{068812F1-37A6-4A0A-A392-F4B3E8D2782D}"/>
                </a:ext>
              </a:extLst>
            </p:cNvPr>
            <p:cNvSpPr/>
            <p:nvPr/>
          </p:nvSpPr>
          <p:spPr>
            <a:xfrm rot="8716295">
              <a:off x="4204" y="179763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5" name="Forme libre : forme 164">
              <a:extLst>
                <a:ext uri="{FF2B5EF4-FFF2-40B4-BE49-F238E27FC236}">
                  <a16:creationId xmlns:a16="http://schemas.microsoft.com/office/drawing/2014/main" id="{B62F2753-FDB5-4835-8322-FC678E060DC4}"/>
                </a:ext>
              </a:extLst>
            </p:cNvPr>
            <p:cNvSpPr/>
            <p:nvPr/>
          </p:nvSpPr>
          <p:spPr>
            <a:xfrm rot="8716295">
              <a:off x="272786" y="155661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6" name="Forme libre : forme 165">
              <a:extLst>
                <a:ext uri="{FF2B5EF4-FFF2-40B4-BE49-F238E27FC236}">
                  <a16:creationId xmlns:a16="http://schemas.microsoft.com/office/drawing/2014/main" id="{16BB8F81-6062-4A6D-AD9A-0C3CC09E65D3}"/>
                </a:ext>
              </a:extLst>
            </p:cNvPr>
            <p:cNvSpPr/>
            <p:nvPr/>
          </p:nvSpPr>
          <p:spPr>
            <a:xfrm rot="8716295">
              <a:off x="-35149" y="938156"/>
              <a:ext cx="158623" cy="159016"/>
            </a:xfrm>
            <a:custGeom>
              <a:avLst/>
              <a:gdLst>
                <a:gd name="connsiteX0" fmla="*/ 77932 w 158623"/>
                <a:gd name="connsiteY0" fmla="*/ 159016 h 159016"/>
                <a:gd name="connsiteX1" fmla="*/ 77932 w 158623"/>
                <a:gd name="connsiteY1" fmla="*/ 66898 h 159016"/>
                <a:gd name="connsiteX2" fmla="*/ 0 w 158623"/>
                <a:gd name="connsiteY2" fmla="*/ 66898 h 159016"/>
                <a:gd name="connsiteX3" fmla="*/ 0 w 158623"/>
                <a:gd name="connsiteY3" fmla="*/ 0 h 159016"/>
                <a:gd name="connsiteX4" fmla="*/ 158623 w 158623"/>
                <a:gd name="connsiteY4" fmla="*/ 0 h 159016"/>
                <a:gd name="connsiteX5" fmla="*/ 158623 w 158623"/>
                <a:gd name="connsiteY5" fmla="*/ 42606 h 15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8623" h="159016">
                  <a:moveTo>
                    <a:pt x="77932" y="159016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4260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7" name="Forme libre : forme 166">
              <a:extLst>
                <a:ext uri="{FF2B5EF4-FFF2-40B4-BE49-F238E27FC236}">
                  <a16:creationId xmlns:a16="http://schemas.microsoft.com/office/drawing/2014/main" id="{102294D5-AEAF-4B56-AF06-6647D3303B85}"/>
                </a:ext>
              </a:extLst>
            </p:cNvPr>
            <p:cNvSpPr/>
            <p:nvPr/>
          </p:nvSpPr>
          <p:spPr>
            <a:xfrm rot="7484129">
              <a:off x="-32979" y="1345537"/>
              <a:ext cx="65961" cy="45734"/>
            </a:xfrm>
            <a:custGeom>
              <a:avLst/>
              <a:gdLst>
                <a:gd name="connsiteX0" fmla="*/ 0 w 65961"/>
                <a:gd name="connsiteY0" fmla="*/ 45734 h 45734"/>
                <a:gd name="connsiteX1" fmla="*/ 0 w 65961"/>
                <a:gd name="connsiteY1" fmla="*/ 0 h 45734"/>
                <a:gd name="connsiteX2" fmla="*/ 65961 w 65961"/>
                <a:gd name="connsiteY2" fmla="*/ 0 h 45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5961" h="45734">
                  <a:moveTo>
                    <a:pt x="0" y="45734"/>
                  </a:moveTo>
                  <a:lnTo>
                    <a:pt x="0" y="0"/>
                  </a:lnTo>
                  <a:lnTo>
                    <a:pt x="6596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8" name="Forme libre : forme 167">
              <a:extLst>
                <a:ext uri="{FF2B5EF4-FFF2-40B4-BE49-F238E27FC236}">
                  <a16:creationId xmlns:a16="http://schemas.microsoft.com/office/drawing/2014/main" id="{6A1A2358-10CF-4FD5-A4AA-FC64164263AF}"/>
                </a:ext>
              </a:extLst>
            </p:cNvPr>
            <p:cNvSpPr/>
            <p:nvPr/>
          </p:nvSpPr>
          <p:spPr>
            <a:xfrm rot="13089394">
              <a:off x="-134707" y="1200752"/>
              <a:ext cx="386820" cy="481345"/>
            </a:xfrm>
            <a:custGeom>
              <a:avLst/>
              <a:gdLst>
                <a:gd name="connsiteX0" fmla="*/ 386820 w 386820"/>
                <a:gd name="connsiteY0" fmla="*/ 391818 h 481345"/>
                <a:gd name="connsiteX1" fmla="*/ 342166 w 386820"/>
                <a:gd name="connsiteY1" fmla="*/ 422376 h 481345"/>
                <a:gd name="connsiteX2" fmla="*/ 138636 w 386820"/>
                <a:gd name="connsiteY2" fmla="*/ 481098 h 481345"/>
                <a:gd name="connsiteX3" fmla="*/ 35911 w 386820"/>
                <a:gd name="connsiteY3" fmla="*/ 439340 h 481345"/>
                <a:gd name="connsiteX4" fmla="*/ 0 w 386820"/>
                <a:gd name="connsiteY4" fmla="*/ 295693 h 481345"/>
                <a:gd name="connsiteX5" fmla="*/ 0 w 386820"/>
                <a:gd name="connsiteY5" fmla="*/ 40970 h 481345"/>
                <a:gd name="connsiteX6" fmla="*/ 78970 w 386820"/>
                <a:gd name="connsiteY6" fmla="*/ 0 h 481345"/>
                <a:gd name="connsiteX7" fmla="*/ 111492 w 386820"/>
                <a:gd name="connsiteY7" fmla="*/ 41392 h 481345"/>
                <a:gd name="connsiteX8" fmla="*/ 112747 w 386820"/>
                <a:gd name="connsiteY8" fmla="*/ 216353 h 481345"/>
                <a:gd name="connsiteX9" fmla="*/ 132789 w 386820"/>
                <a:gd name="connsiteY9" fmla="*/ 354990 h 481345"/>
                <a:gd name="connsiteX10" fmla="*/ 233008 w 386820"/>
                <a:gd name="connsiteY10" fmla="*/ 410110 h 481345"/>
                <a:gd name="connsiteX11" fmla="*/ 308173 w 386820"/>
                <a:gd name="connsiteY11" fmla="*/ 396747 h 481345"/>
                <a:gd name="connsiteX12" fmla="*/ 370717 w 386820"/>
                <a:gd name="connsiteY12" fmla="*/ 371323 h 481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6820" h="481345">
                  <a:moveTo>
                    <a:pt x="386820" y="391818"/>
                  </a:moveTo>
                  <a:lnTo>
                    <a:pt x="342166" y="422376"/>
                  </a:lnTo>
                  <a:cubicBezTo>
                    <a:pt x="268920" y="462151"/>
                    <a:pt x="190624" y="477966"/>
                    <a:pt x="138636" y="481098"/>
                  </a:cubicBezTo>
                  <a:cubicBezTo>
                    <a:pt x="100219" y="483604"/>
                    <a:pt x="62637" y="466901"/>
                    <a:pt x="35911" y="439340"/>
                  </a:cubicBezTo>
                  <a:cubicBezTo>
                    <a:pt x="7516" y="411780"/>
                    <a:pt x="0" y="364176"/>
                    <a:pt x="0" y="295693"/>
                  </a:cubicBezTo>
                  <a:lnTo>
                    <a:pt x="0" y="40970"/>
                  </a:lnTo>
                  <a:lnTo>
                    <a:pt x="78970" y="0"/>
                  </a:lnTo>
                  <a:lnTo>
                    <a:pt x="111492" y="41392"/>
                  </a:lnTo>
                  <a:lnTo>
                    <a:pt x="112747" y="216353"/>
                  </a:lnTo>
                  <a:cubicBezTo>
                    <a:pt x="110241" y="263122"/>
                    <a:pt x="117757" y="310726"/>
                    <a:pt x="132789" y="354990"/>
                  </a:cubicBezTo>
                  <a:cubicBezTo>
                    <a:pt x="146153" y="391736"/>
                    <a:pt x="180394" y="410110"/>
                    <a:pt x="233008" y="410110"/>
                  </a:cubicBezTo>
                  <a:cubicBezTo>
                    <a:pt x="258899" y="409274"/>
                    <a:pt x="283953" y="404263"/>
                    <a:pt x="308173" y="396747"/>
                  </a:cubicBezTo>
                  <a:lnTo>
                    <a:pt x="370717" y="371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9" name="Forme libre : forme 168">
              <a:extLst>
                <a:ext uri="{FF2B5EF4-FFF2-40B4-BE49-F238E27FC236}">
                  <a16:creationId xmlns:a16="http://schemas.microsoft.com/office/drawing/2014/main" id="{EA80D635-6F53-4857-9F50-4111495DC12C}"/>
                </a:ext>
              </a:extLst>
            </p:cNvPr>
            <p:cNvSpPr/>
            <p:nvPr/>
          </p:nvSpPr>
          <p:spPr>
            <a:xfrm rot="8716295">
              <a:off x="119403" y="90662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0" name="Forme libre : forme 169">
              <a:extLst>
                <a:ext uri="{FF2B5EF4-FFF2-40B4-BE49-F238E27FC236}">
                  <a16:creationId xmlns:a16="http://schemas.microsoft.com/office/drawing/2014/main" id="{40670C43-A49A-4C3B-A39B-628E23BE1E4B}"/>
                </a:ext>
              </a:extLst>
            </p:cNvPr>
            <p:cNvSpPr/>
            <p:nvPr/>
          </p:nvSpPr>
          <p:spPr>
            <a:xfrm rot="8716295">
              <a:off x="40994" y="74983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1" name="Forme libre : forme 170">
              <a:extLst>
                <a:ext uri="{FF2B5EF4-FFF2-40B4-BE49-F238E27FC236}">
                  <a16:creationId xmlns:a16="http://schemas.microsoft.com/office/drawing/2014/main" id="{A1E0B69E-7457-4A6E-B80C-0CDACC682BEC}"/>
                </a:ext>
              </a:extLst>
            </p:cNvPr>
            <p:cNvSpPr/>
            <p:nvPr/>
          </p:nvSpPr>
          <p:spPr>
            <a:xfrm rot="8716295">
              <a:off x="-44934" y="551941"/>
              <a:ext cx="152592" cy="165412"/>
            </a:xfrm>
            <a:custGeom>
              <a:avLst/>
              <a:gdLst>
                <a:gd name="connsiteX0" fmla="*/ 26453 w 152592"/>
                <a:gd name="connsiteY0" fmla="*/ 153143 h 165412"/>
                <a:gd name="connsiteX1" fmla="*/ 0 w 152592"/>
                <a:gd name="connsiteY1" fmla="*/ 90494 h 165412"/>
                <a:gd name="connsiteX2" fmla="*/ 0 w 152592"/>
                <a:gd name="connsiteY2" fmla="*/ 89101 h 165412"/>
                <a:gd name="connsiteX3" fmla="*/ 26453 w 152592"/>
                <a:gd name="connsiteY3" fmla="*/ 26453 h 165412"/>
                <a:gd name="connsiteX4" fmla="*/ 89101 w 152592"/>
                <a:gd name="connsiteY4" fmla="*/ 0 h 165412"/>
                <a:gd name="connsiteX5" fmla="*/ 151752 w 152592"/>
                <a:gd name="connsiteY5" fmla="*/ 26453 h 165412"/>
                <a:gd name="connsiteX6" fmla="*/ 152592 w 152592"/>
                <a:gd name="connsiteY6" fmla="*/ 27688 h 165412"/>
                <a:gd name="connsiteX7" fmla="*/ 57126 w 152592"/>
                <a:gd name="connsiteY7" fmla="*/ 165412 h 165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592" h="165412">
                  <a:moveTo>
                    <a:pt x="26453" y="153143"/>
                  </a:moveTo>
                  <a:cubicBezTo>
                    <a:pt x="9746" y="136436"/>
                    <a:pt x="0" y="114161"/>
                    <a:pt x="0" y="90494"/>
                  </a:cubicBezTo>
                  <a:lnTo>
                    <a:pt x="0" y="89101"/>
                  </a:lnTo>
                  <a:cubicBezTo>
                    <a:pt x="0" y="65434"/>
                    <a:pt x="9746" y="43159"/>
                    <a:pt x="26453" y="26453"/>
                  </a:cubicBezTo>
                  <a:cubicBezTo>
                    <a:pt x="43159" y="9746"/>
                    <a:pt x="65435" y="0"/>
                    <a:pt x="89101" y="0"/>
                  </a:cubicBezTo>
                  <a:cubicBezTo>
                    <a:pt x="112770" y="0"/>
                    <a:pt x="135045" y="9746"/>
                    <a:pt x="151752" y="26453"/>
                  </a:cubicBezTo>
                  <a:lnTo>
                    <a:pt x="152592" y="27688"/>
                  </a:lnTo>
                  <a:lnTo>
                    <a:pt x="57126" y="1654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2" name="Forme libre : forme 171">
              <a:extLst>
                <a:ext uri="{FF2B5EF4-FFF2-40B4-BE49-F238E27FC236}">
                  <a16:creationId xmlns:a16="http://schemas.microsoft.com/office/drawing/2014/main" id="{8305DDDC-A62B-4F5B-99D8-968A303BB880}"/>
                </a:ext>
              </a:extLst>
            </p:cNvPr>
            <p:cNvSpPr/>
            <p:nvPr/>
          </p:nvSpPr>
          <p:spPr>
            <a:xfrm rot="8716295">
              <a:off x="-69806" y="4587027"/>
              <a:ext cx="183810" cy="187594"/>
            </a:xfrm>
            <a:custGeom>
              <a:avLst/>
              <a:gdLst>
                <a:gd name="connsiteX0" fmla="*/ 10574 w 183810"/>
                <a:gd name="connsiteY0" fmla="*/ 187594 h 187594"/>
                <a:gd name="connsiteX1" fmla="*/ 0 w 183810"/>
                <a:gd name="connsiteY1" fmla="*/ 172952 h 187594"/>
                <a:gd name="connsiteX2" fmla="*/ 183810 w 183810"/>
                <a:gd name="connsiteY2" fmla="*/ 0 h 187594"/>
                <a:gd name="connsiteX3" fmla="*/ 72284 w 183810"/>
                <a:gd name="connsiteY3" fmla="*/ 160894 h 187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810" h="187594">
                  <a:moveTo>
                    <a:pt x="10574" y="187594"/>
                  </a:moveTo>
                  <a:lnTo>
                    <a:pt x="0" y="172952"/>
                  </a:lnTo>
                  <a:lnTo>
                    <a:pt x="183810" y="0"/>
                  </a:lnTo>
                  <a:lnTo>
                    <a:pt x="72284" y="1608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3" name="Forme libre : forme 172">
              <a:extLst>
                <a:ext uri="{FF2B5EF4-FFF2-40B4-BE49-F238E27FC236}">
                  <a16:creationId xmlns:a16="http://schemas.microsoft.com/office/drawing/2014/main" id="{1A0E6ECB-8294-4BA3-8422-8334524ECB58}"/>
                </a:ext>
              </a:extLst>
            </p:cNvPr>
            <p:cNvSpPr/>
            <p:nvPr/>
          </p:nvSpPr>
          <p:spPr>
            <a:xfrm rot="8716295">
              <a:off x="4450621" y="307495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4" name="Forme libre : forme 173">
              <a:extLst>
                <a:ext uri="{FF2B5EF4-FFF2-40B4-BE49-F238E27FC236}">
                  <a16:creationId xmlns:a16="http://schemas.microsoft.com/office/drawing/2014/main" id="{01833036-FD07-46D7-82C2-88C1FC05C85F}"/>
                </a:ext>
              </a:extLst>
            </p:cNvPr>
            <p:cNvSpPr/>
            <p:nvPr/>
          </p:nvSpPr>
          <p:spPr>
            <a:xfrm rot="8716295">
              <a:off x="4585920" y="3119209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5" name="Forme libre : forme 174">
              <a:extLst>
                <a:ext uri="{FF2B5EF4-FFF2-40B4-BE49-F238E27FC236}">
                  <a16:creationId xmlns:a16="http://schemas.microsoft.com/office/drawing/2014/main" id="{B278615F-BCB7-43C6-82A0-33FD907351F5}"/>
                </a:ext>
              </a:extLst>
            </p:cNvPr>
            <p:cNvSpPr/>
            <p:nvPr/>
          </p:nvSpPr>
          <p:spPr>
            <a:xfrm rot="8716295">
              <a:off x="4518038" y="2988621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6" name="Forme libre : forme 175">
              <a:extLst>
                <a:ext uri="{FF2B5EF4-FFF2-40B4-BE49-F238E27FC236}">
                  <a16:creationId xmlns:a16="http://schemas.microsoft.com/office/drawing/2014/main" id="{A4CB9629-4E70-40F0-ADB7-98AF33E8FA82}"/>
                </a:ext>
              </a:extLst>
            </p:cNvPr>
            <p:cNvSpPr/>
            <p:nvPr/>
          </p:nvSpPr>
          <p:spPr>
            <a:xfrm rot="8716295">
              <a:off x="4280750" y="3208965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7" name="Forme libre : forme 176">
              <a:extLst>
                <a:ext uri="{FF2B5EF4-FFF2-40B4-BE49-F238E27FC236}">
                  <a16:creationId xmlns:a16="http://schemas.microsoft.com/office/drawing/2014/main" id="{DCB1DF66-902F-43AF-B912-90C47BAC4CD5}"/>
                </a:ext>
              </a:extLst>
            </p:cNvPr>
            <p:cNvSpPr/>
            <p:nvPr/>
          </p:nvSpPr>
          <p:spPr>
            <a:xfrm rot="8716295">
              <a:off x="4091704" y="289313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8" name="Forme libre : forme 177">
              <a:extLst>
                <a:ext uri="{FF2B5EF4-FFF2-40B4-BE49-F238E27FC236}">
                  <a16:creationId xmlns:a16="http://schemas.microsoft.com/office/drawing/2014/main" id="{206347F6-E053-48F4-AFC6-9C0856F4BFCC}"/>
                </a:ext>
              </a:extLst>
            </p:cNvPr>
            <p:cNvSpPr/>
            <p:nvPr/>
          </p:nvSpPr>
          <p:spPr>
            <a:xfrm rot="8716295">
              <a:off x="4073463" y="2683080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9" name="Forme libre : forme 178">
              <a:extLst>
                <a:ext uri="{FF2B5EF4-FFF2-40B4-BE49-F238E27FC236}">
                  <a16:creationId xmlns:a16="http://schemas.microsoft.com/office/drawing/2014/main" id="{8D2A26C7-C64C-4331-AB8E-BC64F42E6746}"/>
                </a:ext>
              </a:extLst>
            </p:cNvPr>
            <p:cNvSpPr/>
            <p:nvPr/>
          </p:nvSpPr>
          <p:spPr>
            <a:xfrm rot="8716295">
              <a:off x="4417239" y="327094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0" name="Forme libre : forme 179">
              <a:extLst>
                <a:ext uri="{FF2B5EF4-FFF2-40B4-BE49-F238E27FC236}">
                  <a16:creationId xmlns:a16="http://schemas.microsoft.com/office/drawing/2014/main" id="{71D50DC1-7D15-42D6-980A-E78799DC451B}"/>
                </a:ext>
              </a:extLst>
            </p:cNvPr>
            <p:cNvSpPr/>
            <p:nvPr/>
          </p:nvSpPr>
          <p:spPr>
            <a:xfrm rot="8716295">
              <a:off x="4888185" y="2696334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" name="Forme libre : forme 180">
              <a:extLst>
                <a:ext uri="{FF2B5EF4-FFF2-40B4-BE49-F238E27FC236}">
                  <a16:creationId xmlns:a16="http://schemas.microsoft.com/office/drawing/2014/main" id="{EB82C4E3-BE8E-4F27-B36D-E48F91D55981}"/>
                </a:ext>
              </a:extLst>
            </p:cNvPr>
            <p:cNvSpPr/>
            <p:nvPr/>
          </p:nvSpPr>
          <p:spPr>
            <a:xfrm rot="8716295">
              <a:off x="5023484" y="2740593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" name="Forme libre : forme 181">
              <a:extLst>
                <a:ext uri="{FF2B5EF4-FFF2-40B4-BE49-F238E27FC236}">
                  <a16:creationId xmlns:a16="http://schemas.microsoft.com/office/drawing/2014/main" id="{8CF0FAB3-0C6A-450B-9525-29BB7A59C040}"/>
                </a:ext>
              </a:extLst>
            </p:cNvPr>
            <p:cNvSpPr/>
            <p:nvPr/>
          </p:nvSpPr>
          <p:spPr>
            <a:xfrm rot="8716295">
              <a:off x="4718314" y="283034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" name="Forme libre : forme 182">
              <a:extLst>
                <a:ext uri="{FF2B5EF4-FFF2-40B4-BE49-F238E27FC236}">
                  <a16:creationId xmlns:a16="http://schemas.microsoft.com/office/drawing/2014/main" id="{10FB87B4-C488-45C6-AE08-E0AAB6025014}"/>
                </a:ext>
              </a:extLst>
            </p:cNvPr>
            <p:cNvSpPr/>
            <p:nvPr/>
          </p:nvSpPr>
          <p:spPr>
            <a:xfrm rot="8716295">
              <a:off x="4529270" y="251451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" name="Forme libre : forme 183">
              <a:extLst>
                <a:ext uri="{FF2B5EF4-FFF2-40B4-BE49-F238E27FC236}">
                  <a16:creationId xmlns:a16="http://schemas.microsoft.com/office/drawing/2014/main" id="{780E062E-8239-40E1-A336-E5540670A1BD}"/>
                </a:ext>
              </a:extLst>
            </p:cNvPr>
            <p:cNvSpPr/>
            <p:nvPr/>
          </p:nvSpPr>
          <p:spPr>
            <a:xfrm rot="8716295">
              <a:off x="4854803" y="2892332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" name="Forme libre : forme 184">
              <a:extLst>
                <a:ext uri="{FF2B5EF4-FFF2-40B4-BE49-F238E27FC236}">
                  <a16:creationId xmlns:a16="http://schemas.microsoft.com/office/drawing/2014/main" id="{DF4CDF9E-3E83-42B9-8060-460760813751}"/>
                </a:ext>
              </a:extLst>
            </p:cNvPr>
            <p:cNvSpPr/>
            <p:nvPr/>
          </p:nvSpPr>
          <p:spPr>
            <a:xfrm rot="8716295">
              <a:off x="4489356" y="2665906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" name="Forme libre : forme 185">
              <a:extLst>
                <a:ext uri="{FF2B5EF4-FFF2-40B4-BE49-F238E27FC236}">
                  <a16:creationId xmlns:a16="http://schemas.microsoft.com/office/drawing/2014/main" id="{0A35FA8D-2DA5-4890-87D4-1B3451916FA9}"/>
                </a:ext>
              </a:extLst>
            </p:cNvPr>
            <p:cNvSpPr/>
            <p:nvPr/>
          </p:nvSpPr>
          <p:spPr>
            <a:xfrm rot="7484129">
              <a:off x="5013620" y="318195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" name="Forme libre : forme 186">
              <a:extLst>
                <a:ext uri="{FF2B5EF4-FFF2-40B4-BE49-F238E27FC236}">
                  <a16:creationId xmlns:a16="http://schemas.microsoft.com/office/drawing/2014/main" id="{E6A0D96F-008F-4023-A0B6-38102FB3F884}"/>
                </a:ext>
              </a:extLst>
            </p:cNvPr>
            <p:cNvSpPr/>
            <p:nvPr/>
          </p:nvSpPr>
          <p:spPr>
            <a:xfrm rot="13089394">
              <a:off x="5172270" y="3131298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" name="Forme libre : forme 187">
              <a:extLst>
                <a:ext uri="{FF2B5EF4-FFF2-40B4-BE49-F238E27FC236}">
                  <a16:creationId xmlns:a16="http://schemas.microsoft.com/office/drawing/2014/main" id="{34516B6B-1C6B-4061-A441-0A96C5F85F2D}"/>
                </a:ext>
              </a:extLst>
            </p:cNvPr>
            <p:cNvSpPr/>
            <p:nvPr/>
          </p:nvSpPr>
          <p:spPr>
            <a:xfrm rot="8716295">
              <a:off x="5453161" y="2841180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" name="Forme libre : forme 188">
              <a:extLst>
                <a:ext uri="{FF2B5EF4-FFF2-40B4-BE49-F238E27FC236}">
                  <a16:creationId xmlns:a16="http://schemas.microsoft.com/office/drawing/2014/main" id="{25C5FA48-0926-4D19-8036-167D5A8A0B0F}"/>
                </a:ext>
              </a:extLst>
            </p:cNvPr>
            <p:cNvSpPr/>
            <p:nvPr/>
          </p:nvSpPr>
          <p:spPr>
            <a:xfrm rot="8716295">
              <a:off x="5374752" y="268438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" name="Forme libre : forme 189">
              <a:extLst>
                <a:ext uri="{FF2B5EF4-FFF2-40B4-BE49-F238E27FC236}">
                  <a16:creationId xmlns:a16="http://schemas.microsoft.com/office/drawing/2014/main" id="{DAF894AD-B4B7-410F-8EC1-02725EF382CF}"/>
                </a:ext>
              </a:extLst>
            </p:cNvPr>
            <p:cNvSpPr/>
            <p:nvPr/>
          </p:nvSpPr>
          <p:spPr>
            <a:xfrm rot="8716295">
              <a:off x="5006588" y="273012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" name="Forme libre : forme 190">
              <a:extLst>
                <a:ext uri="{FF2B5EF4-FFF2-40B4-BE49-F238E27FC236}">
                  <a16:creationId xmlns:a16="http://schemas.microsoft.com/office/drawing/2014/main" id="{050039E8-AFBF-4BD9-96DB-778F55B5F2C4}"/>
                </a:ext>
              </a:extLst>
            </p:cNvPr>
            <p:cNvSpPr/>
            <p:nvPr/>
          </p:nvSpPr>
          <p:spPr>
            <a:xfrm rot="8716295">
              <a:off x="5275170" y="2489109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" name="Forme libre : forme 191">
              <a:extLst>
                <a:ext uri="{FF2B5EF4-FFF2-40B4-BE49-F238E27FC236}">
                  <a16:creationId xmlns:a16="http://schemas.microsoft.com/office/drawing/2014/main" id="{BAF5AA66-DC18-43A5-AAAE-6EB312E4E790}"/>
                </a:ext>
              </a:extLst>
            </p:cNvPr>
            <p:cNvSpPr/>
            <p:nvPr/>
          </p:nvSpPr>
          <p:spPr>
            <a:xfrm rot="8716295">
              <a:off x="4788394" y="407343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" name="Forme libre : forme 192">
              <a:extLst>
                <a:ext uri="{FF2B5EF4-FFF2-40B4-BE49-F238E27FC236}">
                  <a16:creationId xmlns:a16="http://schemas.microsoft.com/office/drawing/2014/main" id="{780EC621-519F-489B-BFBA-B49F228A0641}"/>
                </a:ext>
              </a:extLst>
            </p:cNvPr>
            <p:cNvSpPr/>
            <p:nvPr/>
          </p:nvSpPr>
          <p:spPr>
            <a:xfrm rot="8716295">
              <a:off x="4923693" y="411769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" name="Forme libre : forme 193">
              <a:extLst>
                <a:ext uri="{FF2B5EF4-FFF2-40B4-BE49-F238E27FC236}">
                  <a16:creationId xmlns:a16="http://schemas.microsoft.com/office/drawing/2014/main" id="{56C02974-8A88-4B14-998C-3296551B1E9D}"/>
                </a:ext>
              </a:extLst>
            </p:cNvPr>
            <p:cNvSpPr/>
            <p:nvPr/>
          </p:nvSpPr>
          <p:spPr>
            <a:xfrm rot="8716295">
              <a:off x="4855811" y="3987104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" name="Forme libre : forme 194">
              <a:extLst>
                <a:ext uri="{FF2B5EF4-FFF2-40B4-BE49-F238E27FC236}">
                  <a16:creationId xmlns:a16="http://schemas.microsoft.com/office/drawing/2014/main" id="{1315A3F8-95CA-4F67-BF42-435167A25A7A}"/>
                </a:ext>
              </a:extLst>
            </p:cNvPr>
            <p:cNvSpPr/>
            <p:nvPr/>
          </p:nvSpPr>
          <p:spPr>
            <a:xfrm rot="8716295">
              <a:off x="4618523" y="420744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" name="Forme libre : forme 195">
              <a:extLst>
                <a:ext uri="{FF2B5EF4-FFF2-40B4-BE49-F238E27FC236}">
                  <a16:creationId xmlns:a16="http://schemas.microsoft.com/office/drawing/2014/main" id="{5FBA9E77-EEAF-4196-9EB3-AAB7591C02B4}"/>
                </a:ext>
              </a:extLst>
            </p:cNvPr>
            <p:cNvSpPr/>
            <p:nvPr/>
          </p:nvSpPr>
          <p:spPr>
            <a:xfrm rot="8716295">
              <a:off x="4429477" y="389161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" name="Forme libre : forme 196">
              <a:extLst>
                <a:ext uri="{FF2B5EF4-FFF2-40B4-BE49-F238E27FC236}">
                  <a16:creationId xmlns:a16="http://schemas.microsoft.com/office/drawing/2014/main" id="{9640743B-2A63-41D0-B596-466D8A1999D1}"/>
                </a:ext>
              </a:extLst>
            </p:cNvPr>
            <p:cNvSpPr/>
            <p:nvPr/>
          </p:nvSpPr>
          <p:spPr>
            <a:xfrm rot="8716295">
              <a:off x="4411236" y="3681563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" name="Forme libre : forme 197">
              <a:extLst>
                <a:ext uri="{FF2B5EF4-FFF2-40B4-BE49-F238E27FC236}">
                  <a16:creationId xmlns:a16="http://schemas.microsoft.com/office/drawing/2014/main" id="{58E0BAB6-4A71-4FD6-9833-700BF9E78B7C}"/>
                </a:ext>
              </a:extLst>
            </p:cNvPr>
            <p:cNvSpPr/>
            <p:nvPr/>
          </p:nvSpPr>
          <p:spPr>
            <a:xfrm rot="8716295">
              <a:off x="4755012" y="4269431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" name="Forme libre : forme 198">
              <a:extLst>
                <a:ext uri="{FF2B5EF4-FFF2-40B4-BE49-F238E27FC236}">
                  <a16:creationId xmlns:a16="http://schemas.microsoft.com/office/drawing/2014/main" id="{75BB7597-AEE7-44BA-A895-6BF134870ADB}"/>
                </a:ext>
              </a:extLst>
            </p:cNvPr>
            <p:cNvSpPr/>
            <p:nvPr/>
          </p:nvSpPr>
          <p:spPr>
            <a:xfrm rot="8716295">
              <a:off x="5225958" y="3694817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" name="Forme libre : forme 199">
              <a:extLst>
                <a:ext uri="{FF2B5EF4-FFF2-40B4-BE49-F238E27FC236}">
                  <a16:creationId xmlns:a16="http://schemas.microsoft.com/office/drawing/2014/main" id="{EEB3834C-1DBD-4E8A-80F2-2243D4B0C7C6}"/>
                </a:ext>
              </a:extLst>
            </p:cNvPr>
            <p:cNvSpPr/>
            <p:nvPr/>
          </p:nvSpPr>
          <p:spPr>
            <a:xfrm rot="8716295">
              <a:off x="5364349" y="3753375"/>
              <a:ext cx="325540" cy="385611"/>
            </a:xfrm>
            <a:custGeom>
              <a:avLst/>
              <a:gdLst>
                <a:gd name="connsiteX0" fmla="*/ 8983 w 325540"/>
                <a:gd name="connsiteY0" fmla="*/ 385611 h 385611"/>
                <a:gd name="connsiteX1" fmla="*/ 8983 w 325540"/>
                <a:gd name="connsiteY1" fmla="*/ 69053 h 385611"/>
                <a:gd name="connsiteX2" fmla="*/ 0 w 325540"/>
                <a:gd name="connsiteY2" fmla="*/ 69053 h 385611"/>
                <a:gd name="connsiteX3" fmla="*/ 55019 w 325540"/>
                <a:gd name="connsiteY3" fmla="*/ 2157 h 385611"/>
                <a:gd name="connsiteX4" fmla="*/ 89675 w 325540"/>
                <a:gd name="connsiteY4" fmla="*/ 2156 h 385611"/>
                <a:gd name="connsiteX5" fmla="*/ 89674 w 325540"/>
                <a:gd name="connsiteY5" fmla="*/ 113882 h 385611"/>
                <a:gd name="connsiteX6" fmla="*/ 91743 w 325540"/>
                <a:gd name="connsiteY6" fmla="*/ 113882 h 385611"/>
                <a:gd name="connsiteX7" fmla="*/ 164159 w 325540"/>
                <a:gd name="connsiteY7" fmla="*/ 9053 h 385611"/>
                <a:gd name="connsiteX8" fmla="*/ 211745 w 325540"/>
                <a:gd name="connsiteY8" fmla="*/ 87 h 385611"/>
                <a:gd name="connsiteX9" fmla="*/ 325540 w 325540"/>
                <a:gd name="connsiteY9" fmla="*/ 133882 h 385611"/>
                <a:gd name="connsiteX10" fmla="*/ 325540 w 325540"/>
                <a:gd name="connsiteY10" fmla="*/ 142848 h 385611"/>
                <a:gd name="connsiteX11" fmla="*/ 231746 w 325540"/>
                <a:gd name="connsiteY11" fmla="*/ 148366 h 385611"/>
                <a:gd name="connsiteX12" fmla="*/ 231746 w 325540"/>
                <a:gd name="connsiteY12" fmla="*/ 123538 h 385611"/>
                <a:gd name="connsiteX13" fmla="*/ 180710 w 325540"/>
                <a:gd name="connsiteY13" fmla="*/ 60778 h 385611"/>
                <a:gd name="connsiteX14" fmla="*/ 100020 w 325540"/>
                <a:gd name="connsiteY14" fmla="*/ 193194 h 385611"/>
                <a:gd name="connsiteX15" fmla="*/ 100020 w 325540"/>
                <a:gd name="connsiteY15" fmla="*/ 323541 h 385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5540" h="385611">
                  <a:moveTo>
                    <a:pt x="8983" y="385611"/>
                  </a:moveTo>
                  <a:lnTo>
                    <a:pt x="8983" y="69053"/>
                  </a:lnTo>
                  <a:lnTo>
                    <a:pt x="0" y="69053"/>
                  </a:lnTo>
                  <a:lnTo>
                    <a:pt x="55019" y="2157"/>
                  </a:lnTo>
                  <a:lnTo>
                    <a:pt x="89675" y="2156"/>
                  </a:lnTo>
                  <a:lnTo>
                    <a:pt x="89674" y="113882"/>
                  </a:lnTo>
                  <a:lnTo>
                    <a:pt x="91743" y="113882"/>
                  </a:lnTo>
                  <a:cubicBezTo>
                    <a:pt x="113813" y="48363"/>
                    <a:pt x="131055" y="22846"/>
                    <a:pt x="164159" y="9053"/>
                  </a:cubicBezTo>
                  <a:cubicBezTo>
                    <a:pt x="179331" y="2846"/>
                    <a:pt x="195193" y="-602"/>
                    <a:pt x="211745" y="87"/>
                  </a:cubicBezTo>
                  <a:cubicBezTo>
                    <a:pt x="282781" y="-1293"/>
                    <a:pt x="325540" y="48363"/>
                    <a:pt x="325540" y="133882"/>
                  </a:cubicBezTo>
                  <a:lnTo>
                    <a:pt x="325540" y="142848"/>
                  </a:lnTo>
                  <a:lnTo>
                    <a:pt x="231746" y="148366"/>
                  </a:lnTo>
                  <a:lnTo>
                    <a:pt x="231746" y="123538"/>
                  </a:lnTo>
                  <a:cubicBezTo>
                    <a:pt x="231746" y="86296"/>
                    <a:pt x="210367" y="60778"/>
                    <a:pt x="180710" y="60778"/>
                  </a:cubicBezTo>
                  <a:cubicBezTo>
                    <a:pt x="136572" y="60777"/>
                    <a:pt x="100020" y="119400"/>
                    <a:pt x="100020" y="193194"/>
                  </a:cubicBezTo>
                  <a:lnTo>
                    <a:pt x="100020" y="3235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" name="Forme libre : forme 200">
              <a:extLst>
                <a:ext uri="{FF2B5EF4-FFF2-40B4-BE49-F238E27FC236}">
                  <a16:creationId xmlns:a16="http://schemas.microsoft.com/office/drawing/2014/main" id="{372D1467-D2E3-4216-9E90-20982CF5734F}"/>
                </a:ext>
              </a:extLst>
            </p:cNvPr>
            <p:cNvSpPr/>
            <p:nvPr/>
          </p:nvSpPr>
          <p:spPr>
            <a:xfrm rot="8716295">
              <a:off x="5056087" y="382883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" name="Forme libre : forme 201">
              <a:extLst>
                <a:ext uri="{FF2B5EF4-FFF2-40B4-BE49-F238E27FC236}">
                  <a16:creationId xmlns:a16="http://schemas.microsoft.com/office/drawing/2014/main" id="{B604E5DA-CBD2-466D-A47E-4EAA9B5B7623}"/>
                </a:ext>
              </a:extLst>
            </p:cNvPr>
            <p:cNvSpPr/>
            <p:nvPr/>
          </p:nvSpPr>
          <p:spPr>
            <a:xfrm rot="8716295">
              <a:off x="4867043" y="351299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" name="Forme libre : forme 202">
              <a:extLst>
                <a:ext uri="{FF2B5EF4-FFF2-40B4-BE49-F238E27FC236}">
                  <a16:creationId xmlns:a16="http://schemas.microsoft.com/office/drawing/2014/main" id="{E20F76FB-79A8-44FD-A97E-07BAE8CB93F0}"/>
                </a:ext>
              </a:extLst>
            </p:cNvPr>
            <p:cNvSpPr/>
            <p:nvPr/>
          </p:nvSpPr>
          <p:spPr>
            <a:xfrm rot="8716295">
              <a:off x="5192576" y="3890815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" name="Forme libre : forme 203">
              <a:extLst>
                <a:ext uri="{FF2B5EF4-FFF2-40B4-BE49-F238E27FC236}">
                  <a16:creationId xmlns:a16="http://schemas.microsoft.com/office/drawing/2014/main" id="{07DA70CF-480A-435C-9C90-6F5E70E02F28}"/>
                </a:ext>
              </a:extLst>
            </p:cNvPr>
            <p:cNvSpPr/>
            <p:nvPr/>
          </p:nvSpPr>
          <p:spPr>
            <a:xfrm rot="8716295">
              <a:off x="4827129" y="3664389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" name="Forme libre : forme 204">
              <a:extLst>
                <a:ext uri="{FF2B5EF4-FFF2-40B4-BE49-F238E27FC236}">
                  <a16:creationId xmlns:a16="http://schemas.microsoft.com/office/drawing/2014/main" id="{EFCDF1BC-CE63-46A7-BBB7-A0FD6C01682D}"/>
                </a:ext>
              </a:extLst>
            </p:cNvPr>
            <p:cNvSpPr/>
            <p:nvPr/>
          </p:nvSpPr>
          <p:spPr>
            <a:xfrm rot="7484129">
              <a:off x="5351393" y="418043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" name="Forme libre : forme 205">
              <a:extLst>
                <a:ext uri="{FF2B5EF4-FFF2-40B4-BE49-F238E27FC236}">
                  <a16:creationId xmlns:a16="http://schemas.microsoft.com/office/drawing/2014/main" id="{DC92A656-7063-4EB8-9B18-5A621F03BDBB}"/>
                </a:ext>
              </a:extLst>
            </p:cNvPr>
            <p:cNvSpPr/>
            <p:nvPr/>
          </p:nvSpPr>
          <p:spPr>
            <a:xfrm rot="13089394">
              <a:off x="5497067" y="4157639"/>
              <a:ext cx="336155" cy="433969"/>
            </a:xfrm>
            <a:custGeom>
              <a:avLst/>
              <a:gdLst>
                <a:gd name="connsiteX0" fmla="*/ 23241 w 222098"/>
                <a:gd name="connsiteY0" fmla="*/ 47275 h 286724"/>
                <a:gd name="connsiteX1" fmla="*/ 0 w 222098"/>
                <a:gd name="connsiteY1" fmla="*/ 11882 h 286724"/>
                <a:gd name="connsiteX2" fmla="*/ 22902 w 222098"/>
                <a:gd name="connsiteY2" fmla="*/ 0 h 286724"/>
                <a:gd name="connsiteX3" fmla="*/ 222098 w 222098"/>
                <a:gd name="connsiteY3" fmla="*/ 258238 h 286724"/>
                <a:gd name="connsiteX4" fmla="*/ 180472 w 222098"/>
                <a:gd name="connsiteY4" fmla="*/ 286724 h 286724"/>
                <a:gd name="connsiteX5" fmla="*/ 167667 w 222098"/>
                <a:gd name="connsiteY5" fmla="*/ 267224 h 286724"/>
                <a:gd name="connsiteX6" fmla="*/ 220995 w 222098"/>
                <a:gd name="connsiteY6" fmla="*/ 245547 h 286724"/>
                <a:gd name="connsiteX7" fmla="*/ 222098 w 222098"/>
                <a:gd name="connsiteY7" fmla="*/ 252720 h 286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2098" h="286724">
                  <a:moveTo>
                    <a:pt x="23241" y="47275"/>
                  </a:moveTo>
                  <a:lnTo>
                    <a:pt x="0" y="11882"/>
                  </a:lnTo>
                  <a:lnTo>
                    <a:pt x="22902" y="0"/>
                  </a:lnTo>
                  <a:close/>
                  <a:moveTo>
                    <a:pt x="222098" y="258238"/>
                  </a:moveTo>
                  <a:lnTo>
                    <a:pt x="180472" y="286724"/>
                  </a:lnTo>
                  <a:lnTo>
                    <a:pt x="167667" y="267224"/>
                  </a:lnTo>
                  <a:lnTo>
                    <a:pt x="220995" y="245547"/>
                  </a:lnTo>
                  <a:cubicBezTo>
                    <a:pt x="221546" y="247754"/>
                    <a:pt x="222098" y="250513"/>
                    <a:pt x="222098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" name="Forme libre : forme 206">
              <a:extLst>
                <a:ext uri="{FF2B5EF4-FFF2-40B4-BE49-F238E27FC236}">
                  <a16:creationId xmlns:a16="http://schemas.microsoft.com/office/drawing/2014/main" id="{5B6131FF-A409-4EA9-81CC-0C3D2782942F}"/>
                </a:ext>
              </a:extLst>
            </p:cNvPr>
            <p:cNvSpPr/>
            <p:nvPr/>
          </p:nvSpPr>
          <p:spPr>
            <a:xfrm rot="8716295">
              <a:off x="5689139" y="3701707"/>
              <a:ext cx="105382" cy="119090"/>
            </a:xfrm>
            <a:custGeom>
              <a:avLst/>
              <a:gdLst>
                <a:gd name="connsiteX0" fmla="*/ 0 w 69626"/>
                <a:gd name="connsiteY0" fmla="*/ 74288 h 78683"/>
                <a:gd name="connsiteX1" fmla="*/ 61446 w 69626"/>
                <a:gd name="connsiteY1" fmla="*/ 0 h 78683"/>
                <a:gd name="connsiteX2" fmla="*/ 69626 w 69626"/>
                <a:gd name="connsiteY2" fmla="*/ 19468 h 78683"/>
                <a:gd name="connsiteX3" fmla="*/ 52380 w 69626"/>
                <a:gd name="connsiteY3" fmla="*/ 61206 h 78683"/>
                <a:gd name="connsiteX4" fmla="*/ 10986 w 69626"/>
                <a:gd name="connsiteY4" fmla="*/ 78683 h 78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626" h="78683">
                  <a:moveTo>
                    <a:pt x="0" y="74288"/>
                  </a:moveTo>
                  <a:lnTo>
                    <a:pt x="61446" y="0"/>
                  </a:lnTo>
                  <a:lnTo>
                    <a:pt x="69626" y="19468"/>
                  </a:lnTo>
                  <a:cubicBezTo>
                    <a:pt x="69626" y="34531"/>
                    <a:pt x="63877" y="49708"/>
                    <a:pt x="52380" y="61206"/>
                  </a:cubicBezTo>
                  <a:cubicBezTo>
                    <a:pt x="41341" y="72244"/>
                    <a:pt x="26624" y="78683"/>
                    <a:pt x="10986" y="786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" name="Forme libre : forme 207">
              <a:extLst>
                <a:ext uri="{FF2B5EF4-FFF2-40B4-BE49-F238E27FC236}">
                  <a16:creationId xmlns:a16="http://schemas.microsoft.com/office/drawing/2014/main" id="{F418276D-8E57-4C97-A0E3-69608568D520}"/>
                </a:ext>
              </a:extLst>
            </p:cNvPr>
            <p:cNvSpPr/>
            <p:nvPr/>
          </p:nvSpPr>
          <p:spPr>
            <a:xfrm rot="8716295">
              <a:off x="5344361" y="372861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" name="Forme libre : forme 208">
              <a:extLst>
                <a:ext uri="{FF2B5EF4-FFF2-40B4-BE49-F238E27FC236}">
                  <a16:creationId xmlns:a16="http://schemas.microsoft.com/office/drawing/2014/main" id="{18CB7434-4843-4498-9ECE-196E31359917}"/>
                </a:ext>
              </a:extLst>
            </p:cNvPr>
            <p:cNvSpPr/>
            <p:nvPr/>
          </p:nvSpPr>
          <p:spPr>
            <a:xfrm rot="8716295">
              <a:off x="5599943" y="3480521"/>
              <a:ext cx="177855" cy="178203"/>
            </a:xfrm>
            <a:custGeom>
              <a:avLst/>
              <a:gdLst>
                <a:gd name="connsiteX0" fmla="*/ 17477 w 117509"/>
                <a:gd name="connsiteY0" fmla="*/ 101182 h 117739"/>
                <a:gd name="connsiteX1" fmla="*/ 0 w 117509"/>
                <a:gd name="connsiteY1" fmla="*/ 59790 h 117739"/>
                <a:gd name="connsiteX2" fmla="*/ 0 w 117509"/>
                <a:gd name="connsiteY2" fmla="*/ 58869 h 117739"/>
                <a:gd name="connsiteX3" fmla="*/ 2091 w 117509"/>
                <a:gd name="connsiteY3" fmla="*/ 48678 h 117739"/>
                <a:gd name="connsiteX4" fmla="*/ 38978 w 117509"/>
                <a:gd name="connsiteY4" fmla="*/ 4080 h 117739"/>
                <a:gd name="connsiteX5" fmla="*/ 58869 w 117509"/>
                <a:gd name="connsiteY5" fmla="*/ 0 h 117739"/>
                <a:gd name="connsiteX6" fmla="*/ 100263 w 117509"/>
                <a:gd name="connsiteY6" fmla="*/ 17477 h 117739"/>
                <a:gd name="connsiteX7" fmla="*/ 100263 w 117509"/>
                <a:gd name="connsiteY7" fmla="*/ 100262 h 117739"/>
                <a:gd name="connsiteX8" fmla="*/ 58869 w 117509"/>
                <a:gd name="connsiteY8" fmla="*/ 117739 h 117739"/>
                <a:gd name="connsiteX9" fmla="*/ 17477 w 117509"/>
                <a:gd name="connsiteY9" fmla="*/ 101182 h 117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09" h="117739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lnTo>
                    <a:pt x="2091" y="48678"/>
                  </a:lnTo>
                  <a:lnTo>
                    <a:pt x="38978" y="4080"/>
                  </a:lnTo>
                  <a:lnTo>
                    <a:pt x="58869" y="0"/>
                  </a:lnTo>
                  <a:cubicBezTo>
                    <a:pt x="74507" y="0"/>
                    <a:pt x="89224" y="6439"/>
                    <a:pt x="100263" y="17477"/>
                  </a:cubicBezTo>
                  <a:cubicBezTo>
                    <a:pt x="123258" y="39553"/>
                    <a:pt x="123258" y="77266"/>
                    <a:pt x="100263" y="100262"/>
                  </a:cubicBezTo>
                  <a:cubicBezTo>
                    <a:pt x="89224" y="111300"/>
                    <a:pt x="74507" y="117739"/>
                    <a:pt x="58869" y="117739"/>
                  </a:cubicBezTo>
                  <a:cubicBezTo>
                    <a:pt x="43233" y="117739"/>
                    <a:pt x="28515" y="112220"/>
                    <a:pt x="17477" y="10118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" name="Forme libre : forme 209">
              <a:extLst>
                <a:ext uri="{FF2B5EF4-FFF2-40B4-BE49-F238E27FC236}">
                  <a16:creationId xmlns:a16="http://schemas.microsoft.com/office/drawing/2014/main" id="{80007C47-775F-43EE-9BFF-1043A7C3649A}"/>
                </a:ext>
              </a:extLst>
            </p:cNvPr>
            <p:cNvSpPr/>
            <p:nvPr/>
          </p:nvSpPr>
          <p:spPr>
            <a:xfrm rot="8716295">
              <a:off x="5090746" y="5117279"/>
              <a:ext cx="37096" cy="40385"/>
            </a:xfrm>
            <a:custGeom>
              <a:avLst/>
              <a:gdLst>
                <a:gd name="connsiteX0" fmla="*/ 0 w 37096"/>
                <a:gd name="connsiteY0" fmla="*/ 40385 h 40385"/>
                <a:gd name="connsiteX1" fmla="*/ 0 w 37096"/>
                <a:gd name="connsiteY1" fmla="*/ 0 h 40385"/>
                <a:gd name="connsiteX2" fmla="*/ 37096 w 37096"/>
                <a:gd name="connsiteY2" fmla="*/ 25713 h 40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096" h="40385">
                  <a:moveTo>
                    <a:pt x="0" y="40385"/>
                  </a:moveTo>
                  <a:lnTo>
                    <a:pt x="0" y="0"/>
                  </a:lnTo>
                  <a:lnTo>
                    <a:pt x="37096" y="2571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" name="Forme libre : forme 210">
              <a:extLst>
                <a:ext uri="{FF2B5EF4-FFF2-40B4-BE49-F238E27FC236}">
                  <a16:creationId xmlns:a16="http://schemas.microsoft.com/office/drawing/2014/main" id="{5820CA8C-9225-440D-B86D-A9CE799D1C39}"/>
                </a:ext>
              </a:extLst>
            </p:cNvPr>
            <p:cNvSpPr/>
            <p:nvPr/>
          </p:nvSpPr>
          <p:spPr>
            <a:xfrm rot="8716295">
              <a:off x="5405706" y="5085046"/>
              <a:ext cx="60406" cy="83058"/>
            </a:xfrm>
            <a:custGeom>
              <a:avLst/>
              <a:gdLst>
                <a:gd name="connsiteX0" fmla="*/ 0 w 60406"/>
                <a:gd name="connsiteY0" fmla="*/ 83058 h 83058"/>
                <a:gd name="connsiteX1" fmla="*/ 0 w 60406"/>
                <a:gd name="connsiteY1" fmla="*/ 0 h 83058"/>
                <a:gd name="connsiteX2" fmla="*/ 60406 w 60406"/>
                <a:gd name="connsiteY2" fmla="*/ 41872 h 83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406" h="83058">
                  <a:moveTo>
                    <a:pt x="0" y="83058"/>
                  </a:moveTo>
                  <a:lnTo>
                    <a:pt x="0" y="0"/>
                  </a:lnTo>
                  <a:lnTo>
                    <a:pt x="60406" y="4187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" name="Forme libre : forme 211">
              <a:extLst>
                <a:ext uri="{FF2B5EF4-FFF2-40B4-BE49-F238E27FC236}">
                  <a16:creationId xmlns:a16="http://schemas.microsoft.com/office/drawing/2014/main" id="{14119B8B-36AC-4498-96E0-570BA8C54C01}"/>
                </a:ext>
              </a:extLst>
            </p:cNvPr>
            <p:cNvSpPr/>
            <p:nvPr/>
          </p:nvSpPr>
          <p:spPr>
            <a:xfrm rot="8716295">
              <a:off x="5207014" y="4975218"/>
              <a:ext cx="245211" cy="161994"/>
            </a:xfrm>
            <a:custGeom>
              <a:avLst/>
              <a:gdLst>
                <a:gd name="connsiteX0" fmla="*/ 8965 w 245211"/>
                <a:gd name="connsiteY0" fmla="*/ 161994 h 161994"/>
                <a:gd name="connsiteX1" fmla="*/ 0 w 245211"/>
                <a:gd name="connsiteY1" fmla="*/ 149580 h 161994"/>
                <a:gd name="connsiteX2" fmla="*/ 158971 w 245211"/>
                <a:gd name="connsiteY2" fmla="*/ 0 h 161994"/>
                <a:gd name="connsiteX3" fmla="*/ 245211 w 245211"/>
                <a:gd name="connsiteY3" fmla="*/ 59779 h 161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211" h="161994">
                  <a:moveTo>
                    <a:pt x="8965" y="161994"/>
                  </a:moveTo>
                  <a:lnTo>
                    <a:pt x="0" y="149580"/>
                  </a:lnTo>
                  <a:lnTo>
                    <a:pt x="158971" y="0"/>
                  </a:lnTo>
                  <a:lnTo>
                    <a:pt x="245211" y="5977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" name="Forme libre : forme 212">
              <a:extLst>
                <a:ext uri="{FF2B5EF4-FFF2-40B4-BE49-F238E27FC236}">
                  <a16:creationId xmlns:a16="http://schemas.microsoft.com/office/drawing/2014/main" id="{4FCFFEE2-AEF7-46AC-BCAB-E4AB6356A9CD}"/>
                </a:ext>
              </a:extLst>
            </p:cNvPr>
            <p:cNvSpPr/>
            <p:nvPr/>
          </p:nvSpPr>
          <p:spPr>
            <a:xfrm rot="8716295">
              <a:off x="4807372" y="4871188"/>
              <a:ext cx="249519" cy="296463"/>
            </a:xfrm>
            <a:custGeom>
              <a:avLst/>
              <a:gdLst>
                <a:gd name="connsiteX0" fmla="*/ 137293 w 249519"/>
                <a:gd name="connsiteY0" fmla="*/ 296463 h 296463"/>
                <a:gd name="connsiteX1" fmla="*/ 72418 w 249519"/>
                <a:gd name="connsiteY1" fmla="*/ 175766 h 296463"/>
                <a:gd name="connsiteX2" fmla="*/ 105610 w 249519"/>
                <a:gd name="connsiteY2" fmla="*/ 83734 h 296463"/>
                <a:gd name="connsiteX3" fmla="*/ 0 w 249519"/>
                <a:gd name="connsiteY3" fmla="*/ 83734 h 296463"/>
                <a:gd name="connsiteX4" fmla="*/ 0 w 249519"/>
                <a:gd name="connsiteY4" fmla="*/ 0 h 296463"/>
                <a:gd name="connsiteX5" fmla="*/ 128719 w 249519"/>
                <a:gd name="connsiteY5" fmla="*/ 0 h 296463"/>
                <a:gd name="connsiteX6" fmla="*/ 249519 w 249519"/>
                <a:gd name="connsiteY6" fmla="*/ 83734 h 296463"/>
                <a:gd name="connsiteX7" fmla="*/ 210465 w 249519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9519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128719" y="0"/>
                  </a:lnTo>
                  <a:lnTo>
                    <a:pt x="249519" y="83734"/>
                  </a:lnTo>
                  <a:lnTo>
                    <a:pt x="210465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" name="Forme libre : forme 213">
              <a:extLst>
                <a:ext uri="{FF2B5EF4-FFF2-40B4-BE49-F238E27FC236}">
                  <a16:creationId xmlns:a16="http://schemas.microsoft.com/office/drawing/2014/main" id="{1B41E071-0693-46BD-92E2-292036356EEC}"/>
                </a:ext>
              </a:extLst>
            </p:cNvPr>
            <p:cNvSpPr/>
            <p:nvPr/>
          </p:nvSpPr>
          <p:spPr>
            <a:xfrm rot="8716295">
              <a:off x="4742203" y="467807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" name="Forme libre : forme 214">
              <a:extLst>
                <a:ext uri="{FF2B5EF4-FFF2-40B4-BE49-F238E27FC236}">
                  <a16:creationId xmlns:a16="http://schemas.microsoft.com/office/drawing/2014/main" id="{3D04A71D-E109-4B4F-89C3-FA4AB19F4E1D}"/>
                </a:ext>
              </a:extLst>
            </p:cNvPr>
            <p:cNvSpPr/>
            <p:nvPr/>
          </p:nvSpPr>
          <p:spPr>
            <a:xfrm rot="8716295">
              <a:off x="5548192" y="4732447"/>
              <a:ext cx="92415" cy="287093"/>
            </a:xfrm>
            <a:custGeom>
              <a:avLst/>
              <a:gdLst>
                <a:gd name="connsiteX0" fmla="*/ 0 w 61059"/>
                <a:gd name="connsiteY0" fmla="*/ 189683 h 189683"/>
                <a:gd name="connsiteX1" fmla="*/ 1 w 61059"/>
                <a:gd name="connsiteY1" fmla="*/ 70355 h 189683"/>
                <a:gd name="connsiteX2" fmla="*/ 58192 w 61059"/>
                <a:gd name="connsiteY2" fmla="*/ 0 h 189683"/>
                <a:gd name="connsiteX3" fmla="*/ 61059 w 61059"/>
                <a:gd name="connsiteY3" fmla="*/ 7418 h 189683"/>
                <a:gd name="connsiteX4" fmla="*/ 61059 w 61059"/>
                <a:gd name="connsiteY4" fmla="*/ 165533 h 189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59" h="189683">
                  <a:moveTo>
                    <a:pt x="0" y="189683"/>
                  </a:moveTo>
                  <a:lnTo>
                    <a:pt x="1" y="70355"/>
                  </a:lnTo>
                  <a:lnTo>
                    <a:pt x="58192" y="0"/>
                  </a:lnTo>
                  <a:lnTo>
                    <a:pt x="61059" y="7418"/>
                  </a:lnTo>
                  <a:lnTo>
                    <a:pt x="61059" y="1655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" name="Forme libre : forme 215">
              <a:extLst>
                <a:ext uri="{FF2B5EF4-FFF2-40B4-BE49-F238E27FC236}">
                  <a16:creationId xmlns:a16="http://schemas.microsoft.com/office/drawing/2014/main" id="{AAC7FAB2-F735-42A2-BE55-7C8B153DECE5}"/>
                </a:ext>
              </a:extLst>
            </p:cNvPr>
            <p:cNvSpPr/>
            <p:nvPr/>
          </p:nvSpPr>
          <p:spPr>
            <a:xfrm rot="8716295">
              <a:off x="5387054" y="482534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" name="Forme libre : forme 216">
              <a:extLst>
                <a:ext uri="{FF2B5EF4-FFF2-40B4-BE49-F238E27FC236}">
                  <a16:creationId xmlns:a16="http://schemas.microsoft.com/office/drawing/2014/main" id="{4B03EBBE-E237-4565-BE6F-56E70942310E}"/>
                </a:ext>
              </a:extLst>
            </p:cNvPr>
            <p:cNvSpPr/>
            <p:nvPr/>
          </p:nvSpPr>
          <p:spPr>
            <a:xfrm rot="8716295">
              <a:off x="5198009" y="450950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" name="Forme libre : forme 217">
              <a:extLst>
                <a:ext uri="{FF2B5EF4-FFF2-40B4-BE49-F238E27FC236}">
                  <a16:creationId xmlns:a16="http://schemas.microsoft.com/office/drawing/2014/main" id="{230714BC-B4D4-483B-9F0B-D1990593F59D}"/>
                </a:ext>
              </a:extLst>
            </p:cNvPr>
            <p:cNvSpPr/>
            <p:nvPr/>
          </p:nvSpPr>
          <p:spPr>
            <a:xfrm rot="8716295">
              <a:off x="5503997" y="4913234"/>
              <a:ext cx="91035" cy="258752"/>
            </a:xfrm>
            <a:custGeom>
              <a:avLst/>
              <a:gdLst>
                <a:gd name="connsiteX0" fmla="*/ 91035 w 91035"/>
                <a:gd name="connsiteY0" fmla="*/ 258752 h 258752"/>
                <a:gd name="connsiteX1" fmla="*/ 0 w 91035"/>
                <a:gd name="connsiteY1" fmla="*/ 171163 h 258752"/>
                <a:gd name="connsiteX2" fmla="*/ 0 w 91035"/>
                <a:gd name="connsiteY2" fmla="*/ 43487 h 258752"/>
                <a:gd name="connsiteX3" fmla="*/ 35968 w 91035"/>
                <a:gd name="connsiteY3" fmla="*/ 0 h 258752"/>
                <a:gd name="connsiteX4" fmla="*/ 91035 w 91035"/>
                <a:gd name="connsiteY4" fmla="*/ 38170 h 258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035" h="258752">
                  <a:moveTo>
                    <a:pt x="91035" y="258752"/>
                  </a:moveTo>
                  <a:lnTo>
                    <a:pt x="0" y="171163"/>
                  </a:lnTo>
                  <a:lnTo>
                    <a:pt x="0" y="43487"/>
                  </a:lnTo>
                  <a:lnTo>
                    <a:pt x="35968" y="0"/>
                  </a:lnTo>
                  <a:lnTo>
                    <a:pt x="91035" y="3817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" name="Forme libre : forme 218">
              <a:extLst>
                <a:ext uri="{FF2B5EF4-FFF2-40B4-BE49-F238E27FC236}">
                  <a16:creationId xmlns:a16="http://schemas.microsoft.com/office/drawing/2014/main" id="{14A36AFC-3634-423C-BC16-BDB2283C28B3}"/>
                </a:ext>
              </a:extLst>
            </p:cNvPr>
            <p:cNvSpPr/>
            <p:nvPr/>
          </p:nvSpPr>
          <p:spPr>
            <a:xfrm rot="8716295">
              <a:off x="5158096" y="466090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" name="Forme libre : forme 219">
              <a:extLst>
                <a:ext uri="{FF2B5EF4-FFF2-40B4-BE49-F238E27FC236}">
                  <a16:creationId xmlns:a16="http://schemas.microsoft.com/office/drawing/2014/main" id="{BC237E43-FDD5-4FDC-8C88-3D3E992DDCCE}"/>
                </a:ext>
              </a:extLst>
            </p:cNvPr>
            <p:cNvSpPr/>
            <p:nvPr/>
          </p:nvSpPr>
          <p:spPr>
            <a:xfrm rot="8716295">
              <a:off x="4115344" y="2074537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" name="Forme libre : forme 220">
              <a:extLst>
                <a:ext uri="{FF2B5EF4-FFF2-40B4-BE49-F238E27FC236}">
                  <a16:creationId xmlns:a16="http://schemas.microsoft.com/office/drawing/2014/main" id="{74F2CD5F-27E1-4B05-BDE3-F9CAEE63E34B}"/>
                </a:ext>
              </a:extLst>
            </p:cNvPr>
            <p:cNvSpPr/>
            <p:nvPr/>
          </p:nvSpPr>
          <p:spPr>
            <a:xfrm rot="8716295">
              <a:off x="4250643" y="2118796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" name="Forme libre : forme 221">
              <a:extLst>
                <a:ext uri="{FF2B5EF4-FFF2-40B4-BE49-F238E27FC236}">
                  <a16:creationId xmlns:a16="http://schemas.microsoft.com/office/drawing/2014/main" id="{3D2EAE98-2CEC-4E31-BF79-1D13D51EDB3B}"/>
                </a:ext>
              </a:extLst>
            </p:cNvPr>
            <p:cNvSpPr/>
            <p:nvPr/>
          </p:nvSpPr>
          <p:spPr>
            <a:xfrm rot="8716295">
              <a:off x="4182761" y="1988208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" name="Forme libre : forme 222">
              <a:extLst>
                <a:ext uri="{FF2B5EF4-FFF2-40B4-BE49-F238E27FC236}">
                  <a16:creationId xmlns:a16="http://schemas.microsoft.com/office/drawing/2014/main" id="{F7C21745-E98A-49A1-BB89-EF4C58D2B535}"/>
                </a:ext>
              </a:extLst>
            </p:cNvPr>
            <p:cNvSpPr/>
            <p:nvPr/>
          </p:nvSpPr>
          <p:spPr>
            <a:xfrm rot="8716295">
              <a:off x="3945473" y="220855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" name="Forme libre : forme 223">
              <a:extLst>
                <a:ext uri="{FF2B5EF4-FFF2-40B4-BE49-F238E27FC236}">
                  <a16:creationId xmlns:a16="http://schemas.microsoft.com/office/drawing/2014/main" id="{3C933A0E-48CB-40A4-AD69-869889C9C116}"/>
                </a:ext>
              </a:extLst>
            </p:cNvPr>
            <p:cNvSpPr/>
            <p:nvPr/>
          </p:nvSpPr>
          <p:spPr>
            <a:xfrm rot="8716295">
              <a:off x="3756427" y="189271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" name="Forme libre : forme 224">
              <a:extLst>
                <a:ext uri="{FF2B5EF4-FFF2-40B4-BE49-F238E27FC236}">
                  <a16:creationId xmlns:a16="http://schemas.microsoft.com/office/drawing/2014/main" id="{A02DB2FC-04B5-4966-BEE6-FB30AD9722F6}"/>
                </a:ext>
              </a:extLst>
            </p:cNvPr>
            <p:cNvSpPr/>
            <p:nvPr/>
          </p:nvSpPr>
          <p:spPr>
            <a:xfrm rot="8716295">
              <a:off x="3738186" y="1682667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" name="Forme libre : forme 225">
              <a:extLst>
                <a:ext uri="{FF2B5EF4-FFF2-40B4-BE49-F238E27FC236}">
                  <a16:creationId xmlns:a16="http://schemas.microsoft.com/office/drawing/2014/main" id="{F8510F0D-1176-4749-A0F4-7938F16AABD4}"/>
                </a:ext>
              </a:extLst>
            </p:cNvPr>
            <p:cNvSpPr/>
            <p:nvPr/>
          </p:nvSpPr>
          <p:spPr>
            <a:xfrm rot="8716295">
              <a:off x="4081962" y="2270535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" name="Forme libre : forme 226">
              <a:extLst>
                <a:ext uri="{FF2B5EF4-FFF2-40B4-BE49-F238E27FC236}">
                  <a16:creationId xmlns:a16="http://schemas.microsoft.com/office/drawing/2014/main" id="{7359A2E2-1A1C-4AB5-9888-9A67C8F381ED}"/>
                </a:ext>
              </a:extLst>
            </p:cNvPr>
            <p:cNvSpPr/>
            <p:nvPr/>
          </p:nvSpPr>
          <p:spPr>
            <a:xfrm rot="8716295">
              <a:off x="4552908" y="169592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" name="Forme libre : forme 227">
              <a:extLst>
                <a:ext uri="{FF2B5EF4-FFF2-40B4-BE49-F238E27FC236}">
                  <a16:creationId xmlns:a16="http://schemas.microsoft.com/office/drawing/2014/main" id="{F162CF17-3696-46D1-BBA9-E595114BD290}"/>
                </a:ext>
              </a:extLst>
            </p:cNvPr>
            <p:cNvSpPr/>
            <p:nvPr/>
          </p:nvSpPr>
          <p:spPr>
            <a:xfrm rot="8716295">
              <a:off x="4688207" y="174018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" name="Forme libre : forme 228">
              <a:extLst>
                <a:ext uri="{FF2B5EF4-FFF2-40B4-BE49-F238E27FC236}">
                  <a16:creationId xmlns:a16="http://schemas.microsoft.com/office/drawing/2014/main" id="{CB7640C0-A77D-4C20-99F3-99AC8C5EA399}"/>
                </a:ext>
              </a:extLst>
            </p:cNvPr>
            <p:cNvSpPr/>
            <p:nvPr/>
          </p:nvSpPr>
          <p:spPr>
            <a:xfrm rot="8716295">
              <a:off x="4383037" y="182993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" name="Forme libre : forme 229">
              <a:extLst>
                <a:ext uri="{FF2B5EF4-FFF2-40B4-BE49-F238E27FC236}">
                  <a16:creationId xmlns:a16="http://schemas.microsoft.com/office/drawing/2014/main" id="{7221721D-60FE-4C4C-9396-20240CB24747}"/>
                </a:ext>
              </a:extLst>
            </p:cNvPr>
            <p:cNvSpPr/>
            <p:nvPr/>
          </p:nvSpPr>
          <p:spPr>
            <a:xfrm rot="8716295">
              <a:off x="4193993" y="151410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" name="Forme libre : forme 230">
              <a:extLst>
                <a:ext uri="{FF2B5EF4-FFF2-40B4-BE49-F238E27FC236}">
                  <a16:creationId xmlns:a16="http://schemas.microsoft.com/office/drawing/2014/main" id="{72815BA9-45F4-424C-8C61-85FB1E0CD670}"/>
                </a:ext>
              </a:extLst>
            </p:cNvPr>
            <p:cNvSpPr/>
            <p:nvPr/>
          </p:nvSpPr>
          <p:spPr>
            <a:xfrm rot="8716295">
              <a:off x="4519525" y="1891919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" name="Forme libre : forme 231">
              <a:extLst>
                <a:ext uri="{FF2B5EF4-FFF2-40B4-BE49-F238E27FC236}">
                  <a16:creationId xmlns:a16="http://schemas.microsoft.com/office/drawing/2014/main" id="{2386F46E-7D0B-4733-83CE-A3BA85A841D0}"/>
                </a:ext>
              </a:extLst>
            </p:cNvPr>
            <p:cNvSpPr/>
            <p:nvPr/>
          </p:nvSpPr>
          <p:spPr>
            <a:xfrm rot="8716295">
              <a:off x="4154079" y="1665493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" name="Forme libre : forme 232">
              <a:extLst>
                <a:ext uri="{FF2B5EF4-FFF2-40B4-BE49-F238E27FC236}">
                  <a16:creationId xmlns:a16="http://schemas.microsoft.com/office/drawing/2014/main" id="{7C49EAA5-EA80-4FD2-B8EE-8A5326A137F1}"/>
                </a:ext>
              </a:extLst>
            </p:cNvPr>
            <p:cNvSpPr/>
            <p:nvPr/>
          </p:nvSpPr>
          <p:spPr>
            <a:xfrm rot="7484129">
              <a:off x="4678343" y="218153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" name="Forme libre : forme 233">
              <a:extLst>
                <a:ext uri="{FF2B5EF4-FFF2-40B4-BE49-F238E27FC236}">
                  <a16:creationId xmlns:a16="http://schemas.microsoft.com/office/drawing/2014/main" id="{E5F42144-89A8-465A-AA8E-5830C7BF1E60}"/>
                </a:ext>
              </a:extLst>
            </p:cNvPr>
            <p:cNvSpPr/>
            <p:nvPr/>
          </p:nvSpPr>
          <p:spPr>
            <a:xfrm rot="13089394">
              <a:off x="4836993" y="2130885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" name="Forme libre : forme 234">
              <a:extLst>
                <a:ext uri="{FF2B5EF4-FFF2-40B4-BE49-F238E27FC236}">
                  <a16:creationId xmlns:a16="http://schemas.microsoft.com/office/drawing/2014/main" id="{4B643A7D-0F4D-44EF-8082-E475252D919E}"/>
                </a:ext>
              </a:extLst>
            </p:cNvPr>
            <p:cNvSpPr/>
            <p:nvPr/>
          </p:nvSpPr>
          <p:spPr>
            <a:xfrm rot="8716295">
              <a:off x="5117884" y="1840767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" name="Forme libre : forme 235">
              <a:extLst>
                <a:ext uri="{FF2B5EF4-FFF2-40B4-BE49-F238E27FC236}">
                  <a16:creationId xmlns:a16="http://schemas.microsoft.com/office/drawing/2014/main" id="{A286EB77-2A92-49EB-B662-F67A780E72C3}"/>
                </a:ext>
              </a:extLst>
            </p:cNvPr>
            <p:cNvSpPr/>
            <p:nvPr/>
          </p:nvSpPr>
          <p:spPr>
            <a:xfrm rot="8716295">
              <a:off x="5039475" y="1683975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" name="Forme libre : forme 236">
              <a:extLst>
                <a:ext uri="{FF2B5EF4-FFF2-40B4-BE49-F238E27FC236}">
                  <a16:creationId xmlns:a16="http://schemas.microsoft.com/office/drawing/2014/main" id="{D76415DF-3D0E-46A1-A992-CAEF6C90F935}"/>
                </a:ext>
              </a:extLst>
            </p:cNvPr>
            <p:cNvSpPr/>
            <p:nvPr/>
          </p:nvSpPr>
          <p:spPr>
            <a:xfrm rot="8716295">
              <a:off x="4671311" y="172971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" name="Forme libre : forme 237">
              <a:extLst>
                <a:ext uri="{FF2B5EF4-FFF2-40B4-BE49-F238E27FC236}">
                  <a16:creationId xmlns:a16="http://schemas.microsoft.com/office/drawing/2014/main" id="{22B5BB48-3533-4C75-B095-5C6392290E1E}"/>
                </a:ext>
              </a:extLst>
            </p:cNvPr>
            <p:cNvSpPr/>
            <p:nvPr/>
          </p:nvSpPr>
          <p:spPr>
            <a:xfrm rot="8716295">
              <a:off x="4939893" y="148869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" name="Forme libre : forme 238">
              <a:extLst>
                <a:ext uri="{FF2B5EF4-FFF2-40B4-BE49-F238E27FC236}">
                  <a16:creationId xmlns:a16="http://schemas.microsoft.com/office/drawing/2014/main" id="{D4F7953A-EB21-471D-9CE6-DFD037BB3D9B}"/>
                </a:ext>
              </a:extLst>
            </p:cNvPr>
            <p:cNvSpPr/>
            <p:nvPr/>
          </p:nvSpPr>
          <p:spPr>
            <a:xfrm rot="8716295">
              <a:off x="3777571" y="1076054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" name="Forme libre : forme 239">
              <a:extLst>
                <a:ext uri="{FF2B5EF4-FFF2-40B4-BE49-F238E27FC236}">
                  <a16:creationId xmlns:a16="http://schemas.microsoft.com/office/drawing/2014/main" id="{B31F3CAF-6E5C-4883-9D56-37A77E8E54A5}"/>
                </a:ext>
              </a:extLst>
            </p:cNvPr>
            <p:cNvSpPr/>
            <p:nvPr/>
          </p:nvSpPr>
          <p:spPr>
            <a:xfrm rot="8716295">
              <a:off x="3912870" y="1120313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" name="Forme libre : forme 240">
              <a:extLst>
                <a:ext uri="{FF2B5EF4-FFF2-40B4-BE49-F238E27FC236}">
                  <a16:creationId xmlns:a16="http://schemas.microsoft.com/office/drawing/2014/main" id="{C147FD5B-3693-4B4F-88B4-175EF4DCAB5D}"/>
                </a:ext>
              </a:extLst>
            </p:cNvPr>
            <p:cNvSpPr/>
            <p:nvPr/>
          </p:nvSpPr>
          <p:spPr>
            <a:xfrm rot="8716295">
              <a:off x="3844988" y="989725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" name="Forme libre : forme 241">
              <a:extLst>
                <a:ext uri="{FF2B5EF4-FFF2-40B4-BE49-F238E27FC236}">
                  <a16:creationId xmlns:a16="http://schemas.microsoft.com/office/drawing/2014/main" id="{ADDA2175-F82B-4C1C-A775-DCF7ED389EE1}"/>
                </a:ext>
              </a:extLst>
            </p:cNvPr>
            <p:cNvSpPr/>
            <p:nvPr/>
          </p:nvSpPr>
          <p:spPr>
            <a:xfrm rot="8716295">
              <a:off x="3607700" y="121006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" name="Forme libre : forme 242">
              <a:extLst>
                <a:ext uri="{FF2B5EF4-FFF2-40B4-BE49-F238E27FC236}">
                  <a16:creationId xmlns:a16="http://schemas.microsoft.com/office/drawing/2014/main" id="{3DA66E2A-B271-4CA4-B9FF-6AFE032DC966}"/>
                </a:ext>
              </a:extLst>
            </p:cNvPr>
            <p:cNvSpPr/>
            <p:nvPr/>
          </p:nvSpPr>
          <p:spPr>
            <a:xfrm rot="8716295">
              <a:off x="3418654" y="89423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" name="Forme libre : forme 243">
              <a:extLst>
                <a:ext uri="{FF2B5EF4-FFF2-40B4-BE49-F238E27FC236}">
                  <a16:creationId xmlns:a16="http://schemas.microsoft.com/office/drawing/2014/main" id="{5F0B065E-4F1B-43F1-9813-90200634675E}"/>
                </a:ext>
              </a:extLst>
            </p:cNvPr>
            <p:cNvSpPr/>
            <p:nvPr/>
          </p:nvSpPr>
          <p:spPr>
            <a:xfrm rot="8716295">
              <a:off x="3400413" y="68418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" name="Forme libre : forme 244">
              <a:extLst>
                <a:ext uri="{FF2B5EF4-FFF2-40B4-BE49-F238E27FC236}">
                  <a16:creationId xmlns:a16="http://schemas.microsoft.com/office/drawing/2014/main" id="{20854BC4-5849-4EDA-A9AD-8A9CB02779EC}"/>
                </a:ext>
              </a:extLst>
            </p:cNvPr>
            <p:cNvSpPr/>
            <p:nvPr/>
          </p:nvSpPr>
          <p:spPr>
            <a:xfrm rot="8716295">
              <a:off x="3744189" y="1272052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" name="Forme libre : forme 245">
              <a:extLst>
                <a:ext uri="{FF2B5EF4-FFF2-40B4-BE49-F238E27FC236}">
                  <a16:creationId xmlns:a16="http://schemas.microsoft.com/office/drawing/2014/main" id="{7833AF6E-AF2A-42B3-84D3-9F8F342AAC2A}"/>
                </a:ext>
              </a:extLst>
            </p:cNvPr>
            <p:cNvSpPr/>
            <p:nvPr/>
          </p:nvSpPr>
          <p:spPr>
            <a:xfrm rot="8716295">
              <a:off x="4215135" y="69743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" name="Forme libre : forme 246">
              <a:extLst>
                <a:ext uri="{FF2B5EF4-FFF2-40B4-BE49-F238E27FC236}">
                  <a16:creationId xmlns:a16="http://schemas.microsoft.com/office/drawing/2014/main" id="{5CCDB5E7-FFA9-4665-85A4-71445280D93D}"/>
                </a:ext>
              </a:extLst>
            </p:cNvPr>
            <p:cNvSpPr/>
            <p:nvPr/>
          </p:nvSpPr>
          <p:spPr>
            <a:xfrm rot="8716295">
              <a:off x="4350434" y="74169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" name="Forme libre : forme 247">
              <a:extLst>
                <a:ext uri="{FF2B5EF4-FFF2-40B4-BE49-F238E27FC236}">
                  <a16:creationId xmlns:a16="http://schemas.microsoft.com/office/drawing/2014/main" id="{2DD39E77-D511-475C-B9A4-1F96A0A8FEEA}"/>
                </a:ext>
              </a:extLst>
            </p:cNvPr>
            <p:cNvSpPr/>
            <p:nvPr/>
          </p:nvSpPr>
          <p:spPr>
            <a:xfrm rot="8716295">
              <a:off x="4045264" y="83145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" name="Forme libre : forme 248">
              <a:extLst>
                <a:ext uri="{FF2B5EF4-FFF2-40B4-BE49-F238E27FC236}">
                  <a16:creationId xmlns:a16="http://schemas.microsoft.com/office/drawing/2014/main" id="{37119436-3DF5-44F0-88C8-59BCDF9BA3E8}"/>
                </a:ext>
              </a:extLst>
            </p:cNvPr>
            <p:cNvSpPr/>
            <p:nvPr/>
          </p:nvSpPr>
          <p:spPr>
            <a:xfrm rot="8716295">
              <a:off x="3856220" y="51561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" name="Forme libre : forme 249">
              <a:extLst>
                <a:ext uri="{FF2B5EF4-FFF2-40B4-BE49-F238E27FC236}">
                  <a16:creationId xmlns:a16="http://schemas.microsoft.com/office/drawing/2014/main" id="{5EFF1AF7-D116-4A78-8A60-0881E3BE9924}"/>
                </a:ext>
              </a:extLst>
            </p:cNvPr>
            <p:cNvSpPr/>
            <p:nvPr/>
          </p:nvSpPr>
          <p:spPr>
            <a:xfrm rot="8716295">
              <a:off x="4181753" y="893436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" name="Forme libre : forme 250">
              <a:extLst>
                <a:ext uri="{FF2B5EF4-FFF2-40B4-BE49-F238E27FC236}">
                  <a16:creationId xmlns:a16="http://schemas.microsoft.com/office/drawing/2014/main" id="{C38BBAB8-EA94-46A9-B44D-F77A303742D6}"/>
                </a:ext>
              </a:extLst>
            </p:cNvPr>
            <p:cNvSpPr/>
            <p:nvPr/>
          </p:nvSpPr>
          <p:spPr>
            <a:xfrm rot="8716295">
              <a:off x="3816306" y="66701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" name="Forme libre : forme 251">
              <a:extLst>
                <a:ext uri="{FF2B5EF4-FFF2-40B4-BE49-F238E27FC236}">
                  <a16:creationId xmlns:a16="http://schemas.microsoft.com/office/drawing/2014/main" id="{726FB4EE-DE4A-475E-B9CA-BDA728B96056}"/>
                </a:ext>
              </a:extLst>
            </p:cNvPr>
            <p:cNvSpPr/>
            <p:nvPr/>
          </p:nvSpPr>
          <p:spPr>
            <a:xfrm rot="7484129">
              <a:off x="4340570" y="118305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" name="Forme libre : forme 252">
              <a:extLst>
                <a:ext uri="{FF2B5EF4-FFF2-40B4-BE49-F238E27FC236}">
                  <a16:creationId xmlns:a16="http://schemas.microsoft.com/office/drawing/2014/main" id="{3778C4A8-DD8F-40FB-BF36-85A62335E025}"/>
                </a:ext>
              </a:extLst>
            </p:cNvPr>
            <p:cNvSpPr/>
            <p:nvPr/>
          </p:nvSpPr>
          <p:spPr>
            <a:xfrm rot="13089394">
              <a:off x="4499220" y="1132402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" name="Forme libre : forme 253">
              <a:extLst>
                <a:ext uri="{FF2B5EF4-FFF2-40B4-BE49-F238E27FC236}">
                  <a16:creationId xmlns:a16="http://schemas.microsoft.com/office/drawing/2014/main" id="{E67B04C4-DF6C-4AF3-A306-EC57702A7EA7}"/>
                </a:ext>
              </a:extLst>
            </p:cNvPr>
            <p:cNvSpPr/>
            <p:nvPr/>
          </p:nvSpPr>
          <p:spPr>
            <a:xfrm rot="8716295">
              <a:off x="4780111" y="842284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" name="Forme libre : forme 254">
              <a:extLst>
                <a:ext uri="{FF2B5EF4-FFF2-40B4-BE49-F238E27FC236}">
                  <a16:creationId xmlns:a16="http://schemas.microsoft.com/office/drawing/2014/main" id="{0C3B947F-A89B-45FB-9A8F-3A9BCC6CD484}"/>
                </a:ext>
              </a:extLst>
            </p:cNvPr>
            <p:cNvSpPr/>
            <p:nvPr/>
          </p:nvSpPr>
          <p:spPr>
            <a:xfrm rot="8716295">
              <a:off x="4701702" y="68549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" name="Forme libre : forme 255">
              <a:extLst>
                <a:ext uri="{FF2B5EF4-FFF2-40B4-BE49-F238E27FC236}">
                  <a16:creationId xmlns:a16="http://schemas.microsoft.com/office/drawing/2014/main" id="{65FF4858-B1A0-42D2-ADCA-DB484EB1FE6D}"/>
                </a:ext>
              </a:extLst>
            </p:cNvPr>
            <p:cNvSpPr/>
            <p:nvPr/>
          </p:nvSpPr>
          <p:spPr>
            <a:xfrm rot="8716295">
              <a:off x="4333538" y="73123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" name="Forme libre : forme 256">
              <a:extLst>
                <a:ext uri="{FF2B5EF4-FFF2-40B4-BE49-F238E27FC236}">
                  <a16:creationId xmlns:a16="http://schemas.microsoft.com/office/drawing/2014/main" id="{28C1BE2D-A511-4E2F-AC16-ED6DA95D0016}"/>
                </a:ext>
              </a:extLst>
            </p:cNvPr>
            <p:cNvSpPr/>
            <p:nvPr/>
          </p:nvSpPr>
          <p:spPr>
            <a:xfrm rot="8716295">
              <a:off x="4602120" y="49021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" name="Forme libre : forme 257">
              <a:extLst>
                <a:ext uri="{FF2B5EF4-FFF2-40B4-BE49-F238E27FC236}">
                  <a16:creationId xmlns:a16="http://schemas.microsoft.com/office/drawing/2014/main" id="{414A6022-94D3-4CA0-800F-BAEAE0FC105C}"/>
                </a:ext>
              </a:extLst>
            </p:cNvPr>
            <p:cNvSpPr/>
            <p:nvPr/>
          </p:nvSpPr>
          <p:spPr>
            <a:xfrm rot="8716295">
              <a:off x="3446198" y="7400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" name="Forme libre : forme 258">
              <a:extLst>
                <a:ext uri="{FF2B5EF4-FFF2-40B4-BE49-F238E27FC236}">
                  <a16:creationId xmlns:a16="http://schemas.microsoft.com/office/drawing/2014/main" id="{2CDD9144-31FA-487A-AF8B-34A135FB089A}"/>
                </a:ext>
              </a:extLst>
            </p:cNvPr>
            <p:cNvSpPr/>
            <p:nvPr/>
          </p:nvSpPr>
          <p:spPr>
            <a:xfrm rot="8716295">
              <a:off x="3581496" y="11826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" name="Forme libre : forme 259">
              <a:extLst>
                <a:ext uri="{FF2B5EF4-FFF2-40B4-BE49-F238E27FC236}">
                  <a16:creationId xmlns:a16="http://schemas.microsoft.com/office/drawing/2014/main" id="{7FE16051-BF2A-4B51-837A-7B2C211B57E4}"/>
                </a:ext>
              </a:extLst>
            </p:cNvPr>
            <p:cNvSpPr/>
            <p:nvPr/>
          </p:nvSpPr>
          <p:spPr>
            <a:xfrm rot="8716295">
              <a:off x="3522597" y="36248"/>
              <a:ext cx="234675" cy="172489"/>
            </a:xfrm>
            <a:custGeom>
              <a:avLst/>
              <a:gdLst>
                <a:gd name="connsiteX0" fmla="*/ 25756 w 155050"/>
                <a:gd name="connsiteY0" fmla="*/ 113964 h 113964"/>
                <a:gd name="connsiteX1" fmla="*/ 0 w 155050"/>
                <a:gd name="connsiteY1" fmla="*/ 96110 h 113964"/>
                <a:gd name="connsiteX2" fmla="*/ 72120 w 155050"/>
                <a:gd name="connsiteY2" fmla="*/ 28251 h 113964"/>
                <a:gd name="connsiteX3" fmla="*/ 126799 w 155050"/>
                <a:gd name="connsiteY3" fmla="*/ 0 h 113964"/>
                <a:gd name="connsiteX4" fmla="*/ 155050 w 155050"/>
                <a:gd name="connsiteY4" fmla="*/ 33719 h 113964"/>
                <a:gd name="connsiteX5" fmla="*/ 128622 w 155050"/>
                <a:gd name="connsiteY5" fmla="*/ 69261 h 113964"/>
                <a:gd name="connsiteX6" fmla="*/ 129077 w 155050"/>
                <a:gd name="connsiteY6" fmla="*/ 69261 h 113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5050" h="113964">
                  <a:moveTo>
                    <a:pt x="25756" y="113964"/>
                  </a:moveTo>
                  <a:lnTo>
                    <a:pt x="0" y="96110"/>
                  </a:lnTo>
                  <a:lnTo>
                    <a:pt x="72120" y="28251"/>
                  </a:lnTo>
                  <a:cubicBezTo>
                    <a:pt x="85790" y="12303"/>
                    <a:pt x="105383" y="2279"/>
                    <a:pt x="126799" y="0"/>
                  </a:cubicBezTo>
                  <a:cubicBezTo>
                    <a:pt x="148671" y="0"/>
                    <a:pt x="155050" y="19138"/>
                    <a:pt x="155050" y="33719"/>
                  </a:cubicBezTo>
                  <a:cubicBezTo>
                    <a:pt x="153683" y="49668"/>
                    <a:pt x="143203" y="62882"/>
                    <a:pt x="128622" y="69261"/>
                  </a:cubicBezTo>
                  <a:lnTo>
                    <a:pt x="129077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" name="Forme libre : forme 260">
              <a:extLst>
                <a:ext uri="{FF2B5EF4-FFF2-40B4-BE49-F238E27FC236}">
                  <a16:creationId xmlns:a16="http://schemas.microsoft.com/office/drawing/2014/main" id="{FB6AA26B-D49A-416A-8CAC-16E489B31447}"/>
                </a:ext>
              </a:extLst>
            </p:cNvPr>
            <p:cNvSpPr/>
            <p:nvPr/>
          </p:nvSpPr>
          <p:spPr>
            <a:xfrm rot="8716295">
              <a:off x="3276327" y="20801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" name="Forme libre : forme 261">
              <a:extLst>
                <a:ext uri="{FF2B5EF4-FFF2-40B4-BE49-F238E27FC236}">
                  <a16:creationId xmlns:a16="http://schemas.microsoft.com/office/drawing/2014/main" id="{28AC6B7B-6FBF-49BE-A75A-A0128A514084}"/>
                </a:ext>
              </a:extLst>
            </p:cNvPr>
            <p:cNvSpPr/>
            <p:nvPr/>
          </p:nvSpPr>
          <p:spPr>
            <a:xfrm rot="8716295">
              <a:off x="3107933" y="-20072"/>
              <a:ext cx="308531" cy="199994"/>
            </a:xfrm>
            <a:custGeom>
              <a:avLst/>
              <a:gdLst>
                <a:gd name="connsiteX0" fmla="*/ 112633 w 203847"/>
                <a:gd name="connsiteY0" fmla="*/ 132136 h 132136"/>
                <a:gd name="connsiteX1" fmla="*/ 56185 w 203847"/>
                <a:gd name="connsiteY1" fmla="*/ 93008 h 132136"/>
                <a:gd name="connsiteX2" fmla="*/ 69777 w 203847"/>
                <a:gd name="connsiteY2" fmla="*/ 55323 h 132136"/>
                <a:gd name="connsiteX3" fmla="*/ 1818 w 203847"/>
                <a:gd name="connsiteY3" fmla="*/ 55323 h 132136"/>
                <a:gd name="connsiteX4" fmla="*/ 0 w 203847"/>
                <a:gd name="connsiteY4" fmla="*/ 54062 h 132136"/>
                <a:gd name="connsiteX5" fmla="*/ 0 w 203847"/>
                <a:gd name="connsiteY5" fmla="*/ 0 h 132136"/>
                <a:gd name="connsiteX6" fmla="*/ 203847 w 203847"/>
                <a:gd name="connsiteY6" fmla="*/ 0 h 132136"/>
                <a:gd name="connsiteX7" fmla="*/ 203847 w 203847"/>
                <a:gd name="connsiteY7" fmla="*/ 55323 h 132136"/>
                <a:gd name="connsiteX8" fmla="*/ 139055 w 203847"/>
                <a:gd name="connsiteY8" fmla="*/ 55323 h 132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32136">
                  <a:moveTo>
                    <a:pt x="112633" y="132136"/>
                  </a:moveTo>
                  <a:lnTo>
                    <a:pt x="56185" y="93008"/>
                  </a:lnTo>
                  <a:lnTo>
                    <a:pt x="69777" y="55323"/>
                  </a:lnTo>
                  <a:lnTo>
                    <a:pt x="1818" y="55323"/>
                  </a:lnTo>
                  <a:lnTo>
                    <a:pt x="0" y="54062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" name="Forme libre : forme 262">
              <a:extLst>
                <a:ext uri="{FF2B5EF4-FFF2-40B4-BE49-F238E27FC236}">
                  <a16:creationId xmlns:a16="http://schemas.microsoft.com/office/drawing/2014/main" id="{CE04BDAF-0764-44CB-B173-496F062D8434}"/>
                </a:ext>
              </a:extLst>
            </p:cNvPr>
            <p:cNvSpPr/>
            <p:nvPr/>
          </p:nvSpPr>
          <p:spPr>
            <a:xfrm rot="8716295">
              <a:off x="3475628" y="-31540"/>
              <a:ext cx="98161" cy="118527"/>
            </a:xfrm>
            <a:custGeom>
              <a:avLst/>
              <a:gdLst>
                <a:gd name="connsiteX0" fmla="*/ 64855 w 64855"/>
                <a:gd name="connsiteY0" fmla="*/ 78311 h 78311"/>
                <a:gd name="connsiteX1" fmla="*/ 0 w 64855"/>
                <a:gd name="connsiteY1" fmla="*/ 33356 h 78311"/>
                <a:gd name="connsiteX2" fmla="*/ 64294 w 64855"/>
                <a:gd name="connsiteY2" fmla="*/ 0 h 78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855" h="78311">
                  <a:moveTo>
                    <a:pt x="64855" y="78311"/>
                  </a:moveTo>
                  <a:lnTo>
                    <a:pt x="0" y="33356"/>
                  </a:lnTo>
                  <a:lnTo>
                    <a:pt x="64294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" name="Forme libre : forme 263">
              <a:extLst>
                <a:ext uri="{FF2B5EF4-FFF2-40B4-BE49-F238E27FC236}">
                  <a16:creationId xmlns:a16="http://schemas.microsoft.com/office/drawing/2014/main" id="{79FA5AFC-AB70-4D92-BC44-1181877F58C8}"/>
                </a:ext>
              </a:extLst>
            </p:cNvPr>
            <p:cNvSpPr/>
            <p:nvPr/>
          </p:nvSpPr>
          <p:spPr>
            <a:xfrm rot="8716295">
              <a:off x="3412815" y="26999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" name="Forme libre : forme 264">
              <a:extLst>
                <a:ext uri="{FF2B5EF4-FFF2-40B4-BE49-F238E27FC236}">
                  <a16:creationId xmlns:a16="http://schemas.microsoft.com/office/drawing/2014/main" id="{3C1D95D8-2F29-45A0-9BA8-42D88BD37B32}"/>
                </a:ext>
              </a:extLst>
            </p:cNvPr>
            <p:cNvSpPr/>
            <p:nvPr/>
          </p:nvSpPr>
          <p:spPr>
            <a:xfrm rot="8716295">
              <a:off x="3966406" y="-35912"/>
              <a:ext cx="123741" cy="85774"/>
            </a:xfrm>
            <a:custGeom>
              <a:avLst/>
              <a:gdLst>
                <a:gd name="connsiteX0" fmla="*/ 81756 w 81756"/>
                <a:gd name="connsiteY0" fmla="*/ 56671 h 56671"/>
                <a:gd name="connsiteX1" fmla="*/ 0 w 81756"/>
                <a:gd name="connsiteY1" fmla="*/ 0 h 56671"/>
                <a:gd name="connsiteX2" fmla="*/ 24798 w 81756"/>
                <a:gd name="connsiteY2" fmla="*/ 0 h 56671"/>
                <a:gd name="connsiteX3" fmla="*/ 81756 w 81756"/>
                <a:gd name="connsiteY3" fmla="*/ 50123 h 56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1756" h="56671">
                  <a:moveTo>
                    <a:pt x="81756" y="56671"/>
                  </a:moveTo>
                  <a:lnTo>
                    <a:pt x="0" y="0"/>
                  </a:lnTo>
                  <a:lnTo>
                    <a:pt x="24798" y="0"/>
                  </a:lnTo>
                  <a:cubicBezTo>
                    <a:pt x="61707" y="0"/>
                    <a:pt x="81756" y="15949"/>
                    <a:pt x="81756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" name="Forme libre : forme 265">
              <a:extLst>
                <a:ext uri="{FF2B5EF4-FFF2-40B4-BE49-F238E27FC236}">
                  <a16:creationId xmlns:a16="http://schemas.microsoft.com/office/drawing/2014/main" id="{58EB0588-BD8B-459E-AF8B-F1A7C9A84E72}"/>
                </a:ext>
              </a:extLst>
            </p:cNvPr>
            <p:cNvSpPr/>
            <p:nvPr/>
          </p:nvSpPr>
          <p:spPr>
            <a:xfrm rot="8716295">
              <a:off x="4089146" y="-31808"/>
              <a:ext cx="332088" cy="148365"/>
            </a:xfrm>
            <a:custGeom>
              <a:avLst/>
              <a:gdLst>
                <a:gd name="connsiteX0" fmla="*/ 63575 w 219411"/>
                <a:gd name="connsiteY0" fmla="*/ 45493 h 98025"/>
                <a:gd name="connsiteX1" fmla="*/ 0 w 219411"/>
                <a:gd name="connsiteY1" fmla="*/ 1425 h 98025"/>
                <a:gd name="connsiteX2" fmla="*/ 63575 w 219411"/>
                <a:gd name="connsiteY2" fmla="*/ 1425 h 98025"/>
                <a:gd name="connsiteX3" fmla="*/ 88634 w 219411"/>
                <a:gd name="connsiteY3" fmla="*/ 62863 h 98025"/>
                <a:gd name="connsiteX4" fmla="*/ 73596 w 219411"/>
                <a:gd name="connsiteY4" fmla="*/ 52439 h 98025"/>
                <a:gd name="connsiteX5" fmla="*/ 75493 w 219411"/>
                <a:gd name="connsiteY5" fmla="*/ 47439 h 98025"/>
                <a:gd name="connsiteX6" fmla="*/ 112786 w 219411"/>
                <a:gd name="connsiteY6" fmla="*/ 5981 h 98025"/>
                <a:gd name="connsiteX7" fmla="*/ 144227 w 219411"/>
                <a:gd name="connsiteY7" fmla="*/ 57 h 98025"/>
                <a:gd name="connsiteX8" fmla="*/ 219411 w 219411"/>
                <a:gd name="connsiteY8" fmla="*/ 88456 h 98025"/>
                <a:gd name="connsiteX9" fmla="*/ 219411 w 219411"/>
                <a:gd name="connsiteY9" fmla="*/ 94380 h 98025"/>
                <a:gd name="connsiteX10" fmla="*/ 157441 w 219411"/>
                <a:gd name="connsiteY10" fmla="*/ 98025 h 98025"/>
                <a:gd name="connsiteX11" fmla="*/ 157441 w 219411"/>
                <a:gd name="connsiteY11" fmla="*/ 81621 h 98025"/>
                <a:gd name="connsiteX12" fmla="*/ 123722 w 219411"/>
                <a:gd name="connsiteY12" fmla="*/ 40156 h 98025"/>
                <a:gd name="connsiteX13" fmla="*/ 103089 w 219411"/>
                <a:gd name="connsiteY13" fmla="*/ 46969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9411" h="98025">
                  <a:moveTo>
                    <a:pt x="63575" y="45493"/>
                  </a:moveTo>
                  <a:lnTo>
                    <a:pt x="0" y="1425"/>
                  </a:lnTo>
                  <a:lnTo>
                    <a:pt x="63575" y="1425"/>
                  </a:lnTo>
                  <a:close/>
                  <a:moveTo>
                    <a:pt x="88634" y="62863"/>
                  </a:moveTo>
                  <a:lnTo>
                    <a:pt x="73596" y="52439"/>
                  </a:lnTo>
                  <a:lnTo>
                    <a:pt x="75493" y="47439"/>
                  </a:lnTo>
                  <a:cubicBezTo>
                    <a:pt x="85874" y="24008"/>
                    <a:pt x="96382" y="12816"/>
                    <a:pt x="112786" y="5981"/>
                  </a:cubicBezTo>
                  <a:cubicBezTo>
                    <a:pt x="122811" y="1880"/>
                    <a:pt x="133291" y="-398"/>
                    <a:pt x="144227" y="57"/>
                  </a:cubicBezTo>
                  <a:cubicBezTo>
                    <a:pt x="191160" y="-854"/>
                    <a:pt x="219411" y="31954"/>
                    <a:pt x="219411" y="88456"/>
                  </a:cubicBezTo>
                  <a:lnTo>
                    <a:pt x="219411" y="94380"/>
                  </a:lnTo>
                  <a:lnTo>
                    <a:pt x="157441" y="98025"/>
                  </a:lnTo>
                  <a:lnTo>
                    <a:pt x="157441" y="81621"/>
                  </a:lnTo>
                  <a:cubicBezTo>
                    <a:pt x="157441" y="57016"/>
                    <a:pt x="143316" y="40156"/>
                    <a:pt x="123722" y="40156"/>
                  </a:cubicBezTo>
                  <a:cubicBezTo>
                    <a:pt x="116431" y="40156"/>
                    <a:pt x="109454" y="42577"/>
                    <a:pt x="103089" y="4696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" name="Forme libre : forme 266">
              <a:extLst>
                <a:ext uri="{FF2B5EF4-FFF2-40B4-BE49-F238E27FC236}">
                  <a16:creationId xmlns:a16="http://schemas.microsoft.com/office/drawing/2014/main" id="{8BF71B65-6E28-4BBD-90CF-EB6990FA2B3D}"/>
                </a:ext>
              </a:extLst>
            </p:cNvPr>
            <p:cNvSpPr/>
            <p:nvPr/>
          </p:nvSpPr>
          <p:spPr>
            <a:xfrm rot="8716295">
              <a:off x="3850379" y="-108618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" name="Forme libre : forme 267">
              <a:extLst>
                <a:ext uri="{FF2B5EF4-FFF2-40B4-BE49-F238E27FC236}">
                  <a16:creationId xmlns:a16="http://schemas.microsoft.com/office/drawing/2014/main" id="{C234B460-A852-4BC6-9223-625373ACE475}"/>
                </a:ext>
              </a:extLst>
            </p:cNvPr>
            <p:cNvSpPr/>
            <p:nvPr/>
          </p:nvSpPr>
          <p:spPr>
            <a:xfrm rot="7484129">
              <a:off x="4009196" y="18100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" name="Forme libre : forme 268">
              <a:extLst>
                <a:ext uri="{FF2B5EF4-FFF2-40B4-BE49-F238E27FC236}">
                  <a16:creationId xmlns:a16="http://schemas.microsoft.com/office/drawing/2014/main" id="{ED1521F3-7A8A-439A-8C00-B7EE31751298}"/>
                </a:ext>
              </a:extLst>
            </p:cNvPr>
            <p:cNvSpPr/>
            <p:nvPr/>
          </p:nvSpPr>
          <p:spPr>
            <a:xfrm rot="13089394">
              <a:off x="4167846" y="130348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0" name="Forme libre : forme 269">
              <a:extLst>
                <a:ext uri="{FF2B5EF4-FFF2-40B4-BE49-F238E27FC236}">
                  <a16:creationId xmlns:a16="http://schemas.microsoft.com/office/drawing/2014/main" id="{33189A82-B861-4219-AF6A-9F08FA6A03EE}"/>
                </a:ext>
              </a:extLst>
            </p:cNvPr>
            <p:cNvSpPr/>
            <p:nvPr/>
          </p:nvSpPr>
          <p:spPr>
            <a:xfrm rot="8716295">
              <a:off x="4488057" y="-10608"/>
              <a:ext cx="169580" cy="136116"/>
            </a:xfrm>
            <a:custGeom>
              <a:avLst/>
              <a:gdLst>
                <a:gd name="connsiteX0" fmla="*/ 62355 w 112042"/>
                <a:gd name="connsiteY0" fmla="*/ 89932 h 89932"/>
                <a:gd name="connsiteX1" fmla="*/ 0 w 112042"/>
                <a:gd name="connsiteY1" fmla="*/ 46710 h 89932"/>
                <a:gd name="connsiteX2" fmla="*/ 14231 w 112042"/>
                <a:gd name="connsiteY2" fmla="*/ 33321 h 89932"/>
                <a:gd name="connsiteX3" fmla="*/ 78722 w 112042"/>
                <a:gd name="connsiteY3" fmla="*/ 0 h 89932"/>
                <a:gd name="connsiteX4" fmla="*/ 112042 w 112042"/>
                <a:gd name="connsiteY4" fmla="*/ 39770 h 89932"/>
                <a:gd name="connsiteX5" fmla="*/ 80872 w 112042"/>
                <a:gd name="connsiteY5" fmla="*/ 81689 h 89932"/>
                <a:gd name="connsiteX6" fmla="*/ 81408 w 112042"/>
                <a:gd name="connsiteY6" fmla="*/ 81689 h 89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2042" h="89932">
                  <a:moveTo>
                    <a:pt x="62355" y="89932"/>
                  </a:moveTo>
                  <a:lnTo>
                    <a:pt x="0" y="46710"/>
                  </a:lnTo>
                  <a:lnTo>
                    <a:pt x="14231" y="33321"/>
                  </a:lnTo>
                  <a:cubicBezTo>
                    <a:pt x="30353" y="14511"/>
                    <a:pt x="53462" y="2687"/>
                    <a:pt x="78722" y="0"/>
                  </a:cubicBezTo>
                  <a:cubicBezTo>
                    <a:pt x="104518" y="0"/>
                    <a:pt x="112042" y="22572"/>
                    <a:pt x="112042" y="39770"/>
                  </a:cubicBezTo>
                  <a:cubicBezTo>
                    <a:pt x="110429" y="58580"/>
                    <a:pt x="98068" y="74165"/>
                    <a:pt x="80872" y="81689"/>
                  </a:cubicBezTo>
                  <a:lnTo>
                    <a:pt x="81408" y="816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1" name="Forme libre : forme 270">
              <a:extLst>
                <a:ext uri="{FF2B5EF4-FFF2-40B4-BE49-F238E27FC236}">
                  <a16:creationId xmlns:a16="http://schemas.microsoft.com/office/drawing/2014/main" id="{1EF7387F-9F93-4D5B-AD0B-A9B5B150D750}"/>
                </a:ext>
              </a:extLst>
            </p:cNvPr>
            <p:cNvSpPr/>
            <p:nvPr/>
          </p:nvSpPr>
          <p:spPr>
            <a:xfrm rot="8716295">
              <a:off x="3111565" y="373623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2" name="Forme libre : forme 271">
              <a:extLst>
                <a:ext uri="{FF2B5EF4-FFF2-40B4-BE49-F238E27FC236}">
                  <a16:creationId xmlns:a16="http://schemas.microsoft.com/office/drawing/2014/main" id="{B4768996-8D29-4ED8-9892-576EE6810B22}"/>
                </a:ext>
              </a:extLst>
            </p:cNvPr>
            <p:cNvSpPr/>
            <p:nvPr/>
          </p:nvSpPr>
          <p:spPr>
            <a:xfrm rot="8716295">
              <a:off x="3246864" y="378049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3" name="Forme libre : forme 272">
              <a:extLst>
                <a:ext uri="{FF2B5EF4-FFF2-40B4-BE49-F238E27FC236}">
                  <a16:creationId xmlns:a16="http://schemas.microsoft.com/office/drawing/2014/main" id="{303FB1DD-DCD5-4C62-8A14-00277F3DAA40}"/>
                </a:ext>
              </a:extLst>
            </p:cNvPr>
            <p:cNvSpPr/>
            <p:nvPr/>
          </p:nvSpPr>
          <p:spPr>
            <a:xfrm rot="8716295">
              <a:off x="3178981" y="3649901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4" name="Forme libre : forme 273">
              <a:extLst>
                <a:ext uri="{FF2B5EF4-FFF2-40B4-BE49-F238E27FC236}">
                  <a16:creationId xmlns:a16="http://schemas.microsoft.com/office/drawing/2014/main" id="{FE02E440-C3F4-4D87-B8DD-6EFE0A4EF84D}"/>
                </a:ext>
              </a:extLst>
            </p:cNvPr>
            <p:cNvSpPr/>
            <p:nvPr/>
          </p:nvSpPr>
          <p:spPr>
            <a:xfrm rot="8716295">
              <a:off x="2941694" y="387024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5" name="Forme libre : forme 274">
              <a:extLst>
                <a:ext uri="{FF2B5EF4-FFF2-40B4-BE49-F238E27FC236}">
                  <a16:creationId xmlns:a16="http://schemas.microsoft.com/office/drawing/2014/main" id="{79A8277D-0F31-4A40-BC3D-FDA2697AD79E}"/>
                </a:ext>
              </a:extLst>
            </p:cNvPr>
            <p:cNvSpPr/>
            <p:nvPr/>
          </p:nvSpPr>
          <p:spPr>
            <a:xfrm rot="8716295">
              <a:off x="2752648" y="355441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6" name="Forme libre : forme 275">
              <a:extLst>
                <a:ext uri="{FF2B5EF4-FFF2-40B4-BE49-F238E27FC236}">
                  <a16:creationId xmlns:a16="http://schemas.microsoft.com/office/drawing/2014/main" id="{FDF6C6F6-1950-4480-853C-710CE9CA14A1}"/>
                </a:ext>
              </a:extLst>
            </p:cNvPr>
            <p:cNvSpPr/>
            <p:nvPr/>
          </p:nvSpPr>
          <p:spPr>
            <a:xfrm rot="8716295">
              <a:off x="2734407" y="334436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7" name="Forme libre : forme 276">
              <a:extLst>
                <a:ext uri="{FF2B5EF4-FFF2-40B4-BE49-F238E27FC236}">
                  <a16:creationId xmlns:a16="http://schemas.microsoft.com/office/drawing/2014/main" id="{F7DE91C7-8472-4B32-8DA3-B40AD12704F7}"/>
                </a:ext>
              </a:extLst>
            </p:cNvPr>
            <p:cNvSpPr/>
            <p:nvPr/>
          </p:nvSpPr>
          <p:spPr>
            <a:xfrm rot="8716295">
              <a:off x="3078183" y="393222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8" name="Forme libre : forme 277">
              <a:extLst>
                <a:ext uri="{FF2B5EF4-FFF2-40B4-BE49-F238E27FC236}">
                  <a16:creationId xmlns:a16="http://schemas.microsoft.com/office/drawing/2014/main" id="{56FC047B-D272-4172-A288-45148C4BFE0D}"/>
                </a:ext>
              </a:extLst>
            </p:cNvPr>
            <p:cNvSpPr/>
            <p:nvPr/>
          </p:nvSpPr>
          <p:spPr>
            <a:xfrm rot="8716295">
              <a:off x="3549129" y="335761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9" name="Forme libre : forme 278">
              <a:extLst>
                <a:ext uri="{FF2B5EF4-FFF2-40B4-BE49-F238E27FC236}">
                  <a16:creationId xmlns:a16="http://schemas.microsoft.com/office/drawing/2014/main" id="{B13EC7A5-2676-4C63-B64E-8B2F38021996}"/>
                </a:ext>
              </a:extLst>
            </p:cNvPr>
            <p:cNvSpPr/>
            <p:nvPr/>
          </p:nvSpPr>
          <p:spPr>
            <a:xfrm rot="8716295">
              <a:off x="3684428" y="340187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0" name="Forme libre : forme 279">
              <a:extLst>
                <a:ext uri="{FF2B5EF4-FFF2-40B4-BE49-F238E27FC236}">
                  <a16:creationId xmlns:a16="http://schemas.microsoft.com/office/drawing/2014/main" id="{6ECF7C58-1973-4F69-8DD3-556AA77C8D04}"/>
                </a:ext>
              </a:extLst>
            </p:cNvPr>
            <p:cNvSpPr/>
            <p:nvPr/>
          </p:nvSpPr>
          <p:spPr>
            <a:xfrm rot="8716295">
              <a:off x="3379258" y="349163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1" name="Forme libre : forme 280">
              <a:extLst>
                <a:ext uri="{FF2B5EF4-FFF2-40B4-BE49-F238E27FC236}">
                  <a16:creationId xmlns:a16="http://schemas.microsoft.com/office/drawing/2014/main" id="{2B29EFE5-ACFF-4048-807E-18A0A68A503E}"/>
                </a:ext>
              </a:extLst>
            </p:cNvPr>
            <p:cNvSpPr/>
            <p:nvPr/>
          </p:nvSpPr>
          <p:spPr>
            <a:xfrm rot="8716295">
              <a:off x="3190213" y="317579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2" name="Forme libre : forme 281">
              <a:extLst>
                <a:ext uri="{FF2B5EF4-FFF2-40B4-BE49-F238E27FC236}">
                  <a16:creationId xmlns:a16="http://schemas.microsoft.com/office/drawing/2014/main" id="{09E572E1-09FC-45A6-A1BF-D06157BE552F}"/>
                </a:ext>
              </a:extLst>
            </p:cNvPr>
            <p:cNvSpPr/>
            <p:nvPr/>
          </p:nvSpPr>
          <p:spPr>
            <a:xfrm rot="8716295">
              <a:off x="3515746" y="3553613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3" name="Forme libre : forme 282">
              <a:extLst>
                <a:ext uri="{FF2B5EF4-FFF2-40B4-BE49-F238E27FC236}">
                  <a16:creationId xmlns:a16="http://schemas.microsoft.com/office/drawing/2014/main" id="{85DB8E68-2D02-4177-B998-21F4EDDAA547}"/>
                </a:ext>
              </a:extLst>
            </p:cNvPr>
            <p:cNvSpPr/>
            <p:nvPr/>
          </p:nvSpPr>
          <p:spPr>
            <a:xfrm rot="8716295">
              <a:off x="3150300" y="332718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4" name="Forme libre : forme 283">
              <a:extLst>
                <a:ext uri="{FF2B5EF4-FFF2-40B4-BE49-F238E27FC236}">
                  <a16:creationId xmlns:a16="http://schemas.microsoft.com/office/drawing/2014/main" id="{833C9746-3293-4FB8-8420-FBDB2ADD8FDE}"/>
                </a:ext>
              </a:extLst>
            </p:cNvPr>
            <p:cNvSpPr/>
            <p:nvPr/>
          </p:nvSpPr>
          <p:spPr>
            <a:xfrm rot="7484129">
              <a:off x="3674564" y="38432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5" name="Forme libre : forme 284">
              <a:extLst>
                <a:ext uri="{FF2B5EF4-FFF2-40B4-BE49-F238E27FC236}">
                  <a16:creationId xmlns:a16="http://schemas.microsoft.com/office/drawing/2014/main" id="{F36C90B8-C19D-40C0-9F6E-8BC40DAF6680}"/>
                </a:ext>
              </a:extLst>
            </p:cNvPr>
            <p:cNvSpPr/>
            <p:nvPr/>
          </p:nvSpPr>
          <p:spPr>
            <a:xfrm rot="13089394">
              <a:off x="3833214" y="3792578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6" name="Forme libre : forme 285">
              <a:extLst>
                <a:ext uri="{FF2B5EF4-FFF2-40B4-BE49-F238E27FC236}">
                  <a16:creationId xmlns:a16="http://schemas.microsoft.com/office/drawing/2014/main" id="{25D579E4-7F89-49C7-A73E-844BD68A125D}"/>
                </a:ext>
              </a:extLst>
            </p:cNvPr>
            <p:cNvSpPr/>
            <p:nvPr/>
          </p:nvSpPr>
          <p:spPr>
            <a:xfrm rot="8716295">
              <a:off x="4114105" y="3502461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7" name="Forme libre : forme 286">
              <a:extLst>
                <a:ext uri="{FF2B5EF4-FFF2-40B4-BE49-F238E27FC236}">
                  <a16:creationId xmlns:a16="http://schemas.microsoft.com/office/drawing/2014/main" id="{3F032AF9-E492-4124-9A15-3F5109B4E944}"/>
                </a:ext>
              </a:extLst>
            </p:cNvPr>
            <p:cNvSpPr/>
            <p:nvPr/>
          </p:nvSpPr>
          <p:spPr>
            <a:xfrm rot="8716295">
              <a:off x="4035696" y="334566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8" name="Forme libre : forme 287">
              <a:extLst>
                <a:ext uri="{FF2B5EF4-FFF2-40B4-BE49-F238E27FC236}">
                  <a16:creationId xmlns:a16="http://schemas.microsoft.com/office/drawing/2014/main" id="{AB866341-425E-43E2-A992-45F1B8F969FA}"/>
                </a:ext>
              </a:extLst>
            </p:cNvPr>
            <p:cNvSpPr/>
            <p:nvPr/>
          </p:nvSpPr>
          <p:spPr>
            <a:xfrm rot="8716295">
              <a:off x="3667532" y="339140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9" name="Forme libre : forme 288">
              <a:extLst>
                <a:ext uri="{FF2B5EF4-FFF2-40B4-BE49-F238E27FC236}">
                  <a16:creationId xmlns:a16="http://schemas.microsoft.com/office/drawing/2014/main" id="{6CDA98C5-481F-4686-9DE1-F1AA20FC6223}"/>
                </a:ext>
              </a:extLst>
            </p:cNvPr>
            <p:cNvSpPr/>
            <p:nvPr/>
          </p:nvSpPr>
          <p:spPr>
            <a:xfrm rot="8716295">
              <a:off x="3936113" y="315039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0" name="Forme libre : forme 289">
              <a:extLst>
                <a:ext uri="{FF2B5EF4-FFF2-40B4-BE49-F238E27FC236}">
                  <a16:creationId xmlns:a16="http://schemas.microsoft.com/office/drawing/2014/main" id="{13373414-24F1-4D1B-ADBB-1E220625DF7D}"/>
                </a:ext>
              </a:extLst>
            </p:cNvPr>
            <p:cNvSpPr/>
            <p:nvPr/>
          </p:nvSpPr>
          <p:spPr>
            <a:xfrm rot="8716295">
              <a:off x="3449338" y="4734714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1" name="Forme libre : forme 290">
              <a:extLst>
                <a:ext uri="{FF2B5EF4-FFF2-40B4-BE49-F238E27FC236}">
                  <a16:creationId xmlns:a16="http://schemas.microsoft.com/office/drawing/2014/main" id="{B70E33AD-70BB-4576-ADCA-5363A243B741}"/>
                </a:ext>
              </a:extLst>
            </p:cNvPr>
            <p:cNvSpPr/>
            <p:nvPr/>
          </p:nvSpPr>
          <p:spPr>
            <a:xfrm rot="8716295">
              <a:off x="3580975" y="4773824"/>
              <a:ext cx="394489" cy="383455"/>
            </a:xfrm>
            <a:custGeom>
              <a:avLst/>
              <a:gdLst>
                <a:gd name="connsiteX0" fmla="*/ 77932 w 394489"/>
                <a:gd name="connsiteY0" fmla="*/ 383455 h 383455"/>
                <a:gd name="connsiteX1" fmla="*/ 77932 w 394489"/>
                <a:gd name="connsiteY1" fmla="*/ 66898 h 383455"/>
                <a:gd name="connsiteX2" fmla="*/ 0 w 394489"/>
                <a:gd name="connsiteY2" fmla="*/ 66898 h 383455"/>
                <a:gd name="connsiteX3" fmla="*/ 0 w 394489"/>
                <a:gd name="connsiteY3" fmla="*/ 0 h 383455"/>
                <a:gd name="connsiteX4" fmla="*/ 158623 w 394489"/>
                <a:gd name="connsiteY4" fmla="*/ 0 h 383455"/>
                <a:gd name="connsiteX5" fmla="*/ 158623 w 394489"/>
                <a:gd name="connsiteY5" fmla="*/ 111726 h 383455"/>
                <a:gd name="connsiteX6" fmla="*/ 160692 w 394489"/>
                <a:gd name="connsiteY6" fmla="*/ 111726 h 383455"/>
                <a:gd name="connsiteX7" fmla="*/ 233107 w 394489"/>
                <a:gd name="connsiteY7" fmla="*/ 6897 h 383455"/>
                <a:gd name="connsiteX8" fmla="*/ 240854 w 394489"/>
                <a:gd name="connsiteY8" fmla="*/ 5438 h 383455"/>
                <a:gd name="connsiteX9" fmla="*/ 391511 w 394489"/>
                <a:gd name="connsiteY9" fmla="*/ 109868 h 383455"/>
                <a:gd name="connsiteX10" fmla="*/ 394489 w 394489"/>
                <a:gd name="connsiteY10" fmla="*/ 131726 h 383455"/>
                <a:gd name="connsiteX11" fmla="*/ 394489 w 394489"/>
                <a:gd name="connsiteY11" fmla="*/ 140692 h 383455"/>
                <a:gd name="connsiteX12" fmla="*/ 300695 w 394489"/>
                <a:gd name="connsiteY12" fmla="*/ 146210 h 383455"/>
                <a:gd name="connsiteX13" fmla="*/ 300695 w 394489"/>
                <a:gd name="connsiteY13" fmla="*/ 121382 h 383455"/>
                <a:gd name="connsiteX14" fmla="*/ 249659 w 394489"/>
                <a:gd name="connsiteY14" fmla="*/ 58622 h 383455"/>
                <a:gd name="connsiteX15" fmla="*/ 168969 w 394489"/>
                <a:gd name="connsiteY15" fmla="*/ 191038 h 383455"/>
                <a:gd name="connsiteX16" fmla="*/ 168969 w 394489"/>
                <a:gd name="connsiteY16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4489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82762" y="46208"/>
                    <a:pt x="200003" y="20690"/>
                    <a:pt x="233107" y="6897"/>
                  </a:cubicBezTo>
                  <a:lnTo>
                    <a:pt x="240854" y="5438"/>
                  </a:lnTo>
                  <a:lnTo>
                    <a:pt x="391511" y="109868"/>
                  </a:lnTo>
                  <a:lnTo>
                    <a:pt x="394489" y="131726"/>
                  </a:lnTo>
                  <a:lnTo>
                    <a:pt x="394489" y="140692"/>
                  </a:lnTo>
                  <a:lnTo>
                    <a:pt x="300695" y="146210"/>
                  </a:lnTo>
                  <a:lnTo>
                    <a:pt x="300695" y="121382"/>
                  </a:lnTo>
                  <a:cubicBezTo>
                    <a:pt x="300695" y="84140"/>
                    <a:pt x="279315" y="58621"/>
                    <a:pt x="249659" y="58622"/>
                  </a:cubicBezTo>
                  <a:cubicBezTo>
                    <a:pt x="205521" y="58622"/>
                    <a:pt x="168969" y="117244"/>
                    <a:pt x="168969" y="191038"/>
                  </a:cubicBez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2" name="Forme libre : forme 291">
              <a:extLst>
                <a:ext uri="{FF2B5EF4-FFF2-40B4-BE49-F238E27FC236}">
                  <a16:creationId xmlns:a16="http://schemas.microsoft.com/office/drawing/2014/main" id="{00B826E8-9537-4128-8AFA-9DB695ED94E7}"/>
                </a:ext>
              </a:extLst>
            </p:cNvPr>
            <p:cNvSpPr/>
            <p:nvPr/>
          </p:nvSpPr>
          <p:spPr>
            <a:xfrm rot="8716295">
              <a:off x="3516754" y="4648384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3" name="Forme libre : forme 292">
              <a:extLst>
                <a:ext uri="{FF2B5EF4-FFF2-40B4-BE49-F238E27FC236}">
                  <a16:creationId xmlns:a16="http://schemas.microsoft.com/office/drawing/2014/main" id="{FFE48F5E-5149-4118-92C8-4116821F574B}"/>
                </a:ext>
              </a:extLst>
            </p:cNvPr>
            <p:cNvSpPr/>
            <p:nvPr/>
          </p:nvSpPr>
          <p:spPr>
            <a:xfrm rot="8716295">
              <a:off x="3279467" y="486872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4" name="Forme libre : forme 293">
              <a:extLst>
                <a:ext uri="{FF2B5EF4-FFF2-40B4-BE49-F238E27FC236}">
                  <a16:creationId xmlns:a16="http://schemas.microsoft.com/office/drawing/2014/main" id="{890C4AC4-E0F9-4914-B99E-81FA866D2C0A}"/>
                </a:ext>
              </a:extLst>
            </p:cNvPr>
            <p:cNvSpPr/>
            <p:nvPr/>
          </p:nvSpPr>
          <p:spPr>
            <a:xfrm rot="8716295">
              <a:off x="3090421" y="455289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5" name="Forme libre : forme 294">
              <a:extLst>
                <a:ext uri="{FF2B5EF4-FFF2-40B4-BE49-F238E27FC236}">
                  <a16:creationId xmlns:a16="http://schemas.microsoft.com/office/drawing/2014/main" id="{9E7C0995-D53C-4E22-B438-2332B5C132C7}"/>
                </a:ext>
              </a:extLst>
            </p:cNvPr>
            <p:cNvSpPr/>
            <p:nvPr/>
          </p:nvSpPr>
          <p:spPr>
            <a:xfrm rot="8716295">
              <a:off x="3072180" y="434284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6" name="Forme libre : forme 295">
              <a:extLst>
                <a:ext uri="{FF2B5EF4-FFF2-40B4-BE49-F238E27FC236}">
                  <a16:creationId xmlns:a16="http://schemas.microsoft.com/office/drawing/2014/main" id="{B2DA7643-AE8F-4F78-929C-4968C3EC4902}"/>
                </a:ext>
              </a:extLst>
            </p:cNvPr>
            <p:cNvSpPr/>
            <p:nvPr/>
          </p:nvSpPr>
          <p:spPr>
            <a:xfrm rot="8716295">
              <a:off x="3388475" y="4959102"/>
              <a:ext cx="91035" cy="230894"/>
            </a:xfrm>
            <a:custGeom>
              <a:avLst/>
              <a:gdLst>
                <a:gd name="connsiteX0" fmla="*/ 91035 w 91035"/>
                <a:gd name="connsiteY0" fmla="*/ 230894 h 230894"/>
                <a:gd name="connsiteX1" fmla="*/ 0 w 91035"/>
                <a:gd name="connsiteY1" fmla="*/ 143306 h 230894"/>
                <a:gd name="connsiteX2" fmla="*/ 0 w 91035"/>
                <a:gd name="connsiteY2" fmla="*/ 0 h 230894"/>
                <a:gd name="connsiteX3" fmla="*/ 91035 w 91035"/>
                <a:gd name="connsiteY3" fmla="*/ 63103 h 230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230894">
                  <a:moveTo>
                    <a:pt x="91035" y="230894"/>
                  </a:moveTo>
                  <a:lnTo>
                    <a:pt x="0" y="143306"/>
                  </a:lnTo>
                  <a:lnTo>
                    <a:pt x="0" y="0"/>
                  </a:lnTo>
                  <a:lnTo>
                    <a:pt x="91035" y="631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7" name="Forme libre : forme 296">
              <a:extLst>
                <a:ext uri="{FF2B5EF4-FFF2-40B4-BE49-F238E27FC236}">
                  <a16:creationId xmlns:a16="http://schemas.microsoft.com/office/drawing/2014/main" id="{93603EC3-AC55-411D-BFDF-9FDB7506B4C7}"/>
                </a:ext>
              </a:extLst>
            </p:cNvPr>
            <p:cNvSpPr/>
            <p:nvPr/>
          </p:nvSpPr>
          <p:spPr>
            <a:xfrm rot="8716295">
              <a:off x="3886902" y="435609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8" name="Forme libre : forme 297">
              <a:extLst>
                <a:ext uri="{FF2B5EF4-FFF2-40B4-BE49-F238E27FC236}">
                  <a16:creationId xmlns:a16="http://schemas.microsoft.com/office/drawing/2014/main" id="{08CBBA4D-FF43-40D2-8BFA-84CB4DCCF31B}"/>
                </a:ext>
              </a:extLst>
            </p:cNvPr>
            <p:cNvSpPr/>
            <p:nvPr/>
          </p:nvSpPr>
          <p:spPr>
            <a:xfrm rot="8716295">
              <a:off x="4022201" y="440035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9" name="Forme libre : forme 298">
              <a:extLst>
                <a:ext uri="{FF2B5EF4-FFF2-40B4-BE49-F238E27FC236}">
                  <a16:creationId xmlns:a16="http://schemas.microsoft.com/office/drawing/2014/main" id="{835E253D-33C4-431B-B8C8-357E6AAC9C52}"/>
                </a:ext>
              </a:extLst>
            </p:cNvPr>
            <p:cNvSpPr/>
            <p:nvPr/>
          </p:nvSpPr>
          <p:spPr>
            <a:xfrm rot="8716295">
              <a:off x="3717031" y="44901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0" name="Forme libre : forme 299">
              <a:extLst>
                <a:ext uri="{FF2B5EF4-FFF2-40B4-BE49-F238E27FC236}">
                  <a16:creationId xmlns:a16="http://schemas.microsoft.com/office/drawing/2014/main" id="{22AF57EC-DC68-40A4-9C71-BCBD0C50FBE3}"/>
                </a:ext>
              </a:extLst>
            </p:cNvPr>
            <p:cNvSpPr/>
            <p:nvPr/>
          </p:nvSpPr>
          <p:spPr>
            <a:xfrm rot="8716295">
              <a:off x="3527986" y="417427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1" name="Forme libre : forme 300">
              <a:extLst>
                <a:ext uri="{FF2B5EF4-FFF2-40B4-BE49-F238E27FC236}">
                  <a16:creationId xmlns:a16="http://schemas.microsoft.com/office/drawing/2014/main" id="{7AC81511-7180-4392-A0BB-C0785E6FFDB2}"/>
                </a:ext>
              </a:extLst>
            </p:cNvPr>
            <p:cNvSpPr/>
            <p:nvPr/>
          </p:nvSpPr>
          <p:spPr>
            <a:xfrm rot="8716295">
              <a:off x="3853519" y="4552096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2" name="Forme libre : forme 301">
              <a:extLst>
                <a:ext uri="{FF2B5EF4-FFF2-40B4-BE49-F238E27FC236}">
                  <a16:creationId xmlns:a16="http://schemas.microsoft.com/office/drawing/2014/main" id="{1EACC1C7-884B-4139-9EC6-9BA9AA34D223}"/>
                </a:ext>
              </a:extLst>
            </p:cNvPr>
            <p:cNvSpPr/>
            <p:nvPr/>
          </p:nvSpPr>
          <p:spPr>
            <a:xfrm rot="8716295">
              <a:off x="3488073" y="432567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3" name="Forme libre : forme 302">
              <a:extLst>
                <a:ext uri="{FF2B5EF4-FFF2-40B4-BE49-F238E27FC236}">
                  <a16:creationId xmlns:a16="http://schemas.microsoft.com/office/drawing/2014/main" id="{8A54AD41-7272-4697-A5DB-CEFCE19789FC}"/>
                </a:ext>
              </a:extLst>
            </p:cNvPr>
            <p:cNvSpPr/>
            <p:nvPr/>
          </p:nvSpPr>
          <p:spPr>
            <a:xfrm rot="7484129">
              <a:off x="4016569" y="4837237"/>
              <a:ext cx="295167" cy="296463"/>
            </a:xfrm>
            <a:custGeom>
              <a:avLst/>
              <a:gdLst>
                <a:gd name="connsiteX0" fmla="*/ 137293 w 295167"/>
                <a:gd name="connsiteY0" fmla="*/ 296463 h 296463"/>
                <a:gd name="connsiteX1" fmla="*/ 72418 w 295167"/>
                <a:gd name="connsiteY1" fmla="*/ 175766 h 296463"/>
                <a:gd name="connsiteX2" fmla="*/ 105610 w 295167"/>
                <a:gd name="connsiteY2" fmla="*/ 83734 h 296463"/>
                <a:gd name="connsiteX3" fmla="*/ 0 w 295167"/>
                <a:gd name="connsiteY3" fmla="*/ 83734 h 296463"/>
                <a:gd name="connsiteX4" fmla="*/ 0 w 295167"/>
                <a:gd name="connsiteY4" fmla="*/ 0 h 296463"/>
                <a:gd name="connsiteX5" fmla="*/ 237110 w 295167"/>
                <a:gd name="connsiteY5" fmla="*/ 0 h 296463"/>
                <a:gd name="connsiteX6" fmla="*/ 295167 w 295167"/>
                <a:gd name="connsiteY6" fmla="*/ 83734 h 296463"/>
                <a:gd name="connsiteX7" fmla="*/ 210466 w 295167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5167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37110" y="0"/>
                  </a:lnTo>
                  <a:lnTo>
                    <a:pt x="295167" y="83734"/>
                  </a:lnTo>
                  <a:lnTo>
                    <a:pt x="210466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4" name="Forme libre : forme 303">
              <a:extLst>
                <a:ext uri="{FF2B5EF4-FFF2-40B4-BE49-F238E27FC236}">
                  <a16:creationId xmlns:a16="http://schemas.microsoft.com/office/drawing/2014/main" id="{B0BB4A2B-6236-4AB8-8AEF-499FEFD9934C}"/>
                </a:ext>
              </a:extLst>
            </p:cNvPr>
            <p:cNvSpPr/>
            <p:nvPr/>
          </p:nvSpPr>
          <p:spPr>
            <a:xfrm rot="13089394">
              <a:off x="4226447" y="4804985"/>
              <a:ext cx="412568" cy="314062"/>
            </a:xfrm>
            <a:custGeom>
              <a:avLst/>
              <a:gdLst>
                <a:gd name="connsiteX0" fmla="*/ 412568 w 412568"/>
                <a:gd name="connsiteY0" fmla="*/ 206915 h 314062"/>
                <a:gd name="connsiteX1" fmla="*/ 138636 w 412568"/>
                <a:gd name="connsiteY1" fmla="*/ 313815 h 314062"/>
                <a:gd name="connsiteX2" fmla="*/ 35911 w 412568"/>
                <a:gd name="connsiteY2" fmla="*/ 272057 h 314062"/>
                <a:gd name="connsiteX3" fmla="*/ 0 w 412568"/>
                <a:gd name="connsiteY3" fmla="*/ 128410 h 314062"/>
                <a:gd name="connsiteX4" fmla="*/ 0 w 412568"/>
                <a:gd name="connsiteY4" fmla="*/ 88308 h 314062"/>
                <a:gd name="connsiteX5" fmla="*/ 112395 w 412568"/>
                <a:gd name="connsiteY5" fmla="*/ 0 h 314062"/>
                <a:gd name="connsiteX6" fmla="*/ 112747 w 412568"/>
                <a:gd name="connsiteY6" fmla="*/ 49070 h 314062"/>
                <a:gd name="connsiteX7" fmla="*/ 132789 w 412568"/>
                <a:gd name="connsiteY7" fmla="*/ 187707 h 314062"/>
                <a:gd name="connsiteX8" fmla="*/ 233008 w 412568"/>
                <a:gd name="connsiteY8" fmla="*/ 242827 h 314062"/>
                <a:gd name="connsiteX9" fmla="*/ 308172 w 412568"/>
                <a:gd name="connsiteY9" fmla="*/ 229465 h 314062"/>
                <a:gd name="connsiteX10" fmla="*/ 410898 w 412568"/>
                <a:gd name="connsiteY10" fmla="*/ 187707 h 314062"/>
                <a:gd name="connsiteX11" fmla="*/ 412568 w 412568"/>
                <a:gd name="connsiteY11" fmla="*/ 198563 h 314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2568" h="314062">
                  <a:moveTo>
                    <a:pt x="412568" y="206915"/>
                  </a:moveTo>
                  <a:cubicBezTo>
                    <a:pt x="324041" y="282914"/>
                    <a:pt x="207954" y="309640"/>
                    <a:pt x="138636" y="313815"/>
                  </a:cubicBezTo>
                  <a:cubicBezTo>
                    <a:pt x="100219" y="316321"/>
                    <a:pt x="62637" y="299618"/>
                    <a:pt x="35911" y="272057"/>
                  </a:cubicBezTo>
                  <a:cubicBezTo>
                    <a:pt x="7516" y="244497"/>
                    <a:pt x="0" y="196893"/>
                    <a:pt x="0" y="128410"/>
                  </a:cubicBezTo>
                  <a:lnTo>
                    <a:pt x="0" y="88308"/>
                  </a:lnTo>
                  <a:lnTo>
                    <a:pt x="112395" y="0"/>
                  </a:lnTo>
                  <a:lnTo>
                    <a:pt x="112747" y="49070"/>
                  </a:lnTo>
                  <a:cubicBezTo>
                    <a:pt x="110241" y="95839"/>
                    <a:pt x="117756" y="143443"/>
                    <a:pt x="132789" y="187707"/>
                  </a:cubicBezTo>
                  <a:cubicBezTo>
                    <a:pt x="146153" y="224453"/>
                    <a:pt x="180394" y="242827"/>
                    <a:pt x="233008" y="242827"/>
                  </a:cubicBezTo>
                  <a:cubicBezTo>
                    <a:pt x="258899" y="241992"/>
                    <a:pt x="283953" y="236980"/>
                    <a:pt x="308172" y="229465"/>
                  </a:cubicBezTo>
                  <a:cubicBezTo>
                    <a:pt x="343249" y="218607"/>
                    <a:pt x="377491" y="204410"/>
                    <a:pt x="410898" y="187707"/>
                  </a:cubicBezTo>
                  <a:cubicBezTo>
                    <a:pt x="411732" y="191047"/>
                    <a:pt x="412568" y="195223"/>
                    <a:pt x="412568" y="1985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5" name="Forme libre : forme 304">
              <a:extLst>
                <a:ext uri="{FF2B5EF4-FFF2-40B4-BE49-F238E27FC236}">
                  <a16:creationId xmlns:a16="http://schemas.microsoft.com/office/drawing/2014/main" id="{41417B88-C9BD-4BA9-91EE-73AA587DB73F}"/>
                </a:ext>
              </a:extLst>
            </p:cNvPr>
            <p:cNvSpPr/>
            <p:nvPr/>
          </p:nvSpPr>
          <p:spPr>
            <a:xfrm rot="8716295">
              <a:off x="4451878" y="4500944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6" name="Forme libre : forme 305">
              <a:extLst>
                <a:ext uri="{FF2B5EF4-FFF2-40B4-BE49-F238E27FC236}">
                  <a16:creationId xmlns:a16="http://schemas.microsoft.com/office/drawing/2014/main" id="{BE88A8B4-3593-449C-B0AC-26CECAA3950B}"/>
                </a:ext>
              </a:extLst>
            </p:cNvPr>
            <p:cNvSpPr/>
            <p:nvPr/>
          </p:nvSpPr>
          <p:spPr>
            <a:xfrm rot="8716295">
              <a:off x="4373469" y="434415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7" name="Forme libre : forme 306">
              <a:extLst>
                <a:ext uri="{FF2B5EF4-FFF2-40B4-BE49-F238E27FC236}">
                  <a16:creationId xmlns:a16="http://schemas.microsoft.com/office/drawing/2014/main" id="{3E1F62FF-668F-4B24-81E3-7F413DC37761}"/>
                </a:ext>
              </a:extLst>
            </p:cNvPr>
            <p:cNvSpPr/>
            <p:nvPr/>
          </p:nvSpPr>
          <p:spPr>
            <a:xfrm rot="8716295">
              <a:off x="4005305" y="438989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8" name="Forme libre : forme 307">
              <a:extLst>
                <a:ext uri="{FF2B5EF4-FFF2-40B4-BE49-F238E27FC236}">
                  <a16:creationId xmlns:a16="http://schemas.microsoft.com/office/drawing/2014/main" id="{271936E6-CFC4-4CBF-80D3-0DD03A6DA43A}"/>
                </a:ext>
              </a:extLst>
            </p:cNvPr>
            <p:cNvSpPr/>
            <p:nvPr/>
          </p:nvSpPr>
          <p:spPr>
            <a:xfrm rot="8716295">
              <a:off x="4273886" y="414887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9" name="Forme libre : forme 308">
              <a:extLst>
                <a:ext uri="{FF2B5EF4-FFF2-40B4-BE49-F238E27FC236}">
                  <a16:creationId xmlns:a16="http://schemas.microsoft.com/office/drawing/2014/main" id="{BA906EC6-3DC5-4DE2-8F95-209D99503493}"/>
                </a:ext>
              </a:extLst>
            </p:cNvPr>
            <p:cNvSpPr/>
            <p:nvPr/>
          </p:nvSpPr>
          <p:spPr>
            <a:xfrm rot="8716295">
              <a:off x="2776288" y="273581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0" name="Forme libre : forme 309">
              <a:extLst>
                <a:ext uri="{FF2B5EF4-FFF2-40B4-BE49-F238E27FC236}">
                  <a16:creationId xmlns:a16="http://schemas.microsoft.com/office/drawing/2014/main" id="{86353AD3-86B9-454E-8316-ED48EDD5C43A}"/>
                </a:ext>
              </a:extLst>
            </p:cNvPr>
            <p:cNvSpPr/>
            <p:nvPr/>
          </p:nvSpPr>
          <p:spPr>
            <a:xfrm rot="8716295">
              <a:off x="2911587" y="278007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1" name="Forme libre : forme 310">
              <a:extLst>
                <a:ext uri="{FF2B5EF4-FFF2-40B4-BE49-F238E27FC236}">
                  <a16:creationId xmlns:a16="http://schemas.microsoft.com/office/drawing/2014/main" id="{0B2A58FB-010E-417B-8E1C-9997876763AE}"/>
                </a:ext>
              </a:extLst>
            </p:cNvPr>
            <p:cNvSpPr/>
            <p:nvPr/>
          </p:nvSpPr>
          <p:spPr>
            <a:xfrm rot="8716295">
              <a:off x="2843704" y="2649488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2" name="Forme libre : forme 311">
              <a:extLst>
                <a:ext uri="{FF2B5EF4-FFF2-40B4-BE49-F238E27FC236}">
                  <a16:creationId xmlns:a16="http://schemas.microsoft.com/office/drawing/2014/main" id="{487219BD-DC26-4E15-BDA1-CA5CCE916C41}"/>
                </a:ext>
              </a:extLst>
            </p:cNvPr>
            <p:cNvSpPr/>
            <p:nvPr/>
          </p:nvSpPr>
          <p:spPr>
            <a:xfrm rot="8716295">
              <a:off x="2606417" y="286983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3" name="Forme libre : forme 312">
              <a:extLst>
                <a:ext uri="{FF2B5EF4-FFF2-40B4-BE49-F238E27FC236}">
                  <a16:creationId xmlns:a16="http://schemas.microsoft.com/office/drawing/2014/main" id="{E49C695E-663D-4558-8A6D-FAB5771CCDF7}"/>
                </a:ext>
              </a:extLst>
            </p:cNvPr>
            <p:cNvSpPr/>
            <p:nvPr/>
          </p:nvSpPr>
          <p:spPr>
            <a:xfrm rot="8716295">
              <a:off x="2417371" y="255399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4" name="Forme libre : forme 313">
              <a:extLst>
                <a:ext uri="{FF2B5EF4-FFF2-40B4-BE49-F238E27FC236}">
                  <a16:creationId xmlns:a16="http://schemas.microsoft.com/office/drawing/2014/main" id="{33F36FCD-6977-4A63-8D14-D1E1625E9D31}"/>
                </a:ext>
              </a:extLst>
            </p:cNvPr>
            <p:cNvSpPr/>
            <p:nvPr/>
          </p:nvSpPr>
          <p:spPr>
            <a:xfrm rot="8716295">
              <a:off x="2399130" y="2343948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5" name="Forme libre : forme 314">
              <a:extLst>
                <a:ext uri="{FF2B5EF4-FFF2-40B4-BE49-F238E27FC236}">
                  <a16:creationId xmlns:a16="http://schemas.microsoft.com/office/drawing/2014/main" id="{B3474DC3-02FE-406E-A9DB-66680A910D3C}"/>
                </a:ext>
              </a:extLst>
            </p:cNvPr>
            <p:cNvSpPr/>
            <p:nvPr/>
          </p:nvSpPr>
          <p:spPr>
            <a:xfrm rot="8716295">
              <a:off x="2742905" y="293181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6" name="Forme libre : forme 315">
              <a:extLst>
                <a:ext uri="{FF2B5EF4-FFF2-40B4-BE49-F238E27FC236}">
                  <a16:creationId xmlns:a16="http://schemas.microsoft.com/office/drawing/2014/main" id="{A49C2E0F-EE8D-44EF-9BA8-BEBCE07245A7}"/>
                </a:ext>
              </a:extLst>
            </p:cNvPr>
            <p:cNvSpPr/>
            <p:nvPr/>
          </p:nvSpPr>
          <p:spPr>
            <a:xfrm rot="8716295">
              <a:off x="3213852" y="235720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7" name="Forme libre : forme 316">
              <a:extLst>
                <a:ext uri="{FF2B5EF4-FFF2-40B4-BE49-F238E27FC236}">
                  <a16:creationId xmlns:a16="http://schemas.microsoft.com/office/drawing/2014/main" id="{F24F931D-D0BA-4754-8EFA-1E41547520B4}"/>
                </a:ext>
              </a:extLst>
            </p:cNvPr>
            <p:cNvSpPr/>
            <p:nvPr/>
          </p:nvSpPr>
          <p:spPr>
            <a:xfrm rot="8716295">
              <a:off x="3349151" y="240146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8" name="Forme libre : forme 317">
              <a:extLst>
                <a:ext uri="{FF2B5EF4-FFF2-40B4-BE49-F238E27FC236}">
                  <a16:creationId xmlns:a16="http://schemas.microsoft.com/office/drawing/2014/main" id="{77E8D478-ED04-4063-AB60-82AA395CE7E1}"/>
                </a:ext>
              </a:extLst>
            </p:cNvPr>
            <p:cNvSpPr/>
            <p:nvPr/>
          </p:nvSpPr>
          <p:spPr>
            <a:xfrm rot="8716295">
              <a:off x="3043981" y="249121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9" name="Forme libre : forme 318">
              <a:extLst>
                <a:ext uri="{FF2B5EF4-FFF2-40B4-BE49-F238E27FC236}">
                  <a16:creationId xmlns:a16="http://schemas.microsoft.com/office/drawing/2014/main" id="{D68F4A66-E6DC-4D6F-A05F-B0ED1AAF9752}"/>
                </a:ext>
              </a:extLst>
            </p:cNvPr>
            <p:cNvSpPr/>
            <p:nvPr/>
          </p:nvSpPr>
          <p:spPr>
            <a:xfrm rot="8716295">
              <a:off x="2854936" y="217538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0" name="Forme libre : forme 319">
              <a:extLst>
                <a:ext uri="{FF2B5EF4-FFF2-40B4-BE49-F238E27FC236}">
                  <a16:creationId xmlns:a16="http://schemas.microsoft.com/office/drawing/2014/main" id="{2E7E02DC-19A7-4427-8DD0-9CBD70741C55}"/>
                </a:ext>
              </a:extLst>
            </p:cNvPr>
            <p:cNvSpPr/>
            <p:nvPr/>
          </p:nvSpPr>
          <p:spPr>
            <a:xfrm rot="8716295">
              <a:off x="3180469" y="255320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1" name="Forme libre : forme 320">
              <a:extLst>
                <a:ext uri="{FF2B5EF4-FFF2-40B4-BE49-F238E27FC236}">
                  <a16:creationId xmlns:a16="http://schemas.microsoft.com/office/drawing/2014/main" id="{5F22C34B-662E-4288-A98A-07600645D826}"/>
                </a:ext>
              </a:extLst>
            </p:cNvPr>
            <p:cNvSpPr/>
            <p:nvPr/>
          </p:nvSpPr>
          <p:spPr>
            <a:xfrm rot="8716295">
              <a:off x="2815023" y="232677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2" name="Forme libre : forme 321">
              <a:extLst>
                <a:ext uri="{FF2B5EF4-FFF2-40B4-BE49-F238E27FC236}">
                  <a16:creationId xmlns:a16="http://schemas.microsoft.com/office/drawing/2014/main" id="{F9C4954F-8E31-441D-8E0D-8B0514C0CCEA}"/>
                </a:ext>
              </a:extLst>
            </p:cNvPr>
            <p:cNvSpPr/>
            <p:nvPr/>
          </p:nvSpPr>
          <p:spPr>
            <a:xfrm rot="7484129">
              <a:off x="3339287" y="284281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3" name="Forme libre : forme 322">
              <a:extLst>
                <a:ext uri="{FF2B5EF4-FFF2-40B4-BE49-F238E27FC236}">
                  <a16:creationId xmlns:a16="http://schemas.microsoft.com/office/drawing/2014/main" id="{96BDAC49-7C90-455C-A6A8-F21767004646}"/>
                </a:ext>
              </a:extLst>
            </p:cNvPr>
            <p:cNvSpPr/>
            <p:nvPr/>
          </p:nvSpPr>
          <p:spPr>
            <a:xfrm rot="13089394">
              <a:off x="3497937" y="279216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4" name="Forme libre : forme 323">
              <a:extLst>
                <a:ext uri="{FF2B5EF4-FFF2-40B4-BE49-F238E27FC236}">
                  <a16:creationId xmlns:a16="http://schemas.microsoft.com/office/drawing/2014/main" id="{EE32A375-D70E-46A2-83EF-D2C25C11FC27}"/>
                </a:ext>
              </a:extLst>
            </p:cNvPr>
            <p:cNvSpPr/>
            <p:nvPr/>
          </p:nvSpPr>
          <p:spPr>
            <a:xfrm rot="8716295">
              <a:off x="3778828" y="2502048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5" name="Forme libre : forme 324">
              <a:extLst>
                <a:ext uri="{FF2B5EF4-FFF2-40B4-BE49-F238E27FC236}">
                  <a16:creationId xmlns:a16="http://schemas.microsoft.com/office/drawing/2014/main" id="{1FF92686-85A8-4017-922B-2458FE401EB8}"/>
                </a:ext>
              </a:extLst>
            </p:cNvPr>
            <p:cNvSpPr/>
            <p:nvPr/>
          </p:nvSpPr>
          <p:spPr>
            <a:xfrm rot="8716295">
              <a:off x="3700418" y="234525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6" name="Forme libre : forme 325">
              <a:extLst>
                <a:ext uri="{FF2B5EF4-FFF2-40B4-BE49-F238E27FC236}">
                  <a16:creationId xmlns:a16="http://schemas.microsoft.com/office/drawing/2014/main" id="{D45E52B0-C4FD-4155-A0DD-45195433970C}"/>
                </a:ext>
              </a:extLst>
            </p:cNvPr>
            <p:cNvSpPr/>
            <p:nvPr/>
          </p:nvSpPr>
          <p:spPr>
            <a:xfrm rot="8716295">
              <a:off x="3332255" y="239099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7" name="Forme libre : forme 326">
              <a:extLst>
                <a:ext uri="{FF2B5EF4-FFF2-40B4-BE49-F238E27FC236}">
                  <a16:creationId xmlns:a16="http://schemas.microsoft.com/office/drawing/2014/main" id="{F21AB6E7-AC7E-4350-A5BF-CDF7EE2573C5}"/>
                </a:ext>
              </a:extLst>
            </p:cNvPr>
            <p:cNvSpPr/>
            <p:nvPr/>
          </p:nvSpPr>
          <p:spPr>
            <a:xfrm rot="8716295">
              <a:off x="3600836" y="214997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8" name="Forme libre : forme 327">
              <a:extLst>
                <a:ext uri="{FF2B5EF4-FFF2-40B4-BE49-F238E27FC236}">
                  <a16:creationId xmlns:a16="http://schemas.microsoft.com/office/drawing/2014/main" id="{81ADFF02-63EB-4A30-B800-167FCE598798}"/>
                </a:ext>
              </a:extLst>
            </p:cNvPr>
            <p:cNvSpPr/>
            <p:nvPr/>
          </p:nvSpPr>
          <p:spPr>
            <a:xfrm rot="8716295">
              <a:off x="2438515" y="173733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9" name="Forme libre : forme 328">
              <a:extLst>
                <a:ext uri="{FF2B5EF4-FFF2-40B4-BE49-F238E27FC236}">
                  <a16:creationId xmlns:a16="http://schemas.microsoft.com/office/drawing/2014/main" id="{FEEE40D0-1ED4-4D89-A553-8246351195B7}"/>
                </a:ext>
              </a:extLst>
            </p:cNvPr>
            <p:cNvSpPr/>
            <p:nvPr/>
          </p:nvSpPr>
          <p:spPr>
            <a:xfrm rot="8716295">
              <a:off x="2573814" y="178159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0" name="Forme libre : forme 329">
              <a:extLst>
                <a:ext uri="{FF2B5EF4-FFF2-40B4-BE49-F238E27FC236}">
                  <a16:creationId xmlns:a16="http://schemas.microsoft.com/office/drawing/2014/main" id="{AA5B5D88-69C3-43FC-A9FF-1BC20CA01055}"/>
                </a:ext>
              </a:extLst>
            </p:cNvPr>
            <p:cNvSpPr/>
            <p:nvPr/>
          </p:nvSpPr>
          <p:spPr>
            <a:xfrm rot="8716295">
              <a:off x="2505931" y="1651005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1" name="Forme libre : forme 330">
              <a:extLst>
                <a:ext uri="{FF2B5EF4-FFF2-40B4-BE49-F238E27FC236}">
                  <a16:creationId xmlns:a16="http://schemas.microsoft.com/office/drawing/2014/main" id="{3433A715-4852-4C6F-BD57-E5BFC48256EE}"/>
                </a:ext>
              </a:extLst>
            </p:cNvPr>
            <p:cNvSpPr/>
            <p:nvPr/>
          </p:nvSpPr>
          <p:spPr>
            <a:xfrm rot="8716295">
              <a:off x="2268644" y="187135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2" name="Forme libre : forme 331">
              <a:extLst>
                <a:ext uri="{FF2B5EF4-FFF2-40B4-BE49-F238E27FC236}">
                  <a16:creationId xmlns:a16="http://schemas.microsoft.com/office/drawing/2014/main" id="{AA3826BF-36B5-4F42-9A9C-0857F8AFC9E9}"/>
                </a:ext>
              </a:extLst>
            </p:cNvPr>
            <p:cNvSpPr/>
            <p:nvPr/>
          </p:nvSpPr>
          <p:spPr>
            <a:xfrm rot="8716295">
              <a:off x="2079598" y="155551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3" name="Forme libre : forme 332">
              <a:extLst>
                <a:ext uri="{FF2B5EF4-FFF2-40B4-BE49-F238E27FC236}">
                  <a16:creationId xmlns:a16="http://schemas.microsoft.com/office/drawing/2014/main" id="{6B18E7D7-D7AA-4E20-850E-3799436161FA}"/>
                </a:ext>
              </a:extLst>
            </p:cNvPr>
            <p:cNvSpPr/>
            <p:nvPr/>
          </p:nvSpPr>
          <p:spPr>
            <a:xfrm rot="8716295">
              <a:off x="2061357" y="1345465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4" name="Forme libre : forme 333">
              <a:extLst>
                <a:ext uri="{FF2B5EF4-FFF2-40B4-BE49-F238E27FC236}">
                  <a16:creationId xmlns:a16="http://schemas.microsoft.com/office/drawing/2014/main" id="{43032E37-9C7A-492A-8A2C-109CA7245F5F}"/>
                </a:ext>
              </a:extLst>
            </p:cNvPr>
            <p:cNvSpPr/>
            <p:nvPr/>
          </p:nvSpPr>
          <p:spPr>
            <a:xfrm rot="8716295">
              <a:off x="2405132" y="1933333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5" name="Forme libre : forme 334">
              <a:extLst>
                <a:ext uri="{FF2B5EF4-FFF2-40B4-BE49-F238E27FC236}">
                  <a16:creationId xmlns:a16="http://schemas.microsoft.com/office/drawing/2014/main" id="{17B53965-E3A1-4010-BB29-B66E80C0AA24}"/>
                </a:ext>
              </a:extLst>
            </p:cNvPr>
            <p:cNvSpPr/>
            <p:nvPr/>
          </p:nvSpPr>
          <p:spPr>
            <a:xfrm rot="8716295">
              <a:off x="2876079" y="135871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6" name="Forme libre : forme 335">
              <a:extLst>
                <a:ext uri="{FF2B5EF4-FFF2-40B4-BE49-F238E27FC236}">
                  <a16:creationId xmlns:a16="http://schemas.microsoft.com/office/drawing/2014/main" id="{5A10F28E-8329-4CB2-9E8E-AF5ADC5D984D}"/>
                </a:ext>
              </a:extLst>
            </p:cNvPr>
            <p:cNvSpPr/>
            <p:nvPr/>
          </p:nvSpPr>
          <p:spPr>
            <a:xfrm rot="8716295">
              <a:off x="3011378" y="140297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7" name="Forme libre : forme 336">
              <a:extLst>
                <a:ext uri="{FF2B5EF4-FFF2-40B4-BE49-F238E27FC236}">
                  <a16:creationId xmlns:a16="http://schemas.microsoft.com/office/drawing/2014/main" id="{A3E6B7D3-30F0-4F00-9AE4-FB7C5336C17B}"/>
                </a:ext>
              </a:extLst>
            </p:cNvPr>
            <p:cNvSpPr/>
            <p:nvPr/>
          </p:nvSpPr>
          <p:spPr>
            <a:xfrm rot="8716295">
              <a:off x="2706208" y="14927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8" name="Forme libre : forme 337">
              <a:extLst>
                <a:ext uri="{FF2B5EF4-FFF2-40B4-BE49-F238E27FC236}">
                  <a16:creationId xmlns:a16="http://schemas.microsoft.com/office/drawing/2014/main" id="{632D1FEF-F08F-4C8C-8E0E-3985E6CFB126}"/>
                </a:ext>
              </a:extLst>
            </p:cNvPr>
            <p:cNvSpPr/>
            <p:nvPr/>
          </p:nvSpPr>
          <p:spPr>
            <a:xfrm rot="8716295">
              <a:off x="2517163" y="11768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9" name="Forme libre : forme 338">
              <a:extLst>
                <a:ext uri="{FF2B5EF4-FFF2-40B4-BE49-F238E27FC236}">
                  <a16:creationId xmlns:a16="http://schemas.microsoft.com/office/drawing/2014/main" id="{12813E1E-715D-4101-9BCD-409373887F04}"/>
                </a:ext>
              </a:extLst>
            </p:cNvPr>
            <p:cNvSpPr/>
            <p:nvPr/>
          </p:nvSpPr>
          <p:spPr>
            <a:xfrm rot="8716295">
              <a:off x="2842696" y="1554717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0" name="Forme libre : forme 339">
              <a:extLst>
                <a:ext uri="{FF2B5EF4-FFF2-40B4-BE49-F238E27FC236}">
                  <a16:creationId xmlns:a16="http://schemas.microsoft.com/office/drawing/2014/main" id="{AA2FCEEA-252F-42A1-A6F0-2BDC14E98266}"/>
                </a:ext>
              </a:extLst>
            </p:cNvPr>
            <p:cNvSpPr/>
            <p:nvPr/>
          </p:nvSpPr>
          <p:spPr>
            <a:xfrm rot="8716295">
              <a:off x="2477250" y="1328291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1" name="Forme libre : forme 340">
              <a:extLst>
                <a:ext uri="{FF2B5EF4-FFF2-40B4-BE49-F238E27FC236}">
                  <a16:creationId xmlns:a16="http://schemas.microsoft.com/office/drawing/2014/main" id="{884AD109-F04C-43C6-A88C-32CD36BAA4FA}"/>
                </a:ext>
              </a:extLst>
            </p:cNvPr>
            <p:cNvSpPr/>
            <p:nvPr/>
          </p:nvSpPr>
          <p:spPr>
            <a:xfrm rot="7484129">
              <a:off x="3001514" y="184433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2" name="Forme libre : forme 341">
              <a:extLst>
                <a:ext uri="{FF2B5EF4-FFF2-40B4-BE49-F238E27FC236}">
                  <a16:creationId xmlns:a16="http://schemas.microsoft.com/office/drawing/2014/main" id="{E48D40E2-82AD-4B99-AF4E-871FA4B10FDC}"/>
                </a:ext>
              </a:extLst>
            </p:cNvPr>
            <p:cNvSpPr/>
            <p:nvPr/>
          </p:nvSpPr>
          <p:spPr>
            <a:xfrm rot="13089394">
              <a:off x="3160164" y="1793683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3" name="Forme libre : forme 342">
              <a:extLst>
                <a:ext uri="{FF2B5EF4-FFF2-40B4-BE49-F238E27FC236}">
                  <a16:creationId xmlns:a16="http://schemas.microsoft.com/office/drawing/2014/main" id="{5110A4C9-803C-4F01-A8FB-E8911DB784FA}"/>
                </a:ext>
              </a:extLst>
            </p:cNvPr>
            <p:cNvSpPr/>
            <p:nvPr/>
          </p:nvSpPr>
          <p:spPr>
            <a:xfrm rot="8716295">
              <a:off x="3441055" y="1503565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4" name="Forme libre : forme 343">
              <a:extLst>
                <a:ext uri="{FF2B5EF4-FFF2-40B4-BE49-F238E27FC236}">
                  <a16:creationId xmlns:a16="http://schemas.microsoft.com/office/drawing/2014/main" id="{4B71D1CA-954E-40F5-BAE1-391BC7E00EAC}"/>
                </a:ext>
              </a:extLst>
            </p:cNvPr>
            <p:cNvSpPr/>
            <p:nvPr/>
          </p:nvSpPr>
          <p:spPr>
            <a:xfrm rot="8716295">
              <a:off x="3362645" y="134677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5" name="Forme libre : forme 344">
              <a:extLst>
                <a:ext uri="{FF2B5EF4-FFF2-40B4-BE49-F238E27FC236}">
                  <a16:creationId xmlns:a16="http://schemas.microsoft.com/office/drawing/2014/main" id="{778C13D4-A0D9-47A6-97AC-A7265054F880}"/>
                </a:ext>
              </a:extLst>
            </p:cNvPr>
            <p:cNvSpPr/>
            <p:nvPr/>
          </p:nvSpPr>
          <p:spPr>
            <a:xfrm rot="8716295">
              <a:off x="2994482" y="13925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6" name="Forme libre : forme 345">
              <a:extLst>
                <a:ext uri="{FF2B5EF4-FFF2-40B4-BE49-F238E27FC236}">
                  <a16:creationId xmlns:a16="http://schemas.microsoft.com/office/drawing/2014/main" id="{018BC788-46BE-420C-AA9D-351862A75FA9}"/>
                </a:ext>
              </a:extLst>
            </p:cNvPr>
            <p:cNvSpPr/>
            <p:nvPr/>
          </p:nvSpPr>
          <p:spPr>
            <a:xfrm rot="8716295">
              <a:off x="3263063" y="115149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7" name="Forme libre : forme 346">
              <a:extLst>
                <a:ext uri="{FF2B5EF4-FFF2-40B4-BE49-F238E27FC236}">
                  <a16:creationId xmlns:a16="http://schemas.microsoft.com/office/drawing/2014/main" id="{0E9463B7-1F06-4DEB-A058-446E8844EA8B}"/>
                </a:ext>
              </a:extLst>
            </p:cNvPr>
            <p:cNvSpPr/>
            <p:nvPr/>
          </p:nvSpPr>
          <p:spPr>
            <a:xfrm rot="8716295">
              <a:off x="2107141" y="73528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8" name="Forme libre : forme 347">
              <a:extLst>
                <a:ext uri="{FF2B5EF4-FFF2-40B4-BE49-F238E27FC236}">
                  <a16:creationId xmlns:a16="http://schemas.microsoft.com/office/drawing/2014/main" id="{73CCCCE8-C732-40A3-953D-8C4E26ECE894}"/>
                </a:ext>
              </a:extLst>
            </p:cNvPr>
            <p:cNvSpPr/>
            <p:nvPr/>
          </p:nvSpPr>
          <p:spPr>
            <a:xfrm rot="8716295">
              <a:off x="2242440" y="77954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9" name="Forme libre : forme 348">
              <a:extLst>
                <a:ext uri="{FF2B5EF4-FFF2-40B4-BE49-F238E27FC236}">
                  <a16:creationId xmlns:a16="http://schemas.microsoft.com/office/drawing/2014/main" id="{46418248-47C2-468E-8F48-18C4C7CDB219}"/>
                </a:ext>
              </a:extLst>
            </p:cNvPr>
            <p:cNvSpPr/>
            <p:nvPr/>
          </p:nvSpPr>
          <p:spPr>
            <a:xfrm rot="8716295">
              <a:off x="2174558" y="64895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0" name="Forme libre : forme 349">
              <a:extLst>
                <a:ext uri="{FF2B5EF4-FFF2-40B4-BE49-F238E27FC236}">
                  <a16:creationId xmlns:a16="http://schemas.microsoft.com/office/drawing/2014/main" id="{CF6485DD-C84B-431E-B394-8EC27CA6D055}"/>
                </a:ext>
              </a:extLst>
            </p:cNvPr>
            <p:cNvSpPr/>
            <p:nvPr/>
          </p:nvSpPr>
          <p:spPr>
            <a:xfrm rot="8716295">
              <a:off x="1937270" y="86929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1" name="Forme libre : forme 350">
              <a:extLst>
                <a:ext uri="{FF2B5EF4-FFF2-40B4-BE49-F238E27FC236}">
                  <a16:creationId xmlns:a16="http://schemas.microsoft.com/office/drawing/2014/main" id="{C462C7C6-AFD1-4D6E-868F-DFD5908371AE}"/>
                </a:ext>
              </a:extLst>
            </p:cNvPr>
            <p:cNvSpPr/>
            <p:nvPr/>
          </p:nvSpPr>
          <p:spPr>
            <a:xfrm rot="8716295">
              <a:off x="1748224" y="55346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2" name="Forme libre : forme 351">
              <a:extLst>
                <a:ext uri="{FF2B5EF4-FFF2-40B4-BE49-F238E27FC236}">
                  <a16:creationId xmlns:a16="http://schemas.microsoft.com/office/drawing/2014/main" id="{3BF602CB-BB96-4BFD-9890-5020E5C70107}"/>
                </a:ext>
              </a:extLst>
            </p:cNvPr>
            <p:cNvSpPr/>
            <p:nvPr/>
          </p:nvSpPr>
          <p:spPr>
            <a:xfrm rot="8716295">
              <a:off x="1729983" y="34341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3" name="Forme libre : forme 352">
              <a:extLst>
                <a:ext uri="{FF2B5EF4-FFF2-40B4-BE49-F238E27FC236}">
                  <a16:creationId xmlns:a16="http://schemas.microsoft.com/office/drawing/2014/main" id="{D123FE48-43A2-4EF2-A75E-82641468BE05}"/>
                </a:ext>
              </a:extLst>
            </p:cNvPr>
            <p:cNvSpPr/>
            <p:nvPr/>
          </p:nvSpPr>
          <p:spPr>
            <a:xfrm rot="8716295">
              <a:off x="2073759" y="93127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4" name="Forme libre : forme 353">
              <a:extLst>
                <a:ext uri="{FF2B5EF4-FFF2-40B4-BE49-F238E27FC236}">
                  <a16:creationId xmlns:a16="http://schemas.microsoft.com/office/drawing/2014/main" id="{9368862D-396D-4FD2-B4BF-9090111F2572}"/>
                </a:ext>
              </a:extLst>
            </p:cNvPr>
            <p:cNvSpPr/>
            <p:nvPr/>
          </p:nvSpPr>
          <p:spPr>
            <a:xfrm rot="8716295">
              <a:off x="2544705" y="35666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5" name="Forme libre : forme 354">
              <a:extLst>
                <a:ext uri="{FF2B5EF4-FFF2-40B4-BE49-F238E27FC236}">
                  <a16:creationId xmlns:a16="http://schemas.microsoft.com/office/drawing/2014/main" id="{08DA4440-5C40-4A9D-A195-E7F5A36FB8E5}"/>
                </a:ext>
              </a:extLst>
            </p:cNvPr>
            <p:cNvSpPr/>
            <p:nvPr/>
          </p:nvSpPr>
          <p:spPr>
            <a:xfrm rot="8716295">
              <a:off x="2680004" y="40092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6" name="Forme libre : forme 355">
              <a:extLst>
                <a:ext uri="{FF2B5EF4-FFF2-40B4-BE49-F238E27FC236}">
                  <a16:creationId xmlns:a16="http://schemas.microsoft.com/office/drawing/2014/main" id="{499C4215-CE78-4D06-B1F1-0EFC66D2B8A8}"/>
                </a:ext>
              </a:extLst>
            </p:cNvPr>
            <p:cNvSpPr/>
            <p:nvPr/>
          </p:nvSpPr>
          <p:spPr>
            <a:xfrm rot="8716295">
              <a:off x="2374834" y="49068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7" name="Forme libre : forme 356">
              <a:extLst>
                <a:ext uri="{FF2B5EF4-FFF2-40B4-BE49-F238E27FC236}">
                  <a16:creationId xmlns:a16="http://schemas.microsoft.com/office/drawing/2014/main" id="{0DF46042-A994-48E9-AACA-0079FAE5D34F}"/>
                </a:ext>
              </a:extLst>
            </p:cNvPr>
            <p:cNvSpPr/>
            <p:nvPr/>
          </p:nvSpPr>
          <p:spPr>
            <a:xfrm rot="8716295">
              <a:off x="2185790" y="17484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8" name="Forme libre : forme 357">
              <a:extLst>
                <a:ext uri="{FF2B5EF4-FFF2-40B4-BE49-F238E27FC236}">
                  <a16:creationId xmlns:a16="http://schemas.microsoft.com/office/drawing/2014/main" id="{C56CBFD7-CE58-4F68-AE5F-EEAC0B0B2F26}"/>
                </a:ext>
              </a:extLst>
            </p:cNvPr>
            <p:cNvSpPr/>
            <p:nvPr/>
          </p:nvSpPr>
          <p:spPr>
            <a:xfrm rot="8716295">
              <a:off x="2511323" y="552663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9" name="Forme libre : forme 358">
              <a:extLst>
                <a:ext uri="{FF2B5EF4-FFF2-40B4-BE49-F238E27FC236}">
                  <a16:creationId xmlns:a16="http://schemas.microsoft.com/office/drawing/2014/main" id="{5026E243-7CAA-469D-B3FD-2DEEF3B52A6D}"/>
                </a:ext>
              </a:extLst>
            </p:cNvPr>
            <p:cNvSpPr/>
            <p:nvPr/>
          </p:nvSpPr>
          <p:spPr>
            <a:xfrm rot="8716295">
              <a:off x="2145876" y="32623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0" name="Forme libre : forme 359">
              <a:extLst>
                <a:ext uri="{FF2B5EF4-FFF2-40B4-BE49-F238E27FC236}">
                  <a16:creationId xmlns:a16="http://schemas.microsoft.com/office/drawing/2014/main" id="{69635373-7069-4076-9294-1FD2A4827397}"/>
                </a:ext>
              </a:extLst>
            </p:cNvPr>
            <p:cNvSpPr/>
            <p:nvPr/>
          </p:nvSpPr>
          <p:spPr>
            <a:xfrm rot="7484129">
              <a:off x="2670140" y="84228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1" name="Forme libre : forme 360">
              <a:extLst>
                <a:ext uri="{FF2B5EF4-FFF2-40B4-BE49-F238E27FC236}">
                  <a16:creationId xmlns:a16="http://schemas.microsoft.com/office/drawing/2014/main" id="{65F0089C-08D4-41A5-B19D-05C5D2A763BC}"/>
                </a:ext>
              </a:extLst>
            </p:cNvPr>
            <p:cNvSpPr/>
            <p:nvPr/>
          </p:nvSpPr>
          <p:spPr>
            <a:xfrm rot="13089394">
              <a:off x="2828790" y="791629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2" name="Forme libre : forme 361">
              <a:extLst>
                <a:ext uri="{FF2B5EF4-FFF2-40B4-BE49-F238E27FC236}">
                  <a16:creationId xmlns:a16="http://schemas.microsoft.com/office/drawing/2014/main" id="{10F0587B-FBC8-4526-B416-2C74092E74E3}"/>
                </a:ext>
              </a:extLst>
            </p:cNvPr>
            <p:cNvSpPr/>
            <p:nvPr/>
          </p:nvSpPr>
          <p:spPr>
            <a:xfrm rot="8716295">
              <a:off x="3109681" y="501511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3" name="Forme libre : forme 362">
              <a:extLst>
                <a:ext uri="{FF2B5EF4-FFF2-40B4-BE49-F238E27FC236}">
                  <a16:creationId xmlns:a16="http://schemas.microsoft.com/office/drawing/2014/main" id="{2065DAB7-B994-4ECC-90EA-43FF767C9150}"/>
                </a:ext>
              </a:extLst>
            </p:cNvPr>
            <p:cNvSpPr/>
            <p:nvPr/>
          </p:nvSpPr>
          <p:spPr>
            <a:xfrm rot="8716295">
              <a:off x="3031272" y="344719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4" name="Forme libre : forme 363">
              <a:extLst>
                <a:ext uri="{FF2B5EF4-FFF2-40B4-BE49-F238E27FC236}">
                  <a16:creationId xmlns:a16="http://schemas.microsoft.com/office/drawing/2014/main" id="{06C29BA8-D38F-498C-9EF2-99B1FD452BF5}"/>
                </a:ext>
              </a:extLst>
            </p:cNvPr>
            <p:cNvSpPr/>
            <p:nvPr/>
          </p:nvSpPr>
          <p:spPr>
            <a:xfrm rot="8716295">
              <a:off x="2663108" y="39046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5" name="Forme libre : forme 364">
              <a:extLst>
                <a:ext uri="{FF2B5EF4-FFF2-40B4-BE49-F238E27FC236}">
                  <a16:creationId xmlns:a16="http://schemas.microsoft.com/office/drawing/2014/main" id="{19957925-F105-47F6-A52F-63EE7BCADA72}"/>
                </a:ext>
              </a:extLst>
            </p:cNvPr>
            <p:cNvSpPr/>
            <p:nvPr/>
          </p:nvSpPr>
          <p:spPr>
            <a:xfrm rot="8716295">
              <a:off x="2931690" y="14944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6" name="Forme libre : forme 365">
              <a:extLst>
                <a:ext uri="{FF2B5EF4-FFF2-40B4-BE49-F238E27FC236}">
                  <a16:creationId xmlns:a16="http://schemas.microsoft.com/office/drawing/2014/main" id="{E0E33F2F-8222-4600-9D1F-1A85DBD9DDB6}"/>
                </a:ext>
              </a:extLst>
            </p:cNvPr>
            <p:cNvSpPr/>
            <p:nvPr/>
          </p:nvSpPr>
          <p:spPr>
            <a:xfrm rot="8716295">
              <a:off x="1834766" y="-57684"/>
              <a:ext cx="186564" cy="129320"/>
            </a:xfrm>
            <a:custGeom>
              <a:avLst/>
              <a:gdLst>
                <a:gd name="connsiteX0" fmla="*/ 123263 w 123263"/>
                <a:gd name="connsiteY0" fmla="*/ 85442 h 85442"/>
                <a:gd name="connsiteX1" fmla="*/ 0 w 123263"/>
                <a:gd name="connsiteY1" fmla="*/ 0 h 85442"/>
                <a:gd name="connsiteX2" fmla="*/ 66305 w 123263"/>
                <a:gd name="connsiteY2" fmla="*/ 0 h 85442"/>
                <a:gd name="connsiteX3" fmla="*/ 123263 w 123263"/>
                <a:gd name="connsiteY3" fmla="*/ 50123 h 85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63" h="85442">
                  <a:moveTo>
                    <a:pt x="123263" y="85442"/>
                  </a:moveTo>
                  <a:lnTo>
                    <a:pt x="0" y="0"/>
                  </a:lnTo>
                  <a:lnTo>
                    <a:pt x="66305" y="0"/>
                  </a:lnTo>
                  <a:cubicBezTo>
                    <a:pt x="103214" y="0"/>
                    <a:pt x="123263" y="15948"/>
                    <a:pt x="123263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7" name="Forme libre : forme 366">
              <a:extLst>
                <a:ext uri="{FF2B5EF4-FFF2-40B4-BE49-F238E27FC236}">
                  <a16:creationId xmlns:a16="http://schemas.microsoft.com/office/drawing/2014/main" id="{85E9DB2D-8095-4090-AC49-070A81C428A4}"/>
                </a:ext>
              </a:extLst>
            </p:cNvPr>
            <p:cNvSpPr/>
            <p:nvPr/>
          </p:nvSpPr>
          <p:spPr>
            <a:xfrm rot="8716295">
              <a:off x="1969949" y="-13794"/>
              <a:ext cx="394488" cy="148365"/>
            </a:xfrm>
            <a:custGeom>
              <a:avLst/>
              <a:gdLst>
                <a:gd name="connsiteX0" fmla="*/ 104802 w 260639"/>
                <a:gd name="connsiteY0" fmla="*/ 74264 h 98025"/>
                <a:gd name="connsiteX1" fmla="*/ 0 w 260639"/>
                <a:gd name="connsiteY1" fmla="*/ 1618 h 98025"/>
                <a:gd name="connsiteX2" fmla="*/ 0 w 260639"/>
                <a:gd name="connsiteY2" fmla="*/ 1425 h 98025"/>
                <a:gd name="connsiteX3" fmla="*/ 104803 w 260639"/>
                <a:gd name="connsiteY3" fmla="*/ 1425 h 98025"/>
                <a:gd name="connsiteX4" fmla="*/ 122123 w 260639"/>
                <a:gd name="connsiteY4" fmla="*/ 86270 h 98025"/>
                <a:gd name="connsiteX5" fmla="*/ 106178 w 260639"/>
                <a:gd name="connsiteY5" fmla="*/ 75218 h 98025"/>
                <a:gd name="connsiteX6" fmla="*/ 116721 w 260639"/>
                <a:gd name="connsiteY6" fmla="*/ 47439 h 98025"/>
                <a:gd name="connsiteX7" fmla="*/ 154014 w 260639"/>
                <a:gd name="connsiteY7" fmla="*/ 5981 h 98025"/>
                <a:gd name="connsiteX8" fmla="*/ 185455 w 260639"/>
                <a:gd name="connsiteY8" fmla="*/ 57 h 98025"/>
                <a:gd name="connsiteX9" fmla="*/ 260639 w 260639"/>
                <a:gd name="connsiteY9" fmla="*/ 88456 h 98025"/>
                <a:gd name="connsiteX10" fmla="*/ 260639 w 260639"/>
                <a:gd name="connsiteY10" fmla="*/ 94380 h 98025"/>
                <a:gd name="connsiteX11" fmla="*/ 198669 w 260639"/>
                <a:gd name="connsiteY11" fmla="*/ 98025 h 98025"/>
                <a:gd name="connsiteX12" fmla="*/ 198669 w 260639"/>
                <a:gd name="connsiteY12" fmla="*/ 81621 h 98025"/>
                <a:gd name="connsiteX13" fmla="*/ 164950 w 260639"/>
                <a:gd name="connsiteY13" fmla="*/ 40156 h 98025"/>
                <a:gd name="connsiteX14" fmla="*/ 127358 w 260639"/>
                <a:gd name="connsiteY14" fmla="*/ 65616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60639" h="98025">
                  <a:moveTo>
                    <a:pt x="104802" y="74264"/>
                  </a:moveTo>
                  <a:lnTo>
                    <a:pt x="0" y="1618"/>
                  </a:lnTo>
                  <a:lnTo>
                    <a:pt x="0" y="1425"/>
                  </a:lnTo>
                  <a:lnTo>
                    <a:pt x="104803" y="1425"/>
                  </a:lnTo>
                  <a:close/>
                  <a:moveTo>
                    <a:pt x="122123" y="86270"/>
                  </a:moveTo>
                  <a:lnTo>
                    <a:pt x="106178" y="75218"/>
                  </a:lnTo>
                  <a:lnTo>
                    <a:pt x="116721" y="47439"/>
                  </a:lnTo>
                  <a:cubicBezTo>
                    <a:pt x="127102" y="24008"/>
                    <a:pt x="137610" y="12816"/>
                    <a:pt x="154014" y="5981"/>
                  </a:cubicBezTo>
                  <a:cubicBezTo>
                    <a:pt x="164038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50369" y="40156"/>
                    <a:pt x="137041" y="49839"/>
                    <a:pt x="127358" y="656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8" name="Forme libre : forme 367">
              <a:extLst>
                <a:ext uri="{FF2B5EF4-FFF2-40B4-BE49-F238E27FC236}">
                  <a16:creationId xmlns:a16="http://schemas.microsoft.com/office/drawing/2014/main" id="{2112AB6E-ECBC-48CC-8F85-503CE29BF697}"/>
                </a:ext>
              </a:extLst>
            </p:cNvPr>
            <p:cNvSpPr/>
            <p:nvPr/>
          </p:nvSpPr>
          <p:spPr>
            <a:xfrm rot="8716295">
              <a:off x="1736738" y="-7282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9" name="Forme libre : forme 368">
              <a:extLst>
                <a:ext uri="{FF2B5EF4-FFF2-40B4-BE49-F238E27FC236}">
                  <a16:creationId xmlns:a16="http://schemas.microsoft.com/office/drawing/2014/main" id="{0CED55EE-2402-40E1-B7FC-4C64963DE5BE}"/>
                </a:ext>
              </a:extLst>
            </p:cNvPr>
            <p:cNvSpPr/>
            <p:nvPr/>
          </p:nvSpPr>
          <p:spPr>
            <a:xfrm rot="7484129">
              <a:off x="2399917" y="-21262"/>
              <a:ext cx="233243" cy="158079"/>
            </a:xfrm>
            <a:custGeom>
              <a:avLst/>
              <a:gdLst>
                <a:gd name="connsiteX0" fmla="*/ 72416 w 154104"/>
                <a:gd name="connsiteY0" fmla="*/ 104443 h 104443"/>
                <a:gd name="connsiteX1" fmla="*/ 0 w 154104"/>
                <a:gd name="connsiteY1" fmla="*/ 0 h 104443"/>
                <a:gd name="connsiteX2" fmla="*/ 154104 w 154104"/>
                <a:gd name="connsiteY2" fmla="*/ 0 h 104443"/>
                <a:gd name="connsiteX3" fmla="*/ 154104 w 154104"/>
                <a:gd name="connsiteY3" fmla="*/ 55323 h 104443"/>
                <a:gd name="connsiteX4" fmla="*/ 89312 w 154104"/>
                <a:gd name="connsiteY4" fmla="*/ 55323 h 104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4104" h="104443">
                  <a:moveTo>
                    <a:pt x="72416" y="104443"/>
                  </a:moveTo>
                  <a:lnTo>
                    <a:pt x="0" y="0"/>
                  </a:lnTo>
                  <a:lnTo>
                    <a:pt x="154104" y="0"/>
                  </a:lnTo>
                  <a:lnTo>
                    <a:pt x="154104" y="55323"/>
                  </a:lnTo>
                  <a:lnTo>
                    <a:pt x="89312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0" name="Forme libre : forme 369">
              <a:extLst>
                <a:ext uri="{FF2B5EF4-FFF2-40B4-BE49-F238E27FC236}">
                  <a16:creationId xmlns:a16="http://schemas.microsoft.com/office/drawing/2014/main" id="{2AB77741-1425-4B03-9370-5D34269ACC61}"/>
                </a:ext>
              </a:extLst>
            </p:cNvPr>
            <p:cNvSpPr/>
            <p:nvPr/>
          </p:nvSpPr>
          <p:spPr>
            <a:xfrm rot="13089394">
              <a:off x="2721869" y="-65503"/>
              <a:ext cx="128296" cy="425348"/>
            </a:xfrm>
            <a:custGeom>
              <a:avLst/>
              <a:gdLst>
                <a:gd name="connsiteX0" fmla="*/ 84765 w 84765"/>
                <a:gd name="connsiteY0" fmla="*/ 225012 h 281028"/>
                <a:gd name="connsiteX1" fmla="*/ 13471 w 84765"/>
                <a:gd name="connsiteY1" fmla="*/ 281028 h 281028"/>
                <a:gd name="connsiteX2" fmla="*/ 4828 w 84765"/>
                <a:gd name="connsiteY2" fmla="*/ 263963 h 281028"/>
                <a:gd name="connsiteX3" fmla="*/ 0 w 84765"/>
                <a:gd name="connsiteY3" fmla="*/ 206370 h 281028"/>
                <a:gd name="connsiteX4" fmla="*/ 0 w 84765"/>
                <a:gd name="connsiteY4" fmla="*/ 38074 h 281028"/>
                <a:gd name="connsiteX5" fmla="*/ 73388 w 84765"/>
                <a:gd name="connsiteY5" fmla="*/ 0 h 281028"/>
                <a:gd name="connsiteX6" fmla="*/ 74492 w 84765"/>
                <a:gd name="connsiteY6" fmla="*/ 153950 h 281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4765" h="281028">
                  <a:moveTo>
                    <a:pt x="84765" y="225012"/>
                  </a:moveTo>
                  <a:lnTo>
                    <a:pt x="13471" y="281028"/>
                  </a:lnTo>
                  <a:lnTo>
                    <a:pt x="4828" y="263963"/>
                  </a:lnTo>
                  <a:cubicBezTo>
                    <a:pt x="1241" y="248168"/>
                    <a:pt x="0" y="228993"/>
                    <a:pt x="0" y="206370"/>
                  </a:cubicBez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1" name="Forme libre : forme 370">
              <a:extLst>
                <a:ext uri="{FF2B5EF4-FFF2-40B4-BE49-F238E27FC236}">
                  <a16:creationId xmlns:a16="http://schemas.microsoft.com/office/drawing/2014/main" id="{FAA815E1-BD11-411E-A301-A66D6E5B5B5D}"/>
                </a:ext>
              </a:extLst>
            </p:cNvPr>
            <p:cNvSpPr/>
            <p:nvPr/>
          </p:nvSpPr>
          <p:spPr>
            <a:xfrm rot="8716295">
              <a:off x="5604774" y="3024342"/>
              <a:ext cx="274455" cy="132163"/>
            </a:xfrm>
            <a:custGeom>
              <a:avLst/>
              <a:gdLst>
                <a:gd name="connsiteX0" fmla="*/ 0 w 181333"/>
                <a:gd name="connsiteY0" fmla="*/ 87320 h 87320"/>
                <a:gd name="connsiteX1" fmla="*/ 42309 w 181333"/>
                <a:gd name="connsiteY1" fmla="*/ 36168 h 87320"/>
                <a:gd name="connsiteX2" fmla="*/ 54839 w 181333"/>
                <a:gd name="connsiteY2" fmla="*/ 38831 h 87320"/>
                <a:gd name="connsiteX3" fmla="*/ 107790 w 181333"/>
                <a:gd name="connsiteY3" fmla="*/ 29417 h 87320"/>
                <a:gd name="connsiteX4" fmla="*/ 180157 w 181333"/>
                <a:gd name="connsiteY4" fmla="*/ 0 h 87320"/>
                <a:gd name="connsiteX5" fmla="*/ 181333 w 181333"/>
                <a:gd name="connsiteY5" fmla="*/ 7648 h 87320"/>
                <a:gd name="connsiteX6" fmla="*/ 181333 w 181333"/>
                <a:gd name="connsiteY6" fmla="*/ 13532 h 87320"/>
                <a:gd name="connsiteX7" fmla="*/ 30340 w 181333"/>
                <a:gd name="connsiteY7" fmla="*/ 83361 h 87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333" h="87320">
                  <a:moveTo>
                    <a:pt x="0" y="87320"/>
                  </a:moveTo>
                  <a:lnTo>
                    <a:pt x="42309" y="36168"/>
                  </a:lnTo>
                  <a:lnTo>
                    <a:pt x="54839" y="38831"/>
                  </a:lnTo>
                  <a:cubicBezTo>
                    <a:pt x="73078" y="38242"/>
                    <a:pt x="90728" y="34712"/>
                    <a:pt x="107790" y="29417"/>
                  </a:cubicBezTo>
                  <a:cubicBezTo>
                    <a:pt x="132500" y="21768"/>
                    <a:pt x="156623" y="11767"/>
                    <a:pt x="180157" y="0"/>
                  </a:cubicBezTo>
                  <a:cubicBezTo>
                    <a:pt x="180745" y="2353"/>
                    <a:pt x="181333" y="5295"/>
                    <a:pt x="181333" y="7648"/>
                  </a:cubicBezTo>
                  <a:lnTo>
                    <a:pt x="181333" y="13532"/>
                  </a:lnTo>
                  <a:cubicBezTo>
                    <a:pt x="134560" y="53687"/>
                    <a:pt x="76865" y="74315"/>
                    <a:pt x="30340" y="833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2" name="Forme libre : forme 371">
              <a:extLst>
                <a:ext uri="{FF2B5EF4-FFF2-40B4-BE49-F238E27FC236}">
                  <a16:creationId xmlns:a16="http://schemas.microsoft.com/office/drawing/2014/main" id="{0B206B84-4FE5-4D53-9D1E-DD02DB41D254}"/>
                </a:ext>
              </a:extLst>
            </p:cNvPr>
            <p:cNvSpPr/>
            <p:nvPr/>
          </p:nvSpPr>
          <p:spPr>
            <a:xfrm rot="8716295">
              <a:off x="5742786" y="2375436"/>
              <a:ext cx="92417" cy="296278"/>
            </a:xfrm>
            <a:custGeom>
              <a:avLst/>
              <a:gdLst>
                <a:gd name="connsiteX0" fmla="*/ 0 w 61060"/>
                <a:gd name="connsiteY0" fmla="*/ 195751 h 195751"/>
                <a:gd name="connsiteX1" fmla="*/ 0 w 61060"/>
                <a:gd name="connsiteY1" fmla="*/ 67520 h 195751"/>
                <a:gd name="connsiteX2" fmla="*/ 55847 w 61060"/>
                <a:gd name="connsiteY2" fmla="*/ 0 h 195751"/>
                <a:gd name="connsiteX3" fmla="*/ 61059 w 61060"/>
                <a:gd name="connsiteY3" fmla="*/ 13486 h 195751"/>
                <a:gd name="connsiteX4" fmla="*/ 61060 w 61060"/>
                <a:gd name="connsiteY4" fmla="*/ 171601 h 195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60" h="195751">
                  <a:moveTo>
                    <a:pt x="0" y="195751"/>
                  </a:moveTo>
                  <a:lnTo>
                    <a:pt x="0" y="67520"/>
                  </a:lnTo>
                  <a:lnTo>
                    <a:pt x="55847" y="0"/>
                  </a:lnTo>
                  <a:lnTo>
                    <a:pt x="61059" y="13486"/>
                  </a:lnTo>
                  <a:lnTo>
                    <a:pt x="61060" y="17160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3" name="Forme libre : forme 372">
              <a:extLst>
                <a:ext uri="{FF2B5EF4-FFF2-40B4-BE49-F238E27FC236}">
                  <a16:creationId xmlns:a16="http://schemas.microsoft.com/office/drawing/2014/main" id="{77194E30-CE70-4AEC-BB0F-106D75678D26}"/>
                </a:ext>
              </a:extLst>
            </p:cNvPr>
            <p:cNvSpPr/>
            <p:nvPr/>
          </p:nvSpPr>
          <p:spPr>
            <a:xfrm rot="8716295">
              <a:off x="5579033" y="246915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4" name="Forme libre : forme 373">
              <a:extLst>
                <a:ext uri="{FF2B5EF4-FFF2-40B4-BE49-F238E27FC236}">
                  <a16:creationId xmlns:a16="http://schemas.microsoft.com/office/drawing/2014/main" id="{F8F32B20-B35C-4702-8768-E6EC077080C3}"/>
                </a:ext>
              </a:extLst>
            </p:cNvPr>
            <p:cNvSpPr/>
            <p:nvPr/>
          </p:nvSpPr>
          <p:spPr>
            <a:xfrm rot="8716295">
              <a:off x="5389987" y="215331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5" name="Forme libre : forme 374">
              <a:extLst>
                <a:ext uri="{FF2B5EF4-FFF2-40B4-BE49-F238E27FC236}">
                  <a16:creationId xmlns:a16="http://schemas.microsoft.com/office/drawing/2014/main" id="{03FB5FAB-F686-40AC-9940-1E92242C962D}"/>
                </a:ext>
              </a:extLst>
            </p:cNvPr>
            <p:cNvSpPr/>
            <p:nvPr/>
          </p:nvSpPr>
          <p:spPr>
            <a:xfrm rot="8716295">
              <a:off x="5371746" y="194326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6" name="Forme libre : forme 375">
              <a:extLst>
                <a:ext uri="{FF2B5EF4-FFF2-40B4-BE49-F238E27FC236}">
                  <a16:creationId xmlns:a16="http://schemas.microsoft.com/office/drawing/2014/main" id="{7697AE3D-D280-4B41-97E4-E67BBE2838D4}"/>
                </a:ext>
              </a:extLst>
            </p:cNvPr>
            <p:cNvSpPr/>
            <p:nvPr/>
          </p:nvSpPr>
          <p:spPr>
            <a:xfrm rot="8716295">
              <a:off x="5716764" y="2550542"/>
              <a:ext cx="91035" cy="331729"/>
            </a:xfrm>
            <a:custGeom>
              <a:avLst/>
              <a:gdLst>
                <a:gd name="connsiteX0" fmla="*/ 60147 w 60147"/>
                <a:gd name="connsiteY0" fmla="*/ 219174 h 219174"/>
                <a:gd name="connsiteX1" fmla="*/ 0 w 60147"/>
                <a:gd name="connsiteY1" fmla="*/ 161304 h 219174"/>
                <a:gd name="connsiteX2" fmla="*/ 0 w 60147"/>
                <a:gd name="connsiteY2" fmla="*/ 68045 h 219174"/>
                <a:gd name="connsiteX3" fmla="*/ 56210 w 60147"/>
                <a:gd name="connsiteY3" fmla="*/ 87 h 219174"/>
                <a:gd name="connsiteX4" fmla="*/ 60147 w 60147"/>
                <a:gd name="connsiteY4" fmla="*/ 0 h 219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47" h="219174">
                  <a:moveTo>
                    <a:pt x="60147" y="219174"/>
                  </a:moveTo>
                  <a:lnTo>
                    <a:pt x="0" y="161304"/>
                  </a:lnTo>
                  <a:lnTo>
                    <a:pt x="0" y="68045"/>
                  </a:lnTo>
                  <a:lnTo>
                    <a:pt x="56210" y="87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7" name="Forme libre : forme 376">
              <a:extLst>
                <a:ext uri="{FF2B5EF4-FFF2-40B4-BE49-F238E27FC236}">
                  <a16:creationId xmlns:a16="http://schemas.microsoft.com/office/drawing/2014/main" id="{46E8B4E6-46F9-4CF4-A6B7-A87039F21F77}"/>
                </a:ext>
              </a:extLst>
            </p:cNvPr>
            <p:cNvSpPr/>
            <p:nvPr/>
          </p:nvSpPr>
          <p:spPr>
            <a:xfrm rot="8716295">
              <a:off x="5787639" y="192609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8" name="Forme libre : forme 377">
              <a:extLst>
                <a:ext uri="{FF2B5EF4-FFF2-40B4-BE49-F238E27FC236}">
                  <a16:creationId xmlns:a16="http://schemas.microsoft.com/office/drawing/2014/main" id="{CE3A86F3-9EF3-4CAC-BAE7-301BACB20DC2}"/>
                </a:ext>
              </a:extLst>
            </p:cNvPr>
            <p:cNvSpPr/>
            <p:nvPr/>
          </p:nvSpPr>
          <p:spPr>
            <a:xfrm rot="8716295">
              <a:off x="5411131" y="133665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9" name="Forme libre : forme 378">
              <a:extLst>
                <a:ext uri="{FF2B5EF4-FFF2-40B4-BE49-F238E27FC236}">
                  <a16:creationId xmlns:a16="http://schemas.microsoft.com/office/drawing/2014/main" id="{5ADA9701-4026-4003-B92A-BE45A4B58CA1}"/>
                </a:ext>
              </a:extLst>
            </p:cNvPr>
            <p:cNvSpPr/>
            <p:nvPr/>
          </p:nvSpPr>
          <p:spPr>
            <a:xfrm rot="8716295">
              <a:off x="5547629" y="1389153"/>
              <a:ext cx="346795" cy="385612"/>
            </a:xfrm>
            <a:custGeom>
              <a:avLst/>
              <a:gdLst>
                <a:gd name="connsiteX0" fmla="*/ 19979 w 229128"/>
                <a:gd name="connsiteY0" fmla="*/ 254774 h 254774"/>
                <a:gd name="connsiteX1" fmla="*/ 19979 w 229128"/>
                <a:gd name="connsiteY1" fmla="*/ 45624 h 254774"/>
                <a:gd name="connsiteX2" fmla="*/ 0 w 229128"/>
                <a:gd name="connsiteY2" fmla="*/ 45624 h 254774"/>
                <a:gd name="connsiteX3" fmla="*/ 36558 w 229128"/>
                <a:gd name="connsiteY3" fmla="*/ 1425 h 254774"/>
                <a:gd name="connsiteX4" fmla="*/ 73292 w 229128"/>
                <a:gd name="connsiteY4" fmla="*/ 1425 h 254774"/>
                <a:gd name="connsiteX5" fmla="*/ 73292 w 229128"/>
                <a:gd name="connsiteY5" fmla="*/ 75242 h 254774"/>
                <a:gd name="connsiteX6" fmla="*/ 74658 w 229128"/>
                <a:gd name="connsiteY6" fmla="*/ 75242 h 254774"/>
                <a:gd name="connsiteX7" fmla="*/ 122503 w 229128"/>
                <a:gd name="connsiteY7" fmla="*/ 5981 h 254774"/>
                <a:gd name="connsiteX8" fmla="*/ 153944 w 229128"/>
                <a:gd name="connsiteY8" fmla="*/ 57 h 254774"/>
                <a:gd name="connsiteX9" fmla="*/ 229128 w 229128"/>
                <a:gd name="connsiteY9" fmla="*/ 88456 h 254774"/>
                <a:gd name="connsiteX10" fmla="*/ 229128 w 229128"/>
                <a:gd name="connsiteY10" fmla="*/ 94380 h 254774"/>
                <a:gd name="connsiteX11" fmla="*/ 167158 w 229128"/>
                <a:gd name="connsiteY11" fmla="*/ 98025 h 254774"/>
                <a:gd name="connsiteX12" fmla="*/ 167158 w 229128"/>
                <a:gd name="connsiteY12" fmla="*/ 81621 h 254774"/>
                <a:gd name="connsiteX13" fmla="*/ 133439 w 229128"/>
                <a:gd name="connsiteY13" fmla="*/ 40156 h 254774"/>
                <a:gd name="connsiteX14" fmla="*/ 80127 w 229128"/>
                <a:gd name="connsiteY14" fmla="*/ 127643 h 254774"/>
                <a:gd name="connsiteX15" fmla="*/ 80127 w 229128"/>
                <a:gd name="connsiteY15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29128" h="254774">
                  <a:moveTo>
                    <a:pt x="19979" y="254774"/>
                  </a:moveTo>
                  <a:lnTo>
                    <a:pt x="19979" y="45624"/>
                  </a:lnTo>
                  <a:lnTo>
                    <a:pt x="0" y="45624"/>
                  </a:lnTo>
                  <a:lnTo>
                    <a:pt x="36558" y="1425"/>
                  </a:lnTo>
                  <a:lnTo>
                    <a:pt x="73292" y="1425"/>
                  </a:lnTo>
                  <a:lnTo>
                    <a:pt x="73292" y="75242"/>
                  </a:lnTo>
                  <a:lnTo>
                    <a:pt x="74658" y="75242"/>
                  </a:lnTo>
                  <a:cubicBezTo>
                    <a:pt x="89240" y="31954"/>
                    <a:pt x="100631" y="15094"/>
                    <a:pt x="122503" y="5981"/>
                  </a:cubicBezTo>
                  <a:cubicBezTo>
                    <a:pt x="132528" y="1880"/>
                    <a:pt x="143008" y="-398"/>
                    <a:pt x="153944" y="57"/>
                  </a:cubicBezTo>
                  <a:cubicBezTo>
                    <a:pt x="200877" y="-854"/>
                    <a:pt x="229128" y="31954"/>
                    <a:pt x="229128" y="88456"/>
                  </a:cubicBezTo>
                  <a:lnTo>
                    <a:pt x="229128" y="94380"/>
                  </a:lnTo>
                  <a:lnTo>
                    <a:pt x="167158" y="98025"/>
                  </a:lnTo>
                  <a:lnTo>
                    <a:pt x="167158" y="81621"/>
                  </a:lnTo>
                  <a:cubicBezTo>
                    <a:pt x="167158" y="57016"/>
                    <a:pt x="153033" y="40156"/>
                    <a:pt x="133439" y="40156"/>
                  </a:cubicBezTo>
                  <a:cubicBezTo>
                    <a:pt x="104277" y="40156"/>
                    <a:pt x="80127" y="78887"/>
                    <a:pt x="80127" y="127643"/>
                  </a:cubicBezTo>
                  <a:lnTo>
                    <a:pt x="80127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0" name="Forme libre : forme 379">
              <a:extLst>
                <a:ext uri="{FF2B5EF4-FFF2-40B4-BE49-F238E27FC236}">
                  <a16:creationId xmlns:a16="http://schemas.microsoft.com/office/drawing/2014/main" id="{3801A8FD-71D9-43D4-9A13-F62B93652117}"/>
                </a:ext>
              </a:extLst>
            </p:cNvPr>
            <p:cNvSpPr/>
            <p:nvPr/>
          </p:nvSpPr>
          <p:spPr>
            <a:xfrm rot="8716295">
              <a:off x="5478548" y="125032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1" name="Forme libre : forme 380">
              <a:extLst>
                <a:ext uri="{FF2B5EF4-FFF2-40B4-BE49-F238E27FC236}">
                  <a16:creationId xmlns:a16="http://schemas.microsoft.com/office/drawing/2014/main" id="{4CC9B929-E3B4-4677-AB6A-C1B0E025204C}"/>
                </a:ext>
              </a:extLst>
            </p:cNvPr>
            <p:cNvSpPr/>
            <p:nvPr/>
          </p:nvSpPr>
          <p:spPr>
            <a:xfrm rot="8716295">
              <a:off x="5241260" y="147066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2" name="Forme libre : forme 381">
              <a:extLst>
                <a:ext uri="{FF2B5EF4-FFF2-40B4-BE49-F238E27FC236}">
                  <a16:creationId xmlns:a16="http://schemas.microsoft.com/office/drawing/2014/main" id="{43D5D927-BA42-496D-BC4E-8674E3CE6A51}"/>
                </a:ext>
              </a:extLst>
            </p:cNvPr>
            <p:cNvSpPr/>
            <p:nvPr/>
          </p:nvSpPr>
          <p:spPr>
            <a:xfrm rot="8716295">
              <a:off x="5052214" y="11548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3" name="Forme libre : forme 382">
              <a:extLst>
                <a:ext uri="{FF2B5EF4-FFF2-40B4-BE49-F238E27FC236}">
                  <a16:creationId xmlns:a16="http://schemas.microsoft.com/office/drawing/2014/main" id="{A9CA7264-4BDA-4273-8C76-8511057A1B85}"/>
                </a:ext>
              </a:extLst>
            </p:cNvPr>
            <p:cNvSpPr/>
            <p:nvPr/>
          </p:nvSpPr>
          <p:spPr>
            <a:xfrm rot="8716295">
              <a:off x="5033973" y="94478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4" name="Forme libre : forme 383">
              <a:extLst>
                <a:ext uri="{FF2B5EF4-FFF2-40B4-BE49-F238E27FC236}">
                  <a16:creationId xmlns:a16="http://schemas.microsoft.com/office/drawing/2014/main" id="{5E95C0C0-B211-4D78-A1DF-BE4FC385DAC5}"/>
                </a:ext>
              </a:extLst>
            </p:cNvPr>
            <p:cNvSpPr/>
            <p:nvPr/>
          </p:nvSpPr>
          <p:spPr>
            <a:xfrm rot="8716295">
              <a:off x="5377749" y="153264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5" name="Forme libre : forme 384">
              <a:extLst>
                <a:ext uri="{FF2B5EF4-FFF2-40B4-BE49-F238E27FC236}">
                  <a16:creationId xmlns:a16="http://schemas.microsoft.com/office/drawing/2014/main" id="{299B9701-5011-4B98-BC25-888CE3D4A261}"/>
                </a:ext>
              </a:extLst>
            </p:cNvPr>
            <p:cNvSpPr/>
            <p:nvPr/>
          </p:nvSpPr>
          <p:spPr>
            <a:xfrm rot="8716295">
              <a:off x="5847873" y="996679"/>
              <a:ext cx="92417" cy="314872"/>
            </a:xfrm>
            <a:custGeom>
              <a:avLst/>
              <a:gdLst>
                <a:gd name="connsiteX0" fmla="*/ 0 w 61060"/>
                <a:gd name="connsiteY0" fmla="*/ 208036 h 208036"/>
                <a:gd name="connsiteX1" fmla="*/ 1 w 61060"/>
                <a:gd name="connsiteY1" fmla="*/ 61780 h 208036"/>
                <a:gd name="connsiteX2" fmla="*/ 51100 w 61060"/>
                <a:gd name="connsiteY2" fmla="*/ 0 h 208036"/>
                <a:gd name="connsiteX3" fmla="*/ 61059 w 61060"/>
                <a:gd name="connsiteY3" fmla="*/ 25771 h 208036"/>
                <a:gd name="connsiteX4" fmla="*/ 61060 w 61060"/>
                <a:gd name="connsiteY4" fmla="*/ 183886 h 208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60" h="208036">
                  <a:moveTo>
                    <a:pt x="0" y="208036"/>
                  </a:moveTo>
                  <a:lnTo>
                    <a:pt x="1" y="61780"/>
                  </a:lnTo>
                  <a:lnTo>
                    <a:pt x="51100" y="0"/>
                  </a:lnTo>
                  <a:lnTo>
                    <a:pt x="61059" y="25771"/>
                  </a:lnTo>
                  <a:lnTo>
                    <a:pt x="61060" y="18388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6" name="Forme libre : forme 385">
              <a:extLst>
                <a:ext uri="{FF2B5EF4-FFF2-40B4-BE49-F238E27FC236}">
                  <a16:creationId xmlns:a16="http://schemas.microsoft.com/office/drawing/2014/main" id="{D1B55AC6-0E14-4AD6-A463-2BC5AB8BBB90}"/>
                </a:ext>
              </a:extLst>
            </p:cNvPr>
            <p:cNvSpPr/>
            <p:nvPr/>
          </p:nvSpPr>
          <p:spPr>
            <a:xfrm rot="8716295">
              <a:off x="5678824" y="109205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7" name="Forme libre : forme 386">
              <a:extLst>
                <a:ext uri="{FF2B5EF4-FFF2-40B4-BE49-F238E27FC236}">
                  <a16:creationId xmlns:a16="http://schemas.microsoft.com/office/drawing/2014/main" id="{35C0CB49-4515-4D6B-805D-6EE1D83F55CD}"/>
                </a:ext>
              </a:extLst>
            </p:cNvPr>
            <p:cNvSpPr/>
            <p:nvPr/>
          </p:nvSpPr>
          <p:spPr>
            <a:xfrm rot="8716295">
              <a:off x="5489780" y="77621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8" name="Forme libre : forme 387">
              <a:extLst>
                <a:ext uri="{FF2B5EF4-FFF2-40B4-BE49-F238E27FC236}">
                  <a16:creationId xmlns:a16="http://schemas.microsoft.com/office/drawing/2014/main" id="{393CE68B-9315-410C-84F0-0D845DB03A75}"/>
                </a:ext>
              </a:extLst>
            </p:cNvPr>
            <p:cNvSpPr/>
            <p:nvPr/>
          </p:nvSpPr>
          <p:spPr>
            <a:xfrm rot="8716295">
              <a:off x="5816554" y="1173443"/>
              <a:ext cx="91037" cy="331731"/>
            </a:xfrm>
            <a:custGeom>
              <a:avLst/>
              <a:gdLst>
                <a:gd name="connsiteX0" fmla="*/ 60148 w 60148"/>
                <a:gd name="connsiteY0" fmla="*/ 219175 h 219175"/>
                <a:gd name="connsiteX1" fmla="*/ 0 w 60148"/>
                <a:gd name="connsiteY1" fmla="*/ 161305 h 219175"/>
                <a:gd name="connsiteX2" fmla="*/ 0 w 60148"/>
                <a:gd name="connsiteY2" fmla="*/ 50021 h 219175"/>
                <a:gd name="connsiteX3" fmla="*/ 41025 w 60148"/>
                <a:gd name="connsiteY3" fmla="*/ 421 h 219175"/>
                <a:gd name="connsiteX4" fmla="*/ 60147 w 60148"/>
                <a:gd name="connsiteY4" fmla="*/ 0 h 219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48" h="219175">
                  <a:moveTo>
                    <a:pt x="60148" y="219175"/>
                  </a:moveTo>
                  <a:lnTo>
                    <a:pt x="0" y="161305"/>
                  </a:lnTo>
                  <a:lnTo>
                    <a:pt x="0" y="50021"/>
                  </a:lnTo>
                  <a:lnTo>
                    <a:pt x="41025" y="421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9" name="Forme libre : forme 388">
              <a:extLst>
                <a:ext uri="{FF2B5EF4-FFF2-40B4-BE49-F238E27FC236}">
                  <a16:creationId xmlns:a16="http://schemas.microsoft.com/office/drawing/2014/main" id="{B917A23A-4403-425A-9C2A-27DE35CB443E}"/>
                </a:ext>
              </a:extLst>
            </p:cNvPr>
            <p:cNvSpPr/>
            <p:nvPr/>
          </p:nvSpPr>
          <p:spPr>
            <a:xfrm rot="8716295">
              <a:off x="5449866" y="92760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0" name="Forme libre : forme 389">
              <a:extLst>
                <a:ext uri="{FF2B5EF4-FFF2-40B4-BE49-F238E27FC236}">
                  <a16:creationId xmlns:a16="http://schemas.microsoft.com/office/drawing/2014/main" id="{8689535D-A8DA-4F0E-9DBC-CBAFC078B2CB}"/>
                </a:ext>
              </a:extLst>
            </p:cNvPr>
            <p:cNvSpPr/>
            <p:nvPr/>
          </p:nvSpPr>
          <p:spPr>
            <a:xfrm rot="8716295">
              <a:off x="5954717" y="1002572"/>
              <a:ext cx="48491" cy="55034"/>
            </a:xfrm>
            <a:custGeom>
              <a:avLst/>
              <a:gdLst>
                <a:gd name="connsiteX0" fmla="*/ 0 w 32038"/>
                <a:gd name="connsiteY0" fmla="*/ 35166 h 36361"/>
                <a:gd name="connsiteX1" fmla="*/ 29086 w 32038"/>
                <a:gd name="connsiteY1" fmla="*/ 0 h 36361"/>
                <a:gd name="connsiteX2" fmla="*/ 32038 w 32038"/>
                <a:gd name="connsiteY2" fmla="*/ 7028 h 36361"/>
                <a:gd name="connsiteX3" fmla="*/ 23495 w 32038"/>
                <a:gd name="connsiteY3" fmla="*/ 27704 h 36361"/>
                <a:gd name="connsiteX4" fmla="*/ 2990 w 32038"/>
                <a:gd name="connsiteY4" fmla="*/ 36361 h 36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038" h="36361">
                  <a:moveTo>
                    <a:pt x="0" y="35166"/>
                  </a:moveTo>
                  <a:lnTo>
                    <a:pt x="29086" y="0"/>
                  </a:lnTo>
                  <a:lnTo>
                    <a:pt x="32038" y="7028"/>
                  </a:lnTo>
                  <a:cubicBezTo>
                    <a:pt x="32039" y="14489"/>
                    <a:pt x="29191" y="22008"/>
                    <a:pt x="23495" y="27704"/>
                  </a:cubicBezTo>
                  <a:cubicBezTo>
                    <a:pt x="18027" y="33172"/>
                    <a:pt x="10736" y="36361"/>
                    <a:pt x="2990" y="363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1" name="Forme libre : forme 390">
              <a:extLst>
                <a:ext uri="{FF2B5EF4-FFF2-40B4-BE49-F238E27FC236}">
                  <a16:creationId xmlns:a16="http://schemas.microsoft.com/office/drawing/2014/main" id="{4277FFB2-58A8-4A02-AADF-E018D5998562}"/>
                </a:ext>
              </a:extLst>
            </p:cNvPr>
            <p:cNvSpPr/>
            <p:nvPr/>
          </p:nvSpPr>
          <p:spPr>
            <a:xfrm rot="8716295">
              <a:off x="5079758" y="33459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2" name="Forme libre : forme 391">
              <a:extLst>
                <a:ext uri="{FF2B5EF4-FFF2-40B4-BE49-F238E27FC236}">
                  <a16:creationId xmlns:a16="http://schemas.microsoft.com/office/drawing/2014/main" id="{EA35B526-89AB-4A06-AA35-B12BC8F0AB1F}"/>
                </a:ext>
              </a:extLst>
            </p:cNvPr>
            <p:cNvSpPr/>
            <p:nvPr/>
          </p:nvSpPr>
          <p:spPr>
            <a:xfrm rot="8716295">
              <a:off x="5215056" y="37885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3" name="Forme libre : forme 392">
              <a:extLst>
                <a:ext uri="{FF2B5EF4-FFF2-40B4-BE49-F238E27FC236}">
                  <a16:creationId xmlns:a16="http://schemas.microsoft.com/office/drawing/2014/main" id="{0E946C4C-ED44-46D8-8F43-896DC93007DB}"/>
                </a:ext>
              </a:extLst>
            </p:cNvPr>
            <p:cNvSpPr/>
            <p:nvPr/>
          </p:nvSpPr>
          <p:spPr>
            <a:xfrm rot="8716295">
              <a:off x="5147174" y="248268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4" name="Forme libre : forme 393">
              <a:extLst>
                <a:ext uri="{FF2B5EF4-FFF2-40B4-BE49-F238E27FC236}">
                  <a16:creationId xmlns:a16="http://schemas.microsoft.com/office/drawing/2014/main" id="{8B9BAAAD-4871-45E0-9808-B6AF30F7C6CF}"/>
                </a:ext>
              </a:extLst>
            </p:cNvPr>
            <p:cNvSpPr/>
            <p:nvPr/>
          </p:nvSpPr>
          <p:spPr>
            <a:xfrm rot="8716295">
              <a:off x="4909887" y="4686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5" name="Forme libre : forme 394">
              <a:extLst>
                <a:ext uri="{FF2B5EF4-FFF2-40B4-BE49-F238E27FC236}">
                  <a16:creationId xmlns:a16="http://schemas.microsoft.com/office/drawing/2014/main" id="{7D346B9D-669B-40E6-8A36-5A7046F06D7F}"/>
                </a:ext>
              </a:extLst>
            </p:cNvPr>
            <p:cNvSpPr/>
            <p:nvPr/>
          </p:nvSpPr>
          <p:spPr>
            <a:xfrm rot="8716295">
              <a:off x="4720840" y="15277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6" name="Forme libre : forme 395">
              <a:extLst>
                <a:ext uri="{FF2B5EF4-FFF2-40B4-BE49-F238E27FC236}">
                  <a16:creationId xmlns:a16="http://schemas.microsoft.com/office/drawing/2014/main" id="{66103F96-93DC-4231-9A89-20615F9DAE20}"/>
                </a:ext>
              </a:extLst>
            </p:cNvPr>
            <p:cNvSpPr/>
            <p:nvPr/>
          </p:nvSpPr>
          <p:spPr>
            <a:xfrm rot="8716295">
              <a:off x="4702019" y="-47743"/>
              <a:ext cx="439901" cy="516041"/>
            </a:xfrm>
            <a:custGeom>
              <a:avLst/>
              <a:gdLst>
                <a:gd name="connsiteX0" fmla="*/ 155476 w 290643"/>
                <a:gd name="connsiteY0" fmla="*/ 340949 h 340949"/>
                <a:gd name="connsiteX1" fmla="*/ 1169 w 290643"/>
                <a:gd name="connsiteY1" fmla="*/ 233989 h 340949"/>
                <a:gd name="connsiteX2" fmla="*/ 0 w 290643"/>
                <a:gd name="connsiteY2" fmla="*/ 220042 h 340949"/>
                <a:gd name="connsiteX3" fmla="*/ 0 w 290643"/>
                <a:gd name="connsiteY3" fmla="*/ 40596 h 340949"/>
                <a:gd name="connsiteX4" fmla="*/ 78250 w 290643"/>
                <a:gd name="connsiteY4" fmla="*/ 0 h 340949"/>
                <a:gd name="connsiteX5" fmla="*/ 79427 w 290643"/>
                <a:gd name="connsiteY5" fmla="*/ 164149 h 340949"/>
                <a:gd name="connsiteX6" fmla="*/ 93547 w 290643"/>
                <a:gd name="connsiteY6" fmla="*/ 261815 h 340949"/>
                <a:gd name="connsiteX7" fmla="*/ 164149 w 290643"/>
                <a:gd name="connsiteY7" fmla="*/ 300646 h 340949"/>
                <a:gd name="connsiteX8" fmla="*/ 217100 w 290643"/>
                <a:gd name="connsiteY8" fmla="*/ 291232 h 340949"/>
                <a:gd name="connsiteX9" fmla="*/ 289467 w 290643"/>
                <a:gd name="connsiteY9" fmla="*/ 261815 h 340949"/>
                <a:gd name="connsiteX10" fmla="*/ 290643 w 290643"/>
                <a:gd name="connsiteY10" fmla="*/ 269463 h 340949"/>
                <a:gd name="connsiteX11" fmla="*/ 290643 w 290643"/>
                <a:gd name="connsiteY11" fmla="*/ 275347 h 340949"/>
                <a:gd name="connsiteX12" fmla="*/ 189080 w 290643"/>
                <a:gd name="connsiteY12" fmla="*/ 331975 h 340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0643" h="340949">
                  <a:moveTo>
                    <a:pt x="155476" y="340949"/>
                  </a:moveTo>
                  <a:lnTo>
                    <a:pt x="1169" y="233989"/>
                  </a:lnTo>
                  <a:lnTo>
                    <a:pt x="0" y="220042"/>
                  </a:ln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9" y="300646"/>
                  </a:cubicBezTo>
                  <a:cubicBezTo>
                    <a:pt x="182388" y="300057"/>
                    <a:pt x="200038" y="296527"/>
                    <a:pt x="217100" y="291232"/>
                  </a:cubicBezTo>
                  <a:cubicBezTo>
                    <a:pt x="241810" y="283584"/>
                    <a:pt x="265933" y="273582"/>
                    <a:pt x="289467" y="261815"/>
                  </a:cubicBezTo>
                  <a:cubicBezTo>
                    <a:pt x="290055" y="264168"/>
                    <a:pt x="290643" y="267110"/>
                    <a:pt x="290643" y="269463"/>
                  </a:cubicBezTo>
                  <a:lnTo>
                    <a:pt x="290643" y="275347"/>
                  </a:lnTo>
                  <a:cubicBezTo>
                    <a:pt x="259461" y="302117"/>
                    <a:pt x="223425" y="320208"/>
                    <a:pt x="189080" y="3319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7" name="Forme libre : forme 396">
              <a:extLst>
                <a:ext uri="{FF2B5EF4-FFF2-40B4-BE49-F238E27FC236}">
                  <a16:creationId xmlns:a16="http://schemas.microsoft.com/office/drawing/2014/main" id="{E7200A70-679E-46A4-89BB-E2CFE2F1D7AE}"/>
                </a:ext>
              </a:extLst>
            </p:cNvPr>
            <p:cNvSpPr/>
            <p:nvPr/>
          </p:nvSpPr>
          <p:spPr>
            <a:xfrm rot="8716295">
              <a:off x="5046375" y="53059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8" name="Forme libre : forme 397">
              <a:extLst>
                <a:ext uri="{FF2B5EF4-FFF2-40B4-BE49-F238E27FC236}">
                  <a16:creationId xmlns:a16="http://schemas.microsoft.com/office/drawing/2014/main" id="{5D528D3B-7826-4D4D-96B5-43ADE18F1EA6}"/>
                </a:ext>
              </a:extLst>
            </p:cNvPr>
            <p:cNvSpPr/>
            <p:nvPr/>
          </p:nvSpPr>
          <p:spPr>
            <a:xfrm rot="8716295">
              <a:off x="5517321" y="-4401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9" name="Forme libre : forme 398">
              <a:extLst>
                <a:ext uri="{FF2B5EF4-FFF2-40B4-BE49-F238E27FC236}">
                  <a16:creationId xmlns:a16="http://schemas.microsoft.com/office/drawing/2014/main" id="{2614F3E9-F724-4FC2-90FF-F1B58DCC0522}"/>
                </a:ext>
              </a:extLst>
            </p:cNvPr>
            <p:cNvSpPr/>
            <p:nvPr/>
          </p:nvSpPr>
          <p:spPr>
            <a:xfrm rot="8716295">
              <a:off x="5660365" y="29418"/>
              <a:ext cx="361480" cy="358038"/>
            </a:xfrm>
            <a:custGeom>
              <a:avLst/>
              <a:gdLst>
                <a:gd name="connsiteX0" fmla="*/ 56401 w 238830"/>
                <a:gd name="connsiteY0" fmla="*/ 236556 h 236556"/>
                <a:gd name="connsiteX1" fmla="*/ 29681 w 238830"/>
                <a:gd name="connsiteY1" fmla="*/ 218034 h 236556"/>
                <a:gd name="connsiteX2" fmla="*/ 29681 w 238830"/>
                <a:gd name="connsiteY2" fmla="*/ 45624 h 236556"/>
                <a:gd name="connsiteX3" fmla="*/ 0 w 238830"/>
                <a:gd name="connsiteY3" fmla="*/ 45624 h 236556"/>
                <a:gd name="connsiteX4" fmla="*/ 36558 w 238830"/>
                <a:gd name="connsiteY4" fmla="*/ 1425 h 236556"/>
                <a:gd name="connsiteX5" fmla="*/ 82994 w 238830"/>
                <a:gd name="connsiteY5" fmla="*/ 1425 h 236556"/>
                <a:gd name="connsiteX6" fmla="*/ 82994 w 238830"/>
                <a:gd name="connsiteY6" fmla="*/ 75242 h 236556"/>
                <a:gd name="connsiteX7" fmla="*/ 84360 w 238830"/>
                <a:gd name="connsiteY7" fmla="*/ 75242 h 236556"/>
                <a:gd name="connsiteX8" fmla="*/ 132205 w 238830"/>
                <a:gd name="connsiteY8" fmla="*/ 5981 h 236556"/>
                <a:gd name="connsiteX9" fmla="*/ 163646 w 238830"/>
                <a:gd name="connsiteY9" fmla="*/ 57 h 236556"/>
                <a:gd name="connsiteX10" fmla="*/ 238830 w 238830"/>
                <a:gd name="connsiteY10" fmla="*/ 88456 h 236556"/>
                <a:gd name="connsiteX11" fmla="*/ 238830 w 238830"/>
                <a:gd name="connsiteY11" fmla="*/ 94380 h 236556"/>
                <a:gd name="connsiteX12" fmla="*/ 176860 w 238830"/>
                <a:gd name="connsiteY12" fmla="*/ 98025 h 236556"/>
                <a:gd name="connsiteX13" fmla="*/ 176860 w 238830"/>
                <a:gd name="connsiteY13" fmla="*/ 81621 h 236556"/>
                <a:gd name="connsiteX14" fmla="*/ 143141 w 238830"/>
                <a:gd name="connsiteY14" fmla="*/ 40156 h 236556"/>
                <a:gd name="connsiteX15" fmla="*/ 89829 w 238830"/>
                <a:gd name="connsiteY15" fmla="*/ 127643 h 236556"/>
                <a:gd name="connsiteX16" fmla="*/ 89829 w 238830"/>
                <a:gd name="connsiteY16" fmla="*/ 213764 h 236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8830" h="236556">
                  <a:moveTo>
                    <a:pt x="56401" y="236556"/>
                  </a:moveTo>
                  <a:lnTo>
                    <a:pt x="29681" y="218034"/>
                  </a:lnTo>
                  <a:lnTo>
                    <a:pt x="29681" y="45624"/>
                  </a:lnTo>
                  <a:lnTo>
                    <a:pt x="0" y="45624"/>
                  </a:lnTo>
                  <a:lnTo>
                    <a:pt x="36558" y="1425"/>
                  </a:lnTo>
                  <a:lnTo>
                    <a:pt x="82994" y="1425"/>
                  </a:lnTo>
                  <a:lnTo>
                    <a:pt x="82994" y="75242"/>
                  </a:lnTo>
                  <a:lnTo>
                    <a:pt x="84360" y="75242"/>
                  </a:lnTo>
                  <a:cubicBezTo>
                    <a:pt x="98942" y="31954"/>
                    <a:pt x="110333" y="15095"/>
                    <a:pt x="132205" y="5981"/>
                  </a:cubicBezTo>
                  <a:cubicBezTo>
                    <a:pt x="142230" y="1880"/>
                    <a:pt x="152710" y="-398"/>
                    <a:pt x="163646" y="57"/>
                  </a:cubicBezTo>
                  <a:cubicBezTo>
                    <a:pt x="210579" y="-854"/>
                    <a:pt x="238830" y="31954"/>
                    <a:pt x="238830" y="88456"/>
                  </a:cubicBezTo>
                  <a:lnTo>
                    <a:pt x="238830" y="94380"/>
                  </a:lnTo>
                  <a:lnTo>
                    <a:pt x="176860" y="98025"/>
                  </a:lnTo>
                  <a:lnTo>
                    <a:pt x="176860" y="81621"/>
                  </a:lnTo>
                  <a:cubicBezTo>
                    <a:pt x="176860" y="57016"/>
                    <a:pt x="162735" y="40156"/>
                    <a:pt x="143141" y="40156"/>
                  </a:cubicBezTo>
                  <a:cubicBezTo>
                    <a:pt x="113979" y="40156"/>
                    <a:pt x="89829" y="78887"/>
                    <a:pt x="89829" y="127643"/>
                  </a:cubicBezTo>
                  <a:lnTo>
                    <a:pt x="89829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0" name="Forme libre : forme 399">
              <a:extLst>
                <a:ext uri="{FF2B5EF4-FFF2-40B4-BE49-F238E27FC236}">
                  <a16:creationId xmlns:a16="http://schemas.microsoft.com/office/drawing/2014/main" id="{30961414-E4AD-4BB3-9FB3-626F7F1FE23D}"/>
                </a:ext>
              </a:extLst>
            </p:cNvPr>
            <p:cNvSpPr/>
            <p:nvPr/>
          </p:nvSpPr>
          <p:spPr>
            <a:xfrm rot="8716295">
              <a:off x="5347450" y="8999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1" name="Forme libre : forme 400">
              <a:extLst>
                <a:ext uri="{FF2B5EF4-FFF2-40B4-BE49-F238E27FC236}">
                  <a16:creationId xmlns:a16="http://schemas.microsoft.com/office/drawing/2014/main" id="{30769E12-B50E-4874-9A5A-F158D8D6A603}"/>
                </a:ext>
              </a:extLst>
            </p:cNvPr>
            <p:cNvSpPr/>
            <p:nvPr/>
          </p:nvSpPr>
          <p:spPr>
            <a:xfrm rot="8716295">
              <a:off x="5220022" y="-7080"/>
              <a:ext cx="219414" cy="84041"/>
            </a:xfrm>
            <a:custGeom>
              <a:avLst/>
              <a:gdLst>
                <a:gd name="connsiteX0" fmla="*/ 80105 w 144967"/>
                <a:gd name="connsiteY0" fmla="*/ 55526 h 55526"/>
                <a:gd name="connsiteX1" fmla="*/ 0 w 144967"/>
                <a:gd name="connsiteY1" fmla="*/ 0 h 55526"/>
                <a:gd name="connsiteX2" fmla="*/ 144967 w 144967"/>
                <a:gd name="connsiteY2" fmla="*/ 0 h 55526"/>
                <a:gd name="connsiteX3" fmla="*/ 144967 w 144967"/>
                <a:gd name="connsiteY3" fmla="*/ 55323 h 55526"/>
                <a:gd name="connsiteX4" fmla="*/ 80175 w 144967"/>
                <a:gd name="connsiteY4" fmla="*/ 55323 h 55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967" h="55526">
                  <a:moveTo>
                    <a:pt x="80105" y="55526"/>
                  </a:moveTo>
                  <a:lnTo>
                    <a:pt x="0" y="0"/>
                  </a:lnTo>
                  <a:lnTo>
                    <a:pt x="144967" y="0"/>
                  </a:lnTo>
                  <a:lnTo>
                    <a:pt x="144967" y="55323"/>
                  </a:lnTo>
                  <a:lnTo>
                    <a:pt x="8017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2" name="Forme libre : forme 401">
              <a:extLst>
                <a:ext uri="{FF2B5EF4-FFF2-40B4-BE49-F238E27FC236}">
                  <a16:creationId xmlns:a16="http://schemas.microsoft.com/office/drawing/2014/main" id="{DED468EA-B834-46DE-9EEF-86FA34FB4D87}"/>
                </a:ext>
              </a:extLst>
            </p:cNvPr>
            <p:cNvSpPr/>
            <p:nvPr/>
          </p:nvSpPr>
          <p:spPr>
            <a:xfrm rot="8716295">
              <a:off x="5483939" y="15198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3" name="Forme libre : forme 402">
              <a:extLst>
                <a:ext uri="{FF2B5EF4-FFF2-40B4-BE49-F238E27FC236}">
                  <a16:creationId xmlns:a16="http://schemas.microsoft.com/office/drawing/2014/main" id="{3C1561C2-2060-4974-8514-2DC34975F6D4}"/>
                </a:ext>
              </a:extLst>
            </p:cNvPr>
            <p:cNvSpPr/>
            <p:nvPr/>
          </p:nvSpPr>
          <p:spPr>
            <a:xfrm rot="8716295">
              <a:off x="5128323" y="-20358"/>
              <a:ext cx="80664" cy="63766"/>
            </a:xfrm>
            <a:custGeom>
              <a:avLst/>
              <a:gdLst>
                <a:gd name="connsiteX0" fmla="*/ 51759 w 53295"/>
                <a:gd name="connsiteY0" fmla="*/ 42130 h 42130"/>
                <a:gd name="connsiteX1" fmla="*/ 0 w 53295"/>
                <a:gd name="connsiteY1" fmla="*/ 6252 h 42130"/>
                <a:gd name="connsiteX2" fmla="*/ 14807 w 53295"/>
                <a:gd name="connsiteY2" fmla="*/ 0 h 42130"/>
                <a:gd name="connsiteX3" fmla="*/ 41975 w 53295"/>
                <a:gd name="connsiteY3" fmla="*/ 11471 h 42130"/>
                <a:gd name="connsiteX4" fmla="*/ 53295 w 53295"/>
                <a:gd name="connsiteY4" fmla="*/ 38412 h 42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295" h="42130">
                  <a:moveTo>
                    <a:pt x="51759" y="42130"/>
                  </a:moveTo>
                  <a:lnTo>
                    <a:pt x="0" y="6252"/>
                  </a:lnTo>
                  <a:lnTo>
                    <a:pt x="14807" y="0"/>
                  </a:lnTo>
                  <a:cubicBezTo>
                    <a:pt x="25071" y="0"/>
                    <a:pt x="34731" y="4226"/>
                    <a:pt x="41975" y="11471"/>
                  </a:cubicBezTo>
                  <a:cubicBezTo>
                    <a:pt x="49522" y="18716"/>
                    <a:pt x="53295" y="28526"/>
                    <a:pt x="53295" y="3841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4" name="Forme libre : forme 403">
              <a:extLst>
                <a:ext uri="{FF2B5EF4-FFF2-40B4-BE49-F238E27FC236}">
                  <a16:creationId xmlns:a16="http://schemas.microsoft.com/office/drawing/2014/main" id="{BE3C9C9C-FBEC-4353-AF9E-1F8508D75B04}"/>
                </a:ext>
              </a:extLst>
            </p:cNvPr>
            <p:cNvSpPr/>
            <p:nvPr/>
          </p:nvSpPr>
          <p:spPr>
            <a:xfrm rot="7484129">
              <a:off x="5642756" y="4415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5" name="Forme libre : forme 404">
              <a:extLst>
                <a:ext uri="{FF2B5EF4-FFF2-40B4-BE49-F238E27FC236}">
                  <a16:creationId xmlns:a16="http://schemas.microsoft.com/office/drawing/2014/main" id="{8A4BC53C-40CB-4B8B-A2E3-E4599AA1DEB7}"/>
                </a:ext>
              </a:extLst>
            </p:cNvPr>
            <p:cNvSpPr/>
            <p:nvPr/>
          </p:nvSpPr>
          <p:spPr>
            <a:xfrm rot="13089394">
              <a:off x="5789679" y="415199"/>
              <a:ext cx="360116" cy="446294"/>
            </a:xfrm>
            <a:custGeom>
              <a:avLst/>
              <a:gdLst>
                <a:gd name="connsiteX0" fmla="*/ 39306 w 237929"/>
                <a:gd name="connsiteY0" fmla="*/ 79955 h 294867"/>
                <a:gd name="connsiteX1" fmla="*/ 0 w 237929"/>
                <a:gd name="connsiteY1" fmla="*/ 20095 h 294867"/>
                <a:gd name="connsiteX2" fmla="*/ 38733 w 237929"/>
                <a:gd name="connsiteY2" fmla="*/ 0 h 294867"/>
                <a:gd name="connsiteX3" fmla="*/ 237929 w 237929"/>
                <a:gd name="connsiteY3" fmla="*/ 258238 h 294867"/>
                <a:gd name="connsiteX4" fmla="*/ 191415 w 237929"/>
                <a:gd name="connsiteY4" fmla="*/ 290069 h 294867"/>
                <a:gd name="connsiteX5" fmla="*/ 180425 w 237929"/>
                <a:gd name="connsiteY5" fmla="*/ 294867 h 294867"/>
                <a:gd name="connsiteX6" fmla="*/ 166448 w 237929"/>
                <a:gd name="connsiteY6" fmla="*/ 273582 h 294867"/>
                <a:gd name="connsiteX7" fmla="*/ 168955 w 237929"/>
                <a:gd name="connsiteY7" fmla="*/ 273136 h 294867"/>
                <a:gd name="connsiteX8" fmla="*/ 236826 w 237929"/>
                <a:gd name="connsiteY8" fmla="*/ 245547 h 294867"/>
                <a:gd name="connsiteX9" fmla="*/ 237929 w 237929"/>
                <a:gd name="connsiteY9" fmla="*/ 252720 h 294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7929" h="294867">
                  <a:moveTo>
                    <a:pt x="39306" y="79955"/>
                  </a:moveTo>
                  <a:lnTo>
                    <a:pt x="0" y="20095"/>
                  </a:lnTo>
                  <a:lnTo>
                    <a:pt x="38733" y="0"/>
                  </a:lnTo>
                  <a:close/>
                  <a:moveTo>
                    <a:pt x="237929" y="258238"/>
                  </a:moveTo>
                  <a:cubicBezTo>
                    <a:pt x="223307" y="270791"/>
                    <a:pt x="207546" y="281309"/>
                    <a:pt x="191415" y="290069"/>
                  </a:cubicBezTo>
                  <a:lnTo>
                    <a:pt x="180425" y="294867"/>
                  </a:lnTo>
                  <a:lnTo>
                    <a:pt x="166448" y="273582"/>
                  </a:lnTo>
                  <a:lnTo>
                    <a:pt x="168955" y="273136"/>
                  </a:lnTo>
                  <a:cubicBezTo>
                    <a:pt x="192130" y="265963"/>
                    <a:pt x="214754" y="256582"/>
                    <a:pt x="236826" y="245547"/>
                  </a:cubicBezTo>
                  <a:cubicBezTo>
                    <a:pt x="237377" y="247754"/>
                    <a:pt x="237929" y="250513"/>
                    <a:pt x="237929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6" name="Forme libre : forme 405">
              <a:extLst>
                <a:ext uri="{FF2B5EF4-FFF2-40B4-BE49-F238E27FC236}">
                  <a16:creationId xmlns:a16="http://schemas.microsoft.com/office/drawing/2014/main" id="{800D034F-ECF4-4F0F-8FF6-C97DAD2143D3}"/>
                </a:ext>
              </a:extLst>
            </p:cNvPr>
            <p:cNvSpPr/>
            <p:nvPr/>
          </p:nvSpPr>
          <p:spPr>
            <a:xfrm rot="8716295">
              <a:off x="5996886" y="-12676"/>
              <a:ext cx="90399" cy="122140"/>
            </a:xfrm>
            <a:custGeom>
              <a:avLst/>
              <a:gdLst>
                <a:gd name="connsiteX0" fmla="*/ 0 w 59727"/>
                <a:gd name="connsiteY0" fmla="*/ 52945 h 80698"/>
                <a:gd name="connsiteX1" fmla="*/ 43791 w 59727"/>
                <a:gd name="connsiteY1" fmla="*/ 0 h 80698"/>
                <a:gd name="connsiteX2" fmla="*/ 59727 w 59727"/>
                <a:gd name="connsiteY2" fmla="*/ 37928 h 80698"/>
                <a:gd name="connsiteX3" fmla="*/ 42480 w 59727"/>
                <a:gd name="connsiteY3" fmla="*/ 79666 h 80698"/>
                <a:gd name="connsiteX4" fmla="*/ 40038 w 59727"/>
                <a:gd name="connsiteY4" fmla="*/ 80698 h 80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727" h="80698">
                  <a:moveTo>
                    <a:pt x="0" y="52945"/>
                  </a:moveTo>
                  <a:lnTo>
                    <a:pt x="43791" y="0"/>
                  </a:lnTo>
                  <a:lnTo>
                    <a:pt x="59727" y="37928"/>
                  </a:lnTo>
                  <a:cubicBezTo>
                    <a:pt x="59727" y="52991"/>
                    <a:pt x="53978" y="68168"/>
                    <a:pt x="42480" y="79666"/>
                  </a:cubicBezTo>
                  <a:lnTo>
                    <a:pt x="40038" y="806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7" name="Forme libre : forme 406">
              <a:extLst>
                <a:ext uri="{FF2B5EF4-FFF2-40B4-BE49-F238E27FC236}">
                  <a16:creationId xmlns:a16="http://schemas.microsoft.com/office/drawing/2014/main" id="{3B32A0F8-96EA-444F-A5F3-4315A6F0F2B6}"/>
                </a:ext>
              </a:extLst>
            </p:cNvPr>
            <p:cNvSpPr/>
            <p:nvPr/>
          </p:nvSpPr>
          <p:spPr>
            <a:xfrm rot="8716295">
              <a:off x="5631023" y="-8174"/>
              <a:ext cx="87445" cy="82387"/>
            </a:xfrm>
            <a:custGeom>
              <a:avLst/>
              <a:gdLst>
                <a:gd name="connsiteX0" fmla="*/ 37946 w 57775"/>
                <a:gd name="connsiteY0" fmla="*/ 54433 h 54433"/>
                <a:gd name="connsiteX1" fmla="*/ 0 w 57775"/>
                <a:gd name="connsiteY1" fmla="*/ 28130 h 54433"/>
                <a:gd name="connsiteX2" fmla="*/ 8222 w 57775"/>
                <a:gd name="connsiteY2" fmla="*/ 8658 h 54433"/>
                <a:gd name="connsiteX3" fmla="*/ 28726 w 57775"/>
                <a:gd name="connsiteY3" fmla="*/ 0 h 54433"/>
                <a:gd name="connsiteX4" fmla="*/ 49232 w 57775"/>
                <a:gd name="connsiteY4" fmla="*/ 8658 h 54433"/>
                <a:gd name="connsiteX5" fmla="*/ 49232 w 57775"/>
                <a:gd name="connsiteY5" fmla="*/ 49668 h 54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775" h="54433">
                  <a:moveTo>
                    <a:pt x="37946" y="54433"/>
                  </a:moveTo>
                  <a:lnTo>
                    <a:pt x="0" y="28130"/>
                  </a:lnTo>
                  <a:lnTo>
                    <a:pt x="8222" y="8658"/>
                  </a:lnTo>
                  <a:cubicBezTo>
                    <a:pt x="13690" y="3190"/>
                    <a:pt x="20981" y="0"/>
                    <a:pt x="28726" y="0"/>
                  </a:cubicBezTo>
                  <a:cubicBezTo>
                    <a:pt x="36473" y="0"/>
                    <a:pt x="43764" y="3190"/>
                    <a:pt x="49232" y="8658"/>
                  </a:cubicBezTo>
                  <a:cubicBezTo>
                    <a:pt x="60624" y="19594"/>
                    <a:pt x="60623" y="38276"/>
                    <a:pt x="49232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pic>
        <p:nvPicPr>
          <p:cNvPr id="409" name="Graphique 408">
            <a:extLst>
              <a:ext uri="{FF2B5EF4-FFF2-40B4-BE49-F238E27FC236}">
                <a16:creationId xmlns:a16="http://schemas.microsoft.com/office/drawing/2014/main" id="{F10A60C0-CBC0-4A34-A118-4449B251E1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97194" y="513241"/>
            <a:ext cx="2255854" cy="673200"/>
          </a:xfrm>
          <a:prstGeom prst="rect">
            <a:avLst/>
          </a:prstGeom>
        </p:spPr>
      </p:pic>
      <p:sp>
        <p:nvSpPr>
          <p:cNvPr id="411" name="Espace réservé du texte 410">
            <a:extLst>
              <a:ext uri="{FF2B5EF4-FFF2-40B4-BE49-F238E27FC236}">
                <a16:creationId xmlns:a16="http://schemas.microsoft.com/office/drawing/2014/main" id="{E014E6DC-AD19-40E5-A2B7-DF68385EE1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3141" y="1755675"/>
            <a:ext cx="7379432" cy="299187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lang="fr-FR" sz="4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r">
              <a:buNone/>
              <a:defRPr sz="5400" b="1" cap="all" baseline="0">
                <a:solidFill>
                  <a:srgbClr val="009FE3"/>
                </a:solidFill>
              </a:defRPr>
            </a:lvl2pPr>
          </a:lstStyle>
          <a:p>
            <a:pPr lvl="0"/>
            <a:r>
              <a:rPr lang="fr-FR" dirty="0"/>
              <a:t>Titre de la </a:t>
            </a:r>
            <a:br>
              <a:rPr lang="fr-FR" dirty="0"/>
            </a:br>
            <a:r>
              <a:rPr lang="fr-FR" dirty="0"/>
              <a:t>présentation</a:t>
            </a:r>
          </a:p>
          <a:p>
            <a:pPr lvl="1"/>
            <a:r>
              <a:rPr lang="fr-FR" dirty="0"/>
              <a:t>exergue</a:t>
            </a:r>
          </a:p>
        </p:txBody>
      </p:sp>
    </p:spTree>
    <p:extLst>
      <p:ext uri="{BB962C8B-B14F-4D97-AF65-F5344CB8AC3E}">
        <p14:creationId xmlns:p14="http://schemas.microsoft.com/office/powerpoint/2010/main" val="72903029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sur motif + Texte">
    <p:bg>
      <p:bgPr>
        <a:solidFill>
          <a:srgbClr val="009F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10" name="Groupe 1809">
            <a:extLst>
              <a:ext uri="{FF2B5EF4-FFF2-40B4-BE49-F238E27FC236}">
                <a16:creationId xmlns:a16="http://schemas.microsoft.com/office/drawing/2014/main" id="{D5E52DBD-0A92-4197-896E-BCC6716DD6DA}"/>
              </a:ext>
            </a:extLst>
          </p:cNvPr>
          <p:cNvGrpSpPr/>
          <p:nvPr userDrawn="1"/>
        </p:nvGrpSpPr>
        <p:grpSpPr>
          <a:xfrm>
            <a:off x="-91485" y="-107301"/>
            <a:ext cx="6241280" cy="5352842"/>
            <a:chOff x="-91485" y="-107301"/>
            <a:chExt cx="6241280" cy="5352842"/>
          </a:xfrm>
          <a:solidFill>
            <a:schemeClr val="bg2">
              <a:alpha val="5000"/>
            </a:schemeClr>
          </a:solidFill>
        </p:grpSpPr>
        <p:sp>
          <p:nvSpPr>
            <p:cNvPr id="1811" name="Forme libre : forme 1810">
              <a:extLst>
                <a:ext uri="{FF2B5EF4-FFF2-40B4-BE49-F238E27FC236}">
                  <a16:creationId xmlns:a16="http://schemas.microsoft.com/office/drawing/2014/main" id="{356DB458-2C6D-4A95-879D-F8AE824F08BD}"/>
                </a:ext>
              </a:extLst>
            </p:cNvPr>
            <p:cNvSpPr/>
            <p:nvPr/>
          </p:nvSpPr>
          <p:spPr>
            <a:xfrm rot="8716295">
              <a:off x="3051469" y="229467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2" name="Forme libre : forme 1811">
              <a:extLst>
                <a:ext uri="{FF2B5EF4-FFF2-40B4-BE49-F238E27FC236}">
                  <a16:creationId xmlns:a16="http://schemas.microsoft.com/office/drawing/2014/main" id="{D0305DE6-6073-4DA8-862F-147A02C05ABF}"/>
                </a:ext>
              </a:extLst>
            </p:cNvPr>
            <p:cNvSpPr/>
            <p:nvPr/>
          </p:nvSpPr>
          <p:spPr>
            <a:xfrm rot="8716295">
              <a:off x="3140861" y="232391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3" name="Forme libre : forme 1812">
              <a:extLst>
                <a:ext uri="{FF2B5EF4-FFF2-40B4-BE49-F238E27FC236}">
                  <a16:creationId xmlns:a16="http://schemas.microsoft.com/office/drawing/2014/main" id="{D227984A-879C-4B8E-95D0-FFA8AD953D5C}"/>
                </a:ext>
              </a:extLst>
            </p:cNvPr>
            <p:cNvSpPr/>
            <p:nvPr/>
          </p:nvSpPr>
          <p:spPr>
            <a:xfrm rot="8716295">
              <a:off x="3096011" y="2237639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4" name="Forme libre : forme 1813">
              <a:extLst>
                <a:ext uri="{FF2B5EF4-FFF2-40B4-BE49-F238E27FC236}">
                  <a16:creationId xmlns:a16="http://schemas.microsoft.com/office/drawing/2014/main" id="{2C608E55-0CAE-4732-A11A-F0F39D2AEFD9}"/>
                </a:ext>
              </a:extLst>
            </p:cNvPr>
            <p:cNvSpPr/>
            <p:nvPr/>
          </p:nvSpPr>
          <p:spPr>
            <a:xfrm rot="8716295">
              <a:off x="2939235" y="238322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5" name="Forme libre : forme 1814">
              <a:extLst>
                <a:ext uri="{FF2B5EF4-FFF2-40B4-BE49-F238E27FC236}">
                  <a16:creationId xmlns:a16="http://schemas.microsoft.com/office/drawing/2014/main" id="{E8BA7359-7258-4AE0-83CA-5DD072306BDB}"/>
                </a:ext>
              </a:extLst>
            </p:cNvPr>
            <p:cNvSpPr/>
            <p:nvPr/>
          </p:nvSpPr>
          <p:spPr>
            <a:xfrm rot="8716295">
              <a:off x="2814332" y="217454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6" name="Forme libre : forme 1815">
              <a:extLst>
                <a:ext uri="{FF2B5EF4-FFF2-40B4-BE49-F238E27FC236}">
                  <a16:creationId xmlns:a16="http://schemas.microsoft.com/office/drawing/2014/main" id="{C4F787ED-8136-4000-BB29-ED55AC1B93E4}"/>
                </a:ext>
              </a:extLst>
            </p:cNvPr>
            <p:cNvSpPr/>
            <p:nvPr/>
          </p:nvSpPr>
          <p:spPr>
            <a:xfrm rot="8716295">
              <a:off x="2802280" y="203576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7" name="Forme libre : forme 1816">
              <a:extLst>
                <a:ext uri="{FF2B5EF4-FFF2-40B4-BE49-F238E27FC236}">
                  <a16:creationId xmlns:a16="http://schemas.microsoft.com/office/drawing/2014/main" id="{7A005167-A9EB-451A-912F-F0D5BCE01993}"/>
                </a:ext>
              </a:extLst>
            </p:cNvPr>
            <p:cNvSpPr/>
            <p:nvPr/>
          </p:nvSpPr>
          <p:spPr>
            <a:xfrm rot="8716295">
              <a:off x="3029413" y="2424173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8" name="Forme libre : forme 1817">
              <a:extLst>
                <a:ext uri="{FF2B5EF4-FFF2-40B4-BE49-F238E27FC236}">
                  <a16:creationId xmlns:a16="http://schemas.microsoft.com/office/drawing/2014/main" id="{1E844DF7-3B47-43F4-A15C-58025D0149C0}"/>
                </a:ext>
              </a:extLst>
            </p:cNvPr>
            <p:cNvSpPr/>
            <p:nvPr/>
          </p:nvSpPr>
          <p:spPr>
            <a:xfrm rot="8716295">
              <a:off x="3340568" y="204452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9" name="Forme libre : forme 1818">
              <a:extLst>
                <a:ext uri="{FF2B5EF4-FFF2-40B4-BE49-F238E27FC236}">
                  <a16:creationId xmlns:a16="http://schemas.microsoft.com/office/drawing/2014/main" id="{B996BBF0-6994-43D3-9BE9-386DA607C947}"/>
                </a:ext>
              </a:extLst>
            </p:cNvPr>
            <p:cNvSpPr/>
            <p:nvPr/>
          </p:nvSpPr>
          <p:spPr>
            <a:xfrm rot="8716295">
              <a:off x="3429960" y="207376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0" name="Forme libre : forme 1819">
              <a:extLst>
                <a:ext uri="{FF2B5EF4-FFF2-40B4-BE49-F238E27FC236}">
                  <a16:creationId xmlns:a16="http://schemas.microsoft.com/office/drawing/2014/main" id="{65E70179-AEDC-493A-B137-D76EB54F2A95}"/>
                </a:ext>
              </a:extLst>
            </p:cNvPr>
            <p:cNvSpPr/>
            <p:nvPr/>
          </p:nvSpPr>
          <p:spPr>
            <a:xfrm rot="8716295">
              <a:off x="3228334" y="213306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1" name="Forme libre : forme 1820">
              <a:extLst>
                <a:ext uri="{FF2B5EF4-FFF2-40B4-BE49-F238E27FC236}">
                  <a16:creationId xmlns:a16="http://schemas.microsoft.com/office/drawing/2014/main" id="{15E43ACE-5A35-4065-8BA0-05B9E4F3E2DD}"/>
                </a:ext>
              </a:extLst>
            </p:cNvPr>
            <p:cNvSpPr/>
            <p:nvPr/>
          </p:nvSpPr>
          <p:spPr>
            <a:xfrm rot="8716295">
              <a:off x="3103432" y="192439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2" name="Forme libre : forme 1821">
              <a:extLst>
                <a:ext uri="{FF2B5EF4-FFF2-40B4-BE49-F238E27FC236}">
                  <a16:creationId xmlns:a16="http://schemas.microsoft.com/office/drawing/2014/main" id="{2A0C81CE-D249-4CA0-8A47-1AAEA8CB9533}"/>
                </a:ext>
              </a:extLst>
            </p:cNvPr>
            <p:cNvSpPr/>
            <p:nvPr/>
          </p:nvSpPr>
          <p:spPr>
            <a:xfrm rot="8716295">
              <a:off x="3318512" y="2174021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3" name="Forme libre : forme 1822">
              <a:extLst>
                <a:ext uri="{FF2B5EF4-FFF2-40B4-BE49-F238E27FC236}">
                  <a16:creationId xmlns:a16="http://schemas.microsoft.com/office/drawing/2014/main" id="{0EEC3B89-6CB0-495F-A11A-4B49BC16C2B1}"/>
                </a:ext>
              </a:extLst>
            </p:cNvPr>
            <p:cNvSpPr/>
            <p:nvPr/>
          </p:nvSpPr>
          <p:spPr>
            <a:xfrm rot="8716295">
              <a:off x="3077061" y="202442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4" name="Forme libre : forme 1823">
              <a:extLst>
                <a:ext uri="{FF2B5EF4-FFF2-40B4-BE49-F238E27FC236}">
                  <a16:creationId xmlns:a16="http://schemas.microsoft.com/office/drawing/2014/main" id="{65DB1D59-7D7C-4965-B3DC-B73DA9D278B7}"/>
                </a:ext>
              </a:extLst>
            </p:cNvPr>
            <p:cNvSpPr/>
            <p:nvPr/>
          </p:nvSpPr>
          <p:spPr>
            <a:xfrm rot="7484129">
              <a:off x="3423443" y="236537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5" name="Forme libre : forme 1824">
              <a:extLst>
                <a:ext uri="{FF2B5EF4-FFF2-40B4-BE49-F238E27FC236}">
                  <a16:creationId xmlns:a16="http://schemas.microsoft.com/office/drawing/2014/main" id="{AC9D40C9-BBC1-4F0D-B0BB-6E893395B20A}"/>
                </a:ext>
              </a:extLst>
            </p:cNvPr>
            <p:cNvSpPr/>
            <p:nvPr/>
          </p:nvSpPr>
          <p:spPr>
            <a:xfrm rot="13089394">
              <a:off x="3528263" y="233190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6" name="Forme libre : forme 1825">
              <a:extLst>
                <a:ext uri="{FF2B5EF4-FFF2-40B4-BE49-F238E27FC236}">
                  <a16:creationId xmlns:a16="http://schemas.microsoft.com/office/drawing/2014/main" id="{66690AAC-D0B3-493E-A085-78B2DC0C4ADB}"/>
                </a:ext>
              </a:extLst>
            </p:cNvPr>
            <p:cNvSpPr/>
            <p:nvPr/>
          </p:nvSpPr>
          <p:spPr>
            <a:xfrm rot="8716295">
              <a:off x="3713848" y="214022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7" name="Forme libre : forme 1826">
              <a:extLst>
                <a:ext uri="{FF2B5EF4-FFF2-40B4-BE49-F238E27FC236}">
                  <a16:creationId xmlns:a16="http://schemas.microsoft.com/office/drawing/2014/main" id="{E1D008C3-7DA7-4156-9341-879792E727A4}"/>
                </a:ext>
              </a:extLst>
            </p:cNvPr>
            <p:cNvSpPr/>
            <p:nvPr/>
          </p:nvSpPr>
          <p:spPr>
            <a:xfrm rot="8716295">
              <a:off x="3662043" y="203663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8" name="Forme libre : forme 1827">
              <a:extLst>
                <a:ext uri="{FF2B5EF4-FFF2-40B4-BE49-F238E27FC236}">
                  <a16:creationId xmlns:a16="http://schemas.microsoft.com/office/drawing/2014/main" id="{B1942048-207E-4193-8388-B1BA4B510158}"/>
                </a:ext>
              </a:extLst>
            </p:cNvPr>
            <p:cNvSpPr/>
            <p:nvPr/>
          </p:nvSpPr>
          <p:spPr>
            <a:xfrm rot="8716295">
              <a:off x="3418797" y="206685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9" name="Forme libre : forme 1828">
              <a:extLst>
                <a:ext uri="{FF2B5EF4-FFF2-40B4-BE49-F238E27FC236}">
                  <a16:creationId xmlns:a16="http://schemas.microsoft.com/office/drawing/2014/main" id="{BA4761C7-6BBA-45FB-B8B6-2CD746953A11}"/>
                </a:ext>
              </a:extLst>
            </p:cNvPr>
            <p:cNvSpPr/>
            <p:nvPr/>
          </p:nvSpPr>
          <p:spPr>
            <a:xfrm rot="8716295">
              <a:off x="3596249" y="190761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0" name="Forme libre : forme 1829">
              <a:extLst>
                <a:ext uri="{FF2B5EF4-FFF2-40B4-BE49-F238E27FC236}">
                  <a16:creationId xmlns:a16="http://schemas.microsoft.com/office/drawing/2014/main" id="{93D0BE11-A1A3-453C-8F4F-F64994477961}"/>
                </a:ext>
              </a:extLst>
            </p:cNvPr>
            <p:cNvSpPr/>
            <p:nvPr/>
          </p:nvSpPr>
          <p:spPr>
            <a:xfrm rot="8716295">
              <a:off x="3274636" y="295437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1" name="Forme libre : forme 1830">
              <a:extLst>
                <a:ext uri="{FF2B5EF4-FFF2-40B4-BE49-F238E27FC236}">
                  <a16:creationId xmlns:a16="http://schemas.microsoft.com/office/drawing/2014/main" id="{BD00B47F-E8C8-4049-8B8C-1F2C9E0DDCF5}"/>
                </a:ext>
              </a:extLst>
            </p:cNvPr>
            <p:cNvSpPr/>
            <p:nvPr/>
          </p:nvSpPr>
          <p:spPr>
            <a:xfrm rot="8716295">
              <a:off x="3364028" y="298361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2" name="Forme libre : forme 1831">
              <a:extLst>
                <a:ext uri="{FF2B5EF4-FFF2-40B4-BE49-F238E27FC236}">
                  <a16:creationId xmlns:a16="http://schemas.microsoft.com/office/drawing/2014/main" id="{6639A803-0A9B-4CA8-84CA-CB6864EB9F13}"/>
                </a:ext>
              </a:extLst>
            </p:cNvPr>
            <p:cNvSpPr/>
            <p:nvPr/>
          </p:nvSpPr>
          <p:spPr>
            <a:xfrm rot="8716295">
              <a:off x="3319178" y="2897338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3" name="Forme libre : forme 1832">
              <a:extLst>
                <a:ext uri="{FF2B5EF4-FFF2-40B4-BE49-F238E27FC236}">
                  <a16:creationId xmlns:a16="http://schemas.microsoft.com/office/drawing/2014/main" id="{468DF1AB-9662-4891-A3B7-DA79E7EBC16D}"/>
                </a:ext>
              </a:extLst>
            </p:cNvPr>
            <p:cNvSpPr/>
            <p:nvPr/>
          </p:nvSpPr>
          <p:spPr>
            <a:xfrm rot="8716295">
              <a:off x="3162402" y="30429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4" name="Forme libre : forme 1833">
              <a:extLst>
                <a:ext uri="{FF2B5EF4-FFF2-40B4-BE49-F238E27FC236}">
                  <a16:creationId xmlns:a16="http://schemas.microsoft.com/office/drawing/2014/main" id="{CF86FB68-15B4-4493-8EE0-3E896CB0C5D8}"/>
                </a:ext>
              </a:extLst>
            </p:cNvPr>
            <p:cNvSpPr/>
            <p:nvPr/>
          </p:nvSpPr>
          <p:spPr>
            <a:xfrm rot="8716295">
              <a:off x="3037499" y="283424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5" name="Forme libre : forme 1834">
              <a:extLst>
                <a:ext uri="{FF2B5EF4-FFF2-40B4-BE49-F238E27FC236}">
                  <a16:creationId xmlns:a16="http://schemas.microsoft.com/office/drawing/2014/main" id="{7CF69A1A-5F78-4F60-B5D6-FD6A138299EC}"/>
                </a:ext>
              </a:extLst>
            </p:cNvPr>
            <p:cNvSpPr/>
            <p:nvPr/>
          </p:nvSpPr>
          <p:spPr>
            <a:xfrm rot="8716295">
              <a:off x="3025447" y="2695467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6" name="Forme libre : forme 1835">
              <a:extLst>
                <a:ext uri="{FF2B5EF4-FFF2-40B4-BE49-F238E27FC236}">
                  <a16:creationId xmlns:a16="http://schemas.microsoft.com/office/drawing/2014/main" id="{3B31C2F5-6F64-4719-BBC9-BBCB1658D3DD}"/>
                </a:ext>
              </a:extLst>
            </p:cNvPr>
            <p:cNvSpPr/>
            <p:nvPr/>
          </p:nvSpPr>
          <p:spPr>
            <a:xfrm rot="8716295">
              <a:off x="3252580" y="3083872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7" name="Forme libre : forme 1836">
              <a:extLst>
                <a:ext uri="{FF2B5EF4-FFF2-40B4-BE49-F238E27FC236}">
                  <a16:creationId xmlns:a16="http://schemas.microsoft.com/office/drawing/2014/main" id="{1C35BBFA-EBF1-47A8-9F9F-F1DAD54084FC}"/>
                </a:ext>
              </a:extLst>
            </p:cNvPr>
            <p:cNvSpPr/>
            <p:nvPr/>
          </p:nvSpPr>
          <p:spPr>
            <a:xfrm rot="8716295">
              <a:off x="3563735" y="270422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8" name="Forme libre : forme 1837">
              <a:extLst>
                <a:ext uri="{FF2B5EF4-FFF2-40B4-BE49-F238E27FC236}">
                  <a16:creationId xmlns:a16="http://schemas.microsoft.com/office/drawing/2014/main" id="{1667D8E4-CA56-4D24-AAA2-647FC814F7B1}"/>
                </a:ext>
              </a:extLst>
            </p:cNvPr>
            <p:cNvSpPr/>
            <p:nvPr/>
          </p:nvSpPr>
          <p:spPr>
            <a:xfrm rot="8716295">
              <a:off x="3653127" y="273346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9" name="Forme libre : forme 1838">
              <a:extLst>
                <a:ext uri="{FF2B5EF4-FFF2-40B4-BE49-F238E27FC236}">
                  <a16:creationId xmlns:a16="http://schemas.microsoft.com/office/drawing/2014/main" id="{2D247664-9D05-4DE9-828A-8EEEB6D62362}"/>
                </a:ext>
              </a:extLst>
            </p:cNvPr>
            <p:cNvSpPr/>
            <p:nvPr/>
          </p:nvSpPr>
          <p:spPr>
            <a:xfrm rot="8716295">
              <a:off x="3451501" y="279276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0" name="Forme libre : forme 1839">
              <a:extLst>
                <a:ext uri="{FF2B5EF4-FFF2-40B4-BE49-F238E27FC236}">
                  <a16:creationId xmlns:a16="http://schemas.microsoft.com/office/drawing/2014/main" id="{25BA7781-6373-48E8-B517-D547E35D3442}"/>
                </a:ext>
              </a:extLst>
            </p:cNvPr>
            <p:cNvSpPr/>
            <p:nvPr/>
          </p:nvSpPr>
          <p:spPr>
            <a:xfrm rot="8716295">
              <a:off x="3326599" y="258409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1" name="Forme libre : forme 1840">
              <a:extLst>
                <a:ext uri="{FF2B5EF4-FFF2-40B4-BE49-F238E27FC236}">
                  <a16:creationId xmlns:a16="http://schemas.microsoft.com/office/drawing/2014/main" id="{23C0E36B-602D-442F-AF28-AF8930D84F3F}"/>
                </a:ext>
              </a:extLst>
            </p:cNvPr>
            <p:cNvSpPr/>
            <p:nvPr/>
          </p:nvSpPr>
          <p:spPr>
            <a:xfrm rot="8716295">
              <a:off x="3541679" y="2833720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2" name="Forme libre : forme 1841">
              <a:extLst>
                <a:ext uri="{FF2B5EF4-FFF2-40B4-BE49-F238E27FC236}">
                  <a16:creationId xmlns:a16="http://schemas.microsoft.com/office/drawing/2014/main" id="{199731DF-620C-4C6A-9AB8-42BC4BA7117A}"/>
                </a:ext>
              </a:extLst>
            </p:cNvPr>
            <p:cNvSpPr/>
            <p:nvPr/>
          </p:nvSpPr>
          <p:spPr>
            <a:xfrm rot="8716295">
              <a:off x="3300228" y="2684120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3" name="Forme libre : forme 1842">
              <a:extLst>
                <a:ext uri="{FF2B5EF4-FFF2-40B4-BE49-F238E27FC236}">
                  <a16:creationId xmlns:a16="http://schemas.microsoft.com/office/drawing/2014/main" id="{1B76A93B-820C-4C9C-8469-1A8F9E93159B}"/>
                </a:ext>
              </a:extLst>
            </p:cNvPr>
            <p:cNvSpPr/>
            <p:nvPr/>
          </p:nvSpPr>
          <p:spPr>
            <a:xfrm rot="7484129">
              <a:off x="3646610" y="302507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4" name="Forme libre : forme 1843">
              <a:extLst>
                <a:ext uri="{FF2B5EF4-FFF2-40B4-BE49-F238E27FC236}">
                  <a16:creationId xmlns:a16="http://schemas.microsoft.com/office/drawing/2014/main" id="{66DC52E6-1456-43FD-A3BE-2B872731E4E9}"/>
                </a:ext>
              </a:extLst>
            </p:cNvPr>
            <p:cNvSpPr/>
            <p:nvPr/>
          </p:nvSpPr>
          <p:spPr>
            <a:xfrm rot="13089394">
              <a:off x="3751430" y="2991605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5" name="Forme libre : forme 1844">
              <a:extLst>
                <a:ext uri="{FF2B5EF4-FFF2-40B4-BE49-F238E27FC236}">
                  <a16:creationId xmlns:a16="http://schemas.microsoft.com/office/drawing/2014/main" id="{DCDD2A3A-9ABC-40A8-BFA8-585EA2B24085}"/>
                </a:ext>
              </a:extLst>
            </p:cNvPr>
            <p:cNvSpPr/>
            <p:nvPr/>
          </p:nvSpPr>
          <p:spPr>
            <a:xfrm rot="8716295">
              <a:off x="3937015" y="2799924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6" name="Forme libre : forme 1845">
              <a:extLst>
                <a:ext uri="{FF2B5EF4-FFF2-40B4-BE49-F238E27FC236}">
                  <a16:creationId xmlns:a16="http://schemas.microsoft.com/office/drawing/2014/main" id="{E6972E8A-A6BD-4AB3-983F-0AB52C36F84A}"/>
                </a:ext>
              </a:extLst>
            </p:cNvPr>
            <p:cNvSpPr/>
            <p:nvPr/>
          </p:nvSpPr>
          <p:spPr>
            <a:xfrm rot="8716295">
              <a:off x="3885210" y="269633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7" name="Forme libre : forme 1846">
              <a:extLst>
                <a:ext uri="{FF2B5EF4-FFF2-40B4-BE49-F238E27FC236}">
                  <a16:creationId xmlns:a16="http://schemas.microsoft.com/office/drawing/2014/main" id="{0AB9B5DA-5EA1-4202-AD13-C56E27F57ED7}"/>
                </a:ext>
              </a:extLst>
            </p:cNvPr>
            <p:cNvSpPr/>
            <p:nvPr/>
          </p:nvSpPr>
          <p:spPr>
            <a:xfrm rot="8716295">
              <a:off x="3641964" y="272655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8" name="Forme libre : forme 1847">
              <a:extLst>
                <a:ext uri="{FF2B5EF4-FFF2-40B4-BE49-F238E27FC236}">
                  <a16:creationId xmlns:a16="http://schemas.microsoft.com/office/drawing/2014/main" id="{B297F0D1-8FCF-41A6-B10A-B9F1B0A91232}"/>
                </a:ext>
              </a:extLst>
            </p:cNvPr>
            <p:cNvSpPr/>
            <p:nvPr/>
          </p:nvSpPr>
          <p:spPr>
            <a:xfrm rot="8716295">
              <a:off x="3819416" y="25673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9" name="Forme libre : forme 1848">
              <a:extLst>
                <a:ext uri="{FF2B5EF4-FFF2-40B4-BE49-F238E27FC236}">
                  <a16:creationId xmlns:a16="http://schemas.microsoft.com/office/drawing/2014/main" id="{CDECF82E-73B3-468F-A90B-A85D37A91C27}"/>
                </a:ext>
              </a:extLst>
            </p:cNvPr>
            <p:cNvSpPr/>
            <p:nvPr/>
          </p:nvSpPr>
          <p:spPr>
            <a:xfrm rot="8716295">
              <a:off x="3937162" y="4933704"/>
              <a:ext cx="142167" cy="232388"/>
            </a:xfrm>
            <a:custGeom>
              <a:avLst/>
              <a:gdLst>
                <a:gd name="connsiteX0" fmla="*/ 81108 w 142167"/>
                <a:gd name="connsiteY0" fmla="*/ 232388 h 232388"/>
                <a:gd name="connsiteX1" fmla="*/ 81108 w 142167"/>
                <a:gd name="connsiteY1" fmla="*/ 69717 h 232388"/>
                <a:gd name="connsiteX2" fmla="*/ 81108 w 142167"/>
                <a:gd name="connsiteY2" fmla="*/ 65615 h 232388"/>
                <a:gd name="connsiteX3" fmla="*/ 60604 w 142167"/>
                <a:gd name="connsiteY3" fmla="*/ 50123 h 232388"/>
                <a:gd name="connsiteX4" fmla="*/ 0 w 142167"/>
                <a:gd name="connsiteY4" fmla="*/ 50123 h 232388"/>
                <a:gd name="connsiteX5" fmla="*/ 0 w 142167"/>
                <a:gd name="connsiteY5" fmla="*/ 0 h 232388"/>
                <a:gd name="connsiteX6" fmla="*/ 67757 w 142167"/>
                <a:gd name="connsiteY6" fmla="*/ 0 h 232388"/>
                <a:gd name="connsiteX7" fmla="*/ 142167 w 142167"/>
                <a:gd name="connsiteY7" fmla="*/ 51579 h 232388"/>
                <a:gd name="connsiteX8" fmla="*/ 142167 w 142167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32388">
                  <a:moveTo>
                    <a:pt x="81108" y="232388"/>
                  </a:moveTo>
                  <a:lnTo>
                    <a:pt x="81108" y="69717"/>
                  </a:lnTo>
                  <a:cubicBezTo>
                    <a:pt x="81108" y="68350"/>
                    <a:pt x="81108" y="66982"/>
                    <a:pt x="81108" y="65615"/>
                  </a:cubicBezTo>
                  <a:cubicBezTo>
                    <a:pt x="79741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67757" y="0"/>
                  </a:lnTo>
                  <a:lnTo>
                    <a:pt x="142167" y="51579"/>
                  </a:lnTo>
                  <a:lnTo>
                    <a:pt x="142167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0" name="Forme libre : forme 1849">
              <a:extLst>
                <a:ext uri="{FF2B5EF4-FFF2-40B4-BE49-F238E27FC236}">
                  <a16:creationId xmlns:a16="http://schemas.microsoft.com/office/drawing/2014/main" id="{2520359B-6D7C-4A10-8B0B-4B8A9E745FD9}"/>
                </a:ext>
              </a:extLst>
            </p:cNvPr>
            <p:cNvSpPr/>
            <p:nvPr/>
          </p:nvSpPr>
          <p:spPr>
            <a:xfrm rot="8716295">
              <a:off x="4141505" y="4922844"/>
              <a:ext cx="132702" cy="253348"/>
            </a:xfrm>
            <a:custGeom>
              <a:avLst/>
              <a:gdLst>
                <a:gd name="connsiteX0" fmla="*/ 51489 w 132702"/>
                <a:gd name="connsiteY0" fmla="*/ 253348 h 253348"/>
                <a:gd name="connsiteX1" fmla="*/ 51490 w 132702"/>
                <a:gd name="connsiteY1" fmla="*/ 44199 h 253348"/>
                <a:gd name="connsiteX2" fmla="*/ 0 w 132702"/>
                <a:gd name="connsiteY2" fmla="*/ 44199 h 253348"/>
                <a:gd name="connsiteX3" fmla="*/ 0 w 132702"/>
                <a:gd name="connsiteY3" fmla="*/ 0 h 253348"/>
                <a:gd name="connsiteX4" fmla="*/ 48574 w 132702"/>
                <a:gd name="connsiteY4" fmla="*/ 0 h 253348"/>
                <a:gd name="connsiteX5" fmla="*/ 104802 w 132702"/>
                <a:gd name="connsiteY5" fmla="*/ 38976 h 253348"/>
                <a:gd name="connsiteX6" fmla="*/ 104803 w 132702"/>
                <a:gd name="connsiteY6" fmla="*/ 73817 h 253348"/>
                <a:gd name="connsiteX7" fmla="*/ 106169 w 132702"/>
                <a:gd name="connsiteY7" fmla="*/ 73817 h 253348"/>
                <a:gd name="connsiteX8" fmla="*/ 116353 w 132702"/>
                <a:gd name="connsiteY8" fmla="*/ 46982 h 253348"/>
                <a:gd name="connsiteX9" fmla="*/ 132702 w 132702"/>
                <a:gd name="connsiteY9" fmla="*/ 58315 h 253348"/>
                <a:gd name="connsiteX10" fmla="*/ 127358 w 132702"/>
                <a:gd name="connsiteY10" fmla="*/ 64191 h 253348"/>
                <a:gd name="connsiteX11" fmla="*/ 111638 w 132702"/>
                <a:gd name="connsiteY11" fmla="*/ 126218 h 253348"/>
                <a:gd name="connsiteX12" fmla="*/ 111638 w 132702"/>
                <a:gd name="connsiteY12" fmla="*/ 212339 h 253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702" h="253348">
                  <a:moveTo>
                    <a:pt x="51489" y="253348"/>
                  </a:moveTo>
                  <a:lnTo>
                    <a:pt x="51490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48574" y="0"/>
                  </a:lnTo>
                  <a:lnTo>
                    <a:pt x="104802" y="38976"/>
                  </a:lnTo>
                  <a:lnTo>
                    <a:pt x="104803" y="73817"/>
                  </a:lnTo>
                  <a:lnTo>
                    <a:pt x="106169" y="73817"/>
                  </a:lnTo>
                  <a:lnTo>
                    <a:pt x="116353" y="46982"/>
                  </a:lnTo>
                  <a:lnTo>
                    <a:pt x="132702" y="58315"/>
                  </a:lnTo>
                  <a:lnTo>
                    <a:pt x="127358" y="64191"/>
                  </a:lnTo>
                  <a:cubicBezTo>
                    <a:pt x="117675" y="79968"/>
                    <a:pt x="111638" y="101840"/>
                    <a:pt x="111638" y="126218"/>
                  </a:cubicBezTo>
                  <a:lnTo>
                    <a:pt x="111638" y="2123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1" name="Forme libre : forme 1850">
              <a:extLst>
                <a:ext uri="{FF2B5EF4-FFF2-40B4-BE49-F238E27FC236}">
                  <a16:creationId xmlns:a16="http://schemas.microsoft.com/office/drawing/2014/main" id="{DBA92024-335D-4ECC-9724-60843B062DA7}"/>
                </a:ext>
              </a:extLst>
            </p:cNvPr>
            <p:cNvSpPr/>
            <p:nvPr/>
          </p:nvSpPr>
          <p:spPr>
            <a:xfrm rot="8716295">
              <a:off x="3982533" y="487640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2" name="Forme libre : forme 1851">
              <a:extLst>
                <a:ext uri="{FF2B5EF4-FFF2-40B4-BE49-F238E27FC236}">
                  <a16:creationId xmlns:a16="http://schemas.microsoft.com/office/drawing/2014/main" id="{8321C7CB-2F29-4F82-9BEA-4F30324C6FCA}"/>
                </a:ext>
              </a:extLst>
            </p:cNvPr>
            <p:cNvSpPr/>
            <p:nvPr/>
          </p:nvSpPr>
          <p:spPr>
            <a:xfrm rot="8716295">
              <a:off x="3825757" y="502198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3" name="Forme libre : forme 1852">
              <a:extLst>
                <a:ext uri="{FF2B5EF4-FFF2-40B4-BE49-F238E27FC236}">
                  <a16:creationId xmlns:a16="http://schemas.microsoft.com/office/drawing/2014/main" id="{982C4E17-FE31-45D0-8ADA-BC82CBF632F8}"/>
                </a:ext>
              </a:extLst>
            </p:cNvPr>
            <p:cNvSpPr/>
            <p:nvPr/>
          </p:nvSpPr>
          <p:spPr>
            <a:xfrm rot="8716295">
              <a:off x="3700854" y="481331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4" name="Forme libre : forme 1853">
              <a:extLst>
                <a:ext uri="{FF2B5EF4-FFF2-40B4-BE49-F238E27FC236}">
                  <a16:creationId xmlns:a16="http://schemas.microsoft.com/office/drawing/2014/main" id="{B5AC4F8C-F097-4771-B364-40F9E5307B62}"/>
                </a:ext>
              </a:extLst>
            </p:cNvPr>
            <p:cNvSpPr/>
            <p:nvPr/>
          </p:nvSpPr>
          <p:spPr>
            <a:xfrm rot="8716295">
              <a:off x="3688802" y="467453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5" name="Forme libre : forme 1854">
              <a:extLst>
                <a:ext uri="{FF2B5EF4-FFF2-40B4-BE49-F238E27FC236}">
                  <a16:creationId xmlns:a16="http://schemas.microsoft.com/office/drawing/2014/main" id="{837371BC-426A-4492-B28F-56A8F67313D2}"/>
                </a:ext>
              </a:extLst>
            </p:cNvPr>
            <p:cNvSpPr/>
            <p:nvPr/>
          </p:nvSpPr>
          <p:spPr>
            <a:xfrm rot="8716295">
              <a:off x="3876973" y="5088204"/>
              <a:ext cx="60147" cy="79509"/>
            </a:xfrm>
            <a:custGeom>
              <a:avLst/>
              <a:gdLst>
                <a:gd name="connsiteX0" fmla="*/ 60147 w 60147"/>
                <a:gd name="connsiteY0" fmla="*/ 79509 h 79509"/>
                <a:gd name="connsiteX1" fmla="*/ 0 w 60147"/>
                <a:gd name="connsiteY1" fmla="*/ 21639 h 79509"/>
                <a:gd name="connsiteX2" fmla="*/ 0 w 60147"/>
                <a:gd name="connsiteY2" fmla="*/ 0 h 79509"/>
                <a:gd name="connsiteX3" fmla="*/ 60147 w 60147"/>
                <a:gd name="connsiteY3" fmla="*/ 41692 h 79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7" h="79509">
                  <a:moveTo>
                    <a:pt x="60147" y="79509"/>
                  </a:moveTo>
                  <a:lnTo>
                    <a:pt x="0" y="21639"/>
                  </a:lnTo>
                  <a:lnTo>
                    <a:pt x="0" y="0"/>
                  </a:lnTo>
                  <a:lnTo>
                    <a:pt x="60147" y="416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6" name="Forme libre : forme 1855">
              <a:extLst>
                <a:ext uri="{FF2B5EF4-FFF2-40B4-BE49-F238E27FC236}">
                  <a16:creationId xmlns:a16="http://schemas.microsoft.com/office/drawing/2014/main" id="{A36E7789-9970-4096-85C1-38733446BEBF}"/>
                </a:ext>
              </a:extLst>
            </p:cNvPr>
            <p:cNvSpPr/>
            <p:nvPr/>
          </p:nvSpPr>
          <p:spPr>
            <a:xfrm rot="8716295">
              <a:off x="4227090" y="468329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7" name="Forme libre : forme 1856">
              <a:extLst>
                <a:ext uri="{FF2B5EF4-FFF2-40B4-BE49-F238E27FC236}">
                  <a16:creationId xmlns:a16="http://schemas.microsoft.com/office/drawing/2014/main" id="{F11CC023-68EC-4D20-9D98-B45CEA43861F}"/>
                </a:ext>
              </a:extLst>
            </p:cNvPr>
            <p:cNvSpPr/>
            <p:nvPr/>
          </p:nvSpPr>
          <p:spPr>
            <a:xfrm rot="8716295">
              <a:off x="4316482" y="471253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8" name="Forme libre : forme 1857">
              <a:extLst>
                <a:ext uri="{FF2B5EF4-FFF2-40B4-BE49-F238E27FC236}">
                  <a16:creationId xmlns:a16="http://schemas.microsoft.com/office/drawing/2014/main" id="{D80DAB58-50D4-4440-9D89-04E62F60DD75}"/>
                </a:ext>
              </a:extLst>
            </p:cNvPr>
            <p:cNvSpPr/>
            <p:nvPr/>
          </p:nvSpPr>
          <p:spPr>
            <a:xfrm rot="8716295">
              <a:off x="4114856" y="477183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9" name="Forme libre : forme 1858">
              <a:extLst>
                <a:ext uri="{FF2B5EF4-FFF2-40B4-BE49-F238E27FC236}">
                  <a16:creationId xmlns:a16="http://schemas.microsoft.com/office/drawing/2014/main" id="{EFB2F06B-FB46-414B-A768-00A51103B9CB}"/>
                </a:ext>
              </a:extLst>
            </p:cNvPr>
            <p:cNvSpPr/>
            <p:nvPr/>
          </p:nvSpPr>
          <p:spPr>
            <a:xfrm rot="8716295">
              <a:off x="3989954" y="456316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0" name="Forme libre : forme 1859">
              <a:extLst>
                <a:ext uri="{FF2B5EF4-FFF2-40B4-BE49-F238E27FC236}">
                  <a16:creationId xmlns:a16="http://schemas.microsoft.com/office/drawing/2014/main" id="{6FFBD477-C0D0-41B1-BEDB-29E08A67B891}"/>
                </a:ext>
              </a:extLst>
            </p:cNvPr>
            <p:cNvSpPr/>
            <p:nvPr/>
          </p:nvSpPr>
          <p:spPr>
            <a:xfrm rot="8716295">
              <a:off x="4205034" y="481278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1" name="Forme libre : forme 1860">
              <a:extLst>
                <a:ext uri="{FF2B5EF4-FFF2-40B4-BE49-F238E27FC236}">
                  <a16:creationId xmlns:a16="http://schemas.microsoft.com/office/drawing/2014/main" id="{C6CF2AAF-5A81-4477-800F-2852F998EC43}"/>
                </a:ext>
              </a:extLst>
            </p:cNvPr>
            <p:cNvSpPr/>
            <p:nvPr/>
          </p:nvSpPr>
          <p:spPr>
            <a:xfrm rot="8716295">
              <a:off x="3963583" y="466318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2" name="Forme libre : forme 1861">
              <a:extLst>
                <a:ext uri="{FF2B5EF4-FFF2-40B4-BE49-F238E27FC236}">
                  <a16:creationId xmlns:a16="http://schemas.microsoft.com/office/drawing/2014/main" id="{30B95C1E-E1F2-447E-B82B-71DEEFEF0B51}"/>
                </a:ext>
              </a:extLst>
            </p:cNvPr>
            <p:cNvSpPr/>
            <p:nvPr/>
          </p:nvSpPr>
          <p:spPr>
            <a:xfrm rot="7484129">
              <a:off x="4361132" y="4975858"/>
              <a:ext cx="133389" cy="195874"/>
            </a:xfrm>
            <a:custGeom>
              <a:avLst/>
              <a:gdLst>
                <a:gd name="connsiteX0" fmla="*/ 90710 w 133389"/>
                <a:gd name="connsiteY0" fmla="*/ 195874 h 195874"/>
                <a:gd name="connsiteX1" fmla="*/ 47847 w 133389"/>
                <a:gd name="connsiteY1" fmla="*/ 116129 h 195874"/>
                <a:gd name="connsiteX2" fmla="*/ 69777 w 133389"/>
                <a:gd name="connsiteY2" fmla="*/ 55323 h 195874"/>
                <a:gd name="connsiteX3" fmla="*/ 0 w 133389"/>
                <a:gd name="connsiteY3" fmla="*/ 55323 h 195874"/>
                <a:gd name="connsiteX4" fmla="*/ 0 w 133389"/>
                <a:gd name="connsiteY4" fmla="*/ 0 h 195874"/>
                <a:gd name="connsiteX5" fmla="*/ 83610 w 133389"/>
                <a:gd name="connsiteY5" fmla="*/ 0 h 195874"/>
                <a:gd name="connsiteX6" fmla="*/ 133389 w 133389"/>
                <a:gd name="connsiteY6" fmla="*/ 71795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3389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83610" y="0"/>
                  </a:lnTo>
                  <a:lnTo>
                    <a:pt x="133389" y="7179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3" name="Forme libre : forme 1862">
              <a:extLst>
                <a:ext uri="{FF2B5EF4-FFF2-40B4-BE49-F238E27FC236}">
                  <a16:creationId xmlns:a16="http://schemas.microsoft.com/office/drawing/2014/main" id="{AAB34FE5-9F09-4958-9EE5-25175A1C7094}"/>
                </a:ext>
              </a:extLst>
            </p:cNvPr>
            <p:cNvSpPr/>
            <p:nvPr/>
          </p:nvSpPr>
          <p:spPr>
            <a:xfrm rot="13089394">
              <a:off x="4473995" y="4986322"/>
              <a:ext cx="268663" cy="135802"/>
            </a:xfrm>
            <a:custGeom>
              <a:avLst/>
              <a:gdLst>
                <a:gd name="connsiteX0" fmla="*/ 268663 w 268663"/>
                <a:gd name="connsiteY0" fmla="*/ 65010 h 135802"/>
                <a:gd name="connsiteX1" fmla="*/ 87676 w 268663"/>
                <a:gd name="connsiteY1" fmla="*/ 135639 h 135802"/>
                <a:gd name="connsiteX2" fmla="*/ 19806 w 268663"/>
                <a:gd name="connsiteY2" fmla="*/ 108049 h 135802"/>
                <a:gd name="connsiteX3" fmla="*/ 907 w 268663"/>
                <a:gd name="connsiteY3" fmla="*/ 70735 h 135802"/>
                <a:gd name="connsiteX4" fmla="*/ 0 w 268663"/>
                <a:gd name="connsiteY4" fmla="*/ 59909 h 135802"/>
                <a:gd name="connsiteX5" fmla="*/ 76250 w 268663"/>
                <a:gd name="connsiteY5" fmla="*/ 0 h 135802"/>
                <a:gd name="connsiteX6" fmla="*/ 83813 w 268663"/>
                <a:gd name="connsiteY6" fmla="*/ 52319 h 135802"/>
                <a:gd name="connsiteX7" fmla="*/ 150028 w 268663"/>
                <a:gd name="connsiteY7" fmla="*/ 88737 h 135802"/>
                <a:gd name="connsiteX8" fmla="*/ 199689 w 268663"/>
                <a:gd name="connsiteY8" fmla="*/ 79908 h 135802"/>
                <a:gd name="connsiteX9" fmla="*/ 267560 w 268663"/>
                <a:gd name="connsiteY9" fmla="*/ 52319 h 135802"/>
                <a:gd name="connsiteX10" fmla="*/ 268663 w 268663"/>
                <a:gd name="connsiteY10" fmla="*/ 59492 h 135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68663" h="135802">
                  <a:moveTo>
                    <a:pt x="268663" y="65010"/>
                  </a:moveTo>
                  <a:cubicBezTo>
                    <a:pt x="210174" y="115223"/>
                    <a:pt x="133474" y="132880"/>
                    <a:pt x="87676" y="135639"/>
                  </a:cubicBezTo>
                  <a:cubicBezTo>
                    <a:pt x="62294" y="137295"/>
                    <a:pt x="37463" y="126258"/>
                    <a:pt x="19806" y="108049"/>
                  </a:cubicBezTo>
                  <a:cubicBezTo>
                    <a:pt x="10425" y="98945"/>
                    <a:pt x="4494" y="86530"/>
                    <a:pt x="907" y="70735"/>
                  </a:cubicBezTo>
                  <a:lnTo>
                    <a:pt x="0" y="59909"/>
                  </a:lnTo>
                  <a:lnTo>
                    <a:pt x="76250" y="0"/>
                  </a:lnTo>
                  <a:lnTo>
                    <a:pt x="83813" y="52319"/>
                  </a:lnTo>
                  <a:cubicBezTo>
                    <a:pt x="92642" y="76597"/>
                    <a:pt x="115265" y="88737"/>
                    <a:pt x="150028" y="88737"/>
                  </a:cubicBezTo>
                  <a:cubicBezTo>
                    <a:pt x="167134" y="88185"/>
                    <a:pt x="183687" y="84874"/>
                    <a:pt x="199689" y="79908"/>
                  </a:cubicBezTo>
                  <a:cubicBezTo>
                    <a:pt x="222864" y="72735"/>
                    <a:pt x="245488" y="63355"/>
                    <a:pt x="267560" y="52319"/>
                  </a:cubicBezTo>
                  <a:cubicBezTo>
                    <a:pt x="268111" y="54526"/>
                    <a:pt x="268663" y="57285"/>
                    <a:pt x="268663" y="594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4" name="Forme libre : forme 1863">
              <a:extLst>
                <a:ext uri="{FF2B5EF4-FFF2-40B4-BE49-F238E27FC236}">
                  <a16:creationId xmlns:a16="http://schemas.microsoft.com/office/drawing/2014/main" id="{BFA338AE-EF63-4AB6-BC1C-378FF001F19F}"/>
                </a:ext>
              </a:extLst>
            </p:cNvPr>
            <p:cNvSpPr/>
            <p:nvPr/>
          </p:nvSpPr>
          <p:spPr>
            <a:xfrm rot="8716295">
              <a:off x="4600370" y="477899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5" name="Forme libre : forme 1864">
              <a:extLst>
                <a:ext uri="{FF2B5EF4-FFF2-40B4-BE49-F238E27FC236}">
                  <a16:creationId xmlns:a16="http://schemas.microsoft.com/office/drawing/2014/main" id="{56C71A74-F098-45BA-8E7C-541E50C5E524}"/>
                </a:ext>
              </a:extLst>
            </p:cNvPr>
            <p:cNvSpPr/>
            <p:nvPr/>
          </p:nvSpPr>
          <p:spPr>
            <a:xfrm rot="8716295">
              <a:off x="4548565" y="467540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6" name="Forme libre : forme 1865">
              <a:extLst>
                <a:ext uri="{FF2B5EF4-FFF2-40B4-BE49-F238E27FC236}">
                  <a16:creationId xmlns:a16="http://schemas.microsoft.com/office/drawing/2014/main" id="{57E68179-DB06-48AC-AB78-29CE460072C9}"/>
                </a:ext>
              </a:extLst>
            </p:cNvPr>
            <p:cNvSpPr/>
            <p:nvPr/>
          </p:nvSpPr>
          <p:spPr>
            <a:xfrm rot="8716295">
              <a:off x="4305319" y="470562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7" name="Forme libre : forme 1866">
              <a:extLst>
                <a:ext uri="{FF2B5EF4-FFF2-40B4-BE49-F238E27FC236}">
                  <a16:creationId xmlns:a16="http://schemas.microsoft.com/office/drawing/2014/main" id="{9687578B-24F6-40EC-9EEA-8E74CB9DE266}"/>
                </a:ext>
              </a:extLst>
            </p:cNvPr>
            <p:cNvSpPr/>
            <p:nvPr/>
          </p:nvSpPr>
          <p:spPr>
            <a:xfrm rot="8716295">
              <a:off x="4482771" y="454637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8" name="Forme libre : forme 1867">
              <a:extLst>
                <a:ext uri="{FF2B5EF4-FFF2-40B4-BE49-F238E27FC236}">
                  <a16:creationId xmlns:a16="http://schemas.microsoft.com/office/drawing/2014/main" id="{852310CF-EB75-42C2-8448-A4B1380C1DD6}"/>
                </a:ext>
              </a:extLst>
            </p:cNvPr>
            <p:cNvSpPr/>
            <p:nvPr/>
          </p:nvSpPr>
          <p:spPr>
            <a:xfrm rot="8716295">
              <a:off x="3493306" y="361277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9" name="Forme libre : forme 1868">
              <a:extLst>
                <a:ext uri="{FF2B5EF4-FFF2-40B4-BE49-F238E27FC236}">
                  <a16:creationId xmlns:a16="http://schemas.microsoft.com/office/drawing/2014/main" id="{C56D3DFB-4ADD-42C5-ADB3-D372BC8CB5D1}"/>
                </a:ext>
              </a:extLst>
            </p:cNvPr>
            <p:cNvSpPr/>
            <p:nvPr/>
          </p:nvSpPr>
          <p:spPr>
            <a:xfrm rot="8716295">
              <a:off x="3582698" y="364201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0" name="Forme libre : forme 1869">
              <a:extLst>
                <a:ext uri="{FF2B5EF4-FFF2-40B4-BE49-F238E27FC236}">
                  <a16:creationId xmlns:a16="http://schemas.microsoft.com/office/drawing/2014/main" id="{7EB9283E-F038-412D-910E-5F6D2CF93911}"/>
                </a:ext>
              </a:extLst>
            </p:cNvPr>
            <p:cNvSpPr/>
            <p:nvPr/>
          </p:nvSpPr>
          <p:spPr>
            <a:xfrm rot="8716295">
              <a:off x="3537848" y="355573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1" name="Forme libre : forme 1870">
              <a:extLst>
                <a:ext uri="{FF2B5EF4-FFF2-40B4-BE49-F238E27FC236}">
                  <a16:creationId xmlns:a16="http://schemas.microsoft.com/office/drawing/2014/main" id="{C7DB5BA1-1045-46F6-9B11-2D2ECC466F8F}"/>
                </a:ext>
              </a:extLst>
            </p:cNvPr>
            <p:cNvSpPr/>
            <p:nvPr/>
          </p:nvSpPr>
          <p:spPr>
            <a:xfrm rot="8716295">
              <a:off x="3381072" y="370131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2" name="Forme libre : forme 1871">
              <a:extLst>
                <a:ext uri="{FF2B5EF4-FFF2-40B4-BE49-F238E27FC236}">
                  <a16:creationId xmlns:a16="http://schemas.microsoft.com/office/drawing/2014/main" id="{785B42B0-8546-46CF-95AC-2265ECC426DA}"/>
                </a:ext>
              </a:extLst>
            </p:cNvPr>
            <p:cNvSpPr/>
            <p:nvPr/>
          </p:nvSpPr>
          <p:spPr>
            <a:xfrm rot="8716295">
              <a:off x="3256169" y="349264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3" name="Forme libre : forme 1872">
              <a:extLst>
                <a:ext uri="{FF2B5EF4-FFF2-40B4-BE49-F238E27FC236}">
                  <a16:creationId xmlns:a16="http://schemas.microsoft.com/office/drawing/2014/main" id="{DB664A17-E39F-486C-9B3A-684F36E1F01E}"/>
                </a:ext>
              </a:extLst>
            </p:cNvPr>
            <p:cNvSpPr/>
            <p:nvPr/>
          </p:nvSpPr>
          <p:spPr>
            <a:xfrm rot="8716295">
              <a:off x="3244117" y="335386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4" name="Forme libre : forme 1873">
              <a:extLst>
                <a:ext uri="{FF2B5EF4-FFF2-40B4-BE49-F238E27FC236}">
                  <a16:creationId xmlns:a16="http://schemas.microsoft.com/office/drawing/2014/main" id="{38162E40-8BC8-4F1D-B61A-45383ED5BD99}"/>
                </a:ext>
              </a:extLst>
            </p:cNvPr>
            <p:cNvSpPr/>
            <p:nvPr/>
          </p:nvSpPr>
          <p:spPr>
            <a:xfrm rot="8716295">
              <a:off x="3471250" y="374226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5" name="Forme libre : forme 1874">
              <a:extLst>
                <a:ext uri="{FF2B5EF4-FFF2-40B4-BE49-F238E27FC236}">
                  <a16:creationId xmlns:a16="http://schemas.microsoft.com/office/drawing/2014/main" id="{9D95EC53-44A9-4A48-9623-E8433EF20024}"/>
                </a:ext>
              </a:extLst>
            </p:cNvPr>
            <p:cNvSpPr/>
            <p:nvPr/>
          </p:nvSpPr>
          <p:spPr>
            <a:xfrm rot="8716295">
              <a:off x="3782405" y="336262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6" name="Forme libre : forme 1875">
              <a:extLst>
                <a:ext uri="{FF2B5EF4-FFF2-40B4-BE49-F238E27FC236}">
                  <a16:creationId xmlns:a16="http://schemas.microsoft.com/office/drawing/2014/main" id="{DE73101B-A287-46DC-B722-1DF973F5378F}"/>
                </a:ext>
              </a:extLst>
            </p:cNvPr>
            <p:cNvSpPr/>
            <p:nvPr/>
          </p:nvSpPr>
          <p:spPr>
            <a:xfrm rot="8716295">
              <a:off x="3871797" y="339186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7" name="Forme libre : forme 1876">
              <a:extLst>
                <a:ext uri="{FF2B5EF4-FFF2-40B4-BE49-F238E27FC236}">
                  <a16:creationId xmlns:a16="http://schemas.microsoft.com/office/drawing/2014/main" id="{403F95A4-D93C-4733-A72E-00929B0412AE}"/>
                </a:ext>
              </a:extLst>
            </p:cNvPr>
            <p:cNvSpPr/>
            <p:nvPr/>
          </p:nvSpPr>
          <p:spPr>
            <a:xfrm rot="8716295">
              <a:off x="3670171" y="345116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8" name="Forme libre : forme 1877">
              <a:extLst>
                <a:ext uri="{FF2B5EF4-FFF2-40B4-BE49-F238E27FC236}">
                  <a16:creationId xmlns:a16="http://schemas.microsoft.com/office/drawing/2014/main" id="{D559D9C1-3D5D-4DBD-BFA3-AAD9D4AFFCCB}"/>
                </a:ext>
              </a:extLst>
            </p:cNvPr>
            <p:cNvSpPr/>
            <p:nvPr/>
          </p:nvSpPr>
          <p:spPr>
            <a:xfrm rot="8716295">
              <a:off x="3545269" y="324249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9" name="Forme libre : forme 1878">
              <a:extLst>
                <a:ext uri="{FF2B5EF4-FFF2-40B4-BE49-F238E27FC236}">
                  <a16:creationId xmlns:a16="http://schemas.microsoft.com/office/drawing/2014/main" id="{8A56FFF9-A364-438B-BFFB-50F55DD2F66A}"/>
                </a:ext>
              </a:extLst>
            </p:cNvPr>
            <p:cNvSpPr/>
            <p:nvPr/>
          </p:nvSpPr>
          <p:spPr>
            <a:xfrm rot="8716295">
              <a:off x="3760349" y="349211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0" name="Forme libre : forme 1879">
              <a:extLst>
                <a:ext uri="{FF2B5EF4-FFF2-40B4-BE49-F238E27FC236}">
                  <a16:creationId xmlns:a16="http://schemas.microsoft.com/office/drawing/2014/main" id="{CB8A82E4-1430-4165-8829-ED95E59C13E3}"/>
                </a:ext>
              </a:extLst>
            </p:cNvPr>
            <p:cNvSpPr/>
            <p:nvPr/>
          </p:nvSpPr>
          <p:spPr>
            <a:xfrm rot="8716295">
              <a:off x="3518898" y="334251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1" name="Forme libre : forme 1880">
              <a:extLst>
                <a:ext uri="{FF2B5EF4-FFF2-40B4-BE49-F238E27FC236}">
                  <a16:creationId xmlns:a16="http://schemas.microsoft.com/office/drawing/2014/main" id="{0F27C68F-724E-46E3-B6BD-E473DC4E02B5}"/>
                </a:ext>
              </a:extLst>
            </p:cNvPr>
            <p:cNvSpPr/>
            <p:nvPr/>
          </p:nvSpPr>
          <p:spPr>
            <a:xfrm rot="7484129">
              <a:off x="3865280" y="368346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2" name="Forme libre : forme 1881">
              <a:extLst>
                <a:ext uri="{FF2B5EF4-FFF2-40B4-BE49-F238E27FC236}">
                  <a16:creationId xmlns:a16="http://schemas.microsoft.com/office/drawing/2014/main" id="{9D6723C5-6F5F-4F89-B9AB-0482F7E87BA5}"/>
                </a:ext>
              </a:extLst>
            </p:cNvPr>
            <p:cNvSpPr/>
            <p:nvPr/>
          </p:nvSpPr>
          <p:spPr>
            <a:xfrm rot="13089394">
              <a:off x="3970100" y="3650001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3" name="Forme libre : forme 1882">
              <a:extLst>
                <a:ext uri="{FF2B5EF4-FFF2-40B4-BE49-F238E27FC236}">
                  <a16:creationId xmlns:a16="http://schemas.microsoft.com/office/drawing/2014/main" id="{5CA64B36-E17C-4D54-A079-BC8C4193970C}"/>
                </a:ext>
              </a:extLst>
            </p:cNvPr>
            <p:cNvSpPr/>
            <p:nvPr/>
          </p:nvSpPr>
          <p:spPr>
            <a:xfrm rot="8716295">
              <a:off x="4155685" y="345832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4" name="Forme libre : forme 1883">
              <a:extLst>
                <a:ext uri="{FF2B5EF4-FFF2-40B4-BE49-F238E27FC236}">
                  <a16:creationId xmlns:a16="http://schemas.microsoft.com/office/drawing/2014/main" id="{A9377FF8-AE27-4510-A065-1305095C5BE9}"/>
                </a:ext>
              </a:extLst>
            </p:cNvPr>
            <p:cNvSpPr/>
            <p:nvPr/>
          </p:nvSpPr>
          <p:spPr>
            <a:xfrm rot="8716295">
              <a:off x="4103880" y="335472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5" name="Forme libre : forme 1884">
              <a:extLst>
                <a:ext uri="{FF2B5EF4-FFF2-40B4-BE49-F238E27FC236}">
                  <a16:creationId xmlns:a16="http://schemas.microsoft.com/office/drawing/2014/main" id="{5048E4A2-C470-4460-BF36-DE7683DD5ECF}"/>
                </a:ext>
              </a:extLst>
            </p:cNvPr>
            <p:cNvSpPr/>
            <p:nvPr/>
          </p:nvSpPr>
          <p:spPr>
            <a:xfrm rot="8716295">
              <a:off x="3860634" y="338494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6" name="Forme libre : forme 1885">
              <a:extLst>
                <a:ext uri="{FF2B5EF4-FFF2-40B4-BE49-F238E27FC236}">
                  <a16:creationId xmlns:a16="http://schemas.microsoft.com/office/drawing/2014/main" id="{5A4E5709-8FAD-4E4D-B5A6-C738DB0B147E}"/>
                </a:ext>
              </a:extLst>
            </p:cNvPr>
            <p:cNvSpPr/>
            <p:nvPr/>
          </p:nvSpPr>
          <p:spPr>
            <a:xfrm rot="8716295">
              <a:off x="4038086" y="322570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7" name="Forme libre : forme 1886">
              <a:extLst>
                <a:ext uri="{FF2B5EF4-FFF2-40B4-BE49-F238E27FC236}">
                  <a16:creationId xmlns:a16="http://schemas.microsoft.com/office/drawing/2014/main" id="{FFCF139E-7AE6-4DB8-9213-9A2CF3DE475A}"/>
                </a:ext>
              </a:extLst>
            </p:cNvPr>
            <p:cNvSpPr/>
            <p:nvPr/>
          </p:nvSpPr>
          <p:spPr>
            <a:xfrm rot="8716295">
              <a:off x="3716473" y="427247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8" name="Forme libre : forme 1887">
              <a:extLst>
                <a:ext uri="{FF2B5EF4-FFF2-40B4-BE49-F238E27FC236}">
                  <a16:creationId xmlns:a16="http://schemas.microsoft.com/office/drawing/2014/main" id="{230DFA0D-667C-4BA9-A9B4-3B9C5608513B}"/>
                </a:ext>
              </a:extLst>
            </p:cNvPr>
            <p:cNvSpPr/>
            <p:nvPr/>
          </p:nvSpPr>
          <p:spPr>
            <a:xfrm rot="8716295">
              <a:off x="3805865" y="430171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9" name="Forme libre : forme 1888">
              <a:extLst>
                <a:ext uri="{FF2B5EF4-FFF2-40B4-BE49-F238E27FC236}">
                  <a16:creationId xmlns:a16="http://schemas.microsoft.com/office/drawing/2014/main" id="{1955ED9A-4577-4156-B67C-D520CAA9BDEE}"/>
                </a:ext>
              </a:extLst>
            </p:cNvPr>
            <p:cNvSpPr/>
            <p:nvPr/>
          </p:nvSpPr>
          <p:spPr>
            <a:xfrm rot="8716295">
              <a:off x="3761015" y="421543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0" name="Forme libre : forme 1889">
              <a:extLst>
                <a:ext uri="{FF2B5EF4-FFF2-40B4-BE49-F238E27FC236}">
                  <a16:creationId xmlns:a16="http://schemas.microsoft.com/office/drawing/2014/main" id="{0CFE087C-15FC-4B0E-8C68-44FA23BE6627}"/>
                </a:ext>
              </a:extLst>
            </p:cNvPr>
            <p:cNvSpPr/>
            <p:nvPr/>
          </p:nvSpPr>
          <p:spPr>
            <a:xfrm rot="8716295">
              <a:off x="3604239" y="436101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1" name="Forme libre : forme 1890">
              <a:extLst>
                <a:ext uri="{FF2B5EF4-FFF2-40B4-BE49-F238E27FC236}">
                  <a16:creationId xmlns:a16="http://schemas.microsoft.com/office/drawing/2014/main" id="{F80539C5-90A6-4C9B-BB82-F1B574372789}"/>
                </a:ext>
              </a:extLst>
            </p:cNvPr>
            <p:cNvSpPr/>
            <p:nvPr/>
          </p:nvSpPr>
          <p:spPr>
            <a:xfrm rot="8716295">
              <a:off x="3479336" y="415234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2" name="Forme libre : forme 1891">
              <a:extLst>
                <a:ext uri="{FF2B5EF4-FFF2-40B4-BE49-F238E27FC236}">
                  <a16:creationId xmlns:a16="http://schemas.microsoft.com/office/drawing/2014/main" id="{DCD13A54-B7CF-4322-96F8-124875408DCF}"/>
                </a:ext>
              </a:extLst>
            </p:cNvPr>
            <p:cNvSpPr/>
            <p:nvPr/>
          </p:nvSpPr>
          <p:spPr>
            <a:xfrm rot="8716295">
              <a:off x="3467284" y="401356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3" name="Forme libre : forme 1892">
              <a:extLst>
                <a:ext uri="{FF2B5EF4-FFF2-40B4-BE49-F238E27FC236}">
                  <a16:creationId xmlns:a16="http://schemas.microsoft.com/office/drawing/2014/main" id="{CC738393-0663-4C9A-8E67-8C5FF5B2E7F4}"/>
                </a:ext>
              </a:extLst>
            </p:cNvPr>
            <p:cNvSpPr/>
            <p:nvPr/>
          </p:nvSpPr>
          <p:spPr>
            <a:xfrm rot="8716295">
              <a:off x="3694417" y="440196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4" name="Forme libre : forme 1893">
              <a:extLst>
                <a:ext uri="{FF2B5EF4-FFF2-40B4-BE49-F238E27FC236}">
                  <a16:creationId xmlns:a16="http://schemas.microsoft.com/office/drawing/2014/main" id="{B72A2B4A-ADAE-4727-B8C5-5E9FA88D437E}"/>
                </a:ext>
              </a:extLst>
            </p:cNvPr>
            <p:cNvSpPr/>
            <p:nvPr/>
          </p:nvSpPr>
          <p:spPr>
            <a:xfrm rot="8716295">
              <a:off x="4005572" y="402231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5" name="Forme libre : forme 1894">
              <a:extLst>
                <a:ext uri="{FF2B5EF4-FFF2-40B4-BE49-F238E27FC236}">
                  <a16:creationId xmlns:a16="http://schemas.microsoft.com/office/drawing/2014/main" id="{6A3D9198-4FC9-4484-8F80-AE0FF47F424A}"/>
                </a:ext>
              </a:extLst>
            </p:cNvPr>
            <p:cNvSpPr/>
            <p:nvPr/>
          </p:nvSpPr>
          <p:spPr>
            <a:xfrm rot="8716295">
              <a:off x="4094964" y="405156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6" name="Forme libre : forme 1895">
              <a:extLst>
                <a:ext uri="{FF2B5EF4-FFF2-40B4-BE49-F238E27FC236}">
                  <a16:creationId xmlns:a16="http://schemas.microsoft.com/office/drawing/2014/main" id="{771BA887-62A8-49EE-AD77-E1907D3D0281}"/>
                </a:ext>
              </a:extLst>
            </p:cNvPr>
            <p:cNvSpPr/>
            <p:nvPr/>
          </p:nvSpPr>
          <p:spPr>
            <a:xfrm rot="8716295">
              <a:off x="3893338" y="411086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7" name="Forme libre : forme 1896">
              <a:extLst>
                <a:ext uri="{FF2B5EF4-FFF2-40B4-BE49-F238E27FC236}">
                  <a16:creationId xmlns:a16="http://schemas.microsoft.com/office/drawing/2014/main" id="{7673BD76-CF77-4492-9C8C-2DB043745962}"/>
                </a:ext>
              </a:extLst>
            </p:cNvPr>
            <p:cNvSpPr/>
            <p:nvPr/>
          </p:nvSpPr>
          <p:spPr>
            <a:xfrm rot="8716295">
              <a:off x="3768436" y="390219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8" name="Forme libre : forme 1897">
              <a:extLst>
                <a:ext uri="{FF2B5EF4-FFF2-40B4-BE49-F238E27FC236}">
                  <a16:creationId xmlns:a16="http://schemas.microsoft.com/office/drawing/2014/main" id="{406877CF-38F4-42B3-8783-66A178259365}"/>
                </a:ext>
              </a:extLst>
            </p:cNvPr>
            <p:cNvSpPr/>
            <p:nvPr/>
          </p:nvSpPr>
          <p:spPr>
            <a:xfrm rot="8716295">
              <a:off x="3983516" y="415181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9" name="Forme libre : forme 1898">
              <a:extLst>
                <a:ext uri="{FF2B5EF4-FFF2-40B4-BE49-F238E27FC236}">
                  <a16:creationId xmlns:a16="http://schemas.microsoft.com/office/drawing/2014/main" id="{BA7D2770-CC88-4E1F-B285-451E2DAAC768}"/>
                </a:ext>
              </a:extLst>
            </p:cNvPr>
            <p:cNvSpPr/>
            <p:nvPr/>
          </p:nvSpPr>
          <p:spPr>
            <a:xfrm rot="8716295">
              <a:off x="3742065" y="400221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0" name="Forme libre : forme 1899">
              <a:extLst>
                <a:ext uri="{FF2B5EF4-FFF2-40B4-BE49-F238E27FC236}">
                  <a16:creationId xmlns:a16="http://schemas.microsoft.com/office/drawing/2014/main" id="{EAC640B6-AF2B-4FEF-A8F3-C6B4513FB3E0}"/>
                </a:ext>
              </a:extLst>
            </p:cNvPr>
            <p:cNvSpPr/>
            <p:nvPr/>
          </p:nvSpPr>
          <p:spPr>
            <a:xfrm rot="7484129">
              <a:off x="4088447" y="434316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1" name="Forme libre : forme 1900">
              <a:extLst>
                <a:ext uri="{FF2B5EF4-FFF2-40B4-BE49-F238E27FC236}">
                  <a16:creationId xmlns:a16="http://schemas.microsoft.com/office/drawing/2014/main" id="{839B2912-6F31-401A-9D54-A922E1F6052E}"/>
                </a:ext>
              </a:extLst>
            </p:cNvPr>
            <p:cNvSpPr/>
            <p:nvPr/>
          </p:nvSpPr>
          <p:spPr>
            <a:xfrm rot="13089394">
              <a:off x="4193267" y="430970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2" name="Forme libre : forme 1901">
              <a:extLst>
                <a:ext uri="{FF2B5EF4-FFF2-40B4-BE49-F238E27FC236}">
                  <a16:creationId xmlns:a16="http://schemas.microsoft.com/office/drawing/2014/main" id="{B855D3C7-2AEB-4AEB-9B99-0A553DF889E3}"/>
                </a:ext>
              </a:extLst>
            </p:cNvPr>
            <p:cNvSpPr/>
            <p:nvPr/>
          </p:nvSpPr>
          <p:spPr>
            <a:xfrm rot="8716295">
              <a:off x="4378852" y="411801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3" name="Forme libre : forme 1902">
              <a:extLst>
                <a:ext uri="{FF2B5EF4-FFF2-40B4-BE49-F238E27FC236}">
                  <a16:creationId xmlns:a16="http://schemas.microsoft.com/office/drawing/2014/main" id="{F8E6C03D-07F9-4499-A5CB-F23EEDC93586}"/>
                </a:ext>
              </a:extLst>
            </p:cNvPr>
            <p:cNvSpPr/>
            <p:nvPr/>
          </p:nvSpPr>
          <p:spPr>
            <a:xfrm rot="8716295">
              <a:off x="4327047" y="40144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4" name="Forme libre : forme 1903">
              <a:extLst>
                <a:ext uri="{FF2B5EF4-FFF2-40B4-BE49-F238E27FC236}">
                  <a16:creationId xmlns:a16="http://schemas.microsoft.com/office/drawing/2014/main" id="{15861924-FD77-4126-B239-3A1808ABEE41}"/>
                </a:ext>
              </a:extLst>
            </p:cNvPr>
            <p:cNvSpPr/>
            <p:nvPr/>
          </p:nvSpPr>
          <p:spPr>
            <a:xfrm rot="8716295">
              <a:off x="4083801" y="404464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5" name="Forme libre : forme 1904">
              <a:extLst>
                <a:ext uri="{FF2B5EF4-FFF2-40B4-BE49-F238E27FC236}">
                  <a16:creationId xmlns:a16="http://schemas.microsoft.com/office/drawing/2014/main" id="{87418738-E3EE-4DAB-8079-A0004EDDF675}"/>
                </a:ext>
              </a:extLst>
            </p:cNvPr>
            <p:cNvSpPr/>
            <p:nvPr/>
          </p:nvSpPr>
          <p:spPr>
            <a:xfrm rot="8716295">
              <a:off x="4261253" y="388540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6" name="Forme libre : forme 1905">
              <a:extLst>
                <a:ext uri="{FF2B5EF4-FFF2-40B4-BE49-F238E27FC236}">
                  <a16:creationId xmlns:a16="http://schemas.microsoft.com/office/drawing/2014/main" id="{C2E68F41-3C22-4FA3-BA7F-F2489DB7BEFB}"/>
                </a:ext>
              </a:extLst>
            </p:cNvPr>
            <p:cNvSpPr/>
            <p:nvPr/>
          </p:nvSpPr>
          <p:spPr>
            <a:xfrm rot="8716295">
              <a:off x="2829951" y="16337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7" name="Forme libre : forme 1906">
              <a:extLst>
                <a:ext uri="{FF2B5EF4-FFF2-40B4-BE49-F238E27FC236}">
                  <a16:creationId xmlns:a16="http://schemas.microsoft.com/office/drawing/2014/main" id="{5610FD5B-1A47-4408-BF18-F5DDA40BC7AD}"/>
                </a:ext>
              </a:extLst>
            </p:cNvPr>
            <p:cNvSpPr/>
            <p:nvPr/>
          </p:nvSpPr>
          <p:spPr>
            <a:xfrm rot="8716295">
              <a:off x="2919343" y="16629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8" name="Forme libre : forme 1907">
              <a:extLst>
                <a:ext uri="{FF2B5EF4-FFF2-40B4-BE49-F238E27FC236}">
                  <a16:creationId xmlns:a16="http://schemas.microsoft.com/office/drawing/2014/main" id="{36BBEE27-EBB3-477B-A0AE-E315B781DD23}"/>
                </a:ext>
              </a:extLst>
            </p:cNvPr>
            <p:cNvSpPr/>
            <p:nvPr/>
          </p:nvSpPr>
          <p:spPr>
            <a:xfrm rot="8716295">
              <a:off x="2874493" y="157666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9" name="Forme libre : forme 1908">
              <a:extLst>
                <a:ext uri="{FF2B5EF4-FFF2-40B4-BE49-F238E27FC236}">
                  <a16:creationId xmlns:a16="http://schemas.microsoft.com/office/drawing/2014/main" id="{44946E61-8E74-4140-AB3F-1CBA55C2D182}"/>
                </a:ext>
              </a:extLst>
            </p:cNvPr>
            <p:cNvSpPr/>
            <p:nvPr/>
          </p:nvSpPr>
          <p:spPr>
            <a:xfrm rot="8716295">
              <a:off x="2717717" y="172224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0" name="Forme libre : forme 1909">
              <a:extLst>
                <a:ext uri="{FF2B5EF4-FFF2-40B4-BE49-F238E27FC236}">
                  <a16:creationId xmlns:a16="http://schemas.microsoft.com/office/drawing/2014/main" id="{AC19D586-AE43-44FB-A485-219AF7044431}"/>
                </a:ext>
              </a:extLst>
            </p:cNvPr>
            <p:cNvSpPr/>
            <p:nvPr/>
          </p:nvSpPr>
          <p:spPr>
            <a:xfrm rot="8716295">
              <a:off x="2592814" y="151357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1" name="Forme libre : forme 1910">
              <a:extLst>
                <a:ext uri="{FF2B5EF4-FFF2-40B4-BE49-F238E27FC236}">
                  <a16:creationId xmlns:a16="http://schemas.microsoft.com/office/drawing/2014/main" id="{F936F991-07FC-4A51-8BFD-AC196B8791FD}"/>
                </a:ext>
              </a:extLst>
            </p:cNvPr>
            <p:cNvSpPr/>
            <p:nvPr/>
          </p:nvSpPr>
          <p:spPr>
            <a:xfrm rot="8716295">
              <a:off x="2580762" y="137479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2" name="Forme libre : forme 1911">
              <a:extLst>
                <a:ext uri="{FF2B5EF4-FFF2-40B4-BE49-F238E27FC236}">
                  <a16:creationId xmlns:a16="http://schemas.microsoft.com/office/drawing/2014/main" id="{0A5508B7-A76E-46D7-AE04-EED0D91559D3}"/>
                </a:ext>
              </a:extLst>
            </p:cNvPr>
            <p:cNvSpPr/>
            <p:nvPr/>
          </p:nvSpPr>
          <p:spPr>
            <a:xfrm rot="8716295">
              <a:off x="2807895" y="176319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3" name="Forme libre : forme 1912">
              <a:extLst>
                <a:ext uri="{FF2B5EF4-FFF2-40B4-BE49-F238E27FC236}">
                  <a16:creationId xmlns:a16="http://schemas.microsoft.com/office/drawing/2014/main" id="{30C37794-B7C5-448D-B623-8258E94CA5D6}"/>
                </a:ext>
              </a:extLst>
            </p:cNvPr>
            <p:cNvSpPr/>
            <p:nvPr/>
          </p:nvSpPr>
          <p:spPr>
            <a:xfrm rot="8716295">
              <a:off x="3119050" y="138355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4" name="Forme libre : forme 1913">
              <a:extLst>
                <a:ext uri="{FF2B5EF4-FFF2-40B4-BE49-F238E27FC236}">
                  <a16:creationId xmlns:a16="http://schemas.microsoft.com/office/drawing/2014/main" id="{E00FB22D-2457-4063-9459-8433540C0A77}"/>
                </a:ext>
              </a:extLst>
            </p:cNvPr>
            <p:cNvSpPr/>
            <p:nvPr/>
          </p:nvSpPr>
          <p:spPr>
            <a:xfrm rot="8716295">
              <a:off x="3208442" y="141279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5" name="Forme libre : forme 1914">
              <a:extLst>
                <a:ext uri="{FF2B5EF4-FFF2-40B4-BE49-F238E27FC236}">
                  <a16:creationId xmlns:a16="http://schemas.microsoft.com/office/drawing/2014/main" id="{40BF3ADC-1D1C-47B2-A5B1-9307F3A8DB5D}"/>
                </a:ext>
              </a:extLst>
            </p:cNvPr>
            <p:cNvSpPr/>
            <p:nvPr/>
          </p:nvSpPr>
          <p:spPr>
            <a:xfrm rot="8716295">
              <a:off x="3006816" y="147209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6" name="Forme libre : forme 1915">
              <a:extLst>
                <a:ext uri="{FF2B5EF4-FFF2-40B4-BE49-F238E27FC236}">
                  <a16:creationId xmlns:a16="http://schemas.microsoft.com/office/drawing/2014/main" id="{DF4ED72B-FC46-44BB-B438-16FEB0943FB2}"/>
                </a:ext>
              </a:extLst>
            </p:cNvPr>
            <p:cNvSpPr/>
            <p:nvPr/>
          </p:nvSpPr>
          <p:spPr>
            <a:xfrm rot="8716295">
              <a:off x="2881914" y="126342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7" name="Forme libre : forme 1916">
              <a:extLst>
                <a:ext uri="{FF2B5EF4-FFF2-40B4-BE49-F238E27FC236}">
                  <a16:creationId xmlns:a16="http://schemas.microsoft.com/office/drawing/2014/main" id="{B676BBE0-B162-4287-9303-C170CDD71537}"/>
                </a:ext>
              </a:extLst>
            </p:cNvPr>
            <p:cNvSpPr/>
            <p:nvPr/>
          </p:nvSpPr>
          <p:spPr>
            <a:xfrm rot="8716295">
              <a:off x="3096994" y="151304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8" name="Forme libre : forme 1917">
              <a:extLst>
                <a:ext uri="{FF2B5EF4-FFF2-40B4-BE49-F238E27FC236}">
                  <a16:creationId xmlns:a16="http://schemas.microsoft.com/office/drawing/2014/main" id="{E7EB3253-D700-49B8-AEB9-BB6E68032A95}"/>
                </a:ext>
              </a:extLst>
            </p:cNvPr>
            <p:cNvSpPr/>
            <p:nvPr/>
          </p:nvSpPr>
          <p:spPr>
            <a:xfrm rot="8716295">
              <a:off x="2855543" y="136344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9" name="Forme libre : forme 1918">
              <a:extLst>
                <a:ext uri="{FF2B5EF4-FFF2-40B4-BE49-F238E27FC236}">
                  <a16:creationId xmlns:a16="http://schemas.microsoft.com/office/drawing/2014/main" id="{56230BF6-AC9B-4902-AEE1-4B728E72D178}"/>
                </a:ext>
              </a:extLst>
            </p:cNvPr>
            <p:cNvSpPr/>
            <p:nvPr/>
          </p:nvSpPr>
          <p:spPr>
            <a:xfrm rot="7484129">
              <a:off x="3201925" y="170439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0" name="Forme libre : forme 1919">
              <a:extLst>
                <a:ext uri="{FF2B5EF4-FFF2-40B4-BE49-F238E27FC236}">
                  <a16:creationId xmlns:a16="http://schemas.microsoft.com/office/drawing/2014/main" id="{4B208DB0-A987-423B-A14C-FCBA1EF67B74}"/>
                </a:ext>
              </a:extLst>
            </p:cNvPr>
            <p:cNvSpPr/>
            <p:nvPr/>
          </p:nvSpPr>
          <p:spPr>
            <a:xfrm rot="13089394">
              <a:off x="3306745" y="167093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1" name="Forme libre : forme 1920">
              <a:extLst>
                <a:ext uri="{FF2B5EF4-FFF2-40B4-BE49-F238E27FC236}">
                  <a16:creationId xmlns:a16="http://schemas.microsoft.com/office/drawing/2014/main" id="{EF8A434D-15D0-4B82-9592-BF92E7D73B50}"/>
                </a:ext>
              </a:extLst>
            </p:cNvPr>
            <p:cNvSpPr/>
            <p:nvPr/>
          </p:nvSpPr>
          <p:spPr>
            <a:xfrm rot="8716295">
              <a:off x="3492330" y="147925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2" name="Forme libre : forme 1921">
              <a:extLst>
                <a:ext uri="{FF2B5EF4-FFF2-40B4-BE49-F238E27FC236}">
                  <a16:creationId xmlns:a16="http://schemas.microsoft.com/office/drawing/2014/main" id="{496643F6-EF29-4934-B60A-8D83073F0AE6}"/>
                </a:ext>
              </a:extLst>
            </p:cNvPr>
            <p:cNvSpPr/>
            <p:nvPr/>
          </p:nvSpPr>
          <p:spPr>
            <a:xfrm rot="8716295">
              <a:off x="3440525" y="137565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3" name="Forme libre : forme 1922">
              <a:extLst>
                <a:ext uri="{FF2B5EF4-FFF2-40B4-BE49-F238E27FC236}">
                  <a16:creationId xmlns:a16="http://schemas.microsoft.com/office/drawing/2014/main" id="{74F44434-50F9-4D75-99AD-08CE7DC14350}"/>
                </a:ext>
              </a:extLst>
            </p:cNvPr>
            <p:cNvSpPr/>
            <p:nvPr/>
          </p:nvSpPr>
          <p:spPr>
            <a:xfrm rot="8716295">
              <a:off x="3197279" y="140587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4" name="Forme libre : forme 1923">
              <a:extLst>
                <a:ext uri="{FF2B5EF4-FFF2-40B4-BE49-F238E27FC236}">
                  <a16:creationId xmlns:a16="http://schemas.microsoft.com/office/drawing/2014/main" id="{605F5CA4-BD4B-45C5-9BA8-28F63A326D37}"/>
                </a:ext>
              </a:extLst>
            </p:cNvPr>
            <p:cNvSpPr/>
            <p:nvPr/>
          </p:nvSpPr>
          <p:spPr>
            <a:xfrm rot="8716295">
              <a:off x="3374731" y="124663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5" name="Forme libre : forme 1924">
              <a:extLst>
                <a:ext uri="{FF2B5EF4-FFF2-40B4-BE49-F238E27FC236}">
                  <a16:creationId xmlns:a16="http://schemas.microsoft.com/office/drawing/2014/main" id="{D508E9B3-20C5-4879-9125-85F01ACBE5CA}"/>
                </a:ext>
              </a:extLst>
            </p:cNvPr>
            <p:cNvSpPr/>
            <p:nvPr/>
          </p:nvSpPr>
          <p:spPr>
            <a:xfrm rot="8716295">
              <a:off x="2606784" y="97400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6" name="Forme libre : forme 1925">
              <a:extLst>
                <a:ext uri="{FF2B5EF4-FFF2-40B4-BE49-F238E27FC236}">
                  <a16:creationId xmlns:a16="http://schemas.microsoft.com/office/drawing/2014/main" id="{01908F6A-77D5-41C0-A094-8B88D20850B5}"/>
                </a:ext>
              </a:extLst>
            </p:cNvPr>
            <p:cNvSpPr/>
            <p:nvPr/>
          </p:nvSpPr>
          <p:spPr>
            <a:xfrm rot="8716295">
              <a:off x="2696176" y="100324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7" name="Forme libre : forme 1926">
              <a:extLst>
                <a:ext uri="{FF2B5EF4-FFF2-40B4-BE49-F238E27FC236}">
                  <a16:creationId xmlns:a16="http://schemas.microsoft.com/office/drawing/2014/main" id="{529064A2-8EBE-4BBB-A56D-AF594A3CAC45}"/>
                </a:ext>
              </a:extLst>
            </p:cNvPr>
            <p:cNvSpPr/>
            <p:nvPr/>
          </p:nvSpPr>
          <p:spPr>
            <a:xfrm rot="8716295">
              <a:off x="2651326" y="91696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8" name="Forme libre : forme 1927">
              <a:extLst>
                <a:ext uri="{FF2B5EF4-FFF2-40B4-BE49-F238E27FC236}">
                  <a16:creationId xmlns:a16="http://schemas.microsoft.com/office/drawing/2014/main" id="{F7D12C08-407F-4632-A96C-CB1D241C9AF9}"/>
                </a:ext>
              </a:extLst>
            </p:cNvPr>
            <p:cNvSpPr/>
            <p:nvPr/>
          </p:nvSpPr>
          <p:spPr>
            <a:xfrm rot="8716295">
              <a:off x="2494550" y="106254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9" name="Forme libre : forme 1928">
              <a:extLst>
                <a:ext uri="{FF2B5EF4-FFF2-40B4-BE49-F238E27FC236}">
                  <a16:creationId xmlns:a16="http://schemas.microsoft.com/office/drawing/2014/main" id="{F9E3718B-9D4E-40C9-996E-B44032CD1443}"/>
                </a:ext>
              </a:extLst>
            </p:cNvPr>
            <p:cNvSpPr/>
            <p:nvPr/>
          </p:nvSpPr>
          <p:spPr>
            <a:xfrm rot="8716295">
              <a:off x="2369647" y="85387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0" name="Forme libre : forme 1929">
              <a:extLst>
                <a:ext uri="{FF2B5EF4-FFF2-40B4-BE49-F238E27FC236}">
                  <a16:creationId xmlns:a16="http://schemas.microsoft.com/office/drawing/2014/main" id="{062FDFA4-05F1-4BC4-841F-FD9779B36394}"/>
                </a:ext>
              </a:extLst>
            </p:cNvPr>
            <p:cNvSpPr/>
            <p:nvPr/>
          </p:nvSpPr>
          <p:spPr>
            <a:xfrm rot="8716295">
              <a:off x="2357595" y="71509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1" name="Forme libre : forme 1930">
              <a:extLst>
                <a:ext uri="{FF2B5EF4-FFF2-40B4-BE49-F238E27FC236}">
                  <a16:creationId xmlns:a16="http://schemas.microsoft.com/office/drawing/2014/main" id="{D98BE722-2724-4873-90DA-3EE10C00B3F9}"/>
                </a:ext>
              </a:extLst>
            </p:cNvPr>
            <p:cNvSpPr/>
            <p:nvPr/>
          </p:nvSpPr>
          <p:spPr>
            <a:xfrm rot="8716295">
              <a:off x="2584728" y="110350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2" name="Forme libre : forme 1931">
              <a:extLst>
                <a:ext uri="{FF2B5EF4-FFF2-40B4-BE49-F238E27FC236}">
                  <a16:creationId xmlns:a16="http://schemas.microsoft.com/office/drawing/2014/main" id="{73A5D009-4136-4E73-AA3F-5CD072165E84}"/>
                </a:ext>
              </a:extLst>
            </p:cNvPr>
            <p:cNvSpPr/>
            <p:nvPr/>
          </p:nvSpPr>
          <p:spPr>
            <a:xfrm rot="8716295">
              <a:off x="2895883" y="72385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3" name="Forme libre : forme 1932">
              <a:extLst>
                <a:ext uri="{FF2B5EF4-FFF2-40B4-BE49-F238E27FC236}">
                  <a16:creationId xmlns:a16="http://schemas.microsoft.com/office/drawing/2014/main" id="{BB1CB211-5C77-4CA8-93CB-FB2E5FEC73EA}"/>
                </a:ext>
              </a:extLst>
            </p:cNvPr>
            <p:cNvSpPr/>
            <p:nvPr/>
          </p:nvSpPr>
          <p:spPr>
            <a:xfrm rot="8716295">
              <a:off x="2985275" y="75309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4" name="Forme libre : forme 1933">
              <a:extLst>
                <a:ext uri="{FF2B5EF4-FFF2-40B4-BE49-F238E27FC236}">
                  <a16:creationId xmlns:a16="http://schemas.microsoft.com/office/drawing/2014/main" id="{39202ABD-E53C-410F-9F80-3647BABB1BE8}"/>
                </a:ext>
              </a:extLst>
            </p:cNvPr>
            <p:cNvSpPr/>
            <p:nvPr/>
          </p:nvSpPr>
          <p:spPr>
            <a:xfrm rot="8716295">
              <a:off x="2783649" y="81239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5" name="Forme libre : forme 1934">
              <a:extLst>
                <a:ext uri="{FF2B5EF4-FFF2-40B4-BE49-F238E27FC236}">
                  <a16:creationId xmlns:a16="http://schemas.microsoft.com/office/drawing/2014/main" id="{DEF0F507-9FA5-4F8E-81F0-A3FF660AD478}"/>
                </a:ext>
              </a:extLst>
            </p:cNvPr>
            <p:cNvSpPr/>
            <p:nvPr/>
          </p:nvSpPr>
          <p:spPr>
            <a:xfrm rot="8716295">
              <a:off x="2658747" y="60372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6" name="Forme libre : forme 1935">
              <a:extLst>
                <a:ext uri="{FF2B5EF4-FFF2-40B4-BE49-F238E27FC236}">
                  <a16:creationId xmlns:a16="http://schemas.microsoft.com/office/drawing/2014/main" id="{3339A037-0390-4725-BCA0-FCB6267328E9}"/>
                </a:ext>
              </a:extLst>
            </p:cNvPr>
            <p:cNvSpPr/>
            <p:nvPr/>
          </p:nvSpPr>
          <p:spPr>
            <a:xfrm rot="8716295">
              <a:off x="2873827" y="85334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7" name="Forme libre : forme 1936">
              <a:extLst>
                <a:ext uri="{FF2B5EF4-FFF2-40B4-BE49-F238E27FC236}">
                  <a16:creationId xmlns:a16="http://schemas.microsoft.com/office/drawing/2014/main" id="{3D48FF6C-A7BD-4D40-8659-3742A120114C}"/>
                </a:ext>
              </a:extLst>
            </p:cNvPr>
            <p:cNvSpPr/>
            <p:nvPr/>
          </p:nvSpPr>
          <p:spPr>
            <a:xfrm rot="8716295">
              <a:off x="2632376" y="70374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8" name="Forme libre : forme 1937">
              <a:extLst>
                <a:ext uri="{FF2B5EF4-FFF2-40B4-BE49-F238E27FC236}">
                  <a16:creationId xmlns:a16="http://schemas.microsoft.com/office/drawing/2014/main" id="{640E20D5-9C65-40F7-88F5-B81FDBFD2525}"/>
                </a:ext>
              </a:extLst>
            </p:cNvPr>
            <p:cNvSpPr/>
            <p:nvPr/>
          </p:nvSpPr>
          <p:spPr>
            <a:xfrm rot="7484129">
              <a:off x="2978758" y="10446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9" name="Forme libre : forme 1938">
              <a:extLst>
                <a:ext uri="{FF2B5EF4-FFF2-40B4-BE49-F238E27FC236}">
                  <a16:creationId xmlns:a16="http://schemas.microsoft.com/office/drawing/2014/main" id="{A664525B-8E8A-4BEC-B691-10AA51B87D5A}"/>
                </a:ext>
              </a:extLst>
            </p:cNvPr>
            <p:cNvSpPr/>
            <p:nvPr/>
          </p:nvSpPr>
          <p:spPr>
            <a:xfrm rot="13089394">
              <a:off x="3083578" y="101123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0" name="Forme libre : forme 1939">
              <a:extLst>
                <a:ext uri="{FF2B5EF4-FFF2-40B4-BE49-F238E27FC236}">
                  <a16:creationId xmlns:a16="http://schemas.microsoft.com/office/drawing/2014/main" id="{5287290B-5120-4CE9-A2E9-80563E2C3748}"/>
                </a:ext>
              </a:extLst>
            </p:cNvPr>
            <p:cNvSpPr/>
            <p:nvPr/>
          </p:nvSpPr>
          <p:spPr>
            <a:xfrm rot="8716295">
              <a:off x="3269163" y="81955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1" name="Forme libre : forme 1940">
              <a:extLst>
                <a:ext uri="{FF2B5EF4-FFF2-40B4-BE49-F238E27FC236}">
                  <a16:creationId xmlns:a16="http://schemas.microsoft.com/office/drawing/2014/main" id="{3C0B667A-18F0-4E79-9549-1CF9F021884A}"/>
                </a:ext>
              </a:extLst>
            </p:cNvPr>
            <p:cNvSpPr/>
            <p:nvPr/>
          </p:nvSpPr>
          <p:spPr>
            <a:xfrm rot="8716295">
              <a:off x="3217358" y="71595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2" name="Forme libre : forme 1941">
              <a:extLst>
                <a:ext uri="{FF2B5EF4-FFF2-40B4-BE49-F238E27FC236}">
                  <a16:creationId xmlns:a16="http://schemas.microsoft.com/office/drawing/2014/main" id="{B0DED242-BC4E-4AF1-BAE0-7624C0344F25}"/>
                </a:ext>
              </a:extLst>
            </p:cNvPr>
            <p:cNvSpPr/>
            <p:nvPr/>
          </p:nvSpPr>
          <p:spPr>
            <a:xfrm rot="8716295">
              <a:off x="2974112" y="74618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3" name="Forme libre : forme 1942">
              <a:extLst>
                <a:ext uri="{FF2B5EF4-FFF2-40B4-BE49-F238E27FC236}">
                  <a16:creationId xmlns:a16="http://schemas.microsoft.com/office/drawing/2014/main" id="{9B427F4D-0061-471B-99D7-9ACBD334EA67}"/>
                </a:ext>
              </a:extLst>
            </p:cNvPr>
            <p:cNvSpPr/>
            <p:nvPr/>
          </p:nvSpPr>
          <p:spPr>
            <a:xfrm rot="8716295">
              <a:off x="3151564" y="58693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4" name="Forme libre : forme 1943">
              <a:extLst>
                <a:ext uri="{FF2B5EF4-FFF2-40B4-BE49-F238E27FC236}">
                  <a16:creationId xmlns:a16="http://schemas.microsoft.com/office/drawing/2014/main" id="{9646A09C-91CC-4D8D-8FCA-9CC186FCDAC2}"/>
                </a:ext>
              </a:extLst>
            </p:cNvPr>
            <p:cNvSpPr/>
            <p:nvPr/>
          </p:nvSpPr>
          <p:spPr>
            <a:xfrm rot="8716295">
              <a:off x="2387845" y="31194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5" name="Forme libre : forme 1944">
              <a:extLst>
                <a:ext uri="{FF2B5EF4-FFF2-40B4-BE49-F238E27FC236}">
                  <a16:creationId xmlns:a16="http://schemas.microsoft.com/office/drawing/2014/main" id="{7EFC061B-413D-4C95-B443-9F3F27FBE816}"/>
                </a:ext>
              </a:extLst>
            </p:cNvPr>
            <p:cNvSpPr/>
            <p:nvPr/>
          </p:nvSpPr>
          <p:spPr>
            <a:xfrm rot="8716295">
              <a:off x="2477237" y="34118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6" name="Forme libre : forme 1945">
              <a:extLst>
                <a:ext uri="{FF2B5EF4-FFF2-40B4-BE49-F238E27FC236}">
                  <a16:creationId xmlns:a16="http://schemas.microsoft.com/office/drawing/2014/main" id="{050B80C6-7110-45B3-B5D3-3D4418DC6D2D}"/>
                </a:ext>
              </a:extLst>
            </p:cNvPr>
            <p:cNvSpPr/>
            <p:nvPr/>
          </p:nvSpPr>
          <p:spPr>
            <a:xfrm rot="8716295">
              <a:off x="2432387" y="254908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7" name="Forme libre : forme 1946">
              <a:extLst>
                <a:ext uri="{FF2B5EF4-FFF2-40B4-BE49-F238E27FC236}">
                  <a16:creationId xmlns:a16="http://schemas.microsoft.com/office/drawing/2014/main" id="{16C54A5F-832E-4682-9A28-7BEEB48EF225}"/>
                </a:ext>
              </a:extLst>
            </p:cNvPr>
            <p:cNvSpPr/>
            <p:nvPr/>
          </p:nvSpPr>
          <p:spPr>
            <a:xfrm rot="8716295">
              <a:off x="2275611" y="40049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8" name="Forme libre : forme 1947">
              <a:extLst>
                <a:ext uri="{FF2B5EF4-FFF2-40B4-BE49-F238E27FC236}">
                  <a16:creationId xmlns:a16="http://schemas.microsoft.com/office/drawing/2014/main" id="{9182BB74-8CDE-456E-9B19-EB6A2BC862BF}"/>
                </a:ext>
              </a:extLst>
            </p:cNvPr>
            <p:cNvSpPr/>
            <p:nvPr/>
          </p:nvSpPr>
          <p:spPr>
            <a:xfrm rot="8716295">
              <a:off x="2150708" y="19181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9" name="Forme libre : forme 1948">
              <a:extLst>
                <a:ext uri="{FF2B5EF4-FFF2-40B4-BE49-F238E27FC236}">
                  <a16:creationId xmlns:a16="http://schemas.microsoft.com/office/drawing/2014/main" id="{8B7E3CE6-4BE3-4C9E-A239-D8D1203FC60A}"/>
                </a:ext>
              </a:extLst>
            </p:cNvPr>
            <p:cNvSpPr/>
            <p:nvPr/>
          </p:nvSpPr>
          <p:spPr>
            <a:xfrm rot="8716295">
              <a:off x="2138656" y="53037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0" name="Forme libre : forme 1949">
              <a:extLst>
                <a:ext uri="{FF2B5EF4-FFF2-40B4-BE49-F238E27FC236}">
                  <a16:creationId xmlns:a16="http://schemas.microsoft.com/office/drawing/2014/main" id="{3F6771EB-9647-44FF-992B-BFDD8921D128}"/>
                </a:ext>
              </a:extLst>
            </p:cNvPr>
            <p:cNvSpPr/>
            <p:nvPr/>
          </p:nvSpPr>
          <p:spPr>
            <a:xfrm rot="8716295">
              <a:off x="2365789" y="441442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1" name="Forme libre : forme 1950">
              <a:extLst>
                <a:ext uri="{FF2B5EF4-FFF2-40B4-BE49-F238E27FC236}">
                  <a16:creationId xmlns:a16="http://schemas.microsoft.com/office/drawing/2014/main" id="{EE97D450-BD29-4CDD-BFC8-817BD4470CBA}"/>
                </a:ext>
              </a:extLst>
            </p:cNvPr>
            <p:cNvSpPr/>
            <p:nvPr/>
          </p:nvSpPr>
          <p:spPr>
            <a:xfrm rot="8716295">
              <a:off x="2676944" y="6179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2" name="Forme libre : forme 1951">
              <a:extLst>
                <a:ext uri="{FF2B5EF4-FFF2-40B4-BE49-F238E27FC236}">
                  <a16:creationId xmlns:a16="http://schemas.microsoft.com/office/drawing/2014/main" id="{8EFD00D1-610B-479F-906F-15BAF79DD95F}"/>
                </a:ext>
              </a:extLst>
            </p:cNvPr>
            <p:cNvSpPr/>
            <p:nvPr/>
          </p:nvSpPr>
          <p:spPr>
            <a:xfrm rot="8716295">
              <a:off x="2766336" y="9103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3" name="Forme libre : forme 1952">
              <a:extLst>
                <a:ext uri="{FF2B5EF4-FFF2-40B4-BE49-F238E27FC236}">
                  <a16:creationId xmlns:a16="http://schemas.microsoft.com/office/drawing/2014/main" id="{61A26481-3D0A-4F35-81C4-E66E5F2DC440}"/>
                </a:ext>
              </a:extLst>
            </p:cNvPr>
            <p:cNvSpPr/>
            <p:nvPr/>
          </p:nvSpPr>
          <p:spPr>
            <a:xfrm rot="8716295">
              <a:off x="2564710" y="15033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4" name="Forme libre : forme 1953">
              <a:extLst>
                <a:ext uri="{FF2B5EF4-FFF2-40B4-BE49-F238E27FC236}">
                  <a16:creationId xmlns:a16="http://schemas.microsoft.com/office/drawing/2014/main" id="{83459BF4-9B6D-4560-BF8C-1B7247F9F85E}"/>
                </a:ext>
              </a:extLst>
            </p:cNvPr>
            <p:cNvSpPr/>
            <p:nvPr/>
          </p:nvSpPr>
          <p:spPr>
            <a:xfrm rot="8716295">
              <a:off x="2448552" y="-16031"/>
              <a:ext cx="203847" cy="149340"/>
            </a:xfrm>
            <a:custGeom>
              <a:avLst/>
              <a:gdLst>
                <a:gd name="connsiteX0" fmla="*/ 106716 w 203847"/>
                <a:gd name="connsiteY0" fmla="*/ 149340 h 149340"/>
                <a:gd name="connsiteX1" fmla="*/ 50038 w 203847"/>
                <a:gd name="connsiteY1" fmla="*/ 110053 h 149340"/>
                <a:gd name="connsiteX2" fmla="*/ 69777 w 203847"/>
                <a:gd name="connsiteY2" fmla="*/ 55323 h 149340"/>
                <a:gd name="connsiteX3" fmla="*/ 0 w 203847"/>
                <a:gd name="connsiteY3" fmla="*/ 55323 h 149340"/>
                <a:gd name="connsiteX4" fmla="*/ 0 w 203847"/>
                <a:gd name="connsiteY4" fmla="*/ 0 h 149340"/>
                <a:gd name="connsiteX5" fmla="*/ 203847 w 203847"/>
                <a:gd name="connsiteY5" fmla="*/ 0 h 149340"/>
                <a:gd name="connsiteX6" fmla="*/ 203847 w 203847"/>
                <a:gd name="connsiteY6" fmla="*/ 55323 h 149340"/>
                <a:gd name="connsiteX7" fmla="*/ 139055 w 203847"/>
                <a:gd name="connsiteY7" fmla="*/ 55323 h 14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49340">
                  <a:moveTo>
                    <a:pt x="106716" y="149340"/>
                  </a:moveTo>
                  <a:lnTo>
                    <a:pt x="50038" y="110053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5" name="Forme libre : forme 1954">
              <a:extLst>
                <a:ext uri="{FF2B5EF4-FFF2-40B4-BE49-F238E27FC236}">
                  <a16:creationId xmlns:a16="http://schemas.microsoft.com/office/drawing/2014/main" id="{08C5FD8C-89B2-49FC-84D0-17F41609A333}"/>
                </a:ext>
              </a:extLst>
            </p:cNvPr>
            <p:cNvSpPr/>
            <p:nvPr/>
          </p:nvSpPr>
          <p:spPr>
            <a:xfrm rot="8716295">
              <a:off x="2654888" y="191290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6" name="Forme libre : forme 1955">
              <a:extLst>
                <a:ext uri="{FF2B5EF4-FFF2-40B4-BE49-F238E27FC236}">
                  <a16:creationId xmlns:a16="http://schemas.microsoft.com/office/drawing/2014/main" id="{6BFD8684-31CE-4791-ABB1-43076B0A7845}"/>
                </a:ext>
              </a:extLst>
            </p:cNvPr>
            <p:cNvSpPr/>
            <p:nvPr/>
          </p:nvSpPr>
          <p:spPr>
            <a:xfrm rot="8716295">
              <a:off x="2413437" y="41690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7" name="Forme libre : forme 1956">
              <a:extLst>
                <a:ext uri="{FF2B5EF4-FFF2-40B4-BE49-F238E27FC236}">
                  <a16:creationId xmlns:a16="http://schemas.microsoft.com/office/drawing/2014/main" id="{C161F571-B0D5-4B28-BE2F-078F2E50988C}"/>
                </a:ext>
              </a:extLst>
            </p:cNvPr>
            <p:cNvSpPr/>
            <p:nvPr/>
          </p:nvSpPr>
          <p:spPr>
            <a:xfrm rot="7484129">
              <a:off x="2759819" y="38264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8" name="Forme libre : forme 1957">
              <a:extLst>
                <a:ext uri="{FF2B5EF4-FFF2-40B4-BE49-F238E27FC236}">
                  <a16:creationId xmlns:a16="http://schemas.microsoft.com/office/drawing/2014/main" id="{B184E69F-BDC0-4CD6-B4AA-C0EA481AE5EE}"/>
                </a:ext>
              </a:extLst>
            </p:cNvPr>
            <p:cNvSpPr/>
            <p:nvPr/>
          </p:nvSpPr>
          <p:spPr>
            <a:xfrm rot="13089394">
              <a:off x="2864639" y="349175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9" name="Forme libre : forme 1958">
              <a:extLst>
                <a:ext uri="{FF2B5EF4-FFF2-40B4-BE49-F238E27FC236}">
                  <a16:creationId xmlns:a16="http://schemas.microsoft.com/office/drawing/2014/main" id="{9B2080A5-8C36-42CE-9405-38C37EFEE848}"/>
                </a:ext>
              </a:extLst>
            </p:cNvPr>
            <p:cNvSpPr/>
            <p:nvPr/>
          </p:nvSpPr>
          <p:spPr>
            <a:xfrm rot="8716295">
              <a:off x="3050224" y="157494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0" name="Forme libre : forme 1959">
              <a:extLst>
                <a:ext uri="{FF2B5EF4-FFF2-40B4-BE49-F238E27FC236}">
                  <a16:creationId xmlns:a16="http://schemas.microsoft.com/office/drawing/2014/main" id="{C29B37FA-C9D3-4881-A9EF-CB70017820D1}"/>
                </a:ext>
              </a:extLst>
            </p:cNvPr>
            <p:cNvSpPr/>
            <p:nvPr/>
          </p:nvSpPr>
          <p:spPr>
            <a:xfrm rot="8716295">
              <a:off x="2998419" y="5390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1" name="Forme libre : forme 1960">
              <a:extLst>
                <a:ext uri="{FF2B5EF4-FFF2-40B4-BE49-F238E27FC236}">
                  <a16:creationId xmlns:a16="http://schemas.microsoft.com/office/drawing/2014/main" id="{CD43208D-F797-4F3A-8F0E-C454996D1C94}"/>
                </a:ext>
              </a:extLst>
            </p:cNvPr>
            <p:cNvSpPr/>
            <p:nvPr/>
          </p:nvSpPr>
          <p:spPr>
            <a:xfrm rot="8716295">
              <a:off x="2755173" y="8412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2" name="Forme libre : forme 1961">
              <a:extLst>
                <a:ext uri="{FF2B5EF4-FFF2-40B4-BE49-F238E27FC236}">
                  <a16:creationId xmlns:a16="http://schemas.microsoft.com/office/drawing/2014/main" id="{54F15BE2-E27F-44E5-B93A-67906E77A622}"/>
                </a:ext>
              </a:extLst>
            </p:cNvPr>
            <p:cNvSpPr/>
            <p:nvPr/>
          </p:nvSpPr>
          <p:spPr>
            <a:xfrm rot="8716295">
              <a:off x="2940014" y="-28690"/>
              <a:ext cx="88664" cy="70660"/>
            </a:xfrm>
            <a:custGeom>
              <a:avLst/>
              <a:gdLst>
                <a:gd name="connsiteX0" fmla="*/ 83649 w 88664"/>
                <a:gd name="connsiteY0" fmla="*/ 70660 h 70660"/>
                <a:gd name="connsiteX1" fmla="*/ 0 w 88664"/>
                <a:gd name="connsiteY1" fmla="*/ 12677 h 70660"/>
                <a:gd name="connsiteX2" fmla="*/ 30024 w 88664"/>
                <a:gd name="connsiteY2" fmla="*/ 0 h 70660"/>
                <a:gd name="connsiteX3" fmla="*/ 71417 w 88664"/>
                <a:gd name="connsiteY3" fmla="*/ 17477 h 70660"/>
                <a:gd name="connsiteX4" fmla="*/ 88664 w 88664"/>
                <a:gd name="connsiteY4" fmla="*/ 58525 h 70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664" h="70660">
                  <a:moveTo>
                    <a:pt x="83649" y="70660"/>
                  </a:moveTo>
                  <a:lnTo>
                    <a:pt x="0" y="12677"/>
                  </a:lnTo>
                  <a:lnTo>
                    <a:pt x="30024" y="0"/>
                  </a:lnTo>
                  <a:cubicBezTo>
                    <a:pt x="45662" y="0"/>
                    <a:pt x="60379" y="6439"/>
                    <a:pt x="71417" y="17477"/>
                  </a:cubicBezTo>
                  <a:cubicBezTo>
                    <a:pt x="82915" y="28515"/>
                    <a:pt x="88664" y="43462"/>
                    <a:pt x="88664" y="58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3" name="Forme libre : forme 1962">
              <a:extLst>
                <a:ext uri="{FF2B5EF4-FFF2-40B4-BE49-F238E27FC236}">
                  <a16:creationId xmlns:a16="http://schemas.microsoft.com/office/drawing/2014/main" id="{A96E0022-A9CF-4F9C-9D74-6AF826262D3D}"/>
                </a:ext>
              </a:extLst>
            </p:cNvPr>
            <p:cNvSpPr/>
            <p:nvPr/>
          </p:nvSpPr>
          <p:spPr>
            <a:xfrm rot="13089394">
              <a:off x="2740820" y="-30870"/>
              <a:ext cx="73521" cy="76374"/>
            </a:xfrm>
            <a:custGeom>
              <a:avLst/>
              <a:gdLst>
                <a:gd name="connsiteX0" fmla="*/ 73521 w 73521"/>
                <a:gd name="connsiteY0" fmla="*/ 18609 h 76374"/>
                <a:gd name="connsiteX1" fmla="*/ 0 w 73521"/>
                <a:gd name="connsiteY1" fmla="*/ 76374 h 76374"/>
                <a:gd name="connsiteX2" fmla="*/ 0 w 73521"/>
                <a:gd name="connsiteY2" fmla="*/ 38074 h 76374"/>
                <a:gd name="connsiteX3" fmla="*/ 73388 w 73521"/>
                <a:gd name="connsiteY3" fmla="*/ 0 h 7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521" h="76374">
                  <a:moveTo>
                    <a:pt x="73521" y="18609"/>
                  </a:moveTo>
                  <a:lnTo>
                    <a:pt x="0" y="76374"/>
                  </a:lnTo>
                  <a:lnTo>
                    <a:pt x="0" y="38074"/>
                  </a:lnTo>
                  <a:lnTo>
                    <a:pt x="7338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4" name="Forme libre : forme 1963">
              <a:extLst>
                <a:ext uri="{FF2B5EF4-FFF2-40B4-BE49-F238E27FC236}">
                  <a16:creationId xmlns:a16="http://schemas.microsoft.com/office/drawing/2014/main" id="{6538AA74-15CD-43BC-8F1C-18881AB7F0C7}"/>
                </a:ext>
              </a:extLst>
            </p:cNvPr>
            <p:cNvSpPr/>
            <p:nvPr/>
          </p:nvSpPr>
          <p:spPr>
            <a:xfrm rot="8716295">
              <a:off x="2166753" y="273158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5" name="Forme libre : forme 1964">
              <a:extLst>
                <a:ext uri="{FF2B5EF4-FFF2-40B4-BE49-F238E27FC236}">
                  <a16:creationId xmlns:a16="http://schemas.microsoft.com/office/drawing/2014/main" id="{CD1BD058-8224-4BD3-B8B9-AEF4E4524A8C}"/>
                </a:ext>
              </a:extLst>
            </p:cNvPr>
            <p:cNvSpPr/>
            <p:nvPr/>
          </p:nvSpPr>
          <p:spPr>
            <a:xfrm rot="8716295">
              <a:off x="2256145" y="276082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6" name="Forme libre : forme 1965">
              <a:extLst>
                <a:ext uri="{FF2B5EF4-FFF2-40B4-BE49-F238E27FC236}">
                  <a16:creationId xmlns:a16="http://schemas.microsoft.com/office/drawing/2014/main" id="{71B92AA0-8C88-4128-864F-918A8A4225F3}"/>
                </a:ext>
              </a:extLst>
            </p:cNvPr>
            <p:cNvSpPr/>
            <p:nvPr/>
          </p:nvSpPr>
          <p:spPr>
            <a:xfrm rot="8716295">
              <a:off x="2211295" y="2674548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7" name="Forme libre : forme 1966">
              <a:extLst>
                <a:ext uri="{FF2B5EF4-FFF2-40B4-BE49-F238E27FC236}">
                  <a16:creationId xmlns:a16="http://schemas.microsoft.com/office/drawing/2014/main" id="{AFBC597A-A976-45D6-A00D-85892928DFA5}"/>
                </a:ext>
              </a:extLst>
            </p:cNvPr>
            <p:cNvSpPr/>
            <p:nvPr/>
          </p:nvSpPr>
          <p:spPr>
            <a:xfrm rot="8716295">
              <a:off x="2054519" y="28201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8" name="Forme libre : forme 1967">
              <a:extLst>
                <a:ext uri="{FF2B5EF4-FFF2-40B4-BE49-F238E27FC236}">
                  <a16:creationId xmlns:a16="http://schemas.microsoft.com/office/drawing/2014/main" id="{4ECD9B70-E8DE-4630-8659-622A12EC3C29}"/>
                </a:ext>
              </a:extLst>
            </p:cNvPr>
            <p:cNvSpPr/>
            <p:nvPr/>
          </p:nvSpPr>
          <p:spPr>
            <a:xfrm rot="8716295">
              <a:off x="1929616" y="261145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9" name="Forme libre : forme 1968">
              <a:extLst>
                <a:ext uri="{FF2B5EF4-FFF2-40B4-BE49-F238E27FC236}">
                  <a16:creationId xmlns:a16="http://schemas.microsoft.com/office/drawing/2014/main" id="{8DC6A858-FC43-49E0-8CDD-7C48F1A15095}"/>
                </a:ext>
              </a:extLst>
            </p:cNvPr>
            <p:cNvSpPr/>
            <p:nvPr/>
          </p:nvSpPr>
          <p:spPr>
            <a:xfrm rot="8716295">
              <a:off x="1917564" y="2472677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0" name="Forme libre : forme 1969">
              <a:extLst>
                <a:ext uri="{FF2B5EF4-FFF2-40B4-BE49-F238E27FC236}">
                  <a16:creationId xmlns:a16="http://schemas.microsoft.com/office/drawing/2014/main" id="{D72AFDB1-B1E3-4297-8283-8D4E9CD1E2D9}"/>
                </a:ext>
              </a:extLst>
            </p:cNvPr>
            <p:cNvSpPr/>
            <p:nvPr/>
          </p:nvSpPr>
          <p:spPr>
            <a:xfrm rot="8716295">
              <a:off x="2144697" y="2861082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1" name="Forme libre : forme 1970">
              <a:extLst>
                <a:ext uri="{FF2B5EF4-FFF2-40B4-BE49-F238E27FC236}">
                  <a16:creationId xmlns:a16="http://schemas.microsoft.com/office/drawing/2014/main" id="{505B528E-46CB-4331-B3F1-621BFE8D2CF5}"/>
                </a:ext>
              </a:extLst>
            </p:cNvPr>
            <p:cNvSpPr/>
            <p:nvPr/>
          </p:nvSpPr>
          <p:spPr>
            <a:xfrm rot="8716295">
              <a:off x="2455852" y="248143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2" name="Forme libre : forme 1971">
              <a:extLst>
                <a:ext uri="{FF2B5EF4-FFF2-40B4-BE49-F238E27FC236}">
                  <a16:creationId xmlns:a16="http://schemas.microsoft.com/office/drawing/2014/main" id="{F6731AFD-9029-4A47-8A04-F3D470338302}"/>
                </a:ext>
              </a:extLst>
            </p:cNvPr>
            <p:cNvSpPr/>
            <p:nvPr/>
          </p:nvSpPr>
          <p:spPr>
            <a:xfrm rot="8716295">
              <a:off x="2545244" y="251067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3" name="Forme libre : forme 1972">
              <a:extLst>
                <a:ext uri="{FF2B5EF4-FFF2-40B4-BE49-F238E27FC236}">
                  <a16:creationId xmlns:a16="http://schemas.microsoft.com/office/drawing/2014/main" id="{3EABB06A-3009-47CC-BE66-961590C5E393}"/>
                </a:ext>
              </a:extLst>
            </p:cNvPr>
            <p:cNvSpPr/>
            <p:nvPr/>
          </p:nvSpPr>
          <p:spPr>
            <a:xfrm rot="8716295">
              <a:off x="2343618" y="256997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4" name="Forme libre : forme 1973">
              <a:extLst>
                <a:ext uri="{FF2B5EF4-FFF2-40B4-BE49-F238E27FC236}">
                  <a16:creationId xmlns:a16="http://schemas.microsoft.com/office/drawing/2014/main" id="{BF54C594-EF8A-46E9-84BB-8BE19279F834}"/>
                </a:ext>
              </a:extLst>
            </p:cNvPr>
            <p:cNvSpPr/>
            <p:nvPr/>
          </p:nvSpPr>
          <p:spPr>
            <a:xfrm rot="8716295">
              <a:off x="2218716" y="236130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5" name="Forme libre : forme 1974">
              <a:extLst>
                <a:ext uri="{FF2B5EF4-FFF2-40B4-BE49-F238E27FC236}">
                  <a16:creationId xmlns:a16="http://schemas.microsoft.com/office/drawing/2014/main" id="{5380C4F6-A63E-4D68-92F1-66B1BF7EBE8E}"/>
                </a:ext>
              </a:extLst>
            </p:cNvPr>
            <p:cNvSpPr/>
            <p:nvPr/>
          </p:nvSpPr>
          <p:spPr>
            <a:xfrm rot="8716295">
              <a:off x="2433796" y="2610930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6" name="Forme libre : forme 1975">
              <a:extLst>
                <a:ext uri="{FF2B5EF4-FFF2-40B4-BE49-F238E27FC236}">
                  <a16:creationId xmlns:a16="http://schemas.microsoft.com/office/drawing/2014/main" id="{49BE900B-BC94-49D1-B693-560BFF27480F}"/>
                </a:ext>
              </a:extLst>
            </p:cNvPr>
            <p:cNvSpPr/>
            <p:nvPr/>
          </p:nvSpPr>
          <p:spPr>
            <a:xfrm rot="8716295">
              <a:off x="2192345" y="2461330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7" name="Forme libre : forme 1976">
              <a:extLst>
                <a:ext uri="{FF2B5EF4-FFF2-40B4-BE49-F238E27FC236}">
                  <a16:creationId xmlns:a16="http://schemas.microsoft.com/office/drawing/2014/main" id="{262BF73E-61CD-473B-BB9A-69825B24DD0D}"/>
                </a:ext>
              </a:extLst>
            </p:cNvPr>
            <p:cNvSpPr/>
            <p:nvPr/>
          </p:nvSpPr>
          <p:spPr>
            <a:xfrm rot="7484129">
              <a:off x="2538727" y="280228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8" name="Forme libre : forme 1977">
              <a:extLst>
                <a:ext uri="{FF2B5EF4-FFF2-40B4-BE49-F238E27FC236}">
                  <a16:creationId xmlns:a16="http://schemas.microsoft.com/office/drawing/2014/main" id="{CCF245C0-F7BF-4D01-8D8F-EAE62FF31873}"/>
                </a:ext>
              </a:extLst>
            </p:cNvPr>
            <p:cNvSpPr/>
            <p:nvPr/>
          </p:nvSpPr>
          <p:spPr>
            <a:xfrm rot="13089394">
              <a:off x="2643547" y="2768815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9" name="Forme libre : forme 1978">
              <a:extLst>
                <a:ext uri="{FF2B5EF4-FFF2-40B4-BE49-F238E27FC236}">
                  <a16:creationId xmlns:a16="http://schemas.microsoft.com/office/drawing/2014/main" id="{4AFE70E3-9BF6-4E6F-AFD4-7B005F059737}"/>
                </a:ext>
              </a:extLst>
            </p:cNvPr>
            <p:cNvSpPr/>
            <p:nvPr/>
          </p:nvSpPr>
          <p:spPr>
            <a:xfrm rot="8716295">
              <a:off x="2829132" y="2577134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0" name="Forme libre : forme 1979">
              <a:extLst>
                <a:ext uri="{FF2B5EF4-FFF2-40B4-BE49-F238E27FC236}">
                  <a16:creationId xmlns:a16="http://schemas.microsoft.com/office/drawing/2014/main" id="{690B1DAA-4E18-495A-9F96-0ECAB197F10A}"/>
                </a:ext>
              </a:extLst>
            </p:cNvPr>
            <p:cNvSpPr/>
            <p:nvPr/>
          </p:nvSpPr>
          <p:spPr>
            <a:xfrm rot="8716295">
              <a:off x="2777327" y="247354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1" name="Forme libre : forme 1980">
              <a:extLst>
                <a:ext uri="{FF2B5EF4-FFF2-40B4-BE49-F238E27FC236}">
                  <a16:creationId xmlns:a16="http://schemas.microsoft.com/office/drawing/2014/main" id="{695EC0C0-C4AF-4594-95DE-46C3AB675826}"/>
                </a:ext>
              </a:extLst>
            </p:cNvPr>
            <p:cNvSpPr/>
            <p:nvPr/>
          </p:nvSpPr>
          <p:spPr>
            <a:xfrm rot="8716295">
              <a:off x="2534081" y="250376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2" name="Forme libre : forme 1981">
              <a:extLst>
                <a:ext uri="{FF2B5EF4-FFF2-40B4-BE49-F238E27FC236}">
                  <a16:creationId xmlns:a16="http://schemas.microsoft.com/office/drawing/2014/main" id="{F97B452C-1EC8-451F-A07D-6DDB8CECEB39}"/>
                </a:ext>
              </a:extLst>
            </p:cNvPr>
            <p:cNvSpPr/>
            <p:nvPr/>
          </p:nvSpPr>
          <p:spPr>
            <a:xfrm rot="8716295">
              <a:off x="2711533" y="234452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3" name="Forme libre : forme 1982">
              <a:extLst>
                <a:ext uri="{FF2B5EF4-FFF2-40B4-BE49-F238E27FC236}">
                  <a16:creationId xmlns:a16="http://schemas.microsoft.com/office/drawing/2014/main" id="{7DE13715-75C0-4A68-AFA3-7EF2AC26078A}"/>
                </a:ext>
              </a:extLst>
            </p:cNvPr>
            <p:cNvSpPr/>
            <p:nvPr/>
          </p:nvSpPr>
          <p:spPr>
            <a:xfrm rot="8716295">
              <a:off x="2389920" y="339128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4" name="Forme libre : forme 1983">
              <a:extLst>
                <a:ext uri="{FF2B5EF4-FFF2-40B4-BE49-F238E27FC236}">
                  <a16:creationId xmlns:a16="http://schemas.microsoft.com/office/drawing/2014/main" id="{BF89118D-2CBC-4115-AC55-B8972D0566E5}"/>
                </a:ext>
              </a:extLst>
            </p:cNvPr>
            <p:cNvSpPr/>
            <p:nvPr/>
          </p:nvSpPr>
          <p:spPr>
            <a:xfrm rot="8716295">
              <a:off x="2479312" y="342052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5" name="Forme libre : forme 1984">
              <a:extLst>
                <a:ext uri="{FF2B5EF4-FFF2-40B4-BE49-F238E27FC236}">
                  <a16:creationId xmlns:a16="http://schemas.microsoft.com/office/drawing/2014/main" id="{1C6B7E42-8529-4CE4-9AD7-D33B3648E154}"/>
                </a:ext>
              </a:extLst>
            </p:cNvPr>
            <p:cNvSpPr/>
            <p:nvPr/>
          </p:nvSpPr>
          <p:spPr>
            <a:xfrm rot="8716295">
              <a:off x="2434462" y="333424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6" name="Forme libre : forme 1985">
              <a:extLst>
                <a:ext uri="{FF2B5EF4-FFF2-40B4-BE49-F238E27FC236}">
                  <a16:creationId xmlns:a16="http://schemas.microsoft.com/office/drawing/2014/main" id="{627E7B88-7C72-442E-8BF5-D4EBDCCB1792}"/>
                </a:ext>
              </a:extLst>
            </p:cNvPr>
            <p:cNvSpPr/>
            <p:nvPr/>
          </p:nvSpPr>
          <p:spPr>
            <a:xfrm rot="8716295">
              <a:off x="2277686" y="347982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7" name="Forme libre : forme 1986">
              <a:extLst>
                <a:ext uri="{FF2B5EF4-FFF2-40B4-BE49-F238E27FC236}">
                  <a16:creationId xmlns:a16="http://schemas.microsoft.com/office/drawing/2014/main" id="{23C30735-EB82-41C0-BEBF-A1C50DE34299}"/>
                </a:ext>
              </a:extLst>
            </p:cNvPr>
            <p:cNvSpPr/>
            <p:nvPr/>
          </p:nvSpPr>
          <p:spPr>
            <a:xfrm rot="8716295">
              <a:off x="2152783" y="327115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8" name="Forme libre : forme 1987">
              <a:extLst>
                <a:ext uri="{FF2B5EF4-FFF2-40B4-BE49-F238E27FC236}">
                  <a16:creationId xmlns:a16="http://schemas.microsoft.com/office/drawing/2014/main" id="{7FF5D6D5-D7D9-4064-AA83-8FB4E8FC29EF}"/>
                </a:ext>
              </a:extLst>
            </p:cNvPr>
            <p:cNvSpPr/>
            <p:nvPr/>
          </p:nvSpPr>
          <p:spPr>
            <a:xfrm rot="8716295">
              <a:off x="2140731" y="313237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9" name="Forme libre : forme 1988">
              <a:extLst>
                <a:ext uri="{FF2B5EF4-FFF2-40B4-BE49-F238E27FC236}">
                  <a16:creationId xmlns:a16="http://schemas.microsoft.com/office/drawing/2014/main" id="{07BB3D21-1AF0-4DC6-9196-AECA69A4B5D6}"/>
                </a:ext>
              </a:extLst>
            </p:cNvPr>
            <p:cNvSpPr/>
            <p:nvPr/>
          </p:nvSpPr>
          <p:spPr>
            <a:xfrm rot="8716295">
              <a:off x="2367864" y="352078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0" name="Forme libre : forme 1989">
              <a:extLst>
                <a:ext uri="{FF2B5EF4-FFF2-40B4-BE49-F238E27FC236}">
                  <a16:creationId xmlns:a16="http://schemas.microsoft.com/office/drawing/2014/main" id="{1C4A8735-C57A-4935-AFC7-2176AF8D4417}"/>
                </a:ext>
              </a:extLst>
            </p:cNvPr>
            <p:cNvSpPr/>
            <p:nvPr/>
          </p:nvSpPr>
          <p:spPr>
            <a:xfrm rot="8716295">
              <a:off x="2679019" y="314113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1" name="Forme libre : forme 1990">
              <a:extLst>
                <a:ext uri="{FF2B5EF4-FFF2-40B4-BE49-F238E27FC236}">
                  <a16:creationId xmlns:a16="http://schemas.microsoft.com/office/drawing/2014/main" id="{D2EFDA7C-C0DA-4517-B39F-8AA29A37F871}"/>
                </a:ext>
              </a:extLst>
            </p:cNvPr>
            <p:cNvSpPr/>
            <p:nvPr/>
          </p:nvSpPr>
          <p:spPr>
            <a:xfrm rot="8716295">
              <a:off x="2768411" y="317037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2" name="Forme libre : forme 1991">
              <a:extLst>
                <a:ext uri="{FF2B5EF4-FFF2-40B4-BE49-F238E27FC236}">
                  <a16:creationId xmlns:a16="http://schemas.microsoft.com/office/drawing/2014/main" id="{9E2A10CA-68B2-4C68-BA6C-C3E1F2D27D89}"/>
                </a:ext>
              </a:extLst>
            </p:cNvPr>
            <p:cNvSpPr/>
            <p:nvPr/>
          </p:nvSpPr>
          <p:spPr>
            <a:xfrm rot="8716295">
              <a:off x="2566785" y="322967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3" name="Forme libre : forme 1992">
              <a:extLst>
                <a:ext uri="{FF2B5EF4-FFF2-40B4-BE49-F238E27FC236}">
                  <a16:creationId xmlns:a16="http://schemas.microsoft.com/office/drawing/2014/main" id="{3F7AB8ED-356B-4D46-8FC5-6AE0991600DC}"/>
                </a:ext>
              </a:extLst>
            </p:cNvPr>
            <p:cNvSpPr/>
            <p:nvPr/>
          </p:nvSpPr>
          <p:spPr>
            <a:xfrm rot="8716295">
              <a:off x="2441883" y="302100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4" name="Forme libre : forme 1993">
              <a:extLst>
                <a:ext uri="{FF2B5EF4-FFF2-40B4-BE49-F238E27FC236}">
                  <a16:creationId xmlns:a16="http://schemas.microsoft.com/office/drawing/2014/main" id="{0667F8A9-A3D6-4CD1-A62C-AB95858D3D97}"/>
                </a:ext>
              </a:extLst>
            </p:cNvPr>
            <p:cNvSpPr/>
            <p:nvPr/>
          </p:nvSpPr>
          <p:spPr>
            <a:xfrm rot="8716295">
              <a:off x="2656963" y="327062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5" name="Forme libre : forme 1994">
              <a:extLst>
                <a:ext uri="{FF2B5EF4-FFF2-40B4-BE49-F238E27FC236}">
                  <a16:creationId xmlns:a16="http://schemas.microsoft.com/office/drawing/2014/main" id="{A540D1F3-372D-4344-A9BE-E8429D9DAC50}"/>
                </a:ext>
              </a:extLst>
            </p:cNvPr>
            <p:cNvSpPr/>
            <p:nvPr/>
          </p:nvSpPr>
          <p:spPr>
            <a:xfrm rot="8716295">
              <a:off x="2415512" y="312102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6" name="Forme libre : forme 1995">
              <a:extLst>
                <a:ext uri="{FF2B5EF4-FFF2-40B4-BE49-F238E27FC236}">
                  <a16:creationId xmlns:a16="http://schemas.microsoft.com/office/drawing/2014/main" id="{F76BD59F-FFC1-4CE1-8C41-23CB9C2F9B51}"/>
                </a:ext>
              </a:extLst>
            </p:cNvPr>
            <p:cNvSpPr/>
            <p:nvPr/>
          </p:nvSpPr>
          <p:spPr>
            <a:xfrm rot="7484129">
              <a:off x="2761894" y="346198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7" name="Forme libre : forme 1996">
              <a:extLst>
                <a:ext uri="{FF2B5EF4-FFF2-40B4-BE49-F238E27FC236}">
                  <a16:creationId xmlns:a16="http://schemas.microsoft.com/office/drawing/2014/main" id="{CFD91B65-FE62-43E9-86AA-168C08A898C5}"/>
                </a:ext>
              </a:extLst>
            </p:cNvPr>
            <p:cNvSpPr/>
            <p:nvPr/>
          </p:nvSpPr>
          <p:spPr>
            <a:xfrm rot="13089394">
              <a:off x="2866714" y="342851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8" name="Forme libre : forme 1997">
              <a:extLst>
                <a:ext uri="{FF2B5EF4-FFF2-40B4-BE49-F238E27FC236}">
                  <a16:creationId xmlns:a16="http://schemas.microsoft.com/office/drawing/2014/main" id="{ABDB9D07-6990-4038-B361-E68047E03370}"/>
                </a:ext>
              </a:extLst>
            </p:cNvPr>
            <p:cNvSpPr/>
            <p:nvPr/>
          </p:nvSpPr>
          <p:spPr>
            <a:xfrm rot="8716295">
              <a:off x="3052299" y="323683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9" name="Forme libre : forme 1998">
              <a:extLst>
                <a:ext uri="{FF2B5EF4-FFF2-40B4-BE49-F238E27FC236}">
                  <a16:creationId xmlns:a16="http://schemas.microsoft.com/office/drawing/2014/main" id="{9E209DF9-C02A-427A-982B-D70411DD7FC6}"/>
                </a:ext>
              </a:extLst>
            </p:cNvPr>
            <p:cNvSpPr/>
            <p:nvPr/>
          </p:nvSpPr>
          <p:spPr>
            <a:xfrm rot="8716295">
              <a:off x="3000494" y="313324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0" name="Forme libre : forme 1999">
              <a:extLst>
                <a:ext uri="{FF2B5EF4-FFF2-40B4-BE49-F238E27FC236}">
                  <a16:creationId xmlns:a16="http://schemas.microsoft.com/office/drawing/2014/main" id="{0816D569-EC61-48BE-ADD6-D76200607819}"/>
                </a:ext>
              </a:extLst>
            </p:cNvPr>
            <p:cNvSpPr/>
            <p:nvPr/>
          </p:nvSpPr>
          <p:spPr>
            <a:xfrm rot="8716295">
              <a:off x="2757248" y="316346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1" name="Forme libre : forme 2000">
              <a:extLst>
                <a:ext uri="{FF2B5EF4-FFF2-40B4-BE49-F238E27FC236}">
                  <a16:creationId xmlns:a16="http://schemas.microsoft.com/office/drawing/2014/main" id="{754B7186-FE18-4821-86FB-CFDCD573AE03}"/>
                </a:ext>
              </a:extLst>
            </p:cNvPr>
            <p:cNvSpPr/>
            <p:nvPr/>
          </p:nvSpPr>
          <p:spPr>
            <a:xfrm rot="8716295">
              <a:off x="2934700" y="300421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2" name="Forme libre : forme 2001">
              <a:extLst>
                <a:ext uri="{FF2B5EF4-FFF2-40B4-BE49-F238E27FC236}">
                  <a16:creationId xmlns:a16="http://schemas.microsoft.com/office/drawing/2014/main" id="{FBC27CB7-DE80-4996-AF2F-0748F399B9D0}"/>
                </a:ext>
              </a:extLst>
            </p:cNvPr>
            <p:cNvSpPr/>
            <p:nvPr/>
          </p:nvSpPr>
          <p:spPr>
            <a:xfrm rot="8716295">
              <a:off x="2865744" y="5089178"/>
              <a:ext cx="140009" cy="103412"/>
            </a:xfrm>
            <a:custGeom>
              <a:avLst/>
              <a:gdLst>
                <a:gd name="connsiteX0" fmla="*/ 23004 w 140009"/>
                <a:gd name="connsiteY0" fmla="*/ 73821 h 103412"/>
                <a:gd name="connsiteX1" fmla="*/ 2853 w 140009"/>
                <a:gd name="connsiteY1" fmla="*/ 34034 h 103412"/>
                <a:gd name="connsiteX2" fmla="*/ 0 w 140009"/>
                <a:gd name="connsiteY2" fmla="*/ 0 h 103412"/>
                <a:gd name="connsiteX3" fmla="*/ 140009 w 140009"/>
                <a:gd name="connsiteY3" fmla="*/ 97050 h 103412"/>
                <a:gd name="connsiteX4" fmla="*/ 137354 w 140009"/>
                <a:gd name="connsiteY4" fmla="*/ 97759 h 103412"/>
                <a:gd name="connsiteX5" fmla="*/ 95370 w 140009"/>
                <a:gd name="connsiteY5" fmla="*/ 103238 h 103412"/>
                <a:gd name="connsiteX6" fmla="*/ 23004 w 140009"/>
                <a:gd name="connsiteY6" fmla="*/ 73821 h 103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0009" h="103412">
                  <a:moveTo>
                    <a:pt x="23004" y="73821"/>
                  </a:moveTo>
                  <a:cubicBezTo>
                    <a:pt x="13002" y="64113"/>
                    <a:pt x="6677" y="50875"/>
                    <a:pt x="2853" y="34034"/>
                  </a:cubicBezTo>
                  <a:lnTo>
                    <a:pt x="0" y="0"/>
                  </a:lnTo>
                  <a:lnTo>
                    <a:pt x="140009" y="97050"/>
                  </a:lnTo>
                  <a:lnTo>
                    <a:pt x="137354" y="97759"/>
                  </a:lnTo>
                  <a:cubicBezTo>
                    <a:pt x="121846" y="100775"/>
                    <a:pt x="107579" y="102502"/>
                    <a:pt x="95370" y="103238"/>
                  </a:cubicBezTo>
                  <a:cubicBezTo>
                    <a:pt x="68307" y="105003"/>
                    <a:pt x="41831" y="93236"/>
                    <a:pt x="23004" y="7382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3" name="Forme libre : forme 2002">
              <a:extLst>
                <a:ext uri="{FF2B5EF4-FFF2-40B4-BE49-F238E27FC236}">
                  <a16:creationId xmlns:a16="http://schemas.microsoft.com/office/drawing/2014/main" id="{FC34D642-1FF4-4BEB-9F05-423F26B37AFF}"/>
                </a:ext>
              </a:extLst>
            </p:cNvPr>
            <p:cNvSpPr/>
            <p:nvPr/>
          </p:nvSpPr>
          <p:spPr>
            <a:xfrm rot="8716295">
              <a:off x="3543190" y="5126545"/>
              <a:ext cx="17522" cy="24091"/>
            </a:xfrm>
            <a:custGeom>
              <a:avLst/>
              <a:gdLst>
                <a:gd name="connsiteX0" fmla="*/ 0 w 17522"/>
                <a:gd name="connsiteY0" fmla="*/ 24091 h 24091"/>
                <a:gd name="connsiteX1" fmla="*/ 1 w 17522"/>
                <a:gd name="connsiteY1" fmla="*/ 0 h 24091"/>
                <a:gd name="connsiteX2" fmla="*/ 17522 w 17522"/>
                <a:gd name="connsiteY2" fmla="*/ 12145 h 24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522" h="24091">
                  <a:moveTo>
                    <a:pt x="0" y="24091"/>
                  </a:moveTo>
                  <a:lnTo>
                    <a:pt x="1" y="0"/>
                  </a:lnTo>
                  <a:lnTo>
                    <a:pt x="17522" y="1214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4" name="Forme libre : forme 2003">
              <a:extLst>
                <a:ext uri="{FF2B5EF4-FFF2-40B4-BE49-F238E27FC236}">
                  <a16:creationId xmlns:a16="http://schemas.microsoft.com/office/drawing/2014/main" id="{D14CA223-64E0-41AF-9A9C-EBE4113F2FFF}"/>
                </a:ext>
              </a:extLst>
            </p:cNvPr>
            <p:cNvSpPr/>
            <p:nvPr/>
          </p:nvSpPr>
          <p:spPr>
            <a:xfrm rot="8716295">
              <a:off x="3163011" y="4980512"/>
              <a:ext cx="135472" cy="195874"/>
            </a:xfrm>
            <a:custGeom>
              <a:avLst/>
              <a:gdLst>
                <a:gd name="connsiteX0" fmla="*/ 90710 w 135472"/>
                <a:gd name="connsiteY0" fmla="*/ 195874 h 195874"/>
                <a:gd name="connsiteX1" fmla="*/ 47847 w 135472"/>
                <a:gd name="connsiteY1" fmla="*/ 116129 h 195874"/>
                <a:gd name="connsiteX2" fmla="*/ 69777 w 135472"/>
                <a:gd name="connsiteY2" fmla="*/ 55323 h 195874"/>
                <a:gd name="connsiteX3" fmla="*/ 0 w 135472"/>
                <a:gd name="connsiteY3" fmla="*/ 55323 h 195874"/>
                <a:gd name="connsiteX4" fmla="*/ 0 w 135472"/>
                <a:gd name="connsiteY4" fmla="*/ 0 h 195874"/>
                <a:gd name="connsiteX5" fmla="*/ 40633 w 135472"/>
                <a:gd name="connsiteY5" fmla="*/ 0 h 195874"/>
                <a:gd name="connsiteX6" fmla="*/ 135472 w 135472"/>
                <a:gd name="connsiteY6" fmla="*/ 65739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472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40633" y="0"/>
                  </a:lnTo>
                  <a:lnTo>
                    <a:pt x="135472" y="657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5" name="Forme libre : forme 2004">
              <a:extLst>
                <a:ext uri="{FF2B5EF4-FFF2-40B4-BE49-F238E27FC236}">
                  <a16:creationId xmlns:a16="http://schemas.microsoft.com/office/drawing/2014/main" id="{513E0836-7C56-4736-B55C-909FB1DE7F5E}"/>
                </a:ext>
              </a:extLst>
            </p:cNvPr>
            <p:cNvSpPr/>
            <p:nvPr/>
          </p:nvSpPr>
          <p:spPr>
            <a:xfrm rot="8716295">
              <a:off x="3075185" y="5096420"/>
              <a:ext cx="71527" cy="66237"/>
            </a:xfrm>
            <a:custGeom>
              <a:avLst/>
              <a:gdLst>
                <a:gd name="connsiteX0" fmla="*/ 11471 w 71527"/>
                <a:gd name="connsiteY0" fmla="*/ 55370 h 66237"/>
                <a:gd name="connsiteX1" fmla="*/ 0 w 71527"/>
                <a:gd name="connsiteY1" fmla="*/ 28202 h 66237"/>
                <a:gd name="connsiteX2" fmla="*/ 0 w 71527"/>
                <a:gd name="connsiteY2" fmla="*/ 27599 h 66237"/>
                <a:gd name="connsiteX3" fmla="*/ 11471 w 71527"/>
                <a:gd name="connsiteY3" fmla="*/ 431 h 66237"/>
                <a:gd name="connsiteX4" fmla="*/ 12491 w 71527"/>
                <a:gd name="connsiteY4" fmla="*/ 0 h 66237"/>
                <a:gd name="connsiteX5" fmla="*/ 71527 w 71527"/>
                <a:gd name="connsiteY5" fmla="*/ 40922 h 66237"/>
                <a:gd name="connsiteX6" fmla="*/ 65806 w 71527"/>
                <a:gd name="connsiteY6" fmla="*/ 54766 h 66237"/>
                <a:gd name="connsiteX7" fmla="*/ 38638 w 71527"/>
                <a:gd name="connsiteY7" fmla="*/ 66237 h 66237"/>
                <a:gd name="connsiteX8" fmla="*/ 11471 w 71527"/>
                <a:gd name="connsiteY8" fmla="*/ 55370 h 66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527" h="66237">
                  <a:moveTo>
                    <a:pt x="11471" y="55370"/>
                  </a:moveTo>
                  <a:cubicBezTo>
                    <a:pt x="4226" y="48125"/>
                    <a:pt x="0" y="38465"/>
                    <a:pt x="0" y="28202"/>
                  </a:cubicBezTo>
                  <a:lnTo>
                    <a:pt x="0" y="27599"/>
                  </a:lnTo>
                  <a:cubicBezTo>
                    <a:pt x="0" y="17335"/>
                    <a:pt x="4226" y="7676"/>
                    <a:pt x="11471" y="431"/>
                  </a:cubicBezTo>
                  <a:lnTo>
                    <a:pt x="12491" y="0"/>
                  </a:lnTo>
                  <a:lnTo>
                    <a:pt x="71527" y="40922"/>
                  </a:lnTo>
                  <a:lnTo>
                    <a:pt x="65806" y="54766"/>
                  </a:lnTo>
                  <a:cubicBezTo>
                    <a:pt x="58561" y="62011"/>
                    <a:pt x="48902" y="66237"/>
                    <a:pt x="38638" y="66237"/>
                  </a:cubicBezTo>
                  <a:cubicBezTo>
                    <a:pt x="28375" y="66237"/>
                    <a:pt x="18716" y="62614"/>
                    <a:pt x="11471" y="55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6" name="Forme libre : forme 2005">
              <a:extLst>
                <a:ext uri="{FF2B5EF4-FFF2-40B4-BE49-F238E27FC236}">
                  <a16:creationId xmlns:a16="http://schemas.microsoft.com/office/drawing/2014/main" id="{1D0766CB-D2AF-47CF-8AD9-42DA34AEC513}"/>
                </a:ext>
              </a:extLst>
            </p:cNvPr>
            <p:cNvSpPr/>
            <p:nvPr/>
          </p:nvSpPr>
          <p:spPr>
            <a:xfrm rot="8716295">
              <a:off x="3669562" y="5103164"/>
              <a:ext cx="86480" cy="68720"/>
            </a:xfrm>
            <a:custGeom>
              <a:avLst/>
              <a:gdLst>
                <a:gd name="connsiteX0" fmla="*/ 17477 w 86480"/>
                <a:gd name="connsiteY0" fmla="*/ 52162 h 68720"/>
                <a:gd name="connsiteX1" fmla="*/ 0 w 86480"/>
                <a:gd name="connsiteY1" fmla="*/ 10771 h 68720"/>
                <a:gd name="connsiteX2" fmla="*/ 0 w 86480"/>
                <a:gd name="connsiteY2" fmla="*/ 9850 h 68720"/>
                <a:gd name="connsiteX3" fmla="*/ 4159 w 86480"/>
                <a:gd name="connsiteY3" fmla="*/ 0 h 68720"/>
                <a:gd name="connsiteX4" fmla="*/ 86480 w 86480"/>
                <a:gd name="connsiteY4" fmla="*/ 57062 h 68720"/>
                <a:gd name="connsiteX5" fmla="*/ 58869 w 86480"/>
                <a:gd name="connsiteY5" fmla="*/ 68720 h 68720"/>
                <a:gd name="connsiteX6" fmla="*/ 17477 w 86480"/>
                <a:gd name="connsiteY6" fmla="*/ 52162 h 68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6480" h="68720">
                  <a:moveTo>
                    <a:pt x="17477" y="52162"/>
                  </a:moveTo>
                  <a:cubicBezTo>
                    <a:pt x="6439" y="41124"/>
                    <a:pt x="0" y="26407"/>
                    <a:pt x="0" y="10771"/>
                  </a:cubicBezTo>
                  <a:lnTo>
                    <a:pt x="0" y="9850"/>
                  </a:lnTo>
                  <a:lnTo>
                    <a:pt x="4159" y="0"/>
                  </a:lnTo>
                  <a:lnTo>
                    <a:pt x="86480" y="57062"/>
                  </a:lnTo>
                  <a:lnTo>
                    <a:pt x="58869" y="68720"/>
                  </a:lnTo>
                  <a:cubicBezTo>
                    <a:pt x="43232" y="68720"/>
                    <a:pt x="28516" y="63201"/>
                    <a:pt x="17477" y="5216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7" name="Forme libre : forme 2006">
              <a:extLst>
                <a:ext uri="{FF2B5EF4-FFF2-40B4-BE49-F238E27FC236}">
                  <a16:creationId xmlns:a16="http://schemas.microsoft.com/office/drawing/2014/main" id="{75D179FB-7542-44F2-B462-1CA040B3A61D}"/>
                </a:ext>
              </a:extLst>
            </p:cNvPr>
            <p:cNvSpPr/>
            <p:nvPr/>
          </p:nvSpPr>
          <p:spPr>
            <a:xfrm rot="8716295">
              <a:off x="3598055" y="498328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8" name="Forme libre : forme 2007">
              <a:extLst>
                <a:ext uri="{FF2B5EF4-FFF2-40B4-BE49-F238E27FC236}">
                  <a16:creationId xmlns:a16="http://schemas.microsoft.com/office/drawing/2014/main" id="{66DEB414-FFEC-4800-B8DC-149EC3D26B06}"/>
                </a:ext>
              </a:extLst>
            </p:cNvPr>
            <p:cNvSpPr/>
            <p:nvPr/>
          </p:nvSpPr>
          <p:spPr>
            <a:xfrm rot="8716295">
              <a:off x="2608590" y="404968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9" name="Forme libre : forme 2008">
              <a:extLst>
                <a:ext uri="{FF2B5EF4-FFF2-40B4-BE49-F238E27FC236}">
                  <a16:creationId xmlns:a16="http://schemas.microsoft.com/office/drawing/2014/main" id="{8BB6B1A3-DAB2-4452-ADE2-A05800A3707A}"/>
                </a:ext>
              </a:extLst>
            </p:cNvPr>
            <p:cNvSpPr/>
            <p:nvPr/>
          </p:nvSpPr>
          <p:spPr>
            <a:xfrm rot="8716295">
              <a:off x="2697982" y="407892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0" name="Forme libre : forme 2009">
              <a:extLst>
                <a:ext uri="{FF2B5EF4-FFF2-40B4-BE49-F238E27FC236}">
                  <a16:creationId xmlns:a16="http://schemas.microsoft.com/office/drawing/2014/main" id="{A805B39B-757C-40B3-9D31-DFFF22EBA5CA}"/>
                </a:ext>
              </a:extLst>
            </p:cNvPr>
            <p:cNvSpPr/>
            <p:nvPr/>
          </p:nvSpPr>
          <p:spPr>
            <a:xfrm rot="8716295">
              <a:off x="2653132" y="399264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1" name="Forme libre : forme 2010">
              <a:extLst>
                <a:ext uri="{FF2B5EF4-FFF2-40B4-BE49-F238E27FC236}">
                  <a16:creationId xmlns:a16="http://schemas.microsoft.com/office/drawing/2014/main" id="{62D6EFC1-7ABC-4CF6-9962-40B0CA7DF8A9}"/>
                </a:ext>
              </a:extLst>
            </p:cNvPr>
            <p:cNvSpPr/>
            <p:nvPr/>
          </p:nvSpPr>
          <p:spPr>
            <a:xfrm rot="8716295">
              <a:off x="2496356" y="413822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2" name="Forme libre : forme 2011">
              <a:extLst>
                <a:ext uri="{FF2B5EF4-FFF2-40B4-BE49-F238E27FC236}">
                  <a16:creationId xmlns:a16="http://schemas.microsoft.com/office/drawing/2014/main" id="{529496F8-2EED-482E-99E3-1BCB5EE5585B}"/>
                </a:ext>
              </a:extLst>
            </p:cNvPr>
            <p:cNvSpPr/>
            <p:nvPr/>
          </p:nvSpPr>
          <p:spPr>
            <a:xfrm rot="8716295">
              <a:off x="2371453" y="392955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3" name="Forme libre : forme 2012">
              <a:extLst>
                <a:ext uri="{FF2B5EF4-FFF2-40B4-BE49-F238E27FC236}">
                  <a16:creationId xmlns:a16="http://schemas.microsoft.com/office/drawing/2014/main" id="{F8D2DD7F-D920-4C6F-BDCE-E0D8665E0076}"/>
                </a:ext>
              </a:extLst>
            </p:cNvPr>
            <p:cNvSpPr/>
            <p:nvPr/>
          </p:nvSpPr>
          <p:spPr>
            <a:xfrm rot="8716295">
              <a:off x="2359401" y="379077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4" name="Forme libre : forme 2013">
              <a:extLst>
                <a:ext uri="{FF2B5EF4-FFF2-40B4-BE49-F238E27FC236}">
                  <a16:creationId xmlns:a16="http://schemas.microsoft.com/office/drawing/2014/main" id="{B1DDFBEC-2422-4F95-B394-0CDEBBB8444C}"/>
                </a:ext>
              </a:extLst>
            </p:cNvPr>
            <p:cNvSpPr/>
            <p:nvPr/>
          </p:nvSpPr>
          <p:spPr>
            <a:xfrm rot="8716295">
              <a:off x="2586534" y="417917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5" name="Forme libre : forme 2014">
              <a:extLst>
                <a:ext uri="{FF2B5EF4-FFF2-40B4-BE49-F238E27FC236}">
                  <a16:creationId xmlns:a16="http://schemas.microsoft.com/office/drawing/2014/main" id="{769AC63A-D399-4F6F-B5A6-18B9EEEAF8DE}"/>
                </a:ext>
              </a:extLst>
            </p:cNvPr>
            <p:cNvSpPr/>
            <p:nvPr/>
          </p:nvSpPr>
          <p:spPr>
            <a:xfrm rot="8716295">
              <a:off x="2897689" y="379952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6" name="Forme libre : forme 2015">
              <a:extLst>
                <a:ext uri="{FF2B5EF4-FFF2-40B4-BE49-F238E27FC236}">
                  <a16:creationId xmlns:a16="http://schemas.microsoft.com/office/drawing/2014/main" id="{FCE508E9-A69E-4853-B8E9-C26E72CDD220}"/>
                </a:ext>
              </a:extLst>
            </p:cNvPr>
            <p:cNvSpPr/>
            <p:nvPr/>
          </p:nvSpPr>
          <p:spPr>
            <a:xfrm rot="8716295">
              <a:off x="2987081" y="382877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7" name="Forme libre : forme 2016">
              <a:extLst>
                <a:ext uri="{FF2B5EF4-FFF2-40B4-BE49-F238E27FC236}">
                  <a16:creationId xmlns:a16="http://schemas.microsoft.com/office/drawing/2014/main" id="{69B0C070-E5DD-4902-8901-32B0B2DF2181}"/>
                </a:ext>
              </a:extLst>
            </p:cNvPr>
            <p:cNvSpPr/>
            <p:nvPr/>
          </p:nvSpPr>
          <p:spPr>
            <a:xfrm rot="8716295">
              <a:off x="2785455" y="388807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8" name="Forme libre : forme 2017">
              <a:extLst>
                <a:ext uri="{FF2B5EF4-FFF2-40B4-BE49-F238E27FC236}">
                  <a16:creationId xmlns:a16="http://schemas.microsoft.com/office/drawing/2014/main" id="{351C262C-137B-4595-9945-0B58E9E9498A}"/>
                </a:ext>
              </a:extLst>
            </p:cNvPr>
            <p:cNvSpPr/>
            <p:nvPr/>
          </p:nvSpPr>
          <p:spPr>
            <a:xfrm rot="8716295">
              <a:off x="2660553" y="367940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9" name="Forme libre : forme 2018">
              <a:extLst>
                <a:ext uri="{FF2B5EF4-FFF2-40B4-BE49-F238E27FC236}">
                  <a16:creationId xmlns:a16="http://schemas.microsoft.com/office/drawing/2014/main" id="{9E27D744-0584-4AC9-A7EF-FEF550ED480C}"/>
                </a:ext>
              </a:extLst>
            </p:cNvPr>
            <p:cNvSpPr/>
            <p:nvPr/>
          </p:nvSpPr>
          <p:spPr>
            <a:xfrm rot="8716295">
              <a:off x="2875633" y="392902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0" name="Forme libre : forme 2019">
              <a:extLst>
                <a:ext uri="{FF2B5EF4-FFF2-40B4-BE49-F238E27FC236}">
                  <a16:creationId xmlns:a16="http://schemas.microsoft.com/office/drawing/2014/main" id="{47FD6DDE-8088-4171-9B74-ED4CB352D0E1}"/>
                </a:ext>
              </a:extLst>
            </p:cNvPr>
            <p:cNvSpPr/>
            <p:nvPr/>
          </p:nvSpPr>
          <p:spPr>
            <a:xfrm rot="8716295">
              <a:off x="2634182" y="377942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1" name="Forme libre : forme 2020">
              <a:extLst>
                <a:ext uri="{FF2B5EF4-FFF2-40B4-BE49-F238E27FC236}">
                  <a16:creationId xmlns:a16="http://schemas.microsoft.com/office/drawing/2014/main" id="{2332725B-11C5-436B-8C7A-C0F3009C3764}"/>
                </a:ext>
              </a:extLst>
            </p:cNvPr>
            <p:cNvSpPr/>
            <p:nvPr/>
          </p:nvSpPr>
          <p:spPr>
            <a:xfrm rot="7484129">
              <a:off x="2980564" y="41203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2" name="Forme libre : forme 2021">
              <a:extLst>
                <a:ext uri="{FF2B5EF4-FFF2-40B4-BE49-F238E27FC236}">
                  <a16:creationId xmlns:a16="http://schemas.microsoft.com/office/drawing/2014/main" id="{2D6DB575-2CD4-46B8-BF50-BF9C03A4A660}"/>
                </a:ext>
              </a:extLst>
            </p:cNvPr>
            <p:cNvSpPr/>
            <p:nvPr/>
          </p:nvSpPr>
          <p:spPr>
            <a:xfrm rot="13089394">
              <a:off x="3085384" y="408691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3" name="Forme libre : forme 2022">
              <a:extLst>
                <a:ext uri="{FF2B5EF4-FFF2-40B4-BE49-F238E27FC236}">
                  <a16:creationId xmlns:a16="http://schemas.microsoft.com/office/drawing/2014/main" id="{8AA469D7-AA06-49C5-A232-2AB138FF0560}"/>
                </a:ext>
              </a:extLst>
            </p:cNvPr>
            <p:cNvSpPr/>
            <p:nvPr/>
          </p:nvSpPr>
          <p:spPr>
            <a:xfrm rot="8716295">
              <a:off x="3270969" y="389522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4" name="Forme libre : forme 2023">
              <a:extLst>
                <a:ext uri="{FF2B5EF4-FFF2-40B4-BE49-F238E27FC236}">
                  <a16:creationId xmlns:a16="http://schemas.microsoft.com/office/drawing/2014/main" id="{DAA290D6-64E1-496C-9C04-F98B1C63180B}"/>
                </a:ext>
              </a:extLst>
            </p:cNvPr>
            <p:cNvSpPr/>
            <p:nvPr/>
          </p:nvSpPr>
          <p:spPr>
            <a:xfrm rot="8716295">
              <a:off x="3219164" y="379163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5" name="Forme libre : forme 2024">
              <a:extLst>
                <a:ext uri="{FF2B5EF4-FFF2-40B4-BE49-F238E27FC236}">
                  <a16:creationId xmlns:a16="http://schemas.microsoft.com/office/drawing/2014/main" id="{3A0674DB-72FD-47E3-AD95-3835522B3982}"/>
                </a:ext>
              </a:extLst>
            </p:cNvPr>
            <p:cNvSpPr/>
            <p:nvPr/>
          </p:nvSpPr>
          <p:spPr>
            <a:xfrm rot="8716295">
              <a:off x="2975918" y="382185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6" name="Forme libre : forme 2025">
              <a:extLst>
                <a:ext uri="{FF2B5EF4-FFF2-40B4-BE49-F238E27FC236}">
                  <a16:creationId xmlns:a16="http://schemas.microsoft.com/office/drawing/2014/main" id="{DD0ABA36-1047-4667-A038-B5E4D3CCFC34}"/>
                </a:ext>
              </a:extLst>
            </p:cNvPr>
            <p:cNvSpPr/>
            <p:nvPr/>
          </p:nvSpPr>
          <p:spPr>
            <a:xfrm rot="8716295">
              <a:off x="3153370" y="366261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7" name="Forme libre : forme 2026">
              <a:extLst>
                <a:ext uri="{FF2B5EF4-FFF2-40B4-BE49-F238E27FC236}">
                  <a16:creationId xmlns:a16="http://schemas.microsoft.com/office/drawing/2014/main" id="{DCA88CB0-996E-4CBF-8E1B-054627A90FA6}"/>
                </a:ext>
              </a:extLst>
            </p:cNvPr>
            <p:cNvSpPr/>
            <p:nvPr/>
          </p:nvSpPr>
          <p:spPr>
            <a:xfrm rot="8716295">
              <a:off x="2831757" y="470938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8" name="Forme libre : forme 2027">
              <a:extLst>
                <a:ext uri="{FF2B5EF4-FFF2-40B4-BE49-F238E27FC236}">
                  <a16:creationId xmlns:a16="http://schemas.microsoft.com/office/drawing/2014/main" id="{2E1B38FC-3E96-4E74-B515-EB0F8E9F66DF}"/>
                </a:ext>
              </a:extLst>
            </p:cNvPr>
            <p:cNvSpPr/>
            <p:nvPr/>
          </p:nvSpPr>
          <p:spPr>
            <a:xfrm rot="8716295">
              <a:off x="2921149" y="473862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9" name="Forme libre : forme 2028">
              <a:extLst>
                <a:ext uri="{FF2B5EF4-FFF2-40B4-BE49-F238E27FC236}">
                  <a16:creationId xmlns:a16="http://schemas.microsoft.com/office/drawing/2014/main" id="{CDF29BC1-CD69-4D64-875F-1792585745C3}"/>
                </a:ext>
              </a:extLst>
            </p:cNvPr>
            <p:cNvSpPr/>
            <p:nvPr/>
          </p:nvSpPr>
          <p:spPr>
            <a:xfrm rot="8716295">
              <a:off x="2876299" y="465234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0" name="Forme libre : forme 2029">
              <a:extLst>
                <a:ext uri="{FF2B5EF4-FFF2-40B4-BE49-F238E27FC236}">
                  <a16:creationId xmlns:a16="http://schemas.microsoft.com/office/drawing/2014/main" id="{19422572-0729-400B-A56A-9BE0F95C2A16}"/>
                </a:ext>
              </a:extLst>
            </p:cNvPr>
            <p:cNvSpPr/>
            <p:nvPr/>
          </p:nvSpPr>
          <p:spPr>
            <a:xfrm rot="8716295">
              <a:off x="2719523" y="479792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1" name="Forme libre : forme 2030">
              <a:extLst>
                <a:ext uri="{FF2B5EF4-FFF2-40B4-BE49-F238E27FC236}">
                  <a16:creationId xmlns:a16="http://schemas.microsoft.com/office/drawing/2014/main" id="{E606445F-5950-4211-A90A-075E8FDA5A46}"/>
                </a:ext>
              </a:extLst>
            </p:cNvPr>
            <p:cNvSpPr/>
            <p:nvPr/>
          </p:nvSpPr>
          <p:spPr>
            <a:xfrm rot="8716295">
              <a:off x="2594620" y="458925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2" name="Forme libre : forme 2031">
              <a:extLst>
                <a:ext uri="{FF2B5EF4-FFF2-40B4-BE49-F238E27FC236}">
                  <a16:creationId xmlns:a16="http://schemas.microsoft.com/office/drawing/2014/main" id="{8CA2BC66-A99C-485B-BFBF-CC740FFCF083}"/>
                </a:ext>
              </a:extLst>
            </p:cNvPr>
            <p:cNvSpPr/>
            <p:nvPr/>
          </p:nvSpPr>
          <p:spPr>
            <a:xfrm rot="8716295">
              <a:off x="2582568" y="4450471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3" name="Forme libre : forme 2032">
              <a:extLst>
                <a:ext uri="{FF2B5EF4-FFF2-40B4-BE49-F238E27FC236}">
                  <a16:creationId xmlns:a16="http://schemas.microsoft.com/office/drawing/2014/main" id="{71C2114D-64EC-4824-A707-E5E2E8D2CEF6}"/>
                </a:ext>
              </a:extLst>
            </p:cNvPr>
            <p:cNvSpPr/>
            <p:nvPr/>
          </p:nvSpPr>
          <p:spPr>
            <a:xfrm rot="8716295">
              <a:off x="2809701" y="483887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4" name="Forme libre : forme 2033">
              <a:extLst>
                <a:ext uri="{FF2B5EF4-FFF2-40B4-BE49-F238E27FC236}">
                  <a16:creationId xmlns:a16="http://schemas.microsoft.com/office/drawing/2014/main" id="{9B7D5F64-A7C5-45A2-B1CB-7832AA424557}"/>
                </a:ext>
              </a:extLst>
            </p:cNvPr>
            <p:cNvSpPr/>
            <p:nvPr/>
          </p:nvSpPr>
          <p:spPr>
            <a:xfrm rot="8716295">
              <a:off x="3120856" y="445922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5" name="Forme libre : forme 2034">
              <a:extLst>
                <a:ext uri="{FF2B5EF4-FFF2-40B4-BE49-F238E27FC236}">
                  <a16:creationId xmlns:a16="http://schemas.microsoft.com/office/drawing/2014/main" id="{418878C1-309F-4F6D-82F6-074894DEFD09}"/>
                </a:ext>
              </a:extLst>
            </p:cNvPr>
            <p:cNvSpPr/>
            <p:nvPr/>
          </p:nvSpPr>
          <p:spPr>
            <a:xfrm rot="8716295">
              <a:off x="3210248" y="448847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6" name="Forme libre : forme 2035">
              <a:extLst>
                <a:ext uri="{FF2B5EF4-FFF2-40B4-BE49-F238E27FC236}">
                  <a16:creationId xmlns:a16="http://schemas.microsoft.com/office/drawing/2014/main" id="{BEDFC6C0-0504-41A7-AFF6-DA58077E2F9E}"/>
                </a:ext>
              </a:extLst>
            </p:cNvPr>
            <p:cNvSpPr/>
            <p:nvPr/>
          </p:nvSpPr>
          <p:spPr>
            <a:xfrm rot="8716295">
              <a:off x="3008622" y="45477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7" name="Forme libre : forme 2036">
              <a:extLst>
                <a:ext uri="{FF2B5EF4-FFF2-40B4-BE49-F238E27FC236}">
                  <a16:creationId xmlns:a16="http://schemas.microsoft.com/office/drawing/2014/main" id="{0901EFA0-9ABF-4779-9CD7-AEF35261A01F}"/>
                </a:ext>
              </a:extLst>
            </p:cNvPr>
            <p:cNvSpPr/>
            <p:nvPr/>
          </p:nvSpPr>
          <p:spPr>
            <a:xfrm rot="8716295">
              <a:off x="2883720" y="43390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8" name="Forme libre : forme 2037">
              <a:extLst>
                <a:ext uri="{FF2B5EF4-FFF2-40B4-BE49-F238E27FC236}">
                  <a16:creationId xmlns:a16="http://schemas.microsoft.com/office/drawing/2014/main" id="{749728BB-B44C-458D-B875-8F2A71694EB4}"/>
                </a:ext>
              </a:extLst>
            </p:cNvPr>
            <p:cNvSpPr/>
            <p:nvPr/>
          </p:nvSpPr>
          <p:spPr>
            <a:xfrm rot="8716295">
              <a:off x="3098800" y="458872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9" name="Forme libre : forme 2038">
              <a:extLst>
                <a:ext uri="{FF2B5EF4-FFF2-40B4-BE49-F238E27FC236}">
                  <a16:creationId xmlns:a16="http://schemas.microsoft.com/office/drawing/2014/main" id="{C380CDA8-7EF5-48C9-B56D-6A7E2C9ACDDB}"/>
                </a:ext>
              </a:extLst>
            </p:cNvPr>
            <p:cNvSpPr/>
            <p:nvPr/>
          </p:nvSpPr>
          <p:spPr>
            <a:xfrm rot="8716295">
              <a:off x="2857349" y="443912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0" name="Forme libre : forme 2039">
              <a:extLst>
                <a:ext uri="{FF2B5EF4-FFF2-40B4-BE49-F238E27FC236}">
                  <a16:creationId xmlns:a16="http://schemas.microsoft.com/office/drawing/2014/main" id="{35D7DC57-1FBD-4D3A-8353-DA49C3779565}"/>
                </a:ext>
              </a:extLst>
            </p:cNvPr>
            <p:cNvSpPr/>
            <p:nvPr/>
          </p:nvSpPr>
          <p:spPr>
            <a:xfrm rot="7484129">
              <a:off x="3203731" y="478007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1" name="Forme libre : forme 2040">
              <a:extLst>
                <a:ext uri="{FF2B5EF4-FFF2-40B4-BE49-F238E27FC236}">
                  <a16:creationId xmlns:a16="http://schemas.microsoft.com/office/drawing/2014/main" id="{528E07C7-AD59-4D90-8BAC-F763B1D94A11}"/>
                </a:ext>
              </a:extLst>
            </p:cNvPr>
            <p:cNvSpPr/>
            <p:nvPr/>
          </p:nvSpPr>
          <p:spPr>
            <a:xfrm rot="13089394">
              <a:off x="3308551" y="4746609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2" name="Forme libre : forme 2041">
              <a:extLst>
                <a:ext uri="{FF2B5EF4-FFF2-40B4-BE49-F238E27FC236}">
                  <a16:creationId xmlns:a16="http://schemas.microsoft.com/office/drawing/2014/main" id="{2B7E1DD1-1118-40B2-B6F0-0CF0593D1F55}"/>
                </a:ext>
              </a:extLst>
            </p:cNvPr>
            <p:cNvSpPr/>
            <p:nvPr/>
          </p:nvSpPr>
          <p:spPr>
            <a:xfrm rot="8716295">
              <a:off x="3494136" y="455492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3" name="Forme libre : forme 2042">
              <a:extLst>
                <a:ext uri="{FF2B5EF4-FFF2-40B4-BE49-F238E27FC236}">
                  <a16:creationId xmlns:a16="http://schemas.microsoft.com/office/drawing/2014/main" id="{81540EA7-F6EC-44BE-816E-4C0E5EB2914E}"/>
                </a:ext>
              </a:extLst>
            </p:cNvPr>
            <p:cNvSpPr/>
            <p:nvPr/>
          </p:nvSpPr>
          <p:spPr>
            <a:xfrm rot="8716295">
              <a:off x="3442331" y="445133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4" name="Forme libre : forme 2043">
              <a:extLst>
                <a:ext uri="{FF2B5EF4-FFF2-40B4-BE49-F238E27FC236}">
                  <a16:creationId xmlns:a16="http://schemas.microsoft.com/office/drawing/2014/main" id="{439225B7-2BD6-4483-BC9B-DC58675BF4C6}"/>
                </a:ext>
              </a:extLst>
            </p:cNvPr>
            <p:cNvSpPr/>
            <p:nvPr/>
          </p:nvSpPr>
          <p:spPr>
            <a:xfrm rot="8716295">
              <a:off x="3199085" y="448155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5" name="Forme libre : forme 2044">
              <a:extLst>
                <a:ext uri="{FF2B5EF4-FFF2-40B4-BE49-F238E27FC236}">
                  <a16:creationId xmlns:a16="http://schemas.microsoft.com/office/drawing/2014/main" id="{B7D7807C-1490-4102-8354-D497932384C9}"/>
                </a:ext>
              </a:extLst>
            </p:cNvPr>
            <p:cNvSpPr/>
            <p:nvPr/>
          </p:nvSpPr>
          <p:spPr>
            <a:xfrm rot="8716295">
              <a:off x="3376537" y="432231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6" name="Forme libre : forme 2045">
              <a:extLst>
                <a:ext uri="{FF2B5EF4-FFF2-40B4-BE49-F238E27FC236}">
                  <a16:creationId xmlns:a16="http://schemas.microsoft.com/office/drawing/2014/main" id="{635AEC85-CF21-4340-9A71-2C3A7522FD09}"/>
                </a:ext>
              </a:extLst>
            </p:cNvPr>
            <p:cNvSpPr/>
            <p:nvPr/>
          </p:nvSpPr>
          <p:spPr>
            <a:xfrm rot="8716295">
              <a:off x="1945235" y="207061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7" name="Forme libre : forme 2046">
              <a:extLst>
                <a:ext uri="{FF2B5EF4-FFF2-40B4-BE49-F238E27FC236}">
                  <a16:creationId xmlns:a16="http://schemas.microsoft.com/office/drawing/2014/main" id="{11A1EB5F-B7DA-47FC-9300-C3618AE6E095}"/>
                </a:ext>
              </a:extLst>
            </p:cNvPr>
            <p:cNvSpPr/>
            <p:nvPr/>
          </p:nvSpPr>
          <p:spPr>
            <a:xfrm rot="8716295">
              <a:off x="2034627" y="209985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8" name="Forme libre : forme 2047">
              <a:extLst>
                <a:ext uri="{FF2B5EF4-FFF2-40B4-BE49-F238E27FC236}">
                  <a16:creationId xmlns:a16="http://schemas.microsoft.com/office/drawing/2014/main" id="{07F7C572-5337-4FAC-82A4-6A85DC071921}"/>
                </a:ext>
              </a:extLst>
            </p:cNvPr>
            <p:cNvSpPr/>
            <p:nvPr/>
          </p:nvSpPr>
          <p:spPr>
            <a:xfrm rot="8716295">
              <a:off x="1989777" y="201357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9" name="Forme libre : forme 2048">
              <a:extLst>
                <a:ext uri="{FF2B5EF4-FFF2-40B4-BE49-F238E27FC236}">
                  <a16:creationId xmlns:a16="http://schemas.microsoft.com/office/drawing/2014/main" id="{A9887220-2A87-47EF-AD47-F90CEE542B56}"/>
                </a:ext>
              </a:extLst>
            </p:cNvPr>
            <p:cNvSpPr/>
            <p:nvPr/>
          </p:nvSpPr>
          <p:spPr>
            <a:xfrm rot="8716295">
              <a:off x="1833001" y="215915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0" name="Forme libre : forme 2049">
              <a:extLst>
                <a:ext uri="{FF2B5EF4-FFF2-40B4-BE49-F238E27FC236}">
                  <a16:creationId xmlns:a16="http://schemas.microsoft.com/office/drawing/2014/main" id="{96F4C848-FCA2-452D-9BF6-EFA171999A6C}"/>
                </a:ext>
              </a:extLst>
            </p:cNvPr>
            <p:cNvSpPr/>
            <p:nvPr/>
          </p:nvSpPr>
          <p:spPr>
            <a:xfrm rot="8716295">
              <a:off x="1708098" y="195048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1" name="Forme libre : forme 2050">
              <a:extLst>
                <a:ext uri="{FF2B5EF4-FFF2-40B4-BE49-F238E27FC236}">
                  <a16:creationId xmlns:a16="http://schemas.microsoft.com/office/drawing/2014/main" id="{71B0A8AF-0B2B-4C16-AFBA-05D3C8218554}"/>
                </a:ext>
              </a:extLst>
            </p:cNvPr>
            <p:cNvSpPr/>
            <p:nvPr/>
          </p:nvSpPr>
          <p:spPr>
            <a:xfrm rot="8716295">
              <a:off x="1696046" y="181170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2" name="Forme libre : forme 2051">
              <a:extLst>
                <a:ext uri="{FF2B5EF4-FFF2-40B4-BE49-F238E27FC236}">
                  <a16:creationId xmlns:a16="http://schemas.microsoft.com/office/drawing/2014/main" id="{A8C901C7-377B-4E53-869C-62FF0103321A}"/>
                </a:ext>
              </a:extLst>
            </p:cNvPr>
            <p:cNvSpPr/>
            <p:nvPr/>
          </p:nvSpPr>
          <p:spPr>
            <a:xfrm rot="8716295">
              <a:off x="1923179" y="220010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3" name="Forme libre : forme 2052">
              <a:extLst>
                <a:ext uri="{FF2B5EF4-FFF2-40B4-BE49-F238E27FC236}">
                  <a16:creationId xmlns:a16="http://schemas.microsoft.com/office/drawing/2014/main" id="{62CC925F-A486-47A4-BC1C-0031447BDBF8}"/>
                </a:ext>
              </a:extLst>
            </p:cNvPr>
            <p:cNvSpPr/>
            <p:nvPr/>
          </p:nvSpPr>
          <p:spPr>
            <a:xfrm rot="8716295">
              <a:off x="2234334" y="182046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4" name="Forme libre : forme 2053">
              <a:extLst>
                <a:ext uri="{FF2B5EF4-FFF2-40B4-BE49-F238E27FC236}">
                  <a16:creationId xmlns:a16="http://schemas.microsoft.com/office/drawing/2014/main" id="{945EF2C5-109C-411B-81B5-BFB1887E75E2}"/>
                </a:ext>
              </a:extLst>
            </p:cNvPr>
            <p:cNvSpPr/>
            <p:nvPr/>
          </p:nvSpPr>
          <p:spPr>
            <a:xfrm rot="8716295">
              <a:off x="2323726" y="184970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5" name="Forme libre : forme 2054">
              <a:extLst>
                <a:ext uri="{FF2B5EF4-FFF2-40B4-BE49-F238E27FC236}">
                  <a16:creationId xmlns:a16="http://schemas.microsoft.com/office/drawing/2014/main" id="{E2FDAFBA-90AF-4DD3-88B7-3D0DB77D26C2}"/>
                </a:ext>
              </a:extLst>
            </p:cNvPr>
            <p:cNvSpPr/>
            <p:nvPr/>
          </p:nvSpPr>
          <p:spPr>
            <a:xfrm rot="8716295">
              <a:off x="2122100" y="19090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6" name="Forme libre : forme 2055">
              <a:extLst>
                <a:ext uri="{FF2B5EF4-FFF2-40B4-BE49-F238E27FC236}">
                  <a16:creationId xmlns:a16="http://schemas.microsoft.com/office/drawing/2014/main" id="{0AF6A2EA-C10E-429A-AA22-3518511DA0A6}"/>
                </a:ext>
              </a:extLst>
            </p:cNvPr>
            <p:cNvSpPr/>
            <p:nvPr/>
          </p:nvSpPr>
          <p:spPr>
            <a:xfrm rot="8716295">
              <a:off x="1997198" y="170033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7" name="Forme libre : forme 2056">
              <a:extLst>
                <a:ext uri="{FF2B5EF4-FFF2-40B4-BE49-F238E27FC236}">
                  <a16:creationId xmlns:a16="http://schemas.microsoft.com/office/drawing/2014/main" id="{600B3F51-A7A8-4209-BCA4-1E31E67B6420}"/>
                </a:ext>
              </a:extLst>
            </p:cNvPr>
            <p:cNvSpPr/>
            <p:nvPr/>
          </p:nvSpPr>
          <p:spPr>
            <a:xfrm rot="8716295">
              <a:off x="2212278" y="194995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8" name="Forme libre : forme 2057">
              <a:extLst>
                <a:ext uri="{FF2B5EF4-FFF2-40B4-BE49-F238E27FC236}">
                  <a16:creationId xmlns:a16="http://schemas.microsoft.com/office/drawing/2014/main" id="{669CFA3F-1269-41F1-AC29-3A52F3487D24}"/>
                </a:ext>
              </a:extLst>
            </p:cNvPr>
            <p:cNvSpPr/>
            <p:nvPr/>
          </p:nvSpPr>
          <p:spPr>
            <a:xfrm rot="8716295">
              <a:off x="1970827" y="180035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9" name="Forme libre : forme 2058">
              <a:extLst>
                <a:ext uri="{FF2B5EF4-FFF2-40B4-BE49-F238E27FC236}">
                  <a16:creationId xmlns:a16="http://schemas.microsoft.com/office/drawing/2014/main" id="{F45F3582-C9CB-48C1-8687-58B7F6AE5003}"/>
                </a:ext>
              </a:extLst>
            </p:cNvPr>
            <p:cNvSpPr/>
            <p:nvPr/>
          </p:nvSpPr>
          <p:spPr>
            <a:xfrm rot="7484129">
              <a:off x="2317209" y="214130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0" name="Forme libre : forme 2059">
              <a:extLst>
                <a:ext uri="{FF2B5EF4-FFF2-40B4-BE49-F238E27FC236}">
                  <a16:creationId xmlns:a16="http://schemas.microsoft.com/office/drawing/2014/main" id="{13A0BF37-B9E9-4770-AC7E-B4F047117F80}"/>
                </a:ext>
              </a:extLst>
            </p:cNvPr>
            <p:cNvSpPr/>
            <p:nvPr/>
          </p:nvSpPr>
          <p:spPr>
            <a:xfrm rot="13089394">
              <a:off x="2422029" y="2107841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1" name="Forme libre : forme 2060">
              <a:extLst>
                <a:ext uri="{FF2B5EF4-FFF2-40B4-BE49-F238E27FC236}">
                  <a16:creationId xmlns:a16="http://schemas.microsoft.com/office/drawing/2014/main" id="{DD6F851E-8648-4D33-8B66-E1A2D791E45B}"/>
                </a:ext>
              </a:extLst>
            </p:cNvPr>
            <p:cNvSpPr/>
            <p:nvPr/>
          </p:nvSpPr>
          <p:spPr>
            <a:xfrm rot="8716295">
              <a:off x="2607614" y="191616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2" name="Forme libre : forme 2061">
              <a:extLst>
                <a:ext uri="{FF2B5EF4-FFF2-40B4-BE49-F238E27FC236}">
                  <a16:creationId xmlns:a16="http://schemas.microsoft.com/office/drawing/2014/main" id="{3EAC65FE-36BD-4259-B307-2A15106E17B7}"/>
                </a:ext>
              </a:extLst>
            </p:cNvPr>
            <p:cNvSpPr/>
            <p:nvPr/>
          </p:nvSpPr>
          <p:spPr>
            <a:xfrm rot="8716295">
              <a:off x="2555809" y="181256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3" name="Forme libre : forme 2062">
              <a:extLst>
                <a:ext uri="{FF2B5EF4-FFF2-40B4-BE49-F238E27FC236}">
                  <a16:creationId xmlns:a16="http://schemas.microsoft.com/office/drawing/2014/main" id="{0EC3A0BB-90CE-43B1-AB94-5264BC6980A0}"/>
                </a:ext>
              </a:extLst>
            </p:cNvPr>
            <p:cNvSpPr/>
            <p:nvPr/>
          </p:nvSpPr>
          <p:spPr>
            <a:xfrm rot="8716295">
              <a:off x="2312563" y="184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4" name="Forme libre : forme 2063">
              <a:extLst>
                <a:ext uri="{FF2B5EF4-FFF2-40B4-BE49-F238E27FC236}">
                  <a16:creationId xmlns:a16="http://schemas.microsoft.com/office/drawing/2014/main" id="{279EC32D-CBDC-4885-A518-E43D58F75913}"/>
                </a:ext>
              </a:extLst>
            </p:cNvPr>
            <p:cNvSpPr/>
            <p:nvPr/>
          </p:nvSpPr>
          <p:spPr>
            <a:xfrm rot="8716295">
              <a:off x="2490015" y="168354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5" name="Forme libre : forme 2064">
              <a:extLst>
                <a:ext uri="{FF2B5EF4-FFF2-40B4-BE49-F238E27FC236}">
                  <a16:creationId xmlns:a16="http://schemas.microsoft.com/office/drawing/2014/main" id="{82B63EF8-70AC-424B-8D0D-1430936AED2B}"/>
                </a:ext>
              </a:extLst>
            </p:cNvPr>
            <p:cNvSpPr/>
            <p:nvPr/>
          </p:nvSpPr>
          <p:spPr>
            <a:xfrm rot="8716295">
              <a:off x="1722068" y="141091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6" name="Forme libre : forme 2065">
              <a:extLst>
                <a:ext uri="{FF2B5EF4-FFF2-40B4-BE49-F238E27FC236}">
                  <a16:creationId xmlns:a16="http://schemas.microsoft.com/office/drawing/2014/main" id="{9639FE86-B706-472C-8B17-F05FFAA6C032}"/>
                </a:ext>
              </a:extLst>
            </p:cNvPr>
            <p:cNvSpPr/>
            <p:nvPr/>
          </p:nvSpPr>
          <p:spPr>
            <a:xfrm rot="8716295">
              <a:off x="1811460" y="144015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7" name="Forme libre : forme 2066">
              <a:extLst>
                <a:ext uri="{FF2B5EF4-FFF2-40B4-BE49-F238E27FC236}">
                  <a16:creationId xmlns:a16="http://schemas.microsoft.com/office/drawing/2014/main" id="{07446619-2E49-4747-ACBE-260C0C2C4C34}"/>
                </a:ext>
              </a:extLst>
            </p:cNvPr>
            <p:cNvSpPr/>
            <p:nvPr/>
          </p:nvSpPr>
          <p:spPr>
            <a:xfrm rot="8716295">
              <a:off x="1766610" y="135387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8" name="Forme libre : forme 2067">
              <a:extLst>
                <a:ext uri="{FF2B5EF4-FFF2-40B4-BE49-F238E27FC236}">
                  <a16:creationId xmlns:a16="http://schemas.microsoft.com/office/drawing/2014/main" id="{78612368-26FB-4711-B283-76B1C1100DD4}"/>
                </a:ext>
              </a:extLst>
            </p:cNvPr>
            <p:cNvSpPr/>
            <p:nvPr/>
          </p:nvSpPr>
          <p:spPr>
            <a:xfrm rot="8716295">
              <a:off x="1609834" y="149945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9" name="Forme libre : forme 2068">
              <a:extLst>
                <a:ext uri="{FF2B5EF4-FFF2-40B4-BE49-F238E27FC236}">
                  <a16:creationId xmlns:a16="http://schemas.microsoft.com/office/drawing/2014/main" id="{1205D449-2819-4B61-B974-818AB8770F91}"/>
                </a:ext>
              </a:extLst>
            </p:cNvPr>
            <p:cNvSpPr/>
            <p:nvPr/>
          </p:nvSpPr>
          <p:spPr>
            <a:xfrm rot="8716295">
              <a:off x="1484931" y="129078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0" name="Forme libre : forme 2069">
              <a:extLst>
                <a:ext uri="{FF2B5EF4-FFF2-40B4-BE49-F238E27FC236}">
                  <a16:creationId xmlns:a16="http://schemas.microsoft.com/office/drawing/2014/main" id="{28759079-BB1E-4FA1-A581-AB007D40486E}"/>
                </a:ext>
              </a:extLst>
            </p:cNvPr>
            <p:cNvSpPr/>
            <p:nvPr/>
          </p:nvSpPr>
          <p:spPr>
            <a:xfrm rot="8716295">
              <a:off x="1472879" y="115200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1" name="Forme libre : forme 2070">
              <a:extLst>
                <a:ext uri="{FF2B5EF4-FFF2-40B4-BE49-F238E27FC236}">
                  <a16:creationId xmlns:a16="http://schemas.microsoft.com/office/drawing/2014/main" id="{FC133296-4D5B-406D-87D4-112911C0532F}"/>
                </a:ext>
              </a:extLst>
            </p:cNvPr>
            <p:cNvSpPr/>
            <p:nvPr/>
          </p:nvSpPr>
          <p:spPr>
            <a:xfrm rot="8716295">
              <a:off x="1700012" y="154040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2" name="Forme libre : forme 2071">
              <a:extLst>
                <a:ext uri="{FF2B5EF4-FFF2-40B4-BE49-F238E27FC236}">
                  <a16:creationId xmlns:a16="http://schemas.microsoft.com/office/drawing/2014/main" id="{0306E902-1DCB-4E80-803F-5BF7940B2AF5}"/>
                </a:ext>
              </a:extLst>
            </p:cNvPr>
            <p:cNvSpPr/>
            <p:nvPr/>
          </p:nvSpPr>
          <p:spPr>
            <a:xfrm rot="8716295">
              <a:off x="2011167" y="116076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3" name="Forme libre : forme 2072">
              <a:extLst>
                <a:ext uri="{FF2B5EF4-FFF2-40B4-BE49-F238E27FC236}">
                  <a16:creationId xmlns:a16="http://schemas.microsoft.com/office/drawing/2014/main" id="{E401BA69-156A-448C-B8AF-22460155FDA8}"/>
                </a:ext>
              </a:extLst>
            </p:cNvPr>
            <p:cNvSpPr/>
            <p:nvPr/>
          </p:nvSpPr>
          <p:spPr>
            <a:xfrm rot="8716295">
              <a:off x="2100559" y="119000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4" name="Forme libre : forme 2073">
              <a:extLst>
                <a:ext uri="{FF2B5EF4-FFF2-40B4-BE49-F238E27FC236}">
                  <a16:creationId xmlns:a16="http://schemas.microsoft.com/office/drawing/2014/main" id="{322BCC2C-AE44-47D4-A086-C2788A0FFD3F}"/>
                </a:ext>
              </a:extLst>
            </p:cNvPr>
            <p:cNvSpPr/>
            <p:nvPr/>
          </p:nvSpPr>
          <p:spPr>
            <a:xfrm rot="8716295">
              <a:off x="1898933" y="124930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5" name="Forme libre : forme 2074">
              <a:extLst>
                <a:ext uri="{FF2B5EF4-FFF2-40B4-BE49-F238E27FC236}">
                  <a16:creationId xmlns:a16="http://schemas.microsoft.com/office/drawing/2014/main" id="{DD5F6BBF-77CE-477E-9678-E08B043518F9}"/>
                </a:ext>
              </a:extLst>
            </p:cNvPr>
            <p:cNvSpPr/>
            <p:nvPr/>
          </p:nvSpPr>
          <p:spPr>
            <a:xfrm rot="8716295">
              <a:off x="1774031" y="104063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6" name="Forme libre : forme 2075">
              <a:extLst>
                <a:ext uri="{FF2B5EF4-FFF2-40B4-BE49-F238E27FC236}">
                  <a16:creationId xmlns:a16="http://schemas.microsoft.com/office/drawing/2014/main" id="{420D59E0-C275-46B1-A399-9E824480E384}"/>
                </a:ext>
              </a:extLst>
            </p:cNvPr>
            <p:cNvSpPr/>
            <p:nvPr/>
          </p:nvSpPr>
          <p:spPr>
            <a:xfrm rot="8716295">
              <a:off x="1989111" y="129025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7" name="Forme libre : forme 2076">
              <a:extLst>
                <a:ext uri="{FF2B5EF4-FFF2-40B4-BE49-F238E27FC236}">
                  <a16:creationId xmlns:a16="http://schemas.microsoft.com/office/drawing/2014/main" id="{21B9C359-7D7E-4839-B2F3-C15EDB6FA631}"/>
                </a:ext>
              </a:extLst>
            </p:cNvPr>
            <p:cNvSpPr/>
            <p:nvPr/>
          </p:nvSpPr>
          <p:spPr>
            <a:xfrm rot="8716295">
              <a:off x="1747660" y="114065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8" name="Forme libre : forme 2077">
              <a:extLst>
                <a:ext uri="{FF2B5EF4-FFF2-40B4-BE49-F238E27FC236}">
                  <a16:creationId xmlns:a16="http://schemas.microsoft.com/office/drawing/2014/main" id="{C5BF12D0-E189-4CA4-8E29-2C56167D5BF6}"/>
                </a:ext>
              </a:extLst>
            </p:cNvPr>
            <p:cNvSpPr/>
            <p:nvPr/>
          </p:nvSpPr>
          <p:spPr>
            <a:xfrm rot="7484129">
              <a:off x="2094042" y="148160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9" name="Forme libre : forme 2078">
              <a:extLst>
                <a:ext uri="{FF2B5EF4-FFF2-40B4-BE49-F238E27FC236}">
                  <a16:creationId xmlns:a16="http://schemas.microsoft.com/office/drawing/2014/main" id="{2EFD84FE-C6E8-4F6C-9BB5-653FA0BF96AE}"/>
                </a:ext>
              </a:extLst>
            </p:cNvPr>
            <p:cNvSpPr/>
            <p:nvPr/>
          </p:nvSpPr>
          <p:spPr>
            <a:xfrm rot="13089394">
              <a:off x="2198862" y="144814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0" name="Forme libre : forme 2079">
              <a:extLst>
                <a:ext uri="{FF2B5EF4-FFF2-40B4-BE49-F238E27FC236}">
                  <a16:creationId xmlns:a16="http://schemas.microsoft.com/office/drawing/2014/main" id="{6A69758E-EB99-4030-A031-2F9349DD4303}"/>
                </a:ext>
              </a:extLst>
            </p:cNvPr>
            <p:cNvSpPr/>
            <p:nvPr/>
          </p:nvSpPr>
          <p:spPr>
            <a:xfrm rot="8716295">
              <a:off x="2384447" y="125646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1" name="Forme libre : forme 2080">
              <a:extLst>
                <a:ext uri="{FF2B5EF4-FFF2-40B4-BE49-F238E27FC236}">
                  <a16:creationId xmlns:a16="http://schemas.microsoft.com/office/drawing/2014/main" id="{022740DA-D518-4F48-ABDE-16E68F591FD2}"/>
                </a:ext>
              </a:extLst>
            </p:cNvPr>
            <p:cNvSpPr/>
            <p:nvPr/>
          </p:nvSpPr>
          <p:spPr>
            <a:xfrm rot="8716295">
              <a:off x="2332642" y="115286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2" name="Forme libre : forme 2081">
              <a:extLst>
                <a:ext uri="{FF2B5EF4-FFF2-40B4-BE49-F238E27FC236}">
                  <a16:creationId xmlns:a16="http://schemas.microsoft.com/office/drawing/2014/main" id="{0313D091-4067-4EFE-BD30-E6503447BAD7}"/>
                </a:ext>
              </a:extLst>
            </p:cNvPr>
            <p:cNvSpPr/>
            <p:nvPr/>
          </p:nvSpPr>
          <p:spPr>
            <a:xfrm rot="8716295">
              <a:off x="2089396" y="118308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3" name="Forme libre : forme 2082">
              <a:extLst>
                <a:ext uri="{FF2B5EF4-FFF2-40B4-BE49-F238E27FC236}">
                  <a16:creationId xmlns:a16="http://schemas.microsoft.com/office/drawing/2014/main" id="{26A9C2FF-58EC-4F7E-9242-E46D4FFD7308}"/>
                </a:ext>
              </a:extLst>
            </p:cNvPr>
            <p:cNvSpPr/>
            <p:nvPr/>
          </p:nvSpPr>
          <p:spPr>
            <a:xfrm rot="8716295">
              <a:off x="2266848" y="102384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4" name="Forme libre : forme 2083">
              <a:extLst>
                <a:ext uri="{FF2B5EF4-FFF2-40B4-BE49-F238E27FC236}">
                  <a16:creationId xmlns:a16="http://schemas.microsoft.com/office/drawing/2014/main" id="{8DBFE747-1F5C-41A3-92C7-458A3B6D5116}"/>
                </a:ext>
              </a:extLst>
            </p:cNvPr>
            <p:cNvSpPr/>
            <p:nvPr/>
          </p:nvSpPr>
          <p:spPr>
            <a:xfrm rot="8716295">
              <a:off x="1503129" y="74885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5" name="Forme libre : forme 2084">
              <a:extLst>
                <a:ext uri="{FF2B5EF4-FFF2-40B4-BE49-F238E27FC236}">
                  <a16:creationId xmlns:a16="http://schemas.microsoft.com/office/drawing/2014/main" id="{6DA92627-FAFA-41E9-AEB5-0B6CF647FB05}"/>
                </a:ext>
              </a:extLst>
            </p:cNvPr>
            <p:cNvSpPr/>
            <p:nvPr/>
          </p:nvSpPr>
          <p:spPr>
            <a:xfrm rot="8716295">
              <a:off x="1592521" y="77809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6" name="Forme libre : forme 2085">
              <a:extLst>
                <a:ext uri="{FF2B5EF4-FFF2-40B4-BE49-F238E27FC236}">
                  <a16:creationId xmlns:a16="http://schemas.microsoft.com/office/drawing/2014/main" id="{E19F09B9-4988-41E7-BAA6-0B828FD03B07}"/>
                </a:ext>
              </a:extLst>
            </p:cNvPr>
            <p:cNvSpPr/>
            <p:nvPr/>
          </p:nvSpPr>
          <p:spPr>
            <a:xfrm rot="8716295">
              <a:off x="1547671" y="69181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7" name="Forme libre : forme 2086">
              <a:extLst>
                <a:ext uri="{FF2B5EF4-FFF2-40B4-BE49-F238E27FC236}">
                  <a16:creationId xmlns:a16="http://schemas.microsoft.com/office/drawing/2014/main" id="{FB7C092D-3593-4D2B-954D-520BBCB70267}"/>
                </a:ext>
              </a:extLst>
            </p:cNvPr>
            <p:cNvSpPr/>
            <p:nvPr/>
          </p:nvSpPr>
          <p:spPr>
            <a:xfrm rot="8716295">
              <a:off x="1390895" y="83739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8" name="Forme libre : forme 2087">
              <a:extLst>
                <a:ext uri="{FF2B5EF4-FFF2-40B4-BE49-F238E27FC236}">
                  <a16:creationId xmlns:a16="http://schemas.microsoft.com/office/drawing/2014/main" id="{00FADB2F-7F2D-4B98-9271-D534A6BFA872}"/>
                </a:ext>
              </a:extLst>
            </p:cNvPr>
            <p:cNvSpPr/>
            <p:nvPr/>
          </p:nvSpPr>
          <p:spPr>
            <a:xfrm rot="8716295">
              <a:off x="1265992" y="62872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9" name="Forme libre : forme 2088">
              <a:extLst>
                <a:ext uri="{FF2B5EF4-FFF2-40B4-BE49-F238E27FC236}">
                  <a16:creationId xmlns:a16="http://schemas.microsoft.com/office/drawing/2014/main" id="{800006B7-3487-4C19-BDD4-3F3EE8F3EDE3}"/>
                </a:ext>
              </a:extLst>
            </p:cNvPr>
            <p:cNvSpPr/>
            <p:nvPr/>
          </p:nvSpPr>
          <p:spPr>
            <a:xfrm rot="8716295">
              <a:off x="1253940" y="48994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0" name="Forme libre : forme 2089">
              <a:extLst>
                <a:ext uri="{FF2B5EF4-FFF2-40B4-BE49-F238E27FC236}">
                  <a16:creationId xmlns:a16="http://schemas.microsoft.com/office/drawing/2014/main" id="{EB3EEFD9-046D-4DF6-B67C-49F4399957FE}"/>
                </a:ext>
              </a:extLst>
            </p:cNvPr>
            <p:cNvSpPr/>
            <p:nvPr/>
          </p:nvSpPr>
          <p:spPr>
            <a:xfrm rot="8716295">
              <a:off x="1481073" y="87835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1" name="Forme libre : forme 2090">
              <a:extLst>
                <a:ext uri="{FF2B5EF4-FFF2-40B4-BE49-F238E27FC236}">
                  <a16:creationId xmlns:a16="http://schemas.microsoft.com/office/drawing/2014/main" id="{02F0F7EE-BE61-484C-A6CE-1B15380B21EA}"/>
                </a:ext>
              </a:extLst>
            </p:cNvPr>
            <p:cNvSpPr/>
            <p:nvPr/>
          </p:nvSpPr>
          <p:spPr>
            <a:xfrm rot="8716295">
              <a:off x="1792228" y="4987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2" name="Forme libre : forme 2091">
              <a:extLst>
                <a:ext uri="{FF2B5EF4-FFF2-40B4-BE49-F238E27FC236}">
                  <a16:creationId xmlns:a16="http://schemas.microsoft.com/office/drawing/2014/main" id="{04EB967F-CD6D-4883-B745-DF5C302A9EEF}"/>
                </a:ext>
              </a:extLst>
            </p:cNvPr>
            <p:cNvSpPr/>
            <p:nvPr/>
          </p:nvSpPr>
          <p:spPr>
            <a:xfrm rot="8716295">
              <a:off x="1881620" y="5279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3" name="Forme libre : forme 2092">
              <a:extLst>
                <a:ext uri="{FF2B5EF4-FFF2-40B4-BE49-F238E27FC236}">
                  <a16:creationId xmlns:a16="http://schemas.microsoft.com/office/drawing/2014/main" id="{4D2C6D5A-0FA7-419F-B901-693A0643042F}"/>
                </a:ext>
              </a:extLst>
            </p:cNvPr>
            <p:cNvSpPr/>
            <p:nvPr/>
          </p:nvSpPr>
          <p:spPr>
            <a:xfrm rot="8716295">
              <a:off x="1679994" y="58724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4" name="Forme libre : forme 2093">
              <a:extLst>
                <a:ext uri="{FF2B5EF4-FFF2-40B4-BE49-F238E27FC236}">
                  <a16:creationId xmlns:a16="http://schemas.microsoft.com/office/drawing/2014/main" id="{23712BD0-82A2-4AF5-8B6D-BB8511641A83}"/>
                </a:ext>
              </a:extLst>
            </p:cNvPr>
            <p:cNvSpPr/>
            <p:nvPr/>
          </p:nvSpPr>
          <p:spPr>
            <a:xfrm rot="8716295">
              <a:off x="1555092" y="37857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5" name="Forme libre : forme 2094">
              <a:extLst>
                <a:ext uri="{FF2B5EF4-FFF2-40B4-BE49-F238E27FC236}">
                  <a16:creationId xmlns:a16="http://schemas.microsoft.com/office/drawing/2014/main" id="{44B373CD-4E19-4D4C-BF54-C82742B561B2}"/>
                </a:ext>
              </a:extLst>
            </p:cNvPr>
            <p:cNvSpPr/>
            <p:nvPr/>
          </p:nvSpPr>
          <p:spPr>
            <a:xfrm rot="8716295">
              <a:off x="1770172" y="62819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6" name="Forme libre : forme 2095">
              <a:extLst>
                <a:ext uri="{FF2B5EF4-FFF2-40B4-BE49-F238E27FC236}">
                  <a16:creationId xmlns:a16="http://schemas.microsoft.com/office/drawing/2014/main" id="{E3E13DED-9A91-4F99-8478-572CA3CC5153}"/>
                </a:ext>
              </a:extLst>
            </p:cNvPr>
            <p:cNvSpPr/>
            <p:nvPr/>
          </p:nvSpPr>
          <p:spPr>
            <a:xfrm rot="8716295">
              <a:off x="1528721" y="47859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7" name="Forme libre : forme 2096">
              <a:extLst>
                <a:ext uri="{FF2B5EF4-FFF2-40B4-BE49-F238E27FC236}">
                  <a16:creationId xmlns:a16="http://schemas.microsoft.com/office/drawing/2014/main" id="{42F07E9E-D9BC-4C4E-9145-14F39EEA65C6}"/>
                </a:ext>
              </a:extLst>
            </p:cNvPr>
            <p:cNvSpPr/>
            <p:nvPr/>
          </p:nvSpPr>
          <p:spPr>
            <a:xfrm rot="7484129">
              <a:off x="1875103" y="8195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8" name="Forme libre : forme 2097">
              <a:extLst>
                <a:ext uri="{FF2B5EF4-FFF2-40B4-BE49-F238E27FC236}">
                  <a16:creationId xmlns:a16="http://schemas.microsoft.com/office/drawing/2014/main" id="{8AE5C53D-B782-4A26-9FAB-5622E2FBCAB9}"/>
                </a:ext>
              </a:extLst>
            </p:cNvPr>
            <p:cNvSpPr/>
            <p:nvPr/>
          </p:nvSpPr>
          <p:spPr>
            <a:xfrm rot="13089394">
              <a:off x="1979923" y="7860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9" name="Forme libre : forme 2098">
              <a:extLst>
                <a:ext uri="{FF2B5EF4-FFF2-40B4-BE49-F238E27FC236}">
                  <a16:creationId xmlns:a16="http://schemas.microsoft.com/office/drawing/2014/main" id="{4A6DE30F-26F9-49C8-B709-E349C3186130}"/>
                </a:ext>
              </a:extLst>
            </p:cNvPr>
            <p:cNvSpPr/>
            <p:nvPr/>
          </p:nvSpPr>
          <p:spPr>
            <a:xfrm rot="8716295">
              <a:off x="2165508" y="5944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0" name="Forme libre : forme 2099">
              <a:extLst>
                <a:ext uri="{FF2B5EF4-FFF2-40B4-BE49-F238E27FC236}">
                  <a16:creationId xmlns:a16="http://schemas.microsoft.com/office/drawing/2014/main" id="{2DDEFD81-8A46-4059-99D7-4B2265487E80}"/>
                </a:ext>
              </a:extLst>
            </p:cNvPr>
            <p:cNvSpPr/>
            <p:nvPr/>
          </p:nvSpPr>
          <p:spPr>
            <a:xfrm rot="8716295">
              <a:off x="2113703" y="4908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1" name="Forme libre : forme 2100">
              <a:extLst>
                <a:ext uri="{FF2B5EF4-FFF2-40B4-BE49-F238E27FC236}">
                  <a16:creationId xmlns:a16="http://schemas.microsoft.com/office/drawing/2014/main" id="{A3EE798C-0AA5-4252-A892-7301ED50370F}"/>
                </a:ext>
              </a:extLst>
            </p:cNvPr>
            <p:cNvSpPr/>
            <p:nvPr/>
          </p:nvSpPr>
          <p:spPr>
            <a:xfrm rot="8716295">
              <a:off x="1870457" y="5210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2" name="Forme libre : forme 2101">
              <a:extLst>
                <a:ext uri="{FF2B5EF4-FFF2-40B4-BE49-F238E27FC236}">
                  <a16:creationId xmlns:a16="http://schemas.microsoft.com/office/drawing/2014/main" id="{149F02FB-1B6D-4EB4-825D-D9F836CD0FC6}"/>
                </a:ext>
              </a:extLst>
            </p:cNvPr>
            <p:cNvSpPr/>
            <p:nvPr/>
          </p:nvSpPr>
          <p:spPr>
            <a:xfrm rot="8716295">
              <a:off x="2047909" y="3617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3" name="Forme libre : forme 2102">
              <a:extLst>
                <a:ext uri="{FF2B5EF4-FFF2-40B4-BE49-F238E27FC236}">
                  <a16:creationId xmlns:a16="http://schemas.microsoft.com/office/drawing/2014/main" id="{5476C925-82E1-422B-99D4-C56F679EC46B}"/>
                </a:ext>
              </a:extLst>
            </p:cNvPr>
            <p:cNvSpPr/>
            <p:nvPr/>
          </p:nvSpPr>
          <p:spPr>
            <a:xfrm rot="8716295">
              <a:off x="1280459" y="8544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4" name="Forme libre : forme 2103">
              <a:extLst>
                <a:ext uri="{FF2B5EF4-FFF2-40B4-BE49-F238E27FC236}">
                  <a16:creationId xmlns:a16="http://schemas.microsoft.com/office/drawing/2014/main" id="{BF329EDF-F1EE-4568-9642-732B3612E081}"/>
                </a:ext>
              </a:extLst>
            </p:cNvPr>
            <p:cNvSpPr/>
            <p:nvPr/>
          </p:nvSpPr>
          <p:spPr>
            <a:xfrm rot="8716295">
              <a:off x="1369851" y="11468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5" name="Forme libre : forme 2104">
              <a:extLst>
                <a:ext uri="{FF2B5EF4-FFF2-40B4-BE49-F238E27FC236}">
                  <a16:creationId xmlns:a16="http://schemas.microsoft.com/office/drawing/2014/main" id="{60755DB7-27FB-456F-8DE6-F358D789D48F}"/>
                </a:ext>
              </a:extLst>
            </p:cNvPr>
            <p:cNvSpPr/>
            <p:nvPr/>
          </p:nvSpPr>
          <p:spPr>
            <a:xfrm rot="8716295">
              <a:off x="1325001" y="2840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6" name="Forme libre : forme 2105">
              <a:extLst>
                <a:ext uri="{FF2B5EF4-FFF2-40B4-BE49-F238E27FC236}">
                  <a16:creationId xmlns:a16="http://schemas.microsoft.com/office/drawing/2014/main" id="{8606756D-A6B7-4495-AF27-29A2389343F7}"/>
                </a:ext>
              </a:extLst>
            </p:cNvPr>
            <p:cNvSpPr/>
            <p:nvPr/>
          </p:nvSpPr>
          <p:spPr>
            <a:xfrm rot="8716295">
              <a:off x="1168225" y="17398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7" name="Forme libre : forme 2106">
              <a:extLst>
                <a:ext uri="{FF2B5EF4-FFF2-40B4-BE49-F238E27FC236}">
                  <a16:creationId xmlns:a16="http://schemas.microsoft.com/office/drawing/2014/main" id="{D39FAC73-C527-4852-8A8F-C2335C9AC7B6}"/>
                </a:ext>
              </a:extLst>
            </p:cNvPr>
            <p:cNvSpPr/>
            <p:nvPr/>
          </p:nvSpPr>
          <p:spPr>
            <a:xfrm rot="8716295">
              <a:off x="1045449" y="-13548"/>
              <a:ext cx="203847" cy="172572"/>
            </a:xfrm>
            <a:custGeom>
              <a:avLst/>
              <a:gdLst>
                <a:gd name="connsiteX0" fmla="*/ 98725 w 203847"/>
                <a:gd name="connsiteY0" fmla="*/ 172572 h 172572"/>
                <a:gd name="connsiteX1" fmla="*/ 65988 w 203847"/>
                <a:gd name="connsiteY1" fmla="*/ 149880 h 172572"/>
                <a:gd name="connsiteX2" fmla="*/ 47847 w 203847"/>
                <a:gd name="connsiteY2" fmla="*/ 116129 h 172572"/>
                <a:gd name="connsiteX3" fmla="*/ 69777 w 203847"/>
                <a:gd name="connsiteY3" fmla="*/ 55323 h 172572"/>
                <a:gd name="connsiteX4" fmla="*/ 0 w 203847"/>
                <a:gd name="connsiteY4" fmla="*/ 55323 h 172572"/>
                <a:gd name="connsiteX5" fmla="*/ 0 w 203847"/>
                <a:gd name="connsiteY5" fmla="*/ 0 h 172572"/>
                <a:gd name="connsiteX6" fmla="*/ 203847 w 203847"/>
                <a:gd name="connsiteY6" fmla="*/ 0 h 172572"/>
                <a:gd name="connsiteX7" fmla="*/ 203847 w 203847"/>
                <a:gd name="connsiteY7" fmla="*/ 55323 h 172572"/>
                <a:gd name="connsiteX8" fmla="*/ 139055 w 203847"/>
                <a:gd name="connsiteY8" fmla="*/ 55323 h 172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72572">
                  <a:moveTo>
                    <a:pt x="98725" y="172572"/>
                  </a:moveTo>
                  <a:lnTo>
                    <a:pt x="65988" y="149880"/>
                  </a:ln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8" name="Forme libre : forme 2107">
              <a:extLst>
                <a:ext uri="{FF2B5EF4-FFF2-40B4-BE49-F238E27FC236}">
                  <a16:creationId xmlns:a16="http://schemas.microsoft.com/office/drawing/2014/main" id="{01DFB6D5-6838-4BAE-A3F7-6EE5905F7587}"/>
                </a:ext>
              </a:extLst>
            </p:cNvPr>
            <p:cNvSpPr/>
            <p:nvPr/>
          </p:nvSpPr>
          <p:spPr>
            <a:xfrm rot="8716295">
              <a:off x="1049608" y="-107301"/>
              <a:ext cx="290643" cy="275223"/>
            </a:xfrm>
            <a:custGeom>
              <a:avLst/>
              <a:gdLst>
                <a:gd name="connsiteX0" fmla="*/ 79172 w 290643"/>
                <a:gd name="connsiteY0" fmla="*/ 128638 h 275223"/>
                <a:gd name="connsiteX1" fmla="*/ 0 w 290643"/>
                <a:gd name="connsiteY1" fmla="*/ 73758 h 275223"/>
                <a:gd name="connsiteX2" fmla="*/ 0 w 290643"/>
                <a:gd name="connsiteY2" fmla="*/ 40596 h 275223"/>
                <a:gd name="connsiteX3" fmla="*/ 78250 w 290643"/>
                <a:gd name="connsiteY3" fmla="*/ 0 h 275223"/>
                <a:gd name="connsiteX4" fmla="*/ 290643 w 290643"/>
                <a:gd name="connsiteY4" fmla="*/ 275223 h 275223"/>
                <a:gd name="connsiteX5" fmla="*/ 278016 w 290643"/>
                <a:gd name="connsiteY5" fmla="*/ 266470 h 275223"/>
                <a:gd name="connsiteX6" fmla="*/ 289467 w 290643"/>
                <a:gd name="connsiteY6" fmla="*/ 261815 h 275223"/>
                <a:gd name="connsiteX7" fmla="*/ 290643 w 290643"/>
                <a:gd name="connsiteY7" fmla="*/ 269463 h 27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0643" h="275223">
                  <a:moveTo>
                    <a:pt x="79172" y="128638"/>
                  </a:moveTo>
                  <a:lnTo>
                    <a:pt x="0" y="73758"/>
                  </a:lnTo>
                  <a:lnTo>
                    <a:pt x="0" y="40596"/>
                  </a:lnTo>
                  <a:lnTo>
                    <a:pt x="78250" y="0"/>
                  </a:lnTo>
                  <a:close/>
                  <a:moveTo>
                    <a:pt x="290643" y="275223"/>
                  </a:moveTo>
                  <a:lnTo>
                    <a:pt x="278016" y="266470"/>
                  </a:lnTo>
                  <a:lnTo>
                    <a:pt x="289467" y="261815"/>
                  </a:lnTo>
                  <a:cubicBezTo>
                    <a:pt x="290055" y="264168"/>
                    <a:pt x="290643" y="267110"/>
                    <a:pt x="290643" y="2694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9" name="Forme libre : forme 2108">
              <a:extLst>
                <a:ext uri="{FF2B5EF4-FFF2-40B4-BE49-F238E27FC236}">
                  <a16:creationId xmlns:a16="http://schemas.microsoft.com/office/drawing/2014/main" id="{40068CFA-826F-4747-847E-A7A0590789FF}"/>
                </a:ext>
              </a:extLst>
            </p:cNvPr>
            <p:cNvSpPr/>
            <p:nvPr/>
          </p:nvSpPr>
          <p:spPr>
            <a:xfrm rot="8716295">
              <a:off x="1258403" y="21493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0" name="Forme libre : forme 2109">
              <a:extLst>
                <a:ext uri="{FF2B5EF4-FFF2-40B4-BE49-F238E27FC236}">
                  <a16:creationId xmlns:a16="http://schemas.microsoft.com/office/drawing/2014/main" id="{186C0547-DD23-448F-B6C3-1554CF0BEABF}"/>
                </a:ext>
              </a:extLst>
            </p:cNvPr>
            <p:cNvSpPr/>
            <p:nvPr/>
          </p:nvSpPr>
          <p:spPr>
            <a:xfrm rot="8716295">
              <a:off x="1604517" y="-50002"/>
              <a:ext cx="142167" cy="106747"/>
            </a:xfrm>
            <a:custGeom>
              <a:avLst/>
              <a:gdLst>
                <a:gd name="connsiteX0" fmla="*/ 142167 w 142167"/>
                <a:gd name="connsiteY0" fmla="*/ 106747 h 106747"/>
                <a:gd name="connsiteX1" fmla="*/ 79942 w 142167"/>
                <a:gd name="connsiteY1" fmla="*/ 63615 h 106747"/>
                <a:gd name="connsiteX2" fmla="*/ 74103 w 142167"/>
                <a:gd name="connsiteY2" fmla="*/ 53597 h 106747"/>
                <a:gd name="connsiteX3" fmla="*/ 60604 w 142167"/>
                <a:gd name="connsiteY3" fmla="*/ 50123 h 106747"/>
                <a:gd name="connsiteX4" fmla="*/ 60478 w 142167"/>
                <a:gd name="connsiteY4" fmla="*/ 50123 h 106747"/>
                <a:gd name="connsiteX5" fmla="*/ 0 w 142167"/>
                <a:gd name="connsiteY5" fmla="*/ 8201 h 106747"/>
                <a:gd name="connsiteX6" fmla="*/ 0 w 142167"/>
                <a:gd name="connsiteY6" fmla="*/ 0 h 106747"/>
                <a:gd name="connsiteX7" fmla="*/ 85209 w 142167"/>
                <a:gd name="connsiteY7" fmla="*/ 0 h 106747"/>
                <a:gd name="connsiteX8" fmla="*/ 142167 w 142167"/>
                <a:gd name="connsiteY8" fmla="*/ 50123 h 10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06747">
                  <a:moveTo>
                    <a:pt x="142167" y="106747"/>
                  </a:moveTo>
                  <a:lnTo>
                    <a:pt x="79942" y="63615"/>
                  </a:lnTo>
                  <a:lnTo>
                    <a:pt x="74103" y="53597"/>
                  </a:lnTo>
                  <a:cubicBezTo>
                    <a:pt x="70400" y="50806"/>
                    <a:pt x="65616" y="49439"/>
                    <a:pt x="60604" y="50123"/>
                  </a:cubicBezTo>
                  <a:lnTo>
                    <a:pt x="60478" y="50123"/>
                  </a:lnTo>
                  <a:lnTo>
                    <a:pt x="0" y="8201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1" name="Forme libre : forme 2110">
              <a:extLst>
                <a:ext uri="{FF2B5EF4-FFF2-40B4-BE49-F238E27FC236}">
                  <a16:creationId xmlns:a16="http://schemas.microsoft.com/office/drawing/2014/main" id="{4E98298E-B55A-44CD-A45A-1C113F4E2341}"/>
                </a:ext>
              </a:extLst>
            </p:cNvPr>
            <p:cNvSpPr/>
            <p:nvPr/>
          </p:nvSpPr>
          <p:spPr>
            <a:xfrm rot="8716295">
              <a:off x="1699771" y="-2013"/>
              <a:ext cx="260639" cy="104392"/>
            </a:xfrm>
            <a:custGeom>
              <a:avLst/>
              <a:gdLst>
                <a:gd name="connsiteX0" fmla="*/ 117530 w 260639"/>
                <a:gd name="connsiteY0" fmla="*/ 104392 h 104392"/>
                <a:gd name="connsiteX1" fmla="*/ 51490 w 260639"/>
                <a:gd name="connsiteY1" fmla="*/ 58614 h 104392"/>
                <a:gd name="connsiteX2" fmla="*/ 51490 w 260639"/>
                <a:gd name="connsiteY2" fmla="*/ 45624 h 104392"/>
                <a:gd name="connsiteX3" fmla="*/ 32748 w 260639"/>
                <a:gd name="connsiteY3" fmla="*/ 45624 h 104392"/>
                <a:gd name="connsiteX4" fmla="*/ 0 w 260639"/>
                <a:gd name="connsiteY4" fmla="*/ 22924 h 104392"/>
                <a:gd name="connsiteX5" fmla="*/ 0 w 260639"/>
                <a:gd name="connsiteY5" fmla="*/ 1425 h 104392"/>
                <a:gd name="connsiteX6" fmla="*/ 104802 w 260639"/>
                <a:gd name="connsiteY6" fmla="*/ 1425 h 104392"/>
                <a:gd name="connsiteX7" fmla="*/ 104802 w 260639"/>
                <a:gd name="connsiteY7" fmla="*/ 75242 h 104392"/>
                <a:gd name="connsiteX8" fmla="*/ 106169 w 260639"/>
                <a:gd name="connsiteY8" fmla="*/ 75242 h 104392"/>
                <a:gd name="connsiteX9" fmla="*/ 154014 w 260639"/>
                <a:gd name="connsiteY9" fmla="*/ 5981 h 104392"/>
                <a:gd name="connsiteX10" fmla="*/ 185455 w 260639"/>
                <a:gd name="connsiteY10" fmla="*/ 57 h 104392"/>
                <a:gd name="connsiteX11" fmla="*/ 260639 w 260639"/>
                <a:gd name="connsiteY11" fmla="*/ 88456 h 104392"/>
                <a:gd name="connsiteX12" fmla="*/ 260639 w 260639"/>
                <a:gd name="connsiteY12" fmla="*/ 94380 h 104392"/>
                <a:gd name="connsiteX13" fmla="*/ 198669 w 260639"/>
                <a:gd name="connsiteY13" fmla="*/ 98025 h 104392"/>
                <a:gd name="connsiteX14" fmla="*/ 198669 w 260639"/>
                <a:gd name="connsiteY14" fmla="*/ 81621 h 104392"/>
                <a:gd name="connsiteX15" fmla="*/ 164950 w 260639"/>
                <a:gd name="connsiteY15" fmla="*/ 40156 h 104392"/>
                <a:gd name="connsiteX16" fmla="*/ 127358 w 260639"/>
                <a:gd name="connsiteY16" fmla="*/ 65616 h 104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60639" h="104392">
                  <a:moveTo>
                    <a:pt x="117530" y="104392"/>
                  </a:moveTo>
                  <a:lnTo>
                    <a:pt x="51490" y="58614"/>
                  </a:lnTo>
                  <a:lnTo>
                    <a:pt x="51490" y="45624"/>
                  </a:lnTo>
                  <a:lnTo>
                    <a:pt x="32748" y="45624"/>
                  </a:lnTo>
                  <a:lnTo>
                    <a:pt x="0" y="229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5"/>
                    <a:pt x="184544" y="40156"/>
                    <a:pt x="164950" y="40156"/>
                  </a:cubicBezTo>
                  <a:cubicBezTo>
                    <a:pt x="150369" y="40156"/>
                    <a:pt x="137041" y="49839"/>
                    <a:pt x="127358" y="656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2" name="Forme libre : forme 2111">
              <a:extLst>
                <a:ext uri="{FF2B5EF4-FFF2-40B4-BE49-F238E27FC236}">
                  <a16:creationId xmlns:a16="http://schemas.microsoft.com/office/drawing/2014/main" id="{1686E0BE-E0BC-4E6B-8FCD-21BC30F2B50B}"/>
                </a:ext>
              </a:extLst>
            </p:cNvPr>
            <p:cNvSpPr/>
            <p:nvPr/>
          </p:nvSpPr>
          <p:spPr>
            <a:xfrm rot="8716295">
              <a:off x="1547502" y="-3521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3" name="Forme libre : forme 2112">
              <a:extLst>
                <a:ext uri="{FF2B5EF4-FFF2-40B4-BE49-F238E27FC236}">
                  <a16:creationId xmlns:a16="http://schemas.microsoft.com/office/drawing/2014/main" id="{EA8402F5-9E14-4C1B-86EF-D60D49059A89}"/>
                </a:ext>
              </a:extLst>
            </p:cNvPr>
            <p:cNvSpPr/>
            <p:nvPr/>
          </p:nvSpPr>
          <p:spPr>
            <a:xfrm rot="7484129">
              <a:off x="1652433" y="15613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4" name="Forme libre : forme 2113">
              <a:extLst>
                <a:ext uri="{FF2B5EF4-FFF2-40B4-BE49-F238E27FC236}">
                  <a16:creationId xmlns:a16="http://schemas.microsoft.com/office/drawing/2014/main" id="{BB19AB13-04E1-44CB-8853-DB1D9B8F2135}"/>
                </a:ext>
              </a:extLst>
            </p:cNvPr>
            <p:cNvSpPr/>
            <p:nvPr/>
          </p:nvSpPr>
          <p:spPr>
            <a:xfrm rot="13089394">
              <a:off x="1757253" y="122669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5" name="Forme libre : forme 2114">
              <a:extLst>
                <a:ext uri="{FF2B5EF4-FFF2-40B4-BE49-F238E27FC236}">
                  <a16:creationId xmlns:a16="http://schemas.microsoft.com/office/drawing/2014/main" id="{6F466DAE-6800-456B-ACC4-2CBB5549AC79}"/>
                </a:ext>
              </a:extLst>
            </p:cNvPr>
            <p:cNvSpPr/>
            <p:nvPr/>
          </p:nvSpPr>
          <p:spPr>
            <a:xfrm rot="8716295">
              <a:off x="1960606" y="3279"/>
              <a:ext cx="142687" cy="109177"/>
            </a:xfrm>
            <a:custGeom>
              <a:avLst/>
              <a:gdLst>
                <a:gd name="connsiteX0" fmla="*/ 48521 w 142687"/>
                <a:gd name="connsiteY0" fmla="*/ 109177 h 109177"/>
                <a:gd name="connsiteX1" fmla="*/ 0 w 142687"/>
                <a:gd name="connsiteY1" fmla="*/ 75545 h 109177"/>
                <a:gd name="connsiteX2" fmla="*/ 44875 w 142687"/>
                <a:gd name="connsiteY2" fmla="*/ 33320 h 109177"/>
                <a:gd name="connsiteX3" fmla="*/ 109367 w 142687"/>
                <a:gd name="connsiteY3" fmla="*/ 0 h 109177"/>
                <a:gd name="connsiteX4" fmla="*/ 142687 w 142687"/>
                <a:gd name="connsiteY4" fmla="*/ 39770 h 109177"/>
                <a:gd name="connsiteX5" fmla="*/ 111516 w 142687"/>
                <a:gd name="connsiteY5" fmla="*/ 81689 h 109177"/>
                <a:gd name="connsiteX6" fmla="*/ 112053 w 142687"/>
                <a:gd name="connsiteY6" fmla="*/ 81689 h 109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687" h="109177">
                  <a:moveTo>
                    <a:pt x="48521" y="109177"/>
                  </a:moveTo>
                  <a:lnTo>
                    <a:pt x="0" y="75545"/>
                  </a:lnTo>
                  <a:lnTo>
                    <a:pt x="44875" y="33320"/>
                  </a:lnTo>
                  <a:cubicBezTo>
                    <a:pt x="60998" y="14511"/>
                    <a:pt x="84107" y="2687"/>
                    <a:pt x="109367" y="0"/>
                  </a:cubicBezTo>
                  <a:cubicBezTo>
                    <a:pt x="135163" y="0"/>
                    <a:pt x="142687" y="22572"/>
                    <a:pt x="142687" y="39770"/>
                  </a:cubicBezTo>
                  <a:cubicBezTo>
                    <a:pt x="141074" y="58580"/>
                    <a:pt x="128713" y="74165"/>
                    <a:pt x="111516" y="81689"/>
                  </a:cubicBezTo>
                  <a:lnTo>
                    <a:pt x="112053" y="816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6" name="Forme libre : forme 2115">
              <a:extLst>
                <a:ext uri="{FF2B5EF4-FFF2-40B4-BE49-F238E27FC236}">
                  <a16:creationId xmlns:a16="http://schemas.microsoft.com/office/drawing/2014/main" id="{9DCB4F7A-3483-4950-AEA2-3FC2A3A37265}"/>
                </a:ext>
              </a:extLst>
            </p:cNvPr>
            <p:cNvSpPr/>
            <p:nvPr/>
          </p:nvSpPr>
          <p:spPr>
            <a:xfrm rot="8716295">
              <a:off x="1076398" y="254697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7" name="Forme libre : forme 2116">
              <a:extLst>
                <a:ext uri="{FF2B5EF4-FFF2-40B4-BE49-F238E27FC236}">
                  <a16:creationId xmlns:a16="http://schemas.microsoft.com/office/drawing/2014/main" id="{414E124C-0029-4898-9792-55D1396F2459}"/>
                </a:ext>
              </a:extLst>
            </p:cNvPr>
            <p:cNvSpPr/>
            <p:nvPr/>
          </p:nvSpPr>
          <p:spPr>
            <a:xfrm rot="8716295">
              <a:off x="1165790" y="257621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8" name="Forme libre : forme 2117">
              <a:extLst>
                <a:ext uri="{FF2B5EF4-FFF2-40B4-BE49-F238E27FC236}">
                  <a16:creationId xmlns:a16="http://schemas.microsoft.com/office/drawing/2014/main" id="{F81BCB93-8702-40B2-9E5E-60A2216BFC6A}"/>
                </a:ext>
              </a:extLst>
            </p:cNvPr>
            <p:cNvSpPr/>
            <p:nvPr/>
          </p:nvSpPr>
          <p:spPr>
            <a:xfrm rot="8716295">
              <a:off x="1120940" y="248993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9" name="Forme libre : forme 2118">
              <a:extLst>
                <a:ext uri="{FF2B5EF4-FFF2-40B4-BE49-F238E27FC236}">
                  <a16:creationId xmlns:a16="http://schemas.microsoft.com/office/drawing/2014/main" id="{90387AAF-8E65-48E6-A7A2-DB1E2DFB9DDB}"/>
                </a:ext>
              </a:extLst>
            </p:cNvPr>
            <p:cNvSpPr/>
            <p:nvPr/>
          </p:nvSpPr>
          <p:spPr>
            <a:xfrm rot="8716295">
              <a:off x="964164" y="263551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0" name="Forme libre : forme 2119">
              <a:extLst>
                <a:ext uri="{FF2B5EF4-FFF2-40B4-BE49-F238E27FC236}">
                  <a16:creationId xmlns:a16="http://schemas.microsoft.com/office/drawing/2014/main" id="{6F5BF8F5-5E17-43C6-8038-8EBDD74B7585}"/>
                </a:ext>
              </a:extLst>
            </p:cNvPr>
            <p:cNvSpPr/>
            <p:nvPr/>
          </p:nvSpPr>
          <p:spPr>
            <a:xfrm rot="8716295">
              <a:off x="839261" y="242684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1" name="Forme libre : forme 2120">
              <a:extLst>
                <a:ext uri="{FF2B5EF4-FFF2-40B4-BE49-F238E27FC236}">
                  <a16:creationId xmlns:a16="http://schemas.microsoft.com/office/drawing/2014/main" id="{8C0ACA57-2A8F-4AAD-A404-075EA92CDFA4}"/>
                </a:ext>
              </a:extLst>
            </p:cNvPr>
            <p:cNvSpPr/>
            <p:nvPr/>
          </p:nvSpPr>
          <p:spPr>
            <a:xfrm rot="8716295">
              <a:off x="827209" y="228806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2" name="Forme libre : forme 2121">
              <a:extLst>
                <a:ext uri="{FF2B5EF4-FFF2-40B4-BE49-F238E27FC236}">
                  <a16:creationId xmlns:a16="http://schemas.microsoft.com/office/drawing/2014/main" id="{C013B905-0051-4D90-A201-5787B7639BF4}"/>
                </a:ext>
              </a:extLst>
            </p:cNvPr>
            <p:cNvSpPr/>
            <p:nvPr/>
          </p:nvSpPr>
          <p:spPr>
            <a:xfrm rot="8716295">
              <a:off x="1054342" y="267647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3" name="Forme libre : forme 2122">
              <a:extLst>
                <a:ext uri="{FF2B5EF4-FFF2-40B4-BE49-F238E27FC236}">
                  <a16:creationId xmlns:a16="http://schemas.microsoft.com/office/drawing/2014/main" id="{8F1BA098-EE89-4D48-A15F-CB3E01C32968}"/>
                </a:ext>
              </a:extLst>
            </p:cNvPr>
            <p:cNvSpPr/>
            <p:nvPr/>
          </p:nvSpPr>
          <p:spPr>
            <a:xfrm rot="8716295">
              <a:off x="1365497" y="229682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4" name="Forme libre : forme 2123">
              <a:extLst>
                <a:ext uri="{FF2B5EF4-FFF2-40B4-BE49-F238E27FC236}">
                  <a16:creationId xmlns:a16="http://schemas.microsoft.com/office/drawing/2014/main" id="{14107977-7495-49D2-8CBC-3985323EDBCB}"/>
                </a:ext>
              </a:extLst>
            </p:cNvPr>
            <p:cNvSpPr/>
            <p:nvPr/>
          </p:nvSpPr>
          <p:spPr>
            <a:xfrm rot="8716295">
              <a:off x="1454889" y="232606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5" name="Forme libre : forme 2124">
              <a:extLst>
                <a:ext uri="{FF2B5EF4-FFF2-40B4-BE49-F238E27FC236}">
                  <a16:creationId xmlns:a16="http://schemas.microsoft.com/office/drawing/2014/main" id="{98C8DCC3-1997-4015-8E64-2DA3E85BA3C9}"/>
                </a:ext>
              </a:extLst>
            </p:cNvPr>
            <p:cNvSpPr/>
            <p:nvPr/>
          </p:nvSpPr>
          <p:spPr>
            <a:xfrm rot="8716295">
              <a:off x="1253263" y="238536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6" name="Forme libre : forme 2125">
              <a:extLst>
                <a:ext uri="{FF2B5EF4-FFF2-40B4-BE49-F238E27FC236}">
                  <a16:creationId xmlns:a16="http://schemas.microsoft.com/office/drawing/2014/main" id="{ED472988-C4F9-49FB-862E-CED2DC1F08EC}"/>
                </a:ext>
              </a:extLst>
            </p:cNvPr>
            <p:cNvSpPr/>
            <p:nvPr/>
          </p:nvSpPr>
          <p:spPr>
            <a:xfrm rot="8716295">
              <a:off x="1128361" y="217669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7" name="Forme libre : forme 2126">
              <a:extLst>
                <a:ext uri="{FF2B5EF4-FFF2-40B4-BE49-F238E27FC236}">
                  <a16:creationId xmlns:a16="http://schemas.microsoft.com/office/drawing/2014/main" id="{97EFC57C-F831-4137-9CEC-BE44BE4717A4}"/>
                </a:ext>
              </a:extLst>
            </p:cNvPr>
            <p:cNvSpPr/>
            <p:nvPr/>
          </p:nvSpPr>
          <p:spPr>
            <a:xfrm rot="8716295">
              <a:off x="1343441" y="242631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8" name="Forme libre : forme 2127">
              <a:extLst>
                <a:ext uri="{FF2B5EF4-FFF2-40B4-BE49-F238E27FC236}">
                  <a16:creationId xmlns:a16="http://schemas.microsoft.com/office/drawing/2014/main" id="{4B620052-605D-48CA-97BF-CFF9CF4DFF66}"/>
                </a:ext>
              </a:extLst>
            </p:cNvPr>
            <p:cNvSpPr/>
            <p:nvPr/>
          </p:nvSpPr>
          <p:spPr>
            <a:xfrm rot="8716295">
              <a:off x="1101990" y="227671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9" name="Forme libre : forme 2128">
              <a:extLst>
                <a:ext uri="{FF2B5EF4-FFF2-40B4-BE49-F238E27FC236}">
                  <a16:creationId xmlns:a16="http://schemas.microsoft.com/office/drawing/2014/main" id="{8C4C7B52-3DF6-47DE-8C0B-9EB4083611A6}"/>
                </a:ext>
              </a:extLst>
            </p:cNvPr>
            <p:cNvSpPr/>
            <p:nvPr/>
          </p:nvSpPr>
          <p:spPr>
            <a:xfrm rot="7484129">
              <a:off x="1448372" y="261767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0" name="Forme libre : forme 2129">
              <a:extLst>
                <a:ext uri="{FF2B5EF4-FFF2-40B4-BE49-F238E27FC236}">
                  <a16:creationId xmlns:a16="http://schemas.microsoft.com/office/drawing/2014/main" id="{2AB34892-B16F-4430-A887-6CE1411F7E19}"/>
                </a:ext>
              </a:extLst>
            </p:cNvPr>
            <p:cNvSpPr/>
            <p:nvPr/>
          </p:nvSpPr>
          <p:spPr>
            <a:xfrm rot="13089394">
              <a:off x="1553192" y="258420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1" name="Forme libre : forme 2130">
              <a:extLst>
                <a:ext uri="{FF2B5EF4-FFF2-40B4-BE49-F238E27FC236}">
                  <a16:creationId xmlns:a16="http://schemas.microsoft.com/office/drawing/2014/main" id="{0F6D3C11-D763-4926-91AB-47832AC0DA05}"/>
                </a:ext>
              </a:extLst>
            </p:cNvPr>
            <p:cNvSpPr/>
            <p:nvPr/>
          </p:nvSpPr>
          <p:spPr>
            <a:xfrm rot="8716295">
              <a:off x="1738777" y="23925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2" name="Forme libre : forme 2131">
              <a:extLst>
                <a:ext uri="{FF2B5EF4-FFF2-40B4-BE49-F238E27FC236}">
                  <a16:creationId xmlns:a16="http://schemas.microsoft.com/office/drawing/2014/main" id="{A93A76E0-518B-4AFD-B8BD-03318ECE2F2F}"/>
                </a:ext>
              </a:extLst>
            </p:cNvPr>
            <p:cNvSpPr/>
            <p:nvPr/>
          </p:nvSpPr>
          <p:spPr>
            <a:xfrm rot="8716295">
              <a:off x="1686972" y="228893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3" name="Forme libre : forme 2132">
              <a:extLst>
                <a:ext uri="{FF2B5EF4-FFF2-40B4-BE49-F238E27FC236}">
                  <a16:creationId xmlns:a16="http://schemas.microsoft.com/office/drawing/2014/main" id="{48F561D4-A24C-46DA-9343-9AE94EDAA695}"/>
                </a:ext>
              </a:extLst>
            </p:cNvPr>
            <p:cNvSpPr/>
            <p:nvPr/>
          </p:nvSpPr>
          <p:spPr>
            <a:xfrm rot="8716295">
              <a:off x="1443726" y="231915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4" name="Forme libre : forme 2133">
              <a:extLst>
                <a:ext uri="{FF2B5EF4-FFF2-40B4-BE49-F238E27FC236}">
                  <a16:creationId xmlns:a16="http://schemas.microsoft.com/office/drawing/2014/main" id="{405DD3A6-28FF-4951-B270-6EC3E4D35ACA}"/>
                </a:ext>
              </a:extLst>
            </p:cNvPr>
            <p:cNvSpPr/>
            <p:nvPr/>
          </p:nvSpPr>
          <p:spPr>
            <a:xfrm rot="8716295">
              <a:off x="1621178" y="21599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5" name="Forme libre : forme 2134">
              <a:extLst>
                <a:ext uri="{FF2B5EF4-FFF2-40B4-BE49-F238E27FC236}">
                  <a16:creationId xmlns:a16="http://schemas.microsoft.com/office/drawing/2014/main" id="{F5308643-F53C-4E01-88E3-C8899D8500A4}"/>
                </a:ext>
              </a:extLst>
            </p:cNvPr>
            <p:cNvSpPr/>
            <p:nvPr/>
          </p:nvSpPr>
          <p:spPr>
            <a:xfrm rot="8716295">
              <a:off x="1299565" y="320667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6" name="Forme libre : forme 2135">
              <a:extLst>
                <a:ext uri="{FF2B5EF4-FFF2-40B4-BE49-F238E27FC236}">
                  <a16:creationId xmlns:a16="http://schemas.microsoft.com/office/drawing/2014/main" id="{D02035B8-4115-4B72-BCBC-2D5DECA663A0}"/>
                </a:ext>
              </a:extLst>
            </p:cNvPr>
            <p:cNvSpPr/>
            <p:nvPr/>
          </p:nvSpPr>
          <p:spPr>
            <a:xfrm rot="8716295">
              <a:off x="1388957" y="323591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7" name="Forme libre : forme 2136">
              <a:extLst>
                <a:ext uri="{FF2B5EF4-FFF2-40B4-BE49-F238E27FC236}">
                  <a16:creationId xmlns:a16="http://schemas.microsoft.com/office/drawing/2014/main" id="{CAB19897-3060-41B2-8A6A-E0541CF22EA7}"/>
                </a:ext>
              </a:extLst>
            </p:cNvPr>
            <p:cNvSpPr/>
            <p:nvPr/>
          </p:nvSpPr>
          <p:spPr>
            <a:xfrm rot="8716295">
              <a:off x="1344107" y="314963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8" name="Forme libre : forme 2137">
              <a:extLst>
                <a:ext uri="{FF2B5EF4-FFF2-40B4-BE49-F238E27FC236}">
                  <a16:creationId xmlns:a16="http://schemas.microsoft.com/office/drawing/2014/main" id="{F64A09B4-7DEB-4702-A647-FF2760487C04}"/>
                </a:ext>
              </a:extLst>
            </p:cNvPr>
            <p:cNvSpPr/>
            <p:nvPr/>
          </p:nvSpPr>
          <p:spPr>
            <a:xfrm rot="8716295">
              <a:off x="1187331" y="329521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9" name="Forme libre : forme 2138">
              <a:extLst>
                <a:ext uri="{FF2B5EF4-FFF2-40B4-BE49-F238E27FC236}">
                  <a16:creationId xmlns:a16="http://schemas.microsoft.com/office/drawing/2014/main" id="{92647C63-BB62-4D18-9ADE-8CD298C1670B}"/>
                </a:ext>
              </a:extLst>
            </p:cNvPr>
            <p:cNvSpPr/>
            <p:nvPr/>
          </p:nvSpPr>
          <p:spPr>
            <a:xfrm rot="8716295">
              <a:off x="1062428" y="308654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0" name="Forme libre : forme 2139">
              <a:extLst>
                <a:ext uri="{FF2B5EF4-FFF2-40B4-BE49-F238E27FC236}">
                  <a16:creationId xmlns:a16="http://schemas.microsoft.com/office/drawing/2014/main" id="{CAB88C70-3A76-4EED-9248-818FE9DD9BFA}"/>
                </a:ext>
              </a:extLst>
            </p:cNvPr>
            <p:cNvSpPr/>
            <p:nvPr/>
          </p:nvSpPr>
          <p:spPr>
            <a:xfrm rot="8716295">
              <a:off x="1050376" y="294776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1" name="Forme libre : forme 2140">
              <a:extLst>
                <a:ext uri="{FF2B5EF4-FFF2-40B4-BE49-F238E27FC236}">
                  <a16:creationId xmlns:a16="http://schemas.microsoft.com/office/drawing/2014/main" id="{757E5A5F-118C-4D2D-A7CB-9D38E498AA18}"/>
                </a:ext>
              </a:extLst>
            </p:cNvPr>
            <p:cNvSpPr/>
            <p:nvPr/>
          </p:nvSpPr>
          <p:spPr>
            <a:xfrm rot="8716295">
              <a:off x="1277509" y="333617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2" name="Forme libre : forme 2141">
              <a:extLst>
                <a:ext uri="{FF2B5EF4-FFF2-40B4-BE49-F238E27FC236}">
                  <a16:creationId xmlns:a16="http://schemas.microsoft.com/office/drawing/2014/main" id="{9CD271A0-DDCA-4CF4-99AF-F1225E7D3CA2}"/>
                </a:ext>
              </a:extLst>
            </p:cNvPr>
            <p:cNvSpPr/>
            <p:nvPr/>
          </p:nvSpPr>
          <p:spPr>
            <a:xfrm rot="8716295">
              <a:off x="1588664" y="295652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3" name="Forme libre : forme 2142">
              <a:extLst>
                <a:ext uri="{FF2B5EF4-FFF2-40B4-BE49-F238E27FC236}">
                  <a16:creationId xmlns:a16="http://schemas.microsoft.com/office/drawing/2014/main" id="{F17E5C04-2914-4166-904F-3412803C328B}"/>
                </a:ext>
              </a:extLst>
            </p:cNvPr>
            <p:cNvSpPr/>
            <p:nvPr/>
          </p:nvSpPr>
          <p:spPr>
            <a:xfrm rot="8716295">
              <a:off x="1678056" y="298576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4" name="Forme libre : forme 2143">
              <a:extLst>
                <a:ext uri="{FF2B5EF4-FFF2-40B4-BE49-F238E27FC236}">
                  <a16:creationId xmlns:a16="http://schemas.microsoft.com/office/drawing/2014/main" id="{06EE81A0-69AF-4FE9-B5FC-828C4F72D8C6}"/>
                </a:ext>
              </a:extLst>
            </p:cNvPr>
            <p:cNvSpPr/>
            <p:nvPr/>
          </p:nvSpPr>
          <p:spPr>
            <a:xfrm rot="8716295">
              <a:off x="1476430" y="304506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5" name="Forme libre : forme 2144">
              <a:extLst>
                <a:ext uri="{FF2B5EF4-FFF2-40B4-BE49-F238E27FC236}">
                  <a16:creationId xmlns:a16="http://schemas.microsoft.com/office/drawing/2014/main" id="{8EAE6F01-A7F9-464C-8EBA-81A188499272}"/>
                </a:ext>
              </a:extLst>
            </p:cNvPr>
            <p:cNvSpPr/>
            <p:nvPr/>
          </p:nvSpPr>
          <p:spPr>
            <a:xfrm rot="8716295">
              <a:off x="1351528" y="283639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6" name="Forme libre : forme 2145">
              <a:extLst>
                <a:ext uri="{FF2B5EF4-FFF2-40B4-BE49-F238E27FC236}">
                  <a16:creationId xmlns:a16="http://schemas.microsoft.com/office/drawing/2014/main" id="{B6351AC7-96AD-47D1-9D79-F320C6E6D6E3}"/>
                </a:ext>
              </a:extLst>
            </p:cNvPr>
            <p:cNvSpPr/>
            <p:nvPr/>
          </p:nvSpPr>
          <p:spPr>
            <a:xfrm rot="8716295">
              <a:off x="1566608" y="308601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7" name="Forme libre : forme 2146">
              <a:extLst>
                <a:ext uri="{FF2B5EF4-FFF2-40B4-BE49-F238E27FC236}">
                  <a16:creationId xmlns:a16="http://schemas.microsoft.com/office/drawing/2014/main" id="{82BC95DB-83FD-4690-8848-41B64D5E034F}"/>
                </a:ext>
              </a:extLst>
            </p:cNvPr>
            <p:cNvSpPr/>
            <p:nvPr/>
          </p:nvSpPr>
          <p:spPr>
            <a:xfrm rot="8716295">
              <a:off x="1325157" y="293641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8" name="Forme libre : forme 2147">
              <a:extLst>
                <a:ext uri="{FF2B5EF4-FFF2-40B4-BE49-F238E27FC236}">
                  <a16:creationId xmlns:a16="http://schemas.microsoft.com/office/drawing/2014/main" id="{19CDF187-E415-4E2D-A559-BA3CE6C90F8E}"/>
                </a:ext>
              </a:extLst>
            </p:cNvPr>
            <p:cNvSpPr/>
            <p:nvPr/>
          </p:nvSpPr>
          <p:spPr>
            <a:xfrm rot="7484129">
              <a:off x="1671539" y="327736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9" name="Forme libre : forme 2148">
              <a:extLst>
                <a:ext uri="{FF2B5EF4-FFF2-40B4-BE49-F238E27FC236}">
                  <a16:creationId xmlns:a16="http://schemas.microsoft.com/office/drawing/2014/main" id="{DDE34510-8FA7-4B53-A035-4965BDBF96B3}"/>
                </a:ext>
              </a:extLst>
            </p:cNvPr>
            <p:cNvSpPr/>
            <p:nvPr/>
          </p:nvSpPr>
          <p:spPr>
            <a:xfrm rot="13089394">
              <a:off x="1776359" y="324390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0" name="Forme libre : forme 2149">
              <a:extLst>
                <a:ext uri="{FF2B5EF4-FFF2-40B4-BE49-F238E27FC236}">
                  <a16:creationId xmlns:a16="http://schemas.microsoft.com/office/drawing/2014/main" id="{4BB6C526-1010-4A1E-9912-BB67A42E4090}"/>
                </a:ext>
              </a:extLst>
            </p:cNvPr>
            <p:cNvSpPr/>
            <p:nvPr/>
          </p:nvSpPr>
          <p:spPr>
            <a:xfrm rot="8716295">
              <a:off x="1961944" y="305222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1" name="Forme libre : forme 2150">
              <a:extLst>
                <a:ext uri="{FF2B5EF4-FFF2-40B4-BE49-F238E27FC236}">
                  <a16:creationId xmlns:a16="http://schemas.microsoft.com/office/drawing/2014/main" id="{F4134A25-BDCE-4B34-AD80-5279EE73B812}"/>
                </a:ext>
              </a:extLst>
            </p:cNvPr>
            <p:cNvSpPr/>
            <p:nvPr/>
          </p:nvSpPr>
          <p:spPr>
            <a:xfrm rot="8716295">
              <a:off x="1910139" y="294862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2" name="Forme libre : forme 2151">
              <a:extLst>
                <a:ext uri="{FF2B5EF4-FFF2-40B4-BE49-F238E27FC236}">
                  <a16:creationId xmlns:a16="http://schemas.microsoft.com/office/drawing/2014/main" id="{B08A59B2-7AD4-4CE7-B6F7-0E9654D5CD55}"/>
                </a:ext>
              </a:extLst>
            </p:cNvPr>
            <p:cNvSpPr/>
            <p:nvPr/>
          </p:nvSpPr>
          <p:spPr>
            <a:xfrm rot="8716295">
              <a:off x="1666893" y="297885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3" name="Forme libre : forme 2152">
              <a:extLst>
                <a:ext uri="{FF2B5EF4-FFF2-40B4-BE49-F238E27FC236}">
                  <a16:creationId xmlns:a16="http://schemas.microsoft.com/office/drawing/2014/main" id="{103CB056-39D3-4816-9465-68CA4D6F7AFD}"/>
                </a:ext>
              </a:extLst>
            </p:cNvPr>
            <p:cNvSpPr/>
            <p:nvPr/>
          </p:nvSpPr>
          <p:spPr>
            <a:xfrm rot="8716295">
              <a:off x="1844345" y="281960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4" name="Forme libre : forme 2153">
              <a:extLst>
                <a:ext uri="{FF2B5EF4-FFF2-40B4-BE49-F238E27FC236}">
                  <a16:creationId xmlns:a16="http://schemas.microsoft.com/office/drawing/2014/main" id="{BB2685A7-9846-429A-B032-E76F8406BAD2}"/>
                </a:ext>
              </a:extLst>
            </p:cNvPr>
            <p:cNvSpPr/>
            <p:nvPr/>
          </p:nvSpPr>
          <p:spPr>
            <a:xfrm rot="8716295">
              <a:off x="2092137" y="5100860"/>
              <a:ext cx="63833" cy="43384"/>
            </a:xfrm>
            <a:custGeom>
              <a:avLst/>
              <a:gdLst>
                <a:gd name="connsiteX0" fmla="*/ 5923 w 63833"/>
                <a:gd name="connsiteY0" fmla="*/ 43384 h 43384"/>
                <a:gd name="connsiteX1" fmla="*/ 0 w 63833"/>
                <a:gd name="connsiteY1" fmla="*/ 35182 h 43384"/>
                <a:gd name="connsiteX2" fmla="*/ 37391 w 63833"/>
                <a:gd name="connsiteY2" fmla="*/ 0 h 43384"/>
                <a:gd name="connsiteX3" fmla="*/ 63833 w 63833"/>
                <a:gd name="connsiteY3" fmla="*/ 18329 h 4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833" h="43384">
                  <a:moveTo>
                    <a:pt x="5923" y="43384"/>
                  </a:moveTo>
                  <a:lnTo>
                    <a:pt x="0" y="35182"/>
                  </a:lnTo>
                  <a:lnTo>
                    <a:pt x="37391" y="0"/>
                  </a:lnTo>
                  <a:lnTo>
                    <a:pt x="63833" y="1832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5" name="Forme libre : forme 2154">
              <a:extLst>
                <a:ext uri="{FF2B5EF4-FFF2-40B4-BE49-F238E27FC236}">
                  <a16:creationId xmlns:a16="http://schemas.microsoft.com/office/drawing/2014/main" id="{1551E1ED-BCFB-4644-83F8-51D351159ECB}"/>
                </a:ext>
              </a:extLst>
            </p:cNvPr>
            <p:cNvSpPr/>
            <p:nvPr/>
          </p:nvSpPr>
          <p:spPr>
            <a:xfrm rot="8716295">
              <a:off x="1789040" y="5044339"/>
              <a:ext cx="113322" cy="144291"/>
            </a:xfrm>
            <a:custGeom>
              <a:avLst/>
              <a:gdLst>
                <a:gd name="connsiteX0" fmla="*/ 0 w 113322"/>
                <a:gd name="connsiteY0" fmla="*/ 3741 h 144291"/>
                <a:gd name="connsiteX1" fmla="*/ 0 w 113322"/>
                <a:gd name="connsiteY1" fmla="*/ 0 h 144291"/>
                <a:gd name="connsiteX2" fmla="*/ 5398 w 113322"/>
                <a:gd name="connsiteY2" fmla="*/ 3741 h 144291"/>
                <a:gd name="connsiteX3" fmla="*/ 90709 w 113322"/>
                <a:gd name="connsiteY3" fmla="*/ 144291 h 144291"/>
                <a:gd name="connsiteX4" fmla="*/ 47847 w 113322"/>
                <a:gd name="connsiteY4" fmla="*/ 64547 h 144291"/>
                <a:gd name="connsiteX5" fmla="*/ 56901 w 113322"/>
                <a:gd name="connsiteY5" fmla="*/ 39441 h 144291"/>
                <a:gd name="connsiteX6" fmla="*/ 113322 w 113322"/>
                <a:gd name="connsiteY6" fmla="*/ 78551 h 144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322" h="144291">
                  <a:moveTo>
                    <a:pt x="0" y="3741"/>
                  </a:moveTo>
                  <a:lnTo>
                    <a:pt x="0" y="0"/>
                  </a:lnTo>
                  <a:lnTo>
                    <a:pt x="5398" y="3741"/>
                  </a:lnTo>
                  <a:close/>
                  <a:moveTo>
                    <a:pt x="90709" y="144291"/>
                  </a:moveTo>
                  <a:lnTo>
                    <a:pt x="47847" y="64547"/>
                  </a:lnTo>
                  <a:lnTo>
                    <a:pt x="56901" y="39441"/>
                  </a:lnTo>
                  <a:lnTo>
                    <a:pt x="113322" y="7855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6" name="Forme libre : forme 2155">
              <a:extLst>
                <a:ext uri="{FF2B5EF4-FFF2-40B4-BE49-F238E27FC236}">
                  <a16:creationId xmlns:a16="http://schemas.microsoft.com/office/drawing/2014/main" id="{225E9856-4565-4211-849D-72975628AB50}"/>
                </a:ext>
              </a:extLst>
            </p:cNvPr>
            <p:cNvSpPr/>
            <p:nvPr/>
          </p:nvSpPr>
          <p:spPr>
            <a:xfrm rot="8716295">
              <a:off x="1701335" y="4927006"/>
              <a:ext cx="290643" cy="318535"/>
            </a:xfrm>
            <a:custGeom>
              <a:avLst/>
              <a:gdLst>
                <a:gd name="connsiteX0" fmla="*/ 25298 w 290643"/>
                <a:gd name="connsiteY0" fmla="*/ 288944 h 318535"/>
                <a:gd name="connsiteX1" fmla="*/ 0 w 290643"/>
                <a:gd name="connsiteY1" fmla="*/ 187748 h 318535"/>
                <a:gd name="connsiteX2" fmla="*/ 0 w 290643"/>
                <a:gd name="connsiteY2" fmla="*/ 8302 h 318535"/>
                <a:gd name="connsiteX3" fmla="*/ 16003 w 290643"/>
                <a:gd name="connsiteY3" fmla="*/ 0 h 318535"/>
                <a:gd name="connsiteX4" fmla="*/ 78793 w 290643"/>
                <a:gd name="connsiteY4" fmla="*/ 43524 h 318535"/>
                <a:gd name="connsiteX5" fmla="*/ 79427 w 290643"/>
                <a:gd name="connsiteY5" fmla="*/ 131855 h 318535"/>
                <a:gd name="connsiteX6" fmla="*/ 93547 w 290643"/>
                <a:gd name="connsiteY6" fmla="*/ 229521 h 318535"/>
                <a:gd name="connsiteX7" fmla="*/ 164149 w 290643"/>
                <a:gd name="connsiteY7" fmla="*/ 268352 h 318535"/>
                <a:gd name="connsiteX8" fmla="*/ 217100 w 290643"/>
                <a:gd name="connsiteY8" fmla="*/ 258938 h 318535"/>
                <a:gd name="connsiteX9" fmla="*/ 289467 w 290643"/>
                <a:gd name="connsiteY9" fmla="*/ 229521 h 318535"/>
                <a:gd name="connsiteX10" fmla="*/ 290643 w 290643"/>
                <a:gd name="connsiteY10" fmla="*/ 237169 h 318535"/>
                <a:gd name="connsiteX11" fmla="*/ 290643 w 290643"/>
                <a:gd name="connsiteY11" fmla="*/ 243052 h 318535"/>
                <a:gd name="connsiteX12" fmla="*/ 97665 w 290643"/>
                <a:gd name="connsiteY12" fmla="*/ 318361 h 318535"/>
                <a:gd name="connsiteX13" fmla="*/ 25298 w 290643"/>
                <a:gd name="connsiteY13" fmla="*/ 288944 h 318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90643" h="318535">
                  <a:moveTo>
                    <a:pt x="25298" y="288944"/>
                  </a:moveTo>
                  <a:cubicBezTo>
                    <a:pt x="5295" y="269528"/>
                    <a:pt x="0" y="235992"/>
                    <a:pt x="0" y="187748"/>
                  </a:cubicBezTo>
                  <a:lnTo>
                    <a:pt x="0" y="8302"/>
                  </a:lnTo>
                  <a:lnTo>
                    <a:pt x="16003" y="0"/>
                  </a:lnTo>
                  <a:lnTo>
                    <a:pt x="78793" y="43524"/>
                  </a:lnTo>
                  <a:lnTo>
                    <a:pt x="79427" y="131855"/>
                  </a:lnTo>
                  <a:cubicBezTo>
                    <a:pt x="77662" y="164803"/>
                    <a:pt x="82957" y="198338"/>
                    <a:pt x="93547" y="229521"/>
                  </a:cubicBezTo>
                  <a:cubicBezTo>
                    <a:pt x="102961" y="255408"/>
                    <a:pt x="127083" y="268352"/>
                    <a:pt x="164149" y="268352"/>
                  </a:cubicBezTo>
                  <a:cubicBezTo>
                    <a:pt x="182387" y="267763"/>
                    <a:pt x="200038" y="264233"/>
                    <a:pt x="217100" y="258938"/>
                  </a:cubicBezTo>
                  <a:cubicBezTo>
                    <a:pt x="241810" y="251290"/>
                    <a:pt x="265933" y="241288"/>
                    <a:pt x="289467" y="229521"/>
                  </a:cubicBezTo>
                  <a:cubicBezTo>
                    <a:pt x="290055" y="231874"/>
                    <a:pt x="290643" y="234816"/>
                    <a:pt x="290643" y="237169"/>
                  </a:cubicBezTo>
                  <a:lnTo>
                    <a:pt x="290643" y="243052"/>
                  </a:lnTo>
                  <a:cubicBezTo>
                    <a:pt x="228278" y="296592"/>
                    <a:pt x="146498" y="315419"/>
                    <a:pt x="97665" y="318361"/>
                  </a:cubicBezTo>
                  <a:cubicBezTo>
                    <a:pt x="70602" y="320126"/>
                    <a:pt x="44126" y="308359"/>
                    <a:pt x="25298" y="28894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7" name="Forme libre : forme 2156">
              <a:extLst>
                <a:ext uri="{FF2B5EF4-FFF2-40B4-BE49-F238E27FC236}">
                  <a16:creationId xmlns:a16="http://schemas.microsoft.com/office/drawing/2014/main" id="{0F4D380E-862F-4707-A19B-1E97A2112DC2}"/>
                </a:ext>
              </a:extLst>
            </p:cNvPr>
            <p:cNvSpPr/>
            <p:nvPr/>
          </p:nvSpPr>
          <p:spPr>
            <a:xfrm rot="8716295">
              <a:off x="2251190" y="4935850"/>
              <a:ext cx="142167" cy="232388"/>
            </a:xfrm>
            <a:custGeom>
              <a:avLst/>
              <a:gdLst>
                <a:gd name="connsiteX0" fmla="*/ 81108 w 142167"/>
                <a:gd name="connsiteY0" fmla="*/ 232388 h 232388"/>
                <a:gd name="connsiteX1" fmla="*/ 81108 w 142167"/>
                <a:gd name="connsiteY1" fmla="*/ 69716 h 232388"/>
                <a:gd name="connsiteX2" fmla="*/ 81108 w 142167"/>
                <a:gd name="connsiteY2" fmla="*/ 65616 h 232388"/>
                <a:gd name="connsiteX3" fmla="*/ 60604 w 142167"/>
                <a:gd name="connsiteY3" fmla="*/ 50123 h 232388"/>
                <a:gd name="connsiteX4" fmla="*/ 0 w 142167"/>
                <a:gd name="connsiteY4" fmla="*/ 50123 h 232388"/>
                <a:gd name="connsiteX5" fmla="*/ 0 w 142167"/>
                <a:gd name="connsiteY5" fmla="*/ 0 h 232388"/>
                <a:gd name="connsiteX6" fmla="*/ 63990 w 142167"/>
                <a:gd name="connsiteY6" fmla="*/ 0 h 232388"/>
                <a:gd name="connsiteX7" fmla="*/ 142167 w 142167"/>
                <a:gd name="connsiteY7" fmla="*/ 54190 h 232388"/>
                <a:gd name="connsiteX8" fmla="*/ 142167 w 142167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32388">
                  <a:moveTo>
                    <a:pt x="81108" y="232388"/>
                  </a:moveTo>
                  <a:lnTo>
                    <a:pt x="81108" y="69716"/>
                  </a:lnTo>
                  <a:cubicBezTo>
                    <a:pt x="81108" y="68350"/>
                    <a:pt x="81108" y="66983"/>
                    <a:pt x="81108" y="65616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63990" y="0"/>
                  </a:lnTo>
                  <a:lnTo>
                    <a:pt x="142167" y="54190"/>
                  </a:lnTo>
                  <a:lnTo>
                    <a:pt x="142167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8" name="Forme libre : forme 2157">
              <a:extLst>
                <a:ext uri="{FF2B5EF4-FFF2-40B4-BE49-F238E27FC236}">
                  <a16:creationId xmlns:a16="http://schemas.microsoft.com/office/drawing/2014/main" id="{87F138DF-A215-4254-ACAA-04DDE52CD8B6}"/>
                </a:ext>
              </a:extLst>
            </p:cNvPr>
            <p:cNvSpPr/>
            <p:nvPr/>
          </p:nvSpPr>
          <p:spPr>
            <a:xfrm rot="8716295">
              <a:off x="2456859" y="4924575"/>
              <a:ext cx="131246" cy="253348"/>
            </a:xfrm>
            <a:custGeom>
              <a:avLst/>
              <a:gdLst>
                <a:gd name="connsiteX0" fmla="*/ 51490 w 131246"/>
                <a:gd name="connsiteY0" fmla="*/ 253348 h 253348"/>
                <a:gd name="connsiteX1" fmla="*/ 51489 w 131246"/>
                <a:gd name="connsiteY1" fmla="*/ 44199 h 253348"/>
                <a:gd name="connsiteX2" fmla="*/ 0 w 131246"/>
                <a:gd name="connsiteY2" fmla="*/ 44199 h 253348"/>
                <a:gd name="connsiteX3" fmla="*/ 0 w 131246"/>
                <a:gd name="connsiteY3" fmla="*/ 0 h 253348"/>
                <a:gd name="connsiteX4" fmla="*/ 44807 w 131246"/>
                <a:gd name="connsiteY4" fmla="*/ 0 h 253348"/>
                <a:gd name="connsiteX5" fmla="*/ 104802 w 131246"/>
                <a:gd name="connsiteY5" fmla="*/ 41587 h 253348"/>
                <a:gd name="connsiteX6" fmla="*/ 104802 w 131246"/>
                <a:gd name="connsiteY6" fmla="*/ 73817 h 253348"/>
                <a:gd name="connsiteX7" fmla="*/ 106169 w 131246"/>
                <a:gd name="connsiteY7" fmla="*/ 73817 h 253348"/>
                <a:gd name="connsiteX8" fmla="*/ 115569 w 131246"/>
                <a:gd name="connsiteY8" fmla="*/ 49050 h 253348"/>
                <a:gd name="connsiteX9" fmla="*/ 131246 w 131246"/>
                <a:gd name="connsiteY9" fmla="*/ 59916 h 253348"/>
                <a:gd name="connsiteX10" fmla="*/ 127358 w 131246"/>
                <a:gd name="connsiteY10" fmla="*/ 64191 h 253348"/>
                <a:gd name="connsiteX11" fmla="*/ 111638 w 131246"/>
                <a:gd name="connsiteY11" fmla="*/ 126218 h 253348"/>
                <a:gd name="connsiteX12" fmla="*/ 111638 w 131246"/>
                <a:gd name="connsiteY12" fmla="*/ 212339 h 253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1246" h="253348">
                  <a:moveTo>
                    <a:pt x="51490" y="253348"/>
                  </a:moveTo>
                  <a:lnTo>
                    <a:pt x="51489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44807" y="0"/>
                  </a:lnTo>
                  <a:lnTo>
                    <a:pt x="104802" y="41587"/>
                  </a:lnTo>
                  <a:lnTo>
                    <a:pt x="104802" y="73817"/>
                  </a:lnTo>
                  <a:lnTo>
                    <a:pt x="106169" y="73817"/>
                  </a:lnTo>
                  <a:lnTo>
                    <a:pt x="115569" y="49050"/>
                  </a:lnTo>
                  <a:lnTo>
                    <a:pt x="131246" y="59916"/>
                  </a:lnTo>
                  <a:lnTo>
                    <a:pt x="127358" y="64191"/>
                  </a:lnTo>
                  <a:cubicBezTo>
                    <a:pt x="117675" y="79968"/>
                    <a:pt x="111638" y="101840"/>
                    <a:pt x="111638" y="126218"/>
                  </a:cubicBezTo>
                  <a:lnTo>
                    <a:pt x="111638" y="2123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9" name="Forme libre : forme 2158">
              <a:extLst>
                <a:ext uri="{FF2B5EF4-FFF2-40B4-BE49-F238E27FC236}">
                  <a16:creationId xmlns:a16="http://schemas.microsoft.com/office/drawing/2014/main" id="{21433117-8AAD-4CA9-9660-FC5A8F69F16F}"/>
                </a:ext>
              </a:extLst>
            </p:cNvPr>
            <p:cNvSpPr/>
            <p:nvPr/>
          </p:nvSpPr>
          <p:spPr>
            <a:xfrm rot="8716295">
              <a:off x="2139785" y="502413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0" name="Forme libre : forme 2159">
              <a:extLst>
                <a:ext uri="{FF2B5EF4-FFF2-40B4-BE49-F238E27FC236}">
                  <a16:creationId xmlns:a16="http://schemas.microsoft.com/office/drawing/2014/main" id="{06B19A57-02F4-4720-99D9-55A2BEE2C0D4}"/>
                </a:ext>
              </a:extLst>
            </p:cNvPr>
            <p:cNvSpPr/>
            <p:nvPr/>
          </p:nvSpPr>
          <p:spPr>
            <a:xfrm rot="8716295">
              <a:off x="2014883" y="481546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1" name="Forme libre : forme 2160">
              <a:extLst>
                <a:ext uri="{FF2B5EF4-FFF2-40B4-BE49-F238E27FC236}">
                  <a16:creationId xmlns:a16="http://schemas.microsoft.com/office/drawing/2014/main" id="{DDDE473C-0945-4D7B-9870-6AD6EC305155}"/>
                </a:ext>
              </a:extLst>
            </p:cNvPr>
            <p:cNvSpPr/>
            <p:nvPr/>
          </p:nvSpPr>
          <p:spPr>
            <a:xfrm rot="8716295">
              <a:off x="2190257" y="5090583"/>
              <a:ext cx="60147" cy="76898"/>
            </a:xfrm>
            <a:custGeom>
              <a:avLst/>
              <a:gdLst>
                <a:gd name="connsiteX0" fmla="*/ 60147 w 60147"/>
                <a:gd name="connsiteY0" fmla="*/ 76898 h 76898"/>
                <a:gd name="connsiteX1" fmla="*/ 0 w 60147"/>
                <a:gd name="connsiteY1" fmla="*/ 19028 h 76898"/>
                <a:gd name="connsiteX2" fmla="*/ 0 w 60147"/>
                <a:gd name="connsiteY2" fmla="*/ 0 h 76898"/>
                <a:gd name="connsiteX3" fmla="*/ 60147 w 60147"/>
                <a:gd name="connsiteY3" fmla="*/ 41692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7" h="76898">
                  <a:moveTo>
                    <a:pt x="60147" y="76898"/>
                  </a:moveTo>
                  <a:lnTo>
                    <a:pt x="0" y="19028"/>
                  </a:lnTo>
                  <a:lnTo>
                    <a:pt x="0" y="0"/>
                  </a:lnTo>
                  <a:lnTo>
                    <a:pt x="60147" y="416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2" name="Forme libre : forme 2161">
              <a:extLst>
                <a:ext uri="{FF2B5EF4-FFF2-40B4-BE49-F238E27FC236}">
                  <a16:creationId xmlns:a16="http://schemas.microsoft.com/office/drawing/2014/main" id="{E08FB812-18F4-4980-B27F-475CA6F734E7}"/>
                </a:ext>
              </a:extLst>
            </p:cNvPr>
            <p:cNvSpPr/>
            <p:nvPr/>
          </p:nvSpPr>
          <p:spPr>
            <a:xfrm rot="8716295">
              <a:off x="1988512" y="491548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3" name="Forme libre : forme 2162">
              <a:extLst>
                <a:ext uri="{FF2B5EF4-FFF2-40B4-BE49-F238E27FC236}">
                  <a16:creationId xmlns:a16="http://schemas.microsoft.com/office/drawing/2014/main" id="{698261C6-8F0A-4C69-96B5-C2C92CFC8151}"/>
                </a:ext>
              </a:extLst>
            </p:cNvPr>
            <p:cNvSpPr/>
            <p:nvPr/>
          </p:nvSpPr>
          <p:spPr>
            <a:xfrm rot="8716295">
              <a:off x="2650789" y="5021708"/>
              <a:ext cx="177699" cy="117559"/>
            </a:xfrm>
            <a:custGeom>
              <a:avLst/>
              <a:gdLst>
                <a:gd name="connsiteX0" fmla="*/ 6986 w 177699"/>
                <a:gd name="connsiteY0" fmla="*/ 117559 h 117559"/>
                <a:gd name="connsiteX1" fmla="*/ 0 w 177699"/>
                <a:gd name="connsiteY1" fmla="*/ 107886 h 117559"/>
                <a:gd name="connsiteX2" fmla="*/ 114658 w 177699"/>
                <a:gd name="connsiteY2" fmla="*/ 0 h 117559"/>
                <a:gd name="connsiteX3" fmla="*/ 177699 w 177699"/>
                <a:gd name="connsiteY3" fmla="*/ 43698 h 117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7699" h="117559">
                  <a:moveTo>
                    <a:pt x="6986" y="117559"/>
                  </a:moveTo>
                  <a:lnTo>
                    <a:pt x="0" y="107886"/>
                  </a:lnTo>
                  <a:lnTo>
                    <a:pt x="114658" y="0"/>
                  </a:lnTo>
                  <a:lnTo>
                    <a:pt x="177699" y="436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4" name="Forme libre : forme 2163">
              <a:extLst>
                <a:ext uri="{FF2B5EF4-FFF2-40B4-BE49-F238E27FC236}">
                  <a16:creationId xmlns:a16="http://schemas.microsoft.com/office/drawing/2014/main" id="{CEFAFB5F-0AC3-4989-96BE-6254D2E906AF}"/>
                </a:ext>
              </a:extLst>
            </p:cNvPr>
            <p:cNvSpPr/>
            <p:nvPr/>
          </p:nvSpPr>
          <p:spPr>
            <a:xfrm rot="8716295">
              <a:off x="2573494" y="492769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5" name="Forme libre : forme 2164">
              <a:extLst>
                <a:ext uri="{FF2B5EF4-FFF2-40B4-BE49-F238E27FC236}">
                  <a16:creationId xmlns:a16="http://schemas.microsoft.com/office/drawing/2014/main" id="{26F6B6DC-9027-450B-92D7-F34A3A491FBF}"/>
                </a:ext>
              </a:extLst>
            </p:cNvPr>
            <p:cNvSpPr/>
            <p:nvPr/>
          </p:nvSpPr>
          <p:spPr>
            <a:xfrm rot="8716295">
              <a:off x="2330248" y="495791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6" name="Forme libre : forme 2165">
              <a:extLst>
                <a:ext uri="{FF2B5EF4-FFF2-40B4-BE49-F238E27FC236}">
                  <a16:creationId xmlns:a16="http://schemas.microsoft.com/office/drawing/2014/main" id="{0F4E3D83-A89E-4A3D-8DFA-0B99A9944664}"/>
                </a:ext>
              </a:extLst>
            </p:cNvPr>
            <p:cNvSpPr/>
            <p:nvPr/>
          </p:nvSpPr>
          <p:spPr>
            <a:xfrm rot="8716295">
              <a:off x="2507700" y="479867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7" name="Forme libre : forme 2166">
              <a:extLst>
                <a:ext uri="{FF2B5EF4-FFF2-40B4-BE49-F238E27FC236}">
                  <a16:creationId xmlns:a16="http://schemas.microsoft.com/office/drawing/2014/main" id="{E36A73C5-A750-41BE-8891-686B78AEED60}"/>
                </a:ext>
              </a:extLst>
            </p:cNvPr>
            <p:cNvSpPr/>
            <p:nvPr/>
          </p:nvSpPr>
          <p:spPr>
            <a:xfrm rot="8716295">
              <a:off x="1518235" y="386507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8" name="Forme libre : forme 2167">
              <a:extLst>
                <a:ext uri="{FF2B5EF4-FFF2-40B4-BE49-F238E27FC236}">
                  <a16:creationId xmlns:a16="http://schemas.microsoft.com/office/drawing/2014/main" id="{1E259F04-3FF0-484F-936A-BF05D81BA7F9}"/>
                </a:ext>
              </a:extLst>
            </p:cNvPr>
            <p:cNvSpPr/>
            <p:nvPr/>
          </p:nvSpPr>
          <p:spPr>
            <a:xfrm rot="8716295">
              <a:off x="1607627" y="389431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9" name="Forme libre : forme 2168">
              <a:extLst>
                <a:ext uri="{FF2B5EF4-FFF2-40B4-BE49-F238E27FC236}">
                  <a16:creationId xmlns:a16="http://schemas.microsoft.com/office/drawing/2014/main" id="{F7188107-3596-40BA-A19D-D4C36F703AA3}"/>
                </a:ext>
              </a:extLst>
            </p:cNvPr>
            <p:cNvSpPr/>
            <p:nvPr/>
          </p:nvSpPr>
          <p:spPr>
            <a:xfrm rot="8716295">
              <a:off x="1562777" y="380803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0" name="Forme libre : forme 2169">
              <a:extLst>
                <a:ext uri="{FF2B5EF4-FFF2-40B4-BE49-F238E27FC236}">
                  <a16:creationId xmlns:a16="http://schemas.microsoft.com/office/drawing/2014/main" id="{F0B5B849-6A09-4CB1-94BD-59AAAA00B41D}"/>
                </a:ext>
              </a:extLst>
            </p:cNvPr>
            <p:cNvSpPr/>
            <p:nvPr/>
          </p:nvSpPr>
          <p:spPr>
            <a:xfrm rot="8716295">
              <a:off x="1406001" y="395361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1" name="Forme libre : forme 2170">
              <a:extLst>
                <a:ext uri="{FF2B5EF4-FFF2-40B4-BE49-F238E27FC236}">
                  <a16:creationId xmlns:a16="http://schemas.microsoft.com/office/drawing/2014/main" id="{310927B8-5E88-4650-8C8B-F5EEB8CBF984}"/>
                </a:ext>
              </a:extLst>
            </p:cNvPr>
            <p:cNvSpPr/>
            <p:nvPr/>
          </p:nvSpPr>
          <p:spPr>
            <a:xfrm rot="8716295">
              <a:off x="1281098" y="374494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2" name="Forme libre : forme 2171">
              <a:extLst>
                <a:ext uri="{FF2B5EF4-FFF2-40B4-BE49-F238E27FC236}">
                  <a16:creationId xmlns:a16="http://schemas.microsoft.com/office/drawing/2014/main" id="{0077CC8A-BF45-4BE4-8C2F-92F79577CBE1}"/>
                </a:ext>
              </a:extLst>
            </p:cNvPr>
            <p:cNvSpPr/>
            <p:nvPr/>
          </p:nvSpPr>
          <p:spPr>
            <a:xfrm rot="8716295">
              <a:off x="1269046" y="3606161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3" name="Forme libre : forme 2172">
              <a:extLst>
                <a:ext uri="{FF2B5EF4-FFF2-40B4-BE49-F238E27FC236}">
                  <a16:creationId xmlns:a16="http://schemas.microsoft.com/office/drawing/2014/main" id="{4B1B0D55-FB5B-4C21-B16D-8B7A58AA2F48}"/>
                </a:ext>
              </a:extLst>
            </p:cNvPr>
            <p:cNvSpPr/>
            <p:nvPr/>
          </p:nvSpPr>
          <p:spPr>
            <a:xfrm rot="8716295">
              <a:off x="1496179" y="399456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4" name="Forme libre : forme 2173">
              <a:extLst>
                <a:ext uri="{FF2B5EF4-FFF2-40B4-BE49-F238E27FC236}">
                  <a16:creationId xmlns:a16="http://schemas.microsoft.com/office/drawing/2014/main" id="{6AFD4B44-0013-46C7-89C1-7C63AAB4D987}"/>
                </a:ext>
              </a:extLst>
            </p:cNvPr>
            <p:cNvSpPr/>
            <p:nvPr/>
          </p:nvSpPr>
          <p:spPr>
            <a:xfrm rot="8716295">
              <a:off x="1807334" y="36149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5" name="Forme libre : forme 2174">
              <a:extLst>
                <a:ext uri="{FF2B5EF4-FFF2-40B4-BE49-F238E27FC236}">
                  <a16:creationId xmlns:a16="http://schemas.microsoft.com/office/drawing/2014/main" id="{B061716B-E619-4B2C-A2CB-AB4D2606E002}"/>
                </a:ext>
              </a:extLst>
            </p:cNvPr>
            <p:cNvSpPr/>
            <p:nvPr/>
          </p:nvSpPr>
          <p:spPr>
            <a:xfrm rot="8716295">
              <a:off x="1896726" y="36441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6" name="Forme libre : forme 2175">
              <a:extLst>
                <a:ext uri="{FF2B5EF4-FFF2-40B4-BE49-F238E27FC236}">
                  <a16:creationId xmlns:a16="http://schemas.microsoft.com/office/drawing/2014/main" id="{80D807FA-1A3A-4ABF-AF3B-F275183E0A00}"/>
                </a:ext>
              </a:extLst>
            </p:cNvPr>
            <p:cNvSpPr/>
            <p:nvPr/>
          </p:nvSpPr>
          <p:spPr>
            <a:xfrm rot="8716295">
              <a:off x="1695100" y="370346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7" name="Forme libre : forme 2176">
              <a:extLst>
                <a:ext uri="{FF2B5EF4-FFF2-40B4-BE49-F238E27FC236}">
                  <a16:creationId xmlns:a16="http://schemas.microsoft.com/office/drawing/2014/main" id="{032DF9FF-0CD8-4491-9035-5269ADB59100}"/>
                </a:ext>
              </a:extLst>
            </p:cNvPr>
            <p:cNvSpPr/>
            <p:nvPr/>
          </p:nvSpPr>
          <p:spPr>
            <a:xfrm rot="8716295">
              <a:off x="1570198" y="349478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8" name="Forme libre : forme 2177">
              <a:extLst>
                <a:ext uri="{FF2B5EF4-FFF2-40B4-BE49-F238E27FC236}">
                  <a16:creationId xmlns:a16="http://schemas.microsoft.com/office/drawing/2014/main" id="{5F6C4221-EAB2-436F-B193-7A3F5601B69D}"/>
                </a:ext>
              </a:extLst>
            </p:cNvPr>
            <p:cNvSpPr/>
            <p:nvPr/>
          </p:nvSpPr>
          <p:spPr>
            <a:xfrm rot="8716295">
              <a:off x="1785278" y="37444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9" name="Forme libre : forme 2178">
              <a:extLst>
                <a:ext uri="{FF2B5EF4-FFF2-40B4-BE49-F238E27FC236}">
                  <a16:creationId xmlns:a16="http://schemas.microsoft.com/office/drawing/2014/main" id="{2C3899F1-7908-415E-AC18-381FF5AACA99}"/>
                </a:ext>
              </a:extLst>
            </p:cNvPr>
            <p:cNvSpPr/>
            <p:nvPr/>
          </p:nvSpPr>
          <p:spPr>
            <a:xfrm rot="8716295">
              <a:off x="1543827" y="359481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0" name="Forme libre : forme 2179">
              <a:extLst>
                <a:ext uri="{FF2B5EF4-FFF2-40B4-BE49-F238E27FC236}">
                  <a16:creationId xmlns:a16="http://schemas.microsoft.com/office/drawing/2014/main" id="{A25A3A19-36CC-4BEB-89D4-7074BE692A4E}"/>
                </a:ext>
              </a:extLst>
            </p:cNvPr>
            <p:cNvSpPr/>
            <p:nvPr/>
          </p:nvSpPr>
          <p:spPr>
            <a:xfrm rot="7484129">
              <a:off x="1890209" y="393576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1" name="Forme libre : forme 2180">
              <a:extLst>
                <a:ext uri="{FF2B5EF4-FFF2-40B4-BE49-F238E27FC236}">
                  <a16:creationId xmlns:a16="http://schemas.microsoft.com/office/drawing/2014/main" id="{4AF8F556-7C68-44A7-A9D4-1E80B8EE1F70}"/>
                </a:ext>
              </a:extLst>
            </p:cNvPr>
            <p:cNvSpPr/>
            <p:nvPr/>
          </p:nvSpPr>
          <p:spPr>
            <a:xfrm rot="13089394">
              <a:off x="1995029" y="3902299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2" name="Forme libre : forme 2181">
              <a:extLst>
                <a:ext uri="{FF2B5EF4-FFF2-40B4-BE49-F238E27FC236}">
                  <a16:creationId xmlns:a16="http://schemas.microsoft.com/office/drawing/2014/main" id="{474B8F0A-192E-4408-976E-CFE766B0E660}"/>
                </a:ext>
              </a:extLst>
            </p:cNvPr>
            <p:cNvSpPr/>
            <p:nvPr/>
          </p:nvSpPr>
          <p:spPr>
            <a:xfrm rot="8716295">
              <a:off x="2180614" y="371061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3" name="Forme libre : forme 2182">
              <a:extLst>
                <a:ext uri="{FF2B5EF4-FFF2-40B4-BE49-F238E27FC236}">
                  <a16:creationId xmlns:a16="http://schemas.microsoft.com/office/drawing/2014/main" id="{08147D7D-246F-4267-9328-9CD9D53CB053}"/>
                </a:ext>
              </a:extLst>
            </p:cNvPr>
            <p:cNvSpPr/>
            <p:nvPr/>
          </p:nvSpPr>
          <p:spPr>
            <a:xfrm rot="8716295">
              <a:off x="2128809" y="360702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4" name="Forme libre : forme 2183">
              <a:extLst>
                <a:ext uri="{FF2B5EF4-FFF2-40B4-BE49-F238E27FC236}">
                  <a16:creationId xmlns:a16="http://schemas.microsoft.com/office/drawing/2014/main" id="{BFD4EEA9-74F4-491C-BCB2-C3F42835DD07}"/>
                </a:ext>
              </a:extLst>
            </p:cNvPr>
            <p:cNvSpPr/>
            <p:nvPr/>
          </p:nvSpPr>
          <p:spPr>
            <a:xfrm rot="8716295">
              <a:off x="1885563" y="36372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5" name="Forme libre : forme 2184">
              <a:extLst>
                <a:ext uri="{FF2B5EF4-FFF2-40B4-BE49-F238E27FC236}">
                  <a16:creationId xmlns:a16="http://schemas.microsoft.com/office/drawing/2014/main" id="{913E5A75-2F0F-4FF8-AF12-57EBAAC870EA}"/>
                </a:ext>
              </a:extLst>
            </p:cNvPr>
            <p:cNvSpPr/>
            <p:nvPr/>
          </p:nvSpPr>
          <p:spPr>
            <a:xfrm rot="8716295">
              <a:off x="2063015" y="34780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6" name="Forme libre : forme 2185">
              <a:extLst>
                <a:ext uri="{FF2B5EF4-FFF2-40B4-BE49-F238E27FC236}">
                  <a16:creationId xmlns:a16="http://schemas.microsoft.com/office/drawing/2014/main" id="{4571DC5F-CE18-47DF-9FDC-F2290176BF72}"/>
                </a:ext>
              </a:extLst>
            </p:cNvPr>
            <p:cNvSpPr/>
            <p:nvPr/>
          </p:nvSpPr>
          <p:spPr>
            <a:xfrm rot="8716295">
              <a:off x="1741402" y="452476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7" name="Forme libre : forme 2186">
              <a:extLst>
                <a:ext uri="{FF2B5EF4-FFF2-40B4-BE49-F238E27FC236}">
                  <a16:creationId xmlns:a16="http://schemas.microsoft.com/office/drawing/2014/main" id="{E598998C-D00A-4D75-A58B-A8274CB4E8AC}"/>
                </a:ext>
              </a:extLst>
            </p:cNvPr>
            <p:cNvSpPr/>
            <p:nvPr/>
          </p:nvSpPr>
          <p:spPr>
            <a:xfrm rot="8716295">
              <a:off x="1830794" y="455401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8" name="Forme libre : forme 2187">
              <a:extLst>
                <a:ext uri="{FF2B5EF4-FFF2-40B4-BE49-F238E27FC236}">
                  <a16:creationId xmlns:a16="http://schemas.microsoft.com/office/drawing/2014/main" id="{68EAF022-443D-40AB-977F-80ED0FBBA39F}"/>
                </a:ext>
              </a:extLst>
            </p:cNvPr>
            <p:cNvSpPr/>
            <p:nvPr/>
          </p:nvSpPr>
          <p:spPr>
            <a:xfrm rot="8716295">
              <a:off x="1785944" y="4467731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9" name="Forme libre : forme 2188">
              <a:extLst>
                <a:ext uri="{FF2B5EF4-FFF2-40B4-BE49-F238E27FC236}">
                  <a16:creationId xmlns:a16="http://schemas.microsoft.com/office/drawing/2014/main" id="{9832FD02-47CA-43A0-9ECC-73C95B196066}"/>
                </a:ext>
              </a:extLst>
            </p:cNvPr>
            <p:cNvSpPr/>
            <p:nvPr/>
          </p:nvSpPr>
          <p:spPr>
            <a:xfrm rot="8716295">
              <a:off x="1629168" y="461331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0" name="Forme libre : forme 2189">
              <a:extLst>
                <a:ext uri="{FF2B5EF4-FFF2-40B4-BE49-F238E27FC236}">
                  <a16:creationId xmlns:a16="http://schemas.microsoft.com/office/drawing/2014/main" id="{E4050B9D-DB6D-469C-8D0D-3927E506DFDB}"/>
                </a:ext>
              </a:extLst>
            </p:cNvPr>
            <p:cNvSpPr/>
            <p:nvPr/>
          </p:nvSpPr>
          <p:spPr>
            <a:xfrm rot="8716295">
              <a:off x="1504265" y="440464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1" name="Forme libre : forme 2190">
              <a:extLst>
                <a:ext uri="{FF2B5EF4-FFF2-40B4-BE49-F238E27FC236}">
                  <a16:creationId xmlns:a16="http://schemas.microsoft.com/office/drawing/2014/main" id="{08EA550C-613A-4866-AACF-C27F8E9C22E0}"/>
                </a:ext>
              </a:extLst>
            </p:cNvPr>
            <p:cNvSpPr/>
            <p:nvPr/>
          </p:nvSpPr>
          <p:spPr>
            <a:xfrm rot="8716295">
              <a:off x="1492213" y="4265860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2" name="Forme libre : forme 2191">
              <a:extLst>
                <a:ext uri="{FF2B5EF4-FFF2-40B4-BE49-F238E27FC236}">
                  <a16:creationId xmlns:a16="http://schemas.microsoft.com/office/drawing/2014/main" id="{1CF034C4-4CE9-457C-B36A-A3F9D058C124}"/>
                </a:ext>
              </a:extLst>
            </p:cNvPr>
            <p:cNvSpPr/>
            <p:nvPr/>
          </p:nvSpPr>
          <p:spPr>
            <a:xfrm rot="8716295">
              <a:off x="1719346" y="465426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3" name="Forme libre : forme 2192">
              <a:extLst>
                <a:ext uri="{FF2B5EF4-FFF2-40B4-BE49-F238E27FC236}">
                  <a16:creationId xmlns:a16="http://schemas.microsoft.com/office/drawing/2014/main" id="{D08F0A84-4DD7-4772-AC15-083524AA4A1D}"/>
                </a:ext>
              </a:extLst>
            </p:cNvPr>
            <p:cNvSpPr/>
            <p:nvPr/>
          </p:nvSpPr>
          <p:spPr>
            <a:xfrm rot="8716295">
              <a:off x="2030501" y="427461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4" name="Forme libre : forme 2193">
              <a:extLst>
                <a:ext uri="{FF2B5EF4-FFF2-40B4-BE49-F238E27FC236}">
                  <a16:creationId xmlns:a16="http://schemas.microsoft.com/office/drawing/2014/main" id="{61D16ADF-5C6E-4CB0-822E-F18C019391FD}"/>
                </a:ext>
              </a:extLst>
            </p:cNvPr>
            <p:cNvSpPr/>
            <p:nvPr/>
          </p:nvSpPr>
          <p:spPr>
            <a:xfrm rot="8716295">
              <a:off x="2119893" y="430385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5" name="Forme libre : forme 2194">
              <a:extLst>
                <a:ext uri="{FF2B5EF4-FFF2-40B4-BE49-F238E27FC236}">
                  <a16:creationId xmlns:a16="http://schemas.microsoft.com/office/drawing/2014/main" id="{7755C47E-CA44-4F59-A584-382B602B7277}"/>
                </a:ext>
              </a:extLst>
            </p:cNvPr>
            <p:cNvSpPr/>
            <p:nvPr/>
          </p:nvSpPr>
          <p:spPr>
            <a:xfrm rot="8716295">
              <a:off x="1918267" y="436316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6" name="Forme libre : forme 2195">
              <a:extLst>
                <a:ext uri="{FF2B5EF4-FFF2-40B4-BE49-F238E27FC236}">
                  <a16:creationId xmlns:a16="http://schemas.microsoft.com/office/drawing/2014/main" id="{7477CD6A-0BC6-4B29-9F1F-C0FBF04DE899}"/>
                </a:ext>
              </a:extLst>
            </p:cNvPr>
            <p:cNvSpPr/>
            <p:nvPr/>
          </p:nvSpPr>
          <p:spPr>
            <a:xfrm rot="8716295">
              <a:off x="1793365" y="415448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7" name="Forme libre : forme 2196">
              <a:extLst>
                <a:ext uri="{FF2B5EF4-FFF2-40B4-BE49-F238E27FC236}">
                  <a16:creationId xmlns:a16="http://schemas.microsoft.com/office/drawing/2014/main" id="{EE329923-C3A4-4046-B152-3FD94C6B8328}"/>
                </a:ext>
              </a:extLst>
            </p:cNvPr>
            <p:cNvSpPr/>
            <p:nvPr/>
          </p:nvSpPr>
          <p:spPr>
            <a:xfrm rot="8716295">
              <a:off x="2008445" y="4404113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8" name="Forme libre : forme 2197">
              <a:extLst>
                <a:ext uri="{FF2B5EF4-FFF2-40B4-BE49-F238E27FC236}">
                  <a16:creationId xmlns:a16="http://schemas.microsoft.com/office/drawing/2014/main" id="{9B7F0F6B-ADD6-4F5F-8A57-9C18A5D11901}"/>
                </a:ext>
              </a:extLst>
            </p:cNvPr>
            <p:cNvSpPr/>
            <p:nvPr/>
          </p:nvSpPr>
          <p:spPr>
            <a:xfrm rot="8716295">
              <a:off x="1766994" y="4254513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9" name="Forme libre : forme 2198">
              <a:extLst>
                <a:ext uri="{FF2B5EF4-FFF2-40B4-BE49-F238E27FC236}">
                  <a16:creationId xmlns:a16="http://schemas.microsoft.com/office/drawing/2014/main" id="{27B19DC8-7CA7-46F0-BBD1-FED4197C21C5}"/>
                </a:ext>
              </a:extLst>
            </p:cNvPr>
            <p:cNvSpPr/>
            <p:nvPr/>
          </p:nvSpPr>
          <p:spPr>
            <a:xfrm rot="7484129">
              <a:off x="2113376" y="459546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0" name="Forme libre : forme 2199">
              <a:extLst>
                <a:ext uri="{FF2B5EF4-FFF2-40B4-BE49-F238E27FC236}">
                  <a16:creationId xmlns:a16="http://schemas.microsoft.com/office/drawing/2014/main" id="{6A2BAEE3-A8C6-4D0E-B41D-3EB43C80CD43}"/>
                </a:ext>
              </a:extLst>
            </p:cNvPr>
            <p:cNvSpPr/>
            <p:nvPr/>
          </p:nvSpPr>
          <p:spPr>
            <a:xfrm rot="13089394">
              <a:off x="2218196" y="4561998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1" name="Forme libre : forme 2200">
              <a:extLst>
                <a:ext uri="{FF2B5EF4-FFF2-40B4-BE49-F238E27FC236}">
                  <a16:creationId xmlns:a16="http://schemas.microsoft.com/office/drawing/2014/main" id="{B33494DC-160D-4471-B761-44392F450F15}"/>
                </a:ext>
              </a:extLst>
            </p:cNvPr>
            <p:cNvSpPr/>
            <p:nvPr/>
          </p:nvSpPr>
          <p:spPr>
            <a:xfrm rot="8716295">
              <a:off x="2403781" y="4370317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2" name="Forme libre : forme 2201">
              <a:extLst>
                <a:ext uri="{FF2B5EF4-FFF2-40B4-BE49-F238E27FC236}">
                  <a16:creationId xmlns:a16="http://schemas.microsoft.com/office/drawing/2014/main" id="{A0536B5D-C1D1-4CC2-A67B-69C04D5E7BF1}"/>
                </a:ext>
              </a:extLst>
            </p:cNvPr>
            <p:cNvSpPr/>
            <p:nvPr/>
          </p:nvSpPr>
          <p:spPr>
            <a:xfrm rot="8716295">
              <a:off x="2351976" y="426672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3" name="Forme libre : forme 2202">
              <a:extLst>
                <a:ext uri="{FF2B5EF4-FFF2-40B4-BE49-F238E27FC236}">
                  <a16:creationId xmlns:a16="http://schemas.microsoft.com/office/drawing/2014/main" id="{0EC7D0F9-54FF-4910-BE51-E44A931994E2}"/>
                </a:ext>
              </a:extLst>
            </p:cNvPr>
            <p:cNvSpPr/>
            <p:nvPr/>
          </p:nvSpPr>
          <p:spPr>
            <a:xfrm rot="8716295">
              <a:off x="2108730" y="429694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4" name="Forme libre : forme 2203">
              <a:extLst>
                <a:ext uri="{FF2B5EF4-FFF2-40B4-BE49-F238E27FC236}">
                  <a16:creationId xmlns:a16="http://schemas.microsoft.com/office/drawing/2014/main" id="{581ECD7C-3ECD-4795-A962-336D27880F7D}"/>
                </a:ext>
              </a:extLst>
            </p:cNvPr>
            <p:cNvSpPr/>
            <p:nvPr/>
          </p:nvSpPr>
          <p:spPr>
            <a:xfrm rot="8716295">
              <a:off x="2286182" y="413770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5" name="Forme libre : forme 2204">
              <a:extLst>
                <a:ext uri="{FF2B5EF4-FFF2-40B4-BE49-F238E27FC236}">
                  <a16:creationId xmlns:a16="http://schemas.microsoft.com/office/drawing/2014/main" id="{61351529-FB96-4EA9-BD0D-13DB591690B1}"/>
                </a:ext>
              </a:extLst>
            </p:cNvPr>
            <p:cNvSpPr/>
            <p:nvPr/>
          </p:nvSpPr>
          <p:spPr>
            <a:xfrm rot="8716295">
              <a:off x="854880" y="188600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6" name="Forme libre : forme 2205">
              <a:extLst>
                <a:ext uri="{FF2B5EF4-FFF2-40B4-BE49-F238E27FC236}">
                  <a16:creationId xmlns:a16="http://schemas.microsoft.com/office/drawing/2014/main" id="{7B671EAD-22E7-49A1-AAF9-AFD4BDF270FF}"/>
                </a:ext>
              </a:extLst>
            </p:cNvPr>
            <p:cNvSpPr/>
            <p:nvPr/>
          </p:nvSpPr>
          <p:spPr>
            <a:xfrm rot="8716295">
              <a:off x="944272" y="191524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7" name="Forme libre : forme 2206">
              <a:extLst>
                <a:ext uri="{FF2B5EF4-FFF2-40B4-BE49-F238E27FC236}">
                  <a16:creationId xmlns:a16="http://schemas.microsoft.com/office/drawing/2014/main" id="{60C9EA0E-9422-461A-8A03-18C34E381FE6}"/>
                </a:ext>
              </a:extLst>
            </p:cNvPr>
            <p:cNvSpPr/>
            <p:nvPr/>
          </p:nvSpPr>
          <p:spPr>
            <a:xfrm rot="8716295">
              <a:off x="899422" y="182896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8" name="Forme libre : forme 2207">
              <a:extLst>
                <a:ext uri="{FF2B5EF4-FFF2-40B4-BE49-F238E27FC236}">
                  <a16:creationId xmlns:a16="http://schemas.microsoft.com/office/drawing/2014/main" id="{BA75D214-5F17-45EC-88F6-87E7086E00EC}"/>
                </a:ext>
              </a:extLst>
            </p:cNvPr>
            <p:cNvSpPr/>
            <p:nvPr/>
          </p:nvSpPr>
          <p:spPr>
            <a:xfrm rot="8716295">
              <a:off x="742646" y="197454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9" name="Forme libre : forme 2208">
              <a:extLst>
                <a:ext uri="{FF2B5EF4-FFF2-40B4-BE49-F238E27FC236}">
                  <a16:creationId xmlns:a16="http://schemas.microsoft.com/office/drawing/2014/main" id="{E48EAD6E-3EAF-4F3D-8B05-DC60D246CC5C}"/>
                </a:ext>
              </a:extLst>
            </p:cNvPr>
            <p:cNvSpPr/>
            <p:nvPr/>
          </p:nvSpPr>
          <p:spPr>
            <a:xfrm rot="8716295">
              <a:off x="617743" y="176587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0" name="Forme libre : forme 2209">
              <a:extLst>
                <a:ext uri="{FF2B5EF4-FFF2-40B4-BE49-F238E27FC236}">
                  <a16:creationId xmlns:a16="http://schemas.microsoft.com/office/drawing/2014/main" id="{60DC192A-6712-4E80-B33F-A868EA1F00C7}"/>
                </a:ext>
              </a:extLst>
            </p:cNvPr>
            <p:cNvSpPr/>
            <p:nvPr/>
          </p:nvSpPr>
          <p:spPr>
            <a:xfrm rot="8716295">
              <a:off x="605691" y="162709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1" name="Forme libre : forme 2210">
              <a:extLst>
                <a:ext uri="{FF2B5EF4-FFF2-40B4-BE49-F238E27FC236}">
                  <a16:creationId xmlns:a16="http://schemas.microsoft.com/office/drawing/2014/main" id="{5F7656EC-B89E-42FF-BC16-A8DDF1B2D92F}"/>
                </a:ext>
              </a:extLst>
            </p:cNvPr>
            <p:cNvSpPr/>
            <p:nvPr/>
          </p:nvSpPr>
          <p:spPr>
            <a:xfrm rot="8716295">
              <a:off x="832824" y="201549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2" name="Forme libre : forme 2211">
              <a:extLst>
                <a:ext uri="{FF2B5EF4-FFF2-40B4-BE49-F238E27FC236}">
                  <a16:creationId xmlns:a16="http://schemas.microsoft.com/office/drawing/2014/main" id="{E08CB140-902C-4737-8277-A98EB5E4EFE4}"/>
                </a:ext>
              </a:extLst>
            </p:cNvPr>
            <p:cNvSpPr/>
            <p:nvPr/>
          </p:nvSpPr>
          <p:spPr>
            <a:xfrm rot="8716295">
              <a:off x="1143979" y="163584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3" name="Forme libre : forme 2212">
              <a:extLst>
                <a:ext uri="{FF2B5EF4-FFF2-40B4-BE49-F238E27FC236}">
                  <a16:creationId xmlns:a16="http://schemas.microsoft.com/office/drawing/2014/main" id="{6E90F74B-F705-42A3-BD1F-6FA4B5FAA019}"/>
                </a:ext>
              </a:extLst>
            </p:cNvPr>
            <p:cNvSpPr/>
            <p:nvPr/>
          </p:nvSpPr>
          <p:spPr>
            <a:xfrm rot="8716295">
              <a:off x="1233371" y="166509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4" name="Forme libre : forme 2213">
              <a:extLst>
                <a:ext uri="{FF2B5EF4-FFF2-40B4-BE49-F238E27FC236}">
                  <a16:creationId xmlns:a16="http://schemas.microsoft.com/office/drawing/2014/main" id="{465358ED-843D-4586-B8A7-8F476C2F6DDB}"/>
                </a:ext>
              </a:extLst>
            </p:cNvPr>
            <p:cNvSpPr/>
            <p:nvPr/>
          </p:nvSpPr>
          <p:spPr>
            <a:xfrm rot="8716295">
              <a:off x="1031745" y="172439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5" name="Forme libre : forme 2214">
              <a:extLst>
                <a:ext uri="{FF2B5EF4-FFF2-40B4-BE49-F238E27FC236}">
                  <a16:creationId xmlns:a16="http://schemas.microsoft.com/office/drawing/2014/main" id="{1FF0FB25-B8F5-4ADE-800A-47430E68573C}"/>
                </a:ext>
              </a:extLst>
            </p:cNvPr>
            <p:cNvSpPr/>
            <p:nvPr/>
          </p:nvSpPr>
          <p:spPr>
            <a:xfrm rot="8716295">
              <a:off x="906843" y="151572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6" name="Forme libre : forme 2215">
              <a:extLst>
                <a:ext uri="{FF2B5EF4-FFF2-40B4-BE49-F238E27FC236}">
                  <a16:creationId xmlns:a16="http://schemas.microsoft.com/office/drawing/2014/main" id="{776C37F0-ED81-4F1F-A328-887B05D06837}"/>
                </a:ext>
              </a:extLst>
            </p:cNvPr>
            <p:cNvSpPr/>
            <p:nvPr/>
          </p:nvSpPr>
          <p:spPr>
            <a:xfrm rot="8716295">
              <a:off x="1121923" y="176534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7" name="Forme libre : forme 2216">
              <a:extLst>
                <a:ext uri="{FF2B5EF4-FFF2-40B4-BE49-F238E27FC236}">
                  <a16:creationId xmlns:a16="http://schemas.microsoft.com/office/drawing/2014/main" id="{3495DB9A-4541-4398-B98F-3D014F3FA02F}"/>
                </a:ext>
              </a:extLst>
            </p:cNvPr>
            <p:cNvSpPr/>
            <p:nvPr/>
          </p:nvSpPr>
          <p:spPr>
            <a:xfrm rot="8716295">
              <a:off x="880472" y="161574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8" name="Forme libre : forme 2217">
              <a:extLst>
                <a:ext uri="{FF2B5EF4-FFF2-40B4-BE49-F238E27FC236}">
                  <a16:creationId xmlns:a16="http://schemas.microsoft.com/office/drawing/2014/main" id="{6174E958-9841-4450-A3B4-4010E7B5DEF3}"/>
                </a:ext>
              </a:extLst>
            </p:cNvPr>
            <p:cNvSpPr/>
            <p:nvPr/>
          </p:nvSpPr>
          <p:spPr>
            <a:xfrm rot="7484129">
              <a:off x="1226854" y="195669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9" name="Forme libre : forme 2218">
              <a:extLst>
                <a:ext uri="{FF2B5EF4-FFF2-40B4-BE49-F238E27FC236}">
                  <a16:creationId xmlns:a16="http://schemas.microsoft.com/office/drawing/2014/main" id="{AEB0FE66-FF50-46B8-A527-A44B045C51F6}"/>
                </a:ext>
              </a:extLst>
            </p:cNvPr>
            <p:cNvSpPr/>
            <p:nvPr/>
          </p:nvSpPr>
          <p:spPr>
            <a:xfrm rot="13089394">
              <a:off x="1331674" y="192323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0" name="Forme libre : forme 2219">
              <a:extLst>
                <a:ext uri="{FF2B5EF4-FFF2-40B4-BE49-F238E27FC236}">
                  <a16:creationId xmlns:a16="http://schemas.microsoft.com/office/drawing/2014/main" id="{71365084-09F0-4177-8899-9AEDD9C836FB}"/>
                </a:ext>
              </a:extLst>
            </p:cNvPr>
            <p:cNvSpPr/>
            <p:nvPr/>
          </p:nvSpPr>
          <p:spPr>
            <a:xfrm rot="8716295">
              <a:off x="1517259" y="173154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1" name="Forme libre : forme 2220">
              <a:extLst>
                <a:ext uri="{FF2B5EF4-FFF2-40B4-BE49-F238E27FC236}">
                  <a16:creationId xmlns:a16="http://schemas.microsoft.com/office/drawing/2014/main" id="{93A16290-1383-4913-A805-FEC6CD68B3A1}"/>
                </a:ext>
              </a:extLst>
            </p:cNvPr>
            <p:cNvSpPr/>
            <p:nvPr/>
          </p:nvSpPr>
          <p:spPr>
            <a:xfrm rot="8716295">
              <a:off x="1465454" y="162795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2" name="Forme libre : forme 2221">
              <a:extLst>
                <a:ext uri="{FF2B5EF4-FFF2-40B4-BE49-F238E27FC236}">
                  <a16:creationId xmlns:a16="http://schemas.microsoft.com/office/drawing/2014/main" id="{89EDCAB4-2647-402D-8A97-2D89ED05C33C}"/>
                </a:ext>
              </a:extLst>
            </p:cNvPr>
            <p:cNvSpPr/>
            <p:nvPr/>
          </p:nvSpPr>
          <p:spPr>
            <a:xfrm rot="8716295">
              <a:off x="1222208" y="165817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3" name="Forme libre : forme 2222">
              <a:extLst>
                <a:ext uri="{FF2B5EF4-FFF2-40B4-BE49-F238E27FC236}">
                  <a16:creationId xmlns:a16="http://schemas.microsoft.com/office/drawing/2014/main" id="{62660570-9841-4140-8539-11BB8C728044}"/>
                </a:ext>
              </a:extLst>
            </p:cNvPr>
            <p:cNvSpPr/>
            <p:nvPr/>
          </p:nvSpPr>
          <p:spPr>
            <a:xfrm rot="8716295">
              <a:off x="1399660" y="149893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4" name="Forme libre : forme 2223">
              <a:extLst>
                <a:ext uri="{FF2B5EF4-FFF2-40B4-BE49-F238E27FC236}">
                  <a16:creationId xmlns:a16="http://schemas.microsoft.com/office/drawing/2014/main" id="{94D3AEEA-4130-43BE-BF5D-CC6BCC5331C3}"/>
                </a:ext>
              </a:extLst>
            </p:cNvPr>
            <p:cNvSpPr/>
            <p:nvPr/>
          </p:nvSpPr>
          <p:spPr>
            <a:xfrm rot="8716295">
              <a:off x="631713" y="12263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5" name="Forme libre : forme 2224">
              <a:extLst>
                <a:ext uri="{FF2B5EF4-FFF2-40B4-BE49-F238E27FC236}">
                  <a16:creationId xmlns:a16="http://schemas.microsoft.com/office/drawing/2014/main" id="{B4B77E9D-EEED-412C-89B0-478E464DFE8E}"/>
                </a:ext>
              </a:extLst>
            </p:cNvPr>
            <p:cNvSpPr/>
            <p:nvPr/>
          </p:nvSpPr>
          <p:spPr>
            <a:xfrm rot="8716295">
              <a:off x="721105" y="12555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6" name="Forme libre : forme 2225">
              <a:extLst>
                <a:ext uri="{FF2B5EF4-FFF2-40B4-BE49-F238E27FC236}">
                  <a16:creationId xmlns:a16="http://schemas.microsoft.com/office/drawing/2014/main" id="{8807D4A1-E0A9-4E7E-A2E7-F2E039C53560}"/>
                </a:ext>
              </a:extLst>
            </p:cNvPr>
            <p:cNvSpPr/>
            <p:nvPr/>
          </p:nvSpPr>
          <p:spPr>
            <a:xfrm rot="8716295">
              <a:off x="676255" y="116926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7" name="Forme libre : forme 2226">
              <a:extLst>
                <a:ext uri="{FF2B5EF4-FFF2-40B4-BE49-F238E27FC236}">
                  <a16:creationId xmlns:a16="http://schemas.microsoft.com/office/drawing/2014/main" id="{E1BBD9BF-9DEF-4962-8461-FCC580DDB3D3}"/>
                </a:ext>
              </a:extLst>
            </p:cNvPr>
            <p:cNvSpPr/>
            <p:nvPr/>
          </p:nvSpPr>
          <p:spPr>
            <a:xfrm rot="8716295">
              <a:off x="519479" y="13148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8" name="Forme libre : forme 2227">
              <a:extLst>
                <a:ext uri="{FF2B5EF4-FFF2-40B4-BE49-F238E27FC236}">
                  <a16:creationId xmlns:a16="http://schemas.microsoft.com/office/drawing/2014/main" id="{372EDAC8-341E-47F1-BA76-59AEE44BA6E9}"/>
                </a:ext>
              </a:extLst>
            </p:cNvPr>
            <p:cNvSpPr/>
            <p:nvPr/>
          </p:nvSpPr>
          <p:spPr>
            <a:xfrm rot="8716295">
              <a:off x="394576" y="11061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9" name="Forme libre : forme 2228">
              <a:extLst>
                <a:ext uri="{FF2B5EF4-FFF2-40B4-BE49-F238E27FC236}">
                  <a16:creationId xmlns:a16="http://schemas.microsoft.com/office/drawing/2014/main" id="{20061EF0-57F1-44A9-B030-EA17BF31A311}"/>
                </a:ext>
              </a:extLst>
            </p:cNvPr>
            <p:cNvSpPr/>
            <p:nvPr/>
          </p:nvSpPr>
          <p:spPr>
            <a:xfrm rot="8716295">
              <a:off x="382524" y="96739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0" name="Forme libre : forme 2229">
              <a:extLst>
                <a:ext uri="{FF2B5EF4-FFF2-40B4-BE49-F238E27FC236}">
                  <a16:creationId xmlns:a16="http://schemas.microsoft.com/office/drawing/2014/main" id="{E38221DF-66A1-4197-AEB7-CCFD55E0085E}"/>
                </a:ext>
              </a:extLst>
            </p:cNvPr>
            <p:cNvSpPr/>
            <p:nvPr/>
          </p:nvSpPr>
          <p:spPr>
            <a:xfrm rot="8716295">
              <a:off x="609657" y="135579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1" name="Forme libre : forme 2230">
              <a:extLst>
                <a:ext uri="{FF2B5EF4-FFF2-40B4-BE49-F238E27FC236}">
                  <a16:creationId xmlns:a16="http://schemas.microsoft.com/office/drawing/2014/main" id="{0E7B4474-3652-4F5C-8982-D11AF746B26A}"/>
                </a:ext>
              </a:extLst>
            </p:cNvPr>
            <p:cNvSpPr/>
            <p:nvPr/>
          </p:nvSpPr>
          <p:spPr>
            <a:xfrm rot="8716295">
              <a:off x="920812" y="97615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2" name="Forme libre : forme 2231">
              <a:extLst>
                <a:ext uri="{FF2B5EF4-FFF2-40B4-BE49-F238E27FC236}">
                  <a16:creationId xmlns:a16="http://schemas.microsoft.com/office/drawing/2014/main" id="{5C3F77C6-9DBA-4DC2-9C2B-8FF32F9AAA66}"/>
                </a:ext>
              </a:extLst>
            </p:cNvPr>
            <p:cNvSpPr/>
            <p:nvPr/>
          </p:nvSpPr>
          <p:spPr>
            <a:xfrm rot="8716295">
              <a:off x="1010204" y="100539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3" name="Forme libre : forme 2232">
              <a:extLst>
                <a:ext uri="{FF2B5EF4-FFF2-40B4-BE49-F238E27FC236}">
                  <a16:creationId xmlns:a16="http://schemas.microsoft.com/office/drawing/2014/main" id="{01433F1B-9E94-4344-95B9-E1384B85B79C}"/>
                </a:ext>
              </a:extLst>
            </p:cNvPr>
            <p:cNvSpPr/>
            <p:nvPr/>
          </p:nvSpPr>
          <p:spPr>
            <a:xfrm rot="8716295">
              <a:off x="808578" y="106469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4" name="Forme libre : forme 2233">
              <a:extLst>
                <a:ext uri="{FF2B5EF4-FFF2-40B4-BE49-F238E27FC236}">
                  <a16:creationId xmlns:a16="http://schemas.microsoft.com/office/drawing/2014/main" id="{6BC6E0A2-64E4-40E2-8DCE-26CE66D5E02C}"/>
                </a:ext>
              </a:extLst>
            </p:cNvPr>
            <p:cNvSpPr/>
            <p:nvPr/>
          </p:nvSpPr>
          <p:spPr>
            <a:xfrm rot="8716295">
              <a:off x="683676" y="85602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5" name="Forme libre : forme 2234">
              <a:extLst>
                <a:ext uri="{FF2B5EF4-FFF2-40B4-BE49-F238E27FC236}">
                  <a16:creationId xmlns:a16="http://schemas.microsoft.com/office/drawing/2014/main" id="{0ECCD552-19E9-4E97-A420-5BD98BF6782E}"/>
                </a:ext>
              </a:extLst>
            </p:cNvPr>
            <p:cNvSpPr/>
            <p:nvPr/>
          </p:nvSpPr>
          <p:spPr>
            <a:xfrm rot="8716295">
              <a:off x="898756" y="110564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6" name="Forme libre : forme 2235">
              <a:extLst>
                <a:ext uri="{FF2B5EF4-FFF2-40B4-BE49-F238E27FC236}">
                  <a16:creationId xmlns:a16="http://schemas.microsoft.com/office/drawing/2014/main" id="{116D78C7-5BD3-483D-8FD7-87DA20AE4194}"/>
                </a:ext>
              </a:extLst>
            </p:cNvPr>
            <p:cNvSpPr/>
            <p:nvPr/>
          </p:nvSpPr>
          <p:spPr>
            <a:xfrm rot="8716295">
              <a:off x="657305" y="95604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7" name="Forme libre : forme 2236">
              <a:extLst>
                <a:ext uri="{FF2B5EF4-FFF2-40B4-BE49-F238E27FC236}">
                  <a16:creationId xmlns:a16="http://schemas.microsoft.com/office/drawing/2014/main" id="{29F6D281-88E6-45CB-99A2-FB067D9F3B98}"/>
                </a:ext>
              </a:extLst>
            </p:cNvPr>
            <p:cNvSpPr/>
            <p:nvPr/>
          </p:nvSpPr>
          <p:spPr>
            <a:xfrm rot="7484129">
              <a:off x="1003687" y="129699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8" name="Forme libre : forme 2237">
              <a:extLst>
                <a:ext uri="{FF2B5EF4-FFF2-40B4-BE49-F238E27FC236}">
                  <a16:creationId xmlns:a16="http://schemas.microsoft.com/office/drawing/2014/main" id="{5FC8B8C2-4930-4090-BC67-DB393B97500E}"/>
                </a:ext>
              </a:extLst>
            </p:cNvPr>
            <p:cNvSpPr/>
            <p:nvPr/>
          </p:nvSpPr>
          <p:spPr>
            <a:xfrm rot="13089394">
              <a:off x="1108507" y="1263531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9" name="Forme libre : forme 2238">
              <a:extLst>
                <a:ext uri="{FF2B5EF4-FFF2-40B4-BE49-F238E27FC236}">
                  <a16:creationId xmlns:a16="http://schemas.microsoft.com/office/drawing/2014/main" id="{7FFA110A-60E0-4270-A16A-59427B4BD564}"/>
                </a:ext>
              </a:extLst>
            </p:cNvPr>
            <p:cNvSpPr/>
            <p:nvPr/>
          </p:nvSpPr>
          <p:spPr>
            <a:xfrm rot="8716295">
              <a:off x="1294092" y="107185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0" name="Forme libre : forme 2239">
              <a:extLst>
                <a:ext uri="{FF2B5EF4-FFF2-40B4-BE49-F238E27FC236}">
                  <a16:creationId xmlns:a16="http://schemas.microsoft.com/office/drawing/2014/main" id="{43E7722F-9E69-4C35-8403-9712C43A657D}"/>
                </a:ext>
              </a:extLst>
            </p:cNvPr>
            <p:cNvSpPr/>
            <p:nvPr/>
          </p:nvSpPr>
          <p:spPr>
            <a:xfrm rot="8716295">
              <a:off x="1242287" y="96825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1" name="Forme libre : forme 2240">
              <a:extLst>
                <a:ext uri="{FF2B5EF4-FFF2-40B4-BE49-F238E27FC236}">
                  <a16:creationId xmlns:a16="http://schemas.microsoft.com/office/drawing/2014/main" id="{41B2DF52-EC40-447D-B212-F5BA125B74F3}"/>
                </a:ext>
              </a:extLst>
            </p:cNvPr>
            <p:cNvSpPr/>
            <p:nvPr/>
          </p:nvSpPr>
          <p:spPr>
            <a:xfrm rot="8716295">
              <a:off x="999041" y="99847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2" name="Forme libre : forme 2241">
              <a:extLst>
                <a:ext uri="{FF2B5EF4-FFF2-40B4-BE49-F238E27FC236}">
                  <a16:creationId xmlns:a16="http://schemas.microsoft.com/office/drawing/2014/main" id="{7EFBB9C6-AA43-4417-B52E-28BAAA544FB3}"/>
                </a:ext>
              </a:extLst>
            </p:cNvPr>
            <p:cNvSpPr/>
            <p:nvPr/>
          </p:nvSpPr>
          <p:spPr>
            <a:xfrm rot="8716295">
              <a:off x="1176493" y="83923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3" name="Forme libre : forme 2242">
              <a:extLst>
                <a:ext uri="{FF2B5EF4-FFF2-40B4-BE49-F238E27FC236}">
                  <a16:creationId xmlns:a16="http://schemas.microsoft.com/office/drawing/2014/main" id="{4FD368D5-7016-4447-A279-0D553702CEF5}"/>
                </a:ext>
              </a:extLst>
            </p:cNvPr>
            <p:cNvSpPr/>
            <p:nvPr/>
          </p:nvSpPr>
          <p:spPr>
            <a:xfrm rot="8716295">
              <a:off x="412774" y="56424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4" name="Forme libre : forme 2243">
              <a:extLst>
                <a:ext uri="{FF2B5EF4-FFF2-40B4-BE49-F238E27FC236}">
                  <a16:creationId xmlns:a16="http://schemas.microsoft.com/office/drawing/2014/main" id="{B1F12F38-F29C-4A98-BB49-D042691F19E4}"/>
                </a:ext>
              </a:extLst>
            </p:cNvPr>
            <p:cNvSpPr/>
            <p:nvPr/>
          </p:nvSpPr>
          <p:spPr>
            <a:xfrm rot="8716295">
              <a:off x="502166" y="59348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5" name="Forme libre : forme 2244">
              <a:extLst>
                <a:ext uri="{FF2B5EF4-FFF2-40B4-BE49-F238E27FC236}">
                  <a16:creationId xmlns:a16="http://schemas.microsoft.com/office/drawing/2014/main" id="{6BA48DFB-361A-47A4-8798-4F12336B216B}"/>
                </a:ext>
              </a:extLst>
            </p:cNvPr>
            <p:cNvSpPr/>
            <p:nvPr/>
          </p:nvSpPr>
          <p:spPr>
            <a:xfrm rot="8716295">
              <a:off x="457316" y="50720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6" name="Forme libre : forme 2245">
              <a:extLst>
                <a:ext uri="{FF2B5EF4-FFF2-40B4-BE49-F238E27FC236}">
                  <a16:creationId xmlns:a16="http://schemas.microsoft.com/office/drawing/2014/main" id="{6FD8FBAD-C985-48A6-A25A-FE4C6FB98699}"/>
                </a:ext>
              </a:extLst>
            </p:cNvPr>
            <p:cNvSpPr/>
            <p:nvPr/>
          </p:nvSpPr>
          <p:spPr>
            <a:xfrm rot="8716295">
              <a:off x="300540" y="65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7" name="Forme libre : forme 2246">
              <a:extLst>
                <a:ext uri="{FF2B5EF4-FFF2-40B4-BE49-F238E27FC236}">
                  <a16:creationId xmlns:a16="http://schemas.microsoft.com/office/drawing/2014/main" id="{33EF0CB4-1296-44AE-9C21-198FBCD6E1E5}"/>
                </a:ext>
              </a:extLst>
            </p:cNvPr>
            <p:cNvSpPr/>
            <p:nvPr/>
          </p:nvSpPr>
          <p:spPr>
            <a:xfrm rot="8716295">
              <a:off x="175637" y="44411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8" name="Forme libre : forme 2247">
              <a:extLst>
                <a:ext uri="{FF2B5EF4-FFF2-40B4-BE49-F238E27FC236}">
                  <a16:creationId xmlns:a16="http://schemas.microsoft.com/office/drawing/2014/main" id="{6A2221EE-902A-4C54-9104-C294E2D36C2C}"/>
                </a:ext>
              </a:extLst>
            </p:cNvPr>
            <p:cNvSpPr/>
            <p:nvPr/>
          </p:nvSpPr>
          <p:spPr>
            <a:xfrm rot="8716295">
              <a:off x="163585" y="30533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9" name="Forme libre : forme 2248">
              <a:extLst>
                <a:ext uri="{FF2B5EF4-FFF2-40B4-BE49-F238E27FC236}">
                  <a16:creationId xmlns:a16="http://schemas.microsoft.com/office/drawing/2014/main" id="{6C6A641B-B2B7-4694-9375-AF850DEFB133}"/>
                </a:ext>
              </a:extLst>
            </p:cNvPr>
            <p:cNvSpPr/>
            <p:nvPr/>
          </p:nvSpPr>
          <p:spPr>
            <a:xfrm rot="8716295">
              <a:off x="390718" y="69374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0" name="Forme libre : forme 2249">
              <a:extLst>
                <a:ext uri="{FF2B5EF4-FFF2-40B4-BE49-F238E27FC236}">
                  <a16:creationId xmlns:a16="http://schemas.microsoft.com/office/drawing/2014/main" id="{399BD360-2FD0-4499-9E83-6E3D562F1E0B}"/>
                </a:ext>
              </a:extLst>
            </p:cNvPr>
            <p:cNvSpPr/>
            <p:nvPr/>
          </p:nvSpPr>
          <p:spPr>
            <a:xfrm rot="8716295">
              <a:off x="701873" y="31409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1" name="Forme libre : forme 2250">
              <a:extLst>
                <a:ext uri="{FF2B5EF4-FFF2-40B4-BE49-F238E27FC236}">
                  <a16:creationId xmlns:a16="http://schemas.microsoft.com/office/drawing/2014/main" id="{A6673CC7-5199-4DDD-870A-3B185B6CBD7D}"/>
                </a:ext>
              </a:extLst>
            </p:cNvPr>
            <p:cNvSpPr/>
            <p:nvPr/>
          </p:nvSpPr>
          <p:spPr>
            <a:xfrm rot="8716295">
              <a:off x="791265" y="34333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2" name="Forme libre : forme 2251">
              <a:extLst>
                <a:ext uri="{FF2B5EF4-FFF2-40B4-BE49-F238E27FC236}">
                  <a16:creationId xmlns:a16="http://schemas.microsoft.com/office/drawing/2014/main" id="{E23031FA-7B57-47D5-98AF-D9423F5F30EE}"/>
                </a:ext>
              </a:extLst>
            </p:cNvPr>
            <p:cNvSpPr/>
            <p:nvPr/>
          </p:nvSpPr>
          <p:spPr>
            <a:xfrm rot="8716295">
              <a:off x="589639" y="40263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" name="Forme libre : forme 2252">
              <a:extLst>
                <a:ext uri="{FF2B5EF4-FFF2-40B4-BE49-F238E27FC236}">
                  <a16:creationId xmlns:a16="http://schemas.microsoft.com/office/drawing/2014/main" id="{18D159E9-838E-47A3-AE83-A4990238B07C}"/>
                </a:ext>
              </a:extLst>
            </p:cNvPr>
            <p:cNvSpPr/>
            <p:nvPr/>
          </p:nvSpPr>
          <p:spPr>
            <a:xfrm rot="8716295">
              <a:off x="464737" y="19396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" name="Forme libre : forme 2253">
              <a:extLst>
                <a:ext uri="{FF2B5EF4-FFF2-40B4-BE49-F238E27FC236}">
                  <a16:creationId xmlns:a16="http://schemas.microsoft.com/office/drawing/2014/main" id="{45FFA073-EC3B-4660-8F03-6BA94AD6386B}"/>
                </a:ext>
              </a:extLst>
            </p:cNvPr>
            <p:cNvSpPr/>
            <p:nvPr/>
          </p:nvSpPr>
          <p:spPr>
            <a:xfrm rot="8716295">
              <a:off x="679817" y="44358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" name="Forme libre : forme 2254">
              <a:extLst>
                <a:ext uri="{FF2B5EF4-FFF2-40B4-BE49-F238E27FC236}">
                  <a16:creationId xmlns:a16="http://schemas.microsoft.com/office/drawing/2014/main" id="{DC04F724-6125-4E5E-BCC5-96720655541A}"/>
                </a:ext>
              </a:extLst>
            </p:cNvPr>
            <p:cNvSpPr/>
            <p:nvPr/>
          </p:nvSpPr>
          <p:spPr>
            <a:xfrm rot="8716295">
              <a:off x="438366" y="29398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6" name="Forme libre : forme 2255">
              <a:extLst>
                <a:ext uri="{FF2B5EF4-FFF2-40B4-BE49-F238E27FC236}">
                  <a16:creationId xmlns:a16="http://schemas.microsoft.com/office/drawing/2014/main" id="{4E07974B-5D4E-45AC-8AC5-4CEC077D2D4A}"/>
                </a:ext>
              </a:extLst>
            </p:cNvPr>
            <p:cNvSpPr/>
            <p:nvPr/>
          </p:nvSpPr>
          <p:spPr>
            <a:xfrm rot="7484129">
              <a:off x="784748" y="63493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7" name="Forme libre : forme 2256">
              <a:extLst>
                <a:ext uri="{FF2B5EF4-FFF2-40B4-BE49-F238E27FC236}">
                  <a16:creationId xmlns:a16="http://schemas.microsoft.com/office/drawing/2014/main" id="{803ECC03-3567-472A-8050-72BD0AD2D44D}"/>
                </a:ext>
              </a:extLst>
            </p:cNvPr>
            <p:cNvSpPr/>
            <p:nvPr/>
          </p:nvSpPr>
          <p:spPr>
            <a:xfrm rot="13089394">
              <a:off x="889568" y="60147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8" name="Forme libre : forme 2257">
              <a:extLst>
                <a:ext uri="{FF2B5EF4-FFF2-40B4-BE49-F238E27FC236}">
                  <a16:creationId xmlns:a16="http://schemas.microsoft.com/office/drawing/2014/main" id="{B771EDEB-2CF0-4352-878D-B2990D9B9504}"/>
                </a:ext>
              </a:extLst>
            </p:cNvPr>
            <p:cNvSpPr/>
            <p:nvPr/>
          </p:nvSpPr>
          <p:spPr>
            <a:xfrm rot="8716295">
              <a:off x="1075153" y="40979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9" name="Forme libre : forme 2258">
              <a:extLst>
                <a:ext uri="{FF2B5EF4-FFF2-40B4-BE49-F238E27FC236}">
                  <a16:creationId xmlns:a16="http://schemas.microsoft.com/office/drawing/2014/main" id="{5143866B-E59F-41E8-AA95-A590D76AAA7E}"/>
                </a:ext>
              </a:extLst>
            </p:cNvPr>
            <p:cNvSpPr/>
            <p:nvPr/>
          </p:nvSpPr>
          <p:spPr>
            <a:xfrm rot="8716295">
              <a:off x="1023348" y="30619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0" name="Forme libre : forme 2259">
              <a:extLst>
                <a:ext uri="{FF2B5EF4-FFF2-40B4-BE49-F238E27FC236}">
                  <a16:creationId xmlns:a16="http://schemas.microsoft.com/office/drawing/2014/main" id="{0E94EEA0-8274-432D-BB6F-9286004332CA}"/>
                </a:ext>
              </a:extLst>
            </p:cNvPr>
            <p:cNvSpPr/>
            <p:nvPr/>
          </p:nvSpPr>
          <p:spPr>
            <a:xfrm rot="8716295">
              <a:off x="780102" y="336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1" name="Forme libre : forme 2260">
              <a:extLst>
                <a:ext uri="{FF2B5EF4-FFF2-40B4-BE49-F238E27FC236}">
                  <a16:creationId xmlns:a16="http://schemas.microsoft.com/office/drawing/2014/main" id="{A6D5A634-8C59-40B1-8D8F-9E7C17280A50}"/>
                </a:ext>
              </a:extLst>
            </p:cNvPr>
            <p:cNvSpPr/>
            <p:nvPr/>
          </p:nvSpPr>
          <p:spPr>
            <a:xfrm rot="8716295">
              <a:off x="957554" y="17717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2" name="Forme libre : forme 2261">
              <a:extLst>
                <a:ext uri="{FF2B5EF4-FFF2-40B4-BE49-F238E27FC236}">
                  <a16:creationId xmlns:a16="http://schemas.microsoft.com/office/drawing/2014/main" id="{AEA08EC4-CD84-4A24-ACC9-A6661B311E57}"/>
                </a:ext>
              </a:extLst>
            </p:cNvPr>
            <p:cNvSpPr/>
            <p:nvPr/>
          </p:nvSpPr>
          <p:spPr>
            <a:xfrm rot="8716295">
              <a:off x="202348" y="-57106"/>
              <a:ext cx="142167" cy="186494"/>
            </a:xfrm>
            <a:custGeom>
              <a:avLst/>
              <a:gdLst>
                <a:gd name="connsiteX0" fmla="*/ 142167 w 142167"/>
                <a:gd name="connsiteY0" fmla="*/ 186494 h 186494"/>
                <a:gd name="connsiteX1" fmla="*/ 81108 w 142167"/>
                <a:gd name="connsiteY1" fmla="*/ 144170 h 186494"/>
                <a:gd name="connsiteX2" fmla="*/ 81108 w 142167"/>
                <a:gd name="connsiteY2" fmla="*/ 69717 h 186494"/>
                <a:gd name="connsiteX3" fmla="*/ 81108 w 142167"/>
                <a:gd name="connsiteY3" fmla="*/ 65615 h 186494"/>
                <a:gd name="connsiteX4" fmla="*/ 60603 w 142167"/>
                <a:gd name="connsiteY4" fmla="*/ 50123 h 186494"/>
                <a:gd name="connsiteX5" fmla="*/ 0 w 142167"/>
                <a:gd name="connsiteY5" fmla="*/ 50123 h 186494"/>
                <a:gd name="connsiteX6" fmla="*/ 0 w 142167"/>
                <a:gd name="connsiteY6" fmla="*/ 0 h 186494"/>
                <a:gd name="connsiteX7" fmla="*/ 85209 w 142167"/>
                <a:gd name="connsiteY7" fmla="*/ 0 h 186494"/>
                <a:gd name="connsiteX8" fmla="*/ 142167 w 142167"/>
                <a:gd name="connsiteY8" fmla="*/ 50123 h 186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86494">
                  <a:moveTo>
                    <a:pt x="142167" y="186494"/>
                  </a:moveTo>
                  <a:lnTo>
                    <a:pt x="81108" y="144170"/>
                  </a:lnTo>
                  <a:lnTo>
                    <a:pt x="81108" y="69717"/>
                  </a:lnTo>
                  <a:cubicBezTo>
                    <a:pt x="81108" y="68349"/>
                    <a:pt x="81108" y="66983"/>
                    <a:pt x="81108" y="65615"/>
                  </a:cubicBezTo>
                  <a:cubicBezTo>
                    <a:pt x="79741" y="55591"/>
                    <a:pt x="70628" y="48756"/>
                    <a:pt x="60603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3" name="Forme libre : forme 2262">
              <a:extLst>
                <a:ext uri="{FF2B5EF4-FFF2-40B4-BE49-F238E27FC236}">
                  <a16:creationId xmlns:a16="http://schemas.microsoft.com/office/drawing/2014/main" id="{60AFC6E6-CF38-4DF0-A5E2-CF7B4BD947CC}"/>
                </a:ext>
              </a:extLst>
            </p:cNvPr>
            <p:cNvSpPr/>
            <p:nvPr/>
          </p:nvSpPr>
          <p:spPr>
            <a:xfrm rot="8716295">
              <a:off x="298766" y="-5395"/>
              <a:ext cx="260639" cy="180054"/>
            </a:xfrm>
            <a:custGeom>
              <a:avLst/>
              <a:gdLst>
                <a:gd name="connsiteX0" fmla="*/ 111638 w 260639"/>
                <a:gd name="connsiteY0" fmla="*/ 180054 h 180054"/>
                <a:gd name="connsiteX1" fmla="*/ 51490 w 260639"/>
                <a:gd name="connsiteY1" fmla="*/ 138362 h 180054"/>
                <a:gd name="connsiteX2" fmla="*/ 51490 w 260639"/>
                <a:gd name="connsiteY2" fmla="*/ 45624 h 180054"/>
                <a:gd name="connsiteX3" fmla="*/ 0 w 260639"/>
                <a:gd name="connsiteY3" fmla="*/ 45624 h 180054"/>
                <a:gd name="connsiteX4" fmla="*/ 0 w 260639"/>
                <a:gd name="connsiteY4" fmla="*/ 1425 h 180054"/>
                <a:gd name="connsiteX5" fmla="*/ 104802 w 260639"/>
                <a:gd name="connsiteY5" fmla="*/ 1425 h 180054"/>
                <a:gd name="connsiteX6" fmla="*/ 104802 w 260639"/>
                <a:gd name="connsiteY6" fmla="*/ 75242 h 180054"/>
                <a:gd name="connsiteX7" fmla="*/ 106169 w 260639"/>
                <a:gd name="connsiteY7" fmla="*/ 75242 h 180054"/>
                <a:gd name="connsiteX8" fmla="*/ 154014 w 260639"/>
                <a:gd name="connsiteY8" fmla="*/ 5981 h 180054"/>
                <a:gd name="connsiteX9" fmla="*/ 185455 w 260639"/>
                <a:gd name="connsiteY9" fmla="*/ 57 h 180054"/>
                <a:gd name="connsiteX10" fmla="*/ 260639 w 260639"/>
                <a:gd name="connsiteY10" fmla="*/ 88456 h 180054"/>
                <a:gd name="connsiteX11" fmla="*/ 260639 w 260639"/>
                <a:gd name="connsiteY11" fmla="*/ 94380 h 180054"/>
                <a:gd name="connsiteX12" fmla="*/ 198669 w 260639"/>
                <a:gd name="connsiteY12" fmla="*/ 98025 h 180054"/>
                <a:gd name="connsiteX13" fmla="*/ 198669 w 260639"/>
                <a:gd name="connsiteY13" fmla="*/ 81621 h 180054"/>
                <a:gd name="connsiteX14" fmla="*/ 164950 w 260639"/>
                <a:gd name="connsiteY14" fmla="*/ 40156 h 180054"/>
                <a:gd name="connsiteX15" fmla="*/ 111638 w 260639"/>
                <a:gd name="connsiteY15" fmla="*/ 127643 h 180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0639" h="180054">
                  <a:moveTo>
                    <a:pt x="111638" y="180054"/>
                  </a:moveTo>
                  <a:lnTo>
                    <a:pt x="51490" y="138362"/>
                  </a:ln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4" name="Forme libre : forme 2263">
              <a:extLst>
                <a:ext uri="{FF2B5EF4-FFF2-40B4-BE49-F238E27FC236}">
                  <a16:creationId xmlns:a16="http://schemas.microsoft.com/office/drawing/2014/main" id="{F99E11F1-879E-43C0-A1F2-522A2B520054}"/>
                </a:ext>
              </a:extLst>
            </p:cNvPr>
            <p:cNvSpPr/>
            <p:nvPr/>
          </p:nvSpPr>
          <p:spPr>
            <a:xfrm rot="8716295">
              <a:off x="276903" y="-12823"/>
              <a:ext cx="36272" cy="27982"/>
            </a:xfrm>
            <a:custGeom>
              <a:avLst/>
              <a:gdLst>
                <a:gd name="connsiteX0" fmla="*/ 36272 w 36272"/>
                <a:gd name="connsiteY0" fmla="*/ 27982 h 27982"/>
                <a:gd name="connsiteX1" fmla="*/ 0 w 36272"/>
                <a:gd name="connsiteY1" fmla="*/ 2840 h 27982"/>
                <a:gd name="connsiteX2" fmla="*/ 9543 w 36272"/>
                <a:gd name="connsiteY2" fmla="*/ 0 h 27982"/>
                <a:gd name="connsiteX3" fmla="*/ 31871 w 36272"/>
                <a:gd name="connsiteY3" fmla="*/ 11392 h 27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272" h="27982">
                  <a:moveTo>
                    <a:pt x="36272" y="27982"/>
                  </a:moveTo>
                  <a:lnTo>
                    <a:pt x="0" y="2840"/>
                  </a:lnTo>
                  <a:lnTo>
                    <a:pt x="9543" y="0"/>
                  </a:lnTo>
                  <a:cubicBezTo>
                    <a:pt x="20479" y="0"/>
                    <a:pt x="27542" y="4784"/>
                    <a:pt x="31871" y="113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5" name="Forme libre : forme 2264">
              <a:extLst>
                <a:ext uri="{FF2B5EF4-FFF2-40B4-BE49-F238E27FC236}">
                  <a16:creationId xmlns:a16="http://schemas.microsoft.com/office/drawing/2014/main" id="{2E8D6347-E8C4-45B5-8A1B-45E97581E04C}"/>
                </a:ext>
              </a:extLst>
            </p:cNvPr>
            <p:cNvSpPr/>
            <p:nvPr/>
          </p:nvSpPr>
          <p:spPr>
            <a:xfrm rot="8716295">
              <a:off x="74640" y="-9665"/>
              <a:ext cx="58068" cy="54772"/>
            </a:xfrm>
            <a:custGeom>
              <a:avLst/>
              <a:gdLst>
                <a:gd name="connsiteX0" fmla="*/ 37436 w 58068"/>
                <a:gd name="connsiteY0" fmla="*/ 54772 h 54772"/>
                <a:gd name="connsiteX1" fmla="*/ 0 w 58068"/>
                <a:gd name="connsiteY1" fmla="*/ 28823 h 54772"/>
                <a:gd name="connsiteX2" fmla="*/ 8515 w 58068"/>
                <a:gd name="connsiteY2" fmla="*/ 8658 h 54772"/>
                <a:gd name="connsiteX3" fmla="*/ 29020 w 58068"/>
                <a:gd name="connsiteY3" fmla="*/ 0 h 54772"/>
                <a:gd name="connsiteX4" fmla="*/ 49525 w 58068"/>
                <a:gd name="connsiteY4" fmla="*/ 8658 h 54772"/>
                <a:gd name="connsiteX5" fmla="*/ 49525 w 58068"/>
                <a:gd name="connsiteY5" fmla="*/ 49668 h 5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068" h="54772">
                  <a:moveTo>
                    <a:pt x="37436" y="54772"/>
                  </a:moveTo>
                  <a:lnTo>
                    <a:pt x="0" y="28823"/>
                  </a:lnTo>
                  <a:lnTo>
                    <a:pt x="8515" y="8658"/>
                  </a:lnTo>
                  <a:cubicBezTo>
                    <a:pt x="13983" y="3190"/>
                    <a:pt x="21273" y="0"/>
                    <a:pt x="29020" y="0"/>
                  </a:cubicBezTo>
                  <a:cubicBezTo>
                    <a:pt x="36766" y="0"/>
                    <a:pt x="44057" y="3190"/>
                    <a:pt x="49525" y="8658"/>
                  </a:cubicBezTo>
                  <a:cubicBezTo>
                    <a:pt x="60916" y="19594"/>
                    <a:pt x="60916" y="38276"/>
                    <a:pt x="49525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6" name="Forme libre : forme 2265">
              <a:extLst>
                <a:ext uri="{FF2B5EF4-FFF2-40B4-BE49-F238E27FC236}">
                  <a16:creationId xmlns:a16="http://schemas.microsoft.com/office/drawing/2014/main" id="{BCA89D21-0065-4D16-A3A0-E2C378DC3A92}"/>
                </a:ext>
              </a:extLst>
            </p:cNvPr>
            <p:cNvSpPr/>
            <p:nvPr/>
          </p:nvSpPr>
          <p:spPr>
            <a:xfrm rot="8716295">
              <a:off x="13802" y="-10406"/>
              <a:ext cx="30027" cy="20814"/>
            </a:xfrm>
            <a:custGeom>
              <a:avLst/>
              <a:gdLst>
                <a:gd name="connsiteX0" fmla="*/ 30027 w 30027"/>
                <a:gd name="connsiteY0" fmla="*/ 20814 h 20814"/>
                <a:gd name="connsiteX1" fmla="*/ 0 w 30027"/>
                <a:gd name="connsiteY1" fmla="*/ 0 h 20814"/>
                <a:gd name="connsiteX2" fmla="*/ 30027 w 30027"/>
                <a:gd name="connsiteY2" fmla="*/ 0 h 20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027" h="20814">
                  <a:moveTo>
                    <a:pt x="30027" y="20814"/>
                  </a:moveTo>
                  <a:lnTo>
                    <a:pt x="0" y="0"/>
                  </a:lnTo>
                  <a:lnTo>
                    <a:pt x="3002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7" name="Forme libre : forme 2266">
              <a:extLst>
                <a:ext uri="{FF2B5EF4-FFF2-40B4-BE49-F238E27FC236}">
                  <a16:creationId xmlns:a16="http://schemas.microsoft.com/office/drawing/2014/main" id="{F71B2498-3B3D-45FC-A329-91E00C9C5967}"/>
                </a:ext>
              </a:extLst>
            </p:cNvPr>
            <p:cNvSpPr/>
            <p:nvPr/>
          </p:nvSpPr>
          <p:spPr>
            <a:xfrm rot="8716295">
              <a:off x="168048" y="3032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8" name="Forme libre : forme 2267">
              <a:extLst>
                <a:ext uri="{FF2B5EF4-FFF2-40B4-BE49-F238E27FC236}">
                  <a16:creationId xmlns:a16="http://schemas.microsoft.com/office/drawing/2014/main" id="{3CF8E69B-B55C-41E9-B911-1981925CCEB5}"/>
                </a:ext>
              </a:extLst>
            </p:cNvPr>
            <p:cNvSpPr/>
            <p:nvPr/>
          </p:nvSpPr>
          <p:spPr>
            <a:xfrm rot="7484129">
              <a:off x="562078" y="-284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9" name="Forme libre : forme 2268">
              <a:extLst>
                <a:ext uri="{FF2B5EF4-FFF2-40B4-BE49-F238E27FC236}">
                  <a16:creationId xmlns:a16="http://schemas.microsoft.com/office/drawing/2014/main" id="{4C71276B-40A5-4E8A-A73A-B1F9AA0F0D51}"/>
                </a:ext>
              </a:extLst>
            </p:cNvPr>
            <p:cNvSpPr/>
            <p:nvPr/>
          </p:nvSpPr>
          <p:spPr>
            <a:xfrm rot="13089394">
              <a:off x="775514" y="-27038"/>
              <a:ext cx="149688" cy="328219"/>
            </a:xfrm>
            <a:custGeom>
              <a:avLst/>
              <a:gdLst>
                <a:gd name="connsiteX0" fmla="*/ 149688 w 149688"/>
                <a:gd name="connsiteY0" fmla="*/ 279622 h 328219"/>
                <a:gd name="connsiteX1" fmla="*/ 87835 w 149688"/>
                <a:gd name="connsiteY1" fmla="*/ 328219 h 328219"/>
                <a:gd name="connsiteX2" fmla="*/ 54765 w 149688"/>
                <a:gd name="connsiteY2" fmla="*/ 322521 h 328219"/>
                <a:gd name="connsiteX3" fmla="*/ 23727 w 149688"/>
                <a:gd name="connsiteY3" fmla="*/ 301277 h 328219"/>
                <a:gd name="connsiteX4" fmla="*/ 0 w 149688"/>
                <a:gd name="connsiteY4" fmla="*/ 206369 h 328219"/>
                <a:gd name="connsiteX5" fmla="*/ 0 w 149688"/>
                <a:gd name="connsiteY5" fmla="*/ 38074 h 328219"/>
                <a:gd name="connsiteX6" fmla="*/ 73388 w 149688"/>
                <a:gd name="connsiteY6" fmla="*/ 0 h 328219"/>
                <a:gd name="connsiteX7" fmla="*/ 74492 w 149688"/>
                <a:gd name="connsiteY7" fmla="*/ 153950 h 328219"/>
                <a:gd name="connsiteX8" fmla="*/ 87734 w 149688"/>
                <a:gd name="connsiteY8" fmla="*/ 245547 h 328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9688" h="328219">
                  <a:moveTo>
                    <a:pt x="149688" y="279622"/>
                  </a:moveTo>
                  <a:lnTo>
                    <a:pt x="87835" y="328219"/>
                  </a:lnTo>
                  <a:lnTo>
                    <a:pt x="54765" y="322521"/>
                  </a:lnTo>
                  <a:cubicBezTo>
                    <a:pt x="43178" y="317693"/>
                    <a:pt x="32555" y="310382"/>
                    <a:pt x="23727" y="301277"/>
                  </a:cubicBezTo>
                  <a:cubicBezTo>
                    <a:pt x="4966" y="283069"/>
                    <a:pt x="0" y="251616"/>
                    <a:pt x="0" y="206369"/>
                  </a:cubicBez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2836" y="184850"/>
                    <a:pt x="77802" y="216302"/>
                    <a:pt x="87734" y="2455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0" name="Forme libre : forme 2269">
              <a:extLst>
                <a:ext uri="{FF2B5EF4-FFF2-40B4-BE49-F238E27FC236}">
                  <a16:creationId xmlns:a16="http://schemas.microsoft.com/office/drawing/2014/main" id="{989F33F8-2CEA-46E0-977C-BF10A5F6EC24}"/>
                </a:ext>
              </a:extLst>
            </p:cNvPr>
            <p:cNvSpPr/>
            <p:nvPr/>
          </p:nvSpPr>
          <p:spPr>
            <a:xfrm rot="8716295">
              <a:off x="5027149" y="202701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1" name="Forme libre : forme 2270">
              <a:extLst>
                <a:ext uri="{FF2B5EF4-FFF2-40B4-BE49-F238E27FC236}">
                  <a16:creationId xmlns:a16="http://schemas.microsoft.com/office/drawing/2014/main" id="{9811A813-1EE2-49DA-9483-7786C91105E8}"/>
                </a:ext>
              </a:extLst>
            </p:cNvPr>
            <p:cNvSpPr/>
            <p:nvPr/>
          </p:nvSpPr>
          <p:spPr>
            <a:xfrm rot="8716295">
              <a:off x="5116541" y="205625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2" name="Forme libre : forme 2271">
              <a:extLst>
                <a:ext uri="{FF2B5EF4-FFF2-40B4-BE49-F238E27FC236}">
                  <a16:creationId xmlns:a16="http://schemas.microsoft.com/office/drawing/2014/main" id="{8FC8FB61-C549-4F81-9375-A1D7E59B1E17}"/>
                </a:ext>
              </a:extLst>
            </p:cNvPr>
            <p:cNvSpPr/>
            <p:nvPr/>
          </p:nvSpPr>
          <p:spPr>
            <a:xfrm rot="8716295">
              <a:off x="5071691" y="196997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3" name="Forme libre : forme 2272">
              <a:extLst>
                <a:ext uri="{FF2B5EF4-FFF2-40B4-BE49-F238E27FC236}">
                  <a16:creationId xmlns:a16="http://schemas.microsoft.com/office/drawing/2014/main" id="{0CFFA3A9-B086-4D44-B5C2-B82670FF13BF}"/>
                </a:ext>
              </a:extLst>
            </p:cNvPr>
            <p:cNvSpPr/>
            <p:nvPr/>
          </p:nvSpPr>
          <p:spPr>
            <a:xfrm rot="8716295">
              <a:off x="4914915" y="211555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4" name="Forme libre : forme 2273">
              <a:extLst>
                <a:ext uri="{FF2B5EF4-FFF2-40B4-BE49-F238E27FC236}">
                  <a16:creationId xmlns:a16="http://schemas.microsoft.com/office/drawing/2014/main" id="{233AD9D8-2DDF-4DFC-A97A-554BCD15069B}"/>
                </a:ext>
              </a:extLst>
            </p:cNvPr>
            <p:cNvSpPr/>
            <p:nvPr/>
          </p:nvSpPr>
          <p:spPr>
            <a:xfrm rot="8716295">
              <a:off x="4790012" y="190688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5" name="Forme libre : forme 2274">
              <a:extLst>
                <a:ext uri="{FF2B5EF4-FFF2-40B4-BE49-F238E27FC236}">
                  <a16:creationId xmlns:a16="http://schemas.microsoft.com/office/drawing/2014/main" id="{F30C5186-83A8-436D-A1B1-82D8B26F890D}"/>
                </a:ext>
              </a:extLst>
            </p:cNvPr>
            <p:cNvSpPr/>
            <p:nvPr/>
          </p:nvSpPr>
          <p:spPr>
            <a:xfrm rot="8716295">
              <a:off x="4777960" y="176810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6" name="Forme libre : forme 2275">
              <a:extLst>
                <a:ext uri="{FF2B5EF4-FFF2-40B4-BE49-F238E27FC236}">
                  <a16:creationId xmlns:a16="http://schemas.microsoft.com/office/drawing/2014/main" id="{A0377747-04B1-4283-950B-CD843F97EFB6}"/>
                </a:ext>
              </a:extLst>
            </p:cNvPr>
            <p:cNvSpPr/>
            <p:nvPr/>
          </p:nvSpPr>
          <p:spPr>
            <a:xfrm rot="8716295">
              <a:off x="5005093" y="215651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7" name="Forme libre : forme 2276">
              <a:extLst>
                <a:ext uri="{FF2B5EF4-FFF2-40B4-BE49-F238E27FC236}">
                  <a16:creationId xmlns:a16="http://schemas.microsoft.com/office/drawing/2014/main" id="{3571DCD9-8E3F-48D7-BBF0-29E0A04E1105}"/>
                </a:ext>
              </a:extLst>
            </p:cNvPr>
            <p:cNvSpPr/>
            <p:nvPr/>
          </p:nvSpPr>
          <p:spPr>
            <a:xfrm rot="8716295">
              <a:off x="5316248" y="177686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8" name="Forme libre : forme 2277">
              <a:extLst>
                <a:ext uri="{FF2B5EF4-FFF2-40B4-BE49-F238E27FC236}">
                  <a16:creationId xmlns:a16="http://schemas.microsoft.com/office/drawing/2014/main" id="{B5194E53-4203-440A-97AE-D778552CB387}"/>
                </a:ext>
              </a:extLst>
            </p:cNvPr>
            <p:cNvSpPr/>
            <p:nvPr/>
          </p:nvSpPr>
          <p:spPr>
            <a:xfrm rot="8716295">
              <a:off x="5405640" y="180610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9" name="Forme libre : forme 2278">
              <a:extLst>
                <a:ext uri="{FF2B5EF4-FFF2-40B4-BE49-F238E27FC236}">
                  <a16:creationId xmlns:a16="http://schemas.microsoft.com/office/drawing/2014/main" id="{DAF19CC7-74AA-4704-A1D2-062102FB21F8}"/>
                </a:ext>
              </a:extLst>
            </p:cNvPr>
            <p:cNvSpPr/>
            <p:nvPr/>
          </p:nvSpPr>
          <p:spPr>
            <a:xfrm rot="8716295">
              <a:off x="5204014" y="186540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0" name="Forme libre : forme 2279">
              <a:extLst>
                <a:ext uri="{FF2B5EF4-FFF2-40B4-BE49-F238E27FC236}">
                  <a16:creationId xmlns:a16="http://schemas.microsoft.com/office/drawing/2014/main" id="{25EC3E6E-10D1-4116-AA5A-C57DF5107B67}"/>
                </a:ext>
              </a:extLst>
            </p:cNvPr>
            <p:cNvSpPr/>
            <p:nvPr/>
          </p:nvSpPr>
          <p:spPr>
            <a:xfrm rot="8716295">
              <a:off x="5079112" y="165673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1" name="Forme libre : forme 2280">
              <a:extLst>
                <a:ext uri="{FF2B5EF4-FFF2-40B4-BE49-F238E27FC236}">
                  <a16:creationId xmlns:a16="http://schemas.microsoft.com/office/drawing/2014/main" id="{C9FA81BF-DE28-4428-8ED6-97559BBCCD8C}"/>
                </a:ext>
              </a:extLst>
            </p:cNvPr>
            <p:cNvSpPr/>
            <p:nvPr/>
          </p:nvSpPr>
          <p:spPr>
            <a:xfrm rot="8716295">
              <a:off x="5294192" y="190635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2" name="Forme libre : forme 2281">
              <a:extLst>
                <a:ext uri="{FF2B5EF4-FFF2-40B4-BE49-F238E27FC236}">
                  <a16:creationId xmlns:a16="http://schemas.microsoft.com/office/drawing/2014/main" id="{7CBE3143-36E0-46F6-A7F9-68442F5449A1}"/>
                </a:ext>
              </a:extLst>
            </p:cNvPr>
            <p:cNvSpPr/>
            <p:nvPr/>
          </p:nvSpPr>
          <p:spPr>
            <a:xfrm rot="8716295">
              <a:off x="5052741" y="175675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3" name="Forme libre : forme 2282">
              <a:extLst>
                <a:ext uri="{FF2B5EF4-FFF2-40B4-BE49-F238E27FC236}">
                  <a16:creationId xmlns:a16="http://schemas.microsoft.com/office/drawing/2014/main" id="{6D272255-56C7-4DCB-8E2D-FCB1C2CD9031}"/>
                </a:ext>
              </a:extLst>
            </p:cNvPr>
            <p:cNvSpPr/>
            <p:nvPr/>
          </p:nvSpPr>
          <p:spPr>
            <a:xfrm rot="7484129">
              <a:off x="5399123" y="209771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4" name="Forme libre : forme 2283">
              <a:extLst>
                <a:ext uri="{FF2B5EF4-FFF2-40B4-BE49-F238E27FC236}">
                  <a16:creationId xmlns:a16="http://schemas.microsoft.com/office/drawing/2014/main" id="{4FB405A8-78D2-42A0-AA73-3F8891BBCD16}"/>
                </a:ext>
              </a:extLst>
            </p:cNvPr>
            <p:cNvSpPr/>
            <p:nvPr/>
          </p:nvSpPr>
          <p:spPr>
            <a:xfrm rot="13089394">
              <a:off x="5503943" y="206424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5" name="Forme libre : forme 2284">
              <a:extLst>
                <a:ext uri="{FF2B5EF4-FFF2-40B4-BE49-F238E27FC236}">
                  <a16:creationId xmlns:a16="http://schemas.microsoft.com/office/drawing/2014/main" id="{5D1227F4-9CCA-498B-B4A8-3FC0F584569C}"/>
                </a:ext>
              </a:extLst>
            </p:cNvPr>
            <p:cNvSpPr/>
            <p:nvPr/>
          </p:nvSpPr>
          <p:spPr>
            <a:xfrm rot="8716295">
              <a:off x="5689528" y="187256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6" name="Forme libre : forme 2285">
              <a:extLst>
                <a:ext uri="{FF2B5EF4-FFF2-40B4-BE49-F238E27FC236}">
                  <a16:creationId xmlns:a16="http://schemas.microsoft.com/office/drawing/2014/main" id="{C59C685B-27AB-40A0-A906-985CA6213EBC}"/>
                </a:ext>
              </a:extLst>
            </p:cNvPr>
            <p:cNvSpPr/>
            <p:nvPr/>
          </p:nvSpPr>
          <p:spPr>
            <a:xfrm rot="8716295">
              <a:off x="5637723" y="176897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7" name="Forme libre : forme 2286">
              <a:extLst>
                <a:ext uri="{FF2B5EF4-FFF2-40B4-BE49-F238E27FC236}">
                  <a16:creationId xmlns:a16="http://schemas.microsoft.com/office/drawing/2014/main" id="{8DB70848-D82B-4310-9BBA-A9459B171C10}"/>
                </a:ext>
              </a:extLst>
            </p:cNvPr>
            <p:cNvSpPr/>
            <p:nvPr/>
          </p:nvSpPr>
          <p:spPr>
            <a:xfrm rot="8716295">
              <a:off x="5394477" y="179919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8" name="Forme libre : forme 2287">
              <a:extLst>
                <a:ext uri="{FF2B5EF4-FFF2-40B4-BE49-F238E27FC236}">
                  <a16:creationId xmlns:a16="http://schemas.microsoft.com/office/drawing/2014/main" id="{C5272E14-DCC6-4573-8D08-FD212965F221}"/>
                </a:ext>
              </a:extLst>
            </p:cNvPr>
            <p:cNvSpPr/>
            <p:nvPr/>
          </p:nvSpPr>
          <p:spPr>
            <a:xfrm rot="8716295">
              <a:off x="5571929" y="163994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9" name="Forme libre : forme 2288">
              <a:extLst>
                <a:ext uri="{FF2B5EF4-FFF2-40B4-BE49-F238E27FC236}">
                  <a16:creationId xmlns:a16="http://schemas.microsoft.com/office/drawing/2014/main" id="{A350DCBD-0FDA-496A-BBBE-BB7098DAD44D}"/>
                </a:ext>
              </a:extLst>
            </p:cNvPr>
            <p:cNvSpPr/>
            <p:nvPr/>
          </p:nvSpPr>
          <p:spPr>
            <a:xfrm rot="8716295">
              <a:off x="5250316" y="268671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0" name="Forme libre : forme 2289">
              <a:extLst>
                <a:ext uri="{FF2B5EF4-FFF2-40B4-BE49-F238E27FC236}">
                  <a16:creationId xmlns:a16="http://schemas.microsoft.com/office/drawing/2014/main" id="{424249A1-386F-413D-A213-ACEDD63BDA25}"/>
                </a:ext>
              </a:extLst>
            </p:cNvPr>
            <p:cNvSpPr/>
            <p:nvPr/>
          </p:nvSpPr>
          <p:spPr>
            <a:xfrm rot="8716295">
              <a:off x="5339708" y="271595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1" name="Forme libre : forme 2290">
              <a:extLst>
                <a:ext uri="{FF2B5EF4-FFF2-40B4-BE49-F238E27FC236}">
                  <a16:creationId xmlns:a16="http://schemas.microsoft.com/office/drawing/2014/main" id="{ECDCBBB4-5207-4603-B3A2-EE99E034021A}"/>
                </a:ext>
              </a:extLst>
            </p:cNvPr>
            <p:cNvSpPr/>
            <p:nvPr/>
          </p:nvSpPr>
          <p:spPr>
            <a:xfrm rot="8716295">
              <a:off x="5294858" y="262967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2" name="Forme libre : forme 2291">
              <a:extLst>
                <a:ext uri="{FF2B5EF4-FFF2-40B4-BE49-F238E27FC236}">
                  <a16:creationId xmlns:a16="http://schemas.microsoft.com/office/drawing/2014/main" id="{586B3E24-B064-4091-9B72-D089A71B8329}"/>
                </a:ext>
              </a:extLst>
            </p:cNvPr>
            <p:cNvSpPr/>
            <p:nvPr/>
          </p:nvSpPr>
          <p:spPr>
            <a:xfrm rot="8716295">
              <a:off x="5138082" y="277525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3" name="Forme libre : forme 2292">
              <a:extLst>
                <a:ext uri="{FF2B5EF4-FFF2-40B4-BE49-F238E27FC236}">
                  <a16:creationId xmlns:a16="http://schemas.microsoft.com/office/drawing/2014/main" id="{0B8199E1-B2FB-471F-BB74-205302CD4EEC}"/>
                </a:ext>
              </a:extLst>
            </p:cNvPr>
            <p:cNvSpPr/>
            <p:nvPr/>
          </p:nvSpPr>
          <p:spPr>
            <a:xfrm rot="8716295">
              <a:off x="5013179" y="256658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4" name="Forme libre : forme 2293">
              <a:extLst>
                <a:ext uri="{FF2B5EF4-FFF2-40B4-BE49-F238E27FC236}">
                  <a16:creationId xmlns:a16="http://schemas.microsoft.com/office/drawing/2014/main" id="{2FB2D688-FEA9-44F3-ABA3-DB1429B0A2C4}"/>
                </a:ext>
              </a:extLst>
            </p:cNvPr>
            <p:cNvSpPr/>
            <p:nvPr/>
          </p:nvSpPr>
          <p:spPr>
            <a:xfrm rot="8716295">
              <a:off x="5001127" y="242780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5" name="Forme libre : forme 2294">
              <a:extLst>
                <a:ext uri="{FF2B5EF4-FFF2-40B4-BE49-F238E27FC236}">
                  <a16:creationId xmlns:a16="http://schemas.microsoft.com/office/drawing/2014/main" id="{CD81BB45-7980-4C73-85FE-6BB2DBE766EF}"/>
                </a:ext>
              </a:extLst>
            </p:cNvPr>
            <p:cNvSpPr/>
            <p:nvPr/>
          </p:nvSpPr>
          <p:spPr>
            <a:xfrm rot="8716295">
              <a:off x="5228260" y="281621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6" name="Forme libre : forme 2295">
              <a:extLst>
                <a:ext uri="{FF2B5EF4-FFF2-40B4-BE49-F238E27FC236}">
                  <a16:creationId xmlns:a16="http://schemas.microsoft.com/office/drawing/2014/main" id="{45A188F4-BDAA-4C8F-BC77-E18E0A410657}"/>
                </a:ext>
              </a:extLst>
            </p:cNvPr>
            <p:cNvSpPr/>
            <p:nvPr/>
          </p:nvSpPr>
          <p:spPr>
            <a:xfrm rot="8716295">
              <a:off x="5539415" y="243656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7" name="Forme libre : forme 2296">
              <a:extLst>
                <a:ext uri="{FF2B5EF4-FFF2-40B4-BE49-F238E27FC236}">
                  <a16:creationId xmlns:a16="http://schemas.microsoft.com/office/drawing/2014/main" id="{6F38191A-A16B-4F12-A551-5C44F7C985EE}"/>
                </a:ext>
              </a:extLst>
            </p:cNvPr>
            <p:cNvSpPr/>
            <p:nvPr/>
          </p:nvSpPr>
          <p:spPr>
            <a:xfrm rot="8716295">
              <a:off x="5628807" y="246580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8" name="Forme libre : forme 2297">
              <a:extLst>
                <a:ext uri="{FF2B5EF4-FFF2-40B4-BE49-F238E27FC236}">
                  <a16:creationId xmlns:a16="http://schemas.microsoft.com/office/drawing/2014/main" id="{D3CC80E9-1D47-429F-ACDE-A621C24CBE44}"/>
                </a:ext>
              </a:extLst>
            </p:cNvPr>
            <p:cNvSpPr/>
            <p:nvPr/>
          </p:nvSpPr>
          <p:spPr>
            <a:xfrm rot="8716295">
              <a:off x="5427181" y="252510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9" name="Forme libre : forme 2298">
              <a:extLst>
                <a:ext uri="{FF2B5EF4-FFF2-40B4-BE49-F238E27FC236}">
                  <a16:creationId xmlns:a16="http://schemas.microsoft.com/office/drawing/2014/main" id="{A24688B2-0199-4274-9FD6-B44932C06770}"/>
                </a:ext>
              </a:extLst>
            </p:cNvPr>
            <p:cNvSpPr/>
            <p:nvPr/>
          </p:nvSpPr>
          <p:spPr>
            <a:xfrm rot="8716295">
              <a:off x="5302279" y="231643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0" name="Forme libre : forme 2299">
              <a:extLst>
                <a:ext uri="{FF2B5EF4-FFF2-40B4-BE49-F238E27FC236}">
                  <a16:creationId xmlns:a16="http://schemas.microsoft.com/office/drawing/2014/main" id="{8CACAF0B-4223-489E-8142-FE6C0E2ABE02}"/>
                </a:ext>
              </a:extLst>
            </p:cNvPr>
            <p:cNvSpPr/>
            <p:nvPr/>
          </p:nvSpPr>
          <p:spPr>
            <a:xfrm rot="8716295">
              <a:off x="5517359" y="256605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1" name="Forme libre : forme 2300">
              <a:extLst>
                <a:ext uri="{FF2B5EF4-FFF2-40B4-BE49-F238E27FC236}">
                  <a16:creationId xmlns:a16="http://schemas.microsoft.com/office/drawing/2014/main" id="{1DE11DE1-1806-43C0-806D-86BA3E33BB9E}"/>
                </a:ext>
              </a:extLst>
            </p:cNvPr>
            <p:cNvSpPr/>
            <p:nvPr/>
          </p:nvSpPr>
          <p:spPr>
            <a:xfrm rot="8716295">
              <a:off x="5275908" y="241645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2" name="Forme libre : forme 2301">
              <a:extLst>
                <a:ext uri="{FF2B5EF4-FFF2-40B4-BE49-F238E27FC236}">
                  <a16:creationId xmlns:a16="http://schemas.microsoft.com/office/drawing/2014/main" id="{CEF4E15F-06D3-4C85-B288-4FE5B46D9A79}"/>
                </a:ext>
              </a:extLst>
            </p:cNvPr>
            <p:cNvSpPr/>
            <p:nvPr/>
          </p:nvSpPr>
          <p:spPr>
            <a:xfrm rot="7484129">
              <a:off x="5622290" y="275740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3" name="Forme libre : forme 2302">
              <a:extLst>
                <a:ext uri="{FF2B5EF4-FFF2-40B4-BE49-F238E27FC236}">
                  <a16:creationId xmlns:a16="http://schemas.microsoft.com/office/drawing/2014/main" id="{99463D07-3957-4F25-99F6-6382826CCF9D}"/>
                </a:ext>
              </a:extLst>
            </p:cNvPr>
            <p:cNvSpPr/>
            <p:nvPr/>
          </p:nvSpPr>
          <p:spPr>
            <a:xfrm rot="13089394">
              <a:off x="5718537" y="2742349"/>
              <a:ext cx="222098" cy="286724"/>
            </a:xfrm>
            <a:custGeom>
              <a:avLst/>
              <a:gdLst>
                <a:gd name="connsiteX0" fmla="*/ 23241 w 222098"/>
                <a:gd name="connsiteY0" fmla="*/ 47275 h 286724"/>
                <a:gd name="connsiteX1" fmla="*/ 0 w 222098"/>
                <a:gd name="connsiteY1" fmla="*/ 11882 h 286724"/>
                <a:gd name="connsiteX2" fmla="*/ 22902 w 222098"/>
                <a:gd name="connsiteY2" fmla="*/ 0 h 286724"/>
                <a:gd name="connsiteX3" fmla="*/ 222098 w 222098"/>
                <a:gd name="connsiteY3" fmla="*/ 258238 h 286724"/>
                <a:gd name="connsiteX4" fmla="*/ 180472 w 222098"/>
                <a:gd name="connsiteY4" fmla="*/ 286724 h 286724"/>
                <a:gd name="connsiteX5" fmla="*/ 167667 w 222098"/>
                <a:gd name="connsiteY5" fmla="*/ 267224 h 286724"/>
                <a:gd name="connsiteX6" fmla="*/ 220995 w 222098"/>
                <a:gd name="connsiteY6" fmla="*/ 245547 h 286724"/>
                <a:gd name="connsiteX7" fmla="*/ 222098 w 222098"/>
                <a:gd name="connsiteY7" fmla="*/ 252720 h 286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2098" h="286724">
                  <a:moveTo>
                    <a:pt x="23241" y="47275"/>
                  </a:moveTo>
                  <a:lnTo>
                    <a:pt x="0" y="11882"/>
                  </a:lnTo>
                  <a:lnTo>
                    <a:pt x="22902" y="0"/>
                  </a:lnTo>
                  <a:close/>
                  <a:moveTo>
                    <a:pt x="222098" y="258238"/>
                  </a:moveTo>
                  <a:lnTo>
                    <a:pt x="180472" y="286724"/>
                  </a:lnTo>
                  <a:lnTo>
                    <a:pt x="167667" y="267224"/>
                  </a:lnTo>
                  <a:lnTo>
                    <a:pt x="220995" y="245547"/>
                  </a:lnTo>
                  <a:cubicBezTo>
                    <a:pt x="221546" y="247754"/>
                    <a:pt x="222098" y="250513"/>
                    <a:pt x="222098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4" name="Forme libre : forme 2303">
              <a:extLst>
                <a:ext uri="{FF2B5EF4-FFF2-40B4-BE49-F238E27FC236}">
                  <a16:creationId xmlns:a16="http://schemas.microsoft.com/office/drawing/2014/main" id="{595B531E-AE51-4EB8-A220-EECB43E78A0A}"/>
                </a:ext>
              </a:extLst>
            </p:cNvPr>
            <p:cNvSpPr/>
            <p:nvPr/>
          </p:nvSpPr>
          <p:spPr>
            <a:xfrm rot="8716295">
              <a:off x="5845439" y="2441114"/>
              <a:ext cx="69626" cy="78683"/>
            </a:xfrm>
            <a:custGeom>
              <a:avLst/>
              <a:gdLst>
                <a:gd name="connsiteX0" fmla="*/ 0 w 69626"/>
                <a:gd name="connsiteY0" fmla="*/ 74288 h 78683"/>
                <a:gd name="connsiteX1" fmla="*/ 61446 w 69626"/>
                <a:gd name="connsiteY1" fmla="*/ 0 h 78683"/>
                <a:gd name="connsiteX2" fmla="*/ 69626 w 69626"/>
                <a:gd name="connsiteY2" fmla="*/ 19468 h 78683"/>
                <a:gd name="connsiteX3" fmla="*/ 52380 w 69626"/>
                <a:gd name="connsiteY3" fmla="*/ 61206 h 78683"/>
                <a:gd name="connsiteX4" fmla="*/ 10986 w 69626"/>
                <a:gd name="connsiteY4" fmla="*/ 78683 h 78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626" h="78683">
                  <a:moveTo>
                    <a:pt x="0" y="74288"/>
                  </a:moveTo>
                  <a:lnTo>
                    <a:pt x="61446" y="0"/>
                  </a:lnTo>
                  <a:lnTo>
                    <a:pt x="69626" y="19468"/>
                  </a:lnTo>
                  <a:cubicBezTo>
                    <a:pt x="69626" y="34531"/>
                    <a:pt x="63877" y="49708"/>
                    <a:pt x="52380" y="61206"/>
                  </a:cubicBezTo>
                  <a:cubicBezTo>
                    <a:pt x="41341" y="72244"/>
                    <a:pt x="26624" y="78683"/>
                    <a:pt x="10986" y="786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5" name="Forme libre : forme 2304">
              <a:extLst>
                <a:ext uri="{FF2B5EF4-FFF2-40B4-BE49-F238E27FC236}">
                  <a16:creationId xmlns:a16="http://schemas.microsoft.com/office/drawing/2014/main" id="{56DB83FE-66AC-4319-B8BC-7D9AE2504E48}"/>
                </a:ext>
              </a:extLst>
            </p:cNvPr>
            <p:cNvSpPr/>
            <p:nvPr/>
          </p:nvSpPr>
          <p:spPr>
            <a:xfrm rot="8716295">
              <a:off x="5617644" y="245889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6" name="Forme libre : forme 2305">
              <a:extLst>
                <a:ext uri="{FF2B5EF4-FFF2-40B4-BE49-F238E27FC236}">
                  <a16:creationId xmlns:a16="http://schemas.microsoft.com/office/drawing/2014/main" id="{059CCF50-6F3B-445A-81D2-1722B84AB898}"/>
                </a:ext>
              </a:extLst>
            </p:cNvPr>
            <p:cNvSpPr/>
            <p:nvPr/>
          </p:nvSpPr>
          <p:spPr>
            <a:xfrm rot="8716295">
              <a:off x="5786507" y="2294976"/>
              <a:ext cx="117509" cy="117739"/>
            </a:xfrm>
            <a:custGeom>
              <a:avLst/>
              <a:gdLst>
                <a:gd name="connsiteX0" fmla="*/ 17477 w 117509"/>
                <a:gd name="connsiteY0" fmla="*/ 101182 h 117739"/>
                <a:gd name="connsiteX1" fmla="*/ 0 w 117509"/>
                <a:gd name="connsiteY1" fmla="*/ 59790 h 117739"/>
                <a:gd name="connsiteX2" fmla="*/ 0 w 117509"/>
                <a:gd name="connsiteY2" fmla="*/ 58869 h 117739"/>
                <a:gd name="connsiteX3" fmla="*/ 2091 w 117509"/>
                <a:gd name="connsiteY3" fmla="*/ 48678 h 117739"/>
                <a:gd name="connsiteX4" fmla="*/ 38978 w 117509"/>
                <a:gd name="connsiteY4" fmla="*/ 4080 h 117739"/>
                <a:gd name="connsiteX5" fmla="*/ 58869 w 117509"/>
                <a:gd name="connsiteY5" fmla="*/ 0 h 117739"/>
                <a:gd name="connsiteX6" fmla="*/ 100263 w 117509"/>
                <a:gd name="connsiteY6" fmla="*/ 17477 h 117739"/>
                <a:gd name="connsiteX7" fmla="*/ 100263 w 117509"/>
                <a:gd name="connsiteY7" fmla="*/ 100262 h 117739"/>
                <a:gd name="connsiteX8" fmla="*/ 58869 w 117509"/>
                <a:gd name="connsiteY8" fmla="*/ 117739 h 117739"/>
                <a:gd name="connsiteX9" fmla="*/ 17477 w 117509"/>
                <a:gd name="connsiteY9" fmla="*/ 101182 h 117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09" h="117739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lnTo>
                    <a:pt x="2091" y="48678"/>
                  </a:lnTo>
                  <a:lnTo>
                    <a:pt x="38978" y="4080"/>
                  </a:lnTo>
                  <a:lnTo>
                    <a:pt x="58869" y="0"/>
                  </a:lnTo>
                  <a:cubicBezTo>
                    <a:pt x="74507" y="0"/>
                    <a:pt x="89224" y="6439"/>
                    <a:pt x="100263" y="17477"/>
                  </a:cubicBezTo>
                  <a:cubicBezTo>
                    <a:pt x="123258" y="39553"/>
                    <a:pt x="123258" y="77266"/>
                    <a:pt x="100263" y="100262"/>
                  </a:cubicBezTo>
                  <a:cubicBezTo>
                    <a:pt x="89224" y="111300"/>
                    <a:pt x="74507" y="117739"/>
                    <a:pt x="58869" y="117739"/>
                  </a:cubicBezTo>
                  <a:cubicBezTo>
                    <a:pt x="43233" y="117739"/>
                    <a:pt x="28515" y="112220"/>
                    <a:pt x="17477" y="10118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7" name="Forme libre : forme 2306">
              <a:extLst>
                <a:ext uri="{FF2B5EF4-FFF2-40B4-BE49-F238E27FC236}">
                  <a16:creationId xmlns:a16="http://schemas.microsoft.com/office/drawing/2014/main" id="{11555900-AB76-4DA6-98BE-C28A5682E542}"/>
                </a:ext>
              </a:extLst>
            </p:cNvPr>
            <p:cNvSpPr/>
            <p:nvPr/>
          </p:nvSpPr>
          <p:spPr>
            <a:xfrm rot="8716295">
              <a:off x="5600077" y="4470249"/>
              <a:ext cx="156365" cy="84062"/>
            </a:xfrm>
            <a:custGeom>
              <a:avLst/>
              <a:gdLst>
                <a:gd name="connsiteX0" fmla="*/ 0 w 156365"/>
                <a:gd name="connsiteY0" fmla="*/ 84062 h 84062"/>
                <a:gd name="connsiteX1" fmla="*/ 38711 w 156365"/>
                <a:gd name="connsiteY1" fmla="*/ 37259 h 84062"/>
                <a:gd name="connsiteX2" fmla="*/ 82822 w 156365"/>
                <a:gd name="connsiteY2" fmla="*/ 29417 h 84062"/>
                <a:gd name="connsiteX3" fmla="*/ 155189 w 156365"/>
                <a:gd name="connsiteY3" fmla="*/ 0 h 84062"/>
                <a:gd name="connsiteX4" fmla="*/ 156365 w 156365"/>
                <a:gd name="connsiteY4" fmla="*/ 7648 h 84062"/>
                <a:gd name="connsiteX5" fmla="*/ 156365 w 156365"/>
                <a:gd name="connsiteY5" fmla="*/ 13531 h 84062"/>
                <a:gd name="connsiteX6" fmla="*/ 5371 w 156365"/>
                <a:gd name="connsiteY6" fmla="*/ 83361 h 84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365" h="84062">
                  <a:moveTo>
                    <a:pt x="0" y="84062"/>
                  </a:moveTo>
                  <a:lnTo>
                    <a:pt x="38711" y="37259"/>
                  </a:lnTo>
                  <a:lnTo>
                    <a:pt x="82822" y="29417"/>
                  </a:lnTo>
                  <a:cubicBezTo>
                    <a:pt x="107532" y="21769"/>
                    <a:pt x="131655" y="11767"/>
                    <a:pt x="155189" y="0"/>
                  </a:cubicBezTo>
                  <a:cubicBezTo>
                    <a:pt x="155777" y="2353"/>
                    <a:pt x="156365" y="5295"/>
                    <a:pt x="156365" y="7648"/>
                  </a:cubicBezTo>
                  <a:lnTo>
                    <a:pt x="156365" y="13531"/>
                  </a:lnTo>
                  <a:cubicBezTo>
                    <a:pt x="109592" y="53687"/>
                    <a:pt x="51897" y="74315"/>
                    <a:pt x="5371" y="833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8" name="Forme libre : forme 2307">
              <a:extLst>
                <a:ext uri="{FF2B5EF4-FFF2-40B4-BE49-F238E27FC236}">
                  <a16:creationId xmlns:a16="http://schemas.microsoft.com/office/drawing/2014/main" id="{CADAEF2B-CBE9-4306-A616-01A968315F71}"/>
                </a:ext>
              </a:extLst>
            </p:cNvPr>
            <p:cNvSpPr/>
            <p:nvPr/>
          </p:nvSpPr>
          <p:spPr>
            <a:xfrm rot="8716295">
              <a:off x="5468986" y="334511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9" name="Forme libre : forme 2308">
              <a:extLst>
                <a:ext uri="{FF2B5EF4-FFF2-40B4-BE49-F238E27FC236}">
                  <a16:creationId xmlns:a16="http://schemas.microsoft.com/office/drawing/2014/main" id="{BC783BF6-C0F2-4416-AE0C-3CB188BCA1EB}"/>
                </a:ext>
              </a:extLst>
            </p:cNvPr>
            <p:cNvSpPr/>
            <p:nvPr/>
          </p:nvSpPr>
          <p:spPr>
            <a:xfrm rot="8716295">
              <a:off x="5560950" y="3385490"/>
              <a:ext cx="209149" cy="254774"/>
            </a:xfrm>
            <a:custGeom>
              <a:avLst/>
              <a:gdLst>
                <a:gd name="connsiteX0" fmla="*/ 0 w 209149"/>
                <a:gd name="connsiteY0" fmla="*/ 254774 h 254774"/>
                <a:gd name="connsiteX1" fmla="*/ 0 w 209149"/>
                <a:gd name="connsiteY1" fmla="*/ 48397 h 254774"/>
                <a:gd name="connsiteX2" fmla="*/ 38851 w 209149"/>
                <a:gd name="connsiteY2" fmla="*/ 1425 h 254774"/>
                <a:gd name="connsiteX3" fmla="*/ 53312 w 209149"/>
                <a:gd name="connsiteY3" fmla="*/ 1425 h 254774"/>
                <a:gd name="connsiteX4" fmla="*/ 53313 w 209149"/>
                <a:gd name="connsiteY4" fmla="*/ 75242 h 254774"/>
                <a:gd name="connsiteX5" fmla="*/ 54679 w 209149"/>
                <a:gd name="connsiteY5" fmla="*/ 75242 h 254774"/>
                <a:gd name="connsiteX6" fmla="*/ 102524 w 209149"/>
                <a:gd name="connsiteY6" fmla="*/ 5981 h 254774"/>
                <a:gd name="connsiteX7" fmla="*/ 133965 w 209149"/>
                <a:gd name="connsiteY7" fmla="*/ 57 h 254774"/>
                <a:gd name="connsiteX8" fmla="*/ 209149 w 209149"/>
                <a:gd name="connsiteY8" fmla="*/ 88456 h 254774"/>
                <a:gd name="connsiteX9" fmla="*/ 209149 w 209149"/>
                <a:gd name="connsiteY9" fmla="*/ 94380 h 254774"/>
                <a:gd name="connsiteX10" fmla="*/ 147179 w 209149"/>
                <a:gd name="connsiteY10" fmla="*/ 98025 h 254774"/>
                <a:gd name="connsiteX11" fmla="*/ 147179 w 209149"/>
                <a:gd name="connsiteY11" fmla="*/ 81622 h 254774"/>
                <a:gd name="connsiteX12" fmla="*/ 113460 w 209149"/>
                <a:gd name="connsiteY12" fmla="*/ 40156 h 254774"/>
                <a:gd name="connsiteX13" fmla="*/ 60148 w 209149"/>
                <a:gd name="connsiteY13" fmla="*/ 127643 h 254774"/>
                <a:gd name="connsiteX14" fmla="*/ 60148 w 209149"/>
                <a:gd name="connsiteY14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9149" h="254774">
                  <a:moveTo>
                    <a:pt x="0" y="254774"/>
                  </a:moveTo>
                  <a:lnTo>
                    <a:pt x="0" y="48397"/>
                  </a:lnTo>
                  <a:lnTo>
                    <a:pt x="38851" y="1425"/>
                  </a:lnTo>
                  <a:lnTo>
                    <a:pt x="53312" y="1425"/>
                  </a:lnTo>
                  <a:lnTo>
                    <a:pt x="53313" y="75242"/>
                  </a:lnTo>
                  <a:lnTo>
                    <a:pt x="54679" y="75242"/>
                  </a:lnTo>
                  <a:cubicBezTo>
                    <a:pt x="69261" y="31954"/>
                    <a:pt x="80652" y="15094"/>
                    <a:pt x="102524" y="5981"/>
                  </a:cubicBezTo>
                  <a:cubicBezTo>
                    <a:pt x="112549" y="1880"/>
                    <a:pt x="123029" y="-398"/>
                    <a:pt x="133965" y="57"/>
                  </a:cubicBezTo>
                  <a:cubicBezTo>
                    <a:pt x="180898" y="-854"/>
                    <a:pt x="209149" y="31954"/>
                    <a:pt x="209149" y="88456"/>
                  </a:cubicBezTo>
                  <a:lnTo>
                    <a:pt x="209149" y="94380"/>
                  </a:lnTo>
                  <a:lnTo>
                    <a:pt x="147179" y="98025"/>
                  </a:lnTo>
                  <a:lnTo>
                    <a:pt x="147179" y="81622"/>
                  </a:lnTo>
                  <a:cubicBezTo>
                    <a:pt x="147179" y="57016"/>
                    <a:pt x="133054" y="40156"/>
                    <a:pt x="113460" y="40156"/>
                  </a:cubicBezTo>
                  <a:cubicBezTo>
                    <a:pt x="84298" y="40156"/>
                    <a:pt x="60148" y="78887"/>
                    <a:pt x="60148" y="127643"/>
                  </a:cubicBezTo>
                  <a:lnTo>
                    <a:pt x="60148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0" name="Forme libre : forme 2309">
              <a:extLst>
                <a:ext uri="{FF2B5EF4-FFF2-40B4-BE49-F238E27FC236}">
                  <a16:creationId xmlns:a16="http://schemas.microsoft.com/office/drawing/2014/main" id="{07E04FBC-CAFE-40F5-8FBE-26480DF56E42}"/>
                </a:ext>
              </a:extLst>
            </p:cNvPr>
            <p:cNvSpPr/>
            <p:nvPr/>
          </p:nvSpPr>
          <p:spPr>
            <a:xfrm rot="8716295">
              <a:off x="5513528" y="328807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1" name="Forme libre : forme 2310">
              <a:extLst>
                <a:ext uri="{FF2B5EF4-FFF2-40B4-BE49-F238E27FC236}">
                  <a16:creationId xmlns:a16="http://schemas.microsoft.com/office/drawing/2014/main" id="{A7E5DB17-0229-4F6E-BA1B-BA2A73903FCF}"/>
                </a:ext>
              </a:extLst>
            </p:cNvPr>
            <p:cNvSpPr/>
            <p:nvPr/>
          </p:nvSpPr>
          <p:spPr>
            <a:xfrm rot="8716295">
              <a:off x="5356752" y="343365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2" name="Forme libre : forme 2311">
              <a:extLst>
                <a:ext uri="{FF2B5EF4-FFF2-40B4-BE49-F238E27FC236}">
                  <a16:creationId xmlns:a16="http://schemas.microsoft.com/office/drawing/2014/main" id="{B2FA02F1-5E71-4F7C-B2CA-BA7F43C9E0B6}"/>
                </a:ext>
              </a:extLst>
            </p:cNvPr>
            <p:cNvSpPr/>
            <p:nvPr/>
          </p:nvSpPr>
          <p:spPr>
            <a:xfrm rot="8716295">
              <a:off x="5231849" y="322498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3" name="Forme libre : forme 2312">
              <a:extLst>
                <a:ext uri="{FF2B5EF4-FFF2-40B4-BE49-F238E27FC236}">
                  <a16:creationId xmlns:a16="http://schemas.microsoft.com/office/drawing/2014/main" id="{59750E71-AE6E-46C2-9298-CD50416AF89E}"/>
                </a:ext>
              </a:extLst>
            </p:cNvPr>
            <p:cNvSpPr/>
            <p:nvPr/>
          </p:nvSpPr>
          <p:spPr>
            <a:xfrm rot="8716295">
              <a:off x="5219797" y="3086201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4" name="Forme libre : forme 2313">
              <a:extLst>
                <a:ext uri="{FF2B5EF4-FFF2-40B4-BE49-F238E27FC236}">
                  <a16:creationId xmlns:a16="http://schemas.microsoft.com/office/drawing/2014/main" id="{D4E7AFF8-F784-45C0-8EE7-2B6A86EC8737}"/>
                </a:ext>
              </a:extLst>
            </p:cNvPr>
            <p:cNvSpPr/>
            <p:nvPr/>
          </p:nvSpPr>
          <p:spPr>
            <a:xfrm rot="8716295">
              <a:off x="5446930" y="347460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5" name="Forme libre : forme 2314">
              <a:extLst>
                <a:ext uri="{FF2B5EF4-FFF2-40B4-BE49-F238E27FC236}">
                  <a16:creationId xmlns:a16="http://schemas.microsoft.com/office/drawing/2014/main" id="{3853C0A0-1616-48FA-8479-65AC97F7CC85}"/>
                </a:ext>
              </a:extLst>
            </p:cNvPr>
            <p:cNvSpPr/>
            <p:nvPr/>
          </p:nvSpPr>
          <p:spPr>
            <a:xfrm rot="8716295">
              <a:off x="5752315" y="3122125"/>
              <a:ext cx="61059" cy="189683"/>
            </a:xfrm>
            <a:custGeom>
              <a:avLst/>
              <a:gdLst>
                <a:gd name="connsiteX0" fmla="*/ 0 w 61059"/>
                <a:gd name="connsiteY0" fmla="*/ 189683 h 189683"/>
                <a:gd name="connsiteX1" fmla="*/ 1 w 61059"/>
                <a:gd name="connsiteY1" fmla="*/ 70355 h 189683"/>
                <a:gd name="connsiteX2" fmla="*/ 58192 w 61059"/>
                <a:gd name="connsiteY2" fmla="*/ 0 h 189683"/>
                <a:gd name="connsiteX3" fmla="*/ 61059 w 61059"/>
                <a:gd name="connsiteY3" fmla="*/ 7418 h 189683"/>
                <a:gd name="connsiteX4" fmla="*/ 61059 w 61059"/>
                <a:gd name="connsiteY4" fmla="*/ 165533 h 189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59" h="189683">
                  <a:moveTo>
                    <a:pt x="0" y="189683"/>
                  </a:moveTo>
                  <a:lnTo>
                    <a:pt x="1" y="70355"/>
                  </a:lnTo>
                  <a:lnTo>
                    <a:pt x="58192" y="0"/>
                  </a:lnTo>
                  <a:lnTo>
                    <a:pt x="61059" y="7418"/>
                  </a:lnTo>
                  <a:lnTo>
                    <a:pt x="61059" y="1655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6" name="Forme libre : forme 2315">
              <a:extLst>
                <a:ext uri="{FF2B5EF4-FFF2-40B4-BE49-F238E27FC236}">
                  <a16:creationId xmlns:a16="http://schemas.microsoft.com/office/drawing/2014/main" id="{2BC49D98-658F-409C-B3BF-5C8CEE84FD55}"/>
                </a:ext>
              </a:extLst>
            </p:cNvPr>
            <p:cNvSpPr/>
            <p:nvPr/>
          </p:nvSpPr>
          <p:spPr>
            <a:xfrm rot="8716295">
              <a:off x="5645851" y="318350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7" name="Forme libre : forme 2316">
              <a:extLst>
                <a:ext uri="{FF2B5EF4-FFF2-40B4-BE49-F238E27FC236}">
                  <a16:creationId xmlns:a16="http://schemas.microsoft.com/office/drawing/2014/main" id="{9788828B-73AD-4731-893D-8DFB9066F7A9}"/>
                </a:ext>
              </a:extLst>
            </p:cNvPr>
            <p:cNvSpPr/>
            <p:nvPr/>
          </p:nvSpPr>
          <p:spPr>
            <a:xfrm rot="8716295">
              <a:off x="5520949" y="297482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8" name="Forme libre : forme 2317">
              <a:extLst>
                <a:ext uri="{FF2B5EF4-FFF2-40B4-BE49-F238E27FC236}">
                  <a16:creationId xmlns:a16="http://schemas.microsoft.com/office/drawing/2014/main" id="{8B664DFB-701C-4BF3-A4AD-0E33F3753604}"/>
                </a:ext>
              </a:extLst>
            </p:cNvPr>
            <p:cNvSpPr/>
            <p:nvPr/>
          </p:nvSpPr>
          <p:spPr>
            <a:xfrm rot="8716295">
              <a:off x="5735645" y="3237654"/>
              <a:ext cx="60147" cy="214945"/>
            </a:xfrm>
            <a:custGeom>
              <a:avLst/>
              <a:gdLst>
                <a:gd name="connsiteX0" fmla="*/ 60147 w 60147"/>
                <a:gd name="connsiteY0" fmla="*/ 214945 h 214945"/>
                <a:gd name="connsiteX1" fmla="*/ 0 w 60147"/>
                <a:gd name="connsiteY1" fmla="*/ 157075 h 214945"/>
                <a:gd name="connsiteX2" fmla="*/ 0 w 60147"/>
                <a:gd name="connsiteY2" fmla="*/ 72719 h 214945"/>
                <a:gd name="connsiteX3" fmla="*/ 60147 w 60147"/>
                <a:gd name="connsiteY3" fmla="*/ 0 h 214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7" h="214945">
                  <a:moveTo>
                    <a:pt x="60147" y="214945"/>
                  </a:moveTo>
                  <a:lnTo>
                    <a:pt x="0" y="157075"/>
                  </a:lnTo>
                  <a:lnTo>
                    <a:pt x="0" y="72719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9" name="Forme libre : forme 2318">
              <a:extLst>
                <a:ext uri="{FF2B5EF4-FFF2-40B4-BE49-F238E27FC236}">
                  <a16:creationId xmlns:a16="http://schemas.microsoft.com/office/drawing/2014/main" id="{DE32D065-C837-4616-93A8-C221E6C262EC}"/>
                </a:ext>
              </a:extLst>
            </p:cNvPr>
            <p:cNvSpPr/>
            <p:nvPr/>
          </p:nvSpPr>
          <p:spPr>
            <a:xfrm rot="8716295">
              <a:off x="5494578" y="307485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0" name="Forme libre : forme 2319">
              <a:extLst>
                <a:ext uri="{FF2B5EF4-FFF2-40B4-BE49-F238E27FC236}">
                  <a16:creationId xmlns:a16="http://schemas.microsoft.com/office/drawing/2014/main" id="{A951AC29-4AE5-482E-A279-E37CA0854B05}"/>
                </a:ext>
              </a:extLst>
            </p:cNvPr>
            <p:cNvSpPr/>
            <p:nvPr/>
          </p:nvSpPr>
          <p:spPr>
            <a:xfrm rot="8716295">
              <a:off x="5682235" y="4033272"/>
              <a:ext cx="61060" cy="175124"/>
            </a:xfrm>
            <a:custGeom>
              <a:avLst/>
              <a:gdLst>
                <a:gd name="connsiteX0" fmla="*/ 0 w 61060"/>
                <a:gd name="connsiteY0" fmla="*/ 175124 h 175124"/>
                <a:gd name="connsiteX1" fmla="*/ 0 w 61060"/>
                <a:gd name="connsiteY1" fmla="*/ 73822 h 175124"/>
                <a:gd name="connsiteX2" fmla="*/ 61060 w 61060"/>
                <a:gd name="connsiteY2" fmla="*/ 0 h 175124"/>
                <a:gd name="connsiteX3" fmla="*/ 61059 w 61060"/>
                <a:gd name="connsiteY3" fmla="*/ 150974 h 175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060" h="175124">
                  <a:moveTo>
                    <a:pt x="0" y="175124"/>
                  </a:moveTo>
                  <a:lnTo>
                    <a:pt x="0" y="73822"/>
                  </a:lnTo>
                  <a:lnTo>
                    <a:pt x="61060" y="0"/>
                  </a:lnTo>
                  <a:lnTo>
                    <a:pt x="61059" y="1509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1" name="Forme libre : forme 2320">
              <a:extLst>
                <a:ext uri="{FF2B5EF4-FFF2-40B4-BE49-F238E27FC236}">
                  <a16:creationId xmlns:a16="http://schemas.microsoft.com/office/drawing/2014/main" id="{AC1B54AD-4305-4886-A104-0CFC0322DC86}"/>
                </a:ext>
              </a:extLst>
            </p:cNvPr>
            <p:cNvSpPr/>
            <p:nvPr/>
          </p:nvSpPr>
          <p:spPr>
            <a:xfrm rot="8716295">
              <a:off x="5579919" y="409335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2" name="Forme libre : forme 2321">
              <a:extLst>
                <a:ext uri="{FF2B5EF4-FFF2-40B4-BE49-F238E27FC236}">
                  <a16:creationId xmlns:a16="http://schemas.microsoft.com/office/drawing/2014/main" id="{8167323E-FC94-42DF-AE9E-1E6CCB009393}"/>
                </a:ext>
              </a:extLst>
            </p:cNvPr>
            <p:cNvSpPr/>
            <p:nvPr/>
          </p:nvSpPr>
          <p:spPr>
            <a:xfrm rot="8716295">
              <a:off x="5455016" y="388468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3" name="Forme libre : forme 2322">
              <a:extLst>
                <a:ext uri="{FF2B5EF4-FFF2-40B4-BE49-F238E27FC236}">
                  <a16:creationId xmlns:a16="http://schemas.microsoft.com/office/drawing/2014/main" id="{4BE64CC5-A3FF-4E14-92F1-A92ABB79BE76}"/>
                </a:ext>
              </a:extLst>
            </p:cNvPr>
            <p:cNvSpPr/>
            <p:nvPr/>
          </p:nvSpPr>
          <p:spPr>
            <a:xfrm rot="8716295">
              <a:off x="5439766" y="3743196"/>
              <a:ext cx="290643" cy="350829"/>
            </a:xfrm>
            <a:custGeom>
              <a:avLst/>
              <a:gdLst>
                <a:gd name="connsiteX0" fmla="*/ 25299 w 290643"/>
                <a:gd name="connsiteY0" fmla="*/ 321238 h 350829"/>
                <a:gd name="connsiteX1" fmla="*/ 0 w 290643"/>
                <a:gd name="connsiteY1" fmla="*/ 220042 h 350829"/>
                <a:gd name="connsiteX2" fmla="*/ 0 w 290643"/>
                <a:gd name="connsiteY2" fmla="*/ 73941 h 350829"/>
                <a:gd name="connsiteX3" fmla="*/ 48310 w 290643"/>
                <a:gd name="connsiteY3" fmla="*/ 15533 h 350829"/>
                <a:gd name="connsiteX4" fmla="*/ 78250 w 290643"/>
                <a:gd name="connsiteY4" fmla="*/ 0 h 350829"/>
                <a:gd name="connsiteX5" fmla="*/ 79427 w 290643"/>
                <a:gd name="connsiteY5" fmla="*/ 164149 h 350829"/>
                <a:gd name="connsiteX6" fmla="*/ 93547 w 290643"/>
                <a:gd name="connsiteY6" fmla="*/ 261815 h 350829"/>
                <a:gd name="connsiteX7" fmla="*/ 164149 w 290643"/>
                <a:gd name="connsiteY7" fmla="*/ 300646 h 350829"/>
                <a:gd name="connsiteX8" fmla="*/ 217100 w 290643"/>
                <a:gd name="connsiteY8" fmla="*/ 291232 h 350829"/>
                <a:gd name="connsiteX9" fmla="*/ 289467 w 290643"/>
                <a:gd name="connsiteY9" fmla="*/ 261815 h 350829"/>
                <a:gd name="connsiteX10" fmla="*/ 290643 w 290643"/>
                <a:gd name="connsiteY10" fmla="*/ 269463 h 350829"/>
                <a:gd name="connsiteX11" fmla="*/ 290643 w 290643"/>
                <a:gd name="connsiteY11" fmla="*/ 275347 h 350829"/>
                <a:gd name="connsiteX12" fmla="*/ 97665 w 290643"/>
                <a:gd name="connsiteY12" fmla="*/ 350655 h 350829"/>
                <a:gd name="connsiteX13" fmla="*/ 25299 w 290643"/>
                <a:gd name="connsiteY13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90643" h="350829">
                  <a:moveTo>
                    <a:pt x="25299" y="321238"/>
                  </a:moveTo>
                  <a:cubicBezTo>
                    <a:pt x="5295" y="301823"/>
                    <a:pt x="0" y="268287"/>
                    <a:pt x="0" y="220042"/>
                  </a:cubicBezTo>
                  <a:lnTo>
                    <a:pt x="0" y="73941"/>
                  </a:lnTo>
                  <a:lnTo>
                    <a:pt x="48310" y="15533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9" y="300646"/>
                  </a:cubicBezTo>
                  <a:cubicBezTo>
                    <a:pt x="182388" y="300057"/>
                    <a:pt x="200038" y="296527"/>
                    <a:pt x="217100" y="291232"/>
                  </a:cubicBezTo>
                  <a:cubicBezTo>
                    <a:pt x="241810" y="283583"/>
                    <a:pt x="265933" y="273582"/>
                    <a:pt x="289467" y="261815"/>
                  </a:cubicBezTo>
                  <a:cubicBezTo>
                    <a:pt x="290055" y="264168"/>
                    <a:pt x="290643" y="267110"/>
                    <a:pt x="290643" y="269463"/>
                  </a:cubicBezTo>
                  <a:lnTo>
                    <a:pt x="290643" y="275347"/>
                  </a:lnTo>
                  <a:cubicBezTo>
                    <a:pt x="228279" y="328887"/>
                    <a:pt x="146498" y="347714"/>
                    <a:pt x="97665" y="350655"/>
                  </a:cubicBez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4" name="Forme libre : forme 2323">
              <a:extLst>
                <a:ext uri="{FF2B5EF4-FFF2-40B4-BE49-F238E27FC236}">
                  <a16:creationId xmlns:a16="http://schemas.microsoft.com/office/drawing/2014/main" id="{3D5EAB82-A653-44FF-ABBA-52007BFC744C}"/>
                </a:ext>
              </a:extLst>
            </p:cNvPr>
            <p:cNvSpPr/>
            <p:nvPr/>
          </p:nvSpPr>
          <p:spPr>
            <a:xfrm rot="8716295">
              <a:off x="5664579" y="4149111"/>
              <a:ext cx="60147" cy="196919"/>
            </a:xfrm>
            <a:custGeom>
              <a:avLst/>
              <a:gdLst>
                <a:gd name="connsiteX0" fmla="*/ 60147 w 60147"/>
                <a:gd name="connsiteY0" fmla="*/ 196919 h 196919"/>
                <a:gd name="connsiteX1" fmla="*/ 0 w 60147"/>
                <a:gd name="connsiteY1" fmla="*/ 139049 h 196919"/>
                <a:gd name="connsiteX2" fmla="*/ 0 w 60147"/>
                <a:gd name="connsiteY2" fmla="*/ 72719 h 196919"/>
                <a:gd name="connsiteX3" fmla="*/ 60147 w 60147"/>
                <a:gd name="connsiteY3" fmla="*/ 0 h 196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7" h="196919">
                  <a:moveTo>
                    <a:pt x="60147" y="196919"/>
                  </a:moveTo>
                  <a:lnTo>
                    <a:pt x="0" y="139049"/>
                  </a:lnTo>
                  <a:lnTo>
                    <a:pt x="0" y="72719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5" name="Forme libre : forme 2324">
              <a:extLst>
                <a:ext uri="{FF2B5EF4-FFF2-40B4-BE49-F238E27FC236}">
                  <a16:creationId xmlns:a16="http://schemas.microsoft.com/office/drawing/2014/main" id="{43B619A3-E625-40F8-8DEC-2B79517C56B8}"/>
                </a:ext>
              </a:extLst>
            </p:cNvPr>
            <p:cNvSpPr/>
            <p:nvPr/>
          </p:nvSpPr>
          <p:spPr>
            <a:xfrm rot="8716295">
              <a:off x="5712271" y="3732130"/>
              <a:ext cx="74903" cy="77154"/>
            </a:xfrm>
            <a:custGeom>
              <a:avLst/>
              <a:gdLst>
                <a:gd name="connsiteX0" fmla="*/ 9249 w 74903"/>
                <a:gd name="connsiteY0" fmla="*/ 66287 h 77154"/>
                <a:gd name="connsiteX1" fmla="*/ 0 w 74903"/>
                <a:gd name="connsiteY1" fmla="*/ 44381 h 77154"/>
                <a:gd name="connsiteX2" fmla="*/ 36708 w 74903"/>
                <a:gd name="connsiteY2" fmla="*/ 0 h 77154"/>
                <a:gd name="connsiteX3" fmla="*/ 63584 w 74903"/>
                <a:gd name="connsiteY3" fmla="*/ 11348 h 77154"/>
                <a:gd name="connsiteX4" fmla="*/ 63584 w 74903"/>
                <a:gd name="connsiteY4" fmla="*/ 65683 h 77154"/>
                <a:gd name="connsiteX5" fmla="*/ 36417 w 74903"/>
                <a:gd name="connsiteY5" fmla="*/ 77154 h 77154"/>
                <a:gd name="connsiteX6" fmla="*/ 9249 w 74903"/>
                <a:gd name="connsiteY6" fmla="*/ 66287 h 77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4903" h="77154">
                  <a:moveTo>
                    <a:pt x="9249" y="66287"/>
                  </a:moveTo>
                  <a:lnTo>
                    <a:pt x="0" y="44381"/>
                  </a:lnTo>
                  <a:lnTo>
                    <a:pt x="36708" y="0"/>
                  </a:lnTo>
                  <a:lnTo>
                    <a:pt x="63584" y="11348"/>
                  </a:lnTo>
                  <a:cubicBezTo>
                    <a:pt x="78677" y="25837"/>
                    <a:pt x="78677" y="50590"/>
                    <a:pt x="63584" y="65683"/>
                  </a:cubicBezTo>
                  <a:cubicBezTo>
                    <a:pt x="56340" y="72928"/>
                    <a:pt x="46680" y="77154"/>
                    <a:pt x="36417" y="77154"/>
                  </a:cubicBezTo>
                  <a:cubicBezTo>
                    <a:pt x="26153" y="77154"/>
                    <a:pt x="16494" y="73531"/>
                    <a:pt x="9249" y="6628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6" name="Forme libre : forme 2325">
              <a:extLst>
                <a:ext uri="{FF2B5EF4-FFF2-40B4-BE49-F238E27FC236}">
                  <a16:creationId xmlns:a16="http://schemas.microsoft.com/office/drawing/2014/main" id="{47FAC0D7-5111-4F6B-A349-552D64575C5F}"/>
                </a:ext>
              </a:extLst>
            </p:cNvPr>
            <p:cNvSpPr/>
            <p:nvPr/>
          </p:nvSpPr>
          <p:spPr>
            <a:xfrm rot="8716295">
              <a:off x="4805631" y="136604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7" name="Forme libre : forme 2326">
              <a:extLst>
                <a:ext uri="{FF2B5EF4-FFF2-40B4-BE49-F238E27FC236}">
                  <a16:creationId xmlns:a16="http://schemas.microsoft.com/office/drawing/2014/main" id="{FD4A7DE9-1679-4176-BBF7-B68B6314BD8C}"/>
                </a:ext>
              </a:extLst>
            </p:cNvPr>
            <p:cNvSpPr/>
            <p:nvPr/>
          </p:nvSpPr>
          <p:spPr>
            <a:xfrm rot="8716295">
              <a:off x="4895023" y="139528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8" name="Forme libre : forme 2327">
              <a:extLst>
                <a:ext uri="{FF2B5EF4-FFF2-40B4-BE49-F238E27FC236}">
                  <a16:creationId xmlns:a16="http://schemas.microsoft.com/office/drawing/2014/main" id="{0EEB057B-FFD0-4D41-9792-2DA753A19DB7}"/>
                </a:ext>
              </a:extLst>
            </p:cNvPr>
            <p:cNvSpPr/>
            <p:nvPr/>
          </p:nvSpPr>
          <p:spPr>
            <a:xfrm rot="8716295">
              <a:off x="4850173" y="130900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9" name="Forme libre : forme 2328">
              <a:extLst>
                <a:ext uri="{FF2B5EF4-FFF2-40B4-BE49-F238E27FC236}">
                  <a16:creationId xmlns:a16="http://schemas.microsoft.com/office/drawing/2014/main" id="{1879F6B3-40C0-4116-A81C-5BD7CA855163}"/>
                </a:ext>
              </a:extLst>
            </p:cNvPr>
            <p:cNvSpPr/>
            <p:nvPr/>
          </p:nvSpPr>
          <p:spPr>
            <a:xfrm rot="8716295">
              <a:off x="4693397" y="145458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0" name="Forme libre : forme 2329">
              <a:extLst>
                <a:ext uri="{FF2B5EF4-FFF2-40B4-BE49-F238E27FC236}">
                  <a16:creationId xmlns:a16="http://schemas.microsoft.com/office/drawing/2014/main" id="{49761E51-D80E-42FA-8099-F02853B256C7}"/>
                </a:ext>
              </a:extLst>
            </p:cNvPr>
            <p:cNvSpPr/>
            <p:nvPr/>
          </p:nvSpPr>
          <p:spPr>
            <a:xfrm rot="8716295">
              <a:off x="4568494" y="124591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1" name="Forme libre : forme 2330">
              <a:extLst>
                <a:ext uri="{FF2B5EF4-FFF2-40B4-BE49-F238E27FC236}">
                  <a16:creationId xmlns:a16="http://schemas.microsoft.com/office/drawing/2014/main" id="{E310C1A7-1622-4636-9F8F-00357321DCCD}"/>
                </a:ext>
              </a:extLst>
            </p:cNvPr>
            <p:cNvSpPr/>
            <p:nvPr/>
          </p:nvSpPr>
          <p:spPr>
            <a:xfrm rot="8716295">
              <a:off x="4556442" y="110713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2" name="Forme libre : forme 2331">
              <a:extLst>
                <a:ext uri="{FF2B5EF4-FFF2-40B4-BE49-F238E27FC236}">
                  <a16:creationId xmlns:a16="http://schemas.microsoft.com/office/drawing/2014/main" id="{E093D22D-87CF-4179-B856-856B8816CDDB}"/>
                </a:ext>
              </a:extLst>
            </p:cNvPr>
            <p:cNvSpPr/>
            <p:nvPr/>
          </p:nvSpPr>
          <p:spPr>
            <a:xfrm rot="8716295">
              <a:off x="4783575" y="149553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3" name="Forme libre : forme 2332">
              <a:extLst>
                <a:ext uri="{FF2B5EF4-FFF2-40B4-BE49-F238E27FC236}">
                  <a16:creationId xmlns:a16="http://schemas.microsoft.com/office/drawing/2014/main" id="{CA21BE4E-2CE3-44D7-B01E-A11EA3CF044C}"/>
                </a:ext>
              </a:extLst>
            </p:cNvPr>
            <p:cNvSpPr/>
            <p:nvPr/>
          </p:nvSpPr>
          <p:spPr>
            <a:xfrm rot="8716295">
              <a:off x="5094730" y="111588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4" name="Forme libre : forme 2333">
              <a:extLst>
                <a:ext uri="{FF2B5EF4-FFF2-40B4-BE49-F238E27FC236}">
                  <a16:creationId xmlns:a16="http://schemas.microsoft.com/office/drawing/2014/main" id="{73711CED-A7FD-4350-9BA7-26ABC33C9D94}"/>
                </a:ext>
              </a:extLst>
            </p:cNvPr>
            <p:cNvSpPr/>
            <p:nvPr/>
          </p:nvSpPr>
          <p:spPr>
            <a:xfrm rot="8716295">
              <a:off x="5184122" y="114513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5" name="Forme libre : forme 2334">
              <a:extLst>
                <a:ext uri="{FF2B5EF4-FFF2-40B4-BE49-F238E27FC236}">
                  <a16:creationId xmlns:a16="http://schemas.microsoft.com/office/drawing/2014/main" id="{ED8382FF-15B6-482C-B3FB-8E9D5BD3A367}"/>
                </a:ext>
              </a:extLst>
            </p:cNvPr>
            <p:cNvSpPr/>
            <p:nvPr/>
          </p:nvSpPr>
          <p:spPr>
            <a:xfrm rot="8716295">
              <a:off x="4982496" y="120443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6" name="Forme libre : forme 2335">
              <a:extLst>
                <a:ext uri="{FF2B5EF4-FFF2-40B4-BE49-F238E27FC236}">
                  <a16:creationId xmlns:a16="http://schemas.microsoft.com/office/drawing/2014/main" id="{CEB92DCD-B29B-4D83-8F6D-528A8F3F48AC}"/>
                </a:ext>
              </a:extLst>
            </p:cNvPr>
            <p:cNvSpPr/>
            <p:nvPr/>
          </p:nvSpPr>
          <p:spPr>
            <a:xfrm rot="8716295">
              <a:off x="4857594" y="99576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7" name="Forme libre : forme 2336">
              <a:extLst>
                <a:ext uri="{FF2B5EF4-FFF2-40B4-BE49-F238E27FC236}">
                  <a16:creationId xmlns:a16="http://schemas.microsoft.com/office/drawing/2014/main" id="{4D04373C-38A5-4453-98D9-6668F8BAEF6F}"/>
                </a:ext>
              </a:extLst>
            </p:cNvPr>
            <p:cNvSpPr/>
            <p:nvPr/>
          </p:nvSpPr>
          <p:spPr>
            <a:xfrm rot="8716295">
              <a:off x="5072674" y="124538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8" name="Forme libre : forme 2337">
              <a:extLst>
                <a:ext uri="{FF2B5EF4-FFF2-40B4-BE49-F238E27FC236}">
                  <a16:creationId xmlns:a16="http://schemas.microsoft.com/office/drawing/2014/main" id="{7AD448C6-BEA7-45DD-8AA2-CB2184786226}"/>
                </a:ext>
              </a:extLst>
            </p:cNvPr>
            <p:cNvSpPr/>
            <p:nvPr/>
          </p:nvSpPr>
          <p:spPr>
            <a:xfrm rot="8716295">
              <a:off x="4831223" y="109578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9" name="Forme libre : forme 2338">
              <a:extLst>
                <a:ext uri="{FF2B5EF4-FFF2-40B4-BE49-F238E27FC236}">
                  <a16:creationId xmlns:a16="http://schemas.microsoft.com/office/drawing/2014/main" id="{35EF6799-E484-4435-9DC6-7D0DE006E027}"/>
                </a:ext>
              </a:extLst>
            </p:cNvPr>
            <p:cNvSpPr/>
            <p:nvPr/>
          </p:nvSpPr>
          <p:spPr>
            <a:xfrm rot="7484129">
              <a:off x="5177605" y="143673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0" name="Forme libre : forme 2339">
              <a:extLst>
                <a:ext uri="{FF2B5EF4-FFF2-40B4-BE49-F238E27FC236}">
                  <a16:creationId xmlns:a16="http://schemas.microsoft.com/office/drawing/2014/main" id="{21C69156-F46C-4928-B70D-009460F75B9F}"/>
                </a:ext>
              </a:extLst>
            </p:cNvPr>
            <p:cNvSpPr/>
            <p:nvPr/>
          </p:nvSpPr>
          <p:spPr>
            <a:xfrm rot="13089394">
              <a:off x="5282425" y="140327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1" name="Forme libre : forme 2340">
              <a:extLst>
                <a:ext uri="{FF2B5EF4-FFF2-40B4-BE49-F238E27FC236}">
                  <a16:creationId xmlns:a16="http://schemas.microsoft.com/office/drawing/2014/main" id="{1798CEF4-84B3-4FCD-A779-F1E83B6AD50D}"/>
                </a:ext>
              </a:extLst>
            </p:cNvPr>
            <p:cNvSpPr/>
            <p:nvPr/>
          </p:nvSpPr>
          <p:spPr>
            <a:xfrm rot="8716295">
              <a:off x="5468010" y="121158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2" name="Forme libre : forme 2341">
              <a:extLst>
                <a:ext uri="{FF2B5EF4-FFF2-40B4-BE49-F238E27FC236}">
                  <a16:creationId xmlns:a16="http://schemas.microsoft.com/office/drawing/2014/main" id="{3EC2D62C-CF18-46C7-B24E-7DDD8382F5CE}"/>
                </a:ext>
              </a:extLst>
            </p:cNvPr>
            <p:cNvSpPr/>
            <p:nvPr/>
          </p:nvSpPr>
          <p:spPr>
            <a:xfrm rot="8716295">
              <a:off x="5416205" y="110799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3" name="Forme libre : forme 2342">
              <a:extLst>
                <a:ext uri="{FF2B5EF4-FFF2-40B4-BE49-F238E27FC236}">
                  <a16:creationId xmlns:a16="http://schemas.microsoft.com/office/drawing/2014/main" id="{B05F2E20-58A5-4922-8600-DD820E78EE4E}"/>
                </a:ext>
              </a:extLst>
            </p:cNvPr>
            <p:cNvSpPr/>
            <p:nvPr/>
          </p:nvSpPr>
          <p:spPr>
            <a:xfrm rot="8716295">
              <a:off x="5172959" y="113821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4" name="Forme libre : forme 2343">
              <a:extLst>
                <a:ext uri="{FF2B5EF4-FFF2-40B4-BE49-F238E27FC236}">
                  <a16:creationId xmlns:a16="http://schemas.microsoft.com/office/drawing/2014/main" id="{B54ADC56-D20D-4C1D-BBA8-5BF0D1D5989C}"/>
                </a:ext>
              </a:extLst>
            </p:cNvPr>
            <p:cNvSpPr/>
            <p:nvPr/>
          </p:nvSpPr>
          <p:spPr>
            <a:xfrm rot="8716295">
              <a:off x="5350411" y="97897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5" name="Forme libre : forme 2344">
              <a:extLst>
                <a:ext uri="{FF2B5EF4-FFF2-40B4-BE49-F238E27FC236}">
                  <a16:creationId xmlns:a16="http://schemas.microsoft.com/office/drawing/2014/main" id="{6F7A1710-4C02-4DCC-B78B-511BDFFD55F4}"/>
                </a:ext>
              </a:extLst>
            </p:cNvPr>
            <p:cNvSpPr/>
            <p:nvPr/>
          </p:nvSpPr>
          <p:spPr>
            <a:xfrm rot="8716295">
              <a:off x="4582464" y="70634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6" name="Forme libre : forme 2345">
              <a:extLst>
                <a:ext uri="{FF2B5EF4-FFF2-40B4-BE49-F238E27FC236}">
                  <a16:creationId xmlns:a16="http://schemas.microsoft.com/office/drawing/2014/main" id="{D536F172-354E-4C75-A2CF-32C24FBDD45C}"/>
                </a:ext>
              </a:extLst>
            </p:cNvPr>
            <p:cNvSpPr/>
            <p:nvPr/>
          </p:nvSpPr>
          <p:spPr>
            <a:xfrm rot="8716295">
              <a:off x="4671856" y="73558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7" name="Forme libre : forme 2346">
              <a:extLst>
                <a:ext uri="{FF2B5EF4-FFF2-40B4-BE49-F238E27FC236}">
                  <a16:creationId xmlns:a16="http://schemas.microsoft.com/office/drawing/2014/main" id="{E02EE465-AAEF-4A1C-9A7C-9D1D91F4D60A}"/>
                </a:ext>
              </a:extLst>
            </p:cNvPr>
            <p:cNvSpPr/>
            <p:nvPr/>
          </p:nvSpPr>
          <p:spPr>
            <a:xfrm rot="8716295">
              <a:off x="4627006" y="64930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8" name="Forme libre : forme 2347">
              <a:extLst>
                <a:ext uri="{FF2B5EF4-FFF2-40B4-BE49-F238E27FC236}">
                  <a16:creationId xmlns:a16="http://schemas.microsoft.com/office/drawing/2014/main" id="{0D825FEE-DBE8-4D57-B9F7-C97353B9827C}"/>
                </a:ext>
              </a:extLst>
            </p:cNvPr>
            <p:cNvSpPr/>
            <p:nvPr/>
          </p:nvSpPr>
          <p:spPr>
            <a:xfrm rot="8716295">
              <a:off x="4470230" y="79488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9" name="Forme libre : forme 2348">
              <a:extLst>
                <a:ext uri="{FF2B5EF4-FFF2-40B4-BE49-F238E27FC236}">
                  <a16:creationId xmlns:a16="http://schemas.microsoft.com/office/drawing/2014/main" id="{78F83AD2-75B7-4595-9386-952F6FD22400}"/>
                </a:ext>
              </a:extLst>
            </p:cNvPr>
            <p:cNvSpPr/>
            <p:nvPr/>
          </p:nvSpPr>
          <p:spPr>
            <a:xfrm rot="8716295">
              <a:off x="4345327" y="58621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0" name="Forme libre : forme 2349">
              <a:extLst>
                <a:ext uri="{FF2B5EF4-FFF2-40B4-BE49-F238E27FC236}">
                  <a16:creationId xmlns:a16="http://schemas.microsoft.com/office/drawing/2014/main" id="{BA220240-D69B-4B6C-A6FC-E65389644BCE}"/>
                </a:ext>
              </a:extLst>
            </p:cNvPr>
            <p:cNvSpPr/>
            <p:nvPr/>
          </p:nvSpPr>
          <p:spPr>
            <a:xfrm rot="8716295">
              <a:off x="4333275" y="44743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1" name="Forme libre : forme 2350">
              <a:extLst>
                <a:ext uri="{FF2B5EF4-FFF2-40B4-BE49-F238E27FC236}">
                  <a16:creationId xmlns:a16="http://schemas.microsoft.com/office/drawing/2014/main" id="{B0074431-ABFA-4C3E-95DE-330C2C35B482}"/>
                </a:ext>
              </a:extLst>
            </p:cNvPr>
            <p:cNvSpPr/>
            <p:nvPr/>
          </p:nvSpPr>
          <p:spPr>
            <a:xfrm rot="8716295">
              <a:off x="4560408" y="83583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2" name="Forme libre : forme 2351">
              <a:extLst>
                <a:ext uri="{FF2B5EF4-FFF2-40B4-BE49-F238E27FC236}">
                  <a16:creationId xmlns:a16="http://schemas.microsoft.com/office/drawing/2014/main" id="{6A1A478E-7B4F-4A07-B728-A4383F55F532}"/>
                </a:ext>
              </a:extLst>
            </p:cNvPr>
            <p:cNvSpPr/>
            <p:nvPr/>
          </p:nvSpPr>
          <p:spPr>
            <a:xfrm rot="8716295">
              <a:off x="4871563" y="45619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3" name="Forme libre : forme 2352">
              <a:extLst>
                <a:ext uri="{FF2B5EF4-FFF2-40B4-BE49-F238E27FC236}">
                  <a16:creationId xmlns:a16="http://schemas.microsoft.com/office/drawing/2014/main" id="{FF3D4263-7FF6-40B4-B16E-F0F9B7A6D208}"/>
                </a:ext>
              </a:extLst>
            </p:cNvPr>
            <p:cNvSpPr/>
            <p:nvPr/>
          </p:nvSpPr>
          <p:spPr>
            <a:xfrm rot="8716295">
              <a:off x="4960955" y="48543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4" name="Forme libre : forme 2353">
              <a:extLst>
                <a:ext uri="{FF2B5EF4-FFF2-40B4-BE49-F238E27FC236}">
                  <a16:creationId xmlns:a16="http://schemas.microsoft.com/office/drawing/2014/main" id="{83EFFBE3-A8A8-4DEE-AEC9-4D3EA9760312}"/>
                </a:ext>
              </a:extLst>
            </p:cNvPr>
            <p:cNvSpPr/>
            <p:nvPr/>
          </p:nvSpPr>
          <p:spPr>
            <a:xfrm rot="8716295">
              <a:off x="4759329" y="54473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5" name="Forme libre : forme 2354">
              <a:extLst>
                <a:ext uri="{FF2B5EF4-FFF2-40B4-BE49-F238E27FC236}">
                  <a16:creationId xmlns:a16="http://schemas.microsoft.com/office/drawing/2014/main" id="{2CB1E6B8-6C1B-4CFB-9BB4-204CCAECF5EF}"/>
                </a:ext>
              </a:extLst>
            </p:cNvPr>
            <p:cNvSpPr/>
            <p:nvPr/>
          </p:nvSpPr>
          <p:spPr>
            <a:xfrm rot="8716295">
              <a:off x="4634427" y="33606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6" name="Forme libre : forme 2355">
              <a:extLst>
                <a:ext uri="{FF2B5EF4-FFF2-40B4-BE49-F238E27FC236}">
                  <a16:creationId xmlns:a16="http://schemas.microsoft.com/office/drawing/2014/main" id="{C87D3796-A862-4777-A308-4706FE535F62}"/>
                </a:ext>
              </a:extLst>
            </p:cNvPr>
            <p:cNvSpPr/>
            <p:nvPr/>
          </p:nvSpPr>
          <p:spPr>
            <a:xfrm rot="8716295">
              <a:off x="4849507" y="58568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7" name="Forme libre : forme 2356">
              <a:extLst>
                <a:ext uri="{FF2B5EF4-FFF2-40B4-BE49-F238E27FC236}">
                  <a16:creationId xmlns:a16="http://schemas.microsoft.com/office/drawing/2014/main" id="{1ACC11AE-8F0F-4403-A846-2BBA1B5FB06A}"/>
                </a:ext>
              </a:extLst>
            </p:cNvPr>
            <p:cNvSpPr/>
            <p:nvPr/>
          </p:nvSpPr>
          <p:spPr>
            <a:xfrm rot="8716295">
              <a:off x="4608056" y="43608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8" name="Forme libre : forme 2357">
              <a:extLst>
                <a:ext uri="{FF2B5EF4-FFF2-40B4-BE49-F238E27FC236}">
                  <a16:creationId xmlns:a16="http://schemas.microsoft.com/office/drawing/2014/main" id="{6BBCBD03-EC40-4B6A-94A0-044ACDD5545A}"/>
                </a:ext>
              </a:extLst>
            </p:cNvPr>
            <p:cNvSpPr/>
            <p:nvPr/>
          </p:nvSpPr>
          <p:spPr>
            <a:xfrm rot="7484129">
              <a:off x="4954438" y="77703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9" name="Forme libre : forme 2358">
              <a:extLst>
                <a:ext uri="{FF2B5EF4-FFF2-40B4-BE49-F238E27FC236}">
                  <a16:creationId xmlns:a16="http://schemas.microsoft.com/office/drawing/2014/main" id="{A0436840-05C9-42F3-8F79-A951B2C27E5B}"/>
                </a:ext>
              </a:extLst>
            </p:cNvPr>
            <p:cNvSpPr/>
            <p:nvPr/>
          </p:nvSpPr>
          <p:spPr>
            <a:xfrm rot="13089394">
              <a:off x="5059258" y="743571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0" name="Forme libre : forme 2359">
              <a:extLst>
                <a:ext uri="{FF2B5EF4-FFF2-40B4-BE49-F238E27FC236}">
                  <a16:creationId xmlns:a16="http://schemas.microsoft.com/office/drawing/2014/main" id="{18E5CE87-13E3-4167-9392-FE5C76C94FDF}"/>
                </a:ext>
              </a:extLst>
            </p:cNvPr>
            <p:cNvSpPr/>
            <p:nvPr/>
          </p:nvSpPr>
          <p:spPr>
            <a:xfrm rot="8716295">
              <a:off x="5244843" y="55189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1" name="Forme libre : forme 2360">
              <a:extLst>
                <a:ext uri="{FF2B5EF4-FFF2-40B4-BE49-F238E27FC236}">
                  <a16:creationId xmlns:a16="http://schemas.microsoft.com/office/drawing/2014/main" id="{79B867E9-B21B-4950-B984-31FB698EA685}"/>
                </a:ext>
              </a:extLst>
            </p:cNvPr>
            <p:cNvSpPr/>
            <p:nvPr/>
          </p:nvSpPr>
          <p:spPr>
            <a:xfrm rot="8716295">
              <a:off x="5193038" y="44829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2" name="Forme libre : forme 2361">
              <a:extLst>
                <a:ext uri="{FF2B5EF4-FFF2-40B4-BE49-F238E27FC236}">
                  <a16:creationId xmlns:a16="http://schemas.microsoft.com/office/drawing/2014/main" id="{36B5DFC7-1584-496B-98BD-B274803CFC03}"/>
                </a:ext>
              </a:extLst>
            </p:cNvPr>
            <p:cNvSpPr/>
            <p:nvPr/>
          </p:nvSpPr>
          <p:spPr>
            <a:xfrm rot="8716295">
              <a:off x="4949792" y="47851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3" name="Forme libre : forme 2362">
              <a:extLst>
                <a:ext uri="{FF2B5EF4-FFF2-40B4-BE49-F238E27FC236}">
                  <a16:creationId xmlns:a16="http://schemas.microsoft.com/office/drawing/2014/main" id="{173D4F02-9301-448C-BEBF-368C505DFEF7}"/>
                </a:ext>
              </a:extLst>
            </p:cNvPr>
            <p:cNvSpPr/>
            <p:nvPr/>
          </p:nvSpPr>
          <p:spPr>
            <a:xfrm rot="8716295">
              <a:off x="5127244" y="31927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4" name="Forme libre : forme 2363">
              <a:extLst>
                <a:ext uri="{FF2B5EF4-FFF2-40B4-BE49-F238E27FC236}">
                  <a16:creationId xmlns:a16="http://schemas.microsoft.com/office/drawing/2014/main" id="{ED7BE141-A682-458B-B00E-8C240AAEF92B}"/>
                </a:ext>
              </a:extLst>
            </p:cNvPr>
            <p:cNvSpPr/>
            <p:nvPr/>
          </p:nvSpPr>
          <p:spPr>
            <a:xfrm rot="8716295">
              <a:off x="4363525" y="4428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5" name="Forme libre : forme 2364">
              <a:extLst>
                <a:ext uri="{FF2B5EF4-FFF2-40B4-BE49-F238E27FC236}">
                  <a16:creationId xmlns:a16="http://schemas.microsoft.com/office/drawing/2014/main" id="{5D5D6D8D-B4BF-42B6-B50D-A71215211BA8}"/>
                </a:ext>
              </a:extLst>
            </p:cNvPr>
            <p:cNvSpPr/>
            <p:nvPr/>
          </p:nvSpPr>
          <p:spPr>
            <a:xfrm rot="8716295">
              <a:off x="4452917" y="7352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6" name="Forme libre : forme 2365">
              <a:extLst>
                <a:ext uri="{FF2B5EF4-FFF2-40B4-BE49-F238E27FC236}">
                  <a16:creationId xmlns:a16="http://schemas.microsoft.com/office/drawing/2014/main" id="{92D0CC5C-A64F-4456-AD2B-2B2768047B43}"/>
                </a:ext>
              </a:extLst>
            </p:cNvPr>
            <p:cNvSpPr/>
            <p:nvPr/>
          </p:nvSpPr>
          <p:spPr>
            <a:xfrm rot="8716295">
              <a:off x="4414002" y="19341"/>
              <a:ext cx="155050" cy="113964"/>
            </a:xfrm>
            <a:custGeom>
              <a:avLst/>
              <a:gdLst>
                <a:gd name="connsiteX0" fmla="*/ 25756 w 155050"/>
                <a:gd name="connsiteY0" fmla="*/ 113964 h 113964"/>
                <a:gd name="connsiteX1" fmla="*/ 0 w 155050"/>
                <a:gd name="connsiteY1" fmla="*/ 96110 h 113964"/>
                <a:gd name="connsiteX2" fmla="*/ 72120 w 155050"/>
                <a:gd name="connsiteY2" fmla="*/ 28251 h 113964"/>
                <a:gd name="connsiteX3" fmla="*/ 126799 w 155050"/>
                <a:gd name="connsiteY3" fmla="*/ 0 h 113964"/>
                <a:gd name="connsiteX4" fmla="*/ 155050 w 155050"/>
                <a:gd name="connsiteY4" fmla="*/ 33719 h 113964"/>
                <a:gd name="connsiteX5" fmla="*/ 128622 w 155050"/>
                <a:gd name="connsiteY5" fmla="*/ 69261 h 113964"/>
                <a:gd name="connsiteX6" fmla="*/ 129077 w 155050"/>
                <a:gd name="connsiteY6" fmla="*/ 69261 h 113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5050" h="113964">
                  <a:moveTo>
                    <a:pt x="25756" y="113964"/>
                  </a:moveTo>
                  <a:lnTo>
                    <a:pt x="0" y="96110"/>
                  </a:lnTo>
                  <a:lnTo>
                    <a:pt x="72120" y="28251"/>
                  </a:lnTo>
                  <a:cubicBezTo>
                    <a:pt x="85790" y="12303"/>
                    <a:pt x="105383" y="2279"/>
                    <a:pt x="126799" y="0"/>
                  </a:cubicBezTo>
                  <a:cubicBezTo>
                    <a:pt x="148671" y="0"/>
                    <a:pt x="155050" y="19138"/>
                    <a:pt x="155050" y="33719"/>
                  </a:cubicBezTo>
                  <a:cubicBezTo>
                    <a:pt x="153683" y="49668"/>
                    <a:pt x="143203" y="62882"/>
                    <a:pt x="128622" y="69261"/>
                  </a:cubicBezTo>
                  <a:lnTo>
                    <a:pt x="129077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7" name="Forme libre : forme 2366">
              <a:extLst>
                <a:ext uri="{FF2B5EF4-FFF2-40B4-BE49-F238E27FC236}">
                  <a16:creationId xmlns:a16="http://schemas.microsoft.com/office/drawing/2014/main" id="{3D7F33EE-E953-4F70-8F6D-B7AB877234D1}"/>
                </a:ext>
              </a:extLst>
            </p:cNvPr>
            <p:cNvSpPr/>
            <p:nvPr/>
          </p:nvSpPr>
          <p:spPr>
            <a:xfrm rot="8716295">
              <a:off x="4251291" y="13282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8" name="Forme libre : forme 2367">
              <a:extLst>
                <a:ext uri="{FF2B5EF4-FFF2-40B4-BE49-F238E27FC236}">
                  <a16:creationId xmlns:a16="http://schemas.microsoft.com/office/drawing/2014/main" id="{D6111605-705A-468C-9B0C-336BD1C692B5}"/>
                </a:ext>
              </a:extLst>
            </p:cNvPr>
            <p:cNvSpPr/>
            <p:nvPr/>
          </p:nvSpPr>
          <p:spPr>
            <a:xfrm rot="8716295">
              <a:off x="4140033" y="-17870"/>
              <a:ext cx="203847" cy="132136"/>
            </a:xfrm>
            <a:custGeom>
              <a:avLst/>
              <a:gdLst>
                <a:gd name="connsiteX0" fmla="*/ 112633 w 203847"/>
                <a:gd name="connsiteY0" fmla="*/ 132136 h 132136"/>
                <a:gd name="connsiteX1" fmla="*/ 56185 w 203847"/>
                <a:gd name="connsiteY1" fmla="*/ 93008 h 132136"/>
                <a:gd name="connsiteX2" fmla="*/ 69777 w 203847"/>
                <a:gd name="connsiteY2" fmla="*/ 55323 h 132136"/>
                <a:gd name="connsiteX3" fmla="*/ 1818 w 203847"/>
                <a:gd name="connsiteY3" fmla="*/ 55323 h 132136"/>
                <a:gd name="connsiteX4" fmla="*/ 0 w 203847"/>
                <a:gd name="connsiteY4" fmla="*/ 54062 h 132136"/>
                <a:gd name="connsiteX5" fmla="*/ 0 w 203847"/>
                <a:gd name="connsiteY5" fmla="*/ 0 h 132136"/>
                <a:gd name="connsiteX6" fmla="*/ 203847 w 203847"/>
                <a:gd name="connsiteY6" fmla="*/ 0 h 132136"/>
                <a:gd name="connsiteX7" fmla="*/ 203847 w 203847"/>
                <a:gd name="connsiteY7" fmla="*/ 55323 h 132136"/>
                <a:gd name="connsiteX8" fmla="*/ 139055 w 203847"/>
                <a:gd name="connsiteY8" fmla="*/ 55323 h 132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32136">
                  <a:moveTo>
                    <a:pt x="112633" y="132136"/>
                  </a:moveTo>
                  <a:lnTo>
                    <a:pt x="56185" y="93008"/>
                  </a:lnTo>
                  <a:lnTo>
                    <a:pt x="69777" y="55323"/>
                  </a:lnTo>
                  <a:lnTo>
                    <a:pt x="1818" y="55323"/>
                  </a:lnTo>
                  <a:lnTo>
                    <a:pt x="0" y="54062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9" name="Forme libre : forme 2368">
              <a:extLst>
                <a:ext uri="{FF2B5EF4-FFF2-40B4-BE49-F238E27FC236}">
                  <a16:creationId xmlns:a16="http://schemas.microsoft.com/office/drawing/2014/main" id="{60D6361D-5926-494E-85F4-B15D013F850E}"/>
                </a:ext>
              </a:extLst>
            </p:cNvPr>
            <p:cNvSpPr/>
            <p:nvPr/>
          </p:nvSpPr>
          <p:spPr>
            <a:xfrm rot="8716295">
              <a:off x="4382970" y="-25447"/>
              <a:ext cx="64855" cy="78311"/>
            </a:xfrm>
            <a:custGeom>
              <a:avLst/>
              <a:gdLst>
                <a:gd name="connsiteX0" fmla="*/ 64855 w 64855"/>
                <a:gd name="connsiteY0" fmla="*/ 78311 h 78311"/>
                <a:gd name="connsiteX1" fmla="*/ 0 w 64855"/>
                <a:gd name="connsiteY1" fmla="*/ 33356 h 78311"/>
                <a:gd name="connsiteX2" fmla="*/ 64294 w 64855"/>
                <a:gd name="connsiteY2" fmla="*/ 0 h 78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855" h="78311">
                  <a:moveTo>
                    <a:pt x="64855" y="78311"/>
                  </a:moveTo>
                  <a:lnTo>
                    <a:pt x="0" y="33356"/>
                  </a:lnTo>
                  <a:lnTo>
                    <a:pt x="64294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0" name="Forme libre : forme 2369">
              <a:extLst>
                <a:ext uri="{FF2B5EF4-FFF2-40B4-BE49-F238E27FC236}">
                  <a16:creationId xmlns:a16="http://schemas.microsoft.com/office/drawing/2014/main" id="{FC82A592-4B0B-4A64-A63D-8ACF6D9AAB23}"/>
                </a:ext>
              </a:extLst>
            </p:cNvPr>
            <p:cNvSpPr/>
            <p:nvPr/>
          </p:nvSpPr>
          <p:spPr>
            <a:xfrm rot="8716295">
              <a:off x="4341469" y="17378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1" name="Forme libre : forme 2370">
              <a:extLst>
                <a:ext uri="{FF2B5EF4-FFF2-40B4-BE49-F238E27FC236}">
                  <a16:creationId xmlns:a16="http://schemas.microsoft.com/office/drawing/2014/main" id="{6A20E7DD-05E5-4FA0-8F57-2B55062F7CD1}"/>
                </a:ext>
              </a:extLst>
            </p:cNvPr>
            <p:cNvSpPr/>
            <p:nvPr/>
          </p:nvSpPr>
          <p:spPr>
            <a:xfrm rot="8716295">
              <a:off x="4707227" y="-28335"/>
              <a:ext cx="81756" cy="56671"/>
            </a:xfrm>
            <a:custGeom>
              <a:avLst/>
              <a:gdLst>
                <a:gd name="connsiteX0" fmla="*/ 81756 w 81756"/>
                <a:gd name="connsiteY0" fmla="*/ 56671 h 56671"/>
                <a:gd name="connsiteX1" fmla="*/ 0 w 81756"/>
                <a:gd name="connsiteY1" fmla="*/ 0 h 56671"/>
                <a:gd name="connsiteX2" fmla="*/ 24798 w 81756"/>
                <a:gd name="connsiteY2" fmla="*/ 0 h 56671"/>
                <a:gd name="connsiteX3" fmla="*/ 81756 w 81756"/>
                <a:gd name="connsiteY3" fmla="*/ 50123 h 56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1756" h="56671">
                  <a:moveTo>
                    <a:pt x="81756" y="56671"/>
                  </a:moveTo>
                  <a:lnTo>
                    <a:pt x="0" y="0"/>
                  </a:lnTo>
                  <a:lnTo>
                    <a:pt x="24798" y="0"/>
                  </a:lnTo>
                  <a:cubicBezTo>
                    <a:pt x="61707" y="0"/>
                    <a:pt x="81756" y="15949"/>
                    <a:pt x="81756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2" name="Forme libre : forme 2371">
              <a:extLst>
                <a:ext uri="{FF2B5EF4-FFF2-40B4-BE49-F238E27FC236}">
                  <a16:creationId xmlns:a16="http://schemas.microsoft.com/office/drawing/2014/main" id="{2490B76E-46EB-4272-924E-6D995CAFB965}"/>
                </a:ext>
              </a:extLst>
            </p:cNvPr>
            <p:cNvSpPr/>
            <p:nvPr/>
          </p:nvSpPr>
          <p:spPr>
            <a:xfrm rot="8716295">
              <a:off x="4788322" y="-25624"/>
              <a:ext cx="219411" cy="98025"/>
            </a:xfrm>
            <a:custGeom>
              <a:avLst/>
              <a:gdLst>
                <a:gd name="connsiteX0" fmla="*/ 63575 w 219411"/>
                <a:gd name="connsiteY0" fmla="*/ 45493 h 98025"/>
                <a:gd name="connsiteX1" fmla="*/ 0 w 219411"/>
                <a:gd name="connsiteY1" fmla="*/ 1425 h 98025"/>
                <a:gd name="connsiteX2" fmla="*/ 63575 w 219411"/>
                <a:gd name="connsiteY2" fmla="*/ 1425 h 98025"/>
                <a:gd name="connsiteX3" fmla="*/ 88634 w 219411"/>
                <a:gd name="connsiteY3" fmla="*/ 62863 h 98025"/>
                <a:gd name="connsiteX4" fmla="*/ 73596 w 219411"/>
                <a:gd name="connsiteY4" fmla="*/ 52439 h 98025"/>
                <a:gd name="connsiteX5" fmla="*/ 75493 w 219411"/>
                <a:gd name="connsiteY5" fmla="*/ 47439 h 98025"/>
                <a:gd name="connsiteX6" fmla="*/ 112786 w 219411"/>
                <a:gd name="connsiteY6" fmla="*/ 5981 h 98025"/>
                <a:gd name="connsiteX7" fmla="*/ 144227 w 219411"/>
                <a:gd name="connsiteY7" fmla="*/ 57 h 98025"/>
                <a:gd name="connsiteX8" fmla="*/ 219411 w 219411"/>
                <a:gd name="connsiteY8" fmla="*/ 88456 h 98025"/>
                <a:gd name="connsiteX9" fmla="*/ 219411 w 219411"/>
                <a:gd name="connsiteY9" fmla="*/ 94380 h 98025"/>
                <a:gd name="connsiteX10" fmla="*/ 157441 w 219411"/>
                <a:gd name="connsiteY10" fmla="*/ 98025 h 98025"/>
                <a:gd name="connsiteX11" fmla="*/ 157441 w 219411"/>
                <a:gd name="connsiteY11" fmla="*/ 81621 h 98025"/>
                <a:gd name="connsiteX12" fmla="*/ 123722 w 219411"/>
                <a:gd name="connsiteY12" fmla="*/ 40156 h 98025"/>
                <a:gd name="connsiteX13" fmla="*/ 103089 w 219411"/>
                <a:gd name="connsiteY13" fmla="*/ 46969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9411" h="98025">
                  <a:moveTo>
                    <a:pt x="63575" y="45493"/>
                  </a:moveTo>
                  <a:lnTo>
                    <a:pt x="0" y="1425"/>
                  </a:lnTo>
                  <a:lnTo>
                    <a:pt x="63575" y="1425"/>
                  </a:lnTo>
                  <a:close/>
                  <a:moveTo>
                    <a:pt x="88634" y="62863"/>
                  </a:moveTo>
                  <a:lnTo>
                    <a:pt x="73596" y="52439"/>
                  </a:lnTo>
                  <a:lnTo>
                    <a:pt x="75493" y="47439"/>
                  </a:lnTo>
                  <a:cubicBezTo>
                    <a:pt x="85874" y="24008"/>
                    <a:pt x="96382" y="12816"/>
                    <a:pt x="112786" y="5981"/>
                  </a:cubicBezTo>
                  <a:cubicBezTo>
                    <a:pt x="122811" y="1880"/>
                    <a:pt x="133291" y="-398"/>
                    <a:pt x="144227" y="57"/>
                  </a:cubicBezTo>
                  <a:cubicBezTo>
                    <a:pt x="191160" y="-854"/>
                    <a:pt x="219411" y="31954"/>
                    <a:pt x="219411" y="88456"/>
                  </a:cubicBezTo>
                  <a:lnTo>
                    <a:pt x="219411" y="94380"/>
                  </a:lnTo>
                  <a:lnTo>
                    <a:pt x="157441" y="98025"/>
                  </a:lnTo>
                  <a:lnTo>
                    <a:pt x="157441" y="81621"/>
                  </a:lnTo>
                  <a:cubicBezTo>
                    <a:pt x="157441" y="57016"/>
                    <a:pt x="143316" y="40156"/>
                    <a:pt x="123722" y="40156"/>
                  </a:cubicBezTo>
                  <a:cubicBezTo>
                    <a:pt x="116431" y="40156"/>
                    <a:pt x="109454" y="42577"/>
                    <a:pt x="103089" y="4696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3" name="Forme libre : forme 2372">
              <a:extLst>
                <a:ext uri="{FF2B5EF4-FFF2-40B4-BE49-F238E27FC236}">
                  <a16:creationId xmlns:a16="http://schemas.microsoft.com/office/drawing/2014/main" id="{8E267C66-2E07-4F73-9340-012E8A048A8A}"/>
                </a:ext>
              </a:extLst>
            </p:cNvPr>
            <p:cNvSpPr/>
            <p:nvPr/>
          </p:nvSpPr>
          <p:spPr>
            <a:xfrm rot="8716295">
              <a:off x="4630568" y="-7637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4" name="Forme libre : forme 2373">
              <a:extLst>
                <a:ext uri="{FF2B5EF4-FFF2-40B4-BE49-F238E27FC236}">
                  <a16:creationId xmlns:a16="http://schemas.microsoft.com/office/drawing/2014/main" id="{78F0F09F-9A5B-4F4A-9DBF-86D570560CEC}"/>
                </a:ext>
              </a:extLst>
            </p:cNvPr>
            <p:cNvSpPr/>
            <p:nvPr/>
          </p:nvSpPr>
          <p:spPr>
            <a:xfrm rot="7484129">
              <a:off x="4735499" y="11497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5" name="Forme libre : forme 2374">
              <a:extLst>
                <a:ext uri="{FF2B5EF4-FFF2-40B4-BE49-F238E27FC236}">
                  <a16:creationId xmlns:a16="http://schemas.microsoft.com/office/drawing/2014/main" id="{78184C10-D416-4CB8-BB4E-B2E159FC9497}"/>
                </a:ext>
              </a:extLst>
            </p:cNvPr>
            <p:cNvSpPr/>
            <p:nvPr/>
          </p:nvSpPr>
          <p:spPr>
            <a:xfrm rot="13089394">
              <a:off x="4840319" y="8151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6" name="Forme libre : forme 2375">
              <a:extLst>
                <a:ext uri="{FF2B5EF4-FFF2-40B4-BE49-F238E27FC236}">
                  <a16:creationId xmlns:a16="http://schemas.microsoft.com/office/drawing/2014/main" id="{BF43E5AD-AF64-4DBC-99B6-CB8CB0A23CDF}"/>
                </a:ext>
              </a:extLst>
            </p:cNvPr>
            <p:cNvSpPr/>
            <p:nvPr/>
          </p:nvSpPr>
          <p:spPr>
            <a:xfrm rot="8716295">
              <a:off x="5051883" y="-11617"/>
              <a:ext cx="112042" cy="89932"/>
            </a:xfrm>
            <a:custGeom>
              <a:avLst/>
              <a:gdLst>
                <a:gd name="connsiteX0" fmla="*/ 62355 w 112042"/>
                <a:gd name="connsiteY0" fmla="*/ 89932 h 89932"/>
                <a:gd name="connsiteX1" fmla="*/ 0 w 112042"/>
                <a:gd name="connsiteY1" fmla="*/ 46710 h 89932"/>
                <a:gd name="connsiteX2" fmla="*/ 14231 w 112042"/>
                <a:gd name="connsiteY2" fmla="*/ 33321 h 89932"/>
                <a:gd name="connsiteX3" fmla="*/ 78722 w 112042"/>
                <a:gd name="connsiteY3" fmla="*/ 0 h 89932"/>
                <a:gd name="connsiteX4" fmla="*/ 112042 w 112042"/>
                <a:gd name="connsiteY4" fmla="*/ 39770 h 89932"/>
                <a:gd name="connsiteX5" fmla="*/ 80872 w 112042"/>
                <a:gd name="connsiteY5" fmla="*/ 81689 h 89932"/>
                <a:gd name="connsiteX6" fmla="*/ 81408 w 112042"/>
                <a:gd name="connsiteY6" fmla="*/ 81689 h 89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2042" h="89932">
                  <a:moveTo>
                    <a:pt x="62355" y="89932"/>
                  </a:moveTo>
                  <a:lnTo>
                    <a:pt x="0" y="46710"/>
                  </a:lnTo>
                  <a:lnTo>
                    <a:pt x="14231" y="33321"/>
                  </a:lnTo>
                  <a:cubicBezTo>
                    <a:pt x="30353" y="14511"/>
                    <a:pt x="53462" y="2687"/>
                    <a:pt x="78722" y="0"/>
                  </a:cubicBezTo>
                  <a:cubicBezTo>
                    <a:pt x="104518" y="0"/>
                    <a:pt x="112042" y="22572"/>
                    <a:pt x="112042" y="39770"/>
                  </a:cubicBezTo>
                  <a:cubicBezTo>
                    <a:pt x="110429" y="58580"/>
                    <a:pt x="98068" y="74165"/>
                    <a:pt x="80872" y="81689"/>
                  </a:cubicBezTo>
                  <a:lnTo>
                    <a:pt x="81408" y="816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7" name="Forme libre : forme 2376">
              <a:extLst>
                <a:ext uri="{FF2B5EF4-FFF2-40B4-BE49-F238E27FC236}">
                  <a16:creationId xmlns:a16="http://schemas.microsoft.com/office/drawing/2014/main" id="{26D2FA4F-18E7-494F-86E7-D42024EE660E}"/>
                </a:ext>
              </a:extLst>
            </p:cNvPr>
            <p:cNvSpPr/>
            <p:nvPr/>
          </p:nvSpPr>
          <p:spPr>
            <a:xfrm rot="8716295">
              <a:off x="4142433" y="246392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8" name="Forme libre : forme 2377">
              <a:extLst>
                <a:ext uri="{FF2B5EF4-FFF2-40B4-BE49-F238E27FC236}">
                  <a16:creationId xmlns:a16="http://schemas.microsoft.com/office/drawing/2014/main" id="{8944C994-EC14-42D7-8113-E4AD6478A149}"/>
                </a:ext>
              </a:extLst>
            </p:cNvPr>
            <p:cNvSpPr/>
            <p:nvPr/>
          </p:nvSpPr>
          <p:spPr>
            <a:xfrm rot="8716295">
              <a:off x="4231825" y="249316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9" name="Forme libre : forme 2378">
              <a:extLst>
                <a:ext uri="{FF2B5EF4-FFF2-40B4-BE49-F238E27FC236}">
                  <a16:creationId xmlns:a16="http://schemas.microsoft.com/office/drawing/2014/main" id="{58192FC9-A1C8-4708-8225-509EE82E999A}"/>
                </a:ext>
              </a:extLst>
            </p:cNvPr>
            <p:cNvSpPr/>
            <p:nvPr/>
          </p:nvSpPr>
          <p:spPr>
            <a:xfrm rot="8716295">
              <a:off x="4186975" y="240688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0" name="Forme libre : forme 2379">
              <a:extLst>
                <a:ext uri="{FF2B5EF4-FFF2-40B4-BE49-F238E27FC236}">
                  <a16:creationId xmlns:a16="http://schemas.microsoft.com/office/drawing/2014/main" id="{C486D111-D4F8-4846-BF95-F7163EE73BEE}"/>
                </a:ext>
              </a:extLst>
            </p:cNvPr>
            <p:cNvSpPr/>
            <p:nvPr/>
          </p:nvSpPr>
          <p:spPr>
            <a:xfrm rot="8716295">
              <a:off x="4030199" y="255246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1" name="Forme libre : forme 2380">
              <a:extLst>
                <a:ext uri="{FF2B5EF4-FFF2-40B4-BE49-F238E27FC236}">
                  <a16:creationId xmlns:a16="http://schemas.microsoft.com/office/drawing/2014/main" id="{A056C44E-4EEE-45C1-B42B-67B9971F1D6B}"/>
                </a:ext>
              </a:extLst>
            </p:cNvPr>
            <p:cNvSpPr/>
            <p:nvPr/>
          </p:nvSpPr>
          <p:spPr>
            <a:xfrm rot="8716295">
              <a:off x="3905296" y="234379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2" name="Forme libre : forme 2381">
              <a:extLst>
                <a:ext uri="{FF2B5EF4-FFF2-40B4-BE49-F238E27FC236}">
                  <a16:creationId xmlns:a16="http://schemas.microsoft.com/office/drawing/2014/main" id="{1595D241-3B9E-492F-B5E8-BEF6BBA7E0C4}"/>
                </a:ext>
              </a:extLst>
            </p:cNvPr>
            <p:cNvSpPr/>
            <p:nvPr/>
          </p:nvSpPr>
          <p:spPr>
            <a:xfrm rot="8716295">
              <a:off x="3893244" y="220501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3" name="Forme libre : forme 2382">
              <a:extLst>
                <a:ext uri="{FF2B5EF4-FFF2-40B4-BE49-F238E27FC236}">
                  <a16:creationId xmlns:a16="http://schemas.microsoft.com/office/drawing/2014/main" id="{D50BF1A5-3883-4503-8AB0-39544967FCA2}"/>
                </a:ext>
              </a:extLst>
            </p:cNvPr>
            <p:cNvSpPr/>
            <p:nvPr/>
          </p:nvSpPr>
          <p:spPr>
            <a:xfrm rot="8716295">
              <a:off x="4120377" y="259342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4" name="Forme libre : forme 2383">
              <a:extLst>
                <a:ext uri="{FF2B5EF4-FFF2-40B4-BE49-F238E27FC236}">
                  <a16:creationId xmlns:a16="http://schemas.microsoft.com/office/drawing/2014/main" id="{0B8BE066-0168-4B85-9FA8-76371BFEBC23}"/>
                </a:ext>
              </a:extLst>
            </p:cNvPr>
            <p:cNvSpPr/>
            <p:nvPr/>
          </p:nvSpPr>
          <p:spPr>
            <a:xfrm rot="8716295">
              <a:off x="4431532" y="221377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5" name="Forme libre : forme 2384">
              <a:extLst>
                <a:ext uri="{FF2B5EF4-FFF2-40B4-BE49-F238E27FC236}">
                  <a16:creationId xmlns:a16="http://schemas.microsoft.com/office/drawing/2014/main" id="{35AEC013-8A96-4F7B-8121-5A77C7B85C89}"/>
                </a:ext>
              </a:extLst>
            </p:cNvPr>
            <p:cNvSpPr/>
            <p:nvPr/>
          </p:nvSpPr>
          <p:spPr>
            <a:xfrm rot="8716295">
              <a:off x="4520924" y="224301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6" name="Forme libre : forme 2385">
              <a:extLst>
                <a:ext uri="{FF2B5EF4-FFF2-40B4-BE49-F238E27FC236}">
                  <a16:creationId xmlns:a16="http://schemas.microsoft.com/office/drawing/2014/main" id="{134B4DCA-0087-4CBF-B7E2-1B6EFFD18866}"/>
                </a:ext>
              </a:extLst>
            </p:cNvPr>
            <p:cNvSpPr/>
            <p:nvPr/>
          </p:nvSpPr>
          <p:spPr>
            <a:xfrm rot="8716295">
              <a:off x="4319298" y="230231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7" name="Forme libre : forme 2386">
              <a:extLst>
                <a:ext uri="{FF2B5EF4-FFF2-40B4-BE49-F238E27FC236}">
                  <a16:creationId xmlns:a16="http://schemas.microsoft.com/office/drawing/2014/main" id="{163757B9-6FA5-43B3-BF05-4633A60F3C8C}"/>
                </a:ext>
              </a:extLst>
            </p:cNvPr>
            <p:cNvSpPr/>
            <p:nvPr/>
          </p:nvSpPr>
          <p:spPr>
            <a:xfrm rot="8716295">
              <a:off x="4194396" y="209364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8" name="Forme libre : forme 2387">
              <a:extLst>
                <a:ext uri="{FF2B5EF4-FFF2-40B4-BE49-F238E27FC236}">
                  <a16:creationId xmlns:a16="http://schemas.microsoft.com/office/drawing/2014/main" id="{E98B9827-653C-450A-90CC-AB24A5748561}"/>
                </a:ext>
              </a:extLst>
            </p:cNvPr>
            <p:cNvSpPr/>
            <p:nvPr/>
          </p:nvSpPr>
          <p:spPr>
            <a:xfrm rot="8716295">
              <a:off x="4409476" y="234326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9" name="Forme libre : forme 2388">
              <a:extLst>
                <a:ext uri="{FF2B5EF4-FFF2-40B4-BE49-F238E27FC236}">
                  <a16:creationId xmlns:a16="http://schemas.microsoft.com/office/drawing/2014/main" id="{FDDF805D-5240-4677-A207-30BF9FB2B531}"/>
                </a:ext>
              </a:extLst>
            </p:cNvPr>
            <p:cNvSpPr/>
            <p:nvPr/>
          </p:nvSpPr>
          <p:spPr>
            <a:xfrm rot="8716295">
              <a:off x="4168025" y="219366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0" name="Forme libre : forme 2389">
              <a:extLst>
                <a:ext uri="{FF2B5EF4-FFF2-40B4-BE49-F238E27FC236}">
                  <a16:creationId xmlns:a16="http://schemas.microsoft.com/office/drawing/2014/main" id="{C69C5DEB-0024-4F6B-9D95-227D595E9C83}"/>
                </a:ext>
              </a:extLst>
            </p:cNvPr>
            <p:cNvSpPr/>
            <p:nvPr/>
          </p:nvSpPr>
          <p:spPr>
            <a:xfrm rot="7484129">
              <a:off x="4514407" y="253461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1" name="Forme libre : forme 2390">
              <a:extLst>
                <a:ext uri="{FF2B5EF4-FFF2-40B4-BE49-F238E27FC236}">
                  <a16:creationId xmlns:a16="http://schemas.microsoft.com/office/drawing/2014/main" id="{0FB7443C-A618-4557-B32F-BF8D10D1B0F0}"/>
                </a:ext>
              </a:extLst>
            </p:cNvPr>
            <p:cNvSpPr/>
            <p:nvPr/>
          </p:nvSpPr>
          <p:spPr>
            <a:xfrm rot="13089394">
              <a:off x="4619227" y="250115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2" name="Forme libre : forme 2391">
              <a:extLst>
                <a:ext uri="{FF2B5EF4-FFF2-40B4-BE49-F238E27FC236}">
                  <a16:creationId xmlns:a16="http://schemas.microsoft.com/office/drawing/2014/main" id="{4C9C1422-C0E5-4066-8236-95853DBC40C6}"/>
                </a:ext>
              </a:extLst>
            </p:cNvPr>
            <p:cNvSpPr/>
            <p:nvPr/>
          </p:nvSpPr>
          <p:spPr>
            <a:xfrm rot="8716295">
              <a:off x="4804812" y="230947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3" name="Forme libre : forme 2392">
              <a:extLst>
                <a:ext uri="{FF2B5EF4-FFF2-40B4-BE49-F238E27FC236}">
                  <a16:creationId xmlns:a16="http://schemas.microsoft.com/office/drawing/2014/main" id="{51D166AF-4976-4D8C-853D-6904E98B922E}"/>
                </a:ext>
              </a:extLst>
            </p:cNvPr>
            <p:cNvSpPr/>
            <p:nvPr/>
          </p:nvSpPr>
          <p:spPr>
            <a:xfrm rot="8716295">
              <a:off x="4753007" y="220587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4" name="Forme libre : forme 2393">
              <a:extLst>
                <a:ext uri="{FF2B5EF4-FFF2-40B4-BE49-F238E27FC236}">
                  <a16:creationId xmlns:a16="http://schemas.microsoft.com/office/drawing/2014/main" id="{BA326BA3-E1FE-4A3E-AE3D-4E61F745D645}"/>
                </a:ext>
              </a:extLst>
            </p:cNvPr>
            <p:cNvSpPr/>
            <p:nvPr/>
          </p:nvSpPr>
          <p:spPr>
            <a:xfrm rot="8716295">
              <a:off x="4509761" y="223610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5" name="Forme libre : forme 2394">
              <a:extLst>
                <a:ext uri="{FF2B5EF4-FFF2-40B4-BE49-F238E27FC236}">
                  <a16:creationId xmlns:a16="http://schemas.microsoft.com/office/drawing/2014/main" id="{8A46B46F-F0B1-417E-8C7A-6962AE3F21E6}"/>
                </a:ext>
              </a:extLst>
            </p:cNvPr>
            <p:cNvSpPr/>
            <p:nvPr/>
          </p:nvSpPr>
          <p:spPr>
            <a:xfrm rot="8716295">
              <a:off x="4687213" y="207685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6" name="Forme libre : forme 2395">
              <a:extLst>
                <a:ext uri="{FF2B5EF4-FFF2-40B4-BE49-F238E27FC236}">
                  <a16:creationId xmlns:a16="http://schemas.microsoft.com/office/drawing/2014/main" id="{C9994092-3035-4DD9-9E09-3BAFE682BCD7}"/>
                </a:ext>
              </a:extLst>
            </p:cNvPr>
            <p:cNvSpPr/>
            <p:nvPr/>
          </p:nvSpPr>
          <p:spPr>
            <a:xfrm rot="8716295">
              <a:off x="4365600" y="312362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7" name="Forme libre : forme 2396">
              <a:extLst>
                <a:ext uri="{FF2B5EF4-FFF2-40B4-BE49-F238E27FC236}">
                  <a16:creationId xmlns:a16="http://schemas.microsoft.com/office/drawing/2014/main" id="{AE33B394-B806-4A40-8CAA-93B4FF185583}"/>
                </a:ext>
              </a:extLst>
            </p:cNvPr>
            <p:cNvSpPr/>
            <p:nvPr/>
          </p:nvSpPr>
          <p:spPr>
            <a:xfrm rot="8716295">
              <a:off x="4454992" y="315286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8" name="Forme libre : forme 2397">
              <a:extLst>
                <a:ext uri="{FF2B5EF4-FFF2-40B4-BE49-F238E27FC236}">
                  <a16:creationId xmlns:a16="http://schemas.microsoft.com/office/drawing/2014/main" id="{E2E1CE7D-7E21-4BD0-BBC2-789A64762168}"/>
                </a:ext>
              </a:extLst>
            </p:cNvPr>
            <p:cNvSpPr/>
            <p:nvPr/>
          </p:nvSpPr>
          <p:spPr>
            <a:xfrm rot="8716295">
              <a:off x="4410142" y="306658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9" name="Forme libre : forme 2398">
              <a:extLst>
                <a:ext uri="{FF2B5EF4-FFF2-40B4-BE49-F238E27FC236}">
                  <a16:creationId xmlns:a16="http://schemas.microsoft.com/office/drawing/2014/main" id="{D750BA49-1FAF-4289-9C9E-5D6FD1245959}"/>
                </a:ext>
              </a:extLst>
            </p:cNvPr>
            <p:cNvSpPr/>
            <p:nvPr/>
          </p:nvSpPr>
          <p:spPr>
            <a:xfrm rot="8716295">
              <a:off x="4253366" y="321216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0" name="Forme libre : forme 2399">
              <a:extLst>
                <a:ext uri="{FF2B5EF4-FFF2-40B4-BE49-F238E27FC236}">
                  <a16:creationId xmlns:a16="http://schemas.microsoft.com/office/drawing/2014/main" id="{DE694502-8787-4DE5-AFA1-0F3754EC84F2}"/>
                </a:ext>
              </a:extLst>
            </p:cNvPr>
            <p:cNvSpPr/>
            <p:nvPr/>
          </p:nvSpPr>
          <p:spPr>
            <a:xfrm rot="8716295">
              <a:off x="4128463" y="300349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1" name="Forme libre : forme 2400">
              <a:extLst>
                <a:ext uri="{FF2B5EF4-FFF2-40B4-BE49-F238E27FC236}">
                  <a16:creationId xmlns:a16="http://schemas.microsoft.com/office/drawing/2014/main" id="{FDAB4DC0-8BEB-4DD5-9B59-3390B09A63B4}"/>
                </a:ext>
              </a:extLst>
            </p:cNvPr>
            <p:cNvSpPr/>
            <p:nvPr/>
          </p:nvSpPr>
          <p:spPr>
            <a:xfrm rot="8716295">
              <a:off x="4116411" y="286471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2" name="Forme libre : forme 2401">
              <a:extLst>
                <a:ext uri="{FF2B5EF4-FFF2-40B4-BE49-F238E27FC236}">
                  <a16:creationId xmlns:a16="http://schemas.microsoft.com/office/drawing/2014/main" id="{B005B092-A2D6-4E32-9BFF-715AB97C0245}"/>
                </a:ext>
              </a:extLst>
            </p:cNvPr>
            <p:cNvSpPr/>
            <p:nvPr/>
          </p:nvSpPr>
          <p:spPr>
            <a:xfrm rot="8716295">
              <a:off x="4343544" y="325311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3" name="Forme libre : forme 2402">
              <a:extLst>
                <a:ext uri="{FF2B5EF4-FFF2-40B4-BE49-F238E27FC236}">
                  <a16:creationId xmlns:a16="http://schemas.microsoft.com/office/drawing/2014/main" id="{045312D5-1496-48E9-BE7A-E83846AC9783}"/>
                </a:ext>
              </a:extLst>
            </p:cNvPr>
            <p:cNvSpPr/>
            <p:nvPr/>
          </p:nvSpPr>
          <p:spPr>
            <a:xfrm rot="8716295">
              <a:off x="4654699" y="287347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4" name="Forme libre : forme 2403">
              <a:extLst>
                <a:ext uri="{FF2B5EF4-FFF2-40B4-BE49-F238E27FC236}">
                  <a16:creationId xmlns:a16="http://schemas.microsoft.com/office/drawing/2014/main" id="{F44F3FDE-EE75-48FF-90E8-43EFECEA6BFA}"/>
                </a:ext>
              </a:extLst>
            </p:cNvPr>
            <p:cNvSpPr/>
            <p:nvPr/>
          </p:nvSpPr>
          <p:spPr>
            <a:xfrm rot="8716295">
              <a:off x="4744091" y="290271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5" name="Forme libre : forme 2404">
              <a:extLst>
                <a:ext uri="{FF2B5EF4-FFF2-40B4-BE49-F238E27FC236}">
                  <a16:creationId xmlns:a16="http://schemas.microsoft.com/office/drawing/2014/main" id="{183E0100-AB2A-459F-8CD6-B918AF817720}"/>
                </a:ext>
              </a:extLst>
            </p:cNvPr>
            <p:cNvSpPr/>
            <p:nvPr/>
          </p:nvSpPr>
          <p:spPr>
            <a:xfrm rot="8716295">
              <a:off x="4542465" y="296201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6" name="Forme libre : forme 2405">
              <a:extLst>
                <a:ext uri="{FF2B5EF4-FFF2-40B4-BE49-F238E27FC236}">
                  <a16:creationId xmlns:a16="http://schemas.microsoft.com/office/drawing/2014/main" id="{5AC6947B-430C-4683-99FD-17BA671C7FAF}"/>
                </a:ext>
              </a:extLst>
            </p:cNvPr>
            <p:cNvSpPr/>
            <p:nvPr/>
          </p:nvSpPr>
          <p:spPr>
            <a:xfrm rot="8716295">
              <a:off x="4417563" y="275334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7" name="Forme libre : forme 2406">
              <a:extLst>
                <a:ext uri="{FF2B5EF4-FFF2-40B4-BE49-F238E27FC236}">
                  <a16:creationId xmlns:a16="http://schemas.microsoft.com/office/drawing/2014/main" id="{23371782-A91B-45D7-9243-4F5347843B7B}"/>
                </a:ext>
              </a:extLst>
            </p:cNvPr>
            <p:cNvSpPr/>
            <p:nvPr/>
          </p:nvSpPr>
          <p:spPr>
            <a:xfrm rot="8716295">
              <a:off x="4632643" y="300296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8" name="Forme libre : forme 2407">
              <a:extLst>
                <a:ext uri="{FF2B5EF4-FFF2-40B4-BE49-F238E27FC236}">
                  <a16:creationId xmlns:a16="http://schemas.microsoft.com/office/drawing/2014/main" id="{9755E835-965C-456F-87FE-92F81A3E4A63}"/>
                </a:ext>
              </a:extLst>
            </p:cNvPr>
            <p:cNvSpPr/>
            <p:nvPr/>
          </p:nvSpPr>
          <p:spPr>
            <a:xfrm rot="8716295">
              <a:off x="4391192" y="285336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9" name="Forme libre : forme 2408">
              <a:extLst>
                <a:ext uri="{FF2B5EF4-FFF2-40B4-BE49-F238E27FC236}">
                  <a16:creationId xmlns:a16="http://schemas.microsoft.com/office/drawing/2014/main" id="{C97A8178-02BF-4D6E-B4BD-592A2261203E}"/>
                </a:ext>
              </a:extLst>
            </p:cNvPr>
            <p:cNvSpPr/>
            <p:nvPr/>
          </p:nvSpPr>
          <p:spPr>
            <a:xfrm rot="7484129">
              <a:off x="4737574" y="319431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0" name="Forme libre : forme 2409">
              <a:extLst>
                <a:ext uri="{FF2B5EF4-FFF2-40B4-BE49-F238E27FC236}">
                  <a16:creationId xmlns:a16="http://schemas.microsoft.com/office/drawing/2014/main" id="{75E989AC-861F-445B-8523-87947D58BA59}"/>
                </a:ext>
              </a:extLst>
            </p:cNvPr>
            <p:cNvSpPr/>
            <p:nvPr/>
          </p:nvSpPr>
          <p:spPr>
            <a:xfrm rot="13089394">
              <a:off x="4842394" y="316085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1" name="Forme libre : forme 2410">
              <a:extLst>
                <a:ext uri="{FF2B5EF4-FFF2-40B4-BE49-F238E27FC236}">
                  <a16:creationId xmlns:a16="http://schemas.microsoft.com/office/drawing/2014/main" id="{8D82D2F1-5E32-4A31-B12C-8D7D976DCEFE}"/>
                </a:ext>
              </a:extLst>
            </p:cNvPr>
            <p:cNvSpPr/>
            <p:nvPr/>
          </p:nvSpPr>
          <p:spPr>
            <a:xfrm rot="8716295">
              <a:off x="5027979" y="296917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2" name="Forme libre : forme 2411">
              <a:extLst>
                <a:ext uri="{FF2B5EF4-FFF2-40B4-BE49-F238E27FC236}">
                  <a16:creationId xmlns:a16="http://schemas.microsoft.com/office/drawing/2014/main" id="{B13D46FD-93AC-45F4-9A10-E97DA44D8E6F}"/>
                </a:ext>
              </a:extLst>
            </p:cNvPr>
            <p:cNvSpPr/>
            <p:nvPr/>
          </p:nvSpPr>
          <p:spPr>
            <a:xfrm rot="8716295">
              <a:off x="4976174" y="286557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3" name="Forme libre : forme 2412">
              <a:extLst>
                <a:ext uri="{FF2B5EF4-FFF2-40B4-BE49-F238E27FC236}">
                  <a16:creationId xmlns:a16="http://schemas.microsoft.com/office/drawing/2014/main" id="{60E925F5-AA66-479A-8E63-2C1F069A7D43}"/>
                </a:ext>
              </a:extLst>
            </p:cNvPr>
            <p:cNvSpPr/>
            <p:nvPr/>
          </p:nvSpPr>
          <p:spPr>
            <a:xfrm rot="8716295">
              <a:off x="4732928" y="289579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4" name="Forme libre : forme 2413">
              <a:extLst>
                <a:ext uri="{FF2B5EF4-FFF2-40B4-BE49-F238E27FC236}">
                  <a16:creationId xmlns:a16="http://schemas.microsoft.com/office/drawing/2014/main" id="{080B48A7-A1B1-41BD-94B6-9C452E91624E}"/>
                </a:ext>
              </a:extLst>
            </p:cNvPr>
            <p:cNvSpPr/>
            <p:nvPr/>
          </p:nvSpPr>
          <p:spPr>
            <a:xfrm rot="8716295">
              <a:off x="4910380" y="273655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5" name="Forme libre : forme 2414">
              <a:extLst>
                <a:ext uri="{FF2B5EF4-FFF2-40B4-BE49-F238E27FC236}">
                  <a16:creationId xmlns:a16="http://schemas.microsoft.com/office/drawing/2014/main" id="{0674948B-A68F-42F0-B732-9AA4AFE7D76F}"/>
                </a:ext>
              </a:extLst>
            </p:cNvPr>
            <p:cNvSpPr/>
            <p:nvPr/>
          </p:nvSpPr>
          <p:spPr>
            <a:xfrm rot="8716295">
              <a:off x="5092983" y="5038194"/>
              <a:ext cx="153591" cy="101571"/>
            </a:xfrm>
            <a:custGeom>
              <a:avLst/>
              <a:gdLst>
                <a:gd name="connsiteX0" fmla="*/ 5923 w 153591"/>
                <a:gd name="connsiteY0" fmla="*/ 101571 h 101571"/>
                <a:gd name="connsiteX1" fmla="*/ 0 w 153591"/>
                <a:gd name="connsiteY1" fmla="*/ 93369 h 101571"/>
                <a:gd name="connsiteX2" fmla="*/ 99231 w 153591"/>
                <a:gd name="connsiteY2" fmla="*/ 0 h 101571"/>
                <a:gd name="connsiteX3" fmla="*/ 153591 w 153591"/>
                <a:gd name="connsiteY3" fmla="*/ 37681 h 101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3591" h="101571">
                  <a:moveTo>
                    <a:pt x="5923" y="101571"/>
                  </a:moveTo>
                  <a:lnTo>
                    <a:pt x="0" y="93369"/>
                  </a:lnTo>
                  <a:lnTo>
                    <a:pt x="99231" y="0"/>
                  </a:lnTo>
                  <a:lnTo>
                    <a:pt x="153591" y="3768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6" name="Forme libre : forme 2415">
              <a:extLst>
                <a:ext uri="{FF2B5EF4-FFF2-40B4-BE49-F238E27FC236}">
                  <a16:creationId xmlns:a16="http://schemas.microsoft.com/office/drawing/2014/main" id="{12A1F00F-33E4-4350-8E47-D86011A73F70}"/>
                </a:ext>
              </a:extLst>
            </p:cNvPr>
            <p:cNvSpPr/>
            <p:nvPr/>
          </p:nvSpPr>
          <p:spPr>
            <a:xfrm rot="8716295">
              <a:off x="4835281" y="4967476"/>
              <a:ext cx="151182" cy="195874"/>
            </a:xfrm>
            <a:custGeom>
              <a:avLst/>
              <a:gdLst>
                <a:gd name="connsiteX0" fmla="*/ 90709 w 151182"/>
                <a:gd name="connsiteY0" fmla="*/ 195874 h 195874"/>
                <a:gd name="connsiteX1" fmla="*/ 47847 w 151182"/>
                <a:gd name="connsiteY1" fmla="*/ 116129 h 195874"/>
                <a:gd name="connsiteX2" fmla="*/ 69777 w 151182"/>
                <a:gd name="connsiteY2" fmla="*/ 55323 h 195874"/>
                <a:gd name="connsiteX3" fmla="*/ 0 w 151182"/>
                <a:gd name="connsiteY3" fmla="*/ 55323 h 195874"/>
                <a:gd name="connsiteX4" fmla="*/ 0 w 151182"/>
                <a:gd name="connsiteY4" fmla="*/ 0 h 195874"/>
                <a:gd name="connsiteX5" fmla="*/ 71369 w 151182"/>
                <a:gd name="connsiteY5" fmla="*/ 0 h 195874"/>
                <a:gd name="connsiteX6" fmla="*/ 151182 w 151182"/>
                <a:gd name="connsiteY6" fmla="*/ 55323 h 195874"/>
                <a:gd name="connsiteX7" fmla="*/ 139055 w 151182"/>
                <a:gd name="connsiteY7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1182" h="195874">
                  <a:moveTo>
                    <a:pt x="90709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71369" y="0"/>
                  </a:lnTo>
                  <a:lnTo>
                    <a:pt x="151182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7" name="Forme libre : forme 2416">
              <a:extLst>
                <a:ext uri="{FF2B5EF4-FFF2-40B4-BE49-F238E27FC236}">
                  <a16:creationId xmlns:a16="http://schemas.microsoft.com/office/drawing/2014/main" id="{DC1C692C-2D66-4299-8775-AC821C8B995E}"/>
                </a:ext>
              </a:extLst>
            </p:cNvPr>
            <p:cNvSpPr/>
            <p:nvPr/>
          </p:nvSpPr>
          <p:spPr>
            <a:xfrm rot="8716295">
              <a:off x="4779766" y="484378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8" name="Forme libre : forme 2417">
              <a:extLst>
                <a:ext uri="{FF2B5EF4-FFF2-40B4-BE49-F238E27FC236}">
                  <a16:creationId xmlns:a16="http://schemas.microsoft.com/office/drawing/2014/main" id="{E6D77D73-3B42-4B2B-93BD-3B3DC93A2BC2}"/>
                </a:ext>
              </a:extLst>
            </p:cNvPr>
            <p:cNvSpPr/>
            <p:nvPr/>
          </p:nvSpPr>
          <p:spPr>
            <a:xfrm rot="8716295">
              <a:off x="5318054" y="485254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9" name="Forme libre : forme 2418">
              <a:extLst>
                <a:ext uri="{FF2B5EF4-FFF2-40B4-BE49-F238E27FC236}">
                  <a16:creationId xmlns:a16="http://schemas.microsoft.com/office/drawing/2014/main" id="{8B7FAF70-1022-4D25-AC9C-9716E663F64F}"/>
                </a:ext>
              </a:extLst>
            </p:cNvPr>
            <p:cNvSpPr/>
            <p:nvPr/>
          </p:nvSpPr>
          <p:spPr>
            <a:xfrm rot="8716295">
              <a:off x="5407622" y="4885251"/>
              <a:ext cx="236069" cy="254774"/>
            </a:xfrm>
            <a:custGeom>
              <a:avLst/>
              <a:gdLst>
                <a:gd name="connsiteX0" fmla="*/ 26920 w 236069"/>
                <a:gd name="connsiteY0" fmla="*/ 254774 h 254774"/>
                <a:gd name="connsiteX1" fmla="*/ 26920 w 236069"/>
                <a:gd name="connsiteY1" fmla="*/ 45624 h 254774"/>
                <a:gd name="connsiteX2" fmla="*/ 0 w 236069"/>
                <a:gd name="connsiteY2" fmla="*/ 45624 h 254774"/>
                <a:gd name="connsiteX3" fmla="*/ 36558 w 236069"/>
                <a:gd name="connsiteY3" fmla="*/ 1425 h 254774"/>
                <a:gd name="connsiteX4" fmla="*/ 80233 w 236069"/>
                <a:gd name="connsiteY4" fmla="*/ 1425 h 254774"/>
                <a:gd name="connsiteX5" fmla="*/ 80233 w 236069"/>
                <a:gd name="connsiteY5" fmla="*/ 75242 h 254774"/>
                <a:gd name="connsiteX6" fmla="*/ 81599 w 236069"/>
                <a:gd name="connsiteY6" fmla="*/ 75242 h 254774"/>
                <a:gd name="connsiteX7" fmla="*/ 129444 w 236069"/>
                <a:gd name="connsiteY7" fmla="*/ 5981 h 254774"/>
                <a:gd name="connsiteX8" fmla="*/ 160885 w 236069"/>
                <a:gd name="connsiteY8" fmla="*/ 57 h 254774"/>
                <a:gd name="connsiteX9" fmla="*/ 165106 w 236069"/>
                <a:gd name="connsiteY9" fmla="*/ 791 h 254774"/>
                <a:gd name="connsiteX10" fmla="*/ 227336 w 236069"/>
                <a:gd name="connsiteY10" fmla="*/ 43927 h 254774"/>
                <a:gd name="connsiteX11" fmla="*/ 230922 w 236069"/>
                <a:gd name="connsiteY11" fmla="*/ 50679 h 254774"/>
                <a:gd name="connsiteX12" fmla="*/ 236069 w 236069"/>
                <a:gd name="connsiteY12" fmla="*/ 88456 h 254774"/>
                <a:gd name="connsiteX13" fmla="*/ 236069 w 236069"/>
                <a:gd name="connsiteY13" fmla="*/ 94380 h 254774"/>
                <a:gd name="connsiteX14" fmla="*/ 174099 w 236069"/>
                <a:gd name="connsiteY14" fmla="*/ 98025 h 254774"/>
                <a:gd name="connsiteX15" fmla="*/ 174099 w 236069"/>
                <a:gd name="connsiteY15" fmla="*/ 81621 h 254774"/>
                <a:gd name="connsiteX16" fmla="*/ 140380 w 236069"/>
                <a:gd name="connsiteY16" fmla="*/ 40156 h 254774"/>
                <a:gd name="connsiteX17" fmla="*/ 87068 w 236069"/>
                <a:gd name="connsiteY17" fmla="*/ 127643 h 254774"/>
                <a:gd name="connsiteX18" fmla="*/ 87068 w 236069"/>
                <a:gd name="connsiteY18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36069" h="254774">
                  <a:moveTo>
                    <a:pt x="26920" y="254774"/>
                  </a:moveTo>
                  <a:lnTo>
                    <a:pt x="26920" y="45624"/>
                  </a:lnTo>
                  <a:lnTo>
                    <a:pt x="0" y="45624"/>
                  </a:lnTo>
                  <a:lnTo>
                    <a:pt x="36558" y="1425"/>
                  </a:lnTo>
                  <a:lnTo>
                    <a:pt x="80233" y="1425"/>
                  </a:lnTo>
                  <a:lnTo>
                    <a:pt x="80233" y="75242"/>
                  </a:lnTo>
                  <a:lnTo>
                    <a:pt x="81599" y="75242"/>
                  </a:lnTo>
                  <a:cubicBezTo>
                    <a:pt x="96181" y="31954"/>
                    <a:pt x="107572" y="15095"/>
                    <a:pt x="129444" y="5981"/>
                  </a:cubicBezTo>
                  <a:cubicBezTo>
                    <a:pt x="139469" y="1880"/>
                    <a:pt x="149949" y="-398"/>
                    <a:pt x="160885" y="57"/>
                  </a:cubicBezTo>
                  <a:lnTo>
                    <a:pt x="165106" y="791"/>
                  </a:lnTo>
                  <a:lnTo>
                    <a:pt x="227336" y="43927"/>
                  </a:lnTo>
                  <a:lnTo>
                    <a:pt x="230922" y="50679"/>
                  </a:lnTo>
                  <a:cubicBezTo>
                    <a:pt x="234303" y="61686"/>
                    <a:pt x="236069" y="74331"/>
                    <a:pt x="236069" y="88456"/>
                  </a:cubicBezTo>
                  <a:lnTo>
                    <a:pt x="236069" y="94380"/>
                  </a:lnTo>
                  <a:lnTo>
                    <a:pt x="174099" y="98025"/>
                  </a:lnTo>
                  <a:lnTo>
                    <a:pt x="174099" y="81621"/>
                  </a:lnTo>
                  <a:cubicBezTo>
                    <a:pt x="174099" y="57016"/>
                    <a:pt x="159974" y="40156"/>
                    <a:pt x="140380" y="40156"/>
                  </a:cubicBezTo>
                  <a:cubicBezTo>
                    <a:pt x="111218" y="40156"/>
                    <a:pt x="87068" y="78887"/>
                    <a:pt x="87068" y="127643"/>
                  </a:cubicBezTo>
                  <a:lnTo>
                    <a:pt x="87068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0" name="Forme libre : forme 2419">
              <a:extLst>
                <a:ext uri="{FF2B5EF4-FFF2-40B4-BE49-F238E27FC236}">
                  <a16:creationId xmlns:a16="http://schemas.microsoft.com/office/drawing/2014/main" id="{27602E58-FD35-4CD6-BDF7-ECF90C52F91B}"/>
                </a:ext>
              </a:extLst>
            </p:cNvPr>
            <p:cNvSpPr/>
            <p:nvPr/>
          </p:nvSpPr>
          <p:spPr>
            <a:xfrm rot="8716295">
              <a:off x="5205820" y="494108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1" name="Forme libre : forme 2420">
              <a:extLst>
                <a:ext uri="{FF2B5EF4-FFF2-40B4-BE49-F238E27FC236}">
                  <a16:creationId xmlns:a16="http://schemas.microsoft.com/office/drawing/2014/main" id="{CBCC54CA-829A-46B5-B9CA-D3D424638857}"/>
                </a:ext>
              </a:extLst>
            </p:cNvPr>
            <p:cNvSpPr/>
            <p:nvPr/>
          </p:nvSpPr>
          <p:spPr>
            <a:xfrm rot="8716295">
              <a:off x="5080918" y="473241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2" name="Forme libre : forme 2421">
              <a:extLst>
                <a:ext uri="{FF2B5EF4-FFF2-40B4-BE49-F238E27FC236}">
                  <a16:creationId xmlns:a16="http://schemas.microsoft.com/office/drawing/2014/main" id="{9CF4BAC4-4A9A-4E71-B1AD-94CDB63497C4}"/>
                </a:ext>
              </a:extLst>
            </p:cNvPr>
            <p:cNvSpPr/>
            <p:nvPr/>
          </p:nvSpPr>
          <p:spPr>
            <a:xfrm rot="8716295">
              <a:off x="5289767" y="4983528"/>
              <a:ext cx="103436" cy="207956"/>
            </a:xfrm>
            <a:custGeom>
              <a:avLst/>
              <a:gdLst>
                <a:gd name="connsiteX0" fmla="*/ 0 w 103436"/>
                <a:gd name="connsiteY0" fmla="*/ 5185 h 207956"/>
                <a:gd name="connsiteX1" fmla="*/ 0 w 103436"/>
                <a:gd name="connsiteY1" fmla="*/ 0 h 207956"/>
                <a:gd name="connsiteX2" fmla="*/ 7480 w 103436"/>
                <a:gd name="connsiteY2" fmla="*/ 5185 h 207956"/>
                <a:gd name="connsiteX3" fmla="*/ 103436 w 103436"/>
                <a:gd name="connsiteY3" fmla="*/ 207956 h 207956"/>
                <a:gd name="connsiteX4" fmla="*/ 43288 w 103436"/>
                <a:gd name="connsiteY4" fmla="*/ 150086 h 207956"/>
                <a:gd name="connsiteX5" fmla="*/ 43288 w 103436"/>
                <a:gd name="connsiteY5" fmla="*/ 30006 h 207956"/>
                <a:gd name="connsiteX6" fmla="*/ 103435 w 103436"/>
                <a:gd name="connsiteY6" fmla="*/ 71698 h 207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6" h="207956">
                  <a:moveTo>
                    <a:pt x="0" y="5185"/>
                  </a:moveTo>
                  <a:lnTo>
                    <a:pt x="0" y="0"/>
                  </a:lnTo>
                  <a:lnTo>
                    <a:pt x="7480" y="5185"/>
                  </a:lnTo>
                  <a:close/>
                  <a:moveTo>
                    <a:pt x="103436" y="207956"/>
                  </a:moveTo>
                  <a:lnTo>
                    <a:pt x="43288" y="150086"/>
                  </a:lnTo>
                  <a:lnTo>
                    <a:pt x="43288" y="30006"/>
                  </a:lnTo>
                  <a:lnTo>
                    <a:pt x="103435" y="716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3" name="Forme libre : forme 2422">
              <a:extLst>
                <a:ext uri="{FF2B5EF4-FFF2-40B4-BE49-F238E27FC236}">
                  <a16:creationId xmlns:a16="http://schemas.microsoft.com/office/drawing/2014/main" id="{58B97AE7-4DDA-4D02-8FCA-6E107A3309C6}"/>
                </a:ext>
              </a:extLst>
            </p:cNvPr>
            <p:cNvSpPr/>
            <p:nvPr/>
          </p:nvSpPr>
          <p:spPr>
            <a:xfrm rot="8716295">
              <a:off x="5054547" y="483243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4" name="Forme libre : forme 2423">
              <a:extLst>
                <a:ext uri="{FF2B5EF4-FFF2-40B4-BE49-F238E27FC236}">
                  <a16:creationId xmlns:a16="http://schemas.microsoft.com/office/drawing/2014/main" id="{FE870BF4-A4A5-4432-957C-57DF976F1501}"/>
                </a:ext>
              </a:extLst>
            </p:cNvPr>
            <p:cNvSpPr/>
            <p:nvPr/>
          </p:nvSpPr>
          <p:spPr>
            <a:xfrm rot="8716295">
              <a:off x="5627351" y="4851308"/>
              <a:ext cx="84852" cy="94931"/>
            </a:xfrm>
            <a:custGeom>
              <a:avLst/>
              <a:gdLst>
                <a:gd name="connsiteX0" fmla="*/ 0 w 84852"/>
                <a:gd name="connsiteY0" fmla="*/ 84445 h 94931"/>
                <a:gd name="connsiteX1" fmla="*/ 69845 w 84852"/>
                <a:gd name="connsiteY1" fmla="*/ 0 h 94931"/>
                <a:gd name="connsiteX2" fmla="*/ 84852 w 84852"/>
                <a:gd name="connsiteY2" fmla="*/ 35717 h 94931"/>
                <a:gd name="connsiteX3" fmla="*/ 67606 w 84852"/>
                <a:gd name="connsiteY3" fmla="*/ 77454 h 94931"/>
                <a:gd name="connsiteX4" fmla="*/ 26212 w 84852"/>
                <a:gd name="connsiteY4" fmla="*/ 94931 h 9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852" h="94931">
                  <a:moveTo>
                    <a:pt x="0" y="84445"/>
                  </a:moveTo>
                  <a:lnTo>
                    <a:pt x="69845" y="0"/>
                  </a:lnTo>
                  <a:lnTo>
                    <a:pt x="84852" y="35717"/>
                  </a:lnTo>
                  <a:cubicBezTo>
                    <a:pt x="84852" y="50779"/>
                    <a:pt x="79103" y="65956"/>
                    <a:pt x="67606" y="77454"/>
                  </a:cubicBezTo>
                  <a:cubicBezTo>
                    <a:pt x="56567" y="88492"/>
                    <a:pt x="41850" y="94930"/>
                    <a:pt x="26212" y="9493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5" name="Forme libre : forme 2424">
              <a:extLst>
                <a:ext uri="{FF2B5EF4-FFF2-40B4-BE49-F238E27FC236}">
                  <a16:creationId xmlns:a16="http://schemas.microsoft.com/office/drawing/2014/main" id="{D607EAB3-59AD-4F41-8791-D545B48F2ACD}"/>
                </a:ext>
              </a:extLst>
            </p:cNvPr>
            <p:cNvSpPr/>
            <p:nvPr/>
          </p:nvSpPr>
          <p:spPr>
            <a:xfrm rot="8716295">
              <a:off x="5396283" y="487486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6" name="Forme libre : forme 2425">
              <a:extLst>
                <a:ext uri="{FF2B5EF4-FFF2-40B4-BE49-F238E27FC236}">
                  <a16:creationId xmlns:a16="http://schemas.microsoft.com/office/drawing/2014/main" id="{3495DB46-32FD-4610-BD6C-D77CD1DF61F5}"/>
                </a:ext>
              </a:extLst>
            </p:cNvPr>
            <p:cNvSpPr/>
            <p:nvPr/>
          </p:nvSpPr>
          <p:spPr>
            <a:xfrm rot="8716295">
              <a:off x="5573735" y="47156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7" name="Forme libre : forme 2426">
              <a:extLst>
                <a:ext uri="{FF2B5EF4-FFF2-40B4-BE49-F238E27FC236}">
                  <a16:creationId xmlns:a16="http://schemas.microsoft.com/office/drawing/2014/main" id="{01864176-04A7-44D1-983B-1731250E407D}"/>
                </a:ext>
              </a:extLst>
            </p:cNvPr>
            <p:cNvSpPr/>
            <p:nvPr/>
          </p:nvSpPr>
          <p:spPr>
            <a:xfrm rot="8716295">
              <a:off x="4584270" y="378201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8" name="Forme libre : forme 2427">
              <a:extLst>
                <a:ext uri="{FF2B5EF4-FFF2-40B4-BE49-F238E27FC236}">
                  <a16:creationId xmlns:a16="http://schemas.microsoft.com/office/drawing/2014/main" id="{EED535F0-5180-4A4A-8891-7B62A3620DCB}"/>
                </a:ext>
              </a:extLst>
            </p:cNvPr>
            <p:cNvSpPr/>
            <p:nvPr/>
          </p:nvSpPr>
          <p:spPr>
            <a:xfrm rot="8716295">
              <a:off x="4673662" y="381126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9" name="Forme libre : forme 2428">
              <a:extLst>
                <a:ext uri="{FF2B5EF4-FFF2-40B4-BE49-F238E27FC236}">
                  <a16:creationId xmlns:a16="http://schemas.microsoft.com/office/drawing/2014/main" id="{57308AA9-0745-47A5-BC96-5FDF43BB9731}"/>
                </a:ext>
              </a:extLst>
            </p:cNvPr>
            <p:cNvSpPr/>
            <p:nvPr/>
          </p:nvSpPr>
          <p:spPr>
            <a:xfrm rot="8716295">
              <a:off x="4628812" y="3724981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0" name="Forme libre : forme 2429">
              <a:extLst>
                <a:ext uri="{FF2B5EF4-FFF2-40B4-BE49-F238E27FC236}">
                  <a16:creationId xmlns:a16="http://schemas.microsoft.com/office/drawing/2014/main" id="{920DA668-7019-4B80-96A3-4CE3AC64C7BE}"/>
                </a:ext>
              </a:extLst>
            </p:cNvPr>
            <p:cNvSpPr/>
            <p:nvPr/>
          </p:nvSpPr>
          <p:spPr>
            <a:xfrm rot="8716295">
              <a:off x="4472036" y="387056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1" name="Forme libre : forme 2430">
              <a:extLst>
                <a:ext uri="{FF2B5EF4-FFF2-40B4-BE49-F238E27FC236}">
                  <a16:creationId xmlns:a16="http://schemas.microsoft.com/office/drawing/2014/main" id="{031F0637-BE20-4832-B0CA-C99FB5A3149A}"/>
                </a:ext>
              </a:extLst>
            </p:cNvPr>
            <p:cNvSpPr/>
            <p:nvPr/>
          </p:nvSpPr>
          <p:spPr>
            <a:xfrm rot="8716295">
              <a:off x="4347133" y="366189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2" name="Forme libre : forme 2431">
              <a:extLst>
                <a:ext uri="{FF2B5EF4-FFF2-40B4-BE49-F238E27FC236}">
                  <a16:creationId xmlns:a16="http://schemas.microsoft.com/office/drawing/2014/main" id="{84ECF88F-D69F-4F47-ABE5-CFC7EA46DECA}"/>
                </a:ext>
              </a:extLst>
            </p:cNvPr>
            <p:cNvSpPr/>
            <p:nvPr/>
          </p:nvSpPr>
          <p:spPr>
            <a:xfrm rot="8716295">
              <a:off x="4335081" y="3523110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3" name="Forme libre : forme 2432">
              <a:extLst>
                <a:ext uri="{FF2B5EF4-FFF2-40B4-BE49-F238E27FC236}">
                  <a16:creationId xmlns:a16="http://schemas.microsoft.com/office/drawing/2014/main" id="{6CB6C353-AD91-46A6-A469-888E29AF2E49}"/>
                </a:ext>
              </a:extLst>
            </p:cNvPr>
            <p:cNvSpPr/>
            <p:nvPr/>
          </p:nvSpPr>
          <p:spPr>
            <a:xfrm rot="8716295">
              <a:off x="4562214" y="391151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4" name="Forme libre : forme 2433">
              <a:extLst>
                <a:ext uri="{FF2B5EF4-FFF2-40B4-BE49-F238E27FC236}">
                  <a16:creationId xmlns:a16="http://schemas.microsoft.com/office/drawing/2014/main" id="{086DBEB9-E578-4638-AD75-34C69245EF71}"/>
                </a:ext>
              </a:extLst>
            </p:cNvPr>
            <p:cNvSpPr/>
            <p:nvPr/>
          </p:nvSpPr>
          <p:spPr>
            <a:xfrm rot="8716295">
              <a:off x="4873369" y="353186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5" name="Forme libre : forme 2434">
              <a:extLst>
                <a:ext uri="{FF2B5EF4-FFF2-40B4-BE49-F238E27FC236}">
                  <a16:creationId xmlns:a16="http://schemas.microsoft.com/office/drawing/2014/main" id="{7B21A58F-E2F0-4215-B832-76E40C5DF8E5}"/>
                </a:ext>
              </a:extLst>
            </p:cNvPr>
            <p:cNvSpPr/>
            <p:nvPr/>
          </p:nvSpPr>
          <p:spPr>
            <a:xfrm rot="8716295">
              <a:off x="4962761" y="356110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6" name="Forme libre : forme 2435">
              <a:extLst>
                <a:ext uri="{FF2B5EF4-FFF2-40B4-BE49-F238E27FC236}">
                  <a16:creationId xmlns:a16="http://schemas.microsoft.com/office/drawing/2014/main" id="{45DD574A-1455-493E-80D8-5C0865892844}"/>
                </a:ext>
              </a:extLst>
            </p:cNvPr>
            <p:cNvSpPr/>
            <p:nvPr/>
          </p:nvSpPr>
          <p:spPr>
            <a:xfrm rot="8716295">
              <a:off x="4761135" y="362041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7" name="Forme libre : forme 2436">
              <a:extLst>
                <a:ext uri="{FF2B5EF4-FFF2-40B4-BE49-F238E27FC236}">
                  <a16:creationId xmlns:a16="http://schemas.microsoft.com/office/drawing/2014/main" id="{9402EDF4-6162-47B1-856E-512271BA1E2D}"/>
                </a:ext>
              </a:extLst>
            </p:cNvPr>
            <p:cNvSpPr/>
            <p:nvPr/>
          </p:nvSpPr>
          <p:spPr>
            <a:xfrm rot="8716295">
              <a:off x="4636233" y="341173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8" name="Forme libre : forme 2437">
              <a:extLst>
                <a:ext uri="{FF2B5EF4-FFF2-40B4-BE49-F238E27FC236}">
                  <a16:creationId xmlns:a16="http://schemas.microsoft.com/office/drawing/2014/main" id="{92FD67F1-1911-46B7-864C-A8340E98AEB9}"/>
                </a:ext>
              </a:extLst>
            </p:cNvPr>
            <p:cNvSpPr/>
            <p:nvPr/>
          </p:nvSpPr>
          <p:spPr>
            <a:xfrm rot="8716295">
              <a:off x="4851313" y="3661363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9" name="Forme libre : forme 2438">
              <a:extLst>
                <a:ext uri="{FF2B5EF4-FFF2-40B4-BE49-F238E27FC236}">
                  <a16:creationId xmlns:a16="http://schemas.microsoft.com/office/drawing/2014/main" id="{C0A8B3AB-0A14-466D-B633-33FF584D9D1A}"/>
                </a:ext>
              </a:extLst>
            </p:cNvPr>
            <p:cNvSpPr/>
            <p:nvPr/>
          </p:nvSpPr>
          <p:spPr>
            <a:xfrm rot="8716295">
              <a:off x="4609862" y="3511763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0" name="Forme libre : forme 2439">
              <a:extLst>
                <a:ext uri="{FF2B5EF4-FFF2-40B4-BE49-F238E27FC236}">
                  <a16:creationId xmlns:a16="http://schemas.microsoft.com/office/drawing/2014/main" id="{8537EA03-2CBB-4A82-BFA6-AA68754EFED7}"/>
                </a:ext>
              </a:extLst>
            </p:cNvPr>
            <p:cNvSpPr/>
            <p:nvPr/>
          </p:nvSpPr>
          <p:spPr>
            <a:xfrm rot="7484129">
              <a:off x="4956244" y="385271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1" name="Forme libre : forme 2440">
              <a:extLst>
                <a:ext uri="{FF2B5EF4-FFF2-40B4-BE49-F238E27FC236}">
                  <a16:creationId xmlns:a16="http://schemas.microsoft.com/office/drawing/2014/main" id="{9FFC3DC7-61CE-4979-B4C8-8711407C365B}"/>
                </a:ext>
              </a:extLst>
            </p:cNvPr>
            <p:cNvSpPr/>
            <p:nvPr/>
          </p:nvSpPr>
          <p:spPr>
            <a:xfrm rot="13089394">
              <a:off x="5061064" y="3819248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2" name="Forme libre : forme 2441">
              <a:extLst>
                <a:ext uri="{FF2B5EF4-FFF2-40B4-BE49-F238E27FC236}">
                  <a16:creationId xmlns:a16="http://schemas.microsoft.com/office/drawing/2014/main" id="{F52A3804-13E8-47E1-A267-8A4C6268610A}"/>
                </a:ext>
              </a:extLst>
            </p:cNvPr>
            <p:cNvSpPr/>
            <p:nvPr/>
          </p:nvSpPr>
          <p:spPr>
            <a:xfrm rot="8716295">
              <a:off x="5246649" y="3627567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3" name="Forme libre : forme 2442">
              <a:extLst>
                <a:ext uri="{FF2B5EF4-FFF2-40B4-BE49-F238E27FC236}">
                  <a16:creationId xmlns:a16="http://schemas.microsoft.com/office/drawing/2014/main" id="{DDD8FF0F-2CB2-46E4-B8C1-EC42199A0229}"/>
                </a:ext>
              </a:extLst>
            </p:cNvPr>
            <p:cNvSpPr/>
            <p:nvPr/>
          </p:nvSpPr>
          <p:spPr>
            <a:xfrm rot="8716295">
              <a:off x="5194844" y="352397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4" name="Forme libre : forme 2443">
              <a:extLst>
                <a:ext uri="{FF2B5EF4-FFF2-40B4-BE49-F238E27FC236}">
                  <a16:creationId xmlns:a16="http://schemas.microsoft.com/office/drawing/2014/main" id="{D8E94A73-AA06-4842-9947-539561E205B2}"/>
                </a:ext>
              </a:extLst>
            </p:cNvPr>
            <p:cNvSpPr/>
            <p:nvPr/>
          </p:nvSpPr>
          <p:spPr>
            <a:xfrm rot="8716295">
              <a:off x="4951598" y="355419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5" name="Forme libre : forme 2444">
              <a:extLst>
                <a:ext uri="{FF2B5EF4-FFF2-40B4-BE49-F238E27FC236}">
                  <a16:creationId xmlns:a16="http://schemas.microsoft.com/office/drawing/2014/main" id="{EDBB5EF8-DA90-40F3-98D1-1E640FBD7E9A}"/>
                </a:ext>
              </a:extLst>
            </p:cNvPr>
            <p:cNvSpPr/>
            <p:nvPr/>
          </p:nvSpPr>
          <p:spPr>
            <a:xfrm rot="8716295">
              <a:off x="5129050" y="339495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6" name="Forme libre : forme 2445">
              <a:extLst>
                <a:ext uri="{FF2B5EF4-FFF2-40B4-BE49-F238E27FC236}">
                  <a16:creationId xmlns:a16="http://schemas.microsoft.com/office/drawing/2014/main" id="{D8A526B0-68DE-481E-985D-671F87C10402}"/>
                </a:ext>
              </a:extLst>
            </p:cNvPr>
            <p:cNvSpPr/>
            <p:nvPr/>
          </p:nvSpPr>
          <p:spPr>
            <a:xfrm rot="8716295">
              <a:off x="4807437" y="44417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7" name="Forme libre : forme 2446">
              <a:extLst>
                <a:ext uri="{FF2B5EF4-FFF2-40B4-BE49-F238E27FC236}">
                  <a16:creationId xmlns:a16="http://schemas.microsoft.com/office/drawing/2014/main" id="{DB9E94CC-D6D4-4918-9EB1-055582451735}"/>
                </a:ext>
              </a:extLst>
            </p:cNvPr>
            <p:cNvSpPr/>
            <p:nvPr/>
          </p:nvSpPr>
          <p:spPr>
            <a:xfrm rot="8716295">
              <a:off x="4896829" y="44709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8" name="Forme libre : forme 2447">
              <a:extLst>
                <a:ext uri="{FF2B5EF4-FFF2-40B4-BE49-F238E27FC236}">
                  <a16:creationId xmlns:a16="http://schemas.microsoft.com/office/drawing/2014/main" id="{EC9EC492-D2DC-4705-B9B5-2FDDE3722E25}"/>
                </a:ext>
              </a:extLst>
            </p:cNvPr>
            <p:cNvSpPr/>
            <p:nvPr/>
          </p:nvSpPr>
          <p:spPr>
            <a:xfrm rot="8716295">
              <a:off x="4851979" y="438468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9" name="Forme libre : forme 2448">
              <a:extLst>
                <a:ext uri="{FF2B5EF4-FFF2-40B4-BE49-F238E27FC236}">
                  <a16:creationId xmlns:a16="http://schemas.microsoft.com/office/drawing/2014/main" id="{D5A473EB-0A13-41A3-B50C-E84513EDE777}"/>
                </a:ext>
              </a:extLst>
            </p:cNvPr>
            <p:cNvSpPr/>
            <p:nvPr/>
          </p:nvSpPr>
          <p:spPr>
            <a:xfrm rot="8716295">
              <a:off x="4695203" y="453026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0" name="Forme libre : forme 2449">
              <a:extLst>
                <a:ext uri="{FF2B5EF4-FFF2-40B4-BE49-F238E27FC236}">
                  <a16:creationId xmlns:a16="http://schemas.microsoft.com/office/drawing/2014/main" id="{28534207-0B01-4D67-8256-639FD0A19A07}"/>
                </a:ext>
              </a:extLst>
            </p:cNvPr>
            <p:cNvSpPr/>
            <p:nvPr/>
          </p:nvSpPr>
          <p:spPr>
            <a:xfrm rot="8716295">
              <a:off x="4570300" y="432158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1" name="Forme libre : forme 2450">
              <a:extLst>
                <a:ext uri="{FF2B5EF4-FFF2-40B4-BE49-F238E27FC236}">
                  <a16:creationId xmlns:a16="http://schemas.microsoft.com/office/drawing/2014/main" id="{42E0A2DC-6B50-4104-9147-7FDF1ECA641A}"/>
                </a:ext>
              </a:extLst>
            </p:cNvPr>
            <p:cNvSpPr/>
            <p:nvPr/>
          </p:nvSpPr>
          <p:spPr>
            <a:xfrm rot="8716295">
              <a:off x="4558248" y="4182809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2" name="Forme libre : forme 2451">
              <a:extLst>
                <a:ext uri="{FF2B5EF4-FFF2-40B4-BE49-F238E27FC236}">
                  <a16:creationId xmlns:a16="http://schemas.microsoft.com/office/drawing/2014/main" id="{C48C5EB2-44EB-4793-A40E-83D610E25EAF}"/>
                </a:ext>
              </a:extLst>
            </p:cNvPr>
            <p:cNvSpPr/>
            <p:nvPr/>
          </p:nvSpPr>
          <p:spPr>
            <a:xfrm rot="8716295">
              <a:off x="4785381" y="457121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3" name="Forme libre : forme 2452">
              <a:extLst>
                <a:ext uri="{FF2B5EF4-FFF2-40B4-BE49-F238E27FC236}">
                  <a16:creationId xmlns:a16="http://schemas.microsoft.com/office/drawing/2014/main" id="{53427E3B-CAF6-4BE5-89BB-EA97CC7D5720}"/>
                </a:ext>
              </a:extLst>
            </p:cNvPr>
            <p:cNvSpPr/>
            <p:nvPr/>
          </p:nvSpPr>
          <p:spPr>
            <a:xfrm rot="8716295">
              <a:off x="5096536" y="419156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4" name="Forme libre : forme 2453">
              <a:extLst>
                <a:ext uri="{FF2B5EF4-FFF2-40B4-BE49-F238E27FC236}">
                  <a16:creationId xmlns:a16="http://schemas.microsoft.com/office/drawing/2014/main" id="{8AEC789D-3D32-45E4-BAE9-3572BFC115CC}"/>
                </a:ext>
              </a:extLst>
            </p:cNvPr>
            <p:cNvSpPr/>
            <p:nvPr/>
          </p:nvSpPr>
          <p:spPr>
            <a:xfrm rot="8716295">
              <a:off x="5185928" y="422080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5" name="Forme libre : forme 2454">
              <a:extLst>
                <a:ext uri="{FF2B5EF4-FFF2-40B4-BE49-F238E27FC236}">
                  <a16:creationId xmlns:a16="http://schemas.microsoft.com/office/drawing/2014/main" id="{592ACBFB-A830-4F99-823F-B3C94B334AC4}"/>
                </a:ext>
              </a:extLst>
            </p:cNvPr>
            <p:cNvSpPr/>
            <p:nvPr/>
          </p:nvSpPr>
          <p:spPr>
            <a:xfrm rot="8716295">
              <a:off x="4984302" y="428011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6" name="Forme libre : forme 2455">
              <a:extLst>
                <a:ext uri="{FF2B5EF4-FFF2-40B4-BE49-F238E27FC236}">
                  <a16:creationId xmlns:a16="http://schemas.microsoft.com/office/drawing/2014/main" id="{3CD4BB51-622B-49CC-951B-C526F16097D1}"/>
                </a:ext>
              </a:extLst>
            </p:cNvPr>
            <p:cNvSpPr/>
            <p:nvPr/>
          </p:nvSpPr>
          <p:spPr>
            <a:xfrm rot="8716295">
              <a:off x="4859400" y="407143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7" name="Forme libre : forme 2456">
              <a:extLst>
                <a:ext uri="{FF2B5EF4-FFF2-40B4-BE49-F238E27FC236}">
                  <a16:creationId xmlns:a16="http://schemas.microsoft.com/office/drawing/2014/main" id="{4696620C-FBDE-4684-997F-DB4BCE7B2C8D}"/>
                </a:ext>
              </a:extLst>
            </p:cNvPr>
            <p:cNvSpPr/>
            <p:nvPr/>
          </p:nvSpPr>
          <p:spPr>
            <a:xfrm rot="8716295">
              <a:off x="5074480" y="432106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8" name="Forme libre : forme 2457">
              <a:extLst>
                <a:ext uri="{FF2B5EF4-FFF2-40B4-BE49-F238E27FC236}">
                  <a16:creationId xmlns:a16="http://schemas.microsoft.com/office/drawing/2014/main" id="{4E0A6A49-7396-4F13-A488-756A374C6DCD}"/>
                </a:ext>
              </a:extLst>
            </p:cNvPr>
            <p:cNvSpPr/>
            <p:nvPr/>
          </p:nvSpPr>
          <p:spPr>
            <a:xfrm rot="8716295">
              <a:off x="4833029" y="417146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9" name="Forme libre : forme 2458">
              <a:extLst>
                <a:ext uri="{FF2B5EF4-FFF2-40B4-BE49-F238E27FC236}">
                  <a16:creationId xmlns:a16="http://schemas.microsoft.com/office/drawing/2014/main" id="{931FED33-2848-493C-ADD2-B2912BEC30BE}"/>
                </a:ext>
              </a:extLst>
            </p:cNvPr>
            <p:cNvSpPr/>
            <p:nvPr/>
          </p:nvSpPr>
          <p:spPr>
            <a:xfrm rot="7484129">
              <a:off x="5179411" y="451241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0" name="Forme libre : forme 2459">
              <a:extLst>
                <a:ext uri="{FF2B5EF4-FFF2-40B4-BE49-F238E27FC236}">
                  <a16:creationId xmlns:a16="http://schemas.microsoft.com/office/drawing/2014/main" id="{D65E5AE8-9C98-4BB9-AF28-AFE5AF6633F3}"/>
                </a:ext>
              </a:extLst>
            </p:cNvPr>
            <p:cNvSpPr/>
            <p:nvPr/>
          </p:nvSpPr>
          <p:spPr>
            <a:xfrm rot="13089394">
              <a:off x="5284231" y="4478947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1" name="Forme libre : forme 2460">
              <a:extLst>
                <a:ext uri="{FF2B5EF4-FFF2-40B4-BE49-F238E27FC236}">
                  <a16:creationId xmlns:a16="http://schemas.microsoft.com/office/drawing/2014/main" id="{08897DFC-AD6E-449C-BB97-57B3220AEAF6}"/>
                </a:ext>
              </a:extLst>
            </p:cNvPr>
            <p:cNvSpPr/>
            <p:nvPr/>
          </p:nvSpPr>
          <p:spPr>
            <a:xfrm rot="8716295">
              <a:off x="5469816" y="4287266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2" name="Forme libre : forme 2461">
              <a:extLst>
                <a:ext uri="{FF2B5EF4-FFF2-40B4-BE49-F238E27FC236}">
                  <a16:creationId xmlns:a16="http://schemas.microsoft.com/office/drawing/2014/main" id="{0F22532E-1CE8-4736-88F7-603BA9637076}"/>
                </a:ext>
              </a:extLst>
            </p:cNvPr>
            <p:cNvSpPr/>
            <p:nvPr/>
          </p:nvSpPr>
          <p:spPr>
            <a:xfrm rot="8716295">
              <a:off x="5418011" y="418367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3" name="Forme libre : forme 2462">
              <a:extLst>
                <a:ext uri="{FF2B5EF4-FFF2-40B4-BE49-F238E27FC236}">
                  <a16:creationId xmlns:a16="http://schemas.microsoft.com/office/drawing/2014/main" id="{27FD49AF-531F-4E93-BDF6-7246B96C58D6}"/>
                </a:ext>
              </a:extLst>
            </p:cNvPr>
            <p:cNvSpPr/>
            <p:nvPr/>
          </p:nvSpPr>
          <p:spPr>
            <a:xfrm rot="8716295">
              <a:off x="5174765" y="421389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4" name="Forme libre : forme 2463">
              <a:extLst>
                <a:ext uri="{FF2B5EF4-FFF2-40B4-BE49-F238E27FC236}">
                  <a16:creationId xmlns:a16="http://schemas.microsoft.com/office/drawing/2014/main" id="{90925CD6-FB2D-4337-85BE-A4EB1C9E502F}"/>
                </a:ext>
              </a:extLst>
            </p:cNvPr>
            <p:cNvSpPr/>
            <p:nvPr/>
          </p:nvSpPr>
          <p:spPr>
            <a:xfrm rot="8716295">
              <a:off x="5352217" y="405465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5" name="Forme libre : forme 2464">
              <a:extLst>
                <a:ext uri="{FF2B5EF4-FFF2-40B4-BE49-F238E27FC236}">
                  <a16:creationId xmlns:a16="http://schemas.microsoft.com/office/drawing/2014/main" id="{32FBC2AF-39C6-436F-9E0E-B007DA33E003}"/>
                </a:ext>
              </a:extLst>
            </p:cNvPr>
            <p:cNvSpPr/>
            <p:nvPr/>
          </p:nvSpPr>
          <p:spPr>
            <a:xfrm rot="8716295">
              <a:off x="3920915" y="180295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6" name="Forme libre : forme 2465">
              <a:extLst>
                <a:ext uri="{FF2B5EF4-FFF2-40B4-BE49-F238E27FC236}">
                  <a16:creationId xmlns:a16="http://schemas.microsoft.com/office/drawing/2014/main" id="{643B8C13-9586-4A61-A35D-D9C0BCC8F291}"/>
                </a:ext>
              </a:extLst>
            </p:cNvPr>
            <p:cNvSpPr/>
            <p:nvPr/>
          </p:nvSpPr>
          <p:spPr>
            <a:xfrm rot="8716295">
              <a:off x="4010307" y="183219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7" name="Forme libre : forme 2466">
              <a:extLst>
                <a:ext uri="{FF2B5EF4-FFF2-40B4-BE49-F238E27FC236}">
                  <a16:creationId xmlns:a16="http://schemas.microsoft.com/office/drawing/2014/main" id="{D8623CC6-4FFF-4F4B-A41A-5741A26CA67C}"/>
                </a:ext>
              </a:extLst>
            </p:cNvPr>
            <p:cNvSpPr/>
            <p:nvPr/>
          </p:nvSpPr>
          <p:spPr>
            <a:xfrm rot="8716295">
              <a:off x="3965457" y="174591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8" name="Forme libre : forme 2467">
              <a:extLst>
                <a:ext uri="{FF2B5EF4-FFF2-40B4-BE49-F238E27FC236}">
                  <a16:creationId xmlns:a16="http://schemas.microsoft.com/office/drawing/2014/main" id="{A20E20F7-9952-4E3F-B0AB-212B773351F9}"/>
                </a:ext>
              </a:extLst>
            </p:cNvPr>
            <p:cNvSpPr/>
            <p:nvPr/>
          </p:nvSpPr>
          <p:spPr>
            <a:xfrm rot="8716295">
              <a:off x="3808681" y="189149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9" name="Forme libre : forme 2468">
              <a:extLst>
                <a:ext uri="{FF2B5EF4-FFF2-40B4-BE49-F238E27FC236}">
                  <a16:creationId xmlns:a16="http://schemas.microsoft.com/office/drawing/2014/main" id="{2AFD6358-3EC5-4230-924D-E1FEA2966D71}"/>
                </a:ext>
              </a:extLst>
            </p:cNvPr>
            <p:cNvSpPr/>
            <p:nvPr/>
          </p:nvSpPr>
          <p:spPr>
            <a:xfrm rot="8716295">
              <a:off x="3683778" y="168282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0" name="Forme libre : forme 2469">
              <a:extLst>
                <a:ext uri="{FF2B5EF4-FFF2-40B4-BE49-F238E27FC236}">
                  <a16:creationId xmlns:a16="http://schemas.microsoft.com/office/drawing/2014/main" id="{84C26A7D-16EF-401A-811B-AFBADF98607B}"/>
                </a:ext>
              </a:extLst>
            </p:cNvPr>
            <p:cNvSpPr/>
            <p:nvPr/>
          </p:nvSpPr>
          <p:spPr>
            <a:xfrm rot="8716295">
              <a:off x="3671726" y="1544041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1" name="Forme libre : forme 2470">
              <a:extLst>
                <a:ext uri="{FF2B5EF4-FFF2-40B4-BE49-F238E27FC236}">
                  <a16:creationId xmlns:a16="http://schemas.microsoft.com/office/drawing/2014/main" id="{E31DF341-C027-4798-8A24-45DA22FA4656}"/>
                </a:ext>
              </a:extLst>
            </p:cNvPr>
            <p:cNvSpPr/>
            <p:nvPr/>
          </p:nvSpPr>
          <p:spPr>
            <a:xfrm rot="8716295">
              <a:off x="3898859" y="193244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2" name="Forme libre : forme 2471">
              <a:extLst>
                <a:ext uri="{FF2B5EF4-FFF2-40B4-BE49-F238E27FC236}">
                  <a16:creationId xmlns:a16="http://schemas.microsoft.com/office/drawing/2014/main" id="{C07CF4E5-734D-4A47-8B2E-E99783FFFE58}"/>
                </a:ext>
              </a:extLst>
            </p:cNvPr>
            <p:cNvSpPr/>
            <p:nvPr/>
          </p:nvSpPr>
          <p:spPr>
            <a:xfrm rot="8716295">
              <a:off x="4210014" y="155279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3" name="Forme libre : forme 2472">
              <a:extLst>
                <a:ext uri="{FF2B5EF4-FFF2-40B4-BE49-F238E27FC236}">
                  <a16:creationId xmlns:a16="http://schemas.microsoft.com/office/drawing/2014/main" id="{E9E79472-5318-462A-9222-305605A9A4D4}"/>
                </a:ext>
              </a:extLst>
            </p:cNvPr>
            <p:cNvSpPr/>
            <p:nvPr/>
          </p:nvSpPr>
          <p:spPr>
            <a:xfrm rot="8716295">
              <a:off x="4299406" y="158204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4" name="Forme libre : forme 2473">
              <a:extLst>
                <a:ext uri="{FF2B5EF4-FFF2-40B4-BE49-F238E27FC236}">
                  <a16:creationId xmlns:a16="http://schemas.microsoft.com/office/drawing/2014/main" id="{5AFC5930-3BA6-40B9-BEDC-9757294DA873}"/>
                </a:ext>
              </a:extLst>
            </p:cNvPr>
            <p:cNvSpPr/>
            <p:nvPr/>
          </p:nvSpPr>
          <p:spPr>
            <a:xfrm rot="8716295">
              <a:off x="4097780" y="164134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5" name="Forme libre : forme 2474">
              <a:extLst>
                <a:ext uri="{FF2B5EF4-FFF2-40B4-BE49-F238E27FC236}">
                  <a16:creationId xmlns:a16="http://schemas.microsoft.com/office/drawing/2014/main" id="{7CE20D75-657E-4BF6-A3D6-C548A8B5AD4E}"/>
                </a:ext>
              </a:extLst>
            </p:cNvPr>
            <p:cNvSpPr/>
            <p:nvPr/>
          </p:nvSpPr>
          <p:spPr>
            <a:xfrm rot="8716295">
              <a:off x="3972878" y="143266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6" name="Forme libre : forme 2475">
              <a:extLst>
                <a:ext uri="{FF2B5EF4-FFF2-40B4-BE49-F238E27FC236}">
                  <a16:creationId xmlns:a16="http://schemas.microsoft.com/office/drawing/2014/main" id="{22F97EED-1D2F-4FE7-903C-845B9C0787F0}"/>
                </a:ext>
              </a:extLst>
            </p:cNvPr>
            <p:cNvSpPr/>
            <p:nvPr/>
          </p:nvSpPr>
          <p:spPr>
            <a:xfrm rot="8716295">
              <a:off x="4187958" y="168229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7" name="Forme libre : forme 2476">
              <a:extLst>
                <a:ext uri="{FF2B5EF4-FFF2-40B4-BE49-F238E27FC236}">
                  <a16:creationId xmlns:a16="http://schemas.microsoft.com/office/drawing/2014/main" id="{E84B3060-A813-44DB-B1F9-DF9C67A5CF00}"/>
                </a:ext>
              </a:extLst>
            </p:cNvPr>
            <p:cNvSpPr/>
            <p:nvPr/>
          </p:nvSpPr>
          <p:spPr>
            <a:xfrm rot="8716295">
              <a:off x="3946507" y="153269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8" name="Forme libre : forme 2477">
              <a:extLst>
                <a:ext uri="{FF2B5EF4-FFF2-40B4-BE49-F238E27FC236}">
                  <a16:creationId xmlns:a16="http://schemas.microsoft.com/office/drawing/2014/main" id="{C3852D69-4D29-4A5D-9D92-98A241B0E6D7}"/>
                </a:ext>
              </a:extLst>
            </p:cNvPr>
            <p:cNvSpPr/>
            <p:nvPr/>
          </p:nvSpPr>
          <p:spPr>
            <a:xfrm rot="7484129">
              <a:off x="4292889" y="187364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9" name="Forme libre : forme 2478">
              <a:extLst>
                <a:ext uri="{FF2B5EF4-FFF2-40B4-BE49-F238E27FC236}">
                  <a16:creationId xmlns:a16="http://schemas.microsoft.com/office/drawing/2014/main" id="{3CC45FA5-0E1F-4C45-97A6-41B7652569D0}"/>
                </a:ext>
              </a:extLst>
            </p:cNvPr>
            <p:cNvSpPr/>
            <p:nvPr/>
          </p:nvSpPr>
          <p:spPr>
            <a:xfrm rot="13089394">
              <a:off x="4397709" y="1840179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0" name="Forme libre : forme 2479">
              <a:extLst>
                <a:ext uri="{FF2B5EF4-FFF2-40B4-BE49-F238E27FC236}">
                  <a16:creationId xmlns:a16="http://schemas.microsoft.com/office/drawing/2014/main" id="{BBCDC532-309F-4C5E-BFF5-D7919C8CB1C0}"/>
                </a:ext>
              </a:extLst>
            </p:cNvPr>
            <p:cNvSpPr/>
            <p:nvPr/>
          </p:nvSpPr>
          <p:spPr>
            <a:xfrm rot="8716295">
              <a:off x="4583294" y="164849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1" name="Forme libre : forme 2480">
              <a:extLst>
                <a:ext uri="{FF2B5EF4-FFF2-40B4-BE49-F238E27FC236}">
                  <a16:creationId xmlns:a16="http://schemas.microsoft.com/office/drawing/2014/main" id="{18BE7348-0DDE-4529-8EFC-B0259B20E686}"/>
                </a:ext>
              </a:extLst>
            </p:cNvPr>
            <p:cNvSpPr/>
            <p:nvPr/>
          </p:nvSpPr>
          <p:spPr>
            <a:xfrm rot="8716295">
              <a:off x="4531489" y="154490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2" name="Forme libre : forme 2481">
              <a:extLst>
                <a:ext uri="{FF2B5EF4-FFF2-40B4-BE49-F238E27FC236}">
                  <a16:creationId xmlns:a16="http://schemas.microsoft.com/office/drawing/2014/main" id="{AC55D592-C696-401F-86AE-1F112E213A16}"/>
                </a:ext>
              </a:extLst>
            </p:cNvPr>
            <p:cNvSpPr/>
            <p:nvPr/>
          </p:nvSpPr>
          <p:spPr>
            <a:xfrm rot="8716295">
              <a:off x="4288243" y="157512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3" name="Forme libre : forme 2482">
              <a:extLst>
                <a:ext uri="{FF2B5EF4-FFF2-40B4-BE49-F238E27FC236}">
                  <a16:creationId xmlns:a16="http://schemas.microsoft.com/office/drawing/2014/main" id="{DED9BFFF-B254-42A0-B39E-0F305AD53521}"/>
                </a:ext>
              </a:extLst>
            </p:cNvPr>
            <p:cNvSpPr/>
            <p:nvPr/>
          </p:nvSpPr>
          <p:spPr>
            <a:xfrm rot="8716295">
              <a:off x="4465695" y="141588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4" name="Forme libre : forme 2483">
              <a:extLst>
                <a:ext uri="{FF2B5EF4-FFF2-40B4-BE49-F238E27FC236}">
                  <a16:creationId xmlns:a16="http://schemas.microsoft.com/office/drawing/2014/main" id="{A05B2376-5DD9-4691-A3A2-2B9A6CE6A543}"/>
                </a:ext>
              </a:extLst>
            </p:cNvPr>
            <p:cNvSpPr/>
            <p:nvPr/>
          </p:nvSpPr>
          <p:spPr>
            <a:xfrm rot="8716295">
              <a:off x="3697748" y="114325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5" name="Forme libre : forme 2484">
              <a:extLst>
                <a:ext uri="{FF2B5EF4-FFF2-40B4-BE49-F238E27FC236}">
                  <a16:creationId xmlns:a16="http://schemas.microsoft.com/office/drawing/2014/main" id="{D68DE097-F6FC-4E58-8F02-96B920A7DAAD}"/>
                </a:ext>
              </a:extLst>
            </p:cNvPr>
            <p:cNvSpPr/>
            <p:nvPr/>
          </p:nvSpPr>
          <p:spPr>
            <a:xfrm rot="8716295">
              <a:off x="3787140" y="117249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6" name="Forme libre : forme 2485">
              <a:extLst>
                <a:ext uri="{FF2B5EF4-FFF2-40B4-BE49-F238E27FC236}">
                  <a16:creationId xmlns:a16="http://schemas.microsoft.com/office/drawing/2014/main" id="{3326496F-3251-4001-8C18-B51CE14773DE}"/>
                </a:ext>
              </a:extLst>
            </p:cNvPr>
            <p:cNvSpPr/>
            <p:nvPr/>
          </p:nvSpPr>
          <p:spPr>
            <a:xfrm rot="8716295">
              <a:off x="3742290" y="108621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7" name="Forme libre : forme 2486">
              <a:extLst>
                <a:ext uri="{FF2B5EF4-FFF2-40B4-BE49-F238E27FC236}">
                  <a16:creationId xmlns:a16="http://schemas.microsoft.com/office/drawing/2014/main" id="{7F487E66-40A4-4F91-A574-0C01F31C9534}"/>
                </a:ext>
              </a:extLst>
            </p:cNvPr>
            <p:cNvSpPr/>
            <p:nvPr/>
          </p:nvSpPr>
          <p:spPr>
            <a:xfrm rot="8716295">
              <a:off x="3585514" y="123179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8" name="Forme libre : forme 2487">
              <a:extLst>
                <a:ext uri="{FF2B5EF4-FFF2-40B4-BE49-F238E27FC236}">
                  <a16:creationId xmlns:a16="http://schemas.microsoft.com/office/drawing/2014/main" id="{BF410579-E92D-43D8-957B-88DC03F8AFDC}"/>
                </a:ext>
              </a:extLst>
            </p:cNvPr>
            <p:cNvSpPr/>
            <p:nvPr/>
          </p:nvSpPr>
          <p:spPr>
            <a:xfrm rot="8716295">
              <a:off x="3460611" y="102312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9" name="Forme libre : forme 2488">
              <a:extLst>
                <a:ext uri="{FF2B5EF4-FFF2-40B4-BE49-F238E27FC236}">
                  <a16:creationId xmlns:a16="http://schemas.microsoft.com/office/drawing/2014/main" id="{DE1E32FD-5331-4C1C-9F88-9CC7D2B58F5E}"/>
                </a:ext>
              </a:extLst>
            </p:cNvPr>
            <p:cNvSpPr/>
            <p:nvPr/>
          </p:nvSpPr>
          <p:spPr>
            <a:xfrm rot="8716295">
              <a:off x="3448559" y="88434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0" name="Forme libre : forme 2489">
              <a:extLst>
                <a:ext uri="{FF2B5EF4-FFF2-40B4-BE49-F238E27FC236}">
                  <a16:creationId xmlns:a16="http://schemas.microsoft.com/office/drawing/2014/main" id="{DD459ADD-F84C-47F8-B574-F04ECFFEE719}"/>
                </a:ext>
              </a:extLst>
            </p:cNvPr>
            <p:cNvSpPr/>
            <p:nvPr/>
          </p:nvSpPr>
          <p:spPr>
            <a:xfrm rot="8716295">
              <a:off x="3675692" y="127274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1" name="Forme libre : forme 2490">
              <a:extLst>
                <a:ext uri="{FF2B5EF4-FFF2-40B4-BE49-F238E27FC236}">
                  <a16:creationId xmlns:a16="http://schemas.microsoft.com/office/drawing/2014/main" id="{BA820114-5CD1-4426-8381-FF5B658B7D54}"/>
                </a:ext>
              </a:extLst>
            </p:cNvPr>
            <p:cNvSpPr/>
            <p:nvPr/>
          </p:nvSpPr>
          <p:spPr>
            <a:xfrm rot="8716295">
              <a:off x="3986847" y="89309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2" name="Forme libre : forme 2491">
              <a:extLst>
                <a:ext uri="{FF2B5EF4-FFF2-40B4-BE49-F238E27FC236}">
                  <a16:creationId xmlns:a16="http://schemas.microsoft.com/office/drawing/2014/main" id="{B4B19ED1-A1E0-4F10-910E-E0EB470FCCF2}"/>
                </a:ext>
              </a:extLst>
            </p:cNvPr>
            <p:cNvSpPr/>
            <p:nvPr/>
          </p:nvSpPr>
          <p:spPr>
            <a:xfrm rot="8716295">
              <a:off x="4076239" y="92234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3" name="Forme libre : forme 2492">
              <a:extLst>
                <a:ext uri="{FF2B5EF4-FFF2-40B4-BE49-F238E27FC236}">
                  <a16:creationId xmlns:a16="http://schemas.microsoft.com/office/drawing/2014/main" id="{41CB6FB8-70A5-402D-A8D9-CA772A72066C}"/>
                </a:ext>
              </a:extLst>
            </p:cNvPr>
            <p:cNvSpPr/>
            <p:nvPr/>
          </p:nvSpPr>
          <p:spPr>
            <a:xfrm rot="8716295">
              <a:off x="3874613" y="98164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4" name="Forme libre : forme 2493">
              <a:extLst>
                <a:ext uri="{FF2B5EF4-FFF2-40B4-BE49-F238E27FC236}">
                  <a16:creationId xmlns:a16="http://schemas.microsoft.com/office/drawing/2014/main" id="{0743CC93-1EF5-43EA-846D-CC40A84D5D0A}"/>
                </a:ext>
              </a:extLst>
            </p:cNvPr>
            <p:cNvSpPr/>
            <p:nvPr/>
          </p:nvSpPr>
          <p:spPr>
            <a:xfrm rot="8716295">
              <a:off x="3749711" y="77297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5" name="Forme libre : forme 2494">
              <a:extLst>
                <a:ext uri="{FF2B5EF4-FFF2-40B4-BE49-F238E27FC236}">
                  <a16:creationId xmlns:a16="http://schemas.microsoft.com/office/drawing/2014/main" id="{453E78DE-215E-4FDE-854E-98B3522D8476}"/>
                </a:ext>
              </a:extLst>
            </p:cNvPr>
            <p:cNvSpPr/>
            <p:nvPr/>
          </p:nvSpPr>
          <p:spPr>
            <a:xfrm rot="8716295">
              <a:off x="3964791" y="102259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6" name="Forme libre : forme 2495">
              <a:extLst>
                <a:ext uri="{FF2B5EF4-FFF2-40B4-BE49-F238E27FC236}">
                  <a16:creationId xmlns:a16="http://schemas.microsoft.com/office/drawing/2014/main" id="{903C8E49-403C-45B6-B0A2-C71A3BCFB23E}"/>
                </a:ext>
              </a:extLst>
            </p:cNvPr>
            <p:cNvSpPr/>
            <p:nvPr/>
          </p:nvSpPr>
          <p:spPr>
            <a:xfrm rot="8716295">
              <a:off x="3723340" y="87299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7" name="Forme libre : forme 2496">
              <a:extLst>
                <a:ext uri="{FF2B5EF4-FFF2-40B4-BE49-F238E27FC236}">
                  <a16:creationId xmlns:a16="http://schemas.microsoft.com/office/drawing/2014/main" id="{DA428150-38DA-423B-B597-BE4C3B36B8ED}"/>
                </a:ext>
              </a:extLst>
            </p:cNvPr>
            <p:cNvSpPr/>
            <p:nvPr/>
          </p:nvSpPr>
          <p:spPr>
            <a:xfrm rot="7484129">
              <a:off x="4069722" y="121394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8" name="Forme libre : forme 2497">
              <a:extLst>
                <a:ext uri="{FF2B5EF4-FFF2-40B4-BE49-F238E27FC236}">
                  <a16:creationId xmlns:a16="http://schemas.microsoft.com/office/drawing/2014/main" id="{43E73B67-7353-4638-8D7E-85BE3E803185}"/>
                </a:ext>
              </a:extLst>
            </p:cNvPr>
            <p:cNvSpPr/>
            <p:nvPr/>
          </p:nvSpPr>
          <p:spPr>
            <a:xfrm rot="13089394">
              <a:off x="4174542" y="118048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9" name="Forme libre : forme 2498">
              <a:extLst>
                <a:ext uri="{FF2B5EF4-FFF2-40B4-BE49-F238E27FC236}">
                  <a16:creationId xmlns:a16="http://schemas.microsoft.com/office/drawing/2014/main" id="{4606F1ED-4668-4010-ABAF-1D2A4E2BCE67}"/>
                </a:ext>
              </a:extLst>
            </p:cNvPr>
            <p:cNvSpPr/>
            <p:nvPr/>
          </p:nvSpPr>
          <p:spPr>
            <a:xfrm rot="8716295">
              <a:off x="4360127" y="98879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0" name="Forme libre : forme 2499">
              <a:extLst>
                <a:ext uri="{FF2B5EF4-FFF2-40B4-BE49-F238E27FC236}">
                  <a16:creationId xmlns:a16="http://schemas.microsoft.com/office/drawing/2014/main" id="{8053BC89-A237-4743-AE1F-94011A88DB5F}"/>
                </a:ext>
              </a:extLst>
            </p:cNvPr>
            <p:cNvSpPr/>
            <p:nvPr/>
          </p:nvSpPr>
          <p:spPr>
            <a:xfrm rot="8716295">
              <a:off x="4308322" y="88520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1" name="Forme libre : forme 2500">
              <a:extLst>
                <a:ext uri="{FF2B5EF4-FFF2-40B4-BE49-F238E27FC236}">
                  <a16:creationId xmlns:a16="http://schemas.microsoft.com/office/drawing/2014/main" id="{1BE91312-A210-4744-AFAA-57545498B120}"/>
                </a:ext>
              </a:extLst>
            </p:cNvPr>
            <p:cNvSpPr/>
            <p:nvPr/>
          </p:nvSpPr>
          <p:spPr>
            <a:xfrm rot="8716295">
              <a:off x="4065076" y="91542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2" name="Forme libre : forme 2501">
              <a:extLst>
                <a:ext uri="{FF2B5EF4-FFF2-40B4-BE49-F238E27FC236}">
                  <a16:creationId xmlns:a16="http://schemas.microsoft.com/office/drawing/2014/main" id="{461CD8D7-9872-4A47-8F16-75614AF09DF8}"/>
                </a:ext>
              </a:extLst>
            </p:cNvPr>
            <p:cNvSpPr/>
            <p:nvPr/>
          </p:nvSpPr>
          <p:spPr>
            <a:xfrm rot="8716295">
              <a:off x="4242528" y="75618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3" name="Forme libre : forme 2502">
              <a:extLst>
                <a:ext uri="{FF2B5EF4-FFF2-40B4-BE49-F238E27FC236}">
                  <a16:creationId xmlns:a16="http://schemas.microsoft.com/office/drawing/2014/main" id="{C555A7E1-A287-4B80-9292-3BF85FFF88D7}"/>
                </a:ext>
              </a:extLst>
            </p:cNvPr>
            <p:cNvSpPr/>
            <p:nvPr/>
          </p:nvSpPr>
          <p:spPr>
            <a:xfrm rot="8716295">
              <a:off x="3478809" y="48119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4" name="Forme libre : forme 2503">
              <a:extLst>
                <a:ext uri="{FF2B5EF4-FFF2-40B4-BE49-F238E27FC236}">
                  <a16:creationId xmlns:a16="http://schemas.microsoft.com/office/drawing/2014/main" id="{0940EDF8-F1CB-4BEF-B48A-396B5431ABAD}"/>
                </a:ext>
              </a:extLst>
            </p:cNvPr>
            <p:cNvSpPr/>
            <p:nvPr/>
          </p:nvSpPr>
          <p:spPr>
            <a:xfrm rot="8716295">
              <a:off x="3568201" y="51043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5" name="Forme libre : forme 2504">
              <a:extLst>
                <a:ext uri="{FF2B5EF4-FFF2-40B4-BE49-F238E27FC236}">
                  <a16:creationId xmlns:a16="http://schemas.microsoft.com/office/drawing/2014/main" id="{22A88BBD-C725-49B9-BC83-492EC3CB89E6}"/>
                </a:ext>
              </a:extLst>
            </p:cNvPr>
            <p:cNvSpPr/>
            <p:nvPr/>
          </p:nvSpPr>
          <p:spPr>
            <a:xfrm rot="8716295">
              <a:off x="3523351" y="42415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6" name="Forme libre : forme 2505">
              <a:extLst>
                <a:ext uri="{FF2B5EF4-FFF2-40B4-BE49-F238E27FC236}">
                  <a16:creationId xmlns:a16="http://schemas.microsoft.com/office/drawing/2014/main" id="{4DA445B3-8E0C-4D22-8025-4E5653F0655E}"/>
                </a:ext>
              </a:extLst>
            </p:cNvPr>
            <p:cNvSpPr/>
            <p:nvPr/>
          </p:nvSpPr>
          <p:spPr>
            <a:xfrm rot="8716295">
              <a:off x="3366575" y="56973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7" name="Forme libre : forme 2506">
              <a:extLst>
                <a:ext uri="{FF2B5EF4-FFF2-40B4-BE49-F238E27FC236}">
                  <a16:creationId xmlns:a16="http://schemas.microsoft.com/office/drawing/2014/main" id="{6DEEAB7D-D4C8-4DDC-B7BF-F77A8BB80F8C}"/>
                </a:ext>
              </a:extLst>
            </p:cNvPr>
            <p:cNvSpPr/>
            <p:nvPr/>
          </p:nvSpPr>
          <p:spPr>
            <a:xfrm rot="8716295">
              <a:off x="3241672" y="36106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8" name="Forme libre : forme 2507">
              <a:extLst>
                <a:ext uri="{FF2B5EF4-FFF2-40B4-BE49-F238E27FC236}">
                  <a16:creationId xmlns:a16="http://schemas.microsoft.com/office/drawing/2014/main" id="{199DE347-17F6-461F-B90C-B69AAFA2F910}"/>
                </a:ext>
              </a:extLst>
            </p:cNvPr>
            <p:cNvSpPr/>
            <p:nvPr/>
          </p:nvSpPr>
          <p:spPr>
            <a:xfrm rot="8716295">
              <a:off x="3229620" y="22228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9" name="Forme libre : forme 2508">
              <a:extLst>
                <a:ext uri="{FF2B5EF4-FFF2-40B4-BE49-F238E27FC236}">
                  <a16:creationId xmlns:a16="http://schemas.microsoft.com/office/drawing/2014/main" id="{A01BDA60-4E43-4FBD-82A0-95C77C097A9E}"/>
                </a:ext>
              </a:extLst>
            </p:cNvPr>
            <p:cNvSpPr/>
            <p:nvPr/>
          </p:nvSpPr>
          <p:spPr>
            <a:xfrm rot="8716295">
              <a:off x="3456753" y="61068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0" name="Forme libre : forme 2509">
              <a:extLst>
                <a:ext uri="{FF2B5EF4-FFF2-40B4-BE49-F238E27FC236}">
                  <a16:creationId xmlns:a16="http://schemas.microsoft.com/office/drawing/2014/main" id="{84B2FBB5-B856-485C-83D9-69D2B6498A18}"/>
                </a:ext>
              </a:extLst>
            </p:cNvPr>
            <p:cNvSpPr/>
            <p:nvPr/>
          </p:nvSpPr>
          <p:spPr>
            <a:xfrm rot="8716295">
              <a:off x="3767908" y="23104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1" name="Forme libre : forme 2510">
              <a:extLst>
                <a:ext uri="{FF2B5EF4-FFF2-40B4-BE49-F238E27FC236}">
                  <a16:creationId xmlns:a16="http://schemas.microsoft.com/office/drawing/2014/main" id="{3D0C3739-8DA5-460B-B377-BF5789078C10}"/>
                </a:ext>
              </a:extLst>
            </p:cNvPr>
            <p:cNvSpPr/>
            <p:nvPr/>
          </p:nvSpPr>
          <p:spPr>
            <a:xfrm rot="8716295">
              <a:off x="3857300" y="26028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2" name="Forme libre : forme 2511">
              <a:extLst>
                <a:ext uri="{FF2B5EF4-FFF2-40B4-BE49-F238E27FC236}">
                  <a16:creationId xmlns:a16="http://schemas.microsoft.com/office/drawing/2014/main" id="{971F324A-C797-4A5A-9D42-0FA8C2BA8DAD}"/>
                </a:ext>
              </a:extLst>
            </p:cNvPr>
            <p:cNvSpPr/>
            <p:nvPr/>
          </p:nvSpPr>
          <p:spPr>
            <a:xfrm rot="8716295">
              <a:off x="3655674" y="31958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3" name="Forme libre : forme 2512">
              <a:extLst>
                <a:ext uri="{FF2B5EF4-FFF2-40B4-BE49-F238E27FC236}">
                  <a16:creationId xmlns:a16="http://schemas.microsoft.com/office/drawing/2014/main" id="{8EC218C7-06A4-4CA2-8080-F703AD883CED}"/>
                </a:ext>
              </a:extLst>
            </p:cNvPr>
            <p:cNvSpPr/>
            <p:nvPr/>
          </p:nvSpPr>
          <p:spPr>
            <a:xfrm rot="8716295">
              <a:off x="3530772" y="11091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4" name="Forme libre : forme 2513">
              <a:extLst>
                <a:ext uri="{FF2B5EF4-FFF2-40B4-BE49-F238E27FC236}">
                  <a16:creationId xmlns:a16="http://schemas.microsoft.com/office/drawing/2014/main" id="{65059EE1-7F5D-48ED-B85D-A46423F78D76}"/>
                </a:ext>
              </a:extLst>
            </p:cNvPr>
            <p:cNvSpPr/>
            <p:nvPr/>
          </p:nvSpPr>
          <p:spPr>
            <a:xfrm rot="8716295">
              <a:off x="3745852" y="36053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5" name="Forme libre : forme 2514">
              <a:extLst>
                <a:ext uri="{FF2B5EF4-FFF2-40B4-BE49-F238E27FC236}">
                  <a16:creationId xmlns:a16="http://schemas.microsoft.com/office/drawing/2014/main" id="{512AA149-007C-42E5-90DD-CC3331EEDCF7}"/>
                </a:ext>
              </a:extLst>
            </p:cNvPr>
            <p:cNvSpPr/>
            <p:nvPr/>
          </p:nvSpPr>
          <p:spPr>
            <a:xfrm rot="8716295">
              <a:off x="3504401" y="21093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6" name="Forme libre : forme 2515">
              <a:extLst>
                <a:ext uri="{FF2B5EF4-FFF2-40B4-BE49-F238E27FC236}">
                  <a16:creationId xmlns:a16="http://schemas.microsoft.com/office/drawing/2014/main" id="{23613C77-E0E1-44C1-8EC6-64AC0EEA97B7}"/>
                </a:ext>
              </a:extLst>
            </p:cNvPr>
            <p:cNvSpPr/>
            <p:nvPr/>
          </p:nvSpPr>
          <p:spPr>
            <a:xfrm rot="7484129">
              <a:off x="3850783" y="55188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7" name="Forme libre : forme 2516">
              <a:extLst>
                <a:ext uri="{FF2B5EF4-FFF2-40B4-BE49-F238E27FC236}">
                  <a16:creationId xmlns:a16="http://schemas.microsoft.com/office/drawing/2014/main" id="{AD9CF096-470A-4FB5-8989-86875B5B759F}"/>
                </a:ext>
              </a:extLst>
            </p:cNvPr>
            <p:cNvSpPr/>
            <p:nvPr/>
          </p:nvSpPr>
          <p:spPr>
            <a:xfrm rot="13089394">
              <a:off x="3955603" y="51842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8" name="Forme libre : forme 2517">
              <a:extLst>
                <a:ext uri="{FF2B5EF4-FFF2-40B4-BE49-F238E27FC236}">
                  <a16:creationId xmlns:a16="http://schemas.microsoft.com/office/drawing/2014/main" id="{EDD58B14-9EE6-43DE-AB53-02CE1EFD4AEF}"/>
                </a:ext>
              </a:extLst>
            </p:cNvPr>
            <p:cNvSpPr/>
            <p:nvPr/>
          </p:nvSpPr>
          <p:spPr>
            <a:xfrm rot="8716295">
              <a:off x="4141188" y="32674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9" name="Forme libre : forme 2518">
              <a:extLst>
                <a:ext uri="{FF2B5EF4-FFF2-40B4-BE49-F238E27FC236}">
                  <a16:creationId xmlns:a16="http://schemas.microsoft.com/office/drawing/2014/main" id="{B0126B85-3847-48C1-A04C-7973E77D1EDB}"/>
                </a:ext>
              </a:extLst>
            </p:cNvPr>
            <p:cNvSpPr/>
            <p:nvPr/>
          </p:nvSpPr>
          <p:spPr>
            <a:xfrm rot="8716295">
              <a:off x="4089383" y="22314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0" name="Forme libre : forme 2519">
              <a:extLst>
                <a:ext uri="{FF2B5EF4-FFF2-40B4-BE49-F238E27FC236}">
                  <a16:creationId xmlns:a16="http://schemas.microsoft.com/office/drawing/2014/main" id="{B39FA797-0108-450C-A9FF-E77B30368C8A}"/>
                </a:ext>
              </a:extLst>
            </p:cNvPr>
            <p:cNvSpPr/>
            <p:nvPr/>
          </p:nvSpPr>
          <p:spPr>
            <a:xfrm rot="8716295">
              <a:off x="3846137" y="25336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1" name="Forme libre : forme 2520">
              <a:extLst>
                <a:ext uri="{FF2B5EF4-FFF2-40B4-BE49-F238E27FC236}">
                  <a16:creationId xmlns:a16="http://schemas.microsoft.com/office/drawing/2014/main" id="{E59A0A69-0B8F-4075-9B80-4638F9047ACF}"/>
                </a:ext>
              </a:extLst>
            </p:cNvPr>
            <p:cNvSpPr/>
            <p:nvPr/>
          </p:nvSpPr>
          <p:spPr>
            <a:xfrm rot="8716295">
              <a:off x="4023589" y="9412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2" name="Forme libre : forme 2521">
              <a:extLst>
                <a:ext uri="{FF2B5EF4-FFF2-40B4-BE49-F238E27FC236}">
                  <a16:creationId xmlns:a16="http://schemas.microsoft.com/office/drawing/2014/main" id="{2EFF07EC-89C0-4663-BD43-B2A9421F76C1}"/>
                </a:ext>
              </a:extLst>
            </p:cNvPr>
            <p:cNvSpPr/>
            <p:nvPr/>
          </p:nvSpPr>
          <p:spPr>
            <a:xfrm rot="8716295">
              <a:off x="3298850" y="-42720"/>
              <a:ext cx="123263" cy="85442"/>
            </a:xfrm>
            <a:custGeom>
              <a:avLst/>
              <a:gdLst>
                <a:gd name="connsiteX0" fmla="*/ 123263 w 123263"/>
                <a:gd name="connsiteY0" fmla="*/ 85442 h 85442"/>
                <a:gd name="connsiteX1" fmla="*/ 0 w 123263"/>
                <a:gd name="connsiteY1" fmla="*/ 0 h 85442"/>
                <a:gd name="connsiteX2" fmla="*/ 66305 w 123263"/>
                <a:gd name="connsiteY2" fmla="*/ 0 h 85442"/>
                <a:gd name="connsiteX3" fmla="*/ 123263 w 123263"/>
                <a:gd name="connsiteY3" fmla="*/ 50123 h 85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63" h="85442">
                  <a:moveTo>
                    <a:pt x="123263" y="85442"/>
                  </a:moveTo>
                  <a:lnTo>
                    <a:pt x="0" y="0"/>
                  </a:lnTo>
                  <a:lnTo>
                    <a:pt x="66305" y="0"/>
                  </a:lnTo>
                  <a:cubicBezTo>
                    <a:pt x="103214" y="0"/>
                    <a:pt x="123263" y="15948"/>
                    <a:pt x="123263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3" name="Forme libre : forme 2522">
              <a:extLst>
                <a:ext uri="{FF2B5EF4-FFF2-40B4-BE49-F238E27FC236}">
                  <a16:creationId xmlns:a16="http://schemas.microsoft.com/office/drawing/2014/main" id="{FD4B967E-157B-4EC0-8E14-C729CCFF7879}"/>
                </a:ext>
              </a:extLst>
            </p:cNvPr>
            <p:cNvSpPr/>
            <p:nvPr/>
          </p:nvSpPr>
          <p:spPr>
            <a:xfrm rot="8716295">
              <a:off x="3388166" y="-13722"/>
              <a:ext cx="260639" cy="98025"/>
            </a:xfrm>
            <a:custGeom>
              <a:avLst/>
              <a:gdLst>
                <a:gd name="connsiteX0" fmla="*/ 104802 w 260639"/>
                <a:gd name="connsiteY0" fmla="*/ 74264 h 98025"/>
                <a:gd name="connsiteX1" fmla="*/ 0 w 260639"/>
                <a:gd name="connsiteY1" fmla="*/ 1618 h 98025"/>
                <a:gd name="connsiteX2" fmla="*/ 0 w 260639"/>
                <a:gd name="connsiteY2" fmla="*/ 1425 h 98025"/>
                <a:gd name="connsiteX3" fmla="*/ 104803 w 260639"/>
                <a:gd name="connsiteY3" fmla="*/ 1425 h 98025"/>
                <a:gd name="connsiteX4" fmla="*/ 122123 w 260639"/>
                <a:gd name="connsiteY4" fmla="*/ 86270 h 98025"/>
                <a:gd name="connsiteX5" fmla="*/ 106178 w 260639"/>
                <a:gd name="connsiteY5" fmla="*/ 75218 h 98025"/>
                <a:gd name="connsiteX6" fmla="*/ 116721 w 260639"/>
                <a:gd name="connsiteY6" fmla="*/ 47439 h 98025"/>
                <a:gd name="connsiteX7" fmla="*/ 154014 w 260639"/>
                <a:gd name="connsiteY7" fmla="*/ 5981 h 98025"/>
                <a:gd name="connsiteX8" fmla="*/ 185455 w 260639"/>
                <a:gd name="connsiteY8" fmla="*/ 57 h 98025"/>
                <a:gd name="connsiteX9" fmla="*/ 260639 w 260639"/>
                <a:gd name="connsiteY9" fmla="*/ 88456 h 98025"/>
                <a:gd name="connsiteX10" fmla="*/ 260639 w 260639"/>
                <a:gd name="connsiteY10" fmla="*/ 94380 h 98025"/>
                <a:gd name="connsiteX11" fmla="*/ 198669 w 260639"/>
                <a:gd name="connsiteY11" fmla="*/ 98025 h 98025"/>
                <a:gd name="connsiteX12" fmla="*/ 198669 w 260639"/>
                <a:gd name="connsiteY12" fmla="*/ 81621 h 98025"/>
                <a:gd name="connsiteX13" fmla="*/ 164950 w 260639"/>
                <a:gd name="connsiteY13" fmla="*/ 40156 h 98025"/>
                <a:gd name="connsiteX14" fmla="*/ 127358 w 260639"/>
                <a:gd name="connsiteY14" fmla="*/ 65616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60639" h="98025">
                  <a:moveTo>
                    <a:pt x="104802" y="74264"/>
                  </a:moveTo>
                  <a:lnTo>
                    <a:pt x="0" y="1618"/>
                  </a:lnTo>
                  <a:lnTo>
                    <a:pt x="0" y="1425"/>
                  </a:lnTo>
                  <a:lnTo>
                    <a:pt x="104803" y="1425"/>
                  </a:lnTo>
                  <a:close/>
                  <a:moveTo>
                    <a:pt x="122123" y="86270"/>
                  </a:moveTo>
                  <a:lnTo>
                    <a:pt x="106178" y="75218"/>
                  </a:lnTo>
                  <a:lnTo>
                    <a:pt x="116721" y="47439"/>
                  </a:lnTo>
                  <a:cubicBezTo>
                    <a:pt x="127102" y="24008"/>
                    <a:pt x="137610" y="12816"/>
                    <a:pt x="154014" y="5981"/>
                  </a:cubicBezTo>
                  <a:cubicBezTo>
                    <a:pt x="164038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50369" y="40156"/>
                    <a:pt x="137041" y="49839"/>
                    <a:pt x="127358" y="656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4" name="Forme libre : forme 2523">
              <a:extLst>
                <a:ext uri="{FF2B5EF4-FFF2-40B4-BE49-F238E27FC236}">
                  <a16:creationId xmlns:a16="http://schemas.microsoft.com/office/drawing/2014/main" id="{26F60FD7-190A-4D8F-9670-046678F59C56}"/>
                </a:ext>
              </a:extLst>
            </p:cNvPr>
            <p:cNvSpPr/>
            <p:nvPr/>
          </p:nvSpPr>
          <p:spPr>
            <a:xfrm rot="8716295">
              <a:off x="3234083" y="-5272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5" name="Forme libre : forme 2524">
              <a:extLst>
                <a:ext uri="{FF2B5EF4-FFF2-40B4-BE49-F238E27FC236}">
                  <a16:creationId xmlns:a16="http://schemas.microsoft.com/office/drawing/2014/main" id="{085654F2-7869-4845-81C8-ECDCFADD1D48}"/>
                </a:ext>
              </a:extLst>
            </p:cNvPr>
            <p:cNvSpPr/>
            <p:nvPr/>
          </p:nvSpPr>
          <p:spPr>
            <a:xfrm rot="7484129">
              <a:off x="3672246" y="-18656"/>
              <a:ext cx="154104" cy="104443"/>
            </a:xfrm>
            <a:custGeom>
              <a:avLst/>
              <a:gdLst>
                <a:gd name="connsiteX0" fmla="*/ 72416 w 154104"/>
                <a:gd name="connsiteY0" fmla="*/ 104443 h 104443"/>
                <a:gd name="connsiteX1" fmla="*/ 0 w 154104"/>
                <a:gd name="connsiteY1" fmla="*/ 0 h 104443"/>
                <a:gd name="connsiteX2" fmla="*/ 154104 w 154104"/>
                <a:gd name="connsiteY2" fmla="*/ 0 h 104443"/>
                <a:gd name="connsiteX3" fmla="*/ 154104 w 154104"/>
                <a:gd name="connsiteY3" fmla="*/ 55323 h 104443"/>
                <a:gd name="connsiteX4" fmla="*/ 89312 w 154104"/>
                <a:gd name="connsiteY4" fmla="*/ 55323 h 104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4104" h="104443">
                  <a:moveTo>
                    <a:pt x="72416" y="104443"/>
                  </a:moveTo>
                  <a:lnTo>
                    <a:pt x="0" y="0"/>
                  </a:lnTo>
                  <a:lnTo>
                    <a:pt x="154104" y="0"/>
                  </a:lnTo>
                  <a:lnTo>
                    <a:pt x="154104" y="55323"/>
                  </a:lnTo>
                  <a:lnTo>
                    <a:pt x="89312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6" name="Forme libre : forme 2525">
              <a:extLst>
                <a:ext uri="{FF2B5EF4-FFF2-40B4-BE49-F238E27FC236}">
                  <a16:creationId xmlns:a16="http://schemas.microsoft.com/office/drawing/2014/main" id="{7E176583-6C1C-4FE3-A612-16C14B2CEFC6}"/>
                </a:ext>
              </a:extLst>
            </p:cNvPr>
            <p:cNvSpPr/>
            <p:nvPr/>
          </p:nvSpPr>
          <p:spPr>
            <a:xfrm rot="13089394">
              <a:off x="3884960" y="-47886"/>
              <a:ext cx="84765" cy="281028"/>
            </a:xfrm>
            <a:custGeom>
              <a:avLst/>
              <a:gdLst>
                <a:gd name="connsiteX0" fmla="*/ 84765 w 84765"/>
                <a:gd name="connsiteY0" fmla="*/ 225012 h 281028"/>
                <a:gd name="connsiteX1" fmla="*/ 13471 w 84765"/>
                <a:gd name="connsiteY1" fmla="*/ 281028 h 281028"/>
                <a:gd name="connsiteX2" fmla="*/ 4828 w 84765"/>
                <a:gd name="connsiteY2" fmla="*/ 263963 h 281028"/>
                <a:gd name="connsiteX3" fmla="*/ 0 w 84765"/>
                <a:gd name="connsiteY3" fmla="*/ 206370 h 281028"/>
                <a:gd name="connsiteX4" fmla="*/ 0 w 84765"/>
                <a:gd name="connsiteY4" fmla="*/ 38074 h 281028"/>
                <a:gd name="connsiteX5" fmla="*/ 73388 w 84765"/>
                <a:gd name="connsiteY5" fmla="*/ 0 h 281028"/>
                <a:gd name="connsiteX6" fmla="*/ 74492 w 84765"/>
                <a:gd name="connsiteY6" fmla="*/ 153950 h 281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4765" h="281028">
                  <a:moveTo>
                    <a:pt x="84765" y="225012"/>
                  </a:moveTo>
                  <a:lnTo>
                    <a:pt x="13471" y="281028"/>
                  </a:lnTo>
                  <a:lnTo>
                    <a:pt x="4828" y="263963"/>
                  </a:lnTo>
                  <a:cubicBezTo>
                    <a:pt x="1241" y="248168"/>
                    <a:pt x="0" y="228993"/>
                    <a:pt x="0" y="206370"/>
                  </a:cubicBez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7" name="Forme libre : forme 2526">
              <a:extLst>
                <a:ext uri="{FF2B5EF4-FFF2-40B4-BE49-F238E27FC236}">
                  <a16:creationId xmlns:a16="http://schemas.microsoft.com/office/drawing/2014/main" id="{6411FD51-776E-4AA6-866C-86AC7DDE6B1E}"/>
                </a:ext>
              </a:extLst>
            </p:cNvPr>
            <p:cNvSpPr/>
            <p:nvPr/>
          </p:nvSpPr>
          <p:spPr>
            <a:xfrm rot="8716295">
              <a:off x="5789699" y="1993578"/>
              <a:ext cx="181333" cy="87320"/>
            </a:xfrm>
            <a:custGeom>
              <a:avLst/>
              <a:gdLst>
                <a:gd name="connsiteX0" fmla="*/ 0 w 181333"/>
                <a:gd name="connsiteY0" fmla="*/ 87320 h 87320"/>
                <a:gd name="connsiteX1" fmla="*/ 42309 w 181333"/>
                <a:gd name="connsiteY1" fmla="*/ 36168 h 87320"/>
                <a:gd name="connsiteX2" fmla="*/ 54839 w 181333"/>
                <a:gd name="connsiteY2" fmla="*/ 38831 h 87320"/>
                <a:gd name="connsiteX3" fmla="*/ 107790 w 181333"/>
                <a:gd name="connsiteY3" fmla="*/ 29417 h 87320"/>
                <a:gd name="connsiteX4" fmla="*/ 180157 w 181333"/>
                <a:gd name="connsiteY4" fmla="*/ 0 h 87320"/>
                <a:gd name="connsiteX5" fmla="*/ 181333 w 181333"/>
                <a:gd name="connsiteY5" fmla="*/ 7648 h 87320"/>
                <a:gd name="connsiteX6" fmla="*/ 181333 w 181333"/>
                <a:gd name="connsiteY6" fmla="*/ 13532 h 87320"/>
                <a:gd name="connsiteX7" fmla="*/ 30340 w 181333"/>
                <a:gd name="connsiteY7" fmla="*/ 83361 h 87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333" h="87320">
                  <a:moveTo>
                    <a:pt x="0" y="87320"/>
                  </a:moveTo>
                  <a:lnTo>
                    <a:pt x="42309" y="36168"/>
                  </a:lnTo>
                  <a:lnTo>
                    <a:pt x="54839" y="38831"/>
                  </a:lnTo>
                  <a:cubicBezTo>
                    <a:pt x="73078" y="38242"/>
                    <a:pt x="90728" y="34712"/>
                    <a:pt x="107790" y="29417"/>
                  </a:cubicBezTo>
                  <a:cubicBezTo>
                    <a:pt x="132500" y="21768"/>
                    <a:pt x="156623" y="11767"/>
                    <a:pt x="180157" y="0"/>
                  </a:cubicBezTo>
                  <a:cubicBezTo>
                    <a:pt x="180745" y="2353"/>
                    <a:pt x="181333" y="5295"/>
                    <a:pt x="181333" y="7648"/>
                  </a:cubicBezTo>
                  <a:lnTo>
                    <a:pt x="181333" y="13532"/>
                  </a:lnTo>
                  <a:cubicBezTo>
                    <a:pt x="134560" y="53687"/>
                    <a:pt x="76865" y="74315"/>
                    <a:pt x="30340" y="833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8" name="Forme libre : forme 2527">
              <a:extLst>
                <a:ext uri="{FF2B5EF4-FFF2-40B4-BE49-F238E27FC236}">
                  <a16:creationId xmlns:a16="http://schemas.microsoft.com/office/drawing/2014/main" id="{4016D6BF-E72B-479D-8087-47A81BBF417D}"/>
                </a:ext>
              </a:extLst>
            </p:cNvPr>
            <p:cNvSpPr/>
            <p:nvPr/>
          </p:nvSpPr>
          <p:spPr>
            <a:xfrm rot="8716295">
              <a:off x="5880884" y="1564845"/>
              <a:ext cx="61060" cy="195751"/>
            </a:xfrm>
            <a:custGeom>
              <a:avLst/>
              <a:gdLst>
                <a:gd name="connsiteX0" fmla="*/ 0 w 61060"/>
                <a:gd name="connsiteY0" fmla="*/ 195751 h 195751"/>
                <a:gd name="connsiteX1" fmla="*/ 0 w 61060"/>
                <a:gd name="connsiteY1" fmla="*/ 67520 h 195751"/>
                <a:gd name="connsiteX2" fmla="*/ 55847 w 61060"/>
                <a:gd name="connsiteY2" fmla="*/ 0 h 195751"/>
                <a:gd name="connsiteX3" fmla="*/ 61059 w 61060"/>
                <a:gd name="connsiteY3" fmla="*/ 13486 h 195751"/>
                <a:gd name="connsiteX4" fmla="*/ 61060 w 61060"/>
                <a:gd name="connsiteY4" fmla="*/ 171601 h 195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60" h="195751">
                  <a:moveTo>
                    <a:pt x="0" y="195751"/>
                  </a:moveTo>
                  <a:lnTo>
                    <a:pt x="0" y="67520"/>
                  </a:lnTo>
                  <a:lnTo>
                    <a:pt x="55847" y="0"/>
                  </a:lnTo>
                  <a:lnTo>
                    <a:pt x="61059" y="13486"/>
                  </a:lnTo>
                  <a:lnTo>
                    <a:pt x="61060" y="17160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9" name="Forme libre : forme 2528">
              <a:extLst>
                <a:ext uri="{FF2B5EF4-FFF2-40B4-BE49-F238E27FC236}">
                  <a16:creationId xmlns:a16="http://schemas.microsoft.com/office/drawing/2014/main" id="{C9150DCD-F0A2-40C0-9C18-4806DAE4299B}"/>
                </a:ext>
              </a:extLst>
            </p:cNvPr>
            <p:cNvSpPr/>
            <p:nvPr/>
          </p:nvSpPr>
          <p:spPr>
            <a:xfrm rot="8716295">
              <a:off x="5772692" y="162676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0" name="Forme libre : forme 2529">
              <a:extLst>
                <a:ext uri="{FF2B5EF4-FFF2-40B4-BE49-F238E27FC236}">
                  <a16:creationId xmlns:a16="http://schemas.microsoft.com/office/drawing/2014/main" id="{31E25632-0B2D-4088-97A3-B015DDAB706E}"/>
                </a:ext>
              </a:extLst>
            </p:cNvPr>
            <p:cNvSpPr/>
            <p:nvPr/>
          </p:nvSpPr>
          <p:spPr>
            <a:xfrm rot="8716295">
              <a:off x="5647789" y="141808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1" name="Forme libre : forme 2530">
              <a:extLst>
                <a:ext uri="{FF2B5EF4-FFF2-40B4-BE49-F238E27FC236}">
                  <a16:creationId xmlns:a16="http://schemas.microsoft.com/office/drawing/2014/main" id="{B3255F7B-0F97-465E-93D7-7FA94259C6BD}"/>
                </a:ext>
              </a:extLst>
            </p:cNvPr>
            <p:cNvSpPr/>
            <p:nvPr/>
          </p:nvSpPr>
          <p:spPr>
            <a:xfrm rot="8716295">
              <a:off x="5635737" y="1279309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2" name="Forme libre : forme 2531">
              <a:extLst>
                <a:ext uri="{FF2B5EF4-FFF2-40B4-BE49-F238E27FC236}">
                  <a16:creationId xmlns:a16="http://schemas.microsoft.com/office/drawing/2014/main" id="{DDCFE949-9F0B-4027-A955-7581B115547F}"/>
                </a:ext>
              </a:extLst>
            </p:cNvPr>
            <p:cNvSpPr/>
            <p:nvPr/>
          </p:nvSpPr>
          <p:spPr>
            <a:xfrm rot="8716295">
              <a:off x="5863691" y="1680538"/>
              <a:ext cx="60147" cy="219174"/>
            </a:xfrm>
            <a:custGeom>
              <a:avLst/>
              <a:gdLst>
                <a:gd name="connsiteX0" fmla="*/ 60147 w 60147"/>
                <a:gd name="connsiteY0" fmla="*/ 219174 h 219174"/>
                <a:gd name="connsiteX1" fmla="*/ 0 w 60147"/>
                <a:gd name="connsiteY1" fmla="*/ 161304 h 219174"/>
                <a:gd name="connsiteX2" fmla="*/ 0 w 60147"/>
                <a:gd name="connsiteY2" fmla="*/ 68045 h 219174"/>
                <a:gd name="connsiteX3" fmla="*/ 56210 w 60147"/>
                <a:gd name="connsiteY3" fmla="*/ 87 h 219174"/>
                <a:gd name="connsiteX4" fmla="*/ 60147 w 60147"/>
                <a:gd name="connsiteY4" fmla="*/ 0 h 219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47" h="219174">
                  <a:moveTo>
                    <a:pt x="60147" y="219174"/>
                  </a:moveTo>
                  <a:lnTo>
                    <a:pt x="0" y="161304"/>
                  </a:lnTo>
                  <a:lnTo>
                    <a:pt x="0" y="68045"/>
                  </a:lnTo>
                  <a:lnTo>
                    <a:pt x="56210" y="87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3" name="Forme libre : forme 2532">
              <a:extLst>
                <a:ext uri="{FF2B5EF4-FFF2-40B4-BE49-F238E27FC236}">
                  <a16:creationId xmlns:a16="http://schemas.microsoft.com/office/drawing/2014/main" id="{65DD55AE-558A-4E5E-92F3-6D26BC8FC5C0}"/>
                </a:ext>
              </a:extLst>
            </p:cNvPr>
            <p:cNvSpPr/>
            <p:nvPr/>
          </p:nvSpPr>
          <p:spPr>
            <a:xfrm rot="8716295">
              <a:off x="5910518" y="126796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4" name="Forme libre : forme 2533">
              <a:extLst>
                <a:ext uri="{FF2B5EF4-FFF2-40B4-BE49-F238E27FC236}">
                  <a16:creationId xmlns:a16="http://schemas.microsoft.com/office/drawing/2014/main" id="{0EC05458-5106-4134-90D2-715C795E2923}"/>
                </a:ext>
              </a:extLst>
            </p:cNvPr>
            <p:cNvSpPr/>
            <p:nvPr/>
          </p:nvSpPr>
          <p:spPr>
            <a:xfrm rot="8716295">
              <a:off x="5661759" y="87851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5" name="Forme libre : forme 2534">
              <a:extLst>
                <a:ext uri="{FF2B5EF4-FFF2-40B4-BE49-F238E27FC236}">
                  <a16:creationId xmlns:a16="http://schemas.microsoft.com/office/drawing/2014/main" id="{D057AB63-8011-4BAF-B87B-EAA1065401D7}"/>
                </a:ext>
              </a:extLst>
            </p:cNvPr>
            <p:cNvSpPr/>
            <p:nvPr/>
          </p:nvSpPr>
          <p:spPr>
            <a:xfrm rot="8716295">
              <a:off x="5751943" y="913207"/>
              <a:ext cx="229128" cy="254774"/>
            </a:xfrm>
            <a:custGeom>
              <a:avLst/>
              <a:gdLst>
                <a:gd name="connsiteX0" fmla="*/ 19979 w 229128"/>
                <a:gd name="connsiteY0" fmla="*/ 254774 h 254774"/>
                <a:gd name="connsiteX1" fmla="*/ 19979 w 229128"/>
                <a:gd name="connsiteY1" fmla="*/ 45624 h 254774"/>
                <a:gd name="connsiteX2" fmla="*/ 0 w 229128"/>
                <a:gd name="connsiteY2" fmla="*/ 45624 h 254774"/>
                <a:gd name="connsiteX3" fmla="*/ 36558 w 229128"/>
                <a:gd name="connsiteY3" fmla="*/ 1425 h 254774"/>
                <a:gd name="connsiteX4" fmla="*/ 73292 w 229128"/>
                <a:gd name="connsiteY4" fmla="*/ 1425 h 254774"/>
                <a:gd name="connsiteX5" fmla="*/ 73292 w 229128"/>
                <a:gd name="connsiteY5" fmla="*/ 75242 h 254774"/>
                <a:gd name="connsiteX6" fmla="*/ 74658 w 229128"/>
                <a:gd name="connsiteY6" fmla="*/ 75242 h 254774"/>
                <a:gd name="connsiteX7" fmla="*/ 122503 w 229128"/>
                <a:gd name="connsiteY7" fmla="*/ 5981 h 254774"/>
                <a:gd name="connsiteX8" fmla="*/ 153944 w 229128"/>
                <a:gd name="connsiteY8" fmla="*/ 57 h 254774"/>
                <a:gd name="connsiteX9" fmla="*/ 229128 w 229128"/>
                <a:gd name="connsiteY9" fmla="*/ 88456 h 254774"/>
                <a:gd name="connsiteX10" fmla="*/ 229128 w 229128"/>
                <a:gd name="connsiteY10" fmla="*/ 94380 h 254774"/>
                <a:gd name="connsiteX11" fmla="*/ 167158 w 229128"/>
                <a:gd name="connsiteY11" fmla="*/ 98025 h 254774"/>
                <a:gd name="connsiteX12" fmla="*/ 167158 w 229128"/>
                <a:gd name="connsiteY12" fmla="*/ 81621 h 254774"/>
                <a:gd name="connsiteX13" fmla="*/ 133439 w 229128"/>
                <a:gd name="connsiteY13" fmla="*/ 40156 h 254774"/>
                <a:gd name="connsiteX14" fmla="*/ 80127 w 229128"/>
                <a:gd name="connsiteY14" fmla="*/ 127643 h 254774"/>
                <a:gd name="connsiteX15" fmla="*/ 80127 w 229128"/>
                <a:gd name="connsiteY15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29128" h="254774">
                  <a:moveTo>
                    <a:pt x="19979" y="254774"/>
                  </a:moveTo>
                  <a:lnTo>
                    <a:pt x="19979" y="45624"/>
                  </a:lnTo>
                  <a:lnTo>
                    <a:pt x="0" y="45624"/>
                  </a:lnTo>
                  <a:lnTo>
                    <a:pt x="36558" y="1425"/>
                  </a:lnTo>
                  <a:lnTo>
                    <a:pt x="73292" y="1425"/>
                  </a:lnTo>
                  <a:lnTo>
                    <a:pt x="73292" y="75242"/>
                  </a:lnTo>
                  <a:lnTo>
                    <a:pt x="74658" y="75242"/>
                  </a:lnTo>
                  <a:cubicBezTo>
                    <a:pt x="89240" y="31954"/>
                    <a:pt x="100631" y="15094"/>
                    <a:pt x="122503" y="5981"/>
                  </a:cubicBezTo>
                  <a:cubicBezTo>
                    <a:pt x="132528" y="1880"/>
                    <a:pt x="143008" y="-398"/>
                    <a:pt x="153944" y="57"/>
                  </a:cubicBezTo>
                  <a:cubicBezTo>
                    <a:pt x="200877" y="-854"/>
                    <a:pt x="229128" y="31954"/>
                    <a:pt x="229128" y="88456"/>
                  </a:cubicBezTo>
                  <a:lnTo>
                    <a:pt x="229128" y="94380"/>
                  </a:lnTo>
                  <a:lnTo>
                    <a:pt x="167158" y="98025"/>
                  </a:lnTo>
                  <a:lnTo>
                    <a:pt x="167158" y="81621"/>
                  </a:lnTo>
                  <a:cubicBezTo>
                    <a:pt x="167158" y="57016"/>
                    <a:pt x="153033" y="40156"/>
                    <a:pt x="133439" y="40156"/>
                  </a:cubicBezTo>
                  <a:cubicBezTo>
                    <a:pt x="104277" y="40156"/>
                    <a:pt x="80127" y="78887"/>
                    <a:pt x="80127" y="127643"/>
                  </a:cubicBezTo>
                  <a:lnTo>
                    <a:pt x="80127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6" name="Forme libre : forme 2535">
              <a:extLst>
                <a:ext uri="{FF2B5EF4-FFF2-40B4-BE49-F238E27FC236}">
                  <a16:creationId xmlns:a16="http://schemas.microsoft.com/office/drawing/2014/main" id="{2835F711-6457-4567-BFF6-A0B784C09FC4}"/>
                </a:ext>
              </a:extLst>
            </p:cNvPr>
            <p:cNvSpPr/>
            <p:nvPr/>
          </p:nvSpPr>
          <p:spPr>
            <a:xfrm rot="8716295">
              <a:off x="5706301" y="821481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7" name="Forme libre : forme 2536">
              <a:extLst>
                <a:ext uri="{FF2B5EF4-FFF2-40B4-BE49-F238E27FC236}">
                  <a16:creationId xmlns:a16="http://schemas.microsoft.com/office/drawing/2014/main" id="{09671646-B442-4067-9AA2-DA2D5180E659}"/>
                </a:ext>
              </a:extLst>
            </p:cNvPr>
            <p:cNvSpPr/>
            <p:nvPr/>
          </p:nvSpPr>
          <p:spPr>
            <a:xfrm rot="8716295">
              <a:off x="5549525" y="96706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8" name="Forme libre : forme 2537">
              <a:extLst>
                <a:ext uri="{FF2B5EF4-FFF2-40B4-BE49-F238E27FC236}">
                  <a16:creationId xmlns:a16="http://schemas.microsoft.com/office/drawing/2014/main" id="{A36AF7BA-D17B-4A0F-86BD-D2B1CBD1C700}"/>
                </a:ext>
              </a:extLst>
            </p:cNvPr>
            <p:cNvSpPr/>
            <p:nvPr/>
          </p:nvSpPr>
          <p:spPr>
            <a:xfrm rot="8716295">
              <a:off x="5424622" y="75839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9" name="Forme libre : forme 2538">
              <a:extLst>
                <a:ext uri="{FF2B5EF4-FFF2-40B4-BE49-F238E27FC236}">
                  <a16:creationId xmlns:a16="http://schemas.microsoft.com/office/drawing/2014/main" id="{AF5CCE06-D137-4C0F-9245-A218B9F04135}"/>
                </a:ext>
              </a:extLst>
            </p:cNvPr>
            <p:cNvSpPr/>
            <p:nvPr/>
          </p:nvSpPr>
          <p:spPr>
            <a:xfrm rot="8716295">
              <a:off x="5412570" y="619610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0" name="Forme libre : forme 2539">
              <a:extLst>
                <a:ext uri="{FF2B5EF4-FFF2-40B4-BE49-F238E27FC236}">
                  <a16:creationId xmlns:a16="http://schemas.microsoft.com/office/drawing/2014/main" id="{ED460E8C-C78B-44EF-9945-8FB1024E7269}"/>
                </a:ext>
              </a:extLst>
            </p:cNvPr>
            <p:cNvSpPr/>
            <p:nvPr/>
          </p:nvSpPr>
          <p:spPr>
            <a:xfrm rot="8716295">
              <a:off x="5639703" y="100801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1" name="Forme libre : forme 2540">
              <a:extLst>
                <a:ext uri="{FF2B5EF4-FFF2-40B4-BE49-F238E27FC236}">
                  <a16:creationId xmlns:a16="http://schemas.microsoft.com/office/drawing/2014/main" id="{44797871-BF4A-4658-8B0F-C75DE4AC12D4}"/>
                </a:ext>
              </a:extLst>
            </p:cNvPr>
            <p:cNvSpPr/>
            <p:nvPr/>
          </p:nvSpPr>
          <p:spPr>
            <a:xfrm rot="8716295">
              <a:off x="5950315" y="653899"/>
              <a:ext cx="61060" cy="208036"/>
            </a:xfrm>
            <a:custGeom>
              <a:avLst/>
              <a:gdLst>
                <a:gd name="connsiteX0" fmla="*/ 0 w 61060"/>
                <a:gd name="connsiteY0" fmla="*/ 208036 h 208036"/>
                <a:gd name="connsiteX1" fmla="*/ 1 w 61060"/>
                <a:gd name="connsiteY1" fmla="*/ 61780 h 208036"/>
                <a:gd name="connsiteX2" fmla="*/ 51100 w 61060"/>
                <a:gd name="connsiteY2" fmla="*/ 0 h 208036"/>
                <a:gd name="connsiteX3" fmla="*/ 61059 w 61060"/>
                <a:gd name="connsiteY3" fmla="*/ 25771 h 208036"/>
                <a:gd name="connsiteX4" fmla="*/ 61060 w 61060"/>
                <a:gd name="connsiteY4" fmla="*/ 183886 h 208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60" h="208036">
                  <a:moveTo>
                    <a:pt x="0" y="208036"/>
                  </a:moveTo>
                  <a:lnTo>
                    <a:pt x="1" y="61780"/>
                  </a:lnTo>
                  <a:lnTo>
                    <a:pt x="51100" y="0"/>
                  </a:lnTo>
                  <a:lnTo>
                    <a:pt x="61059" y="25771"/>
                  </a:lnTo>
                  <a:lnTo>
                    <a:pt x="61060" y="18388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2" name="Forme libre : forme 2541">
              <a:extLst>
                <a:ext uri="{FF2B5EF4-FFF2-40B4-BE49-F238E27FC236}">
                  <a16:creationId xmlns:a16="http://schemas.microsoft.com/office/drawing/2014/main" id="{1F8AF864-43AC-4DF3-8966-C8908B7A01D3}"/>
                </a:ext>
              </a:extLst>
            </p:cNvPr>
            <p:cNvSpPr/>
            <p:nvPr/>
          </p:nvSpPr>
          <p:spPr>
            <a:xfrm rot="8716295">
              <a:off x="5838624" y="71691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3" name="Forme libre : forme 2542">
              <a:extLst>
                <a:ext uri="{FF2B5EF4-FFF2-40B4-BE49-F238E27FC236}">
                  <a16:creationId xmlns:a16="http://schemas.microsoft.com/office/drawing/2014/main" id="{A5452EDF-F2D0-4EB5-B794-A8063E26BBF7}"/>
                </a:ext>
              </a:extLst>
            </p:cNvPr>
            <p:cNvSpPr/>
            <p:nvPr/>
          </p:nvSpPr>
          <p:spPr>
            <a:xfrm rot="8716295">
              <a:off x="5713722" y="50823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4" name="Forme libre : forme 2543">
              <a:extLst>
                <a:ext uri="{FF2B5EF4-FFF2-40B4-BE49-F238E27FC236}">
                  <a16:creationId xmlns:a16="http://schemas.microsoft.com/office/drawing/2014/main" id="{1AC7FCE0-D551-4D48-B54B-39B8C83CD6FF}"/>
                </a:ext>
              </a:extLst>
            </p:cNvPr>
            <p:cNvSpPr/>
            <p:nvPr/>
          </p:nvSpPr>
          <p:spPr>
            <a:xfrm rot="8716295">
              <a:off x="5929622" y="770687"/>
              <a:ext cx="60148" cy="219175"/>
            </a:xfrm>
            <a:custGeom>
              <a:avLst/>
              <a:gdLst>
                <a:gd name="connsiteX0" fmla="*/ 60148 w 60148"/>
                <a:gd name="connsiteY0" fmla="*/ 219175 h 219175"/>
                <a:gd name="connsiteX1" fmla="*/ 0 w 60148"/>
                <a:gd name="connsiteY1" fmla="*/ 161305 h 219175"/>
                <a:gd name="connsiteX2" fmla="*/ 0 w 60148"/>
                <a:gd name="connsiteY2" fmla="*/ 50021 h 219175"/>
                <a:gd name="connsiteX3" fmla="*/ 41025 w 60148"/>
                <a:gd name="connsiteY3" fmla="*/ 421 h 219175"/>
                <a:gd name="connsiteX4" fmla="*/ 60147 w 60148"/>
                <a:gd name="connsiteY4" fmla="*/ 0 h 219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48" h="219175">
                  <a:moveTo>
                    <a:pt x="60148" y="219175"/>
                  </a:moveTo>
                  <a:lnTo>
                    <a:pt x="0" y="161305"/>
                  </a:lnTo>
                  <a:lnTo>
                    <a:pt x="0" y="50021"/>
                  </a:lnTo>
                  <a:lnTo>
                    <a:pt x="41025" y="421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5" name="Forme libre : forme 2544">
              <a:extLst>
                <a:ext uri="{FF2B5EF4-FFF2-40B4-BE49-F238E27FC236}">
                  <a16:creationId xmlns:a16="http://schemas.microsoft.com/office/drawing/2014/main" id="{528E3663-F822-4A22-A3E4-0940AC0A021C}"/>
                </a:ext>
              </a:extLst>
            </p:cNvPr>
            <p:cNvSpPr/>
            <p:nvPr/>
          </p:nvSpPr>
          <p:spPr>
            <a:xfrm rot="8716295">
              <a:off x="5687351" y="608263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6" name="Forme libre : forme 2545">
              <a:extLst>
                <a:ext uri="{FF2B5EF4-FFF2-40B4-BE49-F238E27FC236}">
                  <a16:creationId xmlns:a16="http://schemas.microsoft.com/office/drawing/2014/main" id="{1D9FE5D3-D3BA-4384-A368-415E7F501305}"/>
                </a:ext>
              </a:extLst>
            </p:cNvPr>
            <p:cNvSpPr/>
            <p:nvPr/>
          </p:nvSpPr>
          <p:spPr>
            <a:xfrm rot="8716295">
              <a:off x="6020907" y="657792"/>
              <a:ext cx="32038" cy="36361"/>
            </a:xfrm>
            <a:custGeom>
              <a:avLst/>
              <a:gdLst>
                <a:gd name="connsiteX0" fmla="*/ 0 w 32038"/>
                <a:gd name="connsiteY0" fmla="*/ 35166 h 36361"/>
                <a:gd name="connsiteX1" fmla="*/ 29086 w 32038"/>
                <a:gd name="connsiteY1" fmla="*/ 0 h 36361"/>
                <a:gd name="connsiteX2" fmla="*/ 32038 w 32038"/>
                <a:gd name="connsiteY2" fmla="*/ 7028 h 36361"/>
                <a:gd name="connsiteX3" fmla="*/ 23495 w 32038"/>
                <a:gd name="connsiteY3" fmla="*/ 27704 h 36361"/>
                <a:gd name="connsiteX4" fmla="*/ 2990 w 32038"/>
                <a:gd name="connsiteY4" fmla="*/ 36361 h 36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038" h="36361">
                  <a:moveTo>
                    <a:pt x="0" y="35166"/>
                  </a:moveTo>
                  <a:lnTo>
                    <a:pt x="29086" y="0"/>
                  </a:lnTo>
                  <a:lnTo>
                    <a:pt x="32038" y="7028"/>
                  </a:lnTo>
                  <a:cubicBezTo>
                    <a:pt x="32039" y="14489"/>
                    <a:pt x="29191" y="22008"/>
                    <a:pt x="23495" y="27704"/>
                  </a:cubicBezTo>
                  <a:cubicBezTo>
                    <a:pt x="18027" y="33172"/>
                    <a:pt x="10736" y="36361"/>
                    <a:pt x="2990" y="363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7" name="Forme libre : forme 2546">
              <a:extLst>
                <a:ext uri="{FF2B5EF4-FFF2-40B4-BE49-F238E27FC236}">
                  <a16:creationId xmlns:a16="http://schemas.microsoft.com/office/drawing/2014/main" id="{74B385B7-490F-4B64-8CDD-005D25D28D6D}"/>
                </a:ext>
              </a:extLst>
            </p:cNvPr>
            <p:cNvSpPr/>
            <p:nvPr/>
          </p:nvSpPr>
          <p:spPr>
            <a:xfrm rot="8716295">
              <a:off x="5442820" y="21646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8" name="Forme libre : forme 2547">
              <a:extLst>
                <a:ext uri="{FF2B5EF4-FFF2-40B4-BE49-F238E27FC236}">
                  <a16:creationId xmlns:a16="http://schemas.microsoft.com/office/drawing/2014/main" id="{00A5BEA9-8E4C-4D3C-A9D9-E06E091E430D}"/>
                </a:ext>
              </a:extLst>
            </p:cNvPr>
            <p:cNvSpPr/>
            <p:nvPr/>
          </p:nvSpPr>
          <p:spPr>
            <a:xfrm rot="8716295">
              <a:off x="5532212" y="24570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9" name="Forme libre : forme 2548">
              <a:extLst>
                <a:ext uri="{FF2B5EF4-FFF2-40B4-BE49-F238E27FC236}">
                  <a16:creationId xmlns:a16="http://schemas.microsoft.com/office/drawing/2014/main" id="{51F90AEB-3E6A-4371-81D7-8624D42EAD0B}"/>
                </a:ext>
              </a:extLst>
            </p:cNvPr>
            <p:cNvSpPr/>
            <p:nvPr/>
          </p:nvSpPr>
          <p:spPr>
            <a:xfrm rot="8716295">
              <a:off x="5487362" y="15942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0" name="Forme libre : forme 2549">
              <a:extLst>
                <a:ext uri="{FF2B5EF4-FFF2-40B4-BE49-F238E27FC236}">
                  <a16:creationId xmlns:a16="http://schemas.microsoft.com/office/drawing/2014/main" id="{66DEF209-BFB8-4520-8F33-CA20A27BB5A9}"/>
                </a:ext>
              </a:extLst>
            </p:cNvPr>
            <p:cNvSpPr/>
            <p:nvPr/>
          </p:nvSpPr>
          <p:spPr>
            <a:xfrm rot="8716295">
              <a:off x="5330586" y="30500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1" name="Forme libre : forme 2550">
              <a:extLst>
                <a:ext uri="{FF2B5EF4-FFF2-40B4-BE49-F238E27FC236}">
                  <a16:creationId xmlns:a16="http://schemas.microsoft.com/office/drawing/2014/main" id="{02E582F8-1DAD-41CD-B82A-472A28D81DC3}"/>
                </a:ext>
              </a:extLst>
            </p:cNvPr>
            <p:cNvSpPr/>
            <p:nvPr/>
          </p:nvSpPr>
          <p:spPr>
            <a:xfrm rot="8716295">
              <a:off x="5205683" y="9633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2" name="Forme libre : forme 2551">
              <a:extLst>
                <a:ext uri="{FF2B5EF4-FFF2-40B4-BE49-F238E27FC236}">
                  <a16:creationId xmlns:a16="http://schemas.microsoft.com/office/drawing/2014/main" id="{2D7C4CFF-E9C9-4017-8965-B23AA1CAC9F5}"/>
                </a:ext>
              </a:extLst>
            </p:cNvPr>
            <p:cNvSpPr/>
            <p:nvPr/>
          </p:nvSpPr>
          <p:spPr>
            <a:xfrm rot="8716295">
              <a:off x="5193248" y="-36152"/>
              <a:ext cx="290643" cy="340949"/>
            </a:xfrm>
            <a:custGeom>
              <a:avLst/>
              <a:gdLst>
                <a:gd name="connsiteX0" fmla="*/ 155476 w 290643"/>
                <a:gd name="connsiteY0" fmla="*/ 340949 h 340949"/>
                <a:gd name="connsiteX1" fmla="*/ 1169 w 290643"/>
                <a:gd name="connsiteY1" fmla="*/ 233989 h 340949"/>
                <a:gd name="connsiteX2" fmla="*/ 0 w 290643"/>
                <a:gd name="connsiteY2" fmla="*/ 220042 h 340949"/>
                <a:gd name="connsiteX3" fmla="*/ 0 w 290643"/>
                <a:gd name="connsiteY3" fmla="*/ 40596 h 340949"/>
                <a:gd name="connsiteX4" fmla="*/ 78250 w 290643"/>
                <a:gd name="connsiteY4" fmla="*/ 0 h 340949"/>
                <a:gd name="connsiteX5" fmla="*/ 79427 w 290643"/>
                <a:gd name="connsiteY5" fmla="*/ 164149 h 340949"/>
                <a:gd name="connsiteX6" fmla="*/ 93547 w 290643"/>
                <a:gd name="connsiteY6" fmla="*/ 261815 h 340949"/>
                <a:gd name="connsiteX7" fmla="*/ 164149 w 290643"/>
                <a:gd name="connsiteY7" fmla="*/ 300646 h 340949"/>
                <a:gd name="connsiteX8" fmla="*/ 217100 w 290643"/>
                <a:gd name="connsiteY8" fmla="*/ 291232 h 340949"/>
                <a:gd name="connsiteX9" fmla="*/ 289467 w 290643"/>
                <a:gd name="connsiteY9" fmla="*/ 261815 h 340949"/>
                <a:gd name="connsiteX10" fmla="*/ 290643 w 290643"/>
                <a:gd name="connsiteY10" fmla="*/ 269463 h 340949"/>
                <a:gd name="connsiteX11" fmla="*/ 290643 w 290643"/>
                <a:gd name="connsiteY11" fmla="*/ 275347 h 340949"/>
                <a:gd name="connsiteX12" fmla="*/ 189080 w 290643"/>
                <a:gd name="connsiteY12" fmla="*/ 331975 h 340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0643" h="340949">
                  <a:moveTo>
                    <a:pt x="155476" y="340949"/>
                  </a:moveTo>
                  <a:lnTo>
                    <a:pt x="1169" y="233989"/>
                  </a:lnTo>
                  <a:lnTo>
                    <a:pt x="0" y="220042"/>
                  </a:ln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9" y="300646"/>
                  </a:cubicBezTo>
                  <a:cubicBezTo>
                    <a:pt x="182388" y="300057"/>
                    <a:pt x="200038" y="296527"/>
                    <a:pt x="217100" y="291232"/>
                  </a:cubicBezTo>
                  <a:cubicBezTo>
                    <a:pt x="241810" y="283584"/>
                    <a:pt x="265933" y="273582"/>
                    <a:pt x="289467" y="261815"/>
                  </a:cubicBezTo>
                  <a:cubicBezTo>
                    <a:pt x="290055" y="264168"/>
                    <a:pt x="290643" y="267110"/>
                    <a:pt x="290643" y="269463"/>
                  </a:cubicBezTo>
                  <a:lnTo>
                    <a:pt x="290643" y="275347"/>
                  </a:lnTo>
                  <a:cubicBezTo>
                    <a:pt x="259461" y="302117"/>
                    <a:pt x="223425" y="320208"/>
                    <a:pt x="189080" y="3319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3" name="Forme libre : forme 2552">
              <a:extLst>
                <a:ext uri="{FF2B5EF4-FFF2-40B4-BE49-F238E27FC236}">
                  <a16:creationId xmlns:a16="http://schemas.microsoft.com/office/drawing/2014/main" id="{1B6E6328-9E6C-4820-97FC-4F7E1744304C}"/>
                </a:ext>
              </a:extLst>
            </p:cNvPr>
            <p:cNvSpPr/>
            <p:nvPr/>
          </p:nvSpPr>
          <p:spPr>
            <a:xfrm rot="8716295">
              <a:off x="5420764" y="34595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4" name="Forme libre : forme 2553">
              <a:extLst>
                <a:ext uri="{FF2B5EF4-FFF2-40B4-BE49-F238E27FC236}">
                  <a16:creationId xmlns:a16="http://schemas.microsoft.com/office/drawing/2014/main" id="{4F045B04-F6BC-4D60-B07A-B22F29BDB27C}"/>
                </a:ext>
              </a:extLst>
            </p:cNvPr>
            <p:cNvSpPr/>
            <p:nvPr/>
          </p:nvSpPr>
          <p:spPr>
            <a:xfrm rot="8716295">
              <a:off x="5731919" y="-3369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5" name="Forme libre : forme 2554">
              <a:extLst>
                <a:ext uri="{FF2B5EF4-FFF2-40B4-BE49-F238E27FC236}">
                  <a16:creationId xmlns:a16="http://schemas.microsoft.com/office/drawing/2014/main" id="{D50AC866-595F-4850-87C8-A4B5DFADD698}"/>
                </a:ext>
              </a:extLst>
            </p:cNvPr>
            <p:cNvSpPr/>
            <p:nvPr/>
          </p:nvSpPr>
          <p:spPr>
            <a:xfrm rot="8716295">
              <a:off x="5826428" y="14828"/>
              <a:ext cx="238830" cy="236556"/>
            </a:xfrm>
            <a:custGeom>
              <a:avLst/>
              <a:gdLst>
                <a:gd name="connsiteX0" fmla="*/ 56401 w 238830"/>
                <a:gd name="connsiteY0" fmla="*/ 236556 h 236556"/>
                <a:gd name="connsiteX1" fmla="*/ 29681 w 238830"/>
                <a:gd name="connsiteY1" fmla="*/ 218034 h 236556"/>
                <a:gd name="connsiteX2" fmla="*/ 29681 w 238830"/>
                <a:gd name="connsiteY2" fmla="*/ 45624 h 236556"/>
                <a:gd name="connsiteX3" fmla="*/ 0 w 238830"/>
                <a:gd name="connsiteY3" fmla="*/ 45624 h 236556"/>
                <a:gd name="connsiteX4" fmla="*/ 36558 w 238830"/>
                <a:gd name="connsiteY4" fmla="*/ 1425 h 236556"/>
                <a:gd name="connsiteX5" fmla="*/ 82994 w 238830"/>
                <a:gd name="connsiteY5" fmla="*/ 1425 h 236556"/>
                <a:gd name="connsiteX6" fmla="*/ 82994 w 238830"/>
                <a:gd name="connsiteY6" fmla="*/ 75242 h 236556"/>
                <a:gd name="connsiteX7" fmla="*/ 84360 w 238830"/>
                <a:gd name="connsiteY7" fmla="*/ 75242 h 236556"/>
                <a:gd name="connsiteX8" fmla="*/ 132205 w 238830"/>
                <a:gd name="connsiteY8" fmla="*/ 5981 h 236556"/>
                <a:gd name="connsiteX9" fmla="*/ 163646 w 238830"/>
                <a:gd name="connsiteY9" fmla="*/ 57 h 236556"/>
                <a:gd name="connsiteX10" fmla="*/ 238830 w 238830"/>
                <a:gd name="connsiteY10" fmla="*/ 88456 h 236556"/>
                <a:gd name="connsiteX11" fmla="*/ 238830 w 238830"/>
                <a:gd name="connsiteY11" fmla="*/ 94380 h 236556"/>
                <a:gd name="connsiteX12" fmla="*/ 176860 w 238830"/>
                <a:gd name="connsiteY12" fmla="*/ 98025 h 236556"/>
                <a:gd name="connsiteX13" fmla="*/ 176860 w 238830"/>
                <a:gd name="connsiteY13" fmla="*/ 81621 h 236556"/>
                <a:gd name="connsiteX14" fmla="*/ 143141 w 238830"/>
                <a:gd name="connsiteY14" fmla="*/ 40156 h 236556"/>
                <a:gd name="connsiteX15" fmla="*/ 89829 w 238830"/>
                <a:gd name="connsiteY15" fmla="*/ 127643 h 236556"/>
                <a:gd name="connsiteX16" fmla="*/ 89829 w 238830"/>
                <a:gd name="connsiteY16" fmla="*/ 213764 h 236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8830" h="236556">
                  <a:moveTo>
                    <a:pt x="56401" y="236556"/>
                  </a:moveTo>
                  <a:lnTo>
                    <a:pt x="29681" y="218034"/>
                  </a:lnTo>
                  <a:lnTo>
                    <a:pt x="29681" y="45624"/>
                  </a:lnTo>
                  <a:lnTo>
                    <a:pt x="0" y="45624"/>
                  </a:lnTo>
                  <a:lnTo>
                    <a:pt x="36558" y="1425"/>
                  </a:lnTo>
                  <a:lnTo>
                    <a:pt x="82994" y="1425"/>
                  </a:lnTo>
                  <a:lnTo>
                    <a:pt x="82994" y="75242"/>
                  </a:lnTo>
                  <a:lnTo>
                    <a:pt x="84360" y="75242"/>
                  </a:lnTo>
                  <a:cubicBezTo>
                    <a:pt x="98942" y="31954"/>
                    <a:pt x="110333" y="15095"/>
                    <a:pt x="132205" y="5981"/>
                  </a:cubicBezTo>
                  <a:cubicBezTo>
                    <a:pt x="142230" y="1880"/>
                    <a:pt x="152710" y="-398"/>
                    <a:pt x="163646" y="57"/>
                  </a:cubicBezTo>
                  <a:cubicBezTo>
                    <a:pt x="210579" y="-854"/>
                    <a:pt x="238830" y="31954"/>
                    <a:pt x="238830" y="88456"/>
                  </a:cubicBezTo>
                  <a:lnTo>
                    <a:pt x="238830" y="94380"/>
                  </a:lnTo>
                  <a:lnTo>
                    <a:pt x="176860" y="98025"/>
                  </a:lnTo>
                  <a:lnTo>
                    <a:pt x="176860" y="81621"/>
                  </a:lnTo>
                  <a:cubicBezTo>
                    <a:pt x="176860" y="57016"/>
                    <a:pt x="162735" y="40156"/>
                    <a:pt x="143141" y="40156"/>
                  </a:cubicBezTo>
                  <a:cubicBezTo>
                    <a:pt x="113979" y="40156"/>
                    <a:pt x="89829" y="78887"/>
                    <a:pt x="89829" y="127643"/>
                  </a:cubicBezTo>
                  <a:lnTo>
                    <a:pt x="89829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6" name="Forme libre : forme 2555">
              <a:extLst>
                <a:ext uri="{FF2B5EF4-FFF2-40B4-BE49-F238E27FC236}">
                  <a16:creationId xmlns:a16="http://schemas.microsoft.com/office/drawing/2014/main" id="{DC4B3E83-7005-4BBD-BBB0-A761AD405952}"/>
                </a:ext>
              </a:extLst>
            </p:cNvPr>
            <p:cNvSpPr/>
            <p:nvPr/>
          </p:nvSpPr>
          <p:spPr>
            <a:xfrm rot="8716295">
              <a:off x="5619685" y="5485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7" name="Forme libre : forme 2556">
              <a:extLst>
                <a:ext uri="{FF2B5EF4-FFF2-40B4-BE49-F238E27FC236}">
                  <a16:creationId xmlns:a16="http://schemas.microsoft.com/office/drawing/2014/main" id="{5C3D8184-C240-45BB-8949-CA444973BFCB}"/>
                </a:ext>
              </a:extLst>
            </p:cNvPr>
            <p:cNvSpPr/>
            <p:nvPr/>
          </p:nvSpPr>
          <p:spPr>
            <a:xfrm rot="8716295">
              <a:off x="5535493" y="-9286"/>
              <a:ext cx="144967" cy="55526"/>
            </a:xfrm>
            <a:custGeom>
              <a:avLst/>
              <a:gdLst>
                <a:gd name="connsiteX0" fmla="*/ 80105 w 144967"/>
                <a:gd name="connsiteY0" fmla="*/ 55526 h 55526"/>
                <a:gd name="connsiteX1" fmla="*/ 0 w 144967"/>
                <a:gd name="connsiteY1" fmla="*/ 0 h 55526"/>
                <a:gd name="connsiteX2" fmla="*/ 144967 w 144967"/>
                <a:gd name="connsiteY2" fmla="*/ 0 h 55526"/>
                <a:gd name="connsiteX3" fmla="*/ 144967 w 144967"/>
                <a:gd name="connsiteY3" fmla="*/ 55323 h 55526"/>
                <a:gd name="connsiteX4" fmla="*/ 80175 w 144967"/>
                <a:gd name="connsiteY4" fmla="*/ 55323 h 55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967" h="55526">
                  <a:moveTo>
                    <a:pt x="80105" y="55526"/>
                  </a:moveTo>
                  <a:lnTo>
                    <a:pt x="0" y="0"/>
                  </a:lnTo>
                  <a:lnTo>
                    <a:pt x="144967" y="0"/>
                  </a:lnTo>
                  <a:lnTo>
                    <a:pt x="144967" y="55323"/>
                  </a:lnTo>
                  <a:lnTo>
                    <a:pt x="8017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8" name="Forme libre : forme 2557">
              <a:extLst>
                <a:ext uri="{FF2B5EF4-FFF2-40B4-BE49-F238E27FC236}">
                  <a16:creationId xmlns:a16="http://schemas.microsoft.com/office/drawing/2014/main" id="{9211EEC6-BD80-4E39-BC94-F406797D4C14}"/>
                </a:ext>
              </a:extLst>
            </p:cNvPr>
            <p:cNvSpPr/>
            <p:nvPr/>
          </p:nvSpPr>
          <p:spPr>
            <a:xfrm rot="8716295">
              <a:off x="5709863" y="9580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9" name="Forme libre : forme 2558">
              <a:extLst>
                <a:ext uri="{FF2B5EF4-FFF2-40B4-BE49-F238E27FC236}">
                  <a16:creationId xmlns:a16="http://schemas.microsoft.com/office/drawing/2014/main" id="{787ACCBC-136A-4496-81B6-93B81D466D2B}"/>
                </a:ext>
              </a:extLst>
            </p:cNvPr>
            <p:cNvSpPr/>
            <p:nvPr/>
          </p:nvSpPr>
          <p:spPr>
            <a:xfrm rot="8716295">
              <a:off x="5474907" y="-18059"/>
              <a:ext cx="53295" cy="42130"/>
            </a:xfrm>
            <a:custGeom>
              <a:avLst/>
              <a:gdLst>
                <a:gd name="connsiteX0" fmla="*/ 51759 w 53295"/>
                <a:gd name="connsiteY0" fmla="*/ 42130 h 42130"/>
                <a:gd name="connsiteX1" fmla="*/ 0 w 53295"/>
                <a:gd name="connsiteY1" fmla="*/ 6252 h 42130"/>
                <a:gd name="connsiteX2" fmla="*/ 14807 w 53295"/>
                <a:gd name="connsiteY2" fmla="*/ 0 h 42130"/>
                <a:gd name="connsiteX3" fmla="*/ 41975 w 53295"/>
                <a:gd name="connsiteY3" fmla="*/ 11471 h 42130"/>
                <a:gd name="connsiteX4" fmla="*/ 53295 w 53295"/>
                <a:gd name="connsiteY4" fmla="*/ 38412 h 42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295" h="42130">
                  <a:moveTo>
                    <a:pt x="51759" y="42130"/>
                  </a:moveTo>
                  <a:lnTo>
                    <a:pt x="0" y="6252"/>
                  </a:lnTo>
                  <a:lnTo>
                    <a:pt x="14807" y="0"/>
                  </a:lnTo>
                  <a:cubicBezTo>
                    <a:pt x="25071" y="0"/>
                    <a:pt x="34731" y="4226"/>
                    <a:pt x="41975" y="11471"/>
                  </a:cubicBezTo>
                  <a:cubicBezTo>
                    <a:pt x="49522" y="18716"/>
                    <a:pt x="53295" y="28526"/>
                    <a:pt x="53295" y="3841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0" name="Forme libre : forme 2559">
              <a:extLst>
                <a:ext uri="{FF2B5EF4-FFF2-40B4-BE49-F238E27FC236}">
                  <a16:creationId xmlns:a16="http://schemas.microsoft.com/office/drawing/2014/main" id="{237D6F67-B176-4659-9C51-9A7BD34F0CA8}"/>
                </a:ext>
              </a:extLst>
            </p:cNvPr>
            <p:cNvSpPr/>
            <p:nvPr/>
          </p:nvSpPr>
          <p:spPr>
            <a:xfrm rot="7484129">
              <a:off x="5814794" y="28715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1" name="Forme libre : forme 2560">
              <a:extLst>
                <a:ext uri="{FF2B5EF4-FFF2-40B4-BE49-F238E27FC236}">
                  <a16:creationId xmlns:a16="http://schemas.microsoft.com/office/drawing/2014/main" id="{0A9A3C01-292B-4D95-942D-9306CC87D815}"/>
                </a:ext>
              </a:extLst>
            </p:cNvPr>
            <p:cNvSpPr/>
            <p:nvPr/>
          </p:nvSpPr>
          <p:spPr>
            <a:xfrm rot="13089394">
              <a:off x="5911866" y="269714"/>
              <a:ext cx="237929" cy="294867"/>
            </a:xfrm>
            <a:custGeom>
              <a:avLst/>
              <a:gdLst>
                <a:gd name="connsiteX0" fmla="*/ 39306 w 237929"/>
                <a:gd name="connsiteY0" fmla="*/ 79955 h 294867"/>
                <a:gd name="connsiteX1" fmla="*/ 0 w 237929"/>
                <a:gd name="connsiteY1" fmla="*/ 20095 h 294867"/>
                <a:gd name="connsiteX2" fmla="*/ 38733 w 237929"/>
                <a:gd name="connsiteY2" fmla="*/ 0 h 294867"/>
                <a:gd name="connsiteX3" fmla="*/ 237929 w 237929"/>
                <a:gd name="connsiteY3" fmla="*/ 258238 h 294867"/>
                <a:gd name="connsiteX4" fmla="*/ 191415 w 237929"/>
                <a:gd name="connsiteY4" fmla="*/ 290069 h 294867"/>
                <a:gd name="connsiteX5" fmla="*/ 180425 w 237929"/>
                <a:gd name="connsiteY5" fmla="*/ 294867 h 294867"/>
                <a:gd name="connsiteX6" fmla="*/ 166448 w 237929"/>
                <a:gd name="connsiteY6" fmla="*/ 273582 h 294867"/>
                <a:gd name="connsiteX7" fmla="*/ 168955 w 237929"/>
                <a:gd name="connsiteY7" fmla="*/ 273136 h 294867"/>
                <a:gd name="connsiteX8" fmla="*/ 236826 w 237929"/>
                <a:gd name="connsiteY8" fmla="*/ 245547 h 294867"/>
                <a:gd name="connsiteX9" fmla="*/ 237929 w 237929"/>
                <a:gd name="connsiteY9" fmla="*/ 252720 h 294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7929" h="294867">
                  <a:moveTo>
                    <a:pt x="39306" y="79955"/>
                  </a:moveTo>
                  <a:lnTo>
                    <a:pt x="0" y="20095"/>
                  </a:lnTo>
                  <a:lnTo>
                    <a:pt x="38733" y="0"/>
                  </a:lnTo>
                  <a:close/>
                  <a:moveTo>
                    <a:pt x="237929" y="258238"/>
                  </a:moveTo>
                  <a:cubicBezTo>
                    <a:pt x="223307" y="270791"/>
                    <a:pt x="207546" y="281309"/>
                    <a:pt x="191415" y="290069"/>
                  </a:cubicBezTo>
                  <a:lnTo>
                    <a:pt x="180425" y="294867"/>
                  </a:lnTo>
                  <a:lnTo>
                    <a:pt x="166448" y="273582"/>
                  </a:lnTo>
                  <a:lnTo>
                    <a:pt x="168955" y="273136"/>
                  </a:lnTo>
                  <a:cubicBezTo>
                    <a:pt x="192130" y="265963"/>
                    <a:pt x="214754" y="256582"/>
                    <a:pt x="236826" y="245547"/>
                  </a:cubicBezTo>
                  <a:cubicBezTo>
                    <a:pt x="237377" y="247754"/>
                    <a:pt x="237929" y="250513"/>
                    <a:pt x="237929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2" name="Forme libre : forme 2561">
              <a:extLst>
                <a:ext uri="{FF2B5EF4-FFF2-40B4-BE49-F238E27FC236}">
                  <a16:creationId xmlns:a16="http://schemas.microsoft.com/office/drawing/2014/main" id="{2A17DA33-A0C3-41F9-AE84-BDC6C53CFE7E}"/>
                </a:ext>
              </a:extLst>
            </p:cNvPr>
            <p:cNvSpPr/>
            <p:nvPr/>
          </p:nvSpPr>
          <p:spPr>
            <a:xfrm rot="8716295">
              <a:off x="6048768" y="-12983"/>
              <a:ext cx="59727" cy="80698"/>
            </a:xfrm>
            <a:custGeom>
              <a:avLst/>
              <a:gdLst>
                <a:gd name="connsiteX0" fmla="*/ 0 w 59727"/>
                <a:gd name="connsiteY0" fmla="*/ 52945 h 80698"/>
                <a:gd name="connsiteX1" fmla="*/ 43791 w 59727"/>
                <a:gd name="connsiteY1" fmla="*/ 0 h 80698"/>
                <a:gd name="connsiteX2" fmla="*/ 59727 w 59727"/>
                <a:gd name="connsiteY2" fmla="*/ 37928 h 80698"/>
                <a:gd name="connsiteX3" fmla="*/ 42480 w 59727"/>
                <a:gd name="connsiteY3" fmla="*/ 79666 h 80698"/>
                <a:gd name="connsiteX4" fmla="*/ 40038 w 59727"/>
                <a:gd name="connsiteY4" fmla="*/ 80698 h 80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727" h="80698">
                  <a:moveTo>
                    <a:pt x="0" y="52945"/>
                  </a:moveTo>
                  <a:lnTo>
                    <a:pt x="43791" y="0"/>
                  </a:lnTo>
                  <a:lnTo>
                    <a:pt x="59727" y="37928"/>
                  </a:lnTo>
                  <a:cubicBezTo>
                    <a:pt x="59727" y="52991"/>
                    <a:pt x="53978" y="68168"/>
                    <a:pt x="42480" y="79666"/>
                  </a:cubicBezTo>
                  <a:lnTo>
                    <a:pt x="40038" y="806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3" name="Forme libre : forme 2562">
              <a:extLst>
                <a:ext uri="{FF2B5EF4-FFF2-40B4-BE49-F238E27FC236}">
                  <a16:creationId xmlns:a16="http://schemas.microsoft.com/office/drawing/2014/main" id="{2353FF35-000A-436A-A845-6D57020C764E}"/>
                </a:ext>
              </a:extLst>
            </p:cNvPr>
            <p:cNvSpPr/>
            <p:nvPr/>
          </p:nvSpPr>
          <p:spPr>
            <a:xfrm rot="8716295">
              <a:off x="5807042" y="-10009"/>
              <a:ext cx="57775" cy="54433"/>
            </a:xfrm>
            <a:custGeom>
              <a:avLst/>
              <a:gdLst>
                <a:gd name="connsiteX0" fmla="*/ 37946 w 57775"/>
                <a:gd name="connsiteY0" fmla="*/ 54433 h 54433"/>
                <a:gd name="connsiteX1" fmla="*/ 0 w 57775"/>
                <a:gd name="connsiteY1" fmla="*/ 28130 h 54433"/>
                <a:gd name="connsiteX2" fmla="*/ 8222 w 57775"/>
                <a:gd name="connsiteY2" fmla="*/ 8658 h 54433"/>
                <a:gd name="connsiteX3" fmla="*/ 28726 w 57775"/>
                <a:gd name="connsiteY3" fmla="*/ 0 h 54433"/>
                <a:gd name="connsiteX4" fmla="*/ 49232 w 57775"/>
                <a:gd name="connsiteY4" fmla="*/ 8658 h 54433"/>
                <a:gd name="connsiteX5" fmla="*/ 49232 w 57775"/>
                <a:gd name="connsiteY5" fmla="*/ 49668 h 54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775" h="54433">
                  <a:moveTo>
                    <a:pt x="37946" y="54433"/>
                  </a:moveTo>
                  <a:lnTo>
                    <a:pt x="0" y="28130"/>
                  </a:lnTo>
                  <a:lnTo>
                    <a:pt x="8222" y="8658"/>
                  </a:lnTo>
                  <a:cubicBezTo>
                    <a:pt x="13690" y="3190"/>
                    <a:pt x="20981" y="0"/>
                    <a:pt x="28726" y="0"/>
                  </a:cubicBezTo>
                  <a:cubicBezTo>
                    <a:pt x="36473" y="0"/>
                    <a:pt x="43764" y="3190"/>
                    <a:pt x="49232" y="8658"/>
                  </a:cubicBezTo>
                  <a:cubicBezTo>
                    <a:pt x="60624" y="19594"/>
                    <a:pt x="60623" y="38276"/>
                    <a:pt x="49232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4" name="Forme libre : forme 2563">
              <a:extLst>
                <a:ext uri="{FF2B5EF4-FFF2-40B4-BE49-F238E27FC236}">
                  <a16:creationId xmlns:a16="http://schemas.microsoft.com/office/drawing/2014/main" id="{D553155B-6380-4B51-8419-ECFF292B83F9}"/>
                </a:ext>
              </a:extLst>
            </p:cNvPr>
            <p:cNvSpPr/>
            <p:nvPr/>
          </p:nvSpPr>
          <p:spPr>
            <a:xfrm rot="8716295">
              <a:off x="212141" y="304502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5" name="Forme libre : forme 2564">
              <a:extLst>
                <a:ext uri="{FF2B5EF4-FFF2-40B4-BE49-F238E27FC236}">
                  <a16:creationId xmlns:a16="http://schemas.microsoft.com/office/drawing/2014/main" id="{67BA1FC2-F36C-4A5C-929D-EFEA62216900}"/>
                </a:ext>
              </a:extLst>
            </p:cNvPr>
            <p:cNvSpPr/>
            <p:nvPr/>
          </p:nvSpPr>
          <p:spPr>
            <a:xfrm rot="8716295">
              <a:off x="301533" y="307427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6" name="Forme libre : forme 2565">
              <a:extLst>
                <a:ext uri="{FF2B5EF4-FFF2-40B4-BE49-F238E27FC236}">
                  <a16:creationId xmlns:a16="http://schemas.microsoft.com/office/drawing/2014/main" id="{511D384B-98C0-4C29-A1F9-D1BCF7610AEC}"/>
                </a:ext>
              </a:extLst>
            </p:cNvPr>
            <p:cNvSpPr/>
            <p:nvPr/>
          </p:nvSpPr>
          <p:spPr>
            <a:xfrm rot="8716295">
              <a:off x="256683" y="298799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7" name="Forme libre : forme 2566">
              <a:extLst>
                <a:ext uri="{FF2B5EF4-FFF2-40B4-BE49-F238E27FC236}">
                  <a16:creationId xmlns:a16="http://schemas.microsoft.com/office/drawing/2014/main" id="{B52ED1B2-C905-44CA-8DB7-D96A1D529045}"/>
                </a:ext>
              </a:extLst>
            </p:cNvPr>
            <p:cNvSpPr/>
            <p:nvPr/>
          </p:nvSpPr>
          <p:spPr>
            <a:xfrm rot="8716295">
              <a:off x="99907" y="31335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8" name="Forme libre : forme 2567">
              <a:extLst>
                <a:ext uri="{FF2B5EF4-FFF2-40B4-BE49-F238E27FC236}">
                  <a16:creationId xmlns:a16="http://schemas.microsoft.com/office/drawing/2014/main" id="{A5A1E363-60C9-4C33-A0CE-7C8397DEAC0C}"/>
                </a:ext>
              </a:extLst>
            </p:cNvPr>
            <p:cNvSpPr/>
            <p:nvPr/>
          </p:nvSpPr>
          <p:spPr>
            <a:xfrm rot="8716295">
              <a:off x="-24996" y="29248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9" name="Forme libre : forme 2568">
              <a:extLst>
                <a:ext uri="{FF2B5EF4-FFF2-40B4-BE49-F238E27FC236}">
                  <a16:creationId xmlns:a16="http://schemas.microsoft.com/office/drawing/2014/main" id="{8C120843-D6BE-458A-B9F4-0279F834C3ED}"/>
                </a:ext>
              </a:extLst>
            </p:cNvPr>
            <p:cNvSpPr/>
            <p:nvPr/>
          </p:nvSpPr>
          <p:spPr>
            <a:xfrm rot="8716295">
              <a:off x="51899" y="2754602"/>
              <a:ext cx="189488" cy="350829"/>
            </a:xfrm>
            <a:custGeom>
              <a:avLst/>
              <a:gdLst>
                <a:gd name="connsiteX0" fmla="*/ 25299 w 189488"/>
                <a:gd name="connsiteY0" fmla="*/ 321238 h 350829"/>
                <a:gd name="connsiteX1" fmla="*/ 0 w 189488"/>
                <a:gd name="connsiteY1" fmla="*/ 220042 h 350829"/>
                <a:gd name="connsiteX2" fmla="*/ 0 w 189488"/>
                <a:gd name="connsiteY2" fmla="*/ 40596 h 350829"/>
                <a:gd name="connsiteX3" fmla="*/ 78250 w 189488"/>
                <a:gd name="connsiteY3" fmla="*/ 0 h 350829"/>
                <a:gd name="connsiteX4" fmla="*/ 79427 w 189488"/>
                <a:gd name="connsiteY4" fmla="*/ 164149 h 350829"/>
                <a:gd name="connsiteX5" fmla="*/ 93547 w 189488"/>
                <a:gd name="connsiteY5" fmla="*/ 261815 h 350829"/>
                <a:gd name="connsiteX6" fmla="*/ 164148 w 189488"/>
                <a:gd name="connsiteY6" fmla="*/ 300646 h 350829"/>
                <a:gd name="connsiteX7" fmla="*/ 189488 w 189488"/>
                <a:gd name="connsiteY7" fmla="*/ 296141 h 350829"/>
                <a:gd name="connsiteX8" fmla="*/ 160617 w 189488"/>
                <a:gd name="connsiteY8" fmla="*/ 337791 h 350829"/>
                <a:gd name="connsiteX9" fmla="*/ 97666 w 189488"/>
                <a:gd name="connsiteY9" fmla="*/ 350655 h 350829"/>
                <a:gd name="connsiteX10" fmla="*/ 25299 w 189488"/>
                <a:gd name="connsiteY10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9488" h="350829">
                  <a:moveTo>
                    <a:pt x="25299" y="321238"/>
                  </a:moveTo>
                  <a:cubicBezTo>
                    <a:pt x="5295" y="301823"/>
                    <a:pt x="0" y="268286"/>
                    <a:pt x="0" y="220042"/>
                  </a:cubicBez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8" y="300646"/>
                  </a:cubicBezTo>
                  <a:lnTo>
                    <a:pt x="189488" y="296141"/>
                  </a:lnTo>
                  <a:lnTo>
                    <a:pt x="160617" y="337791"/>
                  </a:lnTo>
                  <a:lnTo>
                    <a:pt x="97666" y="350655"/>
                  </a:ln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0" name="Forme libre : forme 2569">
              <a:extLst>
                <a:ext uri="{FF2B5EF4-FFF2-40B4-BE49-F238E27FC236}">
                  <a16:creationId xmlns:a16="http://schemas.microsoft.com/office/drawing/2014/main" id="{8BAB5B23-705E-4A16-8C44-8327B4FD6CCC}"/>
                </a:ext>
              </a:extLst>
            </p:cNvPr>
            <p:cNvSpPr/>
            <p:nvPr/>
          </p:nvSpPr>
          <p:spPr>
            <a:xfrm rot="8716295">
              <a:off x="190085" y="317452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1" name="Forme libre : forme 2570">
              <a:extLst>
                <a:ext uri="{FF2B5EF4-FFF2-40B4-BE49-F238E27FC236}">
                  <a16:creationId xmlns:a16="http://schemas.microsoft.com/office/drawing/2014/main" id="{D9337EE8-67E6-49B9-9D08-B8E3597E2BD9}"/>
                </a:ext>
              </a:extLst>
            </p:cNvPr>
            <p:cNvSpPr/>
            <p:nvPr/>
          </p:nvSpPr>
          <p:spPr>
            <a:xfrm rot="8716295">
              <a:off x="501240" y="279487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2" name="Forme libre : forme 2571">
              <a:extLst>
                <a:ext uri="{FF2B5EF4-FFF2-40B4-BE49-F238E27FC236}">
                  <a16:creationId xmlns:a16="http://schemas.microsoft.com/office/drawing/2014/main" id="{383A3F11-DF41-44C2-9C23-687BDA5000E4}"/>
                </a:ext>
              </a:extLst>
            </p:cNvPr>
            <p:cNvSpPr/>
            <p:nvPr/>
          </p:nvSpPr>
          <p:spPr>
            <a:xfrm rot="8716295">
              <a:off x="590632" y="282411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3" name="Forme libre : forme 2572">
              <a:extLst>
                <a:ext uri="{FF2B5EF4-FFF2-40B4-BE49-F238E27FC236}">
                  <a16:creationId xmlns:a16="http://schemas.microsoft.com/office/drawing/2014/main" id="{55344225-1E1A-4BD5-AF05-BEDD630E150A}"/>
                </a:ext>
              </a:extLst>
            </p:cNvPr>
            <p:cNvSpPr/>
            <p:nvPr/>
          </p:nvSpPr>
          <p:spPr>
            <a:xfrm rot="8716295">
              <a:off x="389006" y="2883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4" name="Forme libre : forme 2573">
              <a:extLst>
                <a:ext uri="{FF2B5EF4-FFF2-40B4-BE49-F238E27FC236}">
                  <a16:creationId xmlns:a16="http://schemas.microsoft.com/office/drawing/2014/main" id="{85976604-818D-4F72-A8AF-F6A0827261B7}"/>
                </a:ext>
              </a:extLst>
            </p:cNvPr>
            <p:cNvSpPr/>
            <p:nvPr/>
          </p:nvSpPr>
          <p:spPr>
            <a:xfrm rot="8716295">
              <a:off x="264104" y="267474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5" name="Forme libre : forme 2574">
              <a:extLst>
                <a:ext uri="{FF2B5EF4-FFF2-40B4-BE49-F238E27FC236}">
                  <a16:creationId xmlns:a16="http://schemas.microsoft.com/office/drawing/2014/main" id="{A24AD263-F244-4E1D-862B-19F7259C99AB}"/>
                </a:ext>
              </a:extLst>
            </p:cNvPr>
            <p:cNvSpPr/>
            <p:nvPr/>
          </p:nvSpPr>
          <p:spPr>
            <a:xfrm rot="8716295">
              <a:off x="479184" y="292437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6" name="Forme libre : forme 2575">
              <a:extLst>
                <a:ext uri="{FF2B5EF4-FFF2-40B4-BE49-F238E27FC236}">
                  <a16:creationId xmlns:a16="http://schemas.microsoft.com/office/drawing/2014/main" id="{9C7315BF-5178-441E-B131-40E9768C1474}"/>
                </a:ext>
              </a:extLst>
            </p:cNvPr>
            <p:cNvSpPr/>
            <p:nvPr/>
          </p:nvSpPr>
          <p:spPr>
            <a:xfrm rot="8716295">
              <a:off x="237733" y="277477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7" name="Forme libre : forme 2576">
              <a:extLst>
                <a:ext uri="{FF2B5EF4-FFF2-40B4-BE49-F238E27FC236}">
                  <a16:creationId xmlns:a16="http://schemas.microsoft.com/office/drawing/2014/main" id="{349DA2D3-448B-490C-8DB7-4751B7D9038F}"/>
                </a:ext>
              </a:extLst>
            </p:cNvPr>
            <p:cNvSpPr/>
            <p:nvPr/>
          </p:nvSpPr>
          <p:spPr>
            <a:xfrm rot="7484129">
              <a:off x="584115" y="311572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8" name="Forme libre : forme 2577">
              <a:extLst>
                <a:ext uri="{FF2B5EF4-FFF2-40B4-BE49-F238E27FC236}">
                  <a16:creationId xmlns:a16="http://schemas.microsoft.com/office/drawing/2014/main" id="{9AA64EB5-5BC8-403B-AB82-04D81C133255}"/>
                </a:ext>
              </a:extLst>
            </p:cNvPr>
            <p:cNvSpPr/>
            <p:nvPr/>
          </p:nvSpPr>
          <p:spPr>
            <a:xfrm rot="13089394">
              <a:off x="688935" y="3082257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9" name="Forme libre : forme 2578">
              <a:extLst>
                <a:ext uri="{FF2B5EF4-FFF2-40B4-BE49-F238E27FC236}">
                  <a16:creationId xmlns:a16="http://schemas.microsoft.com/office/drawing/2014/main" id="{110BE40B-E2DA-4AFB-B27B-B3411BDC52CC}"/>
                </a:ext>
              </a:extLst>
            </p:cNvPr>
            <p:cNvSpPr/>
            <p:nvPr/>
          </p:nvSpPr>
          <p:spPr>
            <a:xfrm rot="8716295">
              <a:off x="874520" y="2890576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0" name="Forme libre : forme 2579">
              <a:extLst>
                <a:ext uri="{FF2B5EF4-FFF2-40B4-BE49-F238E27FC236}">
                  <a16:creationId xmlns:a16="http://schemas.microsoft.com/office/drawing/2014/main" id="{F835BCFD-B829-4BDD-8C2F-E93572759B49}"/>
                </a:ext>
              </a:extLst>
            </p:cNvPr>
            <p:cNvSpPr/>
            <p:nvPr/>
          </p:nvSpPr>
          <p:spPr>
            <a:xfrm rot="8716295">
              <a:off x="822715" y="278698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1" name="Forme libre : forme 2580">
              <a:extLst>
                <a:ext uri="{FF2B5EF4-FFF2-40B4-BE49-F238E27FC236}">
                  <a16:creationId xmlns:a16="http://schemas.microsoft.com/office/drawing/2014/main" id="{4C10496A-AC84-46A0-B11B-FC58DD24DFB9}"/>
                </a:ext>
              </a:extLst>
            </p:cNvPr>
            <p:cNvSpPr/>
            <p:nvPr/>
          </p:nvSpPr>
          <p:spPr>
            <a:xfrm rot="8716295">
              <a:off x="579469" y="28172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2" name="Forme libre : forme 2581">
              <a:extLst>
                <a:ext uri="{FF2B5EF4-FFF2-40B4-BE49-F238E27FC236}">
                  <a16:creationId xmlns:a16="http://schemas.microsoft.com/office/drawing/2014/main" id="{4AA264E2-3912-4F32-A3B9-9EF25D1D901D}"/>
                </a:ext>
              </a:extLst>
            </p:cNvPr>
            <p:cNvSpPr/>
            <p:nvPr/>
          </p:nvSpPr>
          <p:spPr>
            <a:xfrm rot="8716295">
              <a:off x="756921" y="265796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3" name="Forme libre : forme 2582">
              <a:extLst>
                <a:ext uri="{FF2B5EF4-FFF2-40B4-BE49-F238E27FC236}">
                  <a16:creationId xmlns:a16="http://schemas.microsoft.com/office/drawing/2014/main" id="{AA017B42-43C6-488B-8364-7F6BD3840C9C}"/>
                </a:ext>
              </a:extLst>
            </p:cNvPr>
            <p:cNvSpPr/>
            <p:nvPr/>
          </p:nvSpPr>
          <p:spPr>
            <a:xfrm rot="8716295">
              <a:off x="435308" y="370472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4" name="Forme libre : forme 2583">
              <a:extLst>
                <a:ext uri="{FF2B5EF4-FFF2-40B4-BE49-F238E27FC236}">
                  <a16:creationId xmlns:a16="http://schemas.microsoft.com/office/drawing/2014/main" id="{9757EFE7-39F8-43EA-9F4B-67F36396014B}"/>
                </a:ext>
              </a:extLst>
            </p:cNvPr>
            <p:cNvSpPr/>
            <p:nvPr/>
          </p:nvSpPr>
          <p:spPr>
            <a:xfrm rot="8716295">
              <a:off x="524700" y="373396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5" name="Forme libre : forme 2584">
              <a:extLst>
                <a:ext uri="{FF2B5EF4-FFF2-40B4-BE49-F238E27FC236}">
                  <a16:creationId xmlns:a16="http://schemas.microsoft.com/office/drawing/2014/main" id="{C8B0FFE9-5876-4A75-9F9D-7572BD2EA600}"/>
                </a:ext>
              </a:extLst>
            </p:cNvPr>
            <p:cNvSpPr/>
            <p:nvPr/>
          </p:nvSpPr>
          <p:spPr>
            <a:xfrm rot="8716295">
              <a:off x="479850" y="3647689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6" name="Forme libre : forme 2585">
              <a:extLst>
                <a:ext uri="{FF2B5EF4-FFF2-40B4-BE49-F238E27FC236}">
                  <a16:creationId xmlns:a16="http://schemas.microsoft.com/office/drawing/2014/main" id="{12E703CA-24C4-41EF-85F5-B38E93728456}"/>
                </a:ext>
              </a:extLst>
            </p:cNvPr>
            <p:cNvSpPr/>
            <p:nvPr/>
          </p:nvSpPr>
          <p:spPr>
            <a:xfrm rot="8716295">
              <a:off x="323074" y="379327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7" name="Forme libre : forme 2586">
              <a:extLst>
                <a:ext uri="{FF2B5EF4-FFF2-40B4-BE49-F238E27FC236}">
                  <a16:creationId xmlns:a16="http://schemas.microsoft.com/office/drawing/2014/main" id="{02E77907-D7EE-4230-A30B-47434E4968C2}"/>
                </a:ext>
              </a:extLst>
            </p:cNvPr>
            <p:cNvSpPr/>
            <p:nvPr/>
          </p:nvSpPr>
          <p:spPr>
            <a:xfrm rot="8716295">
              <a:off x="198171" y="358459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8" name="Forme libre : forme 2587">
              <a:extLst>
                <a:ext uri="{FF2B5EF4-FFF2-40B4-BE49-F238E27FC236}">
                  <a16:creationId xmlns:a16="http://schemas.microsoft.com/office/drawing/2014/main" id="{AB97544A-09D9-4A69-BC58-374B026F7202}"/>
                </a:ext>
              </a:extLst>
            </p:cNvPr>
            <p:cNvSpPr/>
            <p:nvPr/>
          </p:nvSpPr>
          <p:spPr>
            <a:xfrm rot="8716295">
              <a:off x="186119" y="344581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9" name="Forme libre : forme 2588">
              <a:extLst>
                <a:ext uri="{FF2B5EF4-FFF2-40B4-BE49-F238E27FC236}">
                  <a16:creationId xmlns:a16="http://schemas.microsoft.com/office/drawing/2014/main" id="{34C5510E-41C9-47D0-BA02-373BE24443F0}"/>
                </a:ext>
              </a:extLst>
            </p:cNvPr>
            <p:cNvSpPr/>
            <p:nvPr/>
          </p:nvSpPr>
          <p:spPr>
            <a:xfrm rot="8716295">
              <a:off x="413252" y="3834223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0" name="Forme libre : forme 2589">
              <a:extLst>
                <a:ext uri="{FF2B5EF4-FFF2-40B4-BE49-F238E27FC236}">
                  <a16:creationId xmlns:a16="http://schemas.microsoft.com/office/drawing/2014/main" id="{DC985ECF-E700-420E-BE15-8A41B5493ADF}"/>
                </a:ext>
              </a:extLst>
            </p:cNvPr>
            <p:cNvSpPr/>
            <p:nvPr/>
          </p:nvSpPr>
          <p:spPr>
            <a:xfrm rot="8716295">
              <a:off x="724407" y="345457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1" name="Forme libre : forme 2590">
              <a:extLst>
                <a:ext uri="{FF2B5EF4-FFF2-40B4-BE49-F238E27FC236}">
                  <a16:creationId xmlns:a16="http://schemas.microsoft.com/office/drawing/2014/main" id="{1E0CC155-5EA9-483B-9C01-9A8547393CE9}"/>
                </a:ext>
              </a:extLst>
            </p:cNvPr>
            <p:cNvSpPr/>
            <p:nvPr/>
          </p:nvSpPr>
          <p:spPr>
            <a:xfrm rot="8716295">
              <a:off x="813799" y="348381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2" name="Forme libre : forme 2591">
              <a:extLst>
                <a:ext uri="{FF2B5EF4-FFF2-40B4-BE49-F238E27FC236}">
                  <a16:creationId xmlns:a16="http://schemas.microsoft.com/office/drawing/2014/main" id="{C928522C-0918-4B4D-98AC-FEB2728E3112}"/>
                </a:ext>
              </a:extLst>
            </p:cNvPr>
            <p:cNvSpPr/>
            <p:nvPr/>
          </p:nvSpPr>
          <p:spPr>
            <a:xfrm rot="8716295">
              <a:off x="612173" y="354311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3" name="Forme libre : forme 2592">
              <a:extLst>
                <a:ext uri="{FF2B5EF4-FFF2-40B4-BE49-F238E27FC236}">
                  <a16:creationId xmlns:a16="http://schemas.microsoft.com/office/drawing/2014/main" id="{DC803AC2-4D03-45B3-B9A0-52BF6118175A}"/>
                </a:ext>
              </a:extLst>
            </p:cNvPr>
            <p:cNvSpPr/>
            <p:nvPr/>
          </p:nvSpPr>
          <p:spPr>
            <a:xfrm rot="8716295">
              <a:off x="487271" y="333444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4" name="Forme libre : forme 2593">
              <a:extLst>
                <a:ext uri="{FF2B5EF4-FFF2-40B4-BE49-F238E27FC236}">
                  <a16:creationId xmlns:a16="http://schemas.microsoft.com/office/drawing/2014/main" id="{A6BB2734-0B6A-4FD6-B566-A73E3DB68FC9}"/>
                </a:ext>
              </a:extLst>
            </p:cNvPr>
            <p:cNvSpPr/>
            <p:nvPr/>
          </p:nvSpPr>
          <p:spPr>
            <a:xfrm rot="8716295">
              <a:off x="702351" y="3584071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5" name="Forme libre : forme 2594">
              <a:extLst>
                <a:ext uri="{FF2B5EF4-FFF2-40B4-BE49-F238E27FC236}">
                  <a16:creationId xmlns:a16="http://schemas.microsoft.com/office/drawing/2014/main" id="{D74825A4-174B-4E11-B9F6-139E451B842F}"/>
                </a:ext>
              </a:extLst>
            </p:cNvPr>
            <p:cNvSpPr/>
            <p:nvPr/>
          </p:nvSpPr>
          <p:spPr>
            <a:xfrm rot="8716295">
              <a:off x="460900" y="343447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6" name="Forme libre : forme 2595">
              <a:extLst>
                <a:ext uri="{FF2B5EF4-FFF2-40B4-BE49-F238E27FC236}">
                  <a16:creationId xmlns:a16="http://schemas.microsoft.com/office/drawing/2014/main" id="{B39A9789-18FB-4A83-8AB0-8EE94A39D245}"/>
                </a:ext>
              </a:extLst>
            </p:cNvPr>
            <p:cNvSpPr/>
            <p:nvPr/>
          </p:nvSpPr>
          <p:spPr>
            <a:xfrm rot="7484129">
              <a:off x="807282" y="377542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7" name="Forme libre : forme 2596">
              <a:extLst>
                <a:ext uri="{FF2B5EF4-FFF2-40B4-BE49-F238E27FC236}">
                  <a16:creationId xmlns:a16="http://schemas.microsoft.com/office/drawing/2014/main" id="{AA0538E3-ADD4-4948-A138-F37F8A9A2A82}"/>
                </a:ext>
              </a:extLst>
            </p:cNvPr>
            <p:cNvSpPr/>
            <p:nvPr/>
          </p:nvSpPr>
          <p:spPr>
            <a:xfrm rot="13089394">
              <a:off x="912102" y="374195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8" name="Forme libre : forme 2597">
              <a:extLst>
                <a:ext uri="{FF2B5EF4-FFF2-40B4-BE49-F238E27FC236}">
                  <a16:creationId xmlns:a16="http://schemas.microsoft.com/office/drawing/2014/main" id="{CF8DE766-ABD4-4BFE-A9EE-39A1E5F1ADDE}"/>
                </a:ext>
              </a:extLst>
            </p:cNvPr>
            <p:cNvSpPr/>
            <p:nvPr/>
          </p:nvSpPr>
          <p:spPr>
            <a:xfrm rot="8716295">
              <a:off x="1097687" y="355027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9" name="Forme libre : forme 2598">
              <a:extLst>
                <a:ext uri="{FF2B5EF4-FFF2-40B4-BE49-F238E27FC236}">
                  <a16:creationId xmlns:a16="http://schemas.microsoft.com/office/drawing/2014/main" id="{BB03C112-DBC5-4C26-B8A2-9B16ED5B8438}"/>
                </a:ext>
              </a:extLst>
            </p:cNvPr>
            <p:cNvSpPr/>
            <p:nvPr/>
          </p:nvSpPr>
          <p:spPr>
            <a:xfrm rot="8716295">
              <a:off x="1045882" y="344668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0" name="Forme libre : forme 2599">
              <a:extLst>
                <a:ext uri="{FF2B5EF4-FFF2-40B4-BE49-F238E27FC236}">
                  <a16:creationId xmlns:a16="http://schemas.microsoft.com/office/drawing/2014/main" id="{8A6E9B1C-F5E3-4869-9D37-53881A1E0D30}"/>
                </a:ext>
              </a:extLst>
            </p:cNvPr>
            <p:cNvSpPr/>
            <p:nvPr/>
          </p:nvSpPr>
          <p:spPr>
            <a:xfrm rot="8716295">
              <a:off x="802636" y="347690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1" name="Forme libre : forme 2600">
              <a:extLst>
                <a:ext uri="{FF2B5EF4-FFF2-40B4-BE49-F238E27FC236}">
                  <a16:creationId xmlns:a16="http://schemas.microsoft.com/office/drawing/2014/main" id="{9334980A-BAFA-4A40-881F-47BA45E71C45}"/>
                </a:ext>
              </a:extLst>
            </p:cNvPr>
            <p:cNvSpPr/>
            <p:nvPr/>
          </p:nvSpPr>
          <p:spPr>
            <a:xfrm rot="8716295">
              <a:off x="980088" y="331766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2" name="Forme libre : forme 2601">
              <a:extLst>
                <a:ext uri="{FF2B5EF4-FFF2-40B4-BE49-F238E27FC236}">
                  <a16:creationId xmlns:a16="http://schemas.microsoft.com/office/drawing/2014/main" id="{CB8DEDF2-3B2E-45C9-B615-DEF954E19F5C}"/>
                </a:ext>
              </a:extLst>
            </p:cNvPr>
            <p:cNvSpPr/>
            <p:nvPr/>
          </p:nvSpPr>
          <p:spPr>
            <a:xfrm rot="8716295">
              <a:off x="653978" y="436312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3" name="Forme libre : forme 2602">
              <a:extLst>
                <a:ext uri="{FF2B5EF4-FFF2-40B4-BE49-F238E27FC236}">
                  <a16:creationId xmlns:a16="http://schemas.microsoft.com/office/drawing/2014/main" id="{A0F4E462-72BE-4E95-8052-DC09F97FD920}"/>
                </a:ext>
              </a:extLst>
            </p:cNvPr>
            <p:cNvSpPr/>
            <p:nvPr/>
          </p:nvSpPr>
          <p:spPr>
            <a:xfrm rot="8716295">
              <a:off x="743370" y="439236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4" name="Forme libre : forme 2603">
              <a:extLst>
                <a:ext uri="{FF2B5EF4-FFF2-40B4-BE49-F238E27FC236}">
                  <a16:creationId xmlns:a16="http://schemas.microsoft.com/office/drawing/2014/main" id="{B5E4A9EC-F9DB-4374-B71B-DBB47B736D39}"/>
                </a:ext>
              </a:extLst>
            </p:cNvPr>
            <p:cNvSpPr/>
            <p:nvPr/>
          </p:nvSpPr>
          <p:spPr>
            <a:xfrm rot="8716295">
              <a:off x="698520" y="430608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5" name="Forme libre : forme 2604">
              <a:extLst>
                <a:ext uri="{FF2B5EF4-FFF2-40B4-BE49-F238E27FC236}">
                  <a16:creationId xmlns:a16="http://schemas.microsoft.com/office/drawing/2014/main" id="{9327144A-57D0-46D2-94EE-E0EDBB5CBE6B}"/>
                </a:ext>
              </a:extLst>
            </p:cNvPr>
            <p:cNvSpPr/>
            <p:nvPr/>
          </p:nvSpPr>
          <p:spPr>
            <a:xfrm rot="8716295">
              <a:off x="541744" y="445166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6" name="Forme libre : forme 2605">
              <a:extLst>
                <a:ext uri="{FF2B5EF4-FFF2-40B4-BE49-F238E27FC236}">
                  <a16:creationId xmlns:a16="http://schemas.microsoft.com/office/drawing/2014/main" id="{CF6C36D8-54CF-4C2D-805A-C0939EA3F7FF}"/>
                </a:ext>
              </a:extLst>
            </p:cNvPr>
            <p:cNvSpPr/>
            <p:nvPr/>
          </p:nvSpPr>
          <p:spPr>
            <a:xfrm rot="8716295">
              <a:off x="416841" y="424299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7" name="Forme libre : forme 2606">
              <a:extLst>
                <a:ext uri="{FF2B5EF4-FFF2-40B4-BE49-F238E27FC236}">
                  <a16:creationId xmlns:a16="http://schemas.microsoft.com/office/drawing/2014/main" id="{C0525EEA-9ECF-45A3-94B2-985EBCFF2BE0}"/>
                </a:ext>
              </a:extLst>
            </p:cNvPr>
            <p:cNvSpPr/>
            <p:nvPr/>
          </p:nvSpPr>
          <p:spPr>
            <a:xfrm rot="8716295">
              <a:off x="404789" y="410421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8" name="Forme libre : forme 2607">
              <a:extLst>
                <a:ext uri="{FF2B5EF4-FFF2-40B4-BE49-F238E27FC236}">
                  <a16:creationId xmlns:a16="http://schemas.microsoft.com/office/drawing/2014/main" id="{A3C12029-0ED3-40B9-BF57-1173D18F4F7E}"/>
                </a:ext>
              </a:extLst>
            </p:cNvPr>
            <p:cNvSpPr/>
            <p:nvPr/>
          </p:nvSpPr>
          <p:spPr>
            <a:xfrm rot="8716295">
              <a:off x="631922" y="449261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9" name="Forme libre : forme 2608">
              <a:extLst>
                <a:ext uri="{FF2B5EF4-FFF2-40B4-BE49-F238E27FC236}">
                  <a16:creationId xmlns:a16="http://schemas.microsoft.com/office/drawing/2014/main" id="{C60E6EB0-4431-4352-A520-775C9B1D20EB}"/>
                </a:ext>
              </a:extLst>
            </p:cNvPr>
            <p:cNvSpPr/>
            <p:nvPr/>
          </p:nvSpPr>
          <p:spPr>
            <a:xfrm rot="8716295">
              <a:off x="943077" y="411297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0" name="Forme libre : forme 2609">
              <a:extLst>
                <a:ext uri="{FF2B5EF4-FFF2-40B4-BE49-F238E27FC236}">
                  <a16:creationId xmlns:a16="http://schemas.microsoft.com/office/drawing/2014/main" id="{B066E095-E974-4F34-ACE3-A24B4391CB1F}"/>
                </a:ext>
              </a:extLst>
            </p:cNvPr>
            <p:cNvSpPr/>
            <p:nvPr/>
          </p:nvSpPr>
          <p:spPr>
            <a:xfrm rot="8716295">
              <a:off x="1032469" y="414221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1" name="Forme libre : forme 2610">
              <a:extLst>
                <a:ext uri="{FF2B5EF4-FFF2-40B4-BE49-F238E27FC236}">
                  <a16:creationId xmlns:a16="http://schemas.microsoft.com/office/drawing/2014/main" id="{CBDAA4A6-CE8D-49EC-958E-CCED7DECB58D}"/>
                </a:ext>
              </a:extLst>
            </p:cNvPr>
            <p:cNvSpPr/>
            <p:nvPr/>
          </p:nvSpPr>
          <p:spPr>
            <a:xfrm rot="8716295">
              <a:off x="830843" y="420151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2" name="Forme libre : forme 2611">
              <a:extLst>
                <a:ext uri="{FF2B5EF4-FFF2-40B4-BE49-F238E27FC236}">
                  <a16:creationId xmlns:a16="http://schemas.microsoft.com/office/drawing/2014/main" id="{288DAD6F-B380-40EA-8AAF-2306A1EC474F}"/>
                </a:ext>
              </a:extLst>
            </p:cNvPr>
            <p:cNvSpPr/>
            <p:nvPr/>
          </p:nvSpPr>
          <p:spPr>
            <a:xfrm rot="8716295">
              <a:off x="705941" y="399284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3" name="Forme libre : forme 2612">
              <a:extLst>
                <a:ext uri="{FF2B5EF4-FFF2-40B4-BE49-F238E27FC236}">
                  <a16:creationId xmlns:a16="http://schemas.microsoft.com/office/drawing/2014/main" id="{4A24F38C-B025-479B-BFB4-01CC9653C749}"/>
                </a:ext>
              </a:extLst>
            </p:cNvPr>
            <p:cNvSpPr/>
            <p:nvPr/>
          </p:nvSpPr>
          <p:spPr>
            <a:xfrm rot="8716295">
              <a:off x="921021" y="424246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4" name="Forme libre : forme 2613">
              <a:extLst>
                <a:ext uri="{FF2B5EF4-FFF2-40B4-BE49-F238E27FC236}">
                  <a16:creationId xmlns:a16="http://schemas.microsoft.com/office/drawing/2014/main" id="{1223FB49-E601-4769-85A8-CFA4FAB7D70B}"/>
                </a:ext>
              </a:extLst>
            </p:cNvPr>
            <p:cNvSpPr/>
            <p:nvPr/>
          </p:nvSpPr>
          <p:spPr>
            <a:xfrm rot="8716295">
              <a:off x="679570" y="409286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5" name="Forme libre : forme 2614">
              <a:extLst>
                <a:ext uri="{FF2B5EF4-FFF2-40B4-BE49-F238E27FC236}">
                  <a16:creationId xmlns:a16="http://schemas.microsoft.com/office/drawing/2014/main" id="{BA639576-6474-4C0A-8D54-5559B761F42F}"/>
                </a:ext>
              </a:extLst>
            </p:cNvPr>
            <p:cNvSpPr/>
            <p:nvPr/>
          </p:nvSpPr>
          <p:spPr>
            <a:xfrm rot="7484129">
              <a:off x="1025952" y="443381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6" name="Forme libre : forme 2615">
              <a:extLst>
                <a:ext uri="{FF2B5EF4-FFF2-40B4-BE49-F238E27FC236}">
                  <a16:creationId xmlns:a16="http://schemas.microsoft.com/office/drawing/2014/main" id="{D1BF3875-F476-48EB-80B5-AB6552F18672}"/>
                </a:ext>
              </a:extLst>
            </p:cNvPr>
            <p:cNvSpPr/>
            <p:nvPr/>
          </p:nvSpPr>
          <p:spPr>
            <a:xfrm rot="13089394">
              <a:off x="1130772" y="440035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7" name="Forme libre : forme 2616">
              <a:extLst>
                <a:ext uri="{FF2B5EF4-FFF2-40B4-BE49-F238E27FC236}">
                  <a16:creationId xmlns:a16="http://schemas.microsoft.com/office/drawing/2014/main" id="{365A6B56-59C5-4058-A50F-5C3B4137CD35}"/>
                </a:ext>
              </a:extLst>
            </p:cNvPr>
            <p:cNvSpPr/>
            <p:nvPr/>
          </p:nvSpPr>
          <p:spPr>
            <a:xfrm rot="8716295">
              <a:off x="1316357" y="420867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8" name="Forme libre : forme 2617">
              <a:extLst>
                <a:ext uri="{FF2B5EF4-FFF2-40B4-BE49-F238E27FC236}">
                  <a16:creationId xmlns:a16="http://schemas.microsoft.com/office/drawing/2014/main" id="{8C5BA123-C7D6-44D6-AA16-D21269FAA986}"/>
                </a:ext>
              </a:extLst>
            </p:cNvPr>
            <p:cNvSpPr/>
            <p:nvPr/>
          </p:nvSpPr>
          <p:spPr>
            <a:xfrm rot="8716295">
              <a:off x="1264552" y="410507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9" name="Forme libre : forme 2618">
              <a:extLst>
                <a:ext uri="{FF2B5EF4-FFF2-40B4-BE49-F238E27FC236}">
                  <a16:creationId xmlns:a16="http://schemas.microsoft.com/office/drawing/2014/main" id="{70BEA0E6-BA45-474E-9DCD-1EA76AE64104}"/>
                </a:ext>
              </a:extLst>
            </p:cNvPr>
            <p:cNvSpPr/>
            <p:nvPr/>
          </p:nvSpPr>
          <p:spPr>
            <a:xfrm rot="8716295">
              <a:off x="1021306" y="413529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0" name="Forme libre : forme 2619">
              <a:extLst>
                <a:ext uri="{FF2B5EF4-FFF2-40B4-BE49-F238E27FC236}">
                  <a16:creationId xmlns:a16="http://schemas.microsoft.com/office/drawing/2014/main" id="{C149CD7C-7D92-4AED-9D1C-37BD7242EF23}"/>
                </a:ext>
              </a:extLst>
            </p:cNvPr>
            <p:cNvSpPr/>
            <p:nvPr/>
          </p:nvSpPr>
          <p:spPr>
            <a:xfrm rot="8716295">
              <a:off x="1198758" y="397605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1" name="Forme libre : forme 2620">
              <a:extLst>
                <a:ext uri="{FF2B5EF4-FFF2-40B4-BE49-F238E27FC236}">
                  <a16:creationId xmlns:a16="http://schemas.microsoft.com/office/drawing/2014/main" id="{80F0E45F-313A-4E3C-BD45-F7FCACCBFE55}"/>
                </a:ext>
              </a:extLst>
            </p:cNvPr>
            <p:cNvSpPr/>
            <p:nvPr/>
          </p:nvSpPr>
          <p:spPr>
            <a:xfrm rot="8716295">
              <a:off x="849927" y="5056695"/>
              <a:ext cx="61059" cy="114384"/>
            </a:xfrm>
            <a:custGeom>
              <a:avLst/>
              <a:gdLst>
                <a:gd name="connsiteX0" fmla="*/ 0 w 61059"/>
                <a:gd name="connsiteY0" fmla="*/ 114384 h 114384"/>
                <a:gd name="connsiteX1" fmla="*/ 0 w 61059"/>
                <a:gd name="connsiteY1" fmla="*/ 0 h 114384"/>
                <a:gd name="connsiteX2" fmla="*/ 61059 w 61059"/>
                <a:gd name="connsiteY2" fmla="*/ 42324 h 114384"/>
                <a:gd name="connsiteX3" fmla="*/ 61059 w 61059"/>
                <a:gd name="connsiteY3" fmla="*/ 90234 h 114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059" h="114384">
                  <a:moveTo>
                    <a:pt x="0" y="114384"/>
                  </a:moveTo>
                  <a:lnTo>
                    <a:pt x="0" y="0"/>
                  </a:lnTo>
                  <a:lnTo>
                    <a:pt x="61059" y="42324"/>
                  </a:lnTo>
                  <a:lnTo>
                    <a:pt x="61059" y="902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2" name="Forme libre : forme 2621">
              <a:extLst>
                <a:ext uri="{FF2B5EF4-FFF2-40B4-BE49-F238E27FC236}">
                  <a16:creationId xmlns:a16="http://schemas.microsoft.com/office/drawing/2014/main" id="{7529EC4C-3BE3-428A-99A6-A49001A03C8A}"/>
                </a:ext>
              </a:extLst>
            </p:cNvPr>
            <p:cNvSpPr/>
            <p:nvPr/>
          </p:nvSpPr>
          <p:spPr>
            <a:xfrm rot="8716295">
              <a:off x="1072880" y="5030752"/>
              <a:ext cx="60148" cy="142578"/>
            </a:xfrm>
            <a:custGeom>
              <a:avLst/>
              <a:gdLst>
                <a:gd name="connsiteX0" fmla="*/ 0 w 60148"/>
                <a:gd name="connsiteY0" fmla="*/ 142578 h 142578"/>
                <a:gd name="connsiteX1" fmla="*/ 0 w 60148"/>
                <a:gd name="connsiteY1" fmla="*/ 0 h 142578"/>
                <a:gd name="connsiteX2" fmla="*/ 60148 w 60148"/>
                <a:gd name="connsiteY2" fmla="*/ 41693 h 142578"/>
                <a:gd name="connsiteX3" fmla="*/ 60148 w 60148"/>
                <a:gd name="connsiteY3" fmla="*/ 101569 h 142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8" h="142578">
                  <a:moveTo>
                    <a:pt x="0" y="142578"/>
                  </a:moveTo>
                  <a:lnTo>
                    <a:pt x="0" y="0"/>
                  </a:lnTo>
                  <a:lnTo>
                    <a:pt x="60148" y="41693"/>
                  </a:lnTo>
                  <a:lnTo>
                    <a:pt x="60148" y="1015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3" name="Forme libre : forme 2622">
              <a:extLst>
                <a:ext uri="{FF2B5EF4-FFF2-40B4-BE49-F238E27FC236}">
                  <a16:creationId xmlns:a16="http://schemas.microsoft.com/office/drawing/2014/main" id="{236BE908-FD47-4165-8DE7-ECD8DAF2AAAA}"/>
                </a:ext>
              </a:extLst>
            </p:cNvPr>
            <p:cNvSpPr/>
            <p:nvPr/>
          </p:nvSpPr>
          <p:spPr>
            <a:xfrm rot="8716295">
              <a:off x="921687" y="496578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4" name="Forme libre : forme 2623">
              <a:extLst>
                <a:ext uri="{FF2B5EF4-FFF2-40B4-BE49-F238E27FC236}">
                  <a16:creationId xmlns:a16="http://schemas.microsoft.com/office/drawing/2014/main" id="{9D0A88D9-251D-4CDC-8AD5-7088F4C7446F}"/>
                </a:ext>
              </a:extLst>
            </p:cNvPr>
            <p:cNvSpPr/>
            <p:nvPr/>
          </p:nvSpPr>
          <p:spPr>
            <a:xfrm rot="8716295">
              <a:off x="762271" y="5108547"/>
              <a:ext cx="53742" cy="49705"/>
            </a:xfrm>
            <a:custGeom>
              <a:avLst/>
              <a:gdLst>
                <a:gd name="connsiteX0" fmla="*/ 8658 w 53742"/>
                <a:gd name="connsiteY0" fmla="*/ 41503 h 49705"/>
                <a:gd name="connsiteX1" fmla="*/ 0 w 53742"/>
                <a:gd name="connsiteY1" fmla="*/ 20999 h 49705"/>
                <a:gd name="connsiteX2" fmla="*/ 0 w 53742"/>
                <a:gd name="connsiteY2" fmla="*/ 20542 h 49705"/>
                <a:gd name="connsiteX3" fmla="*/ 8658 w 53742"/>
                <a:gd name="connsiteY3" fmla="*/ 38 h 49705"/>
                <a:gd name="connsiteX4" fmla="*/ 8747 w 53742"/>
                <a:gd name="connsiteY4" fmla="*/ 0 h 49705"/>
                <a:gd name="connsiteX5" fmla="*/ 53742 w 53742"/>
                <a:gd name="connsiteY5" fmla="*/ 31189 h 49705"/>
                <a:gd name="connsiteX6" fmla="*/ 49668 w 53742"/>
                <a:gd name="connsiteY6" fmla="*/ 41048 h 49705"/>
                <a:gd name="connsiteX7" fmla="*/ 29162 w 53742"/>
                <a:gd name="connsiteY7" fmla="*/ 49705 h 49705"/>
                <a:gd name="connsiteX8" fmla="*/ 8658 w 53742"/>
                <a:gd name="connsiteY8" fmla="*/ 41503 h 49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2" h="49705">
                  <a:moveTo>
                    <a:pt x="8658" y="41503"/>
                  </a:moveTo>
                  <a:cubicBezTo>
                    <a:pt x="3190" y="36035"/>
                    <a:pt x="0" y="28744"/>
                    <a:pt x="0" y="20999"/>
                  </a:cubicBezTo>
                  <a:lnTo>
                    <a:pt x="0" y="20542"/>
                  </a:lnTo>
                  <a:cubicBezTo>
                    <a:pt x="0" y="12796"/>
                    <a:pt x="3190" y="5506"/>
                    <a:pt x="8658" y="38"/>
                  </a:cubicBezTo>
                  <a:lnTo>
                    <a:pt x="8747" y="0"/>
                  </a:lnTo>
                  <a:lnTo>
                    <a:pt x="53742" y="31189"/>
                  </a:lnTo>
                  <a:lnTo>
                    <a:pt x="49668" y="41048"/>
                  </a:lnTo>
                  <a:cubicBezTo>
                    <a:pt x="44200" y="46516"/>
                    <a:pt x="36909" y="49705"/>
                    <a:pt x="29162" y="49705"/>
                  </a:cubicBezTo>
                  <a:cubicBezTo>
                    <a:pt x="21416" y="49705"/>
                    <a:pt x="14126" y="46971"/>
                    <a:pt x="8658" y="415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5" name="Forme libre : forme 2624">
              <a:extLst>
                <a:ext uri="{FF2B5EF4-FFF2-40B4-BE49-F238E27FC236}">
                  <a16:creationId xmlns:a16="http://schemas.microsoft.com/office/drawing/2014/main" id="{24CE2296-47DA-4E73-B690-5BD981A20099}"/>
                </a:ext>
              </a:extLst>
            </p:cNvPr>
            <p:cNvSpPr/>
            <p:nvPr/>
          </p:nvSpPr>
          <p:spPr>
            <a:xfrm rot="8716295">
              <a:off x="635497" y="4902607"/>
              <a:ext cx="203847" cy="195874"/>
            </a:xfrm>
            <a:custGeom>
              <a:avLst/>
              <a:gdLst>
                <a:gd name="connsiteX0" fmla="*/ 90709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203847 w 203847"/>
                <a:gd name="connsiteY5" fmla="*/ 0 h 195874"/>
                <a:gd name="connsiteX6" fmla="*/ 203847 w 203847"/>
                <a:gd name="connsiteY6" fmla="*/ 55323 h 195874"/>
                <a:gd name="connsiteX7" fmla="*/ 139055 w 203847"/>
                <a:gd name="connsiteY7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95874">
                  <a:moveTo>
                    <a:pt x="90709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6" name="Forme libre : forme 2625">
              <a:extLst>
                <a:ext uri="{FF2B5EF4-FFF2-40B4-BE49-F238E27FC236}">
                  <a16:creationId xmlns:a16="http://schemas.microsoft.com/office/drawing/2014/main" id="{69ED9B1C-460E-49D7-9814-5E873DD38909}"/>
                </a:ext>
              </a:extLst>
            </p:cNvPr>
            <p:cNvSpPr/>
            <p:nvPr/>
          </p:nvSpPr>
          <p:spPr>
            <a:xfrm rot="8716295">
              <a:off x="627956" y="476391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7" name="Forme libre : forme 2626">
              <a:extLst>
                <a:ext uri="{FF2B5EF4-FFF2-40B4-BE49-F238E27FC236}">
                  <a16:creationId xmlns:a16="http://schemas.microsoft.com/office/drawing/2014/main" id="{79D260F9-94B8-41AD-A161-808B1C0A7D15}"/>
                </a:ext>
              </a:extLst>
            </p:cNvPr>
            <p:cNvSpPr/>
            <p:nvPr/>
          </p:nvSpPr>
          <p:spPr>
            <a:xfrm rot="8716295">
              <a:off x="1166244" y="477267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8" name="Forme libre : forme 2627">
              <a:extLst>
                <a:ext uri="{FF2B5EF4-FFF2-40B4-BE49-F238E27FC236}">
                  <a16:creationId xmlns:a16="http://schemas.microsoft.com/office/drawing/2014/main" id="{F05AB143-FB53-4FDC-BA57-6D2DC99C98E2}"/>
                </a:ext>
              </a:extLst>
            </p:cNvPr>
            <p:cNvSpPr/>
            <p:nvPr/>
          </p:nvSpPr>
          <p:spPr>
            <a:xfrm rot="8716295">
              <a:off x="1255636" y="480191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9" name="Forme libre : forme 2628">
              <a:extLst>
                <a:ext uri="{FF2B5EF4-FFF2-40B4-BE49-F238E27FC236}">
                  <a16:creationId xmlns:a16="http://schemas.microsoft.com/office/drawing/2014/main" id="{7DCFE830-90FF-4B60-9B6B-E08B672D854F}"/>
                </a:ext>
              </a:extLst>
            </p:cNvPr>
            <p:cNvSpPr/>
            <p:nvPr/>
          </p:nvSpPr>
          <p:spPr>
            <a:xfrm rot="8716295">
              <a:off x="1054010" y="486121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0" name="Forme libre : forme 2629">
              <a:extLst>
                <a:ext uri="{FF2B5EF4-FFF2-40B4-BE49-F238E27FC236}">
                  <a16:creationId xmlns:a16="http://schemas.microsoft.com/office/drawing/2014/main" id="{B4B54539-14CC-41BD-B75A-325D1E42B0DE}"/>
                </a:ext>
              </a:extLst>
            </p:cNvPr>
            <p:cNvSpPr/>
            <p:nvPr/>
          </p:nvSpPr>
          <p:spPr>
            <a:xfrm rot="8716295">
              <a:off x="929108" y="465254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1" name="Forme libre : forme 2630">
              <a:extLst>
                <a:ext uri="{FF2B5EF4-FFF2-40B4-BE49-F238E27FC236}">
                  <a16:creationId xmlns:a16="http://schemas.microsoft.com/office/drawing/2014/main" id="{DEBFD6B9-903B-4010-BD7C-FE85EFE6B331}"/>
                </a:ext>
              </a:extLst>
            </p:cNvPr>
            <p:cNvSpPr/>
            <p:nvPr/>
          </p:nvSpPr>
          <p:spPr>
            <a:xfrm rot="8716295">
              <a:off x="1144188" y="490216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2" name="Forme libre : forme 2631">
              <a:extLst>
                <a:ext uri="{FF2B5EF4-FFF2-40B4-BE49-F238E27FC236}">
                  <a16:creationId xmlns:a16="http://schemas.microsoft.com/office/drawing/2014/main" id="{A82EDDD3-D641-4773-AD0E-A0BEBC26D35C}"/>
                </a:ext>
              </a:extLst>
            </p:cNvPr>
            <p:cNvSpPr/>
            <p:nvPr/>
          </p:nvSpPr>
          <p:spPr>
            <a:xfrm rot="8716295">
              <a:off x="902737" y="475256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3" name="Forme libre : forme 2632">
              <a:extLst>
                <a:ext uri="{FF2B5EF4-FFF2-40B4-BE49-F238E27FC236}">
                  <a16:creationId xmlns:a16="http://schemas.microsoft.com/office/drawing/2014/main" id="{47B99FED-FE43-4D3F-823F-416C658CC0FD}"/>
                </a:ext>
              </a:extLst>
            </p:cNvPr>
            <p:cNvSpPr/>
            <p:nvPr/>
          </p:nvSpPr>
          <p:spPr>
            <a:xfrm rot="7484129">
              <a:off x="1313689" y="5058219"/>
              <a:ext cx="97325" cy="159603"/>
            </a:xfrm>
            <a:custGeom>
              <a:avLst/>
              <a:gdLst>
                <a:gd name="connsiteX0" fmla="*/ 0 w 97325"/>
                <a:gd name="connsiteY0" fmla="*/ 19052 h 159603"/>
                <a:gd name="connsiteX1" fmla="*/ 0 w 97325"/>
                <a:gd name="connsiteY1" fmla="*/ 0 h 159603"/>
                <a:gd name="connsiteX2" fmla="*/ 13209 w 97325"/>
                <a:gd name="connsiteY2" fmla="*/ 19052 h 159603"/>
                <a:gd name="connsiteX3" fmla="*/ 90710 w 97325"/>
                <a:gd name="connsiteY3" fmla="*/ 159603 h 159603"/>
                <a:gd name="connsiteX4" fmla="*/ 47847 w 97325"/>
                <a:gd name="connsiteY4" fmla="*/ 79858 h 159603"/>
                <a:gd name="connsiteX5" fmla="*/ 50421 w 97325"/>
                <a:gd name="connsiteY5" fmla="*/ 72721 h 159603"/>
                <a:gd name="connsiteX6" fmla="*/ 97325 w 97325"/>
                <a:gd name="connsiteY6" fmla="*/ 140370 h 159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7325" h="159603">
                  <a:moveTo>
                    <a:pt x="0" y="19052"/>
                  </a:moveTo>
                  <a:lnTo>
                    <a:pt x="0" y="0"/>
                  </a:lnTo>
                  <a:lnTo>
                    <a:pt x="13209" y="19052"/>
                  </a:lnTo>
                  <a:close/>
                  <a:moveTo>
                    <a:pt x="90710" y="159603"/>
                  </a:moveTo>
                  <a:lnTo>
                    <a:pt x="47847" y="79858"/>
                  </a:lnTo>
                  <a:lnTo>
                    <a:pt x="50421" y="72721"/>
                  </a:lnTo>
                  <a:lnTo>
                    <a:pt x="97325" y="14037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4" name="Forme libre : forme 2633">
              <a:extLst>
                <a:ext uri="{FF2B5EF4-FFF2-40B4-BE49-F238E27FC236}">
                  <a16:creationId xmlns:a16="http://schemas.microsoft.com/office/drawing/2014/main" id="{CD995AAD-128C-467F-9BB7-36623FE9AF9C}"/>
                </a:ext>
              </a:extLst>
            </p:cNvPr>
            <p:cNvSpPr/>
            <p:nvPr/>
          </p:nvSpPr>
          <p:spPr>
            <a:xfrm rot="13089394">
              <a:off x="1435176" y="5064332"/>
              <a:ext cx="213297" cy="83320"/>
            </a:xfrm>
            <a:custGeom>
              <a:avLst/>
              <a:gdLst>
                <a:gd name="connsiteX0" fmla="*/ 213297 w 213297"/>
                <a:gd name="connsiteY0" fmla="*/ 12691 h 83320"/>
                <a:gd name="connsiteX1" fmla="*/ 32310 w 213297"/>
                <a:gd name="connsiteY1" fmla="*/ 83320 h 83320"/>
                <a:gd name="connsiteX2" fmla="*/ 0 w 213297"/>
                <a:gd name="connsiteY2" fmla="*/ 77753 h 83320"/>
                <a:gd name="connsiteX3" fmla="*/ 69926 w 213297"/>
                <a:gd name="connsiteY3" fmla="*/ 22813 h 83320"/>
                <a:gd name="connsiteX4" fmla="*/ 94662 w 213297"/>
                <a:gd name="connsiteY4" fmla="*/ 36418 h 83320"/>
                <a:gd name="connsiteX5" fmla="*/ 144323 w 213297"/>
                <a:gd name="connsiteY5" fmla="*/ 27589 h 83320"/>
                <a:gd name="connsiteX6" fmla="*/ 212193 w 213297"/>
                <a:gd name="connsiteY6" fmla="*/ 0 h 83320"/>
                <a:gd name="connsiteX7" fmla="*/ 213297 w 213297"/>
                <a:gd name="connsiteY7" fmla="*/ 7173 h 83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3297" h="83320">
                  <a:moveTo>
                    <a:pt x="213297" y="12691"/>
                  </a:moveTo>
                  <a:cubicBezTo>
                    <a:pt x="154807" y="62904"/>
                    <a:pt x="78108" y="80561"/>
                    <a:pt x="32310" y="83320"/>
                  </a:cubicBezTo>
                  <a:lnTo>
                    <a:pt x="0" y="77753"/>
                  </a:lnTo>
                  <a:lnTo>
                    <a:pt x="69926" y="22813"/>
                  </a:lnTo>
                  <a:lnTo>
                    <a:pt x="94662" y="36418"/>
                  </a:lnTo>
                  <a:cubicBezTo>
                    <a:pt x="111768" y="35866"/>
                    <a:pt x="128321" y="32555"/>
                    <a:pt x="144323" y="27589"/>
                  </a:cubicBezTo>
                  <a:cubicBezTo>
                    <a:pt x="167498" y="20416"/>
                    <a:pt x="190122" y="11036"/>
                    <a:pt x="212193" y="0"/>
                  </a:cubicBezTo>
                  <a:cubicBezTo>
                    <a:pt x="212745" y="2207"/>
                    <a:pt x="213297" y="4966"/>
                    <a:pt x="213297" y="71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5" name="Forme libre : forme 2634">
              <a:extLst>
                <a:ext uri="{FF2B5EF4-FFF2-40B4-BE49-F238E27FC236}">
                  <a16:creationId xmlns:a16="http://schemas.microsoft.com/office/drawing/2014/main" id="{49D90B24-A800-4AB4-8BC6-20F8B1C7CC95}"/>
                </a:ext>
              </a:extLst>
            </p:cNvPr>
            <p:cNvSpPr/>
            <p:nvPr/>
          </p:nvSpPr>
          <p:spPr>
            <a:xfrm rot="8716295">
              <a:off x="1539524" y="486837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6" name="Forme libre : forme 2635">
              <a:extLst>
                <a:ext uri="{FF2B5EF4-FFF2-40B4-BE49-F238E27FC236}">
                  <a16:creationId xmlns:a16="http://schemas.microsoft.com/office/drawing/2014/main" id="{E7BFA9FF-1546-4389-8A4F-CB28F2368F69}"/>
                </a:ext>
              </a:extLst>
            </p:cNvPr>
            <p:cNvSpPr/>
            <p:nvPr/>
          </p:nvSpPr>
          <p:spPr>
            <a:xfrm rot="8716295">
              <a:off x="1487719" y="476477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7" name="Forme libre : forme 2636">
              <a:extLst>
                <a:ext uri="{FF2B5EF4-FFF2-40B4-BE49-F238E27FC236}">
                  <a16:creationId xmlns:a16="http://schemas.microsoft.com/office/drawing/2014/main" id="{FCAD725F-8F6F-478A-87B0-EEC32F9F919D}"/>
                </a:ext>
              </a:extLst>
            </p:cNvPr>
            <p:cNvSpPr/>
            <p:nvPr/>
          </p:nvSpPr>
          <p:spPr>
            <a:xfrm rot="8716295">
              <a:off x="1244473" y="479499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8" name="Forme libre : forme 2637">
              <a:extLst>
                <a:ext uri="{FF2B5EF4-FFF2-40B4-BE49-F238E27FC236}">
                  <a16:creationId xmlns:a16="http://schemas.microsoft.com/office/drawing/2014/main" id="{8D93731B-9FC7-4DB3-B5BD-48812BA1AC03}"/>
                </a:ext>
              </a:extLst>
            </p:cNvPr>
            <p:cNvSpPr/>
            <p:nvPr/>
          </p:nvSpPr>
          <p:spPr>
            <a:xfrm rot="8716295">
              <a:off x="1421925" y="463575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9" name="Forme libre : forme 2638">
              <a:extLst>
                <a:ext uri="{FF2B5EF4-FFF2-40B4-BE49-F238E27FC236}">
                  <a16:creationId xmlns:a16="http://schemas.microsoft.com/office/drawing/2014/main" id="{FBF4D361-9AA8-4A88-8218-D320BCC61A2A}"/>
                </a:ext>
              </a:extLst>
            </p:cNvPr>
            <p:cNvSpPr/>
            <p:nvPr/>
          </p:nvSpPr>
          <p:spPr>
            <a:xfrm rot="8716295">
              <a:off x="-3428" y="2405990"/>
              <a:ext cx="142167" cy="208592"/>
            </a:xfrm>
            <a:custGeom>
              <a:avLst/>
              <a:gdLst>
                <a:gd name="connsiteX0" fmla="*/ 81108 w 142167"/>
                <a:gd name="connsiteY0" fmla="*/ 208592 h 208592"/>
                <a:gd name="connsiteX1" fmla="*/ 81108 w 142167"/>
                <a:gd name="connsiteY1" fmla="*/ 69717 h 208592"/>
                <a:gd name="connsiteX2" fmla="*/ 81108 w 142167"/>
                <a:gd name="connsiteY2" fmla="*/ 65615 h 208592"/>
                <a:gd name="connsiteX3" fmla="*/ 60604 w 142167"/>
                <a:gd name="connsiteY3" fmla="*/ 50123 h 208592"/>
                <a:gd name="connsiteX4" fmla="*/ 0 w 142167"/>
                <a:gd name="connsiteY4" fmla="*/ 50123 h 208592"/>
                <a:gd name="connsiteX5" fmla="*/ 0 w 142167"/>
                <a:gd name="connsiteY5" fmla="*/ 0 h 208592"/>
                <a:gd name="connsiteX6" fmla="*/ 85210 w 142167"/>
                <a:gd name="connsiteY6" fmla="*/ 0 h 208592"/>
                <a:gd name="connsiteX7" fmla="*/ 142167 w 142167"/>
                <a:gd name="connsiteY7" fmla="*/ 50123 h 208592"/>
                <a:gd name="connsiteX8" fmla="*/ 142167 w 142167"/>
                <a:gd name="connsiteY8" fmla="*/ 120504 h 20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08592">
                  <a:moveTo>
                    <a:pt x="81108" y="208592"/>
                  </a:moveTo>
                  <a:lnTo>
                    <a:pt x="81108" y="69717"/>
                  </a:lnTo>
                  <a:cubicBezTo>
                    <a:pt x="81108" y="68350"/>
                    <a:pt x="81108" y="66983"/>
                    <a:pt x="81108" y="65615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10" y="0"/>
                  </a:lnTo>
                  <a:cubicBezTo>
                    <a:pt x="122118" y="0"/>
                    <a:pt x="142167" y="15948"/>
                    <a:pt x="142167" y="50123"/>
                  </a:cubicBezTo>
                  <a:lnTo>
                    <a:pt x="142167" y="1205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0" name="Forme libre : forme 2639">
              <a:extLst>
                <a:ext uri="{FF2B5EF4-FFF2-40B4-BE49-F238E27FC236}">
                  <a16:creationId xmlns:a16="http://schemas.microsoft.com/office/drawing/2014/main" id="{F59F7285-A490-40D9-B60E-0C3A9BE2B431}"/>
                </a:ext>
              </a:extLst>
            </p:cNvPr>
            <p:cNvSpPr/>
            <p:nvPr/>
          </p:nvSpPr>
          <p:spPr>
            <a:xfrm rot="8716295">
              <a:off x="80015" y="241329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1" name="Forme libre : forme 2640">
              <a:extLst>
                <a:ext uri="{FF2B5EF4-FFF2-40B4-BE49-F238E27FC236}">
                  <a16:creationId xmlns:a16="http://schemas.microsoft.com/office/drawing/2014/main" id="{20B54E2C-EE11-45C1-BA49-4E36F75318A1}"/>
                </a:ext>
              </a:extLst>
            </p:cNvPr>
            <p:cNvSpPr/>
            <p:nvPr/>
          </p:nvSpPr>
          <p:spPr>
            <a:xfrm rot="8716295">
              <a:off x="35165" y="232701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2" name="Forme libre : forme 2641">
              <a:extLst>
                <a:ext uri="{FF2B5EF4-FFF2-40B4-BE49-F238E27FC236}">
                  <a16:creationId xmlns:a16="http://schemas.microsoft.com/office/drawing/2014/main" id="{8AE2099A-B385-47DA-B590-BD7DDE6B6A71}"/>
                </a:ext>
              </a:extLst>
            </p:cNvPr>
            <p:cNvSpPr/>
            <p:nvPr/>
          </p:nvSpPr>
          <p:spPr>
            <a:xfrm rot="8716295">
              <a:off x="-20257" y="2217087"/>
              <a:ext cx="78731" cy="180665"/>
            </a:xfrm>
            <a:custGeom>
              <a:avLst/>
              <a:gdLst>
                <a:gd name="connsiteX0" fmla="*/ 0 w 78731"/>
                <a:gd name="connsiteY0" fmla="*/ 180665 h 180665"/>
                <a:gd name="connsiteX1" fmla="*/ 0 w 78731"/>
                <a:gd name="connsiteY1" fmla="*/ 40596 h 180665"/>
                <a:gd name="connsiteX2" fmla="*/ 78250 w 78731"/>
                <a:gd name="connsiteY2" fmla="*/ 0 h 180665"/>
                <a:gd name="connsiteX3" fmla="*/ 78731 w 78731"/>
                <a:gd name="connsiteY3" fmla="*/ 67083 h 180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731" h="180665">
                  <a:moveTo>
                    <a:pt x="0" y="180665"/>
                  </a:moveTo>
                  <a:lnTo>
                    <a:pt x="0" y="40596"/>
                  </a:lnTo>
                  <a:lnTo>
                    <a:pt x="78250" y="0"/>
                  </a:lnTo>
                  <a:lnTo>
                    <a:pt x="78731" y="670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3" name="Forme libre : forme 2642">
              <a:extLst>
                <a:ext uri="{FF2B5EF4-FFF2-40B4-BE49-F238E27FC236}">
                  <a16:creationId xmlns:a16="http://schemas.microsoft.com/office/drawing/2014/main" id="{D39E2648-E7A5-42E0-AD61-95E487ECB3DA}"/>
                </a:ext>
              </a:extLst>
            </p:cNvPr>
            <p:cNvSpPr/>
            <p:nvPr/>
          </p:nvSpPr>
          <p:spPr>
            <a:xfrm rot="8716295">
              <a:off x="-15341" y="2575209"/>
              <a:ext cx="103435" cy="152027"/>
            </a:xfrm>
            <a:custGeom>
              <a:avLst/>
              <a:gdLst>
                <a:gd name="connsiteX0" fmla="*/ 43288 w 103435"/>
                <a:gd name="connsiteY0" fmla="*/ 152027 h 152027"/>
                <a:gd name="connsiteX1" fmla="*/ 43288 w 103435"/>
                <a:gd name="connsiteY1" fmla="*/ 16404 h 152027"/>
                <a:gd name="connsiteX2" fmla="*/ 0 w 103435"/>
                <a:gd name="connsiteY2" fmla="*/ 16404 h 152027"/>
                <a:gd name="connsiteX3" fmla="*/ 0 w 103435"/>
                <a:gd name="connsiteY3" fmla="*/ 2278 h 152027"/>
                <a:gd name="connsiteX4" fmla="*/ 103435 w 103435"/>
                <a:gd name="connsiteY4" fmla="*/ 0 h 152027"/>
                <a:gd name="connsiteX5" fmla="*/ 103435 w 103435"/>
                <a:gd name="connsiteY5" fmla="*/ 65255 h 152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152027">
                  <a:moveTo>
                    <a:pt x="43288" y="152027"/>
                  </a:move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652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4" name="Forme libre : forme 2643">
              <a:extLst>
                <a:ext uri="{FF2B5EF4-FFF2-40B4-BE49-F238E27FC236}">
                  <a16:creationId xmlns:a16="http://schemas.microsoft.com/office/drawing/2014/main" id="{F9F90177-1768-4A55-9562-0BA26D7DB1AB}"/>
                </a:ext>
              </a:extLst>
            </p:cNvPr>
            <p:cNvSpPr/>
            <p:nvPr/>
          </p:nvSpPr>
          <p:spPr>
            <a:xfrm rot="8716295">
              <a:off x="279722" y="21339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5" name="Forme libre : forme 2644">
              <a:extLst>
                <a:ext uri="{FF2B5EF4-FFF2-40B4-BE49-F238E27FC236}">
                  <a16:creationId xmlns:a16="http://schemas.microsoft.com/office/drawing/2014/main" id="{C30F908C-2E6C-43EB-AF00-6AFB653DDDA9}"/>
                </a:ext>
              </a:extLst>
            </p:cNvPr>
            <p:cNvSpPr/>
            <p:nvPr/>
          </p:nvSpPr>
          <p:spPr>
            <a:xfrm rot="8716295">
              <a:off x="369114" y="21631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6" name="Forme libre : forme 2645">
              <a:extLst>
                <a:ext uri="{FF2B5EF4-FFF2-40B4-BE49-F238E27FC236}">
                  <a16:creationId xmlns:a16="http://schemas.microsoft.com/office/drawing/2014/main" id="{8A6E38A5-6A60-4A98-B0EA-F6F171396D5F}"/>
                </a:ext>
              </a:extLst>
            </p:cNvPr>
            <p:cNvSpPr/>
            <p:nvPr/>
          </p:nvSpPr>
          <p:spPr>
            <a:xfrm rot="8716295">
              <a:off x="167488" y="22224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7" name="Forme libre : forme 2646">
              <a:extLst>
                <a:ext uri="{FF2B5EF4-FFF2-40B4-BE49-F238E27FC236}">
                  <a16:creationId xmlns:a16="http://schemas.microsoft.com/office/drawing/2014/main" id="{F376FCED-9E56-4DE0-987C-6F4AE8F3F648}"/>
                </a:ext>
              </a:extLst>
            </p:cNvPr>
            <p:cNvSpPr/>
            <p:nvPr/>
          </p:nvSpPr>
          <p:spPr>
            <a:xfrm rot="8716295">
              <a:off x="42586" y="20137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8" name="Forme libre : forme 2647">
              <a:extLst>
                <a:ext uri="{FF2B5EF4-FFF2-40B4-BE49-F238E27FC236}">
                  <a16:creationId xmlns:a16="http://schemas.microsoft.com/office/drawing/2014/main" id="{FA68D9A1-7BE5-4865-B886-AE208170A038}"/>
                </a:ext>
              </a:extLst>
            </p:cNvPr>
            <p:cNvSpPr/>
            <p:nvPr/>
          </p:nvSpPr>
          <p:spPr>
            <a:xfrm rot="8716295">
              <a:off x="257666" y="226339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9" name="Forme libre : forme 2648">
              <a:extLst>
                <a:ext uri="{FF2B5EF4-FFF2-40B4-BE49-F238E27FC236}">
                  <a16:creationId xmlns:a16="http://schemas.microsoft.com/office/drawing/2014/main" id="{B16001C4-728E-4992-B46E-35C9C985501E}"/>
                </a:ext>
              </a:extLst>
            </p:cNvPr>
            <p:cNvSpPr/>
            <p:nvPr/>
          </p:nvSpPr>
          <p:spPr>
            <a:xfrm rot="8716295">
              <a:off x="16215" y="211379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0" name="Forme libre : forme 2649">
              <a:extLst>
                <a:ext uri="{FF2B5EF4-FFF2-40B4-BE49-F238E27FC236}">
                  <a16:creationId xmlns:a16="http://schemas.microsoft.com/office/drawing/2014/main" id="{7AF63A54-0A52-4D3C-947E-4870E0D9AE3D}"/>
                </a:ext>
              </a:extLst>
            </p:cNvPr>
            <p:cNvSpPr/>
            <p:nvPr/>
          </p:nvSpPr>
          <p:spPr>
            <a:xfrm rot="7484129">
              <a:off x="362597" y="245474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1" name="Forme libre : forme 2650">
              <a:extLst>
                <a:ext uri="{FF2B5EF4-FFF2-40B4-BE49-F238E27FC236}">
                  <a16:creationId xmlns:a16="http://schemas.microsoft.com/office/drawing/2014/main" id="{19CD0BE1-F9A9-42E6-8860-34AFCCE1A6B8}"/>
                </a:ext>
              </a:extLst>
            </p:cNvPr>
            <p:cNvSpPr/>
            <p:nvPr/>
          </p:nvSpPr>
          <p:spPr>
            <a:xfrm rot="13089394">
              <a:off x="467417" y="242128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2" name="Forme libre : forme 2651">
              <a:extLst>
                <a:ext uri="{FF2B5EF4-FFF2-40B4-BE49-F238E27FC236}">
                  <a16:creationId xmlns:a16="http://schemas.microsoft.com/office/drawing/2014/main" id="{6BBE7DF2-3DA5-42A5-B37A-FA0BE876F37A}"/>
                </a:ext>
              </a:extLst>
            </p:cNvPr>
            <p:cNvSpPr/>
            <p:nvPr/>
          </p:nvSpPr>
          <p:spPr>
            <a:xfrm rot="8716295">
              <a:off x="653002" y="222960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3" name="Forme libre : forme 2652">
              <a:extLst>
                <a:ext uri="{FF2B5EF4-FFF2-40B4-BE49-F238E27FC236}">
                  <a16:creationId xmlns:a16="http://schemas.microsoft.com/office/drawing/2014/main" id="{59B7756E-7BCC-43E3-9597-FAD798A603DC}"/>
                </a:ext>
              </a:extLst>
            </p:cNvPr>
            <p:cNvSpPr/>
            <p:nvPr/>
          </p:nvSpPr>
          <p:spPr>
            <a:xfrm rot="8716295">
              <a:off x="601197" y="21260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4" name="Forme libre : forme 2653">
              <a:extLst>
                <a:ext uri="{FF2B5EF4-FFF2-40B4-BE49-F238E27FC236}">
                  <a16:creationId xmlns:a16="http://schemas.microsoft.com/office/drawing/2014/main" id="{D4FA18E5-B043-4ABB-ABB9-0D25921F91B2}"/>
                </a:ext>
              </a:extLst>
            </p:cNvPr>
            <p:cNvSpPr/>
            <p:nvPr/>
          </p:nvSpPr>
          <p:spPr>
            <a:xfrm rot="8716295">
              <a:off x="357951" y="21562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5" name="Forme libre : forme 2654">
              <a:extLst>
                <a:ext uri="{FF2B5EF4-FFF2-40B4-BE49-F238E27FC236}">
                  <a16:creationId xmlns:a16="http://schemas.microsoft.com/office/drawing/2014/main" id="{72361D6A-CAD4-4B23-97BF-CCD29A718F6D}"/>
                </a:ext>
              </a:extLst>
            </p:cNvPr>
            <p:cNvSpPr/>
            <p:nvPr/>
          </p:nvSpPr>
          <p:spPr>
            <a:xfrm rot="8716295">
              <a:off x="535403" y="199698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6" name="Forme libre : forme 2655">
              <a:extLst>
                <a:ext uri="{FF2B5EF4-FFF2-40B4-BE49-F238E27FC236}">
                  <a16:creationId xmlns:a16="http://schemas.microsoft.com/office/drawing/2014/main" id="{9E172F83-E73C-4A49-AAFF-F950F2FDECFE}"/>
                </a:ext>
              </a:extLst>
            </p:cNvPr>
            <p:cNvSpPr/>
            <p:nvPr/>
          </p:nvSpPr>
          <p:spPr>
            <a:xfrm rot="8716295">
              <a:off x="-76043" y="1768178"/>
              <a:ext cx="197178" cy="215049"/>
            </a:xfrm>
            <a:custGeom>
              <a:avLst/>
              <a:gdLst>
                <a:gd name="connsiteX0" fmla="*/ 51490 w 197178"/>
                <a:gd name="connsiteY0" fmla="*/ 215049 h 215049"/>
                <a:gd name="connsiteX1" fmla="*/ 51490 w 197178"/>
                <a:gd name="connsiteY1" fmla="*/ 45624 h 215049"/>
                <a:gd name="connsiteX2" fmla="*/ 0 w 197178"/>
                <a:gd name="connsiteY2" fmla="*/ 45624 h 215049"/>
                <a:gd name="connsiteX3" fmla="*/ 0 w 197178"/>
                <a:gd name="connsiteY3" fmla="*/ 1424 h 215049"/>
                <a:gd name="connsiteX4" fmla="*/ 104803 w 197178"/>
                <a:gd name="connsiteY4" fmla="*/ 1425 h 215049"/>
                <a:gd name="connsiteX5" fmla="*/ 104803 w 197178"/>
                <a:gd name="connsiteY5" fmla="*/ 75242 h 215049"/>
                <a:gd name="connsiteX6" fmla="*/ 106169 w 197178"/>
                <a:gd name="connsiteY6" fmla="*/ 75242 h 215049"/>
                <a:gd name="connsiteX7" fmla="*/ 154014 w 197178"/>
                <a:gd name="connsiteY7" fmla="*/ 5981 h 215049"/>
                <a:gd name="connsiteX8" fmla="*/ 185455 w 197178"/>
                <a:gd name="connsiteY8" fmla="*/ 57 h 215049"/>
                <a:gd name="connsiteX9" fmla="*/ 197178 w 197178"/>
                <a:gd name="connsiteY9" fmla="*/ 4872 h 215049"/>
                <a:gd name="connsiteX10" fmla="*/ 170795 w 197178"/>
                <a:gd name="connsiteY10" fmla="*/ 42934 h 215049"/>
                <a:gd name="connsiteX11" fmla="*/ 164950 w 197178"/>
                <a:gd name="connsiteY11" fmla="*/ 40156 h 215049"/>
                <a:gd name="connsiteX12" fmla="*/ 111638 w 197178"/>
                <a:gd name="connsiteY12" fmla="*/ 127643 h 215049"/>
                <a:gd name="connsiteX13" fmla="*/ 111638 w 197178"/>
                <a:gd name="connsiteY13" fmla="*/ 128277 h 21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178" h="215049">
                  <a:moveTo>
                    <a:pt x="51490" y="215049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4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lnTo>
                    <a:pt x="197178" y="4872"/>
                  </a:lnTo>
                  <a:lnTo>
                    <a:pt x="170795" y="42934"/>
                  </a:lnTo>
                  <a:lnTo>
                    <a:pt x="164950" y="40156"/>
                  </a:ln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1282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7" name="Forme libre : forme 2656">
              <a:extLst>
                <a:ext uri="{FF2B5EF4-FFF2-40B4-BE49-F238E27FC236}">
                  <a16:creationId xmlns:a16="http://schemas.microsoft.com/office/drawing/2014/main" id="{95638BCB-CAFD-4919-B8B3-7142385EAB97}"/>
                </a:ext>
              </a:extLst>
            </p:cNvPr>
            <p:cNvSpPr/>
            <p:nvPr/>
          </p:nvSpPr>
          <p:spPr>
            <a:xfrm rot="8716295">
              <a:off x="56555" y="14742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8" name="Forme libre : forme 2657">
              <a:extLst>
                <a:ext uri="{FF2B5EF4-FFF2-40B4-BE49-F238E27FC236}">
                  <a16:creationId xmlns:a16="http://schemas.microsoft.com/office/drawing/2014/main" id="{D25EC0C0-1452-4F89-A828-C9FC7DDD0CFA}"/>
                </a:ext>
              </a:extLst>
            </p:cNvPr>
            <p:cNvSpPr/>
            <p:nvPr/>
          </p:nvSpPr>
          <p:spPr>
            <a:xfrm rot="8716295">
              <a:off x="145947" y="15034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9" name="Forme libre : forme 2658">
              <a:extLst>
                <a:ext uri="{FF2B5EF4-FFF2-40B4-BE49-F238E27FC236}">
                  <a16:creationId xmlns:a16="http://schemas.microsoft.com/office/drawing/2014/main" id="{1519431B-42BD-4AC6-AD54-662969F8A726}"/>
                </a:ext>
              </a:extLst>
            </p:cNvPr>
            <p:cNvSpPr/>
            <p:nvPr/>
          </p:nvSpPr>
          <p:spPr>
            <a:xfrm rot="8716295">
              <a:off x="-21870" y="1443501"/>
              <a:ext cx="68614" cy="55323"/>
            </a:xfrm>
            <a:custGeom>
              <a:avLst/>
              <a:gdLst>
                <a:gd name="connsiteX0" fmla="*/ 0 w 68614"/>
                <a:gd name="connsiteY0" fmla="*/ 55323 h 55323"/>
                <a:gd name="connsiteX1" fmla="*/ 0 w 68614"/>
                <a:gd name="connsiteY1" fmla="*/ 0 h 55323"/>
                <a:gd name="connsiteX2" fmla="*/ 68614 w 68614"/>
                <a:gd name="connsiteY2" fmla="*/ 0 h 55323"/>
                <a:gd name="connsiteX3" fmla="*/ 30266 w 68614"/>
                <a:gd name="connsiteY3" fmla="*/ 55323 h 55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614" h="55323">
                  <a:moveTo>
                    <a:pt x="0" y="55323"/>
                  </a:moveTo>
                  <a:lnTo>
                    <a:pt x="0" y="0"/>
                  </a:lnTo>
                  <a:lnTo>
                    <a:pt x="68614" y="0"/>
                  </a:lnTo>
                  <a:lnTo>
                    <a:pt x="30266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0" name="Forme libre : forme 2659">
              <a:extLst>
                <a:ext uri="{FF2B5EF4-FFF2-40B4-BE49-F238E27FC236}">
                  <a16:creationId xmlns:a16="http://schemas.microsoft.com/office/drawing/2014/main" id="{60238100-8A0A-4F63-804A-4A98015B47BC}"/>
                </a:ext>
              </a:extLst>
            </p:cNvPr>
            <p:cNvSpPr/>
            <p:nvPr/>
          </p:nvSpPr>
          <p:spPr>
            <a:xfrm rot="8716295">
              <a:off x="35817" y="1618109"/>
              <a:ext cx="103435" cy="203897"/>
            </a:xfrm>
            <a:custGeom>
              <a:avLst/>
              <a:gdLst>
                <a:gd name="connsiteX0" fmla="*/ 87556 w 103435"/>
                <a:gd name="connsiteY0" fmla="*/ 203897 h 203897"/>
                <a:gd name="connsiteX1" fmla="*/ 43288 w 103435"/>
                <a:gd name="connsiteY1" fmla="*/ 161305 h 203897"/>
                <a:gd name="connsiteX2" fmla="*/ 43288 w 103435"/>
                <a:gd name="connsiteY2" fmla="*/ 16404 h 203897"/>
                <a:gd name="connsiteX3" fmla="*/ 0 w 103435"/>
                <a:gd name="connsiteY3" fmla="*/ 16404 h 203897"/>
                <a:gd name="connsiteX4" fmla="*/ 0 w 103435"/>
                <a:gd name="connsiteY4" fmla="*/ 2278 h 203897"/>
                <a:gd name="connsiteX5" fmla="*/ 103435 w 103435"/>
                <a:gd name="connsiteY5" fmla="*/ 0 h 203897"/>
                <a:gd name="connsiteX6" fmla="*/ 103435 w 103435"/>
                <a:gd name="connsiteY6" fmla="*/ 180989 h 203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03897">
                  <a:moveTo>
                    <a:pt x="87556" y="203897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1809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1" name="Forme libre : forme 2660">
              <a:extLst>
                <a:ext uri="{FF2B5EF4-FFF2-40B4-BE49-F238E27FC236}">
                  <a16:creationId xmlns:a16="http://schemas.microsoft.com/office/drawing/2014/main" id="{4E2C8EF5-C37E-433B-B4E7-F8D646EC6B2E}"/>
                </a:ext>
              </a:extLst>
            </p:cNvPr>
            <p:cNvSpPr/>
            <p:nvPr/>
          </p:nvSpPr>
          <p:spPr>
            <a:xfrm rot="7484129">
              <a:off x="139430" y="17950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2" name="Forme libre : forme 2661">
              <a:extLst>
                <a:ext uri="{FF2B5EF4-FFF2-40B4-BE49-F238E27FC236}">
                  <a16:creationId xmlns:a16="http://schemas.microsoft.com/office/drawing/2014/main" id="{EE3D8E88-95F9-4175-9223-3BA0971001EC}"/>
                </a:ext>
              </a:extLst>
            </p:cNvPr>
            <p:cNvSpPr/>
            <p:nvPr/>
          </p:nvSpPr>
          <p:spPr>
            <a:xfrm rot="13089394">
              <a:off x="244250" y="17615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3" name="Forme libre : forme 2662">
              <a:extLst>
                <a:ext uri="{FF2B5EF4-FFF2-40B4-BE49-F238E27FC236}">
                  <a16:creationId xmlns:a16="http://schemas.microsoft.com/office/drawing/2014/main" id="{F3C9AC87-A1FE-4D6A-AD7E-10654735E8A7}"/>
                </a:ext>
              </a:extLst>
            </p:cNvPr>
            <p:cNvSpPr/>
            <p:nvPr/>
          </p:nvSpPr>
          <p:spPr>
            <a:xfrm rot="8716295">
              <a:off x="429835" y="15699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4" name="Forme libre : forme 2663">
              <a:extLst>
                <a:ext uri="{FF2B5EF4-FFF2-40B4-BE49-F238E27FC236}">
                  <a16:creationId xmlns:a16="http://schemas.microsoft.com/office/drawing/2014/main" id="{5FFA192D-7DB1-4385-9CFD-89494EA18B76}"/>
                </a:ext>
              </a:extLst>
            </p:cNvPr>
            <p:cNvSpPr/>
            <p:nvPr/>
          </p:nvSpPr>
          <p:spPr>
            <a:xfrm rot="8716295">
              <a:off x="378030" y="14663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5" name="Forme libre : forme 2664">
              <a:extLst>
                <a:ext uri="{FF2B5EF4-FFF2-40B4-BE49-F238E27FC236}">
                  <a16:creationId xmlns:a16="http://schemas.microsoft.com/office/drawing/2014/main" id="{0F34417F-18EE-4E84-A289-EA164ECB3D71}"/>
                </a:ext>
              </a:extLst>
            </p:cNvPr>
            <p:cNvSpPr/>
            <p:nvPr/>
          </p:nvSpPr>
          <p:spPr>
            <a:xfrm rot="8716295">
              <a:off x="134784" y="14965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6" name="Forme libre : forme 2665">
              <a:extLst>
                <a:ext uri="{FF2B5EF4-FFF2-40B4-BE49-F238E27FC236}">
                  <a16:creationId xmlns:a16="http://schemas.microsoft.com/office/drawing/2014/main" id="{271203A9-03F5-485A-B145-792A15A69059}"/>
                </a:ext>
              </a:extLst>
            </p:cNvPr>
            <p:cNvSpPr/>
            <p:nvPr/>
          </p:nvSpPr>
          <p:spPr>
            <a:xfrm rot="8716295">
              <a:off x="312236" y="13372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7" name="Forme libre : forme 2666">
              <a:extLst>
                <a:ext uri="{FF2B5EF4-FFF2-40B4-BE49-F238E27FC236}">
                  <a16:creationId xmlns:a16="http://schemas.microsoft.com/office/drawing/2014/main" id="{405C0C8D-A9F9-4FDA-8710-B9B42D099BFD}"/>
                </a:ext>
              </a:extLst>
            </p:cNvPr>
            <p:cNvSpPr/>
            <p:nvPr/>
          </p:nvSpPr>
          <p:spPr>
            <a:xfrm rot="8716295">
              <a:off x="-17798" y="949199"/>
              <a:ext cx="39526" cy="50123"/>
            </a:xfrm>
            <a:custGeom>
              <a:avLst/>
              <a:gdLst>
                <a:gd name="connsiteX0" fmla="*/ 0 w 39526"/>
                <a:gd name="connsiteY0" fmla="*/ 50123 h 50123"/>
                <a:gd name="connsiteX1" fmla="*/ 0 w 39526"/>
                <a:gd name="connsiteY1" fmla="*/ 0 h 50123"/>
                <a:gd name="connsiteX2" fmla="*/ 39526 w 39526"/>
                <a:gd name="connsiteY2" fmla="*/ 0 h 50123"/>
                <a:gd name="connsiteX3" fmla="*/ 4782 w 39526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26" h="50123">
                  <a:moveTo>
                    <a:pt x="0" y="50123"/>
                  </a:moveTo>
                  <a:lnTo>
                    <a:pt x="0" y="0"/>
                  </a:lnTo>
                  <a:lnTo>
                    <a:pt x="39526" y="0"/>
                  </a:lnTo>
                  <a:lnTo>
                    <a:pt x="4782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8" name="Forme libre : forme 2667">
              <a:extLst>
                <a:ext uri="{FF2B5EF4-FFF2-40B4-BE49-F238E27FC236}">
                  <a16:creationId xmlns:a16="http://schemas.microsoft.com/office/drawing/2014/main" id="{D9E66FBE-87D5-42D6-912A-DFE2839C4FB5}"/>
                </a:ext>
              </a:extLst>
            </p:cNvPr>
            <p:cNvSpPr/>
            <p:nvPr/>
          </p:nvSpPr>
          <p:spPr>
            <a:xfrm rot="8716295">
              <a:off x="-64996" y="834728"/>
              <a:ext cx="249650" cy="254774"/>
            </a:xfrm>
            <a:custGeom>
              <a:avLst/>
              <a:gdLst>
                <a:gd name="connsiteX0" fmla="*/ 51490 w 249650"/>
                <a:gd name="connsiteY0" fmla="*/ 254774 h 254774"/>
                <a:gd name="connsiteX1" fmla="*/ 51490 w 249650"/>
                <a:gd name="connsiteY1" fmla="*/ 45624 h 254774"/>
                <a:gd name="connsiteX2" fmla="*/ 0 w 249650"/>
                <a:gd name="connsiteY2" fmla="*/ 45624 h 254774"/>
                <a:gd name="connsiteX3" fmla="*/ 0 w 249650"/>
                <a:gd name="connsiteY3" fmla="*/ 1425 h 254774"/>
                <a:gd name="connsiteX4" fmla="*/ 104803 w 249650"/>
                <a:gd name="connsiteY4" fmla="*/ 1425 h 254774"/>
                <a:gd name="connsiteX5" fmla="*/ 104803 w 249650"/>
                <a:gd name="connsiteY5" fmla="*/ 75242 h 254774"/>
                <a:gd name="connsiteX6" fmla="*/ 106169 w 249650"/>
                <a:gd name="connsiteY6" fmla="*/ 75242 h 254774"/>
                <a:gd name="connsiteX7" fmla="*/ 154014 w 249650"/>
                <a:gd name="connsiteY7" fmla="*/ 5981 h 254774"/>
                <a:gd name="connsiteX8" fmla="*/ 185455 w 249650"/>
                <a:gd name="connsiteY8" fmla="*/ 57 h 254774"/>
                <a:gd name="connsiteX9" fmla="*/ 240647 w 249650"/>
                <a:gd name="connsiteY9" fmla="*/ 22727 h 254774"/>
                <a:gd name="connsiteX10" fmla="*/ 249650 w 249650"/>
                <a:gd name="connsiteY10" fmla="*/ 52327 h 254774"/>
                <a:gd name="connsiteX11" fmla="*/ 218795 w 249650"/>
                <a:gd name="connsiteY11" fmla="*/ 96841 h 254774"/>
                <a:gd name="connsiteX12" fmla="*/ 198669 w 249650"/>
                <a:gd name="connsiteY12" fmla="*/ 98025 h 254774"/>
                <a:gd name="connsiteX13" fmla="*/ 198669 w 249650"/>
                <a:gd name="connsiteY13" fmla="*/ 81621 h 254774"/>
                <a:gd name="connsiteX14" fmla="*/ 164950 w 249650"/>
                <a:gd name="connsiteY14" fmla="*/ 40156 h 254774"/>
                <a:gd name="connsiteX15" fmla="*/ 111638 w 249650"/>
                <a:gd name="connsiteY15" fmla="*/ 127643 h 254774"/>
                <a:gd name="connsiteX16" fmla="*/ 111638 w 249650"/>
                <a:gd name="connsiteY16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9650" h="254774">
                  <a:moveTo>
                    <a:pt x="51490" y="254774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08922" y="-398"/>
                    <a:pt x="227718" y="7576"/>
                    <a:pt x="240647" y="22727"/>
                  </a:cubicBezTo>
                  <a:lnTo>
                    <a:pt x="249650" y="52327"/>
                  </a:lnTo>
                  <a:lnTo>
                    <a:pt x="218795" y="96841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9" name="Forme libre : forme 2668">
              <a:extLst>
                <a:ext uri="{FF2B5EF4-FFF2-40B4-BE49-F238E27FC236}">
                  <a16:creationId xmlns:a16="http://schemas.microsoft.com/office/drawing/2014/main" id="{9509EEFE-28EA-4695-B516-F79E29B945F9}"/>
                </a:ext>
              </a:extLst>
            </p:cNvPr>
            <p:cNvSpPr/>
            <p:nvPr/>
          </p:nvSpPr>
          <p:spPr>
            <a:xfrm rot="7484129">
              <a:off x="-63314" y="1172497"/>
              <a:ext cx="203848" cy="146395"/>
            </a:xfrm>
            <a:custGeom>
              <a:avLst/>
              <a:gdLst>
                <a:gd name="connsiteX0" fmla="*/ 0 w 203848"/>
                <a:gd name="connsiteY0" fmla="*/ 55323 h 146395"/>
                <a:gd name="connsiteX1" fmla="*/ 0 w 203848"/>
                <a:gd name="connsiteY1" fmla="*/ 0 h 146395"/>
                <a:gd name="connsiteX2" fmla="*/ 203848 w 203848"/>
                <a:gd name="connsiteY2" fmla="*/ 0 h 146395"/>
                <a:gd name="connsiteX3" fmla="*/ 203847 w 203848"/>
                <a:gd name="connsiteY3" fmla="*/ 49512 h 146395"/>
                <a:gd name="connsiteX4" fmla="*/ 195466 w 203848"/>
                <a:gd name="connsiteY4" fmla="*/ 55323 h 146395"/>
                <a:gd name="connsiteX5" fmla="*/ 139055 w 203848"/>
                <a:gd name="connsiteY5" fmla="*/ 55323 h 146395"/>
                <a:gd name="connsiteX6" fmla="*/ 121388 w 203848"/>
                <a:gd name="connsiteY6" fmla="*/ 106685 h 146395"/>
                <a:gd name="connsiteX7" fmla="*/ 64115 w 203848"/>
                <a:gd name="connsiteY7" fmla="*/ 146395 h 146395"/>
                <a:gd name="connsiteX8" fmla="*/ 47847 w 203848"/>
                <a:gd name="connsiteY8" fmla="*/ 116129 h 146395"/>
                <a:gd name="connsiteX9" fmla="*/ 69777 w 203848"/>
                <a:gd name="connsiteY9" fmla="*/ 55323 h 146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848" h="146395">
                  <a:moveTo>
                    <a:pt x="0" y="55323"/>
                  </a:moveTo>
                  <a:lnTo>
                    <a:pt x="0" y="0"/>
                  </a:lnTo>
                  <a:lnTo>
                    <a:pt x="203848" y="0"/>
                  </a:lnTo>
                  <a:lnTo>
                    <a:pt x="203847" y="49512"/>
                  </a:lnTo>
                  <a:lnTo>
                    <a:pt x="195466" y="55323"/>
                  </a:lnTo>
                  <a:lnTo>
                    <a:pt x="139055" y="55323"/>
                  </a:lnTo>
                  <a:lnTo>
                    <a:pt x="121388" y="106685"/>
                  </a:lnTo>
                  <a:lnTo>
                    <a:pt x="64115" y="146395"/>
                  </a:lnTo>
                  <a:lnTo>
                    <a:pt x="47847" y="116129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0" name="Forme libre : forme 2669">
              <a:extLst>
                <a:ext uri="{FF2B5EF4-FFF2-40B4-BE49-F238E27FC236}">
                  <a16:creationId xmlns:a16="http://schemas.microsoft.com/office/drawing/2014/main" id="{71678257-6DF2-4EFF-B737-FA3D02FA5594}"/>
                </a:ext>
              </a:extLst>
            </p:cNvPr>
            <p:cNvSpPr/>
            <p:nvPr/>
          </p:nvSpPr>
          <p:spPr>
            <a:xfrm rot="13089394">
              <a:off x="25311" y="109952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1" name="Forme libre : forme 2670">
              <a:extLst>
                <a:ext uri="{FF2B5EF4-FFF2-40B4-BE49-F238E27FC236}">
                  <a16:creationId xmlns:a16="http://schemas.microsoft.com/office/drawing/2014/main" id="{A59D46CE-4426-40A3-8095-61819C0C7AE0}"/>
                </a:ext>
              </a:extLst>
            </p:cNvPr>
            <p:cNvSpPr/>
            <p:nvPr/>
          </p:nvSpPr>
          <p:spPr>
            <a:xfrm rot="8716295">
              <a:off x="210896" y="90784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2" name="Forme libre : forme 2671">
              <a:extLst>
                <a:ext uri="{FF2B5EF4-FFF2-40B4-BE49-F238E27FC236}">
                  <a16:creationId xmlns:a16="http://schemas.microsoft.com/office/drawing/2014/main" id="{7825CA42-276D-46E9-845F-1C3B3FD7B764}"/>
                </a:ext>
              </a:extLst>
            </p:cNvPr>
            <p:cNvSpPr/>
            <p:nvPr/>
          </p:nvSpPr>
          <p:spPr>
            <a:xfrm rot="8716295">
              <a:off x="159091" y="80425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3" name="Forme libre : forme 2672">
              <a:extLst>
                <a:ext uri="{FF2B5EF4-FFF2-40B4-BE49-F238E27FC236}">
                  <a16:creationId xmlns:a16="http://schemas.microsoft.com/office/drawing/2014/main" id="{2CF0D109-F01E-48EA-B846-7F271B9FCCEE}"/>
                </a:ext>
              </a:extLst>
            </p:cNvPr>
            <p:cNvSpPr/>
            <p:nvPr/>
          </p:nvSpPr>
          <p:spPr>
            <a:xfrm rot="8716295">
              <a:off x="93297" y="67523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4" name="Forme libre : forme 2673">
              <a:extLst>
                <a:ext uri="{FF2B5EF4-FFF2-40B4-BE49-F238E27FC236}">
                  <a16:creationId xmlns:a16="http://schemas.microsoft.com/office/drawing/2014/main" id="{15A67A1B-0593-4E21-A1BB-485D6912B395}"/>
                </a:ext>
              </a:extLst>
            </p:cNvPr>
            <p:cNvSpPr/>
            <p:nvPr/>
          </p:nvSpPr>
          <p:spPr>
            <a:xfrm rot="8716295">
              <a:off x="-7001" y="316701"/>
              <a:ext cx="14001" cy="20198"/>
            </a:xfrm>
            <a:custGeom>
              <a:avLst/>
              <a:gdLst>
                <a:gd name="connsiteX0" fmla="*/ 0 w 14001"/>
                <a:gd name="connsiteY0" fmla="*/ 20198 h 20198"/>
                <a:gd name="connsiteX1" fmla="*/ 0 w 14001"/>
                <a:gd name="connsiteY1" fmla="*/ 0 h 20198"/>
                <a:gd name="connsiteX2" fmla="*/ 14001 w 14001"/>
                <a:gd name="connsiteY2" fmla="*/ 0 h 2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01" h="20198">
                  <a:moveTo>
                    <a:pt x="0" y="20198"/>
                  </a:moveTo>
                  <a:lnTo>
                    <a:pt x="0" y="0"/>
                  </a:lnTo>
                  <a:lnTo>
                    <a:pt x="1400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5" name="Forme libre : forme 2674">
              <a:extLst>
                <a:ext uri="{FF2B5EF4-FFF2-40B4-BE49-F238E27FC236}">
                  <a16:creationId xmlns:a16="http://schemas.microsoft.com/office/drawing/2014/main" id="{F5C0AF50-10E7-4E14-B910-0C705A16AAC3}"/>
                </a:ext>
              </a:extLst>
            </p:cNvPr>
            <p:cNvSpPr/>
            <p:nvPr/>
          </p:nvSpPr>
          <p:spPr>
            <a:xfrm rot="13089394">
              <a:off x="-81658" y="472652"/>
              <a:ext cx="173631" cy="237684"/>
            </a:xfrm>
            <a:custGeom>
              <a:avLst/>
              <a:gdLst>
                <a:gd name="connsiteX0" fmla="*/ 173631 w 173631"/>
                <a:gd name="connsiteY0" fmla="*/ 220990 h 237684"/>
                <a:gd name="connsiteX1" fmla="*/ 130972 w 173631"/>
                <a:gd name="connsiteY1" fmla="*/ 232382 h 237684"/>
                <a:gd name="connsiteX2" fmla="*/ 91597 w 173631"/>
                <a:gd name="connsiteY2" fmla="*/ 237521 h 237684"/>
                <a:gd name="connsiteX3" fmla="*/ 23727 w 173631"/>
                <a:gd name="connsiteY3" fmla="*/ 209931 h 237684"/>
                <a:gd name="connsiteX4" fmla="*/ 0 w 173631"/>
                <a:gd name="connsiteY4" fmla="*/ 115023 h 237684"/>
                <a:gd name="connsiteX5" fmla="*/ 0 w 173631"/>
                <a:gd name="connsiteY5" fmla="*/ 0 h 237684"/>
                <a:gd name="connsiteX6" fmla="*/ 76176 w 173631"/>
                <a:gd name="connsiteY6" fmla="*/ 96953 h 237684"/>
                <a:gd name="connsiteX7" fmla="*/ 76768 w 173631"/>
                <a:gd name="connsiteY7" fmla="*/ 109023 h 237684"/>
                <a:gd name="connsiteX8" fmla="*/ 87734 w 173631"/>
                <a:gd name="connsiteY8" fmla="*/ 154201 h 237684"/>
                <a:gd name="connsiteX9" fmla="*/ 111117 w 173631"/>
                <a:gd name="connsiteY9" fmla="*/ 181514 h 237684"/>
                <a:gd name="connsiteX10" fmla="*/ 148930 w 173631"/>
                <a:gd name="connsiteY10" fmla="*/ 189552 h 237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3631" h="237684">
                  <a:moveTo>
                    <a:pt x="173631" y="220990"/>
                  </a:moveTo>
                  <a:lnTo>
                    <a:pt x="130972" y="232382"/>
                  </a:lnTo>
                  <a:cubicBezTo>
                    <a:pt x="116428" y="235210"/>
                    <a:pt x="103047" y="236831"/>
                    <a:pt x="91597" y="237521"/>
                  </a:cubicBezTo>
                  <a:cubicBezTo>
                    <a:pt x="66215" y="239176"/>
                    <a:pt x="41384" y="228141"/>
                    <a:pt x="23727" y="209931"/>
                  </a:cubicBezTo>
                  <a:cubicBezTo>
                    <a:pt x="4966" y="191722"/>
                    <a:pt x="0" y="160270"/>
                    <a:pt x="0" y="115023"/>
                  </a:cubicBezTo>
                  <a:lnTo>
                    <a:pt x="0" y="0"/>
                  </a:lnTo>
                  <a:lnTo>
                    <a:pt x="76176" y="96953"/>
                  </a:lnTo>
                  <a:lnTo>
                    <a:pt x="76768" y="109023"/>
                  </a:lnTo>
                  <a:cubicBezTo>
                    <a:pt x="79044" y="124404"/>
                    <a:pt x="82768" y="139578"/>
                    <a:pt x="87734" y="154201"/>
                  </a:cubicBezTo>
                  <a:cubicBezTo>
                    <a:pt x="92149" y="166340"/>
                    <a:pt x="100012" y="175445"/>
                    <a:pt x="111117" y="181514"/>
                  </a:cubicBezTo>
                  <a:lnTo>
                    <a:pt x="148930" y="1895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6" name="Forme libre : forme 2675">
              <a:extLst>
                <a:ext uri="{FF2B5EF4-FFF2-40B4-BE49-F238E27FC236}">
                  <a16:creationId xmlns:a16="http://schemas.microsoft.com/office/drawing/2014/main" id="{0D59FB1F-A28C-4E8B-B4BC-0A3A54031E65}"/>
                </a:ext>
              </a:extLst>
            </p:cNvPr>
            <p:cNvSpPr/>
            <p:nvPr/>
          </p:nvSpPr>
          <p:spPr>
            <a:xfrm rot="8716295">
              <a:off x="-11774" y="24443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7" name="Forme libre : forme 2676">
              <a:extLst>
                <a:ext uri="{FF2B5EF4-FFF2-40B4-BE49-F238E27FC236}">
                  <a16:creationId xmlns:a16="http://schemas.microsoft.com/office/drawing/2014/main" id="{6DA8E402-AB6F-4D42-B3D8-FD882D72E6EE}"/>
                </a:ext>
              </a:extLst>
            </p:cNvPr>
            <p:cNvSpPr/>
            <p:nvPr/>
          </p:nvSpPr>
          <p:spPr>
            <a:xfrm rot="8716295">
              <a:off x="-30092" y="143486"/>
              <a:ext cx="77721" cy="97260"/>
            </a:xfrm>
            <a:custGeom>
              <a:avLst/>
              <a:gdLst>
                <a:gd name="connsiteX0" fmla="*/ 15821 w 77721"/>
                <a:gd name="connsiteY0" fmla="*/ 97260 h 97260"/>
                <a:gd name="connsiteX1" fmla="*/ 0 w 77721"/>
                <a:gd name="connsiteY1" fmla="*/ 59790 h 97260"/>
                <a:gd name="connsiteX2" fmla="*/ 0 w 77721"/>
                <a:gd name="connsiteY2" fmla="*/ 58869 h 97260"/>
                <a:gd name="connsiteX3" fmla="*/ 17477 w 77721"/>
                <a:gd name="connsiteY3" fmla="*/ 17477 h 97260"/>
                <a:gd name="connsiteX4" fmla="*/ 58869 w 77721"/>
                <a:gd name="connsiteY4" fmla="*/ 0 h 97260"/>
                <a:gd name="connsiteX5" fmla="*/ 77721 w 77721"/>
                <a:gd name="connsiteY5" fmla="*/ 7960 h 97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721" h="97260">
                  <a:moveTo>
                    <a:pt x="15821" y="97260"/>
                  </a:moveTo>
                  <a:lnTo>
                    <a:pt x="0" y="59790"/>
                  </a:ln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lnTo>
                    <a:pt x="77721" y="79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8" name="Forme libre : forme 2677">
              <a:extLst>
                <a:ext uri="{FF2B5EF4-FFF2-40B4-BE49-F238E27FC236}">
                  <a16:creationId xmlns:a16="http://schemas.microsoft.com/office/drawing/2014/main" id="{FF96202D-5615-4C5C-B860-27779277BA03}"/>
                </a:ext>
              </a:extLst>
            </p:cNvPr>
            <p:cNvSpPr/>
            <p:nvPr/>
          </p:nvSpPr>
          <p:spPr>
            <a:xfrm rot="8716295">
              <a:off x="-17797" y="3452694"/>
              <a:ext cx="58455" cy="44199"/>
            </a:xfrm>
            <a:custGeom>
              <a:avLst/>
              <a:gdLst>
                <a:gd name="connsiteX0" fmla="*/ 0 w 58455"/>
                <a:gd name="connsiteY0" fmla="*/ 44199 h 44199"/>
                <a:gd name="connsiteX1" fmla="*/ 0 w 58455"/>
                <a:gd name="connsiteY1" fmla="*/ 0 h 44199"/>
                <a:gd name="connsiteX2" fmla="*/ 58455 w 58455"/>
                <a:gd name="connsiteY2" fmla="*/ 0 h 44199"/>
                <a:gd name="connsiteX3" fmla="*/ 27817 w 58455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55" h="44199">
                  <a:moveTo>
                    <a:pt x="0" y="44199"/>
                  </a:moveTo>
                  <a:lnTo>
                    <a:pt x="0" y="0"/>
                  </a:lnTo>
                  <a:lnTo>
                    <a:pt x="58455" y="0"/>
                  </a:lnTo>
                  <a:lnTo>
                    <a:pt x="27817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9" name="Forme libre : forme 2678">
              <a:extLst>
                <a:ext uri="{FF2B5EF4-FFF2-40B4-BE49-F238E27FC236}">
                  <a16:creationId xmlns:a16="http://schemas.microsoft.com/office/drawing/2014/main" id="{EFE05903-A2C3-4EA4-B6E8-4BC424605688}"/>
                </a:ext>
              </a:extLst>
            </p:cNvPr>
            <p:cNvSpPr/>
            <p:nvPr/>
          </p:nvSpPr>
          <p:spPr>
            <a:xfrm rot="13089394">
              <a:off x="-91485" y="3601812"/>
              <a:ext cx="206527" cy="292654"/>
            </a:xfrm>
            <a:custGeom>
              <a:avLst/>
              <a:gdLst>
                <a:gd name="connsiteX0" fmla="*/ 206527 w 206527"/>
                <a:gd name="connsiteY0" fmla="*/ 258693 h 292654"/>
                <a:gd name="connsiteX1" fmla="*/ 177331 w 206527"/>
                <a:gd name="connsiteY1" fmla="*/ 274971 h 292654"/>
                <a:gd name="connsiteX2" fmla="*/ 91597 w 206527"/>
                <a:gd name="connsiteY2" fmla="*/ 292491 h 292654"/>
                <a:gd name="connsiteX3" fmla="*/ 23727 w 206527"/>
                <a:gd name="connsiteY3" fmla="*/ 264901 h 292654"/>
                <a:gd name="connsiteX4" fmla="*/ 0 w 206527"/>
                <a:gd name="connsiteY4" fmla="*/ 169993 h 292654"/>
                <a:gd name="connsiteX5" fmla="*/ 0 w 206527"/>
                <a:gd name="connsiteY5" fmla="*/ 1698 h 292654"/>
                <a:gd name="connsiteX6" fmla="*/ 3273 w 206527"/>
                <a:gd name="connsiteY6" fmla="*/ 0 h 292654"/>
                <a:gd name="connsiteX7" fmla="*/ 74297 w 206527"/>
                <a:gd name="connsiteY7" fmla="*/ 90396 h 292654"/>
                <a:gd name="connsiteX8" fmla="*/ 74492 w 206527"/>
                <a:gd name="connsiteY8" fmla="*/ 117574 h 292654"/>
                <a:gd name="connsiteX9" fmla="*/ 87734 w 206527"/>
                <a:gd name="connsiteY9" fmla="*/ 209171 h 292654"/>
                <a:gd name="connsiteX10" fmla="*/ 153949 w 206527"/>
                <a:gd name="connsiteY10" fmla="*/ 245589 h 292654"/>
                <a:gd name="connsiteX11" fmla="*/ 191049 w 206527"/>
                <a:gd name="connsiteY11" fmla="*/ 238993 h 292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527" h="292654">
                  <a:moveTo>
                    <a:pt x="206527" y="258693"/>
                  </a:moveTo>
                  <a:lnTo>
                    <a:pt x="177331" y="274971"/>
                  </a:lnTo>
                  <a:cubicBezTo>
                    <a:pt x="145121" y="286007"/>
                    <a:pt x="114496" y="291111"/>
                    <a:pt x="91597" y="292491"/>
                  </a:cubicBezTo>
                  <a:cubicBezTo>
                    <a:pt x="66215" y="294146"/>
                    <a:pt x="41385" y="283111"/>
                    <a:pt x="23727" y="264901"/>
                  </a:cubicBezTo>
                  <a:cubicBezTo>
                    <a:pt x="4966" y="246692"/>
                    <a:pt x="0" y="215240"/>
                    <a:pt x="0" y="169993"/>
                  </a:cubicBezTo>
                  <a:lnTo>
                    <a:pt x="0" y="1698"/>
                  </a:lnTo>
                  <a:lnTo>
                    <a:pt x="3273" y="0"/>
                  </a:lnTo>
                  <a:lnTo>
                    <a:pt x="74297" y="90396"/>
                  </a:lnTo>
                  <a:lnTo>
                    <a:pt x="74492" y="117574"/>
                  </a:lnTo>
                  <a:cubicBezTo>
                    <a:pt x="72836" y="148474"/>
                    <a:pt x="77802" y="179926"/>
                    <a:pt x="87734" y="209171"/>
                  </a:cubicBezTo>
                  <a:cubicBezTo>
                    <a:pt x="96564" y="233450"/>
                    <a:pt x="119187" y="245589"/>
                    <a:pt x="153949" y="245589"/>
                  </a:cubicBezTo>
                  <a:lnTo>
                    <a:pt x="191049" y="2389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0" name="Forme libre : forme 2679">
              <a:extLst>
                <a:ext uri="{FF2B5EF4-FFF2-40B4-BE49-F238E27FC236}">
                  <a16:creationId xmlns:a16="http://schemas.microsoft.com/office/drawing/2014/main" id="{A958F052-274A-4809-9A7E-706B6FDA97DB}"/>
                </a:ext>
              </a:extLst>
            </p:cNvPr>
            <p:cNvSpPr/>
            <p:nvPr/>
          </p:nvSpPr>
          <p:spPr>
            <a:xfrm rot="8716295">
              <a:off x="24761" y="33896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1" name="Forme libre : forme 2680">
              <a:extLst>
                <a:ext uri="{FF2B5EF4-FFF2-40B4-BE49-F238E27FC236}">
                  <a16:creationId xmlns:a16="http://schemas.microsoft.com/office/drawing/2014/main" id="{3D25082F-4B73-45B2-BAAB-9D638EEF2592}"/>
                </a:ext>
              </a:extLst>
            </p:cNvPr>
            <p:cNvSpPr/>
            <p:nvPr/>
          </p:nvSpPr>
          <p:spPr>
            <a:xfrm rot="8716295">
              <a:off x="-24047" y="3281741"/>
              <a:ext cx="106042" cy="113733"/>
            </a:xfrm>
            <a:custGeom>
              <a:avLst/>
              <a:gdLst>
                <a:gd name="connsiteX0" fmla="*/ 17477 w 106042"/>
                <a:gd name="connsiteY0" fmla="*/ 101182 h 113733"/>
                <a:gd name="connsiteX1" fmla="*/ 0 w 106042"/>
                <a:gd name="connsiteY1" fmla="*/ 59790 h 113733"/>
                <a:gd name="connsiteX2" fmla="*/ 0 w 106042"/>
                <a:gd name="connsiteY2" fmla="*/ 58869 h 113733"/>
                <a:gd name="connsiteX3" fmla="*/ 17477 w 106042"/>
                <a:gd name="connsiteY3" fmla="*/ 17477 h 113733"/>
                <a:gd name="connsiteX4" fmla="*/ 58869 w 106042"/>
                <a:gd name="connsiteY4" fmla="*/ 0 h 113733"/>
                <a:gd name="connsiteX5" fmla="*/ 100262 w 106042"/>
                <a:gd name="connsiteY5" fmla="*/ 17477 h 113733"/>
                <a:gd name="connsiteX6" fmla="*/ 106042 w 106042"/>
                <a:gd name="connsiteY6" fmla="*/ 31234 h 113733"/>
                <a:gd name="connsiteX7" fmla="*/ 48856 w 106042"/>
                <a:gd name="connsiteY7" fmla="*/ 113733 h 11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042" h="113733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cubicBezTo>
                    <a:pt x="74507" y="0"/>
                    <a:pt x="89224" y="6439"/>
                    <a:pt x="100262" y="17477"/>
                  </a:cubicBezTo>
                  <a:lnTo>
                    <a:pt x="106042" y="31234"/>
                  </a:lnTo>
                  <a:lnTo>
                    <a:pt x="48856" y="1137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2" name="Forme libre : forme 2681">
              <a:extLst>
                <a:ext uri="{FF2B5EF4-FFF2-40B4-BE49-F238E27FC236}">
                  <a16:creationId xmlns:a16="http://schemas.microsoft.com/office/drawing/2014/main" id="{9B3439DB-66BB-4F10-AE1A-D801C021A556}"/>
                </a:ext>
              </a:extLst>
            </p:cNvPr>
            <p:cNvSpPr/>
            <p:nvPr/>
          </p:nvSpPr>
          <p:spPr>
            <a:xfrm rot="8716295">
              <a:off x="-21924" y="3179872"/>
              <a:ext cx="45776" cy="62656"/>
            </a:xfrm>
            <a:custGeom>
              <a:avLst/>
              <a:gdLst>
                <a:gd name="connsiteX0" fmla="*/ 2345 w 45776"/>
                <a:gd name="connsiteY0" fmla="*/ 62656 h 62656"/>
                <a:gd name="connsiteX1" fmla="*/ 0 w 45776"/>
                <a:gd name="connsiteY1" fmla="*/ 57104 h 62656"/>
                <a:gd name="connsiteX2" fmla="*/ 0 w 45776"/>
                <a:gd name="connsiteY2" fmla="*/ 56183 h 62656"/>
                <a:gd name="connsiteX3" fmla="*/ 17477 w 45776"/>
                <a:gd name="connsiteY3" fmla="*/ 14791 h 62656"/>
                <a:gd name="connsiteX4" fmla="*/ 36449 w 45776"/>
                <a:gd name="connsiteY4" fmla="*/ 1913 h 62656"/>
                <a:gd name="connsiteX5" fmla="*/ 45776 w 45776"/>
                <a:gd name="connsiteY5" fmla="*/ 0 h 62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776" h="62656">
                  <a:moveTo>
                    <a:pt x="2345" y="62656"/>
                  </a:moveTo>
                  <a:lnTo>
                    <a:pt x="0" y="57104"/>
                  </a:lnTo>
                  <a:lnTo>
                    <a:pt x="0" y="56183"/>
                  </a:lnTo>
                  <a:cubicBezTo>
                    <a:pt x="0" y="40547"/>
                    <a:pt x="6439" y="25829"/>
                    <a:pt x="17477" y="14791"/>
                  </a:cubicBezTo>
                  <a:cubicBezTo>
                    <a:pt x="22996" y="9272"/>
                    <a:pt x="29435" y="4903"/>
                    <a:pt x="36449" y="1913"/>
                  </a:cubicBezTo>
                  <a:lnTo>
                    <a:pt x="4577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3" name="Forme libre : forme 2682">
              <a:extLst>
                <a:ext uri="{FF2B5EF4-FFF2-40B4-BE49-F238E27FC236}">
                  <a16:creationId xmlns:a16="http://schemas.microsoft.com/office/drawing/2014/main" id="{BE051C75-2EC0-4A07-8D42-5B1B5C7740A7}"/>
                </a:ext>
              </a:extLst>
            </p:cNvPr>
            <p:cNvSpPr/>
            <p:nvPr/>
          </p:nvSpPr>
          <p:spPr>
            <a:xfrm rot="8716295">
              <a:off x="592036" y="5123131"/>
              <a:ext cx="56900" cy="40151"/>
            </a:xfrm>
            <a:custGeom>
              <a:avLst/>
              <a:gdLst>
                <a:gd name="connsiteX0" fmla="*/ 13826 w 56900"/>
                <a:gd name="connsiteY0" fmla="*/ 23593 h 40151"/>
                <a:gd name="connsiteX1" fmla="*/ 948 w 56900"/>
                <a:gd name="connsiteY1" fmla="*/ 4622 h 40151"/>
                <a:gd name="connsiteX2" fmla="*/ 0 w 56900"/>
                <a:gd name="connsiteY2" fmla="*/ 0 h 40151"/>
                <a:gd name="connsiteX3" fmla="*/ 56900 w 56900"/>
                <a:gd name="connsiteY3" fmla="*/ 39441 h 40151"/>
                <a:gd name="connsiteX4" fmla="*/ 55218 w 56900"/>
                <a:gd name="connsiteY4" fmla="*/ 40151 h 40151"/>
                <a:gd name="connsiteX5" fmla="*/ 13826 w 56900"/>
                <a:gd name="connsiteY5" fmla="*/ 23593 h 40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900" h="40151">
                  <a:moveTo>
                    <a:pt x="13826" y="23593"/>
                  </a:moveTo>
                  <a:cubicBezTo>
                    <a:pt x="8307" y="18074"/>
                    <a:pt x="3938" y="11636"/>
                    <a:pt x="948" y="4622"/>
                  </a:cubicBezTo>
                  <a:lnTo>
                    <a:pt x="0" y="0"/>
                  </a:lnTo>
                  <a:lnTo>
                    <a:pt x="56900" y="39441"/>
                  </a:lnTo>
                  <a:lnTo>
                    <a:pt x="55218" y="40151"/>
                  </a:lnTo>
                  <a:cubicBezTo>
                    <a:pt x="39581" y="40151"/>
                    <a:pt x="24864" y="34631"/>
                    <a:pt x="13826" y="2359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4" name="Forme libre : forme 2683">
              <a:extLst>
                <a:ext uri="{FF2B5EF4-FFF2-40B4-BE49-F238E27FC236}">
                  <a16:creationId xmlns:a16="http://schemas.microsoft.com/office/drawing/2014/main" id="{A2DDC211-7D18-475F-9BDE-7390FC50600F}"/>
                </a:ext>
              </a:extLst>
            </p:cNvPr>
            <p:cNvSpPr/>
            <p:nvPr/>
          </p:nvSpPr>
          <p:spPr>
            <a:xfrm rot="8716295">
              <a:off x="-21324" y="4100649"/>
              <a:ext cx="79113" cy="50123"/>
            </a:xfrm>
            <a:custGeom>
              <a:avLst/>
              <a:gdLst>
                <a:gd name="connsiteX0" fmla="*/ 0 w 79113"/>
                <a:gd name="connsiteY0" fmla="*/ 50123 h 50123"/>
                <a:gd name="connsiteX1" fmla="*/ 0 w 79113"/>
                <a:gd name="connsiteY1" fmla="*/ 0 h 50123"/>
                <a:gd name="connsiteX2" fmla="*/ 79113 w 79113"/>
                <a:gd name="connsiteY2" fmla="*/ 0 h 50123"/>
                <a:gd name="connsiteX3" fmla="*/ 44369 w 79113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113" h="50123">
                  <a:moveTo>
                    <a:pt x="0" y="50123"/>
                  </a:moveTo>
                  <a:lnTo>
                    <a:pt x="0" y="0"/>
                  </a:lnTo>
                  <a:lnTo>
                    <a:pt x="79113" y="0"/>
                  </a:lnTo>
                  <a:lnTo>
                    <a:pt x="44369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5" name="Forme libre : forme 2684">
              <a:extLst>
                <a:ext uri="{FF2B5EF4-FFF2-40B4-BE49-F238E27FC236}">
                  <a16:creationId xmlns:a16="http://schemas.microsoft.com/office/drawing/2014/main" id="{4A594CAD-D127-4A61-B2C8-0DE44CCFCB9E}"/>
                </a:ext>
              </a:extLst>
            </p:cNvPr>
            <p:cNvSpPr/>
            <p:nvPr/>
          </p:nvSpPr>
          <p:spPr>
            <a:xfrm rot="8716295">
              <a:off x="-40457" y="398156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6" name="Forme libre : forme 2685">
              <a:extLst>
                <a:ext uri="{FF2B5EF4-FFF2-40B4-BE49-F238E27FC236}">
                  <a16:creationId xmlns:a16="http://schemas.microsoft.com/office/drawing/2014/main" id="{C35F84B9-08F3-41F8-AB3B-A49B6847CE98}"/>
                </a:ext>
              </a:extLst>
            </p:cNvPr>
            <p:cNvSpPr/>
            <p:nvPr/>
          </p:nvSpPr>
          <p:spPr>
            <a:xfrm rot="7484129">
              <a:off x="-46974" y="427316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7" name="Forme libre : forme 2686">
              <a:extLst>
                <a:ext uri="{FF2B5EF4-FFF2-40B4-BE49-F238E27FC236}">
                  <a16:creationId xmlns:a16="http://schemas.microsoft.com/office/drawing/2014/main" id="{3D0897FF-826A-48CF-8574-888120D65678}"/>
                </a:ext>
              </a:extLst>
            </p:cNvPr>
            <p:cNvSpPr/>
            <p:nvPr/>
          </p:nvSpPr>
          <p:spPr>
            <a:xfrm rot="13089394">
              <a:off x="57846" y="423970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8" name="Forme libre : forme 2687">
              <a:extLst>
                <a:ext uri="{FF2B5EF4-FFF2-40B4-BE49-F238E27FC236}">
                  <a16:creationId xmlns:a16="http://schemas.microsoft.com/office/drawing/2014/main" id="{2F8D07DA-1D87-463F-B4DC-27CBA56DED7E}"/>
                </a:ext>
              </a:extLst>
            </p:cNvPr>
            <p:cNvSpPr/>
            <p:nvPr/>
          </p:nvSpPr>
          <p:spPr>
            <a:xfrm rot="8716295">
              <a:off x="243431" y="404801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9" name="Forme libre : forme 2688">
              <a:extLst>
                <a:ext uri="{FF2B5EF4-FFF2-40B4-BE49-F238E27FC236}">
                  <a16:creationId xmlns:a16="http://schemas.microsoft.com/office/drawing/2014/main" id="{BADA5750-C783-4D69-B30C-EF6BBA7037F4}"/>
                </a:ext>
              </a:extLst>
            </p:cNvPr>
            <p:cNvSpPr/>
            <p:nvPr/>
          </p:nvSpPr>
          <p:spPr>
            <a:xfrm rot="8716295">
              <a:off x="191626" y="39444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0" name="Forme libre : forme 2689">
              <a:extLst>
                <a:ext uri="{FF2B5EF4-FFF2-40B4-BE49-F238E27FC236}">
                  <a16:creationId xmlns:a16="http://schemas.microsoft.com/office/drawing/2014/main" id="{7176F547-28C8-4730-A116-BF57B49F4638}"/>
                </a:ext>
              </a:extLst>
            </p:cNvPr>
            <p:cNvSpPr/>
            <p:nvPr/>
          </p:nvSpPr>
          <p:spPr>
            <a:xfrm rot="8716295">
              <a:off x="125832" y="381540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1" name="Forme libre : forme 2690">
              <a:extLst>
                <a:ext uri="{FF2B5EF4-FFF2-40B4-BE49-F238E27FC236}">
                  <a16:creationId xmlns:a16="http://schemas.microsoft.com/office/drawing/2014/main" id="{1C963D98-5E90-4FBD-9A58-C704191F7207}"/>
                </a:ext>
              </a:extLst>
            </p:cNvPr>
            <p:cNvSpPr/>
            <p:nvPr/>
          </p:nvSpPr>
          <p:spPr>
            <a:xfrm rot="8716295">
              <a:off x="-73048" y="4876828"/>
              <a:ext cx="221382" cy="253349"/>
            </a:xfrm>
            <a:custGeom>
              <a:avLst/>
              <a:gdLst>
                <a:gd name="connsiteX0" fmla="*/ 51490 w 221382"/>
                <a:gd name="connsiteY0" fmla="*/ 253349 h 253349"/>
                <a:gd name="connsiteX1" fmla="*/ 51490 w 221382"/>
                <a:gd name="connsiteY1" fmla="*/ 44199 h 253349"/>
                <a:gd name="connsiteX2" fmla="*/ 0 w 221382"/>
                <a:gd name="connsiteY2" fmla="*/ 44199 h 253349"/>
                <a:gd name="connsiteX3" fmla="*/ 0 w 221382"/>
                <a:gd name="connsiteY3" fmla="*/ 0 h 253349"/>
                <a:gd name="connsiteX4" fmla="*/ 104803 w 221382"/>
                <a:gd name="connsiteY4" fmla="*/ 0 h 253349"/>
                <a:gd name="connsiteX5" fmla="*/ 104802 w 221382"/>
                <a:gd name="connsiteY5" fmla="*/ 73817 h 253349"/>
                <a:gd name="connsiteX6" fmla="*/ 106169 w 221382"/>
                <a:gd name="connsiteY6" fmla="*/ 73817 h 253349"/>
                <a:gd name="connsiteX7" fmla="*/ 154014 w 221382"/>
                <a:gd name="connsiteY7" fmla="*/ 4556 h 253349"/>
                <a:gd name="connsiteX8" fmla="*/ 174650 w 221382"/>
                <a:gd name="connsiteY8" fmla="*/ 668 h 253349"/>
                <a:gd name="connsiteX9" fmla="*/ 214075 w 221382"/>
                <a:gd name="connsiteY9" fmla="*/ 27996 h 253349"/>
                <a:gd name="connsiteX10" fmla="*/ 221382 w 221382"/>
                <a:gd name="connsiteY10" fmla="*/ 33060 h 253349"/>
                <a:gd name="connsiteX11" fmla="*/ 195540 w 221382"/>
                <a:gd name="connsiteY11" fmla="*/ 70341 h 253349"/>
                <a:gd name="connsiteX12" fmla="*/ 189157 w 221382"/>
                <a:gd name="connsiteY12" fmla="*/ 50236 h 253349"/>
                <a:gd name="connsiteX13" fmla="*/ 164950 w 221382"/>
                <a:gd name="connsiteY13" fmla="*/ 38731 h 253349"/>
                <a:gd name="connsiteX14" fmla="*/ 111638 w 221382"/>
                <a:gd name="connsiteY14" fmla="*/ 126218 h 253349"/>
                <a:gd name="connsiteX15" fmla="*/ 111638 w 221382"/>
                <a:gd name="connsiteY15" fmla="*/ 191383 h 253349"/>
                <a:gd name="connsiteX16" fmla="*/ 84096 w 221382"/>
                <a:gd name="connsiteY16" fmla="*/ 231117 h 253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1382" h="253349">
                  <a:moveTo>
                    <a:pt x="51490" y="253349"/>
                  </a:moveTo>
                  <a:lnTo>
                    <a:pt x="51490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104803" y="0"/>
                  </a:lnTo>
                  <a:lnTo>
                    <a:pt x="104802" y="73817"/>
                  </a:lnTo>
                  <a:lnTo>
                    <a:pt x="106169" y="73817"/>
                  </a:lnTo>
                  <a:cubicBezTo>
                    <a:pt x="120751" y="30529"/>
                    <a:pt x="132142" y="13670"/>
                    <a:pt x="154014" y="4556"/>
                  </a:cubicBezTo>
                  <a:lnTo>
                    <a:pt x="174650" y="668"/>
                  </a:lnTo>
                  <a:lnTo>
                    <a:pt x="214075" y="27996"/>
                  </a:lnTo>
                  <a:lnTo>
                    <a:pt x="221382" y="33060"/>
                  </a:lnTo>
                  <a:lnTo>
                    <a:pt x="195540" y="70341"/>
                  </a:lnTo>
                  <a:lnTo>
                    <a:pt x="189157" y="50236"/>
                  </a:lnTo>
                  <a:cubicBezTo>
                    <a:pt x="183177" y="42946"/>
                    <a:pt x="174747" y="38731"/>
                    <a:pt x="164950" y="38731"/>
                  </a:cubicBezTo>
                  <a:cubicBezTo>
                    <a:pt x="135788" y="38731"/>
                    <a:pt x="111638" y="77463"/>
                    <a:pt x="111638" y="126218"/>
                  </a:cubicBezTo>
                  <a:lnTo>
                    <a:pt x="111638" y="191383"/>
                  </a:lnTo>
                  <a:lnTo>
                    <a:pt x="84096" y="2311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2" name="Forme libre : forme 2691">
              <a:extLst>
                <a:ext uri="{FF2B5EF4-FFF2-40B4-BE49-F238E27FC236}">
                  <a16:creationId xmlns:a16="http://schemas.microsoft.com/office/drawing/2014/main" id="{8E8AC4EC-3332-4FDC-A396-BF01CCE8866D}"/>
                </a:ext>
              </a:extLst>
            </p:cNvPr>
            <p:cNvSpPr/>
            <p:nvPr/>
          </p:nvSpPr>
          <p:spPr>
            <a:xfrm rot="8716295">
              <a:off x="93318" y="46120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3" name="Forme libre : forme 2692">
              <a:extLst>
                <a:ext uri="{FF2B5EF4-FFF2-40B4-BE49-F238E27FC236}">
                  <a16:creationId xmlns:a16="http://schemas.microsoft.com/office/drawing/2014/main" id="{C4232B1B-4805-4D83-80AE-47B7546367B0}"/>
                </a:ext>
              </a:extLst>
            </p:cNvPr>
            <p:cNvSpPr/>
            <p:nvPr/>
          </p:nvSpPr>
          <p:spPr>
            <a:xfrm rot="8716295">
              <a:off x="182710" y="46412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4" name="Forme libre : forme 2693">
              <a:extLst>
                <a:ext uri="{FF2B5EF4-FFF2-40B4-BE49-F238E27FC236}">
                  <a16:creationId xmlns:a16="http://schemas.microsoft.com/office/drawing/2014/main" id="{952CFAFD-A1C3-49BC-88A4-2A9560CFFDDC}"/>
                </a:ext>
              </a:extLst>
            </p:cNvPr>
            <p:cNvSpPr/>
            <p:nvPr/>
          </p:nvSpPr>
          <p:spPr>
            <a:xfrm rot="8716295">
              <a:off x="-14524" y="4699631"/>
              <a:ext cx="49997" cy="54238"/>
            </a:xfrm>
            <a:custGeom>
              <a:avLst/>
              <a:gdLst>
                <a:gd name="connsiteX0" fmla="*/ 8658 w 49997"/>
                <a:gd name="connsiteY0" fmla="*/ 50123 h 54238"/>
                <a:gd name="connsiteX1" fmla="*/ 0 w 49997"/>
                <a:gd name="connsiteY1" fmla="*/ 29619 h 54238"/>
                <a:gd name="connsiteX2" fmla="*/ 0 w 49997"/>
                <a:gd name="connsiteY2" fmla="*/ 29162 h 54238"/>
                <a:gd name="connsiteX3" fmla="*/ 8658 w 49997"/>
                <a:gd name="connsiteY3" fmla="*/ 8658 h 54238"/>
                <a:gd name="connsiteX4" fmla="*/ 29163 w 49997"/>
                <a:gd name="connsiteY4" fmla="*/ 0 h 54238"/>
                <a:gd name="connsiteX5" fmla="*/ 49668 w 49997"/>
                <a:gd name="connsiteY5" fmla="*/ 8658 h 54238"/>
                <a:gd name="connsiteX6" fmla="*/ 49997 w 49997"/>
                <a:gd name="connsiteY6" fmla="*/ 9441 h 54238"/>
                <a:gd name="connsiteX7" fmla="*/ 18945 w 49997"/>
                <a:gd name="connsiteY7" fmla="*/ 54238 h 54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997" h="54238">
                  <a:moveTo>
                    <a:pt x="8658" y="50123"/>
                  </a:moveTo>
                  <a:cubicBezTo>
                    <a:pt x="3190" y="44655"/>
                    <a:pt x="0" y="37365"/>
                    <a:pt x="0" y="29619"/>
                  </a:cubicBezTo>
                  <a:lnTo>
                    <a:pt x="0" y="29162"/>
                  </a:lnTo>
                  <a:cubicBezTo>
                    <a:pt x="0" y="21417"/>
                    <a:pt x="3190" y="14126"/>
                    <a:pt x="8658" y="8658"/>
                  </a:cubicBezTo>
                  <a:cubicBezTo>
                    <a:pt x="14126" y="3190"/>
                    <a:pt x="21416" y="0"/>
                    <a:pt x="29163" y="0"/>
                  </a:cubicBezTo>
                  <a:cubicBezTo>
                    <a:pt x="36909" y="0"/>
                    <a:pt x="44200" y="3190"/>
                    <a:pt x="49668" y="8658"/>
                  </a:cubicBezTo>
                  <a:lnTo>
                    <a:pt x="49997" y="9441"/>
                  </a:lnTo>
                  <a:lnTo>
                    <a:pt x="18945" y="54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5" name="Forme libre : forme 2694">
              <a:extLst>
                <a:ext uri="{FF2B5EF4-FFF2-40B4-BE49-F238E27FC236}">
                  <a16:creationId xmlns:a16="http://schemas.microsoft.com/office/drawing/2014/main" id="{3FE0366B-AD9E-4FF0-B101-FF640F463910}"/>
                </a:ext>
              </a:extLst>
            </p:cNvPr>
            <p:cNvSpPr/>
            <p:nvPr/>
          </p:nvSpPr>
          <p:spPr>
            <a:xfrm rot="8716295">
              <a:off x="-30327" y="4579755"/>
              <a:ext cx="113346" cy="71024"/>
            </a:xfrm>
            <a:custGeom>
              <a:avLst/>
              <a:gdLst>
                <a:gd name="connsiteX0" fmla="*/ 0 w 113346"/>
                <a:gd name="connsiteY0" fmla="*/ 55323 h 71024"/>
                <a:gd name="connsiteX1" fmla="*/ 0 w 113346"/>
                <a:gd name="connsiteY1" fmla="*/ 0 h 71024"/>
                <a:gd name="connsiteX2" fmla="*/ 113346 w 113346"/>
                <a:gd name="connsiteY2" fmla="*/ 0 h 71024"/>
                <a:gd name="connsiteX3" fmla="*/ 64114 w 113346"/>
                <a:gd name="connsiteY3" fmla="*/ 71024 h 71024"/>
                <a:gd name="connsiteX4" fmla="*/ 69777 w 113346"/>
                <a:gd name="connsiteY4" fmla="*/ 55323 h 7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346" h="71024">
                  <a:moveTo>
                    <a:pt x="0" y="55323"/>
                  </a:moveTo>
                  <a:lnTo>
                    <a:pt x="0" y="0"/>
                  </a:lnTo>
                  <a:lnTo>
                    <a:pt x="113346" y="0"/>
                  </a:lnTo>
                  <a:lnTo>
                    <a:pt x="64114" y="71024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6" name="Forme libre : forme 2695">
              <a:extLst>
                <a:ext uri="{FF2B5EF4-FFF2-40B4-BE49-F238E27FC236}">
                  <a16:creationId xmlns:a16="http://schemas.microsoft.com/office/drawing/2014/main" id="{462792DD-6AEC-43AE-AA23-31A7407E7186}"/>
                </a:ext>
              </a:extLst>
            </p:cNvPr>
            <p:cNvSpPr/>
            <p:nvPr/>
          </p:nvSpPr>
          <p:spPr>
            <a:xfrm rot="8716295">
              <a:off x="71262" y="47415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7" name="Forme libre : forme 2696">
              <a:extLst>
                <a:ext uri="{FF2B5EF4-FFF2-40B4-BE49-F238E27FC236}">
                  <a16:creationId xmlns:a16="http://schemas.microsoft.com/office/drawing/2014/main" id="{C223BB14-96CC-4B4E-BEF2-7DC15D49AC68}"/>
                </a:ext>
              </a:extLst>
            </p:cNvPr>
            <p:cNvSpPr/>
            <p:nvPr/>
          </p:nvSpPr>
          <p:spPr>
            <a:xfrm rot="7484129">
              <a:off x="172059" y="493353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170341 w 203847"/>
                <a:gd name="connsiteY5" fmla="*/ 0 h 195874"/>
                <a:gd name="connsiteX6" fmla="*/ 203847 w 203847"/>
                <a:gd name="connsiteY6" fmla="*/ 48325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170341" y="0"/>
                  </a:lnTo>
                  <a:lnTo>
                    <a:pt x="203847" y="48325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8" name="Forme libre : forme 2697">
              <a:extLst>
                <a:ext uri="{FF2B5EF4-FFF2-40B4-BE49-F238E27FC236}">
                  <a16:creationId xmlns:a16="http://schemas.microsoft.com/office/drawing/2014/main" id="{9105CD85-AB3C-4846-B6A4-83422B072A6F}"/>
                </a:ext>
              </a:extLst>
            </p:cNvPr>
            <p:cNvSpPr/>
            <p:nvPr/>
          </p:nvSpPr>
          <p:spPr>
            <a:xfrm rot="13089394">
              <a:off x="313263" y="4907079"/>
              <a:ext cx="272584" cy="221720"/>
            </a:xfrm>
            <a:custGeom>
              <a:avLst/>
              <a:gdLst>
                <a:gd name="connsiteX0" fmla="*/ 272584 w 272584"/>
                <a:gd name="connsiteY0" fmla="*/ 150928 h 221720"/>
                <a:gd name="connsiteX1" fmla="*/ 91597 w 272584"/>
                <a:gd name="connsiteY1" fmla="*/ 221557 h 221720"/>
                <a:gd name="connsiteX2" fmla="*/ 23727 w 272584"/>
                <a:gd name="connsiteY2" fmla="*/ 193967 h 221720"/>
                <a:gd name="connsiteX3" fmla="*/ 0 w 272584"/>
                <a:gd name="connsiteY3" fmla="*/ 99060 h 221720"/>
                <a:gd name="connsiteX4" fmla="*/ 0 w 272584"/>
                <a:gd name="connsiteY4" fmla="*/ 58265 h 221720"/>
                <a:gd name="connsiteX5" fmla="*/ 74157 w 272584"/>
                <a:gd name="connsiteY5" fmla="*/ 0 h 221720"/>
                <a:gd name="connsiteX6" fmla="*/ 74492 w 272584"/>
                <a:gd name="connsiteY6" fmla="*/ 46640 h 221720"/>
                <a:gd name="connsiteX7" fmla="*/ 87734 w 272584"/>
                <a:gd name="connsiteY7" fmla="*/ 138237 h 221720"/>
                <a:gd name="connsiteX8" fmla="*/ 153949 w 272584"/>
                <a:gd name="connsiteY8" fmla="*/ 174655 h 221720"/>
                <a:gd name="connsiteX9" fmla="*/ 203610 w 272584"/>
                <a:gd name="connsiteY9" fmla="*/ 165826 h 221720"/>
                <a:gd name="connsiteX10" fmla="*/ 271480 w 272584"/>
                <a:gd name="connsiteY10" fmla="*/ 138237 h 221720"/>
                <a:gd name="connsiteX11" fmla="*/ 272584 w 272584"/>
                <a:gd name="connsiteY11" fmla="*/ 145410 h 22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2584" h="221720">
                  <a:moveTo>
                    <a:pt x="272584" y="150928"/>
                  </a:moveTo>
                  <a:cubicBezTo>
                    <a:pt x="214094" y="201141"/>
                    <a:pt x="137395" y="218798"/>
                    <a:pt x="91597" y="221557"/>
                  </a:cubicBezTo>
                  <a:cubicBezTo>
                    <a:pt x="66215" y="223213"/>
                    <a:pt x="41384" y="212177"/>
                    <a:pt x="23727" y="193967"/>
                  </a:cubicBezTo>
                  <a:cubicBezTo>
                    <a:pt x="4966" y="175759"/>
                    <a:pt x="0" y="144306"/>
                    <a:pt x="0" y="99060"/>
                  </a:cubicBezTo>
                  <a:lnTo>
                    <a:pt x="0" y="58265"/>
                  </a:lnTo>
                  <a:lnTo>
                    <a:pt x="74157" y="0"/>
                  </a:lnTo>
                  <a:lnTo>
                    <a:pt x="74492" y="46640"/>
                  </a:lnTo>
                  <a:cubicBezTo>
                    <a:pt x="72836" y="77540"/>
                    <a:pt x="77802" y="108992"/>
                    <a:pt x="87734" y="138237"/>
                  </a:cubicBezTo>
                  <a:cubicBezTo>
                    <a:pt x="96563" y="162515"/>
                    <a:pt x="119186" y="174655"/>
                    <a:pt x="153949" y="174655"/>
                  </a:cubicBezTo>
                  <a:cubicBezTo>
                    <a:pt x="171055" y="174103"/>
                    <a:pt x="187608" y="170792"/>
                    <a:pt x="203610" y="165826"/>
                  </a:cubicBezTo>
                  <a:cubicBezTo>
                    <a:pt x="226785" y="158653"/>
                    <a:pt x="249409" y="149273"/>
                    <a:pt x="271480" y="138237"/>
                  </a:cubicBezTo>
                  <a:cubicBezTo>
                    <a:pt x="272032" y="140444"/>
                    <a:pt x="272584" y="143203"/>
                    <a:pt x="272584" y="1454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9" name="Forme libre : forme 2698">
              <a:extLst>
                <a:ext uri="{FF2B5EF4-FFF2-40B4-BE49-F238E27FC236}">
                  <a16:creationId xmlns:a16="http://schemas.microsoft.com/office/drawing/2014/main" id="{04F7B0B6-4F3C-463B-AFC6-7617C958C986}"/>
                </a:ext>
              </a:extLst>
            </p:cNvPr>
            <p:cNvSpPr/>
            <p:nvPr/>
          </p:nvSpPr>
          <p:spPr>
            <a:xfrm rot="8716295">
              <a:off x="466598" y="470771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00" name="Forme libre : forme 2699">
              <a:extLst>
                <a:ext uri="{FF2B5EF4-FFF2-40B4-BE49-F238E27FC236}">
                  <a16:creationId xmlns:a16="http://schemas.microsoft.com/office/drawing/2014/main" id="{9EAECEBF-102E-44C3-A49C-9E40F5D97CD7}"/>
                </a:ext>
              </a:extLst>
            </p:cNvPr>
            <p:cNvSpPr/>
            <p:nvPr/>
          </p:nvSpPr>
          <p:spPr>
            <a:xfrm rot="8716295">
              <a:off x="414793" y="460412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01" name="Forme libre : forme 2700">
              <a:extLst>
                <a:ext uri="{FF2B5EF4-FFF2-40B4-BE49-F238E27FC236}">
                  <a16:creationId xmlns:a16="http://schemas.microsoft.com/office/drawing/2014/main" id="{D86C9B04-A48F-43C5-818F-0682D918E935}"/>
                </a:ext>
              </a:extLst>
            </p:cNvPr>
            <p:cNvSpPr/>
            <p:nvPr/>
          </p:nvSpPr>
          <p:spPr>
            <a:xfrm rot="8716295">
              <a:off x="171547" y="46343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02" name="Forme libre : forme 2701">
              <a:extLst>
                <a:ext uri="{FF2B5EF4-FFF2-40B4-BE49-F238E27FC236}">
                  <a16:creationId xmlns:a16="http://schemas.microsoft.com/office/drawing/2014/main" id="{B50A5EA0-94C0-49DF-B3B3-0598110E9D36}"/>
                </a:ext>
              </a:extLst>
            </p:cNvPr>
            <p:cNvSpPr/>
            <p:nvPr/>
          </p:nvSpPr>
          <p:spPr>
            <a:xfrm rot="8716295">
              <a:off x="348999" y="44751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2703" name="Forme libre : forme 2702">
            <a:extLst>
              <a:ext uri="{FF2B5EF4-FFF2-40B4-BE49-F238E27FC236}">
                <a16:creationId xmlns:a16="http://schemas.microsoft.com/office/drawing/2014/main" id="{E408E4A5-CB62-44EA-BFB2-5C8080ABA866}"/>
              </a:ext>
            </a:extLst>
          </p:cNvPr>
          <p:cNvSpPr/>
          <p:nvPr userDrawn="1"/>
        </p:nvSpPr>
        <p:spPr>
          <a:xfrm>
            <a:off x="5658098" y="0"/>
            <a:ext cx="3485902" cy="5143500"/>
          </a:xfrm>
          <a:custGeom>
            <a:avLst/>
            <a:gdLst>
              <a:gd name="connsiteX0" fmla="*/ 437902 w 3485902"/>
              <a:gd name="connsiteY0" fmla="*/ 0 h 5143500"/>
              <a:gd name="connsiteX1" fmla="*/ 3485902 w 3485902"/>
              <a:gd name="connsiteY1" fmla="*/ 0 h 5143500"/>
              <a:gd name="connsiteX2" fmla="*/ 3485902 w 3485902"/>
              <a:gd name="connsiteY2" fmla="*/ 5143500 h 5143500"/>
              <a:gd name="connsiteX3" fmla="*/ 437902 w 3485902"/>
              <a:gd name="connsiteY3" fmla="*/ 5143500 h 5143500"/>
              <a:gd name="connsiteX4" fmla="*/ 0 w 3485902"/>
              <a:gd name="connsiteY4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85902" h="5143500">
                <a:moveTo>
                  <a:pt x="437902" y="0"/>
                </a:moveTo>
                <a:lnTo>
                  <a:pt x="3485902" y="0"/>
                </a:lnTo>
                <a:lnTo>
                  <a:pt x="3485902" y="5143500"/>
                </a:lnTo>
                <a:lnTo>
                  <a:pt x="437902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416" name="Triangle isocèle 1415">
            <a:extLst>
              <a:ext uri="{FF2B5EF4-FFF2-40B4-BE49-F238E27FC236}">
                <a16:creationId xmlns:a16="http://schemas.microsoft.com/office/drawing/2014/main" id="{AD7C94CF-E2EE-4D3E-8ABC-2B739EE56084}"/>
              </a:ext>
            </a:extLst>
          </p:cNvPr>
          <p:cNvSpPr/>
          <p:nvPr userDrawn="1"/>
        </p:nvSpPr>
        <p:spPr>
          <a:xfrm flipH="1" flipV="1">
            <a:off x="5860799" y="-4"/>
            <a:ext cx="697074" cy="2733677"/>
          </a:xfrm>
          <a:prstGeom prst="triangle">
            <a:avLst>
              <a:gd name="adj" fmla="val 98181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412" name="Espace réservé du texte 1411">
            <a:extLst>
              <a:ext uri="{FF2B5EF4-FFF2-40B4-BE49-F238E27FC236}">
                <a16:creationId xmlns:a16="http://schemas.microsoft.com/office/drawing/2014/main" id="{B975A26C-84FD-4C11-BF53-E602FA68DDC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9920" y="812296"/>
            <a:ext cx="36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1413" name="Espace réservé du texte 1412">
            <a:extLst>
              <a:ext uri="{FF2B5EF4-FFF2-40B4-BE49-F238E27FC236}">
                <a16:creationId xmlns:a16="http://schemas.microsoft.com/office/drawing/2014/main" id="{1F3E6244-BF30-44B9-B6F9-BF4959AA80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29920" y="812296"/>
            <a:ext cx="36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1414" name="Titre 1413">
            <a:extLst>
              <a:ext uri="{FF2B5EF4-FFF2-40B4-BE49-F238E27FC236}">
                <a16:creationId xmlns:a16="http://schemas.microsoft.com/office/drawing/2014/main" id="{7B15E4E4-6E7E-48BC-92A9-631F532CE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5123" y="333575"/>
            <a:ext cx="4278481" cy="4247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Titre de la slide</a:t>
            </a:r>
          </a:p>
        </p:txBody>
      </p:sp>
      <p:sp>
        <p:nvSpPr>
          <p:cNvPr id="2704" name="Espace réservé du texte 527">
            <a:extLst>
              <a:ext uri="{FF2B5EF4-FFF2-40B4-BE49-F238E27FC236}">
                <a16:creationId xmlns:a16="http://schemas.microsoft.com/office/drawing/2014/main" id="{CC11CCEC-9F44-4765-82D5-95394B68963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57797" y="4265959"/>
            <a:ext cx="972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2705" name="Espace réservé du texte 528">
            <a:extLst>
              <a:ext uri="{FF2B5EF4-FFF2-40B4-BE49-F238E27FC236}">
                <a16:creationId xmlns:a16="http://schemas.microsoft.com/office/drawing/2014/main" id="{7747CF4E-5B84-4DE3-88F9-EC35BF6D450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527881" y="4265959"/>
            <a:ext cx="972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rgbClr val="3A1B0B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2706" name="Espace réservé du texte 530">
            <a:extLst>
              <a:ext uri="{FF2B5EF4-FFF2-40B4-BE49-F238E27FC236}">
                <a16:creationId xmlns:a16="http://schemas.microsoft.com/office/drawing/2014/main" id="{CCE21332-A8BF-4D34-9256-DD4FFF00788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44353" y="491319"/>
            <a:ext cx="2190214" cy="3455711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100" b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Niveau 2</a:t>
            </a:r>
          </a:p>
        </p:txBody>
      </p:sp>
      <p:sp>
        <p:nvSpPr>
          <p:cNvPr id="905" name="Espace réservé du numéro de diapositive 904">
            <a:extLst>
              <a:ext uri="{FF2B5EF4-FFF2-40B4-BE49-F238E27FC236}">
                <a16:creationId xmlns:a16="http://schemas.microsoft.com/office/drawing/2014/main" id="{8E169AA1-F9FA-4AA9-8089-1E02EB58967C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5500800" y="2"/>
            <a:ext cx="594090" cy="2665951"/>
          </a:xfrm>
          <a:custGeom>
            <a:avLst/>
            <a:gdLst>
              <a:gd name="connsiteX0" fmla="*/ 0 w 594090"/>
              <a:gd name="connsiteY0" fmla="*/ 0 h 2665951"/>
              <a:gd name="connsiteX1" fmla="*/ 594090 w 594090"/>
              <a:gd name="connsiteY1" fmla="*/ 0 h 2665951"/>
              <a:gd name="connsiteX2" fmla="*/ 367119 w 594090"/>
              <a:gd name="connsiteY2" fmla="*/ 2665951 h 2665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94090" h="2665951">
                <a:moveTo>
                  <a:pt x="0" y="0"/>
                </a:moveTo>
                <a:lnTo>
                  <a:pt x="594090" y="0"/>
                </a:lnTo>
                <a:lnTo>
                  <a:pt x="367119" y="2665951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180000" rIns="0" bIns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260731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clair + Texte">
    <p:bg>
      <p:bgPr>
        <a:solidFill>
          <a:srgbClr val="009F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6" name="Groupe 905">
            <a:extLst>
              <a:ext uri="{FF2B5EF4-FFF2-40B4-BE49-F238E27FC236}">
                <a16:creationId xmlns:a16="http://schemas.microsoft.com/office/drawing/2014/main" id="{262DD600-3D98-450E-9C13-1ED3731F0C57}"/>
              </a:ext>
            </a:extLst>
          </p:cNvPr>
          <p:cNvGrpSpPr/>
          <p:nvPr userDrawn="1"/>
        </p:nvGrpSpPr>
        <p:grpSpPr>
          <a:xfrm>
            <a:off x="5646189" y="-56618"/>
            <a:ext cx="3577789" cy="5281077"/>
            <a:chOff x="5646189" y="-56618"/>
            <a:chExt cx="3577789" cy="5281077"/>
          </a:xfrm>
          <a:solidFill>
            <a:schemeClr val="bg2">
              <a:alpha val="5000"/>
            </a:schemeClr>
          </a:solidFill>
        </p:grpSpPr>
        <p:sp>
          <p:nvSpPr>
            <p:cNvPr id="907" name="Forme libre : forme 906">
              <a:extLst>
                <a:ext uri="{FF2B5EF4-FFF2-40B4-BE49-F238E27FC236}">
                  <a16:creationId xmlns:a16="http://schemas.microsoft.com/office/drawing/2014/main" id="{316F36C1-A141-4E61-9E83-EFDA32C46FDD}"/>
                </a:ext>
              </a:extLst>
            </p:cNvPr>
            <p:cNvSpPr/>
            <p:nvPr/>
          </p:nvSpPr>
          <p:spPr>
            <a:xfrm rot="8716295">
              <a:off x="5849244" y="2601866"/>
              <a:ext cx="81391" cy="44199"/>
            </a:xfrm>
            <a:custGeom>
              <a:avLst/>
              <a:gdLst>
                <a:gd name="connsiteX0" fmla="*/ 0 w 81391"/>
                <a:gd name="connsiteY0" fmla="*/ 44199 h 44199"/>
                <a:gd name="connsiteX1" fmla="*/ 0 w 81391"/>
                <a:gd name="connsiteY1" fmla="*/ 0 h 44199"/>
                <a:gd name="connsiteX2" fmla="*/ 81391 w 81391"/>
                <a:gd name="connsiteY2" fmla="*/ 0 h 44199"/>
                <a:gd name="connsiteX3" fmla="*/ 44834 w 81391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1391" h="44199">
                  <a:moveTo>
                    <a:pt x="0" y="44199"/>
                  </a:moveTo>
                  <a:lnTo>
                    <a:pt x="0" y="0"/>
                  </a:lnTo>
                  <a:lnTo>
                    <a:pt x="81391" y="0"/>
                  </a:lnTo>
                  <a:lnTo>
                    <a:pt x="44834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8" name="Forme libre : forme 907">
              <a:extLst>
                <a:ext uri="{FF2B5EF4-FFF2-40B4-BE49-F238E27FC236}">
                  <a16:creationId xmlns:a16="http://schemas.microsoft.com/office/drawing/2014/main" id="{3C10A908-8704-4ED3-B0DC-1D82C51CB83F}"/>
                </a:ext>
              </a:extLst>
            </p:cNvPr>
            <p:cNvSpPr/>
            <p:nvPr/>
          </p:nvSpPr>
          <p:spPr>
            <a:xfrm rot="13089394">
              <a:off x="5767060" y="2734286"/>
              <a:ext cx="230958" cy="317148"/>
            </a:xfrm>
            <a:custGeom>
              <a:avLst/>
              <a:gdLst>
                <a:gd name="connsiteX0" fmla="*/ 230958 w 230958"/>
                <a:gd name="connsiteY0" fmla="*/ 274842 h 317148"/>
                <a:gd name="connsiteX1" fmla="*/ 226070 w 230958"/>
                <a:gd name="connsiteY1" fmla="*/ 278187 h 317148"/>
                <a:gd name="connsiteX2" fmla="*/ 91597 w 230958"/>
                <a:gd name="connsiteY2" fmla="*/ 316985 h 317148"/>
                <a:gd name="connsiteX3" fmla="*/ 23727 w 230958"/>
                <a:gd name="connsiteY3" fmla="*/ 289395 h 317148"/>
                <a:gd name="connsiteX4" fmla="*/ 0 w 230958"/>
                <a:gd name="connsiteY4" fmla="*/ 194488 h 317148"/>
                <a:gd name="connsiteX5" fmla="*/ 0 w 230958"/>
                <a:gd name="connsiteY5" fmla="*/ 26192 h 317148"/>
                <a:gd name="connsiteX6" fmla="*/ 50486 w 230958"/>
                <a:gd name="connsiteY6" fmla="*/ 0 h 317148"/>
                <a:gd name="connsiteX7" fmla="*/ 73727 w 230958"/>
                <a:gd name="connsiteY7" fmla="*/ 35393 h 317148"/>
                <a:gd name="connsiteX8" fmla="*/ 74492 w 230958"/>
                <a:gd name="connsiteY8" fmla="*/ 142068 h 317148"/>
                <a:gd name="connsiteX9" fmla="*/ 87734 w 230958"/>
                <a:gd name="connsiteY9" fmla="*/ 233665 h 317148"/>
                <a:gd name="connsiteX10" fmla="*/ 153949 w 230958"/>
                <a:gd name="connsiteY10" fmla="*/ 270083 h 317148"/>
                <a:gd name="connsiteX11" fmla="*/ 203610 w 230958"/>
                <a:gd name="connsiteY11" fmla="*/ 261254 h 317148"/>
                <a:gd name="connsiteX12" fmla="*/ 218153 w 230958"/>
                <a:gd name="connsiteY12" fmla="*/ 255342 h 317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0958" h="317148">
                  <a:moveTo>
                    <a:pt x="230958" y="274842"/>
                  </a:moveTo>
                  <a:lnTo>
                    <a:pt x="226070" y="278187"/>
                  </a:lnTo>
                  <a:cubicBezTo>
                    <a:pt x="177676" y="304466"/>
                    <a:pt x="125946" y="314915"/>
                    <a:pt x="91597" y="316985"/>
                  </a:cubicBezTo>
                  <a:cubicBezTo>
                    <a:pt x="66215" y="318640"/>
                    <a:pt x="41385" y="307605"/>
                    <a:pt x="23727" y="289395"/>
                  </a:cubicBezTo>
                  <a:cubicBezTo>
                    <a:pt x="4966" y="271187"/>
                    <a:pt x="0" y="239734"/>
                    <a:pt x="0" y="194488"/>
                  </a:cubicBezTo>
                  <a:lnTo>
                    <a:pt x="0" y="26192"/>
                  </a:lnTo>
                  <a:lnTo>
                    <a:pt x="50486" y="0"/>
                  </a:lnTo>
                  <a:lnTo>
                    <a:pt x="73727" y="35393"/>
                  </a:lnTo>
                  <a:lnTo>
                    <a:pt x="74492" y="142068"/>
                  </a:lnTo>
                  <a:cubicBezTo>
                    <a:pt x="72836" y="172968"/>
                    <a:pt x="77802" y="204420"/>
                    <a:pt x="87734" y="233665"/>
                  </a:cubicBezTo>
                  <a:cubicBezTo>
                    <a:pt x="96564" y="257944"/>
                    <a:pt x="119186" y="270083"/>
                    <a:pt x="153949" y="270083"/>
                  </a:cubicBezTo>
                  <a:cubicBezTo>
                    <a:pt x="171055" y="269531"/>
                    <a:pt x="187608" y="266220"/>
                    <a:pt x="203610" y="261254"/>
                  </a:cubicBezTo>
                  <a:lnTo>
                    <a:pt x="218153" y="2553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9" name="Forme libre : forme 908">
              <a:extLst>
                <a:ext uri="{FF2B5EF4-FFF2-40B4-BE49-F238E27FC236}">
                  <a16:creationId xmlns:a16="http://schemas.microsoft.com/office/drawing/2014/main" id="{A199C0B0-5C8A-45B3-BBDF-121576C18A1E}"/>
                </a:ext>
              </a:extLst>
            </p:cNvPr>
            <p:cNvSpPr/>
            <p:nvPr/>
          </p:nvSpPr>
          <p:spPr>
            <a:xfrm rot="8716295">
              <a:off x="5912695" y="253226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0" name="Forme libre : forme 909">
              <a:extLst>
                <a:ext uri="{FF2B5EF4-FFF2-40B4-BE49-F238E27FC236}">
                  <a16:creationId xmlns:a16="http://schemas.microsoft.com/office/drawing/2014/main" id="{674F96B3-B4CB-4FDB-8233-AF794BDAABA3}"/>
                </a:ext>
              </a:extLst>
            </p:cNvPr>
            <p:cNvSpPr/>
            <p:nvPr/>
          </p:nvSpPr>
          <p:spPr>
            <a:xfrm rot="8716295">
              <a:off x="5857614" y="2424677"/>
              <a:ext cx="112409" cy="115397"/>
            </a:xfrm>
            <a:custGeom>
              <a:avLst/>
              <a:gdLst>
                <a:gd name="connsiteX0" fmla="*/ 17477 w 112409"/>
                <a:gd name="connsiteY0" fmla="*/ 101182 h 115397"/>
                <a:gd name="connsiteX1" fmla="*/ 0 w 112409"/>
                <a:gd name="connsiteY1" fmla="*/ 59790 h 115397"/>
                <a:gd name="connsiteX2" fmla="*/ 0 w 112409"/>
                <a:gd name="connsiteY2" fmla="*/ 58869 h 115397"/>
                <a:gd name="connsiteX3" fmla="*/ 17477 w 112409"/>
                <a:gd name="connsiteY3" fmla="*/ 17477 h 115397"/>
                <a:gd name="connsiteX4" fmla="*/ 58869 w 112409"/>
                <a:gd name="connsiteY4" fmla="*/ 0 h 115397"/>
                <a:gd name="connsiteX5" fmla="*/ 100263 w 112409"/>
                <a:gd name="connsiteY5" fmla="*/ 17477 h 115397"/>
                <a:gd name="connsiteX6" fmla="*/ 112409 w 112409"/>
                <a:gd name="connsiteY6" fmla="*/ 35332 h 115397"/>
                <a:gd name="connsiteX7" fmla="*/ 46186 w 112409"/>
                <a:gd name="connsiteY7" fmla="*/ 115397 h 115397"/>
                <a:gd name="connsiteX8" fmla="*/ 36449 w 112409"/>
                <a:gd name="connsiteY8" fmla="*/ 113599 h 115397"/>
                <a:gd name="connsiteX9" fmla="*/ 17477 w 112409"/>
                <a:gd name="connsiteY9" fmla="*/ 101182 h 11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2409" h="115397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2" y="0"/>
                    <a:pt x="58869" y="0"/>
                  </a:cubicBezTo>
                  <a:cubicBezTo>
                    <a:pt x="74507" y="0"/>
                    <a:pt x="89224" y="6439"/>
                    <a:pt x="100263" y="17477"/>
                  </a:cubicBezTo>
                  <a:lnTo>
                    <a:pt x="112409" y="35332"/>
                  </a:lnTo>
                  <a:lnTo>
                    <a:pt x="46186" y="115397"/>
                  </a:lnTo>
                  <a:lnTo>
                    <a:pt x="36449" y="113599"/>
                  </a:lnTo>
                  <a:cubicBezTo>
                    <a:pt x="29435" y="110840"/>
                    <a:pt x="22996" y="106701"/>
                    <a:pt x="17477" y="10118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1" name="Forme libre : forme 910">
              <a:extLst>
                <a:ext uri="{FF2B5EF4-FFF2-40B4-BE49-F238E27FC236}">
                  <a16:creationId xmlns:a16="http://schemas.microsoft.com/office/drawing/2014/main" id="{3DE21975-F28E-4032-8E60-B5D4D4B87EE5}"/>
                </a:ext>
              </a:extLst>
            </p:cNvPr>
            <p:cNvSpPr/>
            <p:nvPr/>
          </p:nvSpPr>
          <p:spPr>
            <a:xfrm rot="8716295">
              <a:off x="5881807" y="2341768"/>
              <a:ext cx="26879" cy="32498"/>
            </a:xfrm>
            <a:custGeom>
              <a:avLst/>
              <a:gdLst>
                <a:gd name="connsiteX0" fmla="*/ 0 w 26879"/>
                <a:gd name="connsiteY0" fmla="*/ 32498 h 32498"/>
                <a:gd name="connsiteX1" fmla="*/ 10867 w 26879"/>
                <a:gd name="connsiteY1" fmla="*/ 6761 h 32498"/>
                <a:gd name="connsiteX2" fmla="*/ 26879 w 26879"/>
                <a:gd name="connsiteY2" fmla="*/ 0 h 32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879" h="32498">
                  <a:moveTo>
                    <a:pt x="0" y="32498"/>
                  </a:moveTo>
                  <a:lnTo>
                    <a:pt x="10867" y="6761"/>
                  </a:lnTo>
                  <a:lnTo>
                    <a:pt x="26879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2" name="Forme libre : forme 911">
              <a:extLst>
                <a:ext uri="{FF2B5EF4-FFF2-40B4-BE49-F238E27FC236}">
                  <a16:creationId xmlns:a16="http://schemas.microsoft.com/office/drawing/2014/main" id="{9764F5B5-C912-4DBF-84E2-7421124A4791}"/>
                </a:ext>
              </a:extLst>
            </p:cNvPr>
            <p:cNvSpPr/>
            <p:nvPr/>
          </p:nvSpPr>
          <p:spPr>
            <a:xfrm rot="8716295">
              <a:off x="5913671" y="466578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3" name="Forme libre : forme 912">
              <a:extLst>
                <a:ext uri="{FF2B5EF4-FFF2-40B4-BE49-F238E27FC236}">
                  <a16:creationId xmlns:a16="http://schemas.microsoft.com/office/drawing/2014/main" id="{28FBA634-B173-4807-AF78-C3BE0198B5A0}"/>
                </a:ext>
              </a:extLst>
            </p:cNvPr>
            <p:cNvSpPr/>
            <p:nvPr/>
          </p:nvSpPr>
          <p:spPr>
            <a:xfrm rot="8716295">
              <a:off x="6003063" y="469502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4" name="Forme libre : forme 913">
              <a:extLst>
                <a:ext uri="{FF2B5EF4-FFF2-40B4-BE49-F238E27FC236}">
                  <a16:creationId xmlns:a16="http://schemas.microsoft.com/office/drawing/2014/main" id="{D8555892-46F5-4C26-887B-701A898C715E}"/>
                </a:ext>
              </a:extLst>
            </p:cNvPr>
            <p:cNvSpPr/>
            <p:nvPr/>
          </p:nvSpPr>
          <p:spPr>
            <a:xfrm rot="8716295">
              <a:off x="5958213" y="460874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5" name="Forme libre : forme 914">
              <a:extLst>
                <a:ext uri="{FF2B5EF4-FFF2-40B4-BE49-F238E27FC236}">
                  <a16:creationId xmlns:a16="http://schemas.microsoft.com/office/drawing/2014/main" id="{681D1B8C-10AD-42F0-942E-CC687ED23676}"/>
                </a:ext>
              </a:extLst>
            </p:cNvPr>
            <p:cNvSpPr/>
            <p:nvPr/>
          </p:nvSpPr>
          <p:spPr>
            <a:xfrm rot="8716295">
              <a:off x="5801437" y="475432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6" name="Forme libre : forme 915">
              <a:extLst>
                <a:ext uri="{FF2B5EF4-FFF2-40B4-BE49-F238E27FC236}">
                  <a16:creationId xmlns:a16="http://schemas.microsoft.com/office/drawing/2014/main" id="{EE1786F7-846D-4C35-BEF0-71DF51874200}"/>
                </a:ext>
              </a:extLst>
            </p:cNvPr>
            <p:cNvSpPr/>
            <p:nvPr/>
          </p:nvSpPr>
          <p:spPr>
            <a:xfrm rot="8716295">
              <a:off x="5676534" y="454565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7" name="Forme libre : forme 916">
              <a:extLst>
                <a:ext uri="{FF2B5EF4-FFF2-40B4-BE49-F238E27FC236}">
                  <a16:creationId xmlns:a16="http://schemas.microsoft.com/office/drawing/2014/main" id="{D6857D82-8E0B-444B-8E66-5012E332E7B3}"/>
                </a:ext>
              </a:extLst>
            </p:cNvPr>
            <p:cNvSpPr/>
            <p:nvPr/>
          </p:nvSpPr>
          <p:spPr>
            <a:xfrm rot="8716295">
              <a:off x="5768458" y="4370657"/>
              <a:ext cx="172989" cy="350829"/>
            </a:xfrm>
            <a:custGeom>
              <a:avLst/>
              <a:gdLst>
                <a:gd name="connsiteX0" fmla="*/ 25299 w 172989"/>
                <a:gd name="connsiteY0" fmla="*/ 321238 h 350829"/>
                <a:gd name="connsiteX1" fmla="*/ 0 w 172989"/>
                <a:gd name="connsiteY1" fmla="*/ 220042 h 350829"/>
                <a:gd name="connsiteX2" fmla="*/ 0 w 172989"/>
                <a:gd name="connsiteY2" fmla="*/ 40596 h 350829"/>
                <a:gd name="connsiteX3" fmla="*/ 78250 w 172989"/>
                <a:gd name="connsiteY3" fmla="*/ 0 h 350829"/>
                <a:gd name="connsiteX4" fmla="*/ 79427 w 172989"/>
                <a:gd name="connsiteY4" fmla="*/ 164149 h 350829"/>
                <a:gd name="connsiteX5" fmla="*/ 93547 w 172989"/>
                <a:gd name="connsiteY5" fmla="*/ 261815 h 350829"/>
                <a:gd name="connsiteX6" fmla="*/ 164149 w 172989"/>
                <a:gd name="connsiteY6" fmla="*/ 300646 h 350829"/>
                <a:gd name="connsiteX7" fmla="*/ 172989 w 172989"/>
                <a:gd name="connsiteY7" fmla="*/ 299074 h 350829"/>
                <a:gd name="connsiteX8" fmla="*/ 134278 w 172989"/>
                <a:gd name="connsiteY8" fmla="*/ 345877 h 350829"/>
                <a:gd name="connsiteX9" fmla="*/ 97665 w 172989"/>
                <a:gd name="connsiteY9" fmla="*/ 350655 h 350829"/>
                <a:gd name="connsiteX10" fmla="*/ 25299 w 172989"/>
                <a:gd name="connsiteY10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2989" h="350829">
                  <a:moveTo>
                    <a:pt x="25299" y="321238"/>
                  </a:moveTo>
                  <a:cubicBezTo>
                    <a:pt x="5295" y="301822"/>
                    <a:pt x="0" y="268287"/>
                    <a:pt x="0" y="220042"/>
                  </a:cubicBez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9" y="300646"/>
                  </a:cubicBezTo>
                  <a:lnTo>
                    <a:pt x="172989" y="299074"/>
                  </a:lnTo>
                  <a:lnTo>
                    <a:pt x="134278" y="345877"/>
                  </a:lnTo>
                  <a:lnTo>
                    <a:pt x="97665" y="350655"/>
                  </a:ln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8" name="Forme libre : forme 917">
              <a:extLst>
                <a:ext uri="{FF2B5EF4-FFF2-40B4-BE49-F238E27FC236}">
                  <a16:creationId xmlns:a16="http://schemas.microsoft.com/office/drawing/2014/main" id="{EB8D3ABA-6A82-4EB5-8976-7A067BF087A1}"/>
                </a:ext>
              </a:extLst>
            </p:cNvPr>
            <p:cNvSpPr/>
            <p:nvPr/>
          </p:nvSpPr>
          <p:spPr>
            <a:xfrm rot="8716295">
              <a:off x="5891615" y="479527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9" name="Forme libre : forme 918">
              <a:extLst>
                <a:ext uri="{FF2B5EF4-FFF2-40B4-BE49-F238E27FC236}">
                  <a16:creationId xmlns:a16="http://schemas.microsoft.com/office/drawing/2014/main" id="{CDE3B9A6-DC2D-4FA6-99E1-2A25E54B47AA}"/>
                </a:ext>
              </a:extLst>
            </p:cNvPr>
            <p:cNvSpPr/>
            <p:nvPr/>
          </p:nvSpPr>
          <p:spPr>
            <a:xfrm rot="8716295">
              <a:off x="6202770" y="441563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0" name="Forme libre : forme 919">
              <a:extLst>
                <a:ext uri="{FF2B5EF4-FFF2-40B4-BE49-F238E27FC236}">
                  <a16:creationId xmlns:a16="http://schemas.microsoft.com/office/drawing/2014/main" id="{5B7D053E-0D42-4B34-AF0A-97083013C28E}"/>
                </a:ext>
              </a:extLst>
            </p:cNvPr>
            <p:cNvSpPr/>
            <p:nvPr/>
          </p:nvSpPr>
          <p:spPr>
            <a:xfrm rot="8716295">
              <a:off x="6292162" y="444487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1" name="Forme libre : forme 920">
              <a:extLst>
                <a:ext uri="{FF2B5EF4-FFF2-40B4-BE49-F238E27FC236}">
                  <a16:creationId xmlns:a16="http://schemas.microsoft.com/office/drawing/2014/main" id="{694450A2-AFB6-47EC-9F1E-9256E1A21402}"/>
                </a:ext>
              </a:extLst>
            </p:cNvPr>
            <p:cNvSpPr/>
            <p:nvPr/>
          </p:nvSpPr>
          <p:spPr>
            <a:xfrm rot="8716295">
              <a:off x="6090536" y="450417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2" name="Forme libre : forme 921">
              <a:extLst>
                <a:ext uri="{FF2B5EF4-FFF2-40B4-BE49-F238E27FC236}">
                  <a16:creationId xmlns:a16="http://schemas.microsoft.com/office/drawing/2014/main" id="{2E1D4188-16BB-4F4E-B396-4368ED517467}"/>
                </a:ext>
              </a:extLst>
            </p:cNvPr>
            <p:cNvSpPr/>
            <p:nvPr/>
          </p:nvSpPr>
          <p:spPr>
            <a:xfrm rot="8716295">
              <a:off x="5965634" y="429550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3" name="Forme libre : forme 922">
              <a:extLst>
                <a:ext uri="{FF2B5EF4-FFF2-40B4-BE49-F238E27FC236}">
                  <a16:creationId xmlns:a16="http://schemas.microsoft.com/office/drawing/2014/main" id="{EBDC38B5-8342-4F3F-B5B5-1F3F235D0C56}"/>
                </a:ext>
              </a:extLst>
            </p:cNvPr>
            <p:cNvSpPr/>
            <p:nvPr/>
          </p:nvSpPr>
          <p:spPr>
            <a:xfrm rot="8716295">
              <a:off x="6180714" y="454512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4" name="Forme libre : forme 923">
              <a:extLst>
                <a:ext uri="{FF2B5EF4-FFF2-40B4-BE49-F238E27FC236}">
                  <a16:creationId xmlns:a16="http://schemas.microsoft.com/office/drawing/2014/main" id="{C4B5129D-445F-4392-8AC2-B9203BB346DD}"/>
                </a:ext>
              </a:extLst>
            </p:cNvPr>
            <p:cNvSpPr/>
            <p:nvPr/>
          </p:nvSpPr>
          <p:spPr>
            <a:xfrm rot="8716295">
              <a:off x="5939263" y="439552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5" name="Forme libre : forme 924">
              <a:extLst>
                <a:ext uri="{FF2B5EF4-FFF2-40B4-BE49-F238E27FC236}">
                  <a16:creationId xmlns:a16="http://schemas.microsoft.com/office/drawing/2014/main" id="{970FEF4F-2806-4E6F-A7A1-4451942C9570}"/>
                </a:ext>
              </a:extLst>
            </p:cNvPr>
            <p:cNvSpPr/>
            <p:nvPr/>
          </p:nvSpPr>
          <p:spPr>
            <a:xfrm rot="7484129">
              <a:off x="6285645" y="473647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6" name="Forme libre : forme 925">
              <a:extLst>
                <a:ext uri="{FF2B5EF4-FFF2-40B4-BE49-F238E27FC236}">
                  <a16:creationId xmlns:a16="http://schemas.microsoft.com/office/drawing/2014/main" id="{168E5BFD-1FF0-4328-BCD6-5A1BDBE7CD08}"/>
                </a:ext>
              </a:extLst>
            </p:cNvPr>
            <p:cNvSpPr/>
            <p:nvPr/>
          </p:nvSpPr>
          <p:spPr>
            <a:xfrm rot="13089394">
              <a:off x="6390465" y="470301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7" name="Forme libre : forme 926">
              <a:extLst>
                <a:ext uri="{FF2B5EF4-FFF2-40B4-BE49-F238E27FC236}">
                  <a16:creationId xmlns:a16="http://schemas.microsoft.com/office/drawing/2014/main" id="{951FD6F9-1046-440D-A307-0E7AB7A12F89}"/>
                </a:ext>
              </a:extLst>
            </p:cNvPr>
            <p:cNvSpPr/>
            <p:nvPr/>
          </p:nvSpPr>
          <p:spPr>
            <a:xfrm rot="8716295">
              <a:off x="6576050" y="451133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8" name="Forme libre : forme 927">
              <a:extLst>
                <a:ext uri="{FF2B5EF4-FFF2-40B4-BE49-F238E27FC236}">
                  <a16:creationId xmlns:a16="http://schemas.microsoft.com/office/drawing/2014/main" id="{1E996269-D47F-468E-AA98-30BA5BAD5601}"/>
                </a:ext>
              </a:extLst>
            </p:cNvPr>
            <p:cNvSpPr/>
            <p:nvPr/>
          </p:nvSpPr>
          <p:spPr>
            <a:xfrm rot="8716295">
              <a:off x="6524245" y="440773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9" name="Forme libre : forme 928">
              <a:extLst>
                <a:ext uri="{FF2B5EF4-FFF2-40B4-BE49-F238E27FC236}">
                  <a16:creationId xmlns:a16="http://schemas.microsoft.com/office/drawing/2014/main" id="{C949C9CA-7367-4FDB-9FDD-5DB19B82AE8D}"/>
                </a:ext>
              </a:extLst>
            </p:cNvPr>
            <p:cNvSpPr/>
            <p:nvPr/>
          </p:nvSpPr>
          <p:spPr>
            <a:xfrm rot="8716295">
              <a:off x="6280999" y="443795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0" name="Forme libre : forme 929">
              <a:extLst>
                <a:ext uri="{FF2B5EF4-FFF2-40B4-BE49-F238E27FC236}">
                  <a16:creationId xmlns:a16="http://schemas.microsoft.com/office/drawing/2014/main" id="{5CC25390-A23A-40EF-A07C-D971AF863154}"/>
                </a:ext>
              </a:extLst>
            </p:cNvPr>
            <p:cNvSpPr/>
            <p:nvPr/>
          </p:nvSpPr>
          <p:spPr>
            <a:xfrm rot="8716295">
              <a:off x="6458451" y="427871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1" name="Forme libre : forme 930">
              <a:extLst>
                <a:ext uri="{FF2B5EF4-FFF2-40B4-BE49-F238E27FC236}">
                  <a16:creationId xmlns:a16="http://schemas.microsoft.com/office/drawing/2014/main" id="{146B7D99-DE33-4639-937C-D36E74FC0553}"/>
                </a:ext>
              </a:extLst>
            </p:cNvPr>
            <p:cNvSpPr/>
            <p:nvPr/>
          </p:nvSpPr>
          <p:spPr>
            <a:xfrm rot="8716295">
              <a:off x="5769872" y="3510436"/>
              <a:ext cx="90341" cy="46972"/>
            </a:xfrm>
            <a:custGeom>
              <a:avLst/>
              <a:gdLst>
                <a:gd name="connsiteX0" fmla="*/ 0 w 90341"/>
                <a:gd name="connsiteY0" fmla="*/ 44199 h 46972"/>
                <a:gd name="connsiteX1" fmla="*/ 0 w 90341"/>
                <a:gd name="connsiteY1" fmla="*/ 0 h 46972"/>
                <a:gd name="connsiteX2" fmla="*/ 90341 w 90341"/>
                <a:gd name="connsiteY2" fmla="*/ 0 h 46972"/>
                <a:gd name="connsiteX3" fmla="*/ 51490 w 90341"/>
                <a:gd name="connsiteY3" fmla="*/ 46972 h 46972"/>
                <a:gd name="connsiteX4" fmla="*/ 51490 w 90341"/>
                <a:gd name="connsiteY4" fmla="*/ 44199 h 46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341" h="46972">
                  <a:moveTo>
                    <a:pt x="0" y="44199"/>
                  </a:moveTo>
                  <a:lnTo>
                    <a:pt x="0" y="0"/>
                  </a:lnTo>
                  <a:lnTo>
                    <a:pt x="90341" y="0"/>
                  </a:lnTo>
                  <a:lnTo>
                    <a:pt x="51490" y="46972"/>
                  </a:lnTo>
                  <a:lnTo>
                    <a:pt x="51490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2" name="Forme libre : forme 931">
              <a:extLst>
                <a:ext uri="{FF2B5EF4-FFF2-40B4-BE49-F238E27FC236}">
                  <a16:creationId xmlns:a16="http://schemas.microsoft.com/office/drawing/2014/main" id="{3DDBB1E4-D3C5-4DF2-B891-FF20DEDD11B2}"/>
                </a:ext>
              </a:extLst>
            </p:cNvPr>
            <p:cNvSpPr/>
            <p:nvPr/>
          </p:nvSpPr>
          <p:spPr>
            <a:xfrm rot="8716295">
              <a:off x="5792621" y="3203487"/>
              <a:ext cx="140657" cy="113060"/>
            </a:xfrm>
            <a:custGeom>
              <a:avLst/>
              <a:gdLst>
                <a:gd name="connsiteX0" fmla="*/ 81109 w 140657"/>
                <a:gd name="connsiteY0" fmla="*/ 113060 h 113060"/>
                <a:gd name="connsiteX1" fmla="*/ 81108 w 140657"/>
                <a:gd name="connsiteY1" fmla="*/ 69717 h 113060"/>
                <a:gd name="connsiteX2" fmla="*/ 81108 w 140657"/>
                <a:gd name="connsiteY2" fmla="*/ 65616 h 113060"/>
                <a:gd name="connsiteX3" fmla="*/ 60604 w 140657"/>
                <a:gd name="connsiteY3" fmla="*/ 50123 h 113060"/>
                <a:gd name="connsiteX4" fmla="*/ 0 w 140657"/>
                <a:gd name="connsiteY4" fmla="*/ 50123 h 113060"/>
                <a:gd name="connsiteX5" fmla="*/ 0 w 140657"/>
                <a:gd name="connsiteY5" fmla="*/ 0 h 113060"/>
                <a:gd name="connsiteX6" fmla="*/ 85209 w 140657"/>
                <a:gd name="connsiteY6" fmla="*/ 0 h 113060"/>
                <a:gd name="connsiteX7" fmla="*/ 138458 w 140657"/>
                <a:gd name="connsiteY7" fmla="*/ 27874 h 113060"/>
                <a:gd name="connsiteX8" fmla="*/ 140657 w 140657"/>
                <a:gd name="connsiteY8" fmla="*/ 41065 h 113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0657" h="113060">
                  <a:moveTo>
                    <a:pt x="81109" y="113060"/>
                  </a:moveTo>
                  <a:lnTo>
                    <a:pt x="81108" y="69717"/>
                  </a:lnTo>
                  <a:cubicBezTo>
                    <a:pt x="81108" y="68350"/>
                    <a:pt x="81109" y="66983"/>
                    <a:pt x="81108" y="65616"/>
                  </a:cubicBezTo>
                  <a:cubicBezTo>
                    <a:pt x="79741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12891" y="0"/>
                    <a:pt x="131089" y="8971"/>
                    <a:pt x="138458" y="27874"/>
                  </a:cubicBezTo>
                  <a:lnTo>
                    <a:pt x="140657" y="4106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3" name="Forme libre : forme 932">
              <a:extLst>
                <a:ext uri="{FF2B5EF4-FFF2-40B4-BE49-F238E27FC236}">
                  <a16:creationId xmlns:a16="http://schemas.microsoft.com/office/drawing/2014/main" id="{D0B2DA57-A70B-43F7-9619-5711704B639A}"/>
                </a:ext>
              </a:extLst>
            </p:cNvPr>
            <p:cNvSpPr/>
            <p:nvPr/>
          </p:nvSpPr>
          <p:spPr>
            <a:xfrm rot="8716295">
              <a:off x="5847477" y="312420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4" name="Forme libre : forme 933">
              <a:extLst>
                <a:ext uri="{FF2B5EF4-FFF2-40B4-BE49-F238E27FC236}">
                  <a16:creationId xmlns:a16="http://schemas.microsoft.com/office/drawing/2014/main" id="{1051B224-B15E-43CC-A0B6-B9EF6E747E24}"/>
                </a:ext>
              </a:extLst>
            </p:cNvPr>
            <p:cNvSpPr/>
            <p:nvPr/>
          </p:nvSpPr>
          <p:spPr>
            <a:xfrm rot="8716295">
              <a:off x="5773507" y="3354505"/>
              <a:ext cx="103435" cy="76949"/>
            </a:xfrm>
            <a:custGeom>
              <a:avLst/>
              <a:gdLst>
                <a:gd name="connsiteX0" fmla="*/ 43288 w 103435"/>
                <a:gd name="connsiteY0" fmla="*/ 76949 h 76949"/>
                <a:gd name="connsiteX1" fmla="*/ 43288 w 103435"/>
                <a:gd name="connsiteY1" fmla="*/ 16404 h 76949"/>
                <a:gd name="connsiteX2" fmla="*/ 0 w 103435"/>
                <a:gd name="connsiteY2" fmla="*/ 16404 h 76949"/>
                <a:gd name="connsiteX3" fmla="*/ 0 w 103435"/>
                <a:gd name="connsiteY3" fmla="*/ 2278 h 76949"/>
                <a:gd name="connsiteX4" fmla="*/ 103435 w 103435"/>
                <a:gd name="connsiteY4" fmla="*/ 0 h 76949"/>
                <a:gd name="connsiteX5" fmla="*/ 103435 w 103435"/>
                <a:gd name="connsiteY5" fmla="*/ 4230 h 76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76949">
                  <a:moveTo>
                    <a:pt x="43288" y="76949"/>
                  </a:move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423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5" name="Forme libre : forme 934">
              <a:extLst>
                <a:ext uri="{FF2B5EF4-FFF2-40B4-BE49-F238E27FC236}">
                  <a16:creationId xmlns:a16="http://schemas.microsoft.com/office/drawing/2014/main" id="{352A9204-99DE-4A12-9185-D55A857434F8}"/>
                </a:ext>
              </a:extLst>
            </p:cNvPr>
            <p:cNvSpPr/>
            <p:nvPr/>
          </p:nvSpPr>
          <p:spPr>
            <a:xfrm rot="7484129">
              <a:off x="5840960" y="341580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6" name="Forme libre : forme 935">
              <a:extLst>
                <a:ext uri="{FF2B5EF4-FFF2-40B4-BE49-F238E27FC236}">
                  <a16:creationId xmlns:a16="http://schemas.microsoft.com/office/drawing/2014/main" id="{1AF7DA6B-CCB6-40AE-904E-CD1E7D32B1FE}"/>
                </a:ext>
              </a:extLst>
            </p:cNvPr>
            <p:cNvSpPr/>
            <p:nvPr/>
          </p:nvSpPr>
          <p:spPr>
            <a:xfrm rot="13089394">
              <a:off x="5945780" y="3382339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7" name="Forme libre : forme 936">
              <a:extLst>
                <a:ext uri="{FF2B5EF4-FFF2-40B4-BE49-F238E27FC236}">
                  <a16:creationId xmlns:a16="http://schemas.microsoft.com/office/drawing/2014/main" id="{92F73C9C-D47A-4DBF-A36A-63EFBB8F7092}"/>
                </a:ext>
              </a:extLst>
            </p:cNvPr>
            <p:cNvSpPr/>
            <p:nvPr/>
          </p:nvSpPr>
          <p:spPr>
            <a:xfrm rot="8716295">
              <a:off x="6131365" y="319065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8" name="Forme libre : forme 937">
              <a:extLst>
                <a:ext uri="{FF2B5EF4-FFF2-40B4-BE49-F238E27FC236}">
                  <a16:creationId xmlns:a16="http://schemas.microsoft.com/office/drawing/2014/main" id="{86E70207-E48B-40D3-9AE0-B4D98BA8D82A}"/>
                </a:ext>
              </a:extLst>
            </p:cNvPr>
            <p:cNvSpPr/>
            <p:nvPr/>
          </p:nvSpPr>
          <p:spPr>
            <a:xfrm rot="8716295">
              <a:off x="6079560" y="308706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9" name="Forme libre : forme 938">
              <a:extLst>
                <a:ext uri="{FF2B5EF4-FFF2-40B4-BE49-F238E27FC236}">
                  <a16:creationId xmlns:a16="http://schemas.microsoft.com/office/drawing/2014/main" id="{578F257E-8AEA-4C62-8BCB-A3EC01FA30A5}"/>
                </a:ext>
              </a:extLst>
            </p:cNvPr>
            <p:cNvSpPr/>
            <p:nvPr/>
          </p:nvSpPr>
          <p:spPr>
            <a:xfrm rot="8716295">
              <a:off x="5836314" y="311728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0" name="Forme libre : forme 939">
              <a:extLst>
                <a:ext uri="{FF2B5EF4-FFF2-40B4-BE49-F238E27FC236}">
                  <a16:creationId xmlns:a16="http://schemas.microsoft.com/office/drawing/2014/main" id="{A29AEA70-F7EC-4CA7-971C-78399CA63009}"/>
                </a:ext>
              </a:extLst>
            </p:cNvPr>
            <p:cNvSpPr/>
            <p:nvPr/>
          </p:nvSpPr>
          <p:spPr>
            <a:xfrm rot="8716295">
              <a:off x="6013766" y="295804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1" name="Forme libre : forme 940">
              <a:extLst>
                <a:ext uri="{FF2B5EF4-FFF2-40B4-BE49-F238E27FC236}">
                  <a16:creationId xmlns:a16="http://schemas.microsoft.com/office/drawing/2014/main" id="{96E0F3D2-C3AC-4108-AFBE-445ECA00ACA7}"/>
                </a:ext>
              </a:extLst>
            </p:cNvPr>
            <p:cNvSpPr/>
            <p:nvPr/>
          </p:nvSpPr>
          <p:spPr>
            <a:xfrm rot="8716295">
              <a:off x="5720177" y="4097348"/>
              <a:ext cx="142168" cy="131086"/>
            </a:xfrm>
            <a:custGeom>
              <a:avLst/>
              <a:gdLst>
                <a:gd name="connsiteX0" fmla="*/ 81108 w 142168"/>
                <a:gd name="connsiteY0" fmla="*/ 131086 h 131086"/>
                <a:gd name="connsiteX1" fmla="*/ 81108 w 142168"/>
                <a:gd name="connsiteY1" fmla="*/ 69717 h 131086"/>
                <a:gd name="connsiteX2" fmla="*/ 81108 w 142168"/>
                <a:gd name="connsiteY2" fmla="*/ 65616 h 131086"/>
                <a:gd name="connsiteX3" fmla="*/ 60604 w 142168"/>
                <a:gd name="connsiteY3" fmla="*/ 50123 h 131086"/>
                <a:gd name="connsiteX4" fmla="*/ 0 w 142168"/>
                <a:gd name="connsiteY4" fmla="*/ 50123 h 131086"/>
                <a:gd name="connsiteX5" fmla="*/ 0 w 142168"/>
                <a:gd name="connsiteY5" fmla="*/ 0 h 131086"/>
                <a:gd name="connsiteX6" fmla="*/ 85209 w 142168"/>
                <a:gd name="connsiteY6" fmla="*/ 0 h 131086"/>
                <a:gd name="connsiteX7" fmla="*/ 142167 w 142168"/>
                <a:gd name="connsiteY7" fmla="*/ 50123 h 131086"/>
                <a:gd name="connsiteX8" fmla="*/ 142168 w 142168"/>
                <a:gd name="connsiteY8" fmla="*/ 57264 h 131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8" h="131086">
                  <a:moveTo>
                    <a:pt x="81108" y="131086"/>
                  </a:moveTo>
                  <a:lnTo>
                    <a:pt x="81108" y="69717"/>
                  </a:lnTo>
                  <a:cubicBezTo>
                    <a:pt x="81108" y="68350"/>
                    <a:pt x="81109" y="66983"/>
                    <a:pt x="81108" y="65616"/>
                  </a:cubicBezTo>
                  <a:cubicBezTo>
                    <a:pt x="79741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9"/>
                    <a:pt x="142167" y="50123"/>
                  </a:cubicBezTo>
                  <a:lnTo>
                    <a:pt x="142168" y="572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2" name="Forme libre : forme 941">
              <a:extLst>
                <a:ext uri="{FF2B5EF4-FFF2-40B4-BE49-F238E27FC236}">
                  <a16:creationId xmlns:a16="http://schemas.microsoft.com/office/drawing/2014/main" id="{D0A7ABF4-BCEC-4B57-BCB3-E83AC5575A2E}"/>
                </a:ext>
              </a:extLst>
            </p:cNvPr>
            <p:cNvSpPr/>
            <p:nvPr/>
          </p:nvSpPr>
          <p:spPr>
            <a:xfrm rot="8716295">
              <a:off x="5781545" y="403405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3" name="Forme libre : forme 942">
              <a:extLst>
                <a:ext uri="{FF2B5EF4-FFF2-40B4-BE49-F238E27FC236}">
                  <a16:creationId xmlns:a16="http://schemas.microsoft.com/office/drawing/2014/main" id="{E7410290-1E3A-47AF-BA4D-8362B73A00E3}"/>
                </a:ext>
              </a:extLst>
            </p:cNvPr>
            <p:cNvSpPr/>
            <p:nvPr/>
          </p:nvSpPr>
          <p:spPr>
            <a:xfrm rot="8716295">
              <a:off x="5736695" y="3947771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4" name="Forme libre : forme 943">
              <a:extLst>
                <a:ext uri="{FF2B5EF4-FFF2-40B4-BE49-F238E27FC236}">
                  <a16:creationId xmlns:a16="http://schemas.microsoft.com/office/drawing/2014/main" id="{9BED9B6C-47E6-4D5F-928F-91F5377B4250}"/>
                </a:ext>
              </a:extLst>
            </p:cNvPr>
            <p:cNvSpPr/>
            <p:nvPr/>
          </p:nvSpPr>
          <p:spPr>
            <a:xfrm rot="8716295">
              <a:off x="5702441" y="4247935"/>
              <a:ext cx="103435" cy="94974"/>
            </a:xfrm>
            <a:custGeom>
              <a:avLst/>
              <a:gdLst>
                <a:gd name="connsiteX0" fmla="*/ 43288 w 103435"/>
                <a:gd name="connsiteY0" fmla="*/ 94974 h 94974"/>
                <a:gd name="connsiteX1" fmla="*/ 43288 w 103435"/>
                <a:gd name="connsiteY1" fmla="*/ 16404 h 94974"/>
                <a:gd name="connsiteX2" fmla="*/ 0 w 103435"/>
                <a:gd name="connsiteY2" fmla="*/ 16404 h 94974"/>
                <a:gd name="connsiteX3" fmla="*/ 0 w 103435"/>
                <a:gd name="connsiteY3" fmla="*/ 2278 h 94974"/>
                <a:gd name="connsiteX4" fmla="*/ 103435 w 103435"/>
                <a:gd name="connsiteY4" fmla="*/ 0 h 94974"/>
                <a:gd name="connsiteX5" fmla="*/ 103435 w 103435"/>
                <a:gd name="connsiteY5" fmla="*/ 22255 h 94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94974">
                  <a:moveTo>
                    <a:pt x="43288" y="94974"/>
                  </a:move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222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5" name="Forme libre : forme 944">
              <a:extLst>
                <a:ext uri="{FF2B5EF4-FFF2-40B4-BE49-F238E27FC236}">
                  <a16:creationId xmlns:a16="http://schemas.microsoft.com/office/drawing/2014/main" id="{3B973B62-C6C8-4FF1-84DA-2CF100C6F600}"/>
                </a:ext>
              </a:extLst>
            </p:cNvPr>
            <p:cNvSpPr/>
            <p:nvPr/>
          </p:nvSpPr>
          <p:spPr>
            <a:xfrm rot="8716295">
              <a:off x="5981252" y="375465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6" name="Forme libre : forme 945">
              <a:extLst>
                <a:ext uri="{FF2B5EF4-FFF2-40B4-BE49-F238E27FC236}">
                  <a16:creationId xmlns:a16="http://schemas.microsoft.com/office/drawing/2014/main" id="{2AF0D86E-53FF-404D-972C-BFC50DCEBF42}"/>
                </a:ext>
              </a:extLst>
            </p:cNvPr>
            <p:cNvSpPr/>
            <p:nvPr/>
          </p:nvSpPr>
          <p:spPr>
            <a:xfrm rot="8716295">
              <a:off x="6070644" y="378389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7" name="Forme libre : forme 946">
              <a:extLst>
                <a:ext uri="{FF2B5EF4-FFF2-40B4-BE49-F238E27FC236}">
                  <a16:creationId xmlns:a16="http://schemas.microsoft.com/office/drawing/2014/main" id="{1CD18C36-834E-4DAE-BDAA-F92E9244DC61}"/>
                </a:ext>
              </a:extLst>
            </p:cNvPr>
            <p:cNvSpPr/>
            <p:nvPr/>
          </p:nvSpPr>
          <p:spPr>
            <a:xfrm rot="8716295">
              <a:off x="5869018" y="384320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8" name="Forme libre : forme 947">
              <a:extLst>
                <a:ext uri="{FF2B5EF4-FFF2-40B4-BE49-F238E27FC236}">
                  <a16:creationId xmlns:a16="http://schemas.microsoft.com/office/drawing/2014/main" id="{3C7E1362-5870-4F46-928D-1A08D53107E4}"/>
                </a:ext>
              </a:extLst>
            </p:cNvPr>
            <p:cNvSpPr/>
            <p:nvPr/>
          </p:nvSpPr>
          <p:spPr>
            <a:xfrm rot="8716295">
              <a:off x="5744116" y="363452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9" name="Forme libre : forme 948">
              <a:extLst>
                <a:ext uri="{FF2B5EF4-FFF2-40B4-BE49-F238E27FC236}">
                  <a16:creationId xmlns:a16="http://schemas.microsoft.com/office/drawing/2014/main" id="{0C5E2F6B-6631-4816-8A8A-1BB8467E77D2}"/>
                </a:ext>
              </a:extLst>
            </p:cNvPr>
            <p:cNvSpPr/>
            <p:nvPr/>
          </p:nvSpPr>
          <p:spPr>
            <a:xfrm rot="8716295">
              <a:off x="5959196" y="3884153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0" name="Forme libre : forme 949">
              <a:extLst>
                <a:ext uri="{FF2B5EF4-FFF2-40B4-BE49-F238E27FC236}">
                  <a16:creationId xmlns:a16="http://schemas.microsoft.com/office/drawing/2014/main" id="{E65DCBA9-55EE-45E1-B233-4077B825D76D}"/>
                </a:ext>
              </a:extLst>
            </p:cNvPr>
            <p:cNvSpPr/>
            <p:nvPr/>
          </p:nvSpPr>
          <p:spPr>
            <a:xfrm rot="8716295">
              <a:off x="5756235" y="3750459"/>
              <a:ext cx="38930" cy="44504"/>
            </a:xfrm>
            <a:custGeom>
              <a:avLst/>
              <a:gdLst>
                <a:gd name="connsiteX0" fmla="*/ 2222 w 38930"/>
                <a:gd name="connsiteY0" fmla="*/ 44504 h 44504"/>
                <a:gd name="connsiteX1" fmla="*/ 0 w 38930"/>
                <a:gd name="connsiteY1" fmla="*/ 39242 h 44504"/>
                <a:gd name="connsiteX2" fmla="*/ 0 w 38930"/>
                <a:gd name="connsiteY2" fmla="*/ 38638 h 44504"/>
                <a:gd name="connsiteX3" fmla="*/ 11471 w 38930"/>
                <a:gd name="connsiteY3" fmla="*/ 11471 h 44504"/>
                <a:gd name="connsiteX4" fmla="*/ 38638 w 38930"/>
                <a:gd name="connsiteY4" fmla="*/ 0 h 44504"/>
                <a:gd name="connsiteX5" fmla="*/ 38930 w 38930"/>
                <a:gd name="connsiteY5" fmla="*/ 123 h 44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930" h="44504">
                  <a:moveTo>
                    <a:pt x="2222" y="44504"/>
                  </a:moveTo>
                  <a:lnTo>
                    <a:pt x="0" y="39242"/>
                  </a:lnTo>
                  <a:lnTo>
                    <a:pt x="0" y="38638"/>
                  </a:lnTo>
                  <a:cubicBezTo>
                    <a:pt x="0" y="28375"/>
                    <a:pt x="4226" y="18716"/>
                    <a:pt x="11471" y="11471"/>
                  </a:cubicBezTo>
                  <a:cubicBezTo>
                    <a:pt x="18716" y="4226"/>
                    <a:pt x="28376" y="0"/>
                    <a:pt x="38638" y="0"/>
                  </a:cubicBezTo>
                  <a:lnTo>
                    <a:pt x="38930" y="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1" name="Forme libre : forme 950">
              <a:extLst>
                <a:ext uri="{FF2B5EF4-FFF2-40B4-BE49-F238E27FC236}">
                  <a16:creationId xmlns:a16="http://schemas.microsoft.com/office/drawing/2014/main" id="{EA118543-7877-4501-A5A0-4C2991DA5E90}"/>
                </a:ext>
              </a:extLst>
            </p:cNvPr>
            <p:cNvSpPr/>
            <p:nvPr/>
          </p:nvSpPr>
          <p:spPr>
            <a:xfrm rot="7484129">
              <a:off x="6064127" y="407550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2" name="Forme libre : forme 951">
              <a:extLst>
                <a:ext uri="{FF2B5EF4-FFF2-40B4-BE49-F238E27FC236}">
                  <a16:creationId xmlns:a16="http://schemas.microsoft.com/office/drawing/2014/main" id="{7AB6C3EC-555A-4C76-B15E-AAB3CAAF24B3}"/>
                </a:ext>
              </a:extLst>
            </p:cNvPr>
            <p:cNvSpPr/>
            <p:nvPr/>
          </p:nvSpPr>
          <p:spPr>
            <a:xfrm rot="13089394">
              <a:off x="6168947" y="4042038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3" name="Forme libre : forme 952">
              <a:extLst>
                <a:ext uri="{FF2B5EF4-FFF2-40B4-BE49-F238E27FC236}">
                  <a16:creationId xmlns:a16="http://schemas.microsoft.com/office/drawing/2014/main" id="{963A3DD5-51DE-4848-9EB9-5B90B6B81918}"/>
                </a:ext>
              </a:extLst>
            </p:cNvPr>
            <p:cNvSpPr/>
            <p:nvPr/>
          </p:nvSpPr>
          <p:spPr>
            <a:xfrm rot="8716295">
              <a:off x="6354532" y="3850357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4" name="Forme libre : forme 953">
              <a:extLst>
                <a:ext uri="{FF2B5EF4-FFF2-40B4-BE49-F238E27FC236}">
                  <a16:creationId xmlns:a16="http://schemas.microsoft.com/office/drawing/2014/main" id="{995C729E-49BA-4503-863A-2DDC26B4CD56}"/>
                </a:ext>
              </a:extLst>
            </p:cNvPr>
            <p:cNvSpPr/>
            <p:nvPr/>
          </p:nvSpPr>
          <p:spPr>
            <a:xfrm rot="8716295">
              <a:off x="6302727" y="374676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5" name="Forme libre : forme 954">
              <a:extLst>
                <a:ext uri="{FF2B5EF4-FFF2-40B4-BE49-F238E27FC236}">
                  <a16:creationId xmlns:a16="http://schemas.microsoft.com/office/drawing/2014/main" id="{B68D55F1-87C8-418D-9415-5E30511E82CD}"/>
                </a:ext>
              </a:extLst>
            </p:cNvPr>
            <p:cNvSpPr/>
            <p:nvPr/>
          </p:nvSpPr>
          <p:spPr>
            <a:xfrm rot="8716295">
              <a:off x="6059481" y="377698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6" name="Forme libre : forme 955">
              <a:extLst>
                <a:ext uri="{FF2B5EF4-FFF2-40B4-BE49-F238E27FC236}">
                  <a16:creationId xmlns:a16="http://schemas.microsoft.com/office/drawing/2014/main" id="{C863A7CC-4158-4F17-9AE2-A72A139B887C}"/>
                </a:ext>
              </a:extLst>
            </p:cNvPr>
            <p:cNvSpPr/>
            <p:nvPr/>
          </p:nvSpPr>
          <p:spPr>
            <a:xfrm rot="8716295">
              <a:off x="6236933" y="361774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7" name="Forme libre : forme 956">
              <a:extLst>
                <a:ext uri="{FF2B5EF4-FFF2-40B4-BE49-F238E27FC236}">
                  <a16:creationId xmlns:a16="http://schemas.microsoft.com/office/drawing/2014/main" id="{FAF82776-068F-41C0-96DF-85F697986F49}"/>
                </a:ext>
              </a:extLst>
            </p:cNvPr>
            <p:cNvSpPr/>
            <p:nvPr/>
          </p:nvSpPr>
          <p:spPr>
            <a:xfrm rot="8716295">
              <a:off x="5646341" y="5012072"/>
              <a:ext cx="61128" cy="44199"/>
            </a:xfrm>
            <a:custGeom>
              <a:avLst/>
              <a:gdLst>
                <a:gd name="connsiteX0" fmla="*/ 0 w 61128"/>
                <a:gd name="connsiteY0" fmla="*/ 44199 h 44199"/>
                <a:gd name="connsiteX1" fmla="*/ 0 w 61128"/>
                <a:gd name="connsiteY1" fmla="*/ 0 h 44199"/>
                <a:gd name="connsiteX2" fmla="*/ 61128 w 61128"/>
                <a:gd name="connsiteY2" fmla="*/ 0 h 44199"/>
                <a:gd name="connsiteX3" fmla="*/ 24570 w 61128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128" h="44199">
                  <a:moveTo>
                    <a:pt x="0" y="44199"/>
                  </a:moveTo>
                  <a:lnTo>
                    <a:pt x="0" y="0"/>
                  </a:lnTo>
                  <a:lnTo>
                    <a:pt x="61128" y="0"/>
                  </a:lnTo>
                  <a:lnTo>
                    <a:pt x="24570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8" name="Forme libre : forme 957">
              <a:extLst>
                <a:ext uri="{FF2B5EF4-FFF2-40B4-BE49-F238E27FC236}">
                  <a16:creationId xmlns:a16="http://schemas.microsoft.com/office/drawing/2014/main" id="{5D62A47A-9C19-4F62-9A51-E8D6D493BCBB}"/>
                </a:ext>
              </a:extLst>
            </p:cNvPr>
            <p:cNvSpPr/>
            <p:nvPr/>
          </p:nvSpPr>
          <p:spPr>
            <a:xfrm rot="8716295">
              <a:off x="5686469" y="4948149"/>
              <a:ext cx="225182" cy="162840"/>
            </a:xfrm>
            <a:custGeom>
              <a:avLst/>
              <a:gdLst>
                <a:gd name="connsiteX0" fmla="*/ 6986 w 225182"/>
                <a:gd name="connsiteY0" fmla="*/ 162840 h 162840"/>
                <a:gd name="connsiteX1" fmla="*/ 0 w 225182"/>
                <a:gd name="connsiteY1" fmla="*/ 153167 h 162840"/>
                <a:gd name="connsiteX2" fmla="*/ 127370 w 225182"/>
                <a:gd name="connsiteY2" fmla="*/ 33321 h 162840"/>
                <a:gd name="connsiteX3" fmla="*/ 191862 w 225182"/>
                <a:gd name="connsiteY3" fmla="*/ 0 h 162840"/>
                <a:gd name="connsiteX4" fmla="*/ 196795 w 225182"/>
                <a:gd name="connsiteY4" fmla="*/ 1164 h 162840"/>
                <a:gd name="connsiteX5" fmla="*/ 219028 w 225182"/>
                <a:gd name="connsiteY5" fmla="*/ 16575 h 162840"/>
                <a:gd name="connsiteX6" fmla="*/ 225182 w 225182"/>
                <a:gd name="connsiteY6" fmla="*/ 39770 h 162840"/>
                <a:gd name="connsiteX7" fmla="*/ 194012 w 225182"/>
                <a:gd name="connsiteY7" fmla="*/ 81689 h 162840"/>
                <a:gd name="connsiteX8" fmla="*/ 194548 w 225182"/>
                <a:gd name="connsiteY8" fmla="*/ 81689 h 162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5182" h="162840">
                  <a:moveTo>
                    <a:pt x="6986" y="162840"/>
                  </a:moveTo>
                  <a:lnTo>
                    <a:pt x="0" y="153167"/>
                  </a:lnTo>
                  <a:lnTo>
                    <a:pt x="127370" y="33321"/>
                  </a:lnTo>
                  <a:cubicBezTo>
                    <a:pt x="143493" y="14511"/>
                    <a:pt x="166602" y="2687"/>
                    <a:pt x="191862" y="0"/>
                  </a:cubicBezTo>
                  <a:lnTo>
                    <a:pt x="196795" y="1164"/>
                  </a:lnTo>
                  <a:lnTo>
                    <a:pt x="219028" y="16575"/>
                  </a:lnTo>
                  <a:lnTo>
                    <a:pt x="225182" y="39770"/>
                  </a:lnTo>
                  <a:cubicBezTo>
                    <a:pt x="223570" y="58580"/>
                    <a:pt x="211208" y="74165"/>
                    <a:pt x="194012" y="81689"/>
                  </a:cubicBezTo>
                  <a:lnTo>
                    <a:pt x="194548" y="816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9" name="Forme libre : forme 958">
              <a:extLst>
                <a:ext uri="{FF2B5EF4-FFF2-40B4-BE49-F238E27FC236}">
                  <a16:creationId xmlns:a16="http://schemas.microsoft.com/office/drawing/2014/main" id="{2F2DED4E-A984-4BA6-A236-177692C90757}"/>
                </a:ext>
              </a:extLst>
            </p:cNvPr>
            <p:cNvSpPr/>
            <p:nvPr/>
          </p:nvSpPr>
          <p:spPr>
            <a:xfrm rot="8716295">
              <a:off x="5646189" y="4843185"/>
              <a:ext cx="103263" cy="109760"/>
            </a:xfrm>
            <a:custGeom>
              <a:avLst/>
              <a:gdLst>
                <a:gd name="connsiteX0" fmla="*/ 17478 w 103263"/>
                <a:gd name="connsiteY0" fmla="*/ 101182 h 109760"/>
                <a:gd name="connsiteX1" fmla="*/ 0 w 103263"/>
                <a:gd name="connsiteY1" fmla="*/ 59790 h 109760"/>
                <a:gd name="connsiteX2" fmla="*/ 0 w 103263"/>
                <a:gd name="connsiteY2" fmla="*/ 58869 h 109760"/>
                <a:gd name="connsiteX3" fmla="*/ 17477 w 103263"/>
                <a:gd name="connsiteY3" fmla="*/ 17477 h 109760"/>
                <a:gd name="connsiteX4" fmla="*/ 58869 w 103263"/>
                <a:gd name="connsiteY4" fmla="*/ 0 h 109760"/>
                <a:gd name="connsiteX5" fmla="*/ 100262 w 103263"/>
                <a:gd name="connsiteY5" fmla="*/ 17478 h 109760"/>
                <a:gd name="connsiteX6" fmla="*/ 103263 w 103263"/>
                <a:gd name="connsiteY6" fmla="*/ 21889 h 109760"/>
                <a:gd name="connsiteX7" fmla="*/ 30583 w 103263"/>
                <a:gd name="connsiteY7" fmla="*/ 109760 h 109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3263" h="109760">
                  <a:moveTo>
                    <a:pt x="17478" y="101182"/>
                  </a:moveTo>
                  <a:cubicBezTo>
                    <a:pt x="6440" y="90144"/>
                    <a:pt x="0" y="75426"/>
                    <a:pt x="0" y="59790"/>
                  </a:cubicBezTo>
                  <a:lnTo>
                    <a:pt x="0" y="58869"/>
                  </a:lnTo>
                  <a:cubicBezTo>
                    <a:pt x="0" y="43232"/>
                    <a:pt x="6439" y="28515"/>
                    <a:pt x="17477" y="17477"/>
                  </a:cubicBezTo>
                  <a:cubicBezTo>
                    <a:pt x="28515" y="6439"/>
                    <a:pt x="43232" y="0"/>
                    <a:pt x="58869" y="0"/>
                  </a:cubicBezTo>
                  <a:cubicBezTo>
                    <a:pt x="74507" y="0"/>
                    <a:pt x="89224" y="6440"/>
                    <a:pt x="100262" y="17478"/>
                  </a:cubicBezTo>
                  <a:lnTo>
                    <a:pt x="103263" y="21889"/>
                  </a:lnTo>
                  <a:lnTo>
                    <a:pt x="30583" y="1097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0" name="Forme libre : forme 959">
              <a:extLst>
                <a:ext uri="{FF2B5EF4-FFF2-40B4-BE49-F238E27FC236}">
                  <a16:creationId xmlns:a16="http://schemas.microsoft.com/office/drawing/2014/main" id="{A6F97576-1723-4483-ABFD-51F7D8B729B6}"/>
                </a:ext>
              </a:extLst>
            </p:cNvPr>
            <p:cNvSpPr/>
            <p:nvPr/>
          </p:nvSpPr>
          <p:spPr>
            <a:xfrm rot="8716295">
              <a:off x="5912192" y="5052711"/>
              <a:ext cx="199936" cy="162182"/>
            </a:xfrm>
            <a:custGeom>
              <a:avLst/>
              <a:gdLst>
                <a:gd name="connsiteX0" fmla="*/ 25299 w 199936"/>
                <a:gd name="connsiteY0" fmla="*/ 132591 h 162182"/>
                <a:gd name="connsiteX1" fmla="*/ 0 w 199936"/>
                <a:gd name="connsiteY1" fmla="*/ 31395 h 162182"/>
                <a:gd name="connsiteX2" fmla="*/ 0 w 199936"/>
                <a:gd name="connsiteY2" fmla="*/ 0 h 162182"/>
                <a:gd name="connsiteX3" fmla="*/ 92209 w 199936"/>
                <a:gd name="connsiteY3" fmla="*/ 63916 h 162182"/>
                <a:gd name="connsiteX4" fmla="*/ 93547 w 199936"/>
                <a:gd name="connsiteY4" fmla="*/ 73168 h 162182"/>
                <a:gd name="connsiteX5" fmla="*/ 118478 w 199936"/>
                <a:gd name="connsiteY5" fmla="*/ 102291 h 162182"/>
                <a:gd name="connsiteX6" fmla="*/ 160439 w 199936"/>
                <a:gd name="connsiteY6" fmla="*/ 111210 h 162182"/>
                <a:gd name="connsiteX7" fmla="*/ 199936 w 199936"/>
                <a:gd name="connsiteY7" fmla="*/ 138589 h 162182"/>
                <a:gd name="connsiteX8" fmla="*/ 189080 w 199936"/>
                <a:gd name="connsiteY8" fmla="*/ 143328 h 162182"/>
                <a:gd name="connsiteX9" fmla="*/ 97665 w 199936"/>
                <a:gd name="connsiteY9" fmla="*/ 162008 h 162182"/>
                <a:gd name="connsiteX10" fmla="*/ 25299 w 199936"/>
                <a:gd name="connsiteY10" fmla="*/ 132591 h 162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9936" h="162182">
                  <a:moveTo>
                    <a:pt x="25299" y="132591"/>
                  </a:moveTo>
                  <a:cubicBezTo>
                    <a:pt x="5295" y="113175"/>
                    <a:pt x="0" y="79640"/>
                    <a:pt x="0" y="31395"/>
                  </a:cubicBezTo>
                  <a:lnTo>
                    <a:pt x="0" y="0"/>
                  </a:lnTo>
                  <a:lnTo>
                    <a:pt x="92209" y="63916"/>
                  </a:lnTo>
                  <a:lnTo>
                    <a:pt x="93547" y="73168"/>
                  </a:lnTo>
                  <a:cubicBezTo>
                    <a:pt x="98254" y="86111"/>
                    <a:pt x="106638" y="95819"/>
                    <a:pt x="118478" y="102291"/>
                  </a:cubicBezTo>
                  <a:lnTo>
                    <a:pt x="160439" y="111210"/>
                  </a:lnTo>
                  <a:lnTo>
                    <a:pt x="199936" y="138589"/>
                  </a:lnTo>
                  <a:lnTo>
                    <a:pt x="189080" y="143328"/>
                  </a:lnTo>
                  <a:cubicBezTo>
                    <a:pt x="154735" y="155095"/>
                    <a:pt x="122082" y="160537"/>
                    <a:pt x="97665" y="162008"/>
                  </a:cubicBezTo>
                  <a:cubicBezTo>
                    <a:pt x="70602" y="163773"/>
                    <a:pt x="44126" y="152006"/>
                    <a:pt x="25299" y="13259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1" name="Forme libre : forme 960">
              <a:extLst>
                <a:ext uri="{FF2B5EF4-FFF2-40B4-BE49-F238E27FC236}">
                  <a16:creationId xmlns:a16="http://schemas.microsoft.com/office/drawing/2014/main" id="{90B8ABE7-A5DD-43D8-841B-962E7DF13DBB}"/>
                </a:ext>
              </a:extLst>
            </p:cNvPr>
            <p:cNvSpPr/>
            <p:nvPr/>
          </p:nvSpPr>
          <p:spPr>
            <a:xfrm rot="8716295">
              <a:off x="6391313" y="5109036"/>
              <a:ext cx="48754" cy="53077"/>
            </a:xfrm>
            <a:custGeom>
              <a:avLst/>
              <a:gdLst>
                <a:gd name="connsiteX0" fmla="*/ 0 w 48754"/>
                <a:gd name="connsiteY0" fmla="*/ 53077 h 53077"/>
                <a:gd name="connsiteX1" fmla="*/ 0 w 48754"/>
                <a:gd name="connsiteY1" fmla="*/ 0 h 53077"/>
                <a:gd name="connsiteX2" fmla="*/ 48754 w 48754"/>
                <a:gd name="connsiteY2" fmla="*/ 33794 h 53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754" h="53077">
                  <a:moveTo>
                    <a:pt x="0" y="53077"/>
                  </a:moveTo>
                  <a:lnTo>
                    <a:pt x="0" y="0"/>
                  </a:lnTo>
                  <a:lnTo>
                    <a:pt x="48754" y="337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2" name="Forme libre : forme 961">
              <a:extLst>
                <a:ext uri="{FF2B5EF4-FFF2-40B4-BE49-F238E27FC236}">
                  <a16:creationId xmlns:a16="http://schemas.microsoft.com/office/drawing/2014/main" id="{FE1A44B8-6EFF-4767-8A7A-1368FB776C2C}"/>
                </a:ext>
              </a:extLst>
            </p:cNvPr>
            <p:cNvSpPr/>
            <p:nvPr/>
          </p:nvSpPr>
          <p:spPr>
            <a:xfrm rot="8716295">
              <a:off x="6604006" y="5086303"/>
              <a:ext cx="59107" cy="81271"/>
            </a:xfrm>
            <a:custGeom>
              <a:avLst/>
              <a:gdLst>
                <a:gd name="connsiteX0" fmla="*/ 0 w 59107"/>
                <a:gd name="connsiteY0" fmla="*/ 81271 h 81271"/>
                <a:gd name="connsiteX1" fmla="*/ 0 w 59107"/>
                <a:gd name="connsiteY1" fmla="*/ 0 h 81271"/>
                <a:gd name="connsiteX2" fmla="*/ 59107 w 59107"/>
                <a:gd name="connsiteY2" fmla="*/ 40971 h 81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9107" h="81271">
                  <a:moveTo>
                    <a:pt x="0" y="81271"/>
                  </a:moveTo>
                  <a:lnTo>
                    <a:pt x="0" y="0"/>
                  </a:lnTo>
                  <a:lnTo>
                    <a:pt x="59107" y="409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3" name="Forme libre : forme 962">
              <a:extLst>
                <a:ext uri="{FF2B5EF4-FFF2-40B4-BE49-F238E27FC236}">
                  <a16:creationId xmlns:a16="http://schemas.microsoft.com/office/drawing/2014/main" id="{564969A8-6844-48A3-9D81-0C8C78AA871A}"/>
                </a:ext>
              </a:extLst>
            </p:cNvPr>
            <p:cNvSpPr/>
            <p:nvPr/>
          </p:nvSpPr>
          <p:spPr>
            <a:xfrm rot="8716295">
              <a:off x="6183968" y="4952734"/>
              <a:ext cx="202937" cy="195874"/>
            </a:xfrm>
            <a:custGeom>
              <a:avLst/>
              <a:gdLst>
                <a:gd name="connsiteX0" fmla="*/ 90709 w 202937"/>
                <a:gd name="connsiteY0" fmla="*/ 195874 h 195874"/>
                <a:gd name="connsiteX1" fmla="*/ 47847 w 202937"/>
                <a:gd name="connsiteY1" fmla="*/ 116129 h 195874"/>
                <a:gd name="connsiteX2" fmla="*/ 69777 w 202937"/>
                <a:gd name="connsiteY2" fmla="*/ 55323 h 195874"/>
                <a:gd name="connsiteX3" fmla="*/ 0 w 202937"/>
                <a:gd name="connsiteY3" fmla="*/ 55323 h 195874"/>
                <a:gd name="connsiteX4" fmla="*/ 0 w 202937"/>
                <a:gd name="connsiteY4" fmla="*/ 0 h 195874"/>
                <a:gd name="connsiteX5" fmla="*/ 123124 w 202937"/>
                <a:gd name="connsiteY5" fmla="*/ 0 h 195874"/>
                <a:gd name="connsiteX6" fmla="*/ 202937 w 202937"/>
                <a:gd name="connsiteY6" fmla="*/ 55323 h 195874"/>
                <a:gd name="connsiteX7" fmla="*/ 139055 w 202937"/>
                <a:gd name="connsiteY7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2937" h="195874">
                  <a:moveTo>
                    <a:pt x="90709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123124" y="0"/>
                  </a:lnTo>
                  <a:lnTo>
                    <a:pt x="20293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4" name="Forme libre : forme 963">
              <a:extLst>
                <a:ext uri="{FF2B5EF4-FFF2-40B4-BE49-F238E27FC236}">
                  <a16:creationId xmlns:a16="http://schemas.microsoft.com/office/drawing/2014/main" id="{08AD032C-6C86-4845-A4B0-3D6B054ABD87}"/>
                </a:ext>
              </a:extLst>
            </p:cNvPr>
            <p:cNvSpPr/>
            <p:nvPr/>
          </p:nvSpPr>
          <p:spPr>
            <a:xfrm rot="8716295">
              <a:off x="6161279" y="505310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5" name="Forme libre : forme 964">
              <a:extLst>
                <a:ext uri="{FF2B5EF4-FFF2-40B4-BE49-F238E27FC236}">
                  <a16:creationId xmlns:a16="http://schemas.microsoft.com/office/drawing/2014/main" id="{1634811C-B4C0-451B-962C-E46A7CD8B922}"/>
                </a:ext>
              </a:extLst>
            </p:cNvPr>
            <p:cNvSpPr/>
            <p:nvPr/>
          </p:nvSpPr>
          <p:spPr>
            <a:xfrm rot="8716295">
              <a:off x="6931575" y="5125548"/>
              <a:ext cx="28968" cy="21142"/>
            </a:xfrm>
            <a:custGeom>
              <a:avLst/>
              <a:gdLst>
                <a:gd name="connsiteX0" fmla="*/ 6986 w 28968"/>
                <a:gd name="connsiteY0" fmla="*/ 21142 h 21142"/>
                <a:gd name="connsiteX1" fmla="*/ 0 w 28968"/>
                <a:gd name="connsiteY1" fmla="*/ 11469 h 21142"/>
                <a:gd name="connsiteX2" fmla="*/ 12189 w 28968"/>
                <a:gd name="connsiteY2" fmla="*/ 0 h 21142"/>
                <a:gd name="connsiteX3" fmla="*/ 28968 w 28968"/>
                <a:gd name="connsiteY3" fmla="*/ 11631 h 2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968" h="21142">
                  <a:moveTo>
                    <a:pt x="6986" y="21142"/>
                  </a:moveTo>
                  <a:lnTo>
                    <a:pt x="0" y="11469"/>
                  </a:lnTo>
                  <a:lnTo>
                    <a:pt x="12189" y="0"/>
                  </a:lnTo>
                  <a:lnTo>
                    <a:pt x="28968" y="116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6" name="Forme libre : forme 965">
              <a:extLst>
                <a:ext uri="{FF2B5EF4-FFF2-40B4-BE49-F238E27FC236}">
                  <a16:creationId xmlns:a16="http://schemas.microsoft.com/office/drawing/2014/main" id="{4DAB4475-0622-4D27-8698-19DE6A41164E}"/>
                </a:ext>
              </a:extLst>
            </p:cNvPr>
            <p:cNvSpPr/>
            <p:nvPr/>
          </p:nvSpPr>
          <p:spPr>
            <a:xfrm rot="8716295">
              <a:off x="6737940" y="5060558"/>
              <a:ext cx="113691" cy="106472"/>
            </a:xfrm>
            <a:custGeom>
              <a:avLst/>
              <a:gdLst>
                <a:gd name="connsiteX0" fmla="*/ 17478 w 113691"/>
                <a:gd name="connsiteY0" fmla="*/ 89915 h 106472"/>
                <a:gd name="connsiteX1" fmla="*/ 0 w 113691"/>
                <a:gd name="connsiteY1" fmla="*/ 48523 h 106472"/>
                <a:gd name="connsiteX2" fmla="*/ 0 w 113691"/>
                <a:gd name="connsiteY2" fmla="*/ 47602 h 106472"/>
                <a:gd name="connsiteX3" fmla="*/ 17477 w 113691"/>
                <a:gd name="connsiteY3" fmla="*/ 6210 h 106472"/>
                <a:gd name="connsiteX4" fmla="*/ 32186 w 113691"/>
                <a:gd name="connsiteY4" fmla="*/ 0 h 106472"/>
                <a:gd name="connsiteX5" fmla="*/ 113691 w 113691"/>
                <a:gd name="connsiteY5" fmla="*/ 56496 h 106472"/>
                <a:gd name="connsiteX6" fmla="*/ 100263 w 113691"/>
                <a:gd name="connsiteY6" fmla="*/ 88995 h 106472"/>
                <a:gd name="connsiteX7" fmla="*/ 58869 w 113691"/>
                <a:gd name="connsiteY7" fmla="*/ 106472 h 106472"/>
                <a:gd name="connsiteX8" fmla="*/ 17478 w 113691"/>
                <a:gd name="connsiteY8" fmla="*/ 89915 h 106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3691" h="106472">
                  <a:moveTo>
                    <a:pt x="17478" y="89915"/>
                  </a:moveTo>
                  <a:cubicBezTo>
                    <a:pt x="6440" y="78877"/>
                    <a:pt x="0" y="64159"/>
                    <a:pt x="0" y="48523"/>
                  </a:cubicBezTo>
                  <a:lnTo>
                    <a:pt x="0" y="47602"/>
                  </a:lnTo>
                  <a:cubicBezTo>
                    <a:pt x="0" y="31965"/>
                    <a:pt x="6439" y="17248"/>
                    <a:pt x="17477" y="6210"/>
                  </a:cubicBezTo>
                  <a:lnTo>
                    <a:pt x="32186" y="0"/>
                  </a:lnTo>
                  <a:lnTo>
                    <a:pt x="113691" y="56496"/>
                  </a:lnTo>
                  <a:lnTo>
                    <a:pt x="100263" y="88995"/>
                  </a:lnTo>
                  <a:cubicBezTo>
                    <a:pt x="89224" y="100033"/>
                    <a:pt x="74507" y="106471"/>
                    <a:pt x="58869" y="106472"/>
                  </a:cubicBezTo>
                  <a:cubicBezTo>
                    <a:pt x="43233" y="106472"/>
                    <a:pt x="28515" y="100952"/>
                    <a:pt x="17478" y="8991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7" name="Forme libre : forme 966">
              <a:extLst>
                <a:ext uri="{FF2B5EF4-FFF2-40B4-BE49-F238E27FC236}">
                  <a16:creationId xmlns:a16="http://schemas.microsoft.com/office/drawing/2014/main" id="{B623F3B8-2654-4B92-BE58-3F7E38DD0FB8}"/>
                </a:ext>
              </a:extLst>
            </p:cNvPr>
            <p:cNvSpPr/>
            <p:nvPr/>
          </p:nvSpPr>
          <p:spPr>
            <a:xfrm rot="8716295">
              <a:off x="6498383" y="5093340"/>
              <a:ext cx="58211" cy="56997"/>
            </a:xfrm>
            <a:custGeom>
              <a:avLst/>
              <a:gdLst>
                <a:gd name="connsiteX0" fmla="*/ 8658 w 58211"/>
                <a:gd name="connsiteY0" fmla="*/ 48794 h 56997"/>
                <a:gd name="connsiteX1" fmla="*/ 0 w 58211"/>
                <a:gd name="connsiteY1" fmla="*/ 28290 h 56997"/>
                <a:gd name="connsiteX2" fmla="*/ 0 w 58211"/>
                <a:gd name="connsiteY2" fmla="*/ 27833 h 56997"/>
                <a:gd name="connsiteX3" fmla="*/ 8658 w 58211"/>
                <a:gd name="connsiteY3" fmla="*/ 7329 h 56997"/>
                <a:gd name="connsiteX4" fmla="*/ 26015 w 58211"/>
                <a:gd name="connsiteY4" fmla="*/ 0 h 56997"/>
                <a:gd name="connsiteX5" fmla="*/ 55042 w 58211"/>
                <a:gd name="connsiteY5" fmla="*/ 20120 h 56997"/>
                <a:gd name="connsiteX6" fmla="*/ 58211 w 58211"/>
                <a:gd name="connsiteY6" fmla="*/ 27663 h 56997"/>
                <a:gd name="connsiteX7" fmla="*/ 49668 w 58211"/>
                <a:gd name="connsiteY7" fmla="*/ 48339 h 56997"/>
                <a:gd name="connsiteX8" fmla="*/ 29163 w 58211"/>
                <a:gd name="connsiteY8" fmla="*/ 56997 h 56997"/>
                <a:gd name="connsiteX9" fmla="*/ 8658 w 58211"/>
                <a:gd name="connsiteY9" fmla="*/ 48794 h 56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8211" h="56997">
                  <a:moveTo>
                    <a:pt x="8658" y="48794"/>
                  </a:moveTo>
                  <a:cubicBezTo>
                    <a:pt x="3190" y="43327"/>
                    <a:pt x="0" y="36035"/>
                    <a:pt x="0" y="28290"/>
                  </a:cubicBezTo>
                  <a:lnTo>
                    <a:pt x="0" y="27833"/>
                  </a:lnTo>
                  <a:cubicBezTo>
                    <a:pt x="0" y="20088"/>
                    <a:pt x="3190" y="12797"/>
                    <a:pt x="8658" y="7329"/>
                  </a:cubicBezTo>
                  <a:lnTo>
                    <a:pt x="26015" y="0"/>
                  </a:lnTo>
                  <a:lnTo>
                    <a:pt x="55042" y="20120"/>
                  </a:lnTo>
                  <a:lnTo>
                    <a:pt x="58211" y="27663"/>
                  </a:lnTo>
                  <a:cubicBezTo>
                    <a:pt x="58212" y="35125"/>
                    <a:pt x="55364" y="42643"/>
                    <a:pt x="49668" y="48339"/>
                  </a:cubicBezTo>
                  <a:cubicBezTo>
                    <a:pt x="44200" y="53807"/>
                    <a:pt x="36909" y="56996"/>
                    <a:pt x="29163" y="56997"/>
                  </a:cubicBezTo>
                  <a:cubicBezTo>
                    <a:pt x="21416" y="56996"/>
                    <a:pt x="14126" y="54262"/>
                    <a:pt x="8658" y="4879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8" name="Forme libre : forme 967">
              <a:extLst>
                <a:ext uri="{FF2B5EF4-FFF2-40B4-BE49-F238E27FC236}">
                  <a16:creationId xmlns:a16="http://schemas.microsoft.com/office/drawing/2014/main" id="{09425ABD-6513-4C44-B2C5-3F8F0BD4C408}"/>
                </a:ext>
              </a:extLst>
            </p:cNvPr>
            <p:cNvSpPr/>
            <p:nvPr/>
          </p:nvSpPr>
          <p:spPr>
            <a:xfrm rot="8716295">
              <a:off x="6680467" y="493629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9" name="Forme libre : forme 968">
              <a:extLst>
                <a:ext uri="{FF2B5EF4-FFF2-40B4-BE49-F238E27FC236}">
                  <a16:creationId xmlns:a16="http://schemas.microsoft.com/office/drawing/2014/main" id="{9B183886-0645-4A14-8362-6B1FDC1B0148}"/>
                </a:ext>
              </a:extLst>
            </p:cNvPr>
            <p:cNvSpPr/>
            <p:nvPr/>
          </p:nvSpPr>
          <p:spPr>
            <a:xfrm rot="8716295">
              <a:off x="6106444" y="219919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0" name="Forme libre : forme 969">
              <a:extLst>
                <a:ext uri="{FF2B5EF4-FFF2-40B4-BE49-F238E27FC236}">
                  <a16:creationId xmlns:a16="http://schemas.microsoft.com/office/drawing/2014/main" id="{2EFB178A-8391-4919-B609-712FE3C8A80B}"/>
                </a:ext>
              </a:extLst>
            </p:cNvPr>
            <p:cNvSpPr/>
            <p:nvPr/>
          </p:nvSpPr>
          <p:spPr>
            <a:xfrm rot="8716295">
              <a:off x="6195836" y="222843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1" name="Forme libre : forme 970">
              <a:extLst>
                <a:ext uri="{FF2B5EF4-FFF2-40B4-BE49-F238E27FC236}">
                  <a16:creationId xmlns:a16="http://schemas.microsoft.com/office/drawing/2014/main" id="{0FFCBE3C-AA93-430F-8E5B-BDFB102AC2EA}"/>
                </a:ext>
              </a:extLst>
            </p:cNvPr>
            <p:cNvSpPr/>
            <p:nvPr/>
          </p:nvSpPr>
          <p:spPr>
            <a:xfrm rot="8716295">
              <a:off x="6150986" y="214215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2" name="Forme libre : forme 971">
              <a:extLst>
                <a:ext uri="{FF2B5EF4-FFF2-40B4-BE49-F238E27FC236}">
                  <a16:creationId xmlns:a16="http://schemas.microsoft.com/office/drawing/2014/main" id="{FFB53123-B577-43B0-94BC-06BEF39D167F}"/>
                </a:ext>
              </a:extLst>
            </p:cNvPr>
            <p:cNvSpPr/>
            <p:nvPr/>
          </p:nvSpPr>
          <p:spPr>
            <a:xfrm rot="8716295">
              <a:off x="5994210" y="228773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3" name="Forme libre : forme 972">
              <a:extLst>
                <a:ext uri="{FF2B5EF4-FFF2-40B4-BE49-F238E27FC236}">
                  <a16:creationId xmlns:a16="http://schemas.microsoft.com/office/drawing/2014/main" id="{42AC1E8A-7A0A-409A-9CF1-4E4EBD069982}"/>
                </a:ext>
              </a:extLst>
            </p:cNvPr>
            <p:cNvSpPr/>
            <p:nvPr/>
          </p:nvSpPr>
          <p:spPr>
            <a:xfrm rot="8716295">
              <a:off x="5869307" y="207906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4" name="Forme libre : forme 973">
              <a:extLst>
                <a:ext uri="{FF2B5EF4-FFF2-40B4-BE49-F238E27FC236}">
                  <a16:creationId xmlns:a16="http://schemas.microsoft.com/office/drawing/2014/main" id="{707943F8-782E-4969-8471-01FE2059FFE2}"/>
                </a:ext>
              </a:extLst>
            </p:cNvPr>
            <p:cNvSpPr/>
            <p:nvPr/>
          </p:nvSpPr>
          <p:spPr>
            <a:xfrm rot="8716295">
              <a:off x="5980698" y="1897979"/>
              <a:ext cx="151619" cy="350829"/>
            </a:xfrm>
            <a:custGeom>
              <a:avLst/>
              <a:gdLst>
                <a:gd name="connsiteX0" fmla="*/ 25299 w 151619"/>
                <a:gd name="connsiteY0" fmla="*/ 321238 h 350829"/>
                <a:gd name="connsiteX1" fmla="*/ 0 w 151619"/>
                <a:gd name="connsiteY1" fmla="*/ 220042 h 350829"/>
                <a:gd name="connsiteX2" fmla="*/ 0 w 151619"/>
                <a:gd name="connsiteY2" fmla="*/ 40596 h 350829"/>
                <a:gd name="connsiteX3" fmla="*/ 78250 w 151619"/>
                <a:gd name="connsiteY3" fmla="*/ 0 h 350829"/>
                <a:gd name="connsiteX4" fmla="*/ 79427 w 151619"/>
                <a:gd name="connsiteY4" fmla="*/ 164149 h 350829"/>
                <a:gd name="connsiteX5" fmla="*/ 93547 w 151619"/>
                <a:gd name="connsiteY5" fmla="*/ 261815 h 350829"/>
                <a:gd name="connsiteX6" fmla="*/ 118478 w 151619"/>
                <a:gd name="connsiteY6" fmla="*/ 290938 h 350829"/>
                <a:gd name="connsiteX7" fmla="*/ 151619 w 151619"/>
                <a:gd name="connsiteY7" fmla="*/ 297983 h 350829"/>
                <a:gd name="connsiteX8" fmla="*/ 109310 w 151619"/>
                <a:gd name="connsiteY8" fmla="*/ 349136 h 350829"/>
                <a:gd name="connsiteX9" fmla="*/ 97665 w 151619"/>
                <a:gd name="connsiteY9" fmla="*/ 350655 h 350829"/>
                <a:gd name="connsiteX10" fmla="*/ 25299 w 151619"/>
                <a:gd name="connsiteY10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1619" h="350829">
                  <a:moveTo>
                    <a:pt x="25299" y="321238"/>
                  </a:moveTo>
                  <a:cubicBezTo>
                    <a:pt x="5295" y="301823"/>
                    <a:pt x="0" y="268287"/>
                    <a:pt x="0" y="220042"/>
                  </a:cubicBez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98254" y="274758"/>
                    <a:pt x="106638" y="284466"/>
                    <a:pt x="118478" y="290938"/>
                  </a:cubicBezTo>
                  <a:lnTo>
                    <a:pt x="151619" y="297983"/>
                  </a:lnTo>
                  <a:lnTo>
                    <a:pt x="109310" y="349136"/>
                  </a:lnTo>
                  <a:lnTo>
                    <a:pt x="97665" y="350655"/>
                  </a:ln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5" name="Forme libre : forme 974">
              <a:extLst>
                <a:ext uri="{FF2B5EF4-FFF2-40B4-BE49-F238E27FC236}">
                  <a16:creationId xmlns:a16="http://schemas.microsoft.com/office/drawing/2014/main" id="{F4544020-0266-41BA-8C00-E24B164AB2ED}"/>
                </a:ext>
              </a:extLst>
            </p:cNvPr>
            <p:cNvSpPr/>
            <p:nvPr/>
          </p:nvSpPr>
          <p:spPr>
            <a:xfrm rot="8716295">
              <a:off x="6084388" y="232868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6" name="Forme libre : forme 975">
              <a:extLst>
                <a:ext uri="{FF2B5EF4-FFF2-40B4-BE49-F238E27FC236}">
                  <a16:creationId xmlns:a16="http://schemas.microsoft.com/office/drawing/2014/main" id="{271CA1CD-963F-4CD4-AA61-A9B8E1C43CF8}"/>
                </a:ext>
              </a:extLst>
            </p:cNvPr>
            <p:cNvSpPr/>
            <p:nvPr/>
          </p:nvSpPr>
          <p:spPr>
            <a:xfrm rot="8716295">
              <a:off x="6395543" y="194904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7" name="Forme libre : forme 976">
              <a:extLst>
                <a:ext uri="{FF2B5EF4-FFF2-40B4-BE49-F238E27FC236}">
                  <a16:creationId xmlns:a16="http://schemas.microsoft.com/office/drawing/2014/main" id="{FE1D00A6-C81C-4E96-A531-7D8D031389D2}"/>
                </a:ext>
              </a:extLst>
            </p:cNvPr>
            <p:cNvSpPr/>
            <p:nvPr/>
          </p:nvSpPr>
          <p:spPr>
            <a:xfrm rot="8716295">
              <a:off x="6484935" y="197828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8" name="Forme libre : forme 977">
              <a:extLst>
                <a:ext uri="{FF2B5EF4-FFF2-40B4-BE49-F238E27FC236}">
                  <a16:creationId xmlns:a16="http://schemas.microsoft.com/office/drawing/2014/main" id="{D1AD4F7D-FFA6-412C-8AC2-97E76C5D511B}"/>
                </a:ext>
              </a:extLst>
            </p:cNvPr>
            <p:cNvSpPr/>
            <p:nvPr/>
          </p:nvSpPr>
          <p:spPr>
            <a:xfrm rot="8716295">
              <a:off x="6283309" y="203758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9" name="Forme libre : forme 978">
              <a:extLst>
                <a:ext uri="{FF2B5EF4-FFF2-40B4-BE49-F238E27FC236}">
                  <a16:creationId xmlns:a16="http://schemas.microsoft.com/office/drawing/2014/main" id="{B6B09C33-56D6-43CA-889B-8BC67F824FD1}"/>
                </a:ext>
              </a:extLst>
            </p:cNvPr>
            <p:cNvSpPr/>
            <p:nvPr/>
          </p:nvSpPr>
          <p:spPr>
            <a:xfrm rot="8716295">
              <a:off x="6158407" y="182891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0" name="Forme libre : forme 979">
              <a:extLst>
                <a:ext uri="{FF2B5EF4-FFF2-40B4-BE49-F238E27FC236}">
                  <a16:creationId xmlns:a16="http://schemas.microsoft.com/office/drawing/2014/main" id="{64E9AC88-77BF-47F7-9F24-3879D854D04A}"/>
                </a:ext>
              </a:extLst>
            </p:cNvPr>
            <p:cNvSpPr/>
            <p:nvPr/>
          </p:nvSpPr>
          <p:spPr>
            <a:xfrm rot="8716295">
              <a:off x="6373487" y="207853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1" name="Forme libre : forme 980">
              <a:extLst>
                <a:ext uri="{FF2B5EF4-FFF2-40B4-BE49-F238E27FC236}">
                  <a16:creationId xmlns:a16="http://schemas.microsoft.com/office/drawing/2014/main" id="{CF11DCA9-1C6D-449B-A7C0-73F03FD1154F}"/>
                </a:ext>
              </a:extLst>
            </p:cNvPr>
            <p:cNvSpPr/>
            <p:nvPr/>
          </p:nvSpPr>
          <p:spPr>
            <a:xfrm rot="8716295">
              <a:off x="6132036" y="192893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2" name="Forme libre : forme 981">
              <a:extLst>
                <a:ext uri="{FF2B5EF4-FFF2-40B4-BE49-F238E27FC236}">
                  <a16:creationId xmlns:a16="http://schemas.microsoft.com/office/drawing/2014/main" id="{4B619A62-FDFD-4430-894F-6ACA1B302C71}"/>
                </a:ext>
              </a:extLst>
            </p:cNvPr>
            <p:cNvSpPr/>
            <p:nvPr/>
          </p:nvSpPr>
          <p:spPr>
            <a:xfrm rot="7484129">
              <a:off x="6478418" y="226988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3" name="Forme libre : forme 982">
              <a:extLst>
                <a:ext uri="{FF2B5EF4-FFF2-40B4-BE49-F238E27FC236}">
                  <a16:creationId xmlns:a16="http://schemas.microsoft.com/office/drawing/2014/main" id="{EEC07FBE-5BAD-4BDB-9368-94EB98E8DB84}"/>
                </a:ext>
              </a:extLst>
            </p:cNvPr>
            <p:cNvSpPr/>
            <p:nvPr/>
          </p:nvSpPr>
          <p:spPr>
            <a:xfrm rot="13089394">
              <a:off x="6583238" y="2236421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4" name="Forme libre : forme 983">
              <a:extLst>
                <a:ext uri="{FF2B5EF4-FFF2-40B4-BE49-F238E27FC236}">
                  <a16:creationId xmlns:a16="http://schemas.microsoft.com/office/drawing/2014/main" id="{6C20D42A-CF2C-4DF9-8389-1987D2DA4730}"/>
                </a:ext>
              </a:extLst>
            </p:cNvPr>
            <p:cNvSpPr/>
            <p:nvPr/>
          </p:nvSpPr>
          <p:spPr>
            <a:xfrm rot="8716295">
              <a:off x="6768823" y="204474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5" name="Forme libre : forme 984">
              <a:extLst>
                <a:ext uri="{FF2B5EF4-FFF2-40B4-BE49-F238E27FC236}">
                  <a16:creationId xmlns:a16="http://schemas.microsoft.com/office/drawing/2014/main" id="{690A085A-5485-49A4-B859-ADCE99BE4188}"/>
                </a:ext>
              </a:extLst>
            </p:cNvPr>
            <p:cNvSpPr/>
            <p:nvPr/>
          </p:nvSpPr>
          <p:spPr>
            <a:xfrm rot="8716295">
              <a:off x="6717018" y="194114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6" name="Forme libre : forme 985">
              <a:extLst>
                <a:ext uri="{FF2B5EF4-FFF2-40B4-BE49-F238E27FC236}">
                  <a16:creationId xmlns:a16="http://schemas.microsoft.com/office/drawing/2014/main" id="{617C9727-2FB5-4490-85D8-1E9D17ED0FFB}"/>
                </a:ext>
              </a:extLst>
            </p:cNvPr>
            <p:cNvSpPr/>
            <p:nvPr/>
          </p:nvSpPr>
          <p:spPr>
            <a:xfrm rot="8716295">
              <a:off x="6473772" y="197136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7" name="Forme libre : forme 986">
              <a:extLst>
                <a:ext uri="{FF2B5EF4-FFF2-40B4-BE49-F238E27FC236}">
                  <a16:creationId xmlns:a16="http://schemas.microsoft.com/office/drawing/2014/main" id="{A4EA73FB-BC31-47BA-B0AF-60CD29A14CE4}"/>
                </a:ext>
              </a:extLst>
            </p:cNvPr>
            <p:cNvSpPr/>
            <p:nvPr/>
          </p:nvSpPr>
          <p:spPr>
            <a:xfrm rot="8716295">
              <a:off x="6651224" y="18121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8" name="Forme libre : forme 987">
              <a:extLst>
                <a:ext uri="{FF2B5EF4-FFF2-40B4-BE49-F238E27FC236}">
                  <a16:creationId xmlns:a16="http://schemas.microsoft.com/office/drawing/2014/main" id="{156A20B8-C2E0-4D62-9BB2-A5D841EE0CF6}"/>
                </a:ext>
              </a:extLst>
            </p:cNvPr>
            <p:cNvSpPr/>
            <p:nvPr/>
          </p:nvSpPr>
          <p:spPr>
            <a:xfrm rot="8716295">
              <a:off x="6329611" y="285889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9" name="Forme libre : forme 988">
              <a:extLst>
                <a:ext uri="{FF2B5EF4-FFF2-40B4-BE49-F238E27FC236}">
                  <a16:creationId xmlns:a16="http://schemas.microsoft.com/office/drawing/2014/main" id="{23E51C9F-FBAB-4ECD-8008-9610D0830C99}"/>
                </a:ext>
              </a:extLst>
            </p:cNvPr>
            <p:cNvSpPr/>
            <p:nvPr/>
          </p:nvSpPr>
          <p:spPr>
            <a:xfrm rot="8716295">
              <a:off x="6419003" y="288813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0" name="Forme libre : forme 989">
              <a:extLst>
                <a:ext uri="{FF2B5EF4-FFF2-40B4-BE49-F238E27FC236}">
                  <a16:creationId xmlns:a16="http://schemas.microsoft.com/office/drawing/2014/main" id="{7F32C77C-4F6E-45B6-AD92-CD6F8E2E6271}"/>
                </a:ext>
              </a:extLst>
            </p:cNvPr>
            <p:cNvSpPr/>
            <p:nvPr/>
          </p:nvSpPr>
          <p:spPr>
            <a:xfrm rot="8716295">
              <a:off x="6374153" y="280185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1" name="Forme libre : forme 990">
              <a:extLst>
                <a:ext uri="{FF2B5EF4-FFF2-40B4-BE49-F238E27FC236}">
                  <a16:creationId xmlns:a16="http://schemas.microsoft.com/office/drawing/2014/main" id="{D4431DD9-04B9-4FE1-A081-03E62FD89C9D}"/>
                </a:ext>
              </a:extLst>
            </p:cNvPr>
            <p:cNvSpPr/>
            <p:nvPr/>
          </p:nvSpPr>
          <p:spPr>
            <a:xfrm rot="8716295">
              <a:off x="6217377" y="294743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2" name="Forme libre : forme 991">
              <a:extLst>
                <a:ext uri="{FF2B5EF4-FFF2-40B4-BE49-F238E27FC236}">
                  <a16:creationId xmlns:a16="http://schemas.microsoft.com/office/drawing/2014/main" id="{3776591D-A273-4F99-BE73-AB66F060ED94}"/>
                </a:ext>
              </a:extLst>
            </p:cNvPr>
            <p:cNvSpPr/>
            <p:nvPr/>
          </p:nvSpPr>
          <p:spPr>
            <a:xfrm rot="8716295">
              <a:off x="6092474" y="273876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3" name="Forme libre : forme 992">
              <a:extLst>
                <a:ext uri="{FF2B5EF4-FFF2-40B4-BE49-F238E27FC236}">
                  <a16:creationId xmlns:a16="http://schemas.microsoft.com/office/drawing/2014/main" id="{70BC3904-666B-4476-94FE-E1509AD90EDA}"/>
                </a:ext>
              </a:extLst>
            </p:cNvPr>
            <p:cNvSpPr/>
            <p:nvPr/>
          </p:nvSpPr>
          <p:spPr>
            <a:xfrm rot="8716295">
              <a:off x="6080422" y="259998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4" name="Forme libre : forme 993">
              <a:extLst>
                <a:ext uri="{FF2B5EF4-FFF2-40B4-BE49-F238E27FC236}">
                  <a16:creationId xmlns:a16="http://schemas.microsoft.com/office/drawing/2014/main" id="{9A71DA94-5749-49E1-B169-14B235223A8A}"/>
                </a:ext>
              </a:extLst>
            </p:cNvPr>
            <p:cNvSpPr/>
            <p:nvPr/>
          </p:nvSpPr>
          <p:spPr>
            <a:xfrm rot="8716295">
              <a:off x="6307555" y="298838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5" name="Forme libre : forme 994">
              <a:extLst>
                <a:ext uri="{FF2B5EF4-FFF2-40B4-BE49-F238E27FC236}">
                  <a16:creationId xmlns:a16="http://schemas.microsoft.com/office/drawing/2014/main" id="{5E531992-BAC1-4C94-95FD-24C15B9EF2BF}"/>
                </a:ext>
              </a:extLst>
            </p:cNvPr>
            <p:cNvSpPr/>
            <p:nvPr/>
          </p:nvSpPr>
          <p:spPr>
            <a:xfrm rot="8716295">
              <a:off x="6618710" y="260873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6" name="Forme libre : forme 995">
              <a:extLst>
                <a:ext uri="{FF2B5EF4-FFF2-40B4-BE49-F238E27FC236}">
                  <a16:creationId xmlns:a16="http://schemas.microsoft.com/office/drawing/2014/main" id="{E4284C6A-7A82-4CAE-89A5-2E977266E045}"/>
                </a:ext>
              </a:extLst>
            </p:cNvPr>
            <p:cNvSpPr/>
            <p:nvPr/>
          </p:nvSpPr>
          <p:spPr>
            <a:xfrm rot="8716295">
              <a:off x="6708102" y="263798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7" name="Forme libre : forme 996">
              <a:extLst>
                <a:ext uri="{FF2B5EF4-FFF2-40B4-BE49-F238E27FC236}">
                  <a16:creationId xmlns:a16="http://schemas.microsoft.com/office/drawing/2014/main" id="{6AD07265-46A4-4F48-AE48-C93ECBEB0115}"/>
                </a:ext>
              </a:extLst>
            </p:cNvPr>
            <p:cNvSpPr/>
            <p:nvPr/>
          </p:nvSpPr>
          <p:spPr>
            <a:xfrm rot="8716295">
              <a:off x="6506476" y="269728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8" name="Forme libre : forme 997">
              <a:extLst>
                <a:ext uri="{FF2B5EF4-FFF2-40B4-BE49-F238E27FC236}">
                  <a16:creationId xmlns:a16="http://schemas.microsoft.com/office/drawing/2014/main" id="{0F626FEE-5136-4D5A-B874-AE58DE51C27B}"/>
                </a:ext>
              </a:extLst>
            </p:cNvPr>
            <p:cNvSpPr/>
            <p:nvPr/>
          </p:nvSpPr>
          <p:spPr>
            <a:xfrm rot="8716295">
              <a:off x="6381574" y="248861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9" name="Forme libre : forme 998">
              <a:extLst>
                <a:ext uri="{FF2B5EF4-FFF2-40B4-BE49-F238E27FC236}">
                  <a16:creationId xmlns:a16="http://schemas.microsoft.com/office/drawing/2014/main" id="{7B0A3539-A5EC-4DA5-B326-1671C80D9FC9}"/>
                </a:ext>
              </a:extLst>
            </p:cNvPr>
            <p:cNvSpPr/>
            <p:nvPr/>
          </p:nvSpPr>
          <p:spPr>
            <a:xfrm rot="8716295">
              <a:off x="6596654" y="273823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0" name="Forme libre : forme 999">
              <a:extLst>
                <a:ext uri="{FF2B5EF4-FFF2-40B4-BE49-F238E27FC236}">
                  <a16:creationId xmlns:a16="http://schemas.microsoft.com/office/drawing/2014/main" id="{A34DFDFC-C834-479E-912E-6B279D3D7039}"/>
                </a:ext>
              </a:extLst>
            </p:cNvPr>
            <p:cNvSpPr/>
            <p:nvPr/>
          </p:nvSpPr>
          <p:spPr>
            <a:xfrm rot="8716295">
              <a:off x="6355203" y="258863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1" name="Forme libre : forme 1000">
              <a:extLst>
                <a:ext uri="{FF2B5EF4-FFF2-40B4-BE49-F238E27FC236}">
                  <a16:creationId xmlns:a16="http://schemas.microsoft.com/office/drawing/2014/main" id="{07620231-653C-4CB4-8F77-0AA8D3803BFF}"/>
                </a:ext>
              </a:extLst>
            </p:cNvPr>
            <p:cNvSpPr/>
            <p:nvPr/>
          </p:nvSpPr>
          <p:spPr>
            <a:xfrm rot="7484129">
              <a:off x="6701585" y="292958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2" name="Forme libre : forme 1001">
              <a:extLst>
                <a:ext uri="{FF2B5EF4-FFF2-40B4-BE49-F238E27FC236}">
                  <a16:creationId xmlns:a16="http://schemas.microsoft.com/office/drawing/2014/main" id="{D290ABBC-41B3-4F18-93F2-164F7D54EBDE}"/>
                </a:ext>
              </a:extLst>
            </p:cNvPr>
            <p:cNvSpPr/>
            <p:nvPr/>
          </p:nvSpPr>
          <p:spPr>
            <a:xfrm rot="13089394">
              <a:off x="6806405" y="289612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3" name="Forme libre : forme 1002">
              <a:extLst>
                <a:ext uri="{FF2B5EF4-FFF2-40B4-BE49-F238E27FC236}">
                  <a16:creationId xmlns:a16="http://schemas.microsoft.com/office/drawing/2014/main" id="{8DD9E291-7841-4F2C-A3C2-BF1A5190446E}"/>
                </a:ext>
              </a:extLst>
            </p:cNvPr>
            <p:cNvSpPr/>
            <p:nvPr/>
          </p:nvSpPr>
          <p:spPr>
            <a:xfrm rot="8716295">
              <a:off x="6991990" y="270443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4" name="Forme libre : forme 1003">
              <a:extLst>
                <a:ext uri="{FF2B5EF4-FFF2-40B4-BE49-F238E27FC236}">
                  <a16:creationId xmlns:a16="http://schemas.microsoft.com/office/drawing/2014/main" id="{41A89C08-3907-4E7D-B1E6-D307FE9BC2BC}"/>
                </a:ext>
              </a:extLst>
            </p:cNvPr>
            <p:cNvSpPr/>
            <p:nvPr/>
          </p:nvSpPr>
          <p:spPr>
            <a:xfrm rot="8716295">
              <a:off x="6940185" y="260084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5" name="Forme libre : forme 1004">
              <a:extLst>
                <a:ext uri="{FF2B5EF4-FFF2-40B4-BE49-F238E27FC236}">
                  <a16:creationId xmlns:a16="http://schemas.microsoft.com/office/drawing/2014/main" id="{157F3384-4A1D-41EA-805B-09275197A993}"/>
                </a:ext>
              </a:extLst>
            </p:cNvPr>
            <p:cNvSpPr/>
            <p:nvPr/>
          </p:nvSpPr>
          <p:spPr>
            <a:xfrm rot="8716295">
              <a:off x="6696939" y="263106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6" name="Forme libre : forme 1005">
              <a:extLst>
                <a:ext uri="{FF2B5EF4-FFF2-40B4-BE49-F238E27FC236}">
                  <a16:creationId xmlns:a16="http://schemas.microsoft.com/office/drawing/2014/main" id="{FF46E72A-AA4E-4A7E-AA90-4EE78B17F3E0}"/>
                </a:ext>
              </a:extLst>
            </p:cNvPr>
            <p:cNvSpPr/>
            <p:nvPr/>
          </p:nvSpPr>
          <p:spPr>
            <a:xfrm rot="8716295">
              <a:off x="6874391" y="247182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7" name="Forme libre : forme 1006">
              <a:extLst>
                <a:ext uri="{FF2B5EF4-FFF2-40B4-BE49-F238E27FC236}">
                  <a16:creationId xmlns:a16="http://schemas.microsoft.com/office/drawing/2014/main" id="{F3CC0703-4FAA-4CF5-BF29-341DDF37A94E}"/>
                </a:ext>
              </a:extLst>
            </p:cNvPr>
            <p:cNvSpPr/>
            <p:nvPr/>
          </p:nvSpPr>
          <p:spPr>
            <a:xfrm rot="8716295">
              <a:off x="6992966" y="483796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8" name="Forme libre : forme 1007">
              <a:extLst>
                <a:ext uri="{FF2B5EF4-FFF2-40B4-BE49-F238E27FC236}">
                  <a16:creationId xmlns:a16="http://schemas.microsoft.com/office/drawing/2014/main" id="{C3F81C70-85AD-4CF6-A01C-4C0E0F9C52D5}"/>
                </a:ext>
              </a:extLst>
            </p:cNvPr>
            <p:cNvSpPr/>
            <p:nvPr/>
          </p:nvSpPr>
          <p:spPr>
            <a:xfrm rot="8716295">
              <a:off x="7082358" y="486720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9" name="Forme libre : forme 1008">
              <a:extLst>
                <a:ext uri="{FF2B5EF4-FFF2-40B4-BE49-F238E27FC236}">
                  <a16:creationId xmlns:a16="http://schemas.microsoft.com/office/drawing/2014/main" id="{8594D2EF-5DEB-4BF2-8AF7-303476CE0CC5}"/>
                </a:ext>
              </a:extLst>
            </p:cNvPr>
            <p:cNvSpPr/>
            <p:nvPr/>
          </p:nvSpPr>
          <p:spPr>
            <a:xfrm rot="8716295">
              <a:off x="7037508" y="478092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0" name="Forme libre : forme 1009">
              <a:extLst>
                <a:ext uri="{FF2B5EF4-FFF2-40B4-BE49-F238E27FC236}">
                  <a16:creationId xmlns:a16="http://schemas.microsoft.com/office/drawing/2014/main" id="{77E9C412-FDC3-454A-B80E-5D8A9E43C4DA}"/>
                </a:ext>
              </a:extLst>
            </p:cNvPr>
            <p:cNvSpPr/>
            <p:nvPr/>
          </p:nvSpPr>
          <p:spPr>
            <a:xfrm rot="8716295">
              <a:off x="6880732" y="49265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1" name="Forme libre : forme 1010">
              <a:extLst>
                <a:ext uri="{FF2B5EF4-FFF2-40B4-BE49-F238E27FC236}">
                  <a16:creationId xmlns:a16="http://schemas.microsoft.com/office/drawing/2014/main" id="{A5D4AA44-D0FA-491F-BE63-FF8A4B5DD958}"/>
                </a:ext>
              </a:extLst>
            </p:cNvPr>
            <p:cNvSpPr/>
            <p:nvPr/>
          </p:nvSpPr>
          <p:spPr>
            <a:xfrm rot="8716295">
              <a:off x="6755829" y="471783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2" name="Forme libre : forme 1011">
              <a:extLst>
                <a:ext uri="{FF2B5EF4-FFF2-40B4-BE49-F238E27FC236}">
                  <a16:creationId xmlns:a16="http://schemas.microsoft.com/office/drawing/2014/main" id="{EA7B1920-6683-4EDE-8D1A-30EA77A457A9}"/>
                </a:ext>
              </a:extLst>
            </p:cNvPr>
            <p:cNvSpPr/>
            <p:nvPr/>
          </p:nvSpPr>
          <p:spPr>
            <a:xfrm rot="8716295">
              <a:off x="6743777" y="4579051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3" name="Forme libre : forme 1012">
              <a:extLst>
                <a:ext uri="{FF2B5EF4-FFF2-40B4-BE49-F238E27FC236}">
                  <a16:creationId xmlns:a16="http://schemas.microsoft.com/office/drawing/2014/main" id="{0C35C265-9177-4FAD-9F28-2B57935811A6}"/>
                </a:ext>
              </a:extLst>
            </p:cNvPr>
            <p:cNvSpPr/>
            <p:nvPr/>
          </p:nvSpPr>
          <p:spPr>
            <a:xfrm rot="8716295">
              <a:off x="6967304" y="4968128"/>
              <a:ext cx="103435" cy="217167"/>
            </a:xfrm>
            <a:custGeom>
              <a:avLst/>
              <a:gdLst>
                <a:gd name="connsiteX0" fmla="*/ 0 w 103435"/>
                <a:gd name="connsiteY0" fmla="*/ 14397 h 217167"/>
                <a:gd name="connsiteX1" fmla="*/ 0 w 103435"/>
                <a:gd name="connsiteY1" fmla="*/ 271 h 217167"/>
                <a:gd name="connsiteX2" fmla="*/ 12306 w 103435"/>
                <a:gd name="connsiteY2" fmla="*/ 0 h 217167"/>
                <a:gd name="connsiteX3" fmla="*/ 33075 w 103435"/>
                <a:gd name="connsiteY3" fmla="*/ 14397 h 217167"/>
                <a:gd name="connsiteX4" fmla="*/ 103435 w 103435"/>
                <a:gd name="connsiteY4" fmla="*/ 217167 h 217167"/>
                <a:gd name="connsiteX5" fmla="*/ 43288 w 103435"/>
                <a:gd name="connsiteY5" fmla="*/ 159297 h 217167"/>
                <a:gd name="connsiteX6" fmla="*/ 43288 w 103435"/>
                <a:gd name="connsiteY6" fmla="*/ 21477 h 217167"/>
                <a:gd name="connsiteX7" fmla="*/ 103435 w 103435"/>
                <a:gd name="connsiteY7" fmla="*/ 63169 h 217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3435" h="217167">
                  <a:moveTo>
                    <a:pt x="0" y="14397"/>
                  </a:moveTo>
                  <a:lnTo>
                    <a:pt x="0" y="271"/>
                  </a:lnTo>
                  <a:lnTo>
                    <a:pt x="12306" y="0"/>
                  </a:lnTo>
                  <a:lnTo>
                    <a:pt x="33075" y="14397"/>
                  </a:lnTo>
                  <a:close/>
                  <a:moveTo>
                    <a:pt x="103435" y="217167"/>
                  </a:moveTo>
                  <a:lnTo>
                    <a:pt x="43288" y="159297"/>
                  </a:lnTo>
                  <a:lnTo>
                    <a:pt x="43288" y="21477"/>
                  </a:lnTo>
                  <a:lnTo>
                    <a:pt x="103435" y="631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4" name="Forme libre : forme 1013">
              <a:extLst>
                <a:ext uri="{FF2B5EF4-FFF2-40B4-BE49-F238E27FC236}">
                  <a16:creationId xmlns:a16="http://schemas.microsoft.com/office/drawing/2014/main" id="{BD244519-3E70-4BEA-A7E9-6D6329332810}"/>
                </a:ext>
              </a:extLst>
            </p:cNvPr>
            <p:cNvSpPr/>
            <p:nvPr/>
          </p:nvSpPr>
          <p:spPr>
            <a:xfrm rot="8716295">
              <a:off x="7282065" y="458780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5" name="Forme libre : forme 1014">
              <a:extLst>
                <a:ext uri="{FF2B5EF4-FFF2-40B4-BE49-F238E27FC236}">
                  <a16:creationId xmlns:a16="http://schemas.microsoft.com/office/drawing/2014/main" id="{B4585F35-0A90-4165-A27A-19AF98E52F16}"/>
                </a:ext>
              </a:extLst>
            </p:cNvPr>
            <p:cNvSpPr/>
            <p:nvPr/>
          </p:nvSpPr>
          <p:spPr>
            <a:xfrm rot="8716295">
              <a:off x="7371457" y="461705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6" name="Forme libre : forme 1015">
              <a:extLst>
                <a:ext uri="{FF2B5EF4-FFF2-40B4-BE49-F238E27FC236}">
                  <a16:creationId xmlns:a16="http://schemas.microsoft.com/office/drawing/2014/main" id="{037BBBAE-DF3D-45D1-93C9-705EA55906DA}"/>
                </a:ext>
              </a:extLst>
            </p:cNvPr>
            <p:cNvSpPr/>
            <p:nvPr/>
          </p:nvSpPr>
          <p:spPr>
            <a:xfrm rot="8716295">
              <a:off x="7169831" y="467635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7" name="Forme libre : forme 1016">
              <a:extLst>
                <a:ext uri="{FF2B5EF4-FFF2-40B4-BE49-F238E27FC236}">
                  <a16:creationId xmlns:a16="http://schemas.microsoft.com/office/drawing/2014/main" id="{79B12E01-567A-4F11-A8EA-E4D5E5D6D861}"/>
                </a:ext>
              </a:extLst>
            </p:cNvPr>
            <p:cNvSpPr/>
            <p:nvPr/>
          </p:nvSpPr>
          <p:spPr>
            <a:xfrm rot="8716295">
              <a:off x="7044929" y="446767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8" name="Forme libre : forme 1017">
              <a:extLst>
                <a:ext uri="{FF2B5EF4-FFF2-40B4-BE49-F238E27FC236}">
                  <a16:creationId xmlns:a16="http://schemas.microsoft.com/office/drawing/2014/main" id="{FD84A8E2-51AA-4D9A-9373-C01406950A10}"/>
                </a:ext>
              </a:extLst>
            </p:cNvPr>
            <p:cNvSpPr/>
            <p:nvPr/>
          </p:nvSpPr>
          <p:spPr>
            <a:xfrm rot="8716295">
              <a:off x="7260009" y="471730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9" name="Forme libre : forme 1018">
              <a:extLst>
                <a:ext uri="{FF2B5EF4-FFF2-40B4-BE49-F238E27FC236}">
                  <a16:creationId xmlns:a16="http://schemas.microsoft.com/office/drawing/2014/main" id="{BA3A5019-01D7-4AD7-A88B-3385609FFFB0}"/>
                </a:ext>
              </a:extLst>
            </p:cNvPr>
            <p:cNvSpPr/>
            <p:nvPr/>
          </p:nvSpPr>
          <p:spPr>
            <a:xfrm rot="8716295">
              <a:off x="7018558" y="456770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0" name="Forme libre : forme 1019">
              <a:extLst>
                <a:ext uri="{FF2B5EF4-FFF2-40B4-BE49-F238E27FC236}">
                  <a16:creationId xmlns:a16="http://schemas.microsoft.com/office/drawing/2014/main" id="{C76C9B6C-CE3D-4347-A6FC-4F62281A45DE}"/>
                </a:ext>
              </a:extLst>
            </p:cNvPr>
            <p:cNvSpPr/>
            <p:nvPr/>
          </p:nvSpPr>
          <p:spPr>
            <a:xfrm rot="7484129">
              <a:off x="7360806" y="490932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199801 w 203847"/>
                <a:gd name="connsiteY5" fmla="*/ 0 h 195874"/>
                <a:gd name="connsiteX6" fmla="*/ 203847 w 203847"/>
                <a:gd name="connsiteY6" fmla="*/ 5835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199801" y="0"/>
                  </a:lnTo>
                  <a:lnTo>
                    <a:pt x="203847" y="5835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1" name="Forme libre : forme 1020">
              <a:extLst>
                <a:ext uri="{FF2B5EF4-FFF2-40B4-BE49-F238E27FC236}">
                  <a16:creationId xmlns:a16="http://schemas.microsoft.com/office/drawing/2014/main" id="{968CDA2A-BCE6-4E6C-B078-182B2D0CB115}"/>
                </a:ext>
              </a:extLst>
            </p:cNvPr>
            <p:cNvSpPr/>
            <p:nvPr/>
          </p:nvSpPr>
          <p:spPr>
            <a:xfrm rot="13089394">
              <a:off x="7492553" y="4879598"/>
              <a:ext cx="272584" cy="252337"/>
            </a:xfrm>
            <a:custGeom>
              <a:avLst/>
              <a:gdLst>
                <a:gd name="connsiteX0" fmla="*/ 272584 w 272584"/>
                <a:gd name="connsiteY0" fmla="*/ 181545 h 252337"/>
                <a:gd name="connsiteX1" fmla="*/ 91597 w 272584"/>
                <a:gd name="connsiteY1" fmla="*/ 252174 h 252337"/>
                <a:gd name="connsiteX2" fmla="*/ 23727 w 272584"/>
                <a:gd name="connsiteY2" fmla="*/ 224584 h 252337"/>
                <a:gd name="connsiteX3" fmla="*/ 0 w 272584"/>
                <a:gd name="connsiteY3" fmla="*/ 129677 h 252337"/>
                <a:gd name="connsiteX4" fmla="*/ 0 w 272584"/>
                <a:gd name="connsiteY4" fmla="*/ 58093 h 252337"/>
                <a:gd name="connsiteX5" fmla="*/ 73938 w 272584"/>
                <a:gd name="connsiteY5" fmla="*/ 0 h 252337"/>
                <a:gd name="connsiteX6" fmla="*/ 74492 w 272584"/>
                <a:gd name="connsiteY6" fmla="*/ 77257 h 252337"/>
                <a:gd name="connsiteX7" fmla="*/ 87734 w 272584"/>
                <a:gd name="connsiteY7" fmla="*/ 168854 h 252337"/>
                <a:gd name="connsiteX8" fmla="*/ 153949 w 272584"/>
                <a:gd name="connsiteY8" fmla="*/ 205272 h 252337"/>
                <a:gd name="connsiteX9" fmla="*/ 203610 w 272584"/>
                <a:gd name="connsiteY9" fmla="*/ 196443 h 252337"/>
                <a:gd name="connsiteX10" fmla="*/ 271481 w 272584"/>
                <a:gd name="connsiteY10" fmla="*/ 168854 h 252337"/>
                <a:gd name="connsiteX11" fmla="*/ 272584 w 272584"/>
                <a:gd name="connsiteY11" fmla="*/ 176027 h 25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2584" h="252337">
                  <a:moveTo>
                    <a:pt x="272584" y="181545"/>
                  </a:moveTo>
                  <a:cubicBezTo>
                    <a:pt x="214095" y="231758"/>
                    <a:pt x="137395" y="249415"/>
                    <a:pt x="91597" y="252174"/>
                  </a:cubicBezTo>
                  <a:cubicBezTo>
                    <a:pt x="66215" y="253830"/>
                    <a:pt x="41384" y="242793"/>
                    <a:pt x="23727" y="224584"/>
                  </a:cubicBezTo>
                  <a:cubicBezTo>
                    <a:pt x="4966" y="206376"/>
                    <a:pt x="0" y="174923"/>
                    <a:pt x="0" y="129677"/>
                  </a:cubicBezTo>
                  <a:lnTo>
                    <a:pt x="0" y="58093"/>
                  </a:lnTo>
                  <a:lnTo>
                    <a:pt x="73938" y="0"/>
                  </a:lnTo>
                  <a:lnTo>
                    <a:pt x="74492" y="77257"/>
                  </a:lnTo>
                  <a:cubicBezTo>
                    <a:pt x="72836" y="108157"/>
                    <a:pt x="77802" y="139609"/>
                    <a:pt x="87734" y="168854"/>
                  </a:cubicBezTo>
                  <a:cubicBezTo>
                    <a:pt x="96563" y="193132"/>
                    <a:pt x="119186" y="205272"/>
                    <a:pt x="153949" y="205272"/>
                  </a:cubicBezTo>
                  <a:cubicBezTo>
                    <a:pt x="171055" y="204720"/>
                    <a:pt x="187608" y="201409"/>
                    <a:pt x="203610" y="196443"/>
                  </a:cubicBezTo>
                  <a:cubicBezTo>
                    <a:pt x="226785" y="189270"/>
                    <a:pt x="249409" y="179890"/>
                    <a:pt x="271481" y="168854"/>
                  </a:cubicBezTo>
                  <a:cubicBezTo>
                    <a:pt x="272032" y="171061"/>
                    <a:pt x="272584" y="173820"/>
                    <a:pt x="272584" y="17602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2" name="Forme libre : forme 1021">
              <a:extLst>
                <a:ext uri="{FF2B5EF4-FFF2-40B4-BE49-F238E27FC236}">
                  <a16:creationId xmlns:a16="http://schemas.microsoft.com/office/drawing/2014/main" id="{ADB8B43F-E5ED-4756-924C-F5F4F7DBE002}"/>
                </a:ext>
              </a:extLst>
            </p:cNvPr>
            <p:cNvSpPr/>
            <p:nvPr/>
          </p:nvSpPr>
          <p:spPr>
            <a:xfrm rot="8716295">
              <a:off x="7655345" y="468350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3" name="Forme libre : forme 1022">
              <a:extLst>
                <a:ext uri="{FF2B5EF4-FFF2-40B4-BE49-F238E27FC236}">
                  <a16:creationId xmlns:a16="http://schemas.microsoft.com/office/drawing/2014/main" id="{FEE379FB-4155-4B72-A7C1-37CBAC14E821}"/>
                </a:ext>
              </a:extLst>
            </p:cNvPr>
            <p:cNvSpPr/>
            <p:nvPr/>
          </p:nvSpPr>
          <p:spPr>
            <a:xfrm rot="8716295">
              <a:off x="7603540" y="457991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4" name="Forme libre : forme 1023">
              <a:extLst>
                <a:ext uri="{FF2B5EF4-FFF2-40B4-BE49-F238E27FC236}">
                  <a16:creationId xmlns:a16="http://schemas.microsoft.com/office/drawing/2014/main" id="{6003D4A9-3A9F-4CD8-9279-C73BEB73CC6E}"/>
                </a:ext>
              </a:extLst>
            </p:cNvPr>
            <p:cNvSpPr/>
            <p:nvPr/>
          </p:nvSpPr>
          <p:spPr>
            <a:xfrm rot="8716295">
              <a:off x="7360294" y="461013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5" name="Forme libre : forme 1024">
              <a:extLst>
                <a:ext uri="{FF2B5EF4-FFF2-40B4-BE49-F238E27FC236}">
                  <a16:creationId xmlns:a16="http://schemas.microsoft.com/office/drawing/2014/main" id="{AFF9EBE2-B2A3-496B-B841-3E5E6836F7FA}"/>
                </a:ext>
              </a:extLst>
            </p:cNvPr>
            <p:cNvSpPr/>
            <p:nvPr/>
          </p:nvSpPr>
          <p:spPr>
            <a:xfrm rot="8716295">
              <a:off x="7537746" y="445089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6" name="Forme libre : forme 1025">
              <a:extLst>
                <a:ext uri="{FF2B5EF4-FFF2-40B4-BE49-F238E27FC236}">
                  <a16:creationId xmlns:a16="http://schemas.microsoft.com/office/drawing/2014/main" id="{CD875011-73F3-4769-8BC4-991165C05F53}"/>
                </a:ext>
              </a:extLst>
            </p:cNvPr>
            <p:cNvSpPr/>
            <p:nvPr/>
          </p:nvSpPr>
          <p:spPr>
            <a:xfrm rot="8716295">
              <a:off x="6548281" y="351728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7" name="Forme libre : forme 1026">
              <a:extLst>
                <a:ext uri="{FF2B5EF4-FFF2-40B4-BE49-F238E27FC236}">
                  <a16:creationId xmlns:a16="http://schemas.microsoft.com/office/drawing/2014/main" id="{0615D39A-2E64-416D-A795-F3C0FDD2FE87}"/>
                </a:ext>
              </a:extLst>
            </p:cNvPr>
            <p:cNvSpPr/>
            <p:nvPr/>
          </p:nvSpPr>
          <p:spPr>
            <a:xfrm rot="8716295">
              <a:off x="6637673" y="354652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8" name="Forme libre : forme 1027">
              <a:extLst>
                <a:ext uri="{FF2B5EF4-FFF2-40B4-BE49-F238E27FC236}">
                  <a16:creationId xmlns:a16="http://schemas.microsoft.com/office/drawing/2014/main" id="{060FADA5-0D30-41B8-8660-35EDACE6E0AC}"/>
                </a:ext>
              </a:extLst>
            </p:cNvPr>
            <p:cNvSpPr/>
            <p:nvPr/>
          </p:nvSpPr>
          <p:spPr>
            <a:xfrm rot="8716295">
              <a:off x="6592823" y="3460249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9" name="Forme libre : forme 1028">
              <a:extLst>
                <a:ext uri="{FF2B5EF4-FFF2-40B4-BE49-F238E27FC236}">
                  <a16:creationId xmlns:a16="http://schemas.microsoft.com/office/drawing/2014/main" id="{3DD05617-C2D8-48AB-B506-5C707825A77C}"/>
                </a:ext>
              </a:extLst>
            </p:cNvPr>
            <p:cNvSpPr/>
            <p:nvPr/>
          </p:nvSpPr>
          <p:spPr>
            <a:xfrm rot="8716295">
              <a:off x="6436047" y="36058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0" name="Forme libre : forme 1029">
              <a:extLst>
                <a:ext uri="{FF2B5EF4-FFF2-40B4-BE49-F238E27FC236}">
                  <a16:creationId xmlns:a16="http://schemas.microsoft.com/office/drawing/2014/main" id="{026125EF-4515-4513-B863-6BC5A9CD34C8}"/>
                </a:ext>
              </a:extLst>
            </p:cNvPr>
            <p:cNvSpPr/>
            <p:nvPr/>
          </p:nvSpPr>
          <p:spPr>
            <a:xfrm rot="8716295">
              <a:off x="6311144" y="339715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1" name="Forme libre : forme 1030">
              <a:extLst>
                <a:ext uri="{FF2B5EF4-FFF2-40B4-BE49-F238E27FC236}">
                  <a16:creationId xmlns:a16="http://schemas.microsoft.com/office/drawing/2014/main" id="{C0D350EA-C4E6-472F-843B-5DB93BCF6803}"/>
                </a:ext>
              </a:extLst>
            </p:cNvPr>
            <p:cNvSpPr/>
            <p:nvPr/>
          </p:nvSpPr>
          <p:spPr>
            <a:xfrm rot="8716295">
              <a:off x="6299092" y="325837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2" name="Forme libre : forme 1031">
              <a:extLst>
                <a:ext uri="{FF2B5EF4-FFF2-40B4-BE49-F238E27FC236}">
                  <a16:creationId xmlns:a16="http://schemas.microsoft.com/office/drawing/2014/main" id="{06276D8F-369A-4565-8BB4-AD96B8E4E096}"/>
                </a:ext>
              </a:extLst>
            </p:cNvPr>
            <p:cNvSpPr/>
            <p:nvPr/>
          </p:nvSpPr>
          <p:spPr>
            <a:xfrm rot="8716295">
              <a:off x="6526225" y="3646783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3" name="Forme libre : forme 1032">
              <a:extLst>
                <a:ext uri="{FF2B5EF4-FFF2-40B4-BE49-F238E27FC236}">
                  <a16:creationId xmlns:a16="http://schemas.microsoft.com/office/drawing/2014/main" id="{A7CF24B1-51CC-4AB6-89E7-65ED0BB80D36}"/>
                </a:ext>
              </a:extLst>
            </p:cNvPr>
            <p:cNvSpPr/>
            <p:nvPr/>
          </p:nvSpPr>
          <p:spPr>
            <a:xfrm rot="8716295">
              <a:off x="6837380" y="326713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4" name="Forme libre : forme 1033">
              <a:extLst>
                <a:ext uri="{FF2B5EF4-FFF2-40B4-BE49-F238E27FC236}">
                  <a16:creationId xmlns:a16="http://schemas.microsoft.com/office/drawing/2014/main" id="{5142FB3F-C994-4469-A365-E36070ACE548}"/>
                </a:ext>
              </a:extLst>
            </p:cNvPr>
            <p:cNvSpPr/>
            <p:nvPr/>
          </p:nvSpPr>
          <p:spPr>
            <a:xfrm rot="8716295">
              <a:off x="6926772" y="329637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5" name="Forme libre : forme 1034">
              <a:extLst>
                <a:ext uri="{FF2B5EF4-FFF2-40B4-BE49-F238E27FC236}">
                  <a16:creationId xmlns:a16="http://schemas.microsoft.com/office/drawing/2014/main" id="{5CF22B05-C83E-4374-AB2F-AF795A582E04}"/>
                </a:ext>
              </a:extLst>
            </p:cNvPr>
            <p:cNvSpPr/>
            <p:nvPr/>
          </p:nvSpPr>
          <p:spPr>
            <a:xfrm rot="8716295">
              <a:off x="6725146" y="335567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6" name="Forme libre : forme 1035">
              <a:extLst>
                <a:ext uri="{FF2B5EF4-FFF2-40B4-BE49-F238E27FC236}">
                  <a16:creationId xmlns:a16="http://schemas.microsoft.com/office/drawing/2014/main" id="{EFD9D455-CD8C-48E5-9EA7-45DB179447D5}"/>
                </a:ext>
              </a:extLst>
            </p:cNvPr>
            <p:cNvSpPr/>
            <p:nvPr/>
          </p:nvSpPr>
          <p:spPr>
            <a:xfrm rot="8716295">
              <a:off x="6600244" y="314700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7" name="Forme libre : forme 1036">
              <a:extLst>
                <a:ext uri="{FF2B5EF4-FFF2-40B4-BE49-F238E27FC236}">
                  <a16:creationId xmlns:a16="http://schemas.microsoft.com/office/drawing/2014/main" id="{35A86230-3679-4051-8A1E-60A8E79938A2}"/>
                </a:ext>
              </a:extLst>
            </p:cNvPr>
            <p:cNvSpPr/>
            <p:nvPr/>
          </p:nvSpPr>
          <p:spPr>
            <a:xfrm rot="8716295">
              <a:off x="6815324" y="3396631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8" name="Forme libre : forme 1037">
              <a:extLst>
                <a:ext uri="{FF2B5EF4-FFF2-40B4-BE49-F238E27FC236}">
                  <a16:creationId xmlns:a16="http://schemas.microsoft.com/office/drawing/2014/main" id="{C9206E0E-FAAE-4EE0-A8C9-53785CD31A1D}"/>
                </a:ext>
              </a:extLst>
            </p:cNvPr>
            <p:cNvSpPr/>
            <p:nvPr/>
          </p:nvSpPr>
          <p:spPr>
            <a:xfrm rot="8716295">
              <a:off x="6573873" y="324703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9" name="Forme libre : forme 1038">
              <a:extLst>
                <a:ext uri="{FF2B5EF4-FFF2-40B4-BE49-F238E27FC236}">
                  <a16:creationId xmlns:a16="http://schemas.microsoft.com/office/drawing/2014/main" id="{249F3AA5-95A4-45B1-849C-670C08A25C3F}"/>
                </a:ext>
              </a:extLst>
            </p:cNvPr>
            <p:cNvSpPr/>
            <p:nvPr/>
          </p:nvSpPr>
          <p:spPr>
            <a:xfrm rot="7484129">
              <a:off x="6920255" y="358798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0" name="Forme libre : forme 1039">
              <a:extLst>
                <a:ext uri="{FF2B5EF4-FFF2-40B4-BE49-F238E27FC236}">
                  <a16:creationId xmlns:a16="http://schemas.microsoft.com/office/drawing/2014/main" id="{1087B106-1BAC-4BF5-B094-3EE0A3C2971B}"/>
                </a:ext>
              </a:extLst>
            </p:cNvPr>
            <p:cNvSpPr/>
            <p:nvPr/>
          </p:nvSpPr>
          <p:spPr>
            <a:xfrm rot="13089394">
              <a:off x="7025075" y="355451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1" name="Forme libre : forme 1040">
              <a:extLst>
                <a:ext uri="{FF2B5EF4-FFF2-40B4-BE49-F238E27FC236}">
                  <a16:creationId xmlns:a16="http://schemas.microsoft.com/office/drawing/2014/main" id="{C7700747-2F7A-44F2-A882-B7E2217A3398}"/>
                </a:ext>
              </a:extLst>
            </p:cNvPr>
            <p:cNvSpPr/>
            <p:nvPr/>
          </p:nvSpPr>
          <p:spPr>
            <a:xfrm rot="8716295">
              <a:off x="7210660" y="336283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2" name="Forme libre : forme 1041">
              <a:extLst>
                <a:ext uri="{FF2B5EF4-FFF2-40B4-BE49-F238E27FC236}">
                  <a16:creationId xmlns:a16="http://schemas.microsoft.com/office/drawing/2014/main" id="{36A96034-BC43-4282-A4BC-768E81ED9FC4}"/>
                </a:ext>
              </a:extLst>
            </p:cNvPr>
            <p:cNvSpPr/>
            <p:nvPr/>
          </p:nvSpPr>
          <p:spPr>
            <a:xfrm rot="8716295">
              <a:off x="7158855" y="325924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3" name="Forme libre : forme 1042">
              <a:extLst>
                <a:ext uri="{FF2B5EF4-FFF2-40B4-BE49-F238E27FC236}">
                  <a16:creationId xmlns:a16="http://schemas.microsoft.com/office/drawing/2014/main" id="{177D614D-3D8E-4B72-A402-6E4739EFD98F}"/>
                </a:ext>
              </a:extLst>
            </p:cNvPr>
            <p:cNvSpPr/>
            <p:nvPr/>
          </p:nvSpPr>
          <p:spPr>
            <a:xfrm rot="8716295">
              <a:off x="6915609" y="328946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4" name="Forme libre : forme 1043">
              <a:extLst>
                <a:ext uri="{FF2B5EF4-FFF2-40B4-BE49-F238E27FC236}">
                  <a16:creationId xmlns:a16="http://schemas.microsoft.com/office/drawing/2014/main" id="{F17CE4CA-0138-428C-BC4F-6826A011B769}"/>
                </a:ext>
              </a:extLst>
            </p:cNvPr>
            <p:cNvSpPr/>
            <p:nvPr/>
          </p:nvSpPr>
          <p:spPr>
            <a:xfrm rot="8716295">
              <a:off x="7093061" y="313022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5" name="Forme libre : forme 1044">
              <a:extLst>
                <a:ext uri="{FF2B5EF4-FFF2-40B4-BE49-F238E27FC236}">
                  <a16:creationId xmlns:a16="http://schemas.microsoft.com/office/drawing/2014/main" id="{4B720940-ABA3-4C23-81DC-0B6806C0661A}"/>
                </a:ext>
              </a:extLst>
            </p:cNvPr>
            <p:cNvSpPr/>
            <p:nvPr/>
          </p:nvSpPr>
          <p:spPr>
            <a:xfrm rot="8716295">
              <a:off x="6771448" y="417698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6" name="Forme libre : forme 1045">
              <a:extLst>
                <a:ext uri="{FF2B5EF4-FFF2-40B4-BE49-F238E27FC236}">
                  <a16:creationId xmlns:a16="http://schemas.microsoft.com/office/drawing/2014/main" id="{EC0DCD9D-823B-45DB-93A0-478BA4EF5F65}"/>
                </a:ext>
              </a:extLst>
            </p:cNvPr>
            <p:cNvSpPr/>
            <p:nvPr/>
          </p:nvSpPr>
          <p:spPr>
            <a:xfrm rot="8716295">
              <a:off x="6860840" y="420622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7" name="Forme libre : forme 1046">
              <a:extLst>
                <a:ext uri="{FF2B5EF4-FFF2-40B4-BE49-F238E27FC236}">
                  <a16:creationId xmlns:a16="http://schemas.microsoft.com/office/drawing/2014/main" id="{6714C14A-42A3-4158-A04D-39890F5FFDD6}"/>
                </a:ext>
              </a:extLst>
            </p:cNvPr>
            <p:cNvSpPr/>
            <p:nvPr/>
          </p:nvSpPr>
          <p:spPr>
            <a:xfrm rot="8716295">
              <a:off x="6815990" y="4119948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8" name="Forme libre : forme 1047">
              <a:extLst>
                <a:ext uri="{FF2B5EF4-FFF2-40B4-BE49-F238E27FC236}">
                  <a16:creationId xmlns:a16="http://schemas.microsoft.com/office/drawing/2014/main" id="{008B8287-375F-405E-8DE9-E2164C398F81}"/>
                </a:ext>
              </a:extLst>
            </p:cNvPr>
            <p:cNvSpPr/>
            <p:nvPr/>
          </p:nvSpPr>
          <p:spPr>
            <a:xfrm rot="8716295">
              <a:off x="6659214" y="42655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9" name="Forme libre : forme 1048">
              <a:extLst>
                <a:ext uri="{FF2B5EF4-FFF2-40B4-BE49-F238E27FC236}">
                  <a16:creationId xmlns:a16="http://schemas.microsoft.com/office/drawing/2014/main" id="{F04C8B7C-4B10-4B6E-8BA5-DDF0AF373E5C}"/>
                </a:ext>
              </a:extLst>
            </p:cNvPr>
            <p:cNvSpPr/>
            <p:nvPr/>
          </p:nvSpPr>
          <p:spPr>
            <a:xfrm rot="8716295">
              <a:off x="6534311" y="405685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0" name="Forme libre : forme 1049">
              <a:extLst>
                <a:ext uri="{FF2B5EF4-FFF2-40B4-BE49-F238E27FC236}">
                  <a16:creationId xmlns:a16="http://schemas.microsoft.com/office/drawing/2014/main" id="{5F188DCA-0384-43CB-8EBE-CC2C38A75C79}"/>
                </a:ext>
              </a:extLst>
            </p:cNvPr>
            <p:cNvSpPr/>
            <p:nvPr/>
          </p:nvSpPr>
          <p:spPr>
            <a:xfrm rot="8716295">
              <a:off x="6522259" y="3918077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1" name="Forme libre : forme 1050">
              <a:extLst>
                <a:ext uri="{FF2B5EF4-FFF2-40B4-BE49-F238E27FC236}">
                  <a16:creationId xmlns:a16="http://schemas.microsoft.com/office/drawing/2014/main" id="{399AA06D-1BD2-4996-9067-7FE24F4CC47C}"/>
                </a:ext>
              </a:extLst>
            </p:cNvPr>
            <p:cNvSpPr/>
            <p:nvPr/>
          </p:nvSpPr>
          <p:spPr>
            <a:xfrm rot="8716295">
              <a:off x="6749392" y="4306482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2" name="Forme libre : forme 1051">
              <a:extLst>
                <a:ext uri="{FF2B5EF4-FFF2-40B4-BE49-F238E27FC236}">
                  <a16:creationId xmlns:a16="http://schemas.microsoft.com/office/drawing/2014/main" id="{FCA379A2-63C0-43B0-AA38-EDFC8609AAA3}"/>
                </a:ext>
              </a:extLst>
            </p:cNvPr>
            <p:cNvSpPr/>
            <p:nvPr/>
          </p:nvSpPr>
          <p:spPr>
            <a:xfrm rot="8716295">
              <a:off x="7060547" y="392683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3" name="Forme libre : forme 1052">
              <a:extLst>
                <a:ext uri="{FF2B5EF4-FFF2-40B4-BE49-F238E27FC236}">
                  <a16:creationId xmlns:a16="http://schemas.microsoft.com/office/drawing/2014/main" id="{F8817E64-249C-4E98-998C-64B73B74C552}"/>
                </a:ext>
              </a:extLst>
            </p:cNvPr>
            <p:cNvSpPr/>
            <p:nvPr/>
          </p:nvSpPr>
          <p:spPr>
            <a:xfrm rot="8716295">
              <a:off x="7149939" y="395607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4" name="Forme libre : forme 1053">
              <a:extLst>
                <a:ext uri="{FF2B5EF4-FFF2-40B4-BE49-F238E27FC236}">
                  <a16:creationId xmlns:a16="http://schemas.microsoft.com/office/drawing/2014/main" id="{D2A1BAFB-4B8B-4354-AED5-B2DA7C911BD1}"/>
                </a:ext>
              </a:extLst>
            </p:cNvPr>
            <p:cNvSpPr/>
            <p:nvPr/>
          </p:nvSpPr>
          <p:spPr>
            <a:xfrm rot="8716295">
              <a:off x="6948313" y="401537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5" name="Forme libre : forme 1054">
              <a:extLst>
                <a:ext uri="{FF2B5EF4-FFF2-40B4-BE49-F238E27FC236}">
                  <a16:creationId xmlns:a16="http://schemas.microsoft.com/office/drawing/2014/main" id="{2D83A4CC-A29C-4FE2-BA50-FF0D6749F766}"/>
                </a:ext>
              </a:extLst>
            </p:cNvPr>
            <p:cNvSpPr/>
            <p:nvPr/>
          </p:nvSpPr>
          <p:spPr>
            <a:xfrm rot="8716295">
              <a:off x="6823411" y="380670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6" name="Forme libre : forme 1055">
              <a:extLst>
                <a:ext uri="{FF2B5EF4-FFF2-40B4-BE49-F238E27FC236}">
                  <a16:creationId xmlns:a16="http://schemas.microsoft.com/office/drawing/2014/main" id="{4A00E427-6E5D-4D47-9A38-C57E5463133B}"/>
                </a:ext>
              </a:extLst>
            </p:cNvPr>
            <p:cNvSpPr/>
            <p:nvPr/>
          </p:nvSpPr>
          <p:spPr>
            <a:xfrm rot="8716295">
              <a:off x="7038491" y="4056330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7" name="Forme libre : forme 1056">
              <a:extLst>
                <a:ext uri="{FF2B5EF4-FFF2-40B4-BE49-F238E27FC236}">
                  <a16:creationId xmlns:a16="http://schemas.microsoft.com/office/drawing/2014/main" id="{D1E998CB-4164-4F0A-AE45-D5940B3F5B03}"/>
                </a:ext>
              </a:extLst>
            </p:cNvPr>
            <p:cNvSpPr/>
            <p:nvPr/>
          </p:nvSpPr>
          <p:spPr>
            <a:xfrm rot="8716295">
              <a:off x="6797040" y="3906730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8" name="Forme libre : forme 1057">
              <a:extLst>
                <a:ext uri="{FF2B5EF4-FFF2-40B4-BE49-F238E27FC236}">
                  <a16:creationId xmlns:a16="http://schemas.microsoft.com/office/drawing/2014/main" id="{E95D9A03-19D9-41CF-AE73-1CCF51881A6C}"/>
                </a:ext>
              </a:extLst>
            </p:cNvPr>
            <p:cNvSpPr/>
            <p:nvPr/>
          </p:nvSpPr>
          <p:spPr>
            <a:xfrm rot="7484129">
              <a:off x="7143422" y="424768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9" name="Forme libre : forme 1058">
              <a:extLst>
                <a:ext uri="{FF2B5EF4-FFF2-40B4-BE49-F238E27FC236}">
                  <a16:creationId xmlns:a16="http://schemas.microsoft.com/office/drawing/2014/main" id="{16E31431-A176-4757-BB37-61FDFC58B5A0}"/>
                </a:ext>
              </a:extLst>
            </p:cNvPr>
            <p:cNvSpPr/>
            <p:nvPr/>
          </p:nvSpPr>
          <p:spPr>
            <a:xfrm rot="13089394">
              <a:off x="7248242" y="4214215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0" name="Forme libre : forme 1059">
              <a:extLst>
                <a:ext uri="{FF2B5EF4-FFF2-40B4-BE49-F238E27FC236}">
                  <a16:creationId xmlns:a16="http://schemas.microsoft.com/office/drawing/2014/main" id="{0E403317-EDA0-44E5-B8CC-1127CBB20F33}"/>
                </a:ext>
              </a:extLst>
            </p:cNvPr>
            <p:cNvSpPr/>
            <p:nvPr/>
          </p:nvSpPr>
          <p:spPr>
            <a:xfrm rot="8716295">
              <a:off x="7433827" y="4022534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1" name="Forme libre : forme 1060">
              <a:extLst>
                <a:ext uri="{FF2B5EF4-FFF2-40B4-BE49-F238E27FC236}">
                  <a16:creationId xmlns:a16="http://schemas.microsoft.com/office/drawing/2014/main" id="{AB67AE90-EF3D-41EE-9989-687C2404CA33}"/>
                </a:ext>
              </a:extLst>
            </p:cNvPr>
            <p:cNvSpPr/>
            <p:nvPr/>
          </p:nvSpPr>
          <p:spPr>
            <a:xfrm rot="8716295">
              <a:off x="7382022" y="391894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2" name="Forme libre : forme 1061">
              <a:extLst>
                <a:ext uri="{FF2B5EF4-FFF2-40B4-BE49-F238E27FC236}">
                  <a16:creationId xmlns:a16="http://schemas.microsoft.com/office/drawing/2014/main" id="{30ED97EE-1D2B-4407-8DB5-1B4E940C148E}"/>
                </a:ext>
              </a:extLst>
            </p:cNvPr>
            <p:cNvSpPr/>
            <p:nvPr/>
          </p:nvSpPr>
          <p:spPr>
            <a:xfrm rot="8716295">
              <a:off x="7138776" y="394916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3" name="Forme libre : forme 1062">
              <a:extLst>
                <a:ext uri="{FF2B5EF4-FFF2-40B4-BE49-F238E27FC236}">
                  <a16:creationId xmlns:a16="http://schemas.microsoft.com/office/drawing/2014/main" id="{095663CC-60E0-4062-92DC-F23C00E2E6AD}"/>
                </a:ext>
              </a:extLst>
            </p:cNvPr>
            <p:cNvSpPr/>
            <p:nvPr/>
          </p:nvSpPr>
          <p:spPr>
            <a:xfrm rot="8716295">
              <a:off x="7316228" y="378992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4" name="Forme libre : forme 1063">
              <a:extLst>
                <a:ext uri="{FF2B5EF4-FFF2-40B4-BE49-F238E27FC236}">
                  <a16:creationId xmlns:a16="http://schemas.microsoft.com/office/drawing/2014/main" id="{AE6FCD97-9FAA-4459-B8EC-324DA8C84CF3}"/>
                </a:ext>
              </a:extLst>
            </p:cNvPr>
            <p:cNvSpPr/>
            <p:nvPr/>
          </p:nvSpPr>
          <p:spPr>
            <a:xfrm rot="8716295">
              <a:off x="5923122" y="1654505"/>
              <a:ext cx="139422" cy="104157"/>
            </a:xfrm>
            <a:custGeom>
              <a:avLst/>
              <a:gdLst>
                <a:gd name="connsiteX0" fmla="*/ 0 w 139422"/>
                <a:gd name="connsiteY0" fmla="*/ 50123 h 104157"/>
                <a:gd name="connsiteX1" fmla="*/ 0 w 139422"/>
                <a:gd name="connsiteY1" fmla="*/ 0 h 104157"/>
                <a:gd name="connsiteX2" fmla="*/ 85209 w 139422"/>
                <a:gd name="connsiteY2" fmla="*/ 0 h 104157"/>
                <a:gd name="connsiteX3" fmla="*/ 138458 w 139422"/>
                <a:gd name="connsiteY3" fmla="*/ 27874 h 104157"/>
                <a:gd name="connsiteX4" fmla="*/ 139422 w 139422"/>
                <a:gd name="connsiteY4" fmla="*/ 33655 h 104157"/>
                <a:gd name="connsiteX5" fmla="*/ 81108 w 139422"/>
                <a:gd name="connsiteY5" fmla="*/ 104157 h 104157"/>
                <a:gd name="connsiteX6" fmla="*/ 81109 w 139422"/>
                <a:gd name="connsiteY6" fmla="*/ 69717 h 104157"/>
                <a:gd name="connsiteX7" fmla="*/ 81108 w 139422"/>
                <a:gd name="connsiteY7" fmla="*/ 65615 h 104157"/>
                <a:gd name="connsiteX8" fmla="*/ 60604 w 139422"/>
                <a:gd name="connsiteY8" fmla="*/ 50123 h 104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9422" h="104157">
                  <a:moveTo>
                    <a:pt x="0" y="50123"/>
                  </a:moveTo>
                  <a:lnTo>
                    <a:pt x="0" y="0"/>
                  </a:lnTo>
                  <a:lnTo>
                    <a:pt x="85209" y="0"/>
                  </a:lnTo>
                  <a:cubicBezTo>
                    <a:pt x="112891" y="0"/>
                    <a:pt x="131089" y="8971"/>
                    <a:pt x="138458" y="27874"/>
                  </a:cubicBezTo>
                  <a:lnTo>
                    <a:pt x="139422" y="33655"/>
                  </a:lnTo>
                  <a:lnTo>
                    <a:pt x="81108" y="104157"/>
                  </a:lnTo>
                  <a:lnTo>
                    <a:pt x="81109" y="69717"/>
                  </a:lnTo>
                  <a:cubicBezTo>
                    <a:pt x="81108" y="68349"/>
                    <a:pt x="81108" y="66983"/>
                    <a:pt x="81108" y="65615"/>
                  </a:cubicBezTo>
                  <a:cubicBezTo>
                    <a:pt x="79741" y="55591"/>
                    <a:pt x="70628" y="48756"/>
                    <a:pt x="60604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5" name="Forme libre : forme 1064">
              <a:extLst>
                <a:ext uri="{FF2B5EF4-FFF2-40B4-BE49-F238E27FC236}">
                  <a16:creationId xmlns:a16="http://schemas.microsoft.com/office/drawing/2014/main" id="{3E102D85-2676-42AD-ABAD-44897C15C1BF}"/>
                </a:ext>
              </a:extLst>
            </p:cNvPr>
            <p:cNvSpPr/>
            <p:nvPr/>
          </p:nvSpPr>
          <p:spPr>
            <a:xfrm rot="8716295">
              <a:off x="5974318" y="15674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6" name="Forme libre : forme 1065">
              <a:extLst>
                <a:ext uri="{FF2B5EF4-FFF2-40B4-BE49-F238E27FC236}">
                  <a16:creationId xmlns:a16="http://schemas.microsoft.com/office/drawing/2014/main" id="{D500F2F4-E9E6-4CF6-AFD9-43967F4858E6}"/>
                </a:ext>
              </a:extLst>
            </p:cNvPr>
            <p:cNvSpPr/>
            <p:nvPr/>
          </p:nvSpPr>
          <p:spPr>
            <a:xfrm rot="8716295">
              <a:off x="5925344" y="1481103"/>
              <a:ext cx="190923" cy="138066"/>
            </a:xfrm>
            <a:custGeom>
              <a:avLst/>
              <a:gdLst>
                <a:gd name="connsiteX0" fmla="*/ 5923 w 190923"/>
                <a:gd name="connsiteY0" fmla="*/ 138066 h 138066"/>
                <a:gd name="connsiteX1" fmla="*/ 0 w 190923"/>
                <a:gd name="connsiteY1" fmla="*/ 129864 h 138066"/>
                <a:gd name="connsiteX2" fmla="*/ 107993 w 190923"/>
                <a:gd name="connsiteY2" fmla="*/ 28251 h 138066"/>
                <a:gd name="connsiteX3" fmla="*/ 162672 w 190923"/>
                <a:gd name="connsiteY3" fmla="*/ 0 h 138066"/>
                <a:gd name="connsiteX4" fmla="*/ 190923 w 190923"/>
                <a:gd name="connsiteY4" fmla="*/ 33719 h 138066"/>
                <a:gd name="connsiteX5" fmla="*/ 184633 w 190923"/>
                <a:gd name="connsiteY5" fmla="*/ 49986 h 138066"/>
                <a:gd name="connsiteX6" fmla="*/ 176335 w 190923"/>
                <a:gd name="connsiteY6" fmla="*/ 60018 h 138066"/>
                <a:gd name="connsiteX7" fmla="*/ 164495 w 190923"/>
                <a:gd name="connsiteY7" fmla="*/ 69261 h 138066"/>
                <a:gd name="connsiteX8" fmla="*/ 164950 w 190923"/>
                <a:gd name="connsiteY8" fmla="*/ 69261 h 138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0923" h="138066">
                  <a:moveTo>
                    <a:pt x="5923" y="138066"/>
                  </a:moveTo>
                  <a:lnTo>
                    <a:pt x="0" y="129864"/>
                  </a:lnTo>
                  <a:lnTo>
                    <a:pt x="107993" y="28251"/>
                  </a:lnTo>
                  <a:cubicBezTo>
                    <a:pt x="121663" y="12303"/>
                    <a:pt x="141256" y="2279"/>
                    <a:pt x="162672" y="0"/>
                  </a:cubicBezTo>
                  <a:cubicBezTo>
                    <a:pt x="184544" y="0"/>
                    <a:pt x="190923" y="19138"/>
                    <a:pt x="190923" y="33719"/>
                  </a:cubicBezTo>
                  <a:lnTo>
                    <a:pt x="184633" y="49986"/>
                  </a:lnTo>
                  <a:lnTo>
                    <a:pt x="176335" y="60018"/>
                  </a:lnTo>
                  <a:lnTo>
                    <a:pt x="164495" y="69261"/>
                  </a:lnTo>
                  <a:lnTo>
                    <a:pt x="164950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7" name="Forme libre : forme 1066">
              <a:extLst>
                <a:ext uri="{FF2B5EF4-FFF2-40B4-BE49-F238E27FC236}">
                  <a16:creationId xmlns:a16="http://schemas.microsoft.com/office/drawing/2014/main" id="{0F62DC4A-077A-45F5-B182-21AD9369750E}"/>
                </a:ext>
              </a:extLst>
            </p:cNvPr>
            <p:cNvSpPr/>
            <p:nvPr/>
          </p:nvSpPr>
          <p:spPr>
            <a:xfrm rot="8716295">
              <a:off x="5906444" y="1804761"/>
              <a:ext cx="99498" cy="67958"/>
            </a:xfrm>
            <a:custGeom>
              <a:avLst/>
              <a:gdLst>
                <a:gd name="connsiteX0" fmla="*/ 43288 w 99498"/>
                <a:gd name="connsiteY0" fmla="*/ 67958 h 67958"/>
                <a:gd name="connsiteX1" fmla="*/ 43288 w 99498"/>
                <a:gd name="connsiteY1" fmla="*/ 16317 h 67958"/>
                <a:gd name="connsiteX2" fmla="*/ 0 w 99498"/>
                <a:gd name="connsiteY2" fmla="*/ 16317 h 67958"/>
                <a:gd name="connsiteX3" fmla="*/ 0 w 99498"/>
                <a:gd name="connsiteY3" fmla="*/ 2192 h 67958"/>
                <a:gd name="connsiteX4" fmla="*/ 99498 w 99498"/>
                <a:gd name="connsiteY4" fmla="*/ 0 h 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98" h="67958">
                  <a:moveTo>
                    <a:pt x="43288" y="67958"/>
                  </a:moveTo>
                  <a:lnTo>
                    <a:pt x="43288" y="16317"/>
                  </a:lnTo>
                  <a:lnTo>
                    <a:pt x="0" y="16317"/>
                  </a:lnTo>
                  <a:lnTo>
                    <a:pt x="0" y="2192"/>
                  </a:lnTo>
                  <a:lnTo>
                    <a:pt x="9949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8" name="Forme libre : forme 1067">
              <a:extLst>
                <a:ext uri="{FF2B5EF4-FFF2-40B4-BE49-F238E27FC236}">
                  <a16:creationId xmlns:a16="http://schemas.microsoft.com/office/drawing/2014/main" id="{559D0A60-2AFB-4EF8-A10C-4FEC23F97476}"/>
                </a:ext>
              </a:extLst>
            </p:cNvPr>
            <p:cNvSpPr/>
            <p:nvPr/>
          </p:nvSpPr>
          <p:spPr>
            <a:xfrm rot="8716295">
              <a:off x="6174025" y="128806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9" name="Forme libre : forme 1068">
              <a:extLst>
                <a:ext uri="{FF2B5EF4-FFF2-40B4-BE49-F238E27FC236}">
                  <a16:creationId xmlns:a16="http://schemas.microsoft.com/office/drawing/2014/main" id="{73861CC2-64F0-42DB-A7B3-CC13005B7BBD}"/>
                </a:ext>
              </a:extLst>
            </p:cNvPr>
            <p:cNvSpPr/>
            <p:nvPr/>
          </p:nvSpPr>
          <p:spPr>
            <a:xfrm rot="8716295">
              <a:off x="6263417" y="131730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0" name="Forme libre : forme 1069">
              <a:extLst>
                <a:ext uri="{FF2B5EF4-FFF2-40B4-BE49-F238E27FC236}">
                  <a16:creationId xmlns:a16="http://schemas.microsoft.com/office/drawing/2014/main" id="{0D1A1D48-D74E-427F-A329-7E9BE8568EC4}"/>
                </a:ext>
              </a:extLst>
            </p:cNvPr>
            <p:cNvSpPr/>
            <p:nvPr/>
          </p:nvSpPr>
          <p:spPr>
            <a:xfrm rot="8716295">
              <a:off x="6061791" y="137661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1" name="Forme libre : forme 1070">
              <a:extLst>
                <a:ext uri="{FF2B5EF4-FFF2-40B4-BE49-F238E27FC236}">
                  <a16:creationId xmlns:a16="http://schemas.microsoft.com/office/drawing/2014/main" id="{DD8B604F-D83A-432D-A7CC-91D01710CD5A}"/>
                </a:ext>
              </a:extLst>
            </p:cNvPr>
            <p:cNvSpPr/>
            <p:nvPr/>
          </p:nvSpPr>
          <p:spPr>
            <a:xfrm rot="8716295">
              <a:off x="5934512" y="1174677"/>
              <a:ext cx="203847" cy="188381"/>
            </a:xfrm>
            <a:custGeom>
              <a:avLst/>
              <a:gdLst>
                <a:gd name="connsiteX0" fmla="*/ 86683 w 203847"/>
                <a:gd name="connsiteY0" fmla="*/ 188381 h 188381"/>
                <a:gd name="connsiteX1" fmla="*/ 47847 w 203847"/>
                <a:gd name="connsiteY1" fmla="*/ 116128 h 188381"/>
                <a:gd name="connsiteX2" fmla="*/ 69777 w 203847"/>
                <a:gd name="connsiteY2" fmla="*/ 55323 h 188381"/>
                <a:gd name="connsiteX3" fmla="*/ 0 w 203847"/>
                <a:gd name="connsiteY3" fmla="*/ 55323 h 188381"/>
                <a:gd name="connsiteX4" fmla="*/ 0 w 203847"/>
                <a:gd name="connsiteY4" fmla="*/ 0 h 188381"/>
                <a:gd name="connsiteX5" fmla="*/ 203847 w 203847"/>
                <a:gd name="connsiteY5" fmla="*/ 0 h 188381"/>
                <a:gd name="connsiteX6" fmla="*/ 203847 w 203847"/>
                <a:gd name="connsiteY6" fmla="*/ 46726 h 188381"/>
                <a:gd name="connsiteX7" fmla="*/ 196736 w 203847"/>
                <a:gd name="connsiteY7" fmla="*/ 55323 h 188381"/>
                <a:gd name="connsiteX8" fmla="*/ 139055 w 203847"/>
                <a:gd name="connsiteY8" fmla="*/ 55323 h 188381"/>
                <a:gd name="connsiteX9" fmla="*/ 97989 w 203847"/>
                <a:gd name="connsiteY9" fmla="*/ 174711 h 188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847" h="188381">
                  <a:moveTo>
                    <a:pt x="86683" y="188381"/>
                  </a:moveTo>
                  <a:lnTo>
                    <a:pt x="47847" y="116128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46726"/>
                  </a:lnTo>
                  <a:lnTo>
                    <a:pt x="196736" y="55323"/>
                  </a:lnTo>
                  <a:lnTo>
                    <a:pt x="139055" y="55323"/>
                  </a:lnTo>
                  <a:lnTo>
                    <a:pt x="97989" y="1747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2" name="Forme libre : forme 1071">
              <a:extLst>
                <a:ext uri="{FF2B5EF4-FFF2-40B4-BE49-F238E27FC236}">
                  <a16:creationId xmlns:a16="http://schemas.microsoft.com/office/drawing/2014/main" id="{B563983C-B171-4A7B-83F3-23BB992AF6EF}"/>
                </a:ext>
              </a:extLst>
            </p:cNvPr>
            <p:cNvSpPr/>
            <p:nvPr/>
          </p:nvSpPr>
          <p:spPr>
            <a:xfrm rot="8716295">
              <a:off x="6151969" y="141756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3" name="Forme libre : forme 1072">
              <a:extLst>
                <a:ext uri="{FF2B5EF4-FFF2-40B4-BE49-F238E27FC236}">
                  <a16:creationId xmlns:a16="http://schemas.microsoft.com/office/drawing/2014/main" id="{831AE182-FAC7-488F-900A-43002A409545}"/>
                </a:ext>
              </a:extLst>
            </p:cNvPr>
            <p:cNvSpPr/>
            <p:nvPr/>
          </p:nvSpPr>
          <p:spPr>
            <a:xfrm rot="7484129">
              <a:off x="6256900" y="160891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4" name="Forme libre : forme 1073">
              <a:extLst>
                <a:ext uri="{FF2B5EF4-FFF2-40B4-BE49-F238E27FC236}">
                  <a16:creationId xmlns:a16="http://schemas.microsoft.com/office/drawing/2014/main" id="{F6941A0F-F413-40E0-B377-19E50B2069BC}"/>
                </a:ext>
              </a:extLst>
            </p:cNvPr>
            <p:cNvSpPr/>
            <p:nvPr/>
          </p:nvSpPr>
          <p:spPr>
            <a:xfrm rot="13089394">
              <a:off x="6361720" y="1575447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5" name="Forme libre : forme 1074">
              <a:extLst>
                <a:ext uri="{FF2B5EF4-FFF2-40B4-BE49-F238E27FC236}">
                  <a16:creationId xmlns:a16="http://schemas.microsoft.com/office/drawing/2014/main" id="{72C44DD1-DEBE-446A-8992-2DDCAF098F91}"/>
                </a:ext>
              </a:extLst>
            </p:cNvPr>
            <p:cNvSpPr/>
            <p:nvPr/>
          </p:nvSpPr>
          <p:spPr>
            <a:xfrm rot="8716295">
              <a:off x="6547305" y="1383766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6" name="Forme libre : forme 1075">
              <a:extLst>
                <a:ext uri="{FF2B5EF4-FFF2-40B4-BE49-F238E27FC236}">
                  <a16:creationId xmlns:a16="http://schemas.microsoft.com/office/drawing/2014/main" id="{2C8F4F40-3004-4B87-BA24-3390EA6EECD4}"/>
                </a:ext>
              </a:extLst>
            </p:cNvPr>
            <p:cNvSpPr/>
            <p:nvPr/>
          </p:nvSpPr>
          <p:spPr>
            <a:xfrm rot="8716295">
              <a:off x="6495500" y="128017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7" name="Forme libre : forme 1076">
              <a:extLst>
                <a:ext uri="{FF2B5EF4-FFF2-40B4-BE49-F238E27FC236}">
                  <a16:creationId xmlns:a16="http://schemas.microsoft.com/office/drawing/2014/main" id="{719509D2-B221-462F-99BE-1A0215C63C3E}"/>
                </a:ext>
              </a:extLst>
            </p:cNvPr>
            <p:cNvSpPr/>
            <p:nvPr/>
          </p:nvSpPr>
          <p:spPr>
            <a:xfrm rot="8716295">
              <a:off x="6252254" y="131039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8" name="Forme libre : forme 1077">
              <a:extLst>
                <a:ext uri="{FF2B5EF4-FFF2-40B4-BE49-F238E27FC236}">
                  <a16:creationId xmlns:a16="http://schemas.microsoft.com/office/drawing/2014/main" id="{75A12CA5-EDD6-41EF-886B-F85DCFC06CE9}"/>
                </a:ext>
              </a:extLst>
            </p:cNvPr>
            <p:cNvSpPr/>
            <p:nvPr/>
          </p:nvSpPr>
          <p:spPr>
            <a:xfrm rot="8716295">
              <a:off x="6429706" y="115115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9" name="Forme libre : forme 1078">
              <a:extLst>
                <a:ext uri="{FF2B5EF4-FFF2-40B4-BE49-F238E27FC236}">
                  <a16:creationId xmlns:a16="http://schemas.microsoft.com/office/drawing/2014/main" id="{AEA4E9A6-FD47-4377-8599-06FE127731A3}"/>
                </a:ext>
              </a:extLst>
            </p:cNvPr>
            <p:cNvSpPr/>
            <p:nvPr/>
          </p:nvSpPr>
          <p:spPr>
            <a:xfrm rot="8716295">
              <a:off x="5983723" y="1040028"/>
              <a:ext cx="68069" cy="44199"/>
            </a:xfrm>
            <a:custGeom>
              <a:avLst/>
              <a:gdLst>
                <a:gd name="connsiteX0" fmla="*/ 0 w 68069"/>
                <a:gd name="connsiteY0" fmla="*/ 44199 h 44199"/>
                <a:gd name="connsiteX1" fmla="*/ 0 w 68069"/>
                <a:gd name="connsiteY1" fmla="*/ 0 h 44199"/>
                <a:gd name="connsiteX2" fmla="*/ 68069 w 68069"/>
                <a:gd name="connsiteY2" fmla="*/ 0 h 44199"/>
                <a:gd name="connsiteX3" fmla="*/ 31511 w 68069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069" h="44199">
                  <a:moveTo>
                    <a:pt x="0" y="44199"/>
                  </a:moveTo>
                  <a:lnTo>
                    <a:pt x="0" y="0"/>
                  </a:lnTo>
                  <a:lnTo>
                    <a:pt x="68069" y="0"/>
                  </a:lnTo>
                  <a:lnTo>
                    <a:pt x="31511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0" name="Forme libre : forme 1079">
              <a:extLst>
                <a:ext uri="{FF2B5EF4-FFF2-40B4-BE49-F238E27FC236}">
                  <a16:creationId xmlns:a16="http://schemas.microsoft.com/office/drawing/2014/main" id="{E1F987B1-1B94-478B-A58C-711372161096}"/>
                </a:ext>
              </a:extLst>
            </p:cNvPr>
            <p:cNvSpPr/>
            <p:nvPr/>
          </p:nvSpPr>
          <p:spPr>
            <a:xfrm rot="8716295">
              <a:off x="5998891" y="759603"/>
              <a:ext cx="134260" cy="86132"/>
            </a:xfrm>
            <a:custGeom>
              <a:avLst/>
              <a:gdLst>
                <a:gd name="connsiteX0" fmla="*/ 0 w 134260"/>
                <a:gd name="connsiteY0" fmla="*/ 50123 h 86132"/>
                <a:gd name="connsiteX1" fmla="*/ 0 w 134260"/>
                <a:gd name="connsiteY1" fmla="*/ 0 h 86132"/>
                <a:gd name="connsiteX2" fmla="*/ 85209 w 134260"/>
                <a:gd name="connsiteY2" fmla="*/ 0 h 86132"/>
                <a:gd name="connsiteX3" fmla="*/ 127529 w 134260"/>
                <a:gd name="connsiteY3" fmla="*/ 12246 h 86132"/>
                <a:gd name="connsiteX4" fmla="*/ 134260 w 134260"/>
                <a:gd name="connsiteY4" fmla="*/ 21871 h 86132"/>
                <a:gd name="connsiteX5" fmla="*/ 81108 w 134260"/>
                <a:gd name="connsiteY5" fmla="*/ 86132 h 86132"/>
                <a:gd name="connsiteX6" fmla="*/ 81108 w 134260"/>
                <a:gd name="connsiteY6" fmla="*/ 69717 h 86132"/>
                <a:gd name="connsiteX7" fmla="*/ 81108 w 134260"/>
                <a:gd name="connsiteY7" fmla="*/ 65615 h 86132"/>
                <a:gd name="connsiteX8" fmla="*/ 60604 w 134260"/>
                <a:gd name="connsiteY8" fmla="*/ 50123 h 86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4260" h="86132">
                  <a:moveTo>
                    <a:pt x="0" y="50123"/>
                  </a:moveTo>
                  <a:lnTo>
                    <a:pt x="0" y="0"/>
                  </a:lnTo>
                  <a:lnTo>
                    <a:pt x="85209" y="0"/>
                  </a:lnTo>
                  <a:cubicBezTo>
                    <a:pt x="103664" y="0"/>
                    <a:pt x="117903" y="3987"/>
                    <a:pt x="127529" y="12246"/>
                  </a:cubicBezTo>
                  <a:lnTo>
                    <a:pt x="134260" y="21871"/>
                  </a:lnTo>
                  <a:lnTo>
                    <a:pt x="81108" y="86132"/>
                  </a:lnTo>
                  <a:lnTo>
                    <a:pt x="81108" y="69717"/>
                  </a:lnTo>
                  <a:cubicBezTo>
                    <a:pt x="81108" y="68349"/>
                    <a:pt x="81108" y="66983"/>
                    <a:pt x="81108" y="65615"/>
                  </a:cubicBezTo>
                  <a:cubicBezTo>
                    <a:pt x="79741" y="55591"/>
                    <a:pt x="70628" y="48756"/>
                    <a:pt x="60604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1" name="Forme libre : forme 1080">
              <a:extLst>
                <a:ext uri="{FF2B5EF4-FFF2-40B4-BE49-F238E27FC236}">
                  <a16:creationId xmlns:a16="http://schemas.microsoft.com/office/drawing/2014/main" id="{D8733639-E083-48C4-B7AC-143FF95DA4EA}"/>
                </a:ext>
              </a:extLst>
            </p:cNvPr>
            <p:cNvSpPr/>
            <p:nvPr/>
          </p:nvSpPr>
          <p:spPr>
            <a:xfrm rot="8716295">
              <a:off x="6040250" y="65760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2" name="Forme libre : forme 1081">
              <a:extLst>
                <a:ext uri="{FF2B5EF4-FFF2-40B4-BE49-F238E27FC236}">
                  <a16:creationId xmlns:a16="http://schemas.microsoft.com/office/drawing/2014/main" id="{4C5AD67D-6BC4-40A6-B419-E1C6D391B5D2}"/>
                </a:ext>
              </a:extLst>
            </p:cNvPr>
            <p:cNvSpPr/>
            <p:nvPr/>
          </p:nvSpPr>
          <p:spPr>
            <a:xfrm rot="8716295">
              <a:off x="5991248" y="907034"/>
              <a:ext cx="84313" cy="49600"/>
            </a:xfrm>
            <a:custGeom>
              <a:avLst/>
              <a:gdLst>
                <a:gd name="connsiteX0" fmla="*/ 43288 w 84313"/>
                <a:gd name="connsiteY0" fmla="*/ 49600 h 49600"/>
                <a:gd name="connsiteX1" fmla="*/ 43288 w 84313"/>
                <a:gd name="connsiteY1" fmla="*/ 15983 h 49600"/>
                <a:gd name="connsiteX2" fmla="*/ 0 w 84313"/>
                <a:gd name="connsiteY2" fmla="*/ 15983 h 49600"/>
                <a:gd name="connsiteX3" fmla="*/ 0 w 84313"/>
                <a:gd name="connsiteY3" fmla="*/ 1857 h 49600"/>
                <a:gd name="connsiteX4" fmla="*/ 84313 w 84313"/>
                <a:gd name="connsiteY4" fmla="*/ 0 h 49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313" h="49600">
                  <a:moveTo>
                    <a:pt x="43288" y="49600"/>
                  </a:moveTo>
                  <a:lnTo>
                    <a:pt x="43288" y="15983"/>
                  </a:lnTo>
                  <a:lnTo>
                    <a:pt x="0" y="15983"/>
                  </a:lnTo>
                  <a:lnTo>
                    <a:pt x="0" y="1857"/>
                  </a:lnTo>
                  <a:lnTo>
                    <a:pt x="84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3" name="Forme libre : forme 1082">
              <a:extLst>
                <a:ext uri="{FF2B5EF4-FFF2-40B4-BE49-F238E27FC236}">
                  <a16:creationId xmlns:a16="http://schemas.microsoft.com/office/drawing/2014/main" id="{E0507806-EEA4-49D9-A332-F46B9C7122A0}"/>
                </a:ext>
              </a:extLst>
            </p:cNvPr>
            <p:cNvSpPr/>
            <p:nvPr/>
          </p:nvSpPr>
          <p:spPr>
            <a:xfrm rot="7484129">
              <a:off x="6033733" y="94921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4" name="Forme libre : forme 1083">
              <a:extLst>
                <a:ext uri="{FF2B5EF4-FFF2-40B4-BE49-F238E27FC236}">
                  <a16:creationId xmlns:a16="http://schemas.microsoft.com/office/drawing/2014/main" id="{AE139150-F899-47C8-9080-822320C87149}"/>
                </a:ext>
              </a:extLst>
            </p:cNvPr>
            <p:cNvSpPr/>
            <p:nvPr/>
          </p:nvSpPr>
          <p:spPr>
            <a:xfrm rot="13089394">
              <a:off x="6138553" y="915748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5" name="Forme libre : forme 1084">
              <a:extLst>
                <a:ext uri="{FF2B5EF4-FFF2-40B4-BE49-F238E27FC236}">
                  <a16:creationId xmlns:a16="http://schemas.microsoft.com/office/drawing/2014/main" id="{912D0E73-F8A3-4A4B-A726-36495324DCAB}"/>
                </a:ext>
              </a:extLst>
            </p:cNvPr>
            <p:cNvSpPr/>
            <p:nvPr/>
          </p:nvSpPr>
          <p:spPr>
            <a:xfrm rot="8716295">
              <a:off x="6324138" y="724067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6" name="Forme libre : forme 1085">
              <a:extLst>
                <a:ext uri="{FF2B5EF4-FFF2-40B4-BE49-F238E27FC236}">
                  <a16:creationId xmlns:a16="http://schemas.microsoft.com/office/drawing/2014/main" id="{2B4B35EE-0BB5-49CB-8C5B-42A88BD793D8}"/>
                </a:ext>
              </a:extLst>
            </p:cNvPr>
            <p:cNvSpPr/>
            <p:nvPr/>
          </p:nvSpPr>
          <p:spPr>
            <a:xfrm rot="8716295">
              <a:off x="6272333" y="62047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7" name="Forme libre : forme 1086">
              <a:extLst>
                <a:ext uri="{FF2B5EF4-FFF2-40B4-BE49-F238E27FC236}">
                  <a16:creationId xmlns:a16="http://schemas.microsoft.com/office/drawing/2014/main" id="{DD0061FC-B163-4DBC-B8D9-4C423CB17A9E}"/>
                </a:ext>
              </a:extLst>
            </p:cNvPr>
            <p:cNvSpPr/>
            <p:nvPr/>
          </p:nvSpPr>
          <p:spPr>
            <a:xfrm rot="8716295">
              <a:off x="6027863" y="648628"/>
              <a:ext cx="55259" cy="57130"/>
            </a:xfrm>
            <a:custGeom>
              <a:avLst/>
              <a:gdLst>
                <a:gd name="connsiteX0" fmla="*/ 8658 w 55259"/>
                <a:gd name="connsiteY0" fmla="*/ 50123 h 57130"/>
                <a:gd name="connsiteX1" fmla="*/ 0 w 55259"/>
                <a:gd name="connsiteY1" fmla="*/ 29619 h 57130"/>
                <a:gd name="connsiteX2" fmla="*/ 0 w 55259"/>
                <a:gd name="connsiteY2" fmla="*/ 29163 h 57130"/>
                <a:gd name="connsiteX3" fmla="*/ 8658 w 55259"/>
                <a:gd name="connsiteY3" fmla="*/ 8658 h 57130"/>
                <a:gd name="connsiteX4" fmla="*/ 29163 w 55259"/>
                <a:gd name="connsiteY4" fmla="*/ 0 h 57130"/>
                <a:gd name="connsiteX5" fmla="*/ 49668 w 55259"/>
                <a:gd name="connsiteY5" fmla="*/ 8658 h 57130"/>
                <a:gd name="connsiteX6" fmla="*/ 55259 w 55259"/>
                <a:gd name="connsiteY6" fmla="*/ 21964 h 57130"/>
                <a:gd name="connsiteX7" fmla="*/ 26173 w 55259"/>
                <a:gd name="connsiteY7" fmla="*/ 57130 h 57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5259" h="57130">
                  <a:moveTo>
                    <a:pt x="8658" y="50123"/>
                  </a:moveTo>
                  <a:cubicBezTo>
                    <a:pt x="3190" y="44655"/>
                    <a:pt x="0" y="37364"/>
                    <a:pt x="0" y="29619"/>
                  </a:cubicBezTo>
                  <a:lnTo>
                    <a:pt x="0" y="29163"/>
                  </a:lnTo>
                  <a:cubicBezTo>
                    <a:pt x="0" y="21417"/>
                    <a:pt x="3190" y="14126"/>
                    <a:pt x="8658" y="8658"/>
                  </a:cubicBezTo>
                  <a:cubicBezTo>
                    <a:pt x="14126" y="3190"/>
                    <a:pt x="21417" y="0"/>
                    <a:pt x="29163" y="0"/>
                  </a:cubicBezTo>
                  <a:cubicBezTo>
                    <a:pt x="36909" y="0"/>
                    <a:pt x="44200" y="3190"/>
                    <a:pt x="49668" y="8658"/>
                  </a:cubicBezTo>
                  <a:lnTo>
                    <a:pt x="55259" y="21964"/>
                  </a:lnTo>
                  <a:lnTo>
                    <a:pt x="26173" y="5713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8" name="Forme libre : forme 1087">
              <a:extLst>
                <a:ext uri="{FF2B5EF4-FFF2-40B4-BE49-F238E27FC236}">
                  <a16:creationId xmlns:a16="http://schemas.microsoft.com/office/drawing/2014/main" id="{4D8AC7F8-F18B-4BC7-A549-62EC42E18C0E}"/>
                </a:ext>
              </a:extLst>
            </p:cNvPr>
            <p:cNvSpPr/>
            <p:nvPr/>
          </p:nvSpPr>
          <p:spPr>
            <a:xfrm rot="8716295">
              <a:off x="6206539" y="49145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9" name="Forme libre : forme 1088">
              <a:extLst>
                <a:ext uri="{FF2B5EF4-FFF2-40B4-BE49-F238E27FC236}">
                  <a16:creationId xmlns:a16="http://schemas.microsoft.com/office/drawing/2014/main" id="{AB9FAD6E-CA1F-425C-B0AC-99CCAEDDC6ED}"/>
                </a:ext>
              </a:extLst>
            </p:cNvPr>
            <p:cNvSpPr/>
            <p:nvPr/>
          </p:nvSpPr>
          <p:spPr>
            <a:xfrm rot="8716295">
              <a:off x="5990259" y="-43220"/>
              <a:ext cx="78210" cy="235131"/>
            </a:xfrm>
            <a:custGeom>
              <a:avLst/>
              <a:gdLst>
                <a:gd name="connsiteX0" fmla="*/ 0 w 78210"/>
                <a:gd name="connsiteY0" fmla="*/ 44199 h 235131"/>
                <a:gd name="connsiteX1" fmla="*/ 0 w 78210"/>
                <a:gd name="connsiteY1" fmla="*/ 0 h 235131"/>
                <a:gd name="connsiteX2" fmla="*/ 58367 w 78210"/>
                <a:gd name="connsiteY2" fmla="*/ 0 h 235131"/>
                <a:gd name="connsiteX3" fmla="*/ 21809 w 78210"/>
                <a:gd name="connsiteY3" fmla="*/ 44199 h 235131"/>
                <a:gd name="connsiteX4" fmla="*/ 78210 w 78210"/>
                <a:gd name="connsiteY4" fmla="*/ 235131 h 235131"/>
                <a:gd name="connsiteX5" fmla="*/ 64850 w 78210"/>
                <a:gd name="connsiteY5" fmla="*/ 225870 h 235131"/>
                <a:gd name="connsiteX6" fmla="*/ 78210 w 78210"/>
                <a:gd name="connsiteY6" fmla="*/ 235131 h 235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210" h="235131">
                  <a:moveTo>
                    <a:pt x="0" y="44199"/>
                  </a:moveTo>
                  <a:lnTo>
                    <a:pt x="0" y="0"/>
                  </a:lnTo>
                  <a:lnTo>
                    <a:pt x="58367" y="0"/>
                  </a:lnTo>
                  <a:lnTo>
                    <a:pt x="21809" y="44199"/>
                  </a:lnTo>
                  <a:close/>
                  <a:moveTo>
                    <a:pt x="78210" y="235131"/>
                  </a:moveTo>
                  <a:lnTo>
                    <a:pt x="64850" y="225870"/>
                  </a:lnTo>
                  <a:lnTo>
                    <a:pt x="78210" y="2351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0" name="Forme libre : forme 1089">
              <a:extLst>
                <a:ext uri="{FF2B5EF4-FFF2-40B4-BE49-F238E27FC236}">
                  <a16:creationId xmlns:a16="http://schemas.microsoft.com/office/drawing/2014/main" id="{76D9A3BA-A429-46B9-9CE6-D737A95DD8B3}"/>
                </a:ext>
              </a:extLst>
            </p:cNvPr>
            <p:cNvSpPr/>
            <p:nvPr/>
          </p:nvSpPr>
          <p:spPr>
            <a:xfrm rot="13089394">
              <a:off x="5976283" y="269816"/>
              <a:ext cx="215080" cy="308935"/>
            </a:xfrm>
            <a:custGeom>
              <a:avLst/>
              <a:gdLst>
                <a:gd name="connsiteX0" fmla="*/ 215080 w 215080"/>
                <a:gd name="connsiteY0" fmla="*/ 274772 h 308935"/>
                <a:gd name="connsiteX1" fmla="*/ 177331 w 215080"/>
                <a:gd name="connsiteY1" fmla="*/ 291252 h 308935"/>
                <a:gd name="connsiteX2" fmla="*/ 91597 w 215080"/>
                <a:gd name="connsiteY2" fmla="*/ 308772 h 308935"/>
                <a:gd name="connsiteX3" fmla="*/ 23726 w 215080"/>
                <a:gd name="connsiteY3" fmla="*/ 281182 h 308935"/>
                <a:gd name="connsiteX4" fmla="*/ 0 w 215080"/>
                <a:gd name="connsiteY4" fmla="*/ 186274 h 308935"/>
                <a:gd name="connsiteX5" fmla="*/ 0 w 215080"/>
                <a:gd name="connsiteY5" fmla="*/ 17979 h 308935"/>
                <a:gd name="connsiteX6" fmla="*/ 34655 w 215080"/>
                <a:gd name="connsiteY6" fmla="*/ 0 h 308935"/>
                <a:gd name="connsiteX7" fmla="*/ 73961 w 215080"/>
                <a:gd name="connsiteY7" fmla="*/ 59860 h 308935"/>
                <a:gd name="connsiteX8" fmla="*/ 74492 w 215080"/>
                <a:gd name="connsiteY8" fmla="*/ 133855 h 308935"/>
                <a:gd name="connsiteX9" fmla="*/ 87734 w 215080"/>
                <a:gd name="connsiteY9" fmla="*/ 225452 h 308935"/>
                <a:gd name="connsiteX10" fmla="*/ 153949 w 215080"/>
                <a:gd name="connsiteY10" fmla="*/ 261870 h 308935"/>
                <a:gd name="connsiteX11" fmla="*/ 201103 w 215080"/>
                <a:gd name="connsiteY11" fmla="*/ 253487 h 308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5080" h="308935">
                  <a:moveTo>
                    <a:pt x="215080" y="274772"/>
                  </a:moveTo>
                  <a:lnTo>
                    <a:pt x="177331" y="291252"/>
                  </a:lnTo>
                  <a:cubicBezTo>
                    <a:pt x="145121" y="302288"/>
                    <a:pt x="114496" y="307392"/>
                    <a:pt x="91597" y="308772"/>
                  </a:cubicBezTo>
                  <a:cubicBezTo>
                    <a:pt x="66215" y="310427"/>
                    <a:pt x="41384" y="299392"/>
                    <a:pt x="23726" y="281182"/>
                  </a:cubicBezTo>
                  <a:cubicBezTo>
                    <a:pt x="4966" y="262973"/>
                    <a:pt x="0" y="231521"/>
                    <a:pt x="0" y="186274"/>
                  </a:cubicBezTo>
                  <a:lnTo>
                    <a:pt x="0" y="17979"/>
                  </a:lnTo>
                  <a:lnTo>
                    <a:pt x="34655" y="0"/>
                  </a:lnTo>
                  <a:lnTo>
                    <a:pt x="73961" y="59860"/>
                  </a:lnTo>
                  <a:lnTo>
                    <a:pt x="74492" y="133855"/>
                  </a:lnTo>
                  <a:cubicBezTo>
                    <a:pt x="72836" y="164755"/>
                    <a:pt x="77802" y="196207"/>
                    <a:pt x="87734" y="225452"/>
                  </a:cubicBezTo>
                  <a:cubicBezTo>
                    <a:pt x="96564" y="249730"/>
                    <a:pt x="119186" y="261870"/>
                    <a:pt x="153949" y="261870"/>
                  </a:cubicBezTo>
                  <a:lnTo>
                    <a:pt x="201103" y="25348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1" name="Forme libre : forme 1090">
              <a:extLst>
                <a:ext uri="{FF2B5EF4-FFF2-40B4-BE49-F238E27FC236}">
                  <a16:creationId xmlns:a16="http://schemas.microsoft.com/office/drawing/2014/main" id="{4E622CC6-C496-4DCE-9057-BDF9539B95A4}"/>
                </a:ext>
              </a:extLst>
            </p:cNvPr>
            <p:cNvSpPr/>
            <p:nvPr/>
          </p:nvSpPr>
          <p:spPr>
            <a:xfrm rot="8716295">
              <a:off x="6105199" y="6200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2" name="Forme libre : forme 1091">
              <a:extLst>
                <a:ext uri="{FF2B5EF4-FFF2-40B4-BE49-F238E27FC236}">
                  <a16:creationId xmlns:a16="http://schemas.microsoft.com/office/drawing/2014/main" id="{7603AAA1-071D-439F-A511-02E260209FED}"/>
                </a:ext>
              </a:extLst>
            </p:cNvPr>
            <p:cNvSpPr/>
            <p:nvPr/>
          </p:nvSpPr>
          <p:spPr>
            <a:xfrm rot="8716295">
              <a:off x="6072242" y="-8046"/>
              <a:ext cx="93729" cy="73541"/>
            </a:xfrm>
            <a:custGeom>
              <a:avLst/>
              <a:gdLst>
                <a:gd name="connsiteX0" fmla="*/ 0 w 93729"/>
                <a:gd name="connsiteY0" fmla="*/ 39235 h 73541"/>
                <a:gd name="connsiteX1" fmla="*/ 9187 w 93729"/>
                <a:gd name="connsiteY1" fmla="*/ 17477 h 73541"/>
                <a:gd name="connsiteX2" fmla="*/ 50579 w 93729"/>
                <a:gd name="connsiteY2" fmla="*/ 0 h 73541"/>
                <a:gd name="connsiteX3" fmla="*/ 91973 w 93729"/>
                <a:gd name="connsiteY3" fmla="*/ 17477 h 73541"/>
                <a:gd name="connsiteX4" fmla="*/ 93729 w 93729"/>
                <a:gd name="connsiteY4" fmla="*/ 20058 h 73541"/>
                <a:gd name="connsiteX5" fmla="*/ 49492 w 93729"/>
                <a:gd name="connsiteY5" fmla="*/ 73541 h 73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729" h="73541">
                  <a:moveTo>
                    <a:pt x="0" y="39235"/>
                  </a:moveTo>
                  <a:lnTo>
                    <a:pt x="9187" y="17477"/>
                  </a:lnTo>
                  <a:cubicBezTo>
                    <a:pt x="20225" y="6439"/>
                    <a:pt x="34943" y="0"/>
                    <a:pt x="50579" y="0"/>
                  </a:cubicBezTo>
                  <a:cubicBezTo>
                    <a:pt x="66217" y="0"/>
                    <a:pt x="80934" y="6439"/>
                    <a:pt x="91973" y="17477"/>
                  </a:cubicBezTo>
                  <a:lnTo>
                    <a:pt x="93729" y="20058"/>
                  </a:lnTo>
                  <a:lnTo>
                    <a:pt x="49492" y="735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3" name="Forme libre : forme 1092">
              <a:extLst>
                <a:ext uri="{FF2B5EF4-FFF2-40B4-BE49-F238E27FC236}">
                  <a16:creationId xmlns:a16="http://schemas.microsoft.com/office/drawing/2014/main" id="{9C8F8AD8-9BE3-4AFF-9D9E-827181BFFE71}"/>
                </a:ext>
              </a:extLst>
            </p:cNvPr>
            <p:cNvSpPr/>
            <p:nvPr/>
          </p:nvSpPr>
          <p:spPr>
            <a:xfrm rot="8716295">
              <a:off x="7172347" y="237144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4" name="Forme libre : forme 1093">
              <a:extLst>
                <a:ext uri="{FF2B5EF4-FFF2-40B4-BE49-F238E27FC236}">
                  <a16:creationId xmlns:a16="http://schemas.microsoft.com/office/drawing/2014/main" id="{B50EEFFE-50F1-41BD-AC0F-C587493B9502}"/>
                </a:ext>
              </a:extLst>
            </p:cNvPr>
            <p:cNvSpPr/>
            <p:nvPr/>
          </p:nvSpPr>
          <p:spPr>
            <a:xfrm rot="8716295">
              <a:off x="7261739" y="240068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5" name="Forme libre : forme 1094">
              <a:extLst>
                <a:ext uri="{FF2B5EF4-FFF2-40B4-BE49-F238E27FC236}">
                  <a16:creationId xmlns:a16="http://schemas.microsoft.com/office/drawing/2014/main" id="{2580D73F-ABFD-46AB-A8B8-663F26EB77C2}"/>
                </a:ext>
              </a:extLst>
            </p:cNvPr>
            <p:cNvSpPr/>
            <p:nvPr/>
          </p:nvSpPr>
          <p:spPr>
            <a:xfrm rot="8716295">
              <a:off x="7216889" y="2314408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6" name="Forme libre : forme 1095">
              <a:extLst>
                <a:ext uri="{FF2B5EF4-FFF2-40B4-BE49-F238E27FC236}">
                  <a16:creationId xmlns:a16="http://schemas.microsoft.com/office/drawing/2014/main" id="{2C3435C1-11AD-43F5-B057-1EA87D25FBC9}"/>
                </a:ext>
              </a:extLst>
            </p:cNvPr>
            <p:cNvSpPr/>
            <p:nvPr/>
          </p:nvSpPr>
          <p:spPr>
            <a:xfrm rot="8716295">
              <a:off x="7060113" y="245999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7" name="Forme libre : forme 1096">
              <a:extLst>
                <a:ext uri="{FF2B5EF4-FFF2-40B4-BE49-F238E27FC236}">
                  <a16:creationId xmlns:a16="http://schemas.microsoft.com/office/drawing/2014/main" id="{4B47ED33-41DD-4DB3-AD1B-B82A88377D4B}"/>
                </a:ext>
              </a:extLst>
            </p:cNvPr>
            <p:cNvSpPr/>
            <p:nvPr/>
          </p:nvSpPr>
          <p:spPr>
            <a:xfrm rot="8716295">
              <a:off x="6935210" y="225131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8" name="Forme libre : forme 1097">
              <a:extLst>
                <a:ext uri="{FF2B5EF4-FFF2-40B4-BE49-F238E27FC236}">
                  <a16:creationId xmlns:a16="http://schemas.microsoft.com/office/drawing/2014/main" id="{FDADFB27-095D-4A69-842C-AC50F274C2CB}"/>
                </a:ext>
              </a:extLst>
            </p:cNvPr>
            <p:cNvSpPr/>
            <p:nvPr/>
          </p:nvSpPr>
          <p:spPr>
            <a:xfrm rot="8716295">
              <a:off x="6923158" y="2112537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9" name="Forme libre : forme 1098">
              <a:extLst>
                <a:ext uri="{FF2B5EF4-FFF2-40B4-BE49-F238E27FC236}">
                  <a16:creationId xmlns:a16="http://schemas.microsoft.com/office/drawing/2014/main" id="{51728AE9-139E-41E1-8F39-80B1269EE624}"/>
                </a:ext>
              </a:extLst>
            </p:cNvPr>
            <p:cNvSpPr/>
            <p:nvPr/>
          </p:nvSpPr>
          <p:spPr>
            <a:xfrm rot="8716295">
              <a:off x="7150291" y="2500942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0" name="Forme libre : forme 1099">
              <a:extLst>
                <a:ext uri="{FF2B5EF4-FFF2-40B4-BE49-F238E27FC236}">
                  <a16:creationId xmlns:a16="http://schemas.microsoft.com/office/drawing/2014/main" id="{92B4175C-E509-4678-8549-D6B4F8ECF63E}"/>
                </a:ext>
              </a:extLst>
            </p:cNvPr>
            <p:cNvSpPr/>
            <p:nvPr/>
          </p:nvSpPr>
          <p:spPr>
            <a:xfrm rot="8716295">
              <a:off x="7461446" y="212129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1" name="Forme libre : forme 1100">
              <a:extLst>
                <a:ext uri="{FF2B5EF4-FFF2-40B4-BE49-F238E27FC236}">
                  <a16:creationId xmlns:a16="http://schemas.microsoft.com/office/drawing/2014/main" id="{03A48A9F-470F-4E42-AB0D-A2092DAB19E1}"/>
                </a:ext>
              </a:extLst>
            </p:cNvPr>
            <p:cNvSpPr/>
            <p:nvPr/>
          </p:nvSpPr>
          <p:spPr>
            <a:xfrm rot="8716295">
              <a:off x="7550838" y="215053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2" name="Forme libre : forme 1101">
              <a:extLst>
                <a:ext uri="{FF2B5EF4-FFF2-40B4-BE49-F238E27FC236}">
                  <a16:creationId xmlns:a16="http://schemas.microsoft.com/office/drawing/2014/main" id="{D787AC24-D650-46E0-AF17-D8D11DE74854}"/>
                </a:ext>
              </a:extLst>
            </p:cNvPr>
            <p:cNvSpPr/>
            <p:nvPr/>
          </p:nvSpPr>
          <p:spPr>
            <a:xfrm rot="8716295">
              <a:off x="7349212" y="220983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3" name="Forme libre : forme 1102">
              <a:extLst>
                <a:ext uri="{FF2B5EF4-FFF2-40B4-BE49-F238E27FC236}">
                  <a16:creationId xmlns:a16="http://schemas.microsoft.com/office/drawing/2014/main" id="{0FB757C5-F53D-4FA3-95F2-B6B3C4253FFC}"/>
                </a:ext>
              </a:extLst>
            </p:cNvPr>
            <p:cNvSpPr/>
            <p:nvPr/>
          </p:nvSpPr>
          <p:spPr>
            <a:xfrm rot="8716295">
              <a:off x="7224310" y="200116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4" name="Forme libre : forme 1103">
              <a:extLst>
                <a:ext uri="{FF2B5EF4-FFF2-40B4-BE49-F238E27FC236}">
                  <a16:creationId xmlns:a16="http://schemas.microsoft.com/office/drawing/2014/main" id="{BF242107-D725-4B4F-BC78-5EDCA137735E}"/>
                </a:ext>
              </a:extLst>
            </p:cNvPr>
            <p:cNvSpPr/>
            <p:nvPr/>
          </p:nvSpPr>
          <p:spPr>
            <a:xfrm rot="8716295">
              <a:off x="7439390" y="2250790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5" name="Forme libre : forme 1104">
              <a:extLst>
                <a:ext uri="{FF2B5EF4-FFF2-40B4-BE49-F238E27FC236}">
                  <a16:creationId xmlns:a16="http://schemas.microsoft.com/office/drawing/2014/main" id="{3CE12C75-E0FA-48A2-87D6-5CE57DDA0BBD}"/>
                </a:ext>
              </a:extLst>
            </p:cNvPr>
            <p:cNvSpPr/>
            <p:nvPr/>
          </p:nvSpPr>
          <p:spPr>
            <a:xfrm rot="8716295">
              <a:off x="7197939" y="2101190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6" name="Forme libre : forme 1105">
              <a:extLst>
                <a:ext uri="{FF2B5EF4-FFF2-40B4-BE49-F238E27FC236}">
                  <a16:creationId xmlns:a16="http://schemas.microsoft.com/office/drawing/2014/main" id="{B337DB84-252C-4B02-A3DE-B9A85A114904}"/>
                </a:ext>
              </a:extLst>
            </p:cNvPr>
            <p:cNvSpPr/>
            <p:nvPr/>
          </p:nvSpPr>
          <p:spPr>
            <a:xfrm rot="7484129">
              <a:off x="7544321" y="244214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7" name="Forme libre : forme 1106">
              <a:extLst>
                <a:ext uri="{FF2B5EF4-FFF2-40B4-BE49-F238E27FC236}">
                  <a16:creationId xmlns:a16="http://schemas.microsoft.com/office/drawing/2014/main" id="{F19E0C83-77A7-4617-BCA2-22616BECAE12}"/>
                </a:ext>
              </a:extLst>
            </p:cNvPr>
            <p:cNvSpPr/>
            <p:nvPr/>
          </p:nvSpPr>
          <p:spPr>
            <a:xfrm rot="13089394">
              <a:off x="7649141" y="2408675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8" name="Forme libre : forme 1107">
              <a:extLst>
                <a:ext uri="{FF2B5EF4-FFF2-40B4-BE49-F238E27FC236}">
                  <a16:creationId xmlns:a16="http://schemas.microsoft.com/office/drawing/2014/main" id="{F5B45C54-84E0-4739-ADB3-959633174024}"/>
                </a:ext>
              </a:extLst>
            </p:cNvPr>
            <p:cNvSpPr/>
            <p:nvPr/>
          </p:nvSpPr>
          <p:spPr>
            <a:xfrm rot="8716295">
              <a:off x="7834726" y="2216994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9" name="Forme libre : forme 1108">
              <a:extLst>
                <a:ext uri="{FF2B5EF4-FFF2-40B4-BE49-F238E27FC236}">
                  <a16:creationId xmlns:a16="http://schemas.microsoft.com/office/drawing/2014/main" id="{66B27175-8CF2-4D68-B9A3-8660A0B5CD05}"/>
                </a:ext>
              </a:extLst>
            </p:cNvPr>
            <p:cNvSpPr/>
            <p:nvPr/>
          </p:nvSpPr>
          <p:spPr>
            <a:xfrm rot="8716295">
              <a:off x="7782921" y="211340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0" name="Forme libre : forme 1109">
              <a:extLst>
                <a:ext uri="{FF2B5EF4-FFF2-40B4-BE49-F238E27FC236}">
                  <a16:creationId xmlns:a16="http://schemas.microsoft.com/office/drawing/2014/main" id="{8FD17293-97E3-4673-AA7F-84B5B99446CA}"/>
                </a:ext>
              </a:extLst>
            </p:cNvPr>
            <p:cNvSpPr/>
            <p:nvPr/>
          </p:nvSpPr>
          <p:spPr>
            <a:xfrm rot="8716295">
              <a:off x="7539675" y="214362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1" name="Forme libre : forme 1110">
              <a:extLst>
                <a:ext uri="{FF2B5EF4-FFF2-40B4-BE49-F238E27FC236}">
                  <a16:creationId xmlns:a16="http://schemas.microsoft.com/office/drawing/2014/main" id="{C73B72CE-98CF-4B2D-903B-F181C83E80BA}"/>
                </a:ext>
              </a:extLst>
            </p:cNvPr>
            <p:cNvSpPr/>
            <p:nvPr/>
          </p:nvSpPr>
          <p:spPr>
            <a:xfrm rot="8716295">
              <a:off x="7717127" y="198438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2" name="Forme libre : forme 1111">
              <a:extLst>
                <a:ext uri="{FF2B5EF4-FFF2-40B4-BE49-F238E27FC236}">
                  <a16:creationId xmlns:a16="http://schemas.microsoft.com/office/drawing/2014/main" id="{696CB62E-C4B4-4490-8872-413E82440B78}"/>
                </a:ext>
              </a:extLst>
            </p:cNvPr>
            <p:cNvSpPr/>
            <p:nvPr/>
          </p:nvSpPr>
          <p:spPr>
            <a:xfrm rot="8716295">
              <a:off x="7395514" y="303114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3" name="Forme libre : forme 1112">
              <a:extLst>
                <a:ext uri="{FF2B5EF4-FFF2-40B4-BE49-F238E27FC236}">
                  <a16:creationId xmlns:a16="http://schemas.microsoft.com/office/drawing/2014/main" id="{B9248AD5-32BA-4917-BA85-0157D956096A}"/>
                </a:ext>
              </a:extLst>
            </p:cNvPr>
            <p:cNvSpPr/>
            <p:nvPr/>
          </p:nvSpPr>
          <p:spPr>
            <a:xfrm rot="8716295">
              <a:off x="7484906" y="306038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4" name="Forme libre : forme 1113">
              <a:extLst>
                <a:ext uri="{FF2B5EF4-FFF2-40B4-BE49-F238E27FC236}">
                  <a16:creationId xmlns:a16="http://schemas.microsoft.com/office/drawing/2014/main" id="{C01A8DA7-4F44-4FB4-AD68-2519B990D7F2}"/>
                </a:ext>
              </a:extLst>
            </p:cNvPr>
            <p:cNvSpPr/>
            <p:nvPr/>
          </p:nvSpPr>
          <p:spPr>
            <a:xfrm rot="8716295">
              <a:off x="7440056" y="297410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5" name="Forme libre : forme 1114">
              <a:extLst>
                <a:ext uri="{FF2B5EF4-FFF2-40B4-BE49-F238E27FC236}">
                  <a16:creationId xmlns:a16="http://schemas.microsoft.com/office/drawing/2014/main" id="{42D9C24E-2646-42DD-BFA5-E1307CC2B5EC}"/>
                </a:ext>
              </a:extLst>
            </p:cNvPr>
            <p:cNvSpPr/>
            <p:nvPr/>
          </p:nvSpPr>
          <p:spPr>
            <a:xfrm rot="8716295">
              <a:off x="7283280" y="311968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6" name="Forme libre : forme 1115">
              <a:extLst>
                <a:ext uri="{FF2B5EF4-FFF2-40B4-BE49-F238E27FC236}">
                  <a16:creationId xmlns:a16="http://schemas.microsoft.com/office/drawing/2014/main" id="{CFABA53A-4A06-4580-8C61-8286352F9F67}"/>
                </a:ext>
              </a:extLst>
            </p:cNvPr>
            <p:cNvSpPr/>
            <p:nvPr/>
          </p:nvSpPr>
          <p:spPr>
            <a:xfrm rot="8716295">
              <a:off x="7158377" y="291101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7" name="Forme libre : forme 1116">
              <a:extLst>
                <a:ext uri="{FF2B5EF4-FFF2-40B4-BE49-F238E27FC236}">
                  <a16:creationId xmlns:a16="http://schemas.microsoft.com/office/drawing/2014/main" id="{C74B7EC2-6979-4A8A-9284-FAC8E9267907}"/>
                </a:ext>
              </a:extLst>
            </p:cNvPr>
            <p:cNvSpPr/>
            <p:nvPr/>
          </p:nvSpPr>
          <p:spPr>
            <a:xfrm rot="8716295">
              <a:off x="7146325" y="277223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8" name="Forme libre : forme 1117">
              <a:extLst>
                <a:ext uri="{FF2B5EF4-FFF2-40B4-BE49-F238E27FC236}">
                  <a16:creationId xmlns:a16="http://schemas.microsoft.com/office/drawing/2014/main" id="{F8DC9ECB-1E3E-434D-AF3D-8360A2556CE1}"/>
                </a:ext>
              </a:extLst>
            </p:cNvPr>
            <p:cNvSpPr/>
            <p:nvPr/>
          </p:nvSpPr>
          <p:spPr>
            <a:xfrm rot="8716295">
              <a:off x="7373458" y="316064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9" name="Forme libre : forme 1118">
              <a:extLst>
                <a:ext uri="{FF2B5EF4-FFF2-40B4-BE49-F238E27FC236}">
                  <a16:creationId xmlns:a16="http://schemas.microsoft.com/office/drawing/2014/main" id="{51772F42-3F0C-424A-977C-894DBAF1080F}"/>
                </a:ext>
              </a:extLst>
            </p:cNvPr>
            <p:cNvSpPr/>
            <p:nvPr/>
          </p:nvSpPr>
          <p:spPr>
            <a:xfrm rot="8716295">
              <a:off x="7684613" y="278099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0" name="Forme libre : forme 1119">
              <a:extLst>
                <a:ext uri="{FF2B5EF4-FFF2-40B4-BE49-F238E27FC236}">
                  <a16:creationId xmlns:a16="http://schemas.microsoft.com/office/drawing/2014/main" id="{B5CD12DE-C7EB-4EFA-AC20-74C4AE1F7190}"/>
                </a:ext>
              </a:extLst>
            </p:cNvPr>
            <p:cNvSpPr/>
            <p:nvPr/>
          </p:nvSpPr>
          <p:spPr>
            <a:xfrm rot="8716295">
              <a:off x="7774005" y="281023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1" name="Forme libre : forme 1120">
              <a:extLst>
                <a:ext uri="{FF2B5EF4-FFF2-40B4-BE49-F238E27FC236}">
                  <a16:creationId xmlns:a16="http://schemas.microsoft.com/office/drawing/2014/main" id="{D4963745-603E-4027-A61D-8C66F68BBCF1}"/>
                </a:ext>
              </a:extLst>
            </p:cNvPr>
            <p:cNvSpPr/>
            <p:nvPr/>
          </p:nvSpPr>
          <p:spPr>
            <a:xfrm rot="8716295">
              <a:off x="7572379" y="286953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2" name="Forme libre : forme 1121">
              <a:extLst>
                <a:ext uri="{FF2B5EF4-FFF2-40B4-BE49-F238E27FC236}">
                  <a16:creationId xmlns:a16="http://schemas.microsoft.com/office/drawing/2014/main" id="{B2AE503B-34E9-4267-86FA-CBE3FB4412BF}"/>
                </a:ext>
              </a:extLst>
            </p:cNvPr>
            <p:cNvSpPr/>
            <p:nvPr/>
          </p:nvSpPr>
          <p:spPr>
            <a:xfrm rot="8716295">
              <a:off x="7447477" y="266086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3" name="Forme libre : forme 1122">
              <a:extLst>
                <a:ext uri="{FF2B5EF4-FFF2-40B4-BE49-F238E27FC236}">
                  <a16:creationId xmlns:a16="http://schemas.microsoft.com/office/drawing/2014/main" id="{555AB00F-5214-4D5A-B856-0D6CE43A6974}"/>
                </a:ext>
              </a:extLst>
            </p:cNvPr>
            <p:cNvSpPr/>
            <p:nvPr/>
          </p:nvSpPr>
          <p:spPr>
            <a:xfrm rot="8716295">
              <a:off x="7662557" y="291048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4" name="Forme libre : forme 1123">
              <a:extLst>
                <a:ext uri="{FF2B5EF4-FFF2-40B4-BE49-F238E27FC236}">
                  <a16:creationId xmlns:a16="http://schemas.microsoft.com/office/drawing/2014/main" id="{E9EF5FF3-F4BF-4CDD-9607-4DBF4C2F0085}"/>
                </a:ext>
              </a:extLst>
            </p:cNvPr>
            <p:cNvSpPr/>
            <p:nvPr/>
          </p:nvSpPr>
          <p:spPr>
            <a:xfrm rot="8716295">
              <a:off x="7421106" y="276088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5" name="Forme libre : forme 1124">
              <a:extLst>
                <a:ext uri="{FF2B5EF4-FFF2-40B4-BE49-F238E27FC236}">
                  <a16:creationId xmlns:a16="http://schemas.microsoft.com/office/drawing/2014/main" id="{59DF2FDB-C1DD-4AAC-8ED6-A9A2F1015694}"/>
                </a:ext>
              </a:extLst>
            </p:cNvPr>
            <p:cNvSpPr/>
            <p:nvPr/>
          </p:nvSpPr>
          <p:spPr>
            <a:xfrm rot="7484129">
              <a:off x="7767488" y="310184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6" name="Forme libre : forme 1125">
              <a:extLst>
                <a:ext uri="{FF2B5EF4-FFF2-40B4-BE49-F238E27FC236}">
                  <a16:creationId xmlns:a16="http://schemas.microsoft.com/office/drawing/2014/main" id="{4196ADC5-483D-4AAF-B032-555B70BC6EE5}"/>
                </a:ext>
              </a:extLst>
            </p:cNvPr>
            <p:cNvSpPr/>
            <p:nvPr/>
          </p:nvSpPr>
          <p:spPr>
            <a:xfrm rot="13089394">
              <a:off x="7872308" y="306837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7" name="Forme libre : forme 1126">
              <a:extLst>
                <a:ext uri="{FF2B5EF4-FFF2-40B4-BE49-F238E27FC236}">
                  <a16:creationId xmlns:a16="http://schemas.microsoft.com/office/drawing/2014/main" id="{32A56DA8-4C3D-4B7F-A319-4811C6B7AA5C}"/>
                </a:ext>
              </a:extLst>
            </p:cNvPr>
            <p:cNvSpPr/>
            <p:nvPr/>
          </p:nvSpPr>
          <p:spPr>
            <a:xfrm rot="8716295">
              <a:off x="8057893" y="287669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8" name="Forme libre : forme 1127">
              <a:extLst>
                <a:ext uri="{FF2B5EF4-FFF2-40B4-BE49-F238E27FC236}">
                  <a16:creationId xmlns:a16="http://schemas.microsoft.com/office/drawing/2014/main" id="{8E0F1C28-8F77-4966-95BD-C88FCEF83216}"/>
                </a:ext>
              </a:extLst>
            </p:cNvPr>
            <p:cNvSpPr/>
            <p:nvPr/>
          </p:nvSpPr>
          <p:spPr>
            <a:xfrm rot="8716295">
              <a:off x="8006088" y="277310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9" name="Forme libre : forme 1128">
              <a:extLst>
                <a:ext uri="{FF2B5EF4-FFF2-40B4-BE49-F238E27FC236}">
                  <a16:creationId xmlns:a16="http://schemas.microsoft.com/office/drawing/2014/main" id="{E5A4A31B-3B75-496C-9F61-22A820F43FCD}"/>
                </a:ext>
              </a:extLst>
            </p:cNvPr>
            <p:cNvSpPr/>
            <p:nvPr/>
          </p:nvSpPr>
          <p:spPr>
            <a:xfrm rot="8716295">
              <a:off x="7762842" y="280332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0" name="Forme libre : forme 1129">
              <a:extLst>
                <a:ext uri="{FF2B5EF4-FFF2-40B4-BE49-F238E27FC236}">
                  <a16:creationId xmlns:a16="http://schemas.microsoft.com/office/drawing/2014/main" id="{4862B135-8953-4E24-B4C9-59ECE15EAE81}"/>
                </a:ext>
              </a:extLst>
            </p:cNvPr>
            <p:cNvSpPr/>
            <p:nvPr/>
          </p:nvSpPr>
          <p:spPr>
            <a:xfrm rot="8716295">
              <a:off x="7940294" y="264407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1" name="Forme libre : forme 1130">
              <a:extLst>
                <a:ext uri="{FF2B5EF4-FFF2-40B4-BE49-F238E27FC236}">
                  <a16:creationId xmlns:a16="http://schemas.microsoft.com/office/drawing/2014/main" id="{3E405773-6C52-4033-9D2E-C77CD5E36C97}"/>
                </a:ext>
              </a:extLst>
            </p:cNvPr>
            <p:cNvSpPr/>
            <p:nvPr/>
          </p:nvSpPr>
          <p:spPr>
            <a:xfrm rot="8716295">
              <a:off x="8044812" y="5014610"/>
              <a:ext cx="142167" cy="185946"/>
            </a:xfrm>
            <a:custGeom>
              <a:avLst/>
              <a:gdLst>
                <a:gd name="connsiteX0" fmla="*/ 0 w 142167"/>
                <a:gd name="connsiteY0" fmla="*/ 3681 h 185946"/>
                <a:gd name="connsiteX1" fmla="*/ 0 w 142167"/>
                <a:gd name="connsiteY1" fmla="*/ 0 h 185946"/>
                <a:gd name="connsiteX2" fmla="*/ 5311 w 142167"/>
                <a:gd name="connsiteY2" fmla="*/ 3681 h 185946"/>
                <a:gd name="connsiteX3" fmla="*/ 81108 w 142167"/>
                <a:gd name="connsiteY3" fmla="*/ 185946 h 185946"/>
                <a:gd name="connsiteX4" fmla="*/ 81108 w 142167"/>
                <a:gd name="connsiteY4" fmla="*/ 56221 h 185946"/>
                <a:gd name="connsiteX5" fmla="*/ 142167 w 142167"/>
                <a:gd name="connsiteY5" fmla="*/ 98545 h 185946"/>
                <a:gd name="connsiteX6" fmla="*/ 142167 w 142167"/>
                <a:gd name="connsiteY6" fmla="*/ 161796 h 185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167" h="185946">
                  <a:moveTo>
                    <a:pt x="0" y="3681"/>
                  </a:moveTo>
                  <a:lnTo>
                    <a:pt x="0" y="0"/>
                  </a:lnTo>
                  <a:lnTo>
                    <a:pt x="5311" y="3681"/>
                  </a:lnTo>
                  <a:close/>
                  <a:moveTo>
                    <a:pt x="81108" y="185946"/>
                  </a:moveTo>
                  <a:lnTo>
                    <a:pt x="81108" y="56221"/>
                  </a:lnTo>
                  <a:lnTo>
                    <a:pt x="142167" y="98545"/>
                  </a:lnTo>
                  <a:lnTo>
                    <a:pt x="142167" y="1617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2" name="Forme libre : forme 1131">
              <a:extLst>
                <a:ext uri="{FF2B5EF4-FFF2-40B4-BE49-F238E27FC236}">
                  <a16:creationId xmlns:a16="http://schemas.microsoft.com/office/drawing/2014/main" id="{1E88E955-7F03-41E3-9D75-6D519C17C0A9}"/>
                </a:ext>
              </a:extLst>
            </p:cNvPr>
            <p:cNvSpPr/>
            <p:nvPr/>
          </p:nvSpPr>
          <p:spPr>
            <a:xfrm rot="8716295">
              <a:off x="8258973" y="5016779"/>
              <a:ext cx="60148" cy="157919"/>
            </a:xfrm>
            <a:custGeom>
              <a:avLst/>
              <a:gdLst>
                <a:gd name="connsiteX0" fmla="*/ 0 w 60148"/>
                <a:gd name="connsiteY0" fmla="*/ 157919 h 157919"/>
                <a:gd name="connsiteX1" fmla="*/ 0 w 60148"/>
                <a:gd name="connsiteY1" fmla="*/ 0 h 157919"/>
                <a:gd name="connsiteX2" fmla="*/ 60148 w 60148"/>
                <a:gd name="connsiteY2" fmla="*/ 41692 h 157919"/>
                <a:gd name="connsiteX3" fmla="*/ 60148 w 60148"/>
                <a:gd name="connsiteY3" fmla="*/ 116909 h 157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8" h="157919">
                  <a:moveTo>
                    <a:pt x="0" y="157919"/>
                  </a:moveTo>
                  <a:lnTo>
                    <a:pt x="0" y="0"/>
                  </a:lnTo>
                  <a:lnTo>
                    <a:pt x="60148" y="41692"/>
                  </a:lnTo>
                  <a:lnTo>
                    <a:pt x="60148" y="11690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3" name="Forme libre : forme 1132">
              <a:extLst>
                <a:ext uri="{FF2B5EF4-FFF2-40B4-BE49-F238E27FC236}">
                  <a16:creationId xmlns:a16="http://schemas.microsoft.com/office/drawing/2014/main" id="{CA2B8755-B7BC-4A60-A8F4-7FADFD1B1DC2}"/>
                </a:ext>
              </a:extLst>
            </p:cNvPr>
            <p:cNvSpPr/>
            <p:nvPr/>
          </p:nvSpPr>
          <p:spPr>
            <a:xfrm rot="8716295">
              <a:off x="8103411" y="495317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4" name="Forme libre : forme 1133">
              <a:extLst>
                <a:ext uri="{FF2B5EF4-FFF2-40B4-BE49-F238E27FC236}">
                  <a16:creationId xmlns:a16="http://schemas.microsoft.com/office/drawing/2014/main" id="{E1AF4DEC-6ACA-4C7B-B12C-9DCB672B78AA}"/>
                </a:ext>
              </a:extLst>
            </p:cNvPr>
            <p:cNvSpPr/>
            <p:nvPr/>
          </p:nvSpPr>
          <p:spPr>
            <a:xfrm rot="8716295">
              <a:off x="7941579" y="5096694"/>
              <a:ext cx="58211" cy="55513"/>
            </a:xfrm>
            <a:custGeom>
              <a:avLst/>
              <a:gdLst>
                <a:gd name="connsiteX0" fmla="*/ 8658 w 58211"/>
                <a:gd name="connsiteY0" fmla="*/ 47310 h 55513"/>
                <a:gd name="connsiteX1" fmla="*/ 0 w 58211"/>
                <a:gd name="connsiteY1" fmla="*/ 26806 h 55513"/>
                <a:gd name="connsiteX2" fmla="*/ 0 w 58211"/>
                <a:gd name="connsiteY2" fmla="*/ 26349 h 55513"/>
                <a:gd name="connsiteX3" fmla="*/ 8658 w 58211"/>
                <a:gd name="connsiteY3" fmla="*/ 5845 h 55513"/>
                <a:gd name="connsiteX4" fmla="*/ 22501 w 58211"/>
                <a:gd name="connsiteY4" fmla="*/ 0 h 55513"/>
                <a:gd name="connsiteX5" fmla="*/ 57366 w 58211"/>
                <a:gd name="connsiteY5" fmla="*/ 24167 h 55513"/>
                <a:gd name="connsiteX6" fmla="*/ 58211 w 58211"/>
                <a:gd name="connsiteY6" fmla="*/ 26179 h 55513"/>
                <a:gd name="connsiteX7" fmla="*/ 49668 w 58211"/>
                <a:gd name="connsiteY7" fmla="*/ 46855 h 55513"/>
                <a:gd name="connsiteX8" fmla="*/ 29163 w 58211"/>
                <a:gd name="connsiteY8" fmla="*/ 55513 h 55513"/>
                <a:gd name="connsiteX9" fmla="*/ 8658 w 58211"/>
                <a:gd name="connsiteY9" fmla="*/ 47310 h 55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8211" h="55513">
                  <a:moveTo>
                    <a:pt x="8658" y="47310"/>
                  </a:moveTo>
                  <a:cubicBezTo>
                    <a:pt x="3190" y="41843"/>
                    <a:pt x="0" y="34551"/>
                    <a:pt x="0" y="26806"/>
                  </a:cubicBezTo>
                  <a:lnTo>
                    <a:pt x="0" y="26349"/>
                  </a:lnTo>
                  <a:cubicBezTo>
                    <a:pt x="0" y="18604"/>
                    <a:pt x="3190" y="11313"/>
                    <a:pt x="8658" y="5845"/>
                  </a:cubicBezTo>
                  <a:lnTo>
                    <a:pt x="22501" y="0"/>
                  </a:lnTo>
                  <a:lnTo>
                    <a:pt x="57366" y="24167"/>
                  </a:lnTo>
                  <a:lnTo>
                    <a:pt x="58211" y="26179"/>
                  </a:lnTo>
                  <a:cubicBezTo>
                    <a:pt x="58212" y="33641"/>
                    <a:pt x="55364" y="41159"/>
                    <a:pt x="49668" y="46855"/>
                  </a:cubicBezTo>
                  <a:cubicBezTo>
                    <a:pt x="44200" y="52323"/>
                    <a:pt x="36909" y="55512"/>
                    <a:pt x="29163" y="55513"/>
                  </a:cubicBezTo>
                  <a:cubicBezTo>
                    <a:pt x="21416" y="55512"/>
                    <a:pt x="14126" y="52778"/>
                    <a:pt x="8658" y="473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5" name="Forme libre : forme 1134">
              <a:extLst>
                <a:ext uri="{FF2B5EF4-FFF2-40B4-BE49-F238E27FC236}">
                  <a16:creationId xmlns:a16="http://schemas.microsoft.com/office/drawing/2014/main" id="{B8F042BB-C9F6-4157-AE20-FD1AD8D9B197}"/>
                </a:ext>
              </a:extLst>
            </p:cNvPr>
            <p:cNvSpPr/>
            <p:nvPr/>
          </p:nvSpPr>
          <p:spPr>
            <a:xfrm rot="8716295">
              <a:off x="7821732" y="489008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6" name="Forme libre : forme 1135">
              <a:extLst>
                <a:ext uri="{FF2B5EF4-FFF2-40B4-BE49-F238E27FC236}">
                  <a16:creationId xmlns:a16="http://schemas.microsoft.com/office/drawing/2014/main" id="{42560913-1E4E-4677-9E81-A4912B35BE09}"/>
                </a:ext>
              </a:extLst>
            </p:cNvPr>
            <p:cNvSpPr/>
            <p:nvPr/>
          </p:nvSpPr>
          <p:spPr>
            <a:xfrm rot="8716295">
              <a:off x="7809680" y="475130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7" name="Forme libre : forme 1136">
              <a:extLst>
                <a:ext uri="{FF2B5EF4-FFF2-40B4-BE49-F238E27FC236}">
                  <a16:creationId xmlns:a16="http://schemas.microsoft.com/office/drawing/2014/main" id="{7BFA6FDC-5CB7-4DDB-87E8-074ECA1084F2}"/>
                </a:ext>
              </a:extLst>
            </p:cNvPr>
            <p:cNvSpPr/>
            <p:nvPr/>
          </p:nvSpPr>
          <p:spPr>
            <a:xfrm rot="8716295">
              <a:off x="8347968" y="476006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8" name="Forme libre : forme 1137">
              <a:extLst>
                <a:ext uri="{FF2B5EF4-FFF2-40B4-BE49-F238E27FC236}">
                  <a16:creationId xmlns:a16="http://schemas.microsoft.com/office/drawing/2014/main" id="{A72146F5-0FE8-433A-B4E4-A08CDA8CE838}"/>
                </a:ext>
              </a:extLst>
            </p:cNvPr>
            <p:cNvSpPr/>
            <p:nvPr/>
          </p:nvSpPr>
          <p:spPr>
            <a:xfrm rot="8716295">
              <a:off x="8437360" y="478930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9" name="Forme libre : forme 1138">
              <a:extLst>
                <a:ext uri="{FF2B5EF4-FFF2-40B4-BE49-F238E27FC236}">
                  <a16:creationId xmlns:a16="http://schemas.microsoft.com/office/drawing/2014/main" id="{B0815185-98D4-4C05-A864-471788D20585}"/>
                </a:ext>
              </a:extLst>
            </p:cNvPr>
            <p:cNvSpPr/>
            <p:nvPr/>
          </p:nvSpPr>
          <p:spPr>
            <a:xfrm rot="8716295">
              <a:off x="8235734" y="484860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0" name="Forme libre : forme 1139">
              <a:extLst>
                <a:ext uri="{FF2B5EF4-FFF2-40B4-BE49-F238E27FC236}">
                  <a16:creationId xmlns:a16="http://schemas.microsoft.com/office/drawing/2014/main" id="{ADDDCEE7-B6A9-4A01-8C1B-1A7C3E608705}"/>
                </a:ext>
              </a:extLst>
            </p:cNvPr>
            <p:cNvSpPr/>
            <p:nvPr/>
          </p:nvSpPr>
          <p:spPr>
            <a:xfrm rot="8716295">
              <a:off x="8110832" y="463993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1" name="Forme libre : forme 1140">
              <a:extLst>
                <a:ext uri="{FF2B5EF4-FFF2-40B4-BE49-F238E27FC236}">
                  <a16:creationId xmlns:a16="http://schemas.microsoft.com/office/drawing/2014/main" id="{286D2BD3-550D-4955-8EE3-067F78BD5B31}"/>
                </a:ext>
              </a:extLst>
            </p:cNvPr>
            <p:cNvSpPr/>
            <p:nvPr/>
          </p:nvSpPr>
          <p:spPr>
            <a:xfrm rot="8716295">
              <a:off x="8325912" y="488955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2" name="Forme libre : forme 1141">
              <a:extLst>
                <a:ext uri="{FF2B5EF4-FFF2-40B4-BE49-F238E27FC236}">
                  <a16:creationId xmlns:a16="http://schemas.microsoft.com/office/drawing/2014/main" id="{74F489EB-7AD1-4764-88E8-EF5930816B76}"/>
                </a:ext>
              </a:extLst>
            </p:cNvPr>
            <p:cNvSpPr/>
            <p:nvPr/>
          </p:nvSpPr>
          <p:spPr>
            <a:xfrm rot="8716295">
              <a:off x="8084461" y="473995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3" name="Forme libre : forme 1142">
              <a:extLst>
                <a:ext uri="{FF2B5EF4-FFF2-40B4-BE49-F238E27FC236}">
                  <a16:creationId xmlns:a16="http://schemas.microsoft.com/office/drawing/2014/main" id="{848DCC45-C596-44D7-A17C-7DD4A4668DE6}"/>
                </a:ext>
              </a:extLst>
            </p:cNvPr>
            <p:cNvSpPr/>
            <p:nvPr/>
          </p:nvSpPr>
          <p:spPr>
            <a:xfrm rot="7484129">
              <a:off x="8500513" y="5042942"/>
              <a:ext cx="102412" cy="181729"/>
            </a:xfrm>
            <a:custGeom>
              <a:avLst/>
              <a:gdLst>
                <a:gd name="connsiteX0" fmla="*/ 0 w 102412"/>
                <a:gd name="connsiteY0" fmla="*/ 41179 h 181729"/>
                <a:gd name="connsiteX1" fmla="*/ 0 w 102412"/>
                <a:gd name="connsiteY1" fmla="*/ 0 h 181729"/>
                <a:gd name="connsiteX2" fmla="*/ 28551 w 102412"/>
                <a:gd name="connsiteY2" fmla="*/ 41179 h 181729"/>
                <a:gd name="connsiteX3" fmla="*/ 90709 w 102412"/>
                <a:gd name="connsiteY3" fmla="*/ 181729 h 181729"/>
                <a:gd name="connsiteX4" fmla="*/ 47847 w 102412"/>
                <a:gd name="connsiteY4" fmla="*/ 101985 h 181729"/>
                <a:gd name="connsiteX5" fmla="*/ 55670 w 102412"/>
                <a:gd name="connsiteY5" fmla="*/ 80292 h 181729"/>
                <a:gd name="connsiteX6" fmla="*/ 102412 w 102412"/>
                <a:gd name="connsiteY6" fmla="*/ 147707 h 181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2412" h="181729">
                  <a:moveTo>
                    <a:pt x="0" y="41179"/>
                  </a:moveTo>
                  <a:lnTo>
                    <a:pt x="0" y="0"/>
                  </a:lnTo>
                  <a:lnTo>
                    <a:pt x="28551" y="41179"/>
                  </a:lnTo>
                  <a:close/>
                  <a:moveTo>
                    <a:pt x="90709" y="181729"/>
                  </a:moveTo>
                  <a:lnTo>
                    <a:pt x="47847" y="101985"/>
                  </a:lnTo>
                  <a:lnTo>
                    <a:pt x="55670" y="80292"/>
                  </a:lnTo>
                  <a:lnTo>
                    <a:pt x="102412" y="14770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4" name="Forme libre : forme 1143">
              <a:extLst>
                <a:ext uri="{FF2B5EF4-FFF2-40B4-BE49-F238E27FC236}">
                  <a16:creationId xmlns:a16="http://schemas.microsoft.com/office/drawing/2014/main" id="{7A947FA2-4A2A-44E5-9A4C-F2720B1B3F87}"/>
                </a:ext>
              </a:extLst>
            </p:cNvPr>
            <p:cNvSpPr/>
            <p:nvPr/>
          </p:nvSpPr>
          <p:spPr>
            <a:xfrm rot="13089394">
              <a:off x="8615617" y="5055433"/>
              <a:ext cx="225779" cy="83483"/>
            </a:xfrm>
            <a:custGeom>
              <a:avLst/>
              <a:gdLst>
                <a:gd name="connsiteX0" fmla="*/ 225779 w 225779"/>
                <a:gd name="connsiteY0" fmla="*/ 12691 h 83483"/>
                <a:gd name="connsiteX1" fmla="*/ 44792 w 225779"/>
                <a:gd name="connsiteY1" fmla="*/ 83320 h 83483"/>
                <a:gd name="connsiteX2" fmla="*/ 7960 w 225779"/>
                <a:gd name="connsiteY2" fmla="*/ 76974 h 83483"/>
                <a:gd name="connsiteX3" fmla="*/ 0 w 225779"/>
                <a:gd name="connsiteY3" fmla="*/ 71526 h 83483"/>
                <a:gd name="connsiteX4" fmla="*/ 70403 w 225779"/>
                <a:gd name="connsiteY4" fmla="*/ 16211 h 83483"/>
                <a:gd name="connsiteX5" fmla="*/ 107144 w 225779"/>
                <a:gd name="connsiteY5" fmla="*/ 36418 h 83483"/>
                <a:gd name="connsiteX6" fmla="*/ 156805 w 225779"/>
                <a:gd name="connsiteY6" fmla="*/ 27589 h 83483"/>
                <a:gd name="connsiteX7" fmla="*/ 224676 w 225779"/>
                <a:gd name="connsiteY7" fmla="*/ 0 h 83483"/>
                <a:gd name="connsiteX8" fmla="*/ 225779 w 225779"/>
                <a:gd name="connsiteY8" fmla="*/ 7173 h 83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5779" h="83483">
                  <a:moveTo>
                    <a:pt x="225779" y="12691"/>
                  </a:moveTo>
                  <a:cubicBezTo>
                    <a:pt x="167290" y="62904"/>
                    <a:pt x="90590" y="80561"/>
                    <a:pt x="44792" y="83320"/>
                  </a:cubicBezTo>
                  <a:cubicBezTo>
                    <a:pt x="32101" y="84147"/>
                    <a:pt x="19548" y="81802"/>
                    <a:pt x="7960" y="76974"/>
                  </a:cubicBezTo>
                  <a:lnTo>
                    <a:pt x="0" y="71526"/>
                  </a:lnTo>
                  <a:lnTo>
                    <a:pt x="70403" y="16211"/>
                  </a:lnTo>
                  <a:lnTo>
                    <a:pt x="107144" y="36418"/>
                  </a:lnTo>
                  <a:cubicBezTo>
                    <a:pt x="124250" y="35866"/>
                    <a:pt x="140803" y="32555"/>
                    <a:pt x="156805" y="27589"/>
                  </a:cubicBezTo>
                  <a:cubicBezTo>
                    <a:pt x="179981" y="20416"/>
                    <a:pt x="202604" y="11036"/>
                    <a:pt x="224676" y="0"/>
                  </a:cubicBezTo>
                  <a:cubicBezTo>
                    <a:pt x="225227" y="2207"/>
                    <a:pt x="225779" y="4965"/>
                    <a:pt x="225779" y="71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5" name="Forme libre : forme 1144">
              <a:extLst>
                <a:ext uri="{FF2B5EF4-FFF2-40B4-BE49-F238E27FC236}">
                  <a16:creationId xmlns:a16="http://schemas.microsoft.com/office/drawing/2014/main" id="{39ED4F39-D158-4423-B25C-BC478768EA1A}"/>
                </a:ext>
              </a:extLst>
            </p:cNvPr>
            <p:cNvSpPr/>
            <p:nvPr/>
          </p:nvSpPr>
          <p:spPr>
            <a:xfrm rot="8716295">
              <a:off x="8721248" y="485576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6" name="Forme libre : forme 1145">
              <a:extLst>
                <a:ext uri="{FF2B5EF4-FFF2-40B4-BE49-F238E27FC236}">
                  <a16:creationId xmlns:a16="http://schemas.microsoft.com/office/drawing/2014/main" id="{1CB5F890-4E11-48EA-BB42-A7836BF6E61A}"/>
                </a:ext>
              </a:extLst>
            </p:cNvPr>
            <p:cNvSpPr/>
            <p:nvPr/>
          </p:nvSpPr>
          <p:spPr>
            <a:xfrm rot="8716295">
              <a:off x="8669443" y="475216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7" name="Forme libre : forme 1146">
              <a:extLst>
                <a:ext uri="{FF2B5EF4-FFF2-40B4-BE49-F238E27FC236}">
                  <a16:creationId xmlns:a16="http://schemas.microsoft.com/office/drawing/2014/main" id="{2FE11692-ECC8-46EB-8FDE-A35EDA11A744}"/>
                </a:ext>
              </a:extLst>
            </p:cNvPr>
            <p:cNvSpPr/>
            <p:nvPr/>
          </p:nvSpPr>
          <p:spPr>
            <a:xfrm rot="8716295">
              <a:off x="8426197" y="478239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8" name="Forme libre : forme 1147">
              <a:extLst>
                <a:ext uri="{FF2B5EF4-FFF2-40B4-BE49-F238E27FC236}">
                  <a16:creationId xmlns:a16="http://schemas.microsoft.com/office/drawing/2014/main" id="{DA75CED1-0CC6-4289-861E-A817A7D7FDCB}"/>
                </a:ext>
              </a:extLst>
            </p:cNvPr>
            <p:cNvSpPr/>
            <p:nvPr/>
          </p:nvSpPr>
          <p:spPr>
            <a:xfrm rot="8716295">
              <a:off x="8603649" y="462314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9" name="Forme libre : forme 1148">
              <a:extLst>
                <a:ext uri="{FF2B5EF4-FFF2-40B4-BE49-F238E27FC236}">
                  <a16:creationId xmlns:a16="http://schemas.microsoft.com/office/drawing/2014/main" id="{E3DA200A-0DBF-467B-A809-7E259C003918}"/>
                </a:ext>
              </a:extLst>
            </p:cNvPr>
            <p:cNvSpPr/>
            <p:nvPr/>
          </p:nvSpPr>
          <p:spPr>
            <a:xfrm rot="8716295">
              <a:off x="7614184" y="368954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0" name="Forme libre : forme 1149">
              <a:extLst>
                <a:ext uri="{FF2B5EF4-FFF2-40B4-BE49-F238E27FC236}">
                  <a16:creationId xmlns:a16="http://schemas.microsoft.com/office/drawing/2014/main" id="{9D92A201-A401-4BB8-B0E2-C72AA1A3DC87}"/>
                </a:ext>
              </a:extLst>
            </p:cNvPr>
            <p:cNvSpPr/>
            <p:nvPr/>
          </p:nvSpPr>
          <p:spPr>
            <a:xfrm rot="8716295">
              <a:off x="7703576" y="371878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1" name="Forme libre : forme 1150">
              <a:extLst>
                <a:ext uri="{FF2B5EF4-FFF2-40B4-BE49-F238E27FC236}">
                  <a16:creationId xmlns:a16="http://schemas.microsoft.com/office/drawing/2014/main" id="{79DA82A8-A0CA-4B4F-BBBB-315766D51523}"/>
                </a:ext>
              </a:extLst>
            </p:cNvPr>
            <p:cNvSpPr/>
            <p:nvPr/>
          </p:nvSpPr>
          <p:spPr>
            <a:xfrm rot="8716295">
              <a:off x="7658726" y="363250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2" name="Forme libre : forme 1151">
              <a:extLst>
                <a:ext uri="{FF2B5EF4-FFF2-40B4-BE49-F238E27FC236}">
                  <a16:creationId xmlns:a16="http://schemas.microsoft.com/office/drawing/2014/main" id="{8B5996A9-C87F-4F13-AF9E-E2187D14CB27}"/>
                </a:ext>
              </a:extLst>
            </p:cNvPr>
            <p:cNvSpPr/>
            <p:nvPr/>
          </p:nvSpPr>
          <p:spPr>
            <a:xfrm rot="8716295">
              <a:off x="7501950" y="377808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3" name="Forme libre : forme 1152">
              <a:extLst>
                <a:ext uri="{FF2B5EF4-FFF2-40B4-BE49-F238E27FC236}">
                  <a16:creationId xmlns:a16="http://schemas.microsoft.com/office/drawing/2014/main" id="{9D90D6A8-2DAB-4C1A-9D9D-7615E3303858}"/>
                </a:ext>
              </a:extLst>
            </p:cNvPr>
            <p:cNvSpPr/>
            <p:nvPr/>
          </p:nvSpPr>
          <p:spPr>
            <a:xfrm rot="8716295">
              <a:off x="7377047" y="356941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4" name="Forme libre : forme 1153">
              <a:extLst>
                <a:ext uri="{FF2B5EF4-FFF2-40B4-BE49-F238E27FC236}">
                  <a16:creationId xmlns:a16="http://schemas.microsoft.com/office/drawing/2014/main" id="{49FBE6DC-FE15-41E4-B5B4-10D7B4864EFF}"/>
                </a:ext>
              </a:extLst>
            </p:cNvPr>
            <p:cNvSpPr/>
            <p:nvPr/>
          </p:nvSpPr>
          <p:spPr>
            <a:xfrm rot="8716295">
              <a:off x="7364995" y="343063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5" name="Forme libre : forme 1154">
              <a:extLst>
                <a:ext uri="{FF2B5EF4-FFF2-40B4-BE49-F238E27FC236}">
                  <a16:creationId xmlns:a16="http://schemas.microsoft.com/office/drawing/2014/main" id="{7D94CD64-B4CB-4A42-A476-CA0C3DFEE258}"/>
                </a:ext>
              </a:extLst>
            </p:cNvPr>
            <p:cNvSpPr/>
            <p:nvPr/>
          </p:nvSpPr>
          <p:spPr>
            <a:xfrm rot="8716295">
              <a:off x="7592128" y="381903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6" name="Forme libre : forme 1155">
              <a:extLst>
                <a:ext uri="{FF2B5EF4-FFF2-40B4-BE49-F238E27FC236}">
                  <a16:creationId xmlns:a16="http://schemas.microsoft.com/office/drawing/2014/main" id="{E15F6D57-42A0-4212-B322-938D731726CE}"/>
                </a:ext>
              </a:extLst>
            </p:cNvPr>
            <p:cNvSpPr/>
            <p:nvPr/>
          </p:nvSpPr>
          <p:spPr>
            <a:xfrm rot="8716295">
              <a:off x="7903283" y="343938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7" name="Forme libre : forme 1156">
              <a:extLst>
                <a:ext uri="{FF2B5EF4-FFF2-40B4-BE49-F238E27FC236}">
                  <a16:creationId xmlns:a16="http://schemas.microsoft.com/office/drawing/2014/main" id="{0096F62B-549C-4459-9305-3A442F92B5A1}"/>
                </a:ext>
              </a:extLst>
            </p:cNvPr>
            <p:cNvSpPr/>
            <p:nvPr/>
          </p:nvSpPr>
          <p:spPr>
            <a:xfrm rot="8716295">
              <a:off x="7992675" y="346863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8" name="Forme libre : forme 1157">
              <a:extLst>
                <a:ext uri="{FF2B5EF4-FFF2-40B4-BE49-F238E27FC236}">
                  <a16:creationId xmlns:a16="http://schemas.microsoft.com/office/drawing/2014/main" id="{3DE0E646-3932-4C85-B367-D7385C416577}"/>
                </a:ext>
              </a:extLst>
            </p:cNvPr>
            <p:cNvSpPr/>
            <p:nvPr/>
          </p:nvSpPr>
          <p:spPr>
            <a:xfrm rot="8716295">
              <a:off x="7791049" y="352793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9" name="Forme libre : forme 1158">
              <a:extLst>
                <a:ext uri="{FF2B5EF4-FFF2-40B4-BE49-F238E27FC236}">
                  <a16:creationId xmlns:a16="http://schemas.microsoft.com/office/drawing/2014/main" id="{340EEC8A-A514-4289-B2AE-301D73A339EB}"/>
                </a:ext>
              </a:extLst>
            </p:cNvPr>
            <p:cNvSpPr/>
            <p:nvPr/>
          </p:nvSpPr>
          <p:spPr>
            <a:xfrm rot="8716295">
              <a:off x="7666147" y="331926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0" name="Forme libre : forme 1159">
              <a:extLst>
                <a:ext uri="{FF2B5EF4-FFF2-40B4-BE49-F238E27FC236}">
                  <a16:creationId xmlns:a16="http://schemas.microsoft.com/office/drawing/2014/main" id="{BBF08D7F-AB50-4F5F-92DC-B2A874D297A9}"/>
                </a:ext>
              </a:extLst>
            </p:cNvPr>
            <p:cNvSpPr/>
            <p:nvPr/>
          </p:nvSpPr>
          <p:spPr>
            <a:xfrm rot="8716295">
              <a:off x="7881227" y="356888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1" name="Forme libre : forme 1160">
              <a:extLst>
                <a:ext uri="{FF2B5EF4-FFF2-40B4-BE49-F238E27FC236}">
                  <a16:creationId xmlns:a16="http://schemas.microsoft.com/office/drawing/2014/main" id="{AF11B51D-4A34-4A10-8CC2-9BAFA07FF6D7}"/>
                </a:ext>
              </a:extLst>
            </p:cNvPr>
            <p:cNvSpPr/>
            <p:nvPr/>
          </p:nvSpPr>
          <p:spPr>
            <a:xfrm rot="8716295">
              <a:off x="7639776" y="341928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2" name="Forme libre : forme 1161">
              <a:extLst>
                <a:ext uri="{FF2B5EF4-FFF2-40B4-BE49-F238E27FC236}">
                  <a16:creationId xmlns:a16="http://schemas.microsoft.com/office/drawing/2014/main" id="{19A2DF71-5EF9-42D2-9E22-9A592E16CE1F}"/>
                </a:ext>
              </a:extLst>
            </p:cNvPr>
            <p:cNvSpPr/>
            <p:nvPr/>
          </p:nvSpPr>
          <p:spPr>
            <a:xfrm rot="7484129">
              <a:off x="7986158" y="376023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3" name="Forme libre : forme 1162">
              <a:extLst>
                <a:ext uri="{FF2B5EF4-FFF2-40B4-BE49-F238E27FC236}">
                  <a16:creationId xmlns:a16="http://schemas.microsoft.com/office/drawing/2014/main" id="{ECF89376-999C-4FB6-A0B0-CD63B4196AF0}"/>
                </a:ext>
              </a:extLst>
            </p:cNvPr>
            <p:cNvSpPr/>
            <p:nvPr/>
          </p:nvSpPr>
          <p:spPr>
            <a:xfrm rot="13089394">
              <a:off x="8090978" y="372677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4" name="Forme libre : forme 1163">
              <a:extLst>
                <a:ext uri="{FF2B5EF4-FFF2-40B4-BE49-F238E27FC236}">
                  <a16:creationId xmlns:a16="http://schemas.microsoft.com/office/drawing/2014/main" id="{2FB7576F-977D-487A-A779-FFB16DC20CBE}"/>
                </a:ext>
              </a:extLst>
            </p:cNvPr>
            <p:cNvSpPr/>
            <p:nvPr/>
          </p:nvSpPr>
          <p:spPr>
            <a:xfrm rot="8716295">
              <a:off x="8276563" y="353508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5" name="Forme libre : forme 1164">
              <a:extLst>
                <a:ext uri="{FF2B5EF4-FFF2-40B4-BE49-F238E27FC236}">
                  <a16:creationId xmlns:a16="http://schemas.microsoft.com/office/drawing/2014/main" id="{B3B583BE-52BB-4659-A9E4-9638AD2373BB}"/>
                </a:ext>
              </a:extLst>
            </p:cNvPr>
            <p:cNvSpPr/>
            <p:nvPr/>
          </p:nvSpPr>
          <p:spPr>
            <a:xfrm rot="8716295">
              <a:off x="8224758" y="343149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6" name="Forme libre : forme 1165">
              <a:extLst>
                <a:ext uri="{FF2B5EF4-FFF2-40B4-BE49-F238E27FC236}">
                  <a16:creationId xmlns:a16="http://schemas.microsoft.com/office/drawing/2014/main" id="{C7154427-FACD-42B2-ADC3-A6FEB97A7B7A}"/>
                </a:ext>
              </a:extLst>
            </p:cNvPr>
            <p:cNvSpPr/>
            <p:nvPr/>
          </p:nvSpPr>
          <p:spPr>
            <a:xfrm rot="8716295">
              <a:off x="7981512" y="346171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7" name="Forme libre : forme 1166">
              <a:extLst>
                <a:ext uri="{FF2B5EF4-FFF2-40B4-BE49-F238E27FC236}">
                  <a16:creationId xmlns:a16="http://schemas.microsoft.com/office/drawing/2014/main" id="{846AA465-4FEC-4EA7-9F46-8AC26FB6F4CA}"/>
                </a:ext>
              </a:extLst>
            </p:cNvPr>
            <p:cNvSpPr/>
            <p:nvPr/>
          </p:nvSpPr>
          <p:spPr>
            <a:xfrm rot="8716295">
              <a:off x="8158964" y="330247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8" name="Forme libre : forme 1167">
              <a:extLst>
                <a:ext uri="{FF2B5EF4-FFF2-40B4-BE49-F238E27FC236}">
                  <a16:creationId xmlns:a16="http://schemas.microsoft.com/office/drawing/2014/main" id="{1C5A03CD-5F8E-4F7E-B077-E3D486F6E4FC}"/>
                </a:ext>
              </a:extLst>
            </p:cNvPr>
            <p:cNvSpPr/>
            <p:nvPr/>
          </p:nvSpPr>
          <p:spPr>
            <a:xfrm rot="8716295">
              <a:off x="7837351" y="434924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9" name="Forme libre : forme 1168">
              <a:extLst>
                <a:ext uri="{FF2B5EF4-FFF2-40B4-BE49-F238E27FC236}">
                  <a16:creationId xmlns:a16="http://schemas.microsoft.com/office/drawing/2014/main" id="{A3C54C69-E017-421B-9FCB-48E02E5B88D5}"/>
                </a:ext>
              </a:extLst>
            </p:cNvPr>
            <p:cNvSpPr/>
            <p:nvPr/>
          </p:nvSpPr>
          <p:spPr>
            <a:xfrm rot="8716295">
              <a:off x="7926743" y="437848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0" name="Forme libre : forme 1169">
              <a:extLst>
                <a:ext uri="{FF2B5EF4-FFF2-40B4-BE49-F238E27FC236}">
                  <a16:creationId xmlns:a16="http://schemas.microsoft.com/office/drawing/2014/main" id="{8629CE69-864F-4EE6-B494-A17DC76E667F}"/>
                </a:ext>
              </a:extLst>
            </p:cNvPr>
            <p:cNvSpPr/>
            <p:nvPr/>
          </p:nvSpPr>
          <p:spPr>
            <a:xfrm rot="8716295">
              <a:off x="7881893" y="429220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1" name="Forme libre : forme 1170">
              <a:extLst>
                <a:ext uri="{FF2B5EF4-FFF2-40B4-BE49-F238E27FC236}">
                  <a16:creationId xmlns:a16="http://schemas.microsoft.com/office/drawing/2014/main" id="{F6A5667A-39C4-44BA-804E-5395FBF424A8}"/>
                </a:ext>
              </a:extLst>
            </p:cNvPr>
            <p:cNvSpPr/>
            <p:nvPr/>
          </p:nvSpPr>
          <p:spPr>
            <a:xfrm rot="8716295">
              <a:off x="7725117" y="443778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2" name="Forme libre : forme 1171">
              <a:extLst>
                <a:ext uri="{FF2B5EF4-FFF2-40B4-BE49-F238E27FC236}">
                  <a16:creationId xmlns:a16="http://schemas.microsoft.com/office/drawing/2014/main" id="{66550BB0-7261-45C4-B672-89C2B638E15A}"/>
                </a:ext>
              </a:extLst>
            </p:cNvPr>
            <p:cNvSpPr/>
            <p:nvPr/>
          </p:nvSpPr>
          <p:spPr>
            <a:xfrm rot="8716295">
              <a:off x="7600214" y="422911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3" name="Forme libre : forme 1172">
              <a:extLst>
                <a:ext uri="{FF2B5EF4-FFF2-40B4-BE49-F238E27FC236}">
                  <a16:creationId xmlns:a16="http://schemas.microsoft.com/office/drawing/2014/main" id="{420EB997-CA34-4E05-86E2-81CD1690B28B}"/>
                </a:ext>
              </a:extLst>
            </p:cNvPr>
            <p:cNvSpPr/>
            <p:nvPr/>
          </p:nvSpPr>
          <p:spPr>
            <a:xfrm rot="8716295">
              <a:off x="7588162" y="4090331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4" name="Forme libre : forme 1173">
              <a:extLst>
                <a:ext uri="{FF2B5EF4-FFF2-40B4-BE49-F238E27FC236}">
                  <a16:creationId xmlns:a16="http://schemas.microsoft.com/office/drawing/2014/main" id="{F89D5A3F-20B8-4A58-8C23-93C433B8124B}"/>
                </a:ext>
              </a:extLst>
            </p:cNvPr>
            <p:cNvSpPr/>
            <p:nvPr/>
          </p:nvSpPr>
          <p:spPr>
            <a:xfrm rot="8716295">
              <a:off x="7815295" y="447873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5" name="Forme libre : forme 1174">
              <a:extLst>
                <a:ext uri="{FF2B5EF4-FFF2-40B4-BE49-F238E27FC236}">
                  <a16:creationId xmlns:a16="http://schemas.microsoft.com/office/drawing/2014/main" id="{3D6899F7-E78B-45C3-8C5E-9B72454B3CE5}"/>
                </a:ext>
              </a:extLst>
            </p:cNvPr>
            <p:cNvSpPr/>
            <p:nvPr/>
          </p:nvSpPr>
          <p:spPr>
            <a:xfrm rot="8716295">
              <a:off x="8126450" y="409908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6" name="Forme libre : forme 1175">
              <a:extLst>
                <a:ext uri="{FF2B5EF4-FFF2-40B4-BE49-F238E27FC236}">
                  <a16:creationId xmlns:a16="http://schemas.microsoft.com/office/drawing/2014/main" id="{4BE7A350-33AF-4013-BE12-592AC789A5B0}"/>
                </a:ext>
              </a:extLst>
            </p:cNvPr>
            <p:cNvSpPr/>
            <p:nvPr/>
          </p:nvSpPr>
          <p:spPr>
            <a:xfrm rot="8716295">
              <a:off x="8215842" y="412833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7" name="Forme libre : forme 1176">
              <a:extLst>
                <a:ext uri="{FF2B5EF4-FFF2-40B4-BE49-F238E27FC236}">
                  <a16:creationId xmlns:a16="http://schemas.microsoft.com/office/drawing/2014/main" id="{8CC775CD-B94F-4EE8-84DE-64B0E72EE88B}"/>
                </a:ext>
              </a:extLst>
            </p:cNvPr>
            <p:cNvSpPr/>
            <p:nvPr/>
          </p:nvSpPr>
          <p:spPr>
            <a:xfrm rot="8716295">
              <a:off x="8014216" y="418763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8" name="Forme libre : forme 1177">
              <a:extLst>
                <a:ext uri="{FF2B5EF4-FFF2-40B4-BE49-F238E27FC236}">
                  <a16:creationId xmlns:a16="http://schemas.microsoft.com/office/drawing/2014/main" id="{D5C7DC3C-BE17-4FC7-B720-096C91CE00BF}"/>
                </a:ext>
              </a:extLst>
            </p:cNvPr>
            <p:cNvSpPr/>
            <p:nvPr/>
          </p:nvSpPr>
          <p:spPr>
            <a:xfrm rot="8716295">
              <a:off x="7889314" y="397895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9" name="Forme libre : forme 1178">
              <a:extLst>
                <a:ext uri="{FF2B5EF4-FFF2-40B4-BE49-F238E27FC236}">
                  <a16:creationId xmlns:a16="http://schemas.microsoft.com/office/drawing/2014/main" id="{6BDC2261-090A-49AA-8E70-A2121C18643A}"/>
                </a:ext>
              </a:extLst>
            </p:cNvPr>
            <p:cNvSpPr/>
            <p:nvPr/>
          </p:nvSpPr>
          <p:spPr>
            <a:xfrm rot="8716295">
              <a:off x="8104394" y="422858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0" name="Forme libre : forme 1179">
              <a:extLst>
                <a:ext uri="{FF2B5EF4-FFF2-40B4-BE49-F238E27FC236}">
                  <a16:creationId xmlns:a16="http://schemas.microsoft.com/office/drawing/2014/main" id="{E0B0FE31-338C-48EF-82D0-84F5E36B60EC}"/>
                </a:ext>
              </a:extLst>
            </p:cNvPr>
            <p:cNvSpPr/>
            <p:nvPr/>
          </p:nvSpPr>
          <p:spPr>
            <a:xfrm rot="8716295">
              <a:off x="7862943" y="407898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1" name="Forme libre : forme 1180">
              <a:extLst>
                <a:ext uri="{FF2B5EF4-FFF2-40B4-BE49-F238E27FC236}">
                  <a16:creationId xmlns:a16="http://schemas.microsoft.com/office/drawing/2014/main" id="{0109B29D-4E66-45E1-8B31-E15A265250AC}"/>
                </a:ext>
              </a:extLst>
            </p:cNvPr>
            <p:cNvSpPr/>
            <p:nvPr/>
          </p:nvSpPr>
          <p:spPr>
            <a:xfrm rot="7484129">
              <a:off x="8209325" y="441993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2" name="Forme libre : forme 1181">
              <a:extLst>
                <a:ext uri="{FF2B5EF4-FFF2-40B4-BE49-F238E27FC236}">
                  <a16:creationId xmlns:a16="http://schemas.microsoft.com/office/drawing/2014/main" id="{3FAC18C9-44B5-40A5-96E0-CFC26768C4D4}"/>
                </a:ext>
              </a:extLst>
            </p:cNvPr>
            <p:cNvSpPr/>
            <p:nvPr/>
          </p:nvSpPr>
          <p:spPr>
            <a:xfrm rot="13089394">
              <a:off x="8314145" y="4386469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3" name="Forme libre : forme 1182">
              <a:extLst>
                <a:ext uri="{FF2B5EF4-FFF2-40B4-BE49-F238E27FC236}">
                  <a16:creationId xmlns:a16="http://schemas.microsoft.com/office/drawing/2014/main" id="{4E3D2B23-BEFF-40D9-B6DB-37F124FD3C95}"/>
                </a:ext>
              </a:extLst>
            </p:cNvPr>
            <p:cNvSpPr/>
            <p:nvPr/>
          </p:nvSpPr>
          <p:spPr>
            <a:xfrm rot="8716295">
              <a:off x="8499730" y="419478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4" name="Forme libre : forme 1183">
              <a:extLst>
                <a:ext uri="{FF2B5EF4-FFF2-40B4-BE49-F238E27FC236}">
                  <a16:creationId xmlns:a16="http://schemas.microsoft.com/office/drawing/2014/main" id="{28DC055A-3C20-403E-B18A-B01A6D4D41D9}"/>
                </a:ext>
              </a:extLst>
            </p:cNvPr>
            <p:cNvSpPr/>
            <p:nvPr/>
          </p:nvSpPr>
          <p:spPr>
            <a:xfrm rot="8716295">
              <a:off x="8447925" y="409119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5" name="Forme libre : forme 1184">
              <a:extLst>
                <a:ext uri="{FF2B5EF4-FFF2-40B4-BE49-F238E27FC236}">
                  <a16:creationId xmlns:a16="http://schemas.microsoft.com/office/drawing/2014/main" id="{4FC27D3B-4F75-4013-B2B8-3865EB368D2F}"/>
                </a:ext>
              </a:extLst>
            </p:cNvPr>
            <p:cNvSpPr/>
            <p:nvPr/>
          </p:nvSpPr>
          <p:spPr>
            <a:xfrm rot="8716295">
              <a:off x="8204679" y="412141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6" name="Forme libre : forme 1185">
              <a:extLst>
                <a:ext uri="{FF2B5EF4-FFF2-40B4-BE49-F238E27FC236}">
                  <a16:creationId xmlns:a16="http://schemas.microsoft.com/office/drawing/2014/main" id="{AA78BC68-C129-41C5-BCC5-3BDBF1C6DDA8}"/>
                </a:ext>
              </a:extLst>
            </p:cNvPr>
            <p:cNvSpPr/>
            <p:nvPr/>
          </p:nvSpPr>
          <p:spPr>
            <a:xfrm rot="8716295">
              <a:off x="8382131" y="396217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7" name="Forme libre : forme 1186">
              <a:extLst>
                <a:ext uri="{FF2B5EF4-FFF2-40B4-BE49-F238E27FC236}">
                  <a16:creationId xmlns:a16="http://schemas.microsoft.com/office/drawing/2014/main" id="{AB1FFA2C-792B-47BA-B840-8265A523ABB9}"/>
                </a:ext>
              </a:extLst>
            </p:cNvPr>
            <p:cNvSpPr/>
            <p:nvPr/>
          </p:nvSpPr>
          <p:spPr>
            <a:xfrm rot="8716295">
              <a:off x="6950829" y="171047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8" name="Forme libre : forme 1187">
              <a:extLst>
                <a:ext uri="{FF2B5EF4-FFF2-40B4-BE49-F238E27FC236}">
                  <a16:creationId xmlns:a16="http://schemas.microsoft.com/office/drawing/2014/main" id="{1340850E-4196-4DCD-9404-99CDA26BEA50}"/>
                </a:ext>
              </a:extLst>
            </p:cNvPr>
            <p:cNvSpPr/>
            <p:nvPr/>
          </p:nvSpPr>
          <p:spPr>
            <a:xfrm rot="8716295">
              <a:off x="7040221" y="173971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9" name="Forme libre : forme 1188">
              <a:extLst>
                <a:ext uri="{FF2B5EF4-FFF2-40B4-BE49-F238E27FC236}">
                  <a16:creationId xmlns:a16="http://schemas.microsoft.com/office/drawing/2014/main" id="{E59EE44C-1FC2-4EAA-9CFD-E7A5FA798CFB}"/>
                </a:ext>
              </a:extLst>
            </p:cNvPr>
            <p:cNvSpPr/>
            <p:nvPr/>
          </p:nvSpPr>
          <p:spPr>
            <a:xfrm rot="8716295">
              <a:off x="6995371" y="165343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0" name="Forme libre : forme 1189">
              <a:extLst>
                <a:ext uri="{FF2B5EF4-FFF2-40B4-BE49-F238E27FC236}">
                  <a16:creationId xmlns:a16="http://schemas.microsoft.com/office/drawing/2014/main" id="{C6B79EE2-6C49-4D52-A8CF-44579DD6EFF4}"/>
                </a:ext>
              </a:extLst>
            </p:cNvPr>
            <p:cNvSpPr/>
            <p:nvPr/>
          </p:nvSpPr>
          <p:spPr>
            <a:xfrm rot="8716295">
              <a:off x="6838595" y="179901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1" name="Forme libre : forme 1190">
              <a:extLst>
                <a:ext uri="{FF2B5EF4-FFF2-40B4-BE49-F238E27FC236}">
                  <a16:creationId xmlns:a16="http://schemas.microsoft.com/office/drawing/2014/main" id="{C13E9905-F473-4E72-BA1A-3BCA03F6BE9A}"/>
                </a:ext>
              </a:extLst>
            </p:cNvPr>
            <p:cNvSpPr/>
            <p:nvPr/>
          </p:nvSpPr>
          <p:spPr>
            <a:xfrm rot="8716295">
              <a:off x="6713692" y="159034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2" name="Forme libre : forme 1191">
              <a:extLst>
                <a:ext uri="{FF2B5EF4-FFF2-40B4-BE49-F238E27FC236}">
                  <a16:creationId xmlns:a16="http://schemas.microsoft.com/office/drawing/2014/main" id="{40BA29EB-56BC-4FAD-86A4-0A628B321930}"/>
                </a:ext>
              </a:extLst>
            </p:cNvPr>
            <p:cNvSpPr/>
            <p:nvPr/>
          </p:nvSpPr>
          <p:spPr>
            <a:xfrm rot="8716295">
              <a:off x="6701640" y="145156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3" name="Forme libre : forme 1192">
              <a:extLst>
                <a:ext uri="{FF2B5EF4-FFF2-40B4-BE49-F238E27FC236}">
                  <a16:creationId xmlns:a16="http://schemas.microsoft.com/office/drawing/2014/main" id="{95F7CF15-1FFD-4AFF-91F7-2E7EEF3CE144}"/>
                </a:ext>
              </a:extLst>
            </p:cNvPr>
            <p:cNvSpPr/>
            <p:nvPr/>
          </p:nvSpPr>
          <p:spPr>
            <a:xfrm rot="8716295">
              <a:off x="6928773" y="183996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4" name="Forme libre : forme 1193">
              <a:extLst>
                <a:ext uri="{FF2B5EF4-FFF2-40B4-BE49-F238E27FC236}">
                  <a16:creationId xmlns:a16="http://schemas.microsoft.com/office/drawing/2014/main" id="{947C422F-B3CC-4BA9-A815-4BFF8E1CD09A}"/>
                </a:ext>
              </a:extLst>
            </p:cNvPr>
            <p:cNvSpPr/>
            <p:nvPr/>
          </p:nvSpPr>
          <p:spPr>
            <a:xfrm rot="8716295">
              <a:off x="7239928" y="146032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5" name="Forme libre : forme 1194">
              <a:extLst>
                <a:ext uri="{FF2B5EF4-FFF2-40B4-BE49-F238E27FC236}">
                  <a16:creationId xmlns:a16="http://schemas.microsoft.com/office/drawing/2014/main" id="{EA8D18A5-23F7-4D1E-A33B-42E161986869}"/>
                </a:ext>
              </a:extLst>
            </p:cNvPr>
            <p:cNvSpPr/>
            <p:nvPr/>
          </p:nvSpPr>
          <p:spPr>
            <a:xfrm rot="8716295">
              <a:off x="7329320" y="148956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6" name="Forme libre : forme 1195">
              <a:extLst>
                <a:ext uri="{FF2B5EF4-FFF2-40B4-BE49-F238E27FC236}">
                  <a16:creationId xmlns:a16="http://schemas.microsoft.com/office/drawing/2014/main" id="{90520389-A6A6-49A2-BB39-41FD8B6EF60F}"/>
                </a:ext>
              </a:extLst>
            </p:cNvPr>
            <p:cNvSpPr/>
            <p:nvPr/>
          </p:nvSpPr>
          <p:spPr>
            <a:xfrm rot="8716295">
              <a:off x="7127694" y="154886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7" name="Forme libre : forme 1196">
              <a:extLst>
                <a:ext uri="{FF2B5EF4-FFF2-40B4-BE49-F238E27FC236}">
                  <a16:creationId xmlns:a16="http://schemas.microsoft.com/office/drawing/2014/main" id="{EE879CA0-425E-4E55-AC41-43CE23168272}"/>
                </a:ext>
              </a:extLst>
            </p:cNvPr>
            <p:cNvSpPr/>
            <p:nvPr/>
          </p:nvSpPr>
          <p:spPr>
            <a:xfrm rot="8716295">
              <a:off x="7002792" y="134019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8" name="Forme libre : forme 1197">
              <a:extLst>
                <a:ext uri="{FF2B5EF4-FFF2-40B4-BE49-F238E27FC236}">
                  <a16:creationId xmlns:a16="http://schemas.microsoft.com/office/drawing/2014/main" id="{CC45E380-8DC0-4437-8CAE-10BBE8319094}"/>
                </a:ext>
              </a:extLst>
            </p:cNvPr>
            <p:cNvSpPr/>
            <p:nvPr/>
          </p:nvSpPr>
          <p:spPr>
            <a:xfrm rot="8716295">
              <a:off x="7217872" y="158981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9" name="Forme libre : forme 1198">
              <a:extLst>
                <a:ext uri="{FF2B5EF4-FFF2-40B4-BE49-F238E27FC236}">
                  <a16:creationId xmlns:a16="http://schemas.microsoft.com/office/drawing/2014/main" id="{A7F354BB-9DA2-43FD-82DC-9135B0A54746}"/>
                </a:ext>
              </a:extLst>
            </p:cNvPr>
            <p:cNvSpPr/>
            <p:nvPr/>
          </p:nvSpPr>
          <p:spPr>
            <a:xfrm rot="8716295">
              <a:off x="6976421" y="144021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0" name="Forme libre : forme 1199">
              <a:extLst>
                <a:ext uri="{FF2B5EF4-FFF2-40B4-BE49-F238E27FC236}">
                  <a16:creationId xmlns:a16="http://schemas.microsoft.com/office/drawing/2014/main" id="{629D5918-99E3-4AFB-9828-C7C893447217}"/>
                </a:ext>
              </a:extLst>
            </p:cNvPr>
            <p:cNvSpPr/>
            <p:nvPr/>
          </p:nvSpPr>
          <p:spPr>
            <a:xfrm rot="7484129">
              <a:off x="7322803" y="178116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1" name="Forme libre : forme 1200">
              <a:extLst>
                <a:ext uri="{FF2B5EF4-FFF2-40B4-BE49-F238E27FC236}">
                  <a16:creationId xmlns:a16="http://schemas.microsoft.com/office/drawing/2014/main" id="{2B5BC839-D232-40BF-9839-AF973EE23896}"/>
                </a:ext>
              </a:extLst>
            </p:cNvPr>
            <p:cNvSpPr/>
            <p:nvPr/>
          </p:nvSpPr>
          <p:spPr>
            <a:xfrm rot="13089394">
              <a:off x="7427623" y="1747701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2" name="Forme libre : forme 1201">
              <a:extLst>
                <a:ext uri="{FF2B5EF4-FFF2-40B4-BE49-F238E27FC236}">
                  <a16:creationId xmlns:a16="http://schemas.microsoft.com/office/drawing/2014/main" id="{17F8EB19-741C-4F5D-8114-83E4E38C0BD0}"/>
                </a:ext>
              </a:extLst>
            </p:cNvPr>
            <p:cNvSpPr/>
            <p:nvPr/>
          </p:nvSpPr>
          <p:spPr>
            <a:xfrm rot="8716295">
              <a:off x="7613208" y="155602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3" name="Forme libre : forme 1202">
              <a:extLst>
                <a:ext uri="{FF2B5EF4-FFF2-40B4-BE49-F238E27FC236}">
                  <a16:creationId xmlns:a16="http://schemas.microsoft.com/office/drawing/2014/main" id="{72D1D28C-63E4-4163-9C3E-64676831F0B1}"/>
                </a:ext>
              </a:extLst>
            </p:cNvPr>
            <p:cNvSpPr/>
            <p:nvPr/>
          </p:nvSpPr>
          <p:spPr>
            <a:xfrm rot="8716295">
              <a:off x="7561403" y="145242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4" name="Forme libre : forme 1203">
              <a:extLst>
                <a:ext uri="{FF2B5EF4-FFF2-40B4-BE49-F238E27FC236}">
                  <a16:creationId xmlns:a16="http://schemas.microsoft.com/office/drawing/2014/main" id="{B09D03B7-6104-4FA1-85AD-34E5E1086C66}"/>
                </a:ext>
              </a:extLst>
            </p:cNvPr>
            <p:cNvSpPr/>
            <p:nvPr/>
          </p:nvSpPr>
          <p:spPr>
            <a:xfrm rot="8716295">
              <a:off x="7318157" y="148264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5" name="Forme libre : forme 1204">
              <a:extLst>
                <a:ext uri="{FF2B5EF4-FFF2-40B4-BE49-F238E27FC236}">
                  <a16:creationId xmlns:a16="http://schemas.microsoft.com/office/drawing/2014/main" id="{DF608D14-5B9F-44E8-A664-3F90091BB211}"/>
                </a:ext>
              </a:extLst>
            </p:cNvPr>
            <p:cNvSpPr/>
            <p:nvPr/>
          </p:nvSpPr>
          <p:spPr>
            <a:xfrm rot="8716295">
              <a:off x="7495609" y="132340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6" name="Forme libre : forme 1205">
              <a:extLst>
                <a:ext uri="{FF2B5EF4-FFF2-40B4-BE49-F238E27FC236}">
                  <a16:creationId xmlns:a16="http://schemas.microsoft.com/office/drawing/2014/main" id="{7A151D09-AFBB-4FA0-B1C3-A8DD66CD3D63}"/>
                </a:ext>
              </a:extLst>
            </p:cNvPr>
            <p:cNvSpPr/>
            <p:nvPr/>
          </p:nvSpPr>
          <p:spPr>
            <a:xfrm rot="8716295">
              <a:off x="6727662" y="105077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7" name="Forme libre : forme 1206">
              <a:extLst>
                <a:ext uri="{FF2B5EF4-FFF2-40B4-BE49-F238E27FC236}">
                  <a16:creationId xmlns:a16="http://schemas.microsoft.com/office/drawing/2014/main" id="{537DC097-29D2-46CB-98BF-879E7F90C023}"/>
                </a:ext>
              </a:extLst>
            </p:cNvPr>
            <p:cNvSpPr/>
            <p:nvPr/>
          </p:nvSpPr>
          <p:spPr>
            <a:xfrm rot="8716295">
              <a:off x="6817054" y="108001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8" name="Forme libre : forme 1207">
              <a:extLst>
                <a:ext uri="{FF2B5EF4-FFF2-40B4-BE49-F238E27FC236}">
                  <a16:creationId xmlns:a16="http://schemas.microsoft.com/office/drawing/2014/main" id="{2DFEF32C-E4B4-44C9-A69A-253F120A6BFE}"/>
                </a:ext>
              </a:extLst>
            </p:cNvPr>
            <p:cNvSpPr/>
            <p:nvPr/>
          </p:nvSpPr>
          <p:spPr>
            <a:xfrm rot="8716295">
              <a:off x="6772204" y="99373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9" name="Forme libre : forme 1208">
              <a:extLst>
                <a:ext uri="{FF2B5EF4-FFF2-40B4-BE49-F238E27FC236}">
                  <a16:creationId xmlns:a16="http://schemas.microsoft.com/office/drawing/2014/main" id="{414D5FAB-9669-4C92-BDB9-096006C9E3F3}"/>
                </a:ext>
              </a:extLst>
            </p:cNvPr>
            <p:cNvSpPr/>
            <p:nvPr/>
          </p:nvSpPr>
          <p:spPr>
            <a:xfrm rot="8716295">
              <a:off x="6615428" y="113931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0" name="Forme libre : forme 1209">
              <a:extLst>
                <a:ext uri="{FF2B5EF4-FFF2-40B4-BE49-F238E27FC236}">
                  <a16:creationId xmlns:a16="http://schemas.microsoft.com/office/drawing/2014/main" id="{33070C28-3765-49B2-B940-22EBB7C77257}"/>
                </a:ext>
              </a:extLst>
            </p:cNvPr>
            <p:cNvSpPr/>
            <p:nvPr/>
          </p:nvSpPr>
          <p:spPr>
            <a:xfrm rot="8716295">
              <a:off x="6490525" y="93064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1" name="Forme libre : forme 1210">
              <a:extLst>
                <a:ext uri="{FF2B5EF4-FFF2-40B4-BE49-F238E27FC236}">
                  <a16:creationId xmlns:a16="http://schemas.microsoft.com/office/drawing/2014/main" id="{3E91FBF7-F71A-4004-BD6B-3B4CA8CC5BC1}"/>
                </a:ext>
              </a:extLst>
            </p:cNvPr>
            <p:cNvSpPr/>
            <p:nvPr/>
          </p:nvSpPr>
          <p:spPr>
            <a:xfrm rot="8716295">
              <a:off x="6478473" y="79186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2" name="Forme libre : forme 1211">
              <a:extLst>
                <a:ext uri="{FF2B5EF4-FFF2-40B4-BE49-F238E27FC236}">
                  <a16:creationId xmlns:a16="http://schemas.microsoft.com/office/drawing/2014/main" id="{DEC26DC2-9B7C-4ED5-8F46-A9DE3CC1E8F6}"/>
                </a:ext>
              </a:extLst>
            </p:cNvPr>
            <p:cNvSpPr/>
            <p:nvPr/>
          </p:nvSpPr>
          <p:spPr>
            <a:xfrm rot="8716295">
              <a:off x="6705606" y="118026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3" name="Forme libre : forme 1212">
              <a:extLst>
                <a:ext uri="{FF2B5EF4-FFF2-40B4-BE49-F238E27FC236}">
                  <a16:creationId xmlns:a16="http://schemas.microsoft.com/office/drawing/2014/main" id="{AEE9DF08-A4FF-4C9E-9471-932A27226041}"/>
                </a:ext>
              </a:extLst>
            </p:cNvPr>
            <p:cNvSpPr/>
            <p:nvPr/>
          </p:nvSpPr>
          <p:spPr>
            <a:xfrm rot="8716295">
              <a:off x="7016761" y="80062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4" name="Forme libre : forme 1213">
              <a:extLst>
                <a:ext uri="{FF2B5EF4-FFF2-40B4-BE49-F238E27FC236}">
                  <a16:creationId xmlns:a16="http://schemas.microsoft.com/office/drawing/2014/main" id="{A4F04E13-842A-4005-8B9F-7B34EAAE6EED}"/>
                </a:ext>
              </a:extLst>
            </p:cNvPr>
            <p:cNvSpPr/>
            <p:nvPr/>
          </p:nvSpPr>
          <p:spPr>
            <a:xfrm rot="8716295">
              <a:off x="7106153" y="82986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5" name="Forme libre : forme 1214">
              <a:extLst>
                <a:ext uri="{FF2B5EF4-FFF2-40B4-BE49-F238E27FC236}">
                  <a16:creationId xmlns:a16="http://schemas.microsoft.com/office/drawing/2014/main" id="{F5247EBE-0FCF-4EAA-AB3A-810D83F18B0E}"/>
                </a:ext>
              </a:extLst>
            </p:cNvPr>
            <p:cNvSpPr/>
            <p:nvPr/>
          </p:nvSpPr>
          <p:spPr>
            <a:xfrm rot="8716295">
              <a:off x="6904527" y="88916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6" name="Forme libre : forme 1215">
              <a:extLst>
                <a:ext uri="{FF2B5EF4-FFF2-40B4-BE49-F238E27FC236}">
                  <a16:creationId xmlns:a16="http://schemas.microsoft.com/office/drawing/2014/main" id="{C7BAA05C-D979-45BB-B4AB-BF6D372F6625}"/>
                </a:ext>
              </a:extLst>
            </p:cNvPr>
            <p:cNvSpPr/>
            <p:nvPr/>
          </p:nvSpPr>
          <p:spPr>
            <a:xfrm rot="8716295">
              <a:off x="6779625" y="68049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7" name="Forme libre : forme 1216">
              <a:extLst>
                <a:ext uri="{FF2B5EF4-FFF2-40B4-BE49-F238E27FC236}">
                  <a16:creationId xmlns:a16="http://schemas.microsoft.com/office/drawing/2014/main" id="{5E1B5732-0C73-4728-BB7A-E84990C08201}"/>
                </a:ext>
              </a:extLst>
            </p:cNvPr>
            <p:cNvSpPr/>
            <p:nvPr/>
          </p:nvSpPr>
          <p:spPr>
            <a:xfrm rot="8716295">
              <a:off x="6994705" y="93011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8" name="Forme libre : forme 1217">
              <a:extLst>
                <a:ext uri="{FF2B5EF4-FFF2-40B4-BE49-F238E27FC236}">
                  <a16:creationId xmlns:a16="http://schemas.microsoft.com/office/drawing/2014/main" id="{C9672C88-6D83-47B9-B7AE-2C7AC95A35BB}"/>
                </a:ext>
              </a:extLst>
            </p:cNvPr>
            <p:cNvSpPr/>
            <p:nvPr/>
          </p:nvSpPr>
          <p:spPr>
            <a:xfrm rot="8716295">
              <a:off x="6753254" y="78051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9" name="Forme libre : forme 1218">
              <a:extLst>
                <a:ext uri="{FF2B5EF4-FFF2-40B4-BE49-F238E27FC236}">
                  <a16:creationId xmlns:a16="http://schemas.microsoft.com/office/drawing/2014/main" id="{7E8C7D36-8D7B-4EC3-8272-B128D4C63C8D}"/>
                </a:ext>
              </a:extLst>
            </p:cNvPr>
            <p:cNvSpPr/>
            <p:nvPr/>
          </p:nvSpPr>
          <p:spPr>
            <a:xfrm rot="7484129">
              <a:off x="7099636" y="112146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0" name="Forme libre : forme 1219">
              <a:extLst>
                <a:ext uri="{FF2B5EF4-FFF2-40B4-BE49-F238E27FC236}">
                  <a16:creationId xmlns:a16="http://schemas.microsoft.com/office/drawing/2014/main" id="{328F1E42-AB6A-4F60-8C64-A19DEE7C769E}"/>
                </a:ext>
              </a:extLst>
            </p:cNvPr>
            <p:cNvSpPr/>
            <p:nvPr/>
          </p:nvSpPr>
          <p:spPr>
            <a:xfrm rot="13089394">
              <a:off x="7204456" y="108800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1" name="Forme libre : forme 1220">
              <a:extLst>
                <a:ext uri="{FF2B5EF4-FFF2-40B4-BE49-F238E27FC236}">
                  <a16:creationId xmlns:a16="http://schemas.microsoft.com/office/drawing/2014/main" id="{509D4D12-E9CA-410B-BB0F-D0713E56A398}"/>
                </a:ext>
              </a:extLst>
            </p:cNvPr>
            <p:cNvSpPr/>
            <p:nvPr/>
          </p:nvSpPr>
          <p:spPr>
            <a:xfrm rot="8716295">
              <a:off x="7390041" y="89632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2" name="Forme libre : forme 1221">
              <a:extLst>
                <a:ext uri="{FF2B5EF4-FFF2-40B4-BE49-F238E27FC236}">
                  <a16:creationId xmlns:a16="http://schemas.microsoft.com/office/drawing/2014/main" id="{830904F0-D47A-4A6A-8ABD-BDF673EC72D4}"/>
                </a:ext>
              </a:extLst>
            </p:cNvPr>
            <p:cNvSpPr/>
            <p:nvPr/>
          </p:nvSpPr>
          <p:spPr>
            <a:xfrm rot="8716295">
              <a:off x="7338236" y="79272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3" name="Forme libre : forme 1222">
              <a:extLst>
                <a:ext uri="{FF2B5EF4-FFF2-40B4-BE49-F238E27FC236}">
                  <a16:creationId xmlns:a16="http://schemas.microsoft.com/office/drawing/2014/main" id="{B303CAC1-0497-41B6-AE51-AFDB58DA234D}"/>
                </a:ext>
              </a:extLst>
            </p:cNvPr>
            <p:cNvSpPr/>
            <p:nvPr/>
          </p:nvSpPr>
          <p:spPr>
            <a:xfrm rot="8716295">
              <a:off x="7094990" y="82294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4" name="Forme libre : forme 1223">
              <a:extLst>
                <a:ext uri="{FF2B5EF4-FFF2-40B4-BE49-F238E27FC236}">
                  <a16:creationId xmlns:a16="http://schemas.microsoft.com/office/drawing/2014/main" id="{7AB18378-0E44-4AB1-8DD6-2E92F7CD14AF}"/>
                </a:ext>
              </a:extLst>
            </p:cNvPr>
            <p:cNvSpPr/>
            <p:nvPr/>
          </p:nvSpPr>
          <p:spPr>
            <a:xfrm rot="8716295">
              <a:off x="7272442" y="66370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5" name="Forme libre : forme 1224">
              <a:extLst>
                <a:ext uri="{FF2B5EF4-FFF2-40B4-BE49-F238E27FC236}">
                  <a16:creationId xmlns:a16="http://schemas.microsoft.com/office/drawing/2014/main" id="{F703561A-BE93-421B-BC6A-B698ECD7F8E2}"/>
                </a:ext>
              </a:extLst>
            </p:cNvPr>
            <p:cNvSpPr/>
            <p:nvPr/>
          </p:nvSpPr>
          <p:spPr>
            <a:xfrm rot="8716295">
              <a:off x="6508723" y="38871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6" name="Forme libre : forme 1225">
              <a:extLst>
                <a:ext uri="{FF2B5EF4-FFF2-40B4-BE49-F238E27FC236}">
                  <a16:creationId xmlns:a16="http://schemas.microsoft.com/office/drawing/2014/main" id="{6483B125-4CCB-42BB-A5D9-88213C0491CD}"/>
                </a:ext>
              </a:extLst>
            </p:cNvPr>
            <p:cNvSpPr/>
            <p:nvPr/>
          </p:nvSpPr>
          <p:spPr>
            <a:xfrm rot="8716295">
              <a:off x="6598115" y="41795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7" name="Forme libre : forme 1226">
              <a:extLst>
                <a:ext uri="{FF2B5EF4-FFF2-40B4-BE49-F238E27FC236}">
                  <a16:creationId xmlns:a16="http://schemas.microsoft.com/office/drawing/2014/main" id="{A49BDE23-F77C-4882-B6C8-151A102158FC}"/>
                </a:ext>
              </a:extLst>
            </p:cNvPr>
            <p:cNvSpPr/>
            <p:nvPr/>
          </p:nvSpPr>
          <p:spPr>
            <a:xfrm rot="8716295">
              <a:off x="6553265" y="33167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8" name="Forme libre : forme 1227">
              <a:extLst>
                <a:ext uri="{FF2B5EF4-FFF2-40B4-BE49-F238E27FC236}">
                  <a16:creationId xmlns:a16="http://schemas.microsoft.com/office/drawing/2014/main" id="{C40CBD4D-C196-457C-9A88-EDB02C0969CB}"/>
                </a:ext>
              </a:extLst>
            </p:cNvPr>
            <p:cNvSpPr/>
            <p:nvPr/>
          </p:nvSpPr>
          <p:spPr>
            <a:xfrm rot="8716295">
              <a:off x="6396489" y="47725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9" name="Forme libre : forme 1228">
              <a:extLst>
                <a:ext uri="{FF2B5EF4-FFF2-40B4-BE49-F238E27FC236}">
                  <a16:creationId xmlns:a16="http://schemas.microsoft.com/office/drawing/2014/main" id="{A27EEF75-7221-4666-98E0-0825D37EA836}"/>
                </a:ext>
              </a:extLst>
            </p:cNvPr>
            <p:cNvSpPr/>
            <p:nvPr/>
          </p:nvSpPr>
          <p:spPr>
            <a:xfrm rot="8716295">
              <a:off x="6271586" y="26858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0" name="Forme libre : forme 1229">
              <a:extLst>
                <a:ext uri="{FF2B5EF4-FFF2-40B4-BE49-F238E27FC236}">
                  <a16:creationId xmlns:a16="http://schemas.microsoft.com/office/drawing/2014/main" id="{B5E1367D-C065-41FF-91C9-C5A9486DC9ED}"/>
                </a:ext>
              </a:extLst>
            </p:cNvPr>
            <p:cNvSpPr/>
            <p:nvPr/>
          </p:nvSpPr>
          <p:spPr>
            <a:xfrm rot="8716295">
              <a:off x="6259534" y="12980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1" name="Forme libre : forme 1230">
              <a:extLst>
                <a:ext uri="{FF2B5EF4-FFF2-40B4-BE49-F238E27FC236}">
                  <a16:creationId xmlns:a16="http://schemas.microsoft.com/office/drawing/2014/main" id="{1913EF5B-0FAD-4DB9-AE2C-65D6AB9888CC}"/>
                </a:ext>
              </a:extLst>
            </p:cNvPr>
            <p:cNvSpPr/>
            <p:nvPr/>
          </p:nvSpPr>
          <p:spPr>
            <a:xfrm rot="8716295">
              <a:off x="6486667" y="51821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2" name="Forme libre : forme 1231">
              <a:extLst>
                <a:ext uri="{FF2B5EF4-FFF2-40B4-BE49-F238E27FC236}">
                  <a16:creationId xmlns:a16="http://schemas.microsoft.com/office/drawing/2014/main" id="{EC81A569-5FA3-4248-96EC-9B1D26C84996}"/>
                </a:ext>
              </a:extLst>
            </p:cNvPr>
            <p:cNvSpPr/>
            <p:nvPr/>
          </p:nvSpPr>
          <p:spPr>
            <a:xfrm rot="8716295">
              <a:off x="6797822" y="13856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3" name="Forme libre : forme 1232">
              <a:extLst>
                <a:ext uri="{FF2B5EF4-FFF2-40B4-BE49-F238E27FC236}">
                  <a16:creationId xmlns:a16="http://schemas.microsoft.com/office/drawing/2014/main" id="{A22DBA90-02BD-4F3A-BDB3-FE0902AA9AB8}"/>
                </a:ext>
              </a:extLst>
            </p:cNvPr>
            <p:cNvSpPr/>
            <p:nvPr/>
          </p:nvSpPr>
          <p:spPr>
            <a:xfrm rot="8716295">
              <a:off x="6887214" y="16780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4" name="Forme libre : forme 1233">
              <a:extLst>
                <a:ext uri="{FF2B5EF4-FFF2-40B4-BE49-F238E27FC236}">
                  <a16:creationId xmlns:a16="http://schemas.microsoft.com/office/drawing/2014/main" id="{FEF05712-8A56-4367-8FEE-945FBECD01B5}"/>
                </a:ext>
              </a:extLst>
            </p:cNvPr>
            <p:cNvSpPr/>
            <p:nvPr/>
          </p:nvSpPr>
          <p:spPr>
            <a:xfrm rot="8716295">
              <a:off x="6685588" y="22710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5" name="Forme libre : forme 1234">
              <a:extLst>
                <a:ext uri="{FF2B5EF4-FFF2-40B4-BE49-F238E27FC236}">
                  <a16:creationId xmlns:a16="http://schemas.microsoft.com/office/drawing/2014/main" id="{2E8C24E9-575D-4C62-9BD6-2C78B3992080}"/>
                </a:ext>
              </a:extLst>
            </p:cNvPr>
            <p:cNvSpPr/>
            <p:nvPr/>
          </p:nvSpPr>
          <p:spPr>
            <a:xfrm rot="8716295">
              <a:off x="6560686" y="1843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6" name="Forme libre : forme 1235">
              <a:extLst>
                <a:ext uri="{FF2B5EF4-FFF2-40B4-BE49-F238E27FC236}">
                  <a16:creationId xmlns:a16="http://schemas.microsoft.com/office/drawing/2014/main" id="{7FFD2C46-732D-4C6D-86D8-43D8100DC4BB}"/>
                </a:ext>
              </a:extLst>
            </p:cNvPr>
            <p:cNvSpPr/>
            <p:nvPr/>
          </p:nvSpPr>
          <p:spPr>
            <a:xfrm rot="8716295">
              <a:off x="6775766" y="26805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7" name="Forme libre : forme 1236">
              <a:extLst>
                <a:ext uri="{FF2B5EF4-FFF2-40B4-BE49-F238E27FC236}">
                  <a16:creationId xmlns:a16="http://schemas.microsoft.com/office/drawing/2014/main" id="{54000F56-7D25-433E-A7C8-6A29B8CAD136}"/>
                </a:ext>
              </a:extLst>
            </p:cNvPr>
            <p:cNvSpPr/>
            <p:nvPr/>
          </p:nvSpPr>
          <p:spPr>
            <a:xfrm rot="8716295">
              <a:off x="6534315" y="11845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8" name="Forme libre : forme 1237">
              <a:extLst>
                <a:ext uri="{FF2B5EF4-FFF2-40B4-BE49-F238E27FC236}">
                  <a16:creationId xmlns:a16="http://schemas.microsoft.com/office/drawing/2014/main" id="{F78F27FF-A989-48C0-90D5-D4D8D52897CB}"/>
                </a:ext>
              </a:extLst>
            </p:cNvPr>
            <p:cNvSpPr/>
            <p:nvPr/>
          </p:nvSpPr>
          <p:spPr>
            <a:xfrm rot="7484129">
              <a:off x="6880697" y="45941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9" name="Forme libre : forme 1238">
              <a:extLst>
                <a:ext uri="{FF2B5EF4-FFF2-40B4-BE49-F238E27FC236}">
                  <a16:creationId xmlns:a16="http://schemas.microsoft.com/office/drawing/2014/main" id="{8DC30F69-7296-48A1-A43C-EC188F89BEA5}"/>
                </a:ext>
              </a:extLst>
            </p:cNvPr>
            <p:cNvSpPr/>
            <p:nvPr/>
          </p:nvSpPr>
          <p:spPr>
            <a:xfrm rot="13089394">
              <a:off x="6985517" y="42594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0" name="Forme libre : forme 1239">
              <a:extLst>
                <a:ext uri="{FF2B5EF4-FFF2-40B4-BE49-F238E27FC236}">
                  <a16:creationId xmlns:a16="http://schemas.microsoft.com/office/drawing/2014/main" id="{D47ED595-5E0B-4FF2-BED8-A5E968958FDA}"/>
                </a:ext>
              </a:extLst>
            </p:cNvPr>
            <p:cNvSpPr/>
            <p:nvPr/>
          </p:nvSpPr>
          <p:spPr>
            <a:xfrm rot="8716295">
              <a:off x="7171102" y="23426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1" name="Forme libre : forme 1240">
              <a:extLst>
                <a:ext uri="{FF2B5EF4-FFF2-40B4-BE49-F238E27FC236}">
                  <a16:creationId xmlns:a16="http://schemas.microsoft.com/office/drawing/2014/main" id="{E870685A-3B15-499C-B93E-DAE343CA274F}"/>
                </a:ext>
              </a:extLst>
            </p:cNvPr>
            <p:cNvSpPr/>
            <p:nvPr/>
          </p:nvSpPr>
          <p:spPr>
            <a:xfrm rot="8716295">
              <a:off x="7119297" y="13067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2" name="Forme libre : forme 1241">
              <a:extLst>
                <a:ext uri="{FF2B5EF4-FFF2-40B4-BE49-F238E27FC236}">
                  <a16:creationId xmlns:a16="http://schemas.microsoft.com/office/drawing/2014/main" id="{25EC0356-F84B-4116-B821-ACE30FB22FFC}"/>
                </a:ext>
              </a:extLst>
            </p:cNvPr>
            <p:cNvSpPr/>
            <p:nvPr/>
          </p:nvSpPr>
          <p:spPr>
            <a:xfrm rot="8716295">
              <a:off x="6876051" y="16089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3" name="Forme libre : forme 1242">
              <a:extLst>
                <a:ext uri="{FF2B5EF4-FFF2-40B4-BE49-F238E27FC236}">
                  <a16:creationId xmlns:a16="http://schemas.microsoft.com/office/drawing/2014/main" id="{C756C41F-43B4-4A5A-9BD8-36D108A4F6F6}"/>
                </a:ext>
              </a:extLst>
            </p:cNvPr>
            <p:cNvSpPr/>
            <p:nvPr/>
          </p:nvSpPr>
          <p:spPr>
            <a:xfrm rot="8716295">
              <a:off x="7053503" y="164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4" name="Forme libre : forme 1243">
              <a:extLst>
                <a:ext uri="{FF2B5EF4-FFF2-40B4-BE49-F238E27FC236}">
                  <a16:creationId xmlns:a16="http://schemas.microsoft.com/office/drawing/2014/main" id="{5023A082-5622-42E1-99CC-B465837313AB}"/>
                </a:ext>
              </a:extLst>
            </p:cNvPr>
            <p:cNvSpPr/>
            <p:nvPr/>
          </p:nvSpPr>
          <p:spPr>
            <a:xfrm rot="8716295">
              <a:off x="6443978" y="-32333"/>
              <a:ext cx="92323" cy="67774"/>
            </a:xfrm>
            <a:custGeom>
              <a:avLst/>
              <a:gdLst>
                <a:gd name="connsiteX0" fmla="*/ 92323 w 92323"/>
                <a:gd name="connsiteY0" fmla="*/ 67774 h 67774"/>
                <a:gd name="connsiteX1" fmla="*/ 0 w 92323"/>
                <a:gd name="connsiteY1" fmla="*/ 3779 h 67774"/>
                <a:gd name="connsiteX2" fmla="*/ 19952 w 92323"/>
                <a:gd name="connsiteY2" fmla="*/ 19 h 67774"/>
                <a:gd name="connsiteX3" fmla="*/ 89989 w 92323"/>
                <a:gd name="connsiteY3" fmla="*/ 50641 h 67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323" h="67774">
                  <a:moveTo>
                    <a:pt x="92323" y="67774"/>
                  </a:moveTo>
                  <a:lnTo>
                    <a:pt x="0" y="3779"/>
                  </a:lnTo>
                  <a:lnTo>
                    <a:pt x="19952" y="19"/>
                  </a:lnTo>
                  <a:cubicBezTo>
                    <a:pt x="55152" y="-664"/>
                    <a:pt x="79843" y="17619"/>
                    <a:pt x="89989" y="5064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5" name="Forme libre : forme 1244">
              <a:extLst>
                <a:ext uri="{FF2B5EF4-FFF2-40B4-BE49-F238E27FC236}">
                  <a16:creationId xmlns:a16="http://schemas.microsoft.com/office/drawing/2014/main" id="{4292D438-03B7-4554-BAAC-30500F05D527}"/>
                </a:ext>
              </a:extLst>
            </p:cNvPr>
            <p:cNvSpPr/>
            <p:nvPr/>
          </p:nvSpPr>
          <p:spPr>
            <a:xfrm rot="8716295">
              <a:off x="6294141" y="-38610"/>
              <a:ext cx="103435" cy="102698"/>
            </a:xfrm>
            <a:custGeom>
              <a:avLst/>
              <a:gdLst>
                <a:gd name="connsiteX0" fmla="*/ 103435 w 103435"/>
                <a:gd name="connsiteY0" fmla="*/ 102698 h 102698"/>
                <a:gd name="connsiteX1" fmla="*/ 43288 w 103435"/>
                <a:gd name="connsiteY1" fmla="*/ 61006 h 102698"/>
                <a:gd name="connsiteX2" fmla="*/ 43288 w 103435"/>
                <a:gd name="connsiteY2" fmla="*/ 16404 h 102698"/>
                <a:gd name="connsiteX3" fmla="*/ 0 w 103435"/>
                <a:gd name="connsiteY3" fmla="*/ 16404 h 102698"/>
                <a:gd name="connsiteX4" fmla="*/ 0 w 103435"/>
                <a:gd name="connsiteY4" fmla="*/ 2279 h 102698"/>
                <a:gd name="connsiteX5" fmla="*/ 103435 w 103435"/>
                <a:gd name="connsiteY5" fmla="*/ 0 h 102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102698">
                  <a:moveTo>
                    <a:pt x="103435" y="102698"/>
                  </a:moveTo>
                  <a:lnTo>
                    <a:pt x="43288" y="61006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2279"/>
                  </a:lnTo>
                  <a:cubicBezTo>
                    <a:pt x="32808" y="3645"/>
                    <a:pt x="66983" y="911"/>
                    <a:pt x="10343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6" name="Forme libre : forme 1245">
              <a:extLst>
                <a:ext uri="{FF2B5EF4-FFF2-40B4-BE49-F238E27FC236}">
                  <a16:creationId xmlns:a16="http://schemas.microsoft.com/office/drawing/2014/main" id="{E78BAE53-0890-439D-972C-8E15B622CE74}"/>
                </a:ext>
              </a:extLst>
            </p:cNvPr>
            <p:cNvSpPr/>
            <p:nvPr/>
          </p:nvSpPr>
          <p:spPr>
            <a:xfrm rot="7484129">
              <a:off x="6746550" y="-26340"/>
              <a:ext cx="41571" cy="55323"/>
            </a:xfrm>
            <a:custGeom>
              <a:avLst/>
              <a:gdLst>
                <a:gd name="connsiteX0" fmla="*/ 38358 w 41571"/>
                <a:gd name="connsiteY0" fmla="*/ 55323 h 55323"/>
                <a:gd name="connsiteX1" fmla="*/ 0 w 41571"/>
                <a:gd name="connsiteY1" fmla="*/ 0 h 55323"/>
                <a:gd name="connsiteX2" fmla="*/ 41571 w 41571"/>
                <a:gd name="connsiteY2" fmla="*/ 0 h 55323"/>
                <a:gd name="connsiteX3" fmla="*/ 41571 w 41571"/>
                <a:gd name="connsiteY3" fmla="*/ 55323 h 55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571" h="55323">
                  <a:moveTo>
                    <a:pt x="38358" y="55323"/>
                  </a:moveTo>
                  <a:lnTo>
                    <a:pt x="0" y="0"/>
                  </a:lnTo>
                  <a:lnTo>
                    <a:pt x="41571" y="0"/>
                  </a:lnTo>
                  <a:lnTo>
                    <a:pt x="41571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7" name="Forme libre : forme 1246">
              <a:extLst>
                <a:ext uri="{FF2B5EF4-FFF2-40B4-BE49-F238E27FC236}">
                  <a16:creationId xmlns:a16="http://schemas.microsoft.com/office/drawing/2014/main" id="{D6E1A050-AAB6-49AB-8BF0-F86E9CB3E3ED}"/>
                </a:ext>
              </a:extLst>
            </p:cNvPr>
            <p:cNvSpPr/>
            <p:nvPr/>
          </p:nvSpPr>
          <p:spPr>
            <a:xfrm rot="13089394">
              <a:off x="6891234" y="-41515"/>
              <a:ext cx="74217" cy="174004"/>
            </a:xfrm>
            <a:custGeom>
              <a:avLst/>
              <a:gdLst>
                <a:gd name="connsiteX0" fmla="*/ 74217 w 74217"/>
                <a:gd name="connsiteY0" fmla="*/ 115692 h 174004"/>
                <a:gd name="connsiteX1" fmla="*/ 0 w 74217"/>
                <a:gd name="connsiteY1" fmla="*/ 174004 h 174004"/>
                <a:gd name="connsiteX2" fmla="*/ 0 w 74217"/>
                <a:gd name="connsiteY2" fmla="*/ 38074 h 174004"/>
                <a:gd name="connsiteX3" fmla="*/ 73388 w 74217"/>
                <a:gd name="connsiteY3" fmla="*/ 0 h 17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217" h="174004">
                  <a:moveTo>
                    <a:pt x="74217" y="115692"/>
                  </a:moveTo>
                  <a:lnTo>
                    <a:pt x="0" y="174004"/>
                  </a:lnTo>
                  <a:lnTo>
                    <a:pt x="0" y="38074"/>
                  </a:lnTo>
                  <a:lnTo>
                    <a:pt x="7338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8" name="Forme libre : forme 1247">
              <a:extLst>
                <a:ext uri="{FF2B5EF4-FFF2-40B4-BE49-F238E27FC236}">
                  <a16:creationId xmlns:a16="http://schemas.microsoft.com/office/drawing/2014/main" id="{2A426EB1-69A8-4B8C-95E3-ADCF2B7D8201}"/>
                </a:ext>
              </a:extLst>
            </p:cNvPr>
            <p:cNvSpPr/>
            <p:nvPr/>
          </p:nvSpPr>
          <p:spPr>
            <a:xfrm rot="8716295">
              <a:off x="8238556" y="254247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9" name="Forme libre : forme 1248">
              <a:extLst>
                <a:ext uri="{FF2B5EF4-FFF2-40B4-BE49-F238E27FC236}">
                  <a16:creationId xmlns:a16="http://schemas.microsoft.com/office/drawing/2014/main" id="{A1136BA6-7E11-4570-BF0A-E022C010F10B}"/>
                </a:ext>
              </a:extLst>
            </p:cNvPr>
            <p:cNvSpPr/>
            <p:nvPr/>
          </p:nvSpPr>
          <p:spPr>
            <a:xfrm rot="8716295">
              <a:off x="8327948" y="257172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0" name="Forme libre : forme 1249">
              <a:extLst>
                <a:ext uri="{FF2B5EF4-FFF2-40B4-BE49-F238E27FC236}">
                  <a16:creationId xmlns:a16="http://schemas.microsoft.com/office/drawing/2014/main" id="{9E188FF5-EB46-4C83-98D2-A6FBCDBA9974}"/>
                </a:ext>
              </a:extLst>
            </p:cNvPr>
            <p:cNvSpPr/>
            <p:nvPr/>
          </p:nvSpPr>
          <p:spPr>
            <a:xfrm rot="8716295">
              <a:off x="8283098" y="2485441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1" name="Forme libre : forme 1250">
              <a:extLst>
                <a:ext uri="{FF2B5EF4-FFF2-40B4-BE49-F238E27FC236}">
                  <a16:creationId xmlns:a16="http://schemas.microsoft.com/office/drawing/2014/main" id="{0F03884C-9A24-4485-8C8A-520F146E35BD}"/>
                </a:ext>
              </a:extLst>
            </p:cNvPr>
            <p:cNvSpPr/>
            <p:nvPr/>
          </p:nvSpPr>
          <p:spPr>
            <a:xfrm rot="8716295">
              <a:off x="8126322" y="263102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2" name="Forme libre : forme 1251">
              <a:extLst>
                <a:ext uri="{FF2B5EF4-FFF2-40B4-BE49-F238E27FC236}">
                  <a16:creationId xmlns:a16="http://schemas.microsoft.com/office/drawing/2014/main" id="{EA64506B-D82A-4EEA-924F-30E2F79C1B7D}"/>
                </a:ext>
              </a:extLst>
            </p:cNvPr>
            <p:cNvSpPr/>
            <p:nvPr/>
          </p:nvSpPr>
          <p:spPr>
            <a:xfrm rot="8716295">
              <a:off x="8001419" y="24223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3" name="Forme libre : forme 1252">
              <a:extLst>
                <a:ext uri="{FF2B5EF4-FFF2-40B4-BE49-F238E27FC236}">
                  <a16:creationId xmlns:a16="http://schemas.microsoft.com/office/drawing/2014/main" id="{5B8FDB35-6753-4D04-985E-254E87C9982E}"/>
                </a:ext>
              </a:extLst>
            </p:cNvPr>
            <p:cNvSpPr/>
            <p:nvPr/>
          </p:nvSpPr>
          <p:spPr>
            <a:xfrm rot="8716295">
              <a:off x="7989367" y="2283570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4" name="Forme libre : forme 1253">
              <a:extLst>
                <a:ext uri="{FF2B5EF4-FFF2-40B4-BE49-F238E27FC236}">
                  <a16:creationId xmlns:a16="http://schemas.microsoft.com/office/drawing/2014/main" id="{F77402CE-B126-41FD-B060-8753DA6781D5}"/>
                </a:ext>
              </a:extLst>
            </p:cNvPr>
            <p:cNvSpPr/>
            <p:nvPr/>
          </p:nvSpPr>
          <p:spPr>
            <a:xfrm rot="8716295">
              <a:off x="8216500" y="267197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5" name="Forme libre : forme 1254">
              <a:extLst>
                <a:ext uri="{FF2B5EF4-FFF2-40B4-BE49-F238E27FC236}">
                  <a16:creationId xmlns:a16="http://schemas.microsoft.com/office/drawing/2014/main" id="{D662227F-81B5-45A3-8065-CFABAFC187C6}"/>
                </a:ext>
              </a:extLst>
            </p:cNvPr>
            <p:cNvSpPr/>
            <p:nvPr/>
          </p:nvSpPr>
          <p:spPr>
            <a:xfrm rot="8716295">
              <a:off x="8527655" y="229232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6" name="Forme libre : forme 1255">
              <a:extLst>
                <a:ext uri="{FF2B5EF4-FFF2-40B4-BE49-F238E27FC236}">
                  <a16:creationId xmlns:a16="http://schemas.microsoft.com/office/drawing/2014/main" id="{B3F07D8E-83A0-44A5-8F5F-C55A1A045146}"/>
                </a:ext>
              </a:extLst>
            </p:cNvPr>
            <p:cNvSpPr/>
            <p:nvPr/>
          </p:nvSpPr>
          <p:spPr>
            <a:xfrm rot="8716295">
              <a:off x="8617047" y="232156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7" name="Forme libre : forme 1256">
              <a:extLst>
                <a:ext uri="{FF2B5EF4-FFF2-40B4-BE49-F238E27FC236}">
                  <a16:creationId xmlns:a16="http://schemas.microsoft.com/office/drawing/2014/main" id="{BEC9833E-1103-4B09-9C27-70B4371CFFC3}"/>
                </a:ext>
              </a:extLst>
            </p:cNvPr>
            <p:cNvSpPr/>
            <p:nvPr/>
          </p:nvSpPr>
          <p:spPr>
            <a:xfrm rot="8716295">
              <a:off x="8415421" y="238087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8" name="Forme libre : forme 1257">
              <a:extLst>
                <a:ext uri="{FF2B5EF4-FFF2-40B4-BE49-F238E27FC236}">
                  <a16:creationId xmlns:a16="http://schemas.microsoft.com/office/drawing/2014/main" id="{B1FB9B12-3BD9-453E-A39D-3DAA86A44344}"/>
                </a:ext>
              </a:extLst>
            </p:cNvPr>
            <p:cNvSpPr/>
            <p:nvPr/>
          </p:nvSpPr>
          <p:spPr>
            <a:xfrm rot="8716295">
              <a:off x="8290519" y="217219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9" name="Forme libre : forme 1258">
              <a:extLst>
                <a:ext uri="{FF2B5EF4-FFF2-40B4-BE49-F238E27FC236}">
                  <a16:creationId xmlns:a16="http://schemas.microsoft.com/office/drawing/2014/main" id="{3C2388FE-8F47-47D7-86C1-60ACC4D81856}"/>
                </a:ext>
              </a:extLst>
            </p:cNvPr>
            <p:cNvSpPr/>
            <p:nvPr/>
          </p:nvSpPr>
          <p:spPr>
            <a:xfrm rot="8716295">
              <a:off x="8505599" y="2421823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0" name="Forme libre : forme 1259">
              <a:extLst>
                <a:ext uri="{FF2B5EF4-FFF2-40B4-BE49-F238E27FC236}">
                  <a16:creationId xmlns:a16="http://schemas.microsoft.com/office/drawing/2014/main" id="{A11C39A7-D0D0-434D-A171-90D1234959F5}"/>
                </a:ext>
              </a:extLst>
            </p:cNvPr>
            <p:cNvSpPr/>
            <p:nvPr/>
          </p:nvSpPr>
          <p:spPr>
            <a:xfrm rot="8716295">
              <a:off x="8264148" y="2272223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1" name="Forme libre : forme 1260">
              <a:extLst>
                <a:ext uri="{FF2B5EF4-FFF2-40B4-BE49-F238E27FC236}">
                  <a16:creationId xmlns:a16="http://schemas.microsoft.com/office/drawing/2014/main" id="{4C61989D-4DFE-46E1-AF97-41DE6361CDB1}"/>
                </a:ext>
              </a:extLst>
            </p:cNvPr>
            <p:cNvSpPr/>
            <p:nvPr/>
          </p:nvSpPr>
          <p:spPr>
            <a:xfrm rot="7484129">
              <a:off x="8610530" y="261317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2" name="Forme libre : forme 1261">
              <a:extLst>
                <a:ext uri="{FF2B5EF4-FFF2-40B4-BE49-F238E27FC236}">
                  <a16:creationId xmlns:a16="http://schemas.microsoft.com/office/drawing/2014/main" id="{5C49FF36-E600-4A74-B23E-CD8D4047E6EE}"/>
                </a:ext>
              </a:extLst>
            </p:cNvPr>
            <p:cNvSpPr/>
            <p:nvPr/>
          </p:nvSpPr>
          <p:spPr>
            <a:xfrm rot="13089394">
              <a:off x="8715350" y="2579708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3" name="Forme libre : forme 1262">
              <a:extLst>
                <a:ext uri="{FF2B5EF4-FFF2-40B4-BE49-F238E27FC236}">
                  <a16:creationId xmlns:a16="http://schemas.microsoft.com/office/drawing/2014/main" id="{1D04E94A-1C0D-454D-9922-50FF5EBE6C43}"/>
                </a:ext>
              </a:extLst>
            </p:cNvPr>
            <p:cNvSpPr/>
            <p:nvPr/>
          </p:nvSpPr>
          <p:spPr>
            <a:xfrm rot="8716295">
              <a:off x="8900935" y="2388027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4" name="Forme libre : forme 1263">
              <a:extLst>
                <a:ext uri="{FF2B5EF4-FFF2-40B4-BE49-F238E27FC236}">
                  <a16:creationId xmlns:a16="http://schemas.microsoft.com/office/drawing/2014/main" id="{10563C18-A269-4229-B70A-8D68962158B9}"/>
                </a:ext>
              </a:extLst>
            </p:cNvPr>
            <p:cNvSpPr/>
            <p:nvPr/>
          </p:nvSpPr>
          <p:spPr>
            <a:xfrm rot="8716295">
              <a:off x="8849130" y="228443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5" name="Forme libre : forme 1264">
              <a:extLst>
                <a:ext uri="{FF2B5EF4-FFF2-40B4-BE49-F238E27FC236}">
                  <a16:creationId xmlns:a16="http://schemas.microsoft.com/office/drawing/2014/main" id="{208F3E00-CBC6-4CD3-9BBC-C388642BC9E1}"/>
                </a:ext>
              </a:extLst>
            </p:cNvPr>
            <p:cNvSpPr/>
            <p:nvPr/>
          </p:nvSpPr>
          <p:spPr>
            <a:xfrm rot="8716295">
              <a:off x="8605884" y="231465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6" name="Forme libre : forme 1265">
              <a:extLst>
                <a:ext uri="{FF2B5EF4-FFF2-40B4-BE49-F238E27FC236}">
                  <a16:creationId xmlns:a16="http://schemas.microsoft.com/office/drawing/2014/main" id="{A7B737F3-1AE0-4B4A-887B-DCA6987975B9}"/>
                </a:ext>
              </a:extLst>
            </p:cNvPr>
            <p:cNvSpPr/>
            <p:nvPr/>
          </p:nvSpPr>
          <p:spPr>
            <a:xfrm rot="8716295">
              <a:off x="8783336" y="215541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7" name="Forme libre : forme 1266">
              <a:extLst>
                <a:ext uri="{FF2B5EF4-FFF2-40B4-BE49-F238E27FC236}">
                  <a16:creationId xmlns:a16="http://schemas.microsoft.com/office/drawing/2014/main" id="{ED038CD8-6F63-4DEA-AFB9-416565E0B1AE}"/>
                </a:ext>
              </a:extLst>
            </p:cNvPr>
            <p:cNvSpPr/>
            <p:nvPr/>
          </p:nvSpPr>
          <p:spPr>
            <a:xfrm rot="8716295">
              <a:off x="8461723" y="320217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8" name="Forme libre : forme 1267">
              <a:extLst>
                <a:ext uri="{FF2B5EF4-FFF2-40B4-BE49-F238E27FC236}">
                  <a16:creationId xmlns:a16="http://schemas.microsoft.com/office/drawing/2014/main" id="{4ADDF2AA-F777-43E8-985A-08DA5C91CAC3}"/>
                </a:ext>
              </a:extLst>
            </p:cNvPr>
            <p:cNvSpPr/>
            <p:nvPr/>
          </p:nvSpPr>
          <p:spPr>
            <a:xfrm rot="8716295">
              <a:off x="8551115" y="323142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9" name="Forme libre : forme 1268">
              <a:extLst>
                <a:ext uri="{FF2B5EF4-FFF2-40B4-BE49-F238E27FC236}">
                  <a16:creationId xmlns:a16="http://schemas.microsoft.com/office/drawing/2014/main" id="{5F6A757A-2778-41F5-B5E1-C920513FE4A3}"/>
                </a:ext>
              </a:extLst>
            </p:cNvPr>
            <p:cNvSpPr/>
            <p:nvPr/>
          </p:nvSpPr>
          <p:spPr>
            <a:xfrm rot="8716295">
              <a:off x="8506265" y="314514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0" name="Forme libre : forme 1269">
              <a:extLst>
                <a:ext uri="{FF2B5EF4-FFF2-40B4-BE49-F238E27FC236}">
                  <a16:creationId xmlns:a16="http://schemas.microsoft.com/office/drawing/2014/main" id="{0EFEE5D5-C1BD-4136-8474-BA19679B6FE6}"/>
                </a:ext>
              </a:extLst>
            </p:cNvPr>
            <p:cNvSpPr/>
            <p:nvPr/>
          </p:nvSpPr>
          <p:spPr>
            <a:xfrm rot="8716295">
              <a:off x="8349489" y="329072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1" name="Forme libre : forme 1270">
              <a:extLst>
                <a:ext uri="{FF2B5EF4-FFF2-40B4-BE49-F238E27FC236}">
                  <a16:creationId xmlns:a16="http://schemas.microsoft.com/office/drawing/2014/main" id="{478BD2EF-1B5E-4C0F-83FF-65BB9BDBEB73}"/>
                </a:ext>
              </a:extLst>
            </p:cNvPr>
            <p:cNvSpPr/>
            <p:nvPr/>
          </p:nvSpPr>
          <p:spPr>
            <a:xfrm rot="8716295">
              <a:off x="8224586" y="308204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2" name="Forme libre : forme 1271">
              <a:extLst>
                <a:ext uri="{FF2B5EF4-FFF2-40B4-BE49-F238E27FC236}">
                  <a16:creationId xmlns:a16="http://schemas.microsoft.com/office/drawing/2014/main" id="{CA9F447E-DAA7-42DE-BF9D-296DA2E235D4}"/>
                </a:ext>
              </a:extLst>
            </p:cNvPr>
            <p:cNvSpPr/>
            <p:nvPr/>
          </p:nvSpPr>
          <p:spPr>
            <a:xfrm rot="8716295">
              <a:off x="8212534" y="2943269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3" name="Forme libre : forme 1272">
              <a:extLst>
                <a:ext uri="{FF2B5EF4-FFF2-40B4-BE49-F238E27FC236}">
                  <a16:creationId xmlns:a16="http://schemas.microsoft.com/office/drawing/2014/main" id="{B7FB840A-B629-4503-ACF9-05EB6F60350A}"/>
                </a:ext>
              </a:extLst>
            </p:cNvPr>
            <p:cNvSpPr/>
            <p:nvPr/>
          </p:nvSpPr>
          <p:spPr>
            <a:xfrm rot="8716295">
              <a:off x="8439667" y="333167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4" name="Forme libre : forme 1273">
              <a:extLst>
                <a:ext uri="{FF2B5EF4-FFF2-40B4-BE49-F238E27FC236}">
                  <a16:creationId xmlns:a16="http://schemas.microsoft.com/office/drawing/2014/main" id="{284BE434-693F-4B53-B96A-BC8BBBAA6451}"/>
                </a:ext>
              </a:extLst>
            </p:cNvPr>
            <p:cNvSpPr/>
            <p:nvPr/>
          </p:nvSpPr>
          <p:spPr>
            <a:xfrm rot="8716295">
              <a:off x="8750822" y="295202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5" name="Forme libre : forme 1274">
              <a:extLst>
                <a:ext uri="{FF2B5EF4-FFF2-40B4-BE49-F238E27FC236}">
                  <a16:creationId xmlns:a16="http://schemas.microsoft.com/office/drawing/2014/main" id="{00E031F6-CDA7-4F23-85AC-0C03588D8BFF}"/>
                </a:ext>
              </a:extLst>
            </p:cNvPr>
            <p:cNvSpPr/>
            <p:nvPr/>
          </p:nvSpPr>
          <p:spPr>
            <a:xfrm rot="8716295">
              <a:off x="8840214" y="298126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6" name="Forme libre : forme 1275">
              <a:extLst>
                <a:ext uri="{FF2B5EF4-FFF2-40B4-BE49-F238E27FC236}">
                  <a16:creationId xmlns:a16="http://schemas.microsoft.com/office/drawing/2014/main" id="{48A487FF-161F-413C-A2D1-AFC7148CC4B0}"/>
                </a:ext>
              </a:extLst>
            </p:cNvPr>
            <p:cNvSpPr/>
            <p:nvPr/>
          </p:nvSpPr>
          <p:spPr>
            <a:xfrm rot="8716295">
              <a:off x="8638588" y="304057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7" name="Forme libre : forme 1276">
              <a:extLst>
                <a:ext uri="{FF2B5EF4-FFF2-40B4-BE49-F238E27FC236}">
                  <a16:creationId xmlns:a16="http://schemas.microsoft.com/office/drawing/2014/main" id="{DD5BE4D1-C7C8-4842-9CD7-28661B0A4744}"/>
                </a:ext>
              </a:extLst>
            </p:cNvPr>
            <p:cNvSpPr/>
            <p:nvPr/>
          </p:nvSpPr>
          <p:spPr>
            <a:xfrm rot="8716295">
              <a:off x="8513686" y="283189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8" name="Forme libre : forme 1277">
              <a:extLst>
                <a:ext uri="{FF2B5EF4-FFF2-40B4-BE49-F238E27FC236}">
                  <a16:creationId xmlns:a16="http://schemas.microsoft.com/office/drawing/2014/main" id="{0B4DA140-E81E-4D65-A5C9-F035DA31F730}"/>
                </a:ext>
              </a:extLst>
            </p:cNvPr>
            <p:cNvSpPr/>
            <p:nvPr/>
          </p:nvSpPr>
          <p:spPr>
            <a:xfrm rot="8716295">
              <a:off x="8728766" y="308152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9" name="Forme libre : forme 1278">
              <a:extLst>
                <a:ext uri="{FF2B5EF4-FFF2-40B4-BE49-F238E27FC236}">
                  <a16:creationId xmlns:a16="http://schemas.microsoft.com/office/drawing/2014/main" id="{14371798-95AB-4DEA-8474-58BAC0008E89}"/>
                </a:ext>
              </a:extLst>
            </p:cNvPr>
            <p:cNvSpPr/>
            <p:nvPr/>
          </p:nvSpPr>
          <p:spPr>
            <a:xfrm rot="8716295">
              <a:off x="8487315" y="293192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0" name="Forme libre : forme 1279">
              <a:extLst>
                <a:ext uri="{FF2B5EF4-FFF2-40B4-BE49-F238E27FC236}">
                  <a16:creationId xmlns:a16="http://schemas.microsoft.com/office/drawing/2014/main" id="{B40273FF-66D0-4D54-A913-9136C391E5E9}"/>
                </a:ext>
              </a:extLst>
            </p:cNvPr>
            <p:cNvSpPr/>
            <p:nvPr/>
          </p:nvSpPr>
          <p:spPr>
            <a:xfrm rot="7484129">
              <a:off x="8833697" y="32728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1" name="Forme libre : forme 1280">
              <a:extLst>
                <a:ext uri="{FF2B5EF4-FFF2-40B4-BE49-F238E27FC236}">
                  <a16:creationId xmlns:a16="http://schemas.microsoft.com/office/drawing/2014/main" id="{FCD6CCFC-12B5-4C32-A6C9-28B6678973BF}"/>
                </a:ext>
              </a:extLst>
            </p:cNvPr>
            <p:cNvSpPr/>
            <p:nvPr/>
          </p:nvSpPr>
          <p:spPr>
            <a:xfrm rot="13089394">
              <a:off x="8933167" y="3248496"/>
              <a:ext cx="272584" cy="314617"/>
            </a:xfrm>
            <a:custGeom>
              <a:avLst/>
              <a:gdLst>
                <a:gd name="connsiteX0" fmla="*/ 77412 w 272584"/>
                <a:gd name="connsiteY0" fmla="*/ 203022 h 314617"/>
                <a:gd name="connsiteX1" fmla="*/ 0 w 272584"/>
                <a:gd name="connsiteY1" fmla="*/ 104495 h 314617"/>
                <a:gd name="connsiteX2" fmla="*/ 0 w 272584"/>
                <a:gd name="connsiteY2" fmla="*/ 38074 h 314617"/>
                <a:gd name="connsiteX3" fmla="*/ 73388 w 272584"/>
                <a:gd name="connsiteY3" fmla="*/ 0 h 314617"/>
                <a:gd name="connsiteX4" fmla="*/ 74492 w 272584"/>
                <a:gd name="connsiteY4" fmla="*/ 153950 h 314617"/>
                <a:gd name="connsiteX5" fmla="*/ 76768 w 272584"/>
                <a:gd name="connsiteY5" fmla="*/ 200369 h 314617"/>
                <a:gd name="connsiteX6" fmla="*/ 272584 w 272584"/>
                <a:gd name="connsiteY6" fmla="*/ 258238 h 314617"/>
                <a:gd name="connsiteX7" fmla="*/ 177331 w 272584"/>
                <a:gd name="connsiteY7" fmla="*/ 311348 h 314617"/>
                <a:gd name="connsiteX8" fmla="*/ 165091 w 272584"/>
                <a:gd name="connsiteY8" fmla="*/ 314617 h 314617"/>
                <a:gd name="connsiteX9" fmla="*/ 136528 w 272584"/>
                <a:gd name="connsiteY9" fmla="*/ 278262 h 314617"/>
                <a:gd name="connsiteX10" fmla="*/ 153949 w 272584"/>
                <a:gd name="connsiteY10" fmla="*/ 281965 h 314617"/>
                <a:gd name="connsiteX11" fmla="*/ 203610 w 272584"/>
                <a:gd name="connsiteY11" fmla="*/ 273137 h 314617"/>
                <a:gd name="connsiteX12" fmla="*/ 271481 w 272584"/>
                <a:gd name="connsiteY12" fmla="*/ 245547 h 314617"/>
                <a:gd name="connsiteX13" fmla="*/ 272584 w 272584"/>
                <a:gd name="connsiteY13" fmla="*/ 252720 h 314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2584" h="314617">
                  <a:moveTo>
                    <a:pt x="77412" y="203022"/>
                  </a:moveTo>
                  <a:lnTo>
                    <a:pt x="0" y="104495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3664" y="169400"/>
                    <a:pt x="74491" y="184988"/>
                    <a:pt x="76768" y="200369"/>
                  </a:cubicBezTo>
                  <a:close/>
                  <a:moveTo>
                    <a:pt x="272584" y="258238"/>
                  </a:moveTo>
                  <a:cubicBezTo>
                    <a:pt x="243339" y="283344"/>
                    <a:pt x="209542" y="300312"/>
                    <a:pt x="177331" y="311348"/>
                  </a:cubicBezTo>
                  <a:lnTo>
                    <a:pt x="165091" y="314617"/>
                  </a:lnTo>
                  <a:lnTo>
                    <a:pt x="136528" y="278262"/>
                  </a:lnTo>
                  <a:lnTo>
                    <a:pt x="153949" y="281965"/>
                  </a:lnTo>
                  <a:cubicBezTo>
                    <a:pt x="171055" y="281413"/>
                    <a:pt x="187608" y="278102"/>
                    <a:pt x="203610" y="273137"/>
                  </a:cubicBezTo>
                  <a:cubicBezTo>
                    <a:pt x="226786" y="265963"/>
                    <a:pt x="249409" y="256583"/>
                    <a:pt x="271481" y="245547"/>
                  </a:cubicBezTo>
                  <a:cubicBezTo>
                    <a:pt x="272032" y="247754"/>
                    <a:pt x="272584" y="250512"/>
                    <a:pt x="272584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2" name="Forme libre : forme 1281">
              <a:extLst>
                <a:ext uri="{FF2B5EF4-FFF2-40B4-BE49-F238E27FC236}">
                  <a16:creationId xmlns:a16="http://schemas.microsoft.com/office/drawing/2014/main" id="{49322978-3720-487C-8006-BF9E3F6D1CD3}"/>
                </a:ext>
              </a:extLst>
            </p:cNvPr>
            <p:cNvSpPr/>
            <p:nvPr/>
          </p:nvSpPr>
          <p:spPr>
            <a:xfrm rot="8716295">
              <a:off x="9063436" y="2943322"/>
              <a:ext cx="105430" cy="113008"/>
            </a:xfrm>
            <a:custGeom>
              <a:avLst/>
              <a:gdLst>
                <a:gd name="connsiteX0" fmla="*/ 5398 w 105430"/>
                <a:gd name="connsiteY0" fmla="*/ 96451 h 113008"/>
                <a:gd name="connsiteX1" fmla="*/ 0 w 105430"/>
                <a:gd name="connsiteY1" fmla="*/ 83667 h 113008"/>
                <a:gd name="connsiteX2" fmla="*/ 57995 w 105430"/>
                <a:gd name="connsiteY2" fmla="*/ 0 h 113008"/>
                <a:gd name="connsiteX3" fmla="*/ 88184 w 105430"/>
                <a:gd name="connsiteY3" fmla="*/ 12746 h 113008"/>
                <a:gd name="connsiteX4" fmla="*/ 88183 w 105430"/>
                <a:gd name="connsiteY4" fmla="*/ 95531 h 113008"/>
                <a:gd name="connsiteX5" fmla="*/ 46790 w 105430"/>
                <a:gd name="connsiteY5" fmla="*/ 113008 h 113008"/>
                <a:gd name="connsiteX6" fmla="*/ 5398 w 105430"/>
                <a:gd name="connsiteY6" fmla="*/ 96451 h 113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5430" h="113008">
                  <a:moveTo>
                    <a:pt x="5398" y="96451"/>
                  </a:moveTo>
                  <a:lnTo>
                    <a:pt x="0" y="83667"/>
                  </a:lnTo>
                  <a:lnTo>
                    <a:pt x="57995" y="0"/>
                  </a:lnTo>
                  <a:lnTo>
                    <a:pt x="88184" y="12746"/>
                  </a:lnTo>
                  <a:cubicBezTo>
                    <a:pt x="111179" y="34822"/>
                    <a:pt x="111179" y="72535"/>
                    <a:pt x="88183" y="95531"/>
                  </a:cubicBezTo>
                  <a:cubicBezTo>
                    <a:pt x="77145" y="106569"/>
                    <a:pt x="62428" y="113008"/>
                    <a:pt x="46790" y="113008"/>
                  </a:cubicBezTo>
                  <a:cubicBezTo>
                    <a:pt x="31154" y="113008"/>
                    <a:pt x="16436" y="107489"/>
                    <a:pt x="5398" y="9645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3" name="Forme libre : forme 1282">
              <a:extLst>
                <a:ext uri="{FF2B5EF4-FFF2-40B4-BE49-F238E27FC236}">
                  <a16:creationId xmlns:a16="http://schemas.microsoft.com/office/drawing/2014/main" id="{0E79394D-1F93-4DAB-A031-4180A71FEAA6}"/>
                </a:ext>
              </a:extLst>
            </p:cNvPr>
            <p:cNvSpPr/>
            <p:nvPr/>
          </p:nvSpPr>
          <p:spPr>
            <a:xfrm rot="8716295">
              <a:off x="8829051" y="297435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4" name="Forme libre : forme 1283">
              <a:extLst>
                <a:ext uri="{FF2B5EF4-FFF2-40B4-BE49-F238E27FC236}">
                  <a16:creationId xmlns:a16="http://schemas.microsoft.com/office/drawing/2014/main" id="{A779B4B1-CCAB-4B22-BE71-EFFAA7770D63}"/>
                </a:ext>
              </a:extLst>
            </p:cNvPr>
            <p:cNvSpPr/>
            <p:nvPr/>
          </p:nvSpPr>
          <p:spPr>
            <a:xfrm rot="8716295">
              <a:off x="9006503" y="281511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5" name="Forme libre : forme 1284">
              <a:extLst>
                <a:ext uri="{FF2B5EF4-FFF2-40B4-BE49-F238E27FC236}">
                  <a16:creationId xmlns:a16="http://schemas.microsoft.com/office/drawing/2014/main" id="{755E45E0-E074-4D6C-9B76-6EFDFD1013C0}"/>
                </a:ext>
              </a:extLst>
            </p:cNvPr>
            <p:cNvSpPr/>
            <p:nvPr/>
          </p:nvSpPr>
          <p:spPr>
            <a:xfrm rot="8716295">
              <a:off x="8951372" y="5039787"/>
              <a:ext cx="114842" cy="149763"/>
            </a:xfrm>
            <a:custGeom>
              <a:avLst/>
              <a:gdLst>
                <a:gd name="connsiteX0" fmla="*/ 0 w 114842"/>
                <a:gd name="connsiteY0" fmla="*/ 9212 h 149763"/>
                <a:gd name="connsiteX1" fmla="*/ 0 w 114842"/>
                <a:gd name="connsiteY1" fmla="*/ 0 h 149763"/>
                <a:gd name="connsiteX2" fmla="*/ 13290 w 114842"/>
                <a:gd name="connsiteY2" fmla="*/ 9212 h 149763"/>
                <a:gd name="connsiteX3" fmla="*/ 90709 w 114842"/>
                <a:gd name="connsiteY3" fmla="*/ 149763 h 149763"/>
                <a:gd name="connsiteX4" fmla="*/ 47847 w 114842"/>
                <a:gd name="connsiteY4" fmla="*/ 70018 h 149763"/>
                <a:gd name="connsiteX5" fmla="*/ 58479 w 114842"/>
                <a:gd name="connsiteY5" fmla="*/ 40536 h 149763"/>
                <a:gd name="connsiteX6" fmla="*/ 114842 w 114842"/>
                <a:gd name="connsiteY6" fmla="*/ 79604 h 149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842" h="149763">
                  <a:moveTo>
                    <a:pt x="0" y="9212"/>
                  </a:moveTo>
                  <a:lnTo>
                    <a:pt x="0" y="0"/>
                  </a:lnTo>
                  <a:lnTo>
                    <a:pt x="13290" y="9212"/>
                  </a:lnTo>
                  <a:close/>
                  <a:moveTo>
                    <a:pt x="90709" y="149763"/>
                  </a:moveTo>
                  <a:lnTo>
                    <a:pt x="47847" y="70018"/>
                  </a:lnTo>
                  <a:lnTo>
                    <a:pt x="58479" y="40536"/>
                  </a:lnTo>
                  <a:lnTo>
                    <a:pt x="114842" y="796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6" name="Forme libre : forme 1285">
              <a:extLst>
                <a:ext uri="{FF2B5EF4-FFF2-40B4-BE49-F238E27FC236}">
                  <a16:creationId xmlns:a16="http://schemas.microsoft.com/office/drawing/2014/main" id="{8AED8A80-C2CB-4353-A4D6-B63B770DAFE6}"/>
                </a:ext>
              </a:extLst>
            </p:cNvPr>
            <p:cNvSpPr/>
            <p:nvPr/>
          </p:nvSpPr>
          <p:spPr>
            <a:xfrm rot="8716295">
              <a:off x="8858304" y="4924131"/>
              <a:ext cx="290644" cy="300328"/>
            </a:xfrm>
            <a:custGeom>
              <a:avLst/>
              <a:gdLst>
                <a:gd name="connsiteX0" fmla="*/ 25298 w 290644"/>
                <a:gd name="connsiteY0" fmla="*/ 270737 h 300328"/>
                <a:gd name="connsiteX1" fmla="*/ 1 w 290644"/>
                <a:gd name="connsiteY1" fmla="*/ 169541 h 300328"/>
                <a:gd name="connsiteX2" fmla="*/ 0 w 290644"/>
                <a:gd name="connsiteY2" fmla="*/ 113409 h 300328"/>
                <a:gd name="connsiteX3" fmla="*/ 78612 w 290644"/>
                <a:gd name="connsiteY3" fmla="*/ 0 h 300328"/>
                <a:gd name="connsiteX4" fmla="*/ 79427 w 290644"/>
                <a:gd name="connsiteY4" fmla="*/ 113648 h 300328"/>
                <a:gd name="connsiteX5" fmla="*/ 93547 w 290644"/>
                <a:gd name="connsiteY5" fmla="*/ 211314 h 300328"/>
                <a:gd name="connsiteX6" fmla="*/ 164149 w 290644"/>
                <a:gd name="connsiteY6" fmla="*/ 250145 h 300328"/>
                <a:gd name="connsiteX7" fmla="*/ 217100 w 290644"/>
                <a:gd name="connsiteY7" fmla="*/ 240732 h 300328"/>
                <a:gd name="connsiteX8" fmla="*/ 289467 w 290644"/>
                <a:gd name="connsiteY8" fmla="*/ 211314 h 300328"/>
                <a:gd name="connsiteX9" fmla="*/ 290643 w 290644"/>
                <a:gd name="connsiteY9" fmla="*/ 218962 h 300328"/>
                <a:gd name="connsiteX10" fmla="*/ 290644 w 290644"/>
                <a:gd name="connsiteY10" fmla="*/ 224846 h 300328"/>
                <a:gd name="connsiteX11" fmla="*/ 97666 w 290644"/>
                <a:gd name="connsiteY11" fmla="*/ 300154 h 300328"/>
                <a:gd name="connsiteX12" fmla="*/ 25298 w 290644"/>
                <a:gd name="connsiteY12" fmla="*/ 270737 h 300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0644" h="300328">
                  <a:moveTo>
                    <a:pt x="25298" y="270737"/>
                  </a:moveTo>
                  <a:cubicBezTo>
                    <a:pt x="5295" y="251321"/>
                    <a:pt x="0" y="217786"/>
                    <a:pt x="1" y="169541"/>
                  </a:cubicBezTo>
                  <a:lnTo>
                    <a:pt x="0" y="113409"/>
                  </a:lnTo>
                  <a:lnTo>
                    <a:pt x="78612" y="0"/>
                  </a:lnTo>
                  <a:lnTo>
                    <a:pt x="79427" y="113648"/>
                  </a:lnTo>
                  <a:cubicBezTo>
                    <a:pt x="77662" y="146596"/>
                    <a:pt x="82956" y="180131"/>
                    <a:pt x="93547" y="211314"/>
                  </a:cubicBezTo>
                  <a:cubicBezTo>
                    <a:pt x="102961" y="237201"/>
                    <a:pt x="127083" y="250145"/>
                    <a:pt x="164149" y="250145"/>
                  </a:cubicBezTo>
                  <a:cubicBezTo>
                    <a:pt x="182388" y="249557"/>
                    <a:pt x="200038" y="246026"/>
                    <a:pt x="217100" y="240732"/>
                  </a:cubicBezTo>
                  <a:cubicBezTo>
                    <a:pt x="241810" y="233083"/>
                    <a:pt x="265932" y="223080"/>
                    <a:pt x="289467" y="211314"/>
                  </a:cubicBezTo>
                  <a:cubicBezTo>
                    <a:pt x="290055" y="213668"/>
                    <a:pt x="290643" y="216609"/>
                    <a:pt x="290643" y="218962"/>
                  </a:cubicBezTo>
                  <a:lnTo>
                    <a:pt x="290644" y="224846"/>
                  </a:lnTo>
                  <a:cubicBezTo>
                    <a:pt x="228278" y="278385"/>
                    <a:pt x="146498" y="297213"/>
                    <a:pt x="97666" y="300154"/>
                  </a:cubicBezTo>
                  <a:cubicBezTo>
                    <a:pt x="70602" y="301920"/>
                    <a:pt x="44126" y="290152"/>
                    <a:pt x="25298" y="27073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7" name="Forme libre : forme 1286">
              <a:extLst>
                <a:ext uri="{FF2B5EF4-FFF2-40B4-BE49-F238E27FC236}">
                  <a16:creationId xmlns:a16="http://schemas.microsoft.com/office/drawing/2014/main" id="{F6434F03-7136-449A-AE8B-69AAC2772741}"/>
                </a:ext>
              </a:extLst>
            </p:cNvPr>
            <p:cNvSpPr/>
            <p:nvPr/>
          </p:nvSpPr>
          <p:spPr>
            <a:xfrm rot="8716295">
              <a:off x="8680393" y="386057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8" name="Forme libre : forme 1287">
              <a:extLst>
                <a:ext uri="{FF2B5EF4-FFF2-40B4-BE49-F238E27FC236}">
                  <a16:creationId xmlns:a16="http://schemas.microsoft.com/office/drawing/2014/main" id="{18FA482F-B79B-416B-B433-51E98289C96F}"/>
                </a:ext>
              </a:extLst>
            </p:cNvPr>
            <p:cNvSpPr/>
            <p:nvPr/>
          </p:nvSpPr>
          <p:spPr>
            <a:xfrm rot="8716295">
              <a:off x="8769785" y="388981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9" name="Forme libre : forme 1288">
              <a:extLst>
                <a:ext uri="{FF2B5EF4-FFF2-40B4-BE49-F238E27FC236}">
                  <a16:creationId xmlns:a16="http://schemas.microsoft.com/office/drawing/2014/main" id="{0633B816-D2AD-461A-8DC1-A0C291E15BED}"/>
                </a:ext>
              </a:extLst>
            </p:cNvPr>
            <p:cNvSpPr/>
            <p:nvPr/>
          </p:nvSpPr>
          <p:spPr>
            <a:xfrm rot="8716295">
              <a:off x="8724935" y="380353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0" name="Forme libre : forme 1289">
              <a:extLst>
                <a:ext uri="{FF2B5EF4-FFF2-40B4-BE49-F238E27FC236}">
                  <a16:creationId xmlns:a16="http://schemas.microsoft.com/office/drawing/2014/main" id="{6AEF1F62-3BB3-42AF-9ABA-6922472D9D4C}"/>
                </a:ext>
              </a:extLst>
            </p:cNvPr>
            <p:cNvSpPr/>
            <p:nvPr/>
          </p:nvSpPr>
          <p:spPr>
            <a:xfrm rot="8716295">
              <a:off x="8568159" y="394911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1" name="Forme libre : forme 1290">
              <a:extLst>
                <a:ext uri="{FF2B5EF4-FFF2-40B4-BE49-F238E27FC236}">
                  <a16:creationId xmlns:a16="http://schemas.microsoft.com/office/drawing/2014/main" id="{37A3E740-A35C-49B8-BCA6-B63F53924CD9}"/>
                </a:ext>
              </a:extLst>
            </p:cNvPr>
            <p:cNvSpPr/>
            <p:nvPr/>
          </p:nvSpPr>
          <p:spPr>
            <a:xfrm rot="8716295">
              <a:off x="8443256" y="374044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2" name="Forme libre : forme 1291">
              <a:extLst>
                <a:ext uri="{FF2B5EF4-FFF2-40B4-BE49-F238E27FC236}">
                  <a16:creationId xmlns:a16="http://schemas.microsoft.com/office/drawing/2014/main" id="{4BC6A6C6-3506-4720-B433-50EBFD398AB2}"/>
                </a:ext>
              </a:extLst>
            </p:cNvPr>
            <p:cNvSpPr/>
            <p:nvPr/>
          </p:nvSpPr>
          <p:spPr>
            <a:xfrm rot="8716295">
              <a:off x="8431204" y="360166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3" name="Forme libre : forme 1292">
              <a:extLst>
                <a:ext uri="{FF2B5EF4-FFF2-40B4-BE49-F238E27FC236}">
                  <a16:creationId xmlns:a16="http://schemas.microsoft.com/office/drawing/2014/main" id="{856A2550-AA18-418C-9080-EC3036E4F436}"/>
                </a:ext>
              </a:extLst>
            </p:cNvPr>
            <p:cNvSpPr/>
            <p:nvPr/>
          </p:nvSpPr>
          <p:spPr>
            <a:xfrm rot="8716295">
              <a:off x="8658337" y="399007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4" name="Forme libre : forme 1293">
              <a:extLst>
                <a:ext uri="{FF2B5EF4-FFF2-40B4-BE49-F238E27FC236}">
                  <a16:creationId xmlns:a16="http://schemas.microsoft.com/office/drawing/2014/main" id="{D5235751-C722-4643-BB69-A63D9B7E2C7F}"/>
                </a:ext>
              </a:extLst>
            </p:cNvPr>
            <p:cNvSpPr/>
            <p:nvPr/>
          </p:nvSpPr>
          <p:spPr>
            <a:xfrm rot="8716295">
              <a:off x="8968661" y="3610682"/>
              <a:ext cx="142168" cy="232388"/>
            </a:xfrm>
            <a:custGeom>
              <a:avLst/>
              <a:gdLst>
                <a:gd name="connsiteX0" fmla="*/ 81109 w 142168"/>
                <a:gd name="connsiteY0" fmla="*/ 232388 h 232388"/>
                <a:gd name="connsiteX1" fmla="*/ 81108 w 142168"/>
                <a:gd name="connsiteY1" fmla="*/ 69717 h 232388"/>
                <a:gd name="connsiteX2" fmla="*/ 81108 w 142168"/>
                <a:gd name="connsiteY2" fmla="*/ 65615 h 232388"/>
                <a:gd name="connsiteX3" fmla="*/ 60603 w 142168"/>
                <a:gd name="connsiteY3" fmla="*/ 50123 h 232388"/>
                <a:gd name="connsiteX4" fmla="*/ 0 w 142168"/>
                <a:gd name="connsiteY4" fmla="*/ 50123 h 232388"/>
                <a:gd name="connsiteX5" fmla="*/ 0 w 142168"/>
                <a:gd name="connsiteY5" fmla="*/ 35740 h 232388"/>
                <a:gd name="connsiteX6" fmla="*/ 24774 w 142168"/>
                <a:gd name="connsiteY6" fmla="*/ 0 h 232388"/>
                <a:gd name="connsiteX7" fmla="*/ 85210 w 142168"/>
                <a:gd name="connsiteY7" fmla="*/ 0 h 232388"/>
                <a:gd name="connsiteX8" fmla="*/ 142168 w 142168"/>
                <a:gd name="connsiteY8" fmla="*/ 50123 h 232388"/>
                <a:gd name="connsiteX9" fmla="*/ 142167 w 142168"/>
                <a:gd name="connsiteY9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2168" h="232388">
                  <a:moveTo>
                    <a:pt x="81109" y="232388"/>
                  </a:moveTo>
                  <a:lnTo>
                    <a:pt x="81108" y="69717"/>
                  </a:lnTo>
                  <a:cubicBezTo>
                    <a:pt x="81108" y="68350"/>
                    <a:pt x="81108" y="66982"/>
                    <a:pt x="81108" y="65615"/>
                  </a:cubicBezTo>
                  <a:cubicBezTo>
                    <a:pt x="79741" y="55591"/>
                    <a:pt x="70628" y="48756"/>
                    <a:pt x="60603" y="50123"/>
                  </a:cubicBezTo>
                  <a:lnTo>
                    <a:pt x="0" y="50123"/>
                  </a:lnTo>
                  <a:lnTo>
                    <a:pt x="0" y="35740"/>
                  </a:lnTo>
                  <a:lnTo>
                    <a:pt x="24774" y="0"/>
                  </a:lnTo>
                  <a:lnTo>
                    <a:pt x="85210" y="0"/>
                  </a:lnTo>
                  <a:cubicBezTo>
                    <a:pt x="122118" y="0"/>
                    <a:pt x="142167" y="15949"/>
                    <a:pt x="142168" y="50123"/>
                  </a:cubicBezTo>
                  <a:lnTo>
                    <a:pt x="142167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5" name="Forme libre : forme 1294">
              <a:extLst>
                <a:ext uri="{FF2B5EF4-FFF2-40B4-BE49-F238E27FC236}">
                  <a16:creationId xmlns:a16="http://schemas.microsoft.com/office/drawing/2014/main" id="{85A06E5C-7F12-4A00-B7C2-0D110DC8B17B}"/>
                </a:ext>
              </a:extLst>
            </p:cNvPr>
            <p:cNvSpPr/>
            <p:nvPr/>
          </p:nvSpPr>
          <p:spPr>
            <a:xfrm rot="8716295">
              <a:off x="9109023" y="3840461"/>
              <a:ext cx="57223" cy="60210"/>
            </a:xfrm>
            <a:custGeom>
              <a:avLst/>
              <a:gdLst>
                <a:gd name="connsiteX0" fmla="*/ 0 w 57223"/>
                <a:gd name="connsiteY0" fmla="*/ 60210 h 60210"/>
                <a:gd name="connsiteX1" fmla="*/ 41735 w 57223"/>
                <a:gd name="connsiteY1" fmla="*/ 0 h 60210"/>
                <a:gd name="connsiteX2" fmla="*/ 57223 w 57223"/>
                <a:gd name="connsiteY2" fmla="*/ 50920 h 60210"/>
                <a:gd name="connsiteX3" fmla="*/ 57223 w 57223"/>
                <a:gd name="connsiteY3" fmla="*/ 56844 h 60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223" h="60210">
                  <a:moveTo>
                    <a:pt x="0" y="60210"/>
                  </a:moveTo>
                  <a:lnTo>
                    <a:pt x="41735" y="0"/>
                  </a:lnTo>
                  <a:lnTo>
                    <a:pt x="57223" y="50920"/>
                  </a:lnTo>
                  <a:lnTo>
                    <a:pt x="57223" y="568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6" name="Forme libre : forme 1295">
              <a:extLst>
                <a:ext uri="{FF2B5EF4-FFF2-40B4-BE49-F238E27FC236}">
                  <a16:creationId xmlns:a16="http://schemas.microsoft.com/office/drawing/2014/main" id="{1252EC58-9E57-4107-B2FC-C59BA27CE7DF}"/>
                </a:ext>
              </a:extLst>
            </p:cNvPr>
            <p:cNvSpPr/>
            <p:nvPr/>
          </p:nvSpPr>
          <p:spPr>
            <a:xfrm rot="8716295">
              <a:off x="8857258" y="369896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7" name="Forme libre : forme 1296">
              <a:extLst>
                <a:ext uri="{FF2B5EF4-FFF2-40B4-BE49-F238E27FC236}">
                  <a16:creationId xmlns:a16="http://schemas.microsoft.com/office/drawing/2014/main" id="{1954E87D-9885-4B97-8ACC-9DDD71F1F192}"/>
                </a:ext>
              </a:extLst>
            </p:cNvPr>
            <p:cNvSpPr/>
            <p:nvPr/>
          </p:nvSpPr>
          <p:spPr>
            <a:xfrm rot="8716295">
              <a:off x="8732356" y="349029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8" name="Forme libre : forme 1297">
              <a:extLst>
                <a:ext uri="{FF2B5EF4-FFF2-40B4-BE49-F238E27FC236}">
                  <a16:creationId xmlns:a16="http://schemas.microsoft.com/office/drawing/2014/main" id="{7DA0C229-B685-46FD-A282-2DDCFCEDAB1D}"/>
                </a:ext>
              </a:extLst>
            </p:cNvPr>
            <p:cNvSpPr/>
            <p:nvPr/>
          </p:nvSpPr>
          <p:spPr>
            <a:xfrm rot="8716295">
              <a:off x="8947436" y="373991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9" name="Forme libre : forme 1298">
              <a:extLst>
                <a:ext uri="{FF2B5EF4-FFF2-40B4-BE49-F238E27FC236}">
                  <a16:creationId xmlns:a16="http://schemas.microsoft.com/office/drawing/2014/main" id="{E583C73B-C59E-4715-A88F-1B25FEE34388}"/>
                </a:ext>
              </a:extLst>
            </p:cNvPr>
            <p:cNvSpPr/>
            <p:nvPr/>
          </p:nvSpPr>
          <p:spPr>
            <a:xfrm rot="8716295">
              <a:off x="8705985" y="359031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0" name="Forme libre : forme 1299">
              <a:extLst>
                <a:ext uri="{FF2B5EF4-FFF2-40B4-BE49-F238E27FC236}">
                  <a16:creationId xmlns:a16="http://schemas.microsoft.com/office/drawing/2014/main" id="{38178581-3BEA-4A48-A870-1DDB85404FFE}"/>
                </a:ext>
              </a:extLst>
            </p:cNvPr>
            <p:cNvSpPr/>
            <p:nvPr/>
          </p:nvSpPr>
          <p:spPr>
            <a:xfrm rot="7484129">
              <a:off x="9046498" y="3963386"/>
              <a:ext cx="145510" cy="161114"/>
            </a:xfrm>
            <a:custGeom>
              <a:avLst/>
              <a:gdLst>
                <a:gd name="connsiteX0" fmla="*/ 115849 w 145510"/>
                <a:gd name="connsiteY0" fmla="*/ 20564 h 161114"/>
                <a:gd name="connsiteX1" fmla="*/ 145509 w 145510"/>
                <a:gd name="connsiteY1" fmla="*/ 0 h 161114"/>
                <a:gd name="connsiteX2" fmla="*/ 145510 w 145510"/>
                <a:gd name="connsiteY2" fmla="*/ 20564 h 161114"/>
                <a:gd name="connsiteX3" fmla="*/ 32372 w 145510"/>
                <a:gd name="connsiteY3" fmla="*/ 161114 h 161114"/>
                <a:gd name="connsiteX4" fmla="*/ 0 w 145510"/>
                <a:gd name="connsiteY4" fmla="*/ 100888 h 161114"/>
                <a:gd name="connsiteX5" fmla="*/ 69714 w 145510"/>
                <a:gd name="connsiteY5" fmla="*/ 52552 h 161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5510" h="161114">
                  <a:moveTo>
                    <a:pt x="115849" y="20564"/>
                  </a:moveTo>
                  <a:lnTo>
                    <a:pt x="145509" y="0"/>
                  </a:lnTo>
                  <a:lnTo>
                    <a:pt x="145510" y="20564"/>
                  </a:lnTo>
                  <a:close/>
                  <a:moveTo>
                    <a:pt x="32372" y="161114"/>
                  </a:moveTo>
                  <a:lnTo>
                    <a:pt x="0" y="100888"/>
                  </a:lnTo>
                  <a:lnTo>
                    <a:pt x="69714" y="525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1" name="Forme libre : forme 1300">
              <a:extLst>
                <a:ext uri="{FF2B5EF4-FFF2-40B4-BE49-F238E27FC236}">
                  <a16:creationId xmlns:a16="http://schemas.microsoft.com/office/drawing/2014/main" id="{2DF0D885-AE91-4D82-A22C-467632822CD4}"/>
                </a:ext>
              </a:extLst>
            </p:cNvPr>
            <p:cNvSpPr/>
            <p:nvPr/>
          </p:nvSpPr>
          <p:spPr>
            <a:xfrm rot="8716295">
              <a:off x="9047721" y="363275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2" name="Forme libre : forme 1301">
              <a:extLst>
                <a:ext uri="{FF2B5EF4-FFF2-40B4-BE49-F238E27FC236}">
                  <a16:creationId xmlns:a16="http://schemas.microsoft.com/office/drawing/2014/main" id="{33C52D86-EED4-4053-8849-8D331CAB4CF0}"/>
                </a:ext>
              </a:extLst>
            </p:cNvPr>
            <p:cNvSpPr/>
            <p:nvPr/>
          </p:nvSpPr>
          <p:spPr>
            <a:xfrm rot="8716295">
              <a:off x="8903560" y="452027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3" name="Forme libre : forme 1302">
              <a:extLst>
                <a:ext uri="{FF2B5EF4-FFF2-40B4-BE49-F238E27FC236}">
                  <a16:creationId xmlns:a16="http://schemas.microsoft.com/office/drawing/2014/main" id="{0AC4DA6A-C1AB-4D56-874A-91BC5CE716BE}"/>
                </a:ext>
              </a:extLst>
            </p:cNvPr>
            <p:cNvSpPr/>
            <p:nvPr/>
          </p:nvSpPr>
          <p:spPr>
            <a:xfrm rot="8716295">
              <a:off x="8995011" y="4560813"/>
              <a:ext cx="209150" cy="252972"/>
            </a:xfrm>
            <a:custGeom>
              <a:avLst/>
              <a:gdLst>
                <a:gd name="connsiteX0" fmla="*/ 147180 w 209150"/>
                <a:gd name="connsiteY0" fmla="*/ 96224 h 252972"/>
                <a:gd name="connsiteX1" fmla="*/ 147180 w 209150"/>
                <a:gd name="connsiteY1" fmla="*/ 79820 h 252972"/>
                <a:gd name="connsiteX2" fmla="*/ 113461 w 209150"/>
                <a:gd name="connsiteY2" fmla="*/ 38355 h 252972"/>
                <a:gd name="connsiteX3" fmla="*/ 111078 w 209150"/>
                <a:gd name="connsiteY3" fmla="*/ 39142 h 252972"/>
                <a:gd name="connsiteX4" fmla="*/ 138210 w 209150"/>
                <a:gd name="connsiteY4" fmla="*/ 0 h 252972"/>
                <a:gd name="connsiteX5" fmla="*/ 189158 w 209150"/>
                <a:gd name="connsiteY5" fmla="*/ 20925 h 252972"/>
                <a:gd name="connsiteX6" fmla="*/ 209150 w 209150"/>
                <a:gd name="connsiteY6" fmla="*/ 86655 h 252972"/>
                <a:gd name="connsiteX7" fmla="*/ 209150 w 209150"/>
                <a:gd name="connsiteY7" fmla="*/ 92579 h 252972"/>
                <a:gd name="connsiteX8" fmla="*/ 0 w 209150"/>
                <a:gd name="connsiteY8" fmla="*/ 252972 h 252972"/>
                <a:gd name="connsiteX9" fmla="*/ 0 w 209150"/>
                <a:gd name="connsiteY9" fmla="*/ 199389 h 252972"/>
                <a:gd name="connsiteX10" fmla="*/ 62137 w 209150"/>
                <a:gd name="connsiteY10" fmla="*/ 109748 h 252972"/>
                <a:gd name="connsiteX11" fmla="*/ 60149 w 209150"/>
                <a:gd name="connsiteY11" fmla="*/ 125842 h 252972"/>
                <a:gd name="connsiteX12" fmla="*/ 60149 w 209150"/>
                <a:gd name="connsiteY12" fmla="*/ 211963 h 252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9150" h="252972">
                  <a:moveTo>
                    <a:pt x="147180" y="96224"/>
                  </a:moveTo>
                  <a:lnTo>
                    <a:pt x="147180" y="79820"/>
                  </a:lnTo>
                  <a:cubicBezTo>
                    <a:pt x="147180" y="55214"/>
                    <a:pt x="133055" y="38354"/>
                    <a:pt x="113461" y="38355"/>
                  </a:cubicBezTo>
                  <a:lnTo>
                    <a:pt x="111078" y="39142"/>
                  </a:lnTo>
                  <a:lnTo>
                    <a:pt x="138210" y="0"/>
                  </a:lnTo>
                  <a:lnTo>
                    <a:pt x="189158" y="20925"/>
                  </a:lnTo>
                  <a:cubicBezTo>
                    <a:pt x="202088" y="36076"/>
                    <a:pt x="209150" y="58404"/>
                    <a:pt x="209150" y="86655"/>
                  </a:cubicBezTo>
                  <a:lnTo>
                    <a:pt x="209150" y="92579"/>
                  </a:lnTo>
                  <a:close/>
                  <a:moveTo>
                    <a:pt x="0" y="252972"/>
                  </a:moveTo>
                  <a:lnTo>
                    <a:pt x="0" y="199389"/>
                  </a:lnTo>
                  <a:lnTo>
                    <a:pt x="62137" y="109748"/>
                  </a:lnTo>
                  <a:lnTo>
                    <a:pt x="60149" y="125842"/>
                  </a:lnTo>
                  <a:lnTo>
                    <a:pt x="60149" y="211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4" name="Forme libre : forme 1303">
              <a:extLst>
                <a:ext uri="{FF2B5EF4-FFF2-40B4-BE49-F238E27FC236}">
                  <a16:creationId xmlns:a16="http://schemas.microsoft.com/office/drawing/2014/main" id="{46EFB273-913D-41A4-BE13-A8E412E897AD}"/>
                </a:ext>
              </a:extLst>
            </p:cNvPr>
            <p:cNvSpPr/>
            <p:nvPr/>
          </p:nvSpPr>
          <p:spPr>
            <a:xfrm rot="8716295">
              <a:off x="8948102" y="446323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5" name="Forme libre : forme 1304">
              <a:extLst>
                <a:ext uri="{FF2B5EF4-FFF2-40B4-BE49-F238E27FC236}">
                  <a16:creationId xmlns:a16="http://schemas.microsoft.com/office/drawing/2014/main" id="{C8AFD01E-66A1-4775-A3BB-2B5B572FDEF5}"/>
                </a:ext>
              </a:extLst>
            </p:cNvPr>
            <p:cNvSpPr/>
            <p:nvPr/>
          </p:nvSpPr>
          <p:spPr>
            <a:xfrm rot="8716295">
              <a:off x="8791326" y="460881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6" name="Forme libre : forme 1305">
              <a:extLst>
                <a:ext uri="{FF2B5EF4-FFF2-40B4-BE49-F238E27FC236}">
                  <a16:creationId xmlns:a16="http://schemas.microsoft.com/office/drawing/2014/main" id="{C962FDB1-0DD4-43C1-8205-DE0798092D1A}"/>
                </a:ext>
              </a:extLst>
            </p:cNvPr>
            <p:cNvSpPr/>
            <p:nvPr/>
          </p:nvSpPr>
          <p:spPr>
            <a:xfrm rot="8716295">
              <a:off x="8666423" y="440014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7" name="Forme libre : forme 1306">
              <a:extLst>
                <a:ext uri="{FF2B5EF4-FFF2-40B4-BE49-F238E27FC236}">
                  <a16:creationId xmlns:a16="http://schemas.microsoft.com/office/drawing/2014/main" id="{0480D47A-1697-4D7E-813B-FF226D47F8DF}"/>
                </a:ext>
              </a:extLst>
            </p:cNvPr>
            <p:cNvSpPr/>
            <p:nvPr/>
          </p:nvSpPr>
          <p:spPr>
            <a:xfrm rot="8716295">
              <a:off x="8654371" y="426136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8" name="Forme libre : forme 1307">
              <a:extLst>
                <a:ext uri="{FF2B5EF4-FFF2-40B4-BE49-F238E27FC236}">
                  <a16:creationId xmlns:a16="http://schemas.microsoft.com/office/drawing/2014/main" id="{65904141-C75F-433C-BE0F-46087197E036}"/>
                </a:ext>
              </a:extLst>
            </p:cNvPr>
            <p:cNvSpPr/>
            <p:nvPr/>
          </p:nvSpPr>
          <p:spPr>
            <a:xfrm rot="8716295">
              <a:off x="8881504" y="464976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9" name="Forme libre : forme 1308">
              <a:extLst>
                <a:ext uri="{FF2B5EF4-FFF2-40B4-BE49-F238E27FC236}">
                  <a16:creationId xmlns:a16="http://schemas.microsoft.com/office/drawing/2014/main" id="{A0CD19D0-7C1F-40D5-AA23-F68A2F38F994}"/>
                </a:ext>
              </a:extLst>
            </p:cNvPr>
            <p:cNvSpPr/>
            <p:nvPr/>
          </p:nvSpPr>
          <p:spPr>
            <a:xfrm rot="8716295">
              <a:off x="9080425" y="435866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0" name="Forme libre : forme 1309">
              <a:extLst>
                <a:ext uri="{FF2B5EF4-FFF2-40B4-BE49-F238E27FC236}">
                  <a16:creationId xmlns:a16="http://schemas.microsoft.com/office/drawing/2014/main" id="{81CE2624-1FCB-48DB-8B92-3586C59F8F57}"/>
                </a:ext>
              </a:extLst>
            </p:cNvPr>
            <p:cNvSpPr/>
            <p:nvPr/>
          </p:nvSpPr>
          <p:spPr>
            <a:xfrm rot="8716295">
              <a:off x="9127247" y="4438294"/>
              <a:ext cx="21643" cy="52047"/>
            </a:xfrm>
            <a:custGeom>
              <a:avLst/>
              <a:gdLst>
                <a:gd name="connsiteX0" fmla="*/ 21643 w 21643"/>
                <a:gd name="connsiteY0" fmla="*/ 52047 h 52047"/>
                <a:gd name="connsiteX1" fmla="*/ 0 w 21643"/>
                <a:gd name="connsiteY1" fmla="*/ 31224 h 52047"/>
                <a:gd name="connsiteX2" fmla="*/ 21643 w 21643"/>
                <a:gd name="connsiteY2" fmla="*/ 0 h 52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643" h="52047">
                  <a:moveTo>
                    <a:pt x="21643" y="52047"/>
                  </a:moveTo>
                  <a:lnTo>
                    <a:pt x="0" y="31224"/>
                  </a:lnTo>
                  <a:lnTo>
                    <a:pt x="2164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1" name="Forme libre : forme 1310">
              <a:extLst>
                <a:ext uri="{FF2B5EF4-FFF2-40B4-BE49-F238E27FC236}">
                  <a16:creationId xmlns:a16="http://schemas.microsoft.com/office/drawing/2014/main" id="{31C12572-D0CA-4CC0-9BB5-4B6FE0704FA0}"/>
                </a:ext>
              </a:extLst>
            </p:cNvPr>
            <p:cNvSpPr/>
            <p:nvPr/>
          </p:nvSpPr>
          <p:spPr>
            <a:xfrm rot="8716295">
              <a:off x="8929152" y="425001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2" name="Forme libre : forme 1311">
              <a:extLst>
                <a:ext uri="{FF2B5EF4-FFF2-40B4-BE49-F238E27FC236}">
                  <a16:creationId xmlns:a16="http://schemas.microsoft.com/office/drawing/2014/main" id="{06FE0F28-DCFA-4771-A32B-AC14F208D6DB}"/>
                </a:ext>
              </a:extLst>
            </p:cNvPr>
            <p:cNvSpPr/>
            <p:nvPr/>
          </p:nvSpPr>
          <p:spPr>
            <a:xfrm rot="8716295">
              <a:off x="8017038" y="188150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3" name="Forme libre : forme 1312">
              <a:extLst>
                <a:ext uri="{FF2B5EF4-FFF2-40B4-BE49-F238E27FC236}">
                  <a16:creationId xmlns:a16="http://schemas.microsoft.com/office/drawing/2014/main" id="{03B42E83-510C-4BBE-9C20-B941145EA450}"/>
                </a:ext>
              </a:extLst>
            </p:cNvPr>
            <p:cNvSpPr/>
            <p:nvPr/>
          </p:nvSpPr>
          <p:spPr>
            <a:xfrm rot="8716295">
              <a:off x="8106430" y="191074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4" name="Forme libre : forme 1313">
              <a:extLst>
                <a:ext uri="{FF2B5EF4-FFF2-40B4-BE49-F238E27FC236}">
                  <a16:creationId xmlns:a16="http://schemas.microsoft.com/office/drawing/2014/main" id="{E67399C3-F788-46B5-AAA0-190EC08469BC}"/>
                </a:ext>
              </a:extLst>
            </p:cNvPr>
            <p:cNvSpPr/>
            <p:nvPr/>
          </p:nvSpPr>
          <p:spPr>
            <a:xfrm rot="8716295">
              <a:off x="8061580" y="182446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5" name="Forme libre : forme 1314">
              <a:extLst>
                <a:ext uri="{FF2B5EF4-FFF2-40B4-BE49-F238E27FC236}">
                  <a16:creationId xmlns:a16="http://schemas.microsoft.com/office/drawing/2014/main" id="{BD7D0800-7564-4656-8A63-156A029FB19B}"/>
                </a:ext>
              </a:extLst>
            </p:cNvPr>
            <p:cNvSpPr/>
            <p:nvPr/>
          </p:nvSpPr>
          <p:spPr>
            <a:xfrm rot="8716295">
              <a:off x="7904804" y="197004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6" name="Forme libre : forme 1315">
              <a:extLst>
                <a:ext uri="{FF2B5EF4-FFF2-40B4-BE49-F238E27FC236}">
                  <a16:creationId xmlns:a16="http://schemas.microsoft.com/office/drawing/2014/main" id="{E030DE09-FA2D-4210-A1C0-5CFD337D68EF}"/>
                </a:ext>
              </a:extLst>
            </p:cNvPr>
            <p:cNvSpPr/>
            <p:nvPr/>
          </p:nvSpPr>
          <p:spPr>
            <a:xfrm rot="8716295">
              <a:off x="7779901" y="17613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7" name="Forme libre : forme 1316">
              <a:extLst>
                <a:ext uri="{FF2B5EF4-FFF2-40B4-BE49-F238E27FC236}">
                  <a16:creationId xmlns:a16="http://schemas.microsoft.com/office/drawing/2014/main" id="{441C3211-E12F-43F5-818D-D86C03979435}"/>
                </a:ext>
              </a:extLst>
            </p:cNvPr>
            <p:cNvSpPr/>
            <p:nvPr/>
          </p:nvSpPr>
          <p:spPr>
            <a:xfrm rot="8716295">
              <a:off x="7767849" y="162259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8" name="Forme libre : forme 1317">
              <a:extLst>
                <a:ext uri="{FF2B5EF4-FFF2-40B4-BE49-F238E27FC236}">
                  <a16:creationId xmlns:a16="http://schemas.microsoft.com/office/drawing/2014/main" id="{C81B3DBB-390A-4D8F-BC6E-FD3ECDEE0BB0}"/>
                </a:ext>
              </a:extLst>
            </p:cNvPr>
            <p:cNvSpPr/>
            <p:nvPr/>
          </p:nvSpPr>
          <p:spPr>
            <a:xfrm rot="8716295">
              <a:off x="7994982" y="201100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9" name="Forme libre : forme 1318">
              <a:extLst>
                <a:ext uri="{FF2B5EF4-FFF2-40B4-BE49-F238E27FC236}">
                  <a16:creationId xmlns:a16="http://schemas.microsoft.com/office/drawing/2014/main" id="{BFAFB460-4ECD-40BE-A4EC-4006AC399A7C}"/>
                </a:ext>
              </a:extLst>
            </p:cNvPr>
            <p:cNvSpPr/>
            <p:nvPr/>
          </p:nvSpPr>
          <p:spPr>
            <a:xfrm rot="8716295">
              <a:off x="8306137" y="163135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0" name="Forme libre : forme 1319">
              <a:extLst>
                <a:ext uri="{FF2B5EF4-FFF2-40B4-BE49-F238E27FC236}">
                  <a16:creationId xmlns:a16="http://schemas.microsoft.com/office/drawing/2014/main" id="{7B541B2F-C4AD-4DCD-BCB5-5352D9CFB3ED}"/>
                </a:ext>
              </a:extLst>
            </p:cNvPr>
            <p:cNvSpPr/>
            <p:nvPr/>
          </p:nvSpPr>
          <p:spPr>
            <a:xfrm rot="8716295">
              <a:off x="8395529" y="166059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1" name="Forme libre : forme 1320">
              <a:extLst>
                <a:ext uri="{FF2B5EF4-FFF2-40B4-BE49-F238E27FC236}">
                  <a16:creationId xmlns:a16="http://schemas.microsoft.com/office/drawing/2014/main" id="{A45C4522-56D9-451A-9CF4-67FE5A5396B0}"/>
                </a:ext>
              </a:extLst>
            </p:cNvPr>
            <p:cNvSpPr/>
            <p:nvPr/>
          </p:nvSpPr>
          <p:spPr>
            <a:xfrm rot="8716295">
              <a:off x="8193903" y="171989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2" name="Forme libre : forme 1321">
              <a:extLst>
                <a:ext uri="{FF2B5EF4-FFF2-40B4-BE49-F238E27FC236}">
                  <a16:creationId xmlns:a16="http://schemas.microsoft.com/office/drawing/2014/main" id="{E7717817-0555-4B4B-895C-A33E36D53D8F}"/>
                </a:ext>
              </a:extLst>
            </p:cNvPr>
            <p:cNvSpPr/>
            <p:nvPr/>
          </p:nvSpPr>
          <p:spPr>
            <a:xfrm rot="8716295">
              <a:off x="8069001" y="151122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3" name="Forme libre : forme 1322">
              <a:extLst>
                <a:ext uri="{FF2B5EF4-FFF2-40B4-BE49-F238E27FC236}">
                  <a16:creationId xmlns:a16="http://schemas.microsoft.com/office/drawing/2014/main" id="{5BD4E83D-6535-4EE0-A9B7-D5185CFA466C}"/>
                </a:ext>
              </a:extLst>
            </p:cNvPr>
            <p:cNvSpPr/>
            <p:nvPr/>
          </p:nvSpPr>
          <p:spPr>
            <a:xfrm rot="8716295">
              <a:off x="8284081" y="176084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4" name="Forme libre : forme 1323">
              <a:extLst>
                <a:ext uri="{FF2B5EF4-FFF2-40B4-BE49-F238E27FC236}">
                  <a16:creationId xmlns:a16="http://schemas.microsoft.com/office/drawing/2014/main" id="{550B4B31-795C-4AC8-BA83-B9758B5300F7}"/>
                </a:ext>
              </a:extLst>
            </p:cNvPr>
            <p:cNvSpPr/>
            <p:nvPr/>
          </p:nvSpPr>
          <p:spPr>
            <a:xfrm rot="8716295">
              <a:off x="8042630" y="161124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5" name="Forme libre : forme 1324">
              <a:extLst>
                <a:ext uri="{FF2B5EF4-FFF2-40B4-BE49-F238E27FC236}">
                  <a16:creationId xmlns:a16="http://schemas.microsoft.com/office/drawing/2014/main" id="{7AE347C2-0FF0-43F2-9E07-9395DE30E665}"/>
                </a:ext>
              </a:extLst>
            </p:cNvPr>
            <p:cNvSpPr/>
            <p:nvPr/>
          </p:nvSpPr>
          <p:spPr>
            <a:xfrm rot="7484129">
              <a:off x="8389012" y="195220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6" name="Forme libre : forme 1325">
              <a:extLst>
                <a:ext uri="{FF2B5EF4-FFF2-40B4-BE49-F238E27FC236}">
                  <a16:creationId xmlns:a16="http://schemas.microsoft.com/office/drawing/2014/main" id="{D3A4F277-D48F-4980-838D-133EBFE3B58C}"/>
                </a:ext>
              </a:extLst>
            </p:cNvPr>
            <p:cNvSpPr/>
            <p:nvPr/>
          </p:nvSpPr>
          <p:spPr>
            <a:xfrm rot="13089394">
              <a:off x="8493832" y="191873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7" name="Forme libre : forme 1326">
              <a:extLst>
                <a:ext uri="{FF2B5EF4-FFF2-40B4-BE49-F238E27FC236}">
                  <a16:creationId xmlns:a16="http://schemas.microsoft.com/office/drawing/2014/main" id="{F44857BA-0E6D-444C-8130-0CFA8DA44B30}"/>
                </a:ext>
              </a:extLst>
            </p:cNvPr>
            <p:cNvSpPr/>
            <p:nvPr/>
          </p:nvSpPr>
          <p:spPr>
            <a:xfrm rot="8716295">
              <a:off x="8679417" y="172705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8" name="Forme libre : forme 1327">
              <a:extLst>
                <a:ext uri="{FF2B5EF4-FFF2-40B4-BE49-F238E27FC236}">
                  <a16:creationId xmlns:a16="http://schemas.microsoft.com/office/drawing/2014/main" id="{D4C84979-7E73-4B70-A159-042D83A98EA4}"/>
                </a:ext>
              </a:extLst>
            </p:cNvPr>
            <p:cNvSpPr/>
            <p:nvPr/>
          </p:nvSpPr>
          <p:spPr>
            <a:xfrm rot="8716295">
              <a:off x="8627612" y="162346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9" name="Forme libre : forme 1328">
              <a:extLst>
                <a:ext uri="{FF2B5EF4-FFF2-40B4-BE49-F238E27FC236}">
                  <a16:creationId xmlns:a16="http://schemas.microsoft.com/office/drawing/2014/main" id="{C1D10C79-BBC0-4738-9EE2-1E8709B72D7D}"/>
                </a:ext>
              </a:extLst>
            </p:cNvPr>
            <p:cNvSpPr/>
            <p:nvPr/>
          </p:nvSpPr>
          <p:spPr>
            <a:xfrm rot="8716295">
              <a:off x="8384366" y="165368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0" name="Forme libre : forme 1329">
              <a:extLst>
                <a:ext uri="{FF2B5EF4-FFF2-40B4-BE49-F238E27FC236}">
                  <a16:creationId xmlns:a16="http://schemas.microsoft.com/office/drawing/2014/main" id="{84968DC1-9DA6-4257-AB15-0940E818C029}"/>
                </a:ext>
              </a:extLst>
            </p:cNvPr>
            <p:cNvSpPr/>
            <p:nvPr/>
          </p:nvSpPr>
          <p:spPr>
            <a:xfrm rot="8716295">
              <a:off x="8561818" y="149443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1" name="Forme libre : forme 1330">
              <a:extLst>
                <a:ext uri="{FF2B5EF4-FFF2-40B4-BE49-F238E27FC236}">
                  <a16:creationId xmlns:a16="http://schemas.microsoft.com/office/drawing/2014/main" id="{259462E3-1804-418C-9BF0-9C34C3096E62}"/>
                </a:ext>
              </a:extLst>
            </p:cNvPr>
            <p:cNvSpPr/>
            <p:nvPr/>
          </p:nvSpPr>
          <p:spPr>
            <a:xfrm rot="8716295">
              <a:off x="7793871" y="122180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2" name="Forme libre : forme 1331">
              <a:extLst>
                <a:ext uri="{FF2B5EF4-FFF2-40B4-BE49-F238E27FC236}">
                  <a16:creationId xmlns:a16="http://schemas.microsoft.com/office/drawing/2014/main" id="{7B2E794A-058D-4204-8976-C2253563124B}"/>
                </a:ext>
              </a:extLst>
            </p:cNvPr>
            <p:cNvSpPr/>
            <p:nvPr/>
          </p:nvSpPr>
          <p:spPr>
            <a:xfrm rot="8716295">
              <a:off x="7883263" y="125104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3" name="Forme libre : forme 1332">
              <a:extLst>
                <a:ext uri="{FF2B5EF4-FFF2-40B4-BE49-F238E27FC236}">
                  <a16:creationId xmlns:a16="http://schemas.microsoft.com/office/drawing/2014/main" id="{31CF00F1-0460-4F25-BB21-EB3DEDFBD98D}"/>
                </a:ext>
              </a:extLst>
            </p:cNvPr>
            <p:cNvSpPr/>
            <p:nvPr/>
          </p:nvSpPr>
          <p:spPr>
            <a:xfrm rot="8716295">
              <a:off x="7838413" y="1164768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4" name="Forme libre : forme 1333">
              <a:extLst>
                <a:ext uri="{FF2B5EF4-FFF2-40B4-BE49-F238E27FC236}">
                  <a16:creationId xmlns:a16="http://schemas.microsoft.com/office/drawing/2014/main" id="{BCBED745-150E-4526-8568-62C6BF9E77BE}"/>
                </a:ext>
              </a:extLst>
            </p:cNvPr>
            <p:cNvSpPr/>
            <p:nvPr/>
          </p:nvSpPr>
          <p:spPr>
            <a:xfrm rot="8716295">
              <a:off x="7681637" y="131035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5" name="Forme libre : forme 1334">
              <a:extLst>
                <a:ext uri="{FF2B5EF4-FFF2-40B4-BE49-F238E27FC236}">
                  <a16:creationId xmlns:a16="http://schemas.microsoft.com/office/drawing/2014/main" id="{4F66BBCB-B640-4584-ADDB-9A235DECC828}"/>
                </a:ext>
              </a:extLst>
            </p:cNvPr>
            <p:cNvSpPr/>
            <p:nvPr/>
          </p:nvSpPr>
          <p:spPr>
            <a:xfrm rot="8716295">
              <a:off x="7556734" y="110167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6" name="Forme libre : forme 1335">
              <a:extLst>
                <a:ext uri="{FF2B5EF4-FFF2-40B4-BE49-F238E27FC236}">
                  <a16:creationId xmlns:a16="http://schemas.microsoft.com/office/drawing/2014/main" id="{E6E36EEB-8827-4842-B89F-26523D1637B2}"/>
                </a:ext>
              </a:extLst>
            </p:cNvPr>
            <p:cNvSpPr/>
            <p:nvPr/>
          </p:nvSpPr>
          <p:spPr>
            <a:xfrm rot="8716295">
              <a:off x="7544682" y="962897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7" name="Forme libre : forme 1336">
              <a:extLst>
                <a:ext uri="{FF2B5EF4-FFF2-40B4-BE49-F238E27FC236}">
                  <a16:creationId xmlns:a16="http://schemas.microsoft.com/office/drawing/2014/main" id="{ECE47C5C-3D06-4911-A1DE-543CB20F5396}"/>
                </a:ext>
              </a:extLst>
            </p:cNvPr>
            <p:cNvSpPr/>
            <p:nvPr/>
          </p:nvSpPr>
          <p:spPr>
            <a:xfrm rot="8716295">
              <a:off x="7771815" y="1351302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8" name="Forme libre : forme 1337">
              <a:extLst>
                <a:ext uri="{FF2B5EF4-FFF2-40B4-BE49-F238E27FC236}">
                  <a16:creationId xmlns:a16="http://schemas.microsoft.com/office/drawing/2014/main" id="{8CC68F11-D64D-4203-A8DD-898BE62FB0FE}"/>
                </a:ext>
              </a:extLst>
            </p:cNvPr>
            <p:cNvSpPr/>
            <p:nvPr/>
          </p:nvSpPr>
          <p:spPr>
            <a:xfrm rot="8716295">
              <a:off x="8082970" y="97165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9" name="Forme libre : forme 1338">
              <a:extLst>
                <a:ext uri="{FF2B5EF4-FFF2-40B4-BE49-F238E27FC236}">
                  <a16:creationId xmlns:a16="http://schemas.microsoft.com/office/drawing/2014/main" id="{1B97A536-69CC-493F-9F28-150068FA4CCA}"/>
                </a:ext>
              </a:extLst>
            </p:cNvPr>
            <p:cNvSpPr/>
            <p:nvPr/>
          </p:nvSpPr>
          <p:spPr>
            <a:xfrm rot="8716295">
              <a:off x="8172362" y="100089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0" name="Forme libre : forme 1339">
              <a:extLst>
                <a:ext uri="{FF2B5EF4-FFF2-40B4-BE49-F238E27FC236}">
                  <a16:creationId xmlns:a16="http://schemas.microsoft.com/office/drawing/2014/main" id="{CCB2D551-0206-4F5E-9C9A-7BFB60BB3657}"/>
                </a:ext>
              </a:extLst>
            </p:cNvPr>
            <p:cNvSpPr/>
            <p:nvPr/>
          </p:nvSpPr>
          <p:spPr>
            <a:xfrm rot="8716295">
              <a:off x="7970736" y="106019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1" name="Forme libre : forme 1340">
              <a:extLst>
                <a:ext uri="{FF2B5EF4-FFF2-40B4-BE49-F238E27FC236}">
                  <a16:creationId xmlns:a16="http://schemas.microsoft.com/office/drawing/2014/main" id="{9A449D56-39AF-4FEE-8AA3-483E9E2127DF}"/>
                </a:ext>
              </a:extLst>
            </p:cNvPr>
            <p:cNvSpPr/>
            <p:nvPr/>
          </p:nvSpPr>
          <p:spPr>
            <a:xfrm rot="8716295">
              <a:off x="7845834" y="85152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2" name="Forme libre : forme 1341">
              <a:extLst>
                <a:ext uri="{FF2B5EF4-FFF2-40B4-BE49-F238E27FC236}">
                  <a16:creationId xmlns:a16="http://schemas.microsoft.com/office/drawing/2014/main" id="{2C1F0455-4C7C-4E73-A620-001FD7ED9AB5}"/>
                </a:ext>
              </a:extLst>
            </p:cNvPr>
            <p:cNvSpPr/>
            <p:nvPr/>
          </p:nvSpPr>
          <p:spPr>
            <a:xfrm rot="8716295">
              <a:off x="8060914" y="1101150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3" name="Forme libre : forme 1342">
              <a:extLst>
                <a:ext uri="{FF2B5EF4-FFF2-40B4-BE49-F238E27FC236}">
                  <a16:creationId xmlns:a16="http://schemas.microsoft.com/office/drawing/2014/main" id="{41DB3307-8152-4BE9-B762-06FE2A91823A}"/>
                </a:ext>
              </a:extLst>
            </p:cNvPr>
            <p:cNvSpPr/>
            <p:nvPr/>
          </p:nvSpPr>
          <p:spPr>
            <a:xfrm rot="8716295">
              <a:off x="7819463" y="951550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4" name="Forme libre : forme 1343">
              <a:extLst>
                <a:ext uri="{FF2B5EF4-FFF2-40B4-BE49-F238E27FC236}">
                  <a16:creationId xmlns:a16="http://schemas.microsoft.com/office/drawing/2014/main" id="{2DB83C87-A139-49A9-B6AB-1102034F7247}"/>
                </a:ext>
              </a:extLst>
            </p:cNvPr>
            <p:cNvSpPr/>
            <p:nvPr/>
          </p:nvSpPr>
          <p:spPr>
            <a:xfrm rot="7484129">
              <a:off x="8165845" y="129250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5" name="Forme libre : forme 1344">
              <a:extLst>
                <a:ext uri="{FF2B5EF4-FFF2-40B4-BE49-F238E27FC236}">
                  <a16:creationId xmlns:a16="http://schemas.microsoft.com/office/drawing/2014/main" id="{11C329AE-CBAF-4CCB-B99D-3F22C888BA7C}"/>
                </a:ext>
              </a:extLst>
            </p:cNvPr>
            <p:cNvSpPr/>
            <p:nvPr/>
          </p:nvSpPr>
          <p:spPr>
            <a:xfrm rot="13089394">
              <a:off x="8270665" y="1259035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6" name="Forme libre : forme 1345">
              <a:extLst>
                <a:ext uri="{FF2B5EF4-FFF2-40B4-BE49-F238E27FC236}">
                  <a16:creationId xmlns:a16="http://schemas.microsoft.com/office/drawing/2014/main" id="{E706AB59-2595-41B4-8522-59590F4D9699}"/>
                </a:ext>
              </a:extLst>
            </p:cNvPr>
            <p:cNvSpPr/>
            <p:nvPr/>
          </p:nvSpPr>
          <p:spPr>
            <a:xfrm rot="8716295">
              <a:off x="8456250" y="1067354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7" name="Forme libre : forme 1346">
              <a:extLst>
                <a:ext uri="{FF2B5EF4-FFF2-40B4-BE49-F238E27FC236}">
                  <a16:creationId xmlns:a16="http://schemas.microsoft.com/office/drawing/2014/main" id="{8B218DA3-4C20-417B-B0EF-ABDFE6AB8CC6}"/>
                </a:ext>
              </a:extLst>
            </p:cNvPr>
            <p:cNvSpPr/>
            <p:nvPr/>
          </p:nvSpPr>
          <p:spPr>
            <a:xfrm rot="8716295">
              <a:off x="8404445" y="96376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8" name="Forme libre : forme 1347">
              <a:extLst>
                <a:ext uri="{FF2B5EF4-FFF2-40B4-BE49-F238E27FC236}">
                  <a16:creationId xmlns:a16="http://schemas.microsoft.com/office/drawing/2014/main" id="{377AE419-7F42-4BED-883F-DE4817AED47F}"/>
                </a:ext>
              </a:extLst>
            </p:cNvPr>
            <p:cNvSpPr/>
            <p:nvPr/>
          </p:nvSpPr>
          <p:spPr>
            <a:xfrm rot="8716295">
              <a:off x="8161199" y="99398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9" name="Forme libre : forme 1348">
              <a:extLst>
                <a:ext uri="{FF2B5EF4-FFF2-40B4-BE49-F238E27FC236}">
                  <a16:creationId xmlns:a16="http://schemas.microsoft.com/office/drawing/2014/main" id="{7E83A637-26B0-46B8-8EFD-0E2059469BCD}"/>
                </a:ext>
              </a:extLst>
            </p:cNvPr>
            <p:cNvSpPr/>
            <p:nvPr/>
          </p:nvSpPr>
          <p:spPr>
            <a:xfrm rot="8716295">
              <a:off x="8338651" y="83474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0" name="Forme libre : forme 1349">
              <a:extLst>
                <a:ext uri="{FF2B5EF4-FFF2-40B4-BE49-F238E27FC236}">
                  <a16:creationId xmlns:a16="http://schemas.microsoft.com/office/drawing/2014/main" id="{C18F78D3-27CA-4FE7-8D10-288FCA710C52}"/>
                </a:ext>
              </a:extLst>
            </p:cNvPr>
            <p:cNvSpPr/>
            <p:nvPr/>
          </p:nvSpPr>
          <p:spPr>
            <a:xfrm rot="8716295">
              <a:off x="7574932" y="55974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1" name="Forme libre : forme 1350">
              <a:extLst>
                <a:ext uri="{FF2B5EF4-FFF2-40B4-BE49-F238E27FC236}">
                  <a16:creationId xmlns:a16="http://schemas.microsoft.com/office/drawing/2014/main" id="{A924F1C2-2B76-450B-9A77-8646D18AD03B}"/>
                </a:ext>
              </a:extLst>
            </p:cNvPr>
            <p:cNvSpPr/>
            <p:nvPr/>
          </p:nvSpPr>
          <p:spPr>
            <a:xfrm rot="8716295">
              <a:off x="7664324" y="58899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2" name="Forme libre : forme 1351">
              <a:extLst>
                <a:ext uri="{FF2B5EF4-FFF2-40B4-BE49-F238E27FC236}">
                  <a16:creationId xmlns:a16="http://schemas.microsoft.com/office/drawing/2014/main" id="{60DD2207-E931-4D7C-9A6C-4E56F5350FC4}"/>
                </a:ext>
              </a:extLst>
            </p:cNvPr>
            <p:cNvSpPr/>
            <p:nvPr/>
          </p:nvSpPr>
          <p:spPr>
            <a:xfrm rot="8716295">
              <a:off x="7619474" y="50271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3" name="Forme libre : forme 1352">
              <a:extLst>
                <a:ext uri="{FF2B5EF4-FFF2-40B4-BE49-F238E27FC236}">
                  <a16:creationId xmlns:a16="http://schemas.microsoft.com/office/drawing/2014/main" id="{689E2E49-7D57-46D6-AA9A-1A26E7895ACE}"/>
                </a:ext>
              </a:extLst>
            </p:cNvPr>
            <p:cNvSpPr/>
            <p:nvPr/>
          </p:nvSpPr>
          <p:spPr>
            <a:xfrm rot="8716295">
              <a:off x="7462698" y="64829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4" name="Forme libre : forme 1353">
              <a:extLst>
                <a:ext uri="{FF2B5EF4-FFF2-40B4-BE49-F238E27FC236}">
                  <a16:creationId xmlns:a16="http://schemas.microsoft.com/office/drawing/2014/main" id="{E762F27D-A5ED-44DC-B200-6B930738C39C}"/>
                </a:ext>
              </a:extLst>
            </p:cNvPr>
            <p:cNvSpPr/>
            <p:nvPr/>
          </p:nvSpPr>
          <p:spPr>
            <a:xfrm rot="8716295">
              <a:off x="7337795" y="43961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5" name="Forme libre : forme 1354">
              <a:extLst>
                <a:ext uri="{FF2B5EF4-FFF2-40B4-BE49-F238E27FC236}">
                  <a16:creationId xmlns:a16="http://schemas.microsoft.com/office/drawing/2014/main" id="{CE2E4ED8-7B2D-48C9-B5B5-5ED6C2B0B006}"/>
                </a:ext>
              </a:extLst>
            </p:cNvPr>
            <p:cNvSpPr/>
            <p:nvPr/>
          </p:nvSpPr>
          <p:spPr>
            <a:xfrm rot="8716295">
              <a:off x="7325743" y="300839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6" name="Forme libre : forme 1355">
              <a:extLst>
                <a:ext uri="{FF2B5EF4-FFF2-40B4-BE49-F238E27FC236}">
                  <a16:creationId xmlns:a16="http://schemas.microsoft.com/office/drawing/2014/main" id="{9FB8DA68-5ABC-4DC0-834A-BDB943EA68FB}"/>
                </a:ext>
              </a:extLst>
            </p:cNvPr>
            <p:cNvSpPr/>
            <p:nvPr/>
          </p:nvSpPr>
          <p:spPr>
            <a:xfrm rot="8716295">
              <a:off x="7552876" y="68924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7" name="Forme libre : forme 1356">
              <a:extLst>
                <a:ext uri="{FF2B5EF4-FFF2-40B4-BE49-F238E27FC236}">
                  <a16:creationId xmlns:a16="http://schemas.microsoft.com/office/drawing/2014/main" id="{2532A1A1-AFF9-4E4A-AE61-85F94FA9A1F0}"/>
                </a:ext>
              </a:extLst>
            </p:cNvPr>
            <p:cNvSpPr/>
            <p:nvPr/>
          </p:nvSpPr>
          <p:spPr>
            <a:xfrm rot="8716295">
              <a:off x="7864031" y="30959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8" name="Forme libre : forme 1357">
              <a:extLst>
                <a:ext uri="{FF2B5EF4-FFF2-40B4-BE49-F238E27FC236}">
                  <a16:creationId xmlns:a16="http://schemas.microsoft.com/office/drawing/2014/main" id="{DED91229-5351-48DF-B7EF-4609E3893D59}"/>
                </a:ext>
              </a:extLst>
            </p:cNvPr>
            <p:cNvSpPr/>
            <p:nvPr/>
          </p:nvSpPr>
          <p:spPr>
            <a:xfrm rot="8716295">
              <a:off x="7953423" y="33883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9" name="Forme libre : forme 1358">
              <a:extLst>
                <a:ext uri="{FF2B5EF4-FFF2-40B4-BE49-F238E27FC236}">
                  <a16:creationId xmlns:a16="http://schemas.microsoft.com/office/drawing/2014/main" id="{F6DE1FE8-6182-462A-B540-3AB721D4880E}"/>
                </a:ext>
              </a:extLst>
            </p:cNvPr>
            <p:cNvSpPr/>
            <p:nvPr/>
          </p:nvSpPr>
          <p:spPr>
            <a:xfrm rot="8716295">
              <a:off x="7751797" y="39814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0" name="Forme libre : forme 1359">
              <a:extLst>
                <a:ext uri="{FF2B5EF4-FFF2-40B4-BE49-F238E27FC236}">
                  <a16:creationId xmlns:a16="http://schemas.microsoft.com/office/drawing/2014/main" id="{2928CCE2-867E-4FA8-A555-51BA581DB6E0}"/>
                </a:ext>
              </a:extLst>
            </p:cNvPr>
            <p:cNvSpPr/>
            <p:nvPr/>
          </p:nvSpPr>
          <p:spPr>
            <a:xfrm rot="8716295">
              <a:off x="7626895" y="18946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1" name="Forme libre : forme 1360">
              <a:extLst>
                <a:ext uri="{FF2B5EF4-FFF2-40B4-BE49-F238E27FC236}">
                  <a16:creationId xmlns:a16="http://schemas.microsoft.com/office/drawing/2014/main" id="{055FDC26-CCE7-48FF-9A8C-B56F5E68D13A}"/>
                </a:ext>
              </a:extLst>
            </p:cNvPr>
            <p:cNvSpPr/>
            <p:nvPr/>
          </p:nvSpPr>
          <p:spPr>
            <a:xfrm rot="8716295">
              <a:off x="7841975" y="43909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2" name="Forme libre : forme 1361">
              <a:extLst>
                <a:ext uri="{FF2B5EF4-FFF2-40B4-BE49-F238E27FC236}">
                  <a16:creationId xmlns:a16="http://schemas.microsoft.com/office/drawing/2014/main" id="{988F6F8A-D004-4539-900F-79E6C75585ED}"/>
                </a:ext>
              </a:extLst>
            </p:cNvPr>
            <p:cNvSpPr/>
            <p:nvPr/>
          </p:nvSpPr>
          <p:spPr>
            <a:xfrm rot="8716295">
              <a:off x="7600524" y="28949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3" name="Forme libre : forme 1362">
              <a:extLst>
                <a:ext uri="{FF2B5EF4-FFF2-40B4-BE49-F238E27FC236}">
                  <a16:creationId xmlns:a16="http://schemas.microsoft.com/office/drawing/2014/main" id="{4FDA5393-01D2-4137-A7AE-DC3D20BA6CB3}"/>
                </a:ext>
              </a:extLst>
            </p:cNvPr>
            <p:cNvSpPr/>
            <p:nvPr/>
          </p:nvSpPr>
          <p:spPr>
            <a:xfrm rot="7484129">
              <a:off x="7946906" y="63044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4" name="Forme libre : forme 1363">
              <a:extLst>
                <a:ext uri="{FF2B5EF4-FFF2-40B4-BE49-F238E27FC236}">
                  <a16:creationId xmlns:a16="http://schemas.microsoft.com/office/drawing/2014/main" id="{B758289F-AE2B-40D9-A572-42C3517F5AA9}"/>
                </a:ext>
              </a:extLst>
            </p:cNvPr>
            <p:cNvSpPr/>
            <p:nvPr/>
          </p:nvSpPr>
          <p:spPr>
            <a:xfrm rot="13089394">
              <a:off x="8051726" y="596977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5" name="Forme libre : forme 1364">
              <a:extLst>
                <a:ext uri="{FF2B5EF4-FFF2-40B4-BE49-F238E27FC236}">
                  <a16:creationId xmlns:a16="http://schemas.microsoft.com/office/drawing/2014/main" id="{ED6E2519-7C8C-4C17-B032-71686AF10CAE}"/>
                </a:ext>
              </a:extLst>
            </p:cNvPr>
            <p:cNvSpPr/>
            <p:nvPr/>
          </p:nvSpPr>
          <p:spPr>
            <a:xfrm rot="8716295">
              <a:off x="8237311" y="405296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6" name="Forme libre : forme 1365">
              <a:extLst>
                <a:ext uri="{FF2B5EF4-FFF2-40B4-BE49-F238E27FC236}">
                  <a16:creationId xmlns:a16="http://schemas.microsoft.com/office/drawing/2014/main" id="{8B98362B-5544-455D-AD14-4D640A01A342}"/>
                </a:ext>
              </a:extLst>
            </p:cNvPr>
            <p:cNvSpPr/>
            <p:nvPr/>
          </p:nvSpPr>
          <p:spPr>
            <a:xfrm rot="8716295">
              <a:off x="8185506" y="30170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7" name="Forme libre : forme 1366">
              <a:extLst>
                <a:ext uri="{FF2B5EF4-FFF2-40B4-BE49-F238E27FC236}">
                  <a16:creationId xmlns:a16="http://schemas.microsoft.com/office/drawing/2014/main" id="{25F3D004-02E6-4757-8DE0-F470300CA68C}"/>
                </a:ext>
              </a:extLst>
            </p:cNvPr>
            <p:cNvSpPr/>
            <p:nvPr/>
          </p:nvSpPr>
          <p:spPr>
            <a:xfrm rot="8716295">
              <a:off x="7942260" y="33192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8" name="Forme libre : forme 1367">
              <a:extLst>
                <a:ext uri="{FF2B5EF4-FFF2-40B4-BE49-F238E27FC236}">
                  <a16:creationId xmlns:a16="http://schemas.microsoft.com/office/drawing/2014/main" id="{D4EFEE6B-69F7-42E4-9007-3A49D0282381}"/>
                </a:ext>
              </a:extLst>
            </p:cNvPr>
            <p:cNvSpPr/>
            <p:nvPr/>
          </p:nvSpPr>
          <p:spPr>
            <a:xfrm rot="8716295">
              <a:off x="8119712" y="17268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9" name="Forme libre : forme 1368">
              <a:extLst>
                <a:ext uri="{FF2B5EF4-FFF2-40B4-BE49-F238E27FC236}">
                  <a16:creationId xmlns:a16="http://schemas.microsoft.com/office/drawing/2014/main" id="{AF4B2206-0455-407E-9842-620BA12D9F9F}"/>
                </a:ext>
              </a:extLst>
            </p:cNvPr>
            <p:cNvSpPr/>
            <p:nvPr/>
          </p:nvSpPr>
          <p:spPr>
            <a:xfrm rot="8716295">
              <a:off x="7366062" y="-56618"/>
              <a:ext cx="142168" cy="181024"/>
            </a:xfrm>
            <a:custGeom>
              <a:avLst/>
              <a:gdLst>
                <a:gd name="connsiteX0" fmla="*/ 142168 w 142168"/>
                <a:gd name="connsiteY0" fmla="*/ 181024 h 181024"/>
                <a:gd name="connsiteX1" fmla="*/ 81108 w 142168"/>
                <a:gd name="connsiteY1" fmla="*/ 138700 h 181024"/>
                <a:gd name="connsiteX2" fmla="*/ 81108 w 142168"/>
                <a:gd name="connsiteY2" fmla="*/ 69717 h 181024"/>
                <a:gd name="connsiteX3" fmla="*/ 81108 w 142168"/>
                <a:gd name="connsiteY3" fmla="*/ 65616 h 181024"/>
                <a:gd name="connsiteX4" fmla="*/ 60604 w 142168"/>
                <a:gd name="connsiteY4" fmla="*/ 50123 h 181024"/>
                <a:gd name="connsiteX5" fmla="*/ 0 w 142168"/>
                <a:gd name="connsiteY5" fmla="*/ 50123 h 181024"/>
                <a:gd name="connsiteX6" fmla="*/ 0 w 142168"/>
                <a:gd name="connsiteY6" fmla="*/ 0 h 181024"/>
                <a:gd name="connsiteX7" fmla="*/ 85209 w 142168"/>
                <a:gd name="connsiteY7" fmla="*/ 0 h 181024"/>
                <a:gd name="connsiteX8" fmla="*/ 142167 w 142168"/>
                <a:gd name="connsiteY8" fmla="*/ 50123 h 18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8" h="181024">
                  <a:moveTo>
                    <a:pt x="142168" y="181024"/>
                  </a:moveTo>
                  <a:lnTo>
                    <a:pt x="81108" y="138700"/>
                  </a:lnTo>
                  <a:lnTo>
                    <a:pt x="81108" y="69717"/>
                  </a:lnTo>
                  <a:cubicBezTo>
                    <a:pt x="81108" y="68349"/>
                    <a:pt x="81108" y="66983"/>
                    <a:pt x="81108" y="65616"/>
                  </a:cubicBezTo>
                  <a:cubicBezTo>
                    <a:pt x="79741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9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0" name="Forme libre : forme 1369">
              <a:extLst>
                <a:ext uri="{FF2B5EF4-FFF2-40B4-BE49-F238E27FC236}">
                  <a16:creationId xmlns:a16="http://schemas.microsoft.com/office/drawing/2014/main" id="{60AE319B-5FB3-4EAD-96BF-8E2F415B0911}"/>
                </a:ext>
              </a:extLst>
            </p:cNvPr>
            <p:cNvSpPr/>
            <p:nvPr/>
          </p:nvSpPr>
          <p:spPr>
            <a:xfrm rot="8716295">
              <a:off x="7462482" y="-4908"/>
              <a:ext cx="260639" cy="174584"/>
            </a:xfrm>
            <a:custGeom>
              <a:avLst/>
              <a:gdLst>
                <a:gd name="connsiteX0" fmla="*/ 111638 w 260639"/>
                <a:gd name="connsiteY0" fmla="*/ 174584 h 174584"/>
                <a:gd name="connsiteX1" fmla="*/ 51490 w 260639"/>
                <a:gd name="connsiteY1" fmla="*/ 132891 h 174584"/>
                <a:gd name="connsiteX2" fmla="*/ 51490 w 260639"/>
                <a:gd name="connsiteY2" fmla="*/ 45624 h 174584"/>
                <a:gd name="connsiteX3" fmla="*/ 0 w 260639"/>
                <a:gd name="connsiteY3" fmla="*/ 45624 h 174584"/>
                <a:gd name="connsiteX4" fmla="*/ 0 w 260639"/>
                <a:gd name="connsiteY4" fmla="*/ 1425 h 174584"/>
                <a:gd name="connsiteX5" fmla="*/ 104803 w 260639"/>
                <a:gd name="connsiteY5" fmla="*/ 1425 h 174584"/>
                <a:gd name="connsiteX6" fmla="*/ 104803 w 260639"/>
                <a:gd name="connsiteY6" fmla="*/ 75242 h 174584"/>
                <a:gd name="connsiteX7" fmla="*/ 106169 w 260639"/>
                <a:gd name="connsiteY7" fmla="*/ 75242 h 174584"/>
                <a:gd name="connsiteX8" fmla="*/ 154014 w 260639"/>
                <a:gd name="connsiteY8" fmla="*/ 5981 h 174584"/>
                <a:gd name="connsiteX9" fmla="*/ 185455 w 260639"/>
                <a:gd name="connsiteY9" fmla="*/ 57 h 174584"/>
                <a:gd name="connsiteX10" fmla="*/ 260639 w 260639"/>
                <a:gd name="connsiteY10" fmla="*/ 88456 h 174584"/>
                <a:gd name="connsiteX11" fmla="*/ 260639 w 260639"/>
                <a:gd name="connsiteY11" fmla="*/ 94380 h 174584"/>
                <a:gd name="connsiteX12" fmla="*/ 198669 w 260639"/>
                <a:gd name="connsiteY12" fmla="*/ 98025 h 174584"/>
                <a:gd name="connsiteX13" fmla="*/ 198669 w 260639"/>
                <a:gd name="connsiteY13" fmla="*/ 81621 h 174584"/>
                <a:gd name="connsiteX14" fmla="*/ 164950 w 260639"/>
                <a:gd name="connsiteY14" fmla="*/ 40156 h 174584"/>
                <a:gd name="connsiteX15" fmla="*/ 111638 w 260639"/>
                <a:gd name="connsiteY15" fmla="*/ 127643 h 174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0639" h="174584">
                  <a:moveTo>
                    <a:pt x="111638" y="174584"/>
                  </a:moveTo>
                  <a:lnTo>
                    <a:pt x="51490" y="132891"/>
                  </a:ln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5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1" name="Forme libre : forme 1370">
              <a:extLst>
                <a:ext uri="{FF2B5EF4-FFF2-40B4-BE49-F238E27FC236}">
                  <a16:creationId xmlns:a16="http://schemas.microsoft.com/office/drawing/2014/main" id="{9DF7A270-CA19-4125-81C5-D8ACDF29EE64}"/>
                </a:ext>
              </a:extLst>
            </p:cNvPr>
            <p:cNvSpPr/>
            <p:nvPr/>
          </p:nvSpPr>
          <p:spPr>
            <a:xfrm rot="8716295">
              <a:off x="7443082" y="-10146"/>
              <a:ext cx="28973" cy="21279"/>
            </a:xfrm>
            <a:custGeom>
              <a:avLst/>
              <a:gdLst>
                <a:gd name="connsiteX0" fmla="*/ 28973 w 28973"/>
                <a:gd name="connsiteY0" fmla="*/ 21279 h 21279"/>
                <a:gd name="connsiteX1" fmla="*/ 0 w 28973"/>
                <a:gd name="connsiteY1" fmla="*/ 1196 h 21279"/>
                <a:gd name="connsiteX2" fmla="*/ 4022 w 28973"/>
                <a:gd name="connsiteY2" fmla="*/ 0 h 21279"/>
                <a:gd name="connsiteX3" fmla="*/ 26350 w 28973"/>
                <a:gd name="connsiteY3" fmla="*/ 11392 h 21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973" h="21279">
                  <a:moveTo>
                    <a:pt x="28973" y="21279"/>
                  </a:moveTo>
                  <a:lnTo>
                    <a:pt x="0" y="1196"/>
                  </a:lnTo>
                  <a:lnTo>
                    <a:pt x="4022" y="0"/>
                  </a:lnTo>
                  <a:cubicBezTo>
                    <a:pt x="14958" y="0"/>
                    <a:pt x="22021" y="4785"/>
                    <a:pt x="26350" y="113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2" name="Forme libre : forme 1371">
              <a:extLst>
                <a:ext uri="{FF2B5EF4-FFF2-40B4-BE49-F238E27FC236}">
                  <a16:creationId xmlns:a16="http://schemas.microsoft.com/office/drawing/2014/main" id="{3D6704E2-4C91-48C3-B5AB-B19397D56649}"/>
                </a:ext>
              </a:extLst>
            </p:cNvPr>
            <p:cNvSpPr/>
            <p:nvPr/>
          </p:nvSpPr>
          <p:spPr>
            <a:xfrm rot="8716295">
              <a:off x="7237548" y="-11765"/>
              <a:ext cx="56281" cy="52701"/>
            </a:xfrm>
            <a:custGeom>
              <a:avLst/>
              <a:gdLst>
                <a:gd name="connsiteX0" fmla="*/ 40554 w 56281"/>
                <a:gd name="connsiteY0" fmla="*/ 52701 h 52701"/>
                <a:gd name="connsiteX1" fmla="*/ 0 w 56281"/>
                <a:gd name="connsiteY1" fmla="*/ 24591 h 52701"/>
                <a:gd name="connsiteX2" fmla="*/ 6728 w 56281"/>
                <a:gd name="connsiteY2" fmla="*/ 8658 h 52701"/>
                <a:gd name="connsiteX3" fmla="*/ 27232 w 56281"/>
                <a:gd name="connsiteY3" fmla="*/ 0 h 52701"/>
                <a:gd name="connsiteX4" fmla="*/ 47738 w 56281"/>
                <a:gd name="connsiteY4" fmla="*/ 8658 h 52701"/>
                <a:gd name="connsiteX5" fmla="*/ 47738 w 56281"/>
                <a:gd name="connsiteY5" fmla="*/ 49668 h 52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281" h="52701">
                  <a:moveTo>
                    <a:pt x="40554" y="52701"/>
                  </a:moveTo>
                  <a:lnTo>
                    <a:pt x="0" y="24591"/>
                  </a:lnTo>
                  <a:lnTo>
                    <a:pt x="6728" y="8658"/>
                  </a:lnTo>
                  <a:cubicBezTo>
                    <a:pt x="12196" y="3190"/>
                    <a:pt x="19487" y="0"/>
                    <a:pt x="27232" y="0"/>
                  </a:cubicBezTo>
                  <a:cubicBezTo>
                    <a:pt x="34979" y="0"/>
                    <a:pt x="42270" y="3190"/>
                    <a:pt x="47738" y="8658"/>
                  </a:cubicBezTo>
                  <a:cubicBezTo>
                    <a:pt x="59130" y="19594"/>
                    <a:pt x="59129" y="38276"/>
                    <a:pt x="47738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3" name="Forme libre : forme 1372">
              <a:extLst>
                <a:ext uri="{FF2B5EF4-FFF2-40B4-BE49-F238E27FC236}">
                  <a16:creationId xmlns:a16="http://schemas.microsoft.com/office/drawing/2014/main" id="{AF0E56D3-9FDC-4C86-AF97-6A5B745021CC}"/>
                </a:ext>
              </a:extLst>
            </p:cNvPr>
            <p:cNvSpPr/>
            <p:nvPr/>
          </p:nvSpPr>
          <p:spPr>
            <a:xfrm rot="8716295">
              <a:off x="7178221" y="-7670"/>
              <a:ext cx="22135" cy="15343"/>
            </a:xfrm>
            <a:custGeom>
              <a:avLst/>
              <a:gdLst>
                <a:gd name="connsiteX0" fmla="*/ 22135 w 22135"/>
                <a:gd name="connsiteY0" fmla="*/ 15343 h 15343"/>
                <a:gd name="connsiteX1" fmla="*/ 0 w 22135"/>
                <a:gd name="connsiteY1" fmla="*/ 0 h 15343"/>
                <a:gd name="connsiteX2" fmla="*/ 22135 w 22135"/>
                <a:gd name="connsiteY2" fmla="*/ 0 h 15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135" h="15343">
                  <a:moveTo>
                    <a:pt x="22135" y="15343"/>
                  </a:moveTo>
                  <a:lnTo>
                    <a:pt x="0" y="0"/>
                  </a:lnTo>
                  <a:lnTo>
                    <a:pt x="2213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4" name="Forme libre : forme 1373">
              <a:extLst>
                <a:ext uri="{FF2B5EF4-FFF2-40B4-BE49-F238E27FC236}">
                  <a16:creationId xmlns:a16="http://schemas.microsoft.com/office/drawing/2014/main" id="{F9D2269A-12D2-478A-A148-0174F4547759}"/>
                </a:ext>
              </a:extLst>
            </p:cNvPr>
            <p:cNvSpPr/>
            <p:nvPr/>
          </p:nvSpPr>
          <p:spPr>
            <a:xfrm rot="8716295">
              <a:off x="7330206" y="2582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5" name="Forme libre : forme 1374">
              <a:extLst>
                <a:ext uri="{FF2B5EF4-FFF2-40B4-BE49-F238E27FC236}">
                  <a16:creationId xmlns:a16="http://schemas.microsoft.com/office/drawing/2014/main" id="{AF2048E4-EBEC-4616-8234-D6C4143F0269}"/>
                </a:ext>
              </a:extLst>
            </p:cNvPr>
            <p:cNvSpPr/>
            <p:nvPr/>
          </p:nvSpPr>
          <p:spPr>
            <a:xfrm rot="7484129">
              <a:off x="7724236" y="-3297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6" name="Forme libre : forme 1375">
              <a:extLst>
                <a:ext uri="{FF2B5EF4-FFF2-40B4-BE49-F238E27FC236}">
                  <a16:creationId xmlns:a16="http://schemas.microsoft.com/office/drawing/2014/main" id="{BCCFC94C-6F39-428B-907F-F878519A4EFD}"/>
                </a:ext>
              </a:extLst>
            </p:cNvPr>
            <p:cNvSpPr/>
            <p:nvPr/>
          </p:nvSpPr>
          <p:spPr>
            <a:xfrm rot="13089394">
              <a:off x="7941179" y="-29293"/>
              <a:ext cx="145407" cy="327190"/>
            </a:xfrm>
            <a:custGeom>
              <a:avLst/>
              <a:gdLst>
                <a:gd name="connsiteX0" fmla="*/ 145407 w 145407"/>
                <a:gd name="connsiteY0" fmla="*/ 277267 h 327190"/>
                <a:gd name="connsiteX1" fmla="*/ 81867 w 145407"/>
                <a:gd name="connsiteY1" fmla="*/ 327190 h 327190"/>
                <a:gd name="connsiteX2" fmla="*/ 54765 w 145407"/>
                <a:gd name="connsiteY2" fmla="*/ 322521 h 327190"/>
                <a:gd name="connsiteX3" fmla="*/ 23727 w 145407"/>
                <a:gd name="connsiteY3" fmla="*/ 301277 h 327190"/>
                <a:gd name="connsiteX4" fmla="*/ 0 w 145407"/>
                <a:gd name="connsiteY4" fmla="*/ 206369 h 327190"/>
                <a:gd name="connsiteX5" fmla="*/ 0 w 145407"/>
                <a:gd name="connsiteY5" fmla="*/ 38074 h 327190"/>
                <a:gd name="connsiteX6" fmla="*/ 73388 w 145407"/>
                <a:gd name="connsiteY6" fmla="*/ 0 h 327190"/>
                <a:gd name="connsiteX7" fmla="*/ 74492 w 145407"/>
                <a:gd name="connsiteY7" fmla="*/ 153950 h 327190"/>
                <a:gd name="connsiteX8" fmla="*/ 87734 w 145407"/>
                <a:gd name="connsiteY8" fmla="*/ 245547 h 327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5407" h="327190">
                  <a:moveTo>
                    <a:pt x="145407" y="277267"/>
                  </a:moveTo>
                  <a:lnTo>
                    <a:pt x="81867" y="327190"/>
                  </a:lnTo>
                  <a:lnTo>
                    <a:pt x="54765" y="322521"/>
                  </a:lnTo>
                  <a:cubicBezTo>
                    <a:pt x="43178" y="317693"/>
                    <a:pt x="32556" y="310382"/>
                    <a:pt x="23727" y="301277"/>
                  </a:cubicBezTo>
                  <a:cubicBezTo>
                    <a:pt x="4966" y="283069"/>
                    <a:pt x="0" y="251616"/>
                    <a:pt x="0" y="206369"/>
                  </a:cubicBez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2836" y="184850"/>
                    <a:pt x="77802" y="216302"/>
                    <a:pt x="87734" y="2455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7" name="Forme libre : forme 1376">
              <a:extLst>
                <a:ext uri="{FF2B5EF4-FFF2-40B4-BE49-F238E27FC236}">
                  <a16:creationId xmlns:a16="http://schemas.microsoft.com/office/drawing/2014/main" id="{53C58AA9-5E6A-49CD-9AC5-5641232CD965}"/>
                </a:ext>
              </a:extLst>
            </p:cNvPr>
            <p:cNvSpPr/>
            <p:nvPr/>
          </p:nvSpPr>
          <p:spPr>
            <a:xfrm rot="8716295">
              <a:off x="9089009" y="2081072"/>
              <a:ext cx="61059" cy="173964"/>
            </a:xfrm>
            <a:custGeom>
              <a:avLst/>
              <a:gdLst>
                <a:gd name="connsiteX0" fmla="*/ 0 w 61059"/>
                <a:gd name="connsiteY0" fmla="*/ 173964 h 173964"/>
                <a:gd name="connsiteX1" fmla="*/ 0 w 61059"/>
                <a:gd name="connsiteY1" fmla="*/ 88087 h 173964"/>
                <a:gd name="connsiteX2" fmla="*/ 61059 w 61059"/>
                <a:gd name="connsiteY2" fmla="*/ 0 h 173964"/>
                <a:gd name="connsiteX3" fmla="*/ 61059 w 61059"/>
                <a:gd name="connsiteY3" fmla="*/ 149814 h 173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059" h="173964">
                  <a:moveTo>
                    <a:pt x="0" y="173964"/>
                  </a:moveTo>
                  <a:lnTo>
                    <a:pt x="0" y="88087"/>
                  </a:lnTo>
                  <a:lnTo>
                    <a:pt x="61059" y="0"/>
                  </a:lnTo>
                  <a:lnTo>
                    <a:pt x="61059" y="14981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8" name="Forme libre : forme 1377">
              <a:extLst>
                <a:ext uri="{FF2B5EF4-FFF2-40B4-BE49-F238E27FC236}">
                  <a16:creationId xmlns:a16="http://schemas.microsoft.com/office/drawing/2014/main" id="{67AAFA86-3922-4406-A9C1-01A9C544B234}"/>
                </a:ext>
              </a:extLst>
            </p:cNvPr>
            <p:cNvSpPr/>
            <p:nvPr/>
          </p:nvSpPr>
          <p:spPr>
            <a:xfrm rot="8716295">
              <a:off x="8987023" y="214104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9" name="Forme libre : forme 1378">
              <a:extLst>
                <a:ext uri="{FF2B5EF4-FFF2-40B4-BE49-F238E27FC236}">
                  <a16:creationId xmlns:a16="http://schemas.microsoft.com/office/drawing/2014/main" id="{F49E9DC2-C797-4A9E-913F-D8431378EB92}"/>
                </a:ext>
              </a:extLst>
            </p:cNvPr>
            <p:cNvSpPr/>
            <p:nvPr/>
          </p:nvSpPr>
          <p:spPr>
            <a:xfrm rot="8716295">
              <a:off x="8862120" y="19323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0" name="Forme libre : forme 1379">
              <a:extLst>
                <a:ext uri="{FF2B5EF4-FFF2-40B4-BE49-F238E27FC236}">
                  <a16:creationId xmlns:a16="http://schemas.microsoft.com/office/drawing/2014/main" id="{1BF45189-83CA-4A70-B575-8A2D9D49B065}"/>
                </a:ext>
              </a:extLst>
            </p:cNvPr>
            <p:cNvSpPr/>
            <p:nvPr/>
          </p:nvSpPr>
          <p:spPr>
            <a:xfrm rot="8716295">
              <a:off x="8845263" y="1791394"/>
              <a:ext cx="290644" cy="345190"/>
            </a:xfrm>
            <a:custGeom>
              <a:avLst/>
              <a:gdLst>
                <a:gd name="connsiteX0" fmla="*/ 25298 w 290644"/>
                <a:gd name="connsiteY0" fmla="*/ 315598 h 345190"/>
                <a:gd name="connsiteX1" fmla="*/ 0 w 290644"/>
                <a:gd name="connsiteY1" fmla="*/ 214403 h 345190"/>
                <a:gd name="connsiteX2" fmla="*/ 0 w 290644"/>
                <a:gd name="connsiteY2" fmla="*/ 112946 h 345190"/>
                <a:gd name="connsiteX3" fmla="*/ 78290 w 290644"/>
                <a:gd name="connsiteY3" fmla="*/ 0 h 345190"/>
                <a:gd name="connsiteX4" fmla="*/ 79427 w 290644"/>
                <a:gd name="connsiteY4" fmla="*/ 158510 h 345190"/>
                <a:gd name="connsiteX5" fmla="*/ 93547 w 290644"/>
                <a:gd name="connsiteY5" fmla="*/ 256176 h 345190"/>
                <a:gd name="connsiteX6" fmla="*/ 164149 w 290644"/>
                <a:gd name="connsiteY6" fmla="*/ 295007 h 345190"/>
                <a:gd name="connsiteX7" fmla="*/ 217100 w 290644"/>
                <a:gd name="connsiteY7" fmla="*/ 285593 h 345190"/>
                <a:gd name="connsiteX8" fmla="*/ 289467 w 290644"/>
                <a:gd name="connsiteY8" fmla="*/ 256176 h 345190"/>
                <a:gd name="connsiteX9" fmla="*/ 290644 w 290644"/>
                <a:gd name="connsiteY9" fmla="*/ 263824 h 345190"/>
                <a:gd name="connsiteX10" fmla="*/ 290644 w 290644"/>
                <a:gd name="connsiteY10" fmla="*/ 269708 h 345190"/>
                <a:gd name="connsiteX11" fmla="*/ 97666 w 290644"/>
                <a:gd name="connsiteY11" fmla="*/ 345016 h 345190"/>
                <a:gd name="connsiteX12" fmla="*/ 25298 w 290644"/>
                <a:gd name="connsiteY12" fmla="*/ 315598 h 345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0644" h="345190">
                  <a:moveTo>
                    <a:pt x="25298" y="315598"/>
                  </a:moveTo>
                  <a:cubicBezTo>
                    <a:pt x="5294" y="296183"/>
                    <a:pt x="0" y="262647"/>
                    <a:pt x="0" y="214403"/>
                  </a:cubicBezTo>
                  <a:lnTo>
                    <a:pt x="0" y="112946"/>
                  </a:lnTo>
                  <a:lnTo>
                    <a:pt x="78290" y="0"/>
                  </a:lnTo>
                  <a:lnTo>
                    <a:pt x="79427" y="158510"/>
                  </a:lnTo>
                  <a:cubicBezTo>
                    <a:pt x="77662" y="191458"/>
                    <a:pt x="82956" y="224993"/>
                    <a:pt x="93547" y="256176"/>
                  </a:cubicBezTo>
                  <a:cubicBezTo>
                    <a:pt x="102961" y="282063"/>
                    <a:pt x="127083" y="295007"/>
                    <a:pt x="164149" y="295007"/>
                  </a:cubicBezTo>
                  <a:cubicBezTo>
                    <a:pt x="182388" y="294418"/>
                    <a:pt x="200038" y="290888"/>
                    <a:pt x="217100" y="285593"/>
                  </a:cubicBezTo>
                  <a:cubicBezTo>
                    <a:pt x="241810" y="277945"/>
                    <a:pt x="265932" y="267942"/>
                    <a:pt x="289467" y="256176"/>
                  </a:cubicBezTo>
                  <a:cubicBezTo>
                    <a:pt x="290055" y="258529"/>
                    <a:pt x="290643" y="261471"/>
                    <a:pt x="290644" y="263824"/>
                  </a:cubicBezTo>
                  <a:lnTo>
                    <a:pt x="290644" y="269708"/>
                  </a:lnTo>
                  <a:cubicBezTo>
                    <a:pt x="228278" y="323247"/>
                    <a:pt x="146498" y="342075"/>
                    <a:pt x="97666" y="345016"/>
                  </a:cubicBezTo>
                  <a:cubicBezTo>
                    <a:pt x="70602" y="346782"/>
                    <a:pt x="44126" y="335014"/>
                    <a:pt x="25298" y="31559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1" name="Forme libre : forme 1380">
              <a:extLst>
                <a:ext uri="{FF2B5EF4-FFF2-40B4-BE49-F238E27FC236}">
                  <a16:creationId xmlns:a16="http://schemas.microsoft.com/office/drawing/2014/main" id="{3AC6BB5F-39B7-428A-B7D5-ED66181C770C}"/>
                </a:ext>
              </a:extLst>
            </p:cNvPr>
            <p:cNvSpPr/>
            <p:nvPr/>
          </p:nvSpPr>
          <p:spPr>
            <a:xfrm rot="8716295">
              <a:off x="9077116" y="2195107"/>
              <a:ext cx="60148" cy="215998"/>
            </a:xfrm>
            <a:custGeom>
              <a:avLst/>
              <a:gdLst>
                <a:gd name="connsiteX0" fmla="*/ 60148 w 60148"/>
                <a:gd name="connsiteY0" fmla="*/ 215998 h 215998"/>
                <a:gd name="connsiteX1" fmla="*/ 1 w 60148"/>
                <a:gd name="connsiteY1" fmla="*/ 158129 h 215998"/>
                <a:gd name="connsiteX2" fmla="*/ 0 w 60148"/>
                <a:gd name="connsiteY2" fmla="*/ 86771 h 215998"/>
                <a:gd name="connsiteX3" fmla="*/ 60147 w 60148"/>
                <a:gd name="connsiteY3" fmla="*/ 0 h 215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8" h="215998">
                  <a:moveTo>
                    <a:pt x="60148" y="215998"/>
                  </a:moveTo>
                  <a:lnTo>
                    <a:pt x="1" y="158129"/>
                  </a:lnTo>
                  <a:lnTo>
                    <a:pt x="0" y="86771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2" name="Forme libre : forme 1381">
              <a:extLst>
                <a:ext uri="{FF2B5EF4-FFF2-40B4-BE49-F238E27FC236}">
                  <a16:creationId xmlns:a16="http://schemas.microsoft.com/office/drawing/2014/main" id="{62FF5918-1B87-4604-8492-36999A995344}"/>
                </a:ext>
              </a:extLst>
            </p:cNvPr>
            <p:cNvSpPr/>
            <p:nvPr/>
          </p:nvSpPr>
          <p:spPr>
            <a:xfrm rot="8716295">
              <a:off x="9116544" y="1789625"/>
              <a:ext cx="46394" cy="58308"/>
            </a:xfrm>
            <a:custGeom>
              <a:avLst/>
              <a:gdLst>
                <a:gd name="connsiteX0" fmla="*/ 0 w 46394"/>
                <a:gd name="connsiteY0" fmla="*/ 55145 h 58308"/>
                <a:gd name="connsiteX1" fmla="*/ 38225 w 46394"/>
                <a:gd name="connsiteY1" fmla="*/ 0 h 58308"/>
                <a:gd name="connsiteX2" fmla="*/ 46394 w 46394"/>
                <a:gd name="connsiteY2" fmla="*/ 19443 h 58308"/>
                <a:gd name="connsiteX3" fmla="*/ 35074 w 46394"/>
                <a:gd name="connsiteY3" fmla="*/ 46837 h 58308"/>
                <a:gd name="connsiteX4" fmla="*/ 7907 w 46394"/>
                <a:gd name="connsiteY4" fmla="*/ 58308 h 58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394" h="58308">
                  <a:moveTo>
                    <a:pt x="0" y="55145"/>
                  </a:moveTo>
                  <a:lnTo>
                    <a:pt x="38225" y="0"/>
                  </a:lnTo>
                  <a:lnTo>
                    <a:pt x="46394" y="19443"/>
                  </a:lnTo>
                  <a:cubicBezTo>
                    <a:pt x="46394" y="29329"/>
                    <a:pt x="42621" y="39290"/>
                    <a:pt x="35074" y="46837"/>
                  </a:cubicBezTo>
                  <a:cubicBezTo>
                    <a:pt x="27830" y="54082"/>
                    <a:pt x="18170" y="58308"/>
                    <a:pt x="7907" y="5830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3" name="Forme libre : forme 1382">
              <a:extLst>
                <a:ext uri="{FF2B5EF4-FFF2-40B4-BE49-F238E27FC236}">
                  <a16:creationId xmlns:a16="http://schemas.microsoft.com/office/drawing/2014/main" id="{413B021A-A885-48B9-8570-152DCC9A71A5}"/>
                </a:ext>
              </a:extLst>
            </p:cNvPr>
            <p:cNvSpPr/>
            <p:nvPr/>
          </p:nvSpPr>
          <p:spPr>
            <a:xfrm rot="8716295">
              <a:off x="9083119" y="2618313"/>
              <a:ext cx="117324" cy="177047"/>
            </a:xfrm>
            <a:custGeom>
              <a:avLst/>
              <a:gdLst>
                <a:gd name="connsiteX0" fmla="*/ 92026 w 117324"/>
                <a:gd name="connsiteY0" fmla="*/ 36497 h 177047"/>
                <a:gd name="connsiteX1" fmla="*/ 117324 w 117324"/>
                <a:gd name="connsiteY1" fmla="*/ 0 h 177047"/>
                <a:gd name="connsiteX2" fmla="*/ 117324 w 117324"/>
                <a:gd name="connsiteY2" fmla="*/ 36497 h 177047"/>
                <a:gd name="connsiteX3" fmla="*/ 4187 w 117324"/>
                <a:gd name="connsiteY3" fmla="*/ 177047 h 177047"/>
                <a:gd name="connsiteX4" fmla="*/ 0 w 117324"/>
                <a:gd name="connsiteY4" fmla="*/ 169258 h 177047"/>
                <a:gd name="connsiteX5" fmla="*/ 13629 w 117324"/>
                <a:gd name="connsiteY5" fmla="*/ 149597 h 177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7324" h="177047">
                  <a:moveTo>
                    <a:pt x="92026" y="36497"/>
                  </a:moveTo>
                  <a:lnTo>
                    <a:pt x="117324" y="0"/>
                  </a:lnTo>
                  <a:lnTo>
                    <a:pt x="117324" y="36497"/>
                  </a:lnTo>
                  <a:close/>
                  <a:moveTo>
                    <a:pt x="4187" y="177047"/>
                  </a:moveTo>
                  <a:lnTo>
                    <a:pt x="0" y="169258"/>
                  </a:lnTo>
                  <a:lnTo>
                    <a:pt x="13629" y="14959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4" name="Forme libre : forme 1383">
              <a:extLst>
                <a:ext uri="{FF2B5EF4-FFF2-40B4-BE49-F238E27FC236}">
                  <a16:creationId xmlns:a16="http://schemas.microsoft.com/office/drawing/2014/main" id="{9BA6659A-4363-4246-884D-227E97C0C14A}"/>
                </a:ext>
              </a:extLst>
            </p:cNvPr>
            <p:cNvSpPr/>
            <p:nvPr/>
          </p:nvSpPr>
          <p:spPr>
            <a:xfrm rot="8716295">
              <a:off x="9006440" y="2509028"/>
              <a:ext cx="177822" cy="85743"/>
            </a:xfrm>
            <a:custGeom>
              <a:avLst/>
              <a:gdLst>
                <a:gd name="connsiteX0" fmla="*/ 0 w 177822"/>
                <a:gd name="connsiteY0" fmla="*/ 85743 h 85743"/>
                <a:gd name="connsiteX1" fmla="*/ 37709 w 177822"/>
                <a:gd name="connsiteY1" fmla="*/ 31342 h 85743"/>
                <a:gd name="connsiteX2" fmla="*/ 51327 w 177822"/>
                <a:gd name="connsiteY2" fmla="*/ 38831 h 85743"/>
                <a:gd name="connsiteX3" fmla="*/ 104278 w 177822"/>
                <a:gd name="connsiteY3" fmla="*/ 29418 h 85743"/>
                <a:gd name="connsiteX4" fmla="*/ 176645 w 177822"/>
                <a:gd name="connsiteY4" fmla="*/ 0 h 85743"/>
                <a:gd name="connsiteX5" fmla="*/ 177822 w 177822"/>
                <a:gd name="connsiteY5" fmla="*/ 7648 h 85743"/>
                <a:gd name="connsiteX6" fmla="*/ 177822 w 177822"/>
                <a:gd name="connsiteY6" fmla="*/ 13532 h 85743"/>
                <a:gd name="connsiteX7" fmla="*/ 76258 w 177822"/>
                <a:gd name="connsiteY7" fmla="*/ 70160 h 85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7822" h="85743">
                  <a:moveTo>
                    <a:pt x="0" y="85743"/>
                  </a:moveTo>
                  <a:lnTo>
                    <a:pt x="37709" y="31342"/>
                  </a:lnTo>
                  <a:lnTo>
                    <a:pt x="51327" y="38831"/>
                  </a:lnTo>
                  <a:cubicBezTo>
                    <a:pt x="69566" y="38242"/>
                    <a:pt x="87216" y="34712"/>
                    <a:pt x="104278" y="29418"/>
                  </a:cubicBezTo>
                  <a:cubicBezTo>
                    <a:pt x="128988" y="21768"/>
                    <a:pt x="153111" y="11766"/>
                    <a:pt x="176645" y="0"/>
                  </a:cubicBezTo>
                  <a:cubicBezTo>
                    <a:pt x="177233" y="2354"/>
                    <a:pt x="177821" y="5295"/>
                    <a:pt x="177822" y="7648"/>
                  </a:cubicBezTo>
                  <a:lnTo>
                    <a:pt x="177822" y="13532"/>
                  </a:lnTo>
                  <a:cubicBezTo>
                    <a:pt x="146639" y="40301"/>
                    <a:pt x="110603" y="58393"/>
                    <a:pt x="76258" y="7016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5" name="Forme libre : forme 1384">
              <a:extLst>
                <a:ext uri="{FF2B5EF4-FFF2-40B4-BE49-F238E27FC236}">
                  <a16:creationId xmlns:a16="http://schemas.microsoft.com/office/drawing/2014/main" id="{CD8F4158-D52E-4B42-86D9-9C394223B4E4}"/>
                </a:ext>
              </a:extLst>
            </p:cNvPr>
            <p:cNvSpPr/>
            <p:nvPr/>
          </p:nvSpPr>
          <p:spPr>
            <a:xfrm rot="8716295">
              <a:off x="8877739" y="139153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6" name="Forme libre : forme 1385">
              <a:extLst>
                <a:ext uri="{FF2B5EF4-FFF2-40B4-BE49-F238E27FC236}">
                  <a16:creationId xmlns:a16="http://schemas.microsoft.com/office/drawing/2014/main" id="{34819D09-90FC-40AC-A71E-2F09A9E62118}"/>
                </a:ext>
              </a:extLst>
            </p:cNvPr>
            <p:cNvSpPr/>
            <p:nvPr/>
          </p:nvSpPr>
          <p:spPr>
            <a:xfrm rot="8716295">
              <a:off x="8969693" y="1431914"/>
              <a:ext cx="209150" cy="254735"/>
            </a:xfrm>
            <a:custGeom>
              <a:avLst/>
              <a:gdLst>
                <a:gd name="connsiteX0" fmla="*/ 0 w 209150"/>
                <a:gd name="connsiteY0" fmla="*/ 254735 h 254735"/>
                <a:gd name="connsiteX1" fmla="*/ 0 w 209150"/>
                <a:gd name="connsiteY1" fmla="*/ 155827 h 254735"/>
                <a:gd name="connsiteX2" fmla="*/ 104101 w 209150"/>
                <a:gd name="connsiteY2" fmla="*/ 5646 h 254735"/>
                <a:gd name="connsiteX3" fmla="*/ 133965 w 209150"/>
                <a:gd name="connsiteY3" fmla="*/ 19 h 254735"/>
                <a:gd name="connsiteX4" fmla="*/ 209150 w 209150"/>
                <a:gd name="connsiteY4" fmla="*/ 88418 h 254735"/>
                <a:gd name="connsiteX5" fmla="*/ 209150 w 209150"/>
                <a:gd name="connsiteY5" fmla="*/ 94342 h 254735"/>
                <a:gd name="connsiteX6" fmla="*/ 147180 w 209150"/>
                <a:gd name="connsiteY6" fmla="*/ 97987 h 254735"/>
                <a:gd name="connsiteX7" fmla="*/ 147180 w 209150"/>
                <a:gd name="connsiteY7" fmla="*/ 81584 h 254735"/>
                <a:gd name="connsiteX8" fmla="*/ 113461 w 209150"/>
                <a:gd name="connsiteY8" fmla="*/ 40118 h 254735"/>
                <a:gd name="connsiteX9" fmla="*/ 60149 w 209150"/>
                <a:gd name="connsiteY9" fmla="*/ 127605 h 254735"/>
                <a:gd name="connsiteX10" fmla="*/ 60149 w 209150"/>
                <a:gd name="connsiteY10" fmla="*/ 213726 h 254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9150" h="254735">
                  <a:moveTo>
                    <a:pt x="0" y="254735"/>
                  </a:moveTo>
                  <a:lnTo>
                    <a:pt x="0" y="155827"/>
                  </a:lnTo>
                  <a:lnTo>
                    <a:pt x="104101" y="5646"/>
                  </a:lnTo>
                  <a:lnTo>
                    <a:pt x="133965" y="19"/>
                  </a:lnTo>
                  <a:cubicBezTo>
                    <a:pt x="180899" y="-892"/>
                    <a:pt x="209150" y="31916"/>
                    <a:pt x="209150" y="88418"/>
                  </a:cubicBezTo>
                  <a:lnTo>
                    <a:pt x="209150" y="94342"/>
                  </a:lnTo>
                  <a:lnTo>
                    <a:pt x="147180" y="97987"/>
                  </a:lnTo>
                  <a:lnTo>
                    <a:pt x="147180" y="81584"/>
                  </a:lnTo>
                  <a:cubicBezTo>
                    <a:pt x="147180" y="56977"/>
                    <a:pt x="133054" y="40118"/>
                    <a:pt x="113461" y="40118"/>
                  </a:cubicBezTo>
                  <a:cubicBezTo>
                    <a:pt x="84299" y="40118"/>
                    <a:pt x="60149" y="78850"/>
                    <a:pt x="60149" y="127605"/>
                  </a:cubicBezTo>
                  <a:lnTo>
                    <a:pt x="60149" y="21372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7" name="Forme libre : forme 1386">
              <a:extLst>
                <a:ext uri="{FF2B5EF4-FFF2-40B4-BE49-F238E27FC236}">
                  <a16:creationId xmlns:a16="http://schemas.microsoft.com/office/drawing/2014/main" id="{A927842F-CF5D-4DDB-980D-DAEB7684488A}"/>
                </a:ext>
              </a:extLst>
            </p:cNvPr>
            <p:cNvSpPr/>
            <p:nvPr/>
          </p:nvSpPr>
          <p:spPr>
            <a:xfrm rot="8716295">
              <a:off x="8922281" y="133449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8" name="Forme libre : forme 1387">
              <a:extLst>
                <a:ext uri="{FF2B5EF4-FFF2-40B4-BE49-F238E27FC236}">
                  <a16:creationId xmlns:a16="http://schemas.microsoft.com/office/drawing/2014/main" id="{360EB861-FB1A-4E23-9134-68DC077A8790}"/>
                </a:ext>
              </a:extLst>
            </p:cNvPr>
            <p:cNvSpPr/>
            <p:nvPr/>
          </p:nvSpPr>
          <p:spPr>
            <a:xfrm rot="8716295">
              <a:off x="8765505" y="148007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9" name="Forme libre : forme 1388">
              <a:extLst>
                <a:ext uri="{FF2B5EF4-FFF2-40B4-BE49-F238E27FC236}">
                  <a16:creationId xmlns:a16="http://schemas.microsoft.com/office/drawing/2014/main" id="{0001364E-BDF9-4964-AFCF-8B1B5ED15F9E}"/>
                </a:ext>
              </a:extLst>
            </p:cNvPr>
            <p:cNvSpPr/>
            <p:nvPr/>
          </p:nvSpPr>
          <p:spPr>
            <a:xfrm rot="8716295">
              <a:off x="8640602" y="127140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0" name="Forme libre : forme 1389">
              <a:extLst>
                <a:ext uri="{FF2B5EF4-FFF2-40B4-BE49-F238E27FC236}">
                  <a16:creationId xmlns:a16="http://schemas.microsoft.com/office/drawing/2014/main" id="{EE73FF96-9E36-461F-A96C-8FEF57947F14}"/>
                </a:ext>
              </a:extLst>
            </p:cNvPr>
            <p:cNvSpPr/>
            <p:nvPr/>
          </p:nvSpPr>
          <p:spPr>
            <a:xfrm rot="8716295">
              <a:off x="8628550" y="113262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1" name="Forme libre : forme 1390">
              <a:extLst>
                <a:ext uri="{FF2B5EF4-FFF2-40B4-BE49-F238E27FC236}">
                  <a16:creationId xmlns:a16="http://schemas.microsoft.com/office/drawing/2014/main" id="{6DB2B1A4-E2FA-49FA-9C05-6E8348596F60}"/>
                </a:ext>
              </a:extLst>
            </p:cNvPr>
            <p:cNvSpPr/>
            <p:nvPr/>
          </p:nvSpPr>
          <p:spPr>
            <a:xfrm rot="8716295">
              <a:off x="8855683" y="152102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2" name="Forme libre : forme 1391">
              <a:extLst>
                <a:ext uri="{FF2B5EF4-FFF2-40B4-BE49-F238E27FC236}">
                  <a16:creationId xmlns:a16="http://schemas.microsoft.com/office/drawing/2014/main" id="{C6D4FFEB-A683-4FE3-8068-6610CCEEB1B0}"/>
                </a:ext>
              </a:extLst>
            </p:cNvPr>
            <p:cNvSpPr/>
            <p:nvPr/>
          </p:nvSpPr>
          <p:spPr>
            <a:xfrm rot="8716295">
              <a:off x="9129108" y="1200690"/>
              <a:ext cx="29782" cy="42964"/>
            </a:xfrm>
            <a:custGeom>
              <a:avLst/>
              <a:gdLst>
                <a:gd name="connsiteX0" fmla="*/ 0 w 29782"/>
                <a:gd name="connsiteY0" fmla="*/ 42964 h 42964"/>
                <a:gd name="connsiteX1" fmla="*/ 29782 w 29782"/>
                <a:gd name="connsiteY1" fmla="*/ 0 h 42964"/>
                <a:gd name="connsiteX2" fmla="*/ 29782 w 29782"/>
                <a:gd name="connsiteY2" fmla="*/ 31185 h 4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9782" h="42964">
                  <a:moveTo>
                    <a:pt x="0" y="42964"/>
                  </a:moveTo>
                  <a:lnTo>
                    <a:pt x="29782" y="0"/>
                  </a:lnTo>
                  <a:lnTo>
                    <a:pt x="29782" y="311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3" name="Forme libre : forme 1392">
              <a:extLst>
                <a:ext uri="{FF2B5EF4-FFF2-40B4-BE49-F238E27FC236}">
                  <a16:creationId xmlns:a16="http://schemas.microsoft.com/office/drawing/2014/main" id="{EA725989-A234-4480-B04C-CFCEE23774F2}"/>
                </a:ext>
              </a:extLst>
            </p:cNvPr>
            <p:cNvSpPr/>
            <p:nvPr/>
          </p:nvSpPr>
          <p:spPr>
            <a:xfrm rot="8716295">
              <a:off x="9054604" y="122992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4" name="Forme libre : forme 1393">
              <a:extLst>
                <a:ext uri="{FF2B5EF4-FFF2-40B4-BE49-F238E27FC236}">
                  <a16:creationId xmlns:a16="http://schemas.microsoft.com/office/drawing/2014/main" id="{466911C7-5D17-4DD5-91B8-36CEBB4BC9F6}"/>
                </a:ext>
              </a:extLst>
            </p:cNvPr>
            <p:cNvSpPr/>
            <p:nvPr/>
          </p:nvSpPr>
          <p:spPr>
            <a:xfrm rot="8716295">
              <a:off x="8929702" y="10212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5" name="Forme libre : forme 1394">
              <a:extLst>
                <a:ext uri="{FF2B5EF4-FFF2-40B4-BE49-F238E27FC236}">
                  <a16:creationId xmlns:a16="http://schemas.microsoft.com/office/drawing/2014/main" id="{87609BCB-7D37-4FB0-A906-2BDD38155F26}"/>
                </a:ext>
              </a:extLst>
            </p:cNvPr>
            <p:cNvSpPr/>
            <p:nvPr/>
          </p:nvSpPr>
          <p:spPr>
            <a:xfrm rot="8716295">
              <a:off x="9112658" y="1300147"/>
              <a:ext cx="40491" cy="97371"/>
            </a:xfrm>
            <a:custGeom>
              <a:avLst/>
              <a:gdLst>
                <a:gd name="connsiteX0" fmla="*/ 40491 w 40491"/>
                <a:gd name="connsiteY0" fmla="*/ 97371 h 97371"/>
                <a:gd name="connsiteX1" fmla="*/ 0 w 40491"/>
                <a:gd name="connsiteY1" fmla="*/ 58414 h 97371"/>
                <a:gd name="connsiteX2" fmla="*/ 40491 w 40491"/>
                <a:gd name="connsiteY2" fmla="*/ 0 h 9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491" h="97371">
                  <a:moveTo>
                    <a:pt x="40491" y="97371"/>
                  </a:moveTo>
                  <a:lnTo>
                    <a:pt x="0" y="58414"/>
                  </a:lnTo>
                  <a:lnTo>
                    <a:pt x="4049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6" name="Forme libre : forme 1395">
              <a:extLst>
                <a:ext uri="{FF2B5EF4-FFF2-40B4-BE49-F238E27FC236}">
                  <a16:creationId xmlns:a16="http://schemas.microsoft.com/office/drawing/2014/main" id="{947B4F8A-AEF6-4C9F-8CA5-B6B423F87C52}"/>
                </a:ext>
              </a:extLst>
            </p:cNvPr>
            <p:cNvSpPr/>
            <p:nvPr/>
          </p:nvSpPr>
          <p:spPr>
            <a:xfrm rot="8716295">
              <a:off x="8903331" y="112127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7" name="Forme libre : forme 1396">
              <a:extLst>
                <a:ext uri="{FF2B5EF4-FFF2-40B4-BE49-F238E27FC236}">
                  <a16:creationId xmlns:a16="http://schemas.microsoft.com/office/drawing/2014/main" id="{ECC3872B-A5B2-45B1-9D4A-B953AF7F8C47}"/>
                </a:ext>
              </a:extLst>
            </p:cNvPr>
            <p:cNvSpPr/>
            <p:nvPr/>
          </p:nvSpPr>
          <p:spPr>
            <a:xfrm rot="8716295">
              <a:off x="8654572" y="73183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9" name="Forme libre : forme 1398">
              <a:extLst>
                <a:ext uri="{FF2B5EF4-FFF2-40B4-BE49-F238E27FC236}">
                  <a16:creationId xmlns:a16="http://schemas.microsoft.com/office/drawing/2014/main" id="{EF2C5093-481E-4A2C-8B5F-4CE69A605FED}"/>
                </a:ext>
              </a:extLst>
            </p:cNvPr>
            <p:cNvSpPr/>
            <p:nvPr/>
          </p:nvSpPr>
          <p:spPr>
            <a:xfrm rot="8716295">
              <a:off x="8743964" y="76107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0" name="Forme libre : forme 1399">
              <a:extLst>
                <a:ext uri="{FF2B5EF4-FFF2-40B4-BE49-F238E27FC236}">
                  <a16:creationId xmlns:a16="http://schemas.microsoft.com/office/drawing/2014/main" id="{30AF5DC6-0C45-4EE5-BDB7-B8625E175365}"/>
                </a:ext>
              </a:extLst>
            </p:cNvPr>
            <p:cNvSpPr/>
            <p:nvPr/>
          </p:nvSpPr>
          <p:spPr>
            <a:xfrm rot="8716295">
              <a:off x="8699114" y="67479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3" name="Forme libre : forme 1402">
              <a:extLst>
                <a:ext uri="{FF2B5EF4-FFF2-40B4-BE49-F238E27FC236}">
                  <a16:creationId xmlns:a16="http://schemas.microsoft.com/office/drawing/2014/main" id="{B70C0FD5-7DFB-4A0C-AE55-F5A7B134B91A}"/>
                </a:ext>
              </a:extLst>
            </p:cNvPr>
            <p:cNvSpPr/>
            <p:nvPr/>
          </p:nvSpPr>
          <p:spPr>
            <a:xfrm rot="8716295">
              <a:off x="8542338" y="82037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4" name="Forme libre : forme 1403">
              <a:extLst>
                <a:ext uri="{FF2B5EF4-FFF2-40B4-BE49-F238E27FC236}">
                  <a16:creationId xmlns:a16="http://schemas.microsoft.com/office/drawing/2014/main" id="{9023C4A5-B8BC-415D-A51C-5615A6A3B1AB}"/>
                </a:ext>
              </a:extLst>
            </p:cNvPr>
            <p:cNvSpPr/>
            <p:nvPr/>
          </p:nvSpPr>
          <p:spPr>
            <a:xfrm rot="8716295">
              <a:off x="8417435" y="61170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5" name="Forme libre : forme 1404">
              <a:extLst>
                <a:ext uri="{FF2B5EF4-FFF2-40B4-BE49-F238E27FC236}">
                  <a16:creationId xmlns:a16="http://schemas.microsoft.com/office/drawing/2014/main" id="{E7A0D7D3-B881-47A9-8F6D-CE2F06D30D49}"/>
                </a:ext>
              </a:extLst>
            </p:cNvPr>
            <p:cNvSpPr/>
            <p:nvPr/>
          </p:nvSpPr>
          <p:spPr>
            <a:xfrm rot="8716295">
              <a:off x="8405383" y="47292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7" name="Forme libre : forme 1406">
              <a:extLst>
                <a:ext uri="{FF2B5EF4-FFF2-40B4-BE49-F238E27FC236}">
                  <a16:creationId xmlns:a16="http://schemas.microsoft.com/office/drawing/2014/main" id="{63003894-E4F2-4BC2-83BB-B9FC026CCC8B}"/>
                </a:ext>
              </a:extLst>
            </p:cNvPr>
            <p:cNvSpPr/>
            <p:nvPr/>
          </p:nvSpPr>
          <p:spPr>
            <a:xfrm rot="8716295">
              <a:off x="8632516" y="86132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8" name="Forme libre : forme 1407">
              <a:extLst>
                <a:ext uri="{FF2B5EF4-FFF2-40B4-BE49-F238E27FC236}">
                  <a16:creationId xmlns:a16="http://schemas.microsoft.com/office/drawing/2014/main" id="{4177F84E-2F46-4B16-B2EB-2A6CAAA999C1}"/>
                </a:ext>
              </a:extLst>
            </p:cNvPr>
            <p:cNvSpPr/>
            <p:nvPr/>
          </p:nvSpPr>
          <p:spPr>
            <a:xfrm rot="8716295">
              <a:off x="8943671" y="48168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9" name="Forme libre : forme 1408">
              <a:extLst>
                <a:ext uri="{FF2B5EF4-FFF2-40B4-BE49-F238E27FC236}">
                  <a16:creationId xmlns:a16="http://schemas.microsoft.com/office/drawing/2014/main" id="{7ECC4D0A-0137-4778-9C34-ECD007160309}"/>
                </a:ext>
              </a:extLst>
            </p:cNvPr>
            <p:cNvSpPr/>
            <p:nvPr/>
          </p:nvSpPr>
          <p:spPr>
            <a:xfrm rot="8716295">
              <a:off x="9036942" y="543643"/>
              <a:ext cx="187036" cy="222292"/>
            </a:xfrm>
            <a:custGeom>
              <a:avLst/>
              <a:gdLst>
                <a:gd name="connsiteX0" fmla="*/ 125066 w 187036"/>
                <a:gd name="connsiteY0" fmla="*/ 80621 h 222292"/>
                <a:gd name="connsiteX1" fmla="*/ 125066 w 187036"/>
                <a:gd name="connsiteY1" fmla="*/ 64217 h 222292"/>
                <a:gd name="connsiteX2" fmla="*/ 120199 w 187036"/>
                <a:gd name="connsiteY2" fmla="*/ 48887 h 222292"/>
                <a:gd name="connsiteX3" fmla="*/ 154086 w 187036"/>
                <a:gd name="connsiteY3" fmla="*/ 0 h 222292"/>
                <a:gd name="connsiteX4" fmla="*/ 167044 w 187036"/>
                <a:gd name="connsiteY4" fmla="*/ 5322 h 222292"/>
                <a:gd name="connsiteX5" fmla="*/ 187036 w 187036"/>
                <a:gd name="connsiteY5" fmla="*/ 71052 h 222292"/>
                <a:gd name="connsiteX6" fmla="*/ 187036 w 187036"/>
                <a:gd name="connsiteY6" fmla="*/ 76976 h 222292"/>
                <a:gd name="connsiteX7" fmla="*/ 0 w 187036"/>
                <a:gd name="connsiteY7" fmla="*/ 222292 h 222292"/>
                <a:gd name="connsiteX8" fmla="*/ 38035 w 187036"/>
                <a:gd name="connsiteY8" fmla="*/ 167421 h 222292"/>
                <a:gd name="connsiteX9" fmla="*/ 38035 w 187036"/>
                <a:gd name="connsiteY9" fmla="*/ 196360 h 222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036" h="222292">
                  <a:moveTo>
                    <a:pt x="125066" y="80621"/>
                  </a:moveTo>
                  <a:lnTo>
                    <a:pt x="125066" y="64217"/>
                  </a:lnTo>
                  <a:lnTo>
                    <a:pt x="120199" y="48887"/>
                  </a:lnTo>
                  <a:lnTo>
                    <a:pt x="154086" y="0"/>
                  </a:lnTo>
                  <a:lnTo>
                    <a:pt x="167044" y="5322"/>
                  </a:lnTo>
                  <a:cubicBezTo>
                    <a:pt x="179974" y="20473"/>
                    <a:pt x="187036" y="42801"/>
                    <a:pt x="187036" y="71052"/>
                  </a:cubicBezTo>
                  <a:lnTo>
                    <a:pt x="187036" y="76976"/>
                  </a:lnTo>
                  <a:close/>
                  <a:moveTo>
                    <a:pt x="0" y="222292"/>
                  </a:moveTo>
                  <a:lnTo>
                    <a:pt x="38035" y="167421"/>
                  </a:lnTo>
                  <a:lnTo>
                    <a:pt x="38035" y="1963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0" name="Forme libre : forme 1409">
              <a:extLst>
                <a:ext uri="{FF2B5EF4-FFF2-40B4-BE49-F238E27FC236}">
                  <a16:creationId xmlns:a16="http://schemas.microsoft.com/office/drawing/2014/main" id="{8CF1C17D-8FE5-4586-84EC-797BF0C748ED}"/>
                </a:ext>
              </a:extLst>
            </p:cNvPr>
            <p:cNvSpPr/>
            <p:nvPr/>
          </p:nvSpPr>
          <p:spPr>
            <a:xfrm rot="8716295">
              <a:off x="8831437" y="57022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1" name="Forme libre : forme 1410">
              <a:extLst>
                <a:ext uri="{FF2B5EF4-FFF2-40B4-BE49-F238E27FC236}">
                  <a16:creationId xmlns:a16="http://schemas.microsoft.com/office/drawing/2014/main" id="{AE830191-0020-4FE4-A98C-BF2C46A15C3D}"/>
                </a:ext>
              </a:extLst>
            </p:cNvPr>
            <p:cNvSpPr/>
            <p:nvPr/>
          </p:nvSpPr>
          <p:spPr>
            <a:xfrm rot="8716295">
              <a:off x="8706535" y="36155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5" name="Forme libre : forme 1414">
              <a:extLst>
                <a:ext uri="{FF2B5EF4-FFF2-40B4-BE49-F238E27FC236}">
                  <a16:creationId xmlns:a16="http://schemas.microsoft.com/office/drawing/2014/main" id="{EE8C59D9-229F-48BD-A5E1-860C9FC9870C}"/>
                </a:ext>
              </a:extLst>
            </p:cNvPr>
            <p:cNvSpPr/>
            <p:nvPr/>
          </p:nvSpPr>
          <p:spPr>
            <a:xfrm rot="8716295">
              <a:off x="8921615" y="61117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7" name="Forme libre : forme 1416">
              <a:extLst>
                <a:ext uri="{FF2B5EF4-FFF2-40B4-BE49-F238E27FC236}">
                  <a16:creationId xmlns:a16="http://schemas.microsoft.com/office/drawing/2014/main" id="{8B3EDBB4-588F-4A74-A7EE-F28AB8A86698}"/>
                </a:ext>
              </a:extLst>
            </p:cNvPr>
            <p:cNvSpPr/>
            <p:nvPr/>
          </p:nvSpPr>
          <p:spPr>
            <a:xfrm rot="8716295">
              <a:off x="8680164" y="46157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8" name="Forme libre : forme 1417">
              <a:extLst>
                <a:ext uri="{FF2B5EF4-FFF2-40B4-BE49-F238E27FC236}">
                  <a16:creationId xmlns:a16="http://schemas.microsoft.com/office/drawing/2014/main" id="{E513DE33-1C86-4B9E-A5D2-1C775A4B6B9A}"/>
                </a:ext>
              </a:extLst>
            </p:cNvPr>
            <p:cNvSpPr/>
            <p:nvPr/>
          </p:nvSpPr>
          <p:spPr>
            <a:xfrm rot="7484129">
              <a:off x="9031331" y="823575"/>
              <a:ext cx="156001" cy="192535"/>
            </a:xfrm>
            <a:custGeom>
              <a:avLst/>
              <a:gdLst>
                <a:gd name="connsiteX0" fmla="*/ 42863 w 156001"/>
                <a:gd name="connsiteY0" fmla="*/ 192535 h 192535"/>
                <a:gd name="connsiteX1" fmla="*/ 0 w 156001"/>
                <a:gd name="connsiteY1" fmla="*/ 112791 h 192535"/>
                <a:gd name="connsiteX2" fmla="*/ 2226 w 156001"/>
                <a:gd name="connsiteY2" fmla="*/ 106620 h 192535"/>
                <a:gd name="connsiteX3" fmla="*/ 156001 w 156001"/>
                <a:gd name="connsiteY3" fmla="*/ 0 h 192535"/>
                <a:gd name="connsiteX4" fmla="*/ 156001 w 156001"/>
                <a:gd name="connsiteY4" fmla="*/ 51985 h 192535"/>
                <a:gd name="connsiteX5" fmla="*/ 91208 w 156001"/>
                <a:gd name="connsiteY5" fmla="*/ 51985 h 192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6001" h="192535">
                  <a:moveTo>
                    <a:pt x="42863" y="192535"/>
                  </a:moveTo>
                  <a:lnTo>
                    <a:pt x="0" y="112791"/>
                  </a:lnTo>
                  <a:lnTo>
                    <a:pt x="2226" y="106620"/>
                  </a:lnTo>
                  <a:lnTo>
                    <a:pt x="156001" y="0"/>
                  </a:lnTo>
                  <a:lnTo>
                    <a:pt x="156001" y="51985"/>
                  </a:lnTo>
                  <a:lnTo>
                    <a:pt x="91208" y="519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9" name="Forme libre : forme 1418">
              <a:extLst>
                <a:ext uri="{FF2B5EF4-FFF2-40B4-BE49-F238E27FC236}">
                  <a16:creationId xmlns:a16="http://schemas.microsoft.com/office/drawing/2014/main" id="{A1C128FB-3960-4D7F-8598-CEF9CD401A08}"/>
                </a:ext>
              </a:extLst>
            </p:cNvPr>
            <p:cNvSpPr/>
            <p:nvPr/>
          </p:nvSpPr>
          <p:spPr>
            <a:xfrm rot="8716295">
              <a:off x="9021900" y="50400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0" name="Forme libre : forme 1419">
              <a:extLst>
                <a:ext uri="{FF2B5EF4-FFF2-40B4-BE49-F238E27FC236}">
                  <a16:creationId xmlns:a16="http://schemas.microsoft.com/office/drawing/2014/main" id="{BC46D4D0-028A-4521-9F49-7D03D0168DF3}"/>
                </a:ext>
              </a:extLst>
            </p:cNvPr>
            <p:cNvSpPr/>
            <p:nvPr/>
          </p:nvSpPr>
          <p:spPr>
            <a:xfrm rot="8716295">
              <a:off x="8435633" y="6977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1" name="Forme libre : forme 1420">
              <a:extLst>
                <a:ext uri="{FF2B5EF4-FFF2-40B4-BE49-F238E27FC236}">
                  <a16:creationId xmlns:a16="http://schemas.microsoft.com/office/drawing/2014/main" id="{6EAA635A-78A6-405C-8277-7FA4213ACDA7}"/>
                </a:ext>
              </a:extLst>
            </p:cNvPr>
            <p:cNvSpPr/>
            <p:nvPr/>
          </p:nvSpPr>
          <p:spPr>
            <a:xfrm rot="8716295">
              <a:off x="8525025" y="9901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2" name="Forme libre : forme 1421">
              <a:extLst>
                <a:ext uri="{FF2B5EF4-FFF2-40B4-BE49-F238E27FC236}">
                  <a16:creationId xmlns:a16="http://schemas.microsoft.com/office/drawing/2014/main" id="{C5FD0327-5E56-4ECB-88CA-C38610032A32}"/>
                </a:ext>
              </a:extLst>
            </p:cNvPr>
            <p:cNvSpPr/>
            <p:nvPr/>
          </p:nvSpPr>
          <p:spPr>
            <a:xfrm rot="8716295">
              <a:off x="8481025" y="28568"/>
              <a:ext cx="174031" cy="125883"/>
            </a:xfrm>
            <a:custGeom>
              <a:avLst/>
              <a:gdLst>
                <a:gd name="connsiteX0" fmla="*/ 17189 w 174031"/>
                <a:gd name="connsiteY0" fmla="*/ 125883 h 125883"/>
                <a:gd name="connsiteX1" fmla="*/ 0 w 174031"/>
                <a:gd name="connsiteY1" fmla="*/ 113969 h 125883"/>
                <a:gd name="connsiteX2" fmla="*/ 91100 w 174031"/>
                <a:gd name="connsiteY2" fmla="*/ 28251 h 125883"/>
                <a:gd name="connsiteX3" fmla="*/ 145780 w 174031"/>
                <a:gd name="connsiteY3" fmla="*/ 0 h 125883"/>
                <a:gd name="connsiteX4" fmla="*/ 174031 w 174031"/>
                <a:gd name="connsiteY4" fmla="*/ 33719 h 125883"/>
                <a:gd name="connsiteX5" fmla="*/ 147603 w 174031"/>
                <a:gd name="connsiteY5" fmla="*/ 69261 h 125883"/>
                <a:gd name="connsiteX6" fmla="*/ 148058 w 174031"/>
                <a:gd name="connsiteY6" fmla="*/ 69261 h 125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4031" h="125883">
                  <a:moveTo>
                    <a:pt x="17189" y="125883"/>
                  </a:moveTo>
                  <a:lnTo>
                    <a:pt x="0" y="113969"/>
                  </a:lnTo>
                  <a:lnTo>
                    <a:pt x="91100" y="28251"/>
                  </a:lnTo>
                  <a:cubicBezTo>
                    <a:pt x="104771" y="12303"/>
                    <a:pt x="124364" y="2279"/>
                    <a:pt x="145780" y="0"/>
                  </a:cubicBezTo>
                  <a:cubicBezTo>
                    <a:pt x="167652" y="0"/>
                    <a:pt x="174031" y="19138"/>
                    <a:pt x="174031" y="33719"/>
                  </a:cubicBezTo>
                  <a:cubicBezTo>
                    <a:pt x="172664" y="49668"/>
                    <a:pt x="162183" y="62881"/>
                    <a:pt x="147603" y="69261"/>
                  </a:cubicBezTo>
                  <a:lnTo>
                    <a:pt x="148058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3" name="Forme libre : forme 1422">
              <a:extLst>
                <a:ext uri="{FF2B5EF4-FFF2-40B4-BE49-F238E27FC236}">
                  <a16:creationId xmlns:a16="http://schemas.microsoft.com/office/drawing/2014/main" id="{8E0D4F69-3810-42E5-A76B-E65DD8821F35}"/>
                </a:ext>
              </a:extLst>
            </p:cNvPr>
            <p:cNvSpPr/>
            <p:nvPr/>
          </p:nvSpPr>
          <p:spPr>
            <a:xfrm rot="8716295">
              <a:off x="8323399" y="15831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4" name="Forme libre : forme 1423">
              <a:extLst>
                <a:ext uri="{FF2B5EF4-FFF2-40B4-BE49-F238E27FC236}">
                  <a16:creationId xmlns:a16="http://schemas.microsoft.com/office/drawing/2014/main" id="{25E613B1-767E-4C1C-A1A1-1C6EDD583421}"/>
                </a:ext>
              </a:extLst>
            </p:cNvPr>
            <p:cNvSpPr/>
            <p:nvPr/>
          </p:nvSpPr>
          <p:spPr>
            <a:xfrm rot="8716295">
              <a:off x="8205007" y="-15193"/>
              <a:ext cx="203847" cy="157180"/>
            </a:xfrm>
            <a:custGeom>
              <a:avLst/>
              <a:gdLst>
                <a:gd name="connsiteX0" fmla="*/ 104019 w 203847"/>
                <a:gd name="connsiteY0" fmla="*/ 157180 h 157180"/>
                <a:gd name="connsiteX1" fmla="*/ 49658 w 203847"/>
                <a:gd name="connsiteY1" fmla="*/ 119499 h 157180"/>
                <a:gd name="connsiteX2" fmla="*/ 47847 w 203847"/>
                <a:gd name="connsiteY2" fmla="*/ 116129 h 157180"/>
                <a:gd name="connsiteX3" fmla="*/ 69777 w 203847"/>
                <a:gd name="connsiteY3" fmla="*/ 55323 h 157180"/>
                <a:gd name="connsiteX4" fmla="*/ 0 w 203847"/>
                <a:gd name="connsiteY4" fmla="*/ 55323 h 157180"/>
                <a:gd name="connsiteX5" fmla="*/ 0 w 203847"/>
                <a:gd name="connsiteY5" fmla="*/ 0 h 157180"/>
                <a:gd name="connsiteX6" fmla="*/ 203847 w 203847"/>
                <a:gd name="connsiteY6" fmla="*/ 0 h 157180"/>
                <a:gd name="connsiteX7" fmla="*/ 203847 w 203847"/>
                <a:gd name="connsiteY7" fmla="*/ 55323 h 157180"/>
                <a:gd name="connsiteX8" fmla="*/ 139055 w 203847"/>
                <a:gd name="connsiteY8" fmla="*/ 55323 h 157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57180">
                  <a:moveTo>
                    <a:pt x="104019" y="157180"/>
                  </a:moveTo>
                  <a:lnTo>
                    <a:pt x="49658" y="119499"/>
                  </a:ln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5" name="Forme libre : forme 1424">
              <a:extLst>
                <a:ext uri="{FF2B5EF4-FFF2-40B4-BE49-F238E27FC236}">
                  <a16:creationId xmlns:a16="http://schemas.microsoft.com/office/drawing/2014/main" id="{F63808BA-4F7E-40A3-8486-7E6DEBA484C6}"/>
                </a:ext>
              </a:extLst>
            </p:cNvPr>
            <p:cNvSpPr/>
            <p:nvPr/>
          </p:nvSpPr>
          <p:spPr>
            <a:xfrm rot="8716295">
              <a:off x="8444752" y="-32262"/>
              <a:ext cx="79035" cy="109481"/>
            </a:xfrm>
            <a:custGeom>
              <a:avLst/>
              <a:gdLst>
                <a:gd name="connsiteX0" fmla="*/ 79035 w 79035"/>
                <a:gd name="connsiteY0" fmla="*/ 109481 h 109481"/>
                <a:gd name="connsiteX1" fmla="*/ 0 w 79035"/>
                <a:gd name="connsiteY1" fmla="*/ 54697 h 109481"/>
                <a:gd name="connsiteX2" fmla="*/ 0 w 79035"/>
                <a:gd name="connsiteY2" fmla="*/ 40597 h 109481"/>
                <a:gd name="connsiteX3" fmla="*/ 78250 w 79035"/>
                <a:gd name="connsiteY3" fmla="*/ 0 h 109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035" h="109481">
                  <a:moveTo>
                    <a:pt x="79035" y="109481"/>
                  </a:moveTo>
                  <a:lnTo>
                    <a:pt x="0" y="54697"/>
                  </a:lnTo>
                  <a:lnTo>
                    <a:pt x="0" y="40597"/>
                  </a:lnTo>
                  <a:lnTo>
                    <a:pt x="7825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6" name="Forme libre : forme 1425">
              <a:extLst>
                <a:ext uri="{FF2B5EF4-FFF2-40B4-BE49-F238E27FC236}">
                  <a16:creationId xmlns:a16="http://schemas.microsoft.com/office/drawing/2014/main" id="{D63DA307-52BC-4792-8492-1FEF33029CFC}"/>
                </a:ext>
              </a:extLst>
            </p:cNvPr>
            <p:cNvSpPr/>
            <p:nvPr/>
          </p:nvSpPr>
          <p:spPr>
            <a:xfrm rot="8716295">
              <a:off x="8413577" y="19927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7" name="Forme libre : forme 1426">
              <a:extLst>
                <a:ext uri="{FF2B5EF4-FFF2-40B4-BE49-F238E27FC236}">
                  <a16:creationId xmlns:a16="http://schemas.microsoft.com/office/drawing/2014/main" id="{AD849204-8303-4A61-8B71-EA8E15704047}"/>
                </a:ext>
              </a:extLst>
            </p:cNvPr>
            <p:cNvSpPr/>
            <p:nvPr/>
          </p:nvSpPr>
          <p:spPr>
            <a:xfrm rot="8716295">
              <a:off x="8766514" y="-43842"/>
              <a:ext cx="126501" cy="87686"/>
            </a:xfrm>
            <a:custGeom>
              <a:avLst/>
              <a:gdLst>
                <a:gd name="connsiteX0" fmla="*/ 126501 w 126501"/>
                <a:gd name="connsiteY0" fmla="*/ 87686 h 87686"/>
                <a:gd name="connsiteX1" fmla="*/ 0 w 126501"/>
                <a:gd name="connsiteY1" fmla="*/ 0 h 87686"/>
                <a:gd name="connsiteX2" fmla="*/ 69543 w 126501"/>
                <a:gd name="connsiteY2" fmla="*/ 0 h 87686"/>
                <a:gd name="connsiteX3" fmla="*/ 126501 w 126501"/>
                <a:gd name="connsiteY3" fmla="*/ 50123 h 87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501" h="87686">
                  <a:moveTo>
                    <a:pt x="126501" y="87686"/>
                  </a:moveTo>
                  <a:lnTo>
                    <a:pt x="0" y="0"/>
                  </a:lnTo>
                  <a:lnTo>
                    <a:pt x="69543" y="0"/>
                  </a:lnTo>
                  <a:cubicBezTo>
                    <a:pt x="106451" y="0"/>
                    <a:pt x="126500" y="15949"/>
                    <a:pt x="126501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8" name="Forme libre : forme 1427">
              <a:extLst>
                <a:ext uri="{FF2B5EF4-FFF2-40B4-BE49-F238E27FC236}">
                  <a16:creationId xmlns:a16="http://schemas.microsoft.com/office/drawing/2014/main" id="{A2D7FB67-3D0C-4319-811C-4A6A2542C621}"/>
                </a:ext>
              </a:extLst>
            </p:cNvPr>
            <p:cNvSpPr/>
            <p:nvPr/>
          </p:nvSpPr>
          <p:spPr>
            <a:xfrm rot="8716295">
              <a:off x="8856759" y="-11878"/>
              <a:ext cx="260639" cy="98025"/>
            </a:xfrm>
            <a:custGeom>
              <a:avLst/>
              <a:gdLst>
                <a:gd name="connsiteX0" fmla="*/ 121640 w 260639"/>
                <a:gd name="connsiteY0" fmla="*/ 88179 h 98025"/>
                <a:gd name="connsiteX1" fmla="*/ 0 w 260639"/>
                <a:gd name="connsiteY1" fmla="*/ 3862 h 98025"/>
                <a:gd name="connsiteX2" fmla="*/ 0 w 260639"/>
                <a:gd name="connsiteY2" fmla="*/ 1424 h 98025"/>
                <a:gd name="connsiteX3" fmla="*/ 104802 w 260639"/>
                <a:gd name="connsiteY3" fmla="*/ 1424 h 98025"/>
                <a:gd name="connsiteX4" fmla="*/ 104802 w 260639"/>
                <a:gd name="connsiteY4" fmla="*/ 75242 h 98025"/>
                <a:gd name="connsiteX5" fmla="*/ 106170 w 260639"/>
                <a:gd name="connsiteY5" fmla="*/ 75242 h 98025"/>
                <a:gd name="connsiteX6" fmla="*/ 154014 w 260639"/>
                <a:gd name="connsiteY6" fmla="*/ 5981 h 98025"/>
                <a:gd name="connsiteX7" fmla="*/ 185454 w 260639"/>
                <a:gd name="connsiteY7" fmla="*/ 57 h 98025"/>
                <a:gd name="connsiteX8" fmla="*/ 260639 w 260639"/>
                <a:gd name="connsiteY8" fmla="*/ 88456 h 98025"/>
                <a:gd name="connsiteX9" fmla="*/ 260639 w 260639"/>
                <a:gd name="connsiteY9" fmla="*/ 94380 h 98025"/>
                <a:gd name="connsiteX10" fmla="*/ 198669 w 260639"/>
                <a:gd name="connsiteY10" fmla="*/ 98025 h 98025"/>
                <a:gd name="connsiteX11" fmla="*/ 198669 w 260639"/>
                <a:gd name="connsiteY11" fmla="*/ 81621 h 98025"/>
                <a:gd name="connsiteX12" fmla="*/ 164950 w 260639"/>
                <a:gd name="connsiteY12" fmla="*/ 40156 h 98025"/>
                <a:gd name="connsiteX13" fmla="*/ 127358 w 260639"/>
                <a:gd name="connsiteY13" fmla="*/ 65616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60639" h="98025">
                  <a:moveTo>
                    <a:pt x="121640" y="88179"/>
                  </a:moveTo>
                  <a:lnTo>
                    <a:pt x="0" y="3862"/>
                  </a:lnTo>
                  <a:lnTo>
                    <a:pt x="0" y="1424"/>
                  </a:lnTo>
                  <a:lnTo>
                    <a:pt x="104802" y="1424"/>
                  </a:lnTo>
                  <a:lnTo>
                    <a:pt x="104802" y="75242"/>
                  </a:lnTo>
                  <a:lnTo>
                    <a:pt x="106170" y="75242"/>
                  </a:lnTo>
                  <a:cubicBezTo>
                    <a:pt x="120751" y="31954"/>
                    <a:pt x="132143" y="15095"/>
                    <a:pt x="154014" y="5981"/>
                  </a:cubicBezTo>
                  <a:cubicBezTo>
                    <a:pt x="164039" y="1880"/>
                    <a:pt x="174519" y="-398"/>
                    <a:pt x="185454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5"/>
                    <a:pt x="184543" y="40156"/>
                    <a:pt x="164950" y="40156"/>
                  </a:cubicBezTo>
                  <a:cubicBezTo>
                    <a:pt x="150369" y="40156"/>
                    <a:pt x="137041" y="49839"/>
                    <a:pt x="127358" y="656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9" name="Forme libre : forme 1428">
              <a:extLst>
                <a:ext uri="{FF2B5EF4-FFF2-40B4-BE49-F238E27FC236}">
                  <a16:creationId xmlns:a16="http://schemas.microsoft.com/office/drawing/2014/main" id="{7EB29EE7-8CE0-4F9C-BE94-981E02C14E6E}"/>
                </a:ext>
              </a:extLst>
            </p:cNvPr>
            <p:cNvSpPr/>
            <p:nvPr/>
          </p:nvSpPr>
          <p:spPr>
            <a:xfrm rot="8716295">
              <a:off x="8702676" y="-5088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0" name="Forme libre : forme 1429">
              <a:extLst>
                <a:ext uri="{FF2B5EF4-FFF2-40B4-BE49-F238E27FC236}">
                  <a16:creationId xmlns:a16="http://schemas.microsoft.com/office/drawing/2014/main" id="{0BDDD1E9-AF02-445F-B0F9-274E91D802B8}"/>
                </a:ext>
              </a:extLst>
            </p:cNvPr>
            <p:cNvSpPr/>
            <p:nvPr/>
          </p:nvSpPr>
          <p:spPr>
            <a:xfrm rot="7484129">
              <a:off x="8807607" y="14046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1" name="Forme libre : forme 1430">
              <a:extLst>
                <a:ext uri="{FF2B5EF4-FFF2-40B4-BE49-F238E27FC236}">
                  <a16:creationId xmlns:a16="http://schemas.microsoft.com/office/drawing/2014/main" id="{2995B139-7C17-446E-807C-66D934593AD9}"/>
                </a:ext>
              </a:extLst>
            </p:cNvPr>
            <p:cNvSpPr/>
            <p:nvPr/>
          </p:nvSpPr>
          <p:spPr>
            <a:xfrm rot="13089394">
              <a:off x="8909339" y="109550"/>
              <a:ext cx="272584" cy="321941"/>
            </a:xfrm>
            <a:custGeom>
              <a:avLst/>
              <a:gdLst>
                <a:gd name="connsiteX0" fmla="*/ 272584 w 272584"/>
                <a:gd name="connsiteY0" fmla="*/ 258238 h 321941"/>
                <a:gd name="connsiteX1" fmla="*/ 177331 w 272584"/>
                <a:gd name="connsiteY1" fmla="*/ 311348 h 321941"/>
                <a:gd name="connsiteX2" fmla="*/ 137666 w 272584"/>
                <a:gd name="connsiteY2" fmla="*/ 321941 h 321941"/>
                <a:gd name="connsiteX3" fmla="*/ 0 w 272584"/>
                <a:gd name="connsiteY3" fmla="*/ 146725 h 321941"/>
                <a:gd name="connsiteX4" fmla="*/ 0 w 272584"/>
                <a:gd name="connsiteY4" fmla="*/ 38074 h 321941"/>
                <a:gd name="connsiteX5" fmla="*/ 73387 w 272584"/>
                <a:gd name="connsiteY5" fmla="*/ 0 h 321941"/>
                <a:gd name="connsiteX6" fmla="*/ 74491 w 272584"/>
                <a:gd name="connsiteY6" fmla="*/ 153950 h 321941"/>
                <a:gd name="connsiteX7" fmla="*/ 87734 w 272584"/>
                <a:gd name="connsiteY7" fmla="*/ 245547 h 321941"/>
                <a:gd name="connsiteX8" fmla="*/ 153949 w 272584"/>
                <a:gd name="connsiteY8" fmla="*/ 281965 h 321941"/>
                <a:gd name="connsiteX9" fmla="*/ 203610 w 272584"/>
                <a:gd name="connsiteY9" fmla="*/ 273136 h 321941"/>
                <a:gd name="connsiteX10" fmla="*/ 271481 w 272584"/>
                <a:gd name="connsiteY10" fmla="*/ 245547 h 321941"/>
                <a:gd name="connsiteX11" fmla="*/ 272584 w 272584"/>
                <a:gd name="connsiteY11" fmla="*/ 252720 h 321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2584" h="321941">
                  <a:moveTo>
                    <a:pt x="272584" y="258238"/>
                  </a:moveTo>
                  <a:cubicBezTo>
                    <a:pt x="243339" y="283344"/>
                    <a:pt x="209542" y="300312"/>
                    <a:pt x="177331" y="311348"/>
                  </a:cubicBezTo>
                  <a:lnTo>
                    <a:pt x="137666" y="321941"/>
                  </a:lnTo>
                  <a:lnTo>
                    <a:pt x="0" y="146725"/>
                  </a:lnTo>
                  <a:lnTo>
                    <a:pt x="0" y="38074"/>
                  </a:lnTo>
                  <a:lnTo>
                    <a:pt x="73387" y="0"/>
                  </a:lnTo>
                  <a:lnTo>
                    <a:pt x="74491" y="153950"/>
                  </a:lnTo>
                  <a:cubicBezTo>
                    <a:pt x="72836" y="184850"/>
                    <a:pt x="77802" y="216301"/>
                    <a:pt x="87734" y="245547"/>
                  </a:cubicBezTo>
                  <a:cubicBezTo>
                    <a:pt x="96563" y="269826"/>
                    <a:pt x="119187" y="281965"/>
                    <a:pt x="153949" y="281965"/>
                  </a:cubicBezTo>
                  <a:cubicBezTo>
                    <a:pt x="171055" y="281413"/>
                    <a:pt x="187608" y="278102"/>
                    <a:pt x="203610" y="273136"/>
                  </a:cubicBezTo>
                  <a:cubicBezTo>
                    <a:pt x="226786" y="265962"/>
                    <a:pt x="249409" y="256583"/>
                    <a:pt x="271481" y="245547"/>
                  </a:cubicBezTo>
                  <a:cubicBezTo>
                    <a:pt x="272032" y="247754"/>
                    <a:pt x="272584" y="250512"/>
                    <a:pt x="272584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2" name="Forme libre : forme 1431">
              <a:extLst>
                <a:ext uri="{FF2B5EF4-FFF2-40B4-BE49-F238E27FC236}">
                  <a16:creationId xmlns:a16="http://schemas.microsoft.com/office/drawing/2014/main" id="{5A473123-E00F-4291-A955-BB5219A058F6}"/>
                </a:ext>
              </a:extLst>
            </p:cNvPr>
            <p:cNvSpPr/>
            <p:nvPr/>
          </p:nvSpPr>
          <p:spPr>
            <a:xfrm rot="8716295">
              <a:off x="9122688" y="40501"/>
              <a:ext cx="40667" cy="55234"/>
            </a:xfrm>
            <a:custGeom>
              <a:avLst/>
              <a:gdLst>
                <a:gd name="connsiteX0" fmla="*/ 0 w 40667"/>
                <a:gd name="connsiteY0" fmla="*/ 55234 h 55234"/>
                <a:gd name="connsiteX1" fmla="*/ 38286 w 40667"/>
                <a:gd name="connsiteY1" fmla="*/ 0 h 55234"/>
                <a:gd name="connsiteX2" fmla="*/ 40667 w 40667"/>
                <a:gd name="connsiteY2" fmla="*/ 8974 h 55234"/>
                <a:gd name="connsiteX3" fmla="*/ 9497 w 40667"/>
                <a:gd name="connsiteY3" fmla="*/ 50893 h 55234"/>
                <a:gd name="connsiteX4" fmla="*/ 10033 w 40667"/>
                <a:gd name="connsiteY4" fmla="*/ 50893 h 55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667" h="55234">
                  <a:moveTo>
                    <a:pt x="0" y="55234"/>
                  </a:moveTo>
                  <a:lnTo>
                    <a:pt x="38286" y="0"/>
                  </a:lnTo>
                  <a:lnTo>
                    <a:pt x="40667" y="8974"/>
                  </a:lnTo>
                  <a:cubicBezTo>
                    <a:pt x="39055" y="27784"/>
                    <a:pt x="26693" y="43369"/>
                    <a:pt x="9497" y="50893"/>
                  </a:cubicBezTo>
                  <a:lnTo>
                    <a:pt x="10033" y="508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3" name="Forme libre : forme 1432">
              <a:extLst>
                <a:ext uri="{FF2B5EF4-FFF2-40B4-BE49-F238E27FC236}">
                  <a16:creationId xmlns:a16="http://schemas.microsoft.com/office/drawing/2014/main" id="{EE271554-B785-4605-928F-70CAFB70DEA7}"/>
                </a:ext>
              </a:extLst>
            </p:cNvPr>
            <p:cNvSpPr/>
            <p:nvPr/>
          </p:nvSpPr>
          <p:spPr>
            <a:xfrm rot="8716295">
              <a:off x="8952852" y="4155793"/>
              <a:ext cx="183188" cy="195873"/>
            </a:xfrm>
            <a:custGeom>
              <a:avLst/>
              <a:gdLst>
                <a:gd name="connsiteX0" fmla="*/ 70051 w 183188"/>
                <a:gd name="connsiteY0" fmla="*/ 195873 h 195873"/>
                <a:gd name="connsiteX1" fmla="*/ 27188 w 183188"/>
                <a:gd name="connsiteY1" fmla="*/ 116129 h 195873"/>
                <a:gd name="connsiteX2" fmla="*/ 49117 w 183188"/>
                <a:gd name="connsiteY2" fmla="*/ 55323 h 195873"/>
                <a:gd name="connsiteX3" fmla="*/ 0 w 183188"/>
                <a:gd name="connsiteY3" fmla="*/ 55323 h 195873"/>
                <a:gd name="connsiteX4" fmla="*/ 38348 w 183188"/>
                <a:gd name="connsiteY4" fmla="*/ 0 h 195873"/>
                <a:gd name="connsiteX5" fmla="*/ 183188 w 183188"/>
                <a:gd name="connsiteY5" fmla="*/ 0 h 195873"/>
                <a:gd name="connsiteX6" fmla="*/ 183188 w 183188"/>
                <a:gd name="connsiteY6" fmla="*/ 55323 h 195873"/>
                <a:gd name="connsiteX7" fmla="*/ 118395 w 183188"/>
                <a:gd name="connsiteY7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3188" h="195873">
                  <a:moveTo>
                    <a:pt x="70051" y="195873"/>
                  </a:moveTo>
                  <a:lnTo>
                    <a:pt x="27188" y="116129"/>
                  </a:lnTo>
                  <a:lnTo>
                    <a:pt x="49117" y="55323"/>
                  </a:lnTo>
                  <a:lnTo>
                    <a:pt x="0" y="55323"/>
                  </a:lnTo>
                  <a:lnTo>
                    <a:pt x="38348" y="0"/>
                  </a:lnTo>
                  <a:lnTo>
                    <a:pt x="183188" y="0"/>
                  </a:lnTo>
                  <a:lnTo>
                    <a:pt x="183188" y="55323"/>
                  </a:lnTo>
                  <a:lnTo>
                    <a:pt x="11839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1434" name="Forme libre : forme 1433">
            <a:extLst>
              <a:ext uri="{FF2B5EF4-FFF2-40B4-BE49-F238E27FC236}">
                <a16:creationId xmlns:a16="http://schemas.microsoft.com/office/drawing/2014/main" id="{3099C65B-8B10-484F-B315-40A09E366107}"/>
              </a:ext>
            </a:extLst>
          </p:cNvPr>
          <p:cNvSpPr/>
          <p:nvPr userDrawn="1"/>
        </p:nvSpPr>
        <p:spPr>
          <a:xfrm>
            <a:off x="1" y="0"/>
            <a:ext cx="6096000" cy="5143500"/>
          </a:xfrm>
          <a:custGeom>
            <a:avLst/>
            <a:gdLst>
              <a:gd name="connsiteX0" fmla="*/ 0 w 6096000"/>
              <a:gd name="connsiteY0" fmla="*/ 0 h 5143500"/>
              <a:gd name="connsiteX1" fmla="*/ 6096000 w 6096000"/>
              <a:gd name="connsiteY1" fmla="*/ 0 h 5143500"/>
              <a:gd name="connsiteX2" fmla="*/ 5658098 w 6096000"/>
              <a:gd name="connsiteY2" fmla="*/ 5143500 h 5143500"/>
              <a:gd name="connsiteX3" fmla="*/ 0 w 6096000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5143500">
                <a:moveTo>
                  <a:pt x="0" y="0"/>
                </a:moveTo>
                <a:lnTo>
                  <a:pt x="6096000" y="0"/>
                </a:lnTo>
                <a:lnTo>
                  <a:pt x="5658098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412" name="Espace réservé du texte 1411">
            <a:extLst>
              <a:ext uri="{FF2B5EF4-FFF2-40B4-BE49-F238E27FC236}">
                <a16:creationId xmlns:a16="http://schemas.microsoft.com/office/drawing/2014/main" id="{B975A26C-84FD-4C11-BF53-E602FA68DDC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9920" y="812296"/>
            <a:ext cx="36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1413" name="Espace réservé du texte 1412">
            <a:extLst>
              <a:ext uri="{FF2B5EF4-FFF2-40B4-BE49-F238E27FC236}">
                <a16:creationId xmlns:a16="http://schemas.microsoft.com/office/drawing/2014/main" id="{1F3E6244-BF30-44B9-B6F9-BF4959AA80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29920" y="812296"/>
            <a:ext cx="36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1414" name="Titre 1413">
            <a:extLst>
              <a:ext uri="{FF2B5EF4-FFF2-40B4-BE49-F238E27FC236}">
                <a16:creationId xmlns:a16="http://schemas.microsoft.com/office/drawing/2014/main" id="{7B15E4E4-6E7E-48BC-92A9-631F532CE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5123" y="333575"/>
            <a:ext cx="4278481" cy="4247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Titre de la slide</a:t>
            </a:r>
          </a:p>
        </p:txBody>
      </p:sp>
      <p:sp>
        <p:nvSpPr>
          <p:cNvPr id="1435" name="Espace réservé du texte 527">
            <a:extLst>
              <a:ext uri="{FF2B5EF4-FFF2-40B4-BE49-F238E27FC236}">
                <a16:creationId xmlns:a16="http://schemas.microsoft.com/office/drawing/2014/main" id="{122505A0-011B-4B6A-B1E5-4E67B987548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57797" y="4265959"/>
            <a:ext cx="972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1436" name="Espace réservé du texte 528">
            <a:extLst>
              <a:ext uri="{FF2B5EF4-FFF2-40B4-BE49-F238E27FC236}">
                <a16:creationId xmlns:a16="http://schemas.microsoft.com/office/drawing/2014/main" id="{FA2FD6D6-E4AA-4328-9FAB-C95B52D0740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527881" y="4265959"/>
            <a:ext cx="972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rgbClr val="3A1B0B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1437" name="Espace réservé du texte 530">
            <a:extLst>
              <a:ext uri="{FF2B5EF4-FFF2-40B4-BE49-F238E27FC236}">
                <a16:creationId xmlns:a16="http://schemas.microsoft.com/office/drawing/2014/main" id="{08A6D908-22E3-475D-AFD6-C01F2E5AFFB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44353" y="491319"/>
            <a:ext cx="2190214" cy="3455711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1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Niveau 2</a:t>
            </a:r>
          </a:p>
        </p:txBody>
      </p:sp>
      <p:sp>
        <p:nvSpPr>
          <p:cNvPr id="531" name="Espace réservé du numéro de diapositive 530">
            <a:extLst>
              <a:ext uri="{FF2B5EF4-FFF2-40B4-BE49-F238E27FC236}">
                <a16:creationId xmlns:a16="http://schemas.microsoft.com/office/drawing/2014/main" id="{88C86476-5A7E-47D7-A0E9-020EE06E65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00800" y="0"/>
            <a:ext cx="594090" cy="2665951"/>
          </a:xfrm>
          <a:custGeom>
            <a:avLst/>
            <a:gdLst>
              <a:gd name="connsiteX0" fmla="*/ 0 w 594090"/>
              <a:gd name="connsiteY0" fmla="*/ 0 h 2665951"/>
              <a:gd name="connsiteX1" fmla="*/ 594090 w 594090"/>
              <a:gd name="connsiteY1" fmla="*/ 0 h 2665951"/>
              <a:gd name="connsiteX2" fmla="*/ 367119 w 594090"/>
              <a:gd name="connsiteY2" fmla="*/ 2665951 h 2665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94090" h="2665951">
                <a:moveTo>
                  <a:pt x="0" y="0"/>
                </a:moveTo>
                <a:lnTo>
                  <a:pt x="594090" y="0"/>
                </a:lnTo>
                <a:lnTo>
                  <a:pt x="367119" y="2665951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180000" rIns="0" bIns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237119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ur une ligne + Conten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Espace réservé du numéro de diapositive 129">
            <a:extLst>
              <a:ext uri="{FF2B5EF4-FFF2-40B4-BE49-F238E27FC236}">
                <a16:creationId xmlns:a16="http://schemas.microsoft.com/office/drawing/2014/main" id="{62EE913C-626B-433C-BC1F-844371E1C2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9681" y="3148262"/>
            <a:ext cx="444626" cy="1995238"/>
          </a:xfrm>
          <a:custGeom>
            <a:avLst/>
            <a:gdLst>
              <a:gd name="connsiteX0" fmla="*/ 169868 w 444626"/>
              <a:gd name="connsiteY0" fmla="*/ 0 h 1995238"/>
              <a:gd name="connsiteX1" fmla="*/ 444626 w 444626"/>
              <a:gd name="connsiteY1" fmla="*/ 1995238 h 1995238"/>
              <a:gd name="connsiteX2" fmla="*/ 0 w 444626"/>
              <a:gd name="connsiteY2" fmla="*/ 1995238 h 1995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4626" h="1995238">
                <a:moveTo>
                  <a:pt x="169868" y="0"/>
                </a:moveTo>
                <a:lnTo>
                  <a:pt x="444626" y="1995238"/>
                </a:lnTo>
                <a:lnTo>
                  <a:pt x="0" y="199523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180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138" name="Forme libre : forme 137">
            <a:extLst>
              <a:ext uri="{FF2B5EF4-FFF2-40B4-BE49-F238E27FC236}">
                <a16:creationId xmlns:a16="http://schemas.microsoft.com/office/drawing/2014/main" id="{0FDE4FE4-FDFC-41B3-BDA4-CE918EEAE71E}"/>
              </a:ext>
            </a:extLst>
          </p:cNvPr>
          <p:cNvSpPr/>
          <p:nvPr userDrawn="1"/>
        </p:nvSpPr>
        <p:spPr>
          <a:xfrm>
            <a:off x="629550" y="0"/>
            <a:ext cx="8514451" cy="5143499"/>
          </a:xfrm>
          <a:custGeom>
            <a:avLst/>
            <a:gdLst>
              <a:gd name="connsiteX0" fmla="*/ 689595 w 8514451"/>
              <a:gd name="connsiteY0" fmla="*/ 884098 h 5143499"/>
              <a:gd name="connsiteX1" fmla="*/ 689595 w 8514451"/>
              <a:gd name="connsiteY1" fmla="*/ 929817 h 5143499"/>
              <a:gd name="connsiteX2" fmla="*/ 1049595 w 8514451"/>
              <a:gd name="connsiteY2" fmla="*/ 929817 h 5143499"/>
              <a:gd name="connsiteX3" fmla="*/ 1049595 w 8514451"/>
              <a:gd name="connsiteY3" fmla="*/ 884098 h 5143499"/>
              <a:gd name="connsiteX4" fmla="*/ 268034 w 8514451"/>
              <a:gd name="connsiteY4" fmla="*/ 0 h 5143499"/>
              <a:gd name="connsiteX5" fmla="*/ 8514451 w 8514451"/>
              <a:gd name="connsiteY5" fmla="*/ 0 h 5143499"/>
              <a:gd name="connsiteX6" fmla="*/ 8514451 w 8514451"/>
              <a:gd name="connsiteY6" fmla="*/ 5143499 h 5143499"/>
              <a:gd name="connsiteX7" fmla="*/ 274758 w 8514451"/>
              <a:gd name="connsiteY7" fmla="*/ 5143499 h 5143499"/>
              <a:gd name="connsiteX8" fmla="*/ 0 w 8514451"/>
              <a:gd name="connsiteY8" fmla="*/ 3148262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514451" h="5143499">
                <a:moveTo>
                  <a:pt x="689595" y="884098"/>
                </a:moveTo>
                <a:lnTo>
                  <a:pt x="689595" y="929817"/>
                </a:lnTo>
                <a:lnTo>
                  <a:pt x="1049595" y="929817"/>
                </a:lnTo>
                <a:lnTo>
                  <a:pt x="1049595" y="884098"/>
                </a:lnTo>
                <a:close/>
                <a:moveTo>
                  <a:pt x="268034" y="0"/>
                </a:moveTo>
                <a:lnTo>
                  <a:pt x="8514451" y="0"/>
                </a:lnTo>
                <a:lnTo>
                  <a:pt x="8514451" y="5143499"/>
                </a:lnTo>
                <a:lnTo>
                  <a:pt x="274758" y="5143499"/>
                </a:lnTo>
                <a:lnTo>
                  <a:pt x="0" y="31482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48DF42C1-5220-478C-ABAC-92E468D673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Titre de la slide sur une ligne</a:t>
            </a:r>
          </a:p>
        </p:txBody>
      </p:sp>
      <p:sp>
        <p:nvSpPr>
          <p:cNvPr id="9" name="Forme libre : forme 8">
            <a:extLst>
              <a:ext uri="{FF2B5EF4-FFF2-40B4-BE49-F238E27FC236}">
                <a16:creationId xmlns:a16="http://schemas.microsoft.com/office/drawing/2014/main" id="{4100D4C0-1B0B-4813-97B4-727B3F07A2B3}"/>
              </a:ext>
            </a:extLst>
          </p:cNvPr>
          <p:cNvSpPr/>
          <p:nvPr/>
        </p:nvSpPr>
        <p:spPr>
          <a:xfrm rot="8716295">
            <a:off x="617786" y="1780350"/>
            <a:ext cx="152726" cy="195873"/>
          </a:xfrm>
          <a:custGeom>
            <a:avLst/>
            <a:gdLst>
              <a:gd name="connsiteX0" fmla="*/ 39589 w 152726"/>
              <a:gd name="connsiteY0" fmla="*/ 195873 h 195873"/>
              <a:gd name="connsiteX1" fmla="*/ 0 w 152726"/>
              <a:gd name="connsiteY1" fmla="*/ 122219 h 195873"/>
              <a:gd name="connsiteX2" fmla="*/ 101089 w 152726"/>
              <a:gd name="connsiteY2" fmla="*/ 0 h 195873"/>
              <a:gd name="connsiteX3" fmla="*/ 152726 w 152726"/>
              <a:gd name="connsiteY3" fmla="*/ 0 h 195873"/>
              <a:gd name="connsiteX4" fmla="*/ 152726 w 152726"/>
              <a:gd name="connsiteY4" fmla="*/ 55323 h 195873"/>
              <a:gd name="connsiteX5" fmla="*/ 87934 w 152726"/>
              <a:gd name="connsiteY5" fmla="*/ 55323 h 195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2726" h="195873">
                <a:moveTo>
                  <a:pt x="39589" y="195873"/>
                </a:moveTo>
                <a:lnTo>
                  <a:pt x="0" y="122219"/>
                </a:lnTo>
                <a:lnTo>
                  <a:pt x="101089" y="0"/>
                </a:lnTo>
                <a:lnTo>
                  <a:pt x="152726" y="0"/>
                </a:lnTo>
                <a:lnTo>
                  <a:pt x="152726" y="55323"/>
                </a:lnTo>
                <a:lnTo>
                  <a:pt x="87934" y="5532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" name="Forme libre : forme 9">
            <a:extLst>
              <a:ext uri="{FF2B5EF4-FFF2-40B4-BE49-F238E27FC236}">
                <a16:creationId xmlns:a16="http://schemas.microsoft.com/office/drawing/2014/main" id="{CB9A2237-374C-411A-AB62-0191ED80FFE2}"/>
              </a:ext>
            </a:extLst>
          </p:cNvPr>
          <p:cNvSpPr/>
          <p:nvPr/>
        </p:nvSpPr>
        <p:spPr>
          <a:xfrm rot="8716295">
            <a:off x="534441" y="1654353"/>
            <a:ext cx="262864" cy="103234"/>
          </a:xfrm>
          <a:custGeom>
            <a:avLst/>
            <a:gdLst>
              <a:gd name="connsiteX0" fmla="*/ 0 w 262864"/>
              <a:gd name="connsiteY0" fmla="*/ 75341 h 103234"/>
              <a:gd name="connsiteX1" fmla="*/ 62316 w 262864"/>
              <a:gd name="connsiteY1" fmla="*/ 0 h 103234"/>
              <a:gd name="connsiteX2" fmla="*/ 65768 w 262864"/>
              <a:gd name="connsiteY2" fmla="*/ 14220 h 103234"/>
              <a:gd name="connsiteX3" fmla="*/ 136369 w 262864"/>
              <a:gd name="connsiteY3" fmla="*/ 53051 h 103234"/>
              <a:gd name="connsiteX4" fmla="*/ 189321 w 262864"/>
              <a:gd name="connsiteY4" fmla="*/ 43637 h 103234"/>
              <a:gd name="connsiteX5" fmla="*/ 261688 w 262864"/>
              <a:gd name="connsiteY5" fmla="*/ 14220 h 103234"/>
              <a:gd name="connsiteX6" fmla="*/ 262864 w 262864"/>
              <a:gd name="connsiteY6" fmla="*/ 21868 h 103234"/>
              <a:gd name="connsiteX7" fmla="*/ 262864 w 262864"/>
              <a:gd name="connsiteY7" fmla="*/ 27752 h 103234"/>
              <a:gd name="connsiteX8" fmla="*/ 69887 w 262864"/>
              <a:gd name="connsiteY8" fmla="*/ 103060 h 103234"/>
              <a:gd name="connsiteX9" fmla="*/ 30615 w 262864"/>
              <a:gd name="connsiteY9" fmla="*/ 96294 h 1032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2864" h="103234">
                <a:moveTo>
                  <a:pt x="0" y="75341"/>
                </a:moveTo>
                <a:lnTo>
                  <a:pt x="62316" y="0"/>
                </a:lnTo>
                <a:lnTo>
                  <a:pt x="65768" y="14220"/>
                </a:lnTo>
                <a:cubicBezTo>
                  <a:pt x="75182" y="40107"/>
                  <a:pt x="99304" y="53051"/>
                  <a:pt x="136369" y="53051"/>
                </a:cubicBezTo>
                <a:cubicBezTo>
                  <a:pt x="154609" y="52462"/>
                  <a:pt x="172259" y="48932"/>
                  <a:pt x="189321" y="43637"/>
                </a:cubicBezTo>
                <a:cubicBezTo>
                  <a:pt x="214031" y="35988"/>
                  <a:pt x="238154" y="25987"/>
                  <a:pt x="261688" y="14220"/>
                </a:cubicBezTo>
                <a:cubicBezTo>
                  <a:pt x="262276" y="16573"/>
                  <a:pt x="262864" y="19515"/>
                  <a:pt x="262864" y="21868"/>
                </a:cubicBezTo>
                <a:lnTo>
                  <a:pt x="262864" y="27752"/>
                </a:lnTo>
                <a:cubicBezTo>
                  <a:pt x="200500" y="81291"/>
                  <a:pt x="118719" y="100119"/>
                  <a:pt x="69887" y="103060"/>
                </a:cubicBezTo>
                <a:cubicBezTo>
                  <a:pt x="56355" y="103943"/>
                  <a:pt x="42970" y="101442"/>
                  <a:pt x="30615" y="96294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" name="Forme libre : forme 10">
            <a:extLst>
              <a:ext uri="{FF2B5EF4-FFF2-40B4-BE49-F238E27FC236}">
                <a16:creationId xmlns:a16="http://schemas.microsoft.com/office/drawing/2014/main" id="{8F8A3734-3F77-44C7-9A38-570198540CBC}"/>
              </a:ext>
            </a:extLst>
          </p:cNvPr>
          <p:cNvSpPr/>
          <p:nvPr/>
        </p:nvSpPr>
        <p:spPr>
          <a:xfrm rot="8716295">
            <a:off x="632719" y="1232432"/>
            <a:ext cx="121558" cy="232388"/>
          </a:xfrm>
          <a:custGeom>
            <a:avLst/>
            <a:gdLst>
              <a:gd name="connsiteX0" fmla="*/ 60499 w 121558"/>
              <a:gd name="connsiteY0" fmla="*/ 232388 h 232388"/>
              <a:gd name="connsiteX1" fmla="*/ 60499 w 121558"/>
              <a:gd name="connsiteY1" fmla="*/ 69717 h 232388"/>
              <a:gd name="connsiteX2" fmla="*/ 60499 w 121558"/>
              <a:gd name="connsiteY2" fmla="*/ 65615 h 232388"/>
              <a:gd name="connsiteX3" fmla="*/ 39995 w 121558"/>
              <a:gd name="connsiteY3" fmla="*/ 50123 h 232388"/>
              <a:gd name="connsiteX4" fmla="*/ 0 w 121558"/>
              <a:gd name="connsiteY4" fmla="*/ 50123 h 232388"/>
              <a:gd name="connsiteX5" fmla="*/ 41457 w 121558"/>
              <a:gd name="connsiteY5" fmla="*/ 0 h 232388"/>
              <a:gd name="connsiteX6" fmla="*/ 64601 w 121558"/>
              <a:gd name="connsiteY6" fmla="*/ 0 h 232388"/>
              <a:gd name="connsiteX7" fmla="*/ 121558 w 121558"/>
              <a:gd name="connsiteY7" fmla="*/ 50123 h 232388"/>
              <a:gd name="connsiteX8" fmla="*/ 121558 w 121558"/>
              <a:gd name="connsiteY8" fmla="*/ 208238 h 232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558" h="232388">
                <a:moveTo>
                  <a:pt x="60499" y="232388"/>
                </a:moveTo>
                <a:lnTo>
                  <a:pt x="60499" y="69717"/>
                </a:lnTo>
                <a:cubicBezTo>
                  <a:pt x="60499" y="68349"/>
                  <a:pt x="60499" y="66983"/>
                  <a:pt x="60499" y="65615"/>
                </a:cubicBezTo>
                <a:cubicBezTo>
                  <a:pt x="59133" y="55591"/>
                  <a:pt x="50019" y="48756"/>
                  <a:pt x="39995" y="50123"/>
                </a:cubicBezTo>
                <a:lnTo>
                  <a:pt x="0" y="50123"/>
                </a:lnTo>
                <a:lnTo>
                  <a:pt x="41457" y="0"/>
                </a:lnTo>
                <a:lnTo>
                  <a:pt x="64601" y="0"/>
                </a:lnTo>
                <a:cubicBezTo>
                  <a:pt x="101509" y="0"/>
                  <a:pt x="121558" y="15948"/>
                  <a:pt x="121558" y="50123"/>
                </a:cubicBezTo>
                <a:lnTo>
                  <a:pt x="121558" y="208238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" name="Forme libre : forme 11">
            <a:extLst>
              <a:ext uri="{FF2B5EF4-FFF2-40B4-BE49-F238E27FC236}">
                <a16:creationId xmlns:a16="http://schemas.microsoft.com/office/drawing/2014/main" id="{70856B7B-717B-4AEA-95A4-A1E79A999538}"/>
              </a:ext>
            </a:extLst>
          </p:cNvPr>
          <p:cNvSpPr/>
          <p:nvPr/>
        </p:nvSpPr>
        <p:spPr>
          <a:xfrm rot="8716295">
            <a:off x="763454" y="1474783"/>
            <a:ext cx="14143" cy="14319"/>
          </a:xfrm>
          <a:custGeom>
            <a:avLst/>
            <a:gdLst>
              <a:gd name="connsiteX0" fmla="*/ 0 w 14143"/>
              <a:gd name="connsiteY0" fmla="*/ 14319 h 14319"/>
              <a:gd name="connsiteX1" fmla="*/ 11843 w 14143"/>
              <a:gd name="connsiteY1" fmla="*/ 0 h 14319"/>
              <a:gd name="connsiteX2" fmla="*/ 14143 w 14143"/>
              <a:gd name="connsiteY2" fmla="*/ 7563 h 14319"/>
              <a:gd name="connsiteX3" fmla="*/ 14143 w 14143"/>
              <a:gd name="connsiteY3" fmla="*/ 13487 h 143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143" h="14319">
                <a:moveTo>
                  <a:pt x="0" y="14319"/>
                </a:moveTo>
                <a:lnTo>
                  <a:pt x="11843" y="0"/>
                </a:lnTo>
                <a:lnTo>
                  <a:pt x="14143" y="7563"/>
                </a:lnTo>
                <a:lnTo>
                  <a:pt x="14143" y="13487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3E264A51-6081-4342-94AB-E5098D8BEE47}"/>
              </a:ext>
            </a:extLst>
          </p:cNvPr>
          <p:cNvSpPr/>
          <p:nvPr/>
        </p:nvSpPr>
        <p:spPr>
          <a:xfrm rot="8716295">
            <a:off x="672878" y="1171577"/>
            <a:ext cx="183964" cy="137618"/>
          </a:xfrm>
          <a:custGeom>
            <a:avLst/>
            <a:gdLst>
              <a:gd name="connsiteX0" fmla="*/ 0 w 183964"/>
              <a:gd name="connsiteY0" fmla="*/ 137618 h 137618"/>
              <a:gd name="connsiteX1" fmla="*/ 53346 w 183964"/>
              <a:gd name="connsiteY1" fmla="*/ 73121 h 137618"/>
              <a:gd name="connsiteX2" fmla="*/ 101034 w 183964"/>
              <a:gd name="connsiteY2" fmla="*/ 28251 h 137618"/>
              <a:gd name="connsiteX3" fmla="*/ 155713 w 183964"/>
              <a:gd name="connsiteY3" fmla="*/ 0 h 137618"/>
              <a:gd name="connsiteX4" fmla="*/ 183964 w 183964"/>
              <a:gd name="connsiteY4" fmla="*/ 33719 h 137618"/>
              <a:gd name="connsiteX5" fmla="*/ 157536 w 183964"/>
              <a:gd name="connsiteY5" fmla="*/ 69261 h 137618"/>
              <a:gd name="connsiteX6" fmla="*/ 157991 w 183964"/>
              <a:gd name="connsiteY6" fmla="*/ 69261 h 137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3964" h="137618">
                <a:moveTo>
                  <a:pt x="0" y="137618"/>
                </a:moveTo>
                <a:lnTo>
                  <a:pt x="53346" y="73121"/>
                </a:lnTo>
                <a:lnTo>
                  <a:pt x="101034" y="28251"/>
                </a:lnTo>
                <a:cubicBezTo>
                  <a:pt x="114703" y="12303"/>
                  <a:pt x="134297" y="2278"/>
                  <a:pt x="155713" y="0"/>
                </a:cubicBezTo>
                <a:cubicBezTo>
                  <a:pt x="177585" y="0"/>
                  <a:pt x="183964" y="19138"/>
                  <a:pt x="183964" y="33719"/>
                </a:cubicBezTo>
                <a:cubicBezTo>
                  <a:pt x="182597" y="49667"/>
                  <a:pt x="172117" y="62881"/>
                  <a:pt x="157536" y="69261"/>
                </a:cubicBezTo>
                <a:lnTo>
                  <a:pt x="157991" y="69261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03D4C536-74A8-424A-B4F4-647CD66813A6}"/>
              </a:ext>
            </a:extLst>
          </p:cNvPr>
          <p:cNvSpPr/>
          <p:nvPr/>
        </p:nvSpPr>
        <p:spPr>
          <a:xfrm rot="8716295">
            <a:off x="519479" y="1314846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5" name="Forme libre : forme 14">
            <a:extLst>
              <a:ext uri="{FF2B5EF4-FFF2-40B4-BE49-F238E27FC236}">
                <a16:creationId xmlns:a16="http://schemas.microsoft.com/office/drawing/2014/main" id="{6C726A65-5764-428F-B78B-B207E19CC8A7}"/>
              </a:ext>
            </a:extLst>
          </p:cNvPr>
          <p:cNvSpPr/>
          <p:nvPr/>
        </p:nvSpPr>
        <p:spPr>
          <a:xfrm rot="8716295">
            <a:off x="394576" y="1106173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6" name="Forme libre : forme 15">
            <a:extLst>
              <a:ext uri="{FF2B5EF4-FFF2-40B4-BE49-F238E27FC236}">
                <a16:creationId xmlns:a16="http://schemas.microsoft.com/office/drawing/2014/main" id="{B057F75B-3923-494B-B65B-A96E682E21D4}"/>
              </a:ext>
            </a:extLst>
          </p:cNvPr>
          <p:cNvSpPr/>
          <p:nvPr/>
        </p:nvSpPr>
        <p:spPr>
          <a:xfrm rot="8716295">
            <a:off x="382524" y="967393"/>
            <a:ext cx="288290" cy="347125"/>
          </a:xfrm>
          <a:custGeom>
            <a:avLst/>
            <a:gdLst>
              <a:gd name="connsiteX0" fmla="*/ 470535 w 466725"/>
              <a:gd name="connsiteY0" fmla="*/ 436245 h 561975"/>
              <a:gd name="connsiteX1" fmla="*/ 470535 w 466725"/>
              <a:gd name="connsiteY1" fmla="*/ 445770 h 561975"/>
              <a:gd name="connsiteX2" fmla="*/ 158115 w 466725"/>
              <a:gd name="connsiteY2" fmla="*/ 567690 h 561975"/>
              <a:gd name="connsiteX3" fmla="*/ 40957 w 466725"/>
              <a:gd name="connsiteY3" fmla="*/ 520065 h 561975"/>
              <a:gd name="connsiteX4" fmla="*/ 0 w 466725"/>
              <a:gd name="connsiteY4" fmla="*/ 356235 h 561975"/>
              <a:gd name="connsiteX5" fmla="*/ 0 w 466725"/>
              <a:gd name="connsiteY5" fmla="*/ 65723 h 561975"/>
              <a:gd name="connsiteX6" fmla="*/ 126682 w 466725"/>
              <a:gd name="connsiteY6" fmla="*/ 0 h 561975"/>
              <a:gd name="connsiteX7" fmla="*/ 128588 w 466725"/>
              <a:gd name="connsiteY7" fmla="*/ 265748 h 561975"/>
              <a:gd name="connsiteX8" fmla="*/ 151447 w 466725"/>
              <a:gd name="connsiteY8" fmla="*/ 423863 h 561975"/>
              <a:gd name="connsiteX9" fmla="*/ 265747 w 466725"/>
              <a:gd name="connsiteY9" fmla="*/ 486728 h 561975"/>
              <a:gd name="connsiteX10" fmla="*/ 351472 w 466725"/>
              <a:gd name="connsiteY10" fmla="*/ 471488 h 561975"/>
              <a:gd name="connsiteX11" fmla="*/ 468630 w 466725"/>
              <a:gd name="connsiteY11" fmla="*/ 423863 h 561975"/>
              <a:gd name="connsiteX12" fmla="*/ 470535 w 466725"/>
              <a:gd name="connsiteY12" fmla="*/ 436245 h 56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6725" h="561975">
                <a:moveTo>
                  <a:pt x="470535" y="436245"/>
                </a:moveTo>
                <a:lnTo>
                  <a:pt x="470535" y="445770"/>
                </a:lnTo>
                <a:cubicBezTo>
                  <a:pt x="369570" y="532448"/>
                  <a:pt x="237172" y="562928"/>
                  <a:pt x="158115" y="567690"/>
                </a:cubicBezTo>
                <a:cubicBezTo>
                  <a:pt x="114300" y="570548"/>
                  <a:pt x="71438" y="551498"/>
                  <a:pt x="40957" y="520065"/>
                </a:cubicBezTo>
                <a:cubicBezTo>
                  <a:pt x="8572" y="488633"/>
                  <a:pt x="0" y="434340"/>
                  <a:pt x="0" y="356235"/>
                </a:cubicBezTo>
                <a:lnTo>
                  <a:pt x="0" y="65723"/>
                </a:lnTo>
                <a:lnTo>
                  <a:pt x="126682" y="0"/>
                </a:lnTo>
                <a:lnTo>
                  <a:pt x="128588" y="265748"/>
                </a:lnTo>
                <a:cubicBezTo>
                  <a:pt x="125730" y="319088"/>
                  <a:pt x="134302" y="373380"/>
                  <a:pt x="151447" y="423863"/>
                </a:cubicBezTo>
                <a:cubicBezTo>
                  <a:pt x="166688" y="465773"/>
                  <a:pt x="205740" y="486728"/>
                  <a:pt x="265747" y="486728"/>
                </a:cubicBezTo>
                <a:cubicBezTo>
                  <a:pt x="295275" y="485775"/>
                  <a:pt x="323850" y="480060"/>
                  <a:pt x="351472" y="471488"/>
                </a:cubicBezTo>
                <a:cubicBezTo>
                  <a:pt x="391477" y="459105"/>
                  <a:pt x="430530" y="442913"/>
                  <a:pt x="468630" y="423863"/>
                </a:cubicBezTo>
                <a:cubicBezTo>
                  <a:pt x="469582" y="427673"/>
                  <a:pt x="470535" y="432435"/>
                  <a:pt x="470535" y="43624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7" name="Forme libre : forme 16">
            <a:extLst>
              <a:ext uri="{FF2B5EF4-FFF2-40B4-BE49-F238E27FC236}">
                <a16:creationId xmlns:a16="http://schemas.microsoft.com/office/drawing/2014/main" id="{B57FA1DB-CF40-4C3B-8603-B0C589DE9032}"/>
              </a:ext>
            </a:extLst>
          </p:cNvPr>
          <p:cNvSpPr/>
          <p:nvPr/>
        </p:nvSpPr>
        <p:spPr>
          <a:xfrm rot="8716295">
            <a:off x="609657" y="1355798"/>
            <a:ext cx="100246" cy="218718"/>
          </a:xfrm>
          <a:custGeom>
            <a:avLst/>
            <a:gdLst>
              <a:gd name="connsiteX0" fmla="*/ 216217 w 209550"/>
              <a:gd name="connsiteY0" fmla="*/ 0 h 457200"/>
              <a:gd name="connsiteX1" fmla="*/ 216217 w 209550"/>
              <a:gd name="connsiteY1" fmla="*/ 458153 h 457200"/>
              <a:gd name="connsiteX2" fmla="*/ 90488 w 209550"/>
              <a:gd name="connsiteY2" fmla="*/ 337185 h 457200"/>
              <a:gd name="connsiteX3" fmla="*/ 90488 w 209550"/>
              <a:gd name="connsiteY3" fmla="*/ 34290 h 457200"/>
              <a:gd name="connsiteX4" fmla="*/ 0 w 209550"/>
              <a:gd name="connsiteY4" fmla="*/ 34290 h 457200"/>
              <a:gd name="connsiteX5" fmla="*/ 0 w 209550"/>
              <a:gd name="connsiteY5" fmla="*/ 4763 h 457200"/>
              <a:gd name="connsiteX6" fmla="*/ 216217 w 209550"/>
              <a:gd name="connsiteY6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9550" h="457200">
                <a:moveTo>
                  <a:pt x="216217" y="0"/>
                </a:moveTo>
                <a:lnTo>
                  <a:pt x="216217" y="458153"/>
                </a:lnTo>
                <a:lnTo>
                  <a:pt x="90488" y="337185"/>
                </a:lnTo>
                <a:lnTo>
                  <a:pt x="90488" y="34290"/>
                </a:lnTo>
                <a:lnTo>
                  <a:pt x="0" y="34290"/>
                </a:lnTo>
                <a:lnTo>
                  <a:pt x="0" y="4763"/>
                </a:lnTo>
                <a:cubicBezTo>
                  <a:pt x="68580" y="7620"/>
                  <a:pt x="140017" y="1905"/>
                  <a:pt x="216217" y="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8" name="Forme libre : forme 17">
            <a:extLst>
              <a:ext uri="{FF2B5EF4-FFF2-40B4-BE49-F238E27FC236}">
                <a16:creationId xmlns:a16="http://schemas.microsoft.com/office/drawing/2014/main" id="{8AA6873E-3CFC-4928-9C0D-5E1C199A6A43}"/>
              </a:ext>
            </a:extLst>
          </p:cNvPr>
          <p:cNvSpPr/>
          <p:nvPr/>
        </p:nvSpPr>
        <p:spPr>
          <a:xfrm rot="8716295">
            <a:off x="683426" y="869567"/>
            <a:ext cx="156000" cy="195873"/>
          </a:xfrm>
          <a:custGeom>
            <a:avLst/>
            <a:gdLst>
              <a:gd name="connsiteX0" fmla="*/ 42863 w 156000"/>
              <a:gd name="connsiteY0" fmla="*/ 195873 h 195873"/>
              <a:gd name="connsiteX1" fmla="*/ 0 w 156000"/>
              <a:gd name="connsiteY1" fmla="*/ 116129 h 195873"/>
              <a:gd name="connsiteX2" fmla="*/ 5100 w 156000"/>
              <a:gd name="connsiteY2" fmla="*/ 101988 h 195873"/>
              <a:gd name="connsiteX3" fmla="*/ 89456 w 156000"/>
              <a:gd name="connsiteY3" fmla="*/ 0 h 195873"/>
              <a:gd name="connsiteX4" fmla="*/ 156000 w 156000"/>
              <a:gd name="connsiteY4" fmla="*/ 0 h 195873"/>
              <a:gd name="connsiteX5" fmla="*/ 156000 w 156000"/>
              <a:gd name="connsiteY5" fmla="*/ 55323 h 195873"/>
              <a:gd name="connsiteX6" fmla="*/ 91208 w 156000"/>
              <a:gd name="connsiteY6" fmla="*/ 55323 h 195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6000" h="195873">
                <a:moveTo>
                  <a:pt x="42863" y="195873"/>
                </a:moveTo>
                <a:lnTo>
                  <a:pt x="0" y="116129"/>
                </a:lnTo>
                <a:lnTo>
                  <a:pt x="5100" y="101988"/>
                </a:lnTo>
                <a:lnTo>
                  <a:pt x="89456" y="0"/>
                </a:lnTo>
                <a:lnTo>
                  <a:pt x="156000" y="0"/>
                </a:lnTo>
                <a:lnTo>
                  <a:pt x="156000" y="55323"/>
                </a:lnTo>
                <a:lnTo>
                  <a:pt x="91208" y="5532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9" name="Forme libre : forme 18">
            <a:extLst>
              <a:ext uri="{FF2B5EF4-FFF2-40B4-BE49-F238E27FC236}">
                <a16:creationId xmlns:a16="http://schemas.microsoft.com/office/drawing/2014/main" id="{0609DC7B-52A5-4494-9388-1386F1B7ECA0}"/>
              </a:ext>
            </a:extLst>
          </p:cNvPr>
          <p:cNvSpPr/>
          <p:nvPr/>
        </p:nvSpPr>
        <p:spPr>
          <a:xfrm rot="8716295">
            <a:off x="657305" y="956046"/>
            <a:ext cx="72447" cy="72447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0" name="Forme libre : forme 19">
            <a:extLst>
              <a:ext uri="{FF2B5EF4-FFF2-40B4-BE49-F238E27FC236}">
                <a16:creationId xmlns:a16="http://schemas.microsoft.com/office/drawing/2014/main" id="{FA9B5438-F371-4C5C-851A-CA35F035D933}"/>
              </a:ext>
            </a:extLst>
          </p:cNvPr>
          <p:cNvSpPr/>
          <p:nvPr/>
        </p:nvSpPr>
        <p:spPr>
          <a:xfrm rot="8716295">
            <a:off x="412774" y="564244"/>
            <a:ext cx="141256" cy="232388"/>
          </a:xfrm>
          <a:custGeom>
            <a:avLst/>
            <a:gdLst>
              <a:gd name="connsiteX0" fmla="*/ 297180 w 295275"/>
              <a:gd name="connsiteY0" fmla="*/ 104775 h 485775"/>
              <a:gd name="connsiteX1" fmla="*/ 297180 w 295275"/>
              <a:gd name="connsiteY1" fmla="*/ 435293 h 485775"/>
              <a:gd name="connsiteX2" fmla="*/ 169545 w 295275"/>
              <a:gd name="connsiteY2" fmla="*/ 485775 h 485775"/>
              <a:gd name="connsiteX3" fmla="*/ 169545 w 295275"/>
              <a:gd name="connsiteY3" fmla="*/ 145733 h 485775"/>
              <a:gd name="connsiteX4" fmla="*/ 169545 w 295275"/>
              <a:gd name="connsiteY4" fmla="*/ 137160 h 485775"/>
              <a:gd name="connsiteX5" fmla="*/ 126683 w 295275"/>
              <a:gd name="connsiteY5" fmla="*/ 104775 h 485775"/>
              <a:gd name="connsiteX6" fmla="*/ 0 w 295275"/>
              <a:gd name="connsiteY6" fmla="*/ 104775 h 485775"/>
              <a:gd name="connsiteX7" fmla="*/ 0 w 295275"/>
              <a:gd name="connsiteY7" fmla="*/ 0 h 485775"/>
              <a:gd name="connsiteX8" fmla="*/ 178118 w 295275"/>
              <a:gd name="connsiteY8" fmla="*/ 0 h 485775"/>
              <a:gd name="connsiteX9" fmla="*/ 297180 w 295275"/>
              <a:gd name="connsiteY9" fmla="*/ 104775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95275" h="485775">
                <a:moveTo>
                  <a:pt x="297180" y="104775"/>
                </a:moveTo>
                <a:lnTo>
                  <a:pt x="297180" y="435293"/>
                </a:lnTo>
                <a:lnTo>
                  <a:pt x="169545" y="485775"/>
                </a:lnTo>
                <a:lnTo>
                  <a:pt x="169545" y="145733"/>
                </a:lnTo>
                <a:cubicBezTo>
                  <a:pt x="169545" y="142875"/>
                  <a:pt x="169545" y="140018"/>
                  <a:pt x="169545" y="137160"/>
                </a:cubicBezTo>
                <a:cubicBezTo>
                  <a:pt x="166688" y="116205"/>
                  <a:pt x="147638" y="101918"/>
                  <a:pt x="126683" y="104775"/>
                </a:cubicBezTo>
                <a:lnTo>
                  <a:pt x="0" y="104775"/>
                </a:lnTo>
                <a:lnTo>
                  <a:pt x="0" y="0"/>
                </a:lnTo>
                <a:lnTo>
                  <a:pt x="178118" y="0"/>
                </a:lnTo>
                <a:cubicBezTo>
                  <a:pt x="255270" y="0"/>
                  <a:pt x="297180" y="33338"/>
                  <a:pt x="297180" y="10477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1" name="Forme libre : forme 20">
            <a:extLst>
              <a:ext uri="{FF2B5EF4-FFF2-40B4-BE49-F238E27FC236}">
                <a16:creationId xmlns:a16="http://schemas.microsoft.com/office/drawing/2014/main" id="{ED2997EF-2C09-4DA3-BB88-8DA5032A40C8}"/>
              </a:ext>
            </a:extLst>
          </p:cNvPr>
          <p:cNvSpPr/>
          <p:nvPr/>
        </p:nvSpPr>
        <p:spPr>
          <a:xfrm rot="8716295">
            <a:off x="502166" y="593486"/>
            <a:ext cx="259728" cy="250615"/>
          </a:xfrm>
          <a:custGeom>
            <a:avLst/>
            <a:gdLst>
              <a:gd name="connsiteX0" fmla="*/ 544830 w 542925"/>
              <a:gd name="connsiteY0" fmla="*/ 184905 h 523875"/>
              <a:gd name="connsiteX1" fmla="*/ 544830 w 542925"/>
              <a:gd name="connsiteY1" fmla="*/ 197288 h 523875"/>
              <a:gd name="connsiteX2" fmla="*/ 415290 w 542925"/>
              <a:gd name="connsiteY2" fmla="*/ 204908 h 523875"/>
              <a:gd name="connsiteX3" fmla="*/ 415290 w 542925"/>
              <a:gd name="connsiteY3" fmla="*/ 170618 h 523875"/>
              <a:gd name="connsiteX4" fmla="*/ 344805 w 542925"/>
              <a:gd name="connsiteY4" fmla="*/ 83940 h 523875"/>
              <a:gd name="connsiteX5" fmla="*/ 233363 w 542925"/>
              <a:gd name="connsiteY5" fmla="*/ 266820 h 523875"/>
              <a:gd name="connsiteX6" fmla="*/ 233363 w 542925"/>
              <a:gd name="connsiteY6" fmla="*/ 446843 h 523875"/>
              <a:gd name="connsiteX7" fmla="*/ 107632 w 542925"/>
              <a:gd name="connsiteY7" fmla="*/ 532568 h 523875"/>
              <a:gd name="connsiteX8" fmla="*/ 107632 w 542925"/>
              <a:gd name="connsiteY8" fmla="*/ 95370 h 523875"/>
              <a:gd name="connsiteX9" fmla="*/ 0 w 542925"/>
              <a:gd name="connsiteY9" fmla="*/ 95370 h 523875"/>
              <a:gd name="connsiteX10" fmla="*/ 0 w 542925"/>
              <a:gd name="connsiteY10" fmla="*/ 2978 h 523875"/>
              <a:gd name="connsiteX11" fmla="*/ 219075 w 542925"/>
              <a:gd name="connsiteY11" fmla="*/ 2978 h 523875"/>
              <a:gd name="connsiteX12" fmla="*/ 219075 w 542925"/>
              <a:gd name="connsiteY12" fmla="*/ 157283 h 523875"/>
              <a:gd name="connsiteX13" fmla="*/ 221932 w 542925"/>
              <a:gd name="connsiteY13" fmla="*/ 157283 h 523875"/>
              <a:gd name="connsiteX14" fmla="*/ 321945 w 542925"/>
              <a:gd name="connsiteY14" fmla="*/ 12503 h 523875"/>
              <a:gd name="connsiteX15" fmla="*/ 387667 w 542925"/>
              <a:gd name="connsiteY15" fmla="*/ 120 h 523875"/>
              <a:gd name="connsiteX16" fmla="*/ 544830 w 542925"/>
              <a:gd name="connsiteY16" fmla="*/ 18490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42925" h="523875">
                <a:moveTo>
                  <a:pt x="544830" y="184905"/>
                </a:moveTo>
                <a:lnTo>
                  <a:pt x="544830" y="197288"/>
                </a:lnTo>
                <a:lnTo>
                  <a:pt x="415290" y="204908"/>
                </a:lnTo>
                <a:lnTo>
                  <a:pt x="415290" y="170618"/>
                </a:lnTo>
                <a:cubicBezTo>
                  <a:pt x="415290" y="119183"/>
                  <a:pt x="385763" y="83940"/>
                  <a:pt x="344805" y="83940"/>
                </a:cubicBezTo>
                <a:cubicBezTo>
                  <a:pt x="283845" y="83940"/>
                  <a:pt x="233363" y="164903"/>
                  <a:pt x="233363" y="266820"/>
                </a:cubicBezTo>
                <a:lnTo>
                  <a:pt x="233363" y="446843"/>
                </a:lnTo>
                <a:lnTo>
                  <a:pt x="107632" y="532568"/>
                </a:lnTo>
                <a:lnTo>
                  <a:pt x="107632" y="95370"/>
                </a:lnTo>
                <a:lnTo>
                  <a:pt x="0" y="95370"/>
                </a:lnTo>
                <a:lnTo>
                  <a:pt x="0" y="2978"/>
                </a:lnTo>
                <a:lnTo>
                  <a:pt x="219075" y="2978"/>
                </a:lnTo>
                <a:lnTo>
                  <a:pt x="219075" y="157283"/>
                </a:lnTo>
                <a:lnTo>
                  <a:pt x="221932" y="157283"/>
                </a:lnTo>
                <a:cubicBezTo>
                  <a:pt x="252413" y="66795"/>
                  <a:pt x="276225" y="31553"/>
                  <a:pt x="321945" y="12503"/>
                </a:cubicBezTo>
                <a:cubicBezTo>
                  <a:pt x="342900" y="3930"/>
                  <a:pt x="364807" y="-832"/>
                  <a:pt x="387667" y="120"/>
                </a:cubicBezTo>
                <a:cubicBezTo>
                  <a:pt x="485775" y="-1785"/>
                  <a:pt x="544830" y="66795"/>
                  <a:pt x="544830" y="18490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2" name="Forme libre : forme 21">
            <a:extLst>
              <a:ext uri="{FF2B5EF4-FFF2-40B4-BE49-F238E27FC236}">
                <a16:creationId xmlns:a16="http://schemas.microsoft.com/office/drawing/2014/main" id="{DBD136C4-820E-4184-B91F-ED5B5690DC24}"/>
              </a:ext>
            </a:extLst>
          </p:cNvPr>
          <p:cNvSpPr/>
          <p:nvPr/>
        </p:nvSpPr>
        <p:spPr>
          <a:xfrm rot="8716295">
            <a:off x="457316" y="507206"/>
            <a:ext cx="186822" cy="136699"/>
          </a:xfrm>
          <a:custGeom>
            <a:avLst/>
            <a:gdLst>
              <a:gd name="connsiteX0" fmla="*/ 343853 w 390525"/>
              <a:gd name="connsiteY0" fmla="*/ 144780 h 285750"/>
              <a:gd name="connsiteX1" fmla="*/ 344805 w 390525"/>
              <a:gd name="connsiteY1" fmla="*/ 144780 h 285750"/>
              <a:gd name="connsiteX2" fmla="*/ 12382 w 390525"/>
              <a:gd name="connsiteY2" fmla="*/ 288608 h 285750"/>
              <a:gd name="connsiteX3" fmla="*/ 0 w 390525"/>
              <a:gd name="connsiteY3" fmla="*/ 271463 h 285750"/>
              <a:gd name="connsiteX4" fmla="*/ 225743 w 390525"/>
              <a:gd name="connsiteY4" fmla="*/ 59055 h 285750"/>
              <a:gd name="connsiteX5" fmla="*/ 340043 w 390525"/>
              <a:gd name="connsiteY5" fmla="*/ 0 h 285750"/>
              <a:gd name="connsiteX6" fmla="*/ 399098 w 390525"/>
              <a:gd name="connsiteY6" fmla="*/ 70485 h 285750"/>
              <a:gd name="connsiteX7" fmla="*/ 343853 w 390525"/>
              <a:gd name="connsiteY7" fmla="*/ 14478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0525" h="285750">
                <a:moveTo>
                  <a:pt x="343853" y="144780"/>
                </a:moveTo>
                <a:lnTo>
                  <a:pt x="344805" y="144780"/>
                </a:lnTo>
                <a:lnTo>
                  <a:pt x="12382" y="288608"/>
                </a:lnTo>
                <a:lnTo>
                  <a:pt x="0" y="271463"/>
                </a:lnTo>
                <a:lnTo>
                  <a:pt x="225743" y="59055"/>
                </a:lnTo>
                <a:cubicBezTo>
                  <a:pt x="254318" y="25718"/>
                  <a:pt x="295275" y="4763"/>
                  <a:pt x="340043" y="0"/>
                </a:cubicBezTo>
                <a:cubicBezTo>
                  <a:pt x="385763" y="0"/>
                  <a:pt x="399098" y="40005"/>
                  <a:pt x="399098" y="70485"/>
                </a:cubicBezTo>
                <a:cubicBezTo>
                  <a:pt x="396240" y="103823"/>
                  <a:pt x="374332" y="131445"/>
                  <a:pt x="343853" y="14478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3" name="Forme libre : forme 22">
            <a:extLst>
              <a:ext uri="{FF2B5EF4-FFF2-40B4-BE49-F238E27FC236}">
                <a16:creationId xmlns:a16="http://schemas.microsoft.com/office/drawing/2014/main" id="{8BD8CCA9-A2C8-4634-B0CF-620A635CE67A}"/>
              </a:ext>
            </a:extLst>
          </p:cNvPr>
          <p:cNvSpPr/>
          <p:nvPr/>
        </p:nvSpPr>
        <p:spPr>
          <a:xfrm rot="8716295">
            <a:off x="300540" y="652788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4" name="Forme libre : forme 23">
            <a:extLst>
              <a:ext uri="{FF2B5EF4-FFF2-40B4-BE49-F238E27FC236}">
                <a16:creationId xmlns:a16="http://schemas.microsoft.com/office/drawing/2014/main" id="{33B24AF7-29F7-4408-AE25-97A38660E784}"/>
              </a:ext>
            </a:extLst>
          </p:cNvPr>
          <p:cNvSpPr/>
          <p:nvPr/>
        </p:nvSpPr>
        <p:spPr>
          <a:xfrm rot="8716295">
            <a:off x="175637" y="444115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5" name="Forme libre : forme 24">
            <a:extLst>
              <a:ext uri="{FF2B5EF4-FFF2-40B4-BE49-F238E27FC236}">
                <a16:creationId xmlns:a16="http://schemas.microsoft.com/office/drawing/2014/main" id="{506A4C62-4148-4841-838F-A205F53AD573}"/>
              </a:ext>
            </a:extLst>
          </p:cNvPr>
          <p:cNvSpPr/>
          <p:nvPr/>
        </p:nvSpPr>
        <p:spPr>
          <a:xfrm rot="8716295">
            <a:off x="163585" y="305335"/>
            <a:ext cx="288290" cy="347125"/>
          </a:xfrm>
          <a:custGeom>
            <a:avLst/>
            <a:gdLst>
              <a:gd name="connsiteX0" fmla="*/ 470535 w 466725"/>
              <a:gd name="connsiteY0" fmla="*/ 436245 h 561975"/>
              <a:gd name="connsiteX1" fmla="*/ 470535 w 466725"/>
              <a:gd name="connsiteY1" fmla="*/ 445770 h 561975"/>
              <a:gd name="connsiteX2" fmla="*/ 158115 w 466725"/>
              <a:gd name="connsiteY2" fmla="*/ 567690 h 561975"/>
              <a:gd name="connsiteX3" fmla="*/ 40957 w 466725"/>
              <a:gd name="connsiteY3" fmla="*/ 520065 h 561975"/>
              <a:gd name="connsiteX4" fmla="*/ 0 w 466725"/>
              <a:gd name="connsiteY4" fmla="*/ 356235 h 561975"/>
              <a:gd name="connsiteX5" fmla="*/ 0 w 466725"/>
              <a:gd name="connsiteY5" fmla="*/ 65723 h 561975"/>
              <a:gd name="connsiteX6" fmla="*/ 126682 w 466725"/>
              <a:gd name="connsiteY6" fmla="*/ 0 h 561975"/>
              <a:gd name="connsiteX7" fmla="*/ 128588 w 466725"/>
              <a:gd name="connsiteY7" fmla="*/ 265748 h 561975"/>
              <a:gd name="connsiteX8" fmla="*/ 151447 w 466725"/>
              <a:gd name="connsiteY8" fmla="*/ 423863 h 561975"/>
              <a:gd name="connsiteX9" fmla="*/ 265747 w 466725"/>
              <a:gd name="connsiteY9" fmla="*/ 486728 h 561975"/>
              <a:gd name="connsiteX10" fmla="*/ 351472 w 466725"/>
              <a:gd name="connsiteY10" fmla="*/ 471488 h 561975"/>
              <a:gd name="connsiteX11" fmla="*/ 468630 w 466725"/>
              <a:gd name="connsiteY11" fmla="*/ 423863 h 561975"/>
              <a:gd name="connsiteX12" fmla="*/ 470535 w 466725"/>
              <a:gd name="connsiteY12" fmla="*/ 436245 h 56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6725" h="561975">
                <a:moveTo>
                  <a:pt x="470535" y="436245"/>
                </a:moveTo>
                <a:lnTo>
                  <a:pt x="470535" y="445770"/>
                </a:lnTo>
                <a:cubicBezTo>
                  <a:pt x="369570" y="532448"/>
                  <a:pt x="237172" y="562928"/>
                  <a:pt x="158115" y="567690"/>
                </a:cubicBezTo>
                <a:cubicBezTo>
                  <a:pt x="114300" y="570548"/>
                  <a:pt x="71438" y="551498"/>
                  <a:pt x="40957" y="520065"/>
                </a:cubicBezTo>
                <a:cubicBezTo>
                  <a:pt x="8572" y="488633"/>
                  <a:pt x="0" y="434340"/>
                  <a:pt x="0" y="356235"/>
                </a:cubicBezTo>
                <a:lnTo>
                  <a:pt x="0" y="65723"/>
                </a:lnTo>
                <a:lnTo>
                  <a:pt x="126682" y="0"/>
                </a:lnTo>
                <a:lnTo>
                  <a:pt x="128588" y="265748"/>
                </a:lnTo>
                <a:cubicBezTo>
                  <a:pt x="125730" y="319088"/>
                  <a:pt x="134302" y="373380"/>
                  <a:pt x="151447" y="423863"/>
                </a:cubicBezTo>
                <a:cubicBezTo>
                  <a:pt x="166688" y="465773"/>
                  <a:pt x="205740" y="486728"/>
                  <a:pt x="265747" y="486728"/>
                </a:cubicBezTo>
                <a:cubicBezTo>
                  <a:pt x="295275" y="485775"/>
                  <a:pt x="323850" y="480060"/>
                  <a:pt x="351472" y="471488"/>
                </a:cubicBezTo>
                <a:cubicBezTo>
                  <a:pt x="391477" y="459105"/>
                  <a:pt x="430530" y="442913"/>
                  <a:pt x="468630" y="423863"/>
                </a:cubicBezTo>
                <a:cubicBezTo>
                  <a:pt x="469582" y="427673"/>
                  <a:pt x="470535" y="432435"/>
                  <a:pt x="470535" y="43624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6" name="Forme libre : forme 25">
            <a:extLst>
              <a:ext uri="{FF2B5EF4-FFF2-40B4-BE49-F238E27FC236}">
                <a16:creationId xmlns:a16="http://schemas.microsoft.com/office/drawing/2014/main" id="{1C1A41D0-65C3-44E5-8A29-ECCEBE983C62}"/>
              </a:ext>
            </a:extLst>
          </p:cNvPr>
          <p:cNvSpPr/>
          <p:nvPr/>
        </p:nvSpPr>
        <p:spPr>
          <a:xfrm rot="8716295">
            <a:off x="390718" y="693740"/>
            <a:ext cx="100246" cy="218718"/>
          </a:xfrm>
          <a:custGeom>
            <a:avLst/>
            <a:gdLst>
              <a:gd name="connsiteX0" fmla="*/ 216217 w 209550"/>
              <a:gd name="connsiteY0" fmla="*/ 0 h 457200"/>
              <a:gd name="connsiteX1" fmla="*/ 216217 w 209550"/>
              <a:gd name="connsiteY1" fmla="*/ 458153 h 457200"/>
              <a:gd name="connsiteX2" fmla="*/ 90488 w 209550"/>
              <a:gd name="connsiteY2" fmla="*/ 337185 h 457200"/>
              <a:gd name="connsiteX3" fmla="*/ 90488 w 209550"/>
              <a:gd name="connsiteY3" fmla="*/ 34290 h 457200"/>
              <a:gd name="connsiteX4" fmla="*/ 0 w 209550"/>
              <a:gd name="connsiteY4" fmla="*/ 34290 h 457200"/>
              <a:gd name="connsiteX5" fmla="*/ 0 w 209550"/>
              <a:gd name="connsiteY5" fmla="*/ 4763 h 457200"/>
              <a:gd name="connsiteX6" fmla="*/ 216217 w 209550"/>
              <a:gd name="connsiteY6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9550" h="457200">
                <a:moveTo>
                  <a:pt x="216217" y="0"/>
                </a:moveTo>
                <a:lnTo>
                  <a:pt x="216217" y="458153"/>
                </a:lnTo>
                <a:lnTo>
                  <a:pt x="90488" y="337185"/>
                </a:lnTo>
                <a:lnTo>
                  <a:pt x="90488" y="34290"/>
                </a:lnTo>
                <a:lnTo>
                  <a:pt x="0" y="34290"/>
                </a:lnTo>
                <a:lnTo>
                  <a:pt x="0" y="4763"/>
                </a:lnTo>
                <a:cubicBezTo>
                  <a:pt x="68580" y="7620"/>
                  <a:pt x="140017" y="1905"/>
                  <a:pt x="216217" y="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7" name="Forme libre : forme 26">
            <a:extLst>
              <a:ext uri="{FF2B5EF4-FFF2-40B4-BE49-F238E27FC236}">
                <a16:creationId xmlns:a16="http://schemas.microsoft.com/office/drawing/2014/main" id="{A93B008E-5902-4D55-9E1E-85F07149CD35}"/>
              </a:ext>
            </a:extLst>
          </p:cNvPr>
          <p:cNvSpPr/>
          <p:nvPr/>
        </p:nvSpPr>
        <p:spPr>
          <a:xfrm rot="8716295">
            <a:off x="702015" y="317459"/>
            <a:ext cx="131260" cy="232388"/>
          </a:xfrm>
          <a:custGeom>
            <a:avLst/>
            <a:gdLst>
              <a:gd name="connsiteX0" fmla="*/ 70201 w 131260"/>
              <a:gd name="connsiteY0" fmla="*/ 232388 h 232388"/>
              <a:gd name="connsiteX1" fmla="*/ 70201 w 131260"/>
              <a:gd name="connsiteY1" fmla="*/ 69717 h 232388"/>
              <a:gd name="connsiteX2" fmla="*/ 70201 w 131260"/>
              <a:gd name="connsiteY2" fmla="*/ 65615 h 232388"/>
              <a:gd name="connsiteX3" fmla="*/ 49697 w 131260"/>
              <a:gd name="connsiteY3" fmla="*/ 50123 h 232388"/>
              <a:gd name="connsiteX4" fmla="*/ 0 w 131260"/>
              <a:gd name="connsiteY4" fmla="*/ 50123 h 232388"/>
              <a:gd name="connsiteX5" fmla="*/ 41457 w 131260"/>
              <a:gd name="connsiteY5" fmla="*/ 0 h 232388"/>
              <a:gd name="connsiteX6" fmla="*/ 74303 w 131260"/>
              <a:gd name="connsiteY6" fmla="*/ 0 h 232388"/>
              <a:gd name="connsiteX7" fmla="*/ 131260 w 131260"/>
              <a:gd name="connsiteY7" fmla="*/ 50123 h 232388"/>
              <a:gd name="connsiteX8" fmla="*/ 131260 w 131260"/>
              <a:gd name="connsiteY8" fmla="*/ 208238 h 232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1260" h="232388">
                <a:moveTo>
                  <a:pt x="70201" y="232388"/>
                </a:moveTo>
                <a:lnTo>
                  <a:pt x="70201" y="69717"/>
                </a:lnTo>
                <a:cubicBezTo>
                  <a:pt x="70201" y="68349"/>
                  <a:pt x="70201" y="66983"/>
                  <a:pt x="70201" y="65615"/>
                </a:cubicBezTo>
                <a:cubicBezTo>
                  <a:pt x="68835" y="55591"/>
                  <a:pt x="59721" y="48756"/>
                  <a:pt x="49697" y="50123"/>
                </a:cubicBezTo>
                <a:lnTo>
                  <a:pt x="0" y="50123"/>
                </a:lnTo>
                <a:lnTo>
                  <a:pt x="41457" y="0"/>
                </a:lnTo>
                <a:lnTo>
                  <a:pt x="74303" y="0"/>
                </a:lnTo>
                <a:cubicBezTo>
                  <a:pt x="111211" y="0"/>
                  <a:pt x="131260" y="15948"/>
                  <a:pt x="131260" y="50123"/>
                </a:cubicBezTo>
                <a:lnTo>
                  <a:pt x="131260" y="208238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8" name="Forme libre : forme 27">
            <a:extLst>
              <a:ext uri="{FF2B5EF4-FFF2-40B4-BE49-F238E27FC236}">
                <a16:creationId xmlns:a16="http://schemas.microsoft.com/office/drawing/2014/main" id="{8AA688E0-8B68-432D-AC4C-16B34E3E659F}"/>
              </a:ext>
            </a:extLst>
          </p:cNvPr>
          <p:cNvSpPr/>
          <p:nvPr/>
        </p:nvSpPr>
        <p:spPr>
          <a:xfrm rot="8716295">
            <a:off x="834978" y="558357"/>
            <a:ext cx="24341" cy="23495"/>
          </a:xfrm>
          <a:custGeom>
            <a:avLst/>
            <a:gdLst>
              <a:gd name="connsiteX0" fmla="*/ 0 w 24341"/>
              <a:gd name="connsiteY0" fmla="*/ 23495 h 23495"/>
              <a:gd name="connsiteX1" fmla="*/ 19433 w 24341"/>
              <a:gd name="connsiteY1" fmla="*/ 0 h 23495"/>
              <a:gd name="connsiteX2" fmla="*/ 24341 w 24341"/>
              <a:gd name="connsiteY2" fmla="*/ 16139 h 23495"/>
              <a:gd name="connsiteX3" fmla="*/ 24341 w 24341"/>
              <a:gd name="connsiteY3" fmla="*/ 22063 h 23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341" h="23495">
                <a:moveTo>
                  <a:pt x="0" y="23495"/>
                </a:moveTo>
                <a:lnTo>
                  <a:pt x="19433" y="0"/>
                </a:lnTo>
                <a:lnTo>
                  <a:pt x="24341" y="16139"/>
                </a:lnTo>
                <a:lnTo>
                  <a:pt x="24341" y="2206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672AA540-A579-4E8F-A234-CD30C1FF0A89}"/>
              </a:ext>
            </a:extLst>
          </p:cNvPr>
          <p:cNvSpPr/>
          <p:nvPr/>
        </p:nvSpPr>
        <p:spPr>
          <a:xfrm rot="8716295">
            <a:off x="589639" y="402636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0" name="Forme libre : forme 29">
            <a:extLst>
              <a:ext uri="{FF2B5EF4-FFF2-40B4-BE49-F238E27FC236}">
                <a16:creationId xmlns:a16="http://schemas.microsoft.com/office/drawing/2014/main" id="{C0BAD361-E55B-42F0-893F-014DB3986A10}"/>
              </a:ext>
            </a:extLst>
          </p:cNvPr>
          <p:cNvSpPr/>
          <p:nvPr/>
        </p:nvSpPr>
        <p:spPr>
          <a:xfrm rot="8716295">
            <a:off x="464737" y="193963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7776BC0-23C7-4489-8F09-E129A530C0CC}"/>
              </a:ext>
            </a:extLst>
          </p:cNvPr>
          <p:cNvSpPr/>
          <p:nvPr/>
        </p:nvSpPr>
        <p:spPr>
          <a:xfrm rot="8716295">
            <a:off x="679817" y="443588"/>
            <a:ext cx="100246" cy="218719"/>
          </a:xfrm>
          <a:custGeom>
            <a:avLst/>
            <a:gdLst>
              <a:gd name="connsiteX0" fmla="*/ 216217 w 209550"/>
              <a:gd name="connsiteY0" fmla="*/ 0 h 457200"/>
              <a:gd name="connsiteX1" fmla="*/ 216217 w 209550"/>
              <a:gd name="connsiteY1" fmla="*/ 458153 h 457200"/>
              <a:gd name="connsiteX2" fmla="*/ 90488 w 209550"/>
              <a:gd name="connsiteY2" fmla="*/ 337185 h 457200"/>
              <a:gd name="connsiteX3" fmla="*/ 90488 w 209550"/>
              <a:gd name="connsiteY3" fmla="*/ 34290 h 457200"/>
              <a:gd name="connsiteX4" fmla="*/ 0 w 209550"/>
              <a:gd name="connsiteY4" fmla="*/ 34290 h 457200"/>
              <a:gd name="connsiteX5" fmla="*/ 0 w 209550"/>
              <a:gd name="connsiteY5" fmla="*/ 4763 h 457200"/>
              <a:gd name="connsiteX6" fmla="*/ 216217 w 209550"/>
              <a:gd name="connsiteY6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9550" h="457200">
                <a:moveTo>
                  <a:pt x="216217" y="0"/>
                </a:moveTo>
                <a:lnTo>
                  <a:pt x="216217" y="458153"/>
                </a:lnTo>
                <a:lnTo>
                  <a:pt x="90488" y="337185"/>
                </a:lnTo>
                <a:lnTo>
                  <a:pt x="90488" y="34290"/>
                </a:lnTo>
                <a:lnTo>
                  <a:pt x="0" y="34290"/>
                </a:lnTo>
                <a:lnTo>
                  <a:pt x="0" y="4763"/>
                </a:lnTo>
                <a:cubicBezTo>
                  <a:pt x="68580" y="7620"/>
                  <a:pt x="140017" y="1905"/>
                  <a:pt x="216217" y="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2" name="Forme libre : forme 31">
            <a:extLst>
              <a:ext uri="{FF2B5EF4-FFF2-40B4-BE49-F238E27FC236}">
                <a16:creationId xmlns:a16="http://schemas.microsoft.com/office/drawing/2014/main" id="{6EC00833-27CA-42E8-A3F4-264B72DC896E}"/>
              </a:ext>
            </a:extLst>
          </p:cNvPr>
          <p:cNvSpPr/>
          <p:nvPr/>
        </p:nvSpPr>
        <p:spPr>
          <a:xfrm rot="8716295">
            <a:off x="438366" y="293988"/>
            <a:ext cx="72447" cy="72447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3" name="Forme libre : forme 32">
            <a:extLst>
              <a:ext uri="{FF2B5EF4-FFF2-40B4-BE49-F238E27FC236}">
                <a16:creationId xmlns:a16="http://schemas.microsoft.com/office/drawing/2014/main" id="{1FD6DD85-FCBC-4AED-9D6D-4125AB918B1C}"/>
              </a:ext>
            </a:extLst>
          </p:cNvPr>
          <p:cNvSpPr/>
          <p:nvPr/>
        </p:nvSpPr>
        <p:spPr>
          <a:xfrm rot="7484129">
            <a:off x="811674" y="658874"/>
            <a:ext cx="31078" cy="46141"/>
          </a:xfrm>
          <a:custGeom>
            <a:avLst/>
            <a:gdLst>
              <a:gd name="connsiteX0" fmla="*/ 15207 w 31078"/>
              <a:gd name="connsiteY0" fmla="*/ 46141 h 46141"/>
              <a:gd name="connsiteX1" fmla="*/ 0 w 31078"/>
              <a:gd name="connsiteY1" fmla="*/ 17849 h 46141"/>
              <a:gd name="connsiteX2" fmla="*/ 31078 w 31078"/>
              <a:gd name="connsiteY2" fmla="*/ 0 h 461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078" h="46141">
                <a:moveTo>
                  <a:pt x="15207" y="46141"/>
                </a:moveTo>
                <a:lnTo>
                  <a:pt x="0" y="17849"/>
                </a:lnTo>
                <a:lnTo>
                  <a:pt x="31078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4" name="Forme libre : forme 33">
            <a:extLst>
              <a:ext uri="{FF2B5EF4-FFF2-40B4-BE49-F238E27FC236}">
                <a16:creationId xmlns:a16="http://schemas.microsoft.com/office/drawing/2014/main" id="{ED8E04A5-1CCB-474C-BB14-6861F24B92EE}"/>
              </a:ext>
            </a:extLst>
          </p:cNvPr>
          <p:cNvSpPr/>
          <p:nvPr/>
        </p:nvSpPr>
        <p:spPr>
          <a:xfrm rot="8716295">
            <a:off x="780102" y="336420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5" name="Forme libre : forme 34">
            <a:extLst>
              <a:ext uri="{FF2B5EF4-FFF2-40B4-BE49-F238E27FC236}">
                <a16:creationId xmlns:a16="http://schemas.microsoft.com/office/drawing/2014/main" id="{D2589E01-70DB-4980-9D5E-15028C3BF442}"/>
              </a:ext>
            </a:extLst>
          </p:cNvPr>
          <p:cNvSpPr/>
          <p:nvPr/>
        </p:nvSpPr>
        <p:spPr>
          <a:xfrm rot="8716295">
            <a:off x="202348" y="-57106"/>
            <a:ext cx="142167" cy="186494"/>
          </a:xfrm>
          <a:custGeom>
            <a:avLst/>
            <a:gdLst>
              <a:gd name="connsiteX0" fmla="*/ 142167 w 142167"/>
              <a:gd name="connsiteY0" fmla="*/ 186494 h 186494"/>
              <a:gd name="connsiteX1" fmla="*/ 81108 w 142167"/>
              <a:gd name="connsiteY1" fmla="*/ 144170 h 186494"/>
              <a:gd name="connsiteX2" fmla="*/ 81108 w 142167"/>
              <a:gd name="connsiteY2" fmla="*/ 69717 h 186494"/>
              <a:gd name="connsiteX3" fmla="*/ 81108 w 142167"/>
              <a:gd name="connsiteY3" fmla="*/ 65615 h 186494"/>
              <a:gd name="connsiteX4" fmla="*/ 60603 w 142167"/>
              <a:gd name="connsiteY4" fmla="*/ 50123 h 186494"/>
              <a:gd name="connsiteX5" fmla="*/ 0 w 142167"/>
              <a:gd name="connsiteY5" fmla="*/ 50123 h 186494"/>
              <a:gd name="connsiteX6" fmla="*/ 0 w 142167"/>
              <a:gd name="connsiteY6" fmla="*/ 0 h 186494"/>
              <a:gd name="connsiteX7" fmla="*/ 85209 w 142167"/>
              <a:gd name="connsiteY7" fmla="*/ 0 h 186494"/>
              <a:gd name="connsiteX8" fmla="*/ 142167 w 142167"/>
              <a:gd name="connsiteY8" fmla="*/ 50123 h 186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2167" h="186494">
                <a:moveTo>
                  <a:pt x="142167" y="186494"/>
                </a:moveTo>
                <a:lnTo>
                  <a:pt x="81108" y="144170"/>
                </a:lnTo>
                <a:lnTo>
                  <a:pt x="81108" y="69717"/>
                </a:lnTo>
                <a:cubicBezTo>
                  <a:pt x="81108" y="68349"/>
                  <a:pt x="81108" y="66983"/>
                  <a:pt x="81108" y="65615"/>
                </a:cubicBezTo>
                <a:cubicBezTo>
                  <a:pt x="79741" y="55591"/>
                  <a:pt x="70628" y="48756"/>
                  <a:pt x="60603" y="50123"/>
                </a:cubicBezTo>
                <a:lnTo>
                  <a:pt x="0" y="50123"/>
                </a:lnTo>
                <a:lnTo>
                  <a:pt x="0" y="0"/>
                </a:lnTo>
                <a:lnTo>
                  <a:pt x="85209" y="0"/>
                </a:lnTo>
                <a:cubicBezTo>
                  <a:pt x="122118" y="0"/>
                  <a:pt x="142167" y="15948"/>
                  <a:pt x="142167" y="501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6" name="Forme libre : forme 35">
            <a:extLst>
              <a:ext uri="{FF2B5EF4-FFF2-40B4-BE49-F238E27FC236}">
                <a16:creationId xmlns:a16="http://schemas.microsoft.com/office/drawing/2014/main" id="{2AEF8F7A-52DD-4323-9058-8F5D8BF7C257}"/>
              </a:ext>
            </a:extLst>
          </p:cNvPr>
          <p:cNvSpPr/>
          <p:nvPr/>
        </p:nvSpPr>
        <p:spPr>
          <a:xfrm rot="8716295">
            <a:off x="298766" y="-5395"/>
            <a:ext cx="260639" cy="180054"/>
          </a:xfrm>
          <a:custGeom>
            <a:avLst/>
            <a:gdLst>
              <a:gd name="connsiteX0" fmla="*/ 111638 w 260639"/>
              <a:gd name="connsiteY0" fmla="*/ 180054 h 180054"/>
              <a:gd name="connsiteX1" fmla="*/ 51490 w 260639"/>
              <a:gd name="connsiteY1" fmla="*/ 138362 h 180054"/>
              <a:gd name="connsiteX2" fmla="*/ 51490 w 260639"/>
              <a:gd name="connsiteY2" fmla="*/ 45624 h 180054"/>
              <a:gd name="connsiteX3" fmla="*/ 0 w 260639"/>
              <a:gd name="connsiteY3" fmla="*/ 45624 h 180054"/>
              <a:gd name="connsiteX4" fmla="*/ 0 w 260639"/>
              <a:gd name="connsiteY4" fmla="*/ 1425 h 180054"/>
              <a:gd name="connsiteX5" fmla="*/ 104802 w 260639"/>
              <a:gd name="connsiteY5" fmla="*/ 1425 h 180054"/>
              <a:gd name="connsiteX6" fmla="*/ 104802 w 260639"/>
              <a:gd name="connsiteY6" fmla="*/ 75242 h 180054"/>
              <a:gd name="connsiteX7" fmla="*/ 106169 w 260639"/>
              <a:gd name="connsiteY7" fmla="*/ 75242 h 180054"/>
              <a:gd name="connsiteX8" fmla="*/ 154014 w 260639"/>
              <a:gd name="connsiteY8" fmla="*/ 5981 h 180054"/>
              <a:gd name="connsiteX9" fmla="*/ 185455 w 260639"/>
              <a:gd name="connsiteY9" fmla="*/ 57 h 180054"/>
              <a:gd name="connsiteX10" fmla="*/ 260639 w 260639"/>
              <a:gd name="connsiteY10" fmla="*/ 88456 h 180054"/>
              <a:gd name="connsiteX11" fmla="*/ 260639 w 260639"/>
              <a:gd name="connsiteY11" fmla="*/ 94380 h 180054"/>
              <a:gd name="connsiteX12" fmla="*/ 198669 w 260639"/>
              <a:gd name="connsiteY12" fmla="*/ 98025 h 180054"/>
              <a:gd name="connsiteX13" fmla="*/ 198669 w 260639"/>
              <a:gd name="connsiteY13" fmla="*/ 81621 h 180054"/>
              <a:gd name="connsiteX14" fmla="*/ 164950 w 260639"/>
              <a:gd name="connsiteY14" fmla="*/ 40156 h 180054"/>
              <a:gd name="connsiteX15" fmla="*/ 111638 w 260639"/>
              <a:gd name="connsiteY15" fmla="*/ 127643 h 180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60639" h="180054">
                <a:moveTo>
                  <a:pt x="111638" y="180054"/>
                </a:moveTo>
                <a:lnTo>
                  <a:pt x="51490" y="138362"/>
                </a:lnTo>
                <a:lnTo>
                  <a:pt x="51490" y="45624"/>
                </a:lnTo>
                <a:lnTo>
                  <a:pt x="0" y="45624"/>
                </a:lnTo>
                <a:lnTo>
                  <a:pt x="0" y="1425"/>
                </a:lnTo>
                <a:lnTo>
                  <a:pt x="104802" y="1425"/>
                </a:lnTo>
                <a:lnTo>
                  <a:pt x="104802" y="75242"/>
                </a:lnTo>
                <a:lnTo>
                  <a:pt x="106169" y="75242"/>
                </a:lnTo>
                <a:cubicBezTo>
                  <a:pt x="120751" y="31954"/>
                  <a:pt x="132142" y="15094"/>
                  <a:pt x="154014" y="5981"/>
                </a:cubicBezTo>
                <a:cubicBezTo>
                  <a:pt x="164039" y="1880"/>
                  <a:pt x="174519" y="-398"/>
                  <a:pt x="185455" y="57"/>
                </a:cubicBezTo>
                <a:cubicBezTo>
                  <a:pt x="232388" y="-854"/>
                  <a:pt x="260639" y="31954"/>
                  <a:pt x="260639" y="88456"/>
                </a:cubicBezTo>
                <a:lnTo>
                  <a:pt x="260639" y="94380"/>
                </a:lnTo>
                <a:lnTo>
                  <a:pt x="198669" y="98025"/>
                </a:lnTo>
                <a:lnTo>
                  <a:pt x="198669" y="81621"/>
                </a:lnTo>
                <a:cubicBezTo>
                  <a:pt x="198669" y="57016"/>
                  <a:pt x="184544" y="40156"/>
                  <a:pt x="164950" y="40156"/>
                </a:cubicBezTo>
                <a:cubicBezTo>
                  <a:pt x="135788" y="40156"/>
                  <a:pt x="111638" y="78887"/>
                  <a:pt x="111638" y="12764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7" name="Forme libre : forme 36">
            <a:extLst>
              <a:ext uri="{FF2B5EF4-FFF2-40B4-BE49-F238E27FC236}">
                <a16:creationId xmlns:a16="http://schemas.microsoft.com/office/drawing/2014/main" id="{4EA5F182-B436-49C8-8170-C1AD6D2F32D5}"/>
              </a:ext>
            </a:extLst>
          </p:cNvPr>
          <p:cNvSpPr/>
          <p:nvPr/>
        </p:nvSpPr>
        <p:spPr>
          <a:xfrm rot="8716295">
            <a:off x="276903" y="-12823"/>
            <a:ext cx="36272" cy="27982"/>
          </a:xfrm>
          <a:custGeom>
            <a:avLst/>
            <a:gdLst>
              <a:gd name="connsiteX0" fmla="*/ 36272 w 36272"/>
              <a:gd name="connsiteY0" fmla="*/ 27982 h 27982"/>
              <a:gd name="connsiteX1" fmla="*/ 0 w 36272"/>
              <a:gd name="connsiteY1" fmla="*/ 2840 h 27982"/>
              <a:gd name="connsiteX2" fmla="*/ 9543 w 36272"/>
              <a:gd name="connsiteY2" fmla="*/ 0 h 27982"/>
              <a:gd name="connsiteX3" fmla="*/ 31871 w 36272"/>
              <a:gd name="connsiteY3" fmla="*/ 11392 h 27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272" h="27982">
                <a:moveTo>
                  <a:pt x="36272" y="27982"/>
                </a:moveTo>
                <a:lnTo>
                  <a:pt x="0" y="2840"/>
                </a:lnTo>
                <a:lnTo>
                  <a:pt x="9543" y="0"/>
                </a:lnTo>
                <a:cubicBezTo>
                  <a:pt x="20479" y="0"/>
                  <a:pt x="27542" y="4784"/>
                  <a:pt x="31871" y="11392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8" name="Forme libre : forme 37">
            <a:extLst>
              <a:ext uri="{FF2B5EF4-FFF2-40B4-BE49-F238E27FC236}">
                <a16:creationId xmlns:a16="http://schemas.microsoft.com/office/drawing/2014/main" id="{F421218E-0235-4F72-A3A0-C0DE2686EE65}"/>
              </a:ext>
            </a:extLst>
          </p:cNvPr>
          <p:cNvSpPr/>
          <p:nvPr/>
        </p:nvSpPr>
        <p:spPr>
          <a:xfrm rot="8716295">
            <a:off x="74640" y="-9665"/>
            <a:ext cx="58068" cy="54772"/>
          </a:xfrm>
          <a:custGeom>
            <a:avLst/>
            <a:gdLst>
              <a:gd name="connsiteX0" fmla="*/ 37436 w 58068"/>
              <a:gd name="connsiteY0" fmla="*/ 54772 h 54772"/>
              <a:gd name="connsiteX1" fmla="*/ 0 w 58068"/>
              <a:gd name="connsiteY1" fmla="*/ 28823 h 54772"/>
              <a:gd name="connsiteX2" fmla="*/ 8515 w 58068"/>
              <a:gd name="connsiteY2" fmla="*/ 8658 h 54772"/>
              <a:gd name="connsiteX3" fmla="*/ 29020 w 58068"/>
              <a:gd name="connsiteY3" fmla="*/ 0 h 54772"/>
              <a:gd name="connsiteX4" fmla="*/ 49525 w 58068"/>
              <a:gd name="connsiteY4" fmla="*/ 8658 h 54772"/>
              <a:gd name="connsiteX5" fmla="*/ 49525 w 58068"/>
              <a:gd name="connsiteY5" fmla="*/ 49668 h 54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068" h="54772">
                <a:moveTo>
                  <a:pt x="37436" y="54772"/>
                </a:moveTo>
                <a:lnTo>
                  <a:pt x="0" y="28823"/>
                </a:lnTo>
                <a:lnTo>
                  <a:pt x="8515" y="8658"/>
                </a:lnTo>
                <a:cubicBezTo>
                  <a:pt x="13983" y="3190"/>
                  <a:pt x="21273" y="0"/>
                  <a:pt x="29020" y="0"/>
                </a:cubicBezTo>
                <a:cubicBezTo>
                  <a:pt x="36766" y="0"/>
                  <a:pt x="44057" y="3190"/>
                  <a:pt x="49525" y="8658"/>
                </a:cubicBezTo>
                <a:cubicBezTo>
                  <a:pt x="60916" y="19594"/>
                  <a:pt x="60916" y="38276"/>
                  <a:pt x="49525" y="49668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9" name="Forme libre : forme 38">
            <a:extLst>
              <a:ext uri="{FF2B5EF4-FFF2-40B4-BE49-F238E27FC236}">
                <a16:creationId xmlns:a16="http://schemas.microsoft.com/office/drawing/2014/main" id="{CE77A4A5-0ECD-4D80-A03D-A10DC965EA39}"/>
              </a:ext>
            </a:extLst>
          </p:cNvPr>
          <p:cNvSpPr/>
          <p:nvPr/>
        </p:nvSpPr>
        <p:spPr>
          <a:xfrm rot="8716295">
            <a:off x="13802" y="-10406"/>
            <a:ext cx="30027" cy="20814"/>
          </a:xfrm>
          <a:custGeom>
            <a:avLst/>
            <a:gdLst>
              <a:gd name="connsiteX0" fmla="*/ 30027 w 30027"/>
              <a:gd name="connsiteY0" fmla="*/ 20814 h 20814"/>
              <a:gd name="connsiteX1" fmla="*/ 0 w 30027"/>
              <a:gd name="connsiteY1" fmla="*/ 0 h 20814"/>
              <a:gd name="connsiteX2" fmla="*/ 30027 w 30027"/>
              <a:gd name="connsiteY2" fmla="*/ 0 h 20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027" h="20814">
                <a:moveTo>
                  <a:pt x="30027" y="20814"/>
                </a:moveTo>
                <a:lnTo>
                  <a:pt x="0" y="0"/>
                </a:lnTo>
                <a:lnTo>
                  <a:pt x="30027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0" name="Forme libre : forme 39">
            <a:extLst>
              <a:ext uri="{FF2B5EF4-FFF2-40B4-BE49-F238E27FC236}">
                <a16:creationId xmlns:a16="http://schemas.microsoft.com/office/drawing/2014/main" id="{403799C4-A408-4325-A92C-9E809B8BB4D4}"/>
              </a:ext>
            </a:extLst>
          </p:cNvPr>
          <p:cNvSpPr/>
          <p:nvPr/>
        </p:nvSpPr>
        <p:spPr>
          <a:xfrm rot="8716295">
            <a:off x="168048" y="30325"/>
            <a:ext cx="100246" cy="218718"/>
          </a:xfrm>
          <a:custGeom>
            <a:avLst/>
            <a:gdLst>
              <a:gd name="connsiteX0" fmla="*/ 216217 w 209550"/>
              <a:gd name="connsiteY0" fmla="*/ 0 h 457200"/>
              <a:gd name="connsiteX1" fmla="*/ 216217 w 209550"/>
              <a:gd name="connsiteY1" fmla="*/ 458153 h 457200"/>
              <a:gd name="connsiteX2" fmla="*/ 90488 w 209550"/>
              <a:gd name="connsiteY2" fmla="*/ 337185 h 457200"/>
              <a:gd name="connsiteX3" fmla="*/ 90488 w 209550"/>
              <a:gd name="connsiteY3" fmla="*/ 34290 h 457200"/>
              <a:gd name="connsiteX4" fmla="*/ 0 w 209550"/>
              <a:gd name="connsiteY4" fmla="*/ 34290 h 457200"/>
              <a:gd name="connsiteX5" fmla="*/ 0 w 209550"/>
              <a:gd name="connsiteY5" fmla="*/ 4763 h 457200"/>
              <a:gd name="connsiteX6" fmla="*/ 216217 w 209550"/>
              <a:gd name="connsiteY6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9550" h="457200">
                <a:moveTo>
                  <a:pt x="216217" y="0"/>
                </a:moveTo>
                <a:lnTo>
                  <a:pt x="216217" y="458153"/>
                </a:lnTo>
                <a:lnTo>
                  <a:pt x="90488" y="337185"/>
                </a:lnTo>
                <a:lnTo>
                  <a:pt x="90488" y="34290"/>
                </a:lnTo>
                <a:lnTo>
                  <a:pt x="0" y="34290"/>
                </a:lnTo>
                <a:lnTo>
                  <a:pt x="0" y="4763"/>
                </a:lnTo>
                <a:cubicBezTo>
                  <a:pt x="68580" y="7620"/>
                  <a:pt x="140017" y="1905"/>
                  <a:pt x="216217" y="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1" name="Forme libre : forme 40">
            <a:extLst>
              <a:ext uri="{FF2B5EF4-FFF2-40B4-BE49-F238E27FC236}">
                <a16:creationId xmlns:a16="http://schemas.microsoft.com/office/drawing/2014/main" id="{01FB23B7-9B20-4D2E-83CD-6A7A68C9BDC4}"/>
              </a:ext>
            </a:extLst>
          </p:cNvPr>
          <p:cNvSpPr/>
          <p:nvPr/>
        </p:nvSpPr>
        <p:spPr>
          <a:xfrm rot="7484129">
            <a:off x="562078" y="-28476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2" name="Forme libre : forme 41">
            <a:extLst>
              <a:ext uri="{FF2B5EF4-FFF2-40B4-BE49-F238E27FC236}">
                <a16:creationId xmlns:a16="http://schemas.microsoft.com/office/drawing/2014/main" id="{ACF32F9A-0344-4E5B-A601-5E2A5DCEE676}"/>
              </a:ext>
            </a:extLst>
          </p:cNvPr>
          <p:cNvSpPr/>
          <p:nvPr/>
        </p:nvSpPr>
        <p:spPr>
          <a:xfrm rot="13089394">
            <a:off x="767127" y="-2787"/>
            <a:ext cx="149688" cy="301067"/>
          </a:xfrm>
          <a:custGeom>
            <a:avLst/>
            <a:gdLst>
              <a:gd name="connsiteX0" fmla="*/ 149688 w 149688"/>
              <a:gd name="connsiteY0" fmla="*/ 279622 h 301067"/>
              <a:gd name="connsiteX1" fmla="*/ 122393 w 149688"/>
              <a:gd name="connsiteY1" fmla="*/ 301067 h 301067"/>
              <a:gd name="connsiteX2" fmla="*/ 0 w 149688"/>
              <a:gd name="connsiteY2" fmla="*/ 114672 h 301067"/>
              <a:gd name="connsiteX3" fmla="*/ 0 w 149688"/>
              <a:gd name="connsiteY3" fmla="*/ 38074 h 301067"/>
              <a:gd name="connsiteX4" fmla="*/ 73388 w 149688"/>
              <a:gd name="connsiteY4" fmla="*/ 0 h 301067"/>
              <a:gd name="connsiteX5" fmla="*/ 74492 w 149688"/>
              <a:gd name="connsiteY5" fmla="*/ 153950 h 301067"/>
              <a:gd name="connsiteX6" fmla="*/ 87734 w 149688"/>
              <a:gd name="connsiteY6" fmla="*/ 245547 h 301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9688" h="301067">
                <a:moveTo>
                  <a:pt x="149688" y="279622"/>
                </a:moveTo>
                <a:lnTo>
                  <a:pt x="122393" y="301067"/>
                </a:lnTo>
                <a:lnTo>
                  <a:pt x="0" y="114672"/>
                </a:lnTo>
                <a:lnTo>
                  <a:pt x="0" y="38074"/>
                </a:lnTo>
                <a:lnTo>
                  <a:pt x="73388" y="0"/>
                </a:lnTo>
                <a:lnTo>
                  <a:pt x="74492" y="153950"/>
                </a:lnTo>
                <a:cubicBezTo>
                  <a:pt x="72836" y="184850"/>
                  <a:pt x="77802" y="216302"/>
                  <a:pt x="87734" y="245547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9B540A9C-752F-4966-AE11-E0DA13D5676A}"/>
              </a:ext>
            </a:extLst>
          </p:cNvPr>
          <p:cNvSpPr/>
          <p:nvPr/>
        </p:nvSpPr>
        <p:spPr>
          <a:xfrm rot="8716295">
            <a:off x="212141" y="3045028"/>
            <a:ext cx="141256" cy="232388"/>
          </a:xfrm>
          <a:custGeom>
            <a:avLst/>
            <a:gdLst>
              <a:gd name="connsiteX0" fmla="*/ 297180 w 295275"/>
              <a:gd name="connsiteY0" fmla="*/ 104775 h 485775"/>
              <a:gd name="connsiteX1" fmla="*/ 297180 w 295275"/>
              <a:gd name="connsiteY1" fmla="*/ 435293 h 485775"/>
              <a:gd name="connsiteX2" fmla="*/ 169545 w 295275"/>
              <a:gd name="connsiteY2" fmla="*/ 485775 h 485775"/>
              <a:gd name="connsiteX3" fmla="*/ 169545 w 295275"/>
              <a:gd name="connsiteY3" fmla="*/ 145733 h 485775"/>
              <a:gd name="connsiteX4" fmla="*/ 169545 w 295275"/>
              <a:gd name="connsiteY4" fmla="*/ 137160 h 485775"/>
              <a:gd name="connsiteX5" fmla="*/ 126683 w 295275"/>
              <a:gd name="connsiteY5" fmla="*/ 104775 h 485775"/>
              <a:gd name="connsiteX6" fmla="*/ 0 w 295275"/>
              <a:gd name="connsiteY6" fmla="*/ 104775 h 485775"/>
              <a:gd name="connsiteX7" fmla="*/ 0 w 295275"/>
              <a:gd name="connsiteY7" fmla="*/ 0 h 485775"/>
              <a:gd name="connsiteX8" fmla="*/ 178118 w 295275"/>
              <a:gd name="connsiteY8" fmla="*/ 0 h 485775"/>
              <a:gd name="connsiteX9" fmla="*/ 297180 w 295275"/>
              <a:gd name="connsiteY9" fmla="*/ 104775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95275" h="485775">
                <a:moveTo>
                  <a:pt x="297180" y="104775"/>
                </a:moveTo>
                <a:lnTo>
                  <a:pt x="297180" y="435293"/>
                </a:lnTo>
                <a:lnTo>
                  <a:pt x="169545" y="485775"/>
                </a:lnTo>
                <a:lnTo>
                  <a:pt x="169545" y="145733"/>
                </a:lnTo>
                <a:cubicBezTo>
                  <a:pt x="169545" y="142875"/>
                  <a:pt x="169545" y="140018"/>
                  <a:pt x="169545" y="137160"/>
                </a:cubicBezTo>
                <a:cubicBezTo>
                  <a:pt x="166688" y="116205"/>
                  <a:pt x="147638" y="101918"/>
                  <a:pt x="126683" y="104775"/>
                </a:cubicBezTo>
                <a:lnTo>
                  <a:pt x="0" y="104775"/>
                </a:lnTo>
                <a:lnTo>
                  <a:pt x="0" y="0"/>
                </a:lnTo>
                <a:lnTo>
                  <a:pt x="178118" y="0"/>
                </a:lnTo>
                <a:cubicBezTo>
                  <a:pt x="255270" y="0"/>
                  <a:pt x="297180" y="33338"/>
                  <a:pt x="297180" y="10477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4" name="Forme libre : forme 43">
            <a:extLst>
              <a:ext uri="{FF2B5EF4-FFF2-40B4-BE49-F238E27FC236}">
                <a16:creationId xmlns:a16="http://schemas.microsoft.com/office/drawing/2014/main" id="{27352092-3B53-44B3-ABC2-E6A268F28524}"/>
              </a:ext>
            </a:extLst>
          </p:cNvPr>
          <p:cNvSpPr/>
          <p:nvPr/>
        </p:nvSpPr>
        <p:spPr>
          <a:xfrm rot="8716295">
            <a:off x="301533" y="3074270"/>
            <a:ext cx="259728" cy="250615"/>
          </a:xfrm>
          <a:custGeom>
            <a:avLst/>
            <a:gdLst>
              <a:gd name="connsiteX0" fmla="*/ 544830 w 542925"/>
              <a:gd name="connsiteY0" fmla="*/ 184905 h 523875"/>
              <a:gd name="connsiteX1" fmla="*/ 544830 w 542925"/>
              <a:gd name="connsiteY1" fmla="*/ 197288 h 523875"/>
              <a:gd name="connsiteX2" fmla="*/ 415290 w 542925"/>
              <a:gd name="connsiteY2" fmla="*/ 204908 h 523875"/>
              <a:gd name="connsiteX3" fmla="*/ 415290 w 542925"/>
              <a:gd name="connsiteY3" fmla="*/ 170618 h 523875"/>
              <a:gd name="connsiteX4" fmla="*/ 344805 w 542925"/>
              <a:gd name="connsiteY4" fmla="*/ 83940 h 523875"/>
              <a:gd name="connsiteX5" fmla="*/ 233363 w 542925"/>
              <a:gd name="connsiteY5" fmla="*/ 266820 h 523875"/>
              <a:gd name="connsiteX6" fmla="*/ 233363 w 542925"/>
              <a:gd name="connsiteY6" fmla="*/ 446843 h 523875"/>
              <a:gd name="connsiteX7" fmla="*/ 107632 w 542925"/>
              <a:gd name="connsiteY7" fmla="*/ 532568 h 523875"/>
              <a:gd name="connsiteX8" fmla="*/ 107632 w 542925"/>
              <a:gd name="connsiteY8" fmla="*/ 95370 h 523875"/>
              <a:gd name="connsiteX9" fmla="*/ 0 w 542925"/>
              <a:gd name="connsiteY9" fmla="*/ 95370 h 523875"/>
              <a:gd name="connsiteX10" fmla="*/ 0 w 542925"/>
              <a:gd name="connsiteY10" fmla="*/ 2978 h 523875"/>
              <a:gd name="connsiteX11" fmla="*/ 219075 w 542925"/>
              <a:gd name="connsiteY11" fmla="*/ 2978 h 523875"/>
              <a:gd name="connsiteX12" fmla="*/ 219075 w 542925"/>
              <a:gd name="connsiteY12" fmla="*/ 157283 h 523875"/>
              <a:gd name="connsiteX13" fmla="*/ 221932 w 542925"/>
              <a:gd name="connsiteY13" fmla="*/ 157283 h 523875"/>
              <a:gd name="connsiteX14" fmla="*/ 321945 w 542925"/>
              <a:gd name="connsiteY14" fmla="*/ 12503 h 523875"/>
              <a:gd name="connsiteX15" fmla="*/ 387667 w 542925"/>
              <a:gd name="connsiteY15" fmla="*/ 120 h 523875"/>
              <a:gd name="connsiteX16" fmla="*/ 544830 w 542925"/>
              <a:gd name="connsiteY16" fmla="*/ 18490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42925" h="523875">
                <a:moveTo>
                  <a:pt x="544830" y="184905"/>
                </a:moveTo>
                <a:lnTo>
                  <a:pt x="544830" y="197288"/>
                </a:lnTo>
                <a:lnTo>
                  <a:pt x="415290" y="204908"/>
                </a:lnTo>
                <a:lnTo>
                  <a:pt x="415290" y="170618"/>
                </a:lnTo>
                <a:cubicBezTo>
                  <a:pt x="415290" y="119183"/>
                  <a:pt x="385763" y="83940"/>
                  <a:pt x="344805" y="83940"/>
                </a:cubicBezTo>
                <a:cubicBezTo>
                  <a:pt x="283845" y="83940"/>
                  <a:pt x="233363" y="164903"/>
                  <a:pt x="233363" y="266820"/>
                </a:cubicBezTo>
                <a:lnTo>
                  <a:pt x="233363" y="446843"/>
                </a:lnTo>
                <a:lnTo>
                  <a:pt x="107632" y="532568"/>
                </a:lnTo>
                <a:lnTo>
                  <a:pt x="107632" y="95370"/>
                </a:lnTo>
                <a:lnTo>
                  <a:pt x="0" y="95370"/>
                </a:lnTo>
                <a:lnTo>
                  <a:pt x="0" y="2978"/>
                </a:lnTo>
                <a:lnTo>
                  <a:pt x="219075" y="2978"/>
                </a:lnTo>
                <a:lnTo>
                  <a:pt x="219075" y="157283"/>
                </a:lnTo>
                <a:lnTo>
                  <a:pt x="221932" y="157283"/>
                </a:lnTo>
                <a:cubicBezTo>
                  <a:pt x="252413" y="66795"/>
                  <a:pt x="276225" y="31553"/>
                  <a:pt x="321945" y="12503"/>
                </a:cubicBezTo>
                <a:cubicBezTo>
                  <a:pt x="342900" y="3930"/>
                  <a:pt x="364807" y="-832"/>
                  <a:pt x="387667" y="120"/>
                </a:cubicBezTo>
                <a:cubicBezTo>
                  <a:pt x="485775" y="-1785"/>
                  <a:pt x="544830" y="66795"/>
                  <a:pt x="544830" y="18490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5" name="Forme libre : forme 44">
            <a:extLst>
              <a:ext uri="{FF2B5EF4-FFF2-40B4-BE49-F238E27FC236}">
                <a16:creationId xmlns:a16="http://schemas.microsoft.com/office/drawing/2014/main" id="{1A1EEC7B-8896-4B95-9A1A-B0F21E6748C1}"/>
              </a:ext>
            </a:extLst>
          </p:cNvPr>
          <p:cNvSpPr/>
          <p:nvPr/>
        </p:nvSpPr>
        <p:spPr>
          <a:xfrm rot="8716295">
            <a:off x="256683" y="2987990"/>
            <a:ext cx="186822" cy="136699"/>
          </a:xfrm>
          <a:custGeom>
            <a:avLst/>
            <a:gdLst>
              <a:gd name="connsiteX0" fmla="*/ 343853 w 390525"/>
              <a:gd name="connsiteY0" fmla="*/ 144780 h 285750"/>
              <a:gd name="connsiteX1" fmla="*/ 344805 w 390525"/>
              <a:gd name="connsiteY1" fmla="*/ 144780 h 285750"/>
              <a:gd name="connsiteX2" fmla="*/ 12382 w 390525"/>
              <a:gd name="connsiteY2" fmla="*/ 288608 h 285750"/>
              <a:gd name="connsiteX3" fmla="*/ 0 w 390525"/>
              <a:gd name="connsiteY3" fmla="*/ 271463 h 285750"/>
              <a:gd name="connsiteX4" fmla="*/ 225743 w 390525"/>
              <a:gd name="connsiteY4" fmla="*/ 59055 h 285750"/>
              <a:gd name="connsiteX5" fmla="*/ 340043 w 390525"/>
              <a:gd name="connsiteY5" fmla="*/ 0 h 285750"/>
              <a:gd name="connsiteX6" fmla="*/ 399098 w 390525"/>
              <a:gd name="connsiteY6" fmla="*/ 70485 h 285750"/>
              <a:gd name="connsiteX7" fmla="*/ 343853 w 390525"/>
              <a:gd name="connsiteY7" fmla="*/ 14478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0525" h="285750">
                <a:moveTo>
                  <a:pt x="343853" y="144780"/>
                </a:moveTo>
                <a:lnTo>
                  <a:pt x="344805" y="144780"/>
                </a:lnTo>
                <a:lnTo>
                  <a:pt x="12382" y="288608"/>
                </a:lnTo>
                <a:lnTo>
                  <a:pt x="0" y="271463"/>
                </a:lnTo>
                <a:lnTo>
                  <a:pt x="225743" y="59055"/>
                </a:lnTo>
                <a:cubicBezTo>
                  <a:pt x="254318" y="25718"/>
                  <a:pt x="295275" y="4763"/>
                  <a:pt x="340043" y="0"/>
                </a:cubicBezTo>
                <a:cubicBezTo>
                  <a:pt x="385763" y="0"/>
                  <a:pt x="399098" y="40005"/>
                  <a:pt x="399098" y="70485"/>
                </a:cubicBezTo>
                <a:cubicBezTo>
                  <a:pt x="396240" y="103823"/>
                  <a:pt x="374332" y="131445"/>
                  <a:pt x="343853" y="14478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6" name="Forme libre : forme 45">
            <a:extLst>
              <a:ext uri="{FF2B5EF4-FFF2-40B4-BE49-F238E27FC236}">
                <a16:creationId xmlns:a16="http://schemas.microsoft.com/office/drawing/2014/main" id="{4FA7D1EC-A217-4326-8F37-649F5ADE83EB}"/>
              </a:ext>
            </a:extLst>
          </p:cNvPr>
          <p:cNvSpPr/>
          <p:nvPr/>
        </p:nvSpPr>
        <p:spPr>
          <a:xfrm rot="8716295">
            <a:off x="99907" y="3133572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7" name="Forme libre : forme 46">
            <a:extLst>
              <a:ext uri="{FF2B5EF4-FFF2-40B4-BE49-F238E27FC236}">
                <a16:creationId xmlns:a16="http://schemas.microsoft.com/office/drawing/2014/main" id="{33C99497-0B48-43C7-BD1A-0279E44CA612}"/>
              </a:ext>
            </a:extLst>
          </p:cNvPr>
          <p:cNvSpPr/>
          <p:nvPr/>
        </p:nvSpPr>
        <p:spPr>
          <a:xfrm rot="8716295">
            <a:off x="-24996" y="2924899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8" name="Forme libre : forme 47">
            <a:extLst>
              <a:ext uri="{FF2B5EF4-FFF2-40B4-BE49-F238E27FC236}">
                <a16:creationId xmlns:a16="http://schemas.microsoft.com/office/drawing/2014/main" id="{A93858F0-0010-48FE-BF9C-AFE6080030D7}"/>
              </a:ext>
            </a:extLst>
          </p:cNvPr>
          <p:cNvSpPr/>
          <p:nvPr/>
        </p:nvSpPr>
        <p:spPr>
          <a:xfrm rot="8716295">
            <a:off x="51899" y="2754602"/>
            <a:ext cx="189488" cy="350829"/>
          </a:xfrm>
          <a:custGeom>
            <a:avLst/>
            <a:gdLst>
              <a:gd name="connsiteX0" fmla="*/ 25299 w 189488"/>
              <a:gd name="connsiteY0" fmla="*/ 321238 h 350829"/>
              <a:gd name="connsiteX1" fmla="*/ 0 w 189488"/>
              <a:gd name="connsiteY1" fmla="*/ 220042 h 350829"/>
              <a:gd name="connsiteX2" fmla="*/ 0 w 189488"/>
              <a:gd name="connsiteY2" fmla="*/ 40596 h 350829"/>
              <a:gd name="connsiteX3" fmla="*/ 78250 w 189488"/>
              <a:gd name="connsiteY3" fmla="*/ 0 h 350829"/>
              <a:gd name="connsiteX4" fmla="*/ 79427 w 189488"/>
              <a:gd name="connsiteY4" fmla="*/ 164149 h 350829"/>
              <a:gd name="connsiteX5" fmla="*/ 93547 w 189488"/>
              <a:gd name="connsiteY5" fmla="*/ 261815 h 350829"/>
              <a:gd name="connsiteX6" fmla="*/ 164148 w 189488"/>
              <a:gd name="connsiteY6" fmla="*/ 300646 h 350829"/>
              <a:gd name="connsiteX7" fmla="*/ 189488 w 189488"/>
              <a:gd name="connsiteY7" fmla="*/ 296141 h 350829"/>
              <a:gd name="connsiteX8" fmla="*/ 160617 w 189488"/>
              <a:gd name="connsiteY8" fmla="*/ 337791 h 350829"/>
              <a:gd name="connsiteX9" fmla="*/ 97666 w 189488"/>
              <a:gd name="connsiteY9" fmla="*/ 350655 h 350829"/>
              <a:gd name="connsiteX10" fmla="*/ 25299 w 189488"/>
              <a:gd name="connsiteY10" fmla="*/ 321238 h 350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9488" h="350829">
                <a:moveTo>
                  <a:pt x="25299" y="321238"/>
                </a:moveTo>
                <a:cubicBezTo>
                  <a:pt x="5295" y="301823"/>
                  <a:pt x="0" y="268286"/>
                  <a:pt x="0" y="220042"/>
                </a:cubicBezTo>
                <a:lnTo>
                  <a:pt x="0" y="40596"/>
                </a:lnTo>
                <a:lnTo>
                  <a:pt x="78250" y="0"/>
                </a:lnTo>
                <a:lnTo>
                  <a:pt x="79427" y="164149"/>
                </a:lnTo>
                <a:cubicBezTo>
                  <a:pt x="77662" y="197097"/>
                  <a:pt x="82957" y="230632"/>
                  <a:pt x="93547" y="261815"/>
                </a:cubicBezTo>
                <a:cubicBezTo>
                  <a:pt x="102961" y="287702"/>
                  <a:pt x="127083" y="300646"/>
                  <a:pt x="164148" y="300646"/>
                </a:cubicBezTo>
                <a:lnTo>
                  <a:pt x="189488" y="296141"/>
                </a:lnTo>
                <a:lnTo>
                  <a:pt x="160617" y="337791"/>
                </a:lnTo>
                <a:lnTo>
                  <a:pt x="97666" y="350655"/>
                </a:lnTo>
                <a:cubicBezTo>
                  <a:pt x="70602" y="352420"/>
                  <a:pt x="44126" y="340653"/>
                  <a:pt x="25299" y="321238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9" name="Forme libre : forme 48">
            <a:extLst>
              <a:ext uri="{FF2B5EF4-FFF2-40B4-BE49-F238E27FC236}">
                <a16:creationId xmlns:a16="http://schemas.microsoft.com/office/drawing/2014/main" id="{CAFD1C73-118C-42A8-A6D1-F7527C0F98CE}"/>
              </a:ext>
            </a:extLst>
          </p:cNvPr>
          <p:cNvSpPr/>
          <p:nvPr/>
        </p:nvSpPr>
        <p:spPr>
          <a:xfrm rot="8716295">
            <a:off x="190085" y="3174524"/>
            <a:ext cx="100246" cy="218718"/>
          </a:xfrm>
          <a:custGeom>
            <a:avLst/>
            <a:gdLst>
              <a:gd name="connsiteX0" fmla="*/ 216217 w 209550"/>
              <a:gd name="connsiteY0" fmla="*/ 0 h 457200"/>
              <a:gd name="connsiteX1" fmla="*/ 216217 w 209550"/>
              <a:gd name="connsiteY1" fmla="*/ 458153 h 457200"/>
              <a:gd name="connsiteX2" fmla="*/ 90488 w 209550"/>
              <a:gd name="connsiteY2" fmla="*/ 337185 h 457200"/>
              <a:gd name="connsiteX3" fmla="*/ 90488 w 209550"/>
              <a:gd name="connsiteY3" fmla="*/ 34290 h 457200"/>
              <a:gd name="connsiteX4" fmla="*/ 0 w 209550"/>
              <a:gd name="connsiteY4" fmla="*/ 34290 h 457200"/>
              <a:gd name="connsiteX5" fmla="*/ 0 w 209550"/>
              <a:gd name="connsiteY5" fmla="*/ 4763 h 457200"/>
              <a:gd name="connsiteX6" fmla="*/ 216217 w 209550"/>
              <a:gd name="connsiteY6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9550" h="457200">
                <a:moveTo>
                  <a:pt x="216217" y="0"/>
                </a:moveTo>
                <a:lnTo>
                  <a:pt x="216217" y="458153"/>
                </a:lnTo>
                <a:lnTo>
                  <a:pt x="90488" y="337185"/>
                </a:lnTo>
                <a:lnTo>
                  <a:pt x="90488" y="34290"/>
                </a:lnTo>
                <a:lnTo>
                  <a:pt x="0" y="34290"/>
                </a:lnTo>
                <a:lnTo>
                  <a:pt x="0" y="4763"/>
                </a:lnTo>
                <a:cubicBezTo>
                  <a:pt x="68580" y="7620"/>
                  <a:pt x="140017" y="1905"/>
                  <a:pt x="216217" y="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0" name="Forme libre : forme 49">
            <a:extLst>
              <a:ext uri="{FF2B5EF4-FFF2-40B4-BE49-F238E27FC236}">
                <a16:creationId xmlns:a16="http://schemas.microsoft.com/office/drawing/2014/main" id="{E7F4D18B-0BB2-451B-AA77-2B268E142A91}"/>
              </a:ext>
            </a:extLst>
          </p:cNvPr>
          <p:cNvSpPr/>
          <p:nvPr/>
        </p:nvSpPr>
        <p:spPr>
          <a:xfrm rot="8716295">
            <a:off x="502599" y="2802136"/>
            <a:ext cx="117588" cy="232388"/>
          </a:xfrm>
          <a:custGeom>
            <a:avLst/>
            <a:gdLst>
              <a:gd name="connsiteX0" fmla="*/ 56529 w 117588"/>
              <a:gd name="connsiteY0" fmla="*/ 232388 h 232388"/>
              <a:gd name="connsiteX1" fmla="*/ 56529 w 117588"/>
              <a:gd name="connsiteY1" fmla="*/ 69717 h 232388"/>
              <a:gd name="connsiteX2" fmla="*/ 56529 w 117588"/>
              <a:gd name="connsiteY2" fmla="*/ 65615 h 232388"/>
              <a:gd name="connsiteX3" fmla="*/ 36025 w 117588"/>
              <a:gd name="connsiteY3" fmla="*/ 50123 h 232388"/>
              <a:gd name="connsiteX4" fmla="*/ 0 w 117588"/>
              <a:gd name="connsiteY4" fmla="*/ 50123 h 232388"/>
              <a:gd name="connsiteX5" fmla="*/ 41458 w 117588"/>
              <a:gd name="connsiteY5" fmla="*/ 0 h 232388"/>
              <a:gd name="connsiteX6" fmla="*/ 60630 w 117588"/>
              <a:gd name="connsiteY6" fmla="*/ 0 h 232388"/>
              <a:gd name="connsiteX7" fmla="*/ 117588 w 117588"/>
              <a:gd name="connsiteY7" fmla="*/ 50123 h 232388"/>
              <a:gd name="connsiteX8" fmla="*/ 117588 w 117588"/>
              <a:gd name="connsiteY8" fmla="*/ 208238 h 232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588" h="232388">
                <a:moveTo>
                  <a:pt x="56529" y="232388"/>
                </a:moveTo>
                <a:lnTo>
                  <a:pt x="56529" y="69717"/>
                </a:lnTo>
                <a:cubicBezTo>
                  <a:pt x="56529" y="68349"/>
                  <a:pt x="56529" y="66983"/>
                  <a:pt x="56529" y="65615"/>
                </a:cubicBezTo>
                <a:cubicBezTo>
                  <a:pt x="55163" y="55591"/>
                  <a:pt x="46049" y="48756"/>
                  <a:pt x="36025" y="50123"/>
                </a:cubicBezTo>
                <a:lnTo>
                  <a:pt x="0" y="50123"/>
                </a:lnTo>
                <a:lnTo>
                  <a:pt x="41458" y="0"/>
                </a:lnTo>
                <a:lnTo>
                  <a:pt x="60630" y="0"/>
                </a:lnTo>
                <a:cubicBezTo>
                  <a:pt x="97539" y="0"/>
                  <a:pt x="117588" y="15948"/>
                  <a:pt x="117588" y="50123"/>
                </a:cubicBezTo>
                <a:lnTo>
                  <a:pt x="117588" y="208238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1" name="Forme libre : forme 50">
            <a:extLst>
              <a:ext uri="{FF2B5EF4-FFF2-40B4-BE49-F238E27FC236}">
                <a16:creationId xmlns:a16="http://schemas.microsoft.com/office/drawing/2014/main" id="{6F67DBA9-AD6C-4780-AA17-98BCE9381DC5}"/>
              </a:ext>
            </a:extLst>
          </p:cNvPr>
          <p:cNvSpPr/>
          <p:nvPr/>
        </p:nvSpPr>
        <p:spPr>
          <a:xfrm rot="8716295">
            <a:off x="389006" y="2883420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2" name="Forme libre : forme 51">
            <a:extLst>
              <a:ext uri="{FF2B5EF4-FFF2-40B4-BE49-F238E27FC236}">
                <a16:creationId xmlns:a16="http://schemas.microsoft.com/office/drawing/2014/main" id="{60CE2A9A-219E-42C9-9F53-FED763C7A971}"/>
              </a:ext>
            </a:extLst>
          </p:cNvPr>
          <p:cNvSpPr/>
          <p:nvPr/>
        </p:nvSpPr>
        <p:spPr>
          <a:xfrm rot="8716295">
            <a:off x="264104" y="2674747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3" name="Forme libre : forme 52">
            <a:extLst>
              <a:ext uri="{FF2B5EF4-FFF2-40B4-BE49-F238E27FC236}">
                <a16:creationId xmlns:a16="http://schemas.microsoft.com/office/drawing/2014/main" id="{5F47A361-80F1-4C02-906B-845AB367B960}"/>
              </a:ext>
            </a:extLst>
          </p:cNvPr>
          <p:cNvSpPr/>
          <p:nvPr/>
        </p:nvSpPr>
        <p:spPr>
          <a:xfrm rot="8716295">
            <a:off x="479184" y="2924372"/>
            <a:ext cx="100246" cy="218719"/>
          </a:xfrm>
          <a:custGeom>
            <a:avLst/>
            <a:gdLst>
              <a:gd name="connsiteX0" fmla="*/ 216217 w 209550"/>
              <a:gd name="connsiteY0" fmla="*/ 0 h 457200"/>
              <a:gd name="connsiteX1" fmla="*/ 216217 w 209550"/>
              <a:gd name="connsiteY1" fmla="*/ 458153 h 457200"/>
              <a:gd name="connsiteX2" fmla="*/ 90488 w 209550"/>
              <a:gd name="connsiteY2" fmla="*/ 337185 h 457200"/>
              <a:gd name="connsiteX3" fmla="*/ 90488 w 209550"/>
              <a:gd name="connsiteY3" fmla="*/ 34290 h 457200"/>
              <a:gd name="connsiteX4" fmla="*/ 0 w 209550"/>
              <a:gd name="connsiteY4" fmla="*/ 34290 h 457200"/>
              <a:gd name="connsiteX5" fmla="*/ 0 w 209550"/>
              <a:gd name="connsiteY5" fmla="*/ 4763 h 457200"/>
              <a:gd name="connsiteX6" fmla="*/ 216217 w 209550"/>
              <a:gd name="connsiteY6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9550" h="457200">
                <a:moveTo>
                  <a:pt x="216217" y="0"/>
                </a:moveTo>
                <a:lnTo>
                  <a:pt x="216217" y="458153"/>
                </a:lnTo>
                <a:lnTo>
                  <a:pt x="90488" y="337185"/>
                </a:lnTo>
                <a:lnTo>
                  <a:pt x="90488" y="34290"/>
                </a:lnTo>
                <a:lnTo>
                  <a:pt x="0" y="34290"/>
                </a:lnTo>
                <a:lnTo>
                  <a:pt x="0" y="4763"/>
                </a:lnTo>
                <a:cubicBezTo>
                  <a:pt x="68580" y="7620"/>
                  <a:pt x="140017" y="1905"/>
                  <a:pt x="216217" y="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4" name="Forme libre : forme 53">
            <a:extLst>
              <a:ext uri="{FF2B5EF4-FFF2-40B4-BE49-F238E27FC236}">
                <a16:creationId xmlns:a16="http://schemas.microsoft.com/office/drawing/2014/main" id="{2CC40EA3-7663-4B10-9112-24251EC60BEA}"/>
              </a:ext>
            </a:extLst>
          </p:cNvPr>
          <p:cNvSpPr/>
          <p:nvPr/>
        </p:nvSpPr>
        <p:spPr>
          <a:xfrm rot="8716295">
            <a:off x="237733" y="2774772"/>
            <a:ext cx="72447" cy="72447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5" name="Forme libre : forme 54">
            <a:extLst>
              <a:ext uri="{FF2B5EF4-FFF2-40B4-BE49-F238E27FC236}">
                <a16:creationId xmlns:a16="http://schemas.microsoft.com/office/drawing/2014/main" id="{96946020-930E-406D-ABEE-7096E7CB1426}"/>
              </a:ext>
            </a:extLst>
          </p:cNvPr>
          <p:cNvSpPr/>
          <p:nvPr/>
        </p:nvSpPr>
        <p:spPr>
          <a:xfrm rot="7484129">
            <a:off x="609980" y="3142825"/>
            <a:ext cx="20881" cy="31001"/>
          </a:xfrm>
          <a:custGeom>
            <a:avLst/>
            <a:gdLst>
              <a:gd name="connsiteX0" fmla="*/ 10218 w 20881"/>
              <a:gd name="connsiteY0" fmla="*/ 31001 h 31001"/>
              <a:gd name="connsiteX1" fmla="*/ 0 w 20881"/>
              <a:gd name="connsiteY1" fmla="*/ 11992 h 31001"/>
              <a:gd name="connsiteX2" fmla="*/ 20881 w 20881"/>
              <a:gd name="connsiteY2" fmla="*/ 0 h 31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881" h="31001">
                <a:moveTo>
                  <a:pt x="10218" y="31001"/>
                </a:moveTo>
                <a:lnTo>
                  <a:pt x="0" y="11992"/>
                </a:lnTo>
                <a:lnTo>
                  <a:pt x="20881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6" name="Forme libre : forme 55">
            <a:extLst>
              <a:ext uri="{FF2B5EF4-FFF2-40B4-BE49-F238E27FC236}">
                <a16:creationId xmlns:a16="http://schemas.microsoft.com/office/drawing/2014/main" id="{9709EEED-4F73-41F3-A069-C965126CECA4}"/>
              </a:ext>
            </a:extLst>
          </p:cNvPr>
          <p:cNvSpPr/>
          <p:nvPr/>
        </p:nvSpPr>
        <p:spPr>
          <a:xfrm rot="8716295">
            <a:off x="579469" y="2817204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7" name="Forme libre : forme 56">
            <a:extLst>
              <a:ext uri="{FF2B5EF4-FFF2-40B4-BE49-F238E27FC236}">
                <a16:creationId xmlns:a16="http://schemas.microsoft.com/office/drawing/2014/main" id="{AB7C8B58-13F0-4FCC-99DC-3B3AAD65E69B}"/>
              </a:ext>
            </a:extLst>
          </p:cNvPr>
          <p:cNvSpPr/>
          <p:nvPr/>
        </p:nvSpPr>
        <p:spPr>
          <a:xfrm rot="8716295">
            <a:off x="437995" y="3716235"/>
            <a:ext cx="102679" cy="232388"/>
          </a:xfrm>
          <a:custGeom>
            <a:avLst/>
            <a:gdLst>
              <a:gd name="connsiteX0" fmla="*/ 41620 w 102679"/>
              <a:gd name="connsiteY0" fmla="*/ 232388 h 232388"/>
              <a:gd name="connsiteX1" fmla="*/ 41620 w 102679"/>
              <a:gd name="connsiteY1" fmla="*/ 69717 h 232388"/>
              <a:gd name="connsiteX2" fmla="*/ 41620 w 102679"/>
              <a:gd name="connsiteY2" fmla="*/ 65615 h 232388"/>
              <a:gd name="connsiteX3" fmla="*/ 21116 w 102679"/>
              <a:gd name="connsiteY3" fmla="*/ 50123 h 232388"/>
              <a:gd name="connsiteX4" fmla="*/ 0 w 102679"/>
              <a:gd name="connsiteY4" fmla="*/ 50123 h 232388"/>
              <a:gd name="connsiteX5" fmla="*/ 41457 w 102679"/>
              <a:gd name="connsiteY5" fmla="*/ 0 h 232388"/>
              <a:gd name="connsiteX6" fmla="*/ 45721 w 102679"/>
              <a:gd name="connsiteY6" fmla="*/ 0 h 232388"/>
              <a:gd name="connsiteX7" fmla="*/ 102679 w 102679"/>
              <a:gd name="connsiteY7" fmla="*/ 50123 h 232388"/>
              <a:gd name="connsiteX8" fmla="*/ 102679 w 102679"/>
              <a:gd name="connsiteY8" fmla="*/ 208238 h 232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2679" h="232388">
                <a:moveTo>
                  <a:pt x="41620" y="232388"/>
                </a:moveTo>
                <a:lnTo>
                  <a:pt x="41620" y="69717"/>
                </a:lnTo>
                <a:cubicBezTo>
                  <a:pt x="41620" y="68349"/>
                  <a:pt x="41620" y="66983"/>
                  <a:pt x="41620" y="65615"/>
                </a:cubicBezTo>
                <a:cubicBezTo>
                  <a:pt x="40254" y="55591"/>
                  <a:pt x="31140" y="48756"/>
                  <a:pt x="21116" y="50123"/>
                </a:cubicBezTo>
                <a:lnTo>
                  <a:pt x="0" y="50123"/>
                </a:lnTo>
                <a:lnTo>
                  <a:pt x="41457" y="0"/>
                </a:lnTo>
                <a:lnTo>
                  <a:pt x="45721" y="0"/>
                </a:lnTo>
                <a:cubicBezTo>
                  <a:pt x="82630" y="0"/>
                  <a:pt x="102679" y="15948"/>
                  <a:pt x="102679" y="50123"/>
                </a:cubicBezTo>
                <a:lnTo>
                  <a:pt x="102679" y="208238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8" name="Forme libre : forme 57">
            <a:extLst>
              <a:ext uri="{FF2B5EF4-FFF2-40B4-BE49-F238E27FC236}">
                <a16:creationId xmlns:a16="http://schemas.microsoft.com/office/drawing/2014/main" id="{9C4DC6CC-AFAA-4414-8BA6-D58CC891D657}"/>
              </a:ext>
            </a:extLst>
          </p:cNvPr>
          <p:cNvSpPr/>
          <p:nvPr/>
        </p:nvSpPr>
        <p:spPr>
          <a:xfrm rot="8716295">
            <a:off x="482715" y="3669965"/>
            <a:ext cx="154563" cy="124897"/>
          </a:xfrm>
          <a:custGeom>
            <a:avLst/>
            <a:gdLst>
              <a:gd name="connsiteX0" fmla="*/ 0 w 154563"/>
              <a:gd name="connsiteY0" fmla="*/ 124897 h 124897"/>
              <a:gd name="connsiteX1" fmla="*/ 95474 w 154563"/>
              <a:gd name="connsiteY1" fmla="*/ 9467 h 124897"/>
              <a:gd name="connsiteX2" fmla="*/ 96067 w 154563"/>
              <a:gd name="connsiteY2" fmla="*/ 9000 h 124897"/>
              <a:gd name="connsiteX3" fmla="*/ 126312 w 154563"/>
              <a:gd name="connsiteY3" fmla="*/ 0 h 124897"/>
              <a:gd name="connsiteX4" fmla="*/ 154563 w 154563"/>
              <a:gd name="connsiteY4" fmla="*/ 33719 h 124897"/>
              <a:gd name="connsiteX5" fmla="*/ 128135 w 154563"/>
              <a:gd name="connsiteY5" fmla="*/ 69261 h 124897"/>
              <a:gd name="connsiteX6" fmla="*/ 128590 w 154563"/>
              <a:gd name="connsiteY6" fmla="*/ 69261 h 124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4563" h="124897">
                <a:moveTo>
                  <a:pt x="0" y="124897"/>
                </a:moveTo>
                <a:lnTo>
                  <a:pt x="95474" y="9467"/>
                </a:lnTo>
                <a:lnTo>
                  <a:pt x="96067" y="9000"/>
                </a:lnTo>
                <a:cubicBezTo>
                  <a:pt x="105351" y="4215"/>
                  <a:pt x="115604" y="1139"/>
                  <a:pt x="126312" y="0"/>
                </a:cubicBezTo>
                <a:cubicBezTo>
                  <a:pt x="148184" y="0"/>
                  <a:pt x="154563" y="19138"/>
                  <a:pt x="154563" y="33719"/>
                </a:cubicBezTo>
                <a:cubicBezTo>
                  <a:pt x="153196" y="49668"/>
                  <a:pt x="142715" y="62882"/>
                  <a:pt x="128135" y="69261"/>
                </a:cubicBezTo>
                <a:lnTo>
                  <a:pt x="128590" y="69261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9" name="Forme libre : forme 58">
            <a:extLst>
              <a:ext uri="{FF2B5EF4-FFF2-40B4-BE49-F238E27FC236}">
                <a16:creationId xmlns:a16="http://schemas.microsoft.com/office/drawing/2014/main" id="{4EE0C0AC-519B-4FC6-8231-6D03F18E647C}"/>
              </a:ext>
            </a:extLst>
          </p:cNvPr>
          <p:cNvSpPr/>
          <p:nvPr/>
        </p:nvSpPr>
        <p:spPr>
          <a:xfrm rot="8716295">
            <a:off x="323074" y="3793271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0" name="Forme libre : forme 59">
            <a:extLst>
              <a:ext uri="{FF2B5EF4-FFF2-40B4-BE49-F238E27FC236}">
                <a16:creationId xmlns:a16="http://schemas.microsoft.com/office/drawing/2014/main" id="{D6F59EA5-8316-4C20-AADC-7D706ECCBE6F}"/>
              </a:ext>
            </a:extLst>
          </p:cNvPr>
          <p:cNvSpPr/>
          <p:nvPr/>
        </p:nvSpPr>
        <p:spPr>
          <a:xfrm rot="8716295">
            <a:off x="198171" y="3584598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1" name="Forme libre : forme 60">
            <a:extLst>
              <a:ext uri="{FF2B5EF4-FFF2-40B4-BE49-F238E27FC236}">
                <a16:creationId xmlns:a16="http://schemas.microsoft.com/office/drawing/2014/main" id="{B0440107-C1DF-4CF9-A961-BF836C4847FA}"/>
              </a:ext>
            </a:extLst>
          </p:cNvPr>
          <p:cNvSpPr/>
          <p:nvPr/>
        </p:nvSpPr>
        <p:spPr>
          <a:xfrm rot="8716295">
            <a:off x="186119" y="3445818"/>
            <a:ext cx="288290" cy="347125"/>
          </a:xfrm>
          <a:custGeom>
            <a:avLst/>
            <a:gdLst>
              <a:gd name="connsiteX0" fmla="*/ 470535 w 466725"/>
              <a:gd name="connsiteY0" fmla="*/ 436245 h 561975"/>
              <a:gd name="connsiteX1" fmla="*/ 470535 w 466725"/>
              <a:gd name="connsiteY1" fmla="*/ 445770 h 561975"/>
              <a:gd name="connsiteX2" fmla="*/ 158115 w 466725"/>
              <a:gd name="connsiteY2" fmla="*/ 567690 h 561975"/>
              <a:gd name="connsiteX3" fmla="*/ 40957 w 466725"/>
              <a:gd name="connsiteY3" fmla="*/ 520065 h 561975"/>
              <a:gd name="connsiteX4" fmla="*/ 0 w 466725"/>
              <a:gd name="connsiteY4" fmla="*/ 356235 h 561975"/>
              <a:gd name="connsiteX5" fmla="*/ 0 w 466725"/>
              <a:gd name="connsiteY5" fmla="*/ 65723 h 561975"/>
              <a:gd name="connsiteX6" fmla="*/ 126682 w 466725"/>
              <a:gd name="connsiteY6" fmla="*/ 0 h 561975"/>
              <a:gd name="connsiteX7" fmla="*/ 128588 w 466725"/>
              <a:gd name="connsiteY7" fmla="*/ 265748 h 561975"/>
              <a:gd name="connsiteX8" fmla="*/ 151447 w 466725"/>
              <a:gd name="connsiteY8" fmla="*/ 423863 h 561975"/>
              <a:gd name="connsiteX9" fmla="*/ 265747 w 466725"/>
              <a:gd name="connsiteY9" fmla="*/ 486728 h 561975"/>
              <a:gd name="connsiteX10" fmla="*/ 351472 w 466725"/>
              <a:gd name="connsiteY10" fmla="*/ 471488 h 561975"/>
              <a:gd name="connsiteX11" fmla="*/ 468630 w 466725"/>
              <a:gd name="connsiteY11" fmla="*/ 423863 h 561975"/>
              <a:gd name="connsiteX12" fmla="*/ 470535 w 466725"/>
              <a:gd name="connsiteY12" fmla="*/ 436245 h 56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6725" h="561975">
                <a:moveTo>
                  <a:pt x="470535" y="436245"/>
                </a:moveTo>
                <a:lnTo>
                  <a:pt x="470535" y="445770"/>
                </a:lnTo>
                <a:cubicBezTo>
                  <a:pt x="369570" y="532448"/>
                  <a:pt x="237172" y="562928"/>
                  <a:pt x="158115" y="567690"/>
                </a:cubicBezTo>
                <a:cubicBezTo>
                  <a:pt x="114300" y="570548"/>
                  <a:pt x="71438" y="551498"/>
                  <a:pt x="40957" y="520065"/>
                </a:cubicBezTo>
                <a:cubicBezTo>
                  <a:pt x="8572" y="488633"/>
                  <a:pt x="0" y="434340"/>
                  <a:pt x="0" y="356235"/>
                </a:cubicBezTo>
                <a:lnTo>
                  <a:pt x="0" y="65723"/>
                </a:lnTo>
                <a:lnTo>
                  <a:pt x="126682" y="0"/>
                </a:lnTo>
                <a:lnTo>
                  <a:pt x="128588" y="265748"/>
                </a:lnTo>
                <a:cubicBezTo>
                  <a:pt x="125730" y="319088"/>
                  <a:pt x="134302" y="373380"/>
                  <a:pt x="151447" y="423863"/>
                </a:cubicBezTo>
                <a:cubicBezTo>
                  <a:pt x="166688" y="465773"/>
                  <a:pt x="205740" y="486728"/>
                  <a:pt x="265747" y="486728"/>
                </a:cubicBezTo>
                <a:cubicBezTo>
                  <a:pt x="295275" y="485775"/>
                  <a:pt x="323850" y="480060"/>
                  <a:pt x="351472" y="471488"/>
                </a:cubicBezTo>
                <a:cubicBezTo>
                  <a:pt x="391477" y="459105"/>
                  <a:pt x="430530" y="442913"/>
                  <a:pt x="468630" y="423863"/>
                </a:cubicBezTo>
                <a:cubicBezTo>
                  <a:pt x="469582" y="427673"/>
                  <a:pt x="470535" y="432435"/>
                  <a:pt x="470535" y="43624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2" name="Forme libre : forme 61">
            <a:extLst>
              <a:ext uri="{FF2B5EF4-FFF2-40B4-BE49-F238E27FC236}">
                <a16:creationId xmlns:a16="http://schemas.microsoft.com/office/drawing/2014/main" id="{FAD20847-20DA-4661-A963-D2C01E523D8E}"/>
              </a:ext>
            </a:extLst>
          </p:cNvPr>
          <p:cNvSpPr/>
          <p:nvPr/>
        </p:nvSpPr>
        <p:spPr>
          <a:xfrm rot="8716295">
            <a:off x="410218" y="3834716"/>
            <a:ext cx="103435" cy="219174"/>
          </a:xfrm>
          <a:custGeom>
            <a:avLst/>
            <a:gdLst>
              <a:gd name="connsiteX0" fmla="*/ 103435 w 103435"/>
              <a:gd name="connsiteY0" fmla="*/ 219174 h 219174"/>
              <a:gd name="connsiteX1" fmla="*/ 43288 w 103435"/>
              <a:gd name="connsiteY1" fmla="*/ 161305 h 219174"/>
              <a:gd name="connsiteX2" fmla="*/ 43288 w 103435"/>
              <a:gd name="connsiteY2" fmla="*/ 16404 h 219174"/>
              <a:gd name="connsiteX3" fmla="*/ 0 w 103435"/>
              <a:gd name="connsiteY3" fmla="*/ 16404 h 219174"/>
              <a:gd name="connsiteX4" fmla="*/ 0 w 103435"/>
              <a:gd name="connsiteY4" fmla="*/ 16028 h 219174"/>
              <a:gd name="connsiteX5" fmla="*/ 11583 w 103435"/>
              <a:gd name="connsiteY5" fmla="*/ 2023 h 219174"/>
              <a:gd name="connsiteX6" fmla="*/ 103435 w 103435"/>
              <a:gd name="connsiteY6" fmla="*/ 0 h 2191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3435" h="219174">
                <a:moveTo>
                  <a:pt x="103435" y="219174"/>
                </a:moveTo>
                <a:lnTo>
                  <a:pt x="43288" y="161305"/>
                </a:lnTo>
                <a:lnTo>
                  <a:pt x="43288" y="16404"/>
                </a:lnTo>
                <a:lnTo>
                  <a:pt x="0" y="16404"/>
                </a:lnTo>
                <a:lnTo>
                  <a:pt x="0" y="16028"/>
                </a:lnTo>
                <a:lnTo>
                  <a:pt x="11583" y="2023"/>
                </a:lnTo>
                <a:lnTo>
                  <a:pt x="103435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3" name="Forme libre : forme 62">
            <a:extLst>
              <a:ext uri="{FF2B5EF4-FFF2-40B4-BE49-F238E27FC236}">
                <a16:creationId xmlns:a16="http://schemas.microsoft.com/office/drawing/2014/main" id="{28D4D932-7CCD-4A1C-82BE-BDC6C863C34D}"/>
              </a:ext>
            </a:extLst>
          </p:cNvPr>
          <p:cNvSpPr/>
          <p:nvPr/>
        </p:nvSpPr>
        <p:spPr>
          <a:xfrm rot="8716295">
            <a:off x="487452" y="3349370"/>
            <a:ext cx="151162" cy="195873"/>
          </a:xfrm>
          <a:custGeom>
            <a:avLst/>
            <a:gdLst>
              <a:gd name="connsiteX0" fmla="*/ 38025 w 151162"/>
              <a:gd name="connsiteY0" fmla="*/ 195873 h 195873"/>
              <a:gd name="connsiteX1" fmla="*/ 0 w 151162"/>
              <a:gd name="connsiteY1" fmla="*/ 125130 h 195873"/>
              <a:gd name="connsiteX2" fmla="*/ 103497 w 151162"/>
              <a:gd name="connsiteY2" fmla="*/ 0 h 195873"/>
              <a:gd name="connsiteX3" fmla="*/ 151162 w 151162"/>
              <a:gd name="connsiteY3" fmla="*/ 0 h 195873"/>
              <a:gd name="connsiteX4" fmla="*/ 151162 w 151162"/>
              <a:gd name="connsiteY4" fmla="*/ 55323 h 195873"/>
              <a:gd name="connsiteX5" fmla="*/ 86370 w 151162"/>
              <a:gd name="connsiteY5" fmla="*/ 55323 h 195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1162" h="195873">
                <a:moveTo>
                  <a:pt x="38025" y="195873"/>
                </a:moveTo>
                <a:lnTo>
                  <a:pt x="0" y="125130"/>
                </a:lnTo>
                <a:lnTo>
                  <a:pt x="103497" y="0"/>
                </a:lnTo>
                <a:lnTo>
                  <a:pt x="151162" y="0"/>
                </a:lnTo>
                <a:lnTo>
                  <a:pt x="151162" y="55323"/>
                </a:lnTo>
                <a:lnTo>
                  <a:pt x="86370" y="5532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4" name="Forme libre : forme 63">
            <a:extLst>
              <a:ext uri="{FF2B5EF4-FFF2-40B4-BE49-F238E27FC236}">
                <a16:creationId xmlns:a16="http://schemas.microsoft.com/office/drawing/2014/main" id="{CC6BD8CB-3AAF-4232-9DAB-6067219DB083}"/>
              </a:ext>
            </a:extLst>
          </p:cNvPr>
          <p:cNvSpPr/>
          <p:nvPr/>
        </p:nvSpPr>
        <p:spPr>
          <a:xfrm rot="8716295">
            <a:off x="460900" y="3434471"/>
            <a:ext cx="72447" cy="72447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5" name="Forme libre : forme 64">
            <a:extLst>
              <a:ext uri="{FF2B5EF4-FFF2-40B4-BE49-F238E27FC236}">
                <a16:creationId xmlns:a16="http://schemas.microsoft.com/office/drawing/2014/main" id="{C4402BE5-EFA1-455E-87AA-2CF0F2131AB9}"/>
              </a:ext>
            </a:extLst>
          </p:cNvPr>
          <p:cNvSpPr/>
          <p:nvPr/>
        </p:nvSpPr>
        <p:spPr>
          <a:xfrm rot="8716295">
            <a:off x="417336" y="4258920"/>
            <a:ext cx="147637" cy="195874"/>
          </a:xfrm>
          <a:custGeom>
            <a:avLst/>
            <a:gdLst>
              <a:gd name="connsiteX0" fmla="*/ 34500 w 147637"/>
              <a:gd name="connsiteY0" fmla="*/ 195874 h 195874"/>
              <a:gd name="connsiteX1" fmla="*/ 0 w 147637"/>
              <a:gd name="connsiteY1" fmla="*/ 131688 h 195874"/>
              <a:gd name="connsiteX2" fmla="*/ 108921 w 147637"/>
              <a:gd name="connsiteY2" fmla="*/ 0 h 195874"/>
              <a:gd name="connsiteX3" fmla="*/ 147637 w 147637"/>
              <a:gd name="connsiteY3" fmla="*/ 0 h 195874"/>
              <a:gd name="connsiteX4" fmla="*/ 147637 w 147637"/>
              <a:gd name="connsiteY4" fmla="*/ 55323 h 195874"/>
              <a:gd name="connsiteX5" fmla="*/ 82845 w 147637"/>
              <a:gd name="connsiteY5" fmla="*/ 55323 h 195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7637" h="195874">
                <a:moveTo>
                  <a:pt x="34500" y="195874"/>
                </a:moveTo>
                <a:lnTo>
                  <a:pt x="0" y="131688"/>
                </a:lnTo>
                <a:lnTo>
                  <a:pt x="108921" y="0"/>
                </a:lnTo>
                <a:lnTo>
                  <a:pt x="147637" y="0"/>
                </a:lnTo>
                <a:lnTo>
                  <a:pt x="147637" y="55323"/>
                </a:lnTo>
                <a:lnTo>
                  <a:pt x="82845" y="5532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6" name="Forme libre : forme 65">
            <a:extLst>
              <a:ext uri="{FF2B5EF4-FFF2-40B4-BE49-F238E27FC236}">
                <a16:creationId xmlns:a16="http://schemas.microsoft.com/office/drawing/2014/main" id="{61A670F2-3CC6-425A-A67F-3F30EE51B04A}"/>
              </a:ext>
            </a:extLst>
          </p:cNvPr>
          <p:cNvSpPr/>
          <p:nvPr/>
        </p:nvSpPr>
        <p:spPr>
          <a:xfrm rot="8716295">
            <a:off x="330834" y="4134902"/>
            <a:ext cx="254613" cy="91157"/>
          </a:xfrm>
          <a:custGeom>
            <a:avLst/>
            <a:gdLst>
              <a:gd name="connsiteX0" fmla="*/ 0 w 254613"/>
              <a:gd name="connsiteY0" fmla="*/ 68911 h 91157"/>
              <a:gd name="connsiteX1" fmla="*/ 56997 w 254613"/>
              <a:gd name="connsiteY1" fmla="*/ 0 h 91157"/>
              <a:gd name="connsiteX2" fmla="*/ 57517 w 254613"/>
              <a:gd name="connsiteY2" fmla="*/ 2143 h 91157"/>
              <a:gd name="connsiteX3" fmla="*/ 128118 w 254613"/>
              <a:gd name="connsiteY3" fmla="*/ 40974 h 91157"/>
              <a:gd name="connsiteX4" fmla="*/ 181070 w 254613"/>
              <a:gd name="connsiteY4" fmla="*/ 31560 h 91157"/>
              <a:gd name="connsiteX5" fmla="*/ 253437 w 254613"/>
              <a:gd name="connsiteY5" fmla="*/ 2143 h 91157"/>
              <a:gd name="connsiteX6" fmla="*/ 254613 w 254613"/>
              <a:gd name="connsiteY6" fmla="*/ 9791 h 91157"/>
              <a:gd name="connsiteX7" fmla="*/ 254613 w 254613"/>
              <a:gd name="connsiteY7" fmla="*/ 15674 h 91157"/>
              <a:gd name="connsiteX8" fmla="*/ 61636 w 254613"/>
              <a:gd name="connsiteY8" fmla="*/ 90983 h 91157"/>
              <a:gd name="connsiteX9" fmla="*/ 22363 w 254613"/>
              <a:gd name="connsiteY9" fmla="*/ 84217 h 91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54613" h="91157">
                <a:moveTo>
                  <a:pt x="0" y="68911"/>
                </a:moveTo>
                <a:lnTo>
                  <a:pt x="56997" y="0"/>
                </a:lnTo>
                <a:lnTo>
                  <a:pt x="57517" y="2143"/>
                </a:lnTo>
                <a:cubicBezTo>
                  <a:pt x="66931" y="28030"/>
                  <a:pt x="91053" y="40974"/>
                  <a:pt x="128118" y="40974"/>
                </a:cubicBezTo>
                <a:cubicBezTo>
                  <a:pt x="146357" y="40385"/>
                  <a:pt x="164008" y="36855"/>
                  <a:pt x="181070" y="31560"/>
                </a:cubicBezTo>
                <a:cubicBezTo>
                  <a:pt x="205780" y="23912"/>
                  <a:pt x="229903" y="13910"/>
                  <a:pt x="253437" y="2143"/>
                </a:cubicBezTo>
                <a:cubicBezTo>
                  <a:pt x="254025" y="4496"/>
                  <a:pt x="254613" y="7438"/>
                  <a:pt x="254613" y="9791"/>
                </a:cubicBezTo>
                <a:lnTo>
                  <a:pt x="254613" y="15674"/>
                </a:lnTo>
                <a:cubicBezTo>
                  <a:pt x="192249" y="69215"/>
                  <a:pt x="110468" y="88042"/>
                  <a:pt x="61636" y="90983"/>
                </a:cubicBezTo>
                <a:cubicBezTo>
                  <a:pt x="48104" y="91866"/>
                  <a:pt x="34719" y="89365"/>
                  <a:pt x="22363" y="84217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7" name="Forme libre : forme 66">
            <a:extLst>
              <a:ext uri="{FF2B5EF4-FFF2-40B4-BE49-F238E27FC236}">
                <a16:creationId xmlns:a16="http://schemas.microsoft.com/office/drawing/2014/main" id="{8311F45B-46D1-4E93-B5FB-C96A0B131FB3}"/>
              </a:ext>
            </a:extLst>
          </p:cNvPr>
          <p:cNvSpPr/>
          <p:nvPr/>
        </p:nvSpPr>
        <p:spPr>
          <a:xfrm rot="8716295">
            <a:off x="-3428" y="2405990"/>
            <a:ext cx="142167" cy="208592"/>
          </a:xfrm>
          <a:custGeom>
            <a:avLst/>
            <a:gdLst>
              <a:gd name="connsiteX0" fmla="*/ 81108 w 142167"/>
              <a:gd name="connsiteY0" fmla="*/ 208592 h 208592"/>
              <a:gd name="connsiteX1" fmla="*/ 81108 w 142167"/>
              <a:gd name="connsiteY1" fmla="*/ 69717 h 208592"/>
              <a:gd name="connsiteX2" fmla="*/ 81108 w 142167"/>
              <a:gd name="connsiteY2" fmla="*/ 65615 h 208592"/>
              <a:gd name="connsiteX3" fmla="*/ 60604 w 142167"/>
              <a:gd name="connsiteY3" fmla="*/ 50123 h 208592"/>
              <a:gd name="connsiteX4" fmla="*/ 0 w 142167"/>
              <a:gd name="connsiteY4" fmla="*/ 50123 h 208592"/>
              <a:gd name="connsiteX5" fmla="*/ 0 w 142167"/>
              <a:gd name="connsiteY5" fmla="*/ 0 h 208592"/>
              <a:gd name="connsiteX6" fmla="*/ 85210 w 142167"/>
              <a:gd name="connsiteY6" fmla="*/ 0 h 208592"/>
              <a:gd name="connsiteX7" fmla="*/ 142167 w 142167"/>
              <a:gd name="connsiteY7" fmla="*/ 50123 h 208592"/>
              <a:gd name="connsiteX8" fmla="*/ 142167 w 142167"/>
              <a:gd name="connsiteY8" fmla="*/ 120504 h 208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2167" h="208592">
                <a:moveTo>
                  <a:pt x="81108" y="208592"/>
                </a:moveTo>
                <a:lnTo>
                  <a:pt x="81108" y="69717"/>
                </a:lnTo>
                <a:cubicBezTo>
                  <a:pt x="81108" y="68350"/>
                  <a:pt x="81108" y="66983"/>
                  <a:pt x="81108" y="65615"/>
                </a:cubicBezTo>
                <a:cubicBezTo>
                  <a:pt x="79742" y="55591"/>
                  <a:pt x="70628" y="48756"/>
                  <a:pt x="60604" y="50123"/>
                </a:cubicBezTo>
                <a:lnTo>
                  <a:pt x="0" y="50123"/>
                </a:lnTo>
                <a:lnTo>
                  <a:pt x="0" y="0"/>
                </a:lnTo>
                <a:lnTo>
                  <a:pt x="85210" y="0"/>
                </a:lnTo>
                <a:cubicBezTo>
                  <a:pt x="122118" y="0"/>
                  <a:pt x="142167" y="15948"/>
                  <a:pt x="142167" y="50123"/>
                </a:cubicBezTo>
                <a:lnTo>
                  <a:pt x="142167" y="120504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8" name="Forme libre : forme 67">
            <a:extLst>
              <a:ext uri="{FF2B5EF4-FFF2-40B4-BE49-F238E27FC236}">
                <a16:creationId xmlns:a16="http://schemas.microsoft.com/office/drawing/2014/main" id="{FBB49843-79D6-49E9-8512-3ED8074BAF49}"/>
              </a:ext>
            </a:extLst>
          </p:cNvPr>
          <p:cNvSpPr/>
          <p:nvPr/>
        </p:nvSpPr>
        <p:spPr>
          <a:xfrm rot="8716295">
            <a:off x="80015" y="2413296"/>
            <a:ext cx="259728" cy="250615"/>
          </a:xfrm>
          <a:custGeom>
            <a:avLst/>
            <a:gdLst>
              <a:gd name="connsiteX0" fmla="*/ 544830 w 542925"/>
              <a:gd name="connsiteY0" fmla="*/ 184905 h 523875"/>
              <a:gd name="connsiteX1" fmla="*/ 544830 w 542925"/>
              <a:gd name="connsiteY1" fmla="*/ 197288 h 523875"/>
              <a:gd name="connsiteX2" fmla="*/ 415290 w 542925"/>
              <a:gd name="connsiteY2" fmla="*/ 204908 h 523875"/>
              <a:gd name="connsiteX3" fmla="*/ 415290 w 542925"/>
              <a:gd name="connsiteY3" fmla="*/ 170618 h 523875"/>
              <a:gd name="connsiteX4" fmla="*/ 344805 w 542925"/>
              <a:gd name="connsiteY4" fmla="*/ 83940 h 523875"/>
              <a:gd name="connsiteX5" fmla="*/ 233363 w 542925"/>
              <a:gd name="connsiteY5" fmla="*/ 266820 h 523875"/>
              <a:gd name="connsiteX6" fmla="*/ 233363 w 542925"/>
              <a:gd name="connsiteY6" fmla="*/ 446843 h 523875"/>
              <a:gd name="connsiteX7" fmla="*/ 107632 w 542925"/>
              <a:gd name="connsiteY7" fmla="*/ 532568 h 523875"/>
              <a:gd name="connsiteX8" fmla="*/ 107632 w 542925"/>
              <a:gd name="connsiteY8" fmla="*/ 95370 h 523875"/>
              <a:gd name="connsiteX9" fmla="*/ 0 w 542925"/>
              <a:gd name="connsiteY9" fmla="*/ 95370 h 523875"/>
              <a:gd name="connsiteX10" fmla="*/ 0 w 542925"/>
              <a:gd name="connsiteY10" fmla="*/ 2978 h 523875"/>
              <a:gd name="connsiteX11" fmla="*/ 219075 w 542925"/>
              <a:gd name="connsiteY11" fmla="*/ 2978 h 523875"/>
              <a:gd name="connsiteX12" fmla="*/ 219075 w 542925"/>
              <a:gd name="connsiteY12" fmla="*/ 157283 h 523875"/>
              <a:gd name="connsiteX13" fmla="*/ 221932 w 542925"/>
              <a:gd name="connsiteY13" fmla="*/ 157283 h 523875"/>
              <a:gd name="connsiteX14" fmla="*/ 321945 w 542925"/>
              <a:gd name="connsiteY14" fmla="*/ 12503 h 523875"/>
              <a:gd name="connsiteX15" fmla="*/ 387667 w 542925"/>
              <a:gd name="connsiteY15" fmla="*/ 120 h 523875"/>
              <a:gd name="connsiteX16" fmla="*/ 544830 w 542925"/>
              <a:gd name="connsiteY16" fmla="*/ 18490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42925" h="523875">
                <a:moveTo>
                  <a:pt x="544830" y="184905"/>
                </a:moveTo>
                <a:lnTo>
                  <a:pt x="544830" y="197288"/>
                </a:lnTo>
                <a:lnTo>
                  <a:pt x="415290" y="204908"/>
                </a:lnTo>
                <a:lnTo>
                  <a:pt x="415290" y="170618"/>
                </a:lnTo>
                <a:cubicBezTo>
                  <a:pt x="415290" y="119183"/>
                  <a:pt x="385763" y="83940"/>
                  <a:pt x="344805" y="83940"/>
                </a:cubicBezTo>
                <a:cubicBezTo>
                  <a:pt x="283845" y="83940"/>
                  <a:pt x="233363" y="164903"/>
                  <a:pt x="233363" y="266820"/>
                </a:cubicBezTo>
                <a:lnTo>
                  <a:pt x="233363" y="446843"/>
                </a:lnTo>
                <a:lnTo>
                  <a:pt x="107632" y="532568"/>
                </a:lnTo>
                <a:lnTo>
                  <a:pt x="107632" y="95370"/>
                </a:lnTo>
                <a:lnTo>
                  <a:pt x="0" y="95370"/>
                </a:lnTo>
                <a:lnTo>
                  <a:pt x="0" y="2978"/>
                </a:lnTo>
                <a:lnTo>
                  <a:pt x="219075" y="2978"/>
                </a:lnTo>
                <a:lnTo>
                  <a:pt x="219075" y="157283"/>
                </a:lnTo>
                <a:lnTo>
                  <a:pt x="221932" y="157283"/>
                </a:lnTo>
                <a:cubicBezTo>
                  <a:pt x="252413" y="66795"/>
                  <a:pt x="276225" y="31553"/>
                  <a:pt x="321945" y="12503"/>
                </a:cubicBezTo>
                <a:cubicBezTo>
                  <a:pt x="342900" y="3930"/>
                  <a:pt x="364807" y="-832"/>
                  <a:pt x="387667" y="120"/>
                </a:cubicBezTo>
                <a:cubicBezTo>
                  <a:pt x="485775" y="-1785"/>
                  <a:pt x="544830" y="66795"/>
                  <a:pt x="544830" y="18490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9" name="Forme libre : forme 68">
            <a:extLst>
              <a:ext uri="{FF2B5EF4-FFF2-40B4-BE49-F238E27FC236}">
                <a16:creationId xmlns:a16="http://schemas.microsoft.com/office/drawing/2014/main" id="{2588E0D5-81C5-4973-87D7-DBF7607FAFF4}"/>
              </a:ext>
            </a:extLst>
          </p:cNvPr>
          <p:cNvSpPr/>
          <p:nvPr/>
        </p:nvSpPr>
        <p:spPr>
          <a:xfrm rot="8716295">
            <a:off x="35165" y="2327016"/>
            <a:ext cx="186822" cy="136699"/>
          </a:xfrm>
          <a:custGeom>
            <a:avLst/>
            <a:gdLst>
              <a:gd name="connsiteX0" fmla="*/ 343853 w 390525"/>
              <a:gd name="connsiteY0" fmla="*/ 144780 h 285750"/>
              <a:gd name="connsiteX1" fmla="*/ 344805 w 390525"/>
              <a:gd name="connsiteY1" fmla="*/ 144780 h 285750"/>
              <a:gd name="connsiteX2" fmla="*/ 12382 w 390525"/>
              <a:gd name="connsiteY2" fmla="*/ 288608 h 285750"/>
              <a:gd name="connsiteX3" fmla="*/ 0 w 390525"/>
              <a:gd name="connsiteY3" fmla="*/ 271463 h 285750"/>
              <a:gd name="connsiteX4" fmla="*/ 225743 w 390525"/>
              <a:gd name="connsiteY4" fmla="*/ 59055 h 285750"/>
              <a:gd name="connsiteX5" fmla="*/ 340043 w 390525"/>
              <a:gd name="connsiteY5" fmla="*/ 0 h 285750"/>
              <a:gd name="connsiteX6" fmla="*/ 399098 w 390525"/>
              <a:gd name="connsiteY6" fmla="*/ 70485 h 285750"/>
              <a:gd name="connsiteX7" fmla="*/ 343853 w 390525"/>
              <a:gd name="connsiteY7" fmla="*/ 14478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0525" h="285750">
                <a:moveTo>
                  <a:pt x="343853" y="144780"/>
                </a:moveTo>
                <a:lnTo>
                  <a:pt x="344805" y="144780"/>
                </a:lnTo>
                <a:lnTo>
                  <a:pt x="12382" y="288608"/>
                </a:lnTo>
                <a:lnTo>
                  <a:pt x="0" y="271463"/>
                </a:lnTo>
                <a:lnTo>
                  <a:pt x="225743" y="59055"/>
                </a:lnTo>
                <a:cubicBezTo>
                  <a:pt x="254318" y="25718"/>
                  <a:pt x="295275" y="4763"/>
                  <a:pt x="340043" y="0"/>
                </a:cubicBezTo>
                <a:cubicBezTo>
                  <a:pt x="385763" y="0"/>
                  <a:pt x="399098" y="40005"/>
                  <a:pt x="399098" y="70485"/>
                </a:cubicBezTo>
                <a:cubicBezTo>
                  <a:pt x="396240" y="103823"/>
                  <a:pt x="374332" y="131445"/>
                  <a:pt x="343853" y="14478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0" name="Forme libre : forme 69">
            <a:extLst>
              <a:ext uri="{FF2B5EF4-FFF2-40B4-BE49-F238E27FC236}">
                <a16:creationId xmlns:a16="http://schemas.microsoft.com/office/drawing/2014/main" id="{4C19B60F-0DA9-4BC3-BAAD-2E7DE57F5376}"/>
              </a:ext>
            </a:extLst>
          </p:cNvPr>
          <p:cNvSpPr/>
          <p:nvPr/>
        </p:nvSpPr>
        <p:spPr>
          <a:xfrm rot="8716295">
            <a:off x="-20257" y="2217087"/>
            <a:ext cx="78731" cy="180665"/>
          </a:xfrm>
          <a:custGeom>
            <a:avLst/>
            <a:gdLst>
              <a:gd name="connsiteX0" fmla="*/ 0 w 78731"/>
              <a:gd name="connsiteY0" fmla="*/ 180665 h 180665"/>
              <a:gd name="connsiteX1" fmla="*/ 0 w 78731"/>
              <a:gd name="connsiteY1" fmla="*/ 40596 h 180665"/>
              <a:gd name="connsiteX2" fmla="*/ 78250 w 78731"/>
              <a:gd name="connsiteY2" fmla="*/ 0 h 180665"/>
              <a:gd name="connsiteX3" fmla="*/ 78731 w 78731"/>
              <a:gd name="connsiteY3" fmla="*/ 67083 h 180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8731" h="180665">
                <a:moveTo>
                  <a:pt x="0" y="180665"/>
                </a:moveTo>
                <a:lnTo>
                  <a:pt x="0" y="40596"/>
                </a:lnTo>
                <a:lnTo>
                  <a:pt x="78250" y="0"/>
                </a:lnTo>
                <a:lnTo>
                  <a:pt x="78731" y="6708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1" name="Forme libre : forme 70">
            <a:extLst>
              <a:ext uri="{FF2B5EF4-FFF2-40B4-BE49-F238E27FC236}">
                <a16:creationId xmlns:a16="http://schemas.microsoft.com/office/drawing/2014/main" id="{6EC16758-5536-44AA-B18E-D5428BFF36DA}"/>
              </a:ext>
            </a:extLst>
          </p:cNvPr>
          <p:cNvSpPr/>
          <p:nvPr/>
        </p:nvSpPr>
        <p:spPr>
          <a:xfrm rot="8716295">
            <a:off x="-15341" y="2575209"/>
            <a:ext cx="103435" cy="152027"/>
          </a:xfrm>
          <a:custGeom>
            <a:avLst/>
            <a:gdLst>
              <a:gd name="connsiteX0" fmla="*/ 43288 w 103435"/>
              <a:gd name="connsiteY0" fmla="*/ 152027 h 152027"/>
              <a:gd name="connsiteX1" fmla="*/ 43288 w 103435"/>
              <a:gd name="connsiteY1" fmla="*/ 16404 h 152027"/>
              <a:gd name="connsiteX2" fmla="*/ 0 w 103435"/>
              <a:gd name="connsiteY2" fmla="*/ 16404 h 152027"/>
              <a:gd name="connsiteX3" fmla="*/ 0 w 103435"/>
              <a:gd name="connsiteY3" fmla="*/ 2278 h 152027"/>
              <a:gd name="connsiteX4" fmla="*/ 103435 w 103435"/>
              <a:gd name="connsiteY4" fmla="*/ 0 h 152027"/>
              <a:gd name="connsiteX5" fmla="*/ 103435 w 103435"/>
              <a:gd name="connsiteY5" fmla="*/ 65255 h 152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3435" h="152027">
                <a:moveTo>
                  <a:pt x="43288" y="152027"/>
                </a:moveTo>
                <a:lnTo>
                  <a:pt x="43288" y="16404"/>
                </a:lnTo>
                <a:lnTo>
                  <a:pt x="0" y="16404"/>
                </a:lnTo>
                <a:lnTo>
                  <a:pt x="0" y="2278"/>
                </a:lnTo>
                <a:cubicBezTo>
                  <a:pt x="32808" y="3645"/>
                  <a:pt x="66982" y="911"/>
                  <a:pt x="103435" y="0"/>
                </a:cubicBezTo>
                <a:lnTo>
                  <a:pt x="103435" y="65255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2" name="Forme libre : forme 71">
            <a:extLst>
              <a:ext uri="{FF2B5EF4-FFF2-40B4-BE49-F238E27FC236}">
                <a16:creationId xmlns:a16="http://schemas.microsoft.com/office/drawing/2014/main" id="{F8CD2FD6-8E29-4A7B-A6E7-A08269AC0224}"/>
              </a:ext>
            </a:extLst>
          </p:cNvPr>
          <p:cNvSpPr/>
          <p:nvPr/>
        </p:nvSpPr>
        <p:spPr>
          <a:xfrm rot="8716295">
            <a:off x="279722" y="2133902"/>
            <a:ext cx="141256" cy="232388"/>
          </a:xfrm>
          <a:custGeom>
            <a:avLst/>
            <a:gdLst>
              <a:gd name="connsiteX0" fmla="*/ 297180 w 295275"/>
              <a:gd name="connsiteY0" fmla="*/ 104775 h 485775"/>
              <a:gd name="connsiteX1" fmla="*/ 297180 w 295275"/>
              <a:gd name="connsiteY1" fmla="*/ 435293 h 485775"/>
              <a:gd name="connsiteX2" fmla="*/ 169545 w 295275"/>
              <a:gd name="connsiteY2" fmla="*/ 485775 h 485775"/>
              <a:gd name="connsiteX3" fmla="*/ 169545 w 295275"/>
              <a:gd name="connsiteY3" fmla="*/ 145733 h 485775"/>
              <a:gd name="connsiteX4" fmla="*/ 169545 w 295275"/>
              <a:gd name="connsiteY4" fmla="*/ 137160 h 485775"/>
              <a:gd name="connsiteX5" fmla="*/ 126683 w 295275"/>
              <a:gd name="connsiteY5" fmla="*/ 104775 h 485775"/>
              <a:gd name="connsiteX6" fmla="*/ 0 w 295275"/>
              <a:gd name="connsiteY6" fmla="*/ 104775 h 485775"/>
              <a:gd name="connsiteX7" fmla="*/ 0 w 295275"/>
              <a:gd name="connsiteY7" fmla="*/ 0 h 485775"/>
              <a:gd name="connsiteX8" fmla="*/ 178118 w 295275"/>
              <a:gd name="connsiteY8" fmla="*/ 0 h 485775"/>
              <a:gd name="connsiteX9" fmla="*/ 297180 w 295275"/>
              <a:gd name="connsiteY9" fmla="*/ 104775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95275" h="485775">
                <a:moveTo>
                  <a:pt x="297180" y="104775"/>
                </a:moveTo>
                <a:lnTo>
                  <a:pt x="297180" y="435293"/>
                </a:lnTo>
                <a:lnTo>
                  <a:pt x="169545" y="485775"/>
                </a:lnTo>
                <a:lnTo>
                  <a:pt x="169545" y="145733"/>
                </a:lnTo>
                <a:cubicBezTo>
                  <a:pt x="169545" y="142875"/>
                  <a:pt x="169545" y="140018"/>
                  <a:pt x="169545" y="137160"/>
                </a:cubicBezTo>
                <a:cubicBezTo>
                  <a:pt x="166688" y="116205"/>
                  <a:pt x="147638" y="101918"/>
                  <a:pt x="126683" y="104775"/>
                </a:cubicBezTo>
                <a:lnTo>
                  <a:pt x="0" y="104775"/>
                </a:lnTo>
                <a:lnTo>
                  <a:pt x="0" y="0"/>
                </a:lnTo>
                <a:lnTo>
                  <a:pt x="178118" y="0"/>
                </a:lnTo>
                <a:cubicBezTo>
                  <a:pt x="255270" y="0"/>
                  <a:pt x="297180" y="33338"/>
                  <a:pt x="297180" y="10477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3" name="Forme libre : forme 72">
            <a:extLst>
              <a:ext uri="{FF2B5EF4-FFF2-40B4-BE49-F238E27FC236}">
                <a16:creationId xmlns:a16="http://schemas.microsoft.com/office/drawing/2014/main" id="{B8E4BE1C-C619-4E1A-8472-B00AFC43BA29}"/>
              </a:ext>
            </a:extLst>
          </p:cNvPr>
          <p:cNvSpPr/>
          <p:nvPr/>
        </p:nvSpPr>
        <p:spPr>
          <a:xfrm rot="8716295">
            <a:off x="369114" y="2163144"/>
            <a:ext cx="259728" cy="250615"/>
          </a:xfrm>
          <a:custGeom>
            <a:avLst/>
            <a:gdLst>
              <a:gd name="connsiteX0" fmla="*/ 544830 w 542925"/>
              <a:gd name="connsiteY0" fmla="*/ 184905 h 523875"/>
              <a:gd name="connsiteX1" fmla="*/ 544830 w 542925"/>
              <a:gd name="connsiteY1" fmla="*/ 197288 h 523875"/>
              <a:gd name="connsiteX2" fmla="*/ 415290 w 542925"/>
              <a:gd name="connsiteY2" fmla="*/ 204908 h 523875"/>
              <a:gd name="connsiteX3" fmla="*/ 415290 w 542925"/>
              <a:gd name="connsiteY3" fmla="*/ 170618 h 523875"/>
              <a:gd name="connsiteX4" fmla="*/ 344805 w 542925"/>
              <a:gd name="connsiteY4" fmla="*/ 83940 h 523875"/>
              <a:gd name="connsiteX5" fmla="*/ 233363 w 542925"/>
              <a:gd name="connsiteY5" fmla="*/ 266820 h 523875"/>
              <a:gd name="connsiteX6" fmla="*/ 233363 w 542925"/>
              <a:gd name="connsiteY6" fmla="*/ 446843 h 523875"/>
              <a:gd name="connsiteX7" fmla="*/ 107632 w 542925"/>
              <a:gd name="connsiteY7" fmla="*/ 532568 h 523875"/>
              <a:gd name="connsiteX8" fmla="*/ 107632 w 542925"/>
              <a:gd name="connsiteY8" fmla="*/ 95370 h 523875"/>
              <a:gd name="connsiteX9" fmla="*/ 0 w 542925"/>
              <a:gd name="connsiteY9" fmla="*/ 95370 h 523875"/>
              <a:gd name="connsiteX10" fmla="*/ 0 w 542925"/>
              <a:gd name="connsiteY10" fmla="*/ 2978 h 523875"/>
              <a:gd name="connsiteX11" fmla="*/ 219075 w 542925"/>
              <a:gd name="connsiteY11" fmla="*/ 2978 h 523875"/>
              <a:gd name="connsiteX12" fmla="*/ 219075 w 542925"/>
              <a:gd name="connsiteY12" fmla="*/ 157283 h 523875"/>
              <a:gd name="connsiteX13" fmla="*/ 221932 w 542925"/>
              <a:gd name="connsiteY13" fmla="*/ 157283 h 523875"/>
              <a:gd name="connsiteX14" fmla="*/ 321945 w 542925"/>
              <a:gd name="connsiteY14" fmla="*/ 12503 h 523875"/>
              <a:gd name="connsiteX15" fmla="*/ 387667 w 542925"/>
              <a:gd name="connsiteY15" fmla="*/ 120 h 523875"/>
              <a:gd name="connsiteX16" fmla="*/ 544830 w 542925"/>
              <a:gd name="connsiteY16" fmla="*/ 18490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42925" h="523875">
                <a:moveTo>
                  <a:pt x="544830" y="184905"/>
                </a:moveTo>
                <a:lnTo>
                  <a:pt x="544830" y="197288"/>
                </a:lnTo>
                <a:lnTo>
                  <a:pt x="415290" y="204908"/>
                </a:lnTo>
                <a:lnTo>
                  <a:pt x="415290" y="170618"/>
                </a:lnTo>
                <a:cubicBezTo>
                  <a:pt x="415290" y="119183"/>
                  <a:pt x="385763" y="83940"/>
                  <a:pt x="344805" y="83940"/>
                </a:cubicBezTo>
                <a:cubicBezTo>
                  <a:pt x="283845" y="83940"/>
                  <a:pt x="233363" y="164903"/>
                  <a:pt x="233363" y="266820"/>
                </a:cubicBezTo>
                <a:lnTo>
                  <a:pt x="233363" y="446843"/>
                </a:lnTo>
                <a:lnTo>
                  <a:pt x="107632" y="532568"/>
                </a:lnTo>
                <a:lnTo>
                  <a:pt x="107632" y="95370"/>
                </a:lnTo>
                <a:lnTo>
                  <a:pt x="0" y="95370"/>
                </a:lnTo>
                <a:lnTo>
                  <a:pt x="0" y="2978"/>
                </a:lnTo>
                <a:lnTo>
                  <a:pt x="219075" y="2978"/>
                </a:lnTo>
                <a:lnTo>
                  <a:pt x="219075" y="157283"/>
                </a:lnTo>
                <a:lnTo>
                  <a:pt x="221932" y="157283"/>
                </a:lnTo>
                <a:cubicBezTo>
                  <a:pt x="252413" y="66795"/>
                  <a:pt x="276225" y="31553"/>
                  <a:pt x="321945" y="12503"/>
                </a:cubicBezTo>
                <a:cubicBezTo>
                  <a:pt x="342900" y="3930"/>
                  <a:pt x="364807" y="-832"/>
                  <a:pt x="387667" y="120"/>
                </a:cubicBezTo>
                <a:cubicBezTo>
                  <a:pt x="485775" y="-1785"/>
                  <a:pt x="544830" y="66795"/>
                  <a:pt x="544830" y="18490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4" name="Forme libre : forme 73">
            <a:extLst>
              <a:ext uri="{FF2B5EF4-FFF2-40B4-BE49-F238E27FC236}">
                <a16:creationId xmlns:a16="http://schemas.microsoft.com/office/drawing/2014/main" id="{E00D5309-AD7C-43C7-8A0B-B7211B97E879}"/>
              </a:ext>
            </a:extLst>
          </p:cNvPr>
          <p:cNvSpPr/>
          <p:nvPr/>
        </p:nvSpPr>
        <p:spPr>
          <a:xfrm rot="8716295">
            <a:off x="167488" y="2222446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5" name="Forme libre : forme 74">
            <a:extLst>
              <a:ext uri="{FF2B5EF4-FFF2-40B4-BE49-F238E27FC236}">
                <a16:creationId xmlns:a16="http://schemas.microsoft.com/office/drawing/2014/main" id="{569B59A1-12B4-4886-9F85-B0AFCE236D87}"/>
              </a:ext>
            </a:extLst>
          </p:cNvPr>
          <p:cNvSpPr/>
          <p:nvPr/>
        </p:nvSpPr>
        <p:spPr>
          <a:xfrm rot="8716295">
            <a:off x="42586" y="2013773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6" name="Forme libre : forme 75">
            <a:extLst>
              <a:ext uri="{FF2B5EF4-FFF2-40B4-BE49-F238E27FC236}">
                <a16:creationId xmlns:a16="http://schemas.microsoft.com/office/drawing/2014/main" id="{F564295A-16CC-45A5-86A1-4CEC6CD90425}"/>
              </a:ext>
            </a:extLst>
          </p:cNvPr>
          <p:cNvSpPr/>
          <p:nvPr/>
        </p:nvSpPr>
        <p:spPr>
          <a:xfrm rot="8716295">
            <a:off x="257666" y="2263398"/>
            <a:ext cx="100246" cy="218719"/>
          </a:xfrm>
          <a:custGeom>
            <a:avLst/>
            <a:gdLst>
              <a:gd name="connsiteX0" fmla="*/ 216217 w 209550"/>
              <a:gd name="connsiteY0" fmla="*/ 0 h 457200"/>
              <a:gd name="connsiteX1" fmla="*/ 216217 w 209550"/>
              <a:gd name="connsiteY1" fmla="*/ 458153 h 457200"/>
              <a:gd name="connsiteX2" fmla="*/ 90488 w 209550"/>
              <a:gd name="connsiteY2" fmla="*/ 337185 h 457200"/>
              <a:gd name="connsiteX3" fmla="*/ 90488 w 209550"/>
              <a:gd name="connsiteY3" fmla="*/ 34290 h 457200"/>
              <a:gd name="connsiteX4" fmla="*/ 0 w 209550"/>
              <a:gd name="connsiteY4" fmla="*/ 34290 h 457200"/>
              <a:gd name="connsiteX5" fmla="*/ 0 w 209550"/>
              <a:gd name="connsiteY5" fmla="*/ 4763 h 457200"/>
              <a:gd name="connsiteX6" fmla="*/ 216217 w 209550"/>
              <a:gd name="connsiteY6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9550" h="457200">
                <a:moveTo>
                  <a:pt x="216217" y="0"/>
                </a:moveTo>
                <a:lnTo>
                  <a:pt x="216217" y="458153"/>
                </a:lnTo>
                <a:lnTo>
                  <a:pt x="90488" y="337185"/>
                </a:lnTo>
                <a:lnTo>
                  <a:pt x="90488" y="34290"/>
                </a:lnTo>
                <a:lnTo>
                  <a:pt x="0" y="34290"/>
                </a:lnTo>
                <a:lnTo>
                  <a:pt x="0" y="4763"/>
                </a:lnTo>
                <a:cubicBezTo>
                  <a:pt x="68580" y="7620"/>
                  <a:pt x="140017" y="1905"/>
                  <a:pt x="216217" y="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7" name="Forme libre : forme 76">
            <a:extLst>
              <a:ext uri="{FF2B5EF4-FFF2-40B4-BE49-F238E27FC236}">
                <a16:creationId xmlns:a16="http://schemas.microsoft.com/office/drawing/2014/main" id="{2384700C-00D8-4B4D-ABDF-BE0456A14505}"/>
              </a:ext>
            </a:extLst>
          </p:cNvPr>
          <p:cNvSpPr/>
          <p:nvPr/>
        </p:nvSpPr>
        <p:spPr>
          <a:xfrm rot="8716295">
            <a:off x="16215" y="2113798"/>
            <a:ext cx="72447" cy="72447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8" name="Forme libre : forme 77">
            <a:extLst>
              <a:ext uri="{FF2B5EF4-FFF2-40B4-BE49-F238E27FC236}">
                <a16:creationId xmlns:a16="http://schemas.microsoft.com/office/drawing/2014/main" id="{D8BA4606-ED26-402C-93D7-D77E55C056EF}"/>
              </a:ext>
            </a:extLst>
          </p:cNvPr>
          <p:cNvSpPr/>
          <p:nvPr/>
        </p:nvSpPr>
        <p:spPr>
          <a:xfrm rot="7484129">
            <a:off x="362597" y="2454749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9" name="Forme libre : forme 78">
            <a:extLst>
              <a:ext uri="{FF2B5EF4-FFF2-40B4-BE49-F238E27FC236}">
                <a16:creationId xmlns:a16="http://schemas.microsoft.com/office/drawing/2014/main" id="{3CCE9711-ABFF-417D-B3E6-0BDB1263FCD1}"/>
              </a:ext>
            </a:extLst>
          </p:cNvPr>
          <p:cNvSpPr/>
          <p:nvPr/>
        </p:nvSpPr>
        <p:spPr>
          <a:xfrm rot="13089394">
            <a:off x="463440" y="2426400"/>
            <a:ext cx="272584" cy="319064"/>
          </a:xfrm>
          <a:custGeom>
            <a:avLst/>
            <a:gdLst>
              <a:gd name="connsiteX0" fmla="*/ 80445 w 272584"/>
              <a:gd name="connsiteY0" fmla="*/ 215518 h 319064"/>
              <a:gd name="connsiteX1" fmla="*/ 0 w 272584"/>
              <a:gd name="connsiteY1" fmla="*/ 93007 h 319064"/>
              <a:gd name="connsiteX2" fmla="*/ 0 w 272584"/>
              <a:gd name="connsiteY2" fmla="*/ 38074 h 319064"/>
              <a:gd name="connsiteX3" fmla="*/ 73388 w 272584"/>
              <a:gd name="connsiteY3" fmla="*/ 0 h 319064"/>
              <a:gd name="connsiteX4" fmla="*/ 74492 w 272584"/>
              <a:gd name="connsiteY4" fmla="*/ 153950 h 319064"/>
              <a:gd name="connsiteX5" fmla="*/ 76768 w 272584"/>
              <a:gd name="connsiteY5" fmla="*/ 200369 h 319064"/>
              <a:gd name="connsiteX6" fmla="*/ 272584 w 272584"/>
              <a:gd name="connsiteY6" fmla="*/ 258238 h 319064"/>
              <a:gd name="connsiteX7" fmla="*/ 177331 w 272584"/>
              <a:gd name="connsiteY7" fmla="*/ 311347 h 319064"/>
              <a:gd name="connsiteX8" fmla="*/ 148437 w 272584"/>
              <a:gd name="connsiteY8" fmla="*/ 319064 h 319064"/>
              <a:gd name="connsiteX9" fmla="*/ 119231 w 272584"/>
              <a:gd name="connsiteY9" fmla="*/ 274585 h 319064"/>
              <a:gd name="connsiteX10" fmla="*/ 153949 w 272584"/>
              <a:gd name="connsiteY10" fmla="*/ 281965 h 319064"/>
              <a:gd name="connsiteX11" fmla="*/ 203610 w 272584"/>
              <a:gd name="connsiteY11" fmla="*/ 273136 h 319064"/>
              <a:gd name="connsiteX12" fmla="*/ 271481 w 272584"/>
              <a:gd name="connsiteY12" fmla="*/ 245547 h 319064"/>
              <a:gd name="connsiteX13" fmla="*/ 272584 w 272584"/>
              <a:gd name="connsiteY13" fmla="*/ 252720 h 319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72584" h="319064">
                <a:moveTo>
                  <a:pt x="80445" y="215518"/>
                </a:moveTo>
                <a:lnTo>
                  <a:pt x="0" y="93007"/>
                </a:lnTo>
                <a:lnTo>
                  <a:pt x="0" y="38074"/>
                </a:lnTo>
                <a:lnTo>
                  <a:pt x="73388" y="0"/>
                </a:lnTo>
                <a:lnTo>
                  <a:pt x="74492" y="153950"/>
                </a:lnTo>
                <a:cubicBezTo>
                  <a:pt x="73664" y="169400"/>
                  <a:pt x="74492" y="184988"/>
                  <a:pt x="76768" y="200369"/>
                </a:cubicBezTo>
                <a:close/>
                <a:moveTo>
                  <a:pt x="272584" y="258238"/>
                </a:moveTo>
                <a:cubicBezTo>
                  <a:pt x="243339" y="283344"/>
                  <a:pt x="209542" y="300312"/>
                  <a:pt x="177331" y="311347"/>
                </a:cubicBezTo>
                <a:lnTo>
                  <a:pt x="148437" y="319064"/>
                </a:lnTo>
                <a:lnTo>
                  <a:pt x="119231" y="274585"/>
                </a:lnTo>
                <a:lnTo>
                  <a:pt x="153949" y="281965"/>
                </a:lnTo>
                <a:cubicBezTo>
                  <a:pt x="171055" y="281413"/>
                  <a:pt x="187609" y="278102"/>
                  <a:pt x="203610" y="273136"/>
                </a:cubicBezTo>
                <a:cubicBezTo>
                  <a:pt x="226785" y="265963"/>
                  <a:pt x="249409" y="256583"/>
                  <a:pt x="271481" y="245547"/>
                </a:cubicBezTo>
                <a:cubicBezTo>
                  <a:pt x="272032" y="247754"/>
                  <a:pt x="272584" y="250513"/>
                  <a:pt x="272584" y="25272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0" name="Forme libre : forme 79">
            <a:extLst>
              <a:ext uri="{FF2B5EF4-FFF2-40B4-BE49-F238E27FC236}">
                <a16:creationId xmlns:a16="http://schemas.microsoft.com/office/drawing/2014/main" id="{6E12610B-6A34-4C00-8EC5-09F9F5AEEEF0}"/>
              </a:ext>
            </a:extLst>
          </p:cNvPr>
          <p:cNvSpPr/>
          <p:nvPr/>
        </p:nvSpPr>
        <p:spPr>
          <a:xfrm rot="8716295">
            <a:off x="675867" y="2357327"/>
            <a:ext cx="38012" cy="45752"/>
          </a:xfrm>
          <a:custGeom>
            <a:avLst/>
            <a:gdLst>
              <a:gd name="connsiteX0" fmla="*/ 0 w 38012"/>
              <a:gd name="connsiteY0" fmla="*/ 45752 h 45752"/>
              <a:gd name="connsiteX1" fmla="*/ 37842 w 38012"/>
              <a:gd name="connsiteY1" fmla="*/ 0 h 45752"/>
              <a:gd name="connsiteX2" fmla="*/ 38012 w 38012"/>
              <a:gd name="connsiteY2" fmla="*/ 641 h 45752"/>
              <a:gd name="connsiteX3" fmla="*/ 6841 w 38012"/>
              <a:gd name="connsiteY3" fmla="*/ 42560 h 45752"/>
              <a:gd name="connsiteX4" fmla="*/ 7378 w 38012"/>
              <a:gd name="connsiteY4" fmla="*/ 42560 h 45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012" h="45752">
                <a:moveTo>
                  <a:pt x="0" y="45752"/>
                </a:moveTo>
                <a:lnTo>
                  <a:pt x="37842" y="0"/>
                </a:lnTo>
                <a:lnTo>
                  <a:pt x="38012" y="641"/>
                </a:lnTo>
                <a:cubicBezTo>
                  <a:pt x="36400" y="19451"/>
                  <a:pt x="24039" y="35036"/>
                  <a:pt x="6841" y="42560"/>
                </a:cubicBezTo>
                <a:lnTo>
                  <a:pt x="7378" y="4256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1" name="Forme libre : forme 80">
            <a:extLst>
              <a:ext uri="{FF2B5EF4-FFF2-40B4-BE49-F238E27FC236}">
                <a16:creationId xmlns:a16="http://schemas.microsoft.com/office/drawing/2014/main" id="{04C60C27-7F84-4DDC-864F-602B18A26BC5}"/>
              </a:ext>
            </a:extLst>
          </p:cNvPr>
          <p:cNvSpPr/>
          <p:nvPr/>
        </p:nvSpPr>
        <p:spPr>
          <a:xfrm rot="8716295">
            <a:off x="601197" y="2126009"/>
            <a:ext cx="110380" cy="1103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2" name="Forme libre : forme 81">
            <a:extLst>
              <a:ext uri="{FF2B5EF4-FFF2-40B4-BE49-F238E27FC236}">
                <a16:creationId xmlns:a16="http://schemas.microsoft.com/office/drawing/2014/main" id="{603BCEF5-66FB-4B3A-9672-2C4F09A114FA}"/>
              </a:ext>
            </a:extLst>
          </p:cNvPr>
          <p:cNvSpPr/>
          <p:nvPr/>
        </p:nvSpPr>
        <p:spPr>
          <a:xfrm rot="8716295">
            <a:off x="357951" y="2156230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3" name="Forme libre : forme 82">
            <a:extLst>
              <a:ext uri="{FF2B5EF4-FFF2-40B4-BE49-F238E27FC236}">
                <a16:creationId xmlns:a16="http://schemas.microsoft.com/office/drawing/2014/main" id="{47C10671-5456-47FF-825A-4447688D4139}"/>
              </a:ext>
            </a:extLst>
          </p:cNvPr>
          <p:cNvSpPr/>
          <p:nvPr/>
        </p:nvSpPr>
        <p:spPr>
          <a:xfrm rot="8716295">
            <a:off x="535403" y="1996988"/>
            <a:ext cx="110380" cy="1103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4" name="Forme libre : forme 83">
            <a:extLst>
              <a:ext uri="{FF2B5EF4-FFF2-40B4-BE49-F238E27FC236}">
                <a16:creationId xmlns:a16="http://schemas.microsoft.com/office/drawing/2014/main" id="{DB34C374-02D3-4583-9890-9C27CA821837}"/>
              </a:ext>
            </a:extLst>
          </p:cNvPr>
          <p:cNvSpPr/>
          <p:nvPr/>
        </p:nvSpPr>
        <p:spPr>
          <a:xfrm rot="8716295">
            <a:off x="-76043" y="1768178"/>
            <a:ext cx="197178" cy="215049"/>
          </a:xfrm>
          <a:custGeom>
            <a:avLst/>
            <a:gdLst>
              <a:gd name="connsiteX0" fmla="*/ 51490 w 197178"/>
              <a:gd name="connsiteY0" fmla="*/ 215049 h 215049"/>
              <a:gd name="connsiteX1" fmla="*/ 51490 w 197178"/>
              <a:gd name="connsiteY1" fmla="*/ 45624 h 215049"/>
              <a:gd name="connsiteX2" fmla="*/ 0 w 197178"/>
              <a:gd name="connsiteY2" fmla="*/ 45624 h 215049"/>
              <a:gd name="connsiteX3" fmla="*/ 0 w 197178"/>
              <a:gd name="connsiteY3" fmla="*/ 1424 h 215049"/>
              <a:gd name="connsiteX4" fmla="*/ 104803 w 197178"/>
              <a:gd name="connsiteY4" fmla="*/ 1425 h 215049"/>
              <a:gd name="connsiteX5" fmla="*/ 104803 w 197178"/>
              <a:gd name="connsiteY5" fmla="*/ 75242 h 215049"/>
              <a:gd name="connsiteX6" fmla="*/ 106169 w 197178"/>
              <a:gd name="connsiteY6" fmla="*/ 75242 h 215049"/>
              <a:gd name="connsiteX7" fmla="*/ 154014 w 197178"/>
              <a:gd name="connsiteY7" fmla="*/ 5981 h 215049"/>
              <a:gd name="connsiteX8" fmla="*/ 185455 w 197178"/>
              <a:gd name="connsiteY8" fmla="*/ 57 h 215049"/>
              <a:gd name="connsiteX9" fmla="*/ 197178 w 197178"/>
              <a:gd name="connsiteY9" fmla="*/ 4872 h 215049"/>
              <a:gd name="connsiteX10" fmla="*/ 170795 w 197178"/>
              <a:gd name="connsiteY10" fmla="*/ 42934 h 215049"/>
              <a:gd name="connsiteX11" fmla="*/ 164950 w 197178"/>
              <a:gd name="connsiteY11" fmla="*/ 40156 h 215049"/>
              <a:gd name="connsiteX12" fmla="*/ 111638 w 197178"/>
              <a:gd name="connsiteY12" fmla="*/ 127643 h 215049"/>
              <a:gd name="connsiteX13" fmla="*/ 111638 w 197178"/>
              <a:gd name="connsiteY13" fmla="*/ 128277 h 215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97178" h="215049">
                <a:moveTo>
                  <a:pt x="51490" y="215049"/>
                </a:moveTo>
                <a:lnTo>
                  <a:pt x="51490" y="45624"/>
                </a:lnTo>
                <a:lnTo>
                  <a:pt x="0" y="45624"/>
                </a:lnTo>
                <a:lnTo>
                  <a:pt x="0" y="1424"/>
                </a:lnTo>
                <a:lnTo>
                  <a:pt x="104803" y="1425"/>
                </a:lnTo>
                <a:lnTo>
                  <a:pt x="104803" y="75242"/>
                </a:lnTo>
                <a:lnTo>
                  <a:pt x="106169" y="75242"/>
                </a:lnTo>
                <a:cubicBezTo>
                  <a:pt x="120751" y="31954"/>
                  <a:pt x="132142" y="15094"/>
                  <a:pt x="154014" y="5981"/>
                </a:cubicBezTo>
                <a:cubicBezTo>
                  <a:pt x="164039" y="1880"/>
                  <a:pt x="174519" y="-398"/>
                  <a:pt x="185455" y="57"/>
                </a:cubicBezTo>
                <a:lnTo>
                  <a:pt x="197178" y="4872"/>
                </a:lnTo>
                <a:lnTo>
                  <a:pt x="170795" y="42934"/>
                </a:lnTo>
                <a:lnTo>
                  <a:pt x="164950" y="40156"/>
                </a:lnTo>
                <a:cubicBezTo>
                  <a:pt x="135788" y="40156"/>
                  <a:pt x="111638" y="78887"/>
                  <a:pt x="111638" y="127643"/>
                </a:cubicBezTo>
                <a:lnTo>
                  <a:pt x="111638" y="128277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5" name="Forme libre : forme 84">
            <a:extLst>
              <a:ext uri="{FF2B5EF4-FFF2-40B4-BE49-F238E27FC236}">
                <a16:creationId xmlns:a16="http://schemas.microsoft.com/office/drawing/2014/main" id="{F27A5053-248B-4729-A180-CFD83FBA8C7D}"/>
              </a:ext>
            </a:extLst>
          </p:cNvPr>
          <p:cNvSpPr/>
          <p:nvPr/>
        </p:nvSpPr>
        <p:spPr>
          <a:xfrm rot="8716295">
            <a:off x="56555" y="1474203"/>
            <a:ext cx="141256" cy="232388"/>
          </a:xfrm>
          <a:custGeom>
            <a:avLst/>
            <a:gdLst>
              <a:gd name="connsiteX0" fmla="*/ 297180 w 295275"/>
              <a:gd name="connsiteY0" fmla="*/ 104775 h 485775"/>
              <a:gd name="connsiteX1" fmla="*/ 297180 w 295275"/>
              <a:gd name="connsiteY1" fmla="*/ 435293 h 485775"/>
              <a:gd name="connsiteX2" fmla="*/ 169545 w 295275"/>
              <a:gd name="connsiteY2" fmla="*/ 485775 h 485775"/>
              <a:gd name="connsiteX3" fmla="*/ 169545 w 295275"/>
              <a:gd name="connsiteY3" fmla="*/ 145733 h 485775"/>
              <a:gd name="connsiteX4" fmla="*/ 169545 w 295275"/>
              <a:gd name="connsiteY4" fmla="*/ 137160 h 485775"/>
              <a:gd name="connsiteX5" fmla="*/ 126683 w 295275"/>
              <a:gd name="connsiteY5" fmla="*/ 104775 h 485775"/>
              <a:gd name="connsiteX6" fmla="*/ 0 w 295275"/>
              <a:gd name="connsiteY6" fmla="*/ 104775 h 485775"/>
              <a:gd name="connsiteX7" fmla="*/ 0 w 295275"/>
              <a:gd name="connsiteY7" fmla="*/ 0 h 485775"/>
              <a:gd name="connsiteX8" fmla="*/ 178118 w 295275"/>
              <a:gd name="connsiteY8" fmla="*/ 0 h 485775"/>
              <a:gd name="connsiteX9" fmla="*/ 297180 w 295275"/>
              <a:gd name="connsiteY9" fmla="*/ 104775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95275" h="485775">
                <a:moveTo>
                  <a:pt x="297180" y="104775"/>
                </a:moveTo>
                <a:lnTo>
                  <a:pt x="297180" y="435293"/>
                </a:lnTo>
                <a:lnTo>
                  <a:pt x="169545" y="485775"/>
                </a:lnTo>
                <a:lnTo>
                  <a:pt x="169545" y="145733"/>
                </a:lnTo>
                <a:cubicBezTo>
                  <a:pt x="169545" y="142875"/>
                  <a:pt x="169545" y="140018"/>
                  <a:pt x="169545" y="137160"/>
                </a:cubicBezTo>
                <a:cubicBezTo>
                  <a:pt x="166688" y="116205"/>
                  <a:pt x="147638" y="101918"/>
                  <a:pt x="126683" y="104775"/>
                </a:cubicBezTo>
                <a:lnTo>
                  <a:pt x="0" y="104775"/>
                </a:lnTo>
                <a:lnTo>
                  <a:pt x="0" y="0"/>
                </a:lnTo>
                <a:lnTo>
                  <a:pt x="178118" y="0"/>
                </a:lnTo>
                <a:cubicBezTo>
                  <a:pt x="255270" y="0"/>
                  <a:pt x="297180" y="33338"/>
                  <a:pt x="297180" y="10477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6" name="Forme libre : forme 85">
            <a:extLst>
              <a:ext uri="{FF2B5EF4-FFF2-40B4-BE49-F238E27FC236}">
                <a16:creationId xmlns:a16="http://schemas.microsoft.com/office/drawing/2014/main" id="{9918622A-7E96-4EC8-A35B-CBCD19A79AE2}"/>
              </a:ext>
            </a:extLst>
          </p:cNvPr>
          <p:cNvSpPr/>
          <p:nvPr/>
        </p:nvSpPr>
        <p:spPr>
          <a:xfrm rot="8716295">
            <a:off x="145947" y="1503445"/>
            <a:ext cx="259728" cy="250615"/>
          </a:xfrm>
          <a:custGeom>
            <a:avLst/>
            <a:gdLst>
              <a:gd name="connsiteX0" fmla="*/ 544830 w 542925"/>
              <a:gd name="connsiteY0" fmla="*/ 184905 h 523875"/>
              <a:gd name="connsiteX1" fmla="*/ 544830 w 542925"/>
              <a:gd name="connsiteY1" fmla="*/ 197288 h 523875"/>
              <a:gd name="connsiteX2" fmla="*/ 415290 w 542925"/>
              <a:gd name="connsiteY2" fmla="*/ 204908 h 523875"/>
              <a:gd name="connsiteX3" fmla="*/ 415290 w 542925"/>
              <a:gd name="connsiteY3" fmla="*/ 170618 h 523875"/>
              <a:gd name="connsiteX4" fmla="*/ 344805 w 542925"/>
              <a:gd name="connsiteY4" fmla="*/ 83940 h 523875"/>
              <a:gd name="connsiteX5" fmla="*/ 233363 w 542925"/>
              <a:gd name="connsiteY5" fmla="*/ 266820 h 523875"/>
              <a:gd name="connsiteX6" fmla="*/ 233363 w 542925"/>
              <a:gd name="connsiteY6" fmla="*/ 446843 h 523875"/>
              <a:gd name="connsiteX7" fmla="*/ 107632 w 542925"/>
              <a:gd name="connsiteY7" fmla="*/ 532568 h 523875"/>
              <a:gd name="connsiteX8" fmla="*/ 107632 w 542925"/>
              <a:gd name="connsiteY8" fmla="*/ 95370 h 523875"/>
              <a:gd name="connsiteX9" fmla="*/ 0 w 542925"/>
              <a:gd name="connsiteY9" fmla="*/ 95370 h 523875"/>
              <a:gd name="connsiteX10" fmla="*/ 0 w 542925"/>
              <a:gd name="connsiteY10" fmla="*/ 2978 h 523875"/>
              <a:gd name="connsiteX11" fmla="*/ 219075 w 542925"/>
              <a:gd name="connsiteY11" fmla="*/ 2978 h 523875"/>
              <a:gd name="connsiteX12" fmla="*/ 219075 w 542925"/>
              <a:gd name="connsiteY12" fmla="*/ 157283 h 523875"/>
              <a:gd name="connsiteX13" fmla="*/ 221932 w 542925"/>
              <a:gd name="connsiteY13" fmla="*/ 157283 h 523875"/>
              <a:gd name="connsiteX14" fmla="*/ 321945 w 542925"/>
              <a:gd name="connsiteY14" fmla="*/ 12503 h 523875"/>
              <a:gd name="connsiteX15" fmla="*/ 387667 w 542925"/>
              <a:gd name="connsiteY15" fmla="*/ 120 h 523875"/>
              <a:gd name="connsiteX16" fmla="*/ 544830 w 542925"/>
              <a:gd name="connsiteY16" fmla="*/ 18490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42925" h="523875">
                <a:moveTo>
                  <a:pt x="544830" y="184905"/>
                </a:moveTo>
                <a:lnTo>
                  <a:pt x="544830" y="197288"/>
                </a:lnTo>
                <a:lnTo>
                  <a:pt x="415290" y="204908"/>
                </a:lnTo>
                <a:lnTo>
                  <a:pt x="415290" y="170618"/>
                </a:lnTo>
                <a:cubicBezTo>
                  <a:pt x="415290" y="119183"/>
                  <a:pt x="385763" y="83940"/>
                  <a:pt x="344805" y="83940"/>
                </a:cubicBezTo>
                <a:cubicBezTo>
                  <a:pt x="283845" y="83940"/>
                  <a:pt x="233363" y="164903"/>
                  <a:pt x="233363" y="266820"/>
                </a:cubicBezTo>
                <a:lnTo>
                  <a:pt x="233363" y="446843"/>
                </a:lnTo>
                <a:lnTo>
                  <a:pt x="107632" y="532568"/>
                </a:lnTo>
                <a:lnTo>
                  <a:pt x="107632" y="95370"/>
                </a:lnTo>
                <a:lnTo>
                  <a:pt x="0" y="95370"/>
                </a:lnTo>
                <a:lnTo>
                  <a:pt x="0" y="2978"/>
                </a:lnTo>
                <a:lnTo>
                  <a:pt x="219075" y="2978"/>
                </a:lnTo>
                <a:lnTo>
                  <a:pt x="219075" y="157283"/>
                </a:lnTo>
                <a:lnTo>
                  <a:pt x="221932" y="157283"/>
                </a:lnTo>
                <a:cubicBezTo>
                  <a:pt x="252413" y="66795"/>
                  <a:pt x="276225" y="31553"/>
                  <a:pt x="321945" y="12503"/>
                </a:cubicBezTo>
                <a:cubicBezTo>
                  <a:pt x="342900" y="3930"/>
                  <a:pt x="364807" y="-832"/>
                  <a:pt x="387667" y="120"/>
                </a:cubicBezTo>
                <a:cubicBezTo>
                  <a:pt x="485775" y="-1785"/>
                  <a:pt x="544830" y="66795"/>
                  <a:pt x="544830" y="18490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7" name="Forme libre : forme 86">
            <a:extLst>
              <a:ext uri="{FF2B5EF4-FFF2-40B4-BE49-F238E27FC236}">
                <a16:creationId xmlns:a16="http://schemas.microsoft.com/office/drawing/2014/main" id="{0ECD9757-2AFD-4623-9C3D-24E52F11F047}"/>
              </a:ext>
            </a:extLst>
          </p:cNvPr>
          <p:cNvSpPr/>
          <p:nvPr/>
        </p:nvSpPr>
        <p:spPr>
          <a:xfrm rot="8716295">
            <a:off x="-21870" y="1443501"/>
            <a:ext cx="68614" cy="55323"/>
          </a:xfrm>
          <a:custGeom>
            <a:avLst/>
            <a:gdLst>
              <a:gd name="connsiteX0" fmla="*/ 0 w 68614"/>
              <a:gd name="connsiteY0" fmla="*/ 55323 h 55323"/>
              <a:gd name="connsiteX1" fmla="*/ 0 w 68614"/>
              <a:gd name="connsiteY1" fmla="*/ 0 h 55323"/>
              <a:gd name="connsiteX2" fmla="*/ 68614 w 68614"/>
              <a:gd name="connsiteY2" fmla="*/ 0 h 55323"/>
              <a:gd name="connsiteX3" fmla="*/ 30266 w 68614"/>
              <a:gd name="connsiteY3" fmla="*/ 55323 h 553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614" h="55323">
                <a:moveTo>
                  <a:pt x="0" y="55323"/>
                </a:moveTo>
                <a:lnTo>
                  <a:pt x="0" y="0"/>
                </a:lnTo>
                <a:lnTo>
                  <a:pt x="68614" y="0"/>
                </a:lnTo>
                <a:lnTo>
                  <a:pt x="30266" y="5532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8" name="Forme libre : forme 87">
            <a:extLst>
              <a:ext uri="{FF2B5EF4-FFF2-40B4-BE49-F238E27FC236}">
                <a16:creationId xmlns:a16="http://schemas.microsoft.com/office/drawing/2014/main" id="{661ED1FA-7FC0-427E-9226-6E31215700D9}"/>
              </a:ext>
            </a:extLst>
          </p:cNvPr>
          <p:cNvSpPr/>
          <p:nvPr/>
        </p:nvSpPr>
        <p:spPr>
          <a:xfrm rot="8716295">
            <a:off x="35817" y="1618109"/>
            <a:ext cx="103435" cy="203897"/>
          </a:xfrm>
          <a:custGeom>
            <a:avLst/>
            <a:gdLst>
              <a:gd name="connsiteX0" fmla="*/ 87556 w 103435"/>
              <a:gd name="connsiteY0" fmla="*/ 203897 h 203897"/>
              <a:gd name="connsiteX1" fmla="*/ 43288 w 103435"/>
              <a:gd name="connsiteY1" fmla="*/ 161305 h 203897"/>
              <a:gd name="connsiteX2" fmla="*/ 43288 w 103435"/>
              <a:gd name="connsiteY2" fmla="*/ 16404 h 203897"/>
              <a:gd name="connsiteX3" fmla="*/ 0 w 103435"/>
              <a:gd name="connsiteY3" fmla="*/ 16404 h 203897"/>
              <a:gd name="connsiteX4" fmla="*/ 0 w 103435"/>
              <a:gd name="connsiteY4" fmla="*/ 2278 h 203897"/>
              <a:gd name="connsiteX5" fmla="*/ 103435 w 103435"/>
              <a:gd name="connsiteY5" fmla="*/ 0 h 203897"/>
              <a:gd name="connsiteX6" fmla="*/ 103435 w 103435"/>
              <a:gd name="connsiteY6" fmla="*/ 180989 h 203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3435" h="203897">
                <a:moveTo>
                  <a:pt x="87556" y="203897"/>
                </a:moveTo>
                <a:lnTo>
                  <a:pt x="43288" y="161305"/>
                </a:lnTo>
                <a:lnTo>
                  <a:pt x="43288" y="16404"/>
                </a:lnTo>
                <a:lnTo>
                  <a:pt x="0" y="16404"/>
                </a:lnTo>
                <a:lnTo>
                  <a:pt x="0" y="2278"/>
                </a:lnTo>
                <a:cubicBezTo>
                  <a:pt x="32808" y="3645"/>
                  <a:pt x="66982" y="911"/>
                  <a:pt x="103435" y="0"/>
                </a:cubicBezTo>
                <a:lnTo>
                  <a:pt x="103435" y="180989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9" name="Forme libre : forme 88">
            <a:extLst>
              <a:ext uri="{FF2B5EF4-FFF2-40B4-BE49-F238E27FC236}">
                <a16:creationId xmlns:a16="http://schemas.microsoft.com/office/drawing/2014/main" id="{A1295F39-BDBB-432C-B32B-C5B551977FC2}"/>
              </a:ext>
            </a:extLst>
          </p:cNvPr>
          <p:cNvSpPr/>
          <p:nvPr/>
        </p:nvSpPr>
        <p:spPr>
          <a:xfrm rot="7484129">
            <a:off x="139430" y="1795050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0" name="Forme libre : forme 89">
            <a:extLst>
              <a:ext uri="{FF2B5EF4-FFF2-40B4-BE49-F238E27FC236}">
                <a16:creationId xmlns:a16="http://schemas.microsoft.com/office/drawing/2014/main" id="{F2E91B5E-C359-4716-9781-DAEDAFFE884C}"/>
              </a:ext>
            </a:extLst>
          </p:cNvPr>
          <p:cNvSpPr/>
          <p:nvPr/>
        </p:nvSpPr>
        <p:spPr>
          <a:xfrm rot="13089394">
            <a:off x="244250" y="1761584"/>
            <a:ext cx="270377" cy="325556"/>
          </a:xfrm>
          <a:custGeom>
            <a:avLst/>
            <a:gdLst>
              <a:gd name="connsiteX0" fmla="*/ 470535 w 466725"/>
              <a:gd name="connsiteY0" fmla="*/ 436245 h 561975"/>
              <a:gd name="connsiteX1" fmla="*/ 470535 w 466725"/>
              <a:gd name="connsiteY1" fmla="*/ 445770 h 561975"/>
              <a:gd name="connsiteX2" fmla="*/ 158115 w 466725"/>
              <a:gd name="connsiteY2" fmla="*/ 567690 h 561975"/>
              <a:gd name="connsiteX3" fmla="*/ 40957 w 466725"/>
              <a:gd name="connsiteY3" fmla="*/ 520065 h 561975"/>
              <a:gd name="connsiteX4" fmla="*/ 0 w 466725"/>
              <a:gd name="connsiteY4" fmla="*/ 356235 h 561975"/>
              <a:gd name="connsiteX5" fmla="*/ 0 w 466725"/>
              <a:gd name="connsiteY5" fmla="*/ 65723 h 561975"/>
              <a:gd name="connsiteX6" fmla="*/ 126682 w 466725"/>
              <a:gd name="connsiteY6" fmla="*/ 0 h 561975"/>
              <a:gd name="connsiteX7" fmla="*/ 128588 w 466725"/>
              <a:gd name="connsiteY7" fmla="*/ 265748 h 561975"/>
              <a:gd name="connsiteX8" fmla="*/ 151447 w 466725"/>
              <a:gd name="connsiteY8" fmla="*/ 423863 h 561975"/>
              <a:gd name="connsiteX9" fmla="*/ 265747 w 466725"/>
              <a:gd name="connsiteY9" fmla="*/ 486728 h 561975"/>
              <a:gd name="connsiteX10" fmla="*/ 351472 w 466725"/>
              <a:gd name="connsiteY10" fmla="*/ 471488 h 561975"/>
              <a:gd name="connsiteX11" fmla="*/ 468630 w 466725"/>
              <a:gd name="connsiteY11" fmla="*/ 423863 h 561975"/>
              <a:gd name="connsiteX12" fmla="*/ 470535 w 466725"/>
              <a:gd name="connsiteY12" fmla="*/ 436245 h 56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6725" h="561975">
                <a:moveTo>
                  <a:pt x="470535" y="436245"/>
                </a:moveTo>
                <a:lnTo>
                  <a:pt x="470535" y="445770"/>
                </a:lnTo>
                <a:cubicBezTo>
                  <a:pt x="369570" y="532448"/>
                  <a:pt x="237172" y="562928"/>
                  <a:pt x="158115" y="567690"/>
                </a:cubicBezTo>
                <a:cubicBezTo>
                  <a:pt x="114300" y="570548"/>
                  <a:pt x="71438" y="551498"/>
                  <a:pt x="40957" y="520065"/>
                </a:cubicBezTo>
                <a:cubicBezTo>
                  <a:pt x="8572" y="488633"/>
                  <a:pt x="0" y="434340"/>
                  <a:pt x="0" y="356235"/>
                </a:cubicBezTo>
                <a:lnTo>
                  <a:pt x="0" y="65723"/>
                </a:lnTo>
                <a:lnTo>
                  <a:pt x="126682" y="0"/>
                </a:lnTo>
                <a:lnTo>
                  <a:pt x="128588" y="265748"/>
                </a:lnTo>
                <a:cubicBezTo>
                  <a:pt x="125730" y="319088"/>
                  <a:pt x="134302" y="373380"/>
                  <a:pt x="151447" y="423863"/>
                </a:cubicBezTo>
                <a:cubicBezTo>
                  <a:pt x="166688" y="465773"/>
                  <a:pt x="205740" y="486728"/>
                  <a:pt x="265747" y="486728"/>
                </a:cubicBezTo>
                <a:cubicBezTo>
                  <a:pt x="295275" y="485775"/>
                  <a:pt x="323850" y="480060"/>
                  <a:pt x="351472" y="471488"/>
                </a:cubicBezTo>
                <a:cubicBezTo>
                  <a:pt x="391477" y="459105"/>
                  <a:pt x="430530" y="442913"/>
                  <a:pt x="468630" y="423863"/>
                </a:cubicBezTo>
                <a:cubicBezTo>
                  <a:pt x="469582" y="427673"/>
                  <a:pt x="470535" y="432435"/>
                  <a:pt x="470535" y="43624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1" name="Forme libre : forme 90">
            <a:extLst>
              <a:ext uri="{FF2B5EF4-FFF2-40B4-BE49-F238E27FC236}">
                <a16:creationId xmlns:a16="http://schemas.microsoft.com/office/drawing/2014/main" id="{4C9CCC26-5417-41E7-B753-3B7D59038FBD}"/>
              </a:ext>
            </a:extLst>
          </p:cNvPr>
          <p:cNvSpPr/>
          <p:nvPr/>
        </p:nvSpPr>
        <p:spPr>
          <a:xfrm rot="8716295">
            <a:off x="429835" y="1569903"/>
            <a:ext cx="220345" cy="161228"/>
          </a:xfrm>
          <a:custGeom>
            <a:avLst/>
            <a:gdLst>
              <a:gd name="connsiteX0" fmla="*/ 343853 w 390525"/>
              <a:gd name="connsiteY0" fmla="*/ 144780 h 285750"/>
              <a:gd name="connsiteX1" fmla="*/ 344805 w 390525"/>
              <a:gd name="connsiteY1" fmla="*/ 144780 h 285750"/>
              <a:gd name="connsiteX2" fmla="*/ 12382 w 390525"/>
              <a:gd name="connsiteY2" fmla="*/ 288608 h 285750"/>
              <a:gd name="connsiteX3" fmla="*/ 0 w 390525"/>
              <a:gd name="connsiteY3" fmla="*/ 271463 h 285750"/>
              <a:gd name="connsiteX4" fmla="*/ 225743 w 390525"/>
              <a:gd name="connsiteY4" fmla="*/ 59055 h 285750"/>
              <a:gd name="connsiteX5" fmla="*/ 340043 w 390525"/>
              <a:gd name="connsiteY5" fmla="*/ 0 h 285750"/>
              <a:gd name="connsiteX6" fmla="*/ 399098 w 390525"/>
              <a:gd name="connsiteY6" fmla="*/ 70485 h 285750"/>
              <a:gd name="connsiteX7" fmla="*/ 343853 w 390525"/>
              <a:gd name="connsiteY7" fmla="*/ 14478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0525" h="285750">
                <a:moveTo>
                  <a:pt x="343853" y="144780"/>
                </a:moveTo>
                <a:lnTo>
                  <a:pt x="344805" y="144780"/>
                </a:lnTo>
                <a:lnTo>
                  <a:pt x="12382" y="288608"/>
                </a:lnTo>
                <a:lnTo>
                  <a:pt x="0" y="271463"/>
                </a:lnTo>
                <a:lnTo>
                  <a:pt x="225743" y="59055"/>
                </a:lnTo>
                <a:cubicBezTo>
                  <a:pt x="254318" y="25718"/>
                  <a:pt x="295275" y="4763"/>
                  <a:pt x="340043" y="0"/>
                </a:cubicBezTo>
                <a:cubicBezTo>
                  <a:pt x="385763" y="0"/>
                  <a:pt x="399098" y="40005"/>
                  <a:pt x="399098" y="70485"/>
                </a:cubicBezTo>
                <a:cubicBezTo>
                  <a:pt x="396240" y="103823"/>
                  <a:pt x="374332" y="131445"/>
                  <a:pt x="343853" y="14478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2" name="Forme libre : forme 91">
            <a:extLst>
              <a:ext uri="{FF2B5EF4-FFF2-40B4-BE49-F238E27FC236}">
                <a16:creationId xmlns:a16="http://schemas.microsoft.com/office/drawing/2014/main" id="{D6712892-AD9E-4694-AEF5-3D17C5AEEE1D}"/>
              </a:ext>
            </a:extLst>
          </p:cNvPr>
          <p:cNvSpPr/>
          <p:nvPr/>
        </p:nvSpPr>
        <p:spPr>
          <a:xfrm rot="8716295">
            <a:off x="378030" y="1466310"/>
            <a:ext cx="110380" cy="1103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3" name="Forme libre : forme 92">
            <a:extLst>
              <a:ext uri="{FF2B5EF4-FFF2-40B4-BE49-F238E27FC236}">
                <a16:creationId xmlns:a16="http://schemas.microsoft.com/office/drawing/2014/main" id="{8DA7EFED-D0A6-45D4-A875-2F1DCEFC57C8}"/>
              </a:ext>
            </a:extLst>
          </p:cNvPr>
          <p:cNvSpPr/>
          <p:nvPr/>
        </p:nvSpPr>
        <p:spPr>
          <a:xfrm rot="8716295">
            <a:off x="134784" y="1496531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4" name="Forme libre : forme 93">
            <a:extLst>
              <a:ext uri="{FF2B5EF4-FFF2-40B4-BE49-F238E27FC236}">
                <a16:creationId xmlns:a16="http://schemas.microsoft.com/office/drawing/2014/main" id="{32971A81-1820-4964-A66E-2FD721A16F56}"/>
              </a:ext>
            </a:extLst>
          </p:cNvPr>
          <p:cNvSpPr/>
          <p:nvPr/>
        </p:nvSpPr>
        <p:spPr>
          <a:xfrm rot="8716295">
            <a:off x="312236" y="1337289"/>
            <a:ext cx="110380" cy="1103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5" name="Forme libre : forme 94">
            <a:extLst>
              <a:ext uri="{FF2B5EF4-FFF2-40B4-BE49-F238E27FC236}">
                <a16:creationId xmlns:a16="http://schemas.microsoft.com/office/drawing/2014/main" id="{BC42F9C8-99E7-4F04-B258-C142D2DE142F}"/>
              </a:ext>
            </a:extLst>
          </p:cNvPr>
          <p:cNvSpPr/>
          <p:nvPr/>
        </p:nvSpPr>
        <p:spPr>
          <a:xfrm rot="8716295">
            <a:off x="-17798" y="949199"/>
            <a:ext cx="39526" cy="50123"/>
          </a:xfrm>
          <a:custGeom>
            <a:avLst/>
            <a:gdLst>
              <a:gd name="connsiteX0" fmla="*/ 0 w 39526"/>
              <a:gd name="connsiteY0" fmla="*/ 50123 h 50123"/>
              <a:gd name="connsiteX1" fmla="*/ 0 w 39526"/>
              <a:gd name="connsiteY1" fmla="*/ 0 h 50123"/>
              <a:gd name="connsiteX2" fmla="*/ 39526 w 39526"/>
              <a:gd name="connsiteY2" fmla="*/ 0 h 50123"/>
              <a:gd name="connsiteX3" fmla="*/ 4782 w 39526"/>
              <a:gd name="connsiteY3" fmla="*/ 50123 h 50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526" h="50123">
                <a:moveTo>
                  <a:pt x="0" y="50123"/>
                </a:moveTo>
                <a:lnTo>
                  <a:pt x="0" y="0"/>
                </a:lnTo>
                <a:lnTo>
                  <a:pt x="39526" y="0"/>
                </a:lnTo>
                <a:lnTo>
                  <a:pt x="4782" y="5012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6" name="Forme libre : forme 95">
            <a:extLst>
              <a:ext uri="{FF2B5EF4-FFF2-40B4-BE49-F238E27FC236}">
                <a16:creationId xmlns:a16="http://schemas.microsoft.com/office/drawing/2014/main" id="{D29A62DB-0DC5-407D-A1DF-C8A39BAC784A}"/>
              </a:ext>
            </a:extLst>
          </p:cNvPr>
          <p:cNvSpPr/>
          <p:nvPr/>
        </p:nvSpPr>
        <p:spPr>
          <a:xfrm rot="8716295">
            <a:off x="-64996" y="834728"/>
            <a:ext cx="249650" cy="254774"/>
          </a:xfrm>
          <a:custGeom>
            <a:avLst/>
            <a:gdLst>
              <a:gd name="connsiteX0" fmla="*/ 51490 w 249650"/>
              <a:gd name="connsiteY0" fmla="*/ 254774 h 254774"/>
              <a:gd name="connsiteX1" fmla="*/ 51490 w 249650"/>
              <a:gd name="connsiteY1" fmla="*/ 45624 h 254774"/>
              <a:gd name="connsiteX2" fmla="*/ 0 w 249650"/>
              <a:gd name="connsiteY2" fmla="*/ 45624 h 254774"/>
              <a:gd name="connsiteX3" fmla="*/ 0 w 249650"/>
              <a:gd name="connsiteY3" fmla="*/ 1425 h 254774"/>
              <a:gd name="connsiteX4" fmla="*/ 104803 w 249650"/>
              <a:gd name="connsiteY4" fmla="*/ 1425 h 254774"/>
              <a:gd name="connsiteX5" fmla="*/ 104803 w 249650"/>
              <a:gd name="connsiteY5" fmla="*/ 75242 h 254774"/>
              <a:gd name="connsiteX6" fmla="*/ 106169 w 249650"/>
              <a:gd name="connsiteY6" fmla="*/ 75242 h 254774"/>
              <a:gd name="connsiteX7" fmla="*/ 154014 w 249650"/>
              <a:gd name="connsiteY7" fmla="*/ 5981 h 254774"/>
              <a:gd name="connsiteX8" fmla="*/ 185455 w 249650"/>
              <a:gd name="connsiteY8" fmla="*/ 57 h 254774"/>
              <a:gd name="connsiteX9" fmla="*/ 240647 w 249650"/>
              <a:gd name="connsiteY9" fmla="*/ 22727 h 254774"/>
              <a:gd name="connsiteX10" fmla="*/ 249650 w 249650"/>
              <a:gd name="connsiteY10" fmla="*/ 52327 h 254774"/>
              <a:gd name="connsiteX11" fmla="*/ 218795 w 249650"/>
              <a:gd name="connsiteY11" fmla="*/ 96841 h 254774"/>
              <a:gd name="connsiteX12" fmla="*/ 198669 w 249650"/>
              <a:gd name="connsiteY12" fmla="*/ 98025 h 254774"/>
              <a:gd name="connsiteX13" fmla="*/ 198669 w 249650"/>
              <a:gd name="connsiteY13" fmla="*/ 81621 h 254774"/>
              <a:gd name="connsiteX14" fmla="*/ 164950 w 249650"/>
              <a:gd name="connsiteY14" fmla="*/ 40156 h 254774"/>
              <a:gd name="connsiteX15" fmla="*/ 111638 w 249650"/>
              <a:gd name="connsiteY15" fmla="*/ 127643 h 254774"/>
              <a:gd name="connsiteX16" fmla="*/ 111638 w 249650"/>
              <a:gd name="connsiteY16" fmla="*/ 213764 h 254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49650" h="254774">
                <a:moveTo>
                  <a:pt x="51490" y="254774"/>
                </a:moveTo>
                <a:lnTo>
                  <a:pt x="51490" y="45624"/>
                </a:lnTo>
                <a:lnTo>
                  <a:pt x="0" y="45624"/>
                </a:lnTo>
                <a:lnTo>
                  <a:pt x="0" y="1425"/>
                </a:lnTo>
                <a:lnTo>
                  <a:pt x="104803" y="1425"/>
                </a:lnTo>
                <a:lnTo>
                  <a:pt x="104803" y="75242"/>
                </a:lnTo>
                <a:lnTo>
                  <a:pt x="106169" y="75242"/>
                </a:lnTo>
                <a:cubicBezTo>
                  <a:pt x="120751" y="31954"/>
                  <a:pt x="132142" y="15094"/>
                  <a:pt x="154014" y="5981"/>
                </a:cubicBezTo>
                <a:cubicBezTo>
                  <a:pt x="164039" y="1880"/>
                  <a:pt x="174519" y="-398"/>
                  <a:pt x="185455" y="57"/>
                </a:cubicBezTo>
                <a:cubicBezTo>
                  <a:pt x="208922" y="-398"/>
                  <a:pt x="227718" y="7576"/>
                  <a:pt x="240647" y="22727"/>
                </a:cubicBezTo>
                <a:lnTo>
                  <a:pt x="249650" y="52327"/>
                </a:lnTo>
                <a:lnTo>
                  <a:pt x="218795" y="96841"/>
                </a:lnTo>
                <a:lnTo>
                  <a:pt x="198669" y="98025"/>
                </a:lnTo>
                <a:lnTo>
                  <a:pt x="198669" y="81621"/>
                </a:lnTo>
                <a:cubicBezTo>
                  <a:pt x="198669" y="57016"/>
                  <a:pt x="184544" y="40156"/>
                  <a:pt x="164950" y="40156"/>
                </a:cubicBezTo>
                <a:cubicBezTo>
                  <a:pt x="135788" y="40156"/>
                  <a:pt x="111638" y="78887"/>
                  <a:pt x="111638" y="127643"/>
                </a:cubicBezTo>
                <a:lnTo>
                  <a:pt x="111638" y="213764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7" name="Forme libre : forme 96">
            <a:extLst>
              <a:ext uri="{FF2B5EF4-FFF2-40B4-BE49-F238E27FC236}">
                <a16:creationId xmlns:a16="http://schemas.microsoft.com/office/drawing/2014/main" id="{4160A2B5-61C4-44D3-8FA4-49A1FCD41A0C}"/>
              </a:ext>
            </a:extLst>
          </p:cNvPr>
          <p:cNvSpPr/>
          <p:nvPr/>
        </p:nvSpPr>
        <p:spPr>
          <a:xfrm rot="7484129">
            <a:off x="-63314" y="1172497"/>
            <a:ext cx="203848" cy="146395"/>
          </a:xfrm>
          <a:custGeom>
            <a:avLst/>
            <a:gdLst>
              <a:gd name="connsiteX0" fmla="*/ 0 w 203848"/>
              <a:gd name="connsiteY0" fmla="*/ 55323 h 146395"/>
              <a:gd name="connsiteX1" fmla="*/ 0 w 203848"/>
              <a:gd name="connsiteY1" fmla="*/ 0 h 146395"/>
              <a:gd name="connsiteX2" fmla="*/ 203848 w 203848"/>
              <a:gd name="connsiteY2" fmla="*/ 0 h 146395"/>
              <a:gd name="connsiteX3" fmla="*/ 203847 w 203848"/>
              <a:gd name="connsiteY3" fmla="*/ 49512 h 146395"/>
              <a:gd name="connsiteX4" fmla="*/ 195466 w 203848"/>
              <a:gd name="connsiteY4" fmla="*/ 55323 h 146395"/>
              <a:gd name="connsiteX5" fmla="*/ 139055 w 203848"/>
              <a:gd name="connsiteY5" fmla="*/ 55323 h 146395"/>
              <a:gd name="connsiteX6" fmla="*/ 121388 w 203848"/>
              <a:gd name="connsiteY6" fmla="*/ 106685 h 146395"/>
              <a:gd name="connsiteX7" fmla="*/ 64115 w 203848"/>
              <a:gd name="connsiteY7" fmla="*/ 146395 h 146395"/>
              <a:gd name="connsiteX8" fmla="*/ 47847 w 203848"/>
              <a:gd name="connsiteY8" fmla="*/ 116129 h 146395"/>
              <a:gd name="connsiteX9" fmla="*/ 69777 w 203848"/>
              <a:gd name="connsiteY9" fmla="*/ 55323 h 146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3848" h="146395">
                <a:moveTo>
                  <a:pt x="0" y="55323"/>
                </a:moveTo>
                <a:lnTo>
                  <a:pt x="0" y="0"/>
                </a:lnTo>
                <a:lnTo>
                  <a:pt x="203848" y="0"/>
                </a:lnTo>
                <a:lnTo>
                  <a:pt x="203847" y="49512"/>
                </a:lnTo>
                <a:lnTo>
                  <a:pt x="195466" y="55323"/>
                </a:lnTo>
                <a:lnTo>
                  <a:pt x="139055" y="55323"/>
                </a:lnTo>
                <a:lnTo>
                  <a:pt x="121388" y="106685"/>
                </a:lnTo>
                <a:lnTo>
                  <a:pt x="64115" y="146395"/>
                </a:lnTo>
                <a:lnTo>
                  <a:pt x="47847" y="116129"/>
                </a:lnTo>
                <a:lnTo>
                  <a:pt x="69777" y="5532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8" name="Forme libre : forme 97">
            <a:extLst>
              <a:ext uri="{FF2B5EF4-FFF2-40B4-BE49-F238E27FC236}">
                <a16:creationId xmlns:a16="http://schemas.microsoft.com/office/drawing/2014/main" id="{0F651F8F-312F-4D1A-9E4B-A79B81999918}"/>
              </a:ext>
            </a:extLst>
          </p:cNvPr>
          <p:cNvSpPr/>
          <p:nvPr/>
        </p:nvSpPr>
        <p:spPr>
          <a:xfrm rot="13089394">
            <a:off x="25311" y="1099526"/>
            <a:ext cx="270377" cy="325556"/>
          </a:xfrm>
          <a:custGeom>
            <a:avLst/>
            <a:gdLst>
              <a:gd name="connsiteX0" fmla="*/ 470535 w 466725"/>
              <a:gd name="connsiteY0" fmla="*/ 436245 h 561975"/>
              <a:gd name="connsiteX1" fmla="*/ 470535 w 466725"/>
              <a:gd name="connsiteY1" fmla="*/ 445770 h 561975"/>
              <a:gd name="connsiteX2" fmla="*/ 158115 w 466725"/>
              <a:gd name="connsiteY2" fmla="*/ 567690 h 561975"/>
              <a:gd name="connsiteX3" fmla="*/ 40957 w 466725"/>
              <a:gd name="connsiteY3" fmla="*/ 520065 h 561975"/>
              <a:gd name="connsiteX4" fmla="*/ 0 w 466725"/>
              <a:gd name="connsiteY4" fmla="*/ 356235 h 561975"/>
              <a:gd name="connsiteX5" fmla="*/ 0 w 466725"/>
              <a:gd name="connsiteY5" fmla="*/ 65723 h 561975"/>
              <a:gd name="connsiteX6" fmla="*/ 126682 w 466725"/>
              <a:gd name="connsiteY6" fmla="*/ 0 h 561975"/>
              <a:gd name="connsiteX7" fmla="*/ 128588 w 466725"/>
              <a:gd name="connsiteY7" fmla="*/ 265748 h 561975"/>
              <a:gd name="connsiteX8" fmla="*/ 151447 w 466725"/>
              <a:gd name="connsiteY8" fmla="*/ 423863 h 561975"/>
              <a:gd name="connsiteX9" fmla="*/ 265747 w 466725"/>
              <a:gd name="connsiteY9" fmla="*/ 486728 h 561975"/>
              <a:gd name="connsiteX10" fmla="*/ 351472 w 466725"/>
              <a:gd name="connsiteY10" fmla="*/ 471488 h 561975"/>
              <a:gd name="connsiteX11" fmla="*/ 468630 w 466725"/>
              <a:gd name="connsiteY11" fmla="*/ 423863 h 561975"/>
              <a:gd name="connsiteX12" fmla="*/ 470535 w 466725"/>
              <a:gd name="connsiteY12" fmla="*/ 436245 h 56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6725" h="561975">
                <a:moveTo>
                  <a:pt x="470535" y="436245"/>
                </a:moveTo>
                <a:lnTo>
                  <a:pt x="470535" y="445770"/>
                </a:lnTo>
                <a:cubicBezTo>
                  <a:pt x="369570" y="532448"/>
                  <a:pt x="237172" y="562928"/>
                  <a:pt x="158115" y="567690"/>
                </a:cubicBezTo>
                <a:cubicBezTo>
                  <a:pt x="114300" y="570548"/>
                  <a:pt x="71438" y="551498"/>
                  <a:pt x="40957" y="520065"/>
                </a:cubicBezTo>
                <a:cubicBezTo>
                  <a:pt x="8572" y="488633"/>
                  <a:pt x="0" y="434340"/>
                  <a:pt x="0" y="356235"/>
                </a:cubicBezTo>
                <a:lnTo>
                  <a:pt x="0" y="65723"/>
                </a:lnTo>
                <a:lnTo>
                  <a:pt x="126682" y="0"/>
                </a:lnTo>
                <a:lnTo>
                  <a:pt x="128588" y="265748"/>
                </a:lnTo>
                <a:cubicBezTo>
                  <a:pt x="125730" y="319088"/>
                  <a:pt x="134302" y="373380"/>
                  <a:pt x="151447" y="423863"/>
                </a:cubicBezTo>
                <a:cubicBezTo>
                  <a:pt x="166688" y="465773"/>
                  <a:pt x="205740" y="486728"/>
                  <a:pt x="265747" y="486728"/>
                </a:cubicBezTo>
                <a:cubicBezTo>
                  <a:pt x="295275" y="485775"/>
                  <a:pt x="323850" y="480060"/>
                  <a:pt x="351472" y="471488"/>
                </a:cubicBezTo>
                <a:cubicBezTo>
                  <a:pt x="391477" y="459105"/>
                  <a:pt x="430530" y="442913"/>
                  <a:pt x="468630" y="423863"/>
                </a:cubicBezTo>
                <a:cubicBezTo>
                  <a:pt x="469582" y="427673"/>
                  <a:pt x="470535" y="432435"/>
                  <a:pt x="470535" y="43624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9" name="Forme libre : forme 98">
            <a:extLst>
              <a:ext uri="{FF2B5EF4-FFF2-40B4-BE49-F238E27FC236}">
                <a16:creationId xmlns:a16="http://schemas.microsoft.com/office/drawing/2014/main" id="{12E33E54-ECAF-462B-B069-F233780DF121}"/>
              </a:ext>
            </a:extLst>
          </p:cNvPr>
          <p:cNvSpPr/>
          <p:nvPr/>
        </p:nvSpPr>
        <p:spPr>
          <a:xfrm rot="8716295">
            <a:off x="210896" y="907845"/>
            <a:ext cx="220345" cy="161228"/>
          </a:xfrm>
          <a:custGeom>
            <a:avLst/>
            <a:gdLst>
              <a:gd name="connsiteX0" fmla="*/ 343853 w 390525"/>
              <a:gd name="connsiteY0" fmla="*/ 144780 h 285750"/>
              <a:gd name="connsiteX1" fmla="*/ 344805 w 390525"/>
              <a:gd name="connsiteY1" fmla="*/ 144780 h 285750"/>
              <a:gd name="connsiteX2" fmla="*/ 12382 w 390525"/>
              <a:gd name="connsiteY2" fmla="*/ 288608 h 285750"/>
              <a:gd name="connsiteX3" fmla="*/ 0 w 390525"/>
              <a:gd name="connsiteY3" fmla="*/ 271463 h 285750"/>
              <a:gd name="connsiteX4" fmla="*/ 225743 w 390525"/>
              <a:gd name="connsiteY4" fmla="*/ 59055 h 285750"/>
              <a:gd name="connsiteX5" fmla="*/ 340043 w 390525"/>
              <a:gd name="connsiteY5" fmla="*/ 0 h 285750"/>
              <a:gd name="connsiteX6" fmla="*/ 399098 w 390525"/>
              <a:gd name="connsiteY6" fmla="*/ 70485 h 285750"/>
              <a:gd name="connsiteX7" fmla="*/ 343853 w 390525"/>
              <a:gd name="connsiteY7" fmla="*/ 14478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0525" h="285750">
                <a:moveTo>
                  <a:pt x="343853" y="144780"/>
                </a:moveTo>
                <a:lnTo>
                  <a:pt x="344805" y="144780"/>
                </a:lnTo>
                <a:lnTo>
                  <a:pt x="12382" y="288608"/>
                </a:lnTo>
                <a:lnTo>
                  <a:pt x="0" y="271463"/>
                </a:lnTo>
                <a:lnTo>
                  <a:pt x="225743" y="59055"/>
                </a:lnTo>
                <a:cubicBezTo>
                  <a:pt x="254318" y="25718"/>
                  <a:pt x="295275" y="4763"/>
                  <a:pt x="340043" y="0"/>
                </a:cubicBezTo>
                <a:cubicBezTo>
                  <a:pt x="385763" y="0"/>
                  <a:pt x="399098" y="40005"/>
                  <a:pt x="399098" y="70485"/>
                </a:cubicBezTo>
                <a:cubicBezTo>
                  <a:pt x="396240" y="103823"/>
                  <a:pt x="374332" y="131445"/>
                  <a:pt x="343853" y="14478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0" name="Forme libre : forme 99">
            <a:extLst>
              <a:ext uri="{FF2B5EF4-FFF2-40B4-BE49-F238E27FC236}">
                <a16:creationId xmlns:a16="http://schemas.microsoft.com/office/drawing/2014/main" id="{42ACC1F1-A8E1-420C-B7DE-55FFEE501260}"/>
              </a:ext>
            </a:extLst>
          </p:cNvPr>
          <p:cNvSpPr/>
          <p:nvPr/>
        </p:nvSpPr>
        <p:spPr>
          <a:xfrm rot="8716295">
            <a:off x="159091" y="804252"/>
            <a:ext cx="110380" cy="1103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1" name="Forme libre : forme 100">
            <a:extLst>
              <a:ext uri="{FF2B5EF4-FFF2-40B4-BE49-F238E27FC236}">
                <a16:creationId xmlns:a16="http://schemas.microsoft.com/office/drawing/2014/main" id="{B902C445-D42B-4D0E-8897-FDE236E78375}"/>
              </a:ext>
            </a:extLst>
          </p:cNvPr>
          <p:cNvSpPr/>
          <p:nvPr/>
        </p:nvSpPr>
        <p:spPr>
          <a:xfrm rot="8716295">
            <a:off x="93297" y="675231"/>
            <a:ext cx="110380" cy="1103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2" name="Forme libre : forme 101">
            <a:extLst>
              <a:ext uri="{FF2B5EF4-FFF2-40B4-BE49-F238E27FC236}">
                <a16:creationId xmlns:a16="http://schemas.microsoft.com/office/drawing/2014/main" id="{4EDB9DFE-AA44-492B-9D2C-70F199FD6162}"/>
              </a:ext>
            </a:extLst>
          </p:cNvPr>
          <p:cNvSpPr/>
          <p:nvPr/>
        </p:nvSpPr>
        <p:spPr>
          <a:xfrm rot="8716295">
            <a:off x="-7001" y="316701"/>
            <a:ext cx="14001" cy="20198"/>
          </a:xfrm>
          <a:custGeom>
            <a:avLst/>
            <a:gdLst>
              <a:gd name="connsiteX0" fmla="*/ 0 w 14001"/>
              <a:gd name="connsiteY0" fmla="*/ 20198 h 20198"/>
              <a:gd name="connsiteX1" fmla="*/ 0 w 14001"/>
              <a:gd name="connsiteY1" fmla="*/ 0 h 20198"/>
              <a:gd name="connsiteX2" fmla="*/ 14001 w 14001"/>
              <a:gd name="connsiteY2" fmla="*/ 0 h 20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001" h="20198">
                <a:moveTo>
                  <a:pt x="0" y="20198"/>
                </a:moveTo>
                <a:lnTo>
                  <a:pt x="0" y="0"/>
                </a:lnTo>
                <a:lnTo>
                  <a:pt x="14001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3" name="Forme libre : forme 102">
            <a:extLst>
              <a:ext uri="{FF2B5EF4-FFF2-40B4-BE49-F238E27FC236}">
                <a16:creationId xmlns:a16="http://schemas.microsoft.com/office/drawing/2014/main" id="{9B8E4668-5129-4061-833F-DDB8DC144C55}"/>
              </a:ext>
            </a:extLst>
          </p:cNvPr>
          <p:cNvSpPr/>
          <p:nvPr/>
        </p:nvSpPr>
        <p:spPr>
          <a:xfrm rot="13089394">
            <a:off x="-81658" y="472652"/>
            <a:ext cx="173631" cy="237684"/>
          </a:xfrm>
          <a:custGeom>
            <a:avLst/>
            <a:gdLst>
              <a:gd name="connsiteX0" fmla="*/ 173631 w 173631"/>
              <a:gd name="connsiteY0" fmla="*/ 220990 h 237684"/>
              <a:gd name="connsiteX1" fmla="*/ 130972 w 173631"/>
              <a:gd name="connsiteY1" fmla="*/ 232382 h 237684"/>
              <a:gd name="connsiteX2" fmla="*/ 91597 w 173631"/>
              <a:gd name="connsiteY2" fmla="*/ 237521 h 237684"/>
              <a:gd name="connsiteX3" fmla="*/ 23727 w 173631"/>
              <a:gd name="connsiteY3" fmla="*/ 209931 h 237684"/>
              <a:gd name="connsiteX4" fmla="*/ 0 w 173631"/>
              <a:gd name="connsiteY4" fmla="*/ 115023 h 237684"/>
              <a:gd name="connsiteX5" fmla="*/ 0 w 173631"/>
              <a:gd name="connsiteY5" fmla="*/ 0 h 237684"/>
              <a:gd name="connsiteX6" fmla="*/ 76176 w 173631"/>
              <a:gd name="connsiteY6" fmla="*/ 96953 h 237684"/>
              <a:gd name="connsiteX7" fmla="*/ 76768 w 173631"/>
              <a:gd name="connsiteY7" fmla="*/ 109023 h 237684"/>
              <a:gd name="connsiteX8" fmla="*/ 87734 w 173631"/>
              <a:gd name="connsiteY8" fmla="*/ 154201 h 237684"/>
              <a:gd name="connsiteX9" fmla="*/ 111117 w 173631"/>
              <a:gd name="connsiteY9" fmla="*/ 181514 h 237684"/>
              <a:gd name="connsiteX10" fmla="*/ 148930 w 173631"/>
              <a:gd name="connsiteY10" fmla="*/ 189552 h 237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73631" h="237684">
                <a:moveTo>
                  <a:pt x="173631" y="220990"/>
                </a:moveTo>
                <a:lnTo>
                  <a:pt x="130972" y="232382"/>
                </a:lnTo>
                <a:cubicBezTo>
                  <a:pt x="116428" y="235210"/>
                  <a:pt x="103047" y="236831"/>
                  <a:pt x="91597" y="237521"/>
                </a:cubicBezTo>
                <a:cubicBezTo>
                  <a:pt x="66215" y="239176"/>
                  <a:pt x="41384" y="228141"/>
                  <a:pt x="23727" y="209931"/>
                </a:cubicBezTo>
                <a:cubicBezTo>
                  <a:pt x="4966" y="191722"/>
                  <a:pt x="0" y="160270"/>
                  <a:pt x="0" y="115023"/>
                </a:cubicBezTo>
                <a:lnTo>
                  <a:pt x="0" y="0"/>
                </a:lnTo>
                <a:lnTo>
                  <a:pt x="76176" y="96953"/>
                </a:lnTo>
                <a:lnTo>
                  <a:pt x="76768" y="109023"/>
                </a:lnTo>
                <a:cubicBezTo>
                  <a:pt x="79044" y="124404"/>
                  <a:pt x="82768" y="139578"/>
                  <a:pt x="87734" y="154201"/>
                </a:cubicBezTo>
                <a:cubicBezTo>
                  <a:pt x="92149" y="166340"/>
                  <a:pt x="100012" y="175445"/>
                  <a:pt x="111117" y="181514"/>
                </a:cubicBezTo>
                <a:lnTo>
                  <a:pt x="148930" y="189552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4" name="Forme libre : forme 103">
            <a:extLst>
              <a:ext uri="{FF2B5EF4-FFF2-40B4-BE49-F238E27FC236}">
                <a16:creationId xmlns:a16="http://schemas.microsoft.com/office/drawing/2014/main" id="{99FF5E45-909E-4FF2-B754-B344F6F11F69}"/>
              </a:ext>
            </a:extLst>
          </p:cNvPr>
          <p:cNvSpPr/>
          <p:nvPr/>
        </p:nvSpPr>
        <p:spPr>
          <a:xfrm rot="8716295">
            <a:off x="-11774" y="244430"/>
            <a:ext cx="220345" cy="161228"/>
          </a:xfrm>
          <a:custGeom>
            <a:avLst/>
            <a:gdLst>
              <a:gd name="connsiteX0" fmla="*/ 343853 w 390525"/>
              <a:gd name="connsiteY0" fmla="*/ 144780 h 285750"/>
              <a:gd name="connsiteX1" fmla="*/ 344805 w 390525"/>
              <a:gd name="connsiteY1" fmla="*/ 144780 h 285750"/>
              <a:gd name="connsiteX2" fmla="*/ 12382 w 390525"/>
              <a:gd name="connsiteY2" fmla="*/ 288608 h 285750"/>
              <a:gd name="connsiteX3" fmla="*/ 0 w 390525"/>
              <a:gd name="connsiteY3" fmla="*/ 271463 h 285750"/>
              <a:gd name="connsiteX4" fmla="*/ 225743 w 390525"/>
              <a:gd name="connsiteY4" fmla="*/ 59055 h 285750"/>
              <a:gd name="connsiteX5" fmla="*/ 340043 w 390525"/>
              <a:gd name="connsiteY5" fmla="*/ 0 h 285750"/>
              <a:gd name="connsiteX6" fmla="*/ 399098 w 390525"/>
              <a:gd name="connsiteY6" fmla="*/ 70485 h 285750"/>
              <a:gd name="connsiteX7" fmla="*/ 343853 w 390525"/>
              <a:gd name="connsiteY7" fmla="*/ 14478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0525" h="285750">
                <a:moveTo>
                  <a:pt x="343853" y="144780"/>
                </a:moveTo>
                <a:lnTo>
                  <a:pt x="344805" y="144780"/>
                </a:lnTo>
                <a:lnTo>
                  <a:pt x="12382" y="288608"/>
                </a:lnTo>
                <a:lnTo>
                  <a:pt x="0" y="271463"/>
                </a:lnTo>
                <a:lnTo>
                  <a:pt x="225743" y="59055"/>
                </a:lnTo>
                <a:cubicBezTo>
                  <a:pt x="254318" y="25718"/>
                  <a:pt x="295275" y="4763"/>
                  <a:pt x="340043" y="0"/>
                </a:cubicBezTo>
                <a:cubicBezTo>
                  <a:pt x="385763" y="0"/>
                  <a:pt x="399098" y="40005"/>
                  <a:pt x="399098" y="70485"/>
                </a:cubicBezTo>
                <a:cubicBezTo>
                  <a:pt x="396240" y="103823"/>
                  <a:pt x="374332" y="131445"/>
                  <a:pt x="343853" y="14478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5" name="Forme libre : forme 104">
            <a:extLst>
              <a:ext uri="{FF2B5EF4-FFF2-40B4-BE49-F238E27FC236}">
                <a16:creationId xmlns:a16="http://schemas.microsoft.com/office/drawing/2014/main" id="{EB79107E-889E-47A5-A1AB-E4F4B49C7BFA}"/>
              </a:ext>
            </a:extLst>
          </p:cNvPr>
          <p:cNvSpPr/>
          <p:nvPr/>
        </p:nvSpPr>
        <p:spPr>
          <a:xfrm rot="8716295">
            <a:off x="-30092" y="143486"/>
            <a:ext cx="77721" cy="97260"/>
          </a:xfrm>
          <a:custGeom>
            <a:avLst/>
            <a:gdLst>
              <a:gd name="connsiteX0" fmla="*/ 15821 w 77721"/>
              <a:gd name="connsiteY0" fmla="*/ 97260 h 97260"/>
              <a:gd name="connsiteX1" fmla="*/ 0 w 77721"/>
              <a:gd name="connsiteY1" fmla="*/ 59790 h 97260"/>
              <a:gd name="connsiteX2" fmla="*/ 0 w 77721"/>
              <a:gd name="connsiteY2" fmla="*/ 58869 h 97260"/>
              <a:gd name="connsiteX3" fmla="*/ 17477 w 77721"/>
              <a:gd name="connsiteY3" fmla="*/ 17477 h 97260"/>
              <a:gd name="connsiteX4" fmla="*/ 58869 w 77721"/>
              <a:gd name="connsiteY4" fmla="*/ 0 h 97260"/>
              <a:gd name="connsiteX5" fmla="*/ 77721 w 77721"/>
              <a:gd name="connsiteY5" fmla="*/ 7960 h 97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7721" h="97260">
                <a:moveTo>
                  <a:pt x="15821" y="97260"/>
                </a:moveTo>
                <a:lnTo>
                  <a:pt x="0" y="59790"/>
                </a:lnTo>
                <a:lnTo>
                  <a:pt x="0" y="58869"/>
                </a:lnTo>
                <a:cubicBezTo>
                  <a:pt x="0" y="43233"/>
                  <a:pt x="6439" y="28515"/>
                  <a:pt x="17477" y="17477"/>
                </a:cubicBezTo>
                <a:cubicBezTo>
                  <a:pt x="28515" y="6439"/>
                  <a:pt x="43233" y="0"/>
                  <a:pt x="58869" y="0"/>
                </a:cubicBezTo>
                <a:lnTo>
                  <a:pt x="77721" y="796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6" name="Forme libre : forme 105">
            <a:extLst>
              <a:ext uri="{FF2B5EF4-FFF2-40B4-BE49-F238E27FC236}">
                <a16:creationId xmlns:a16="http://schemas.microsoft.com/office/drawing/2014/main" id="{D8EC7674-F8C4-4C98-B223-FB48E7028D2B}"/>
              </a:ext>
            </a:extLst>
          </p:cNvPr>
          <p:cNvSpPr/>
          <p:nvPr/>
        </p:nvSpPr>
        <p:spPr>
          <a:xfrm rot="8716295">
            <a:off x="-17797" y="3452694"/>
            <a:ext cx="58455" cy="44199"/>
          </a:xfrm>
          <a:custGeom>
            <a:avLst/>
            <a:gdLst>
              <a:gd name="connsiteX0" fmla="*/ 0 w 58455"/>
              <a:gd name="connsiteY0" fmla="*/ 44199 h 44199"/>
              <a:gd name="connsiteX1" fmla="*/ 0 w 58455"/>
              <a:gd name="connsiteY1" fmla="*/ 0 h 44199"/>
              <a:gd name="connsiteX2" fmla="*/ 58455 w 58455"/>
              <a:gd name="connsiteY2" fmla="*/ 0 h 44199"/>
              <a:gd name="connsiteX3" fmla="*/ 27817 w 58455"/>
              <a:gd name="connsiteY3" fmla="*/ 44199 h 44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455" h="44199">
                <a:moveTo>
                  <a:pt x="0" y="44199"/>
                </a:moveTo>
                <a:lnTo>
                  <a:pt x="0" y="0"/>
                </a:lnTo>
                <a:lnTo>
                  <a:pt x="58455" y="0"/>
                </a:lnTo>
                <a:lnTo>
                  <a:pt x="27817" y="44199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7" name="Forme libre : forme 106">
            <a:extLst>
              <a:ext uri="{FF2B5EF4-FFF2-40B4-BE49-F238E27FC236}">
                <a16:creationId xmlns:a16="http://schemas.microsoft.com/office/drawing/2014/main" id="{4367C4D5-414D-49AB-A590-D84D23E38E78}"/>
              </a:ext>
            </a:extLst>
          </p:cNvPr>
          <p:cNvSpPr/>
          <p:nvPr/>
        </p:nvSpPr>
        <p:spPr>
          <a:xfrm rot="13089394">
            <a:off x="-91485" y="3601812"/>
            <a:ext cx="206527" cy="292654"/>
          </a:xfrm>
          <a:custGeom>
            <a:avLst/>
            <a:gdLst>
              <a:gd name="connsiteX0" fmla="*/ 206527 w 206527"/>
              <a:gd name="connsiteY0" fmla="*/ 258693 h 292654"/>
              <a:gd name="connsiteX1" fmla="*/ 177331 w 206527"/>
              <a:gd name="connsiteY1" fmla="*/ 274971 h 292654"/>
              <a:gd name="connsiteX2" fmla="*/ 91597 w 206527"/>
              <a:gd name="connsiteY2" fmla="*/ 292491 h 292654"/>
              <a:gd name="connsiteX3" fmla="*/ 23727 w 206527"/>
              <a:gd name="connsiteY3" fmla="*/ 264901 h 292654"/>
              <a:gd name="connsiteX4" fmla="*/ 0 w 206527"/>
              <a:gd name="connsiteY4" fmla="*/ 169993 h 292654"/>
              <a:gd name="connsiteX5" fmla="*/ 0 w 206527"/>
              <a:gd name="connsiteY5" fmla="*/ 1698 h 292654"/>
              <a:gd name="connsiteX6" fmla="*/ 3273 w 206527"/>
              <a:gd name="connsiteY6" fmla="*/ 0 h 292654"/>
              <a:gd name="connsiteX7" fmla="*/ 74297 w 206527"/>
              <a:gd name="connsiteY7" fmla="*/ 90396 h 292654"/>
              <a:gd name="connsiteX8" fmla="*/ 74492 w 206527"/>
              <a:gd name="connsiteY8" fmla="*/ 117574 h 292654"/>
              <a:gd name="connsiteX9" fmla="*/ 87734 w 206527"/>
              <a:gd name="connsiteY9" fmla="*/ 209171 h 292654"/>
              <a:gd name="connsiteX10" fmla="*/ 153949 w 206527"/>
              <a:gd name="connsiteY10" fmla="*/ 245589 h 292654"/>
              <a:gd name="connsiteX11" fmla="*/ 191049 w 206527"/>
              <a:gd name="connsiteY11" fmla="*/ 238993 h 2926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06527" h="292654">
                <a:moveTo>
                  <a:pt x="206527" y="258693"/>
                </a:moveTo>
                <a:lnTo>
                  <a:pt x="177331" y="274971"/>
                </a:lnTo>
                <a:cubicBezTo>
                  <a:pt x="145121" y="286007"/>
                  <a:pt x="114496" y="291111"/>
                  <a:pt x="91597" y="292491"/>
                </a:cubicBezTo>
                <a:cubicBezTo>
                  <a:pt x="66215" y="294146"/>
                  <a:pt x="41385" y="283111"/>
                  <a:pt x="23727" y="264901"/>
                </a:cubicBezTo>
                <a:cubicBezTo>
                  <a:pt x="4966" y="246692"/>
                  <a:pt x="0" y="215240"/>
                  <a:pt x="0" y="169993"/>
                </a:cubicBezTo>
                <a:lnTo>
                  <a:pt x="0" y="1698"/>
                </a:lnTo>
                <a:lnTo>
                  <a:pt x="3273" y="0"/>
                </a:lnTo>
                <a:lnTo>
                  <a:pt x="74297" y="90396"/>
                </a:lnTo>
                <a:lnTo>
                  <a:pt x="74492" y="117574"/>
                </a:lnTo>
                <a:cubicBezTo>
                  <a:pt x="72836" y="148474"/>
                  <a:pt x="77802" y="179926"/>
                  <a:pt x="87734" y="209171"/>
                </a:cubicBezTo>
                <a:cubicBezTo>
                  <a:pt x="96564" y="233450"/>
                  <a:pt x="119187" y="245589"/>
                  <a:pt x="153949" y="245589"/>
                </a:cubicBezTo>
                <a:lnTo>
                  <a:pt x="191049" y="23899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8" name="Forme libre : forme 107">
            <a:extLst>
              <a:ext uri="{FF2B5EF4-FFF2-40B4-BE49-F238E27FC236}">
                <a16:creationId xmlns:a16="http://schemas.microsoft.com/office/drawing/2014/main" id="{C0F2930B-1B76-4127-88A5-3C45B984D36E}"/>
              </a:ext>
            </a:extLst>
          </p:cNvPr>
          <p:cNvSpPr/>
          <p:nvPr/>
        </p:nvSpPr>
        <p:spPr>
          <a:xfrm rot="8716295">
            <a:off x="24761" y="3389623"/>
            <a:ext cx="220345" cy="161228"/>
          </a:xfrm>
          <a:custGeom>
            <a:avLst/>
            <a:gdLst>
              <a:gd name="connsiteX0" fmla="*/ 343853 w 390525"/>
              <a:gd name="connsiteY0" fmla="*/ 144780 h 285750"/>
              <a:gd name="connsiteX1" fmla="*/ 344805 w 390525"/>
              <a:gd name="connsiteY1" fmla="*/ 144780 h 285750"/>
              <a:gd name="connsiteX2" fmla="*/ 12382 w 390525"/>
              <a:gd name="connsiteY2" fmla="*/ 288608 h 285750"/>
              <a:gd name="connsiteX3" fmla="*/ 0 w 390525"/>
              <a:gd name="connsiteY3" fmla="*/ 271463 h 285750"/>
              <a:gd name="connsiteX4" fmla="*/ 225743 w 390525"/>
              <a:gd name="connsiteY4" fmla="*/ 59055 h 285750"/>
              <a:gd name="connsiteX5" fmla="*/ 340043 w 390525"/>
              <a:gd name="connsiteY5" fmla="*/ 0 h 285750"/>
              <a:gd name="connsiteX6" fmla="*/ 399098 w 390525"/>
              <a:gd name="connsiteY6" fmla="*/ 70485 h 285750"/>
              <a:gd name="connsiteX7" fmla="*/ 343853 w 390525"/>
              <a:gd name="connsiteY7" fmla="*/ 14478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0525" h="285750">
                <a:moveTo>
                  <a:pt x="343853" y="144780"/>
                </a:moveTo>
                <a:lnTo>
                  <a:pt x="344805" y="144780"/>
                </a:lnTo>
                <a:lnTo>
                  <a:pt x="12382" y="288608"/>
                </a:lnTo>
                <a:lnTo>
                  <a:pt x="0" y="271463"/>
                </a:lnTo>
                <a:lnTo>
                  <a:pt x="225743" y="59055"/>
                </a:lnTo>
                <a:cubicBezTo>
                  <a:pt x="254318" y="25718"/>
                  <a:pt x="295275" y="4763"/>
                  <a:pt x="340043" y="0"/>
                </a:cubicBezTo>
                <a:cubicBezTo>
                  <a:pt x="385763" y="0"/>
                  <a:pt x="399098" y="40005"/>
                  <a:pt x="399098" y="70485"/>
                </a:cubicBezTo>
                <a:cubicBezTo>
                  <a:pt x="396240" y="103823"/>
                  <a:pt x="374332" y="131445"/>
                  <a:pt x="343853" y="14478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9" name="Forme libre : forme 108">
            <a:extLst>
              <a:ext uri="{FF2B5EF4-FFF2-40B4-BE49-F238E27FC236}">
                <a16:creationId xmlns:a16="http://schemas.microsoft.com/office/drawing/2014/main" id="{5D516E03-78DF-4FFF-8FB2-A397635DD48F}"/>
              </a:ext>
            </a:extLst>
          </p:cNvPr>
          <p:cNvSpPr/>
          <p:nvPr/>
        </p:nvSpPr>
        <p:spPr>
          <a:xfrm rot="8716295">
            <a:off x="-24047" y="3281741"/>
            <a:ext cx="106042" cy="113733"/>
          </a:xfrm>
          <a:custGeom>
            <a:avLst/>
            <a:gdLst>
              <a:gd name="connsiteX0" fmla="*/ 17477 w 106042"/>
              <a:gd name="connsiteY0" fmla="*/ 101182 h 113733"/>
              <a:gd name="connsiteX1" fmla="*/ 0 w 106042"/>
              <a:gd name="connsiteY1" fmla="*/ 59790 h 113733"/>
              <a:gd name="connsiteX2" fmla="*/ 0 w 106042"/>
              <a:gd name="connsiteY2" fmla="*/ 58869 h 113733"/>
              <a:gd name="connsiteX3" fmla="*/ 17477 w 106042"/>
              <a:gd name="connsiteY3" fmla="*/ 17477 h 113733"/>
              <a:gd name="connsiteX4" fmla="*/ 58869 w 106042"/>
              <a:gd name="connsiteY4" fmla="*/ 0 h 113733"/>
              <a:gd name="connsiteX5" fmla="*/ 100262 w 106042"/>
              <a:gd name="connsiteY5" fmla="*/ 17477 h 113733"/>
              <a:gd name="connsiteX6" fmla="*/ 106042 w 106042"/>
              <a:gd name="connsiteY6" fmla="*/ 31234 h 113733"/>
              <a:gd name="connsiteX7" fmla="*/ 48856 w 106042"/>
              <a:gd name="connsiteY7" fmla="*/ 113733 h 1137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6042" h="113733">
                <a:moveTo>
                  <a:pt x="17477" y="101182"/>
                </a:moveTo>
                <a:cubicBezTo>
                  <a:pt x="6439" y="90144"/>
                  <a:pt x="0" y="75426"/>
                  <a:pt x="0" y="59790"/>
                </a:cubicBezTo>
                <a:lnTo>
                  <a:pt x="0" y="58869"/>
                </a:lnTo>
                <a:cubicBezTo>
                  <a:pt x="0" y="43233"/>
                  <a:pt x="6439" y="28515"/>
                  <a:pt x="17477" y="17477"/>
                </a:cubicBezTo>
                <a:cubicBezTo>
                  <a:pt x="28515" y="6439"/>
                  <a:pt x="43233" y="0"/>
                  <a:pt x="58869" y="0"/>
                </a:cubicBezTo>
                <a:cubicBezTo>
                  <a:pt x="74507" y="0"/>
                  <a:pt x="89224" y="6439"/>
                  <a:pt x="100262" y="17477"/>
                </a:cubicBezTo>
                <a:lnTo>
                  <a:pt x="106042" y="31234"/>
                </a:lnTo>
                <a:lnTo>
                  <a:pt x="48856" y="11373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0" name="Forme libre : forme 109">
            <a:extLst>
              <a:ext uri="{FF2B5EF4-FFF2-40B4-BE49-F238E27FC236}">
                <a16:creationId xmlns:a16="http://schemas.microsoft.com/office/drawing/2014/main" id="{4709179C-E348-4A89-8150-2CCBA6DE45C5}"/>
              </a:ext>
            </a:extLst>
          </p:cNvPr>
          <p:cNvSpPr/>
          <p:nvPr/>
        </p:nvSpPr>
        <p:spPr>
          <a:xfrm rot="8716295">
            <a:off x="-21924" y="3179872"/>
            <a:ext cx="45776" cy="62656"/>
          </a:xfrm>
          <a:custGeom>
            <a:avLst/>
            <a:gdLst>
              <a:gd name="connsiteX0" fmla="*/ 2345 w 45776"/>
              <a:gd name="connsiteY0" fmla="*/ 62656 h 62656"/>
              <a:gd name="connsiteX1" fmla="*/ 0 w 45776"/>
              <a:gd name="connsiteY1" fmla="*/ 57104 h 62656"/>
              <a:gd name="connsiteX2" fmla="*/ 0 w 45776"/>
              <a:gd name="connsiteY2" fmla="*/ 56183 h 62656"/>
              <a:gd name="connsiteX3" fmla="*/ 17477 w 45776"/>
              <a:gd name="connsiteY3" fmla="*/ 14791 h 62656"/>
              <a:gd name="connsiteX4" fmla="*/ 36449 w 45776"/>
              <a:gd name="connsiteY4" fmla="*/ 1913 h 62656"/>
              <a:gd name="connsiteX5" fmla="*/ 45776 w 45776"/>
              <a:gd name="connsiteY5" fmla="*/ 0 h 626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776" h="62656">
                <a:moveTo>
                  <a:pt x="2345" y="62656"/>
                </a:moveTo>
                <a:lnTo>
                  <a:pt x="0" y="57104"/>
                </a:lnTo>
                <a:lnTo>
                  <a:pt x="0" y="56183"/>
                </a:lnTo>
                <a:cubicBezTo>
                  <a:pt x="0" y="40547"/>
                  <a:pt x="6439" y="25829"/>
                  <a:pt x="17477" y="14791"/>
                </a:cubicBezTo>
                <a:cubicBezTo>
                  <a:pt x="22996" y="9272"/>
                  <a:pt x="29435" y="4903"/>
                  <a:pt x="36449" y="1913"/>
                </a:cubicBezTo>
                <a:lnTo>
                  <a:pt x="45776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1" name="Forme libre : forme 110">
            <a:extLst>
              <a:ext uri="{FF2B5EF4-FFF2-40B4-BE49-F238E27FC236}">
                <a16:creationId xmlns:a16="http://schemas.microsoft.com/office/drawing/2014/main" id="{E216B864-0116-44B5-A0E9-8D6C9FB4451C}"/>
              </a:ext>
            </a:extLst>
          </p:cNvPr>
          <p:cNvSpPr/>
          <p:nvPr/>
        </p:nvSpPr>
        <p:spPr>
          <a:xfrm rot="8716295">
            <a:off x="-21324" y="4100649"/>
            <a:ext cx="79113" cy="50123"/>
          </a:xfrm>
          <a:custGeom>
            <a:avLst/>
            <a:gdLst>
              <a:gd name="connsiteX0" fmla="*/ 0 w 79113"/>
              <a:gd name="connsiteY0" fmla="*/ 50123 h 50123"/>
              <a:gd name="connsiteX1" fmla="*/ 0 w 79113"/>
              <a:gd name="connsiteY1" fmla="*/ 0 h 50123"/>
              <a:gd name="connsiteX2" fmla="*/ 79113 w 79113"/>
              <a:gd name="connsiteY2" fmla="*/ 0 h 50123"/>
              <a:gd name="connsiteX3" fmla="*/ 44369 w 79113"/>
              <a:gd name="connsiteY3" fmla="*/ 50123 h 50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9113" h="50123">
                <a:moveTo>
                  <a:pt x="0" y="50123"/>
                </a:moveTo>
                <a:lnTo>
                  <a:pt x="0" y="0"/>
                </a:lnTo>
                <a:lnTo>
                  <a:pt x="79113" y="0"/>
                </a:lnTo>
                <a:lnTo>
                  <a:pt x="44369" y="5012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2" name="Forme libre : forme 111">
            <a:extLst>
              <a:ext uri="{FF2B5EF4-FFF2-40B4-BE49-F238E27FC236}">
                <a16:creationId xmlns:a16="http://schemas.microsoft.com/office/drawing/2014/main" id="{E81DDFAA-1A06-4A18-8287-C68132D6876A}"/>
              </a:ext>
            </a:extLst>
          </p:cNvPr>
          <p:cNvSpPr/>
          <p:nvPr/>
        </p:nvSpPr>
        <p:spPr>
          <a:xfrm rot="8716295">
            <a:off x="-40457" y="3981561"/>
            <a:ext cx="259728" cy="250615"/>
          </a:xfrm>
          <a:custGeom>
            <a:avLst/>
            <a:gdLst>
              <a:gd name="connsiteX0" fmla="*/ 544830 w 542925"/>
              <a:gd name="connsiteY0" fmla="*/ 184905 h 523875"/>
              <a:gd name="connsiteX1" fmla="*/ 544830 w 542925"/>
              <a:gd name="connsiteY1" fmla="*/ 197288 h 523875"/>
              <a:gd name="connsiteX2" fmla="*/ 415290 w 542925"/>
              <a:gd name="connsiteY2" fmla="*/ 204908 h 523875"/>
              <a:gd name="connsiteX3" fmla="*/ 415290 w 542925"/>
              <a:gd name="connsiteY3" fmla="*/ 170618 h 523875"/>
              <a:gd name="connsiteX4" fmla="*/ 344805 w 542925"/>
              <a:gd name="connsiteY4" fmla="*/ 83940 h 523875"/>
              <a:gd name="connsiteX5" fmla="*/ 233363 w 542925"/>
              <a:gd name="connsiteY5" fmla="*/ 266820 h 523875"/>
              <a:gd name="connsiteX6" fmla="*/ 233363 w 542925"/>
              <a:gd name="connsiteY6" fmla="*/ 446843 h 523875"/>
              <a:gd name="connsiteX7" fmla="*/ 107632 w 542925"/>
              <a:gd name="connsiteY7" fmla="*/ 532568 h 523875"/>
              <a:gd name="connsiteX8" fmla="*/ 107632 w 542925"/>
              <a:gd name="connsiteY8" fmla="*/ 95370 h 523875"/>
              <a:gd name="connsiteX9" fmla="*/ 0 w 542925"/>
              <a:gd name="connsiteY9" fmla="*/ 95370 h 523875"/>
              <a:gd name="connsiteX10" fmla="*/ 0 w 542925"/>
              <a:gd name="connsiteY10" fmla="*/ 2978 h 523875"/>
              <a:gd name="connsiteX11" fmla="*/ 219075 w 542925"/>
              <a:gd name="connsiteY11" fmla="*/ 2978 h 523875"/>
              <a:gd name="connsiteX12" fmla="*/ 219075 w 542925"/>
              <a:gd name="connsiteY12" fmla="*/ 157283 h 523875"/>
              <a:gd name="connsiteX13" fmla="*/ 221932 w 542925"/>
              <a:gd name="connsiteY13" fmla="*/ 157283 h 523875"/>
              <a:gd name="connsiteX14" fmla="*/ 321945 w 542925"/>
              <a:gd name="connsiteY14" fmla="*/ 12503 h 523875"/>
              <a:gd name="connsiteX15" fmla="*/ 387667 w 542925"/>
              <a:gd name="connsiteY15" fmla="*/ 120 h 523875"/>
              <a:gd name="connsiteX16" fmla="*/ 544830 w 542925"/>
              <a:gd name="connsiteY16" fmla="*/ 18490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42925" h="523875">
                <a:moveTo>
                  <a:pt x="544830" y="184905"/>
                </a:moveTo>
                <a:lnTo>
                  <a:pt x="544830" y="197288"/>
                </a:lnTo>
                <a:lnTo>
                  <a:pt x="415290" y="204908"/>
                </a:lnTo>
                <a:lnTo>
                  <a:pt x="415290" y="170618"/>
                </a:lnTo>
                <a:cubicBezTo>
                  <a:pt x="415290" y="119183"/>
                  <a:pt x="385763" y="83940"/>
                  <a:pt x="344805" y="83940"/>
                </a:cubicBezTo>
                <a:cubicBezTo>
                  <a:pt x="283845" y="83940"/>
                  <a:pt x="233363" y="164903"/>
                  <a:pt x="233363" y="266820"/>
                </a:cubicBezTo>
                <a:lnTo>
                  <a:pt x="233363" y="446843"/>
                </a:lnTo>
                <a:lnTo>
                  <a:pt x="107632" y="532568"/>
                </a:lnTo>
                <a:lnTo>
                  <a:pt x="107632" y="95370"/>
                </a:lnTo>
                <a:lnTo>
                  <a:pt x="0" y="95370"/>
                </a:lnTo>
                <a:lnTo>
                  <a:pt x="0" y="2978"/>
                </a:lnTo>
                <a:lnTo>
                  <a:pt x="219075" y="2978"/>
                </a:lnTo>
                <a:lnTo>
                  <a:pt x="219075" y="157283"/>
                </a:lnTo>
                <a:lnTo>
                  <a:pt x="221932" y="157283"/>
                </a:lnTo>
                <a:cubicBezTo>
                  <a:pt x="252413" y="66795"/>
                  <a:pt x="276225" y="31553"/>
                  <a:pt x="321945" y="12503"/>
                </a:cubicBezTo>
                <a:cubicBezTo>
                  <a:pt x="342900" y="3930"/>
                  <a:pt x="364807" y="-832"/>
                  <a:pt x="387667" y="120"/>
                </a:cubicBezTo>
                <a:cubicBezTo>
                  <a:pt x="485775" y="-1785"/>
                  <a:pt x="544830" y="66795"/>
                  <a:pt x="544830" y="18490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3" name="Forme libre : forme 112">
            <a:extLst>
              <a:ext uri="{FF2B5EF4-FFF2-40B4-BE49-F238E27FC236}">
                <a16:creationId xmlns:a16="http://schemas.microsoft.com/office/drawing/2014/main" id="{1D567C73-1317-457C-BAF4-E866C8E84479}"/>
              </a:ext>
            </a:extLst>
          </p:cNvPr>
          <p:cNvSpPr/>
          <p:nvPr/>
        </p:nvSpPr>
        <p:spPr>
          <a:xfrm rot="7484129">
            <a:off x="-46974" y="4273166"/>
            <a:ext cx="199362" cy="194378"/>
          </a:xfrm>
          <a:custGeom>
            <a:avLst/>
            <a:gdLst>
              <a:gd name="connsiteX0" fmla="*/ 389572 w 381000"/>
              <a:gd name="connsiteY0" fmla="*/ 0 h 371475"/>
              <a:gd name="connsiteX1" fmla="*/ 389572 w 381000"/>
              <a:gd name="connsiteY1" fmla="*/ 105728 h 371475"/>
              <a:gd name="connsiteX2" fmla="*/ 265747 w 381000"/>
              <a:gd name="connsiteY2" fmla="*/ 105728 h 371475"/>
              <a:gd name="connsiteX3" fmla="*/ 173355 w 381000"/>
              <a:gd name="connsiteY3" fmla="*/ 374333 h 371475"/>
              <a:gd name="connsiteX4" fmla="*/ 91440 w 381000"/>
              <a:gd name="connsiteY4" fmla="*/ 221933 h 371475"/>
              <a:gd name="connsiteX5" fmla="*/ 133350 w 381000"/>
              <a:gd name="connsiteY5" fmla="*/ 105728 h 371475"/>
              <a:gd name="connsiteX6" fmla="*/ 0 w 381000"/>
              <a:gd name="connsiteY6" fmla="*/ 105728 h 371475"/>
              <a:gd name="connsiteX7" fmla="*/ 0 w 381000"/>
              <a:gd name="connsiteY7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000" h="371475">
                <a:moveTo>
                  <a:pt x="389572" y="0"/>
                </a:moveTo>
                <a:lnTo>
                  <a:pt x="389572" y="105728"/>
                </a:lnTo>
                <a:lnTo>
                  <a:pt x="265747" y="105728"/>
                </a:lnTo>
                <a:lnTo>
                  <a:pt x="173355" y="374333"/>
                </a:lnTo>
                <a:lnTo>
                  <a:pt x="91440" y="221933"/>
                </a:lnTo>
                <a:lnTo>
                  <a:pt x="133350" y="105728"/>
                </a:lnTo>
                <a:lnTo>
                  <a:pt x="0" y="10572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4" name="Forme libre : forme 113">
            <a:extLst>
              <a:ext uri="{FF2B5EF4-FFF2-40B4-BE49-F238E27FC236}">
                <a16:creationId xmlns:a16="http://schemas.microsoft.com/office/drawing/2014/main" id="{4B07308E-D0A0-4D3E-9DEB-C235BB5B8299}"/>
              </a:ext>
            </a:extLst>
          </p:cNvPr>
          <p:cNvSpPr/>
          <p:nvPr/>
        </p:nvSpPr>
        <p:spPr>
          <a:xfrm rot="13089394">
            <a:off x="57846" y="4239700"/>
            <a:ext cx="270377" cy="325556"/>
          </a:xfrm>
          <a:custGeom>
            <a:avLst/>
            <a:gdLst>
              <a:gd name="connsiteX0" fmla="*/ 470535 w 466725"/>
              <a:gd name="connsiteY0" fmla="*/ 436245 h 561975"/>
              <a:gd name="connsiteX1" fmla="*/ 470535 w 466725"/>
              <a:gd name="connsiteY1" fmla="*/ 445770 h 561975"/>
              <a:gd name="connsiteX2" fmla="*/ 158115 w 466725"/>
              <a:gd name="connsiteY2" fmla="*/ 567690 h 561975"/>
              <a:gd name="connsiteX3" fmla="*/ 40957 w 466725"/>
              <a:gd name="connsiteY3" fmla="*/ 520065 h 561975"/>
              <a:gd name="connsiteX4" fmla="*/ 0 w 466725"/>
              <a:gd name="connsiteY4" fmla="*/ 356235 h 561975"/>
              <a:gd name="connsiteX5" fmla="*/ 0 w 466725"/>
              <a:gd name="connsiteY5" fmla="*/ 65723 h 561975"/>
              <a:gd name="connsiteX6" fmla="*/ 126682 w 466725"/>
              <a:gd name="connsiteY6" fmla="*/ 0 h 561975"/>
              <a:gd name="connsiteX7" fmla="*/ 128588 w 466725"/>
              <a:gd name="connsiteY7" fmla="*/ 265748 h 561975"/>
              <a:gd name="connsiteX8" fmla="*/ 151447 w 466725"/>
              <a:gd name="connsiteY8" fmla="*/ 423863 h 561975"/>
              <a:gd name="connsiteX9" fmla="*/ 265747 w 466725"/>
              <a:gd name="connsiteY9" fmla="*/ 486728 h 561975"/>
              <a:gd name="connsiteX10" fmla="*/ 351472 w 466725"/>
              <a:gd name="connsiteY10" fmla="*/ 471488 h 561975"/>
              <a:gd name="connsiteX11" fmla="*/ 468630 w 466725"/>
              <a:gd name="connsiteY11" fmla="*/ 423863 h 561975"/>
              <a:gd name="connsiteX12" fmla="*/ 470535 w 466725"/>
              <a:gd name="connsiteY12" fmla="*/ 436245 h 56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6725" h="561975">
                <a:moveTo>
                  <a:pt x="470535" y="436245"/>
                </a:moveTo>
                <a:lnTo>
                  <a:pt x="470535" y="445770"/>
                </a:lnTo>
                <a:cubicBezTo>
                  <a:pt x="369570" y="532448"/>
                  <a:pt x="237172" y="562928"/>
                  <a:pt x="158115" y="567690"/>
                </a:cubicBezTo>
                <a:cubicBezTo>
                  <a:pt x="114300" y="570548"/>
                  <a:pt x="71438" y="551498"/>
                  <a:pt x="40957" y="520065"/>
                </a:cubicBezTo>
                <a:cubicBezTo>
                  <a:pt x="8572" y="488633"/>
                  <a:pt x="0" y="434340"/>
                  <a:pt x="0" y="356235"/>
                </a:cubicBezTo>
                <a:lnTo>
                  <a:pt x="0" y="65723"/>
                </a:lnTo>
                <a:lnTo>
                  <a:pt x="126682" y="0"/>
                </a:lnTo>
                <a:lnTo>
                  <a:pt x="128588" y="265748"/>
                </a:lnTo>
                <a:cubicBezTo>
                  <a:pt x="125730" y="319088"/>
                  <a:pt x="134302" y="373380"/>
                  <a:pt x="151447" y="423863"/>
                </a:cubicBezTo>
                <a:cubicBezTo>
                  <a:pt x="166688" y="465773"/>
                  <a:pt x="205740" y="486728"/>
                  <a:pt x="265747" y="486728"/>
                </a:cubicBezTo>
                <a:cubicBezTo>
                  <a:pt x="295275" y="485775"/>
                  <a:pt x="323850" y="480060"/>
                  <a:pt x="351472" y="471488"/>
                </a:cubicBezTo>
                <a:cubicBezTo>
                  <a:pt x="391477" y="459105"/>
                  <a:pt x="430530" y="442913"/>
                  <a:pt x="468630" y="423863"/>
                </a:cubicBezTo>
                <a:cubicBezTo>
                  <a:pt x="469582" y="427673"/>
                  <a:pt x="470535" y="432435"/>
                  <a:pt x="470535" y="43624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5" name="Forme libre : forme 114">
            <a:extLst>
              <a:ext uri="{FF2B5EF4-FFF2-40B4-BE49-F238E27FC236}">
                <a16:creationId xmlns:a16="http://schemas.microsoft.com/office/drawing/2014/main" id="{B3D02E0E-617A-4DDE-855C-BECF0834C305}"/>
              </a:ext>
            </a:extLst>
          </p:cNvPr>
          <p:cNvSpPr/>
          <p:nvPr/>
        </p:nvSpPr>
        <p:spPr>
          <a:xfrm rot="8716295">
            <a:off x="243431" y="4048019"/>
            <a:ext cx="220345" cy="161228"/>
          </a:xfrm>
          <a:custGeom>
            <a:avLst/>
            <a:gdLst>
              <a:gd name="connsiteX0" fmla="*/ 343853 w 390525"/>
              <a:gd name="connsiteY0" fmla="*/ 144780 h 285750"/>
              <a:gd name="connsiteX1" fmla="*/ 344805 w 390525"/>
              <a:gd name="connsiteY1" fmla="*/ 144780 h 285750"/>
              <a:gd name="connsiteX2" fmla="*/ 12382 w 390525"/>
              <a:gd name="connsiteY2" fmla="*/ 288608 h 285750"/>
              <a:gd name="connsiteX3" fmla="*/ 0 w 390525"/>
              <a:gd name="connsiteY3" fmla="*/ 271463 h 285750"/>
              <a:gd name="connsiteX4" fmla="*/ 225743 w 390525"/>
              <a:gd name="connsiteY4" fmla="*/ 59055 h 285750"/>
              <a:gd name="connsiteX5" fmla="*/ 340043 w 390525"/>
              <a:gd name="connsiteY5" fmla="*/ 0 h 285750"/>
              <a:gd name="connsiteX6" fmla="*/ 399098 w 390525"/>
              <a:gd name="connsiteY6" fmla="*/ 70485 h 285750"/>
              <a:gd name="connsiteX7" fmla="*/ 343853 w 390525"/>
              <a:gd name="connsiteY7" fmla="*/ 14478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0525" h="285750">
                <a:moveTo>
                  <a:pt x="343853" y="144780"/>
                </a:moveTo>
                <a:lnTo>
                  <a:pt x="344805" y="144780"/>
                </a:lnTo>
                <a:lnTo>
                  <a:pt x="12382" y="288608"/>
                </a:lnTo>
                <a:lnTo>
                  <a:pt x="0" y="271463"/>
                </a:lnTo>
                <a:lnTo>
                  <a:pt x="225743" y="59055"/>
                </a:lnTo>
                <a:cubicBezTo>
                  <a:pt x="254318" y="25718"/>
                  <a:pt x="295275" y="4763"/>
                  <a:pt x="340043" y="0"/>
                </a:cubicBezTo>
                <a:cubicBezTo>
                  <a:pt x="385763" y="0"/>
                  <a:pt x="399098" y="40005"/>
                  <a:pt x="399098" y="70485"/>
                </a:cubicBezTo>
                <a:cubicBezTo>
                  <a:pt x="396240" y="103823"/>
                  <a:pt x="374332" y="131445"/>
                  <a:pt x="343853" y="14478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6" name="Forme libre : forme 115">
            <a:extLst>
              <a:ext uri="{FF2B5EF4-FFF2-40B4-BE49-F238E27FC236}">
                <a16:creationId xmlns:a16="http://schemas.microsoft.com/office/drawing/2014/main" id="{FCFFBDC4-0942-4E6E-9EF4-22477617D5C9}"/>
              </a:ext>
            </a:extLst>
          </p:cNvPr>
          <p:cNvSpPr/>
          <p:nvPr/>
        </p:nvSpPr>
        <p:spPr>
          <a:xfrm rot="8716295">
            <a:off x="191626" y="3944426"/>
            <a:ext cx="110380" cy="1103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7" name="Forme libre : forme 116">
            <a:extLst>
              <a:ext uri="{FF2B5EF4-FFF2-40B4-BE49-F238E27FC236}">
                <a16:creationId xmlns:a16="http://schemas.microsoft.com/office/drawing/2014/main" id="{6779D405-E211-4D4D-B286-FEED219E73DF}"/>
              </a:ext>
            </a:extLst>
          </p:cNvPr>
          <p:cNvSpPr/>
          <p:nvPr/>
        </p:nvSpPr>
        <p:spPr>
          <a:xfrm rot="8716295">
            <a:off x="125832" y="3815405"/>
            <a:ext cx="110380" cy="1103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8" name="Forme libre : forme 117">
            <a:extLst>
              <a:ext uri="{FF2B5EF4-FFF2-40B4-BE49-F238E27FC236}">
                <a16:creationId xmlns:a16="http://schemas.microsoft.com/office/drawing/2014/main" id="{1B98413D-C7CC-484D-AF71-C6706295A09F}"/>
              </a:ext>
            </a:extLst>
          </p:cNvPr>
          <p:cNvSpPr/>
          <p:nvPr/>
        </p:nvSpPr>
        <p:spPr>
          <a:xfrm rot="8716295">
            <a:off x="-73048" y="4876828"/>
            <a:ext cx="221382" cy="253349"/>
          </a:xfrm>
          <a:custGeom>
            <a:avLst/>
            <a:gdLst>
              <a:gd name="connsiteX0" fmla="*/ 51490 w 221382"/>
              <a:gd name="connsiteY0" fmla="*/ 253349 h 253349"/>
              <a:gd name="connsiteX1" fmla="*/ 51490 w 221382"/>
              <a:gd name="connsiteY1" fmla="*/ 44199 h 253349"/>
              <a:gd name="connsiteX2" fmla="*/ 0 w 221382"/>
              <a:gd name="connsiteY2" fmla="*/ 44199 h 253349"/>
              <a:gd name="connsiteX3" fmla="*/ 0 w 221382"/>
              <a:gd name="connsiteY3" fmla="*/ 0 h 253349"/>
              <a:gd name="connsiteX4" fmla="*/ 104803 w 221382"/>
              <a:gd name="connsiteY4" fmla="*/ 0 h 253349"/>
              <a:gd name="connsiteX5" fmla="*/ 104802 w 221382"/>
              <a:gd name="connsiteY5" fmla="*/ 73817 h 253349"/>
              <a:gd name="connsiteX6" fmla="*/ 106169 w 221382"/>
              <a:gd name="connsiteY6" fmla="*/ 73817 h 253349"/>
              <a:gd name="connsiteX7" fmla="*/ 154014 w 221382"/>
              <a:gd name="connsiteY7" fmla="*/ 4556 h 253349"/>
              <a:gd name="connsiteX8" fmla="*/ 174650 w 221382"/>
              <a:gd name="connsiteY8" fmla="*/ 668 h 253349"/>
              <a:gd name="connsiteX9" fmla="*/ 214075 w 221382"/>
              <a:gd name="connsiteY9" fmla="*/ 27996 h 253349"/>
              <a:gd name="connsiteX10" fmla="*/ 221382 w 221382"/>
              <a:gd name="connsiteY10" fmla="*/ 33060 h 253349"/>
              <a:gd name="connsiteX11" fmla="*/ 195540 w 221382"/>
              <a:gd name="connsiteY11" fmla="*/ 70341 h 253349"/>
              <a:gd name="connsiteX12" fmla="*/ 189157 w 221382"/>
              <a:gd name="connsiteY12" fmla="*/ 50236 h 253349"/>
              <a:gd name="connsiteX13" fmla="*/ 164950 w 221382"/>
              <a:gd name="connsiteY13" fmla="*/ 38731 h 253349"/>
              <a:gd name="connsiteX14" fmla="*/ 111638 w 221382"/>
              <a:gd name="connsiteY14" fmla="*/ 126218 h 253349"/>
              <a:gd name="connsiteX15" fmla="*/ 111638 w 221382"/>
              <a:gd name="connsiteY15" fmla="*/ 191383 h 253349"/>
              <a:gd name="connsiteX16" fmla="*/ 84096 w 221382"/>
              <a:gd name="connsiteY16" fmla="*/ 231117 h 2533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21382" h="253349">
                <a:moveTo>
                  <a:pt x="51490" y="253349"/>
                </a:moveTo>
                <a:lnTo>
                  <a:pt x="51490" y="44199"/>
                </a:lnTo>
                <a:lnTo>
                  <a:pt x="0" y="44199"/>
                </a:lnTo>
                <a:lnTo>
                  <a:pt x="0" y="0"/>
                </a:lnTo>
                <a:lnTo>
                  <a:pt x="104803" y="0"/>
                </a:lnTo>
                <a:lnTo>
                  <a:pt x="104802" y="73817"/>
                </a:lnTo>
                <a:lnTo>
                  <a:pt x="106169" y="73817"/>
                </a:lnTo>
                <a:cubicBezTo>
                  <a:pt x="120751" y="30529"/>
                  <a:pt x="132142" y="13670"/>
                  <a:pt x="154014" y="4556"/>
                </a:cubicBezTo>
                <a:lnTo>
                  <a:pt x="174650" y="668"/>
                </a:lnTo>
                <a:lnTo>
                  <a:pt x="214075" y="27996"/>
                </a:lnTo>
                <a:lnTo>
                  <a:pt x="221382" y="33060"/>
                </a:lnTo>
                <a:lnTo>
                  <a:pt x="195540" y="70341"/>
                </a:lnTo>
                <a:lnTo>
                  <a:pt x="189157" y="50236"/>
                </a:lnTo>
                <a:cubicBezTo>
                  <a:pt x="183177" y="42946"/>
                  <a:pt x="174747" y="38731"/>
                  <a:pt x="164950" y="38731"/>
                </a:cubicBezTo>
                <a:cubicBezTo>
                  <a:pt x="135788" y="38731"/>
                  <a:pt x="111638" y="77463"/>
                  <a:pt x="111638" y="126218"/>
                </a:cubicBezTo>
                <a:lnTo>
                  <a:pt x="111638" y="191383"/>
                </a:lnTo>
                <a:lnTo>
                  <a:pt x="84096" y="231117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9" name="Forme libre : forme 118">
            <a:extLst>
              <a:ext uri="{FF2B5EF4-FFF2-40B4-BE49-F238E27FC236}">
                <a16:creationId xmlns:a16="http://schemas.microsoft.com/office/drawing/2014/main" id="{6176F84A-9766-45D5-91E9-4847B60A5CD4}"/>
              </a:ext>
            </a:extLst>
          </p:cNvPr>
          <p:cNvSpPr/>
          <p:nvPr/>
        </p:nvSpPr>
        <p:spPr>
          <a:xfrm rot="8716295">
            <a:off x="93318" y="4612018"/>
            <a:ext cx="141256" cy="232388"/>
          </a:xfrm>
          <a:custGeom>
            <a:avLst/>
            <a:gdLst>
              <a:gd name="connsiteX0" fmla="*/ 297180 w 295275"/>
              <a:gd name="connsiteY0" fmla="*/ 104775 h 485775"/>
              <a:gd name="connsiteX1" fmla="*/ 297180 w 295275"/>
              <a:gd name="connsiteY1" fmla="*/ 435293 h 485775"/>
              <a:gd name="connsiteX2" fmla="*/ 169545 w 295275"/>
              <a:gd name="connsiteY2" fmla="*/ 485775 h 485775"/>
              <a:gd name="connsiteX3" fmla="*/ 169545 w 295275"/>
              <a:gd name="connsiteY3" fmla="*/ 145733 h 485775"/>
              <a:gd name="connsiteX4" fmla="*/ 169545 w 295275"/>
              <a:gd name="connsiteY4" fmla="*/ 137160 h 485775"/>
              <a:gd name="connsiteX5" fmla="*/ 126683 w 295275"/>
              <a:gd name="connsiteY5" fmla="*/ 104775 h 485775"/>
              <a:gd name="connsiteX6" fmla="*/ 0 w 295275"/>
              <a:gd name="connsiteY6" fmla="*/ 104775 h 485775"/>
              <a:gd name="connsiteX7" fmla="*/ 0 w 295275"/>
              <a:gd name="connsiteY7" fmla="*/ 0 h 485775"/>
              <a:gd name="connsiteX8" fmla="*/ 178118 w 295275"/>
              <a:gd name="connsiteY8" fmla="*/ 0 h 485775"/>
              <a:gd name="connsiteX9" fmla="*/ 297180 w 295275"/>
              <a:gd name="connsiteY9" fmla="*/ 104775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95275" h="485775">
                <a:moveTo>
                  <a:pt x="297180" y="104775"/>
                </a:moveTo>
                <a:lnTo>
                  <a:pt x="297180" y="435293"/>
                </a:lnTo>
                <a:lnTo>
                  <a:pt x="169545" y="485775"/>
                </a:lnTo>
                <a:lnTo>
                  <a:pt x="169545" y="145733"/>
                </a:lnTo>
                <a:cubicBezTo>
                  <a:pt x="169545" y="142875"/>
                  <a:pt x="169545" y="140018"/>
                  <a:pt x="169545" y="137160"/>
                </a:cubicBezTo>
                <a:cubicBezTo>
                  <a:pt x="166688" y="116205"/>
                  <a:pt x="147638" y="101918"/>
                  <a:pt x="126683" y="104775"/>
                </a:cubicBezTo>
                <a:lnTo>
                  <a:pt x="0" y="104775"/>
                </a:lnTo>
                <a:lnTo>
                  <a:pt x="0" y="0"/>
                </a:lnTo>
                <a:lnTo>
                  <a:pt x="178118" y="0"/>
                </a:lnTo>
                <a:cubicBezTo>
                  <a:pt x="255270" y="0"/>
                  <a:pt x="297180" y="33338"/>
                  <a:pt x="297180" y="10477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0" name="Forme libre : forme 119">
            <a:extLst>
              <a:ext uri="{FF2B5EF4-FFF2-40B4-BE49-F238E27FC236}">
                <a16:creationId xmlns:a16="http://schemas.microsoft.com/office/drawing/2014/main" id="{3DA54937-5DEF-4122-B904-83A03268CA89}"/>
              </a:ext>
            </a:extLst>
          </p:cNvPr>
          <p:cNvSpPr/>
          <p:nvPr/>
        </p:nvSpPr>
        <p:spPr>
          <a:xfrm rot="8716295">
            <a:off x="182710" y="4641260"/>
            <a:ext cx="259728" cy="250615"/>
          </a:xfrm>
          <a:custGeom>
            <a:avLst/>
            <a:gdLst>
              <a:gd name="connsiteX0" fmla="*/ 544830 w 542925"/>
              <a:gd name="connsiteY0" fmla="*/ 184905 h 523875"/>
              <a:gd name="connsiteX1" fmla="*/ 544830 w 542925"/>
              <a:gd name="connsiteY1" fmla="*/ 197288 h 523875"/>
              <a:gd name="connsiteX2" fmla="*/ 415290 w 542925"/>
              <a:gd name="connsiteY2" fmla="*/ 204908 h 523875"/>
              <a:gd name="connsiteX3" fmla="*/ 415290 w 542925"/>
              <a:gd name="connsiteY3" fmla="*/ 170618 h 523875"/>
              <a:gd name="connsiteX4" fmla="*/ 344805 w 542925"/>
              <a:gd name="connsiteY4" fmla="*/ 83940 h 523875"/>
              <a:gd name="connsiteX5" fmla="*/ 233363 w 542925"/>
              <a:gd name="connsiteY5" fmla="*/ 266820 h 523875"/>
              <a:gd name="connsiteX6" fmla="*/ 233363 w 542925"/>
              <a:gd name="connsiteY6" fmla="*/ 446843 h 523875"/>
              <a:gd name="connsiteX7" fmla="*/ 107632 w 542925"/>
              <a:gd name="connsiteY7" fmla="*/ 532568 h 523875"/>
              <a:gd name="connsiteX8" fmla="*/ 107632 w 542925"/>
              <a:gd name="connsiteY8" fmla="*/ 95370 h 523875"/>
              <a:gd name="connsiteX9" fmla="*/ 0 w 542925"/>
              <a:gd name="connsiteY9" fmla="*/ 95370 h 523875"/>
              <a:gd name="connsiteX10" fmla="*/ 0 w 542925"/>
              <a:gd name="connsiteY10" fmla="*/ 2978 h 523875"/>
              <a:gd name="connsiteX11" fmla="*/ 219075 w 542925"/>
              <a:gd name="connsiteY11" fmla="*/ 2978 h 523875"/>
              <a:gd name="connsiteX12" fmla="*/ 219075 w 542925"/>
              <a:gd name="connsiteY12" fmla="*/ 157283 h 523875"/>
              <a:gd name="connsiteX13" fmla="*/ 221932 w 542925"/>
              <a:gd name="connsiteY13" fmla="*/ 157283 h 523875"/>
              <a:gd name="connsiteX14" fmla="*/ 321945 w 542925"/>
              <a:gd name="connsiteY14" fmla="*/ 12503 h 523875"/>
              <a:gd name="connsiteX15" fmla="*/ 387667 w 542925"/>
              <a:gd name="connsiteY15" fmla="*/ 120 h 523875"/>
              <a:gd name="connsiteX16" fmla="*/ 544830 w 542925"/>
              <a:gd name="connsiteY16" fmla="*/ 18490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42925" h="523875">
                <a:moveTo>
                  <a:pt x="544830" y="184905"/>
                </a:moveTo>
                <a:lnTo>
                  <a:pt x="544830" y="197288"/>
                </a:lnTo>
                <a:lnTo>
                  <a:pt x="415290" y="204908"/>
                </a:lnTo>
                <a:lnTo>
                  <a:pt x="415290" y="170618"/>
                </a:lnTo>
                <a:cubicBezTo>
                  <a:pt x="415290" y="119183"/>
                  <a:pt x="385763" y="83940"/>
                  <a:pt x="344805" y="83940"/>
                </a:cubicBezTo>
                <a:cubicBezTo>
                  <a:pt x="283845" y="83940"/>
                  <a:pt x="233363" y="164903"/>
                  <a:pt x="233363" y="266820"/>
                </a:cubicBezTo>
                <a:lnTo>
                  <a:pt x="233363" y="446843"/>
                </a:lnTo>
                <a:lnTo>
                  <a:pt x="107632" y="532568"/>
                </a:lnTo>
                <a:lnTo>
                  <a:pt x="107632" y="95370"/>
                </a:lnTo>
                <a:lnTo>
                  <a:pt x="0" y="95370"/>
                </a:lnTo>
                <a:lnTo>
                  <a:pt x="0" y="2978"/>
                </a:lnTo>
                <a:lnTo>
                  <a:pt x="219075" y="2978"/>
                </a:lnTo>
                <a:lnTo>
                  <a:pt x="219075" y="157283"/>
                </a:lnTo>
                <a:lnTo>
                  <a:pt x="221932" y="157283"/>
                </a:lnTo>
                <a:cubicBezTo>
                  <a:pt x="252413" y="66795"/>
                  <a:pt x="276225" y="31553"/>
                  <a:pt x="321945" y="12503"/>
                </a:cubicBezTo>
                <a:cubicBezTo>
                  <a:pt x="342900" y="3930"/>
                  <a:pt x="364807" y="-832"/>
                  <a:pt x="387667" y="120"/>
                </a:cubicBezTo>
                <a:cubicBezTo>
                  <a:pt x="485775" y="-1785"/>
                  <a:pt x="544830" y="66795"/>
                  <a:pt x="544830" y="184905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1" name="Forme libre : forme 120">
            <a:extLst>
              <a:ext uri="{FF2B5EF4-FFF2-40B4-BE49-F238E27FC236}">
                <a16:creationId xmlns:a16="http://schemas.microsoft.com/office/drawing/2014/main" id="{24CD3C2A-51CB-4CA4-A2B4-FE03D227C422}"/>
              </a:ext>
            </a:extLst>
          </p:cNvPr>
          <p:cNvSpPr/>
          <p:nvPr/>
        </p:nvSpPr>
        <p:spPr>
          <a:xfrm rot="8716295">
            <a:off x="-14524" y="4699631"/>
            <a:ext cx="49997" cy="54238"/>
          </a:xfrm>
          <a:custGeom>
            <a:avLst/>
            <a:gdLst>
              <a:gd name="connsiteX0" fmla="*/ 8658 w 49997"/>
              <a:gd name="connsiteY0" fmla="*/ 50123 h 54238"/>
              <a:gd name="connsiteX1" fmla="*/ 0 w 49997"/>
              <a:gd name="connsiteY1" fmla="*/ 29619 h 54238"/>
              <a:gd name="connsiteX2" fmla="*/ 0 w 49997"/>
              <a:gd name="connsiteY2" fmla="*/ 29162 h 54238"/>
              <a:gd name="connsiteX3" fmla="*/ 8658 w 49997"/>
              <a:gd name="connsiteY3" fmla="*/ 8658 h 54238"/>
              <a:gd name="connsiteX4" fmla="*/ 29163 w 49997"/>
              <a:gd name="connsiteY4" fmla="*/ 0 h 54238"/>
              <a:gd name="connsiteX5" fmla="*/ 49668 w 49997"/>
              <a:gd name="connsiteY5" fmla="*/ 8658 h 54238"/>
              <a:gd name="connsiteX6" fmla="*/ 49997 w 49997"/>
              <a:gd name="connsiteY6" fmla="*/ 9441 h 54238"/>
              <a:gd name="connsiteX7" fmla="*/ 18945 w 49997"/>
              <a:gd name="connsiteY7" fmla="*/ 54238 h 54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9997" h="54238">
                <a:moveTo>
                  <a:pt x="8658" y="50123"/>
                </a:moveTo>
                <a:cubicBezTo>
                  <a:pt x="3190" y="44655"/>
                  <a:pt x="0" y="37365"/>
                  <a:pt x="0" y="29619"/>
                </a:cubicBezTo>
                <a:lnTo>
                  <a:pt x="0" y="29162"/>
                </a:lnTo>
                <a:cubicBezTo>
                  <a:pt x="0" y="21417"/>
                  <a:pt x="3190" y="14126"/>
                  <a:pt x="8658" y="8658"/>
                </a:cubicBezTo>
                <a:cubicBezTo>
                  <a:pt x="14126" y="3190"/>
                  <a:pt x="21416" y="0"/>
                  <a:pt x="29163" y="0"/>
                </a:cubicBezTo>
                <a:cubicBezTo>
                  <a:pt x="36909" y="0"/>
                  <a:pt x="44200" y="3190"/>
                  <a:pt x="49668" y="8658"/>
                </a:cubicBezTo>
                <a:lnTo>
                  <a:pt x="49997" y="9441"/>
                </a:lnTo>
                <a:lnTo>
                  <a:pt x="18945" y="54238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2" name="Forme libre : forme 121">
            <a:extLst>
              <a:ext uri="{FF2B5EF4-FFF2-40B4-BE49-F238E27FC236}">
                <a16:creationId xmlns:a16="http://schemas.microsoft.com/office/drawing/2014/main" id="{7A46CCF0-E67A-4E1E-9549-23C0DBDB68E2}"/>
              </a:ext>
            </a:extLst>
          </p:cNvPr>
          <p:cNvSpPr/>
          <p:nvPr/>
        </p:nvSpPr>
        <p:spPr>
          <a:xfrm rot="8716295">
            <a:off x="-30327" y="4579755"/>
            <a:ext cx="113346" cy="71024"/>
          </a:xfrm>
          <a:custGeom>
            <a:avLst/>
            <a:gdLst>
              <a:gd name="connsiteX0" fmla="*/ 0 w 113346"/>
              <a:gd name="connsiteY0" fmla="*/ 55323 h 71024"/>
              <a:gd name="connsiteX1" fmla="*/ 0 w 113346"/>
              <a:gd name="connsiteY1" fmla="*/ 0 h 71024"/>
              <a:gd name="connsiteX2" fmla="*/ 113346 w 113346"/>
              <a:gd name="connsiteY2" fmla="*/ 0 h 71024"/>
              <a:gd name="connsiteX3" fmla="*/ 64114 w 113346"/>
              <a:gd name="connsiteY3" fmla="*/ 71024 h 71024"/>
              <a:gd name="connsiteX4" fmla="*/ 69777 w 113346"/>
              <a:gd name="connsiteY4" fmla="*/ 55323 h 71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346" h="71024">
                <a:moveTo>
                  <a:pt x="0" y="55323"/>
                </a:moveTo>
                <a:lnTo>
                  <a:pt x="0" y="0"/>
                </a:lnTo>
                <a:lnTo>
                  <a:pt x="113346" y="0"/>
                </a:lnTo>
                <a:lnTo>
                  <a:pt x="64114" y="71024"/>
                </a:lnTo>
                <a:lnTo>
                  <a:pt x="69777" y="5532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3" name="Forme libre : forme 122">
            <a:extLst>
              <a:ext uri="{FF2B5EF4-FFF2-40B4-BE49-F238E27FC236}">
                <a16:creationId xmlns:a16="http://schemas.microsoft.com/office/drawing/2014/main" id="{01D04BC1-282A-4CFE-BF99-5B57F855BCBC}"/>
              </a:ext>
            </a:extLst>
          </p:cNvPr>
          <p:cNvSpPr/>
          <p:nvPr/>
        </p:nvSpPr>
        <p:spPr>
          <a:xfrm rot="8716295">
            <a:off x="71262" y="4741514"/>
            <a:ext cx="100246" cy="218719"/>
          </a:xfrm>
          <a:custGeom>
            <a:avLst/>
            <a:gdLst>
              <a:gd name="connsiteX0" fmla="*/ 216217 w 209550"/>
              <a:gd name="connsiteY0" fmla="*/ 0 h 457200"/>
              <a:gd name="connsiteX1" fmla="*/ 216217 w 209550"/>
              <a:gd name="connsiteY1" fmla="*/ 458153 h 457200"/>
              <a:gd name="connsiteX2" fmla="*/ 90488 w 209550"/>
              <a:gd name="connsiteY2" fmla="*/ 337185 h 457200"/>
              <a:gd name="connsiteX3" fmla="*/ 90488 w 209550"/>
              <a:gd name="connsiteY3" fmla="*/ 34290 h 457200"/>
              <a:gd name="connsiteX4" fmla="*/ 0 w 209550"/>
              <a:gd name="connsiteY4" fmla="*/ 34290 h 457200"/>
              <a:gd name="connsiteX5" fmla="*/ 0 w 209550"/>
              <a:gd name="connsiteY5" fmla="*/ 4763 h 457200"/>
              <a:gd name="connsiteX6" fmla="*/ 216217 w 209550"/>
              <a:gd name="connsiteY6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9550" h="457200">
                <a:moveTo>
                  <a:pt x="216217" y="0"/>
                </a:moveTo>
                <a:lnTo>
                  <a:pt x="216217" y="458153"/>
                </a:lnTo>
                <a:lnTo>
                  <a:pt x="90488" y="337185"/>
                </a:lnTo>
                <a:lnTo>
                  <a:pt x="90488" y="34290"/>
                </a:lnTo>
                <a:lnTo>
                  <a:pt x="0" y="34290"/>
                </a:lnTo>
                <a:lnTo>
                  <a:pt x="0" y="4763"/>
                </a:lnTo>
                <a:cubicBezTo>
                  <a:pt x="68580" y="7620"/>
                  <a:pt x="140017" y="1905"/>
                  <a:pt x="216217" y="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4" name="Forme libre : forme 123">
            <a:extLst>
              <a:ext uri="{FF2B5EF4-FFF2-40B4-BE49-F238E27FC236}">
                <a16:creationId xmlns:a16="http://schemas.microsoft.com/office/drawing/2014/main" id="{A04953EA-5C79-45C4-9757-065EFCA47539}"/>
              </a:ext>
            </a:extLst>
          </p:cNvPr>
          <p:cNvSpPr/>
          <p:nvPr/>
        </p:nvSpPr>
        <p:spPr>
          <a:xfrm rot="7484129">
            <a:off x="172059" y="4933533"/>
            <a:ext cx="203847" cy="195874"/>
          </a:xfrm>
          <a:custGeom>
            <a:avLst/>
            <a:gdLst>
              <a:gd name="connsiteX0" fmla="*/ 90710 w 203847"/>
              <a:gd name="connsiteY0" fmla="*/ 195874 h 195874"/>
              <a:gd name="connsiteX1" fmla="*/ 47847 w 203847"/>
              <a:gd name="connsiteY1" fmla="*/ 116129 h 195874"/>
              <a:gd name="connsiteX2" fmla="*/ 69777 w 203847"/>
              <a:gd name="connsiteY2" fmla="*/ 55323 h 195874"/>
              <a:gd name="connsiteX3" fmla="*/ 0 w 203847"/>
              <a:gd name="connsiteY3" fmla="*/ 55323 h 195874"/>
              <a:gd name="connsiteX4" fmla="*/ 0 w 203847"/>
              <a:gd name="connsiteY4" fmla="*/ 0 h 195874"/>
              <a:gd name="connsiteX5" fmla="*/ 170341 w 203847"/>
              <a:gd name="connsiteY5" fmla="*/ 0 h 195874"/>
              <a:gd name="connsiteX6" fmla="*/ 203847 w 203847"/>
              <a:gd name="connsiteY6" fmla="*/ 48325 h 195874"/>
              <a:gd name="connsiteX7" fmla="*/ 203847 w 203847"/>
              <a:gd name="connsiteY7" fmla="*/ 55323 h 195874"/>
              <a:gd name="connsiteX8" fmla="*/ 139055 w 203847"/>
              <a:gd name="connsiteY8" fmla="*/ 55323 h 195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3847" h="195874">
                <a:moveTo>
                  <a:pt x="90710" y="195874"/>
                </a:moveTo>
                <a:lnTo>
                  <a:pt x="47847" y="116129"/>
                </a:lnTo>
                <a:lnTo>
                  <a:pt x="69777" y="55323"/>
                </a:lnTo>
                <a:lnTo>
                  <a:pt x="0" y="55323"/>
                </a:lnTo>
                <a:lnTo>
                  <a:pt x="0" y="0"/>
                </a:lnTo>
                <a:lnTo>
                  <a:pt x="170341" y="0"/>
                </a:lnTo>
                <a:lnTo>
                  <a:pt x="203847" y="48325"/>
                </a:lnTo>
                <a:lnTo>
                  <a:pt x="203847" y="55323"/>
                </a:lnTo>
                <a:lnTo>
                  <a:pt x="139055" y="55323"/>
                </a:ln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5" name="Forme libre : forme 124">
            <a:extLst>
              <a:ext uri="{FF2B5EF4-FFF2-40B4-BE49-F238E27FC236}">
                <a16:creationId xmlns:a16="http://schemas.microsoft.com/office/drawing/2014/main" id="{49CB50EA-8DFB-4219-A82A-979E56D219DC}"/>
              </a:ext>
            </a:extLst>
          </p:cNvPr>
          <p:cNvSpPr/>
          <p:nvPr/>
        </p:nvSpPr>
        <p:spPr>
          <a:xfrm rot="13089394">
            <a:off x="313551" y="4906246"/>
            <a:ext cx="221827" cy="205098"/>
          </a:xfrm>
          <a:custGeom>
            <a:avLst/>
            <a:gdLst>
              <a:gd name="connsiteX0" fmla="*/ 24153 w 221827"/>
              <a:gd name="connsiteY0" fmla="*/ 55168 h 205098"/>
              <a:gd name="connsiteX1" fmla="*/ 0 w 221827"/>
              <a:gd name="connsiteY1" fmla="*/ 18385 h 205098"/>
              <a:gd name="connsiteX2" fmla="*/ 23400 w 221827"/>
              <a:gd name="connsiteY2" fmla="*/ 0 h 205098"/>
              <a:gd name="connsiteX3" fmla="*/ 23735 w 221827"/>
              <a:gd name="connsiteY3" fmla="*/ 46640 h 205098"/>
              <a:gd name="connsiteX4" fmla="*/ 221827 w 221827"/>
              <a:gd name="connsiteY4" fmla="*/ 150928 h 205098"/>
              <a:gd name="connsiteX5" fmla="*/ 126574 w 221827"/>
              <a:gd name="connsiteY5" fmla="*/ 204038 h 205098"/>
              <a:gd name="connsiteX6" fmla="*/ 122603 w 221827"/>
              <a:gd name="connsiteY6" fmla="*/ 205098 h 205098"/>
              <a:gd name="connsiteX7" fmla="*/ 102519 w 221827"/>
              <a:gd name="connsiteY7" fmla="*/ 174512 h 205098"/>
              <a:gd name="connsiteX8" fmla="*/ 103192 w 221827"/>
              <a:gd name="connsiteY8" fmla="*/ 174655 h 205098"/>
              <a:gd name="connsiteX9" fmla="*/ 152853 w 221827"/>
              <a:gd name="connsiteY9" fmla="*/ 165826 h 205098"/>
              <a:gd name="connsiteX10" fmla="*/ 220723 w 221827"/>
              <a:gd name="connsiteY10" fmla="*/ 138237 h 205098"/>
              <a:gd name="connsiteX11" fmla="*/ 221827 w 221827"/>
              <a:gd name="connsiteY11" fmla="*/ 145410 h 205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21827" h="205098">
                <a:moveTo>
                  <a:pt x="24153" y="55168"/>
                </a:moveTo>
                <a:lnTo>
                  <a:pt x="0" y="18385"/>
                </a:lnTo>
                <a:lnTo>
                  <a:pt x="23400" y="0"/>
                </a:lnTo>
                <a:lnTo>
                  <a:pt x="23735" y="46640"/>
                </a:lnTo>
                <a:close/>
                <a:moveTo>
                  <a:pt x="221827" y="150928"/>
                </a:moveTo>
                <a:cubicBezTo>
                  <a:pt x="192582" y="176035"/>
                  <a:pt x="158785" y="193002"/>
                  <a:pt x="126574" y="204038"/>
                </a:cubicBezTo>
                <a:lnTo>
                  <a:pt x="122603" y="205098"/>
                </a:lnTo>
                <a:lnTo>
                  <a:pt x="102519" y="174512"/>
                </a:lnTo>
                <a:lnTo>
                  <a:pt x="103192" y="174655"/>
                </a:lnTo>
                <a:cubicBezTo>
                  <a:pt x="120298" y="174103"/>
                  <a:pt x="136851" y="170792"/>
                  <a:pt x="152853" y="165826"/>
                </a:cubicBezTo>
                <a:cubicBezTo>
                  <a:pt x="176028" y="158653"/>
                  <a:pt x="198652" y="149273"/>
                  <a:pt x="220723" y="138237"/>
                </a:cubicBezTo>
                <a:cubicBezTo>
                  <a:pt x="221275" y="140444"/>
                  <a:pt x="221827" y="143203"/>
                  <a:pt x="221827" y="14541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6" name="Forme libre : forme 125">
            <a:extLst>
              <a:ext uri="{FF2B5EF4-FFF2-40B4-BE49-F238E27FC236}">
                <a16:creationId xmlns:a16="http://schemas.microsoft.com/office/drawing/2014/main" id="{5146513B-5632-4832-9AF5-1E4051EECD28}"/>
              </a:ext>
            </a:extLst>
          </p:cNvPr>
          <p:cNvSpPr/>
          <p:nvPr/>
        </p:nvSpPr>
        <p:spPr>
          <a:xfrm rot="8716295">
            <a:off x="406370" y="4600606"/>
            <a:ext cx="113655" cy="117117"/>
          </a:xfrm>
          <a:custGeom>
            <a:avLst/>
            <a:gdLst>
              <a:gd name="connsiteX0" fmla="*/ 13623 w 113655"/>
              <a:gd name="connsiteY0" fmla="*/ 100559 h 117117"/>
              <a:gd name="connsiteX1" fmla="*/ 0 w 113655"/>
              <a:gd name="connsiteY1" fmla="*/ 68296 h 117117"/>
              <a:gd name="connsiteX2" fmla="*/ 56488 w 113655"/>
              <a:gd name="connsiteY2" fmla="*/ 0 h 117117"/>
              <a:gd name="connsiteX3" fmla="*/ 96408 w 113655"/>
              <a:gd name="connsiteY3" fmla="*/ 16856 h 117117"/>
              <a:gd name="connsiteX4" fmla="*/ 96408 w 113655"/>
              <a:gd name="connsiteY4" fmla="*/ 99640 h 117117"/>
              <a:gd name="connsiteX5" fmla="*/ 55015 w 113655"/>
              <a:gd name="connsiteY5" fmla="*/ 117117 h 117117"/>
              <a:gd name="connsiteX6" fmla="*/ 13623 w 113655"/>
              <a:gd name="connsiteY6" fmla="*/ 100559 h 117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3655" h="117117">
                <a:moveTo>
                  <a:pt x="13623" y="100559"/>
                </a:moveTo>
                <a:lnTo>
                  <a:pt x="0" y="68296"/>
                </a:lnTo>
                <a:lnTo>
                  <a:pt x="56488" y="0"/>
                </a:lnTo>
                <a:lnTo>
                  <a:pt x="96408" y="16856"/>
                </a:lnTo>
                <a:cubicBezTo>
                  <a:pt x="119404" y="38931"/>
                  <a:pt x="119404" y="76644"/>
                  <a:pt x="96408" y="99640"/>
                </a:cubicBezTo>
                <a:cubicBezTo>
                  <a:pt x="85370" y="110678"/>
                  <a:pt x="70653" y="117116"/>
                  <a:pt x="55015" y="117117"/>
                </a:cubicBezTo>
                <a:cubicBezTo>
                  <a:pt x="39378" y="117117"/>
                  <a:pt x="24661" y="111597"/>
                  <a:pt x="13623" y="100559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7" name="Forme libre : forme 126">
            <a:extLst>
              <a:ext uri="{FF2B5EF4-FFF2-40B4-BE49-F238E27FC236}">
                <a16:creationId xmlns:a16="http://schemas.microsoft.com/office/drawing/2014/main" id="{FE3150CC-51A0-4255-BE10-7C4DD2D82ED1}"/>
              </a:ext>
            </a:extLst>
          </p:cNvPr>
          <p:cNvSpPr/>
          <p:nvPr/>
        </p:nvSpPr>
        <p:spPr>
          <a:xfrm rot="8716295">
            <a:off x="171547" y="4634346"/>
            <a:ext cx="54680" cy="546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8" name="Forme libre : forme 127">
            <a:extLst>
              <a:ext uri="{FF2B5EF4-FFF2-40B4-BE49-F238E27FC236}">
                <a16:creationId xmlns:a16="http://schemas.microsoft.com/office/drawing/2014/main" id="{3071C62B-77D8-4A0E-86A6-83549F6B4AD6}"/>
              </a:ext>
            </a:extLst>
          </p:cNvPr>
          <p:cNvSpPr/>
          <p:nvPr/>
        </p:nvSpPr>
        <p:spPr>
          <a:xfrm rot="8716295">
            <a:off x="348999" y="4475104"/>
            <a:ext cx="110380" cy="110380"/>
          </a:xfrm>
          <a:custGeom>
            <a:avLst/>
            <a:gdLst>
              <a:gd name="connsiteX0" fmla="*/ 103823 w 114300"/>
              <a:gd name="connsiteY0" fmla="*/ 103823 h 114300"/>
              <a:gd name="connsiteX1" fmla="*/ 60960 w 114300"/>
              <a:gd name="connsiteY1" fmla="*/ 121920 h 114300"/>
              <a:gd name="connsiteX2" fmla="*/ 18098 w 114300"/>
              <a:gd name="connsiteY2" fmla="*/ 104775 h 114300"/>
              <a:gd name="connsiteX3" fmla="*/ 0 w 114300"/>
              <a:gd name="connsiteY3" fmla="*/ 61913 h 114300"/>
              <a:gd name="connsiteX4" fmla="*/ 0 w 114300"/>
              <a:gd name="connsiteY4" fmla="*/ 60960 h 114300"/>
              <a:gd name="connsiteX5" fmla="*/ 18098 w 114300"/>
              <a:gd name="connsiteY5" fmla="*/ 18098 h 114300"/>
              <a:gd name="connsiteX6" fmla="*/ 60960 w 114300"/>
              <a:gd name="connsiteY6" fmla="*/ 0 h 114300"/>
              <a:gd name="connsiteX7" fmla="*/ 103823 w 114300"/>
              <a:gd name="connsiteY7" fmla="*/ 18098 h 114300"/>
              <a:gd name="connsiteX8" fmla="*/ 103823 w 114300"/>
              <a:gd name="connsiteY8" fmla="*/ 103823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300" h="114300">
                <a:moveTo>
                  <a:pt x="103823" y="103823"/>
                </a:moveTo>
                <a:cubicBezTo>
                  <a:pt x="92393" y="115253"/>
                  <a:pt x="77153" y="121920"/>
                  <a:pt x="60960" y="121920"/>
                </a:cubicBezTo>
                <a:cubicBezTo>
                  <a:pt x="44768" y="121920"/>
                  <a:pt x="29528" y="116205"/>
                  <a:pt x="18098" y="104775"/>
                </a:cubicBezTo>
                <a:cubicBezTo>
                  <a:pt x="6668" y="93345"/>
                  <a:pt x="0" y="78105"/>
                  <a:pt x="0" y="61913"/>
                </a:cubicBezTo>
                <a:lnTo>
                  <a:pt x="0" y="60960"/>
                </a:lnTo>
                <a:cubicBezTo>
                  <a:pt x="0" y="44768"/>
                  <a:pt x="6668" y="29528"/>
                  <a:pt x="18098" y="18098"/>
                </a:cubicBezTo>
                <a:cubicBezTo>
                  <a:pt x="29528" y="6668"/>
                  <a:pt x="44768" y="0"/>
                  <a:pt x="60960" y="0"/>
                </a:cubicBezTo>
                <a:cubicBezTo>
                  <a:pt x="77153" y="0"/>
                  <a:pt x="92393" y="6668"/>
                  <a:pt x="103823" y="18098"/>
                </a:cubicBezTo>
                <a:cubicBezTo>
                  <a:pt x="127635" y="40958"/>
                  <a:pt x="127635" y="80010"/>
                  <a:pt x="103823" y="103823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fr-F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BED9834D-49E7-4AFD-BEE4-8AB20B969F92}"/>
              </a:ext>
            </a:extLst>
          </p:cNvPr>
          <p:cNvSpPr/>
          <p:nvPr/>
        </p:nvSpPr>
        <p:spPr>
          <a:xfrm>
            <a:off x="1675026" y="884098"/>
            <a:ext cx="360000" cy="457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29" name="Espace réservé du texte 533">
            <a:extLst>
              <a:ext uri="{FF2B5EF4-FFF2-40B4-BE49-F238E27FC236}">
                <a16:creationId xmlns:a16="http://schemas.microsoft.com/office/drawing/2014/main" id="{935C0E43-331D-4BB2-8807-8DF7E7628E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97959" y="1375576"/>
            <a:ext cx="7316491" cy="3260705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300"/>
              </a:spcBef>
              <a:spcAft>
                <a:spcPts val="1000"/>
              </a:spcAft>
              <a:buNone/>
              <a:defRPr sz="1100">
                <a:solidFill>
                  <a:schemeClr val="tx1"/>
                </a:solidFill>
              </a:defRPr>
            </a:lvl2pPr>
            <a:lvl3pPr marL="270000" indent="-270000" algn="l" defTabSz="457200" rtl="0" eaLnBrk="1" latinLnBrk="0" hangingPunct="1">
              <a:spcBef>
                <a:spcPts val="400"/>
              </a:spcBef>
              <a:spcAft>
                <a:spcPts val="1000"/>
              </a:spcAft>
              <a:buSzPct val="100000"/>
              <a:buFontTx/>
              <a:buBlip>
                <a:blip r:embed="rId2"/>
              </a:buBlip>
              <a:defRPr lang="fr-FR" sz="1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0000" indent="-269875">
              <a:spcBef>
                <a:spcPts val="400"/>
              </a:spcBef>
              <a:spcAft>
                <a:spcPts val="1000"/>
              </a:spcAft>
              <a:buFontTx/>
              <a:buBlip>
                <a:blip r:embed="rId3"/>
              </a:buBlip>
              <a:defRPr sz="1000" b="1">
                <a:solidFill>
                  <a:schemeClr val="tx1"/>
                </a:solidFill>
              </a:defRPr>
            </a:lvl4pPr>
            <a:lvl5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4"/>
              </a:buBlip>
              <a:defRPr sz="1000" b="1">
                <a:solidFill>
                  <a:schemeClr val="tx1"/>
                </a:solidFill>
              </a:defRPr>
            </a:lvl5pPr>
            <a:lvl6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5"/>
              </a:buBlip>
              <a:defRPr sz="1000" b="1">
                <a:solidFill>
                  <a:schemeClr val="tx1"/>
                </a:solidFill>
              </a:defRPr>
            </a:lvl6pPr>
            <a:lvl7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6"/>
              </a:buBlip>
              <a:defRPr sz="1000" b="1">
                <a:solidFill>
                  <a:schemeClr val="tx1"/>
                </a:solidFill>
              </a:defRPr>
            </a:lvl7pPr>
            <a:lvl8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7"/>
              </a:buBlip>
              <a:defRPr sz="1000" b="1">
                <a:solidFill>
                  <a:schemeClr val="tx1"/>
                </a:solidFill>
              </a:defRPr>
            </a:lvl8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Puce bleu</a:t>
            </a:r>
          </a:p>
          <a:p>
            <a:pPr lvl="3"/>
            <a:r>
              <a:rPr lang="fr-FR" dirty="0"/>
              <a:t>Puce orange</a:t>
            </a:r>
          </a:p>
          <a:p>
            <a:pPr lvl="4"/>
            <a:r>
              <a:rPr lang="fr-FR" dirty="0"/>
              <a:t>Puce rouge</a:t>
            </a:r>
          </a:p>
          <a:p>
            <a:pPr lvl="5"/>
            <a:r>
              <a:rPr lang="fr-FR" dirty="0"/>
              <a:t>Puce vert d’eau</a:t>
            </a:r>
          </a:p>
          <a:p>
            <a:pPr lvl="6"/>
            <a:r>
              <a:rPr lang="fr-FR" dirty="0"/>
              <a:t>Puce verte</a:t>
            </a:r>
          </a:p>
          <a:p>
            <a:pPr lvl="7"/>
            <a:r>
              <a:rPr lang="fr-FR" dirty="0"/>
              <a:t>Puce violette</a:t>
            </a:r>
          </a:p>
        </p:txBody>
      </p:sp>
    </p:spTree>
    <p:extLst>
      <p:ext uri="{BB962C8B-B14F-4D97-AF65-F5344CB8AC3E}">
        <p14:creationId xmlns:p14="http://schemas.microsoft.com/office/powerpoint/2010/main" val="349887445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ur deux lignes + Conten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Forme libre : forme 134">
            <a:extLst>
              <a:ext uri="{FF2B5EF4-FFF2-40B4-BE49-F238E27FC236}">
                <a16:creationId xmlns:a16="http://schemas.microsoft.com/office/drawing/2014/main" id="{BCA8F2DB-0EFB-46C7-BE50-C48C3F133EFC}"/>
              </a:ext>
            </a:extLst>
          </p:cNvPr>
          <p:cNvSpPr/>
          <p:nvPr userDrawn="1"/>
        </p:nvSpPr>
        <p:spPr>
          <a:xfrm>
            <a:off x="629550" y="0"/>
            <a:ext cx="8514451" cy="5143499"/>
          </a:xfrm>
          <a:custGeom>
            <a:avLst/>
            <a:gdLst>
              <a:gd name="connsiteX0" fmla="*/ 685476 w 8514451"/>
              <a:gd name="connsiteY0" fmla="*/ 1246048 h 5143499"/>
              <a:gd name="connsiteX1" fmla="*/ 685476 w 8514451"/>
              <a:gd name="connsiteY1" fmla="*/ 1291767 h 5143499"/>
              <a:gd name="connsiteX2" fmla="*/ 1045476 w 8514451"/>
              <a:gd name="connsiteY2" fmla="*/ 1291767 h 5143499"/>
              <a:gd name="connsiteX3" fmla="*/ 1045476 w 8514451"/>
              <a:gd name="connsiteY3" fmla="*/ 1246048 h 5143499"/>
              <a:gd name="connsiteX4" fmla="*/ 268034 w 8514451"/>
              <a:gd name="connsiteY4" fmla="*/ 0 h 5143499"/>
              <a:gd name="connsiteX5" fmla="*/ 8514451 w 8514451"/>
              <a:gd name="connsiteY5" fmla="*/ 0 h 5143499"/>
              <a:gd name="connsiteX6" fmla="*/ 8514451 w 8514451"/>
              <a:gd name="connsiteY6" fmla="*/ 5143499 h 5143499"/>
              <a:gd name="connsiteX7" fmla="*/ 274758 w 8514451"/>
              <a:gd name="connsiteY7" fmla="*/ 5143499 h 5143499"/>
              <a:gd name="connsiteX8" fmla="*/ 0 w 8514451"/>
              <a:gd name="connsiteY8" fmla="*/ 3148262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514451" h="5143499">
                <a:moveTo>
                  <a:pt x="685476" y="1246048"/>
                </a:moveTo>
                <a:lnTo>
                  <a:pt x="685476" y="1291767"/>
                </a:lnTo>
                <a:lnTo>
                  <a:pt x="1045476" y="1291767"/>
                </a:lnTo>
                <a:lnTo>
                  <a:pt x="1045476" y="1246048"/>
                </a:lnTo>
                <a:close/>
                <a:moveTo>
                  <a:pt x="268034" y="0"/>
                </a:moveTo>
                <a:lnTo>
                  <a:pt x="8514451" y="0"/>
                </a:lnTo>
                <a:lnTo>
                  <a:pt x="8514451" y="5143499"/>
                </a:lnTo>
                <a:lnTo>
                  <a:pt x="274758" y="5143499"/>
                </a:lnTo>
                <a:lnTo>
                  <a:pt x="0" y="31482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48DF42C1-5220-478C-ABAC-92E468D673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8859" y="342566"/>
            <a:ext cx="7316491" cy="757130"/>
          </a:xfrm>
        </p:spPr>
        <p:txBody>
          <a:bodyPr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Titre de la slide</a:t>
            </a:r>
            <a:br>
              <a:rPr lang="fr-FR" dirty="0"/>
            </a:br>
            <a:r>
              <a:rPr lang="fr-FR" dirty="0"/>
              <a:t>sur deux lignes</a:t>
            </a:r>
          </a:p>
        </p:txBody>
      </p:sp>
      <p:grpSp>
        <p:nvGrpSpPr>
          <p:cNvPr id="4" name="Groupe 3">
            <a:extLst>
              <a:ext uri="{FF2B5EF4-FFF2-40B4-BE49-F238E27FC236}">
                <a16:creationId xmlns:a16="http://schemas.microsoft.com/office/drawing/2014/main" id="{7D4448DD-C686-4013-AFB5-FE86795F0079}"/>
              </a:ext>
            </a:extLst>
          </p:cNvPr>
          <p:cNvGrpSpPr/>
          <p:nvPr userDrawn="1"/>
        </p:nvGrpSpPr>
        <p:grpSpPr>
          <a:xfrm>
            <a:off x="-91485" y="-57106"/>
            <a:ext cx="1008300" cy="5190499"/>
            <a:chOff x="-91485" y="-57106"/>
            <a:chExt cx="1008300" cy="5190499"/>
          </a:xfrm>
          <a:solidFill>
            <a:schemeClr val="bg2">
              <a:alpha val="5000"/>
            </a:schemeClr>
          </a:solidFill>
        </p:grpSpPr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4100D4C0-1B0B-4813-97B4-727B3F07A2B3}"/>
                </a:ext>
              </a:extLst>
            </p:cNvPr>
            <p:cNvSpPr/>
            <p:nvPr/>
          </p:nvSpPr>
          <p:spPr>
            <a:xfrm rot="8716295">
              <a:off x="617786" y="1780350"/>
              <a:ext cx="152726" cy="195873"/>
            </a:xfrm>
            <a:custGeom>
              <a:avLst/>
              <a:gdLst>
                <a:gd name="connsiteX0" fmla="*/ 39589 w 152726"/>
                <a:gd name="connsiteY0" fmla="*/ 195873 h 195873"/>
                <a:gd name="connsiteX1" fmla="*/ 0 w 152726"/>
                <a:gd name="connsiteY1" fmla="*/ 122219 h 195873"/>
                <a:gd name="connsiteX2" fmla="*/ 101089 w 152726"/>
                <a:gd name="connsiteY2" fmla="*/ 0 h 195873"/>
                <a:gd name="connsiteX3" fmla="*/ 152726 w 152726"/>
                <a:gd name="connsiteY3" fmla="*/ 0 h 195873"/>
                <a:gd name="connsiteX4" fmla="*/ 152726 w 152726"/>
                <a:gd name="connsiteY4" fmla="*/ 55323 h 195873"/>
                <a:gd name="connsiteX5" fmla="*/ 87934 w 152726"/>
                <a:gd name="connsiteY5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726" h="195873">
                  <a:moveTo>
                    <a:pt x="39589" y="195873"/>
                  </a:moveTo>
                  <a:lnTo>
                    <a:pt x="0" y="122219"/>
                  </a:lnTo>
                  <a:lnTo>
                    <a:pt x="101089" y="0"/>
                  </a:lnTo>
                  <a:lnTo>
                    <a:pt x="152726" y="0"/>
                  </a:lnTo>
                  <a:lnTo>
                    <a:pt x="152726" y="55323"/>
                  </a:lnTo>
                  <a:lnTo>
                    <a:pt x="87934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CB9A2237-374C-411A-AB62-0191ED80FFE2}"/>
                </a:ext>
              </a:extLst>
            </p:cNvPr>
            <p:cNvSpPr/>
            <p:nvPr/>
          </p:nvSpPr>
          <p:spPr>
            <a:xfrm rot="8716295">
              <a:off x="534441" y="1654353"/>
              <a:ext cx="262864" cy="103234"/>
            </a:xfrm>
            <a:custGeom>
              <a:avLst/>
              <a:gdLst>
                <a:gd name="connsiteX0" fmla="*/ 0 w 262864"/>
                <a:gd name="connsiteY0" fmla="*/ 75341 h 103234"/>
                <a:gd name="connsiteX1" fmla="*/ 62316 w 262864"/>
                <a:gd name="connsiteY1" fmla="*/ 0 h 103234"/>
                <a:gd name="connsiteX2" fmla="*/ 65768 w 262864"/>
                <a:gd name="connsiteY2" fmla="*/ 14220 h 103234"/>
                <a:gd name="connsiteX3" fmla="*/ 136369 w 262864"/>
                <a:gd name="connsiteY3" fmla="*/ 53051 h 103234"/>
                <a:gd name="connsiteX4" fmla="*/ 189321 w 262864"/>
                <a:gd name="connsiteY4" fmla="*/ 43637 h 103234"/>
                <a:gd name="connsiteX5" fmla="*/ 261688 w 262864"/>
                <a:gd name="connsiteY5" fmla="*/ 14220 h 103234"/>
                <a:gd name="connsiteX6" fmla="*/ 262864 w 262864"/>
                <a:gd name="connsiteY6" fmla="*/ 21868 h 103234"/>
                <a:gd name="connsiteX7" fmla="*/ 262864 w 262864"/>
                <a:gd name="connsiteY7" fmla="*/ 27752 h 103234"/>
                <a:gd name="connsiteX8" fmla="*/ 69887 w 262864"/>
                <a:gd name="connsiteY8" fmla="*/ 103060 h 103234"/>
                <a:gd name="connsiteX9" fmla="*/ 30615 w 262864"/>
                <a:gd name="connsiteY9" fmla="*/ 96294 h 103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2864" h="103234">
                  <a:moveTo>
                    <a:pt x="0" y="75341"/>
                  </a:moveTo>
                  <a:lnTo>
                    <a:pt x="62316" y="0"/>
                  </a:lnTo>
                  <a:lnTo>
                    <a:pt x="65768" y="14220"/>
                  </a:lnTo>
                  <a:cubicBezTo>
                    <a:pt x="75182" y="40107"/>
                    <a:pt x="99304" y="53051"/>
                    <a:pt x="136369" y="53051"/>
                  </a:cubicBezTo>
                  <a:cubicBezTo>
                    <a:pt x="154609" y="52462"/>
                    <a:pt x="172259" y="48932"/>
                    <a:pt x="189321" y="43637"/>
                  </a:cubicBezTo>
                  <a:cubicBezTo>
                    <a:pt x="214031" y="35988"/>
                    <a:pt x="238154" y="25987"/>
                    <a:pt x="261688" y="14220"/>
                  </a:cubicBezTo>
                  <a:cubicBezTo>
                    <a:pt x="262276" y="16573"/>
                    <a:pt x="262864" y="19515"/>
                    <a:pt x="262864" y="21868"/>
                  </a:cubicBezTo>
                  <a:lnTo>
                    <a:pt x="262864" y="27752"/>
                  </a:lnTo>
                  <a:cubicBezTo>
                    <a:pt x="200500" y="81291"/>
                    <a:pt x="118719" y="100119"/>
                    <a:pt x="69887" y="103060"/>
                  </a:cubicBezTo>
                  <a:cubicBezTo>
                    <a:pt x="56355" y="103943"/>
                    <a:pt x="42970" y="101442"/>
                    <a:pt x="30615" y="9629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8F8A3734-3F77-44C7-9A38-570198540CBC}"/>
                </a:ext>
              </a:extLst>
            </p:cNvPr>
            <p:cNvSpPr/>
            <p:nvPr/>
          </p:nvSpPr>
          <p:spPr>
            <a:xfrm rot="8716295">
              <a:off x="632719" y="1232432"/>
              <a:ext cx="121558" cy="232388"/>
            </a:xfrm>
            <a:custGeom>
              <a:avLst/>
              <a:gdLst>
                <a:gd name="connsiteX0" fmla="*/ 60499 w 121558"/>
                <a:gd name="connsiteY0" fmla="*/ 232388 h 232388"/>
                <a:gd name="connsiteX1" fmla="*/ 60499 w 121558"/>
                <a:gd name="connsiteY1" fmla="*/ 69717 h 232388"/>
                <a:gd name="connsiteX2" fmla="*/ 60499 w 121558"/>
                <a:gd name="connsiteY2" fmla="*/ 65615 h 232388"/>
                <a:gd name="connsiteX3" fmla="*/ 39995 w 121558"/>
                <a:gd name="connsiteY3" fmla="*/ 50123 h 232388"/>
                <a:gd name="connsiteX4" fmla="*/ 0 w 121558"/>
                <a:gd name="connsiteY4" fmla="*/ 50123 h 232388"/>
                <a:gd name="connsiteX5" fmla="*/ 41457 w 121558"/>
                <a:gd name="connsiteY5" fmla="*/ 0 h 232388"/>
                <a:gd name="connsiteX6" fmla="*/ 64601 w 121558"/>
                <a:gd name="connsiteY6" fmla="*/ 0 h 232388"/>
                <a:gd name="connsiteX7" fmla="*/ 121558 w 121558"/>
                <a:gd name="connsiteY7" fmla="*/ 50123 h 232388"/>
                <a:gd name="connsiteX8" fmla="*/ 121558 w 121558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558" h="232388">
                  <a:moveTo>
                    <a:pt x="60499" y="232388"/>
                  </a:moveTo>
                  <a:lnTo>
                    <a:pt x="60499" y="69717"/>
                  </a:lnTo>
                  <a:cubicBezTo>
                    <a:pt x="60499" y="68349"/>
                    <a:pt x="60499" y="66983"/>
                    <a:pt x="60499" y="65615"/>
                  </a:cubicBezTo>
                  <a:cubicBezTo>
                    <a:pt x="59133" y="55591"/>
                    <a:pt x="50019" y="48756"/>
                    <a:pt x="39995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64601" y="0"/>
                  </a:lnTo>
                  <a:cubicBezTo>
                    <a:pt x="101509" y="0"/>
                    <a:pt x="121558" y="15948"/>
                    <a:pt x="121558" y="50123"/>
                  </a:cubicBezTo>
                  <a:lnTo>
                    <a:pt x="121558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70856B7B-717B-4AEA-95A4-A1E79A999538}"/>
                </a:ext>
              </a:extLst>
            </p:cNvPr>
            <p:cNvSpPr/>
            <p:nvPr/>
          </p:nvSpPr>
          <p:spPr>
            <a:xfrm rot="8716295">
              <a:off x="763454" y="1474783"/>
              <a:ext cx="14143" cy="14319"/>
            </a:xfrm>
            <a:custGeom>
              <a:avLst/>
              <a:gdLst>
                <a:gd name="connsiteX0" fmla="*/ 0 w 14143"/>
                <a:gd name="connsiteY0" fmla="*/ 14319 h 14319"/>
                <a:gd name="connsiteX1" fmla="*/ 11843 w 14143"/>
                <a:gd name="connsiteY1" fmla="*/ 0 h 14319"/>
                <a:gd name="connsiteX2" fmla="*/ 14143 w 14143"/>
                <a:gd name="connsiteY2" fmla="*/ 7563 h 14319"/>
                <a:gd name="connsiteX3" fmla="*/ 14143 w 14143"/>
                <a:gd name="connsiteY3" fmla="*/ 13487 h 1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43" h="14319">
                  <a:moveTo>
                    <a:pt x="0" y="14319"/>
                  </a:moveTo>
                  <a:lnTo>
                    <a:pt x="11843" y="0"/>
                  </a:lnTo>
                  <a:lnTo>
                    <a:pt x="14143" y="7563"/>
                  </a:lnTo>
                  <a:lnTo>
                    <a:pt x="14143" y="1348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3E264A51-6081-4342-94AB-E5098D8BEE47}"/>
                </a:ext>
              </a:extLst>
            </p:cNvPr>
            <p:cNvSpPr/>
            <p:nvPr/>
          </p:nvSpPr>
          <p:spPr>
            <a:xfrm rot="8716295">
              <a:off x="672878" y="1171577"/>
              <a:ext cx="183964" cy="137618"/>
            </a:xfrm>
            <a:custGeom>
              <a:avLst/>
              <a:gdLst>
                <a:gd name="connsiteX0" fmla="*/ 0 w 183964"/>
                <a:gd name="connsiteY0" fmla="*/ 137618 h 137618"/>
                <a:gd name="connsiteX1" fmla="*/ 53346 w 183964"/>
                <a:gd name="connsiteY1" fmla="*/ 73121 h 137618"/>
                <a:gd name="connsiteX2" fmla="*/ 101034 w 183964"/>
                <a:gd name="connsiteY2" fmla="*/ 28251 h 137618"/>
                <a:gd name="connsiteX3" fmla="*/ 155713 w 183964"/>
                <a:gd name="connsiteY3" fmla="*/ 0 h 137618"/>
                <a:gd name="connsiteX4" fmla="*/ 183964 w 183964"/>
                <a:gd name="connsiteY4" fmla="*/ 33719 h 137618"/>
                <a:gd name="connsiteX5" fmla="*/ 157536 w 183964"/>
                <a:gd name="connsiteY5" fmla="*/ 69261 h 137618"/>
                <a:gd name="connsiteX6" fmla="*/ 157991 w 183964"/>
                <a:gd name="connsiteY6" fmla="*/ 69261 h 137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3964" h="137618">
                  <a:moveTo>
                    <a:pt x="0" y="137618"/>
                  </a:moveTo>
                  <a:lnTo>
                    <a:pt x="53346" y="73121"/>
                  </a:lnTo>
                  <a:lnTo>
                    <a:pt x="101034" y="28251"/>
                  </a:lnTo>
                  <a:cubicBezTo>
                    <a:pt x="114703" y="12303"/>
                    <a:pt x="134297" y="2278"/>
                    <a:pt x="155713" y="0"/>
                  </a:cubicBezTo>
                  <a:cubicBezTo>
                    <a:pt x="177585" y="0"/>
                    <a:pt x="183964" y="19138"/>
                    <a:pt x="183964" y="33719"/>
                  </a:cubicBezTo>
                  <a:cubicBezTo>
                    <a:pt x="182597" y="49667"/>
                    <a:pt x="172117" y="62881"/>
                    <a:pt x="157536" y="69261"/>
                  </a:cubicBezTo>
                  <a:lnTo>
                    <a:pt x="157991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03D4C536-74A8-424A-B4F4-647CD66813A6}"/>
                </a:ext>
              </a:extLst>
            </p:cNvPr>
            <p:cNvSpPr/>
            <p:nvPr/>
          </p:nvSpPr>
          <p:spPr>
            <a:xfrm rot="8716295">
              <a:off x="519479" y="13148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6C726A65-5764-428F-B78B-B207E19CC8A7}"/>
                </a:ext>
              </a:extLst>
            </p:cNvPr>
            <p:cNvSpPr/>
            <p:nvPr/>
          </p:nvSpPr>
          <p:spPr>
            <a:xfrm rot="8716295">
              <a:off x="394576" y="11061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B057F75B-3923-494B-B65B-A96E682E21D4}"/>
                </a:ext>
              </a:extLst>
            </p:cNvPr>
            <p:cNvSpPr/>
            <p:nvPr/>
          </p:nvSpPr>
          <p:spPr>
            <a:xfrm rot="8716295">
              <a:off x="382524" y="96739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B57FA1DB-CF40-4C3B-8603-B0C589DE9032}"/>
                </a:ext>
              </a:extLst>
            </p:cNvPr>
            <p:cNvSpPr/>
            <p:nvPr/>
          </p:nvSpPr>
          <p:spPr>
            <a:xfrm rot="8716295">
              <a:off x="609657" y="135579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8AA6873E-3CFC-4928-9C0D-5E1C199A6A43}"/>
                </a:ext>
              </a:extLst>
            </p:cNvPr>
            <p:cNvSpPr/>
            <p:nvPr/>
          </p:nvSpPr>
          <p:spPr>
            <a:xfrm rot="8716295">
              <a:off x="683426" y="869567"/>
              <a:ext cx="156000" cy="195873"/>
            </a:xfrm>
            <a:custGeom>
              <a:avLst/>
              <a:gdLst>
                <a:gd name="connsiteX0" fmla="*/ 42863 w 156000"/>
                <a:gd name="connsiteY0" fmla="*/ 195873 h 195873"/>
                <a:gd name="connsiteX1" fmla="*/ 0 w 156000"/>
                <a:gd name="connsiteY1" fmla="*/ 116129 h 195873"/>
                <a:gd name="connsiteX2" fmla="*/ 5100 w 156000"/>
                <a:gd name="connsiteY2" fmla="*/ 101988 h 195873"/>
                <a:gd name="connsiteX3" fmla="*/ 89456 w 156000"/>
                <a:gd name="connsiteY3" fmla="*/ 0 h 195873"/>
                <a:gd name="connsiteX4" fmla="*/ 156000 w 156000"/>
                <a:gd name="connsiteY4" fmla="*/ 0 h 195873"/>
                <a:gd name="connsiteX5" fmla="*/ 156000 w 156000"/>
                <a:gd name="connsiteY5" fmla="*/ 55323 h 195873"/>
                <a:gd name="connsiteX6" fmla="*/ 91208 w 156000"/>
                <a:gd name="connsiteY6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000" h="195873">
                  <a:moveTo>
                    <a:pt x="42863" y="195873"/>
                  </a:moveTo>
                  <a:lnTo>
                    <a:pt x="0" y="116129"/>
                  </a:lnTo>
                  <a:lnTo>
                    <a:pt x="5100" y="101988"/>
                  </a:lnTo>
                  <a:lnTo>
                    <a:pt x="89456" y="0"/>
                  </a:lnTo>
                  <a:lnTo>
                    <a:pt x="156000" y="0"/>
                  </a:lnTo>
                  <a:lnTo>
                    <a:pt x="156000" y="55323"/>
                  </a:lnTo>
                  <a:lnTo>
                    <a:pt x="91208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0609DC7B-52A5-4494-9388-1386F1B7ECA0}"/>
                </a:ext>
              </a:extLst>
            </p:cNvPr>
            <p:cNvSpPr/>
            <p:nvPr/>
          </p:nvSpPr>
          <p:spPr>
            <a:xfrm rot="8716295">
              <a:off x="657305" y="95604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FA9B5438-F371-4C5C-851A-CA35F035D933}"/>
                </a:ext>
              </a:extLst>
            </p:cNvPr>
            <p:cNvSpPr/>
            <p:nvPr/>
          </p:nvSpPr>
          <p:spPr>
            <a:xfrm rot="8716295">
              <a:off x="412774" y="56424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ED2997EF-2C09-4DA3-BB88-8DA5032A40C8}"/>
                </a:ext>
              </a:extLst>
            </p:cNvPr>
            <p:cNvSpPr/>
            <p:nvPr/>
          </p:nvSpPr>
          <p:spPr>
            <a:xfrm rot="8716295">
              <a:off x="502166" y="59348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DBD136C4-820E-4184-B91F-ED5B5690DC24}"/>
                </a:ext>
              </a:extLst>
            </p:cNvPr>
            <p:cNvSpPr/>
            <p:nvPr/>
          </p:nvSpPr>
          <p:spPr>
            <a:xfrm rot="8716295">
              <a:off x="457316" y="50720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8BD8CCA9-A2C8-4634-B0CF-620A635CE67A}"/>
                </a:ext>
              </a:extLst>
            </p:cNvPr>
            <p:cNvSpPr/>
            <p:nvPr/>
          </p:nvSpPr>
          <p:spPr>
            <a:xfrm rot="8716295">
              <a:off x="300540" y="65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33B24AF7-29F7-4408-AE25-97A38660E784}"/>
                </a:ext>
              </a:extLst>
            </p:cNvPr>
            <p:cNvSpPr/>
            <p:nvPr/>
          </p:nvSpPr>
          <p:spPr>
            <a:xfrm rot="8716295">
              <a:off x="175637" y="44411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506A4C62-4148-4841-838F-A205F53AD573}"/>
                </a:ext>
              </a:extLst>
            </p:cNvPr>
            <p:cNvSpPr/>
            <p:nvPr/>
          </p:nvSpPr>
          <p:spPr>
            <a:xfrm rot="8716295">
              <a:off x="163585" y="30533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1C1A41D0-65C3-44E5-8A29-ECCEBE983C62}"/>
                </a:ext>
              </a:extLst>
            </p:cNvPr>
            <p:cNvSpPr/>
            <p:nvPr/>
          </p:nvSpPr>
          <p:spPr>
            <a:xfrm rot="8716295">
              <a:off x="390718" y="69374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A93B008E-5902-4D55-9E1E-85F07149CD35}"/>
                </a:ext>
              </a:extLst>
            </p:cNvPr>
            <p:cNvSpPr/>
            <p:nvPr/>
          </p:nvSpPr>
          <p:spPr>
            <a:xfrm rot="8716295">
              <a:off x="702015" y="317459"/>
              <a:ext cx="131260" cy="232388"/>
            </a:xfrm>
            <a:custGeom>
              <a:avLst/>
              <a:gdLst>
                <a:gd name="connsiteX0" fmla="*/ 70201 w 131260"/>
                <a:gd name="connsiteY0" fmla="*/ 232388 h 232388"/>
                <a:gd name="connsiteX1" fmla="*/ 70201 w 131260"/>
                <a:gd name="connsiteY1" fmla="*/ 69717 h 232388"/>
                <a:gd name="connsiteX2" fmla="*/ 70201 w 131260"/>
                <a:gd name="connsiteY2" fmla="*/ 65615 h 232388"/>
                <a:gd name="connsiteX3" fmla="*/ 49697 w 131260"/>
                <a:gd name="connsiteY3" fmla="*/ 50123 h 232388"/>
                <a:gd name="connsiteX4" fmla="*/ 0 w 131260"/>
                <a:gd name="connsiteY4" fmla="*/ 50123 h 232388"/>
                <a:gd name="connsiteX5" fmla="*/ 41457 w 131260"/>
                <a:gd name="connsiteY5" fmla="*/ 0 h 232388"/>
                <a:gd name="connsiteX6" fmla="*/ 74303 w 131260"/>
                <a:gd name="connsiteY6" fmla="*/ 0 h 232388"/>
                <a:gd name="connsiteX7" fmla="*/ 131260 w 131260"/>
                <a:gd name="connsiteY7" fmla="*/ 50123 h 232388"/>
                <a:gd name="connsiteX8" fmla="*/ 131260 w 131260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1260" h="232388">
                  <a:moveTo>
                    <a:pt x="70201" y="232388"/>
                  </a:moveTo>
                  <a:lnTo>
                    <a:pt x="70201" y="69717"/>
                  </a:lnTo>
                  <a:cubicBezTo>
                    <a:pt x="70201" y="68349"/>
                    <a:pt x="70201" y="66983"/>
                    <a:pt x="70201" y="65615"/>
                  </a:cubicBezTo>
                  <a:cubicBezTo>
                    <a:pt x="68835" y="55591"/>
                    <a:pt x="59721" y="48756"/>
                    <a:pt x="49697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74303" y="0"/>
                  </a:lnTo>
                  <a:cubicBezTo>
                    <a:pt x="111211" y="0"/>
                    <a:pt x="131260" y="15948"/>
                    <a:pt x="131260" y="50123"/>
                  </a:cubicBezTo>
                  <a:lnTo>
                    <a:pt x="131260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8AA688E0-8B68-432D-AC4C-16B34E3E659F}"/>
                </a:ext>
              </a:extLst>
            </p:cNvPr>
            <p:cNvSpPr/>
            <p:nvPr/>
          </p:nvSpPr>
          <p:spPr>
            <a:xfrm rot="8716295">
              <a:off x="834978" y="558357"/>
              <a:ext cx="24341" cy="23495"/>
            </a:xfrm>
            <a:custGeom>
              <a:avLst/>
              <a:gdLst>
                <a:gd name="connsiteX0" fmla="*/ 0 w 24341"/>
                <a:gd name="connsiteY0" fmla="*/ 23495 h 23495"/>
                <a:gd name="connsiteX1" fmla="*/ 19433 w 24341"/>
                <a:gd name="connsiteY1" fmla="*/ 0 h 23495"/>
                <a:gd name="connsiteX2" fmla="*/ 24341 w 24341"/>
                <a:gd name="connsiteY2" fmla="*/ 16139 h 23495"/>
                <a:gd name="connsiteX3" fmla="*/ 24341 w 24341"/>
                <a:gd name="connsiteY3" fmla="*/ 22063 h 23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41" h="23495">
                  <a:moveTo>
                    <a:pt x="0" y="23495"/>
                  </a:moveTo>
                  <a:lnTo>
                    <a:pt x="19433" y="0"/>
                  </a:lnTo>
                  <a:lnTo>
                    <a:pt x="24341" y="16139"/>
                  </a:lnTo>
                  <a:lnTo>
                    <a:pt x="24341" y="220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672AA540-A579-4E8F-A234-CD30C1FF0A89}"/>
                </a:ext>
              </a:extLst>
            </p:cNvPr>
            <p:cNvSpPr/>
            <p:nvPr/>
          </p:nvSpPr>
          <p:spPr>
            <a:xfrm rot="8716295">
              <a:off x="589639" y="40263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C0BAD361-E55B-42F0-893F-014DB3986A10}"/>
                </a:ext>
              </a:extLst>
            </p:cNvPr>
            <p:cNvSpPr/>
            <p:nvPr/>
          </p:nvSpPr>
          <p:spPr>
            <a:xfrm rot="8716295">
              <a:off x="464737" y="19396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C7776BC0-23C7-4489-8F09-E129A530C0CC}"/>
                </a:ext>
              </a:extLst>
            </p:cNvPr>
            <p:cNvSpPr/>
            <p:nvPr/>
          </p:nvSpPr>
          <p:spPr>
            <a:xfrm rot="8716295">
              <a:off x="679817" y="44358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6EC00833-27CA-42E8-A3F4-264B72DC896E}"/>
                </a:ext>
              </a:extLst>
            </p:cNvPr>
            <p:cNvSpPr/>
            <p:nvPr/>
          </p:nvSpPr>
          <p:spPr>
            <a:xfrm rot="8716295">
              <a:off x="438366" y="29398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1FD6DD85-FCBC-4AED-9D6D-4125AB918B1C}"/>
                </a:ext>
              </a:extLst>
            </p:cNvPr>
            <p:cNvSpPr/>
            <p:nvPr/>
          </p:nvSpPr>
          <p:spPr>
            <a:xfrm rot="7484129">
              <a:off x="811674" y="658874"/>
              <a:ext cx="31078" cy="46141"/>
            </a:xfrm>
            <a:custGeom>
              <a:avLst/>
              <a:gdLst>
                <a:gd name="connsiteX0" fmla="*/ 15207 w 31078"/>
                <a:gd name="connsiteY0" fmla="*/ 46141 h 46141"/>
                <a:gd name="connsiteX1" fmla="*/ 0 w 31078"/>
                <a:gd name="connsiteY1" fmla="*/ 17849 h 46141"/>
                <a:gd name="connsiteX2" fmla="*/ 31078 w 31078"/>
                <a:gd name="connsiteY2" fmla="*/ 0 h 46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078" h="46141">
                  <a:moveTo>
                    <a:pt x="15207" y="46141"/>
                  </a:moveTo>
                  <a:lnTo>
                    <a:pt x="0" y="17849"/>
                  </a:lnTo>
                  <a:lnTo>
                    <a:pt x="3107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ED8E04A5-1CCB-474C-BB14-6861F24B92EE}"/>
                </a:ext>
              </a:extLst>
            </p:cNvPr>
            <p:cNvSpPr/>
            <p:nvPr/>
          </p:nvSpPr>
          <p:spPr>
            <a:xfrm rot="8716295">
              <a:off x="780102" y="336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D2589E01-70DB-4980-9D5E-15028C3BF442}"/>
                </a:ext>
              </a:extLst>
            </p:cNvPr>
            <p:cNvSpPr/>
            <p:nvPr/>
          </p:nvSpPr>
          <p:spPr>
            <a:xfrm rot="8716295">
              <a:off x="202348" y="-57106"/>
              <a:ext cx="142167" cy="186494"/>
            </a:xfrm>
            <a:custGeom>
              <a:avLst/>
              <a:gdLst>
                <a:gd name="connsiteX0" fmla="*/ 142167 w 142167"/>
                <a:gd name="connsiteY0" fmla="*/ 186494 h 186494"/>
                <a:gd name="connsiteX1" fmla="*/ 81108 w 142167"/>
                <a:gd name="connsiteY1" fmla="*/ 144170 h 186494"/>
                <a:gd name="connsiteX2" fmla="*/ 81108 w 142167"/>
                <a:gd name="connsiteY2" fmla="*/ 69717 h 186494"/>
                <a:gd name="connsiteX3" fmla="*/ 81108 w 142167"/>
                <a:gd name="connsiteY3" fmla="*/ 65615 h 186494"/>
                <a:gd name="connsiteX4" fmla="*/ 60603 w 142167"/>
                <a:gd name="connsiteY4" fmla="*/ 50123 h 186494"/>
                <a:gd name="connsiteX5" fmla="*/ 0 w 142167"/>
                <a:gd name="connsiteY5" fmla="*/ 50123 h 186494"/>
                <a:gd name="connsiteX6" fmla="*/ 0 w 142167"/>
                <a:gd name="connsiteY6" fmla="*/ 0 h 186494"/>
                <a:gd name="connsiteX7" fmla="*/ 85209 w 142167"/>
                <a:gd name="connsiteY7" fmla="*/ 0 h 186494"/>
                <a:gd name="connsiteX8" fmla="*/ 142167 w 142167"/>
                <a:gd name="connsiteY8" fmla="*/ 50123 h 186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86494">
                  <a:moveTo>
                    <a:pt x="142167" y="186494"/>
                  </a:moveTo>
                  <a:lnTo>
                    <a:pt x="81108" y="144170"/>
                  </a:lnTo>
                  <a:lnTo>
                    <a:pt x="81108" y="69717"/>
                  </a:lnTo>
                  <a:cubicBezTo>
                    <a:pt x="81108" y="68349"/>
                    <a:pt x="81108" y="66983"/>
                    <a:pt x="81108" y="65615"/>
                  </a:cubicBezTo>
                  <a:cubicBezTo>
                    <a:pt x="79741" y="55591"/>
                    <a:pt x="70628" y="48756"/>
                    <a:pt x="60603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2AEF8F7A-52DD-4323-9058-8F5D8BF7C257}"/>
                </a:ext>
              </a:extLst>
            </p:cNvPr>
            <p:cNvSpPr/>
            <p:nvPr/>
          </p:nvSpPr>
          <p:spPr>
            <a:xfrm rot="8716295">
              <a:off x="298766" y="-5395"/>
              <a:ext cx="260639" cy="180054"/>
            </a:xfrm>
            <a:custGeom>
              <a:avLst/>
              <a:gdLst>
                <a:gd name="connsiteX0" fmla="*/ 111638 w 260639"/>
                <a:gd name="connsiteY0" fmla="*/ 180054 h 180054"/>
                <a:gd name="connsiteX1" fmla="*/ 51490 w 260639"/>
                <a:gd name="connsiteY1" fmla="*/ 138362 h 180054"/>
                <a:gd name="connsiteX2" fmla="*/ 51490 w 260639"/>
                <a:gd name="connsiteY2" fmla="*/ 45624 h 180054"/>
                <a:gd name="connsiteX3" fmla="*/ 0 w 260639"/>
                <a:gd name="connsiteY3" fmla="*/ 45624 h 180054"/>
                <a:gd name="connsiteX4" fmla="*/ 0 w 260639"/>
                <a:gd name="connsiteY4" fmla="*/ 1425 h 180054"/>
                <a:gd name="connsiteX5" fmla="*/ 104802 w 260639"/>
                <a:gd name="connsiteY5" fmla="*/ 1425 h 180054"/>
                <a:gd name="connsiteX6" fmla="*/ 104802 w 260639"/>
                <a:gd name="connsiteY6" fmla="*/ 75242 h 180054"/>
                <a:gd name="connsiteX7" fmla="*/ 106169 w 260639"/>
                <a:gd name="connsiteY7" fmla="*/ 75242 h 180054"/>
                <a:gd name="connsiteX8" fmla="*/ 154014 w 260639"/>
                <a:gd name="connsiteY8" fmla="*/ 5981 h 180054"/>
                <a:gd name="connsiteX9" fmla="*/ 185455 w 260639"/>
                <a:gd name="connsiteY9" fmla="*/ 57 h 180054"/>
                <a:gd name="connsiteX10" fmla="*/ 260639 w 260639"/>
                <a:gd name="connsiteY10" fmla="*/ 88456 h 180054"/>
                <a:gd name="connsiteX11" fmla="*/ 260639 w 260639"/>
                <a:gd name="connsiteY11" fmla="*/ 94380 h 180054"/>
                <a:gd name="connsiteX12" fmla="*/ 198669 w 260639"/>
                <a:gd name="connsiteY12" fmla="*/ 98025 h 180054"/>
                <a:gd name="connsiteX13" fmla="*/ 198669 w 260639"/>
                <a:gd name="connsiteY13" fmla="*/ 81621 h 180054"/>
                <a:gd name="connsiteX14" fmla="*/ 164950 w 260639"/>
                <a:gd name="connsiteY14" fmla="*/ 40156 h 180054"/>
                <a:gd name="connsiteX15" fmla="*/ 111638 w 260639"/>
                <a:gd name="connsiteY15" fmla="*/ 127643 h 180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0639" h="180054">
                  <a:moveTo>
                    <a:pt x="111638" y="180054"/>
                  </a:moveTo>
                  <a:lnTo>
                    <a:pt x="51490" y="138362"/>
                  </a:ln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4EA5F182-B436-49C8-8170-C1AD6D2F32D5}"/>
                </a:ext>
              </a:extLst>
            </p:cNvPr>
            <p:cNvSpPr/>
            <p:nvPr/>
          </p:nvSpPr>
          <p:spPr>
            <a:xfrm rot="8716295">
              <a:off x="276903" y="-12823"/>
              <a:ext cx="36272" cy="27982"/>
            </a:xfrm>
            <a:custGeom>
              <a:avLst/>
              <a:gdLst>
                <a:gd name="connsiteX0" fmla="*/ 36272 w 36272"/>
                <a:gd name="connsiteY0" fmla="*/ 27982 h 27982"/>
                <a:gd name="connsiteX1" fmla="*/ 0 w 36272"/>
                <a:gd name="connsiteY1" fmla="*/ 2840 h 27982"/>
                <a:gd name="connsiteX2" fmla="*/ 9543 w 36272"/>
                <a:gd name="connsiteY2" fmla="*/ 0 h 27982"/>
                <a:gd name="connsiteX3" fmla="*/ 31871 w 36272"/>
                <a:gd name="connsiteY3" fmla="*/ 11392 h 27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272" h="27982">
                  <a:moveTo>
                    <a:pt x="36272" y="27982"/>
                  </a:moveTo>
                  <a:lnTo>
                    <a:pt x="0" y="2840"/>
                  </a:lnTo>
                  <a:lnTo>
                    <a:pt x="9543" y="0"/>
                  </a:lnTo>
                  <a:cubicBezTo>
                    <a:pt x="20479" y="0"/>
                    <a:pt x="27542" y="4784"/>
                    <a:pt x="31871" y="113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F421218E-0235-4F72-A3A0-C0DE2686EE65}"/>
                </a:ext>
              </a:extLst>
            </p:cNvPr>
            <p:cNvSpPr/>
            <p:nvPr/>
          </p:nvSpPr>
          <p:spPr>
            <a:xfrm rot="8716295">
              <a:off x="74640" y="-9665"/>
              <a:ext cx="58068" cy="54772"/>
            </a:xfrm>
            <a:custGeom>
              <a:avLst/>
              <a:gdLst>
                <a:gd name="connsiteX0" fmla="*/ 37436 w 58068"/>
                <a:gd name="connsiteY0" fmla="*/ 54772 h 54772"/>
                <a:gd name="connsiteX1" fmla="*/ 0 w 58068"/>
                <a:gd name="connsiteY1" fmla="*/ 28823 h 54772"/>
                <a:gd name="connsiteX2" fmla="*/ 8515 w 58068"/>
                <a:gd name="connsiteY2" fmla="*/ 8658 h 54772"/>
                <a:gd name="connsiteX3" fmla="*/ 29020 w 58068"/>
                <a:gd name="connsiteY3" fmla="*/ 0 h 54772"/>
                <a:gd name="connsiteX4" fmla="*/ 49525 w 58068"/>
                <a:gd name="connsiteY4" fmla="*/ 8658 h 54772"/>
                <a:gd name="connsiteX5" fmla="*/ 49525 w 58068"/>
                <a:gd name="connsiteY5" fmla="*/ 49668 h 5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068" h="54772">
                  <a:moveTo>
                    <a:pt x="37436" y="54772"/>
                  </a:moveTo>
                  <a:lnTo>
                    <a:pt x="0" y="28823"/>
                  </a:lnTo>
                  <a:lnTo>
                    <a:pt x="8515" y="8658"/>
                  </a:lnTo>
                  <a:cubicBezTo>
                    <a:pt x="13983" y="3190"/>
                    <a:pt x="21273" y="0"/>
                    <a:pt x="29020" y="0"/>
                  </a:cubicBezTo>
                  <a:cubicBezTo>
                    <a:pt x="36766" y="0"/>
                    <a:pt x="44057" y="3190"/>
                    <a:pt x="49525" y="8658"/>
                  </a:cubicBezTo>
                  <a:cubicBezTo>
                    <a:pt x="60916" y="19594"/>
                    <a:pt x="60916" y="38276"/>
                    <a:pt x="49525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CE77A4A5-0ECD-4D80-A03D-A10DC965EA39}"/>
                </a:ext>
              </a:extLst>
            </p:cNvPr>
            <p:cNvSpPr/>
            <p:nvPr/>
          </p:nvSpPr>
          <p:spPr>
            <a:xfrm rot="8716295">
              <a:off x="13802" y="-10406"/>
              <a:ext cx="30027" cy="20814"/>
            </a:xfrm>
            <a:custGeom>
              <a:avLst/>
              <a:gdLst>
                <a:gd name="connsiteX0" fmla="*/ 30027 w 30027"/>
                <a:gd name="connsiteY0" fmla="*/ 20814 h 20814"/>
                <a:gd name="connsiteX1" fmla="*/ 0 w 30027"/>
                <a:gd name="connsiteY1" fmla="*/ 0 h 20814"/>
                <a:gd name="connsiteX2" fmla="*/ 30027 w 30027"/>
                <a:gd name="connsiteY2" fmla="*/ 0 h 20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027" h="20814">
                  <a:moveTo>
                    <a:pt x="30027" y="20814"/>
                  </a:moveTo>
                  <a:lnTo>
                    <a:pt x="0" y="0"/>
                  </a:lnTo>
                  <a:lnTo>
                    <a:pt x="3002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403799C4-A408-4325-A92C-9E809B8BB4D4}"/>
                </a:ext>
              </a:extLst>
            </p:cNvPr>
            <p:cNvSpPr/>
            <p:nvPr/>
          </p:nvSpPr>
          <p:spPr>
            <a:xfrm rot="8716295">
              <a:off x="168048" y="3032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01FB23B7-9B20-4D2E-83CD-6A7A68C9BDC4}"/>
                </a:ext>
              </a:extLst>
            </p:cNvPr>
            <p:cNvSpPr/>
            <p:nvPr/>
          </p:nvSpPr>
          <p:spPr>
            <a:xfrm rot="7484129">
              <a:off x="562078" y="-284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ACF32F9A-0344-4E5B-A601-5E2A5DCEE676}"/>
                </a:ext>
              </a:extLst>
            </p:cNvPr>
            <p:cNvSpPr/>
            <p:nvPr/>
          </p:nvSpPr>
          <p:spPr>
            <a:xfrm rot="13089394">
              <a:off x="767127" y="-2787"/>
              <a:ext cx="149688" cy="301067"/>
            </a:xfrm>
            <a:custGeom>
              <a:avLst/>
              <a:gdLst>
                <a:gd name="connsiteX0" fmla="*/ 149688 w 149688"/>
                <a:gd name="connsiteY0" fmla="*/ 279622 h 301067"/>
                <a:gd name="connsiteX1" fmla="*/ 122393 w 149688"/>
                <a:gd name="connsiteY1" fmla="*/ 301067 h 301067"/>
                <a:gd name="connsiteX2" fmla="*/ 0 w 149688"/>
                <a:gd name="connsiteY2" fmla="*/ 114672 h 301067"/>
                <a:gd name="connsiteX3" fmla="*/ 0 w 149688"/>
                <a:gd name="connsiteY3" fmla="*/ 38074 h 301067"/>
                <a:gd name="connsiteX4" fmla="*/ 73388 w 149688"/>
                <a:gd name="connsiteY4" fmla="*/ 0 h 301067"/>
                <a:gd name="connsiteX5" fmla="*/ 74492 w 149688"/>
                <a:gd name="connsiteY5" fmla="*/ 153950 h 301067"/>
                <a:gd name="connsiteX6" fmla="*/ 87734 w 149688"/>
                <a:gd name="connsiteY6" fmla="*/ 245547 h 301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9688" h="301067">
                  <a:moveTo>
                    <a:pt x="149688" y="279622"/>
                  </a:moveTo>
                  <a:lnTo>
                    <a:pt x="122393" y="301067"/>
                  </a:lnTo>
                  <a:lnTo>
                    <a:pt x="0" y="114672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2836" y="184850"/>
                    <a:pt x="77802" y="216302"/>
                    <a:pt x="87734" y="2455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9B540A9C-752F-4966-AE11-E0DA13D5676A}"/>
                </a:ext>
              </a:extLst>
            </p:cNvPr>
            <p:cNvSpPr/>
            <p:nvPr/>
          </p:nvSpPr>
          <p:spPr>
            <a:xfrm rot="8716295">
              <a:off x="212141" y="304502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27352092-3B53-44B3-ABC2-E6A268F28524}"/>
                </a:ext>
              </a:extLst>
            </p:cNvPr>
            <p:cNvSpPr/>
            <p:nvPr/>
          </p:nvSpPr>
          <p:spPr>
            <a:xfrm rot="8716295">
              <a:off x="301533" y="307427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1A1EEC7B-8896-4B95-9A1A-B0F21E6748C1}"/>
                </a:ext>
              </a:extLst>
            </p:cNvPr>
            <p:cNvSpPr/>
            <p:nvPr/>
          </p:nvSpPr>
          <p:spPr>
            <a:xfrm rot="8716295">
              <a:off x="256683" y="298799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4FA7D1EC-A217-4326-8F37-649F5ADE83EB}"/>
                </a:ext>
              </a:extLst>
            </p:cNvPr>
            <p:cNvSpPr/>
            <p:nvPr/>
          </p:nvSpPr>
          <p:spPr>
            <a:xfrm rot="8716295">
              <a:off x="99907" y="31335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33C99497-0B48-43C7-BD1A-0279E44CA612}"/>
                </a:ext>
              </a:extLst>
            </p:cNvPr>
            <p:cNvSpPr/>
            <p:nvPr/>
          </p:nvSpPr>
          <p:spPr>
            <a:xfrm rot="8716295">
              <a:off x="-24996" y="29248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A93858F0-0010-48FE-BF9C-AFE6080030D7}"/>
                </a:ext>
              </a:extLst>
            </p:cNvPr>
            <p:cNvSpPr/>
            <p:nvPr/>
          </p:nvSpPr>
          <p:spPr>
            <a:xfrm rot="8716295">
              <a:off x="51899" y="2754602"/>
              <a:ext cx="189488" cy="350829"/>
            </a:xfrm>
            <a:custGeom>
              <a:avLst/>
              <a:gdLst>
                <a:gd name="connsiteX0" fmla="*/ 25299 w 189488"/>
                <a:gd name="connsiteY0" fmla="*/ 321238 h 350829"/>
                <a:gd name="connsiteX1" fmla="*/ 0 w 189488"/>
                <a:gd name="connsiteY1" fmla="*/ 220042 h 350829"/>
                <a:gd name="connsiteX2" fmla="*/ 0 w 189488"/>
                <a:gd name="connsiteY2" fmla="*/ 40596 h 350829"/>
                <a:gd name="connsiteX3" fmla="*/ 78250 w 189488"/>
                <a:gd name="connsiteY3" fmla="*/ 0 h 350829"/>
                <a:gd name="connsiteX4" fmla="*/ 79427 w 189488"/>
                <a:gd name="connsiteY4" fmla="*/ 164149 h 350829"/>
                <a:gd name="connsiteX5" fmla="*/ 93547 w 189488"/>
                <a:gd name="connsiteY5" fmla="*/ 261815 h 350829"/>
                <a:gd name="connsiteX6" fmla="*/ 164148 w 189488"/>
                <a:gd name="connsiteY6" fmla="*/ 300646 h 350829"/>
                <a:gd name="connsiteX7" fmla="*/ 189488 w 189488"/>
                <a:gd name="connsiteY7" fmla="*/ 296141 h 350829"/>
                <a:gd name="connsiteX8" fmla="*/ 160617 w 189488"/>
                <a:gd name="connsiteY8" fmla="*/ 337791 h 350829"/>
                <a:gd name="connsiteX9" fmla="*/ 97666 w 189488"/>
                <a:gd name="connsiteY9" fmla="*/ 350655 h 350829"/>
                <a:gd name="connsiteX10" fmla="*/ 25299 w 189488"/>
                <a:gd name="connsiteY10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9488" h="350829">
                  <a:moveTo>
                    <a:pt x="25299" y="321238"/>
                  </a:moveTo>
                  <a:cubicBezTo>
                    <a:pt x="5295" y="301823"/>
                    <a:pt x="0" y="268286"/>
                    <a:pt x="0" y="220042"/>
                  </a:cubicBez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8" y="300646"/>
                  </a:cubicBezTo>
                  <a:lnTo>
                    <a:pt x="189488" y="296141"/>
                  </a:lnTo>
                  <a:lnTo>
                    <a:pt x="160617" y="337791"/>
                  </a:lnTo>
                  <a:lnTo>
                    <a:pt x="97666" y="350655"/>
                  </a:ln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CAFD1C73-118C-42A8-A6D1-F7527C0F98CE}"/>
                </a:ext>
              </a:extLst>
            </p:cNvPr>
            <p:cNvSpPr/>
            <p:nvPr/>
          </p:nvSpPr>
          <p:spPr>
            <a:xfrm rot="8716295">
              <a:off x="190085" y="317452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E7F4D18B-0BB2-451B-AA77-2B268E142A91}"/>
                </a:ext>
              </a:extLst>
            </p:cNvPr>
            <p:cNvSpPr/>
            <p:nvPr/>
          </p:nvSpPr>
          <p:spPr>
            <a:xfrm rot="8716295">
              <a:off x="502599" y="2802136"/>
              <a:ext cx="117588" cy="232388"/>
            </a:xfrm>
            <a:custGeom>
              <a:avLst/>
              <a:gdLst>
                <a:gd name="connsiteX0" fmla="*/ 56529 w 117588"/>
                <a:gd name="connsiteY0" fmla="*/ 232388 h 232388"/>
                <a:gd name="connsiteX1" fmla="*/ 56529 w 117588"/>
                <a:gd name="connsiteY1" fmla="*/ 69717 h 232388"/>
                <a:gd name="connsiteX2" fmla="*/ 56529 w 117588"/>
                <a:gd name="connsiteY2" fmla="*/ 65615 h 232388"/>
                <a:gd name="connsiteX3" fmla="*/ 36025 w 117588"/>
                <a:gd name="connsiteY3" fmla="*/ 50123 h 232388"/>
                <a:gd name="connsiteX4" fmla="*/ 0 w 117588"/>
                <a:gd name="connsiteY4" fmla="*/ 50123 h 232388"/>
                <a:gd name="connsiteX5" fmla="*/ 41458 w 117588"/>
                <a:gd name="connsiteY5" fmla="*/ 0 h 232388"/>
                <a:gd name="connsiteX6" fmla="*/ 60630 w 117588"/>
                <a:gd name="connsiteY6" fmla="*/ 0 h 232388"/>
                <a:gd name="connsiteX7" fmla="*/ 117588 w 117588"/>
                <a:gd name="connsiteY7" fmla="*/ 50123 h 232388"/>
                <a:gd name="connsiteX8" fmla="*/ 117588 w 117588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7588" h="232388">
                  <a:moveTo>
                    <a:pt x="56529" y="232388"/>
                  </a:moveTo>
                  <a:lnTo>
                    <a:pt x="56529" y="69717"/>
                  </a:lnTo>
                  <a:cubicBezTo>
                    <a:pt x="56529" y="68349"/>
                    <a:pt x="56529" y="66983"/>
                    <a:pt x="56529" y="65615"/>
                  </a:cubicBezTo>
                  <a:cubicBezTo>
                    <a:pt x="55163" y="55591"/>
                    <a:pt x="46049" y="48756"/>
                    <a:pt x="36025" y="50123"/>
                  </a:cubicBezTo>
                  <a:lnTo>
                    <a:pt x="0" y="50123"/>
                  </a:lnTo>
                  <a:lnTo>
                    <a:pt x="41458" y="0"/>
                  </a:lnTo>
                  <a:lnTo>
                    <a:pt x="60630" y="0"/>
                  </a:lnTo>
                  <a:cubicBezTo>
                    <a:pt x="97539" y="0"/>
                    <a:pt x="117588" y="15948"/>
                    <a:pt x="117588" y="50123"/>
                  </a:cubicBezTo>
                  <a:lnTo>
                    <a:pt x="117588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6F67DBA9-AD6C-4780-AA17-98BCE9381DC5}"/>
                </a:ext>
              </a:extLst>
            </p:cNvPr>
            <p:cNvSpPr/>
            <p:nvPr/>
          </p:nvSpPr>
          <p:spPr>
            <a:xfrm rot="8716295">
              <a:off x="389006" y="2883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60CE2A9A-219E-42C9-9F53-FED763C7A971}"/>
                </a:ext>
              </a:extLst>
            </p:cNvPr>
            <p:cNvSpPr/>
            <p:nvPr/>
          </p:nvSpPr>
          <p:spPr>
            <a:xfrm rot="8716295">
              <a:off x="264104" y="267474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5F47A361-80F1-4C02-906B-845AB367B960}"/>
                </a:ext>
              </a:extLst>
            </p:cNvPr>
            <p:cNvSpPr/>
            <p:nvPr/>
          </p:nvSpPr>
          <p:spPr>
            <a:xfrm rot="8716295">
              <a:off x="479184" y="292437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2CC40EA3-7663-4B10-9112-24251EC60BEA}"/>
                </a:ext>
              </a:extLst>
            </p:cNvPr>
            <p:cNvSpPr/>
            <p:nvPr/>
          </p:nvSpPr>
          <p:spPr>
            <a:xfrm rot="8716295">
              <a:off x="237733" y="277477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96946020-930E-406D-ABEE-7096E7CB1426}"/>
                </a:ext>
              </a:extLst>
            </p:cNvPr>
            <p:cNvSpPr/>
            <p:nvPr/>
          </p:nvSpPr>
          <p:spPr>
            <a:xfrm rot="7484129">
              <a:off x="609980" y="3142825"/>
              <a:ext cx="20881" cy="31001"/>
            </a:xfrm>
            <a:custGeom>
              <a:avLst/>
              <a:gdLst>
                <a:gd name="connsiteX0" fmla="*/ 10218 w 20881"/>
                <a:gd name="connsiteY0" fmla="*/ 31001 h 31001"/>
                <a:gd name="connsiteX1" fmla="*/ 0 w 20881"/>
                <a:gd name="connsiteY1" fmla="*/ 11992 h 31001"/>
                <a:gd name="connsiteX2" fmla="*/ 20881 w 20881"/>
                <a:gd name="connsiteY2" fmla="*/ 0 h 31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881" h="31001">
                  <a:moveTo>
                    <a:pt x="10218" y="31001"/>
                  </a:moveTo>
                  <a:lnTo>
                    <a:pt x="0" y="11992"/>
                  </a:lnTo>
                  <a:lnTo>
                    <a:pt x="2088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9709EEED-4F73-41F3-A069-C965126CECA4}"/>
                </a:ext>
              </a:extLst>
            </p:cNvPr>
            <p:cNvSpPr/>
            <p:nvPr/>
          </p:nvSpPr>
          <p:spPr>
            <a:xfrm rot="8716295">
              <a:off x="579469" y="28172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AB7C8B58-13F0-4FCC-99DC-3B3AAD65E69B}"/>
                </a:ext>
              </a:extLst>
            </p:cNvPr>
            <p:cNvSpPr/>
            <p:nvPr/>
          </p:nvSpPr>
          <p:spPr>
            <a:xfrm rot="8716295">
              <a:off x="437995" y="3716235"/>
              <a:ext cx="102679" cy="232388"/>
            </a:xfrm>
            <a:custGeom>
              <a:avLst/>
              <a:gdLst>
                <a:gd name="connsiteX0" fmla="*/ 41620 w 102679"/>
                <a:gd name="connsiteY0" fmla="*/ 232388 h 232388"/>
                <a:gd name="connsiteX1" fmla="*/ 41620 w 102679"/>
                <a:gd name="connsiteY1" fmla="*/ 69717 h 232388"/>
                <a:gd name="connsiteX2" fmla="*/ 41620 w 102679"/>
                <a:gd name="connsiteY2" fmla="*/ 65615 h 232388"/>
                <a:gd name="connsiteX3" fmla="*/ 21116 w 102679"/>
                <a:gd name="connsiteY3" fmla="*/ 50123 h 232388"/>
                <a:gd name="connsiteX4" fmla="*/ 0 w 102679"/>
                <a:gd name="connsiteY4" fmla="*/ 50123 h 232388"/>
                <a:gd name="connsiteX5" fmla="*/ 41457 w 102679"/>
                <a:gd name="connsiteY5" fmla="*/ 0 h 232388"/>
                <a:gd name="connsiteX6" fmla="*/ 45721 w 102679"/>
                <a:gd name="connsiteY6" fmla="*/ 0 h 232388"/>
                <a:gd name="connsiteX7" fmla="*/ 102679 w 102679"/>
                <a:gd name="connsiteY7" fmla="*/ 50123 h 232388"/>
                <a:gd name="connsiteX8" fmla="*/ 102679 w 102679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2679" h="232388">
                  <a:moveTo>
                    <a:pt x="41620" y="232388"/>
                  </a:moveTo>
                  <a:lnTo>
                    <a:pt x="41620" y="69717"/>
                  </a:lnTo>
                  <a:cubicBezTo>
                    <a:pt x="41620" y="68349"/>
                    <a:pt x="41620" y="66983"/>
                    <a:pt x="41620" y="65615"/>
                  </a:cubicBezTo>
                  <a:cubicBezTo>
                    <a:pt x="40254" y="55591"/>
                    <a:pt x="31140" y="48756"/>
                    <a:pt x="21116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45721" y="0"/>
                  </a:lnTo>
                  <a:cubicBezTo>
                    <a:pt x="82630" y="0"/>
                    <a:pt x="102679" y="15948"/>
                    <a:pt x="102679" y="50123"/>
                  </a:cubicBezTo>
                  <a:lnTo>
                    <a:pt x="102679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9C4DC6CC-AFAA-4414-8BA6-D58CC891D657}"/>
                </a:ext>
              </a:extLst>
            </p:cNvPr>
            <p:cNvSpPr/>
            <p:nvPr/>
          </p:nvSpPr>
          <p:spPr>
            <a:xfrm rot="8716295">
              <a:off x="482715" y="3669965"/>
              <a:ext cx="154563" cy="124897"/>
            </a:xfrm>
            <a:custGeom>
              <a:avLst/>
              <a:gdLst>
                <a:gd name="connsiteX0" fmla="*/ 0 w 154563"/>
                <a:gd name="connsiteY0" fmla="*/ 124897 h 124897"/>
                <a:gd name="connsiteX1" fmla="*/ 95474 w 154563"/>
                <a:gd name="connsiteY1" fmla="*/ 9467 h 124897"/>
                <a:gd name="connsiteX2" fmla="*/ 96067 w 154563"/>
                <a:gd name="connsiteY2" fmla="*/ 9000 h 124897"/>
                <a:gd name="connsiteX3" fmla="*/ 126312 w 154563"/>
                <a:gd name="connsiteY3" fmla="*/ 0 h 124897"/>
                <a:gd name="connsiteX4" fmla="*/ 154563 w 154563"/>
                <a:gd name="connsiteY4" fmla="*/ 33719 h 124897"/>
                <a:gd name="connsiteX5" fmla="*/ 128135 w 154563"/>
                <a:gd name="connsiteY5" fmla="*/ 69261 h 124897"/>
                <a:gd name="connsiteX6" fmla="*/ 128590 w 154563"/>
                <a:gd name="connsiteY6" fmla="*/ 69261 h 12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4563" h="124897">
                  <a:moveTo>
                    <a:pt x="0" y="124897"/>
                  </a:moveTo>
                  <a:lnTo>
                    <a:pt x="95474" y="9467"/>
                  </a:lnTo>
                  <a:lnTo>
                    <a:pt x="96067" y="9000"/>
                  </a:lnTo>
                  <a:cubicBezTo>
                    <a:pt x="105351" y="4215"/>
                    <a:pt x="115604" y="1139"/>
                    <a:pt x="126312" y="0"/>
                  </a:cubicBezTo>
                  <a:cubicBezTo>
                    <a:pt x="148184" y="0"/>
                    <a:pt x="154563" y="19138"/>
                    <a:pt x="154563" y="33719"/>
                  </a:cubicBezTo>
                  <a:cubicBezTo>
                    <a:pt x="153196" y="49668"/>
                    <a:pt x="142715" y="62882"/>
                    <a:pt x="128135" y="69261"/>
                  </a:cubicBezTo>
                  <a:lnTo>
                    <a:pt x="128590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orme libre : forme 58">
              <a:extLst>
                <a:ext uri="{FF2B5EF4-FFF2-40B4-BE49-F238E27FC236}">
                  <a16:creationId xmlns:a16="http://schemas.microsoft.com/office/drawing/2014/main" id="{4EE0C0AC-519B-4FC6-8231-6D03F18E647C}"/>
                </a:ext>
              </a:extLst>
            </p:cNvPr>
            <p:cNvSpPr/>
            <p:nvPr/>
          </p:nvSpPr>
          <p:spPr>
            <a:xfrm rot="8716295">
              <a:off x="323074" y="379327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orme libre : forme 59">
              <a:extLst>
                <a:ext uri="{FF2B5EF4-FFF2-40B4-BE49-F238E27FC236}">
                  <a16:creationId xmlns:a16="http://schemas.microsoft.com/office/drawing/2014/main" id="{D6F59EA5-8316-4C20-AADC-7D706ECCBE6F}"/>
                </a:ext>
              </a:extLst>
            </p:cNvPr>
            <p:cNvSpPr/>
            <p:nvPr/>
          </p:nvSpPr>
          <p:spPr>
            <a:xfrm rot="8716295">
              <a:off x="198171" y="358459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orme libre : forme 60">
              <a:extLst>
                <a:ext uri="{FF2B5EF4-FFF2-40B4-BE49-F238E27FC236}">
                  <a16:creationId xmlns:a16="http://schemas.microsoft.com/office/drawing/2014/main" id="{B0440107-C1DF-4CF9-A961-BF836C4847FA}"/>
                </a:ext>
              </a:extLst>
            </p:cNvPr>
            <p:cNvSpPr/>
            <p:nvPr/>
          </p:nvSpPr>
          <p:spPr>
            <a:xfrm rot="8716295">
              <a:off x="186119" y="344581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orme libre : forme 61">
              <a:extLst>
                <a:ext uri="{FF2B5EF4-FFF2-40B4-BE49-F238E27FC236}">
                  <a16:creationId xmlns:a16="http://schemas.microsoft.com/office/drawing/2014/main" id="{FAD20847-20DA-4661-A963-D2C01E523D8E}"/>
                </a:ext>
              </a:extLst>
            </p:cNvPr>
            <p:cNvSpPr/>
            <p:nvPr/>
          </p:nvSpPr>
          <p:spPr>
            <a:xfrm rot="8716295">
              <a:off x="410218" y="3834716"/>
              <a:ext cx="103435" cy="219174"/>
            </a:xfrm>
            <a:custGeom>
              <a:avLst/>
              <a:gdLst>
                <a:gd name="connsiteX0" fmla="*/ 103435 w 103435"/>
                <a:gd name="connsiteY0" fmla="*/ 219174 h 219174"/>
                <a:gd name="connsiteX1" fmla="*/ 43288 w 103435"/>
                <a:gd name="connsiteY1" fmla="*/ 161305 h 219174"/>
                <a:gd name="connsiteX2" fmla="*/ 43288 w 103435"/>
                <a:gd name="connsiteY2" fmla="*/ 16404 h 219174"/>
                <a:gd name="connsiteX3" fmla="*/ 0 w 103435"/>
                <a:gd name="connsiteY3" fmla="*/ 16404 h 219174"/>
                <a:gd name="connsiteX4" fmla="*/ 0 w 103435"/>
                <a:gd name="connsiteY4" fmla="*/ 16028 h 219174"/>
                <a:gd name="connsiteX5" fmla="*/ 11583 w 103435"/>
                <a:gd name="connsiteY5" fmla="*/ 2023 h 219174"/>
                <a:gd name="connsiteX6" fmla="*/ 103435 w 103435"/>
                <a:gd name="connsiteY6" fmla="*/ 0 h 219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19174">
                  <a:moveTo>
                    <a:pt x="103435" y="219174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16028"/>
                  </a:lnTo>
                  <a:lnTo>
                    <a:pt x="11583" y="2023"/>
                  </a:lnTo>
                  <a:lnTo>
                    <a:pt x="10343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orme libre : forme 62">
              <a:extLst>
                <a:ext uri="{FF2B5EF4-FFF2-40B4-BE49-F238E27FC236}">
                  <a16:creationId xmlns:a16="http://schemas.microsoft.com/office/drawing/2014/main" id="{28D4D932-7CCD-4A1C-82BE-BDC6C863C34D}"/>
                </a:ext>
              </a:extLst>
            </p:cNvPr>
            <p:cNvSpPr/>
            <p:nvPr/>
          </p:nvSpPr>
          <p:spPr>
            <a:xfrm rot="8716295">
              <a:off x="487452" y="3349370"/>
              <a:ext cx="151162" cy="195873"/>
            </a:xfrm>
            <a:custGeom>
              <a:avLst/>
              <a:gdLst>
                <a:gd name="connsiteX0" fmla="*/ 38025 w 151162"/>
                <a:gd name="connsiteY0" fmla="*/ 195873 h 195873"/>
                <a:gd name="connsiteX1" fmla="*/ 0 w 151162"/>
                <a:gd name="connsiteY1" fmla="*/ 125130 h 195873"/>
                <a:gd name="connsiteX2" fmla="*/ 103497 w 151162"/>
                <a:gd name="connsiteY2" fmla="*/ 0 h 195873"/>
                <a:gd name="connsiteX3" fmla="*/ 151162 w 151162"/>
                <a:gd name="connsiteY3" fmla="*/ 0 h 195873"/>
                <a:gd name="connsiteX4" fmla="*/ 151162 w 151162"/>
                <a:gd name="connsiteY4" fmla="*/ 55323 h 195873"/>
                <a:gd name="connsiteX5" fmla="*/ 86370 w 151162"/>
                <a:gd name="connsiteY5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1162" h="195873">
                  <a:moveTo>
                    <a:pt x="38025" y="195873"/>
                  </a:moveTo>
                  <a:lnTo>
                    <a:pt x="0" y="125130"/>
                  </a:lnTo>
                  <a:lnTo>
                    <a:pt x="103497" y="0"/>
                  </a:lnTo>
                  <a:lnTo>
                    <a:pt x="151162" y="0"/>
                  </a:lnTo>
                  <a:lnTo>
                    <a:pt x="151162" y="55323"/>
                  </a:lnTo>
                  <a:lnTo>
                    <a:pt x="86370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orme libre : forme 63">
              <a:extLst>
                <a:ext uri="{FF2B5EF4-FFF2-40B4-BE49-F238E27FC236}">
                  <a16:creationId xmlns:a16="http://schemas.microsoft.com/office/drawing/2014/main" id="{CC6BD8CB-3AAF-4232-9DAB-6067219DB083}"/>
                </a:ext>
              </a:extLst>
            </p:cNvPr>
            <p:cNvSpPr/>
            <p:nvPr/>
          </p:nvSpPr>
          <p:spPr>
            <a:xfrm rot="8716295">
              <a:off x="460900" y="343447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orme libre : forme 64">
              <a:extLst>
                <a:ext uri="{FF2B5EF4-FFF2-40B4-BE49-F238E27FC236}">
                  <a16:creationId xmlns:a16="http://schemas.microsoft.com/office/drawing/2014/main" id="{C4402BE5-EFA1-455E-87AA-2CF0F2131AB9}"/>
                </a:ext>
              </a:extLst>
            </p:cNvPr>
            <p:cNvSpPr/>
            <p:nvPr/>
          </p:nvSpPr>
          <p:spPr>
            <a:xfrm rot="8716295">
              <a:off x="417336" y="4258920"/>
              <a:ext cx="147637" cy="195874"/>
            </a:xfrm>
            <a:custGeom>
              <a:avLst/>
              <a:gdLst>
                <a:gd name="connsiteX0" fmla="*/ 34500 w 147637"/>
                <a:gd name="connsiteY0" fmla="*/ 195874 h 195874"/>
                <a:gd name="connsiteX1" fmla="*/ 0 w 147637"/>
                <a:gd name="connsiteY1" fmla="*/ 131688 h 195874"/>
                <a:gd name="connsiteX2" fmla="*/ 108921 w 147637"/>
                <a:gd name="connsiteY2" fmla="*/ 0 h 195874"/>
                <a:gd name="connsiteX3" fmla="*/ 147637 w 147637"/>
                <a:gd name="connsiteY3" fmla="*/ 0 h 195874"/>
                <a:gd name="connsiteX4" fmla="*/ 147637 w 147637"/>
                <a:gd name="connsiteY4" fmla="*/ 55323 h 195874"/>
                <a:gd name="connsiteX5" fmla="*/ 82845 w 147637"/>
                <a:gd name="connsiteY5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7637" h="195874">
                  <a:moveTo>
                    <a:pt x="34500" y="195874"/>
                  </a:moveTo>
                  <a:lnTo>
                    <a:pt x="0" y="131688"/>
                  </a:lnTo>
                  <a:lnTo>
                    <a:pt x="108921" y="0"/>
                  </a:lnTo>
                  <a:lnTo>
                    <a:pt x="147637" y="0"/>
                  </a:lnTo>
                  <a:lnTo>
                    <a:pt x="147637" y="55323"/>
                  </a:lnTo>
                  <a:lnTo>
                    <a:pt x="8284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orme libre : forme 65">
              <a:extLst>
                <a:ext uri="{FF2B5EF4-FFF2-40B4-BE49-F238E27FC236}">
                  <a16:creationId xmlns:a16="http://schemas.microsoft.com/office/drawing/2014/main" id="{61A670F2-3CC6-425A-A67F-3F30EE51B04A}"/>
                </a:ext>
              </a:extLst>
            </p:cNvPr>
            <p:cNvSpPr/>
            <p:nvPr/>
          </p:nvSpPr>
          <p:spPr>
            <a:xfrm rot="8716295">
              <a:off x="330834" y="4134902"/>
              <a:ext cx="254613" cy="91157"/>
            </a:xfrm>
            <a:custGeom>
              <a:avLst/>
              <a:gdLst>
                <a:gd name="connsiteX0" fmla="*/ 0 w 254613"/>
                <a:gd name="connsiteY0" fmla="*/ 68911 h 91157"/>
                <a:gd name="connsiteX1" fmla="*/ 56997 w 254613"/>
                <a:gd name="connsiteY1" fmla="*/ 0 h 91157"/>
                <a:gd name="connsiteX2" fmla="*/ 57517 w 254613"/>
                <a:gd name="connsiteY2" fmla="*/ 2143 h 91157"/>
                <a:gd name="connsiteX3" fmla="*/ 128118 w 254613"/>
                <a:gd name="connsiteY3" fmla="*/ 40974 h 91157"/>
                <a:gd name="connsiteX4" fmla="*/ 181070 w 254613"/>
                <a:gd name="connsiteY4" fmla="*/ 31560 h 91157"/>
                <a:gd name="connsiteX5" fmla="*/ 253437 w 254613"/>
                <a:gd name="connsiteY5" fmla="*/ 2143 h 91157"/>
                <a:gd name="connsiteX6" fmla="*/ 254613 w 254613"/>
                <a:gd name="connsiteY6" fmla="*/ 9791 h 91157"/>
                <a:gd name="connsiteX7" fmla="*/ 254613 w 254613"/>
                <a:gd name="connsiteY7" fmla="*/ 15674 h 91157"/>
                <a:gd name="connsiteX8" fmla="*/ 61636 w 254613"/>
                <a:gd name="connsiteY8" fmla="*/ 90983 h 91157"/>
                <a:gd name="connsiteX9" fmla="*/ 22363 w 254613"/>
                <a:gd name="connsiteY9" fmla="*/ 84217 h 91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4613" h="91157">
                  <a:moveTo>
                    <a:pt x="0" y="68911"/>
                  </a:moveTo>
                  <a:lnTo>
                    <a:pt x="56997" y="0"/>
                  </a:lnTo>
                  <a:lnTo>
                    <a:pt x="57517" y="2143"/>
                  </a:lnTo>
                  <a:cubicBezTo>
                    <a:pt x="66931" y="28030"/>
                    <a:pt x="91053" y="40974"/>
                    <a:pt x="128118" y="40974"/>
                  </a:cubicBezTo>
                  <a:cubicBezTo>
                    <a:pt x="146357" y="40385"/>
                    <a:pt x="164008" y="36855"/>
                    <a:pt x="181070" y="31560"/>
                  </a:cubicBezTo>
                  <a:cubicBezTo>
                    <a:pt x="205780" y="23912"/>
                    <a:pt x="229903" y="13910"/>
                    <a:pt x="253437" y="2143"/>
                  </a:cubicBezTo>
                  <a:cubicBezTo>
                    <a:pt x="254025" y="4496"/>
                    <a:pt x="254613" y="7438"/>
                    <a:pt x="254613" y="9791"/>
                  </a:cubicBezTo>
                  <a:lnTo>
                    <a:pt x="254613" y="15674"/>
                  </a:lnTo>
                  <a:cubicBezTo>
                    <a:pt x="192249" y="69215"/>
                    <a:pt x="110468" y="88042"/>
                    <a:pt x="61636" y="90983"/>
                  </a:cubicBezTo>
                  <a:cubicBezTo>
                    <a:pt x="48104" y="91866"/>
                    <a:pt x="34719" y="89365"/>
                    <a:pt x="22363" y="842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orme libre : forme 66">
              <a:extLst>
                <a:ext uri="{FF2B5EF4-FFF2-40B4-BE49-F238E27FC236}">
                  <a16:creationId xmlns:a16="http://schemas.microsoft.com/office/drawing/2014/main" id="{8311F45B-46D1-4E93-B5FB-C96A0B131FB3}"/>
                </a:ext>
              </a:extLst>
            </p:cNvPr>
            <p:cNvSpPr/>
            <p:nvPr/>
          </p:nvSpPr>
          <p:spPr>
            <a:xfrm rot="8716295">
              <a:off x="-3428" y="2405990"/>
              <a:ext cx="142167" cy="208592"/>
            </a:xfrm>
            <a:custGeom>
              <a:avLst/>
              <a:gdLst>
                <a:gd name="connsiteX0" fmla="*/ 81108 w 142167"/>
                <a:gd name="connsiteY0" fmla="*/ 208592 h 208592"/>
                <a:gd name="connsiteX1" fmla="*/ 81108 w 142167"/>
                <a:gd name="connsiteY1" fmla="*/ 69717 h 208592"/>
                <a:gd name="connsiteX2" fmla="*/ 81108 w 142167"/>
                <a:gd name="connsiteY2" fmla="*/ 65615 h 208592"/>
                <a:gd name="connsiteX3" fmla="*/ 60604 w 142167"/>
                <a:gd name="connsiteY3" fmla="*/ 50123 h 208592"/>
                <a:gd name="connsiteX4" fmla="*/ 0 w 142167"/>
                <a:gd name="connsiteY4" fmla="*/ 50123 h 208592"/>
                <a:gd name="connsiteX5" fmla="*/ 0 w 142167"/>
                <a:gd name="connsiteY5" fmla="*/ 0 h 208592"/>
                <a:gd name="connsiteX6" fmla="*/ 85210 w 142167"/>
                <a:gd name="connsiteY6" fmla="*/ 0 h 208592"/>
                <a:gd name="connsiteX7" fmla="*/ 142167 w 142167"/>
                <a:gd name="connsiteY7" fmla="*/ 50123 h 208592"/>
                <a:gd name="connsiteX8" fmla="*/ 142167 w 142167"/>
                <a:gd name="connsiteY8" fmla="*/ 120504 h 20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08592">
                  <a:moveTo>
                    <a:pt x="81108" y="208592"/>
                  </a:moveTo>
                  <a:lnTo>
                    <a:pt x="81108" y="69717"/>
                  </a:lnTo>
                  <a:cubicBezTo>
                    <a:pt x="81108" y="68350"/>
                    <a:pt x="81108" y="66983"/>
                    <a:pt x="81108" y="65615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10" y="0"/>
                  </a:lnTo>
                  <a:cubicBezTo>
                    <a:pt x="122118" y="0"/>
                    <a:pt x="142167" y="15948"/>
                    <a:pt x="142167" y="50123"/>
                  </a:cubicBezTo>
                  <a:lnTo>
                    <a:pt x="142167" y="1205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FBB49843-79D6-49E9-8512-3ED8074BAF49}"/>
                </a:ext>
              </a:extLst>
            </p:cNvPr>
            <p:cNvSpPr/>
            <p:nvPr/>
          </p:nvSpPr>
          <p:spPr>
            <a:xfrm rot="8716295">
              <a:off x="80015" y="241329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orme libre : forme 68">
              <a:extLst>
                <a:ext uri="{FF2B5EF4-FFF2-40B4-BE49-F238E27FC236}">
                  <a16:creationId xmlns:a16="http://schemas.microsoft.com/office/drawing/2014/main" id="{2588E0D5-81C5-4973-87D7-DBF7607FAFF4}"/>
                </a:ext>
              </a:extLst>
            </p:cNvPr>
            <p:cNvSpPr/>
            <p:nvPr/>
          </p:nvSpPr>
          <p:spPr>
            <a:xfrm rot="8716295">
              <a:off x="35165" y="232701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orme libre : forme 69">
              <a:extLst>
                <a:ext uri="{FF2B5EF4-FFF2-40B4-BE49-F238E27FC236}">
                  <a16:creationId xmlns:a16="http://schemas.microsoft.com/office/drawing/2014/main" id="{4C19B60F-0DA9-4BC3-BAAD-2E7DE57F5376}"/>
                </a:ext>
              </a:extLst>
            </p:cNvPr>
            <p:cNvSpPr/>
            <p:nvPr/>
          </p:nvSpPr>
          <p:spPr>
            <a:xfrm rot="8716295">
              <a:off x="-20257" y="2217087"/>
              <a:ext cx="78731" cy="180665"/>
            </a:xfrm>
            <a:custGeom>
              <a:avLst/>
              <a:gdLst>
                <a:gd name="connsiteX0" fmla="*/ 0 w 78731"/>
                <a:gd name="connsiteY0" fmla="*/ 180665 h 180665"/>
                <a:gd name="connsiteX1" fmla="*/ 0 w 78731"/>
                <a:gd name="connsiteY1" fmla="*/ 40596 h 180665"/>
                <a:gd name="connsiteX2" fmla="*/ 78250 w 78731"/>
                <a:gd name="connsiteY2" fmla="*/ 0 h 180665"/>
                <a:gd name="connsiteX3" fmla="*/ 78731 w 78731"/>
                <a:gd name="connsiteY3" fmla="*/ 67083 h 180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731" h="180665">
                  <a:moveTo>
                    <a:pt x="0" y="180665"/>
                  </a:moveTo>
                  <a:lnTo>
                    <a:pt x="0" y="40596"/>
                  </a:lnTo>
                  <a:lnTo>
                    <a:pt x="78250" y="0"/>
                  </a:lnTo>
                  <a:lnTo>
                    <a:pt x="78731" y="670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orme libre : forme 70">
              <a:extLst>
                <a:ext uri="{FF2B5EF4-FFF2-40B4-BE49-F238E27FC236}">
                  <a16:creationId xmlns:a16="http://schemas.microsoft.com/office/drawing/2014/main" id="{6EC16758-5536-44AA-B18E-D5428BFF36DA}"/>
                </a:ext>
              </a:extLst>
            </p:cNvPr>
            <p:cNvSpPr/>
            <p:nvPr/>
          </p:nvSpPr>
          <p:spPr>
            <a:xfrm rot="8716295">
              <a:off x="-15341" y="2575209"/>
              <a:ext cx="103435" cy="152027"/>
            </a:xfrm>
            <a:custGeom>
              <a:avLst/>
              <a:gdLst>
                <a:gd name="connsiteX0" fmla="*/ 43288 w 103435"/>
                <a:gd name="connsiteY0" fmla="*/ 152027 h 152027"/>
                <a:gd name="connsiteX1" fmla="*/ 43288 w 103435"/>
                <a:gd name="connsiteY1" fmla="*/ 16404 h 152027"/>
                <a:gd name="connsiteX2" fmla="*/ 0 w 103435"/>
                <a:gd name="connsiteY2" fmla="*/ 16404 h 152027"/>
                <a:gd name="connsiteX3" fmla="*/ 0 w 103435"/>
                <a:gd name="connsiteY3" fmla="*/ 2278 h 152027"/>
                <a:gd name="connsiteX4" fmla="*/ 103435 w 103435"/>
                <a:gd name="connsiteY4" fmla="*/ 0 h 152027"/>
                <a:gd name="connsiteX5" fmla="*/ 103435 w 103435"/>
                <a:gd name="connsiteY5" fmla="*/ 65255 h 152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152027">
                  <a:moveTo>
                    <a:pt x="43288" y="152027"/>
                  </a:move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652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orme libre : forme 71">
              <a:extLst>
                <a:ext uri="{FF2B5EF4-FFF2-40B4-BE49-F238E27FC236}">
                  <a16:creationId xmlns:a16="http://schemas.microsoft.com/office/drawing/2014/main" id="{F8CD2FD6-8E29-4A7B-A6E7-A08269AC0224}"/>
                </a:ext>
              </a:extLst>
            </p:cNvPr>
            <p:cNvSpPr/>
            <p:nvPr/>
          </p:nvSpPr>
          <p:spPr>
            <a:xfrm rot="8716295">
              <a:off x="279722" y="21339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orme libre : forme 72">
              <a:extLst>
                <a:ext uri="{FF2B5EF4-FFF2-40B4-BE49-F238E27FC236}">
                  <a16:creationId xmlns:a16="http://schemas.microsoft.com/office/drawing/2014/main" id="{B8E4BE1C-C619-4E1A-8472-B00AFC43BA29}"/>
                </a:ext>
              </a:extLst>
            </p:cNvPr>
            <p:cNvSpPr/>
            <p:nvPr/>
          </p:nvSpPr>
          <p:spPr>
            <a:xfrm rot="8716295">
              <a:off x="369114" y="21631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" name="Forme libre : forme 73">
              <a:extLst>
                <a:ext uri="{FF2B5EF4-FFF2-40B4-BE49-F238E27FC236}">
                  <a16:creationId xmlns:a16="http://schemas.microsoft.com/office/drawing/2014/main" id="{E00D5309-AD7C-43C7-8A0B-B7211B97E879}"/>
                </a:ext>
              </a:extLst>
            </p:cNvPr>
            <p:cNvSpPr/>
            <p:nvPr/>
          </p:nvSpPr>
          <p:spPr>
            <a:xfrm rot="8716295">
              <a:off x="167488" y="22224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" name="Forme libre : forme 74">
              <a:extLst>
                <a:ext uri="{FF2B5EF4-FFF2-40B4-BE49-F238E27FC236}">
                  <a16:creationId xmlns:a16="http://schemas.microsoft.com/office/drawing/2014/main" id="{569B59A1-12B4-4886-9F85-B0AFCE236D87}"/>
                </a:ext>
              </a:extLst>
            </p:cNvPr>
            <p:cNvSpPr/>
            <p:nvPr/>
          </p:nvSpPr>
          <p:spPr>
            <a:xfrm rot="8716295">
              <a:off x="42586" y="20137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" name="Forme libre : forme 75">
              <a:extLst>
                <a:ext uri="{FF2B5EF4-FFF2-40B4-BE49-F238E27FC236}">
                  <a16:creationId xmlns:a16="http://schemas.microsoft.com/office/drawing/2014/main" id="{F564295A-16CC-45A5-86A1-4CEC6CD90425}"/>
                </a:ext>
              </a:extLst>
            </p:cNvPr>
            <p:cNvSpPr/>
            <p:nvPr/>
          </p:nvSpPr>
          <p:spPr>
            <a:xfrm rot="8716295">
              <a:off x="257666" y="226339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" name="Forme libre : forme 76">
              <a:extLst>
                <a:ext uri="{FF2B5EF4-FFF2-40B4-BE49-F238E27FC236}">
                  <a16:creationId xmlns:a16="http://schemas.microsoft.com/office/drawing/2014/main" id="{2384700C-00D8-4B4D-ABDF-BE0456A14505}"/>
                </a:ext>
              </a:extLst>
            </p:cNvPr>
            <p:cNvSpPr/>
            <p:nvPr/>
          </p:nvSpPr>
          <p:spPr>
            <a:xfrm rot="8716295">
              <a:off x="16215" y="211379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" name="Forme libre : forme 77">
              <a:extLst>
                <a:ext uri="{FF2B5EF4-FFF2-40B4-BE49-F238E27FC236}">
                  <a16:creationId xmlns:a16="http://schemas.microsoft.com/office/drawing/2014/main" id="{D8BA4606-ED26-402C-93D7-D77E55C056EF}"/>
                </a:ext>
              </a:extLst>
            </p:cNvPr>
            <p:cNvSpPr/>
            <p:nvPr/>
          </p:nvSpPr>
          <p:spPr>
            <a:xfrm rot="7484129">
              <a:off x="362597" y="245474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orme libre : forme 78">
              <a:extLst>
                <a:ext uri="{FF2B5EF4-FFF2-40B4-BE49-F238E27FC236}">
                  <a16:creationId xmlns:a16="http://schemas.microsoft.com/office/drawing/2014/main" id="{3CCE9711-ABFF-417D-B3E6-0BDB1263FCD1}"/>
                </a:ext>
              </a:extLst>
            </p:cNvPr>
            <p:cNvSpPr/>
            <p:nvPr/>
          </p:nvSpPr>
          <p:spPr>
            <a:xfrm rot="13089394">
              <a:off x="463440" y="2426400"/>
              <a:ext cx="272584" cy="319064"/>
            </a:xfrm>
            <a:custGeom>
              <a:avLst/>
              <a:gdLst>
                <a:gd name="connsiteX0" fmla="*/ 80445 w 272584"/>
                <a:gd name="connsiteY0" fmla="*/ 215518 h 319064"/>
                <a:gd name="connsiteX1" fmla="*/ 0 w 272584"/>
                <a:gd name="connsiteY1" fmla="*/ 93007 h 319064"/>
                <a:gd name="connsiteX2" fmla="*/ 0 w 272584"/>
                <a:gd name="connsiteY2" fmla="*/ 38074 h 319064"/>
                <a:gd name="connsiteX3" fmla="*/ 73388 w 272584"/>
                <a:gd name="connsiteY3" fmla="*/ 0 h 319064"/>
                <a:gd name="connsiteX4" fmla="*/ 74492 w 272584"/>
                <a:gd name="connsiteY4" fmla="*/ 153950 h 319064"/>
                <a:gd name="connsiteX5" fmla="*/ 76768 w 272584"/>
                <a:gd name="connsiteY5" fmla="*/ 200369 h 319064"/>
                <a:gd name="connsiteX6" fmla="*/ 272584 w 272584"/>
                <a:gd name="connsiteY6" fmla="*/ 258238 h 319064"/>
                <a:gd name="connsiteX7" fmla="*/ 177331 w 272584"/>
                <a:gd name="connsiteY7" fmla="*/ 311347 h 319064"/>
                <a:gd name="connsiteX8" fmla="*/ 148437 w 272584"/>
                <a:gd name="connsiteY8" fmla="*/ 319064 h 319064"/>
                <a:gd name="connsiteX9" fmla="*/ 119231 w 272584"/>
                <a:gd name="connsiteY9" fmla="*/ 274585 h 319064"/>
                <a:gd name="connsiteX10" fmla="*/ 153949 w 272584"/>
                <a:gd name="connsiteY10" fmla="*/ 281965 h 319064"/>
                <a:gd name="connsiteX11" fmla="*/ 203610 w 272584"/>
                <a:gd name="connsiteY11" fmla="*/ 273136 h 319064"/>
                <a:gd name="connsiteX12" fmla="*/ 271481 w 272584"/>
                <a:gd name="connsiteY12" fmla="*/ 245547 h 319064"/>
                <a:gd name="connsiteX13" fmla="*/ 272584 w 272584"/>
                <a:gd name="connsiteY13" fmla="*/ 252720 h 319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2584" h="319064">
                  <a:moveTo>
                    <a:pt x="80445" y="215518"/>
                  </a:moveTo>
                  <a:lnTo>
                    <a:pt x="0" y="93007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3664" y="169400"/>
                    <a:pt x="74492" y="184988"/>
                    <a:pt x="76768" y="200369"/>
                  </a:cubicBezTo>
                  <a:close/>
                  <a:moveTo>
                    <a:pt x="272584" y="258238"/>
                  </a:moveTo>
                  <a:cubicBezTo>
                    <a:pt x="243339" y="283344"/>
                    <a:pt x="209542" y="300312"/>
                    <a:pt x="177331" y="311347"/>
                  </a:cubicBezTo>
                  <a:lnTo>
                    <a:pt x="148437" y="319064"/>
                  </a:lnTo>
                  <a:lnTo>
                    <a:pt x="119231" y="274585"/>
                  </a:lnTo>
                  <a:lnTo>
                    <a:pt x="153949" y="281965"/>
                  </a:lnTo>
                  <a:cubicBezTo>
                    <a:pt x="171055" y="281413"/>
                    <a:pt x="187609" y="278102"/>
                    <a:pt x="203610" y="273136"/>
                  </a:cubicBezTo>
                  <a:cubicBezTo>
                    <a:pt x="226785" y="265963"/>
                    <a:pt x="249409" y="256583"/>
                    <a:pt x="271481" y="245547"/>
                  </a:cubicBezTo>
                  <a:cubicBezTo>
                    <a:pt x="272032" y="247754"/>
                    <a:pt x="272584" y="250513"/>
                    <a:pt x="272584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Forme libre : forme 79">
              <a:extLst>
                <a:ext uri="{FF2B5EF4-FFF2-40B4-BE49-F238E27FC236}">
                  <a16:creationId xmlns:a16="http://schemas.microsoft.com/office/drawing/2014/main" id="{6E12610B-6A34-4C00-8EC5-09F9F5AEEEF0}"/>
                </a:ext>
              </a:extLst>
            </p:cNvPr>
            <p:cNvSpPr/>
            <p:nvPr/>
          </p:nvSpPr>
          <p:spPr>
            <a:xfrm rot="8716295">
              <a:off x="675867" y="2357327"/>
              <a:ext cx="38012" cy="45752"/>
            </a:xfrm>
            <a:custGeom>
              <a:avLst/>
              <a:gdLst>
                <a:gd name="connsiteX0" fmla="*/ 0 w 38012"/>
                <a:gd name="connsiteY0" fmla="*/ 45752 h 45752"/>
                <a:gd name="connsiteX1" fmla="*/ 37842 w 38012"/>
                <a:gd name="connsiteY1" fmla="*/ 0 h 45752"/>
                <a:gd name="connsiteX2" fmla="*/ 38012 w 38012"/>
                <a:gd name="connsiteY2" fmla="*/ 641 h 45752"/>
                <a:gd name="connsiteX3" fmla="*/ 6841 w 38012"/>
                <a:gd name="connsiteY3" fmla="*/ 42560 h 45752"/>
                <a:gd name="connsiteX4" fmla="*/ 7378 w 38012"/>
                <a:gd name="connsiteY4" fmla="*/ 42560 h 45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012" h="45752">
                  <a:moveTo>
                    <a:pt x="0" y="45752"/>
                  </a:moveTo>
                  <a:lnTo>
                    <a:pt x="37842" y="0"/>
                  </a:lnTo>
                  <a:lnTo>
                    <a:pt x="38012" y="641"/>
                  </a:lnTo>
                  <a:cubicBezTo>
                    <a:pt x="36400" y="19451"/>
                    <a:pt x="24039" y="35036"/>
                    <a:pt x="6841" y="42560"/>
                  </a:cubicBezTo>
                  <a:lnTo>
                    <a:pt x="7378" y="425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" name="Forme libre : forme 80">
              <a:extLst>
                <a:ext uri="{FF2B5EF4-FFF2-40B4-BE49-F238E27FC236}">
                  <a16:creationId xmlns:a16="http://schemas.microsoft.com/office/drawing/2014/main" id="{04C60C27-7F84-4DDC-864F-602B18A26BC5}"/>
                </a:ext>
              </a:extLst>
            </p:cNvPr>
            <p:cNvSpPr/>
            <p:nvPr/>
          </p:nvSpPr>
          <p:spPr>
            <a:xfrm rot="8716295">
              <a:off x="601197" y="21260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orme libre : forme 81">
              <a:extLst>
                <a:ext uri="{FF2B5EF4-FFF2-40B4-BE49-F238E27FC236}">
                  <a16:creationId xmlns:a16="http://schemas.microsoft.com/office/drawing/2014/main" id="{603BCEF5-66FB-4B3A-9672-2C4F09A114FA}"/>
                </a:ext>
              </a:extLst>
            </p:cNvPr>
            <p:cNvSpPr/>
            <p:nvPr/>
          </p:nvSpPr>
          <p:spPr>
            <a:xfrm rot="8716295">
              <a:off x="357951" y="21562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Forme libre : forme 82">
              <a:extLst>
                <a:ext uri="{FF2B5EF4-FFF2-40B4-BE49-F238E27FC236}">
                  <a16:creationId xmlns:a16="http://schemas.microsoft.com/office/drawing/2014/main" id="{47C10671-5456-47FF-825A-4447688D4139}"/>
                </a:ext>
              </a:extLst>
            </p:cNvPr>
            <p:cNvSpPr/>
            <p:nvPr/>
          </p:nvSpPr>
          <p:spPr>
            <a:xfrm rot="8716295">
              <a:off x="535403" y="199698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4" name="Forme libre : forme 83">
              <a:extLst>
                <a:ext uri="{FF2B5EF4-FFF2-40B4-BE49-F238E27FC236}">
                  <a16:creationId xmlns:a16="http://schemas.microsoft.com/office/drawing/2014/main" id="{DB34C374-02D3-4583-9890-9C27CA821837}"/>
                </a:ext>
              </a:extLst>
            </p:cNvPr>
            <p:cNvSpPr/>
            <p:nvPr/>
          </p:nvSpPr>
          <p:spPr>
            <a:xfrm rot="8716295">
              <a:off x="-76043" y="1768178"/>
              <a:ext cx="197178" cy="215049"/>
            </a:xfrm>
            <a:custGeom>
              <a:avLst/>
              <a:gdLst>
                <a:gd name="connsiteX0" fmla="*/ 51490 w 197178"/>
                <a:gd name="connsiteY0" fmla="*/ 215049 h 215049"/>
                <a:gd name="connsiteX1" fmla="*/ 51490 w 197178"/>
                <a:gd name="connsiteY1" fmla="*/ 45624 h 215049"/>
                <a:gd name="connsiteX2" fmla="*/ 0 w 197178"/>
                <a:gd name="connsiteY2" fmla="*/ 45624 h 215049"/>
                <a:gd name="connsiteX3" fmla="*/ 0 w 197178"/>
                <a:gd name="connsiteY3" fmla="*/ 1424 h 215049"/>
                <a:gd name="connsiteX4" fmla="*/ 104803 w 197178"/>
                <a:gd name="connsiteY4" fmla="*/ 1425 h 215049"/>
                <a:gd name="connsiteX5" fmla="*/ 104803 w 197178"/>
                <a:gd name="connsiteY5" fmla="*/ 75242 h 215049"/>
                <a:gd name="connsiteX6" fmla="*/ 106169 w 197178"/>
                <a:gd name="connsiteY6" fmla="*/ 75242 h 215049"/>
                <a:gd name="connsiteX7" fmla="*/ 154014 w 197178"/>
                <a:gd name="connsiteY7" fmla="*/ 5981 h 215049"/>
                <a:gd name="connsiteX8" fmla="*/ 185455 w 197178"/>
                <a:gd name="connsiteY8" fmla="*/ 57 h 215049"/>
                <a:gd name="connsiteX9" fmla="*/ 197178 w 197178"/>
                <a:gd name="connsiteY9" fmla="*/ 4872 h 215049"/>
                <a:gd name="connsiteX10" fmla="*/ 170795 w 197178"/>
                <a:gd name="connsiteY10" fmla="*/ 42934 h 215049"/>
                <a:gd name="connsiteX11" fmla="*/ 164950 w 197178"/>
                <a:gd name="connsiteY11" fmla="*/ 40156 h 215049"/>
                <a:gd name="connsiteX12" fmla="*/ 111638 w 197178"/>
                <a:gd name="connsiteY12" fmla="*/ 127643 h 215049"/>
                <a:gd name="connsiteX13" fmla="*/ 111638 w 197178"/>
                <a:gd name="connsiteY13" fmla="*/ 128277 h 21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178" h="215049">
                  <a:moveTo>
                    <a:pt x="51490" y="215049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4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lnTo>
                    <a:pt x="197178" y="4872"/>
                  </a:lnTo>
                  <a:lnTo>
                    <a:pt x="170795" y="42934"/>
                  </a:lnTo>
                  <a:lnTo>
                    <a:pt x="164950" y="40156"/>
                  </a:ln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1282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5" name="Forme libre : forme 84">
              <a:extLst>
                <a:ext uri="{FF2B5EF4-FFF2-40B4-BE49-F238E27FC236}">
                  <a16:creationId xmlns:a16="http://schemas.microsoft.com/office/drawing/2014/main" id="{F27A5053-248B-4729-A180-CFD83FBA8C7D}"/>
                </a:ext>
              </a:extLst>
            </p:cNvPr>
            <p:cNvSpPr/>
            <p:nvPr/>
          </p:nvSpPr>
          <p:spPr>
            <a:xfrm rot="8716295">
              <a:off x="56555" y="14742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6" name="Forme libre : forme 85">
              <a:extLst>
                <a:ext uri="{FF2B5EF4-FFF2-40B4-BE49-F238E27FC236}">
                  <a16:creationId xmlns:a16="http://schemas.microsoft.com/office/drawing/2014/main" id="{9918622A-7E96-4EC8-A35B-CBCD19A79AE2}"/>
                </a:ext>
              </a:extLst>
            </p:cNvPr>
            <p:cNvSpPr/>
            <p:nvPr/>
          </p:nvSpPr>
          <p:spPr>
            <a:xfrm rot="8716295">
              <a:off x="145947" y="15034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7" name="Forme libre : forme 86">
              <a:extLst>
                <a:ext uri="{FF2B5EF4-FFF2-40B4-BE49-F238E27FC236}">
                  <a16:creationId xmlns:a16="http://schemas.microsoft.com/office/drawing/2014/main" id="{0ECD9757-2AFD-4623-9C3D-24E52F11F047}"/>
                </a:ext>
              </a:extLst>
            </p:cNvPr>
            <p:cNvSpPr/>
            <p:nvPr/>
          </p:nvSpPr>
          <p:spPr>
            <a:xfrm rot="8716295">
              <a:off x="-21870" y="1443501"/>
              <a:ext cx="68614" cy="55323"/>
            </a:xfrm>
            <a:custGeom>
              <a:avLst/>
              <a:gdLst>
                <a:gd name="connsiteX0" fmla="*/ 0 w 68614"/>
                <a:gd name="connsiteY0" fmla="*/ 55323 h 55323"/>
                <a:gd name="connsiteX1" fmla="*/ 0 w 68614"/>
                <a:gd name="connsiteY1" fmla="*/ 0 h 55323"/>
                <a:gd name="connsiteX2" fmla="*/ 68614 w 68614"/>
                <a:gd name="connsiteY2" fmla="*/ 0 h 55323"/>
                <a:gd name="connsiteX3" fmla="*/ 30266 w 68614"/>
                <a:gd name="connsiteY3" fmla="*/ 55323 h 55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614" h="55323">
                  <a:moveTo>
                    <a:pt x="0" y="55323"/>
                  </a:moveTo>
                  <a:lnTo>
                    <a:pt x="0" y="0"/>
                  </a:lnTo>
                  <a:lnTo>
                    <a:pt x="68614" y="0"/>
                  </a:lnTo>
                  <a:lnTo>
                    <a:pt x="30266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8" name="Forme libre : forme 87">
              <a:extLst>
                <a:ext uri="{FF2B5EF4-FFF2-40B4-BE49-F238E27FC236}">
                  <a16:creationId xmlns:a16="http://schemas.microsoft.com/office/drawing/2014/main" id="{661ED1FA-7FC0-427E-9226-6E31215700D9}"/>
                </a:ext>
              </a:extLst>
            </p:cNvPr>
            <p:cNvSpPr/>
            <p:nvPr/>
          </p:nvSpPr>
          <p:spPr>
            <a:xfrm rot="8716295">
              <a:off x="35817" y="1618109"/>
              <a:ext cx="103435" cy="203897"/>
            </a:xfrm>
            <a:custGeom>
              <a:avLst/>
              <a:gdLst>
                <a:gd name="connsiteX0" fmla="*/ 87556 w 103435"/>
                <a:gd name="connsiteY0" fmla="*/ 203897 h 203897"/>
                <a:gd name="connsiteX1" fmla="*/ 43288 w 103435"/>
                <a:gd name="connsiteY1" fmla="*/ 161305 h 203897"/>
                <a:gd name="connsiteX2" fmla="*/ 43288 w 103435"/>
                <a:gd name="connsiteY2" fmla="*/ 16404 h 203897"/>
                <a:gd name="connsiteX3" fmla="*/ 0 w 103435"/>
                <a:gd name="connsiteY3" fmla="*/ 16404 h 203897"/>
                <a:gd name="connsiteX4" fmla="*/ 0 w 103435"/>
                <a:gd name="connsiteY4" fmla="*/ 2278 h 203897"/>
                <a:gd name="connsiteX5" fmla="*/ 103435 w 103435"/>
                <a:gd name="connsiteY5" fmla="*/ 0 h 203897"/>
                <a:gd name="connsiteX6" fmla="*/ 103435 w 103435"/>
                <a:gd name="connsiteY6" fmla="*/ 180989 h 203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03897">
                  <a:moveTo>
                    <a:pt x="87556" y="203897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1809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9" name="Forme libre : forme 88">
              <a:extLst>
                <a:ext uri="{FF2B5EF4-FFF2-40B4-BE49-F238E27FC236}">
                  <a16:creationId xmlns:a16="http://schemas.microsoft.com/office/drawing/2014/main" id="{A1295F39-BDBB-432C-B32B-C5B551977FC2}"/>
                </a:ext>
              </a:extLst>
            </p:cNvPr>
            <p:cNvSpPr/>
            <p:nvPr/>
          </p:nvSpPr>
          <p:spPr>
            <a:xfrm rot="7484129">
              <a:off x="139430" y="17950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" name="Forme libre : forme 89">
              <a:extLst>
                <a:ext uri="{FF2B5EF4-FFF2-40B4-BE49-F238E27FC236}">
                  <a16:creationId xmlns:a16="http://schemas.microsoft.com/office/drawing/2014/main" id="{F2E91B5E-C359-4716-9781-DAEDAFFE884C}"/>
                </a:ext>
              </a:extLst>
            </p:cNvPr>
            <p:cNvSpPr/>
            <p:nvPr/>
          </p:nvSpPr>
          <p:spPr>
            <a:xfrm rot="13089394">
              <a:off x="244250" y="17615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" name="Forme libre : forme 90">
              <a:extLst>
                <a:ext uri="{FF2B5EF4-FFF2-40B4-BE49-F238E27FC236}">
                  <a16:creationId xmlns:a16="http://schemas.microsoft.com/office/drawing/2014/main" id="{4C9CCC26-5417-41E7-B753-3B7D59038FBD}"/>
                </a:ext>
              </a:extLst>
            </p:cNvPr>
            <p:cNvSpPr/>
            <p:nvPr/>
          </p:nvSpPr>
          <p:spPr>
            <a:xfrm rot="8716295">
              <a:off x="429835" y="15699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" name="Forme libre : forme 91">
              <a:extLst>
                <a:ext uri="{FF2B5EF4-FFF2-40B4-BE49-F238E27FC236}">
                  <a16:creationId xmlns:a16="http://schemas.microsoft.com/office/drawing/2014/main" id="{D6712892-AD9E-4694-AEF5-3D17C5AEEE1D}"/>
                </a:ext>
              </a:extLst>
            </p:cNvPr>
            <p:cNvSpPr/>
            <p:nvPr/>
          </p:nvSpPr>
          <p:spPr>
            <a:xfrm rot="8716295">
              <a:off x="378030" y="14663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" name="Forme libre : forme 92">
              <a:extLst>
                <a:ext uri="{FF2B5EF4-FFF2-40B4-BE49-F238E27FC236}">
                  <a16:creationId xmlns:a16="http://schemas.microsoft.com/office/drawing/2014/main" id="{8DA7EFED-D0A6-45D4-A875-2F1DCEFC57C8}"/>
                </a:ext>
              </a:extLst>
            </p:cNvPr>
            <p:cNvSpPr/>
            <p:nvPr/>
          </p:nvSpPr>
          <p:spPr>
            <a:xfrm rot="8716295">
              <a:off x="134784" y="14965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" name="Forme libre : forme 93">
              <a:extLst>
                <a:ext uri="{FF2B5EF4-FFF2-40B4-BE49-F238E27FC236}">
                  <a16:creationId xmlns:a16="http://schemas.microsoft.com/office/drawing/2014/main" id="{32971A81-1820-4964-A66E-2FD721A16F56}"/>
                </a:ext>
              </a:extLst>
            </p:cNvPr>
            <p:cNvSpPr/>
            <p:nvPr/>
          </p:nvSpPr>
          <p:spPr>
            <a:xfrm rot="8716295">
              <a:off x="312236" y="13372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orme libre : forme 94">
              <a:extLst>
                <a:ext uri="{FF2B5EF4-FFF2-40B4-BE49-F238E27FC236}">
                  <a16:creationId xmlns:a16="http://schemas.microsoft.com/office/drawing/2014/main" id="{BC42F9C8-99E7-4F04-B258-C142D2DE142F}"/>
                </a:ext>
              </a:extLst>
            </p:cNvPr>
            <p:cNvSpPr/>
            <p:nvPr/>
          </p:nvSpPr>
          <p:spPr>
            <a:xfrm rot="8716295">
              <a:off x="-17798" y="949199"/>
              <a:ext cx="39526" cy="50123"/>
            </a:xfrm>
            <a:custGeom>
              <a:avLst/>
              <a:gdLst>
                <a:gd name="connsiteX0" fmla="*/ 0 w 39526"/>
                <a:gd name="connsiteY0" fmla="*/ 50123 h 50123"/>
                <a:gd name="connsiteX1" fmla="*/ 0 w 39526"/>
                <a:gd name="connsiteY1" fmla="*/ 0 h 50123"/>
                <a:gd name="connsiteX2" fmla="*/ 39526 w 39526"/>
                <a:gd name="connsiteY2" fmla="*/ 0 h 50123"/>
                <a:gd name="connsiteX3" fmla="*/ 4782 w 39526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26" h="50123">
                  <a:moveTo>
                    <a:pt x="0" y="50123"/>
                  </a:moveTo>
                  <a:lnTo>
                    <a:pt x="0" y="0"/>
                  </a:lnTo>
                  <a:lnTo>
                    <a:pt x="39526" y="0"/>
                  </a:lnTo>
                  <a:lnTo>
                    <a:pt x="4782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Forme libre : forme 95">
              <a:extLst>
                <a:ext uri="{FF2B5EF4-FFF2-40B4-BE49-F238E27FC236}">
                  <a16:creationId xmlns:a16="http://schemas.microsoft.com/office/drawing/2014/main" id="{D29A62DB-0DC5-407D-A1DF-C8A39BAC784A}"/>
                </a:ext>
              </a:extLst>
            </p:cNvPr>
            <p:cNvSpPr/>
            <p:nvPr/>
          </p:nvSpPr>
          <p:spPr>
            <a:xfrm rot="8716295">
              <a:off x="-64996" y="834728"/>
              <a:ext cx="249650" cy="254774"/>
            </a:xfrm>
            <a:custGeom>
              <a:avLst/>
              <a:gdLst>
                <a:gd name="connsiteX0" fmla="*/ 51490 w 249650"/>
                <a:gd name="connsiteY0" fmla="*/ 254774 h 254774"/>
                <a:gd name="connsiteX1" fmla="*/ 51490 w 249650"/>
                <a:gd name="connsiteY1" fmla="*/ 45624 h 254774"/>
                <a:gd name="connsiteX2" fmla="*/ 0 w 249650"/>
                <a:gd name="connsiteY2" fmla="*/ 45624 h 254774"/>
                <a:gd name="connsiteX3" fmla="*/ 0 w 249650"/>
                <a:gd name="connsiteY3" fmla="*/ 1425 h 254774"/>
                <a:gd name="connsiteX4" fmla="*/ 104803 w 249650"/>
                <a:gd name="connsiteY4" fmla="*/ 1425 h 254774"/>
                <a:gd name="connsiteX5" fmla="*/ 104803 w 249650"/>
                <a:gd name="connsiteY5" fmla="*/ 75242 h 254774"/>
                <a:gd name="connsiteX6" fmla="*/ 106169 w 249650"/>
                <a:gd name="connsiteY6" fmla="*/ 75242 h 254774"/>
                <a:gd name="connsiteX7" fmla="*/ 154014 w 249650"/>
                <a:gd name="connsiteY7" fmla="*/ 5981 h 254774"/>
                <a:gd name="connsiteX8" fmla="*/ 185455 w 249650"/>
                <a:gd name="connsiteY8" fmla="*/ 57 h 254774"/>
                <a:gd name="connsiteX9" fmla="*/ 240647 w 249650"/>
                <a:gd name="connsiteY9" fmla="*/ 22727 h 254774"/>
                <a:gd name="connsiteX10" fmla="*/ 249650 w 249650"/>
                <a:gd name="connsiteY10" fmla="*/ 52327 h 254774"/>
                <a:gd name="connsiteX11" fmla="*/ 218795 w 249650"/>
                <a:gd name="connsiteY11" fmla="*/ 96841 h 254774"/>
                <a:gd name="connsiteX12" fmla="*/ 198669 w 249650"/>
                <a:gd name="connsiteY12" fmla="*/ 98025 h 254774"/>
                <a:gd name="connsiteX13" fmla="*/ 198669 w 249650"/>
                <a:gd name="connsiteY13" fmla="*/ 81621 h 254774"/>
                <a:gd name="connsiteX14" fmla="*/ 164950 w 249650"/>
                <a:gd name="connsiteY14" fmla="*/ 40156 h 254774"/>
                <a:gd name="connsiteX15" fmla="*/ 111638 w 249650"/>
                <a:gd name="connsiteY15" fmla="*/ 127643 h 254774"/>
                <a:gd name="connsiteX16" fmla="*/ 111638 w 249650"/>
                <a:gd name="connsiteY16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9650" h="254774">
                  <a:moveTo>
                    <a:pt x="51490" y="254774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08922" y="-398"/>
                    <a:pt x="227718" y="7576"/>
                    <a:pt x="240647" y="22727"/>
                  </a:cubicBezTo>
                  <a:lnTo>
                    <a:pt x="249650" y="52327"/>
                  </a:lnTo>
                  <a:lnTo>
                    <a:pt x="218795" y="96841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" name="Forme libre : forme 96">
              <a:extLst>
                <a:ext uri="{FF2B5EF4-FFF2-40B4-BE49-F238E27FC236}">
                  <a16:creationId xmlns:a16="http://schemas.microsoft.com/office/drawing/2014/main" id="{4160A2B5-61C4-44D3-8FA4-49A1FCD41A0C}"/>
                </a:ext>
              </a:extLst>
            </p:cNvPr>
            <p:cNvSpPr/>
            <p:nvPr/>
          </p:nvSpPr>
          <p:spPr>
            <a:xfrm rot="7484129">
              <a:off x="-63314" y="1172497"/>
              <a:ext cx="203848" cy="146395"/>
            </a:xfrm>
            <a:custGeom>
              <a:avLst/>
              <a:gdLst>
                <a:gd name="connsiteX0" fmla="*/ 0 w 203848"/>
                <a:gd name="connsiteY0" fmla="*/ 55323 h 146395"/>
                <a:gd name="connsiteX1" fmla="*/ 0 w 203848"/>
                <a:gd name="connsiteY1" fmla="*/ 0 h 146395"/>
                <a:gd name="connsiteX2" fmla="*/ 203848 w 203848"/>
                <a:gd name="connsiteY2" fmla="*/ 0 h 146395"/>
                <a:gd name="connsiteX3" fmla="*/ 203847 w 203848"/>
                <a:gd name="connsiteY3" fmla="*/ 49512 h 146395"/>
                <a:gd name="connsiteX4" fmla="*/ 195466 w 203848"/>
                <a:gd name="connsiteY4" fmla="*/ 55323 h 146395"/>
                <a:gd name="connsiteX5" fmla="*/ 139055 w 203848"/>
                <a:gd name="connsiteY5" fmla="*/ 55323 h 146395"/>
                <a:gd name="connsiteX6" fmla="*/ 121388 w 203848"/>
                <a:gd name="connsiteY6" fmla="*/ 106685 h 146395"/>
                <a:gd name="connsiteX7" fmla="*/ 64115 w 203848"/>
                <a:gd name="connsiteY7" fmla="*/ 146395 h 146395"/>
                <a:gd name="connsiteX8" fmla="*/ 47847 w 203848"/>
                <a:gd name="connsiteY8" fmla="*/ 116129 h 146395"/>
                <a:gd name="connsiteX9" fmla="*/ 69777 w 203848"/>
                <a:gd name="connsiteY9" fmla="*/ 55323 h 146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848" h="146395">
                  <a:moveTo>
                    <a:pt x="0" y="55323"/>
                  </a:moveTo>
                  <a:lnTo>
                    <a:pt x="0" y="0"/>
                  </a:lnTo>
                  <a:lnTo>
                    <a:pt x="203848" y="0"/>
                  </a:lnTo>
                  <a:lnTo>
                    <a:pt x="203847" y="49512"/>
                  </a:lnTo>
                  <a:lnTo>
                    <a:pt x="195466" y="55323"/>
                  </a:lnTo>
                  <a:lnTo>
                    <a:pt x="139055" y="55323"/>
                  </a:lnTo>
                  <a:lnTo>
                    <a:pt x="121388" y="106685"/>
                  </a:lnTo>
                  <a:lnTo>
                    <a:pt x="64115" y="146395"/>
                  </a:lnTo>
                  <a:lnTo>
                    <a:pt x="47847" y="116129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" name="Forme libre : forme 97">
              <a:extLst>
                <a:ext uri="{FF2B5EF4-FFF2-40B4-BE49-F238E27FC236}">
                  <a16:creationId xmlns:a16="http://schemas.microsoft.com/office/drawing/2014/main" id="{0F651F8F-312F-4D1A-9E4B-A79B81999918}"/>
                </a:ext>
              </a:extLst>
            </p:cNvPr>
            <p:cNvSpPr/>
            <p:nvPr/>
          </p:nvSpPr>
          <p:spPr>
            <a:xfrm rot="13089394">
              <a:off x="25311" y="109952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" name="Forme libre : forme 98">
              <a:extLst>
                <a:ext uri="{FF2B5EF4-FFF2-40B4-BE49-F238E27FC236}">
                  <a16:creationId xmlns:a16="http://schemas.microsoft.com/office/drawing/2014/main" id="{12E33E54-ECAF-462B-B069-F233780DF121}"/>
                </a:ext>
              </a:extLst>
            </p:cNvPr>
            <p:cNvSpPr/>
            <p:nvPr/>
          </p:nvSpPr>
          <p:spPr>
            <a:xfrm rot="8716295">
              <a:off x="210896" y="90784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orme libre : forme 99">
              <a:extLst>
                <a:ext uri="{FF2B5EF4-FFF2-40B4-BE49-F238E27FC236}">
                  <a16:creationId xmlns:a16="http://schemas.microsoft.com/office/drawing/2014/main" id="{42ACC1F1-A8E1-420C-B7DE-55FFEE501260}"/>
                </a:ext>
              </a:extLst>
            </p:cNvPr>
            <p:cNvSpPr/>
            <p:nvPr/>
          </p:nvSpPr>
          <p:spPr>
            <a:xfrm rot="8716295">
              <a:off x="159091" y="80425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Forme libre : forme 100">
              <a:extLst>
                <a:ext uri="{FF2B5EF4-FFF2-40B4-BE49-F238E27FC236}">
                  <a16:creationId xmlns:a16="http://schemas.microsoft.com/office/drawing/2014/main" id="{B902C445-D42B-4D0E-8897-FDE236E78375}"/>
                </a:ext>
              </a:extLst>
            </p:cNvPr>
            <p:cNvSpPr/>
            <p:nvPr/>
          </p:nvSpPr>
          <p:spPr>
            <a:xfrm rot="8716295">
              <a:off x="93297" y="67523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" name="Forme libre : forme 101">
              <a:extLst>
                <a:ext uri="{FF2B5EF4-FFF2-40B4-BE49-F238E27FC236}">
                  <a16:creationId xmlns:a16="http://schemas.microsoft.com/office/drawing/2014/main" id="{4EDB9DFE-AA44-492B-9D2C-70F199FD6162}"/>
                </a:ext>
              </a:extLst>
            </p:cNvPr>
            <p:cNvSpPr/>
            <p:nvPr/>
          </p:nvSpPr>
          <p:spPr>
            <a:xfrm rot="8716295">
              <a:off x="-7001" y="316701"/>
              <a:ext cx="14001" cy="20198"/>
            </a:xfrm>
            <a:custGeom>
              <a:avLst/>
              <a:gdLst>
                <a:gd name="connsiteX0" fmla="*/ 0 w 14001"/>
                <a:gd name="connsiteY0" fmla="*/ 20198 h 20198"/>
                <a:gd name="connsiteX1" fmla="*/ 0 w 14001"/>
                <a:gd name="connsiteY1" fmla="*/ 0 h 20198"/>
                <a:gd name="connsiteX2" fmla="*/ 14001 w 14001"/>
                <a:gd name="connsiteY2" fmla="*/ 0 h 2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01" h="20198">
                  <a:moveTo>
                    <a:pt x="0" y="20198"/>
                  </a:moveTo>
                  <a:lnTo>
                    <a:pt x="0" y="0"/>
                  </a:lnTo>
                  <a:lnTo>
                    <a:pt x="1400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" name="Forme libre : forme 102">
              <a:extLst>
                <a:ext uri="{FF2B5EF4-FFF2-40B4-BE49-F238E27FC236}">
                  <a16:creationId xmlns:a16="http://schemas.microsoft.com/office/drawing/2014/main" id="{9B8E4668-5129-4061-833F-DDB8DC144C55}"/>
                </a:ext>
              </a:extLst>
            </p:cNvPr>
            <p:cNvSpPr/>
            <p:nvPr/>
          </p:nvSpPr>
          <p:spPr>
            <a:xfrm rot="13089394">
              <a:off x="-81658" y="472652"/>
              <a:ext cx="173631" cy="237684"/>
            </a:xfrm>
            <a:custGeom>
              <a:avLst/>
              <a:gdLst>
                <a:gd name="connsiteX0" fmla="*/ 173631 w 173631"/>
                <a:gd name="connsiteY0" fmla="*/ 220990 h 237684"/>
                <a:gd name="connsiteX1" fmla="*/ 130972 w 173631"/>
                <a:gd name="connsiteY1" fmla="*/ 232382 h 237684"/>
                <a:gd name="connsiteX2" fmla="*/ 91597 w 173631"/>
                <a:gd name="connsiteY2" fmla="*/ 237521 h 237684"/>
                <a:gd name="connsiteX3" fmla="*/ 23727 w 173631"/>
                <a:gd name="connsiteY3" fmla="*/ 209931 h 237684"/>
                <a:gd name="connsiteX4" fmla="*/ 0 w 173631"/>
                <a:gd name="connsiteY4" fmla="*/ 115023 h 237684"/>
                <a:gd name="connsiteX5" fmla="*/ 0 w 173631"/>
                <a:gd name="connsiteY5" fmla="*/ 0 h 237684"/>
                <a:gd name="connsiteX6" fmla="*/ 76176 w 173631"/>
                <a:gd name="connsiteY6" fmla="*/ 96953 h 237684"/>
                <a:gd name="connsiteX7" fmla="*/ 76768 w 173631"/>
                <a:gd name="connsiteY7" fmla="*/ 109023 h 237684"/>
                <a:gd name="connsiteX8" fmla="*/ 87734 w 173631"/>
                <a:gd name="connsiteY8" fmla="*/ 154201 h 237684"/>
                <a:gd name="connsiteX9" fmla="*/ 111117 w 173631"/>
                <a:gd name="connsiteY9" fmla="*/ 181514 h 237684"/>
                <a:gd name="connsiteX10" fmla="*/ 148930 w 173631"/>
                <a:gd name="connsiteY10" fmla="*/ 189552 h 237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3631" h="237684">
                  <a:moveTo>
                    <a:pt x="173631" y="220990"/>
                  </a:moveTo>
                  <a:lnTo>
                    <a:pt x="130972" y="232382"/>
                  </a:lnTo>
                  <a:cubicBezTo>
                    <a:pt x="116428" y="235210"/>
                    <a:pt x="103047" y="236831"/>
                    <a:pt x="91597" y="237521"/>
                  </a:cubicBezTo>
                  <a:cubicBezTo>
                    <a:pt x="66215" y="239176"/>
                    <a:pt x="41384" y="228141"/>
                    <a:pt x="23727" y="209931"/>
                  </a:cubicBezTo>
                  <a:cubicBezTo>
                    <a:pt x="4966" y="191722"/>
                    <a:pt x="0" y="160270"/>
                    <a:pt x="0" y="115023"/>
                  </a:cubicBezTo>
                  <a:lnTo>
                    <a:pt x="0" y="0"/>
                  </a:lnTo>
                  <a:lnTo>
                    <a:pt x="76176" y="96953"/>
                  </a:lnTo>
                  <a:lnTo>
                    <a:pt x="76768" y="109023"/>
                  </a:lnTo>
                  <a:cubicBezTo>
                    <a:pt x="79044" y="124404"/>
                    <a:pt x="82768" y="139578"/>
                    <a:pt x="87734" y="154201"/>
                  </a:cubicBezTo>
                  <a:cubicBezTo>
                    <a:pt x="92149" y="166340"/>
                    <a:pt x="100012" y="175445"/>
                    <a:pt x="111117" y="181514"/>
                  </a:cubicBezTo>
                  <a:lnTo>
                    <a:pt x="148930" y="1895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" name="Forme libre : forme 103">
              <a:extLst>
                <a:ext uri="{FF2B5EF4-FFF2-40B4-BE49-F238E27FC236}">
                  <a16:creationId xmlns:a16="http://schemas.microsoft.com/office/drawing/2014/main" id="{99FF5E45-909E-4FF2-B754-B344F6F11F69}"/>
                </a:ext>
              </a:extLst>
            </p:cNvPr>
            <p:cNvSpPr/>
            <p:nvPr/>
          </p:nvSpPr>
          <p:spPr>
            <a:xfrm rot="8716295">
              <a:off x="-11774" y="24443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" name="Forme libre : forme 104">
              <a:extLst>
                <a:ext uri="{FF2B5EF4-FFF2-40B4-BE49-F238E27FC236}">
                  <a16:creationId xmlns:a16="http://schemas.microsoft.com/office/drawing/2014/main" id="{EB79107E-889E-47A5-A1AB-E4F4B49C7BFA}"/>
                </a:ext>
              </a:extLst>
            </p:cNvPr>
            <p:cNvSpPr/>
            <p:nvPr/>
          </p:nvSpPr>
          <p:spPr>
            <a:xfrm rot="8716295">
              <a:off x="-30092" y="143486"/>
              <a:ext cx="77721" cy="97260"/>
            </a:xfrm>
            <a:custGeom>
              <a:avLst/>
              <a:gdLst>
                <a:gd name="connsiteX0" fmla="*/ 15821 w 77721"/>
                <a:gd name="connsiteY0" fmla="*/ 97260 h 97260"/>
                <a:gd name="connsiteX1" fmla="*/ 0 w 77721"/>
                <a:gd name="connsiteY1" fmla="*/ 59790 h 97260"/>
                <a:gd name="connsiteX2" fmla="*/ 0 w 77721"/>
                <a:gd name="connsiteY2" fmla="*/ 58869 h 97260"/>
                <a:gd name="connsiteX3" fmla="*/ 17477 w 77721"/>
                <a:gd name="connsiteY3" fmla="*/ 17477 h 97260"/>
                <a:gd name="connsiteX4" fmla="*/ 58869 w 77721"/>
                <a:gd name="connsiteY4" fmla="*/ 0 h 97260"/>
                <a:gd name="connsiteX5" fmla="*/ 77721 w 77721"/>
                <a:gd name="connsiteY5" fmla="*/ 7960 h 97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721" h="97260">
                  <a:moveTo>
                    <a:pt x="15821" y="97260"/>
                  </a:moveTo>
                  <a:lnTo>
                    <a:pt x="0" y="59790"/>
                  </a:ln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lnTo>
                    <a:pt x="77721" y="79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" name="Forme libre : forme 105">
              <a:extLst>
                <a:ext uri="{FF2B5EF4-FFF2-40B4-BE49-F238E27FC236}">
                  <a16:creationId xmlns:a16="http://schemas.microsoft.com/office/drawing/2014/main" id="{D8EC7674-F8C4-4C98-B223-FB48E7028D2B}"/>
                </a:ext>
              </a:extLst>
            </p:cNvPr>
            <p:cNvSpPr/>
            <p:nvPr/>
          </p:nvSpPr>
          <p:spPr>
            <a:xfrm rot="8716295">
              <a:off x="-17797" y="3452694"/>
              <a:ext cx="58455" cy="44199"/>
            </a:xfrm>
            <a:custGeom>
              <a:avLst/>
              <a:gdLst>
                <a:gd name="connsiteX0" fmla="*/ 0 w 58455"/>
                <a:gd name="connsiteY0" fmla="*/ 44199 h 44199"/>
                <a:gd name="connsiteX1" fmla="*/ 0 w 58455"/>
                <a:gd name="connsiteY1" fmla="*/ 0 h 44199"/>
                <a:gd name="connsiteX2" fmla="*/ 58455 w 58455"/>
                <a:gd name="connsiteY2" fmla="*/ 0 h 44199"/>
                <a:gd name="connsiteX3" fmla="*/ 27817 w 58455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55" h="44199">
                  <a:moveTo>
                    <a:pt x="0" y="44199"/>
                  </a:moveTo>
                  <a:lnTo>
                    <a:pt x="0" y="0"/>
                  </a:lnTo>
                  <a:lnTo>
                    <a:pt x="58455" y="0"/>
                  </a:lnTo>
                  <a:lnTo>
                    <a:pt x="27817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" name="Forme libre : forme 106">
              <a:extLst>
                <a:ext uri="{FF2B5EF4-FFF2-40B4-BE49-F238E27FC236}">
                  <a16:creationId xmlns:a16="http://schemas.microsoft.com/office/drawing/2014/main" id="{4367C4D5-414D-49AB-A590-D84D23E38E78}"/>
                </a:ext>
              </a:extLst>
            </p:cNvPr>
            <p:cNvSpPr/>
            <p:nvPr/>
          </p:nvSpPr>
          <p:spPr>
            <a:xfrm rot="13089394">
              <a:off x="-91485" y="3601812"/>
              <a:ext cx="206527" cy="292654"/>
            </a:xfrm>
            <a:custGeom>
              <a:avLst/>
              <a:gdLst>
                <a:gd name="connsiteX0" fmla="*/ 206527 w 206527"/>
                <a:gd name="connsiteY0" fmla="*/ 258693 h 292654"/>
                <a:gd name="connsiteX1" fmla="*/ 177331 w 206527"/>
                <a:gd name="connsiteY1" fmla="*/ 274971 h 292654"/>
                <a:gd name="connsiteX2" fmla="*/ 91597 w 206527"/>
                <a:gd name="connsiteY2" fmla="*/ 292491 h 292654"/>
                <a:gd name="connsiteX3" fmla="*/ 23727 w 206527"/>
                <a:gd name="connsiteY3" fmla="*/ 264901 h 292654"/>
                <a:gd name="connsiteX4" fmla="*/ 0 w 206527"/>
                <a:gd name="connsiteY4" fmla="*/ 169993 h 292654"/>
                <a:gd name="connsiteX5" fmla="*/ 0 w 206527"/>
                <a:gd name="connsiteY5" fmla="*/ 1698 h 292654"/>
                <a:gd name="connsiteX6" fmla="*/ 3273 w 206527"/>
                <a:gd name="connsiteY6" fmla="*/ 0 h 292654"/>
                <a:gd name="connsiteX7" fmla="*/ 74297 w 206527"/>
                <a:gd name="connsiteY7" fmla="*/ 90396 h 292654"/>
                <a:gd name="connsiteX8" fmla="*/ 74492 w 206527"/>
                <a:gd name="connsiteY8" fmla="*/ 117574 h 292654"/>
                <a:gd name="connsiteX9" fmla="*/ 87734 w 206527"/>
                <a:gd name="connsiteY9" fmla="*/ 209171 h 292654"/>
                <a:gd name="connsiteX10" fmla="*/ 153949 w 206527"/>
                <a:gd name="connsiteY10" fmla="*/ 245589 h 292654"/>
                <a:gd name="connsiteX11" fmla="*/ 191049 w 206527"/>
                <a:gd name="connsiteY11" fmla="*/ 238993 h 292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527" h="292654">
                  <a:moveTo>
                    <a:pt x="206527" y="258693"/>
                  </a:moveTo>
                  <a:lnTo>
                    <a:pt x="177331" y="274971"/>
                  </a:lnTo>
                  <a:cubicBezTo>
                    <a:pt x="145121" y="286007"/>
                    <a:pt x="114496" y="291111"/>
                    <a:pt x="91597" y="292491"/>
                  </a:cubicBezTo>
                  <a:cubicBezTo>
                    <a:pt x="66215" y="294146"/>
                    <a:pt x="41385" y="283111"/>
                    <a:pt x="23727" y="264901"/>
                  </a:cubicBezTo>
                  <a:cubicBezTo>
                    <a:pt x="4966" y="246692"/>
                    <a:pt x="0" y="215240"/>
                    <a:pt x="0" y="169993"/>
                  </a:cubicBezTo>
                  <a:lnTo>
                    <a:pt x="0" y="1698"/>
                  </a:lnTo>
                  <a:lnTo>
                    <a:pt x="3273" y="0"/>
                  </a:lnTo>
                  <a:lnTo>
                    <a:pt x="74297" y="90396"/>
                  </a:lnTo>
                  <a:lnTo>
                    <a:pt x="74492" y="117574"/>
                  </a:lnTo>
                  <a:cubicBezTo>
                    <a:pt x="72836" y="148474"/>
                    <a:pt x="77802" y="179926"/>
                    <a:pt x="87734" y="209171"/>
                  </a:cubicBezTo>
                  <a:cubicBezTo>
                    <a:pt x="96564" y="233450"/>
                    <a:pt x="119187" y="245589"/>
                    <a:pt x="153949" y="245589"/>
                  </a:cubicBezTo>
                  <a:lnTo>
                    <a:pt x="191049" y="2389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" name="Forme libre : forme 107">
              <a:extLst>
                <a:ext uri="{FF2B5EF4-FFF2-40B4-BE49-F238E27FC236}">
                  <a16:creationId xmlns:a16="http://schemas.microsoft.com/office/drawing/2014/main" id="{C0F2930B-1B76-4127-88A5-3C45B984D36E}"/>
                </a:ext>
              </a:extLst>
            </p:cNvPr>
            <p:cNvSpPr/>
            <p:nvPr/>
          </p:nvSpPr>
          <p:spPr>
            <a:xfrm rot="8716295">
              <a:off x="24761" y="33896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" name="Forme libre : forme 108">
              <a:extLst>
                <a:ext uri="{FF2B5EF4-FFF2-40B4-BE49-F238E27FC236}">
                  <a16:creationId xmlns:a16="http://schemas.microsoft.com/office/drawing/2014/main" id="{5D516E03-78DF-4FFF-8FB2-A397635DD48F}"/>
                </a:ext>
              </a:extLst>
            </p:cNvPr>
            <p:cNvSpPr/>
            <p:nvPr/>
          </p:nvSpPr>
          <p:spPr>
            <a:xfrm rot="8716295">
              <a:off x="-24047" y="3281741"/>
              <a:ext cx="106042" cy="113733"/>
            </a:xfrm>
            <a:custGeom>
              <a:avLst/>
              <a:gdLst>
                <a:gd name="connsiteX0" fmla="*/ 17477 w 106042"/>
                <a:gd name="connsiteY0" fmla="*/ 101182 h 113733"/>
                <a:gd name="connsiteX1" fmla="*/ 0 w 106042"/>
                <a:gd name="connsiteY1" fmla="*/ 59790 h 113733"/>
                <a:gd name="connsiteX2" fmla="*/ 0 w 106042"/>
                <a:gd name="connsiteY2" fmla="*/ 58869 h 113733"/>
                <a:gd name="connsiteX3" fmla="*/ 17477 w 106042"/>
                <a:gd name="connsiteY3" fmla="*/ 17477 h 113733"/>
                <a:gd name="connsiteX4" fmla="*/ 58869 w 106042"/>
                <a:gd name="connsiteY4" fmla="*/ 0 h 113733"/>
                <a:gd name="connsiteX5" fmla="*/ 100262 w 106042"/>
                <a:gd name="connsiteY5" fmla="*/ 17477 h 113733"/>
                <a:gd name="connsiteX6" fmla="*/ 106042 w 106042"/>
                <a:gd name="connsiteY6" fmla="*/ 31234 h 113733"/>
                <a:gd name="connsiteX7" fmla="*/ 48856 w 106042"/>
                <a:gd name="connsiteY7" fmla="*/ 113733 h 11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042" h="113733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cubicBezTo>
                    <a:pt x="74507" y="0"/>
                    <a:pt x="89224" y="6439"/>
                    <a:pt x="100262" y="17477"/>
                  </a:cubicBezTo>
                  <a:lnTo>
                    <a:pt x="106042" y="31234"/>
                  </a:lnTo>
                  <a:lnTo>
                    <a:pt x="48856" y="1137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" name="Forme libre : forme 109">
              <a:extLst>
                <a:ext uri="{FF2B5EF4-FFF2-40B4-BE49-F238E27FC236}">
                  <a16:creationId xmlns:a16="http://schemas.microsoft.com/office/drawing/2014/main" id="{4709179C-E348-4A89-8150-2CCBA6DE45C5}"/>
                </a:ext>
              </a:extLst>
            </p:cNvPr>
            <p:cNvSpPr/>
            <p:nvPr/>
          </p:nvSpPr>
          <p:spPr>
            <a:xfrm rot="8716295">
              <a:off x="-21924" y="3179872"/>
              <a:ext cx="45776" cy="62656"/>
            </a:xfrm>
            <a:custGeom>
              <a:avLst/>
              <a:gdLst>
                <a:gd name="connsiteX0" fmla="*/ 2345 w 45776"/>
                <a:gd name="connsiteY0" fmla="*/ 62656 h 62656"/>
                <a:gd name="connsiteX1" fmla="*/ 0 w 45776"/>
                <a:gd name="connsiteY1" fmla="*/ 57104 h 62656"/>
                <a:gd name="connsiteX2" fmla="*/ 0 w 45776"/>
                <a:gd name="connsiteY2" fmla="*/ 56183 h 62656"/>
                <a:gd name="connsiteX3" fmla="*/ 17477 w 45776"/>
                <a:gd name="connsiteY3" fmla="*/ 14791 h 62656"/>
                <a:gd name="connsiteX4" fmla="*/ 36449 w 45776"/>
                <a:gd name="connsiteY4" fmla="*/ 1913 h 62656"/>
                <a:gd name="connsiteX5" fmla="*/ 45776 w 45776"/>
                <a:gd name="connsiteY5" fmla="*/ 0 h 62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776" h="62656">
                  <a:moveTo>
                    <a:pt x="2345" y="62656"/>
                  </a:moveTo>
                  <a:lnTo>
                    <a:pt x="0" y="57104"/>
                  </a:lnTo>
                  <a:lnTo>
                    <a:pt x="0" y="56183"/>
                  </a:lnTo>
                  <a:cubicBezTo>
                    <a:pt x="0" y="40547"/>
                    <a:pt x="6439" y="25829"/>
                    <a:pt x="17477" y="14791"/>
                  </a:cubicBezTo>
                  <a:cubicBezTo>
                    <a:pt x="22996" y="9272"/>
                    <a:pt x="29435" y="4903"/>
                    <a:pt x="36449" y="1913"/>
                  </a:cubicBezTo>
                  <a:lnTo>
                    <a:pt x="4577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" name="Forme libre : forme 110">
              <a:extLst>
                <a:ext uri="{FF2B5EF4-FFF2-40B4-BE49-F238E27FC236}">
                  <a16:creationId xmlns:a16="http://schemas.microsoft.com/office/drawing/2014/main" id="{E216B864-0116-44B5-A0E9-8D6C9FB4451C}"/>
                </a:ext>
              </a:extLst>
            </p:cNvPr>
            <p:cNvSpPr/>
            <p:nvPr/>
          </p:nvSpPr>
          <p:spPr>
            <a:xfrm rot="8716295">
              <a:off x="-21324" y="4100649"/>
              <a:ext cx="79113" cy="50123"/>
            </a:xfrm>
            <a:custGeom>
              <a:avLst/>
              <a:gdLst>
                <a:gd name="connsiteX0" fmla="*/ 0 w 79113"/>
                <a:gd name="connsiteY0" fmla="*/ 50123 h 50123"/>
                <a:gd name="connsiteX1" fmla="*/ 0 w 79113"/>
                <a:gd name="connsiteY1" fmla="*/ 0 h 50123"/>
                <a:gd name="connsiteX2" fmla="*/ 79113 w 79113"/>
                <a:gd name="connsiteY2" fmla="*/ 0 h 50123"/>
                <a:gd name="connsiteX3" fmla="*/ 44369 w 79113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113" h="50123">
                  <a:moveTo>
                    <a:pt x="0" y="50123"/>
                  </a:moveTo>
                  <a:lnTo>
                    <a:pt x="0" y="0"/>
                  </a:lnTo>
                  <a:lnTo>
                    <a:pt x="79113" y="0"/>
                  </a:lnTo>
                  <a:lnTo>
                    <a:pt x="44369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" name="Forme libre : forme 111">
              <a:extLst>
                <a:ext uri="{FF2B5EF4-FFF2-40B4-BE49-F238E27FC236}">
                  <a16:creationId xmlns:a16="http://schemas.microsoft.com/office/drawing/2014/main" id="{E81DDFAA-1A06-4A18-8287-C68132D6876A}"/>
                </a:ext>
              </a:extLst>
            </p:cNvPr>
            <p:cNvSpPr/>
            <p:nvPr/>
          </p:nvSpPr>
          <p:spPr>
            <a:xfrm rot="8716295">
              <a:off x="-40457" y="398156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" name="Forme libre : forme 112">
              <a:extLst>
                <a:ext uri="{FF2B5EF4-FFF2-40B4-BE49-F238E27FC236}">
                  <a16:creationId xmlns:a16="http://schemas.microsoft.com/office/drawing/2014/main" id="{1D567C73-1317-457C-BAF4-E866C8E84479}"/>
                </a:ext>
              </a:extLst>
            </p:cNvPr>
            <p:cNvSpPr/>
            <p:nvPr/>
          </p:nvSpPr>
          <p:spPr>
            <a:xfrm rot="7484129">
              <a:off x="-46974" y="427316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" name="Forme libre : forme 113">
              <a:extLst>
                <a:ext uri="{FF2B5EF4-FFF2-40B4-BE49-F238E27FC236}">
                  <a16:creationId xmlns:a16="http://schemas.microsoft.com/office/drawing/2014/main" id="{4B07308E-D0A0-4D3E-9DEB-C235BB5B8299}"/>
                </a:ext>
              </a:extLst>
            </p:cNvPr>
            <p:cNvSpPr/>
            <p:nvPr/>
          </p:nvSpPr>
          <p:spPr>
            <a:xfrm rot="13089394">
              <a:off x="57846" y="423970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" name="Forme libre : forme 114">
              <a:extLst>
                <a:ext uri="{FF2B5EF4-FFF2-40B4-BE49-F238E27FC236}">
                  <a16:creationId xmlns:a16="http://schemas.microsoft.com/office/drawing/2014/main" id="{B3D02E0E-617A-4DDE-855C-BECF0834C305}"/>
                </a:ext>
              </a:extLst>
            </p:cNvPr>
            <p:cNvSpPr/>
            <p:nvPr/>
          </p:nvSpPr>
          <p:spPr>
            <a:xfrm rot="8716295">
              <a:off x="243431" y="404801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" name="Forme libre : forme 115">
              <a:extLst>
                <a:ext uri="{FF2B5EF4-FFF2-40B4-BE49-F238E27FC236}">
                  <a16:creationId xmlns:a16="http://schemas.microsoft.com/office/drawing/2014/main" id="{FCFFBDC4-0942-4E6E-9EF4-22477617D5C9}"/>
                </a:ext>
              </a:extLst>
            </p:cNvPr>
            <p:cNvSpPr/>
            <p:nvPr/>
          </p:nvSpPr>
          <p:spPr>
            <a:xfrm rot="8716295">
              <a:off x="191626" y="39444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" name="Forme libre : forme 116">
              <a:extLst>
                <a:ext uri="{FF2B5EF4-FFF2-40B4-BE49-F238E27FC236}">
                  <a16:creationId xmlns:a16="http://schemas.microsoft.com/office/drawing/2014/main" id="{6779D405-E211-4D4D-B286-FEED219E73DF}"/>
                </a:ext>
              </a:extLst>
            </p:cNvPr>
            <p:cNvSpPr/>
            <p:nvPr/>
          </p:nvSpPr>
          <p:spPr>
            <a:xfrm rot="8716295">
              <a:off x="125832" y="381540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" name="Forme libre : forme 117">
              <a:extLst>
                <a:ext uri="{FF2B5EF4-FFF2-40B4-BE49-F238E27FC236}">
                  <a16:creationId xmlns:a16="http://schemas.microsoft.com/office/drawing/2014/main" id="{1B98413D-C7CC-484D-AF71-C6706295A09F}"/>
                </a:ext>
              </a:extLst>
            </p:cNvPr>
            <p:cNvSpPr/>
            <p:nvPr/>
          </p:nvSpPr>
          <p:spPr>
            <a:xfrm rot="8716295">
              <a:off x="-73048" y="4876828"/>
              <a:ext cx="221382" cy="253349"/>
            </a:xfrm>
            <a:custGeom>
              <a:avLst/>
              <a:gdLst>
                <a:gd name="connsiteX0" fmla="*/ 51490 w 221382"/>
                <a:gd name="connsiteY0" fmla="*/ 253349 h 253349"/>
                <a:gd name="connsiteX1" fmla="*/ 51490 w 221382"/>
                <a:gd name="connsiteY1" fmla="*/ 44199 h 253349"/>
                <a:gd name="connsiteX2" fmla="*/ 0 w 221382"/>
                <a:gd name="connsiteY2" fmla="*/ 44199 h 253349"/>
                <a:gd name="connsiteX3" fmla="*/ 0 w 221382"/>
                <a:gd name="connsiteY3" fmla="*/ 0 h 253349"/>
                <a:gd name="connsiteX4" fmla="*/ 104803 w 221382"/>
                <a:gd name="connsiteY4" fmla="*/ 0 h 253349"/>
                <a:gd name="connsiteX5" fmla="*/ 104802 w 221382"/>
                <a:gd name="connsiteY5" fmla="*/ 73817 h 253349"/>
                <a:gd name="connsiteX6" fmla="*/ 106169 w 221382"/>
                <a:gd name="connsiteY6" fmla="*/ 73817 h 253349"/>
                <a:gd name="connsiteX7" fmla="*/ 154014 w 221382"/>
                <a:gd name="connsiteY7" fmla="*/ 4556 h 253349"/>
                <a:gd name="connsiteX8" fmla="*/ 174650 w 221382"/>
                <a:gd name="connsiteY8" fmla="*/ 668 h 253349"/>
                <a:gd name="connsiteX9" fmla="*/ 214075 w 221382"/>
                <a:gd name="connsiteY9" fmla="*/ 27996 h 253349"/>
                <a:gd name="connsiteX10" fmla="*/ 221382 w 221382"/>
                <a:gd name="connsiteY10" fmla="*/ 33060 h 253349"/>
                <a:gd name="connsiteX11" fmla="*/ 195540 w 221382"/>
                <a:gd name="connsiteY11" fmla="*/ 70341 h 253349"/>
                <a:gd name="connsiteX12" fmla="*/ 189157 w 221382"/>
                <a:gd name="connsiteY12" fmla="*/ 50236 h 253349"/>
                <a:gd name="connsiteX13" fmla="*/ 164950 w 221382"/>
                <a:gd name="connsiteY13" fmla="*/ 38731 h 253349"/>
                <a:gd name="connsiteX14" fmla="*/ 111638 w 221382"/>
                <a:gd name="connsiteY14" fmla="*/ 126218 h 253349"/>
                <a:gd name="connsiteX15" fmla="*/ 111638 w 221382"/>
                <a:gd name="connsiteY15" fmla="*/ 191383 h 253349"/>
                <a:gd name="connsiteX16" fmla="*/ 84096 w 221382"/>
                <a:gd name="connsiteY16" fmla="*/ 231117 h 253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1382" h="253349">
                  <a:moveTo>
                    <a:pt x="51490" y="253349"/>
                  </a:moveTo>
                  <a:lnTo>
                    <a:pt x="51490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104803" y="0"/>
                  </a:lnTo>
                  <a:lnTo>
                    <a:pt x="104802" y="73817"/>
                  </a:lnTo>
                  <a:lnTo>
                    <a:pt x="106169" y="73817"/>
                  </a:lnTo>
                  <a:cubicBezTo>
                    <a:pt x="120751" y="30529"/>
                    <a:pt x="132142" y="13670"/>
                    <a:pt x="154014" y="4556"/>
                  </a:cubicBezTo>
                  <a:lnTo>
                    <a:pt x="174650" y="668"/>
                  </a:lnTo>
                  <a:lnTo>
                    <a:pt x="214075" y="27996"/>
                  </a:lnTo>
                  <a:lnTo>
                    <a:pt x="221382" y="33060"/>
                  </a:lnTo>
                  <a:lnTo>
                    <a:pt x="195540" y="70341"/>
                  </a:lnTo>
                  <a:lnTo>
                    <a:pt x="189157" y="50236"/>
                  </a:lnTo>
                  <a:cubicBezTo>
                    <a:pt x="183177" y="42946"/>
                    <a:pt x="174747" y="38731"/>
                    <a:pt x="164950" y="38731"/>
                  </a:cubicBezTo>
                  <a:cubicBezTo>
                    <a:pt x="135788" y="38731"/>
                    <a:pt x="111638" y="77463"/>
                    <a:pt x="111638" y="126218"/>
                  </a:cubicBezTo>
                  <a:lnTo>
                    <a:pt x="111638" y="191383"/>
                  </a:lnTo>
                  <a:lnTo>
                    <a:pt x="84096" y="2311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" name="Forme libre : forme 118">
              <a:extLst>
                <a:ext uri="{FF2B5EF4-FFF2-40B4-BE49-F238E27FC236}">
                  <a16:creationId xmlns:a16="http://schemas.microsoft.com/office/drawing/2014/main" id="{6176F84A-9766-45D5-91E9-4847B60A5CD4}"/>
                </a:ext>
              </a:extLst>
            </p:cNvPr>
            <p:cNvSpPr/>
            <p:nvPr/>
          </p:nvSpPr>
          <p:spPr>
            <a:xfrm rot="8716295">
              <a:off x="93318" y="46120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" name="Forme libre : forme 119">
              <a:extLst>
                <a:ext uri="{FF2B5EF4-FFF2-40B4-BE49-F238E27FC236}">
                  <a16:creationId xmlns:a16="http://schemas.microsoft.com/office/drawing/2014/main" id="{3DA54937-5DEF-4122-B904-83A03268CA89}"/>
                </a:ext>
              </a:extLst>
            </p:cNvPr>
            <p:cNvSpPr/>
            <p:nvPr/>
          </p:nvSpPr>
          <p:spPr>
            <a:xfrm rot="8716295">
              <a:off x="182710" y="46412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" name="Forme libre : forme 120">
              <a:extLst>
                <a:ext uri="{FF2B5EF4-FFF2-40B4-BE49-F238E27FC236}">
                  <a16:creationId xmlns:a16="http://schemas.microsoft.com/office/drawing/2014/main" id="{24CD3C2A-51CB-4CA4-A2B4-FE03D227C422}"/>
                </a:ext>
              </a:extLst>
            </p:cNvPr>
            <p:cNvSpPr/>
            <p:nvPr/>
          </p:nvSpPr>
          <p:spPr>
            <a:xfrm rot="8716295">
              <a:off x="-14524" y="4699631"/>
              <a:ext cx="49997" cy="54238"/>
            </a:xfrm>
            <a:custGeom>
              <a:avLst/>
              <a:gdLst>
                <a:gd name="connsiteX0" fmla="*/ 8658 w 49997"/>
                <a:gd name="connsiteY0" fmla="*/ 50123 h 54238"/>
                <a:gd name="connsiteX1" fmla="*/ 0 w 49997"/>
                <a:gd name="connsiteY1" fmla="*/ 29619 h 54238"/>
                <a:gd name="connsiteX2" fmla="*/ 0 w 49997"/>
                <a:gd name="connsiteY2" fmla="*/ 29162 h 54238"/>
                <a:gd name="connsiteX3" fmla="*/ 8658 w 49997"/>
                <a:gd name="connsiteY3" fmla="*/ 8658 h 54238"/>
                <a:gd name="connsiteX4" fmla="*/ 29163 w 49997"/>
                <a:gd name="connsiteY4" fmla="*/ 0 h 54238"/>
                <a:gd name="connsiteX5" fmla="*/ 49668 w 49997"/>
                <a:gd name="connsiteY5" fmla="*/ 8658 h 54238"/>
                <a:gd name="connsiteX6" fmla="*/ 49997 w 49997"/>
                <a:gd name="connsiteY6" fmla="*/ 9441 h 54238"/>
                <a:gd name="connsiteX7" fmla="*/ 18945 w 49997"/>
                <a:gd name="connsiteY7" fmla="*/ 54238 h 54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997" h="54238">
                  <a:moveTo>
                    <a:pt x="8658" y="50123"/>
                  </a:moveTo>
                  <a:cubicBezTo>
                    <a:pt x="3190" y="44655"/>
                    <a:pt x="0" y="37365"/>
                    <a:pt x="0" y="29619"/>
                  </a:cubicBezTo>
                  <a:lnTo>
                    <a:pt x="0" y="29162"/>
                  </a:lnTo>
                  <a:cubicBezTo>
                    <a:pt x="0" y="21417"/>
                    <a:pt x="3190" y="14126"/>
                    <a:pt x="8658" y="8658"/>
                  </a:cubicBezTo>
                  <a:cubicBezTo>
                    <a:pt x="14126" y="3190"/>
                    <a:pt x="21416" y="0"/>
                    <a:pt x="29163" y="0"/>
                  </a:cubicBezTo>
                  <a:cubicBezTo>
                    <a:pt x="36909" y="0"/>
                    <a:pt x="44200" y="3190"/>
                    <a:pt x="49668" y="8658"/>
                  </a:cubicBezTo>
                  <a:lnTo>
                    <a:pt x="49997" y="9441"/>
                  </a:lnTo>
                  <a:lnTo>
                    <a:pt x="18945" y="54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" name="Forme libre : forme 121">
              <a:extLst>
                <a:ext uri="{FF2B5EF4-FFF2-40B4-BE49-F238E27FC236}">
                  <a16:creationId xmlns:a16="http://schemas.microsoft.com/office/drawing/2014/main" id="{7A46CCF0-E67A-4E1E-9549-23C0DBDB68E2}"/>
                </a:ext>
              </a:extLst>
            </p:cNvPr>
            <p:cNvSpPr/>
            <p:nvPr/>
          </p:nvSpPr>
          <p:spPr>
            <a:xfrm rot="8716295">
              <a:off x="-30327" y="4579755"/>
              <a:ext cx="113346" cy="71024"/>
            </a:xfrm>
            <a:custGeom>
              <a:avLst/>
              <a:gdLst>
                <a:gd name="connsiteX0" fmla="*/ 0 w 113346"/>
                <a:gd name="connsiteY0" fmla="*/ 55323 h 71024"/>
                <a:gd name="connsiteX1" fmla="*/ 0 w 113346"/>
                <a:gd name="connsiteY1" fmla="*/ 0 h 71024"/>
                <a:gd name="connsiteX2" fmla="*/ 113346 w 113346"/>
                <a:gd name="connsiteY2" fmla="*/ 0 h 71024"/>
                <a:gd name="connsiteX3" fmla="*/ 64114 w 113346"/>
                <a:gd name="connsiteY3" fmla="*/ 71024 h 71024"/>
                <a:gd name="connsiteX4" fmla="*/ 69777 w 113346"/>
                <a:gd name="connsiteY4" fmla="*/ 55323 h 7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346" h="71024">
                  <a:moveTo>
                    <a:pt x="0" y="55323"/>
                  </a:moveTo>
                  <a:lnTo>
                    <a:pt x="0" y="0"/>
                  </a:lnTo>
                  <a:lnTo>
                    <a:pt x="113346" y="0"/>
                  </a:lnTo>
                  <a:lnTo>
                    <a:pt x="64114" y="71024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" name="Forme libre : forme 122">
              <a:extLst>
                <a:ext uri="{FF2B5EF4-FFF2-40B4-BE49-F238E27FC236}">
                  <a16:creationId xmlns:a16="http://schemas.microsoft.com/office/drawing/2014/main" id="{01D04BC1-282A-4CFE-BF99-5B57F855BCBC}"/>
                </a:ext>
              </a:extLst>
            </p:cNvPr>
            <p:cNvSpPr/>
            <p:nvPr/>
          </p:nvSpPr>
          <p:spPr>
            <a:xfrm rot="8716295">
              <a:off x="71262" y="47415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" name="Forme libre : forme 123">
              <a:extLst>
                <a:ext uri="{FF2B5EF4-FFF2-40B4-BE49-F238E27FC236}">
                  <a16:creationId xmlns:a16="http://schemas.microsoft.com/office/drawing/2014/main" id="{A04953EA-5C79-45C4-9757-065EFCA47539}"/>
                </a:ext>
              </a:extLst>
            </p:cNvPr>
            <p:cNvSpPr/>
            <p:nvPr/>
          </p:nvSpPr>
          <p:spPr>
            <a:xfrm rot="7484129">
              <a:off x="172059" y="493353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170341 w 203847"/>
                <a:gd name="connsiteY5" fmla="*/ 0 h 195874"/>
                <a:gd name="connsiteX6" fmla="*/ 203847 w 203847"/>
                <a:gd name="connsiteY6" fmla="*/ 48325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170341" y="0"/>
                  </a:lnTo>
                  <a:lnTo>
                    <a:pt x="203847" y="48325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" name="Forme libre : forme 124">
              <a:extLst>
                <a:ext uri="{FF2B5EF4-FFF2-40B4-BE49-F238E27FC236}">
                  <a16:creationId xmlns:a16="http://schemas.microsoft.com/office/drawing/2014/main" id="{49CB50EA-8DFB-4219-A82A-979E56D219DC}"/>
                </a:ext>
              </a:extLst>
            </p:cNvPr>
            <p:cNvSpPr/>
            <p:nvPr/>
          </p:nvSpPr>
          <p:spPr>
            <a:xfrm rot="13089394">
              <a:off x="313551" y="4906246"/>
              <a:ext cx="221827" cy="205098"/>
            </a:xfrm>
            <a:custGeom>
              <a:avLst/>
              <a:gdLst>
                <a:gd name="connsiteX0" fmla="*/ 24153 w 221827"/>
                <a:gd name="connsiteY0" fmla="*/ 55168 h 205098"/>
                <a:gd name="connsiteX1" fmla="*/ 0 w 221827"/>
                <a:gd name="connsiteY1" fmla="*/ 18385 h 205098"/>
                <a:gd name="connsiteX2" fmla="*/ 23400 w 221827"/>
                <a:gd name="connsiteY2" fmla="*/ 0 h 205098"/>
                <a:gd name="connsiteX3" fmla="*/ 23735 w 221827"/>
                <a:gd name="connsiteY3" fmla="*/ 46640 h 205098"/>
                <a:gd name="connsiteX4" fmla="*/ 221827 w 221827"/>
                <a:gd name="connsiteY4" fmla="*/ 150928 h 205098"/>
                <a:gd name="connsiteX5" fmla="*/ 126574 w 221827"/>
                <a:gd name="connsiteY5" fmla="*/ 204038 h 205098"/>
                <a:gd name="connsiteX6" fmla="*/ 122603 w 221827"/>
                <a:gd name="connsiteY6" fmla="*/ 205098 h 205098"/>
                <a:gd name="connsiteX7" fmla="*/ 102519 w 221827"/>
                <a:gd name="connsiteY7" fmla="*/ 174512 h 205098"/>
                <a:gd name="connsiteX8" fmla="*/ 103192 w 221827"/>
                <a:gd name="connsiteY8" fmla="*/ 174655 h 205098"/>
                <a:gd name="connsiteX9" fmla="*/ 152853 w 221827"/>
                <a:gd name="connsiteY9" fmla="*/ 165826 h 205098"/>
                <a:gd name="connsiteX10" fmla="*/ 220723 w 221827"/>
                <a:gd name="connsiteY10" fmla="*/ 138237 h 205098"/>
                <a:gd name="connsiteX11" fmla="*/ 221827 w 221827"/>
                <a:gd name="connsiteY11" fmla="*/ 145410 h 205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1827" h="205098">
                  <a:moveTo>
                    <a:pt x="24153" y="55168"/>
                  </a:moveTo>
                  <a:lnTo>
                    <a:pt x="0" y="18385"/>
                  </a:lnTo>
                  <a:lnTo>
                    <a:pt x="23400" y="0"/>
                  </a:lnTo>
                  <a:lnTo>
                    <a:pt x="23735" y="46640"/>
                  </a:lnTo>
                  <a:close/>
                  <a:moveTo>
                    <a:pt x="221827" y="150928"/>
                  </a:moveTo>
                  <a:cubicBezTo>
                    <a:pt x="192582" y="176035"/>
                    <a:pt x="158785" y="193002"/>
                    <a:pt x="126574" y="204038"/>
                  </a:cubicBezTo>
                  <a:lnTo>
                    <a:pt x="122603" y="205098"/>
                  </a:lnTo>
                  <a:lnTo>
                    <a:pt x="102519" y="174512"/>
                  </a:lnTo>
                  <a:lnTo>
                    <a:pt x="103192" y="174655"/>
                  </a:lnTo>
                  <a:cubicBezTo>
                    <a:pt x="120298" y="174103"/>
                    <a:pt x="136851" y="170792"/>
                    <a:pt x="152853" y="165826"/>
                  </a:cubicBezTo>
                  <a:cubicBezTo>
                    <a:pt x="176028" y="158653"/>
                    <a:pt x="198652" y="149273"/>
                    <a:pt x="220723" y="138237"/>
                  </a:cubicBezTo>
                  <a:cubicBezTo>
                    <a:pt x="221275" y="140444"/>
                    <a:pt x="221827" y="143203"/>
                    <a:pt x="221827" y="1454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" name="Forme libre : forme 125">
              <a:extLst>
                <a:ext uri="{FF2B5EF4-FFF2-40B4-BE49-F238E27FC236}">
                  <a16:creationId xmlns:a16="http://schemas.microsoft.com/office/drawing/2014/main" id="{5146513B-5632-4832-9AF5-1E4051EECD28}"/>
                </a:ext>
              </a:extLst>
            </p:cNvPr>
            <p:cNvSpPr/>
            <p:nvPr/>
          </p:nvSpPr>
          <p:spPr>
            <a:xfrm rot="8716295">
              <a:off x="406370" y="4600606"/>
              <a:ext cx="113655" cy="117117"/>
            </a:xfrm>
            <a:custGeom>
              <a:avLst/>
              <a:gdLst>
                <a:gd name="connsiteX0" fmla="*/ 13623 w 113655"/>
                <a:gd name="connsiteY0" fmla="*/ 100559 h 117117"/>
                <a:gd name="connsiteX1" fmla="*/ 0 w 113655"/>
                <a:gd name="connsiteY1" fmla="*/ 68296 h 117117"/>
                <a:gd name="connsiteX2" fmla="*/ 56488 w 113655"/>
                <a:gd name="connsiteY2" fmla="*/ 0 h 117117"/>
                <a:gd name="connsiteX3" fmla="*/ 96408 w 113655"/>
                <a:gd name="connsiteY3" fmla="*/ 16856 h 117117"/>
                <a:gd name="connsiteX4" fmla="*/ 96408 w 113655"/>
                <a:gd name="connsiteY4" fmla="*/ 99640 h 117117"/>
                <a:gd name="connsiteX5" fmla="*/ 55015 w 113655"/>
                <a:gd name="connsiteY5" fmla="*/ 117117 h 117117"/>
                <a:gd name="connsiteX6" fmla="*/ 13623 w 113655"/>
                <a:gd name="connsiteY6" fmla="*/ 100559 h 117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655" h="117117">
                  <a:moveTo>
                    <a:pt x="13623" y="100559"/>
                  </a:moveTo>
                  <a:lnTo>
                    <a:pt x="0" y="68296"/>
                  </a:lnTo>
                  <a:lnTo>
                    <a:pt x="56488" y="0"/>
                  </a:lnTo>
                  <a:lnTo>
                    <a:pt x="96408" y="16856"/>
                  </a:lnTo>
                  <a:cubicBezTo>
                    <a:pt x="119404" y="38931"/>
                    <a:pt x="119404" y="76644"/>
                    <a:pt x="96408" y="99640"/>
                  </a:cubicBezTo>
                  <a:cubicBezTo>
                    <a:pt x="85370" y="110678"/>
                    <a:pt x="70653" y="117116"/>
                    <a:pt x="55015" y="117117"/>
                  </a:cubicBezTo>
                  <a:cubicBezTo>
                    <a:pt x="39378" y="117117"/>
                    <a:pt x="24661" y="111597"/>
                    <a:pt x="13623" y="10055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" name="Forme libre : forme 126">
              <a:extLst>
                <a:ext uri="{FF2B5EF4-FFF2-40B4-BE49-F238E27FC236}">
                  <a16:creationId xmlns:a16="http://schemas.microsoft.com/office/drawing/2014/main" id="{FE3150CC-51A0-4255-BE10-7C4DD2D82ED1}"/>
                </a:ext>
              </a:extLst>
            </p:cNvPr>
            <p:cNvSpPr/>
            <p:nvPr/>
          </p:nvSpPr>
          <p:spPr>
            <a:xfrm rot="8716295">
              <a:off x="171547" y="46343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" name="Forme libre : forme 127">
              <a:extLst>
                <a:ext uri="{FF2B5EF4-FFF2-40B4-BE49-F238E27FC236}">
                  <a16:creationId xmlns:a16="http://schemas.microsoft.com/office/drawing/2014/main" id="{3071C62B-77D8-4A0E-86A6-83549F6B4AD6}"/>
                </a:ext>
              </a:extLst>
            </p:cNvPr>
            <p:cNvSpPr/>
            <p:nvPr/>
          </p:nvSpPr>
          <p:spPr>
            <a:xfrm rot="8716295">
              <a:off x="348999" y="44751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131" name="Rectangle 130">
            <a:extLst>
              <a:ext uri="{FF2B5EF4-FFF2-40B4-BE49-F238E27FC236}">
                <a16:creationId xmlns:a16="http://schemas.microsoft.com/office/drawing/2014/main" id="{37E36065-AEDE-402C-AFB2-AFD8D421B3D5}"/>
              </a:ext>
            </a:extLst>
          </p:cNvPr>
          <p:cNvSpPr/>
          <p:nvPr/>
        </p:nvSpPr>
        <p:spPr>
          <a:xfrm>
            <a:off x="1675026" y="1246048"/>
            <a:ext cx="360000" cy="45719"/>
          </a:xfrm>
          <a:prstGeom prst="rect">
            <a:avLst/>
          </a:prstGeom>
          <a:solidFill>
            <a:srgbClr val="3A1B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41" name="Espace réservé du texte 533">
            <a:extLst>
              <a:ext uri="{FF2B5EF4-FFF2-40B4-BE49-F238E27FC236}">
                <a16:creationId xmlns:a16="http://schemas.microsoft.com/office/drawing/2014/main" id="{9CC94730-7BAA-423F-882E-35EC64D162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97959" y="1685677"/>
            <a:ext cx="7316491" cy="295060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300"/>
              </a:spcBef>
              <a:spcAft>
                <a:spcPts val="1000"/>
              </a:spcAft>
              <a:buNone/>
              <a:defRPr sz="1100">
                <a:solidFill>
                  <a:schemeClr val="tx1"/>
                </a:solidFill>
              </a:defRPr>
            </a:lvl2pPr>
            <a:lvl3pPr marL="270000" indent="-270000" algn="l" defTabSz="457200" rtl="0" eaLnBrk="1" latinLnBrk="0" hangingPunct="1">
              <a:spcBef>
                <a:spcPts val="400"/>
              </a:spcBef>
              <a:spcAft>
                <a:spcPts val="1000"/>
              </a:spcAft>
              <a:buSzPct val="100000"/>
              <a:buFontTx/>
              <a:buBlip>
                <a:blip r:embed="rId2"/>
              </a:buBlip>
              <a:defRPr lang="fr-FR" sz="1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0000" indent="-269875">
              <a:spcBef>
                <a:spcPts val="400"/>
              </a:spcBef>
              <a:spcAft>
                <a:spcPts val="1000"/>
              </a:spcAft>
              <a:buFontTx/>
              <a:buBlip>
                <a:blip r:embed="rId3"/>
              </a:buBlip>
              <a:defRPr sz="1000" b="1">
                <a:solidFill>
                  <a:schemeClr val="tx1"/>
                </a:solidFill>
              </a:defRPr>
            </a:lvl4pPr>
            <a:lvl5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4"/>
              </a:buBlip>
              <a:defRPr sz="1000" b="1">
                <a:solidFill>
                  <a:schemeClr val="tx1"/>
                </a:solidFill>
              </a:defRPr>
            </a:lvl5pPr>
            <a:lvl6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5"/>
              </a:buBlip>
              <a:defRPr sz="1000" b="1">
                <a:solidFill>
                  <a:schemeClr val="tx1"/>
                </a:solidFill>
              </a:defRPr>
            </a:lvl6pPr>
            <a:lvl7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6"/>
              </a:buBlip>
              <a:defRPr sz="1000" b="1">
                <a:solidFill>
                  <a:schemeClr val="tx1"/>
                </a:solidFill>
              </a:defRPr>
            </a:lvl7pPr>
            <a:lvl8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7"/>
              </a:buBlip>
              <a:defRPr sz="1000" b="1">
                <a:solidFill>
                  <a:schemeClr val="tx1"/>
                </a:solidFill>
              </a:defRPr>
            </a:lvl8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Puce bleu</a:t>
            </a:r>
          </a:p>
          <a:p>
            <a:pPr lvl="3"/>
            <a:r>
              <a:rPr lang="fr-FR" dirty="0"/>
              <a:t>Puce orange</a:t>
            </a:r>
          </a:p>
          <a:p>
            <a:pPr lvl="4"/>
            <a:r>
              <a:rPr lang="fr-FR" dirty="0"/>
              <a:t>Puce rouge</a:t>
            </a:r>
          </a:p>
          <a:p>
            <a:pPr lvl="5"/>
            <a:r>
              <a:rPr lang="fr-FR" dirty="0"/>
              <a:t>Puce vert d’eau</a:t>
            </a:r>
          </a:p>
          <a:p>
            <a:pPr lvl="6"/>
            <a:r>
              <a:rPr lang="fr-FR" dirty="0"/>
              <a:t>Puce verte</a:t>
            </a:r>
          </a:p>
          <a:p>
            <a:pPr lvl="7"/>
            <a:r>
              <a:rPr lang="fr-FR" dirty="0"/>
              <a:t>Puce violette</a:t>
            </a:r>
          </a:p>
        </p:txBody>
      </p:sp>
      <p:sp>
        <p:nvSpPr>
          <p:cNvPr id="129" name="Espace réservé du numéro de diapositive 128">
            <a:extLst>
              <a:ext uri="{FF2B5EF4-FFF2-40B4-BE49-F238E27FC236}">
                <a16:creationId xmlns:a16="http://schemas.microsoft.com/office/drawing/2014/main" id="{9351D048-E652-4E14-9A68-6779614909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9681" y="3148262"/>
            <a:ext cx="444626" cy="1995238"/>
          </a:xfrm>
          <a:custGeom>
            <a:avLst/>
            <a:gdLst>
              <a:gd name="connsiteX0" fmla="*/ 169868 w 444626"/>
              <a:gd name="connsiteY0" fmla="*/ 0 h 1995238"/>
              <a:gd name="connsiteX1" fmla="*/ 444626 w 444626"/>
              <a:gd name="connsiteY1" fmla="*/ 1995238 h 1995238"/>
              <a:gd name="connsiteX2" fmla="*/ 0 w 444626"/>
              <a:gd name="connsiteY2" fmla="*/ 1995238 h 1995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4626" h="1995238">
                <a:moveTo>
                  <a:pt x="169868" y="0"/>
                </a:moveTo>
                <a:lnTo>
                  <a:pt x="444626" y="1995238"/>
                </a:lnTo>
                <a:lnTo>
                  <a:pt x="0" y="199523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180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49211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itr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>
            <a:extLst>
              <a:ext uri="{FF2B5EF4-FFF2-40B4-BE49-F238E27FC236}">
                <a16:creationId xmlns:a16="http://schemas.microsoft.com/office/drawing/2014/main" id="{6A348ADD-AB0E-41AD-9203-40019D501D09}"/>
              </a:ext>
            </a:extLst>
          </p:cNvPr>
          <p:cNvGrpSpPr/>
          <p:nvPr userDrawn="1"/>
        </p:nvGrpSpPr>
        <p:grpSpPr>
          <a:xfrm>
            <a:off x="-134707" y="-108618"/>
            <a:ext cx="6284502" cy="5381969"/>
            <a:chOff x="-134707" y="-108618"/>
            <a:chExt cx="6284502" cy="5381969"/>
          </a:xfrm>
          <a:solidFill>
            <a:schemeClr val="bg2">
              <a:alpha val="10000"/>
            </a:schemeClr>
          </a:solidFill>
        </p:grpSpPr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4588E603-EA6D-4A8D-ABC7-9DE29315EF7F}"/>
                </a:ext>
              </a:extLst>
            </p:cNvPr>
            <p:cNvSpPr/>
            <p:nvPr/>
          </p:nvSpPr>
          <p:spPr>
            <a:xfrm rot="8716295">
              <a:off x="1460344" y="348006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8D98135C-BBC2-4D16-96A0-7D0791CBF234}"/>
                </a:ext>
              </a:extLst>
            </p:cNvPr>
            <p:cNvSpPr/>
            <p:nvPr/>
          </p:nvSpPr>
          <p:spPr>
            <a:xfrm rot="8716295">
              <a:off x="1595642" y="352432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99CC6255-5792-4F9C-BE71-CF421386A627}"/>
                </a:ext>
              </a:extLst>
            </p:cNvPr>
            <p:cNvSpPr/>
            <p:nvPr/>
          </p:nvSpPr>
          <p:spPr>
            <a:xfrm rot="8716295">
              <a:off x="1527760" y="339373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4D44D8C2-4775-4ED6-AF57-EBCE00D0B723}"/>
                </a:ext>
              </a:extLst>
            </p:cNvPr>
            <p:cNvSpPr/>
            <p:nvPr/>
          </p:nvSpPr>
          <p:spPr>
            <a:xfrm rot="8716295">
              <a:off x="1290473" y="361408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EC13E85B-F308-4A84-A6BC-C18C71386F58}"/>
                </a:ext>
              </a:extLst>
            </p:cNvPr>
            <p:cNvSpPr/>
            <p:nvPr/>
          </p:nvSpPr>
          <p:spPr>
            <a:xfrm rot="8716295">
              <a:off x="1101427" y="329824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6E015BB2-4D35-4CF4-A5C2-59649EEBFF40}"/>
                </a:ext>
              </a:extLst>
            </p:cNvPr>
            <p:cNvSpPr/>
            <p:nvPr/>
          </p:nvSpPr>
          <p:spPr>
            <a:xfrm rot="8716295">
              <a:off x="1083185" y="3088198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9BFD4E55-95DB-4948-9F11-510807EC9D8A}"/>
                </a:ext>
              </a:extLst>
            </p:cNvPr>
            <p:cNvSpPr/>
            <p:nvPr/>
          </p:nvSpPr>
          <p:spPr>
            <a:xfrm rot="8716295">
              <a:off x="1426961" y="367606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4A110395-765E-4DD5-AC3E-A28545974AAB}"/>
                </a:ext>
              </a:extLst>
            </p:cNvPr>
            <p:cNvSpPr/>
            <p:nvPr/>
          </p:nvSpPr>
          <p:spPr>
            <a:xfrm rot="8716295">
              <a:off x="1897908" y="310145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752DD23B-ED4C-4692-9CB0-792B6E8C38E8}"/>
                </a:ext>
              </a:extLst>
            </p:cNvPr>
            <p:cNvSpPr/>
            <p:nvPr/>
          </p:nvSpPr>
          <p:spPr>
            <a:xfrm rot="8716295">
              <a:off x="2033206" y="314571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407B9478-6D17-4EBC-AE18-7FD28A2FC874}"/>
                </a:ext>
              </a:extLst>
            </p:cNvPr>
            <p:cNvSpPr/>
            <p:nvPr/>
          </p:nvSpPr>
          <p:spPr>
            <a:xfrm rot="8716295">
              <a:off x="1728037" y="323546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DDF2324E-ABD3-44DC-8D06-AD3B881C1A39}"/>
                </a:ext>
              </a:extLst>
            </p:cNvPr>
            <p:cNvSpPr/>
            <p:nvPr/>
          </p:nvSpPr>
          <p:spPr>
            <a:xfrm rot="8716295">
              <a:off x="1538992" y="291963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EF0C42E5-DDE5-4434-B96B-A910A8DADC60}"/>
                </a:ext>
              </a:extLst>
            </p:cNvPr>
            <p:cNvSpPr/>
            <p:nvPr/>
          </p:nvSpPr>
          <p:spPr>
            <a:xfrm rot="8716295">
              <a:off x="1864525" y="329745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1AF80BC5-2FE2-47AB-8E9C-E26EB916D016}"/>
                </a:ext>
              </a:extLst>
            </p:cNvPr>
            <p:cNvSpPr/>
            <p:nvPr/>
          </p:nvSpPr>
          <p:spPr>
            <a:xfrm rot="8716295">
              <a:off x="1499078" y="307102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B1E25E5F-E250-4318-97CF-E3EF2CD18D72}"/>
                </a:ext>
              </a:extLst>
            </p:cNvPr>
            <p:cNvSpPr/>
            <p:nvPr/>
          </p:nvSpPr>
          <p:spPr>
            <a:xfrm rot="7484129">
              <a:off x="2023343" y="358706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3240DB54-B585-4364-A4CC-E94E9F63B7D1}"/>
                </a:ext>
              </a:extLst>
            </p:cNvPr>
            <p:cNvSpPr/>
            <p:nvPr/>
          </p:nvSpPr>
          <p:spPr>
            <a:xfrm rot="13089394">
              <a:off x="2181992" y="353641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273F70D5-0FDD-4CE1-814B-D9312EE2ED7C}"/>
                </a:ext>
              </a:extLst>
            </p:cNvPr>
            <p:cNvSpPr/>
            <p:nvPr/>
          </p:nvSpPr>
          <p:spPr>
            <a:xfrm rot="8716295">
              <a:off x="2462883" y="3246298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C7DAFD7E-6F4A-40E6-A59C-00BDC917B87B}"/>
                </a:ext>
              </a:extLst>
            </p:cNvPr>
            <p:cNvSpPr/>
            <p:nvPr/>
          </p:nvSpPr>
          <p:spPr>
            <a:xfrm rot="8716295">
              <a:off x="2384474" y="308950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48BC9105-C681-433B-8AF1-4FE2E6AF7484}"/>
                </a:ext>
              </a:extLst>
            </p:cNvPr>
            <p:cNvSpPr/>
            <p:nvPr/>
          </p:nvSpPr>
          <p:spPr>
            <a:xfrm rot="8716295">
              <a:off x="2016311" y="313524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1A014423-3778-467F-945D-40491D2DDC50}"/>
                </a:ext>
              </a:extLst>
            </p:cNvPr>
            <p:cNvSpPr/>
            <p:nvPr/>
          </p:nvSpPr>
          <p:spPr>
            <a:xfrm rot="8716295">
              <a:off x="2284892" y="289422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754E4A02-6646-4EF0-8CC5-B9030AE2C233}"/>
                </a:ext>
              </a:extLst>
            </p:cNvPr>
            <p:cNvSpPr/>
            <p:nvPr/>
          </p:nvSpPr>
          <p:spPr>
            <a:xfrm rot="8716295">
              <a:off x="1798117" y="447855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84764706-CB95-4A07-B328-B801005B7146}"/>
                </a:ext>
              </a:extLst>
            </p:cNvPr>
            <p:cNvSpPr/>
            <p:nvPr/>
          </p:nvSpPr>
          <p:spPr>
            <a:xfrm rot="8716295">
              <a:off x="1933415" y="452281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B1C7133F-9245-4557-9366-3880E57EEB00}"/>
                </a:ext>
              </a:extLst>
            </p:cNvPr>
            <p:cNvSpPr/>
            <p:nvPr/>
          </p:nvSpPr>
          <p:spPr>
            <a:xfrm rot="8716295">
              <a:off x="1865533" y="439222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34C731BB-8709-4827-B371-DEB3D84B9346}"/>
                </a:ext>
              </a:extLst>
            </p:cNvPr>
            <p:cNvSpPr/>
            <p:nvPr/>
          </p:nvSpPr>
          <p:spPr>
            <a:xfrm rot="8716295">
              <a:off x="1628246" y="461256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800CC594-61C3-4799-9C62-0BE95617F0FD}"/>
                </a:ext>
              </a:extLst>
            </p:cNvPr>
            <p:cNvSpPr/>
            <p:nvPr/>
          </p:nvSpPr>
          <p:spPr>
            <a:xfrm rot="8716295">
              <a:off x="1439200" y="42967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6F690A0E-19E3-4512-B7F9-01EE4EBA9F6E}"/>
                </a:ext>
              </a:extLst>
            </p:cNvPr>
            <p:cNvSpPr/>
            <p:nvPr/>
          </p:nvSpPr>
          <p:spPr>
            <a:xfrm rot="8716295">
              <a:off x="1420958" y="408668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2D91E14E-69D9-458E-AA57-95A8078F1A19}"/>
                </a:ext>
              </a:extLst>
            </p:cNvPr>
            <p:cNvSpPr/>
            <p:nvPr/>
          </p:nvSpPr>
          <p:spPr>
            <a:xfrm rot="8716295">
              <a:off x="1764734" y="467454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4AA00D19-4A76-4DED-BF30-5DD56557E862}"/>
                </a:ext>
              </a:extLst>
            </p:cNvPr>
            <p:cNvSpPr/>
            <p:nvPr/>
          </p:nvSpPr>
          <p:spPr>
            <a:xfrm rot="8716295">
              <a:off x="2235681" y="409993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CBB48ABD-C4EA-4731-A8E5-5C6B6C5A0C84}"/>
                </a:ext>
              </a:extLst>
            </p:cNvPr>
            <p:cNvSpPr/>
            <p:nvPr/>
          </p:nvSpPr>
          <p:spPr>
            <a:xfrm rot="8716295">
              <a:off x="2370979" y="414419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FCD4CF90-F0E0-483F-9CE2-EAEE6404C598}"/>
                </a:ext>
              </a:extLst>
            </p:cNvPr>
            <p:cNvSpPr/>
            <p:nvPr/>
          </p:nvSpPr>
          <p:spPr>
            <a:xfrm rot="8716295">
              <a:off x="2065810" y="423395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F3A52091-BF4B-4E28-BD12-E3FE0875DBCF}"/>
                </a:ext>
              </a:extLst>
            </p:cNvPr>
            <p:cNvSpPr/>
            <p:nvPr/>
          </p:nvSpPr>
          <p:spPr>
            <a:xfrm rot="8716295">
              <a:off x="1876765" y="391811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75F64C77-DBE2-4786-9809-DB042689E4B6}"/>
                </a:ext>
              </a:extLst>
            </p:cNvPr>
            <p:cNvSpPr/>
            <p:nvPr/>
          </p:nvSpPr>
          <p:spPr>
            <a:xfrm rot="8716295">
              <a:off x="2202298" y="4295933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12F37080-96E6-4BE1-9E48-2B02CD2E20C4}"/>
                </a:ext>
              </a:extLst>
            </p:cNvPr>
            <p:cNvSpPr/>
            <p:nvPr/>
          </p:nvSpPr>
          <p:spPr>
            <a:xfrm rot="8716295">
              <a:off x="1836851" y="406950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BA151B90-2B5B-4D4D-A2AA-26322C46F857}"/>
                </a:ext>
              </a:extLst>
            </p:cNvPr>
            <p:cNvSpPr/>
            <p:nvPr/>
          </p:nvSpPr>
          <p:spPr>
            <a:xfrm rot="7484129">
              <a:off x="2361116" y="458555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0655C4A9-132B-4E8E-AB50-E63B4234234E}"/>
                </a:ext>
              </a:extLst>
            </p:cNvPr>
            <p:cNvSpPr/>
            <p:nvPr/>
          </p:nvSpPr>
          <p:spPr>
            <a:xfrm rot="13089394">
              <a:off x="2519765" y="4534899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51BD05F6-BFFD-42CC-A6C8-403F5F81023E}"/>
                </a:ext>
              </a:extLst>
            </p:cNvPr>
            <p:cNvSpPr/>
            <p:nvPr/>
          </p:nvSpPr>
          <p:spPr>
            <a:xfrm rot="8716295">
              <a:off x="2800656" y="4244781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609B85C6-C9FE-4876-9C99-F8DA190549CF}"/>
                </a:ext>
              </a:extLst>
            </p:cNvPr>
            <p:cNvSpPr/>
            <p:nvPr/>
          </p:nvSpPr>
          <p:spPr>
            <a:xfrm rot="8716295">
              <a:off x="2722247" y="4087989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AB57FACB-9405-4A22-84F1-4CDEB84773AC}"/>
                </a:ext>
              </a:extLst>
            </p:cNvPr>
            <p:cNvSpPr/>
            <p:nvPr/>
          </p:nvSpPr>
          <p:spPr>
            <a:xfrm rot="8716295">
              <a:off x="2354084" y="413373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65AC372A-885B-4835-966A-B09A3AC7B1A3}"/>
                </a:ext>
              </a:extLst>
            </p:cNvPr>
            <p:cNvSpPr/>
            <p:nvPr/>
          </p:nvSpPr>
          <p:spPr>
            <a:xfrm rot="8716295">
              <a:off x="2622665" y="389271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16EC5E3E-C2D3-4E46-B9F8-A7FD4A85025F}"/>
                </a:ext>
              </a:extLst>
            </p:cNvPr>
            <p:cNvSpPr/>
            <p:nvPr/>
          </p:nvSpPr>
          <p:spPr>
            <a:xfrm rot="8716295">
              <a:off x="1836002" y="5051565"/>
              <a:ext cx="229466" cy="172677"/>
            </a:xfrm>
            <a:custGeom>
              <a:avLst/>
              <a:gdLst>
                <a:gd name="connsiteX0" fmla="*/ 37429 w 229466"/>
                <a:gd name="connsiteY0" fmla="*/ 127889 h 172677"/>
                <a:gd name="connsiteX1" fmla="*/ 864 w 229466"/>
                <a:gd name="connsiteY1" fmla="*/ 25330 h 172677"/>
                <a:gd name="connsiteX2" fmla="*/ 0 w 229466"/>
                <a:gd name="connsiteY2" fmla="*/ 0 h 172677"/>
                <a:gd name="connsiteX3" fmla="*/ 229466 w 229466"/>
                <a:gd name="connsiteY3" fmla="*/ 159058 h 172677"/>
                <a:gd name="connsiteX4" fmla="*/ 210504 w 229466"/>
                <a:gd name="connsiteY4" fmla="*/ 164122 h 172677"/>
                <a:gd name="connsiteX5" fmla="*/ 146960 w 229466"/>
                <a:gd name="connsiteY5" fmla="*/ 172414 h 172677"/>
                <a:gd name="connsiteX6" fmla="*/ 37429 w 229466"/>
                <a:gd name="connsiteY6" fmla="*/ 127889 h 172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9466" h="172677">
                  <a:moveTo>
                    <a:pt x="37429" y="127889"/>
                  </a:moveTo>
                  <a:cubicBezTo>
                    <a:pt x="14722" y="105850"/>
                    <a:pt x="4537" y="71789"/>
                    <a:pt x="864" y="25330"/>
                  </a:cubicBezTo>
                  <a:lnTo>
                    <a:pt x="0" y="0"/>
                  </a:lnTo>
                  <a:lnTo>
                    <a:pt x="229466" y="159058"/>
                  </a:lnTo>
                  <a:lnTo>
                    <a:pt x="210504" y="164122"/>
                  </a:lnTo>
                  <a:cubicBezTo>
                    <a:pt x="187032" y="168685"/>
                    <a:pt x="165437" y="171301"/>
                    <a:pt x="146960" y="172414"/>
                  </a:cubicBezTo>
                  <a:cubicBezTo>
                    <a:pt x="105998" y="175086"/>
                    <a:pt x="65926" y="157276"/>
                    <a:pt x="37429" y="12788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F08DD499-2506-4E8C-B26B-EF1D8CEA3AA9}"/>
                </a:ext>
              </a:extLst>
            </p:cNvPr>
            <p:cNvSpPr/>
            <p:nvPr/>
          </p:nvSpPr>
          <p:spPr>
            <a:xfrm rot="8716295">
              <a:off x="2865171" y="5107739"/>
              <a:ext cx="36955" cy="50812"/>
            </a:xfrm>
            <a:custGeom>
              <a:avLst/>
              <a:gdLst>
                <a:gd name="connsiteX0" fmla="*/ 0 w 36955"/>
                <a:gd name="connsiteY0" fmla="*/ 50812 h 50812"/>
                <a:gd name="connsiteX1" fmla="*/ 0 w 36955"/>
                <a:gd name="connsiteY1" fmla="*/ 0 h 50812"/>
                <a:gd name="connsiteX2" fmla="*/ 36955 w 36955"/>
                <a:gd name="connsiteY2" fmla="*/ 25616 h 50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955" h="50812">
                  <a:moveTo>
                    <a:pt x="0" y="50812"/>
                  </a:moveTo>
                  <a:lnTo>
                    <a:pt x="0" y="0"/>
                  </a:lnTo>
                  <a:lnTo>
                    <a:pt x="36955" y="256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D6EEB4E8-6237-4C85-A670-00A3A02268AB}"/>
                </a:ext>
              </a:extLst>
            </p:cNvPr>
            <p:cNvSpPr/>
            <p:nvPr/>
          </p:nvSpPr>
          <p:spPr>
            <a:xfrm rot="8716295">
              <a:off x="2291544" y="4886156"/>
              <a:ext cx="209028" cy="296463"/>
            </a:xfrm>
            <a:custGeom>
              <a:avLst/>
              <a:gdLst>
                <a:gd name="connsiteX0" fmla="*/ 137293 w 209028"/>
                <a:gd name="connsiteY0" fmla="*/ 296463 h 296463"/>
                <a:gd name="connsiteX1" fmla="*/ 72418 w 209028"/>
                <a:gd name="connsiteY1" fmla="*/ 175766 h 296463"/>
                <a:gd name="connsiteX2" fmla="*/ 105610 w 209028"/>
                <a:gd name="connsiteY2" fmla="*/ 83734 h 296463"/>
                <a:gd name="connsiteX3" fmla="*/ 0 w 209028"/>
                <a:gd name="connsiteY3" fmla="*/ 83734 h 296463"/>
                <a:gd name="connsiteX4" fmla="*/ 0 w 209028"/>
                <a:gd name="connsiteY4" fmla="*/ 0 h 296463"/>
                <a:gd name="connsiteX5" fmla="*/ 82199 w 209028"/>
                <a:gd name="connsiteY5" fmla="*/ 0 h 296463"/>
                <a:gd name="connsiteX6" fmla="*/ 209028 w 209028"/>
                <a:gd name="connsiteY6" fmla="*/ 87913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028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82199" y="0"/>
                  </a:lnTo>
                  <a:lnTo>
                    <a:pt x="209028" y="8791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75A29BD1-A3F5-48BC-80D8-DAC3DEE5842D}"/>
                </a:ext>
              </a:extLst>
            </p:cNvPr>
            <p:cNvSpPr/>
            <p:nvPr/>
          </p:nvSpPr>
          <p:spPr>
            <a:xfrm rot="8716295">
              <a:off x="2159594" y="5061280"/>
              <a:ext cx="112869" cy="105684"/>
            </a:xfrm>
            <a:custGeom>
              <a:avLst/>
              <a:gdLst>
                <a:gd name="connsiteX0" fmla="*/ 17362 w 112869"/>
                <a:gd name="connsiteY0" fmla="*/ 89236 h 105684"/>
                <a:gd name="connsiteX1" fmla="*/ 0 w 112869"/>
                <a:gd name="connsiteY1" fmla="*/ 48117 h 105684"/>
                <a:gd name="connsiteX2" fmla="*/ 0 w 112869"/>
                <a:gd name="connsiteY2" fmla="*/ 47203 h 105684"/>
                <a:gd name="connsiteX3" fmla="*/ 17362 w 112869"/>
                <a:gd name="connsiteY3" fmla="*/ 6084 h 105684"/>
                <a:gd name="connsiteX4" fmla="*/ 31771 w 112869"/>
                <a:gd name="connsiteY4" fmla="*/ 0 h 105684"/>
                <a:gd name="connsiteX5" fmla="*/ 112869 w 112869"/>
                <a:gd name="connsiteY5" fmla="*/ 56215 h 105684"/>
                <a:gd name="connsiteX6" fmla="*/ 99601 w 112869"/>
                <a:gd name="connsiteY6" fmla="*/ 88323 h 105684"/>
                <a:gd name="connsiteX7" fmla="*/ 58481 w 112869"/>
                <a:gd name="connsiteY7" fmla="*/ 105684 h 105684"/>
                <a:gd name="connsiteX8" fmla="*/ 17362 w 112869"/>
                <a:gd name="connsiteY8" fmla="*/ 89236 h 105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869" h="105684">
                  <a:moveTo>
                    <a:pt x="17362" y="89236"/>
                  </a:moveTo>
                  <a:cubicBezTo>
                    <a:pt x="6397" y="78271"/>
                    <a:pt x="0" y="63651"/>
                    <a:pt x="0" y="48117"/>
                  </a:cubicBezTo>
                  <a:lnTo>
                    <a:pt x="0" y="47203"/>
                  </a:lnTo>
                  <a:cubicBezTo>
                    <a:pt x="0" y="31669"/>
                    <a:pt x="6397" y="17049"/>
                    <a:pt x="17362" y="6084"/>
                  </a:cubicBezTo>
                  <a:lnTo>
                    <a:pt x="31771" y="0"/>
                  </a:lnTo>
                  <a:lnTo>
                    <a:pt x="112869" y="56215"/>
                  </a:lnTo>
                  <a:lnTo>
                    <a:pt x="99601" y="88323"/>
                  </a:lnTo>
                  <a:cubicBezTo>
                    <a:pt x="88636" y="99288"/>
                    <a:pt x="74015" y="105684"/>
                    <a:pt x="58481" y="105684"/>
                  </a:cubicBezTo>
                  <a:cubicBezTo>
                    <a:pt x="42947" y="105684"/>
                    <a:pt x="28327" y="100202"/>
                    <a:pt x="17362" y="8923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758380ED-469C-45F2-855D-EE8309CFADD8}"/>
                </a:ext>
              </a:extLst>
            </p:cNvPr>
            <p:cNvSpPr/>
            <p:nvPr/>
          </p:nvSpPr>
          <p:spPr>
            <a:xfrm rot="8716295">
              <a:off x="3051941" y="5073759"/>
              <a:ext cx="145251" cy="115110"/>
            </a:xfrm>
            <a:custGeom>
              <a:avLst/>
              <a:gdLst>
                <a:gd name="connsiteX0" fmla="*/ 26453 w 145251"/>
                <a:gd name="connsiteY0" fmla="*/ 90050 h 115110"/>
                <a:gd name="connsiteX1" fmla="*/ 0 w 145251"/>
                <a:gd name="connsiteY1" fmla="*/ 27401 h 115110"/>
                <a:gd name="connsiteX2" fmla="*/ 0 w 145251"/>
                <a:gd name="connsiteY2" fmla="*/ 26008 h 115110"/>
                <a:gd name="connsiteX3" fmla="*/ 10982 w 145251"/>
                <a:gd name="connsiteY3" fmla="*/ 0 h 115110"/>
                <a:gd name="connsiteX4" fmla="*/ 145251 w 145251"/>
                <a:gd name="connsiteY4" fmla="*/ 93071 h 115110"/>
                <a:gd name="connsiteX5" fmla="*/ 123037 w 145251"/>
                <a:gd name="connsiteY5" fmla="*/ 108149 h 115110"/>
                <a:gd name="connsiteX6" fmla="*/ 89101 w 145251"/>
                <a:gd name="connsiteY6" fmla="*/ 115110 h 115110"/>
                <a:gd name="connsiteX7" fmla="*/ 26453 w 145251"/>
                <a:gd name="connsiteY7" fmla="*/ 90050 h 11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5251" h="115110">
                  <a:moveTo>
                    <a:pt x="26453" y="90050"/>
                  </a:moveTo>
                  <a:cubicBezTo>
                    <a:pt x="9746" y="73344"/>
                    <a:pt x="0" y="51068"/>
                    <a:pt x="0" y="27401"/>
                  </a:cubicBezTo>
                  <a:lnTo>
                    <a:pt x="0" y="26008"/>
                  </a:lnTo>
                  <a:lnTo>
                    <a:pt x="10982" y="0"/>
                  </a:lnTo>
                  <a:lnTo>
                    <a:pt x="145251" y="93071"/>
                  </a:lnTo>
                  <a:lnTo>
                    <a:pt x="123037" y="108149"/>
                  </a:lnTo>
                  <a:cubicBezTo>
                    <a:pt x="112421" y="112674"/>
                    <a:pt x="100936" y="115110"/>
                    <a:pt x="89101" y="115110"/>
                  </a:cubicBezTo>
                  <a:cubicBezTo>
                    <a:pt x="65434" y="115110"/>
                    <a:pt x="43159" y="106756"/>
                    <a:pt x="26453" y="900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D2FD6770-3791-4A82-87D2-F41D30AA61F3}"/>
                </a:ext>
              </a:extLst>
            </p:cNvPr>
            <p:cNvSpPr/>
            <p:nvPr/>
          </p:nvSpPr>
          <p:spPr>
            <a:xfrm rot="8716295">
              <a:off x="2953631" y="488922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109B9DB6-A180-42FF-BEBB-6114EE67841E}"/>
                </a:ext>
              </a:extLst>
            </p:cNvPr>
            <p:cNvSpPr/>
            <p:nvPr/>
          </p:nvSpPr>
          <p:spPr>
            <a:xfrm rot="8716295">
              <a:off x="1125067" y="247965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D4702D56-6C32-4790-8116-5036F59380ED}"/>
                </a:ext>
              </a:extLst>
            </p:cNvPr>
            <p:cNvSpPr/>
            <p:nvPr/>
          </p:nvSpPr>
          <p:spPr>
            <a:xfrm rot="8716295">
              <a:off x="1260365" y="252391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55878CEF-C667-4CA0-83B8-66D034466A4C}"/>
                </a:ext>
              </a:extLst>
            </p:cNvPr>
            <p:cNvSpPr/>
            <p:nvPr/>
          </p:nvSpPr>
          <p:spPr>
            <a:xfrm rot="8716295">
              <a:off x="1192483" y="2393326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E6E1C2BC-10AA-4F2A-83E2-85D799983A4B}"/>
                </a:ext>
              </a:extLst>
            </p:cNvPr>
            <p:cNvSpPr/>
            <p:nvPr/>
          </p:nvSpPr>
          <p:spPr>
            <a:xfrm rot="8716295">
              <a:off x="955196" y="261367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6DA02057-79DE-4340-93FA-D8616C8993CD}"/>
                </a:ext>
              </a:extLst>
            </p:cNvPr>
            <p:cNvSpPr/>
            <p:nvPr/>
          </p:nvSpPr>
          <p:spPr>
            <a:xfrm rot="8716295">
              <a:off x="766149" y="229783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F3D3F9A3-B786-4BB9-92E8-BAA2206B9AFB}"/>
                </a:ext>
              </a:extLst>
            </p:cNvPr>
            <p:cNvSpPr/>
            <p:nvPr/>
          </p:nvSpPr>
          <p:spPr>
            <a:xfrm rot="8716295">
              <a:off x="747908" y="2087785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777BD4C8-2DD8-47D0-9247-9DDE2E15298C}"/>
                </a:ext>
              </a:extLst>
            </p:cNvPr>
            <p:cNvSpPr/>
            <p:nvPr/>
          </p:nvSpPr>
          <p:spPr>
            <a:xfrm rot="8716295">
              <a:off x="1091684" y="2675653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orme libre : forme 58">
              <a:extLst>
                <a:ext uri="{FF2B5EF4-FFF2-40B4-BE49-F238E27FC236}">
                  <a16:creationId xmlns:a16="http://schemas.microsoft.com/office/drawing/2014/main" id="{A1948EB1-3E61-48E9-872F-CED3F8D5CC5E}"/>
                </a:ext>
              </a:extLst>
            </p:cNvPr>
            <p:cNvSpPr/>
            <p:nvPr/>
          </p:nvSpPr>
          <p:spPr>
            <a:xfrm rot="8716295">
              <a:off x="1562630" y="210103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orme libre : forme 59">
              <a:extLst>
                <a:ext uri="{FF2B5EF4-FFF2-40B4-BE49-F238E27FC236}">
                  <a16:creationId xmlns:a16="http://schemas.microsoft.com/office/drawing/2014/main" id="{AF9F2A1A-5C85-4204-9B23-373EE49CB276}"/>
                </a:ext>
              </a:extLst>
            </p:cNvPr>
            <p:cNvSpPr/>
            <p:nvPr/>
          </p:nvSpPr>
          <p:spPr>
            <a:xfrm rot="8716295">
              <a:off x="1697929" y="214529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orme libre : forme 60">
              <a:extLst>
                <a:ext uri="{FF2B5EF4-FFF2-40B4-BE49-F238E27FC236}">
                  <a16:creationId xmlns:a16="http://schemas.microsoft.com/office/drawing/2014/main" id="{4763868B-B7EF-4B8B-B818-D645A2592C05}"/>
                </a:ext>
              </a:extLst>
            </p:cNvPr>
            <p:cNvSpPr/>
            <p:nvPr/>
          </p:nvSpPr>
          <p:spPr>
            <a:xfrm rot="8716295">
              <a:off x="1392759" y="223505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orme libre : forme 61">
              <a:extLst>
                <a:ext uri="{FF2B5EF4-FFF2-40B4-BE49-F238E27FC236}">
                  <a16:creationId xmlns:a16="http://schemas.microsoft.com/office/drawing/2014/main" id="{046CA86F-6D3D-407A-B321-54764D2D59CB}"/>
                </a:ext>
              </a:extLst>
            </p:cNvPr>
            <p:cNvSpPr/>
            <p:nvPr/>
          </p:nvSpPr>
          <p:spPr>
            <a:xfrm rot="8716295">
              <a:off x="1203715" y="191921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orme libre : forme 62">
              <a:extLst>
                <a:ext uri="{FF2B5EF4-FFF2-40B4-BE49-F238E27FC236}">
                  <a16:creationId xmlns:a16="http://schemas.microsoft.com/office/drawing/2014/main" id="{AFD12AFD-CB5D-4640-9FE9-92C355A72778}"/>
                </a:ext>
              </a:extLst>
            </p:cNvPr>
            <p:cNvSpPr/>
            <p:nvPr/>
          </p:nvSpPr>
          <p:spPr>
            <a:xfrm rot="8716295">
              <a:off x="1529248" y="2297037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orme libre : forme 63">
              <a:extLst>
                <a:ext uri="{FF2B5EF4-FFF2-40B4-BE49-F238E27FC236}">
                  <a16:creationId xmlns:a16="http://schemas.microsoft.com/office/drawing/2014/main" id="{59BA9B88-1225-4DFD-8724-1F80AE18C3C2}"/>
                </a:ext>
              </a:extLst>
            </p:cNvPr>
            <p:cNvSpPr/>
            <p:nvPr/>
          </p:nvSpPr>
          <p:spPr>
            <a:xfrm rot="8716295">
              <a:off x="1163801" y="2070611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orme libre : forme 64">
              <a:extLst>
                <a:ext uri="{FF2B5EF4-FFF2-40B4-BE49-F238E27FC236}">
                  <a16:creationId xmlns:a16="http://schemas.microsoft.com/office/drawing/2014/main" id="{1F6A3148-93CD-4912-914F-8421DD424A09}"/>
                </a:ext>
              </a:extLst>
            </p:cNvPr>
            <p:cNvSpPr/>
            <p:nvPr/>
          </p:nvSpPr>
          <p:spPr>
            <a:xfrm rot="7484129">
              <a:off x="1688065" y="258665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orme libre : forme 65">
              <a:extLst>
                <a:ext uri="{FF2B5EF4-FFF2-40B4-BE49-F238E27FC236}">
                  <a16:creationId xmlns:a16="http://schemas.microsoft.com/office/drawing/2014/main" id="{0BDE36BD-7206-4F9A-9356-56E83345F790}"/>
                </a:ext>
              </a:extLst>
            </p:cNvPr>
            <p:cNvSpPr/>
            <p:nvPr/>
          </p:nvSpPr>
          <p:spPr>
            <a:xfrm rot="13089394">
              <a:off x="1846715" y="2536003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orme libre : forme 66">
              <a:extLst>
                <a:ext uri="{FF2B5EF4-FFF2-40B4-BE49-F238E27FC236}">
                  <a16:creationId xmlns:a16="http://schemas.microsoft.com/office/drawing/2014/main" id="{6239D104-F777-403D-9315-E21DA6A3EEC6}"/>
                </a:ext>
              </a:extLst>
            </p:cNvPr>
            <p:cNvSpPr/>
            <p:nvPr/>
          </p:nvSpPr>
          <p:spPr>
            <a:xfrm rot="8716295">
              <a:off x="2127606" y="2245885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7D0AE68E-C325-4D34-A9E9-2281E6887FAE}"/>
                </a:ext>
              </a:extLst>
            </p:cNvPr>
            <p:cNvSpPr/>
            <p:nvPr/>
          </p:nvSpPr>
          <p:spPr>
            <a:xfrm rot="8716295">
              <a:off x="2049197" y="208909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orme libre : forme 68">
              <a:extLst>
                <a:ext uri="{FF2B5EF4-FFF2-40B4-BE49-F238E27FC236}">
                  <a16:creationId xmlns:a16="http://schemas.microsoft.com/office/drawing/2014/main" id="{951597CD-8FD0-420C-8BE6-25D28A25DDE8}"/>
                </a:ext>
              </a:extLst>
            </p:cNvPr>
            <p:cNvSpPr/>
            <p:nvPr/>
          </p:nvSpPr>
          <p:spPr>
            <a:xfrm rot="8716295">
              <a:off x="1681033" y="21348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orme libre : forme 69">
              <a:extLst>
                <a:ext uri="{FF2B5EF4-FFF2-40B4-BE49-F238E27FC236}">
                  <a16:creationId xmlns:a16="http://schemas.microsoft.com/office/drawing/2014/main" id="{A7CD329F-8CED-4DA2-A304-EE2009E4062D}"/>
                </a:ext>
              </a:extLst>
            </p:cNvPr>
            <p:cNvSpPr/>
            <p:nvPr/>
          </p:nvSpPr>
          <p:spPr>
            <a:xfrm rot="8716295">
              <a:off x="1949615" y="189381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orme libre : forme 70">
              <a:extLst>
                <a:ext uri="{FF2B5EF4-FFF2-40B4-BE49-F238E27FC236}">
                  <a16:creationId xmlns:a16="http://schemas.microsoft.com/office/drawing/2014/main" id="{D4BADD55-B2B9-4053-A92A-A804648D0A9D}"/>
                </a:ext>
              </a:extLst>
            </p:cNvPr>
            <p:cNvSpPr/>
            <p:nvPr/>
          </p:nvSpPr>
          <p:spPr>
            <a:xfrm rot="8716295">
              <a:off x="787294" y="148117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orme libre : forme 71">
              <a:extLst>
                <a:ext uri="{FF2B5EF4-FFF2-40B4-BE49-F238E27FC236}">
                  <a16:creationId xmlns:a16="http://schemas.microsoft.com/office/drawing/2014/main" id="{313FE4B5-4E98-415B-AE99-26EEB0846C87}"/>
                </a:ext>
              </a:extLst>
            </p:cNvPr>
            <p:cNvSpPr/>
            <p:nvPr/>
          </p:nvSpPr>
          <p:spPr>
            <a:xfrm rot="8716295">
              <a:off x="922592" y="152543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orme libre : forme 72">
              <a:extLst>
                <a:ext uri="{FF2B5EF4-FFF2-40B4-BE49-F238E27FC236}">
                  <a16:creationId xmlns:a16="http://schemas.microsoft.com/office/drawing/2014/main" id="{2E069437-A0B3-49B8-BC79-1EE3FD296BEA}"/>
                </a:ext>
              </a:extLst>
            </p:cNvPr>
            <p:cNvSpPr/>
            <p:nvPr/>
          </p:nvSpPr>
          <p:spPr>
            <a:xfrm rot="8716295">
              <a:off x="854710" y="1394843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" name="Forme libre : forme 73">
              <a:extLst>
                <a:ext uri="{FF2B5EF4-FFF2-40B4-BE49-F238E27FC236}">
                  <a16:creationId xmlns:a16="http://schemas.microsoft.com/office/drawing/2014/main" id="{6B76B21D-C865-4228-A4DA-51B112FED31F}"/>
                </a:ext>
              </a:extLst>
            </p:cNvPr>
            <p:cNvSpPr/>
            <p:nvPr/>
          </p:nvSpPr>
          <p:spPr>
            <a:xfrm rot="8716295">
              <a:off x="617423" y="161518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" name="Forme libre : forme 74">
              <a:extLst>
                <a:ext uri="{FF2B5EF4-FFF2-40B4-BE49-F238E27FC236}">
                  <a16:creationId xmlns:a16="http://schemas.microsoft.com/office/drawing/2014/main" id="{9C509C7D-5C6F-42FB-9A15-E611792EFEA1}"/>
                </a:ext>
              </a:extLst>
            </p:cNvPr>
            <p:cNvSpPr/>
            <p:nvPr/>
          </p:nvSpPr>
          <p:spPr>
            <a:xfrm rot="8716295">
              <a:off x="428376" y="129935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" name="Forme libre : forme 75">
              <a:extLst>
                <a:ext uri="{FF2B5EF4-FFF2-40B4-BE49-F238E27FC236}">
                  <a16:creationId xmlns:a16="http://schemas.microsoft.com/office/drawing/2014/main" id="{25514701-F05E-45CE-9E8C-F263D950578E}"/>
                </a:ext>
              </a:extLst>
            </p:cNvPr>
            <p:cNvSpPr/>
            <p:nvPr/>
          </p:nvSpPr>
          <p:spPr>
            <a:xfrm rot="8716295">
              <a:off x="410135" y="1089302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" name="Forme libre : forme 76">
              <a:extLst>
                <a:ext uri="{FF2B5EF4-FFF2-40B4-BE49-F238E27FC236}">
                  <a16:creationId xmlns:a16="http://schemas.microsoft.com/office/drawing/2014/main" id="{4F1DD0BF-A36A-4AF7-BAF7-588D33FE30E2}"/>
                </a:ext>
              </a:extLst>
            </p:cNvPr>
            <p:cNvSpPr/>
            <p:nvPr/>
          </p:nvSpPr>
          <p:spPr>
            <a:xfrm rot="8716295">
              <a:off x="753911" y="1677170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" name="Forme libre : forme 77">
              <a:extLst>
                <a:ext uri="{FF2B5EF4-FFF2-40B4-BE49-F238E27FC236}">
                  <a16:creationId xmlns:a16="http://schemas.microsoft.com/office/drawing/2014/main" id="{86EB67B0-A057-4D07-8844-7A83556C99CC}"/>
                </a:ext>
              </a:extLst>
            </p:cNvPr>
            <p:cNvSpPr/>
            <p:nvPr/>
          </p:nvSpPr>
          <p:spPr>
            <a:xfrm rot="8716295">
              <a:off x="1224858" y="1102556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orme libre : forme 78">
              <a:extLst>
                <a:ext uri="{FF2B5EF4-FFF2-40B4-BE49-F238E27FC236}">
                  <a16:creationId xmlns:a16="http://schemas.microsoft.com/office/drawing/2014/main" id="{8B1E7611-C4A8-43A8-BF26-46C4341A14DB}"/>
                </a:ext>
              </a:extLst>
            </p:cNvPr>
            <p:cNvSpPr/>
            <p:nvPr/>
          </p:nvSpPr>
          <p:spPr>
            <a:xfrm rot="8716295">
              <a:off x="1360156" y="1146815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Forme libre : forme 79">
              <a:extLst>
                <a:ext uri="{FF2B5EF4-FFF2-40B4-BE49-F238E27FC236}">
                  <a16:creationId xmlns:a16="http://schemas.microsoft.com/office/drawing/2014/main" id="{BEBD671E-1FA5-4603-8F2B-FA9516AF8638}"/>
                </a:ext>
              </a:extLst>
            </p:cNvPr>
            <p:cNvSpPr/>
            <p:nvPr/>
          </p:nvSpPr>
          <p:spPr>
            <a:xfrm rot="8716295">
              <a:off x="1054986" y="123657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" name="Forme libre : forme 80">
              <a:extLst>
                <a:ext uri="{FF2B5EF4-FFF2-40B4-BE49-F238E27FC236}">
                  <a16:creationId xmlns:a16="http://schemas.microsoft.com/office/drawing/2014/main" id="{F6AD6C56-BF4C-4518-8F9A-D5095F4E40C8}"/>
                </a:ext>
              </a:extLst>
            </p:cNvPr>
            <p:cNvSpPr/>
            <p:nvPr/>
          </p:nvSpPr>
          <p:spPr>
            <a:xfrm rot="8716295">
              <a:off x="865942" y="92073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orme libre : forme 81">
              <a:extLst>
                <a:ext uri="{FF2B5EF4-FFF2-40B4-BE49-F238E27FC236}">
                  <a16:creationId xmlns:a16="http://schemas.microsoft.com/office/drawing/2014/main" id="{4181F286-2CA0-4AF5-9316-EE2B4FDBB08E}"/>
                </a:ext>
              </a:extLst>
            </p:cNvPr>
            <p:cNvSpPr/>
            <p:nvPr/>
          </p:nvSpPr>
          <p:spPr>
            <a:xfrm rot="8716295">
              <a:off x="1191475" y="1298554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Forme libre : forme 82">
              <a:extLst>
                <a:ext uri="{FF2B5EF4-FFF2-40B4-BE49-F238E27FC236}">
                  <a16:creationId xmlns:a16="http://schemas.microsoft.com/office/drawing/2014/main" id="{6E154404-167F-4146-9BEC-311C41267A4F}"/>
                </a:ext>
              </a:extLst>
            </p:cNvPr>
            <p:cNvSpPr/>
            <p:nvPr/>
          </p:nvSpPr>
          <p:spPr>
            <a:xfrm rot="8716295">
              <a:off x="826028" y="1072128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4" name="Forme libre : forme 83">
              <a:extLst>
                <a:ext uri="{FF2B5EF4-FFF2-40B4-BE49-F238E27FC236}">
                  <a16:creationId xmlns:a16="http://schemas.microsoft.com/office/drawing/2014/main" id="{E6806809-8D8F-4EE1-BB26-3F2C826B2E90}"/>
                </a:ext>
              </a:extLst>
            </p:cNvPr>
            <p:cNvSpPr/>
            <p:nvPr/>
          </p:nvSpPr>
          <p:spPr>
            <a:xfrm rot="7484129">
              <a:off x="1350292" y="158817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5" name="Forme libre : forme 84">
              <a:extLst>
                <a:ext uri="{FF2B5EF4-FFF2-40B4-BE49-F238E27FC236}">
                  <a16:creationId xmlns:a16="http://schemas.microsoft.com/office/drawing/2014/main" id="{8AA32DBC-713F-46C2-9609-C454BB2EBAAE}"/>
                </a:ext>
              </a:extLst>
            </p:cNvPr>
            <p:cNvSpPr/>
            <p:nvPr/>
          </p:nvSpPr>
          <p:spPr>
            <a:xfrm rot="13089394">
              <a:off x="1508942" y="1537520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6" name="Forme libre : forme 85">
              <a:extLst>
                <a:ext uri="{FF2B5EF4-FFF2-40B4-BE49-F238E27FC236}">
                  <a16:creationId xmlns:a16="http://schemas.microsoft.com/office/drawing/2014/main" id="{51EBFD3A-7611-46FF-AE7D-0AC9AF9511B5}"/>
                </a:ext>
              </a:extLst>
            </p:cNvPr>
            <p:cNvSpPr/>
            <p:nvPr/>
          </p:nvSpPr>
          <p:spPr>
            <a:xfrm rot="8716295">
              <a:off x="1789833" y="1247402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7" name="Forme libre : forme 86">
              <a:extLst>
                <a:ext uri="{FF2B5EF4-FFF2-40B4-BE49-F238E27FC236}">
                  <a16:creationId xmlns:a16="http://schemas.microsoft.com/office/drawing/2014/main" id="{7BC619E6-2AA2-4557-84AC-D6D182B996C5}"/>
                </a:ext>
              </a:extLst>
            </p:cNvPr>
            <p:cNvSpPr/>
            <p:nvPr/>
          </p:nvSpPr>
          <p:spPr>
            <a:xfrm rot="8716295">
              <a:off x="1711424" y="109061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8" name="Forme libre : forme 87">
              <a:extLst>
                <a:ext uri="{FF2B5EF4-FFF2-40B4-BE49-F238E27FC236}">
                  <a16:creationId xmlns:a16="http://schemas.microsoft.com/office/drawing/2014/main" id="{F81A7437-8336-4876-95A7-BD572FAED152}"/>
                </a:ext>
              </a:extLst>
            </p:cNvPr>
            <p:cNvSpPr/>
            <p:nvPr/>
          </p:nvSpPr>
          <p:spPr>
            <a:xfrm rot="8716295">
              <a:off x="1343261" y="113635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9" name="Forme libre : forme 88">
              <a:extLst>
                <a:ext uri="{FF2B5EF4-FFF2-40B4-BE49-F238E27FC236}">
                  <a16:creationId xmlns:a16="http://schemas.microsoft.com/office/drawing/2014/main" id="{B70DD9BD-1FC9-4B98-8769-B37CAAFCEC17}"/>
                </a:ext>
              </a:extLst>
            </p:cNvPr>
            <p:cNvSpPr/>
            <p:nvPr/>
          </p:nvSpPr>
          <p:spPr>
            <a:xfrm rot="8716295">
              <a:off x="1611842" y="89533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" name="Forme libre : forme 89">
              <a:extLst>
                <a:ext uri="{FF2B5EF4-FFF2-40B4-BE49-F238E27FC236}">
                  <a16:creationId xmlns:a16="http://schemas.microsoft.com/office/drawing/2014/main" id="{DC2940E5-7415-40BB-B706-4016B27C3DB2}"/>
                </a:ext>
              </a:extLst>
            </p:cNvPr>
            <p:cNvSpPr/>
            <p:nvPr/>
          </p:nvSpPr>
          <p:spPr>
            <a:xfrm rot="8716295">
              <a:off x="455920" y="47911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" name="Forme libre : forme 90">
              <a:extLst>
                <a:ext uri="{FF2B5EF4-FFF2-40B4-BE49-F238E27FC236}">
                  <a16:creationId xmlns:a16="http://schemas.microsoft.com/office/drawing/2014/main" id="{52585AAE-B2D0-438C-BC9F-C750F15F890C}"/>
                </a:ext>
              </a:extLst>
            </p:cNvPr>
            <p:cNvSpPr/>
            <p:nvPr/>
          </p:nvSpPr>
          <p:spPr>
            <a:xfrm rot="8716295">
              <a:off x="591219" y="52337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" name="Forme libre : forme 91">
              <a:extLst>
                <a:ext uri="{FF2B5EF4-FFF2-40B4-BE49-F238E27FC236}">
                  <a16:creationId xmlns:a16="http://schemas.microsoft.com/office/drawing/2014/main" id="{E63C71D8-D175-46A8-AA42-AB77BF57CFF3}"/>
                </a:ext>
              </a:extLst>
            </p:cNvPr>
            <p:cNvSpPr/>
            <p:nvPr/>
          </p:nvSpPr>
          <p:spPr>
            <a:xfrm rot="8716295">
              <a:off x="523336" y="39278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" name="Forme libre : forme 92">
              <a:extLst>
                <a:ext uri="{FF2B5EF4-FFF2-40B4-BE49-F238E27FC236}">
                  <a16:creationId xmlns:a16="http://schemas.microsoft.com/office/drawing/2014/main" id="{C200F3C8-A4FA-4E06-9F43-7329A49AF0A1}"/>
                </a:ext>
              </a:extLst>
            </p:cNvPr>
            <p:cNvSpPr/>
            <p:nvPr/>
          </p:nvSpPr>
          <p:spPr>
            <a:xfrm rot="8716295">
              <a:off x="286049" y="6131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" name="Forme libre : forme 93">
              <a:extLst>
                <a:ext uri="{FF2B5EF4-FFF2-40B4-BE49-F238E27FC236}">
                  <a16:creationId xmlns:a16="http://schemas.microsoft.com/office/drawing/2014/main" id="{154A22C5-EC1E-43BA-ACAF-79BC6F3D576D}"/>
                </a:ext>
              </a:extLst>
            </p:cNvPr>
            <p:cNvSpPr/>
            <p:nvPr/>
          </p:nvSpPr>
          <p:spPr>
            <a:xfrm rot="8716295">
              <a:off x="97003" y="2972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orme libre : forme 94">
              <a:extLst>
                <a:ext uri="{FF2B5EF4-FFF2-40B4-BE49-F238E27FC236}">
                  <a16:creationId xmlns:a16="http://schemas.microsoft.com/office/drawing/2014/main" id="{046AC798-93FA-43CE-B018-2724737AFAB7}"/>
                </a:ext>
              </a:extLst>
            </p:cNvPr>
            <p:cNvSpPr/>
            <p:nvPr/>
          </p:nvSpPr>
          <p:spPr>
            <a:xfrm rot="8716295">
              <a:off x="78761" y="87249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Forme libre : forme 95">
              <a:extLst>
                <a:ext uri="{FF2B5EF4-FFF2-40B4-BE49-F238E27FC236}">
                  <a16:creationId xmlns:a16="http://schemas.microsoft.com/office/drawing/2014/main" id="{7EB63D12-C97A-4806-9B7E-492DAF5A8D97}"/>
                </a:ext>
              </a:extLst>
            </p:cNvPr>
            <p:cNvSpPr/>
            <p:nvPr/>
          </p:nvSpPr>
          <p:spPr>
            <a:xfrm rot="8716295">
              <a:off x="422537" y="67511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" name="Forme libre : forme 96">
              <a:extLst>
                <a:ext uri="{FF2B5EF4-FFF2-40B4-BE49-F238E27FC236}">
                  <a16:creationId xmlns:a16="http://schemas.microsoft.com/office/drawing/2014/main" id="{1806B75B-8705-4074-AEFF-3715A3B4A58C}"/>
                </a:ext>
              </a:extLst>
            </p:cNvPr>
            <p:cNvSpPr/>
            <p:nvPr/>
          </p:nvSpPr>
          <p:spPr>
            <a:xfrm rot="8716295">
              <a:off x="893484" y="10050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" name="Forme libre : forme 97">
              <a:extLst>
                <a:ext uri="{FF2B5EF4-FFF2-40B4-BE49-F238E27FC236}">
                  <a16:creationId xmlns:a16="http://schemas.microsoft.com/office/drawing/2014/main" id="{AB690B93-68A6-412B-BE9D-7BF4A62DFBAE}"/>
                </a:ext>
              </a:extLst>
            </p:cNvPr>
            <p:cNvSpPr/>
            <p:nvPr/>
          </p:nvSpPr>
          <p:spPr>
            <a:xfrm rot="8716295">
              <a:off x="1028783" y="14476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" name="Forme libre : forme 98">
              <a:extLst>
                <a:ext uri="{FF2B5EF4-FFF2-40B4-BE49-F238E27FC236}">
                  <a16:creationId xmlns:a16="http://schemas.microsoft.com/office/drawing/2014/main" id="{CF4399C2-6A4B-4B09-A803-90528B9B6BB5}"/>
                </a:ext>
              </a:extLst>
            </p:cNvPr>
            <p:cNvSpPr/>
            <p:nvPr/>
          </p:nvSpPr>
          <p:spPr>
            <a:xfrm rot="8716295">
              <a:off x="723613" y="23451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orme libre : forme 99">
              <a:extLst>
                <a:ext uri="{FF2B5EF4-FFF2-40B4-BE49-F238E27FC236}">
                  <a16:creationId xmlns:a16="http://schemas.microsoft.com/office/drawing/2014/main" id="{244D8443-8208-40F5-B1CF-110ABB79D7E7}"/>
                </a:ext>
              </a:extLst>
            </p:cNvPr>
            <p:cNvSpPr/>
            <p:nvPr/>
          </p:nvSpPr>
          <p:spPr>
            <a:xfrm rot="8716295">
              <a:off x="547803" y="-17289"/>
              <a:ext cx="308531" cy="226033"/>
            </a:xfrm>
            <a:custGeom>
              <a:avLst/>
              <a:gdLst>
                <a:gd name="connsiteX0" fmla="*/ 106716 w 203847"/>
                <a:gd name="connsiteY0" fmla="*/ 149340 h 149340"/>
                <a:gd name="connsiteX1" fmla="*/ 50038 w 203847"/>
                <a:gd name="connsiteY1" fmla="*/ 110053 h 149340"/>
                <a:gd name="connsiteX2" fmla="*/ 69777 w 203847"/>
                <a:gd name="connsiteY2" fmla="*/ 55323 h 149340"/>
                <a:gd name="connsiteX3" fmla="*/ 0 w 203847"/>
                <a:gd name="connsiteY3" fmla="*/ 55323 h 149340"/>
                <a:gd name="connsiteX4" fmla="*/ 0 w 203847"/>
                <a:gd name="connsiteY4" fmla="*/ 0 h 149340"/>
                <a:gd name="connsiteX5" fmla="*/ 203847 w 203847"/>
                <a:gd name="connsiteY5" fmla="*/ 0 h 149340"/>
                <a:gd name="connsiteX6" fmla="*/ 203847 w 203847"/>
                <a:gd name="connsiteY6" fmla="*/ 55323 h 149340"/>
                <a:gd name="connsiteX7" fmla="*/ 139055 w 203847"/>
                <a:gd name="connsiteY7" fmla="*/ 55323 h 14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49340">
                  <a:moveTo>
                    <a:pt x="106716" y="149340"/>
                  </a:moveTo>
                  <a:lnTo>
                    <a:pt x="50038" y="110053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Forme libre : forme 100">
              <a:extLst>
                <a:ext uri="{FF2B5EF4-FFF2-40B4-BE49-F238E27FC236}">
                  <a16:creationId xmlns:a16="http://schemas.microsoft.com/office/drawing/2014/main" id="{1DC1AB77-DFBD-48D5-BA47-D445EDCA0CEF}"/>
                </a:ext>
              </a:extLst>
            </p:cNvPr>
            <p:cNvSpPr/>
            <p:nvPr/>
          </p:nvSpPr>
          <p:spPr>
            <a:xfrm rot="8716295">
              <a:off x="860101" y="29650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" name="Forme libre : forme 101">
              <a:extLst>
                <a:ext uri="{FF2B5EF4-FFF2-40B4-BE49-F238E27FC236}">
                  <a16:creationId xmlns:a16="http://schemas.microsoft.com/office/drawing/2014/main" id="{F59B8FC1-4AE7-4990-AF75-539F5B58458B}"/>
                </a:ext>
              </a:extLst>
            </p:cNvPr>
            <p:cNvSpPr/>
            <p:nvPr/>
          </p:nvSpPr>
          <p:spPr>
            <a:xfrm rot="8716295">
              <a:off x="494655" y="7007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" name="Forme libre : forme 102">
              <a:extLst>
                <a:ext uri="{FF2B5EF4-FFF2-40B4-BE49-F238E27FC236}">
                  <a16:creationId xmlns:a16="http://schemas.microsoft.com/office/drawing/2014/main" id="{868AEFC4-250F-471C-A43A-28F6923BB61D}"/>
                </a:ext>
              </a:extLst>
            </p:cNvPr>
            <p:cNvSpPr/>
            <p:nvPr/>
          </p:nvSpPr>
          <p:spPr>
            <a:xfrm rot="7484129">
              <a:off x="1018919" y="58611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" name="Forme libre : forme 103">
              <a:extLst>
                <a:ext uri="{FF2B5EF4-FFF2-40B4-BE49-F238E27FC236}">
                  <a16:creationId xmlns:a16="http://schemas.microsoft.com/office/drawing/2014/main" id="{7720FECD-8541-443F-AFBA-99868EB29B55}"/>
                </a:ext>
              </a:extLst>
            </p:cNvPr>
            <p:cNvSpPr/>
            <p:nvPr/>
          </p:nvSpPr>
          <p:spPr>
            <a:xfrm rot="13089394">
              <a:off x="1177568" y="53546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" name="Forme libre : forme 104">
              <a:extLst>
                <a:ext uri="{FF2B5EF4-FFF2-40B4-BE49-F238E27FC236}">
                  <a16:creationId xmlns:a16="http://schemas.microsoft.com/office/drawing/2014/main" id="{EC21D4C1-E07B-4E45-A18C-FDC88EB32F75}"/>
                </a:ext>
              </a:extLst>
            </p:cNvPr>
            <p:cNvSpPr/>
            <p:nvPr/>
          </p:nvSpPr>
          <p:spPr>
            <a:xfrm rot="8716295">
              <a:off x="1458459" y="24534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" name="Forme libre : forme 105">
              <a:extLst>
                <a:ext uri="{FF2B5EF4-FFF2-40B4-BE49-F238E27FC236}">
                  <a16:creationId xmlns:a16="http://schemas.microsoft.com/office/drawing/2014/main" id="{F27332C2-A714-4595-B5C0-9F2B9BA6FD2B}"/>
                </a:ext>
              </a:extLst>
            </p:cNvPr>
            <p:cNvSpPr/>
            <p:nvPr/>
          </p:nvSpPr>
          <p:spPr>
            <a:xfrm rot="8716295">
              <a:off x="1380050" y="8855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" name="Forme libre : forme 106">
              <a:extLst>
                <a:ext uri="{FF2B5EF4-FFF2-40B4-BE49-F238E27FC236}">
                  <a16:creationId xmlns:a16="http://schemas.microsoft.com/office/drawing/2014/main" id="{674A78BA-4944-4138-B4F5-A2FBC8048D50}"/>
                </a:ext>
              </a:extLst>
            </p:cNvPr>
            <p:cNvSpPr/>
            <p:nvPr/>
          </p:nvSpPr>
          <p:spPr>
            <a:xfrm rot="8716295">
              <a:off x="1011887" y="13429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" name="Forme libre : forme 107">
              <a:extLst>
                <a:ext uri="{FF2B5EF4-FFF2-40B4-BE49-F238E27FC236}">
                  <a16:creationId xmlns:a16="http://schemas.microsoft.com/office/drawing/2014/main" id="{7D76DD03-F270-4ACF-B774-06410BC28EE6}"/>
                </a:ext>
              </a:extLst>
            </p:cNvPr>
            <p:cNvSpPr/>
            <p:nvPr/>
          </p:nvSpPr>
          <p:spPr>
            <a:xfrm rot="8716295">
              <a:off x="1291652" y="-36449"/>
              <a:ext cx="134197" cy="106947"/>
            </a:xfrm>
            <a:custGeom>
              <a:avLst/>
              <a:gdLst>
                <a:gd name="connsiteX0" fmla="*/ 83649 w 88664"/>
                <a:gd name="connsiteY0" fmla="*/ 70660 h 70660"/>
                <a:gd name="connsiteX1" fmla="*/ 0 w 88664"/>
                <a:gd name="connsiteY1" fmla="*/ 12677 h 70660"/>
                <a:gd name="connsiteX2" fmla="*/ 30024 w 88664"/>
                <a:gd name="connsiteY2" fmla="*/ 0 h 70660"/>
                <a:gd name="connsiteX3" fmla="*/ 71417 w 88664"/>
                <a:gd name="connsiteY3" fmla="*/ 17477 h 70660"/>
                <a:gd name="connsiteX4" fmla="*/ 88664 w 88664"/>
                <a:gd name="connsiteY4" fmla="*/ 58525 h 70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664" h="70660">
                  <a:moveTo>
                    <a:pt x="83649" y="70660"/>
                  </a:moveTo>
                  <a:lnTo>
                    <a:pt x="0" y="12677"/>
                  </a:lnTo>
                  <a:lnTo>
                    <a:pt x="30024" y="0"/>
                  </a:lnTo>
                  <a:cubicBezTo>
                    <a:pt x="45662" y="0"/>
                    <a:pt x="60379" y="6439"/>
                    <a:pt x="71417" y="17477"/>
                  </a:cubicBezTo>
                  <a:cubicBezTo>
                    <a:pt x="82915" y="28515"/>
                    <a:pt x="88664" y="43462"/>
                    <a:pt x="88664" y="58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" name="Forme libre : forme 108">
              <a:extLst>
                <a:ext uri="{FF2B5EF4-FFF2-40B4-BE49-F238E27FC236}">
                  <a16:creationId xmlns:a16="http://schemas.microsoft.com/office/drawing/2014/main" id="{3E28A378-29F9-4E63-8D2F-7910EE2CA370}"/>
                </a:ext>
              </a:extLst>
            </p:cNvPr>
            <p:cNvSpPr/>
            <p:nvPr/>
          </p:nvSpPr>
          <p:spPr>
            <a:xfrm rot="13089394">
              <a:off x="990163" y="-39748"/>
              <a:ext cx="111277" cy="115595"/>
            </a:xfrm>
            <a:custGeom>
              <a:avLst/>
              <a:gdLst>
                <a:gd name="connsiteX0" fmla="*/ 73521 w 73521"/>
                <a:gd name="connsiteY0" fmla="*/ 18609 h 76374"/>
                <a:gd name="connsiteX1" fmla="*/ 0 w 73521"/>
                <a:gd name="connsiteY1" fmla="*/ 76374 h 76374"/>
                <a:gd name="connsiteX2" fmla="*/ 0 w 73521"/>
                <a:gd name="connsiteY2" fmla="*/ 38074 h 76374"/>
                <a:gd name="connsiteX3" fmla="*/ 73388 w 73521"/>
                <a:gd name="connsiteY3" fmla="*/ 0 h 7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521" h="76374">
                  <a:moveTo>
                    <a:pt x="73521" y="18609"/>
                  </a:moveTo>
                  <a:lnTo>
                    <a:pt x="0" y="76374"/>
                  </a:lnTo>
                  <a:lnTo>
                    <a:pt x="0" y="38074"/>
                  </a:lnTo>
                  <a:lnTo>
                    <a:pt x="7338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" name="Forme libre : forme 109">
              <a:extLst>
                <a:ext uri="{FF2B5EF4-FFF2-40B4-BE49-F238E27FC236}">
                  <a16:creationId xmlns:a16="http://schemas.microsoft.com/office/drawing/2014/main" id="{F1CC83E5-A4EB-42DD-9A17-370BFA21AAE9}"/>
                </a:ext>
              </a:extLst>
            </p:cNvPr>
            <p:cNvSpPr/>
            <p:nvPr/>
          </p:nvSpPr>
          <p:spPr>
            <a:xfrm rot="8716295">
              <a:off x="121288" y="414134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" name="Forme libre : forme 110">
              <a:extLst>
                <a:ext uri="{FF2B5EF4-FFF2-40B4-BE49-F238E27FC236}">
                  <a16:creationId xmlns:a16="http://schemas.microsoft.com/office/drawing/2014/main" id="{9526DB8B-159A-416E-9CE4-0D6F2D18F32F}"/>
                </a:ext>
              </a:extLst>
            </p:cNvPr>
            <p:cNvSpPr/>
            <p:nvPr/>
          </p:nvSpPr>
          <p:spPr>
            <a:xfrm rot="8716295">
              <a:off x="256586" y="418560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" name="Forme libre : forme 111">
              <a:extLst>
                <a:ext uri="{FF2B5EF4-FFF2-40B4-BE49-F238E27FC236}">
                  <a16:creationId xmlns:a16="http://schemas.microsoft.com/office/drawing/2014/main" id="{8B12B296-AAE6-463A-B5CB-324F979AE957}"/>
                </a:ext>
              </a:extLst>
            </p:cNvPr>
            <p:cNvSpPr/>
            <p:nvPr/>
          </p:nvSpPr>
          <p:spPr>
            <a:xfrm rot="8716295">
              <a:off x="188704" y="405501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" name="Forme libre : forme 112">
              <a:extLst>
                <a:ext uri="{FF2B5EF4-FFF2-40B4-BE49-F238E27FC236}">
                  <a16:creationId xmlns:a16="http://schemas.microsoft.com/office/drawing/2014/main" id="{9A3F4C45-E84E-45F4-A1D8-E67A24057076}"/>
                </a:ext>
              </a:extLst>
            </p:cNvPr>
            <p:cNvSpPr/>
            <p:nvPr/>
          </p:nvSpPr>
          <p:spPr>
            <a:xfrm rot="8716295">
              <a:off x="-22408" y="4278013"/>
              <a:ext cx="57413" cy="71926"/>
            </a:xfrm>
            <a:custGeom>
              <a:avLst/>
              <a:gdLst>
                <a:gd name="connsiteX0" fmla="*/ 11441 w 57413"/>
                <a:gd name="connsiteY0" fmla="*/ 71926 h 71926"/>
                <a:gd name="connsiteX1" fmla="*/ 0 w 57413"/>
                <a:gd name="connsiteY1" fmla="*/ 44829 h 71926"/>
                <a:gd name="connsiteX2" fmla="*/ 0 w 57413"/>
                <a:gd name="connsiteY2" fmla="*/ 44139 h 71926"/>
                <a:gd name="connsiteX3" fmla="*/ 13104 w 57413"/>
                <a:gd name="connsiteY3" fmla="*/ 13104 h 71926"/>
                <a:gd name="connsiteX4" fmla="*/ 44139 w 57413"/>
                <a:gd name="connsiteY4" fmla="*/ 0 h 71926"/>
                <a:gd name="connsiteX5" fmla="*/ 57413 w 57413"/>
                <a:gd name="connsiteY5" fmla="*/ 5605 h 71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413" h="71926">
                  <a:moveTo>
                    <a:pt x="11441" y="71926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lnTo>
                    <a:pt x="57413" y="5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" name="Forme libre : forme 113">
              <a:extLst>
                <a:ext uri="{FF2B5EF4-FFF2-40B4-BE49-F238E27FC236}">
                  <a16:creationId xmlns:a16="http://schemas.microsoft.com/office/drawing/2014/main" id="{9EDF78AD-4158-4BDF-B490-2317803ACA6E}"/>
                </a:ext>
              </a:extLst>
            </p:cNvPr>
            <p:cNvSpPr/>
            <p:nvPr/>
          </p:nvSpPr>
          <p:spPr>
            <a:xfrm rot="8716295">
              <a:off x="-36969" y="4107248"/>
              <a:ext cx="147272" cy="83734"/>
            </a:xfrm>
            <a:custGeom>
              <a:avLst/>
              <a:gdLst>
                <a:gd name="connsiteX0" fmla="*/ 0 w 147272"/>
                <a:gd name="connsiteY0" fmla="*/ 83734 h 83734"/>
                <a:gd name="connsiteX1" fmla="*/ 0 w 147272"/>
                <a:gd name="connsiteY1" fmla="*/ 0 h 83734"/>
                <a:gd name="connsiteX2" fmla="*/ 147272 w 147272"/>
                <a:gd name="connsiteY2" fmla="*/ 0 h 83734"/>
                <a:gd name="connsiteX3" fmla="*/ 89230 w 147272"/>
                <a:gd name="connsiteY3" fmla="*/ 83734 h 83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272" h="83734">
                  <a:moveTo>
                    <a:pt x="0" y="83734"/>
                  </a:moveTo>
                  <a:lnTo>
                    <a:pt x="0" y="0"/>
                  </a:lnTo>
                  <a:lnTo>
                    <a:pt x="147272" y="0"/>
                  </a:lnTo>
                  <a:lnTo>
                    <a:pt x="89230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" name="Forme libre : forme 114">
              <a:extLst>
                <a:ext uri="{FF2B5EF4-FFF2-40B4-BE49-F238E27FC236}">
                  <a16:creationId xmlns:a16="http://schemas.microsoft.com/office/drawing/2014/main" id="{18A6ED0C-2A06-421B-B360-5120C1917E60}"/>
                </a:ext>
              </a:extLst>
            </p:cNvPr>
            <p:cNvSpPr/>
            <p:nvPr/>
          </p:nvSpPr>
          <p:spPr>
            <a:xfrm rot="8716295">
              <a:off x="43378" y="3712531"/>
              <a:ext cx="125537" cy="468763"/>
            </a:xfrm>
            <a:custGeom>
              <a:avLst/>
              <a:gdLst>
                <a:gd name="connsiteX0" fmla="*/ 29455 w 125537"/>
                <a:gd name="connsiteY0" fmla="*/ 468763 h 468763"/>
                <a:gd name="connsiteX1" fmla="*/ 7792 w 125537"/>
                <a:gd name="connsiteY1" fmla="*/ 425988 h 468763"/>
                <a:gd name="connsiteX2" fmla="*/ 0 w 125537"/>
                <a:gd name="connsiteY2" fmla="*/ 333043 h 468763"/>
                <a:gd name="connsiteX3" fmla="*/ 0 w 125537"/>
                <a:gd name="connsiteY3" fmla="*/ 61444 h 468763"/>
                <a:gd name="connsiteX4" fmla="*/ 118434 w 125537"/>
                <a:gd name="connsiteY4" fmla="*/ 0 h 468763"/>
                <a:gd name="connsiteX5" fmla="*/ 120216 w 125537"/>
                <a:gd name="connsiteY5" fmla="*/ 248447 h 468763"/>
                <a:gd name="connsiteX6" fmla="*/ 123889 w 125537"/>
                <a:gd name="connsiteY6" fmla="*/ 323359 h 468763"/>
                <a:gd name="connsiteX7" fmla="*/ 125537 w 125537"/>
                <a:gd name="connsiteY7" fmla="*/ 330150 h 468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537" h="468763">
                  <a:moveTo>
                    <a:pt x="29455" y="468763"/>
                  </a:moveTo>
                  <a:lnTo>
                    <a:pt x="7792" y="425988"/>
                  </a:lnTo>
                  <a:cubicBezTo>
                    <a:pt x="2003" y="400498"/>
                    <a:pt x="0" y="369553"/>
                    <a:pt x="0" y="333043"/>
                  </a:cubicBezTo>
                  <a:lnTo>
                    <a:pt x="0" y="61444"/>
                  </a:lnTo>
                  <a:lnTo>
                    <a:pt x="118434" y="0"/>
                  </a:lnTo>
                  <a:lnTo>
                    <a:pt x="120216" y="248447"/>
                  </a:lnTo>
                  <a:cubicBezTo>
                    <a:pt x="118880" y="273381"/>
                    <a:pt x="120216" y="298537"/>
                    <a:pt x="123889" y="323359"/>
                  </a:cubicBezTo>
                  <a:lnTo>
                    <a:pt x="125537" y="3301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" name="Forme libre : forme 115">
              <a:extLst>
                <a:ext uri="{FF2B5EF4-FFF2-40B4-BE49-F238E27FC236}">
                  <a16:creationId xmlns:a16="http://schemas.microsoft.com/office/drawing/2014/main" id="{E0FDC8EF-8848-4C0A-9102-11E05499477A}"/>
                </a:ext>
              </a:extLst>
            </p:cNvPr>
            <p:cNvSpPr/>
            <p:nvPr/>
          </p:nvSpPr>
          <p:spPr>
            <a:xfrm rot="8716295">
              <a:off x="87905" y="4337347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" name="Forme libre : forme 116">
              <a:extLst>
                <a:ext uri="{FF2B5EF4-FFF2-40B4-BE49-F238E27FC236}">
                  <a16:creationId xmlns:a16="http://schemas.microsoft.com/office/drawing/2014/main" id="{5A06B087-2ED7-4364-B770-117460F6509C}"/>
                </a:ext>
              </a:extLst>
            </p:cNvPr>
            <p:cNvSpPr/>
            <p:nvPr/>
          </p:nvSpPr>
          <p:spPr>
            <a:xfrm rot="8716295">
              <a:off x="558851" y="376273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" name="Forme libre : forme 117">
              <a:extLst>
                <a:ext uri="{FF2B5EF4-FFF2-40B4-BE49-F238E27FC236}">
                  <a16:creationId xmlns:a16="http://schemas.microsoft.com/office/drawing/2014/main" id="{A9CE4EB9-9050-492E-8BE3-E347F06FFDC2}"/>
                </a:ext>
              </a:extLst>
            </p:cNvPr>
            <p:cNvSpPr/>
            <p:nvPr/>
          </p:nvSpPr>
          <p:spPr>
            <a:xfrm rot="8716295">
              <a:off x="694150" y="380699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" name="Forme libre : forme 118">
              <a:extLst>
                <a:ext uri="{FF2B5EF4-FFF2-40B4-BE49-F238E27FC236}">
                  <a16:creationId xmlns:a16="http://schemas.microsoft.com/office/drawing/2014/main" id="{760AB253-194C-499B-8D42-794DA9755956}"/>
                </a:ext>
              </a:extLst>
            </p:cNvPr>
            <p:cNvSpPr/>
            <p:nvPr/>
          </p:nvSpPr>
          <p:spPr>
            <a:xfrm rot="8716295">
              <a:off x="388980" y="389674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" name="Forme libre : forme 119">
              <a:extLst>
                <a:ext uri="{FF2B5EF4-FFF2-40B4-BE49-F238E27FC236}">
                  <a16:creationId xmlns:a16="http://schemas.microsoft.com/office/drawing/2014/main" id="{40898D3E-1FCF-4F50-8E01-1AFEA6AF3C33}"/>
                </a:ext>
              </a:extLst>
            </p:cNvPr>
            <p:cNvSpPr/>
            <p:nvPr/>
          </p:nvSpPr>
          <p:spPr>
            <a:xfrm rot="8716295">
              <a:off x="199936" y="358091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" name="Forme libre : forme 120">
              <a:extLst>
                <a:ext uri="{FF2B5EF4-FFF2-40B4-BE49-F238E27FC236}">
                  <a16:creationId xmlns:a16="http://schemas.microsoft.com/office/drawing/2014/main" id="{D3FAD429-F566-4023-B7BD-D5217FAA5D96}"/>
                </a:ext>
              </a:extLst>
            </p:cNvPr>
            <p:cNvSpPr/>
            <p:nvPr/>
          </p:nvSpPr>
          <p:spPr>
            <a:xfrm rot="8716295">
              <a:off x="525469" y="3958731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" name="Forme libre : forme 121">
              <a:extLst>
                <a:ext uri="{FF2B5EF4-FFF2-40B4-BE49-F238E27FC236}">
                  <a16:creationId xmlns:a16="http://schemas.microsoft.com/office/drawing/2014/main" id="{D20A67B5-6AA2-4AB0-B207-C07057BDE093}"/>
                </a:ext>
              </a:extLst>
            </p:cNvPr>
            <p:cNvSpPr/>
            <p:nvPr/>
          </p:nvSpPr>
          <p:spPr>
            <a:xfrm rot="8716295">
              <a:off x="160022" y="3732305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" name="Forme libre : forme 122">
              <a:extLst>
                <a:ext uri="{FF2B5EF4-FFF2-40B4-BE49-F238E27FC236}">
                  <a16:creationId xmlns:a16="http://schemas.microsoft.com/office/drawing/2014/main" id="{91FEBD80-6813-4F8F-ACF7-9087BB051204}"/>
                </a:ext>
              </a:extLst>
            </p:cNvPr>
            <p:cNvSpPr/>
            <p:nvPr/>
          </p:nvSpPr>
          <p:spPr>
            <a:xfrm rot="7484129">
              <a:off x="684286" y="424834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" name="Forme libre : forme 123">
              <a:extLst>
                <a:ext uri="{FF2B5EF4-FFF2-40B4-BE49-F238E27FC236}">
                  <a16:creationId xmlns:a16="http://schemas.microsoft.com/office/drawing/2014/main" id="{4CAAD98F-1BEB-4716-B4A0-F4F1C4393647}"/>
                </a:ext>
              </a:extLst>
            </p:cNvPr>
            <p:cNvSpPr/>
            <p:nvPr/>
          </p:nvSpPr>
          <p:spPr>
            <a:xfrm rot="13089394">
              <a:off x="842936" y="4197697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" name="Forme libre : forme 124">
              <a:extLst>
                <a:ext uri="{FF2B5EF4-FFF2-40B4-BE49-F238E27FC236}">
                  <a16:creationId xmlns:a16="http://schemas.microsoft.com/office/drawing/2014/main" id="{B934D86F-56B5-4940-9189-1F845F67AF3D}"/>
                </a:ext>
              </a:extLst>
            </p:cNvPr>
            <p:cNvSpPr/>
            <p:nvPr/>
          </p:nvSpPr>
          <p:spPr>
            <a:xfrm rot="8716295">
              <a:off x="1123827" y="390757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" name="Forme libre : forme 125">
              <a:extLst>
                <a:ext uri="{FF2B5EF4-FFF2-40B4-BE49-F238E27FC236}">
                  <a16:creationId xmlns:a16="http://schemas.microsoft.com/office/drawing/2014/main" id="{0BB740E0-5261-47F5-A043-EC9887338951}"/>
                </a:ext>
              </a:extLst>
            </p:cNvPr>
            <p:cNvSpPr/>
            <p:nvPr/>
          </p:nvSpPr>
          <p:spPr>
            <a:xfrm rot="8716295">
              <a:off x="1045418" y="375078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" name="Forme libre : forme 126">
              <a:extLst>
                <a:ext uri="{FF2B5EF4-FFF2-40B4-BE49-F238E27FC236}">
                  <a16:creationId xmlns:a16="http://schemas.microsoft.com/office/drawing/2014/main" id="{07B02AA0-438E-4A9F-9E86-C7798EAE77E1}"/>
                </a:ext>
              </a:extLst>
            </p:cNvPr>
            <p:cNvSpPr/>
            <p:nvPr/>
          </p:nvSpPr>
          <p:spPr>
            <a:xfrm rot="8716295">
              <a:off x="677254" y="379652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" name="Forme libre : forme 127">
              <a:extLst>
                <a:ext uri="{FF2B5EF4-FFF2-40B4-BE49-F238E27FC236}">
                  <a16:creationId xmlns:a16="http://schemas.microsoft.com/office/drawing/2014/main" id="{500903EF-2A49-42E8-AD78-049F43A296FF}"/>
                </a:ext>
              </a:extLst>
            </p:cNvPr>
            <p:cNvSpPr/>
            <p:nvPr/>
          </p:nvSpPr>
          <p:spPr>
            <a:xfrm rot="8716295">
              <a:off x="945836" y="355550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" name="Forme libre : forme 128">
              <a:extLst>
                <a:ext uri="{FF2B5EF4-FFF2-40B4-BE49-F238E27FC236}">
                  <a16:creationId xmlns:a16="http://schemas.microsoft.com/office/drawing/2014/main" id="{480AF78A-BA1A-4D97-9E00-1B9DCCFB07D3}"/>
                </a:ext>
              </a:extLst>
            </p:cNvPr>
            <p:cNvSpPr/>
            <p:nvPr/>
          </p:nvSpPr>
          <p:spPr>
            <a:xfrm rot="8716295">
              <a:off x="601570" y="5027951"/>
              <a:ext cx="169680" cy="113030"/>
            </a:xfrm>
            <a:custGeom>
              <a:avLst/>
              <a:gdLst>
                <a:gd name="connsiteX0" fmla="*/ 8965 w 169680"/>
                <a:gd name="connsiteY0" fmla="*/ 113030 h 113030"/>
                <a:gd name="connsiteX1" fmla="*/ 0 w 169680"/>
                <a:gd name="connsiteY1" fmla="*/ 100616 h 113030"/>
                <a:gd name="connsiteX2" fmla="*/ 106933 w 169680"/>
                <a:gd name="connsiteY2" fmla="*/ 0 h 113030"/>
                <a:gd name="connsiteX3" fmla="*/ 169680 w 169680"/>
                <a:gd name="connsiteY3" fmla="*/ 43494 h 113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680" h="113030">
                  <a:moveTo>
                    <a:pt x="8965" y="113030"/>
                  </a:moveTo>
                  <a:lnTo>
                    <a:pt x="0" y="100616"/>
                  </a:lnTo>
                  <a:lnTo>
                    <a:pt x="106933" y="0"/>
                  </a:lnTo>
                  <a:lnTo>
                    <a:pt x="169680" y="434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" name="Forme libre : forme 129">
              <a:extLst>
                <a:ext uri="{FF2B5EF4-FFF2-40B4-BE49-F238E27FC236}">
                  <a16:creationId xmlns:a16="http://schemas.microsoft.com/office/drawing/2014/main" id="{EE8617F6-3CC3-49C7-A836-7CB9E4E540AD}"/>
                </a:ext>
              </a:extLst>
            </p:cNvPr>
            <p:cNvSpPr/>
            <p:nvPr/>
          </p:nvSpPr>
          <p:spPr>
            <a:xfrm rot="8716295">
              <a:off x="197311" y="4925365"/>
              <a:ext cx="194366" cy="296463"/>
            </a:xfrm>
            <a:custGeom>
              <a:avLst/>
              <a:gdLst>
                <a:gd name="connsiteX0" fmla="*/ 137293 w 194366"/>
                <a:gd name="connsiteY0" fmla="*/ 296463 h 296463"/>
                <a:gd name="connsiteX1" fmla="*/ 72418 w 194366"/>
                <a:gd name="connsiteY1" fmla="*/ 175766 h 296463"/>
                <a:gd name="connsiteX2" fmla="*/ 105610 w 194366"/>
                <a:gd name="connsiteY2" fmla="*/ 83734 h 296463"/>
                <a:gd name="connsiteX3" fmla="*/ 0 w 194366"/>
                <a:gd name="connsiteY3" fmla="*/ 83734 h 296463"/>
                <a:gd name="connsiteX4" fmla="*/ 0 w 194366"/>
                <a:gd name="connsiteY4" fmla="*/ 0 h 296463"/>
                <a:gd name="connsiteX5" fmla="*/ 6043 w 194366"/>
                <a:gd name="connsiteY5" fmla="*/ 0 h 296463"/>
                <a:gd name="connsiteX6" fmla="*/ 194366 w 194366"/>
                <a:gd name="connsiteY6" fmla="*/ 130539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4366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6043" y="0"/>
                  </a:lnTo>
                  <a:lnTo>
                    <a:pt x="194366" y="1305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" name="Forme libre : forme 130">
              <a:extLst>
                <a:ext uri="{FF2B5EF4-FFF2-40B4-BE49-F238E27FC236}">
                  <a16:creationId xmlns:a16="http://schemas.microsoft.com/office/drawing/2014/main" id="{7A3770F8-0F14-4D5B-BC93-8BDF0237ED5F}"/>
                </a:ext>
              </a:extLst>
            </p:cNvPr>
            <p:cNvSpPr/>
            <p:nvPr/>
          </p:nvSpPr>
          <p:spPr>
            <a:xfrm rot="8716295">
              <a:off x="81902" y="4747962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" name="Forme libre : forme 131">
              <a:extLst>
                <a:ext uri="{FF2B5EF4-FFF2-40B4-BE49-F238E27FC236}">
                  <a16:creationId xmlns:a16="http://schemas.microsoft.com/office/drawing/2014/main" id="{6F3531E0-325E-4C4E-9F22-978D3BA0B1C2}"/>
                </a:ext>
              </a:extLst>
            </p:cNvPr>
            <p:cNvSpPr/>
            <p:nvPr/>
          </p:nvSpPr>
          <p:spPr>
            <a:xfrm rot="8716295">
              <a:off x="896624" y="4761216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" name="Forme libre : forme 132">
              <a:extLst>
                <a:ext uri="{FF2B5EF4-FFF2-40B4-BE49-F238E27FC236}">
                  <a16:creationId xmlns:a16="http://schemas.microsoft.com/office/drawing/2014/main" id="{0B981DC2-26C2-44B6-A24A-4014CF42843D}"/>
                </a:ext>
              </a:extLst>
            </p:cNvPr>
            <p:cNvSpPr/>
            <p:nvPr/>
          </p:nvSpPr>
          <p:spPr>
            <a:xfrm rot="8716295">
              <a:off x="1032483" y="4799006"/>
              <a:ext cx="389853" cy="383455"/>
            </a:xfrm>
            <a:custGeom>
              <a:avLst/>
              <a:gdLst>
                <a:gd name="connsiteX0" fmla="*/ 77932 w 389853"/>
                <a:gd name="connsiteY0" fmla="*/ 383455 h 383455"/>
                <a:gd name="connsiteX1" fmla="*/ 77932 w 389853"/>
                <a:gd name="connsiteY1" fmla="*/ 66898 h 383455"/>
                <a:gd name="connsiteX2" fmla="*/ 0 w 389853"/>
                <a:gd name="connsiteY2" fmla="*/ 66898 h 383455"/>
                <a:gd name="connsiteX3" fmla="*/ 0 w 389853"/>
                <a:gd name="connsiteY3" fmla="*/ 0 h 383455"/>
                <a:gd name="connsiteX4" fmla="*/ 158623 w 389853"/>
                <a:gd name="connsiteY4" fmla="*/ 0 h 383455"/>
                <a:gd name="connsiteX5" fmla="*/ 158623 w 389853"/>
                <a:gd name="connsiteY5" fmla="*/ 111726 h 383455"/>
                <a:gd name="connsiteX6" fmla="*/ 160692 w 389853"/>
                <a:gd name="connsiteY6" fmla="*/ 111726 h 383455"/>
                <a:gd name="connsiteX7" fmla="*/ 192762 w 389853"/>
                <a:gd name="connsiteY7" fmla="*/ 39914 h 383455"/>
                <a:gd name="connsiteX8" fmla="*/ 216292 w 389853"/>
                <a:gd name="connsiteY8" fmla="*/ 20658 h 383455"/>
                <a:gd name="connsiteX9" fmla="*/ 389853 w 389853"/>
                <a:gd name="connsiteY9" fmla="*/ 140965 h 383455"/>
                <a:gd name="connsiteX10" fmla="*/ 300695 w 389853"/>
                <a:gd name="connsiteY10" fmla="*/ 146210 h 383455"/>
                <a:gd name="connsiteX11" fmla="*/ 300694 w 389853"/>
                <a:gd name="connsiteY11" fmla="*/ 121382 h 383455"/>
                <a:gd name="connsiteX12" fmla="*/ 249659 w 389853"/>
                <a:gd name="connsiteY12" fmla="*/ 58622 h 383455"/>
                <a:gd name="connsiteX13" fmla="*/ 168969 w 389853"/>
                <a:gd name="connsiteY13" fmla="*/ 191038 h 383455"/>
                <a:gd name="connsiteX14" fmla="*/ 168969 w 389853"/>
                <a:gd name="connsiteY14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9853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71727" y="78967"/>
                    <a:pt x="181555" y="56208"/>
                    <a:pt x="192762" y="39914"/>
                  </a:cubicBezTo>
                  <a:lnTo>
                    <a:pt x="216292" y="20658"/>
                  </a:lnTo>
                  <a:lnTo>
                    <a:pt x="389853" y="140965"/>
                  </a:lnTo>
                  <a:lnTo>
                    <a:pt x="300695" y="146210"/>
                  </a:lnTo>
                  <a:lnTo>
                    <a:pt x="300694" y="121382"/>
                  </a:lnTo>
                  <a:cubicBezTo>
                    <a:pt x="300695" y="84140"/>
                    <a:pt x="279315" y="58621"/>
                    <a:pt x="249659" y="58622"/>
                  </a:cubicBezTo>
                  <a:cubicBezTo>
                    <a:pt x="205521" y="58621"/>
                    <a:pt x="168969" y="117244"/>
                    <a:pt x="168969" y="191038"/>
                  </a:cubicBez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" name="Forme libre : forme 133">
              <a:extLst>
                <a:ext uri="{FF2B5EF4-FFF2-40B4-BE49-F238E27FC236}">
                  <a16:creationId xmlns:a16="http://schemas.microsoft.com/office/drawing/2014/main" id="{A3972FDD-BF94-4723-9E5F-9672CBFB9038}"/>
                </a:ext>
              </a:extLst>
            </p:cNvPr>
            <p:cNvSpPr/>
            <p:nvPr/>
          </p:nvSpPr>
          <p:spPr>
            <a:xfrm rot="8716295">
              <a:off x="726753" y="489523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" name="Forme libre : forme 134">
              <a:extLst>
                <a:ext uri="{FF2B5EF4-FFF2-40B4-BE49-F238E27FC236}">
                  <a16:creationId xmlns:a16="http://schemas.microsoft.com/office/drawing/2014/main" id="{53E7288B-8855-433D-88B5-BB9A05F8E9B6}"/>
                </a:ext>
              </a:extLst>
            </p:cNvPr>
            <p:cNvSpPr/>
            <p:nvPr/>
          </p:nvSpPr>
          <p:spPr>
            <a:xfrm rot="8716295">
              <a:off x="537709" y="457939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" name="Forme libre : forme 135">
              <a:extLst>
                <a:ext uri="{FF2B5EF4-FFF2-40B4-BE49-F238E27FC236}">
                  <a16:creationId xmlns:a16="http://schemas.microsoft.com/office/drawing/2014/main" id="{6D0BADDB-ADF9-4A5A-9268-3F374A71F372}"/>
                </a:ext>
              </a:extLst>
            </p:cNvPr>
            <p:cNvSpPr/>
            <p:nvPr/>
          </p:nvSpPr>
          <p:spPr>
            <a:xfrm rot="8716295">
              <a:off x="826576" y="4988476"/>
              <a:ext cx="91035" cy="198648"/>
            </a:xfrm>
            <a:custGeom>
              <a:avLst/>
              <a:gdLst>
                <a:gd name="connsiteX0" fmla="*/ 91035 w 91035"/>
                <a:gd name="connsiteY0" fmla="*/ 198648 h 198648"/>
                <a:gd name="connsiteX1" fmla="*/ 0 w 91035"/>
                <a:gd name="connsiteY1" fmla="*/ 111060 h 198648"/>
                <a:gd name="connsiteX2" fmla="*/ 0 w 91035"/>
                <a:gd name="connsiteY2" fmla="*/ 0 h 198648"/>
                <a:gd name="connsiteX3" fmla="*/ 91035 w 91035"/>
                <a:gd name="connsiteY3" fmla="*/ 63103 h 198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198648">
                  <a:moveTo>
                    <a:pt x="91035" y="198648"/>
                  </a:moveTo>
                  <a:lnTo>
                    <a:pt x="0" y="111060"/>
                  </a:lnTo>
                  <a:lnTo>
                    <a:pt x="0" y="0"/>
                  </a:lnTo>
                  <a:lnTo>
                    <a:pt x="91035" y="631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" name="Forme libre : forme 136">
              <a:extLst>
                <a:ext uri="{FF2B5EF4-FFF2-40B4-BE49-F238E27FC236}">
                  <a16:creationId xmlns:a16="http://schemas.microsoft.com/office/drawing/2014/main" id="{7A0A28EA-B520-49BA-800F-B4282BF0ECB8}"/>
                </a:ext>
              </a:extLst>
            </p:cNvPr>
            <p:cNvSpPr/>
            <p:nvPr/>
          </p:nvSpPr>
          <p:spPr>
            <a:xfrm rot="8716295">
              <a:off x="497795" y="4730788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" name="Forme libre : forme 137">
              <a:extLst>
                <a:ext uri="{FF2B5EF4-FFF2-40B4-BE49-F238E27FC236}">
                  <a16:creationId xmlns:a16="http://schemas.microsoft.com/office/drawing/2014/main" id="{8781DCBF-8301-4C81-B93D-E186016AF47F}"/>
                </a:ext>
              </a:extLst>
            </p:cNvPr>
            <p:cNvSpPr/>
            <p:nvPr/>
          </p:nvSpPr>
          <p:spPr>
            <a:xfrm rot="8716295">
              <a:off x="1459248" y="4904357"/>
              <a:ext cx="328004" cy="223069"/>
            </a:xfrm>
            <a:custGeom>
              <a:avLst/>
              <a:gdLst>
                <a:gd name="connsiteX0" fmla="*/ 10574 w 328004"/>
                <a:gd name="connsiteY0" fmla="*/ 223069 h 223069"/>
                <a:gd name="connsiteX1" fmla="*/ 0 w 328004"/>
                <a:gd name="connsiteY1" fmla="*/ 208428 h 223069"/>
                <a:gd name="connsiteX2" fmla="*/ 192781 w 328004"/>
                <a:gd name="connsiteY2" fmla="*/ 27035 h 223069"/>
                <a:gd name="connsiteX3" fmla="*/ 227094 w 328004"/>
                <a:gd name="connsiteY3" fmla="*/ 0 h 223069"/>
                <a:gd name="connsiteX4" fmla="*/ 328004 w 328004"/>
                <a:gd name="connsiteY4" fmla="*/ 69948 h 223069"/>
                <a:gd name="connsiteX5" fmla="*/ 326080 w 328004"/>
                <a:gd name="connsiteY5" fmla="*/ 74925 h 223069"/>
                <a:gd name="connsiteX6" fmla="*/ 293645 w 328004"/>
                <a:gd name="connsiteY6" fmla="*/ 100243 h 223069"/>
                <a:gd name="connsiteX7" fmla="*/ 294458 w 328004"/>
                <a:gd name="connsiteY7" fmla="*/ 100243 h 223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8004" h="223069">
                  <a:moveTo>
                    <a:pt x="10574" y="223069"/>
                  </a:moveTo>
                  <a:lnTo>
                    <a:pt x="0" y="208428"/>
                  </a:lnTo>
                  <a:lnTo>
                    <a:pt x="192781" y="27035"/>
                  </a:lnTo>
                  <a:lnTo>
                    <a:pt x="227094" y="0"/>
                  </a:lnTo>
                  <a:lnTo>
                    <a:pt x="328004" y="69948"/>
                  </a:lnTo>
                  <a:lnTo>
                    <a:pt x="326080" y="74925"/>
                  </a:lnTo>
                  <a:cubicBezTo>
                    <a:pt x="317843" y="85805"/>
                    <a:pt x="306659" y="94549"/>
                    <a:pt x="293645" y="100243"/>
                  </a:cubicBezTo>
                  <a:lnTo>
                    <a:pt x="294458" y="10024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" name="Forme libre : forme 138">
              <a:extLst>
                <a:ext uri="{FF2B5EF4-FFF2-40B4-BE49-F238E27FC236}">
                  <a16:creationId xmlns:a16="http://schemas.microsoft.com/office/drawing/2014/main" id="{3ED78FC6-709C-4AA3-BB63-2CC979D6E8FB}"/>
                </a:ext>
              </a:extLst>
            </p:cNvPr>
            <p:cNvSpPr/>
            <p:nvPr/>
          </p:nvSpPr>
          <p:spPr>
            <a:xfrm rot="8716295">
              <a:off x="1383191" y="474927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" name="Forme libre : forme 139">
              <a:extLst>
                <a:ext uri="{FF2B5EF4-FFF2-40B4-BE49-F238E27FC236}">
                  <a16:creationId xmlns:a16="http://schemas.microsoft.com/office/drawing/2014/main" id="{AC25FEFC-06C2-45EF-9330-9EAB676F1680}"/>
                </a:ext>
              </a:extLst>
            </p:cNvPr>
            <p:cNvSpPr/>
            <p:nvPr/>
          </p:nvSpPr>
          <p:spPr>
            <a:xfrm rot="8716295">
              <a:off x="1015027" y="479501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" name="Forme libre : forme 140">
              <a:extLst>
                <a:ext uri="{FF2B5EF4-FFF2-40B4-BE49-F238E27FC236}">
                  <a16:creationId xmlns:a16="http://schemas.microsoft.com/office/drawing/2014/main" id="{6FCEE809-B78B-468F-8A4F-11AD6B5B5DFE}"/>
                </a:ext>
              </a:extLst>
            </p:cNvPr>
            <p:cNvSpPr/>
            <p:nvPr/>
          </p:nvSpPr>
          <p:spPr>
            <a:xfrm rot="8716295">
              <a:off x="1283609" y="455399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" name="Forme libre : forme 141">
              <a:extLst>
                <a:ext uri="{FF2B5EF4-FFF2-40B4-BE49-F238E27FC236}">
                  <a16:creationId xmlns:a16="http://schemas.microsoft.com/office/drawing/2014/main" id="{4D7B8EF3-5C2F-4403-A58E-C6455E9DC2F8}"/>
                </a:ext>
              </a:extLst>
            </p:cNvPr>
            <p:cNvSpPr/>
            <p:nvPr/>
          </p:nvSpPr>
          <p:spPr>
            <a:xfrm rot="8716295">
              <a:off x="-30381" y="3359388"/>
              <a:ext cx="98497" cy="75863"/>
            </a:xfrm>
            <a:custGeom>
              <a:avLst/>
              <a:gdLst>
                <a:gd name="connsiteX0" fmla="*/ 0 w 98497"/>
                <a:gd name="connsiteY0" fmla="*/ 75863 h 75863"/>
                <a:gd name="connsiteX1" fmla="*/ 0 w 98497"/>
                <a:gd name="connsiteY1" fmla="*/ 0 h 75863"/>
                <a:gd name="connsiteX2" fmla="*/ 98497 w 98497"/>
                <a:gd name="connsiteY2" fmla="*/ 0 h 75863"/>
                <a:gd name="connsiteX3" fmla="*/ 45911 w 98497"/>
                <a:gd name="connsiteY3" fmla="*/ 75863 h 75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497" h="75863">
                  <a:moveTo>
                    <a:pt x="0" y="75863"/>
                  </a:moveTo>
                  <a:lnTo>
                    <a:pt x="0" y="0"/>
                  </a:lnTo>
                  <a:lnTo>
                    <a:pt x="98497" y="0"/>
                  </a:lnTo>
                  <a:lnTo>
                    <a:pt x="45911" y="758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" name="Forme libre : forme 142">
              <a:extLst>
                <a:ext uri="{FF2B5EF4-FFF2-40B4-BE49-F238E27FC236}">
                  <a16:creationId xmlns:a16="http://schemas.microsoft.com/office/drawing/2014/main" id="{E1CB3E01-5CB9-4779-88E3-4FF297370B3E}"/>
                </a:ext>
              </a:extLst>
            </p:cNvPr>
            <p:cNvSpPr/>
            <p:nvPr/>
          </p:nvSpPr>
          <p:spPr>
            <a:xfrm rot="8716295">
              <a:off x="-77334" y="3178477"/>
              <a:ext cx="389652" cy="385611"/>
            </a:xfrm>
            <a:custGeom>
              <a:avLst/>
              <a:gdLst>
                <a:gd name="connsiteX0" fmla="*/ 77932 w 389652"/>
                <a:gd name="connsiteY0" fmla="*/ 385611 h 385611"/>
                <a:gd name="connsiteX1" fmla="*/ 77932 w 389652"/>
                <a:gd name="connsiteY1" fmla="*/ 69054 h 385611"/>
                <a:gd name="connsiteX2" fmla="*/ 0 w 389652"/>
                <a:gd name="connsiteY2" fmla="*/ 69054 h 385611"/>
                <a:gd name="connsiteX3" fmla="*/ 0 w 389652"/>
                <a:gd name="connsiteY3" fmla="*/ 2156 h 385611"/>
                <a:gd name="connsiteX4" fmla="*/ 158623 w 389652"/>
                <a:gd name="connsiteY4" fmla="*/ 2156 h 385611"/>
                <a:gd name="connsiteX5" fmla="*/ 158623 w 389652"/>
                <a:gd name="connsiteY5" fmla="*/ 113882 h 385611"/>
                <a:gd name="connsiteX6" fmla="*/ 160692 w 389652"/>
                <a:gd name="connsiteY6" fmla="*/ 113882 h 385611"/>
                <a:gd name="connsiteX7" fmla="*/ 233107 w 389652"/>
                <a:gd name="connsiteY7" fmla="*/ 9053 h 385611"/>
                <a:gd name="connsiteX8" fmla="*/ 280694 w 389652"/>
                <a:gd name="connsiteY8" fmla="*/ 87 h 385611"/>
                <a:gd name="connsiteX9" fmla="*/ 364230 w 389652"/>
                <a:gd name="connsiteY9" fmla="*/ 34398 h 385611"/>
                <a:gd name="connsiteX10" fmla="*/ 389652 w 389652"/>
                <a:gd name="connsiteY10" fmla="*/ 117977 h 385611"/>
                <a:gd name="connsiteX11" fmla="*/ 371473 w 389652"/>
                <a:gd name="connsiteY11" fmla="*/ 144202 h 385611"/>
                <a:gd name="connsiteX12" fmla="*/ 300695 w 389652"/>
                <a:gd name="connsiteY12" fmla="*/ 148366 h 385611"/>
                <a:gd name="connsiteX13" fmla="*/ 300695 w 389652"/>
                <a:gd name="connsiteY13" fmla="*/ 123538 h 385611"/>
                <a:gd name="connsiteX14" fmla="*/ 249659 w 389652"/>
                <a:gd name="connsiteY14" fmla="*/ 60778 h 385611"/>
                <a:gd name="connsiteX15" fmla="*/ 168969 w 389652"/>
                <a:gd name="connsiteY15" fmla="*/ 193194 h 385611"/>
                <a:gd name="connsiteX16" fmla="*/ 168969 w 389652"/>
                <a:gd name="connsiteY16" fmla="*/ 323541 h 385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89652" h="385611">
                  <a:moveTo>
                    <a:pt x="77932" y="385611"/>
                  </a:moveTo>
                  <a:lnTo>
                    <a:pt x="77932" y="69054"/>
                  </a:lnTo>
                  <a:lnTo>
                    <a:pt x="0" y="69054"/>
                  </a:lnTo>
                  <a:lnTo>
                    <a:pt x="0" y="2156"/>
                  </a:lnTo>
                  <a:lnTo>
                    <a:pt x="158623" y="2156"/>
                  </a:lnTo>
                  <a:lnTo>
                    <a:pt x="158623" y="113882"/>
                  </a:lnTo>
                  <a:lnTo>
                    <a:pt x="160692" y="113882"/>
                  </a:lnTo>
                  <a:cubicBezTo>
                    <a:pt x="182762" y="48364"/>
                    <a:pt x="200003" y="22846"/>
                    <a:pt x="233107" y="9053"/>
                  </a:cubicBezTo>
                  <a:cubicBezTo>
                    <a:pt x="248280" y="2846"/>
                    <a:pt x="264142" y="-602"/>
                    <a:pt x="280694" y="87"/>
                  </a:cubicBezTo>
                  <a:cubicBezTo>
                    <a:pt x="316212" y="-603"/>
                    <a:pt x="344661" y="11466"/>
                    <a:pt x="364230" y="34398"/>
                  </a:cubicBezTo>
                  <a:lnTo>
                    <a:pt x="389652" y="117977"/>
                  </a:lnTo>
                  <a:lnTo>
                    <a:pt x="371473" y="144202"/>
                  </a:lnTo>
                  <a:lnTo>
                    <a:pt x="300695" y="148366"/>
                  </a:lnTo>
                  <a:lnTo>
                    <a:pt x="300695" y="123538"/>
                  </a:lnTo>
                  <a:cubicBezTo>
                    <a:pt x="300695" y="86296"/>
                    <a:pt x="279315" y="60778"/>
                    <a:pt x="249659" y="60778"/>
                  </a:cubicBezTo>
                  <a:cubicBezTo>
                    <a:pt x="205521" y="60778"/>
                    <a:pt x="168969" y="119400"/>
                    <a:pt x="168969" y="193194"/>
                  </a:cubicBezTo>
                  <a:lnTo>
                    <a:pt x="168969" y="3235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4" name="Forme libre : forme 143">
              <a:extLst>
                <a:ext uri="{FF2B5EF4-FFF2-40B4-BE49-F238E27FC236}">
                  <a16:creationId xmlns:a16="http://schemas.microsoft.com/office/drawing/2014/main" id="{693C3616-465F-40B5-99BD-A4355895EC1C}"/>
                </a:ext>
              </a:extLst>
            </p:cNvPr>
            <p:cNvSpPr/>
            <p:nvPr/>
          </p:nvSpPr>
          <p:spPr>
            <a:xfrm rot="8716295">
              <a:off x="-71352" y="3029015"/>
              <a:ext cx="193594" cy="189959"/>
            </a:xfrm>
            <a:custGeom>
              <a:avLst/>
              <a:gdLst>
                <a:gd name="connsiteX0" fmla="*/ 8965 w 193594"/>
                <a:gd name="connsiteY0" fmla="*/ 189959 h 189959"/>
                <a:gd name="connsiteX1" fmla="*/ 0 w 193594"/>
                <a:gd name="connsiteY1" fmla="*/ 177545 h 189959"/>
                <a:gd name="connsiteX2" fmla="*/ 163451 w 193594"/>
                <a:gd name="connsiteY2" fmla="*/ 23749 h 189959"/>
                <a:gd name="connsiteX3" fmla="*/ 193594 w 193594"/>
                <a:gd name="connsiteY3" fmla="*/ 0 h 189959"/>
                <a:gd name="connsiteX4" fmla="*/ 84606 w 193594"/>
                <a:gd name="connsiteY4" fmla="*/ 157232 h 189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594" h="189959">
                  <a:moveTo>
                    <a:pt x="8965" y="189959"/>
                  </a:moveTo>
                  <a:lnTo>
                    <a:pt x="0" y="177545"/>
                  </a:lnTo>
                  <a:lnTo>
                    <a:pt x="163451" y="23749"/>
                  </a:lnTo>
                  <a:lnTo>
                    <a:pt x="193594" y="0"/>
                  </a:lnTo>
                  <a:lnTo>
                    <a:pt x="84606" y="15723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5" name="Forme libre : forme 144">
              <a:extLst>
                <a:ext uri="{FF2B5EF4-FFF2-40B4-BE49-F238E27FC236}">
                  <a16:creationId xmlns:a16="http://schemas.microsoft.com/office/drawing/2014/main" id="{24B29AA9-322C-494E-97CF-CB28B697D24F}"/>
                </a:ext>
              </a:extLst>
            </p:cNvPr>
            <p:cNvSpPr/>
            <p:nvPr/>
          </p:nvSpPr>
          <p:spPr>
            <a:xfrm rot="8716295">
              <a:off x="223574" y="276232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6" name="Forme libre : forme 145">
              <a:extLst>
                <a:ext uri="{FF2B5EF4-FFF2-40B4-BE49-F238E27FC236}">
                  <a16:creationId xmlns:a16="http://schemas.microsoft.com/office/drawing/2014/main" id="{F8DE088E-7554-4812-9E9E-4D30E041F578}"/>
                </a:ext>
              </a:extLst>
            </p:cNvPr>
            <p:cNvSpPr/>
            <p:nvPr/>
          </p:nvSpPr>
          <p:spPr>
            <a:xfrm rot="8716295">
              <a:off x="358873" y="2806579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7" name="Forme libre : forme 146">
              <a:extLst>
                <a:ext uri="{FF2B5EF4-FFF2-40B4-BE49-F238E27FC236}">
                  <a16:creationId xmlns:a16="http://schemas.microsoft.com/office/drawing/2014/main" id="{B9E26502-E7AD-4DA1-9955-0A4E18FDB87E}"/>
                </a:ext>
              </a:extLst>
            </p:cNvPr>
            <p:cNvSpPr/>
            <p:nvPr/>
          </p:nvSpPr>
          <p:spPr>
            <a:xfrm rot="8716295">
              <a:off x="53703" y="2896335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8" name="Forme libre : forme 147">
              <a:extLst>
                <a:ext uri="{FF2B5EF4-FFF2-40B4-BE49-F238E27FC236}">
                  <a16:creationId xmlns:a16="http://schemas.microsoft.com/office/drawing/2014/main" id="{916CFE5B-3405-43DB-8C30-699019D1BD67}"/>
                </a:ext>
              </a:extLst>
            </p:cNvPr>
            <p:cNvSpPr/>
            <p:nvPr/>
          </p:nvSpPr>
          <p:spPr>
            <a:xfrm rot="8716295">
              <a:off x="-92201" y="2622488"/>
              <a:ext cx="271732" cy="238722"/>
            </a:xfrm>
            <a:custGeom>
              <a:avLst/>
              <a:gdLst>
                <a:gd name="connsiteX0" fmla="*/ 106257 w 271732"/>
                <a:gd name="connsiteY0" fmla="*/ 238722 h 238722"/>
                <a:gd name="connsiteX1" fmla="*/ 72418 w 271732"/>
                <a:gd name="connsiteY1" fmla="*/ 175766 h 238722"/>
                <a:gd name="connsiteX2" fmla="*/ 105610 w 271732"/>
                <a:gd name="connsiteY2" fmla="*/ 83734 h 238722"/>
                <a:gd name="connsiteX3" fmla="*/ 0 w 271732"/>
                <a:gd name="connsiteY3" fmla="*/ 83734 h 238722"/>
                <a:gd name="connsiteX4" fmla="*/ 0 w 271732"/>
                <a:gd name="connsiteY4" fmla="*/ 0 h 238722"/>
                <a:gd name="connsiteX5" fmla="*/ 271732 w 271732"/>
                <a:gd name="connsiteY5" fmla="*/ 0 h 238722"/>
                <a:gd name="connsiteX6" fmla="*/ 213690 w 271732"/>
                <a:gd name="connsiteY6" fmla="*/ 83734 h 238722"/>
                <a:gd name="connsiteX7" fmla="*/ 210465 w 271732"/>
                <a:gd name="connsiteY7" fmla="*/ 83734 h 238722"/>
                <a:gd name="connsiteX8" fmla="*/ 207289 w 271732"/>
                <a:gd name="connsiteY8" fmla="*/ 92969 h 238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1732" h="238722">
                  <a:moveTo>
                    <a:pt x="106257" y="238722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71732" y="0"/>
                  </a:lnTo>
                  <a:lnTo>
                    <a:pt x="213690" y="83734"/>
                  </a:lnTo>
                  <a:lnTo>
                    <a:pt x="210465" y="83734"/>
                  </a:lnTo>
                  <a:lnTo>
                    <a:pt x="207289" y="929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9" name="Forme libre : forme 148">
              <a:extLst>
                <a:ext uri="{FF2B5EF4-FFF2-40B4-BE49-F238E27FC236}">
                  <a16:creationId xmlns:a16="http://schemas.microsoft.com/office/drawing/2014/main" id="{D3C330C6-8ED8-4019-9D23-534F7E32B7C3}"/>
                </a:ext>
              </a:extLst>
            </p:cNvPr>
            <p:cNvSpPr/>
            <p:nvPr/>
          </p:nvSpPr>
          <p:spPr>
            <a:xfrm rot="8716295">
              <a:off x="190192" y="2958318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0" name="Forme libre : forme 149">
              <a:extLst>
                <a:ext uri="{FF2B5EF4-FFF2-40B4-BE49-F238E27FC236}">
                  <a16:creationId xmlns:a16="http://schemas.microsoft.com/office/drawing/2014/main" id="{7556479F-3BE7-4641-97C7-A31999C980CD}"/>
                </a:ext>
              </a:extLst>
            </p:cNvPr>
            <p:cNvSpPr/>
            <p:nvPr/>
          </p:nvSpPr>
          <p:spPr>
            <a:xfrm rot="7484129">
              <a:off x="349009" y="324793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1" name="Forme libre : forme 150">
              <a:extLst>
                <a:ext uri="{FF2B5EF4-FFF2-40B4-BE49-F238E27FC236}">
                  <a16:creationId xmlns:a16="http://schemas.microsoft.com/office/drawing/2014/main" id="{C9126667-6906-4254-B833-2535AC138F99}"/>
                </a:ext>
              </a:extLst>
            </p:cNvPr>
            <p:cNvSpPr/>
            <p:nvPr/>
          </p:nvSpPr>
          <p:spPr>
            <a:xfrm rot="13089394">
              <a:off x="507659" y="3197284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2" name="Forme libre : forme 151">
              <a:extLst>
                <a:ext uri="{FF2B5EF4-FFF2-40B4-BE49-F238E27FC236}">
                  <a16:creationId xmlns:a16="http://schemas.microsoft.com/office/drawing/2014/main" id="{EB63A53B-C558-41C6-87D3-6E3EEB414D38}"/>
                </a:ext>
              </a:extLst>
            </p:cNvPr>
            <p:cNvSpPr/>
            <p:nvPr/>
          </p:nvSpPr>
          <p:spPr>
            <a:xfrm rot="8716295">
              <a:off x="788550" y="2907166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3" name="Forme libre : forme 152">
              <a:extLst>
                <a:ext uri="{FF2B5EF4-FFF2-40B4-BE49-F238E27FC236}">
                  <a16:creationId xmlns:a16="http://schemas.microsoft.com/office/drawing/2014/main" id="{EBE3A45E-76C2-41F7-84F5-A2A181D50E91}"/>
                </a:ext>
              </a:extLst>
            </p:cNvPr>
            <p:cNvSpPr/>
            <p:nvPr/>
          </p:nvSpPr>
          <p:spPr>
            <a:xfrm rot="8716295">
              <a:off x="710141" y="275037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4" name="Forme libre : forme 153">
              <a:extLst>
                <a:ext uri="{FF2B5EF4-FFF2-40B4-BE49-F238E27FC236}">
                  <a16:creationId xmlns:a16="http://schemas.microsoft.com/office/drawing/2014/main" id="{871F770F-4D72-4427-86D1-F18744993E05}"/>
                </a:ext>
              </a:extLst>
            </p:cNvPr>
            <p:cNvSpPr/>
            <p:nvPr/>
          </p:nvSpPr>
          <p:spPr>
            <a:xfrm rot="8716295">
              <a:off x="341977" y="279611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5" name="Forme libre : forme 154">
              <a:extLst>
                <a:ext uri="{FF2B5EF4-FFF2-40B4-BE49-F238E27FC236}">
                  <a16:creationId xmlns:a16="http://schemas.microsoft.com/office/drawing/2014/main" id="{CBA9ADD5-0B79-42BB-A803-7DD5C3582812}"/>
                </a:ext>
              </a:extLst>
            </p:cNvPr>
            <p:cNvSpPr/>
            <p:nvPr/>
          </p:nvSpPr>
          <p:spPr>
            <a:xfrm rot="8716295">
              <a:off x="610559" y="2555095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6" name="Forme libre : forme 155">
              <a:extLst>
                <a:ext uri="{FF2B5EF4-FFF2-40B4-BE49-F238E27FC236}">
                  <a16:creationId xmlns:a16="http://schemas.microsoft.com/office/drawing/2014/main" id="{7B5F712C-46C4-40C0-B35F-823DEC5DC95D}"/>
                </a:ext>
              </a:extLst>
            </p:cNvPr>
            <p:cNvSpPr/>
            <p:nvPr/>
          </p:nvSpPr>
          <p:spPr>
            <a:xfrm rot="8716295">
              <a:off x="-24305" y="2374348"/>
              <a:ext cx="58950" cy="66898"/>
            </a:xfrm>
            <a:custGeom>
              <a:avLst/>
              <a:gdLst>
                <a:gd name="connsiteX0" fmla="*/ 0 w 58950"/>
                <a:gd name="connsiteY0" fmla="*/ 66898 h 66898"/>
                <a:gd name="connsiteX1" fmla="*/ 0 w 58950"/>
                <a:gd name="connsiteY1" fmla="*/ 0 h 66898"/>
                <a:gd name="connsiteX2" fmla="*/ 58950 w 58950"/>
                <a:gd name="connsiteY2" fmla="*/ 0 h 66898"/>
                <a:gd name="connsiteX3" fmla="*/ 12579 w 58950"/>
                <a:gd name="connsiteY3" fmla="*/ 66898 h 6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950" h="66898">
                  <a:moveTo>
                    <a:pt x="0" y="66898"/>
                  </a:moveTo>
                  <a:lnTo>
                    <a:pt x="0" y="0"/>
                  </a:lnTo>
                  <a:lnTo>
                    <a:pt x="58950" y="0"/>
                  </a:lnTo>
                  <a:lnTo>
                    <a:pt x="12579" y="668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7" name="Forme libre : forme 156">
              <a:extLst>
                <a:ext uri="{FF2B5EF4-FFF2-40B4-BE49-F238E27FC236}">
                  <a16:creationId xmlns:a16="http://schemas.microsoft.com/office/drawing/2014/main" id="{7F46186A-3310-4CD5-864B-686D76F3E8C2}"/>
                </a:ext>
              </a:extLst>
            </p:cNvPr>
            <p:cNvSpPr/>
            <p:nvPr/>
          </p:nvSpPr>
          <p:spPr>
            <a:xfrm rot="8716295">
              <a:off x="-39593" y="1952072"/>
              <a:ext cx="198050" cy="140164"/>
            </a:xfrm>
            <a:custGeom>
              <a:avLst/>
              <a:gdLst>
                <a:gd name="connsiteX0" fmla="*/ 0 w 198050"/>
                <a:gd name="connsiteY0" fmla="*/ 75863 h 140164"/>
                <a:gd name="connsiteX1" fmla="*/ 0 w 198050"/>
                <a:gd name="connsiteY1" fmla="*/ 0 h 140164"/>
                <a:gd name="connsiteX2" fmla="*/ 128968 w 198050"/>
                <a:gd name="connsiteY2" fmla="*/ 0 h 140164"/>
                <a:gd name="connsiteX3" fmla="*/ 193021 w 198050"/>
                <a:gd name="connsiteY3" fmla="*/ 18535 h 140164"/>
                <a:gd name="connsiteX4" fmla="*/ 198050 w 198050"/>
                <a:gd name="connsiteY4" fmla="*/ 31548 h 140164"/>
                <a:gd name="connsiteX5" fmla="*/ 122761 w 198050"/>
                <a:gd name="connsiteY5" fmla="*/ 140164 h 140164"/>
                <a:gd name="connsiteX6" fmla="*/ 122761 w 198050"/>
                <a:gd name="connsiteY6" fmla="*/ 105519 h 140164"/>
                <a:gd name="connsiteX7" fmla="*/ 122761 w 198050"/>
                <a:gd name="connsiteY7" fmla="*/ 99312 h 140164"/>
                <a:gd name="connsiteX8" fmla="*/ 91726 w 198050"/>
                <a:gd name="connsiteY8" fmla="*/ 75863 h 140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8050" h="140164">
                  <a:moveTo>
                    <a:pt x="0" y="75863"/>
                  </a:moveTo>
                  <a:lnTo>
                    <a:pt x="0" y="0"/>
                  </a:lnTo>
                  <a:lnTo>
                    <a:pt x="128968" y="0"/>
                  </a:lnTo>
                  <a:cubicBezTo>
                    <a:pt x="156900" y="0"/>
                    <a:pt x="178452" y="6034"/>
                    <a:pt x="193021" y="18535"/>
                  </a:cubicBezTo>
                  <a:lnTo>
                    <a:pt x="198050" y="31548"/>
                  </a:lnTo>
                  <a:lnTo>
                    <a:pt x="122761" y="140164"/>
                  </a:ln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4"/>
                    <a:pt x="91726" y="758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8" name="Forme libre : forme 157">
              <a:extLst>
                <a:ext uri="{FF2B5EF4-FFF2-40B4-BE49-F238E27FC236}">
                  <a16:creationId xmlns:a16="http://schemas.microsoft.com/office/drawing/2014/main" id="{A7D40018-F0E5-4DC0-8F24-CC5DD724ED71}"/>
                </a:ext>
              </a:extLst>
            </p:cNvPr>
            <p:cNvSpPr/>
            <p:nvPr/>
          </p:nvSpPr>
          <p:spPr>
            <a:xfrm rot="8716295">
              <a:off x="21100" y="1808096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9" name="Forme libre : forme 158">
              <a:extLst>
                <a:ext uri="{FF2B5EF4-FFF2-40B4-BE49-F238E27FC236}">
                  <a16:creationId xmlns:a16="http://schemas.microsoft.com/office/drawing/2014/main" id="{DE6A0D39-0B43-4DC3-9F56-137223FC9AF7}"/>
                </a:ext>
              </a:extLst>
            </p:cNvPr>
            <p:cNvSpPr/>
            <p:nvPr/>
          </p:nvSpPr>
          <p:spPr>
            <a:xfrm rot="8716295">
              <a:off x="-24330" y="2197782"/>
              <a:ext cx="102508" cy="53362"/>
            </a:xfrm>
            <a:custGeom>
              <a:avLst/>
              <a:gdLst>
                <a:gd name="connsiteX0" fmla="*/ 0 w 102508"/>
                <a:gd name="connsiteY0" fmla="*/ 23637 h 53362"/>
                <a:gd name="connsiteX1" fmla="*/ 0 w 102508"/>
                <a:gd name="connsiteY1" fmla="*/ 2258 h 53362"/>
                <a:gd name="connsiteX2" fmla="*/ 102508 w 102508"/>
                <a:gd name="connsiteY2" fmla="*/ 0 h 53362"/>
                <a:gd name="connsiteX3" fmla="*/ 65519 w 102508"/>
                <a:gd name="connsiteY3" fmla="*/ 53362 h 53362"/>
                <a:gd name="connsiteX4" fmla="*/ 65519 w 102508"/>
                <a:gd name="connsiteY4" fmla="*/ 23637 h 5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508" h="53362">
                  <a:moveTo>
                    <a:pt x="0" y="23637"/>
                  </a:moveTo>
                  <a:lnTo>
                    <a:pt x="0" y="2258"/>
                  </a:lnTo>
                  <a:lnTo>
                    <a:pt x="102508" y="0"/>
                  </a:lnTo>
                  <a:lnTo>
                    <a:pt x="65519" y="53362"/>
                  </a:lnTo>
                  <a:lnTo>
                    <a:pt x="65519" y="2363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0" name="Forme libre : forme 159">
              <a:extLst>
                <a:ext uri="{FF2B5EF4-FFF2-40B4-BE49-F238E27FC236}">
                  <a16:creationId xmlns:a16="http://schemas.microsoft.com/office/drawing/2014/main" id="{53869A83-F18C-41C3-A8D6-8AA2F169F6A9}"/>
                </a:ext>
              </a:extLst>
            </p:cNvPr>
            <p:cNvSpPr/>
            <p:nvPr/>
          </p:nvSpPr>
          <p:spPr>
            <a:xfrm rot="7484129">
              <a:off x="11236" y="224945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1" name="Forme libre : forme 160">
              <a:extLst>
                <a:ext uri="{FF2B5EF4-FFF2-40B4-BE49-F238E27FC236}">
                  <a16:creationId xmlns:a16="http://schemas.microsoft.com/office/drawing/2014/main" id="{47FF6EA9-61FE-4C53-86BC-F03ADA0CF577}"/>
                </a:ext>
              </a:extLst>
            </p:cNvPr>
            <p:cNvSpPr/>
            <p:nvPr/>
          </p:nvSpPr>
          <p:spPr>
            <a:xfrm rot="13089394">
              <a:off x="169886" y="2198801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2" name="Forme libre : forme 161">
              <a:extLst>
                <a:ext uri="{FF2B5EF4-FFF2-40B4-BE49-F238E27FC236}">
                  <a16:creationId xmlns:a16="http://schemas.microsoft.com/office/drawing/2014/main" id="{6ED294D2-DD3A-4323-ADB4-4D2A485D31FA}"/>
                </a:ext>
              </a:extLst>
            </p:cNvPr>
            <p:cNvSpPr/>
            <p:nvPr/>
          </p:nvSpPr>
          <p:spPr>
            <a:xfrm rot="8716295">
              <a:off x="450777" y="1908683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3" name="Forme libre : forme 162">
              <a:extLst>
                <a:ext uri="{FF2B5EF4-FFF2-40B4-BE49-F238E27FC236}">
                  <a16:creationId xmlns:a16="http://schemas.microsoft.com/office/drawing/2014/main" id="{4D7140F9-06B5-4BA8-BEAB-23BD75B9DD53}"/>
                </a:ext>
              </a:extLst>
            </p:cNvPr>
            <p:cNvSpPr/>
            <p:nvPr/>
          </p:nvSpPr>
          <p:spPr>
            <a:xfrm rot="8716295">
              <a:off x="372368" y="175189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4" name="Forme libre : forme 163">
              <a:extLst>
                <a:ext uri="{FF2B5EF4-FFF2-40B4-BE49-F238E27FC236}">
                  <a16:creationId xmlns:a16="http://schemas.microsoft.com/office/drawing/2014/main" id="{068812F1-37A6-4A0A-A392-F4B3E8D2782D}"/>
                </a:ext>
              </a:extLst>
            </p:cNvPr>
            <p:cNvSpPr/>
            <p:nvPr/>
          </p:nvSpPr>
          <p:spPr>
            <a:xfrm rot="8716295">
              <a:off x="4204" y="179763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5" name="Forme libre : forme 164">
              <a:extLst>
                <a:ext uri="{FF2B5EF4-FFF2-40B4-BE49-F238E27FC236}">
                  <a16:creationId xmlns:a16="http://schemas.microsoft.com/office/drawing/2014/main" id="{B62F2753-FDB5-4835-8322-FC678E060DC4}"/>
                </a:ext>
              </a:extLst>
            </p:cNvPr>
            <p:cNvSpPr/>
            <p:nvPr/>
          </p:nvSpPr>
          <p:spPr>
            <a:xfrm rot="8716295">
              <a:off x="272786" y="155661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6" name="Forme libre : forme 165">
              <a:extLst>
                <a:ext uri="{FF2B5EF4-FFF2-40B4-BE49-F238E27FC236}">
                  <a16:creationId xmlns:a16="http://schemas.microsoft.com/office/drawing/2014/main" id="{16BB8F81-6062-4A6D-AD9A-0C3CC09E65D3}"/>
                </a:ext>
              </a:extLst>
            </p:cNvPr>
            <p:cNvSpPr/>
            <p:nvPr/>
          </p:nvSpPr>
          <p:spPr>
            <a:xfrm rot="8716295">
              <a:off x="-35149" y="938156"/>
              <a:ext cx="158623" cy="159016"/>
            </a:xfrm>
            <a:custGeom>
              <a:avLst/>
              <a:gdLst>
                <a:gd name="connsiteX0" fmla="*/ 77932 w 158623"/>
                <a:gd name="connsiteY0" fmla="*/ 159016 h 159016"/>
                <a:gd name="connsiteX1" fmla="*/ 77932 w 158623"/>
                <a:gd name="connsiteY1" fmla="*/ 66898 h 159016"/>
                <a:gd name="connsiteX2" fmla="*/ 0 w 158623"/>
                <a:gd name="connsiteY2" fmla="*/ 66898 h 159016"/>
                <a:gd name="connsiteX3" fmla="*/ 0 w 158623"/>
                <a:gd name="connsiteY3" fmla="*/ 0 h 159016"/>
                <a:gd name="connsiteX4" fmla="*/ 158623 w 158623"/>
                <a:gd name="connsiteY4" fmla="*/ 0 h 159016"/>
                <a:gd name="connsiteX5" fmla="*/ 158623 w 158623"/>
                <a:gd name="connsiteY5" fmla="*/ 42606 h 15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8623" h="159016">
                  <a:moveTo>
                    <a:pt x="77932" y="159016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4260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7" name="Forme libre : forme 166">
              <a:extLst>
                <a:ext uri="{FF2B5EF4-FFF2-40B4-BE49-F238E27FC236}">
                  <a16:creationId xmlns:a16="http://schemas.microsoft.com/office/drawing/2014/main" id="{102294D5-AEAF-4B56-AF06-6647D3303B85}"/>
                </a:ext>
              </a:extLst>
            </p:cNvPr>
            <p:cNvSpPr/>
            <p:nvPr/>
          </p:nvSpPr>
          <p:spPr>
            <a:xfrm rot="7484129">
              <a:off x="-32979" y="1345537"/>
              <a:ext cx="65961" cy="45734"/>
            </a:xfrm>
            <a:custGeom>
              <a:avLst/>
              <a:gdLst>
                <a:gd name="connsiteX0" fmla="*/ 0 w 65961"/>
                <a:gd name="connsiteY0" fmla="*/ 45734 h 45734"/>
                <a:gd name="connsiteX1" fmla="*/ 0 w 65961"/>
                <a:gd name="connsiteY1" fmla="*/ 0 h 45734"/>
                <a:gd name="connsiteX2" fmla="*/ 65961 w 65961"/>
                <a:gd name="connsiteY2" fmla="*/ 0 h 45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5961" h="45734">
                  <a:moveTo>
                    <a:pt x="0" y="45734"/>
                  </a:moveTo>
                  <a:lnTo>
                    <a:pt x="0" y="0"/>
                  </a:lnTo>
                  <a:lnTo>
                    <a:pt x="6596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8" name="Forme libre : forme 167">
              <a:extLst>
                <a:ext uri="{FF2B5EF4-FFF2-40B4-BE49-F238E27FC236}">
                  <a16:creationId xmlns:a16="http://schemas.microsoft.com/office/drawing/2014/main" id="{6A1A2358-10CF-4FD5-A4AA-FC64164263AF}"/>
                </a:ext>
              </a:extLst>
            </p:cNvPr>
            <p:cNvSpPr/>
            <p:nvPr/>
          </p:nvSpPr>
          <p:spPr>
            <a:xfrm rot="13089394">
              <a:off x="-134707" y="1200752"/>
              <a:ext cx="386820" cy="481345"/>
            </a:xfrm>
            <a:custGeom>
              <a:avLst/>
              <a:gdLst>
                <a:gd name="connsiteX0" fmla="*/ 386820 w 386820"/>
                <a:gd name="connsiteY0" fmla="*/ 391818 h 481345"/>
                <a:gd name="connsiteX1" fmla="*/ 342166 w 386820"/>
                <a:gd name="connsiteY1" fmla="*/ 422376 h 481345"/>
                <a:gd name="connsiteX2" fmla="*/ 138636 w 386820"/>
                <a:gd name="connsiteY2" fmla="*/ 481098 h 481345"/>
                <a:gd name="connsiteX3" fmla="*/ 35911 w 386820"/>
                <a:gd name="connsiteY3" fmla="*/ 439340 h 481345"/>
                <a:gd name="connsiteX4" fmla="*/ 0 w 386820"/>
                <a:gd name="connsiteY4" fmla="*/ 295693 h 481345"/>
                <a:gd name="connsiteX5" fmla="*/ 0 w 386820"/>
                <a:gd name="connsiteY5" fmla="*/ 40970 h 481345"/>
                <a:gd name="connsiteX6" fmla="*/ 78970 w 386820"/>
                <a:gd name="connsiteY6" fmla="*/ 0 h 481345"/>
                <a:gd name="connsiteX7" fmla="*/ 111492 w 386820"/>
                <a:gd name="connsiteY7" fmla="*/ 41392 h 481345"/>
                <a:gd name="connsiteX8" fmla="*/ 112747 w 386820"/>
                <a:gd name="connsiteY8" fmla="*/ 216353 h 481345"/>
                <a:gd name="connsiteX9" fmla="*/ 132789 w 386820"/>
                <a:gd name="connsiteY9" fmla="*/ 354990 h 481345"/>
                <a:gd name="connsiteX10" fmla="*/ 233008 w 386820"/>
                <a:gd name="connsiteY10" fmla="*/ 410110 h 481345"/>
                <a:gd name="connsiteX11" fmla="*/ 308173 w 386820"/>
                <a:gd name="connsiteY11" fmla="*/ 396747 h 481345"/>
                <a:gd name="connsiteX12" fmla="*/ 370717 w 386820"/>
                <a:gd name="connsiteY12" fmla="*/ 371323 h 481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6820" h="481345">
                  <a:moveTo>
                    <a:pt x="386820" y="391818"/>
                  </a:moveTo>
                  <a:lnTo>
                    <a:pt x="342166" y="422376"/>
                  </a:lnTo>
                  <a:cubicBezTo>
                    <a:pt x="268920" y="462151"/>
                    <a:pt x="190624" y="477966"/>
                    <a:pt x="138636" y="481098"/>
                  </a:cubicBezTo>
                  <a:cubicBezTo>
                    <a:pt x="100219" y="483604"/>
                    <a:pt x="62637" y="466901"/>
                    <a:pt x="35911" y="439340"/>
                  </a:cubicBezTo>
                  <a:cubicBezTo>
                    <a:pt x="7516" y="411780"/>
                    <a:pt x="0" y="364176"/>
                    <a:pt x="0" y="295693"/>
                  </a:cubicBezTo>
                  <a:lnTo>
                    <a:pt x="0" y="40970"/>
                  </a:lnTo>
                  <a:lnTo>
                    <a:pt x="78970" y="0"/>
                  </a:lnTo>
                  <a:lnTo>
                    <a:pt x="111492" y="41392"/>
                  </a:lnTo>
                  <a:lnTo>
                    <a:pt x="112747" y="216353"/>
                  </a:lnTo>
                  <a:cubicBezTo>
                    <a:pt x="110241" y="263122"/>
                    <a:pt x="117757" y="310726"/>
                    <a:pt x="132789" y="354990"/>
                  </a:cubicBezTo>
                  <a:cubicBezTo>
                    <a:pt x="146153" y="391736"/>
                    <a:pt x="180394" y="410110"/>
                    <a:pt x="233008" y="410110"/>
                  </a:cubicBezTo>
                  <a:cubicBezTo>
                    <a:pt x="258899" y="409274"/>
                    <a:pt x="283953" y="404263"/>
                    <a:pt x="308173" y="396747"/>
                  </a:cubicBezTo>
                  <a:lnTo>
                    <a:pt x="370717" y="371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9" name="Forme libre : forme 168">
              <a:extLst>
                <a:ext uri="{FF2B5EF4-FFF2-40B4-BE49-F238E27FC236}">
                  <a16:creationId xmlns:a16="http://schemas.microsoft.com/office/drawing/2014/main" id="{EA80D635-6F53-4857-9F50-4111495DC12C}"/>
                </a:ext>
              </a:extLst>
            </p:cNvPr>
            <p:cNvSpPr/>
            <p:nvPr/>
          </p:nvSpPr>
          <p:spPr>
            <a:xfrm rot="8716295">
              <a:off x="119403" y="90662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0" name="Forme libre : forme 169">
              <a:extLst>
                <a:ext uri="{FF2B5EF4-FFF2-40B4-BE49-F238E27FC236}">
                  <a16:creationId xmlns:a16="http://schemas.microsoft.com/office/drawing/2014/main" id="{40670C43-A49A-4C3B-A39B-628E23BE1E4B}"/>
                </a:ext>
              </a:extLst>
            </p:cNvPr>
            <p:cNvSpPr/>
            <p:nvPr/>
          </p:nvSpPr>
          <p:spPr>
            <a:xfrm rot="8716295">
              <a:off x="40994" y="74983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1" name="Forme libre : forme 170">
              <a:extLst>
                <a:ext uri="{FF2B5EF4-FFF2-40B4-BE49-F238E27FC236}">
                  <a16:creationId xmlns:a16="http://schemas.microsoft.com/office/drawing/2014/main" id="{A1E0B69E-7457-4A6E-B80C-0CDACC682BEC}"/>
                </a:ext>
              </a:extLst>
            </p:cNvPr>
            <p:cNvSpPr/>
            <p:nvPr/>
          </p:nvSpPr>
          <p:spPr>
            <a:xfrm rot="8716295">
              <a:off x="-44934" y="551941"/>
              <a:ext cx="152592" cy="165412"/>
            </a:xfrm>
            <a:custGeom>
              <a:avLst/>
              <a:gdLst>
                <a:gd name="connsiteX0" fmla="*/ 26453 w 152592"/>
                <a:gd name="connsiteY0" fmla="*/ 153143 h 165412"/>
                <a:gd name="connsiteX1" fmla="*/ 0 w 152592"/>
                <a:gd name="connsiteY1" fmla="*/ 90494 h 165412"/>
                <a:gd name="connsiteX2" fmla="*/ 0 w 152592"/>
                <a:gd name="connsiteY2" fmla="*/ 89101 h 165412"/>
                <a:gd name="connsiteX3" fmla="*/ 26453 w 152592"/>
                <a:gd name="connsiteY3" fmla="*/ 26453 h 165412"/>
                <a:gd name="connsiteX4" fmla="*/ 89101 w 152592"/>
                <a:gd name="connsiteY4" fmla="*/ 0 h 165412"/>
                <a:gd name="connsiteX5" fmla="*/ 151752 w 152592"/>
                <a:gd name="connsiteY5" fmla="*/ 26453 h 165412"/>
                <a:gd name="connsiteX6" fmla="*/ 152592 w 152592"/>
                <a:gd name="connsiteY6" fmla="*/ 27688 h 165412"/>
                <a:gd name="connsiteX7" fmla="*/ 57126 w 152592"/>
                <a:gd name="connsiteY7" fmla="*/ 165412 h 165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592" h="165412">
                  <a:moveTo>
                    <a:pt x="26453" y="153143"/>
                  </a:moveTo>
                  <a:cubicBezTo>
                    <a:pt x="9746" y="136436"/>
                    <a:pt x="0" y="114161"/>
                    <a:pt x="0" y="90494"/>
                  </a:cubicBezTo>
                  <a:lnTo>
                    <a:pt x="0" y="89101"/>
                  </a:lnTo>
                  <a:cubicBezTo>
                    <a:pt x="0" y="65434"/>
                    <a:pt x="9746" y="43159"/>
                    <a:pt x="26453" y="26453"/>
                  </a:cubicBezTo>
                  <a:cubicBezTo>
                    <a:pt x="43159" y="9746"/>
                    <a:pt x="65435" y="0"/>
                    <a:pt x="89101" y="0"/>
                  </a:cubicBezTo>
                  <a:cubicBezTo>
                    <a:pt x="112770" y="0"/>
                    <a:pt x="135045" y="9746"/>
                    <a:pt x="151752" y="26453"/>
                  </a:cubicBezTo>
                  <a:lnTo>
                    <a:pt x="152592" y="27688"/>
                  </a:lnTo>
                  <a:lnTo>
                    <a:pt x="57126" y="1654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2" name="Forme libre : forme 171">
              <a:extLst>
                <a:ext uri="{FF2B5EF4-FFF2-40B4-BE49-F238E27FC236}">
                  <a16:creationId xmlns:a16="http://schemas.microsoft.com/office/drawing/2014/main" id="{8305DDDC-A62B-4F5B-99D8-968A303BB880}"/>
                </a:ext>
              </a:extLst>
            </p:cNvPr>
            <p:cNvSpPr/>
            <p:nvPr/>
          </p:nvSpPr>
          <p:spPr>
            <a:xfrm rot="8716295">
              <a:off x="-69806" y="4587027"/>
              <a:ext cx="183810" cy="187594"/>
            </a:xfrm>
            <a:custGeom>
              <a:avLst/>
              <a:gdLst>
                <a:gd name="connsiteX0" fmla="*/ 10574 w 183810"/>
                <a:gd name="connsiteY0" fmla="*/ 187594 h 187594"/>
                <a:gd name="connsiteX1" fmla="*/ 0 w 183810"/>
                <a:gd name="connsiteY1" fmla="*/ 172952 h 187594"/>
                <a:gd name="connsiteX2" fmla="*/ 183810 w 183810"/>
                <a:gd name="connsiteY2" fmla="*/ 0 h 187594"/>
                <a:gd name="connsiteX3" fmla="*/ 72284 w 183810"/>
                <a:gd name="connsiteY3" fmla="*/ 160894 h 187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810" h="187594">
                  <a:moveTo>
                    <a:pt x="10574" y="187594"/>
                  </a:moveTo>
                  <a:lnTo>
                    <a:pt x="0" y="172952"/>
                  </a:lnTo>
                  <a:lnTo>
                    <a:pt x="183810" y="0"/>
                  </a:lnTo>
                  <a:lnTo>
                    <a:pt x="72284" y="1608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3" name="Forme libre : forme 172">
              <a:extLst>
                <a:ext uri="{FF2B5EF4-FFF2-40B4-BE49-F238E27FC236}">
                  <a16:creationId xmlns:a16="http://schemas.microsoft.com/office/drawing/2014/main" id="{1A0E6ECB-8294-4BA3-8422-8334524ECB58}"/>
                </a:ext>
              </a:extLst>
            </p:cNvPr>
            <p:cNvSpPr/>
            <p:nvPr/>
          </p:nvSpPr>
          <p:spPr>
            <a:xfrm rot="8716295">
              <a:off x="4450621" y="307495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4" name="Forme libre : forme 173">
              <a:extLst>
                <a:ext uri="{FF2B5EF4-FFF2-40B4-BE49-F238E27FC236}">
                  <a16:creationId xmlns:a16="http://schemas.microsoft.com/office/drawing/2014/main" id="{01833036-FD07-46D7-82C2-88C1FC05C85F}"/>
                </a:ext>
              </a:extLst>
            </p:cNvPr>
            <p:cNvSpPr/>
            <p:nvPr/>
          </p:nvSpPr>
          <p:spPr>
            <a:xfrm rot="8716295">
              <a:off x="4585920" y="3119209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5" name="Forme libre : forme 174">
              <a:extLst>
                <a:ext uri="{FF2B5EF4-FFF2-40B4-BE49-F238E27FC236}">
                  <a16:creationId xmlns:a16="http://schemas.microsoft.com/office/drawing/2014/main" id="{B278615F-BCB7-43C6-82A0-33FD907351F5}"/>
                </a:ext>
              </a:extLst>
            </p:cNvPr>
            <p:cNvSpPr/>
            <p:nvPr/>
          </p:nvSpPr>
          <p:spPr>
            <a:xfrm rot="8716295">
              <a:off x="4518038" y="2988621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6" name="Forme libre : forme 175">
              <a:extLst>
                <a:ext uri="{FF2B5EF4-FFF2-40B4-BE49-F238E27FC236}">
                  <a16:creationId xmlns:a16="http://schemas.microsoft.com/office/drawing/2014/main" id="{A4CB9629-4E70-40F0-ADB7-98AF33E8FA82}"/>
                </a:ext>
              </a:extLst>
            </p:cNvPr>
            <p:cNvSpPr/>
            <p:nvPr/>
          </p:nvSpPr>
          <p:spPr>
            <a:xfrm rot="8716295">
              <a:off x="4280750" y="3208965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7" name="Forme libre : forme 176">
              <a:extLst>
                <a:ext uri="{FF2B5EF4-FFF2-40B4-BE49-F238E27FC236}">
                  <a16:creationId xmlns:a16="http://schemas.microsoft.com/office/drawing/2014/main" id="{DCB1DF66-902F-43AF-B912-90C47BAC4CD5}"/>
                </a:ext>
              </a:extLst>
            </p:cNvPr>
            <p:cNvSpPr/>
            <p:nvPr/>
          </p:nvSpPr>
          <p:spPr>
            <a:xfrm rot="8716295">
              <a:off x="4091704" y="289313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8" name="Forme libre : forme 177">
              <a:extLst>
                <a:ext uri="{FF2B5EF4-FFF2-40B4-BE49-F238E27FC236}">
                  <a16:creationId xmlns:a16="http://schemas.microsoft.com/office/drawing/2014/main" id="{206347F6-E053-48F4-AFC6-9C0856F4BFCC}"/>
                </a:ext>
              </a:extLst>
            </p:cNvPr>
            <p:cNvSpPr/>
            <p:nvPr/>
          </p:nvSpPr>
          <p:spPr>
            <a:xfrm rot="8716295">
              <a:off x="4073463" y="2683080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9" name="Forme libre : forme 178">
              <a:extLst>
                <a:ext uri="{FF2B5EF4-FFF2-40B4-BE49-F238E27FC236}">
                  <a16:creationId xmlns:a16="http://schemas.microsoft.com/office/drawing/2014/main" id="{8D2A26C7-C64C-4331-AB8E-BC64F42E6746}"/>
                </a:ext>
              </a:extLst>
            </p:cNvPr>
            <p:cNvSpPr/>
            <p:nvPr/>
          </p:nvSpPr>
          <p:spPr>
            <a:xfrm rot="8716295">
              <a:off x="4417239" y="327094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0" name="Forme libre : forme 179">
              <a:extLst>
                <a:ext uri="{FF2B5EF4-FFF2-40B4-BE49-F238E27FC236}">
                  <a16:creationId xmlns:a16="http://schemas.microsoft.com/office/drawing/2014/main" id="{71D50DC1-7D15-42D6-980A-E78799DC451B}"/>
                </a:ext>
              </a:extLst>
            </p:cNvPr>
            <p:cNvSpPr/>
            <p:nvPr/>
          </p:nvSpPr>
          <p:spPr>
            <a:xfrm rot="8716295">
              <a:off x="4888185" y="2696334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" name="Forme libre : forme 180">
              <a:extLst>
                <a:ext uri="{FF2B5EF4-FFF2-40B4-BE49-F238E27FC236}">
                  <a16:creationId xmlns:a16="http://schemas.microsoft.com/office/drawing/2014/main" id="{EB82C4E3-BE8E-4F27-B36D-E48F91D55981}"/>
                </a:ext>
              </a:extLst>
            </p:cNvPr>
            <p:cNvSpPr/>
            <p:nvPr/>
          </p:nvSpPr>
          <p:spPr>
            <a:xfrm rot="8716295">
              <a:off x="5023484" y="2740593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" name="Forme libre : forme 181">
              <a:extLst>
                <a:ext uri="{FF2B5EF4-FFF2-40B4-BE49-F238E27FC236}">
                  <a16:creationId xmlns:a16="http://schemas.microsoft.com/office/drawing/2014/main" id="{8CF0FAB3-0C6A-450B-9525-29BB7A59C040}"/>
                </a:ext>
              </a:extLst>
            </p:cNvPr>
            <p:cNvSpPr/>
            <p:nvPr/>
          </p:nvSpPr>
          <p:spPr>
            <a:xfrm rot="8716295">
              <a:off x="4718314" y="283034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" name="Forme libre : forme 182">
              <a:extLst>
                <a:ext uri="{FF2B5EF4-FFF2-40B4-BE49-F238E27FC236}">
                  <a16:creationId xmlns:a16="http://schemas.microsoft.com/office/drawing/2014/main" id="{10FB87B4-C488-45C6-AE08-E0AAB6025014}"/>
                </a:ext>
              </a:extLst>
            </p:cNvPr>
            <p:cNvSpPr/>
            <p:nvPr/>
          </p:nvSpPr>
          <p:spPr>
            <a:xfrm rot="8716295">
              <a:off x="4529270" y="251451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" name="Forme libre : forme 183">
              <a:extLst>
                <a:ext uri="{FF2B5EF4-FFF2-40B4-BE49-F238E27FC236}">
                  <a16:creationId xmlns:a16="http://schemas.microsoft.com/office/drawing/2014/main" id="{780E062E-8239-40E1-A336-E5540670A1BD}"/>
                </a:ext>
              </a:extLst>
            </p:cNvPr>
            <p:cNvSpPr/>
            <p:nvPr/>
          </p:nvSpPr>
          <p:spPr>
            <a:xfrm rot="8716295">
              <a:off x="4854803" y="2892332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" name="Forme libre : forme 184">
              <a:extLst>
                <a:ext uri="{FF2B5EF4-FFF2-40B4-BE49-F238E27FC236}">
                  <a16:creationId xmlns:a16="http://schemas.microsoft.com/office/drawing/2014/main" id="{DF4CDF9E-3E83-42B9-8060-460760813751}"/>
                </a:ext>
              </a:extLst>
            </p:cNvPr>
            <p:cNvSpPr/>
            <p:nvPr/>
          </p:nvSpPr>
          <p:spPr>
            <a:xfrm rot="8716295">
              <a:off x="4489356" y="2665906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" name="Forme libre : forme 185">
              <a:extLst>
                <a:ext uri="{FF2B5EF4-FFF2-40B4-BE49-F238E27FC236}">
                  <a16:creationId xmlns:a16="http://schemas.microsoft.com/office/drawing/2014/main" id="{0A35FA8D-2DA5-4890-87D4-1B3451916FA9}"/>
                </a:ext>
              </a:extLst>
            </p:cNvPr>
            <p:cNvSpPr/>
            <p:nvPr/>
          </p:nvSpPr>
          <p:spPr>
            <a:xfrm rot="7484129">
              <a:off x="5013620" y="318195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" name="Forme libre : forme 186">
              <a:extLst>
                <a:ext uri="{FF2B5EF4-FFF2-40B4-BE49-F238E27FC236}">
                  <a16:creationId xmlns:a16="http://schemas.microsoft.com/office/drawing/2014/main" id="{E6A0D96F-008F-4023-A0B6-38102FB3F884}"/>
                </a:ext>
              </a:extLst>
            </p:cNvPr>
            <p:cNvSpPr/>
            <p:nvPr/>
          </p:nvSpPr>
          <p:spPr>
            <a:xfrm rot="13089394">
              <a:off x="5172270" y="3131298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" name="Forme libre : forme 187">
              <a:extLst>
                <a:ext uri="{FF2B5EF4-FFF2-40B4-BE49-F238E27FC236}">
                  <a16:creationId xmlns:a16="http://schemas.microsoft.com/office/drawing/2014/main" id="{34516B6B-1C6B-4061-A441-0A96C5F85F2D}"/>
                </a:ext>
              </a:extLst>
            </p:cNvPr>
            <p:cNvSpPr/>
            <p:nvPr/>
          </p:nvSpPr>
          <p:spPr>
            <a:xfrm rot="8716295">
              <a:off x="5453161" y="2841180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" name="Forme libre : forme 188">
              <a:extLst>
                <a:ext uri="{FF2B5EF4-FFF2-40B4-BE49-F238E27FC236}">
                  <a16:creationId xmlns:a16="http://schemas.microsoft.com/office/drawing/2014/main" id="{25C5FA48-0926-4D19-8036-167D5A8A0B0F}"/>
                </a:ext>
              </a:extLst>
            </p:cNvPr>
            <p:cNvSpPr/>
            <p:nvPr/>
          </p:nvSpPr>
          <p:spPr>
            <a:xfrm rot="8716295">
              <a:off x="5374752" y="268438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" name="Forme libre : forme 189">
              <a:extLst>
                <a:ext uri="{FF2B5EF4-FFF2-40B4-BE49-F238E27FC236}">
                  <a16:creationId xmlns:a16="http://schemas.microsoft.com/office/drawing/2014/main" id="{DAF894AD-B4B7-410F-8EC1-02725EF382CF}"/>
                </a:ext>
              </a:extLst>
            </p:cNvPr>
            <p:cNvSpPr/>
            <p:nvPr/>
          </p:nvSpPr>
          <p:spPr>
            <a:xfrm rot="8716295">
              <a:off x="5006588" y="273012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" name="Forme libre : forme 190">
              <a:extLst>
                <a:ext uri="{FF2B5EF4-FFF2-40B4-BE49-F238E27FC236}">
                  <a16:creationId xmlns:a16="http://schemas.microsoft.com/office/drawing/2014/main" id="{050039E8-AFBF-4BD9-96DB-778F55B5F2C4}"/>
                </a:ext>
              </a:extLst>
            </p:cNvPr>
            <p:cNvSpPr/>
            <p:nvPr/>
          </p:nvSpPr>
          <p:spPr>
            <a:xfrm rot="8716295">
              <a:off x="5275170" y="2489109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" name="Forme libre : forme 191">
              <a:extLst>
                <a:ext uri="{FF2B5EF4-FFF2-40B4-BE49-F238E27FC236}">
                  <a16:creationId xmlns:a16="http://schemas.microsoft.com/office/drawing/2014/main" id="{BAF5AA66-DC18-43A5-AAAE-6EB312E4E790}"/>
                </a:ext>
              </a:extLst>
            </p:cNvPr>
            <p:cNvSpPr/>
            <p:nvPr/>
          </p:nvSpPr>
          <p:spPr>
            <a:xfrm rot="8716295">
              <a:off x="4788394" y="407343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" name="Forme libre : forme 192">
              <a:extLst>
                <a:ext uri="{FF2B5EF4-FFF2-40B4-BE49-F238E27FC236}">
                  <a16:creationId xmlns:a16="http://schemas.microsoft.com/office/drawing/2014/main" id="{780EC621-519F-489B-BFBA-B49F228A0641}"/>
                </a:ext>
              </a:extLst>
            </p:cNvPr>
            <p:cNvSpPr/>
            <p:nvPr/>
          </p:nvSpPr>
          <p:spPr>
            <a:xfrm rot="8716295">
              <a:off x="4923693" y="411769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" name="Forme libre : forme 193">
              <a:extLst>
                <a:ext uri="{FF2B5EF4-FFF2-40B4-BE49-F238E27FC236}">
                  <a16:creationId xmlns:a16="http://schemas.microsoft.com/office/drawing/2014/main" id="{56C02974-8A88-4B14-998C-3296551B1E9D}"/>
                </a:ext>
              </a:extLst>
            </p:cNvPr>
            <p:cNvSpPr/>
            <p:nvPr/>
          </p:nvSpPr>
          <p:spPr>
            <a:xfrm rot="8716295">
              <a:off x="4855811" y="3987104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" name="Forme libre : forme 194">
              <a:extLst>
                <a:ext uri="{FF2B5EF4-FFF2-40B4-BE49-F238E27FC236}">
                  <a16:creationId xmlns:a16="http://schemas.microsoft.com/office/drawing/2014/main" id="{1315A3F8-95CA-4F67-BF42-435167A25A7A}"/>
                </a:ext>
              </a:extLst>
            </p:cNvPr>
            <p:cNvSpPr/>
            <p:nvPr/>
          </p:nvSpPr>
          <p:spPr>
            <a:xfrm rot="8716295">
              <a:off x="4618523" y="420744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" name="Forme libre : forme 195">
              <a:extLst>
                <a:ext uri="{FF2B5EF4-FFF2-40B4-BE49-F238E27FC236}">
                  <a16:creationId xmlns:a16="http://schemas.microsoft.com/office/drawing/2014/main" id="{5FBA9E77-EEAF-4196-9EB3-AAB7591C02B4}"/>
                </a:ext>
              </a:extLst>
            </p:cNvPr>
            <p:cNvSpPr/>
            <p:nvPr/>
          </p:nvSpPr>
          <p:spPr>
            <a:xfrm rot="8716295">
              <a:off x="4429477" y="389161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" name="Forme libre : forme 196">
              <a:extLst>
                <a:ext uri="{FF2B5EF4-FFF2-40B4-BE49-F238E27FC236}">
                  <a16:creationId xmlns:a16="http://schemas.microsoft.com/office/drawing/2014/main" id="{9640743B-2A63-41D0-B596-466D8A1999D1}"/>
                </a:ext>
              </a:extLst>
            </p:cNvPr>
            <p:cNvSpPr/>
            <p:nvPr/>
          </p:nvSpPr>
          <p:spPr>
            <a:xfrm rot="8716295">
              <a:off x="4411236" y="3681563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" name="Forme libre : forme 197">
              <a:extLst>
                <a:ext uri="{FF2B5EF4-FFF2-40B4-BE49-F238E27FC236}">
                  <a16:creationId xmlns:a16="http://schemas.microsoft.com/office/drawing/2014/main" id="{58E0BAB6-4A71-4FD6-9833-700BF9E78B7C}"/>
                </a:ext>
              </a:extLst>
            </p:cNvPr>
            <p:cNvSpPr/>
            <p:nvPr/>
          </p:nvSpPr>
          <p:spPr>
            <a:xfrm rot="8716295">
              <a:off x="4755012" y="4269431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" name="Forme libre : forme 198">
              <a:extLst>
                <a:ext uri="{FF2B5EF4-FFF2-40B4-BE49-F238E27FC236}">
                  <a16:creationId xmlns:a16="http://schemas.microsoft.com/office/drawing/2014/main" id="{75BB7597-AEE7-44BA-A895-6BF134870ADB}"/>
                </a:ext>
              </a:extLst>
            </p:cNvPr>
            <p:cNvSpPr/>
            <p:nvPr/>
          </p:nvSpPr>
          <p:spPr>
            <a:xfrm rot="8716295">
              <a:off x="5225958" y="3694817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" name="Forme libre : forme 199">
              <a:extLst>
                <a:ext uri="{FF2B5EF4-FFF2-40B4-BE49-F238E27FC236}">
                  <a16:creationId xmlns:a16="http://schemas.microsoft.com/office/drawing/2014/main" id="{EEB3834C-1DBD-4E8A-80F2-2243D4B0C7C6}"/>
                </a:ext>
              </a:extLst>
            </p:cNvPr>
            <p:cNvSpPr/>
            <p:nvPr/>
          </p:nvSpPr>
          <p:spPr>
            <a:xfrm rot="8716295">
              <a:off x="5364349" y="3753375"/>
              <a:ext cx="325540" cy="385611"/>
            </a:xfrm>
            <a:custGeom>
              <a:avLst/>
              <a:gdLst>
                <a:gd name="connsiteX0" fmla="*/ 8983 w 325540"/>
                <a:gd name="connsiteY0" fmla="*/ 385611 h 385611"/>
                <a:gd name="connsiteX1" fmla="*/ 8983 w 325540"/>
                <a:gd name="connsiteY1" fmla="*/ 69053 h 385611"/>
                <a:gd name="connsiteX2" fmla="*/ 0 w 325540"/>
                <a:gd name="connsiteY2" fmla="*/ 69053 h 385611"/>
                <a:gd name="connsiteX3" fmla="*/ 55019 w 325540"/>
                <a:gd name="connsiteY3" fmla="*/ 2157 h 385611"/>
                <a:gd name="connsiteX4" fmla="*/ 89675 w 325540"/>
                <a:gd name="connsiteY4" fmla="*/ 2156 h 385611"/>
                <a:gd name="connsiteX5" fmla="*/ 89674 w 325540"/>
                <a:gd name="connsiteY5" fmla="*/ 113882 h 385611"/>
                <a:gd name="connsiteX6" fmla="*/ 91743 w 325540"/>
                <a:gd name="connsiteY6" fmla="*/ 113882 h 385611"/>
                <a:gd name="connsiteX7" fmla="*/ 164159 w 325540"/>
                <a:gd name="connsiteY7" fmla="*/ 9053 h 385611"/>
                <a:gd name="connsiteX8" fmla="*/ 211745 w 325540"/>
                <a:gd name="connsiteY8" fmla="*/ 87 h 385611"/>
                <a:gd name="connsiteX9" fmla="*/ 325540 w 325540"/>
                <a:gd name="connsiteY9" fmla="*/ 133882 h 385611"/>
                <a:gd name="connsiteX10" fmla="*/ 325540 w 325540"/>
                <a:gd name="connsiteY10" fmla="*/ 142848 h 385611"/>
                <a:gd name="connsiteX11" fmla="*/ 231746 w 325540"/>
                <a:gd name="connsiteY11" fmla="*/ 148366 h 385611"/>
                <a:gd name="connsiteX12" fmla="*/ 231746 w 325540"/>
                <a:gd name="connsiteY12" fmla="*/ 123538 h 385611"/>
                <a:gd name="connsiteX13" fmla="*/ 180710 w 325540"/>
                <a:gd name="connsiteY13" fmla="*/ 60778 h 385611"/>
                <a:gd name="connsiteX14" fmla="*/ 100020 w 325540"/>
                <a:gd name="connsiteY14" fmla="*/ 193194 h 385611"/>
                <a:gd name="connsiteX15" fmla="*/ 100020 w 325540"/>
                <a:gd name="connsiteY15" fmla="*/ 323541 h 385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5540" h="385611">
                  <a:moveTo>
                    <a:pt x="8983" y="385611"/>
                  </a:moveTo>
                  <a:lnTo>
                    <a:pt x="8983" y="69053"/>
                  </a:lnTo>
                  <a:lnTo>
                    <a:pt x="0" y="69053"/>
                  </a:lnTo>
                  <a:lnTo>
                    <a:pt x="55019" y="2157"/>
                  </a:lnTo>
                  <a:lnTo>
                    <a:pt x="89675" y="2156"/>
                  </a:lnTo>
                  <a:lnTo>
                    <a:pt x="89674" y="113882"/>
                  </a:lnTo>
                  <a:lnTo>
                    <a:pt x="91743" y="113882"/>
                  </a:lnTo>
                  <a:cubicBezTo>
                    <a:pt x="113813" y="48363"/>
                    <a:pt x="131055" y="22846"/>
                    <a:pt x="164159" y="9053"/>
                  </a:cubicBezTo>
                  <a:cubicBezTo>
                    <a:pt x="179331" y="2846"/>
                    <a:pt x="195193" y="-602"/>
                    <a:pt x="211745" y="87"/>
                  </a:cubicBezTo>
                  <a:cubicBezTo>
                    <a:pt x="282781" y="-1293"/>
                    <a:pt x="325540" y="48363"/>
                    <a:pt x="325540" y="133882"/>
                  </a:cubicBezTo>
                  <a:lnTo>
                    <a:pt x="325540" y="142848"/>
                  </a:lnTo>
                  <a:lnTo>
                    <a:pt x="231746" y="148366"/>
                  </a:lnTo>
                  <a:lnTo>
                    <a:pt x="231746" y="123538"/>
                  </a:lnTo>
                  <a:cubicBezTo>
                    <a:pt x="231746" y="86296"/>
                    <a:pt x="210367" y="60778"/>
                    <a:pt x="180710" y="60778"/>
                  </a:cubicBezTo>
                  <a:cubicBezTo>
                    <a:pt x="136572" y="60777"/>
                    <a:pt x="100020" y="119400"/>
                    <a:pt x="100020" y="193194"/>
                  </a:cubicBezTo>
                  <a:lnTo>
                    <a:pt x="100020" y="3235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" name="Forme libre : forme 200">
              <a:extLst>
                <a:ext uri="{FF2B5EF4-FFF2-40B4-BE49-F238E27FC236}">
                  <a16:creationId xmlns:a16="http://schemas.microsoft.com/office/drawing/2014/main" id="{372D1467-D2E3-4216-9E90-20982CF5734F}"/>
                </a:ext>
              </a:extLst>
            </p:cNvPr>
            <p:cNvSpPr/>
            <p:nvPr/>
          </p:nvSpPr>
          <p:spPr>
            <a:xfrm rot="8716295">
              <a:off x="5056087" y="382883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" name="Forme libre : forme 201">
              <a:extLst>
                <a:ext uri="{FF2B5EF4-FFF2-40B4-BE49-F238E27FC236}">
                  <a16:creationId xmlns:a16="http://schemas.microsoft.com/office/drawing/2014/main" id="{B604E5DA-CBD2-466D-A47E-4EAA9B5B7623}"/>
                </a:ext>
              </a:extLst>
            </p:cNvPr>
            <p:cNvSpPr/>
            <p:nvPr/>
          </p:nvSpPr>
          <p:spPr>
            <a:xfrm rot="8716295">
              <a:off x="4867043" y="351299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" name="Forme libre : forme 202">
              <a:extLst>
                <a:ext uri="{FF2B5EF4-FFF2-40B4-BE49-F238E27FC236}">
                  <a16:creationId xmlns:a16="http://schemas.microsoft.com/office/drawing/2014/main" id="{E20F76FB-79A8-44FD-A97E-07BAE8CB93F0}"/>
                </a:ext>
              </a:extLst>
            </p:cNvPr>
            <p:cNvSpPr/>
            <p:nvPr/>
          </p:nvSpPr>
          <p:spPr>
            <a:xfrm rot="8716295">
              <a:off x="5192576" y="3890815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" name="Forme libre : forme 203">
              <a:extLst>
                <a:ext uri="{FF2B5EF4-FFF2-40B4-BE49-F238E27FC236}">
                  <a16:creationId xmlns:a16="http://schemas.microsoft.com/office/drawing/2014/main" id="{07DA70CF-480A-435C-9C90-6F5E70E02F28}"/>
                </a:ext>
              </a:extLst>
            </p:cNvPr>
            <p:cNvSpPr/>
            <p:nvPr/>
          </p:nvSpPr>
          <p:spPr>
            <a:xfrm rot="8716295">
              <a:off x="4827129" y="3664389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" name="Forme libre : forme 204">
              <a:extLst>
                <a:ext uri="{FF2B5EF4-FFF2-40B4-BE49-F238E27FC236}">
                  <a16:creationId xmlns:a16="http://schemas.microsoft.com/office/drawing/2014/main" id="{EFCDF1BC-CE63-46A7-BBB7-A0FD6C01682D}"/>
                </a:ext>
              </a:extLst>
            </p:cNvPr>
            <p:cNvSpPr/>
            <p:nvPr/>
          </p:nvSpPr>
          <p:spPr>
            <a:xfrm rot="7484129">
              <a:off x="5351393" y="418043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" name="Forme libre : forme 205">
              <a:extLst>
                <a:ext uri="{FF2B5EF4-FFF2-40B4-BE49-F238E27FC236}">
                  <a16:creationId xmlns:a16="http://schemas.microsoft.com/office/drawing/2014/main" id="{DC92A656-7063-4EB8-9B18-5A621F03BDBB}"/>
                </a:ext>
              </a:extLst>
            </p:cNvPr>
            <p:cNvSpPr/>
            <p:nvPr/>
          </p:nvSpPr>
          <p:spPr>
            <a:xfrm rot="13089394">
              <a:off x="5497067" y="4157639"/>
              <a:ext cx="336155" cy="433969"/>
            </a:xfrm>
            <a:custGeom>
              <a:avLst/>
              <a:gdLst>
                <a:gd name="connsiteX0" fmla="*/ 23241 w 222098"/>
                <a:gd name="connsiteY0" fmla="*/ 47275 h 286724"/>
                <a:gd name="connsiteX1" fmla="*/ 0 w 222098"/>
                <a:gd name="connsiteY1" fmla="*/ 11882 h 286724"/>
                <a:gd name="connsiteX2" fmla="*/ 22902 w 222098"/>
                <a:gd name="connsiteY2" fmla="*/ 0 h 286724"/>
                <a:gd name="connsiteX3" fmla="*/ 222098 w 222098"/>
                <a:gd name="connsiteY3" fmla="*/ 258238 h 286724"/>
                <a:gd name="connsiteX4" fmla="*/ 180472 w 222098"/>
                <a:gd name="connsiteY4" fmla="*/ 286724 h 286724"/>
                <a:gd name="connsiteX5" fmla="*/ 167667 w 222098"/>
                <a:gd name="connsiteY5" fmla="*/ 267224 h 286724"/>
                <a:gd name="connsiteX6" fmla="*/ 220995 w 222098"/>
                <a:gd name="connsiteY6" fmla="*/ 245547 h 286724"/>
                <a:gd name="connsiteX7" fmla="*/ 222098 w 222098"/>
                <a:gd name="connsiteY7" fmla="*/ 252720 h 286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2098" h="286724">
                  <a:moveTo>
                    <a:pt x="23241" y="47275"/>
                  </a:moveTo>
                  <a:lnTo>
                    <a:pt x="0" y="11882"/>
                  </a:lnTo>
                  <a:lnTo>
                    <a:pt x="22902" y="0"/>
                  </a:lnTo>
                  <a:close/>
                  <a:moveTo>
                    <a:pt x="222098" y="258238"/>
                  </a:moveTo>
                  <a:lnTo>
                    <a:pt x="180472" y="286724"/>
                  </a:lnTo>
                  <a:lnTo>
                    <a:pt x="167667" y="267224"/>
                  </a:lnTo>
                  <a:lnTo>
                    <a:pt x="220995" y="245547"/>
                  </a:lnTo>
                  <a:cubicBezTo>
                    <a:pt x="221546" y="247754"/>
                    <a:pt x="222098" y="250513"/>
                    <a:pt x="222098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" name="Forme libre : forme 206">
              <a:extLst>
                <a:ext uri="{FF2B5EF4-FFF2-40B4-BE49-F238E27FC236}">
                  <a16:creationId xmlns:a16="http://schemas.microsoft.com/office/drawing/2014/main" id="{5B6131FF-A409-4EA9-81CC-0C3D2782942F}"/>
                </a:ext>
              </a:extLst>
            </p:cNvPr>
            <p:cNvSpPr/>
            <p:nvPr/>
          </p:nvSpPr>
          <p:spPr>
            <a:xfrm rot="8716295">
              <a:off x="5689139" y="3701707"/>
              <a:ext cx="105382" cy="119090"/>
            </a:xfrm>
            <a:custGeom>
              <a:avLst/>
              <a:gdLst>
                <a:gd name="connsiteX0" fmla="*/ 0 w 69626"/>
                <a:gd name="connsiteY0" fmla="*/ 74288 h 78683"/>
                <a:gd name="connsiteX1" fmla="*/ 61446 w 69626"/>
                <a:gd name="connsiteY1" fmla="*/ 0 h 78683"/>
                <a:gd name="connsiteX2" fmla="*/ 69626 w 69626"/>
                <a:gd name="connsiteY2" fmla="*/ 19468 h 78683"/>
                <a:gd name="connsiteX3" fmla="*/ 52380 w 69626"/>
                <a:gd name="connsiteY3" fmla="*/ 61206 h 78683"/>
                <a:gd name="connsiteX4" fmla="*/ 10986 w 69626"/>
                <a:gd name="connsiteY4" fmla="*/ 78683 h 78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626" h="78683">
                  <a:moveTo>
                    <a:pt x="0" y="74288"/>
                  </a:moveTo>
                  <a:lnTo>
                    <a:pt x="61446" y="0"/>
                  </a:lnTo>
                  <a:lnTo>
                    <a:pt x="69626" y="19468"/>
                  </a:lnTo>
                  <a:cubicBezTo>
                    <a:pt x="69626" y="34531"/>
                    <a:pt x="63877" y="49708"/>
                    <a:pt x="52380" y="61206"/>
                  </a:cubicBezTo>
                  <a:cubicBezTo>
                    <a:pt x="41341" y="72244"/>
                    <a:pt x="26624" y="78683"/>
                    <a:pt x="10986" y="786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" name="Forme libre : forme 207">
              <a:extLst>
                <a:ext uri="{FF2B5EF4-FFF2-40B4-BE49-F238E27FC236}">
                  <a16:creationId xmlns:a16="http://schemas.microsoft.com/office/drawing/2014/main" id="{F418276D-8E57-4C97-A0E3-69608568D520}"/>
                </a:ext>
              </a:extLst>
            </p:cNvPr>
            <p:cNvSpPr/>
            <p:nvPr/>
          </p:nvSpPr>
          <p:spPr>
            <a:xfrm rot="8716295">
              <a:off x="5344361" y="372861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" name="Forme libre : forme 208">
              <a:extLst>
                <a:ext uri="{FF2B5EF4-FFF2-40B4-BE49-F238E27FC236}">
                  <a16:creationId xmlns:a16="http://schemas.microsoft.com/office/drawing/2014/main" id="{18CB7434-4843-4498-9ECE-196E31359917}"/>
                </a:ext>
              </a:extLst>
            </p:cNvPr>
            <p:cNvSpPr/>
            <p:nvPr/>
          </p:nvSpPr>
          <p:spPr>
            <a:xfrm rot="8716295">
              <a:off x="5599943" y="3480521"/>
              <a:ext cx="177855" cy="178203"/>
            </a:xfrm>
            <a:custGeom>
              <a:avLst/>
              <a:gdLst>
                <a:gd name="connsiteX0" fmla="*/ 17477 w 117509"/>
                <a:gd name="connsiteY0" fmla="*/ 101182 h 117739"/>
                <a:gd name="connsiteX1" fmla="*/ 0 w 117509"/>
                <a:gd name="connsiteY1" fmla="*/ 59790 h 117739"/>
                <a:gd name="connsiteX2" fmla="*/ 0 w 117509"/>
                <a:gd name="connsiteY2" fmla="*/ 58869 h 117739"/>
                <a:gd name="connsiteX3" fmla="*/ 2091 w 117509"/>
                <a:gd name="connsiteY3" fmla="*/ 48678 h 117739"/>
                <a:gd name="connsiteX4" fmla="*/ 38978 w 117509"/>
                <a:gd name="connsiteY4" fmla="*/ 4080 h 117739"/>
                <a:gd name="connsiteX5" fmla="*/ 58869 w 117509"/>
                <a:gd name="connsiteY5" fmla="*/ 0 h 117739"/>
                <a:gd name="connsiteX6" fmla="*/ 100263 w 117509"/>
                <a:gd name="connsiteY6" fmla="*/ 17477 h 117739"/>
                <a:gd name="connsiteX7" fmla="*/ 100263 w 117509"/>
                <a:gd name="connsiteY7" fmla="*/ 100262 h 117739"/>
                <a:gd name="connsiteX8" fmla="*/ 58869 w 117509"/>
                <a:gd name="connsiteY8" fmla="*/ 117739 h 117739"/>
                <a:gd name="connsiteX9" fmla="*/ 17477 w 117509"/>
                <a:gd name="connsiteY9" fmla="*/ 101182 h 117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09" h="117739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lnTo>
                    <a:pt x="2091" y="48678"/>
                  </a:lnTo>
                  <a:lnTo>
                    <a:pt x="38978" y="4080"/>
                  </a:lnTo>
                  <a:lnTo>
                    <a:pt x="58869" y="0"/>
                  </a:lnTo>
                  <a:cubicBezTo>
                    <a:pt x="74507" y="0"/>
                    <a:pt x="89224" y="6439"/>
                    <a:pt x="100263" y="17477"/>
                  </a:cubicBezTo>
                  <a:cubicBezTo>
                    <a:pt x="123258" y="39553"/>
                    <a:pt x="123258" y="77266"/>
                    <a:pt x="100263" y="100262"/>
                  </a:cubicBezTo>
                  <a:cubicBezTo>
                    <a:pt x="89224" y="111300"/>
                    <a:pt x="74507" y="117739"/>
                    <a:pt x="58869" y="117739"/>
                  </a:cubicBezTo>
                  <a:cubicBezTo>
                    <a:pt x="43233" y="117739"/>
                    <a:pt x="28515" y="112220"/>
                    <a:pt x="17477" y="10118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" name="Forme libre : forme 209">
              <a:extLst>
                <a:ext uri="{FF2B5EF4-FFF2-40B4-BE49-F238E27FC236}">
                  <a16:creationId xmlns:a16="http://schemas.microsoft.com/office/drawing/2014/main" id="{80007C47-775F-43EE-9BFF-1043A7C3649A}"/>
                </a:ext>
              </a:extLst>
            </p:cNvPr>
            <p:cNvSpPr/>
            <p:nvPr/>
          </p:nvSpPr>
          <p:spPr>
            <a:xfrm rot="8716295">
              <a:off x="5090746" y="5117279"/>
              <a:ext cx="37096" cy="40385"/>
            </a:xfrm>
            <a:custGeom>
              <a:avLst/>
              <a:gdLst>
                <a:gd name="connsiteX0" fmla="*/ 0 w 37096"/>
                <a:gd name="connsiteY0" fmla="*/ 40385 h 40385"/>
                <a:gd name="connsiteX1" fmla="*/ 0 w 37096"/>
                <a:gd name="connsiteY1" fmla="*/ 0 h 40385"/>
                <a:gd name="connsiteX2" fmla="*/ 37096 w 37096"/>
                <a:gd name="connsiteY2" fmla="*/ 25713 h 40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096" h="40385">
                  <a:moveTo>
                    <a:pt x="0" y="40385"/>
                  </a:moveTo>
                  <a:lnTo>
                    <a:pt x="0" y="0"/>
                  </a:lnTo>
                  <a:lnTo>
                    <a:pt x="37096" y="2571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" name="Forme libre : forme 210">
              <a:extLst>
                <a:ext uri="{FF2B5EF4-FFF2-40B4-BE49-F238E27FC236}">
                  <a16:creationId xmlns:a16="http://schemas.microsoft.com/office/drawing/2014/main" id="{5820CA8C-9225-440D-B86D-A9CE799D1C39}"/>
                </a:ext>
              </a:extLst>
            </p:cNvPr>
            <p:cNvSpPr/>
            <p:nvPr/>
          </p:nvSpPr>
          <p:spPr>
            <a:xfrm rot="8716295">
              <a:off x="5405706" y="5085046"/>
              <a:ext cx="60406" cy="83058"/>
            </a:xfrm>
            <a:custGeom>
              <a:avLst/>
              <a:gdLst>
                <a:gd name="connsiteX0" fmla="*/ 0 w 60406"/>
                <a:gd name="connsiteY0" fmla="*/ 83058 h 83058"/>
                <a:gd name="connsiteX1" fmla="*/ 0 w 60406"/>
                <a:gd name="connsiteY1" fmla="*/ 0 h 83058"/>
                <a:gd name="connsiteX2" fmla="*/ 60406 w 60406"/>
                <a:gd name="connsiteY2" fmla="*/ 41872 h 83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406" h="83058">
                  <a:moveTo>
                    <a:pt x="0" y="83058"/>
                  </a:moveTo>
                  <a:lnTo>
                    <a:pt x="0" y="0"/>
                  </a:lnTo>
                  <a:lnTo>
                    <a:pt x="60406" y="4187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" name="Forme libre : forme 211">
              <a:extLst>
                <a:ext uri="{FF2B5EF4-FFF2-40B4-BE49-F238E27FC236}">
                  <a16:creationId xmlns:a16="http://schemas.microsoft.com/office/drawing/2014/main" id="{14119B8B-36AC-4498-96E0-570BA8C54C01}"/>
                </a:ext>
              </a:extLst>
            </p:cNvPr>
            <p:cNvSpPr/>
            <p:nvPr/>
          </p:nvSpPr>
          <p:spPr>
            <a:xfrm rot="8716295">
              <a:off x="5207014" y="4975218"/>
              <a:ext cx="245211" cy="161994"/>
            </a:xfrm>
            <a:custGeom>
              <a:avLst/>
              <a:gdLst>
                <a:gd name="connsiteX0" fmla="*/ 8965 w 245211"/>
                <a:gd name="connsiteY0" fmla="*/ 161994 h 161994"/>
                <a:gd name="connsiteX1" fmla="*/ 0 w 245211"/>
                <a:gd name="connsiteY1" fmla="*/ 149580 h 161994"/>
                <a:gd name="connsiteX2" fmla="*/ 158971 w 245211"/>
                <a:gd name="connsiteY2" fmla="*/ 0 h 161994"/>
                <a:gd name="connsiteX3" fmla="*/ 245211 w 245211"/>
                <a:gd name="connsiteY3" fmla="*/ 59779 h 161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211" h="161994">
                  <a:moveTo>
                    <a:pt x="8965" y="161994"/>
                  </a:moveTo>
                  <a:lnTo>
                    <a:pt x="0" y="149580"/>
                  </a:lnTo>
                  <a:lnTo>
                    <a:pt x="158971" y="0"/>
                  </a:lnTo>
                  <a:lnTo>
                    <a:pt x="245211" y="5977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" name="Forme libre : forme 212">
              <a:extLst>
                <a:ext uri="{FF2B5EF4-FFF2-40B4-BE49-F238E27FC236}">
                  <a16:creationId xmlns:a16="http://schemas.microsoft.com/office/drawing/2014/main" id="{4FCFFEE2-AEF7-46AC-BCAB-E4AB6356A9CD}"/>
                </a:ext>
              </a:extLst>
            </p:cNvPr>
            <p:cNvSpPr/>
            <p:nvPr/>
          </p:nvSpPr>
          <p:spPr>
            <a:xfrm rot="8716295">
              <a:off x="4807372" y="4871188"/>
              <a:ext cx="249519" cy="296463"/>
            </a:xfrm>
            <a:custGeom>
              <a:avLst/>
              <a:gdLst>
                <a:gd name="connsiteX0" fmla="*/ 137293 w 249519"/>
                <a:gd name="connsiteY0" fmla="*/ 296463 h 296463"/>
                <a:gd name="connsiteX1" fmla="*/ 72418 w 249519"/>
                <a:gd name="connsiteY1" fmla="*/ 175766 h 296463"/>
                <a:gd name="connsiteX2" fmla="*/ 105610 w 249519"/>
                <a:gd name="connsiteY2" fmla="*/ 83734 h 296463"/>
                <a:gd name="connsiteX3" fmla="*/ 0 w 249519"/>
                <a:gd name="connsiteY3" fmla="*/ 83734 h 296463"/>
                <a:gd name="connsiteX4" fmla="*/ 0 w 249519"/>
                <a:gd name="connsiteY4" fmla="*/ 0 h 296463"/>
                <a:gd name="connsiteX5" fmla="*/ 128719 w 249519"/>
                <a:gd name="connsiteY5" fmla="*/ 0 h 296463"/>
                <a:gd name="connsiteX6" fmla="*/ 249519 w 249519"/>
                <a:gd name="connsiteY6" fmla="*/ 83734 h 296463"/>
                <a:gd name="connsiteX7" fmla="*/ 210465 w 249519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9519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128719" y="0"/>
                  </a:lnTo>
                  <a:lnTo>
                    <a:pt x="249519" y="83734"/>
                  </a:lnTo>
                  <a:lnTo>
                    <a:pt x="210465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" name="Forme libre : forme 213">
              <a:extLst>
                <a:ext uri="{FF2B5EF4-FFF2-40B4-BE49-F238E27FC236}">
                  <a16:creationId xmlns:a16="http://schemas.microsoft.com/office/drawing/2014/main" id="{1B41E071-0693-46BD-92E2-292036356EEC}"/>
                </a:ext>
              </a:extLst>
            </p:cNvPr>
            <p:cNvSpPr/>
            <p:nvPr/>
          </p:nvSpPr>
          <p:spPr>
            <a:xfrm rot="8716295">
              <a:off x="4742203" y="467807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" name="Forme libre : forme 214">
              <a:extLst>
                <a:ext uri="{FF2B5EF4-FFF2-40B4-BE49-F238E27FC236}">
                  <a16:creationId xmlns:a16="http://schemas.microsoft.com/office/drawing/2014/main" id="{3D04A71D-E109-4B4F-89C3-FA4AB19F4E1D}"/>
                </a:ext>
              </a:extLst>
            </p:cNvPr>
            <p:cNvSpPr/>
            <p:nvPr/>
          </p:nvSpPr>
          <p:spPr>
            <a:xfrm rot="8716295">
              <a:off x="5548192" y="4732447"/>
              <a:ext cx="92415" cy="287093"/>
            </a:xfrm>
            <a:custGeom>
              <a:avLst/>
              <a:gdLst>
                <a:gd name="connsiteX0" fmla="*/ 0 w 61059"/>
                <a:gd name="connsiteY0" fmla="*/ 189683 h 189683"/>
                <a:gd name="connsiteX1" fmla="*/ 1 w 61059"/>
                <a:gd name="connsiteY1" fmla="*/ 70355 h 189683"/>
                <a:gd name="connsiteX2" fmla="*/ 58192 w 61059"/>
                <a:gd name="connsiteY2" fmla="*/ 0 h 189683"/>
                <a:gd name="connsiteX3" fmla="*/ 61059 w 61059"/>
                <a:gd name="connsiteY3" fmla="*/ 7418 h 189683"/>
                <a:gd name="connsiteX4" fmla="*/ 61059 w 61059"/>
                <a:gd name="connsiteY4" fmla="*/ 165533 h 189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59" h="189683">
                  <a:moveTo>
                    <a:pt x="0" y="189683"/>
                  </a:moveTo>
                  <a:lnTo>
                    <a:pt x="1" y="70355"/>
                  </a:lnTo>
                  <a:lnTo>
                    <a:pt x="58192" y="0"/>
                  </a:lnTo>
                  <a:lnTo>
                    <a:pt x="61059" y="7418"/>
                  </a:lnTo>
                  <a:lnTo>
                    <a:pt x="61059" y="1655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" name="Forme libre : forme 215">
              <a:extLst>
                <a:ext uri="{FF2B5EF4-FFF2-40B4-BE49-F238E27FC236}">
                  <a16:creationId xmlns:a16="http://schemas.microsoft.com/office/drawing/2014/main" id="{AAC7FAB2-F735-42A2-BE55-7C8B153DECE5}"/>
                </a:ext>
              </a:extLst>
            </p:cNvPr>
            <p:cNvSpPr/>
            <p:nvPr/>
          </p:nvSpPr>
          <p:spPr>
            <a:xfrm rot="8716295">
              <a:off x="5387054" y="482534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" name="Forme libre : forme 216">
              <a:extLst>
                <a:ext uri="{FF2B5EF4-FFF2-40B4-BE49-F238E27FC236}">
                  <a16:creationId xmlns:a16="http://schemas.microsoft.com/office/drawing/2014/main" id="{4B03EBBE-E237-4565-BE6F-56E70942310E}"/>
                </a:ext>
              </a:extLst>
            </p:cNvPr>
            <p:cNvSpPr/>
            <p:nvPr/>
          </p:nvSpPr>
          <p:spPr>
            <a:xfrm rot="8716295">
              <a:off x="5198009" y="450950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" name="Forme libre : forme 217">
              <a:extLst>
                <a:ext uri="{FF2B5EF4-FFF2-40B4-BE49-F238E27FC236}">
                  <a16:creationId xmlns:a16="http://schemas.microsoft.com/office/drawing/2014/main" id="{230714BC-B4D4-483B-9F0B-D1990593F59D}"/>
                </a:ext>
              </a:extLst>
            </p:cNvPr>
            <p:cNvSpPr/>
            <p:nvPr/>
          </p:nvSpPr>
          <p:spPr>
            <a:xfrm rot="8716295">
              <a:off x="5503997" y="4913234"/>
              <a:ext cx="91035" cy="258752"/>
            </a:xfrm>
            <a:custGeom>
              <a:avLst/>
              <a:gdLst>
                <a:gd name="connsiteX0" fmla="*/ 91035 w 91035"/>
                <a:gd name="connsiteY0" fmla="*/ 258752 h 258752"/>
                <a:gd name="connsiteX1" fmla="*/ 0 w 91035"/>
                <a:gd name="connsiteY1" fmla="*/ 171163 h 258752"/>
                <a:gd name="connsiteX2" fmla="*/ 0 w 91035"/>
                <a:gd name="connsiteY2" fmla="*/ 43487 h 258752"/>
                <a:gd name="connsiteX3" fmla="*/ 35968 w 91035"/>
                <a:gd name="connsiteY3" fmla="*/ 0 h 258752"/>
                <a:gd name="connsiteX4" fmla="*/ 91035 w 91035"/>
                <a:gd name="connsiteY4" fmla="*/ 38170 h 258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035" h="258752">
                  <a:moveTo>
                    <a:pt x="91035" y="258752"/>
                  </a:moveTo>
                  <a:lnTo>
                    <a:pt x="0" y="171163"/>
                  </a:lnTo>
                  <a:lnTo>
                    <a:pt x="0" y="43487"/>
                  </a:lnTo>
                  <a:lnTo>
                    <a:pt x="35968" y="0"/>
                  </a:lnTo>
                  <a:lnTo>
                    <a:pt x="91035" y="3817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" name="Forme libre : forme 218">
              <a:extLst>
                <a:ext uri="{FF2B5EF4-FFF2-40B4-BE49-F238E27FC236}">
                  <a16:creationId xmlns:a16="http://schemas.microsoft.com/office/drawing/2014/main" id="{14A36AFC-3634-423C-BC16-BDB2283C28B3}"/>
                </a:ext>
              </a:extLst>
            </p:cNvPr>
            <p:cNvSpPr/>
            <p:nvPr/>
          </p:nvSpPr>
          <p:spPr>
            <a:xfrm rot="8716295">
              <a:off x="5158096" y="466090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" name="Forme libre : forme 219">
              <a:extLst>
                <a:ext uri="{FF2B5EF4-FFF2-40B4-BE49-F238E27FC236}">
                  <a16:creationId xmlns:a16="http://schemas.microsoft.com/office/drawing/2014/main" id="{BC237E43-FDD5-4FDC-8C88-3D3E992DDCCE}"/>
                </a:ext>
              </a:extLst>
            </p:cNvPr>
            <p:cNvSpPr/>
            <p:nvPr/>
          </p:nvSpPr>
          <p:spPr>
            <a:xfrm rot="8716295">
              <a:off x="4115344" y="2074537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" name="Forme libre : forme 220">
              <a:extLst>
                <a:ext uri="{FF2B5EF4-FFF2-40B4-BE49-F238E27FC236}">
                  <a16:creationId xmlns:a16="http://schemas.microsoft.com/office/drawing/2014/main" id="{74F2CD5F-27E1-4B05-BDE3-F9CAEE63E34B}"/>
                </a:ext>
              </a:extLst>
            </p:cNvPr>
            <p:cNvSpPr/>
            <p:nvPr/>
          </p:nvSpPr>
          <p:spPr>
            <a:xfrm rot="8716295">
              <a:off x="4250643" y="2118796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" name="Forme libre : forme 221">
              <a:extLst>
                <a:ext uri="{FF2B5EF4-FFF2-40B4-BE49-F238E27FC236}">
                  <a16:creationId xmlns:a16="http://schemas.microsoft.com/office/drawing/2014/main" id="{3D2EAE98-2CEC-4E31-BF79-1D13D51EDB3B}"/>
                </a:ext>
              </a:extLst>
            </p:cNvPr>
            <p:cNvSpPr/>
            <p:nvPr/>
          </p:nvSpPr>
          <p:spPr>
            <a:xfrm rot="8716295">
              <a:off x="4182761" y="1988208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" name="Forme libre : forme 222">
              <a:extLst>
                <a:ext uri="{FF2B5EF4-FFF2-40B4-BE49-F238E27FC236}">
                  <a16:creationId xmlns:a16="http://schemas.microsoft.com/office/drawing/2014/main" id="{F7C21745-E98A-49A1-BB89-EF4C58D2B535}"/>
                </a:ext>
              </a:extLst>
            </p:cNvPr>
            <p:cNvSpPr/>
            <p:nvPr/>
          </p:nvSpPr>
          <p:spPr>
            <a:xfrm rot="8716295">
              <a:off x="3945473" y="220855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" name="Forme libre : forme 223">
              <a:extLst>
                <a:ext uri="{FF2B5EF4-FFF2-40B4-BE49-F238E27FC236}">
                  <a16:creationId xmlns:a16="http://schemas.microsoft.com/office/drawing/2014/main" id="{3C933A0E-48CB-40A4-AD69-869889C9C116}"/>
                </a:ext>
              </a:extLst>
            </p:cNvPr>
            <p:cNvSpPr/>
            <p:nvPr/>
          </p:nvSpPr>
          <p:spPr>
            <a:xfrm rot="8716295">
              <a:off x="3756427" y="189271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" name="Forme libre : forme 224">
              <a:extLst>
                <a:ext uri="{FF2B5EF4-FFF2-40B4-BE49-F238E27FC236}">
                  <a16:creationId xmlns:a16="http://schemas.microsoft.com/office/drawing/2014/main" id="{A02DB2FC-04B5-4966-BEE6-FB30AD9722F6}"/>
                </a:ext>
              </a:extLst>
            </p:cNvPr>
            <p:cNvSpPr/>
            <p:nvPr/>
          </p:nvSpPr>
          <p:spPr>
            <a:xfrm rot="8716295">
              <a:off x="3738186" y="1682667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" name="Forme libre : forme 225">
              <a:extLst>
                <a:ext uri="{FF2B5EF4-FFF2-40B4-BE49-F238E27FC236}">
                  <a16:creationId xmlns:a16="http://schemas.microsoft.com/office/drawing/2014/main" id="{F8510F0D-1176-4749-A0F4-7938F16AABD4}"/>
                </a:ext>
              </a:extLst>
            </p:cNvPr>
            <p:cNvSpPr/>
            <p:nvPr/>
          </p:nvSpPr>
          <p:spPr>
            <a:xfrm rot="8716295">
              <a:off x="4081962" y="2270535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" name="Forme libre : forme 226">
              <a:extLst>
                <a:ext uri="{FF2B5EF4-FFF2-40B4-BE49-F238E27FC236}">
                  <a16:creationId xmlns:a16="http://schemas.microsoft.com/office/drawing/2014/main" id="{7359A2E2-1A1C-4AB5-9888-9A67C8F381ED}"/>
                </a:ext>
              </a:extLst>
            </p:cNvPr>
            <p:cNvSpPr/>
            <p:nvPr/>
          </p:nvSpPr>
          <p:spPr>
            <a:xfrm rot="8716295">
              <a:off x="4552908" y="169592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" name="Forme libre : forme 227">
              <a:extLst>
                <a:ext uri="{FF2B5EF4-FFF2-40B4-BE49-F238E27FC236}">
                  <a16:creationId xmlns:a16="http://schemas.microsoft.com/office/drawing/2014/main" id="{F162CF17-3696-46D1-BBA9-E595114BD290}"/>
                </a:ext>
              </a:extLst>
            </p:cNvPr>
            <p:cNvSpPr/>
            <p:nvPr/>
          </p:nvSpPr>
          <p:spPr>
            <a:xfrm rot="8716295">
              <a:off x="4688207" y="174018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" name="Forme libre : forme 228">
              <a:extLst>
                <a:ext uri="{FF2B5EF4-FFF2-40B4-BE49-F238E27FC236}">
                  <a16:creationId xmlns:a16="http://schemas.microsoft.com/office/drawing/2014/main" id="{CB7640C0-A77D-4C20-99F3-99AC8C5EA399}"/>
                </a:ext>
              </a:extLst>
            </p:cNvPr>
            <p:cNvSpPr/>
            <p:nvPr/>
          </p:nvSpPr>
          <p:spPr>
            <a:xfrm rot="8716295">
              <a:off x="4383037" y="182993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" name="Forme libre : forme 229">
              <a:extLst>
                <a:ext uri="{FF2B5EF4-FFF2-40B4-BE49-F238E27FC236}">
                  <a16:creationId xmlns:a16="http://schemas.microsoft.com/office/drawing/2014/main" id="{7221721D-60FE-4C4C-9396-20240CB24747}"/>
                </a:ext>
              </a:extLst>
            </p:cNvPr>
            <p:cNvSpPr/>
            <p:nvPr/>
          </p:nvSpPr>
          <p:spPr>
            <a:xfrm rot="8716295">
              <a:off x="4193993" y="151410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" name="Forme libre : forme 230">
              <a:extLst>
                <a:ext uri="{FF2B5EF4-FFF2-40B4-BE49-F238E27FC236}">
                  <a16:creationId xmlns:a16="http://schemas.microsoft.com/office/drawing/2014/main" id="{72815BA9-45F4-424C-8C61-85FB1E0CD670}"/>
                </a:ext>
              </a:extLst>
            </p:cNvPr>
            <p:cNvSpPr/>
            <p:nvPr/>
          </p:nvSpPr>
          <p:spPr>
            <a:xfrm rot="8716295">
              <a:off x="4519525" y="1891919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" name="Forme libre : forme 231">
              <a:extLst>
                <a:ext uri="{FF2B5EF4-FFF2-40B4-BE49-F238E27FC236}">
                  <a16:creationId xmlns:a16="http://schemas.microsoft.com/office/drawing/2014/main" id="{2386F46E-7D0B-4733-83CE-A3BA85A841D0}"/>
                </a:ext>
              </a:extLst>
            </p:cNvPr>
            <p:cNvSpPr/>
            <p:nvPr/>
          </p:nvSpPr>
          <p:spPr>
            <a:xfrm rot="8716295">
              <a:off x="4154079" y="1665493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" name="Forme libre : forme 232">
              <a:extLst>
                <a:ext uri="{FF2B5EF4-FFF2-40B4-BE49-F238E27FC236}">
                  <a16:creationId xmlns:a16="http://schemas.microsoft.com/office/drawing/2014/main" id="{7C49EAA5-EA80-4FD2-B8EE-8A5326A137F1}"/>
                </a:ext>
              </a:extLst>
            </p:cNvPr>
            <p:cNvSpPr/>
            <p:nvPr/>
          </p:nvSpPr>
          <p:spPr>
            <a:xfrm rot="7484129">
              <a:off x="4678343" y="218153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" name="Forme libre : forme 233">
              <a:extLst>
                <a:ext uri="{FF2B5EF4-FFF2-40B4-BE49-F238E27FC236}">
                  <a16:creationId xmlns:a16="http://schemas.microsoft.com/office/drawing/2014/main" id="{E5F42144-89A8-465A-AA8E-5830C7BF1E60}"/>
                </a:ext>
              </a:extLst>
            </p:cNvPr>
            <p:cNvSpPr/>
            <p:nvPr/>
          </p:nvSpPr>
          <p:spPr>
            <a:xfrm rot="13089394">
              <a:off x="4836993" y="2130885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" name="Forme libre : forme 234">
              <a:extLst>
                <a:ext uri="{FF2B5EF4-FFF2-40B4-BE49-F238E27FC236}">
                  <a16:creationId xmlns:a16="http://schemas.microsoft.com/office/drawing/2014/main" id="{4B643A7D-0F4D-44EF-8082-E475252D919E}"/>
                </a:ext>
              </a:extLst>
            </p:cNvPr>
            <p:cNvSpPr/>
            <p:nvPr/>
          </p:nvSpPr>
          <p:spPr>
            <a:xfrm rot="8716295">
              <a:off x="5117884" y="1840767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" name="Forme libre : forme 235">
              <a:extLst>
                <a:ext uri="{FF2B5EF4-FFF2-40B4-BE49-F238E27FC236}">
                  <a16:creationId xmlns:a16="http://schemas.microsoft.com/office/drawing/2014/main" id="{A286EB77-2A92-49EB-B662-F67A780E72C3}"/>
                </a:ext>
              </a:extLst>
            </p:cNvPr>
            <p:cNvSpPr/>
            <p:nvPr/>
          </p:nvSpPr>
          <p:spPr>
            <a:xfrm rot="8716295">
              <a:off x="5039475" y="1683975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" name="Forme libre : forme 236">
              <a:extLst>
                <a:ext uri="{FF2B5EF4-FFF2-40B4-BE49-F238E27FC236}">
                  <a16:creationId xmlns:a16="http://schemas.microsoft.com/office/drawing/2014/main" id="{D76415DF-3D0E-46A1-A992-CAEF6C90F935}"/>
                </a:ext>
              </a:extLst>
            </p:cNvPr>
            <p:cNvSpPr/>
            <p:nvPr/>
          </p:nvSpPr>
          <p:spPr>
            <a:xfrm rot="8716295">
              <a:off x="4671311" y="172971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" name="Forme libre : forme 237">
              <a:extLst>
                <a:ext uri="{FF2B5EF4-FFF2-40B4-BE49-F238E27FC236}">
                  <a16:creationId xmlns:a16="http://schemas.microsoft.com/office/drawing/2014/main" id="{22B5BB48-3533-4C75-B095-5C6392290E1E}"/>
                </a:ext>
              </a:extLst>
            </p:cNvPr>
            <p:cNvSpPr/>
            <p:nvPr/>
          </p:nvSpPr>
          <p:spPr>
            <a:xfrm rot="8716295">
              <a:off x="4939893" y="148869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" name="Forme libre : forme 238">
              <a:extLst>
                <a:ext uri="{FF2B5EF4-FFF2-40B4-BE49-F238E27FC236}">
                  <a16:creationId xmlns:a16="http://schemas.microsoft.com/office/drawing/2014/main" id="{D4F7953A-EB21-471D-9CE6-DFD037BB3D9B}"/>
                </a:ext>
              </a:extLst>
            </p:cNvPr>
            <p:cNvSpPr/>
            <p:nvPr/>
          </p:nvSpPr>
          <p:spPr>
            <a:xfrm rot="8716295">
              <a:off x="3777571" y="1076054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" name="Forme libre : forme 239">
              <a:extLst>
                <a:ext uri="{FF2B5EF4-FFF2-40B4-BE49-F238E27FC236}">
                  <a16:creationId xmlns:a16="http://schemas.microsoft.com/office/drawing/2014/main" id="{B31F3CAF-6E5C-4883-9D56-37A77E8E54A5}"/>
                </a:ext>
              </a:extLst>
            </p:cNvPr>
            <p:cNvSpPr/>
            <p:nvPr/>
          </p:nvSpPr>
          <p:spPr>
            <a:xfrm rot="8716295">
              <a:off x="3912870" y="1120313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" name="Forme libre : forme 240">
              <a:extLst>
                <a:ext uri="{FF2B5EF4-FFF2-40B4-BE49-F238E27FC236}">
                  <a16:creationId xmlns:a16="http://schemas.microsoft.com/office/drawing/2014/main" id="{C147FD5B-3693-4B4F-88B4-175EF4DCAB5D}"/>
                </a:ext>
              </a:extLst>
            </p:cNvPr>
            <p:cNvSpPr/>
            <p:nvPr/>
          </p:nvSpPr>
          <p:spPr>
            <a:xfrm rot="8716295">
              <a:off x="3844988" y="989725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" name="Forme libre : forme 241">
              <a:extLst>
                <a:ext uri="{FF2B5EF4-FFF2-40B4-BE49-F238E27FC236}">
                  <a16:creationId xmlns:a16="http://schemas.microsoft.com/office/drawing/2014/main" id="{ADDA2175-F82B-4C1C-A775-DCF7ED389EE1}"/>
                </a:ext>
              </a:extLst>
            </p:cNvPr>
            <p:cNvSpPr/>
            <p:nvPr/>
          </p:nvSpPr>
          <p:spPr>
            <a:xfrm rot="8716295">
              <a:off x="3607700" y="121006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" name="Forme libre : forme 242">
              <a:extLst>
                <a:ext uri="{FF2B5EF4-FFF2-40B4-BE49-F238E27FC236}">
                  <a16:creationId xmlns:a16="http://schemas.microsoft.com/office/drawing/2014/main" id="{3DA66E2A-B271-4CA4-B9FF-6AFE032DC966}"/>
                </a:ext>
              </a:extLst>
            </p:cNvPr>
            <p:cNvSpPr/>
            <p:nvPr/>
          </p:nvSpPr>
          <p:spPr>
            <a:xfrm rot="8716295">
              <a:off x="3418654" y="89423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" name="Forme libre : forme 243">
              <a:extLst>
                <a:ext uri="{FF2B5EF4-FFF2-40B4-BE49-F238E27FC236}">
                  <a16:creationId xmlns:a16="http://schemas.microsoft.com/office/drawing/2014/main" id="{5F0B065E-4F1B-43F1-9813-90200634675E}"/>
                </a:ext>
              </a:extLst>
            </p:cNvPr>
            <p:cNvSpPr/>
            <p:nvPr/>
          </p:nvSpPr>
          <p:spPr>
            <a:xfrm rot="8716295">
              <a:off x="3400413" y="68418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" name="Forme libre : forme 244">
              <a:extLst>
                <a:ext uri="{FF2B5EF4-FFF2-40B4-BE49-F238E27FC236}">
                  <a16:creationId xmlns:a16="http://schemas.microsoft.com/office/drawing/2014/main" id="{20854BC4-5849-4EDA-A9AD-8A9CB02779EC}"/>
                </a:ext>
              </a:extLst>
            </p:cNvPr>
            <p:cNvSpPr/>
            <p:nvPr/>
          </p:nvSpPr>
          <p:spPr>
            <a:xfrm rot="8716295">
              <a:off x="3744189" y="1272052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" name="Forme libre : forme 245">
              <a:extLst>
                <a:ext uri="{FF2B5EF4-FFF2-40B4-BE49-F238E27FC236}">
                  <a16:creationId xmlns:a16="http://schemas.microsoft.com/office/drawing/2014/main" id="{7833AF6E-AF2A-42B3-84D3-9F8F342AAC2A}"/>
                </a:ext>
              </a:extLst>
            </p:cNvPr>
            <p:cNvSpPr/>
            <p:nvPr/>
          </p:nvSpPr>
          <p:spPr>
            <a:xfrm rot="8716295">
              <a:off x="4215135" y="69743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" name="Forme libre : forme 246">
              <a:extLst>
                <a:ext uri="{FF2B5EF4-FFF2-40B4-BE49-F238E27FC236}">
                  <a16:creationId xmlns:a16="http://schemas.microsoft.com/office/drawing/2014/main" id="{5CCDB5E7-FFA9-4665-85A4-71445280D93D}"/>
                </a:ext>
              </a:extLst>
            </p:cNvPr>
            <p:cNvSpPr/>
            <p:nvPr/>
          </p:nvSpPr>
          <p:spPr>
            <a:xfrm rot="8716295">
              <a:off x="4350434" y="74169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" name="Forme libre : forme 247">
              <a:extLst>
                <a:ext uri="{FF2B5EF4-FFF2-40B4-BE49-F238E27FC236}">
                  <a16:creationId xmlns:a16="http://schemas.microsoft.com/office/drawing/2014/main" id="{2DD39E77-D511-475C-B9A4-1F96A0A8FEEA}"/>
                </a:ext>
              </a:extLst>
            </p:cNvPr>
            <p:cNvSpPr/>
            <p:nvPr/>
          </p:nvSpPr>
          <p:spPr>
            <a:xfrm rot="8716295">
              <a:off x="4045264" y="83145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" name="Forme libre : forme 248">
              <a:extLst>
                <a:ext uri="{FF2B5EF4-FFF2-40B4-BE49-F238E27FC236}">
                  <a16:creationId xmlns:a16="http://schemas.microsoft.com/office/drawing/2014/main" id="{37119436-3DF5-44F0-88C8-59BCDF9BA3E8}"/>
                </a:ext>
              </a:extLst>
            </p:cNvPr>
            <p:cNvSpPr/>
            <p:nvPr/>
          </p:nvSpPr>
          <p:spPr>
            <a:xfrm rot="8716295">
              <a:off x="3856220" y="51561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" name="Forme libre : forme 249">
              <a:extLst>
                <a:ext uri="{FF2B5EF4-FFF2-40B4-BE49-F238E27FC236}">
                  <a16:creationId xmlns:a16="http://schemas.microsoft.com/office/drawing/2014/main" id="{5EFF1AF7-D116-4A78-8A60-0881E3BE9924}"/>
                </a:ext>
              </a:extLst>
            </p:cNvPr>
            <p:cNvSpPr/>
            <p:nvPr/>
          </p:nvSpPr>
          <p:spPr>
            <a:xfrm rot="8716295">
              <a:off x="4181753" y="893436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" name="Forme libre : forme 250">
              <a:extLst>
                <a:ext uri="{FF2B5EF4-FFF2-40B4-BE49-F238E27FC236}">
                  <a16:creationId xmlns:a16="http://schemas.microsoft.com/office/drawing/2014/main" id="{C38BBAB8-EA94-46A9-B44D-F77A303742D6}"/>
                </a:ext>
              </a:extLst>
            </p:cNvPr>
            <p:cNvSpPr/>
            <p:nvPr/>
          </p:nvSpPr>
          <p:spPr>
            <a:xfrm rot="8716295">
              <a:off x="3816306" y="66701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" name="Forme libre : forme 251">
              <a:extLst>
                <a:ext uri="{FF2B5EF4-FFF2-40B4-BE49-F238E27FC236}">
                  <a16:creationId xmlns:a16="http://schemas.microsoft.com/office/drawing/2014/main" id="{726FB4EE-DE4A-475E-B9CA-BDA728B96056}"/>
                </a:ext>
              </a:extLst>
            </p:cNvPr>
            <p:cNvSpPr/>
            <p:nvPr/>
          </p:nvSpPr>
          <p:spPr>
            <a:xfrm rot="7484129">
              <a:off x="4340570" y="118305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" name="Forme libre : forme 252">
              <a:extLst>
                <a:ext uri="{FF2B5EF4-FFF2-40B4-BE49-F238E27FC236}">
                  <a16:creationId xmlns:a16="http://schemas.microsoft.com/office/drawing/2014/main" id="{3778C4A8-DD8F-40FB-BF36-85A62335E025}"/>
                </a:ext>
              </a:extLst>
            </p:cNvPr>
            <p:cNvSpPr/>
            <p:nvPr/>
          </p:nvSpPr>
          <p:spPr>
            <a:xfrm rot="13089394">
              <a:off x="4499220" y="1132402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" name="Forme libre : forme 253">
              <a:extLst>
                <a:ext uri="{FF2B5EF4-FFF2-40B4-BE49-F238E27FC236}">
                  <a16:creationId xmlns:a16="http://schemas.microsoft.com/office/drawing/2014/main" id="{E67B04C4-DF6C-4AF3-A306-EC57702A7EA7}"/>
                </a:ext>
              </a:extLst>
            </p:cNvPr>
            <p:cNvSpPr/>
            <p:nvPr/>
          </p:nvSpPr>
          <p:spPr>
            <a:xfrm rot="8716295">
              <a:off x="4780111" y="842284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" name="Forme libre : forme 254">
              <a:extLst>
                <a:ext uri="{FF2B5EF4-FFF2-40B4-BE49-F238E27FC236}">
                  <a16:creationId xmlns:a16="http://schemas.microsoft.com/office/drawing/2014/main" id="{0C3B947F-A89B-45FB-9A8F-3A9BCC6CD484}"/>
                </a:ext>
              </a:extLst>
            </p:cNvPr>
            <p:cNvSpPr/>
            <p:nvPr/>
          </p:nvSpPr>
          <p:spPr>
            <a:xfrm rot="8716295">
              <a:off x="4701702" y="68549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" name="Forme libre : forme 255">
              <a:extLst>
                <a:ext uri="{FF2B5EF4-FFF2-40B4-BE49-F238E27FC236}">
                  <a16:creationId xmlns:a16="http://schemas.microsoft.com/office/drawing/2014/main" id="{65FF4858-B1A0-42D2-ADCA-DB484EB1FE6D}"/>
                </a:ext>
              </a:extLst>
            </p:cNvPr>
            <p:cNvSpPr/>
            <p:nvPr/>
          </p:nvSpPr>
          <p:spPr>
            <a:xfrm rot="8716295">
              <a:off x="4333538" y="73123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" name="Forme libre : forme 256">
              <a:extLst>
                <a:ext uri="{FF2B5EF4-FFF2-40B4-BE49-F238E27FC236}">
                  <a16:creationId xmlns:a16="http://schemas.microsoft.com/office/drawing/2014/main" id="{28C1BE2D-A511-4E2F-AC16-ED6DA95D0016}"/>
                </a:ext>
              </a:extLst>
            </p:cNvPr>
            <p:cNvSpPr/>
            <p:nvPr/>
          </p:nvSpPr>
          <p:spPr>
            <a:xfrm rot="8716295">
              <a:off x="4602120" y="49021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" name="Forme libre : forme 257">
              <a:extLst>
                <a:ext uri="{FF2B5EF4-FFF2-40B4-BE49-F238E27FC236}">
                  <a16:creationId xmlns:a16="http://schemas.microsoft.com/office/drawing/2014/main" id="{414A6022-94D3-4CA0-800F-BAEAE0FC105C}"/>
                </a:ext>
              </a:extLst>
            </p:cNvPr>
            <p:cNvSpPr/>
            <p:nvPr/>
          </p:nvSpPr>
          <p:spPr>
            <a:xfrm rot="8716295">
              <a:off x="3446198" y="7400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" name="Forme libre : forme 258">
              <a:extLst>
                <a:ext uri="{FF2B5EF4-FFF2-40B4-BE49-F238E27FC236}">
                  <a16:creationId xmlns:a16="http://schemas.microsoft.com/office/drawing/2014/main" id="{2CDD9144-31FA-487A-AF8B-34A135FB089A}"/>
                </a:ext>
              </a:extLst>
            </p:cNvPr>
            <p:cNvSpPr/>
            <p:nvPr/>
          </p:nvSpPr>
          <p:spPr>
            <a:xfrm rot="8716295">
              <a:off x="3581496" y="11826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" name="Forme libre : forme 259">
              <a:extLst>
                <a:ext uri="{FF2B5EF4-FFF2-40B4-BE49-F238E27FC236}">
                  <a16:creationId xmlns:a16="http://schemas.microsoft.com/office/drawing/2014/main" id="{7FE16051-BF2A-4B51-837A-7B2C211B57E4}"/>
                </a:ext>
              </a:extLst>
            </p:cNvPr>
            <p:cNvSpPr/>
            <p:nvPr/>
          </p:nvSpPr>
          <p:spPr>
            <a:xfrm rot="8716295">
              <a:off x="3522597" y="36248"/>
              <a:ext cx="234675" cy="172489"/>
            </a:xfrm>
            <a:custGeom>
              <a:avLst/>
              <a:gdLst>
                <a:gd name="connsiteX0" fmla="*/ 25756 w 155050"/>
                <a:gd name="connsiteY0" fmla="*/ 113964 h 113964"/>
                <a:gd name="connsiteX1" fmla="*/ 0 w 155050"/>
                <a:gd name="connsiteY1" fmla="*/ 96110 h 113964"/>
                <a:gd name="connsiteX2" fmla="*/ 72120 w 155050"/>
                <a:gd name="connsiteY2" fmla="*/ 28251 h 113964"/>
                <a:gd name="connsiteX3" fmla="*/ 126799 w 155050"/>
                <a:gd name="connsiteY3" fmla="*/ 0 h 113964"/>
                <a:gd name="connsiteX4" fmla="*/ 155050 w 155050"/>
                <a:gd name="connsiteY4" fmla="*/ 33719 h 113964"/>
                <a:gd name="connsiteX5" fmla="*/ 128622 w 155050"/>
                <a:gd name="connsiteY5" fmla="*/ 69261 h 113964"/>
                <a:gd name="connsiteX6" fmla="*/ 129077 w 155050"/>
                <a:gd name="connsiteY6" fmla="*/ 69261 h 113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5050" h="113964">
                  <a:moveTo>
                    <a:pt x="25756" y="113964"/>
                  </a:moveTo>
                  <a:lnTo>
                    <a:pt x="0" y="96110"/>
                  </a:lnTo>
                  <a:lnTo>
                    <a:pt x="72120" y="28251"/>
                  </a:lnTo>
                  <a:cubicBezTo>
                    <a:pt x="85790" y="12303"/>
                    <a:pt x="105383" y="2279"/>
                    <a:pt x="126799" y="0"/>
                  </a:cubicBezTo>
                  <a:cubicBezTo>
                    <a:pt x="148671" y="0"/>
                    <a:pt x="155050" y="19138"/>
                    <a:pt x="155050" y="33719"/>
                  </a:cubicBezTo>
                  <a:cubicBezTo>
                    <a:pt x="153683" y="49668"/>
                    <a:pt x="143203" y="62882"/>
                    <a:pt x="128622" y="69261"/>
                  </a:cubicBezTo>
                  <a:lnTo>
                    <a:pt x="129077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" name="Forme libre : forme 260">
              <a:extLst>
                <a:ext uri="{FF2B5EF4-FFF2-40B4-BE49-F238E27FC236}">
                  <a16:creationId xmlns:a16="http://schemas.microsoft.com/office/drawing/2014/main" id="{FB6AA26B-D49A-416A-8CAC-16E489B31447}"/>
                </a:ext>
              </a:extLst>
            </p:cNvPr>
            <p:cNvSpPr/>
            <p:nvPr/>
          </p:nvSpPr>
          <p:spPr>
            <a:xfrm rot="8716295">
              <a:off x="3276327" y="20801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" name="Forme libre : forme 261">
              <a:extLst>
                <a:ext uri="{FF2B5EF4-FFF2-40B4-BE49-F238E27FC236}">
                  <a16:creationId xmlns:a16="http://schemas.microsoft.com/office/drawing/2014/main" id="{28AC6B7B-6FBF-49BE-A75A-A0128A514084}"/>
                </a:ext>
              </a:extLst>
            </p:cNvPr>
            <p:cNvSpPr/>
            <p:nvPr/>
          </p:nvSpPr>
          <p:spPr>
            <a:xfrm rot="8716295">
              <a:off x="3107933" y="-20072"/>
              <a:ext cx="308531" cy="199994"/>
            </a:xfrm>
            <a:custGeom>
              <a:avLst/>
              <a:gdLst>
                <a:gd name="connsiteX0" fmla="*/ 112633 w 203847"/>
                <a:gd name="connsiteY0" fmla="*/ 132136 h 132136"/>
                <a:gd name="connsiteX1" fmla="*/ 56185 w 203847"/>
                <a:gd name="connsiteY1" fmla="*/ 93008 h 132136"/>
                <a:gd name="connsiteX2" fmla="*/ 69777 w 203847"/>
                <a:gd name="connsiteY2" fmla="*/ 55323 h 132136"/>
                <a:gd name="connsiteX3" fmla="*/ 1818 w 203847"/>
                <a:gd name="connsiteY3" fmla="*/ 55323 h 132136"/>
                <a:gd name="connsiteX4" fmla="*/ 0 w 203847"/>
                <a:gd name="connsiteY4" fmla="*/ 54062 h 132136"/>
                <a:gd name="connsiteX5" fmla="*/ 0 w 203847"/>
                <a:gd name="connsiteY5" fmla="*/ 0 h 132136"/>
                <a:gd name="connsiteX6" fmla="*/ 203847 w 203847"/>
                <a:gd name="connsiteY6" fmla="*/ 0 h 132136"/>
                <a:gd name="connsiteX7" fmla="*/ 203847 w 203847"/>
                <a:gd name="connsiteY7" fmla="*/ 55323 h 132136"/>
                <a:gd name="connsiteX8" fmla="*/ 139055 w 203847"/>
                <a:gd name="connsiteY8" fmla="*/ 55323 h 132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32136">
                  <a:moveTo>
                    <a:pt x="112633" y="132136"/>
                  </a:moveTo>
                  <a:lnTo>
                    <a:pt x="56185" y="93008"/>
                  </a:lnTo>
                  <a:lnTo>
                    <a:pt x="69777" y="55323"/>
                  </a:lnTo>
                  <a:lnTo>
                    <a:pt x="1818" y="55323"/>
                  </a:lnTo>
                  <a:lnTo>
                    <a:pt x="0" y="54062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" name="Forme libre : forme 262">
              <a:extLst>
                <a:ext uri="{FF2B5EF4-FFF2-40B4-BE49-F238E27FC236}">
                  <a16:creationId xmlns:a16="http://schemas.microsoft.com/office/drawing/2014/main" id="{CE04BDAF-0764-44CB-B173-496F062D8434}"/>
                </a:ext>
              </a:extLst>
            </p:cNvPr>
            <p:cNvSpPr/>
            <p:nvPr/>
          </p:nvSpPr>
          <p:spPr>
            <a:xfrm rot="8716295">
              <a:off x="3475628" y="-31540"/>
              <a:ext cx="98161" cy="118527"/>
            </a:xfrm>
            <a:custGeom>
              <a:avLst/>
              <a:gdLst>
                <a:gd name="connsiteX0" fmla="*/ 64855 w 64855"/>
                <a:gd name="connsiteY0" fmla="*/ 78311 h 78311"/>
                <a:gd name="connsiteX1" fmla="*/ 0 w 64855"/>
                <a:gd name="connsiteY1" fmla="*/ 33356 h 78311"/>
                <a:gd name="connsiteX2" fmla="*/ 64294 w 64855"/>
                <a:gd name="connsiteY2" fmla="*/ 0 h 78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855" h="78311">
                  <a:moveTo>
                    <a:pt x="64855" y="78311"/>
                  </a:moveTo>
                  <a:lnTo>
                    <a:pt x="0" y="33356"/>
                  </a:lnTo>
                  <a:lnTo>
                    <a:pt x="64294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" name="Forme libre : forme 263">
              <a:extLst>
                <a:ext uri="{FF2B5EF4-FFF2-40B4-BE49-F238E27FC236}">
                  <a16:creationId xmlns:a16="http://schemas.microsoft.com/office/drawing/2014/main" id="{79FA5AFC-AB70-4D92-BC44-1181877F58C8}"/>
                </a:ext>
              </a:extLst>
            </p:cNvPr>
            <p:cNvSpPr/>
            <p:nvPr/>
          </p:nvSpPr>
          <p:spPr>
            <a:xfrm rot="8716295">
              <a:off x="3412815" y="26999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" name="Forme libre : forme 264">
              <a:extLst>
                <a:ext uri="{FF2B5EF4-FFF2-40B4-BE49-F238E27FC236}">
                  <a16:creationId xmlns:a16="http://schemas.microsoft.com/office/drawing/2014/main" id="{3C1D95D8-2F29-45A0-9BA8-42D88BD37B32}"/>
                </a:ext>
              </a:extLst>
            </p:cNvPr>
            <p:cNvSpPr/>
            <p:nvPr/>
          </p:nvSpPr>
          <p:spPr>
            <a:xfrm rot="8716295">
              <a:off x="3966406" y="-35912"/>
              <a:ext cx="123741" cy="85774"/>
            </a:xfrm>
            <a:custGeom>
              <a:avLst/>
              <a:gdLst>
                <a:gd name="connsiteX0" fmla="*/ 81756 w 81756"/>
                <a:gd name="connsiteY0" fmla="*/ 56671 h 56671"/>
                <a:gd name="connsiteX1" fmla="*/ 0 w 81756"/>
                <a:gd name="connsiteY1" fmla="*/ 0 h 56671"/>
                <a:gd name="connsiteX2" fmla="*/ 24798 w 81756"/>
                <a:gd name="connsiteY2" fmla="*/ 0 h 56671"/>
                <a:gd name="connsiteX3" fmla="*/ 81756 w 81756"/>
                <a:gd name="connsiteY3" fmla="*/ 50123 h 56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1756" h="56671">
                  <a:moveTo>
                    <a:pt x="81756" y="56671"/>
                  </a:moveTo>
                  <a:lnTo>
                    <a:pt x="0" y="0"/>
                  </a:lnTo>
                  <a:lnTo>
                    <a:pt x="24798" y="0"/>
                  </a:lnTo>
                  <a:cubicBezTo>
                    <a:pt x="61707" y="0"/>
                    <a:pt x="81756" y="15949"/>
                    <a:pt x="81756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" name="Forme libre : forme 265">
              <a:extLst>
                <a:ext uri="{FF2B5EF4-FFF2-40B4-BE49-F238E27FC236}">
                  <a16:creationId xmlns:a16="http://schemas.microsoft.com/office/drawing/2014/main" id="{58EB0588-BD8B-459E-AF8B-F1A7C9A84E72}"/>
                </a:ext>
              </a:extLst>
            </p:cNvPr>
            <p:cNvSpPr/>
            <p:nvPr/>
          </p:nvSpPr>
          <p:spPr>
            <a:xfrm rot="8716295">
              <a:off x="4089146" y="-31808"/>
              <a:ext cx="332088" cy="148365"/>
            </a:xfrm>
            <a:custGeom>
              <a:avLst/>
              <a:gdLst>
                <a:gd name="connsiteX0" fmla="*/ 63575 w 219411"/>
                <a:gd name="connsiteY0" fmla="*/ 45493 h 98025"/>
                <a:gd name="connsiteX1" fmla="*/ 0 w 219411"/>
                <a:gd name="connsiteY1" fmla="*/ 1425 h 98025"/>
                <a:gd name="connsiteX2" fmla="*/ 63575 w 219411"/>
                <a:gd name="connsiteY2" fmla="*/ 1425 h 98025"/>
                <a:gd name="connsiteX3" fmla="*/ 88634 w 219411"/>
                <a:gd name="connsiteY3" fmla="*/ 62863 h 98025"/>
                <a:gd name="connsiteX4" fmla="*/ 73596 w 219411"/>
                <a:gd name="connsiteY4" fmla="*/ 52439 h 98025"/>
                <a:gd name="connsiteX5" fmla="*/ 75493 w 219411"/>
                <a:gd name="connsiteY5" fmla="*/ 47439 h 98025"/>
                <a:gd name="connsiteX6" fmla="*/ 112786 w 219411"/>
                <a:gd name="connsiteY6" fmla="*/ 5981 h 98025"/>
                <a:gd name="connsiteX7" fmla="*/ 144227 w 219411"/>
                <a:gd name="connsiteY7" fmla="*/ 57 h 98025"/>
                <a:gd name="connsiteX8" fmla="*/ 219411 w 219411"/>
                <a:gd name="connsiteY8" fmla="*/ 88456 h 98025"/>
                <a:gd name="connsiteX9" fmla="*/ 219411 w 219411"/>
                <a:gd name="connsiteY9" fmla="*/ 94380 h 98025"/>
                <a:gd name="connsiteX10" fmla="*/ 157441 w 219411"/>
                <a:gd name="connsiteY10" fmla="*/ 98025 h 98025"/>
                <a:gd name="connsiteX11" fmla="*/ 157441 w 219411"/>
                <a:gd name="connsiteY11" fmla="*/ 81621 h 98025"/>
                <a:gd name="connsiteX12" fmla="*/ 123722 w 219411"/>
                <a:gd name="connsiteY12" fmla="*/ 40156 h 98025"/>
                <a:gd name="connsiteX13" fmla="*/ 103089 w 219411"/>
                <a:gd name="connsiteY13" fmla="*/ 46969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9411" h="98025">
                  <a:moveTo>
                    <a:pt x="63575" y="45493"/>
                  </a:moveTo>
                  <a:lnTo>
                    <a:pt x="0" y="1425"/>
                  </a:lnTo>
                  <a:lnTo>
                    <a:pt x="63575" y="1425"/>
                  </a:lnTo>
                  <a:close/>
                  <a:moveTo>
                    <a:pt x="88634" y="62863"/>
                  </a:moveTo>
                  <a:lnTo>
                    <a:pt x="73596" y="52439"/>
                  </a:lnTo>
                  <a:lnTo>
                    <a:pt x="75493" y="47439"/>
                  </a:lnTo>
                  <a:cubicBezTo>
                    <a:pt x="85874" y="24008"/>
                    <a:pt x="96382" y="12816"/>
                    <a:pt x="112786" y="5981"/>
                  </a:cubicBezTo>
                  <a:cubicBezTo>
                    <a:pt x="122811" y="1880"/>
                    <a:pt x="133291" y="-398"/>
                    <a:pt x="144227" y="57"/>
                  </a:cubicBezTo>
                  <a:cubicBezTo>
                    <a:pt x="191160" y="-854"/>
                    <a:pt x="219411" y="31954"/>
                    <a:pt x="219411" y="88456"/>
                  </a:cubicBezTo>
                  <a:lnTo>
                    <a:pt x="219411" y="94380"/>
                  </a:lnTo>
                  <a:lnTo>
                    <a:pt x="157441" y="98025"/>
                  </a:lnTo>
                  <a:lnTo>
                    <a:pt x="157441" y="81621"/>
                  </a:lnTo>
                  <a:cubicBezTo>
                    <a:pt x="157441" y="57016"/>
                    <a:pt x="143316" y="40156"/>
                    <a:pt x="123722" y="40156"/>
                  </a:cubicBezTo>
                  <a:cubicBezTo>
                    <a:pt x="116431" y="40156"/>
                    <a:pt x="109454" y="42577"/>
                    <a:pt x="103089" y="4696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" name="Forme libre : forme 266">
              <a:extLst>
                <a:ext uri="{FF2B5EF4-FFF2-40B4-BE49-F238E27FC236}">
                  <a16:creationId xmlns:a16="http://schemas.microsoft.com/office/drawing/2014/main" id="{8BF71B65-6E28-4BBD-90CF-EB6990FA2B3D}"/>
                </a:ext>
              </a:extLst>
            </p:cNvPr>
            <p:cNvSpPr/>
            <p:nvPr/>
          </p:nvSpPr>
          <p:spPr>
            <a:xfrm rot="8716295">
              <a:off x="3850379" y="-108618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" name="Forme libre : forme 267">
              <a:extLst>
                <a:ext uri="{FF2B5EF4-FFF2-40B4-BE49-F238E27FC236}">
                  <a16:creationId xmlns:a16="http://schemas.microsoft.com/office/drawing/2014/main" id="{C234B460-A852-4BC6-9223-625373ACE475}"/>
                </a:ext>
              </a:extLst>
            </p:cNvPr>
            <p:cNvSpPr/>
            <p:nvPr/>
          </p:nvSpPr>
          <p:spPr>
            <a:xfrm rot="7484129">
              <a:off x="4009196" y="18100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" name="Forme libre : forme 268">
              <a:extLst>
                <a:ext uri="{FF2B5EF4-FFF2-40B4-BE49-F238E27FC236}">
                  <a16:creationId xmlns:a16="http://schemas.microsoft.com/office/drawing/2014/main" id="{ED1521F3-7A8A-439A-8C00-B7EE31751298}"/>
                </a:ext>
              </a:extLst>
            </p:cNvPr>
            <p:cNvSpPr/>
            <p:nvPr/>
          </p:nvSpPr>
          <p:spPr>
            <a:xfrm rot="13089394">
              <a:off x="4167846" y="130348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0" name="Forme libre : forme 269">
              <a:extLst>
                <a:ext uri="{FF2B5EF4-FFF2-40B4-BE49-F238E27FC236}">
                  <a16:creationId xmlns:a16="http://schemas.microsoft.com/office/drawing/2014/main" id="{33189A82-B861-4219-AF6A-9F08FA6A03EE}"/>
                </a:ext>
              </a:extLst>
            </p:cNvPr>
            <p:cNvSpPr/>
            <p:nvPr/>
          </p:nvSpPr>
          <p:spPr>
            <a:xfrm rot="8716295">
              <a:off x="4488057" y="-10608"/>
              <a:ext cx="169580" cy="136116"/>
            </a:xfrm>
            <a:custGeom>
              <a:avLst/>
              <a:gdLst>
                <a:gd name="connsiteX0" fmla="*/ 62355 w 112042"/>
                <a:gd name="connsiteY0" fmla="*/ 89932 h 89932"/>
                <a:gd name="connsiteX1" fmla="*/ 0 w 112042"/>
                <a:gd name="connsiteY1" fmla="*/ 46710 h 89932"/>
                <a:gd name="connsiteX2" fmla="*/ 14231 w 112042"/>
                <a:gd name="connsiteY2" fmla="*/ 33321 h 89932"/>
                <a:gd name="connsiteX3" fmla="*/ 78722 w 112042"/>
                <a:gd name="connsiteY3" fmla="*/ 0 h 89932"/>
                <a:gd name="connsiteX4" fmla="*/ 112042 w 112042"/>
                <a:gd name="connsiteY4" fmla="*/ 39770 h 89932"/>
                <a:gd name="connsiteX5" fmla="*/ 80872 w 112042"/>
                <a:gd name="connsiteY5" fmla="*/ 81689 h 89932"/>
                <a:gd name="connsiteX6" fmla="*/ 81408 w 112042"/>
                <a:gd name="connsiteY6" fmla="*/ 81689 h 89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2042" h="89932">
                  <a:moveTo>
                    <a:pt x="62355" y="89932"/>
                  </a:moveTo>
                  <a:lnTo>
                    <a:pt x="0" y="46710"/>
                  </a:lnTo>
                  <a:lnTo>
                    <a:pt x="14231" y="33321"/>
                  </a:lnTo>
                  <a:cubicBezTo>
                    <a:pt x="30353" y="14511"/>
                    <a:pt x="53462" y="2687"/>
                    <a:pt x="78722" y="0"/>
                  </a:cubicBezTo>
                  <a:cubicBezTo>
                    <a:pt x="104518" y="0"/>
                    <a:pt x="112042" y="22572"/>
                    <a:pt x="112042" y="39770"/>
                  </a:cubicBezTo>
                  <a:cubicBezTo>
                    <a:pt x="110429" y="58580"/>
                    <a:pt x="98068" y="74165"/>
                    <a:pt x="80872" y="81689"/>
                  </a:cubicBezTo>
                  <a:lnTo>
                    <a:pt x="81408" y="816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1" name="Forme libre : forme 270">
              <a:extLst>
                <a:ext uri="{FF2B5EF4-FFF2-40B4-BE49-F238E27FC236}">
                  <a16:creationId xmlns:a16="http://schemas.microsoft.com/office/drawing/2014/main" id="{1EF7387F-9F93-4D5B-AD0B-A9B5B150D750}"/>
                </a:ext>
              </a:extLst>
            </p:cNvPr>
            <p:cNvSpPr/>
            <p:nvPr/>
          </p:nvSpPr>
          <p:spPr>
            <a:xfrm rot="8716295">
              <a:off x="3111565" y="373623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2" name="Forme libre : forme 271">
              <a:extLst>
                <a:ext uri="{FF2B5EF4-FFF2-40B4-BE49-F238E27FC236}">
                  <a16:creationId xmlns:a16="http://schemas.microsoft.com/office/drawing/2014/main" id="{B4768996-8D29-4ED8-9892-576EE6810B22}"/>
                </a:ext>
              </a:extLst>
            </p:cNvPr>
            <p:cNvSpPr/>
            <p:nvPr/>
          </p:nvSpPr>
          <p:spPr>
            <a:xfrm rot="8716295">
              <a:off x="3246864" y="378049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3" name="Forme libre : forme 272">
              <a:extLst>
                <a:ext uri="{FF2B5EF4-FFF2-40B4-BE49-F238E27FC236}">
                  <a16:creationId xmlns:a16="http://schemas.microsoft.com/office/drawing/2014/main" id="{303FB1DD-DCD5-4C62-8A14-00277F3DAA40}"/>
                </a:ext>
              </a:extLst>
            </p:cNvPr>
            <p:cNvSpPr/>
            <p:nvPr/>
          </p:nvSpPr>
          <p:spPr>
            <a:xfrm rot="8716295">
              <a:off x="3178981" y="3649901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4" name="Forme libre : forme 273">
              <a:extLst>
                <a:ext uri="{FF2B5EF4-FFF2-40B4-BE49-F238E27FC236}">
                  <a16:creationId xmlns:a16="http://schemas.microsoft.com/office/drawing/2014/main" id="{FE02E440-C3F4-4D87-B8DD-6EFE0A4EF84D}"/>
                </a:ext>
              </a:extLst>
            </p:cNvPr>
            <p:cNvSpPr/>
            <p:nvPr/>
          </p:nvSpPr>
          <p:spPr>
            <a:xfrm rot="8716295">
              <a:off x="2941694" y="387024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5" name="Forme libre : forme 274">
              <a:extLst>
                <a:ext uri="{FF2B5EF4-FFF2-40B4-BE49-F238E27FC236}">
                  <a16:creationId xmlns:a16="http://schemas.microsoft.com/office/drawing/2014/main" id="{79A8277D-0F31-4A40-BC3D-FDA2697AD79E}"/>
                </a:ext>
              </a:extLst>
            </p:cNvPr>
            <p:cNvSpPr/>
            <p:nvPr/>
          </p:nvSpPr>
          <p:spPr>
            <a:xfrm rot="8716295">
              <a:off x="2752648" y="355441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6" name="Forme libre : forme 275">
              <a:extLst>
                <a:ext uri="{FF2B5EF4-FFF2-40B4-BE49-F238E27FC236}">
                  <a16:creationId xmlns:a16="http://schemas.microsoft.com/office/drawing/2014/main" id="{FDF6C6F6-1950-4480-853C-710CE9CA14A1}"/>
                </a:ext>
              </a:extLst>
            </p:cNvPr>
            <p:cNvSpPr/>
            <p:nvPr/>
          </p:nvSpPr>
          <p:spPr>
            <a:xfrm rot="8716295">
              <a:off x="2734407" y="334436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7" name="Forme libre : forme 276">
              <a:extLst>
                <a:ext uri="{FF2B5EF4-FFF2-40B4-BE49-F238E27FC236}">
                  <a16:creationId xmlns:a16="http://schemas.microsoft.com/office/drawing/2014/main" id="{F7DE91C7-8472-4B32-8DA3-B40AD12704F7}"/>
                </a:ext>
              </a:extLst>
            </p:cNvPr>
            <p:cNvSpPr/>
            <p:nvPr/>
          </p:nvSpPr>
          <p:spPr>
            <a:xfrm rot="8716295">
              <a:off x="3078183" y="393222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8" name="Forme libre : forme 277">
              <a:extLst>
                <a:ext uri="{FF2B5EF4-FFF2-40B4-BE49-F238E27FC236}">
                  <a16:creationId xmlns:a16="http://schemas.microsoft.com/office/drawing/2014/main" id="{56FC047B-D272-4172-A288-45148C4BFE0D}"/>
                </a:ext>
              </a:extLst>
            </p:cNvPr>
            <p:cNvSpPr/>
            <p:nvPr/>
          </p:nvSpPr>
          <p:spPr>
            <a:xfrm rot="8716295">
              <a:off x="3549129" y="335761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9" name="Forme libre : forme 278">
              <a:extLst>
                <a:ext uri="{FF2B5EF4-FFF2-40B4-BE49-F238E27FC236}">
                  <a16:creationId xmlns:a16="http://schemas.microsoft.com/office/drawing/2014/main" id="{B13EC7A5-2676-4C63-B64E-8B2F38021996}"/>
                </a:ext>
              </a:extLst>
            </p:cNvPr>
            <p:cNvSpPr/>
            <p:nvPr/>
          </p:nvSpPr>
          <p:spPr>
            <a:xfrm rot="8716295">
              <a:off x="3684428" y="340187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0" name="Forme libre : forme 279">
              <a:extLst>
                <a:ext uri="{FF2B5EF4-FFF2-40B4-BE49-F238E27FC236}">
                  <a16:creationId xmlns:a16="http://schemas.microsoft.com/office/drawing/2014/main" id="{6ECF7C58-1973-4F69-8DD3-556AA77C8D04}"/>
                </a:ext>
              </a:extLst>
            </p:cNvPr>
            <p:cNvSpPr/>
            <p:nvPr/>
          </p:nvSpPr>
          <p:spPr>
            <a:xfrm rot="8716295">
              <a:off x="3379258" y="349163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1" name="Forme libre : forme 280">
              <a:extLst>
                <a:ext uri="{FF2B5EF4-FFF2-40B4-BE49-F238E27FC236}">
                  <a16:creationId xmlns:a16="http://schemas.microsoft.com/office/drawing/2014/main" id="{2B29EFE5-ACFF-4048-807E-18A0A68A503E}"/>
                </a:ext>
              </a:extLst>
            </p:cNvPr>
            <p:cNvSpPr/>
            <p:nvPr/>
          </p:nvSpPr>
          <p:spPr>
            <a:xfrm rot="8716295">
              <a:off x="3190213" y="317579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2" name="Forme libre : forme 281">
              <a:extLst>
                <a:ext uri="{FF2B5EF4-FFF2-40B4-BE49-F238E27FC236}">
                  <a16:creationId xmlns:a16="http://schemas.microsoft.com/office/drawing/2014/main" id="{09E572E1-09FC-45A6-A1BF-D06157BE552F}"/>
                </a:ext>
              </a:extLst>
            </p:cNvPr>
            <p:cNvSpPr/>
            <p:nvPr/>
          </p:nvSpPr>
          <p:spPr>
            <a:xfrm rot="8716295">
              <a:off x="3515746" y="3553613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3" name="Forme libre : forme 282">
              <a:extLst>
                <a:ext uri="{FF2B5EF4-FFF2-40B4-BE49-F238E27FC236}">
                  <a16:creationId xmlns:a16="http://schemas.microsoft.com/office/drawing/2014/main" id="{85DB8E68-2D02-4177-B998-21F4EDDAA547}"/>
                </a:ext>
              </a:extLst>
            </p:cNvPr>
            <p:cNvSpPr/>
            <p:nvPr/>
          </p:nvSpPr>
          <p:spPr>
            <a:xfrm rot="8716295">
              <a:off x="3150300" y="332718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4" name="Forme libre : forme 283">
              <a:extLst>
                <a:ext uri="{FF2B5EF4-FFF2-40B4-BE49-F238E27FC236}">
                  <a16:creationId xmlns:a16="http://schemas.microsoft.com/office/drawing/2014/main" id="{833C9746-3293-4FB8-8420-FBDB2ADD8FDE}"/>
                </a:ext>
              </a:extLst>
            </p:cNvPr>
            <p:cNvSpPr/>
            <p:nvPr/>
          </p:nvSpPr>
          <p:spPr>
            <a:xfrm rot="7484129">
              <a:off x="3674564" y="38432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5" name="Forme libre : forme 284">
              <a:extLst>
                <a:ext uri="{FF2B5EF4-FFF2-40B4-BE49-F238E27FC236}">
                  <a16:creationId xmlns:a16="http://schemas.microsoft.com/office/drawing/2014/main" id="{F36C90B8-C19D-40C0-9F6E-8BC40DAF6680}"/>
                </a:ext>
              </a:extLst>
            </p:cNvPr>
            <p:cNvSpPr/>
            <p:nvPr/>
          </p:nvSpPr>
          <p:spPr>
            <a:xfrm rot="13089394">
              <a:off x="3833214" y="3792578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6" name="Forme libre : forme 285">
              <a:extLst>
                <a:ext uri="{FF2B5EF4-FFF2-40B4-BE49-F238E27FC236}">
                  <a16:creationId xmlns:a16="http://schemas.microsoft.com/office/drawing/2014/main" id="{25D579E4-7F89-49C7-A73E-844BD68A125D}"/>
                </a:ext>
              </a:extLst>
            </p:cNvPr>
            <p:cNvSpPr/>
            <p:nvPr/>
          </p:nvSpPr>
          <p:spPr>
            <a:xfrm rot="8716295">
              <a:off x="4114105" y="3502461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7" name="Forme libre : forme 286">
              <a:extLst>
                <a:ext uri="{FF2B5EF4-FFF2-40B4-BE49-F238E27FC236}">
                  <a16:creationId xmlns:a16="http://schemas.microsoft.com/office/drawing/2014/main" id="{3F032AF9-E492-4124-9A15-3F5109B4E944}"/>
                </a:ext>
              </a:extLst>
            </p:cNvPr>
            <p:cNvSpPr/>
            <p:nvPr/>
          </p:nvSpPr>
          <p:spPr>
            <a:xfrm rot="8716295">
              <a:off x="4035696" y="334566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8" name="Forme libre : forme 287">
              <a:extLst>
                <a:ext uri="{FF2B5EF4-FFF2-40B4-BE49-F238E27FC236}">
                  <a16:creationId xmlns:a16="http://schemas.microsoft.com/office/drawing/2014/main" id="{AB866341-425E-43E2-A992-45F1B8F969FA}"/>
                </a:ext>
              </a:extLst>
            </p:cNvPr>
            <p:cNvSpPr/>
            <p:nvPr/>
          </p:nvSpPr>
          <p:spPr>
            <a:xfrm rot="8716295">
              <a:off x="3667532" y="339140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9" name="Forme libre : forme 288">
              <a:extLst>
                <a:ext uri="{FF2B5EF4-FFF2-40B4-BE49-F238E27FC236}">
                  <a16:creationId xmlns:a16="http://schemas.microsoft.com/office/drawing/2014/main" id="{6CDA98C5-481F-4686-9DE1-F1AA20FC6223}"/>
                </a:ext>
              </a:extLst>
            </p:cNvPr>
            <p:cNvSpPr/>
            <p:nvPr/>
          </p:nvSpPr>
          <p:spPr>
            <a:xfrm rot="8716295">
              <a:off x="3936113" y="315039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0" name="Forme libre : forme 289">
              <a:extLst>
                <a:ext uri="{FF2B5EF4-FFF2-40B4-BE49-F238E27FC236}">
                  <a16:creationId xmlns:a16="http://schemas.microsoft.com/office/drawing/2014/main" id="{13373414-24F1-4D1B-ADBB-1E220625DF7D}"/>
                </a:ext>
              </a:extLst>
            </p:cNvPr>
            <p:cNvSpPr/>
            <p:nvPr/>
          </p:nvSpPr>
          <p:spPr>
            <a:xfrm rot="8716295">
              <a:off x="3449338" y="4734714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1" name="Forme libre : forme 290">
              <a:extLst>
                <a:ext uri="{FF2B5EF4-FFF2-40B4-BE49-F238E27FC236}">
                  <a16:creationId xmlns:a16="http://schemas.microsoft.com/office/drawing/2014/main" id="{B70E33AD-70BB-4576-ADCA-5363A243B741}"/>
                </a:ext>
              </a:extLst>
            </p:cNvPr>
            <p:cNvSpPr/>
            <p:nvPr/>
          </p:nvSpPr>
          <p:spPr>
            <a:xfrm rot="8716295">
              <a:off x="3580975" y="4773824"/>
              <a:ext cx="394489" cy="383455"/>
            </a:xfrm>
            <a:custGeom>
              <a:avLst/>
              <a:gdLst>
                <a:gd name="connsiteX0" fmla="*/ 77932 w 394489"/>
                <a:gd name="connsiteY0" fmla="*/ 383455 h 383455"/>
                <a:gd name="connsiteX1" fmla="*/ 77932 w 394489"/>
                <a:gd name="connsiteY1" fmla="*/ 66898 h 383455"/>
                <a:gd name="connsiteX2" fmla="*/ 0 w 394489"/>
                <a:gd name="connsiteY2" fmla="*/ 66898 h 383455"/>
                <a:gd name="connsiteX3" fmla="*/ 0 w 394489"/>
                <a:gd name="connsiteY3" fmla="*/ 0 h 383455"/>
                <a:gd name="connsiteX4" fmla="*/ 158623 w 394489"/>
                <a:gd name="connsiteY4" fmla="*/ 0 h 383455"/>
                <a:gd name="connsiteX5" fmla="*/ 158623 w 394489"/>
                <a:gd name="connsiteY5" fmla="*/ 111726 h 383455"/>
                <a:gd name="connsiteX6" fmla="*/ 160692 w 394489"/>
                <a:gd name="connsiteY6" fmla="*/ 111726 h 383455"/>
                <a:gd name="connsiteX7" fmla="*/ 233107 w 394489"/>
                <a:gd name="connsiteY7" fmla="*/ 6897 h 383455"/>
                <a:gd name="connsiteX8" fmla="*/ 240854 w 394489"/>
                <a:gd name="connsiteY8" fmla="*/ 5438 h 383455"/>
                <a:gd name="connsiteX9" fmla="*/ 391511 w 394489"/>
                <a:gd name="connsiteY9" fmla="*/ 109868 h 383455"/>
                <a:gd name="connsiteX10" fmla="*/ 394489 w 394489"/>
                <a:gd name="connsiteY10" fmla="*/ 131726 h 383455"/>
                <a:gd name="connsiteX11" fmla="*/ 394489 w 394489"/>
                <a:gd name="connsiteY11" fmla="*/ 140692 h 383455"/>
                <a:gd name="connsiteX12" fmla="*/ 300695 w 394489"/>
                <a:gd name="connsiteY12" fmla="*/ 146210 h 383455"/>
                <a:gd name="connsiteX13" fmla="*/ 300695 w 394489"/>
                <a:gd name="connsiteY13" fmla="*/ 121382 h 383455"/>
                <a:gd name="connsiteX14" fmla="*/ 249659 w 394489"/>
                <a:gd name="connsiteY14" fmla="*/ 58622 h 383455"/>
                <a:gd name="connsiteX15" fmla="*/ 168969 w 394489"/>
                <a:gd name="connsiteY15" fmla="*/ 191038 h 383455"/>
                <a:gd name="connsiteX16" fmla="*/ 168969 w 394489"/>
                <a:gd name="connsiteY16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4489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82762" y="46208"/>
                    <a:pt x="200003" y="20690"/>
                    <a:pt x="233107" y="6897"/>
                  </a:cubicBezTo>
                  <a:lnTo>
                    <a:pt x="240854" y="5438"/>
                  </a:lnTo>
                  <a:lnTo>
                    <a:pt x="391511" y="109868"/>
                  </a:lnTo>
                  <a:lnTo>
                    <a:pt x="394489" y="131726"/>
                  </a:lnTo>
                  <a:lnTo>
                    <a:pt x="394489" y="140692"/>
                  </a:lnTo>
                  <a:lnTo>
                    <a:pt x="300695" y="146210"/>
                  </a:lnTo>
                  <a:lnTo>
                    <a:pt x="300695" y="121382"/>
                  </a:lnTo>
                  <a:cubicBezTo>
                    <a:pt x="300695" y="84140"/>
                    <a:pt x="279315" y="58621"/>
                    <a:pt x="249659" y="58622"/>
                  </a:cubicBezTo>
                  <a:cubicBezTo>
                    <a:pt x="205521" y="58622"/>
                    <a:pt x="168969" y="117244"/>
                    <a:pt x="168969" y="191038"/>
                  </a:cubicBez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2" name="Forme libre : forme 291">
              <a:extLst>
                <a:ext uri="{FF2B5EF4-FFF2-40B4-BE49-F238E27FC236}">
                  <a16:creationId xmlns:a16="http://schemas.microsoft.com/office/drawing/2014/main" id="{00B826E8-9537-4128-8AFA-9DB695ED94E7}"/>
                </a:ext>
              </a:extLst>
            </p:cNvPr>
            <p:cNvSpPr/>
            <p:nvPr/>
          </p:nvSpPr>
          <p:spPr>
            <a:xfrm rot="8716295">
              <a:off x="3516754" y="4648384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3" name="Forme libre : forme 292">
              <a:extLst>
                <a:ext uri="{FF2B5EF4-FFF2-40B4-BE49-F238E27FC236}">
                  <a16:creationId xmlns:a16="http://schemas.microsoft.com/office/drawing/2014/main" id="{FFE48F5E-5149-4118-92C8-4116821F574B}"/>
                </a:ext>
              </a:extLst>
            </p:cNvPr>
            <p:cNvSpPr/>
            <p:nvPr/>
          </p:nvSpPr>
          <p:spPr>
            <a:xfrm rot="8716295">
              <a:off x="3279467" y="486872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4" name="Forme libre : forme 293">
              <a:extLst>
                <a:ext uri="{FF2B5EF4-FFF2-40B4-BE49-F238E27FC236}">
                  <a16:creationId xmlns:a16="http://schemas.microsoft.com/office/drawing/2014/main" id="{890C4AC4-E0F9-4914-B99E-81FA866D2C0A}"/>
                </a:ext>
              </a:extLst>
            </p:cNvPr>
            <p:cNvSpPr/>
            <p:nvPr/>
          </p:nvSpPr>
          <p:spPr>
            <a:xfrm rot="8716295">
              <a:off x="3090421" y="455289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5" name="Forme libre : forme 294">
              <a:extLst>
                <a:ext uri="{FF2B5EF4-FFF2-40B4-BE49-F238E27FC236}">
                  <a16:creationId xmlns:a16="http://schemas.microsoft.com/office/drawing/2014/main" id="{9E7C0995-D53C-4E22-B438-2332B5C132C7}"/>
                </a:ext>
              </a:extLst>
            </p:cNvPr>
            <p:cNvSpPr/>
            <p:nvPr/>
          </p:nvSpPr>
          <p:spPr>
            <a:xfrm rot="8716295">
              <a:off x="3072180" y="434284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6" name="Forme libre : forme 295">
              <a:extLst>
                <a:ext uri="{FF2B5EF4-FFF2-40B4-BE49-F238E27FC236}">
                  <a16:creationId xmlns:a16="http://schemas.microsoft.com/office/drawing/2014/main" id="{B2DA7643-AE8F-4F78-929C-4968C3EC4902}"/>
                </a:ext>
              </a:extLst>
            </p:cNvPr>
            <p:cNvSpPr/>
            <p:nvPr/>
          </p:nvSpPr>
          <p:spPr>
            <a:xfrm rot="8716295">
              <a:off x="3388475" y="4959102"/>
              <a:ext cx="91035" cy="230894"/>
            </a:xfrm>
            <a:custGeom>
              <a:avLst/>
              <a:gdLst>
                <a:gd name="connsiteX0" fmla="*/ 91035 w 91035"/>
                <a:gd name="connsiteY0" fmla="*/ 230894 h 230894"/>
                <a:gd name="connsiteX1" fmla="*/ 0 w 91035"/>
                <a:gd name="connsiteY1" fmla="*/ 143306 h 230894"/>
                <a:gd name="connsiteX2" fmla="*/ 0 w 91035"/>
                <a:gd name="connsiteY2" fmla="*/ 0 h 230894"/>
                <a:gd name="connsiteX3" fmla="*/ 91035 w 91035"/>
                <a:gd name="connsiteY3" fmla="*/ 63103 h 230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230894">
                  <a:moveTo>
                    <a:pt x="91035" y="230894"/>
                  </a:moveTo>
                  <a:lnTo>
                    <a:pt x="0" y="143306"/>
                  </a:lnTo>
                  <a:lnTo>
                    <a:pt x="0" y="0"/>
                  </a:lnTo>
                  <a:lnTo>
                    <a:pt x="91035" y="631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7" name="Forme libre : forme 296">
              <a:extLst>
                <a:ext uri="{FF2B5EF4-FFF2-40B4-BE49-F238E27FC236}">
                  <a16:creationId xmlns:a16="http://schemas.microsoft.com/office/drawing/2014/main" id="{93603EC3-AC55-411D-BFDF-9FDB7506B4C7}"/>
                </a:ext>
              </a:extLst>
            </p:cNvPr>
            <p:cNvSpPr/>
            <p:nvPr/>
          </p:nvSpPr>
          <p:spPr>
            <a:xfrm rot="8716295">
              <a:off x="3886902" y="435609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8" name="Forme libre : forme 297">
              <a:extLst>
                <a:ext uri="{FF2B5EF4-FFF2-40B4-BE49-F238E27FC236}">
                  <a16:creationId xmlns:a16="http://schemas.microsoft.com/office/drawing/2014/main" id="{08CBBA4D-FF43-40D2-8BFA-84CB4DCCF31B}"/>
                </a:ext>
              </a:extLst>
            </p:cNvPr>
            <p:cNvSpPr/>
            <p:nvPr/>
          </p:nvSpPr>
          <p:spPr>
            <a:xfrm rot="8716295">
              <a:off x="4022201" y="440035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9" name="Forme libre : forme 298">
              <a:extLst>
                <a:ext uri="{FF2B5EF4-FFF2-40B4-BE49-F238E27FC236}">
                  <a16:creationId xmlns:a16="http://schemas.microsoft.com/office/drawing/2014/main" id="{835E253D-33C4-431B-B8C8-357E6AAC9C52}"/>
                </a:ext>
              </a:extLst>
            </p:cNvPr>
            <p:cNvSpPr/>
            <p:nvPr/>
          </p:nvSpPr>
          <p:spPr>
            <a:xfrm rot="8716295">
              <a:off x="3717031" y="44901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0" name="Forme libre : forme 299">
              <a:extLst>
                <a:ext uri="{FF2B5EF4-FFF2-40B4-BE49-F238E27FC236}">
                  <a16:creationId xmlns:a16="http://schemas.microsoft.com/office/drawing/2014/main" id="{22AF57EC-DC68-40A4-9C71-BCBD0C50FBE3}"/>
                </a:ext>
              </a:extLst>
            </p:cNvPr>
            <p:cNvSpPr/>
            <p:nvPr/>
          </p:nvSpPr>
          <p:spPr>
            <a:xfrm rot="8716295">
              <a:off x="3527986" y="417427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1" name="Forme libre : forme 300">
              <a:extLst>
                <a:ext uri="{FF2B5EF4-FFF2-40B4-BE49-F238E27FC236}">
                  <a16:creationId xmlns:a16="http://schemas.microsoft.com/office/drawing/2014/main" id="{7AC81511-7180-4392-A0BB-C0785E6FFDB2}"/>
                </a:ext>
              </a:extLst>
            </p:cNvPr>
            <p:cNvSpPr/>
            <p:nvPr/>
          </p:nvSpPr>
          <p:spPr>
            <a:xfrm rot="8716295">
              <a:off x="3853519" y="4552096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2" name="Forme libre : forme 301">
              <a:extLst>
                <a:ext uri="{FF2B5EF4-FFF2-40B4-BE49-F238E27FC236}">
                  <a16:creationId xmlns:a16="http://schemas.microsoft.com/office/drawing/2014/main" id="{1EACC1C7-884B-4139-9EC6-9BA9AA34D223}"/>
                </a:ext>
              </a:extLst>
            </p:cNvPr>
            <p:cNvSpPr/>
            <p:nvPr/>
          </p:nvSpPr>
          <p:spPr>
            <a:xfrm rot="8716295">
              <a:off x="3488073" y="432567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3" name="Forme libre : forme 302">
              <a:extLst>
                <a:ext uri="{FF2B5EF4-FFF2-40B4-BE49-F238E27FC236}">
                  <a16:creationId xmlns:a16="http://schemas.microsoft.com/office/drawing/2014/main" id="{8A54AD41-7272-4697-A5DB-CEFCE19789FC}"/>
                </a:ext>
              </a:extLst>
            </p:cNvPr>
            <p:cNvSpPr/>
            <p:nvPr/>
          </p:nvSpPr>
          <p:spPr>
            <a:xfrm rot="7484129">
              <a:off x="4016569" y="4837237"/>
              <a:ext cx="295167" cy="296463"/>
            </a:xfrm>
            <a:custGeom>
              <a:avLst/>
              <a:gdLst>
                <a:gd name="connsiteX0" fmla="*/ 137293 w 295167"/>
                <a:gd name="connsiteY0" fmla="*/ 296463 h 296463"/>
                <a:gd name="connsiteX1" fmla="*/ 72418 w 295167"/>
                <a:gd name="connsiteY1" fmla="*/ 175766 h 296463"/>
                <a:gd name="connsiteX2" fmla="*/ 105610 w 295167"/>
                <a:gd name="connsiteY2" fmla="*/ 83734 h 296463"/>
                <a:gd name="connsiteX3" fmla="*/ 0 w 295167"/>
                <a:gd name="connsiteY3" fmla="*/ 83734 h 296463"/>
                <a:gd name="connsiteX4" fmla="*/ 0 w 295167"/>
                <a:gd name="connsiteY4" fmla="*/ 0 h 296463"/>
                <a:gd name="connsiteX5" fmla="*/ 237110 w 295167"/>
                <a:gd name="connsiteY5" fmla="*/ 0 h 296463"/>
                <a:gd name="connsiteX6" fmla="*/ 295167 w 295167"/>
                <a:gd name="connsiteY6" fmla="*/ 83734 h 296463"/>
                <a:gd name="connsiteX7" fmla="*/ 210466 w 295167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5167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37110" y="0"/>
                  </a:lnTo>
                  <a:lnTo>
                    <a:pt x="295167" y="83734"/>
                  </a:lnTo>
                  <a:lnTo>
                    <a:pt x="210466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4" name="Forme libre : forme 303">
              <a:extLst>
                <a:ext uri="{FF2B5EF4-FFF2-40B4-BE49-F238E27FC236}">
                  <a16:creationId xmlns:a16="http://schemas.microsoft.com/office/drawing/2014/main" id="{B0BB4A2B-6236-4AB8-8AEF-499FEFD9934C}"/>
                </a:ext>
              </a:extLst>
            </p:cNvPr>
            <p:cNvSpPr/>
            <p:nvPr/>
          </p:nvSpPr>
          <p:spPr>
            <a:xfrm rot="13089394">
              <a:off x="4226447" y="4804985"/>
              <a:ext cx="412568" cy="314062"/>
            </a:xfrm>
            <a:custGeom>
              <a:avLst/>
              <a:gdLst>
                <a:gd name="connsiteX0" fmla="*/ 412568 w 412568"/>
                <a:gd name="connsiteY0" fmla="*/ 206915 h 314062"/>
                <a:gd name="connsiteX1" fmla="*/ 138636 w 412568"/>
                <a:gd name="connsiteY1" fmla="*/ 313815 h 314062"/>
                <a:gd name="connsiteX2" fmla="*/ 35911 w 412568"/>
                <a:gd name="connsiteY2" fmla="*/ 272057 h 314062"/>
                <a:gd name="connsiteX3" fmla="*/ 0 w 412568"/>
                <a:gd name="connsiteY3" fmla="*/ 128410 h 314062"/>
                <a:gd name="connsiteX4" fmla="*/ 0 w 412568"/>
                <a:gd name="connsiteY4" fmla="*/ 88308 h 314062"/>
                <a:gd name="connsiteX5" fmla="*/ 112395 w 412568"/>
                <a:gd name="connsiteY5" fmla="*/ 0 h 314062"/>
                <a:gd name="connsiteX6" fmla="*/ 112747 w 412568"/>
                <a:gd name="connsiteY6" fmla="*/ 49070 h 314062"/>
                <a:gd name="connsiteX7" fmla="*/ 132789 w 412568"/>
                <a:gd name="connsiteY7" fmla="*/ 187707 h 314062"/>
                <a:gd name="connsiteX8" fmla="*/ 233008 w 412568"/>
                <a:gd name="connsiteY8" fmla="*/ 242827 h 314062"/>
                <a:gd name="connsiteX9" fmla="*/ 308172 w 412568"/>
                <a:gd name="connsiteY9" fmla="*/ 229465 h 314062"/>
                <a:gd name="connsiteX10" fmla="*/ 410898 w 412568"/>
                <a:gd name="connsiteY10" fmla="*/ 187707 h 314062"/>
                <a:gd name="connsiteX11" fmla="*/ 412568 w 412568"/>
                <a:gd name="connsiteY11" fmla="*/ 198563 h 314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2568" h="314062">
                  <a:moveTo>
                    <a:pt x="412568" y="206915"/>
                  </a:moveTo>
                  <a:cubicBezTo>
                    <a:pt x="324041" y="282914"/>
                    <a:pt x="207954" y="309640"/>
                    <a:pt x="138636" y="313815"/>
                  </a:cubicBezTo>
                  <a:cubicBezTo>
                    <a:pt x="100219" y="316321"/>
                    <a:pt x="62637" y="299618"/>
                    <a:pt x="35911" y="272057"/>
                  </a:cubicBezTo>
                  <a:cubicBezTo>
                    <a:pt x="7516" y="244497"/>
                    <a:pt x="0" y="196893"/>
                    <a:pt x="0" y="128410"/>
                  </a:cubicBezTo>
                  <a:lnTo>
                    <a:pt x="0" y="88308"/>
                  </a:lnTo>
                  <a:lnTo>
                    <a:pt x="112395" y="0"/>
                  </a:lnTo>
                  <a:lnTo>
                    <a:pt x="112747" y="49070"/>
                  </a:lnTo>
                  <a:cubicBezTo>
                    <a:pt x="110241" y="95839"/>
                    <a:pt x="117756" y="143443"/>
                    <a:pt x="132789" y="187707"/>
                  </a:cubicBezTo>
                  <a:cubicBezTo>
                    <a:pt x="146153" y="224453"/>
                    <a:pt x="180394" y="242827"/>
                    <a:pt x="233008" y="242827"/>
                  </a:cubicBezTo>
                  <a:cubicBezTo>
                    <a:pt x="258899" y="241992"/>
                    <a:pt x="283953" y="236980"/>
                    <a:pt x="308172" y="229465"/>
                  </a:cubicBezTo>
                  <a:cubicBezTo>
                    <a:pt x="343249" y="218607"/>
                    <a:pt x="377491" y="204410"/>
                    <a:pt x="410898" y="187707"/>
                  </a:cubicBezTo>
                  <a:cubicBezTo>
                    <a:pt x="411732" y="191047"/>
                    <a:pt x="412568" y="195223"/>
                    <a:pt x="412568" y="1985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5" name="Forme libre : forme 304">
              <a:extLst>
                <a:ext uri="{FF2B5EF4-FFF2-40B4-BE49-F238E27FC236}">
                  <a16:creationId xmlns:a16="http://schemas.microsoft.com/office/drawing/2014/main" id="{41417B88-C9BD-4BA9-91EE-73AA587DB73F}"/>
                </a:ext>
              </a:extLst>
            </p:cNvPr>
            <p:cNvSpPr/>
            <p:nvPr/>
          </p:nvSpPr>
          <p:spPr>
            <a:xfrm rot="8716295">
              <a:off x="4451878" y="4500944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6" name="Forme libre : forme 305">
              <a:extLst>
                <a:ext uri="{FF2B5EF4-FFF2-40B4-BE49-F238E27FC236}">
                  <a16:creationId xmlns:a16="http://schemas.microsoft.com/office/drawing/2014/main" id="{BE88A8B4-3593-449C-B0AC-26CECAA3950B}"/>
                </a:ext>
              </a:extLst>
            </p:cNvPr>
            <p:cNvSpPr/>
            <p:nvPr/>
          </p:nvSpPr>
          <p:spPr>
            <a:xfrm rot="8716295">
              <a:off x="4373469" y="434415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7" name="Forme libre : forme 306">
              <a:extLst>
                <a:ext uri="{FF2B5EF4-FFF2-40B4-BE49-F238E27FC236}">
                  <a16:creationId xmlns:a16="http://schemas.microsoft.com/office/drawing/2014/main" id="{3E1F62FF-668F-4B24-81E3-7F413DC37761}"/>
                </a:ext>
              </a:extLst>
            </p:cNvPr>
            <p:cNvSpPr/>
            <p:nvPr/>
          </p:nvSpPr>
          <p:spPr>
            <a:xfrm rot="8716295">
              <a:off x="4005305" y="438989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8" name="Forme libre : forme 307">
              <a:extLst>
                <a:ext uri="{FF2B5EF4-FFF2-40B4-BE49-F238E27FC236}">
                  <a16:creationId xmlns:a16="http://schemas.microsoft.com/office/drawing/2014/main" id="{271936E6-CFC4-4CBF-80D3-0DD03A6DA43A}"/>
                </a:ext>
              </a:extLst>
            </p:cNvPr>
            <p:cNvSpPr/>
            <p:nvPr/>
          </p:nvSpPr>
          <p:spPr>
            <a:xfrm rot="8716295">
              <a:off x="4273886" y="414887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9" name="Forme libre : forme 308">
              <a:extLst>
                <a:ext uri="{FF2B5EF4-FFF2-40B4-BE49-F238E27FC236}">
                  <a16:creationId xmlns:a16="http://schemas.microsoft.com/office/drawing/2014/main" id="{BA906EC6-3DC5-4DE2-8F95-209D99503493}"/>
                </a:ext>
              </a:extLst>
            </p:cNvPr>
            <p:cNvSpPr/>
            <p:nvPr/>
          </p:nvSpPr>
          <p:spPr>
            <a:xfrm rot="8716295">
              <a:off x="2776288" y="273581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0" name="Forme libre : forme 309">
              <a:extLst>
                <a:ext uri="{FF2B5EF4-FFF2-40B4-BE49-F238E27FC236}">
                  <a16:creationId xmlns:a16="http://schemas.microsoft.com/office/drawing/2014/main" id="{86353AD3-86B9-454E-8316-ED48EDD5C43A}"/>
                </a:ext>
              </a:extLst>
            </p:cNvPr>
            <p:cNvSpPr/>
            <p:nvPr/>
          </p:nvSpPr>
          <p:spPr>
            <a:xfrm rot="8716295">
              <a:off x="2911587" y="278007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1" name="Forme libre : forme 310">
              <a:extLst>
                <a:ext uri="{FF2B5EF4-FFF2-40B4-BE49-F238E27FC236}">
                  <a16:creationId xmlns:a16="http://schemas.microsoft.com/office/drawing/2014/main" id="{0B2A58FB-010E-417B-8E1C-9997876763AE}"/>
                </a:ext>
              </a:extLst>
            </p:cNvPr>
            <p:cNvSpPr/>
            <p:nvPr/>
          </p:nvSpPr>
          <p:spPr>
            <a:xfrm rot="8716295">
              <a:off x="2843704" y="2649488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2" name="Forme libre : forme 311">
              <a:extLst>
                <a:ext uri="{FF2B5EF4-FFF2-40B4-BE49-F238E27FC236}">
                  <a16:creationId xmlns:a16="http://schemas.microsoft.com/office/drawing/2014/main" id="{487219BD-DC26-4E15-BDA1-CA5CCE916C41}"/>
                </a:ext>
              </a:extLst>
            </p:cNvPr>
            <p:cNvSpPr/>
            <p:nvPr/>
          </p:nvSpPr>
          <p:spPr>
            <a:xfrm rot="8716295">
              <a:off x="2606417" y="286983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3" name="Forme libre : forme 312">
              <a:extLst>
                <a:ext uri="{FF2B5EF4-FFF2-40B4-BE49-F238E27FC236}">
                  <a16:creationId xmlns:a16="http://schemas.microsoft.com/office/drawing/2014/main" id="{E49C695E-663D-4558-8A6D-FAB5771CCDF7}"/>
                </a:ext>
              </a:extLst>
            </p:cNvPr>
            <p:cNvSpPr/>
            <p:nvPr/>
          </p:nvSpPr>
          <p:spPr>
            <a:xfrm rot="8716295">
              <a:off x="2417371" y="255399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4" name="Forme libre : forme 313">
              <a:extLst>
                <a:ext uri="{FF2B5EF4-FFF2-40B4-BE49-F238E27FC236}">
                  <a16:creationId xmlns:a16="http://schemas.microsoft.com/office/drawing/2014/main" id="{33F36FCD-6977-4A63-8D14-D1E1625E9D31}"/>
                </a:ext>
              </a:extLst>
            </p:cNvPr>
            <p:cNvSpPr/>
            <p:nvPr/>
          </p:nvSpPr>
          <p:spPr>
            <a:xfrm rot="8716295">
              <a:off x="2399130" y="2343948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5" name="Forme libre : forme 314">
              <a:extLst>
                <a:ext uri="{FF2B5EF4-FFF2-40B4-BE49-F238E27FC236}">
                  <a16:creationId xmlns:a16="http://schemas.microsoft.com/office/drawing/2014/main" id="{B3474DC3-02FE-406E-A9DB-66680A910D3C}"/>
                </a:ext>
              </a:extLst>
            </p:cNvPr>
            <p:cNvSpPr/>
            <p:nvPr/>
          </p:nvSpPr>
          <p:spPr>
            <a:xfrm rot="8716295">
              <a:off x="2742905" y="293181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6" name="Forme libre : forme 315">
              <a:extLst>
                <a:ext uri="{FF2B5EF4-FFF2-40B4-BE49-F238E27FC236}">
                  <a16:creationId xmlns:a16="http://schemas.microsoft.com/office/drawing/2014/main" id="{A49C2E0F-EE8D-44EF-9BA8-BEBCE07245A7}"/>
                </a:ext>
              </a:extLst>
            </p:cNvPr>
            <p:cNvSpPr/>
            <p:nvPr/>
          </p:nvSpPr>
          <p:spPr>
            <a:xfrm rot="8716295">
              <a:off x="3213852" y="235720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7" name="Forme libre : forme 316">
              <a:extLst>
                <a:ext uri="{FF2B5EF4-FFF2-40B4-BE49-F238E27FC236}">
                  <a16:creationId xmlns:a16="http://schemas.microsoft.com/office/drawing/2014/main" id="{F24F931D-D0BA-4754-8EFA-1E41547520B4}"/>
                </a:ext>
              </a:extLst>
            </p:cNvPr>
            <p:cNvSpPr/>
            <p:nvPr/>
          </p:nvSpPr>
          <p:spPr>
            <a:xfrm rot="8716295">
              <a:off x="3349151" y="240146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8" name="Forme libre : forme 317">
              <a:extLst>
                <a:ext uri="{FF2B5EF4-FFF2-40B4-BE49-F238E27FC236}">
                  <a16:creationId xmlns:a16="http://schemas.microsoft.com/office/drawing/2014/main" id="{77E8D478-ED04-4063-AB60-82AA395CE7E1}"/>
                </a:ext>
              </a:extLst>
            </p:cNvPr>
            <p:cNvSpPr/>
            <p:nvPr/>
          </p:nvSpPr>
          <p:spPr>
            <a:xfrm rot="8716295">
              <a:off x="3043981" y="249121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9" name="Forme libre : forme 318">
              <a:extLst>
                <a:ext uri="{FF2B5EF4-FFF2-40B4-BE49-F238E27FC236}">
                  <a16:creationId xmlns:a16="http://schemas.microsoft.com/office/drawing/2014/main" id="{D68F4A66-E6DC-4D6F-A05F-B0ED1AAF9752}"/>
                </a:ext>
              </a:extLst>
            </p:cNvPr>
            <p:cNvSpPr/>
            <p:nvPr/>
          </p:nvSpPr>
          <p:spPr>
            <a:xfrm rot="8716295">
              <a:off x="2854936" y="217538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0" name="Forme libre : forme 319">
              <a:extLst>
                <a:ext uri="{FF2B5EF4-FFF2-40B4-BE49-F238E27FC236}">
                  <a16:creationId xmlns:a16="http://schemas.microsoft.com/office/drawing/2014/main" id="{2E7E02DC-19A7-4427-8DD0-9CBD70741C55}"/>
                </a:ext>
              </a:extLst>
            </p:cNvPr>
            <p:cNvSpPr/>
            <p:nvPr/>
          </p:nvSpPr>
          <p:spPr>
            <a:xfrm rot="8716295">
              <a:off x="3180469" y="255320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1" name="Forme libre : forme 320">
              <a:extLst>
                <a:ext uri="{FF2B5EF4-FFF2-40B4-BE49-F238E27FC236}">
                  <a16:creationId xmlns:a16="http://schemas.microsoft.com/office/drawing/2014/main" id="{5F22C34B-662E-4288-A98A-07600645D826}"/>
                </a:ext>
              </a:extLst>
            </p:cNvPr>
            <p:cNvSpPr/>
            <p:nvPr/>
          </p:nvSpPr>
          <p:spPr>
            <a:xfrm rot="8716295">
              <a:off x="2815023" y="232677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2" name="Forme libre : forme 321">
              <a:extLst>
                <a:ext uri="{FF2B5EF4-FFF2-40B4-BE49-F238E27FC236}">
                  <a16:creationId xmlns:a16="http://schemas.microsoft.com/office/drawing/2014/main" id="{F9C4954F-8E31-441D-8E0D-8B0514C0CCEA}"/>
                </a:ext>
              </a:extLst>
            </p:cNvPr>
            <p:cNvSpPr/>
            <p:nvPr/>
          </p:nvSpPr>
          <p:spPr>
            <a:xfrm rot="7484129">
              <a:off x="3339287" y="284281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3" name="Forme libre : forme 322">
              <a:extLst>
                <a:ext uri="{FF2B5EF4-FFF2-40B4-BE49-F238E27FC236}">
                  <a16:creationId xmlns:a16="http://schemas.microsoft.com/office/drawing/2014/main" id="{96BDAC49-7C90-455C-A6A8-F21767004646}"/>
                </a:ext>
              </a:extLst>
            </p:cNvPr>
            <p:cNvSpPr/>
            <p:nvPr/>
          </p:nvSpPr>
          <p:spPr>
            <a:xfrm rot="13089394">
              <a:off x="3497937" y="279216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4" name="Forme libre : forme 323">
              <a:extLst>
                <a:ext uri="{FF2B5EF4-FFF2-40B4-BE49-F238E27FC236}">
                  <a16:creationId xmlns:a16="http://schemas.microsoft.com/office/drawing/2014/main" id="{EE32A375-D70E-46A2-83EF-D2C25C11FC27}"/>
                </a:ext>
              </a:extLst>
            </p:cNvPr>
            <p:cNvSpPr/>
            <p:nvPr/>
          </p:nvSpPr>
          <p:spPr>
            <a:xfrm rot="8716295">
              <a:off x="3778828" y="2502048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5" name="Forme libre : forme 324">
              <a:extLst>
                <a:ext uri="{FF2B5EF4-FFF2-40B4-BE49-F238E27FC236}">
                  <a16:creationId xmlns:a16="http://schemas.microsoft.com/office/drawing/2014/main" id="{1FF92686-85A8-4017-922B-2458FE401EB8}"/>
                </a:ext>
              </a:extLst>
            </p:cNvPr>
            <p:cNvSpPr/>
            <p:nvPr/>
          </p:nvSpPr>
          <p:spPr>
            <a:xfrm rot="8716295">
              <a:off x="3700418" y="234525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6" name="Forme libre : forme 325">
              <a:extLst>
                <a:ext uri="{FF2B5EF4-FFF2-40B4-BE49-F238E27FC236}">
                  <a16:creationId xmlns:a16="http://schemas.microsoft.com/office/drawing/2014/main" id="{D45E52B0-C4FD-4155-A0DD-45195433970C}"/>
                </a:ext>
              </a:extLst>
            </p:cNvPr>
            <p:cNvSpPr/>
            <p:nvPr/>
          </p:nvSpPr>
          <p:spPr>
            <a:xfrm rot="8716295">
              <a:off x="3332255" y="239099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7" name="Forme libre : forme 326">
              <a:extLst>
                <a:ext uri="{FF2B5EF4-FFF2-40B4-BE49-F238E27FC236}">
                  <a16:creationId xmlns:a16="http://schemas.microsoft.com/office/drawing/2014/main" id="{F21AB6E7-AC7E-4350-A5BF-CDF7EE2573C5}"/>
                </a:ext>
              </a:extLst>
            </p:cNvPr>
            <p:cNvSpPr/>
            <p:nvPr/>
          </p:nvSpPr>
          <p:spPr>
            <a:xfrm rot="8716295">
              <a:off x="3600836" y="214997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8" name="Forme libre : forme 327">
              <a:extLst>
                <a:ext uri="{FF2B5EF4-FFF2-40B4-BE49-F238E27FC236}">
                  <a16:creationId xmlns:a16="http://schemas.microsoft.com/office/drawing/2014/main" id="{81ADFF02-63EB-4A30-B800-167FCE598798}"/>
                </a:ext>
              </a:extLst>
            </p:cNvPr>
            <p:cNvSpPr/>
            <p:nvPr/>
          </p:nvSpPr>
          <p:spPr>
            <a:xfrm rot="8716295">
              <a:off x="2438515" y="173733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9" name="Forme libre : forme 328">
              <a:extLst>
                <a:ext uri="{FF2B5EF4-FFF2-40B4-BE49-F238E27FC236}">
                  <a16:creationId xmlns:a16="http://schemas.microsoft.com/office/drawing/2014/main" id="{FEEE40D0-1ED4-4D89-A553-8246351195B7}"/>
                </a:ext>
              </a:extLst>
            </p:cNvPr>
            <p:cNvSpPr/>
            <p:nvPr/>
          </p:nvSpPr>
          <p:spPr>
            <a:xfrm rot="8716295">
              <a:off x="2573814" y="178159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0" name="Forme libre : forme 329">
              <a:extLst>
                <a:ext uri="{FF2B5EF4-FFF2-40B4-BE49-F238E27FC236}">
                  <a16:creationId xmlns:a16="http://schemas.microsoft.com/office/drawing/2014/main" id="{AA5B5D88-69C3-43FC-A9FF-1BC20CA01055}"/>
                </a:ext>
              </a:extLst>
            </p:cNvPr>
            <p:cNvSpPr/>
            <p:nvPr/>
          </p:nvSpPr>
          <p:spPr>
            <a:xfrm rot="8716295">
              <a:off x="2505931" y="1651005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1" name="Forme libre : forme 330">
              <a:extLst>
                <a:ext uri="{FF2B5EF4-FFF2-40B4-BE49-F238E27FC236}">
                  <a16:creationId xmlns:a16="http://schemas.microsoft.com/office/drawing/2014/main" id="{3433A715-4852-4C6F-BD57-E5BFC48256EE}"/>
                </a:ext>
              </a:extLst>
            </p:cNvPr>
            <p:cNvSpPr/>
            <p:nvPr/>
          </p:nvSpPr>
          <p:spPr>
            <a:xfrm rot="8716295">
              <a:off x="2268644" y="187135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2" name="Forme libre : forme 331">
              <a:extLst>
                <a:ext uri="{FF2B5EF4-FFF2-40B4-BE49-F238E27FC236}">
                  <a16:creationId xmlns:a16="http://schemas.microsoft.com/office/drawing/2014/main" id="{AA3826BF-36B5-4F42-9A9C-0857F8AFC9E9}"/>
                </a:ext>
              </a:extLst>
            </p:cNvPr>
            <p:cNvSpPr/>
            <p:nvPr/>
          </p:nvSpPr>
          <p:spPr>
            <a:xfrm rot="8716295">
              <a:off x="2079598" y="155551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3" name="Forme libre : forme 332">
              <a:extLst>
                <a:ext uri="{FF2B5EF4-FFF2-40B4-BE49-F238E27FC236}">
                  <a16:creationId xmlns:a16="http://schemas.microsoft.com/office/drawing/2014/main" id="{6B18E7D7-D7AA-4E20-850E-3799436161FA}"/>
                </a:ext>
              </a:extLst>
            </p:cNvPr>
            <p:cNvSpPr/>
            <p:nvPr/>
          </p:nvSpPr>
          <p:spPr>
            <a:xfrm rot="8716295">
              <a:off x="2061357" y="1345465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4" name="Forme libre : forme 333">
              <a:extLst>
                <a:ext uri="{FF2B5EF4-FFF2-40B4-BE49-F238E27FC236}">
                  <a16:creationId xmlns:a16="http://schemas.microsoft.com/office/drawing/2014/main" id="{43032E37-9C7A-492A-8A2C-109CA7245F5F}"/>
                </a:ext>
              </a:extLst>
            </p:cNvPr>
            <p:cNvSpPr/>
            <p:nvPr/>
          </p:nvSpPr>
          <p:spPr>
            <a:xfrm rot="8716295">
              <a:off x="2405132" y="1933333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5" name="Forme libre : forme 334">
              <a:extLst>
                <a:ext uri="{FF2B5EF4-FFF2-40B4-BE49-F238E27FC236}">
                  <a16:creationId xmlns:a16="http://schemas.microsoft.com/office/drawing/2014/main" id="{17B53965-E3A1-4010-BB29-B66E80C0AA24}"/>
                </a:ext>
              </a:extLst>
            </p:cNvPr>
            <p:cNvSpPr/>
            <p:nvPr/>
          </p:nvSpPr>
          <p:spPr>
            <a:xfrm rot="8716295">
              <a:off x="2876079" y="135871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6" name="Forme libre : forme 335">
              <a:extLst>
                <a:ext uri="{FF2B5EF4-FFF2-40B4-BE49-F238E27FC236}">
                  <a16:creationId xmlns:a16="http://schemas.microsoft.com/office/drawing/2014/main" id="{5A10F28E-8329-4CB2-9E8E-AF5ADC5D984D}"/>
                </a:ext>
              </a:extLst>
            </p:cNvPr>
            <p:cNvSpPr/>
            <p:nvPr/>
          </p:nvSpPr>
          <p:spPr>
            <a:xfrm rot="8716295">
              <a:off x="3011378" y="140297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7" name="Forme libre : forme 336">
              <a:extLst>
                <a:ext uri="{FF2B5EF4-FFF2-40B4-BE49-F238E27FC236}">
                  <a16:creationId xmlns:a16="http://schemas.microsoft.com/office/drawing/2014/main" id="{A3E6B7D3-30F0-4F00-9AE4-FB7C5336C17B}"/>
                </a:ext>
              </a:extLst>
            </p:cNvPr>
            <p:cNvSpPr/>
            <p:nvPr/>
          </p:nvSpPr>
          <p:spPr>
            <a:xfrm rot="8716295">
              <a:off x="2706208" y="14927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8" name="Forme libre : forme 337">
              <a:extLst>
                <a:ext uri="{FF2B5EF4-FFF2-40B4-BE49-F238E27FC236}">
                  <a16:creationId xmlns:a16="http://schemas.microsoft.com/office/drawing/2014/main" id="{632D1FEF-F08F-4C8C-8E0E-3985E6CFB126}"/>
                </a:ext>
              </a:extLst>
            </p:cNvPr>
            <p:cNvSpPr/>
            <p:nvPr/>
          </p:nvSpPr>
          <p:spPr>
            <a:xfrm rot="8716295">
              <a:off x="2517163" y="11768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9" name="Forme libre : forme 338">
              <a:extLst>
                <a:ext uri="{FF2B5EF4-FFF2-40B4-BE49-F238E27FC236}">
                  <a16:creationId xmlns:a16="http://schemas.microsoft.com/office/drawing/2014/main" id="{12813E1E-715D-4101-9BCD-409373887F04}"/>
                </a:ext>
              </a:extLst>
            </p:cNvPr>
            <p:cNvSpPr/>
            <p:nvPr/>
          </p:nvSpPr>
          <p:spPr>
            <a:xfrm rot="8716295">
              <a:off x="2842696" y="1554717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0" name="Forme libre : forme 339">
              <a:extLst>
                <a:ext uri="{FF2B5EF4-FFF2-40B4-BE49-F238E27FC236}">
                  <a16:creationId xmlns:a16="http://schemas.microsoft.com/office/drawing/2014/main" id="{AA2FCEEA-252F-42A1-A6F0-2BDC14E98266}"/>
                </a:ext>
              </a:extLst>
            </p:cNvPr>
            <p:cNvSpPr/>
            <p:nvPr/>
          </p:nvSpPr>
          <p:spPr>
            <a:xfrm rot="8716295">
              <a:off x="2477250" y="1328291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1" name="Forme libre : forme 340">
              <a:extLst>
                <a:ext uri="{FF2B5EF4-FFF2-40B4-BE49-F238E27FC236}">
                  <a16:creationId xmlns:a16="http://schemas.microsoft.com/office/drawing/2014/main" id="{884AD109-F04C-43C6-A88C-32CD36BAA4FA}"/>
                </a:ext>
              </a:extLst>
            </p:cNvPr>
            <p:cNvSpPr/>
            <p:nvPr/>
          </p:nvSpPr>
          <p:spPr>
            <a:xfrm rot="7484129">
              <a:off x="3001514" y="184433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2" name="Forme libre : forme 341">
              <a:extLst>
                <a:ext uri="{FF2B5EF4-FFF2-40B4-BE49-F238E27FC236}">
                  <a16:creationId xmlns:a16="http://schemas.microsoft.com/office/drawing/2014/main" id="{E48D40E2-82AD-4B99-AF4E-871FA4B10FDC}"/>
                </a:ext>
              </a:extLst>
            </p:cNvPr>
            <p:cNvSpPr/>
            <p:nvPr/>
          </p:nvSpPr>
          <p:spPr>
            <a:xfrm rot="13089394">
              <a:off x="3160164" y="1793683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3" name="Forme libre : forme 342">
              <a:extLst>
                <a:ext uri="{FF2B5EF4-FFF2-40B4-BE49-F238E27FC236}">
                  <a16:creationId xmlns:a16="http://schemas.microsoft.com/office/drawing/2014/main" id="{5110A4C9-803C-4F01-A8FB-E8911DB784FA}"/>
                </a:ext>
              </a:extLst>
            </p:cNvPr>
            <p:cNvSpPr/>
            <p:nvPr/>
          </p:nvSpPr>
          <p:spPr>
            <a:xfrm rot="8716295">
              <a:off x="3441055" y="1503565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4" name="Forme libre : forme 343">
              <a:extLst>
                <a:ext uri="{FF2B5EF4-FFF2-40B4-BE49-F238E27FC236}">
                  <a16:creationId xmlns:a16="http://schemas.microsoft.com/office/drawing/2014/main" id="{4B71D1CA-954E-40F5-BAE1-391BC7E00EAC}"/>
                </a:ext>
              </a:extLst>
            </p:cNvPr>
            <p:cNvSpPr/>
            <p:nvPr/>
          </p:nvSpPr>
          <p:spPr>
            <a:xfrm rot="8716295">
              <a:off x="3362645" y="134677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5" name="Forme libre : forme 344">
              <a:extLst>
                <a:ext uri="{FF2B5EF4-FFF2-40B4-BE49-F238E27FC236}">
                  <a16:creationId xmlns:a16="http://schemas.microsoft.com/office/drawing/2014/main" id="{778C13D4-A0D9-47A6-97AC-A7265054F880}"/>
                </a:ext>
              </a:extLst>
            </p:cNvPr>
            <p:cNvSpPr/>
            <p:nvPr/>
          </p:nvSpPr>
          <p:spPr>
            <a:xfrm rot="8716295">
              <a:off x="2994482" y="13925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6" name="Forme libre : forme 345">
              <a:extLst>
                <a:ext uri="{FF2B5EF4-FFF2-40B4-BE49-F238E27FC236}">
                  <a16:creationId xmlns:a16="http://schemas.microsoft.com/office/drawing/2014/main" id="{018BC788-46BE-420C-AA9D-351862A75FA9}"/>
                </a:ext>
              </a:extLst>
            </p:cNvPr>
            <p:cNvSpPr/>
            <p:nvPr/>
          </p:nvSpPr>
          <p:spPr>
            <a:xfrm rot="8716295">
              <a:off x="3263063" y="115149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7" name="Forme libre : forme 346">
              <a:extLst>
                <a:ext uri="{FF2B5EF4-FFF2-40B4-BE49-F238E27FC236}">
                  <a16:creationId xmlns:a16="http://schemas.microsoft.com/office/drawing/2014/main" id="{0E9463B7-1F06-4DEB-A058-446E8844EA8B}"/>
                </a:ext>
              </a:extLst>
            </p:cNvPr>
            <p:cNvSpPr/>
            <p:nvPr/>
          </p:nvSpPr>
          <p:spPr>
            <a:xfrm rot="8716295">
              <a:off x="2107141" y="73528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8" name="Forme libre : forme 347">
              <a:extLst>
                <a:ext uri="{FF2B5EF4-FFF2-40B4-BE49-F238E27FC236}">
                  <a16:creationId xmlns:a16="http://schemas.microsoft.com/office/drawing/2014/main" id="{73CCCCE8-C732-40A3-953D-8C4E26ECE894}"/>
                </a:ext>
              </a:extLst>
            </p:cNvPr>
            <p:cNvSpPr/>
            <p:nvPr/>
          </p:nvSpPr>
          <p:spPr>
            <a:xfrm rot="8716295">
              <a:off x="2242440" y="77954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9" name="Forme libre : forme 348">
              <a:extLst>
                <a:ext uri="{FF2B5EF4-FFF2-40B4-BE49-F238E27FC236}">
                  <a16:creationId xmlns:a16="http://schemas.microsoft.com/office/drawing/2014/main" id="{46418248-47C2-468E-8F48-18C4C7CDB219}"/>
                </a:ext>
              </a:extLst>
            </p:cNvPr>
            <p:cNvSpPr/>
            <p:nvPr/>
          </p:nvSpPr>
          <p:spPr>
            <a:xfrm rot="8716295">
              <a:off x="2174558" y="64895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0" name="Forme libre : forme 349">
              <a:extLst>
                <a:ext uri="{FF2B5EF4-FFF2-40B4-BE49-F238E27FC236}">
                  <a16:creationId xmlns:a16="http://schemas.microsoft.com/office/drawing/2014/main" id="{CF6485DD-C84B-431E-B394-8EC27CA6D055}"/>
                </a:ext>
              </a:extLst>
            </p:cNvPr>
            <p:cNvSpPr/>
            <p:nvPr/>
          </p:nvSpPr>
          <p:spPr>
            <a:xfrm rot="8716295">
              <a:off x="1937270" y="86929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1" name="Forme libre : forme 350">
              <a:extLst>
                <a:ext uri="{FF2B5EF4-FFF2-40B4-BE49-F238E27FC236}">
                  <a16:creationId xmlns:a16="http://schemas.microsoft.com/office/drawing/2014/main" id="{C462C7C6-AFD1-4D6E-868F-DFD5908371AE}"/>
                </a:ext>
              </a:extLst>
            </p:cNvPr>
            <p:cNvSpPr/>
            <p:nvPr/>
          </p:nvSpPr>
          <p:spPr>
            <a:xfrm rot="8716295">
              <a:off x="1748224" y="55346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2" name="Forme libre : forme 351">
              <a:extLst>
                <a:ext uri="{FF2B5EF4-FFF2-40B4-BE49-F238E27FC236}">
                  <a16:creationId xmlns:a16="http://schemas.microsoft.com/office/drawing/2014/main" id="{3BF602CB-BB96-4BFD-9890-5020E5C70107}"/>
                </a:ext>
              </a:extLst>
            </p:cNvPr>
            <p:cNvSpPr/>
            <p:nvPr/>
          </p:nvSpPr>
          <p:spPr>
            <a:xfrm rot="8716295">
              <a:off x="1729983" y="34341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3" name="Forme libre : forme 352">
              <a:extLst>
                <a:ext uri="{FF2B5EF4-FFF2-40B4-BE49-F238E27FC236}">
                  <a16:creationId xmlns:a16="http://schemas.microsoft.com/office/drawing/2014/main" id="{D123FE48-43A2-4EF2-A75E-82641468BE05}"/>
                </a:ext>
              </a:extLst>
            </p:cNvPr>
            <p:cNvSpPr/>
            <p:nvPr/>
          </p:nvSpPr>
          <p:spPr>
            <a:xfrm rot="8716295">
              <a:off x="2073759" y="93127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4" name="Forme libre : forme 353">
              <a:extLst>
                <a:ext uri="{FF2B5EF4-FFF2-40B4-BE49-F238E27FC236}">
                  <a16:creationId xmlns:a16="http://schemas.microsoft.com/office/drawing/2014/main" id="{9368862D-396D-4FD2-B4BF-9090111F2572}"/>
                </a:ext>
              </a:extLst>
            </p:cNvPr>
            <p:cNvSpPr/>
            <p:nvPr/>
          </p:nvSpPr>
          <p:spPr>
            <a:xfrm rot="8716295">
              <a:off x="2544705" y="35666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5" name="Forme libre : forme 354">
              <a:extLst>
                <a:ext uri="{FF2B5EF4-FFF2-40B4-BE49-F238E27FC236}">
                  <a16:creationId xmlns:a16="http://schemas.microsoft.com/office/drawing/2014/main" id="{08DA4440-5C40-4A9D-A195-E7F5A36FB8E5}"/>
                </a:ext>
              </a:extLst>
            </p:cNvPr>
            <p:cNvSpPr/>
            <p:nvPr/>
          </p:nvSpPr>
          <p:spPr>
            <a:xfrm rot="8716295">
              <a:off x="2680004" y="40092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6" name="Forme libre : forme 355">
              <a:extLst>
                <a:ext uri="{FF2B5EF4-FFF2-40B4-BE49-F238E27FC236}">
                  <a16:creationId xmlns:a16="http://schemas.microsoft.com/office/drawing/2014/main" id="{499C4215-CE78-4D06-B1F1-0EFC66D2B8A8}"/>
                </a:ext>
              </a:extLst>
            </p:cNvPr>
            <p:cNvSpPr/>
            <p:nvPr/>
          </p:nvSpPr>
          <p:spPr>
            <a:xfrm rot="8716295">
              <a:off x="2374834" y="49068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7" name="Forme libre : forme 356">
              <a:extLst>
                <a:ext uri="{FF2B5EF4-FFF2-40B4-BE49-F238E27FC236}">
                  <a16:creationId xmlns:a16="http://schemas.microsoft.com/office/drawing/2014/main" id="{0DF46042-A994-48E9-AACA-0079FAE5D34F}"/>
                </a:ext>
              </a:extLst>
            </p:cNvPr>
            <p:cNvSpPr/>
            <p:nvPr/>
          </p:nvSpPr>
          <p:spPr>
            <a:xfrm rot="8716295">
              <a:off x="2185790" y="17484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8" name="Forme libre : forme 357">
              <a:extLst>
                <a:ext uri="{FF2B5EF4-FFF2-40B4-BE49-F238E27FC236}">
                  <a16:creationId xmlns:a16="http://schemas.microsoft.com/office/drawing/2014/main" id="{C56CBFD7-CE58-4F68-AE5F-EEAC0B0B2F26}"/>
                </a:ext>
              </a:extLst>
            </p:cNvPr>
            <p:cNvSpPr/>
            <p:nvPr/>
          </p:nvSpPr>
          <p:spPr>
            <a:xfrm rot="8716295">
              <a:off x="2511323" y="552663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9" name="Forme libre : forme 358">
              <a:extLst>
                <a:ext uri="{FF2B5EF4-FFF2-40B4-BE49-F238E27FC236}">
                  <a16:creationId xmlns:a16="http://schemas.microsoft.com/office/drawing/2014/main" id="{5026E243-7CAA-469D-B3FD-2DEEF3B52A6D}"/>
                </a:ext>
              </a:extLst>
            </p:cNvPr>
            <p:cNvSpPr/>
            <p:nvPr/>
          </p:nvSpPr>
          <p:spPr>
            <a:xfrm rot="8716295">
              <a:off x="2145876" y="32623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0" name="Forme libre : forme 359">
              <a:extLst>
                <a:ext uri="{FF2B5EF4-FFF2-40B4-BE49-F238E27FC236}">
                  <a16:creationId xmlns:a16="http://schemas.microsoft.com/office/drawing/2014/main" id="{69635373-7069-4076-9294-1FD2A4827397}"/>
                </a:ext>
              </a:extLst>
            </p:cNvPr>
            <p:cNvSpPr/>
            <p:nvPr/>
          </p:nvSpPr>
          <p:spPr>
            <a:xfrm rot="7484129">
              <a:off x="2670140" y="84228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1" name="Forme libre : forme 360">
              <a:extLst>
                <a:ext uri="{FF2B5EF4-FFF2-40B4-BE49-F238E27FC236}">
                  <a16:creationId xmlns:a16="http://schemas.microsoft.com/office/drawing/2014/main" id="{65F0089C-08D4-41A5-B19D-05C5D2A763BC}"/>
                </a:ext>
              </a:extLst>
            </p:cNvPr>
            <p:cNvSpPr/>
            <p:nvPr/>
          </p:nvSpPr>
          <p:spPr>
            <a:xfrm rot="13089394">
              <a:off x="2828790" y="791629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2" name="Forme libre : forme 361">
              <a:extLst>
                <a:ext uri="{FF2B5EF4-FFF2-40B4-BE49-F238E27FC236}">
                  <a16:creationId xmlns:a16="http://schemas.microsoft.com/office/drawing/2014/main" id="{10F0587B-FBC8-4526-B416-2C74092E74E3}"/>
                </a:ext>
              </a:extLst>
            </p:cNvPr>
            <p:cNvSpPr/>
            <p:nvPr/>
          </p:nvSpPr>
          <p:spPr>
            <a:xfrm rot="8716295">
              <a:off x="3109681" y="501511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3" name="Forme libre : forme 362">
              <a:extLst>
                <a:ext uri="{FF2B5EF4-FFF2-40B4-BE49-F238E27FC236}">
                  <a16:creationId xmlns:a16="http://schemas.microsoft.com/office/drawing/2014/main" id="{2065DAB7-B994-4ECC-90EA-43FF767C9150}"/>
                </a:ext>
              </a:extLst>
            </p:cNvPr>
            <p:cNvSpPr/>
            <p:nvPr/>
          </p:nvSpPr>
          <p:spPr>
            <a:xfrm rot="8716295">
              <a:off x="3031272" y="344719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4" name="Forme libre : forme 363">
              <a:extLst>
                <a:ext uri="{FF2B5EF4-FFF2-40B4-BE49-F238E27FC236}">
                  <a16:creationId xmlns:a16="http://schemas.microsoft.com/office/drawing/2014/main" id="{06C29BA8-D38F-498C-9EF2-99B1FD452BF5}"/>
                </a:ext>
              </a:extLst>
            </p:cNvPr>
            <p:cNvSpPr/>
            <p:nvPr/>
          </p:nvSpPr>
          <p:spPr>
            <a:xfrm rot="8716295">
              <a:off x="2663108" y="39046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5" name="Forme libre : forme 364">
              <a:extLst>
                <a:ext uri="{FF2B5EF4-FFF2-40B4-BE49-F238E27FC236}">
                  <a16:creationId xmlns:a16="http://schemas.microsoft.com/office/drawing/2014/main" id="{19957925-F105-47F6-A52F-63EE7BCADA72}"/>
                </a:ext>
              </a:extLst>
            </p:cNvPr>
            <p:cNvSpPr/>
            <p:nvPr/>
          </p:nvSpPr>
          <p:spPr>
            <a:xfrm rot="8716295">
              <a:off x="2931690" y="14944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6" name="Forme libre : forme 365">
              <a:extLst>
                <a:ext uri="{FF2B5EF4-FFF2-40B4-BE49-F238E27FC236}">
                  <a16:creationId xmlns:a16="http://schemas.microsoft.com/office/drawing/2014/main" id="{E0E33F2F-8222-4600-9D1F-1A85DBD9DDB6}"/>
                </a:ext>
              </a:extLst>
            </p:cNvPr>
            <p:cNvSpPr/>
            <p:nvPr/>
          </p:nvSpPr>
          <p:spPr>
            <a:xfrm rot="8716295">
              <a:off x="1834766" y="-57684"/>
              <a:ext cx="186564" cy="129320"/>
            </a:xfrm>
            <a:custGeom>
              <a:avLst/>
              <a:gdLst>
                <a:gd name="connsiteX0" fmla="*/ 123263 w 123263"/>
                <a:gd name="connsiteY0" fmla="*/ 85442 h 85442"/>
                <a:gd name="connsiteX1" fmla="*/ 0 w 123263"/>
                <a:gd name="connsiteY1" fmla="*/ 0 h 85442"/>
                <a:gd name="connsiteX2" fmla="*/ 66305 w 123263"/>
                <a:gd name="connsiteY2" fmla="*/ 0 h 85442"/>
                <a:gd name="connsiteX3" fmla="*/ 123263 w 123263"/>
                <a:gd name="connsiteY3" fmla="*/ 50123 h 85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63" h="85442">
                  <a:moveTo>
                    <a:pt x="123263" y="85442"/>
                  </a:moveTo>
                  <a:lnTo>
                    <a:pt x="0" y="0"/>
                  </a:lnTo>
                  <a:lnTo>
                    <a:pt x="66305" y="0"/>
                  </a:lnTo>
                  <a:cubicBezTo>
                    <a:pt x="103214" y="0"/>
                    <a:pt x="123263" y="15948"/>
                    <a:pt x="123263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7" name="Forme libre : forme 366">
              <a:extLst>
                <a:ext uri="{FF2B5EF4-FFF2-40B4-BE49-F238E27FC236}">
                  <a16:creationId xmlns:a16="http://schemas.microsoft.com/office/drawing/2014/main" id="{85E9DB2D-8095-4090-AC49-070A81C428A4}"/>
                </a:ext>
              </a:extLst>
            </p:cNvPr>
            <p:cNvSpPr/>
            <p:nvPr/>
          </p:nvSpPr>
          <p:spPr>
            <a:xfrm rot="8716295">
              <a:off x="1969949" y="-13794"/>
              <a:ext cx="394488" cy="148365"/>
            </a:xfrm>
            <a:custGeom>
              <a:avLst/>
              <a:gdLst>
                <a:gd name="connsiteX0" fmla="*/ 104802 w 260639"/>
                <a:gd name="connsiteY0" fmla="*/ 74264 h 98025"/>
                <a:gd name="connsiteX1" fmla="*/ 0 w 260639"/>
                <a:gd name="connsiteY1" fmla="*/ 1618 h 98025"/>
                <a:gd name="connsiteX2" fmla="*/ 0 w 260639"/>
                <a:gd name="connsiteY2" fmla="*/ 1425 h 98025"/>
                <a:gd name="connsiteX3" fmla="*/ 104803 w 260639"/>
                <a:gd name="connsiteY3" fmla="*/ 1425 h 98025"/>
                <a:gd name="connsiteX4" fmla="*/ 122123 w 260639"/>
                <a:gd name="connsiteY4" fmla="*/ 86270 h 98025"/>
                <a:gd name="connsiteX5" fmla="*/ 106178 w 260639"/>
                <a:gd name="connsiteY5" fmla="*/ 75218 h 98025"/>
                <a:gd name="connsiteX6" fmla="*/ 116721 w 260639"/>
                <a:gd name="connsiteY6" fmla="*/ 47439 h 98025"/>
                <a:gd name="connsiteX7" fmla="*/ 154014 w 260639"/>
                <a:gd name="connsiteY7" fmla="*/ 5981 h 98025"/>
                <a:gd name="connsiteX8" fmla="*/ 185455 w 260639"/>
                <a:gd name="connsiteY8" fmla="*/ 57 h 98025"/>
                <a:gd name="connsiteX9" fmla="*/ 260639 w 260639"/>
                <a:gd name="connsiteY9" fmla="*/ 88456 h 98025"/>
                <a:gd name="connsiteX10" fmla="*/ 260639 w 260639"/>
                <a:gd name="connsiteY10" fmla="*/ 94380 h 98025"/>
                <a:gd name="connsiteX11" fmla="*/ 198669 w 260639"/>
                <a:gd name="connsiteY11" fmla="*/ 98025 h 98025"/>
                <a:gd name="connsiteX12" fmla="*/ 198669 w 260639"/>
                <a:gd name="connsiteY12" fmla="*/ 81621 h 98025"/>
                <a:gd name="connsiteX13" fmla="*/ 164950 w 260639"/>
                <a:gd name="connsiteY13" fmla="*/ 40156 h 98025"/>
                <a:gd name="connsiteX14" fmla="*/ 127358 w 260639"/>
                <a:gd name="connsiteY14" fmla="*/ 65616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60639" h="98025">
                  <a:moveTo>
                    <a:pt x="104802" y="74264"/>
                  </a:moveTo>
                  <a:lnTo>
                    <a:pt x="0" y="1618"/>
                  </a:lnTo>
                  <a:lnTo>
                    <a:pt x="0" y="1425"/>
                  </a:lnTo>
                  <a:lnTo>
                    <a:pt x="104803" y="1425"/>
                  </a:lnTo>
                  <a:close/>
                  <a:moveTo>
                    <a:pt x="122123" y="86270"/>
                  </a:moveTo>
                  <a:lnTo>
                    <a:pt x="106178" y="75218"/>
                  </a:lnTo>
                  <a:lnTo>
                    <a:pt x="116721" y="47439"/>
                  </a:lnTo>
                  <a:cubicBezTo>
                    <a:pt x="127102" y="24008"/>
                    <a:pt x="137610" y="12816"/>
                    <a:pt x="154014" y="5981"/>
                  </a:cubicBezTo>
                  <a:cubicBezTo>
                    <a:pt x="164038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50369" y="40156"/>
                    <a:pt x="137041" y="49839"/>
                    <a:pt x="127358" y="656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8" name="Forme libre : forme 367">
              <a:extLst>
                <a:ext uri="{FF2B5EF4-FFF2-40B4-BE49-F238E27FC236}">
                  <a16:creationId xmlns:a16="http://schemas.microsoft.com/office/drawing/2014/main" id="{2112AB6E-ECBC-48CC-8F85-503CE29BF697}"/>
                </a:ext>
              </a:extLst>
            </p:cNvPr>
            <p:cNvSpPr/>
            <p:nvPr/>
          </p:nvSpPr>
          <p:spPr>
            <a:xfrm rot="8716295">
              <a:off x="1736738" y="-7282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9" name="Forme libre : forme 368">
              <a:extLst>
                <a:ext uri="{FF2B5EF4-FFF2-40B4-BE49-F238E27FC236}">
                  <a16:creationId xmlns:a16="http://schemas.microsoft.com/office/drawing/2014/main" id="{0CED55EE-2402-40E1-B7FC-4C64963DE5BE}"/>
                </a:ext>
              </a:extLst>
            </p:cNvPr>
            <p:cNvSpPr/>
            <p:nvPr/>
          </p:nvSpPr>
          <p:spPr>
            <a:xfrm rot="7484129">
              <a:off x="2399917" y="-21262"/>
              <a:ext cx="233243" cy="158079"/>
            </a:xfrm>
            <a:custGeom>
              <a:avLst/>
              <a:gdLst>
                <a:gd name="connsiteX0" fmla="*/ 72416 w 154104"/>
                <a:gd name="connsiteY0" fmla="*/ 104443 h 104443"/>
                <a:gd name="connsiteX1" fmla="*/ 0 w 154104"/>
                <a:gd name="connsiteY1" fmla="*/ 0 h 104443"/>
                <a:gd name="connsiteX2" fmla="*/ 154104 w 154104"/>
                <a:gd name="connsiteY2" fmla="*/ 0 h 104443"/>
                <a:gd name="connsiteX3" fmla="*/ 154104 w 154104"/>
                <a:gd name="connsiteY3" fmla="*/ 55323 h 104443"/>
                <a:gd name="connsiteX4" fmla="*/ 89312 w 154104"/>
                <a:gd name="connsiteY4" fmla="*/ 55323 h 104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4104" h="104443">
                  <a:moveTo>
                    <a:pt x="72416" y="104443"/>
                  </a:moveTo>
                  <a:lnTo>
                    <a:pt x="0" y="0"/>
                  </a:lnTo>
                  <a:lnTo>
                    <a:pt x="154104" y="0"/>
                  </a:lnTo>
                  <a:lnTo>
                    <a:pt x="154104" y="55323"/>
                  </a:lnTo>
                  <a:lnTo>
                    <a:pt x="89312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0" name="Forme libre : forme 369">
              <a:extLst>
                <a:ext uri="{FF2B5EF4-FFF2-40B4-BE49-F238E27FC236}">
                  <a16:creationId xmlns:a16="http://schemas.microsoft.com/office/drawing/2014/main" id="{2AB77741-1425-4B03-9370-5D34269ACC61}"/>
                </a:ext>
              </a:extLst>
            </p:cNvPr>
            <p:cNvSpPr/>
            <p:nvPr/>
          </p:nvSpPr>
          <p:spPr>
            <a:xfrm rot="13089394">
              <a:off x="2721869" y="-65503"/>
              <a:ext cx="128296" cy="425348"/>
            </a:xfrm>
            <a:custGeom>
              <a:avLst/>
              <a:gdLst>
                <a:gd name="connsiteX0" fmla="*/ 84765 w 84765"/>
                <a:gd name="connsiteY0" fmla="*/ 225012 h 281028"/>
                <a:gd name="connsiteX1" fmla="*/ 13471 w 84765"/>
                <a:gd name="connsiteY1" fmla="*/ 281028 h 281028"/>
                <a:gd name="connsiteX2" fmla="*/ 4828 w 84765"/>
                <a:gd name="connsiteY2" fmla="*/ 263963 h 281028"/>
                <a:gd name="connsiteX3" fmla="*/ 0 w 84765"/>
                <a:gd name="connsiteY3" fmla="*/ 206370 h 281028"/>
                <a:gd name="connsiteX4" fmla="*/ 0 w 84765"/>
                <a:gd name="connsiteY4" fmla="*/ 38074 h 281028"/>
                <a:gd name="connsiteX5" fmla="*/ 73388 w 84765"/>
                <a:gd name="connsiteY5" fmla="*/ 0 h 281028"/>
                <a:gd name="connsiteX6" fmla="*/ 74492 w 84765"/>
                <a:gd name="connsiteY6" fmla="*/ 153950 h 281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4765" h="281028">
                  <a:moveTo>
                    <a:pt x="84765" y="225012"/>
                  </a:moveTo>
                  <a:lnTo>
                    <a:pt x="13471" y="281028"/>
                  </a:lnTo>
                  <a:lnTo>
                    <a:pt x="4828" y="263963"/>
                  </a:lnTo>
                  <a:cubicBezTo>
                    <a:pt x="1241" y="248168"/>
                    <a:pt x="0" y="228993"/>
                    <a:pt x="0" y="206370"/>
                  </a:cubicBez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1" name="Forme libre : forme 370">
              <a:extLst>
                <a:ext uri="{FF2B5EF4-FFF2-40B4-BE49-F238E27FC236}">
                  <a16:creationId xmlns:a16="http://schemas.microsoft.com/office/drawing/2014/main" id="{FAA815E1-BD11-411E-A301-A66D6E5B5B5D}"/>
                </a:ext>
              </a:extLst>
            </p:cNvPr>
            <p:cNvSpPr/>
            <p:nvPr/>
          </p:nvSpPr>
          <p:spPr>
            <a:xfrm rot="8716295">
              <a:off x="5604774" y="3024342"/>
              <a:ext cx="274455" cy="132163"/>
            </a:xfrm>
            <a:custGeom>
              <a:avLst/>
              <a:gdLst>
                <a:gd name="connsiteX0" fmla="*/ 0 w 181333"/>
                <a:gd name="connsiteY0" fmla="*/ 87320 h 87320"/>
                <a:gd name="connsiteX1" fmla="*/ 42309 w 181333"/>
                <a:gd name="connsiteY1" fmla="*/ 36168 h 87320"/>
                <a:gd name="connsiteX2" fmla="*/ 54839 w 181333"/>
                <a:gd name="connsiteY2" fmla="*/ 38831 h 87320"/>
                <a:gd name="connsiteX3" fmla="*/ 107790 w 181333"/>
                <a:gd name="connsiteY3" fmla="*/ 29417 h 87320"/>
                <a:gd name="connsiteX4" fmla="*/ 180157 w 181333"/>
                <a:gd name="connsiteY4" fmla="*/ 0 h 87320"/>
                <a:gd name="connsiteX5" fmla="*/ 181333 w 181333"/>
                <a:gd name="connsiteY5" fmla="*/ 7648 h 87320"/>
                <a:gd name="connsiteX6" fmla="*/ 181333 w 181333"/>
                <a:gd name="connsiteY6" fmla="*/ 13532 h 87320"/>
                <a:gd name="connsiteX7" fmla="*/ 30340 w 181333"/>
                <a:gd name="connsiteY7" fmla="*/ 83361 h 87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333" h="87320">
                  <a:moveTo>
                    <a:pt x="0" y="87320"/>
                  </a:moveTo>
                  <a:lnTo>
                    <a:pt x="42309" y="36168"/>
                  </a:lnTo>
                  <a:lnTo>
                    <a:pt x="54839" y="38831"/>
                  </a:lnTo>
                  <a:cubicBezTo>
                    <a:pt x="73078" y="38242"/>
                    <a:pt x="90728" y="34712"/>
                    <a:pt x="107790" y="29417"/>
                  </a:cubicBezTo>
                  <a:cubicBezTo>
                    <a:pt x="132500" y="21768"/>
                    <a:pt x="156623" y="11767"/>
                    <a:pt x="180157" y="0"/>
                  </a:cubicBezTo>
                  <a:cubicBezTo>
                    <a:pt x="180745" y="2353"/>
                    <a:pt x="181333" y="5295"/>
                    <a:pt x="181333" y="7648"/>
                  </a:cubicBezTo>
                  <a:lnTo>
                    <a:pt x="181333" y="13532"/>
                  </a:lnTo>
                  <a:cubicBezTo>
                    <a:pt x="134560" y="53687"/>
                    <a:pt x="76865" y="74315"/>
                    <a:pt x="30340" y="833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2" name="Forme libre : forme 371">
              <a:extLst>
                <a:ext uri="{FF2B5EF4-FFF2-40B4-BE49-F238E27FC236}">
                  <a16:creationId xmlns:a16="http://schemas.microsoft.com/office/drawing/2014/main" id="{0B206B84-4FE5-4D53-9D1E-DD02DB41D254}"/>
                </a:ext>
              </a:extLst>
            </p:cNvPr>
            <p:cNvSpPr/>
            <p:nvPr/>
          </p:nvSpPr>
          <p:spPr>
            <a:xfrm rot="8716295">
              <a:off x="5742786" y="2375436"/>
              <a:ext cx="92417" cy="296278"/>
            </a:xfrm>
            <a:custGeom>
              <a:avLst/>
              <a:gdLst>
                <a:gd name="connsiteX0" fmla="*/ 0 w 61060"/>
                <a:gd name="connsiteY0" fmla="*/ 195751 h 195751"/>
                <a:gd name="connsiteX1" fmla="*/ 0 w 61060"/>
                <a:gd name="connsiteY1" fmla="*/ 67520 h 195751"/>
                <a:gd name="connsiteX2" fmla="*/ 55847 w 61060"/>
                <a:gd name="connsiteY2" fmla="*/ 0 h 195751"/>
                <a:gd name="connsiteX3" fmla="*/ 61059 w 61060"/>
                <a:gd name="connsiteY3" fmla="*/ 13486 h 195751"/>
                <a:gd name="connsiteX4" fmla="*/ 61060 w 61060"/>
                <a:gd name="connsiteY4" fmla="*/ 171601 h 195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60" h="195751">
                  <a:moveTo>
                    <a:pt x="0" y="195751"/>
                  </a:moveTo>
                  <a:lnTo>
                    <a:pt x="0" y="67520"/>
                  </a:lnTo>
                  <a:lnTo>
                    <a:pt x="55847" y="0"/>
                  </a:lnTo>
                  <a:lnTo>
                    <a:pt x="61059" y="13486"/>
                  </a:lnTo>
                  <a:lnTo>
                    <a:pt x="61060" y="17160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3" name="Forme libre : forme 372">
              <a:extLst>
                <a:ext uri="{FF2B5EF4-FFF2-40B4-BE49-F238E27FC236}">
                  <a16:creationId xmlns:a16="http://schemas.microsoft.com/office/drawing/2014/main" id="{77194E30-CE70-4AEC-BB0F-106D75678D26}"/>
                </a:ext>
              </a:extLst>
            </p:cNvPr>
            <p:cNvSpPr/>
            <p:nvPr/>
          </p:nvSpPr>
          <p:spPr>
            <a:xfrm rot="8716295">
              <a:off x="5579033" y="246915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4" name="Forme libre : forme 373">
              <a:extLst>
                <a:ext uri="{FF2B5EF4-FFF2-40B4-BE49-F238E27FC236}">
                  <a16:creationId xmlns:a16="http://schemas.microsoft.com/office/drawing/2014/main" id="{F8F32B20-B35C-4702-8768-E6EC077080C3}"/>
                </a:ext>
              </a:extLst>
            </p:cNvPr>
            <p:cNvSpPr/>
            <p:nvPr/>
          </p:nvSpPr>
          <p:spPr>
            <a:xfrm rot="8716295">
              <a:off x="5389987" y="215331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5" name="Forme libre : forme 374">
              <a:extLst>
                <a:ext uri="{FF2B5EF4-FFF2-40B4-BE49-F238E27FC236}">
                  <a16:creationId xmlns:a16="http://schemas.microsoft.com/office/drawing/2014/main" id="{03FB5FAB-F686-40AC-9940-1E92242C962D}"/>
                </a:ext>
              </a:extLst>
            </p:cNvPr>
            <p:cNvSpPr/>
            <p:nvPr/>
          </p:nvSpPr>
          <p:spPr>
            <a:xfrm rot="8716295">
              <a:off x="5371746" y="194326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6" name="Forme libre : forme 375">
              <a:extLst>
                <a:ext uri="{FF2B5EF4-FFF2-40B4-BE49-F238E27FC236}">
                  <a16:creationId xmlns:a16="http://schemas.microsoft.com/office/drawing/2014/main" id="{7697AE3D-D280-4B41-97E4-E67BBE2838D4}"/>
                </a:ext>
              </a:extLst>
            </p:cNvPr>
            <p:cNvSpPr/>
            <p:nvPr/>
          </p:nvSpPr>
          <p:spPr>
            <a:xfrm rot="8716295">
              <a:off x="5716764" y="2550542"/>
              <a:ext cx="91035" cy="331729"/>
            </a:xfrm>
            <a:custGeom>
              <a:avLst/>
              <a:gdLst>
                <a:gd name="connsiteX0" fmla="*/ 60147 w 60147"/>
                <a:gd name="connsiteY0" fmla="*/ 219174 h 219174"/>
                <a:gd name="connsiteX1" fmla="*/ 0 w 60147"/>
                <a:gd name="connsiteY1" fmla="*/ 161304 h 219174"/>
                <a:gd name="connsiteX2" fmla="*/ 0 w 60147"/>
                <a:gd name="connsiteY2" fmla="*/ 68045 h 219174"/>
                <a:gd name="connsiteX3" fmla="*/ 56210 w 60147"/>
                <a:gd name="connsiteY3" fmla="*/ 87 h 219174"/>
                <a:gd name="connsiteX4" fmla="*/ 60147 w 60147"/>
                <a:gd name="connsiteY4" fmla="*/ 0 h 219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47" h="219174">
                  <a:moveTo>
                    <a:pt x="60147" y="219174"/>
                  </a:moveTo>
                  <a:lnTo>
                    <a:pt x="0" y="161304"/>
                  </a:lnTo>
                  <a:lnTo>
                    <a:pt x="0" y="68045"/>
                  </a:lnTo>
                  <a:lnTo>
                    <a:pt x="56210" y="87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7" name="Forme libre : forme 376">
              <a:extLst>
                <a:ext uri="{FF2B5EF4-FFF2-40B4-BE49-F238E27FC236}">
                  <a16:creationId xmlns:a16="http://schemas.microsoft.com/office/drawing/2014/main" id="{46E8B4E6-46F9-4CF4-A6B7-A87039F21F77}"/>
                </a:ext>
              </a:extLst>
            </p:cNvPr>
            <p:cNvSpPr/>
            <p:nvPr/>
          </p:nvSpPr>
          <p:spPr>
            <a:xfrm rot="8716295">
              <a:off x="5787639" y="192609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8" name="Forme libre : forme 377">
              <a:extLst>
                <a:ext uri="{FF2B5EF4-FFF2-40B4-BE49-F238E27FC236}">
                  <a16:creationId xmlns:a16="http://schemas.microsoft.com/office/drawing/2014/main" id="{CE3A86F3-9EF3-4CAC-BAE7-301BACB20DC2}"/>
                </a:ext>
              </a:extLst>
            </p:cNvPr>
            <p:cNvSpPr/>
            <p:nvPr/>
          </p:nvSpPr>
          <p:spPr>
            <a:xfrm rot="8716295">
              <a:off x="5411131" y="133665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9" name="Forme libre : forme 378">
              <a:extLst>
                <a:ext uri="{FF2B5EF4-FFF2-40B4-BE49-F238E27FC236}">
                  <a16:creationId xmlns:a16="http://schemas.microsoft.com/office/drawing/2014/main" id="{5ADA9701-4026-4003-B92A-BE45A4B58CA1}"/>
                </a:ext>
              </a:extLst>
            </p:cNvPr>
            <p:cNvSpPr/>
            <p:nvPr/>
          </p:nvSpPr>
          <p:spPr>
            <a:xfrm rot="8716295">
              <a:off x="5547629" y="1389153"/>
              <a:ext cx="346795" cy="385612"/>
            </a:xfrm>
            <a:custGeom>
              <a:avLst/>
              <a:gdLst>
                <a:gd name="connsiteX0" fmla="*/ 19979 w 229128"/>
                <a:gd name="connsiteY0" fmla="*/ 254774 h 254774"/>
                <a:gd name="connsiteX1" fmla="*/ 19979 w 229128"/>
                <a:gd name="connsiteY1" fmla="*/ 45624 h 254774"/>
                <a:gd name="connsiteX2" fmla="*/ 0 w 229128"/>
                <a:gd name="connsiteY2" fmla="*/ 45624 h 254774"/>
                <a:gd name="connsiteX3" fmla="*/ 36558 w 229128"/>
                <a:gd name="connsiteY3" fmla="*/ 1425 h 254774"/>
                <a:gd name="connsiteX4" fmla="*/ 73292 w 229128"/>
                <a:gd name="connsiteY4" fmla="*/ 1425 h 254774"/>
                <a:gd name="connsiteX5" fmla="*/ 73292 w 229128"/>
                <a:gd name="connsiteY5" fmla="*/ 75242 h 254774"/>
                <a:gd name="connsiteX6" fmla="*/ 74658 w 229128"/>
                <a:gd name="connsiteY6" fmla="*/ 75242 h 254774"/>
                <a:gd name="connsiteX7" fmla="*/ 122503 w 229128"/>
                <a:gd name="connsiteY7" fmla="*/ 5981 h 254774"/>
                <a:gd name="connsiteX8" fmla="*/ 153944 w 229128"/>
                <a:gd name="connsiteY8" fmla="*/ 57 h 254774"/>
                <a:gd name="connsiteX9" fmla="*/ 229128 w 229128"/>
                <a:gd name="connsiteY9" fmla="*/ 88456 h 254774"/>
                <a:gd name="connsiteX10" fmla="*/ 229128 w 229128"/>
                <a:gd name="connsiteY10" fmla="*/ 94380 h 254774"/>
                <a:gd name="connsiteX11" fmla="*/ 167158 w 229128"/>
                <a:gd name="connsiteY11" fmla="*/ 98025 h 254774"/>
                <a:gd name="connsiteX12" fmla="*/ 167158 w 229128"/>
                <a:gd name="connsiteY12" fmla="*/ 81621 h 254774"/>
                <a:gd name="connsiteX13" fmla="*/ 133439 w 229128"/>
                <a:gd name="connsiteY13" fmla="*/ 40156 h 254774"/>
                <a:gd name="connsiteX14" fmla="*/ 80127 w 229128"/>
                <a:gd name="connsiteY14" fmla="*/ 127643 h 254774"/>
                <a:gd name="connsiteX15" fmla="*/ 80127 w 229128"/>
                <a:gd name="connsiteY15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29128" h="254774">
                  <a:moveTo>
                    <a:pt x="19979" y="254774"/>
                  </a:moveTo>
                  <a:lnTo>
                    <a:pt x="19979" y="45624"/>
                  </a:lnTo>
                  <a:lnTo>
                    <a:pt x="0" y="45624"/>
                  </a:lnTo>
                  <a:lnTo>
                    <a:pt x="36558" y="1425"/>
                  </a:lnTo>
                  <a:lnTo>
                    <a:pt x="73292" y="1425"/>
                  </a:lnTo>
                  <a:lnTo>
                    <a:pt x="73292" y="75242"/>
                  </a:lnTo>
                  <a:lnTo>
                    <a:pt x="74658" y="75242"/>
                  </a:lnTo>
                  <a:cubicBezTo>
                    <a:pt x="89240" y="31954"/>
                    <a:pt x="100631" y="15094"/>
                    <a:pt x="122503" y="5981"/>
                  </a:cubicBezTo>
                  <a:cubicBezTo>
                    <a:pt x="132528" y="1880"/>
                    <a:pt x="143008" y="-398"/>
                    <a:pt x="153944" y="57"/>
                  </a:cubicBezTo>
                  <a:cubicBezTo>
                    <a:pt x="200877" y="-854"/>
                    <a:pt x="229128" y="31954"/>
                    <a:pt x="229128" y="88456"/>
                  </a:cubicBezTo>
                  <a:lnTo>
                    <a:pt x="229128" y="94380"/>
                  </a:lnTo>
                  <a:lnTo>
                    <a:pt x="167158" y="98025"/>
                  </a:lnTo>
                  <a:lnTo>
                    <a:pt x="167158" y="81621"/>
                  </a:lnTo>
                  <a:cubicBezTo>
                    <a:pt x="167158" y="57016"/>
                    <a:pt x="153033" y="40156"/>
                    <a:pt x="133439" y="40156"/>
                  </a:cubicBezTo>
                  <a:cubicBezTo>
                    <a:pt x="104277" y="40156"/>
                    <a:pt x="80127" y="78887"/>
                    <a:pt x="80127" y="127643"/>
                  </a:cubicBezTo>
                  <a:lnTo>
                    <a:pt x="80127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0" name="Forme libre : forme 379">
              <a:extLst>
                <a:ext uri="{FF2B5EF4-FFF2-40B4-BE49-F238E27FC236}">
                  <a16:creationId xmlns:a16="http://schemas.microsoft.com/office/drawing/2014/main" id="{3801A8FD-71D9-43D4-9A13-F62B93652117}"/>
                </a:ext>
              </a:extLst>
            </p:cNvPr>
            <p:cNvSpPr/>
            <p:nvPr/>
          </p:nvSpPr>
          <p:spPr>
            <a:xfrm rot="8716295">
              <a:off x="5478548" y="125032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1" name="Forme libre : forme 380">
              <a:extLst>
                <a:ext uri="{FF2B5EF4-FFF2-40B4-BE49-F238E27FC236}">
                  <a16:creationId xmlns:a16="http://schemas.microsoft.com/office/drawing/2014/main" id="{4CC9B929-E3B4-4677-AB6A-C1B0E025204C}"/>
                </a:ext>
              </a:extLst>
            </p:cNvPr>
            <p:cNvSpPr/>
            <p:nvPr/>
          </p:nvSpPr>
          <p:spPr>
            <a:xfrm rot="8716295">
              <a:off x="5241260" y="147066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2" name="Forme libre : forme 381">
              <a:extLst>
                <a:ext uri="{FF2B5EF4-FFF2-40B4-BE49-F238E27FC236}">
                  <a16:creationId xmlns:a16="http://schemas.microsoft.com/office/drawing/2014/main" id="{43D5D927-BA42-496D-BC4E-8674E3CE6A51}"/>
                </a:ext>
              </a:extLst>
            </p:cNvPr>
            <p:cNvSpPr/>
            <p:nvPr/>
          </p:nvSpPr>
          <p:spPr>
            <a:xfrm rot="8716295">
              <a:off x="5052214" y="11548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3" name="Forme libre : forme 382">
              <a:extLst>
                <a:ext uri="{FF2B5EF4-FFF2-40B4-BE49-F238E27FC236}">
                  <a16:creationId xmlns:a16="http://schemas.microsoft.com/office/drawing/2014/main" id="{A9CA7264-4BDA-4273-8C76-8511057A1B85}"/>
                </a:ext>
              </a:extLst>
            </p:cNvPr>
            <p:cNvSpPr/>
            <p:nvPr/>
          </p:nvSpPr>
          <p:spPr>
            <a:xfrm rot="8716295">
              <a:off x="5033973" y="94478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4" name="Forme libre : forme 383">
              <a:extLst>
                <a:ext uri="{FF2B5EF4-FFF2-40B4-BE49-F238E27FC236}">
                  <a16:creationId xmlns:a16="http://schemas.microsoft.com/office/drawing/2014/main" id="{5E95C0C0-B211-4D78-A1DF-BE4FC385DAC5}"/>
                </a:ext>
              </a:extLst>
            </p:cNvPr>
            <p:cNvSpPr/>
            <p:nvPr/>
          </p:nvSpPr>
          <p:spPr>
            <a:xfrm rot="8716295">
              <a:off x="5377749" y="153264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5" name="Forme libre : forme 384">
              <a:extLst>
                <a:ext uri="{FF2B5EF4-FFF2-40B4-BE49-F238E27FC236}">
                  <a16:creationId xmlns:a16="http://schemas.microsoft.com/office/drawing/2014/main" id="{299B9701-5011-4B98-BC25-888CE3D4A261}"/>
                </a:ext>
              </a:extLst>
            </p:cNvPr>
            <p:cNvSpPr/>
            <p:nvPr/>
          </p:nvSpPr>
          <p:spPr>
            <a:xfrm rot="8716295">
              <a:off x="5847873" y="996679"/>
              <a:ext cx="92417" cy="314872"/>
            </a:xfrm>
            <a:custGeom>
              <a:avLst/>
              <a:gdLst>
                <a:gd name="connsiteX0" fmla="*/ 0 w 61060"/>
                <a:gd name="connsiteY0" fmla="*/ 208036 h 208036"/>
                <a:gd name="connsiteX1" fmla="*/ 1 w 61060"/>
                <a:gd name="connsiteY1" fmla="*/ 61780 h 208036"/>
                <a:gd name="connsiteX2" fmla="*/ 51100 w 61060"/>
                <a:gd name="connsiteY2" fmla="*/ 0 h 208036"/>
                <a:gd name="connsiteX3" fmla="*/ 61059 w 61060"/>
                <a:gd name="connsiteY3" fmla="*/ 25771 h 208036"/>
                <a:gd name="connsiteX4" fmla="*/ 61060 w 61060"/>
                <a:gd name="connsiteY4" fmla="*/ 183886 h 208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60" h="208036">
                  <a:moveTo>
                    <a:pt x="0" y="208036"/>
                  </a:moveTo>
                  <a:lnTo>
                    <a:pt x="1" y="61780"/>
                  </a:lnTo>
                  <a:lnTo>
                    <a:pt x="51100" y="0"/>
                  </a:lnTo>
                  <a:lnTo>
                    <a:pt x="61059" y="25771"/>
                  </a:lnTo>
                  <a:lnTo>
                    <a:pt x="61060" y="18388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6" name="Forme libre : forme 385">
              <a:extLst>
                <a:ext uri="{FF2B5EF4-FFF2-40B4-BE49-F238E27FC236}">
                  <a16:creationId xmlns:a16="http://schemas.microsoft.com/office/drawing/2014/main" id="{D1B55AC6-0E14-4AD6-A463-2BC5AB8BBB90}"/>
                </a:ext>
              </a:extLst>
            </p:cNvPr>
            <p:cNvSpPr/>
            <p:nvPr/>
          </p:nvSpPr>
          <p:spPr>
            <a:xfrm rot="8716295">
              <a:off x="5678824" y="109205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7" name="Forme libre : forme 386">
              <a:extLst>
                <a:ext uri="{FF2B5EF4-FFF2-40B4-BE49-F238E27FC236}">
                  <a16:creationId xmlns:a16="http://schemas.microsoft.com/office/drawing/2014/main" id="{35C0CB49-4515-4D6B-805D-6EE1D83F55CD}"/>
                </a:ext>
              </a:extLst>
            </p:cNvPr>
            <p:cNvSpPr/>
            <p:nvPr/>
          </p:nvSpPr>
          <p:spPr>
            <a:xfrm rot="8716295">
              <a:off x="5489780" y="77621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8" name="Forme libre : forme 387">
              <a:extLst>
                <a:ext uri="{FF2B5EF4-FFF2-40B4-BE49-F238E27FC236}">
                  <a16:creationId xmlns:a16="http://schemas.microsoft.com/office/drawing/2014/main" id="{393CE68B-9315-410C-84F0-0D845DB03A75}"/>
                </a:ext>
              </a:extLst>
            </p:cNvPr>
            <p:cNvSpPr/>
            <p:nvPr/>
          </p:nvSpPr>
          <p:spPr>
            <a:xfrm rot="8716295">
              <a:off x="5816554" y="1173443"/>
              <a:ext cx="91037" cy="331731"/>
            </a:xfrm>
            <a:custGeom>
              <a:avLst/>
              <a:gdLst>
                <a:gd name="connsiteX0" fmla="*/ 60148 w 60148"/>
                <a:gd name="connsiteY0" fmla="*/ 219175 h 219175"/>
                <a:gd name="connsiteX1" fmla="*/ 0 w 60148"/>
                <a:gd name="connsiteY1" fmla="*/ 161305 h 219175"/>
                <a:gd name="connsiteX2" fmla="*/ 0 w 60148"/>
                <a:gd name="connsiteY2" fmla="*/ 50021 h 219175"/>
                <a:gd name="connsiteX3" fmla="*/ 41025 w 60148"/>
                <a:gd name="connsiteY3" fmla="*/ 421 h 219175"/>
                <a:gd name="connsiteX4" fmla="*/ 60147 w 60148"/>
                <a:gd name="connsiteY4" fmla="*/ 0 h 219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48" h="219175">
                  <a:moveTo>
                    <a:pt x="60148" y="219175"/>
                  </a:moveTo>
                  <a:lnTo>
                    <a:pt x="0" y="161305"/>
                  </a:lnTo>
                  <a:lnTo>
                    <a:pt x="0" y="50021"/>
                  </a:lnTo>
                  <a:lnTo>
                    <a:pt x="41025" y="421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9" name="Forme libre : forme 388">
              <a:extLst>
                <a:ext uri="{FF2B5EF4-FFF2-40B4-BE49-F238E27FC236}">
                  <a16:creationId xmlns:a16="http://schemas.microsoft.com/office/drawing/2014/main" id="{B917A23A-4403-425A-9C2A-27DE35CB443E}"/>
                </a:ext>
              </a:extLst>
            </p:cNvPr>
            <p:cNvSpPr/>
            <p:nvPr/>
          </p:nvSpPr>
          <p:spPr>
            <a:xfrm rot="8716295">
              <a:off x="5449866" y="92760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0" name="Forme libre : forme 389">
              <a:extLst>
                <a:ext uri="{FF2B5EF4-FFF2-40B4-BE49-F238E27FC236}">
                  <a16:creationId xmlns:a16="http://schemas.microsoft.com/office/drawing/2014/main" id="{8689535D-A8DA-4F0E-9DBC-CBAFC078B2CB}"/>
                </a:ext>
              </a:extLst>
            </p:cNvPr>
            <p:cNvSpPr/>
            <p:nvPr/>
          </p:nvSpPr>
          <p:spPr>
            <a:xfrm rot="8716295">
              <a:off x="5954717" y="1002572"/>
              <a:ext cx="48491" cy="55034"/>
            </a:xfrm>
            <a:custGeom>
              <a:avLst/>
              <a:gdLst>
                <a:gd name="connsiteX0" fmla="*/ 0 w 32038"/>
                <a:gd name="connsiteY0" fmla="*/ 35166 h 36361"/>
                <a:gd name="connsiteX1" fmla="*/ 29086 w 32038"/>
                <a:gd name="connsiteY1" fmla="*/ 0 h 36361"/>
                <a:gd name="connsiteX2" fmla="*/ 32038 w 32038"/>
                <a:gd name="connsiteY2" fmla="*/ 7028 h 36361"/>
                <a:gd name="connsiteX3" fmla="*/ 23495 w 32038"/>
                <a:gd name="connsiteY3" fmla="*/ 27704 h 36361"/>
                <a:gd name="connsiteX4" fmla="*/ 2990 w 32038"/>
                <a:gd name="connsiteY4" fmla="*/ 36361 h 36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038" h="36361">
                  <a:moveTo>
                    <a:pt x="0" y="35166"/>
                  </a:moveTo>
                  <a:lnTo>
                    <a:pt x="29086" y="0"/>
                  </a:lnTo>
                  <a:lnTo>
                    <a:pt x="32038" y="7028"/>
                  </a:lnTo>
                  <a:cubicBezTo>
                    <a:pt x="32039" y="14489"/>
                    <a:pt x="29191" y="22008"/>
                    <a:pt x="23495" y="27704"/>
                  </a:cubicBezTo>
                  <a:cubicBezTo>
                    <a:pt x="18027" y="33172"/>
                    <a:pt x="10736" y="36361"/>
                    <a:pt x="2990" y="363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1" name="Forme libre : forme 390">
              <a:extLst>
                <a:ext uri="{FF2B5EF4-FFF2-40B4-BE49-F238E27FC236}">
                  <a16:creationId xmlns:a16="http://schemas.microsoft.com/office/drawing/2014/main" id="{4277FFB2-58A8-4A02-AADF-E018D5998562}"/>
                </a:ext>
              </a:extLst>
            </p:cNvPr>
            <p:cNvSpPr/>
            <p:nvPr/>
          </p:nvSpPr>
          <p:spPr>
            <a:xfrm rot="8716295">
              <a:off x="5079758" y="33459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2" name="Forme libre : forme 391">
              <a:extLst>
                <a:ext uri="{FF2B5EF4-FFF2-40B4-BE49-F238E27FC236}">
                  <a16:creationId xmlns:a16="http://schemas.microsoft.com/office/drawing/2014/main" id="{EA35B526-89AB-4A06-AA35-B12BC8F0AB1F}"/>
                </a:ext>
              </a:extLst>
            </p:cNvPr>
            <p:cNvSpPr/>
            <p:nvPr/>
          </p:nvSpPr>
          <p:spPr>
            <a:xfrm rot="8716295">
              <a:off x="5215056" y="37885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3" name="Forme libre : forme 392">
              <a:extLst>
                <a:ext uri="{FF2B5EF4-FFF2-40B4-BE49-F238E27FC236}">
                  <a16:creationId xmlns:a16="http://schemas.microsoft.com/office/drawing/2014/main" id="{0E946C4C-ED44-46D8-8F43-896DC93007DB}"/>
                </a:ext>
              </a:extLst>
            </p:cNvPr>
            <p:cNvSpPr/>
            <p:nvPr/>
          </p:nvSpPr>
          <p:spPr>
            <a:xfrm rot="8716295">
              <a:off x="5147174" y="248268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4" name="Forme libre : forme 393">
              <a:extLst>
                <a:ext uri="{FF2B5EF4-FFF2-40B4-BE49-F238E27FC236}">
                  <a16:creationId xmlns:a16="http://schemas.microsoft.com/office/drawing/2014/main" id="{8B9BAAAD-4871-45E0-9808-B6AF30F7C6CF}"/>
                </a:ext>
              </a:extLst>
            </p:cNvPr>
            <p:cNvSpPr/>
            <p:nvPr/>
          </p:nvSpPr>
          <p:spPr>
            <a:xfrm rot="8716295">
              <a:off x="4909887" y="4686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5" name="Forme libre : forme 394">
              <a:extLst>
                <a:ext uri="{FF2B5EF4-FFF2-40B4-BE49-F238E27FC236}">
                  <a16:creationId xmlns:a16="http://schemas.microsoft.com/office/drawing/2014/main" id="{7D346B9D-669B-40E6-8A36-5A7046F06D7F}"/>
                </a:ext>
              </a:extLst>
            </p:cNvPr>
            <p:cNvSpPr/>
            <p:nvPr/>
          </p:nvSpPr>
          <p:spPr>
            <a:xfrm rot="8716295">
              <a:off x="4720840" y="15277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6" name="Forme libre : forme 395">
              <a:extLst>
                <a:ext uri="{FF2B5EF4-FFF2-40B4-BE49-F238E27FC236}">
                  <a16:creationId xmlns:a16="http://schemas.microsoft.com/office/drawing/2014/main" id="{66103F96-93DC-4231-9A89-20615F9DAE20}"/>
                </a:ext>
              </a:extLst>
            </p:cNvPr>
            <p:cNvSpPr/>
            <p:nvPr/>
          </p:nvSpPr>
          <p:spPr>
            <a:xfrm rot="8716295">
              <a:off x="4702019" y="-47743"/>
              <a:ext cx="439901" cy="516041"/>
            </a:xfrm>
            <a:custGeom>
              <a:avLst/>
              <a:gdLst>
                <a:gd name="connsiteX0" fmla="*/ 155476 w 290643"/>
                <a:gd name="connsiteY0" fmla="*/ 340949 h 340949"/>
                <a:gd name="connsiteX1" fmla="*/ 1169 w 290643"/>
                <a:gd name="connsiteY1" fmla="*/ 233989 h 340949"/>
                <a:gd name="connsiteX2" fmla="*/ 0 w 290643"/>
                <a:gd name="connsiteY2" fmla="*/ 220042 h 340949"/>
                <a:gd name="connsiteX3" fmla="*/ 0 w 290643"/>
                <a:gd name="connsiteY3" fmla="*/ 40596 h 340949"/>
                <a:gd name="connsiteX4" fmla="*/ 78250 w 290643"/>
                <a:gd name="connsiteY4" fmla="*/ 0 h 340949"/>
                <a:gd name="connsiteX5" fmla="*/ 79427 w 290643"/>
                <a:gd name="connsiteY5" fmla="*/ 164149 h 340949"/>
                <a:gd name="connsiteX6" fmla="*/ 93547 w 290643"/>
                <a:gd name="connsiteY6" fmla="*/ 261815 h 340949"/>
                <a:gd name="connsiteX7" fmla="*/ 164149 w 290643"/>
                <a:gd name="connsiteY7" fmla="*/ 300646 h 340949"/>
                <a:gd name="connsiteX8" fmla="*/ 217100 w 290643"/>
                <a:gd name="connsiteY8" fmla="*/ 291232 h 340949"/>
                <a:gd name="connsiteX9" fmla="*/ 289467 w 290643"/>
                <a:gd name="connsiteY9" fmla="*/ 261815 h 340949"/>
                <a:gd name="connsiteX10" fmla="*/ 290643 w 290643"/>
                <a:gd name="connsiteY10" fmla="*/ 269463 h 340949"/>
                <a:gd name="connsiteX11" fmla="*/ 290643 w 290643"/>
                <a:gd name="connsiteY11" fmla="*/ 275347 h 340949"/>
                <a:gd name="connsiteX12" fmla="*/ 189080 w 290643"/>
                <a:gd name="connsiteY12" fmla="*/ 331975 h 340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0643" h="340949">
                  <a:moveTo>
                    <a:pt x="155476" y="340949"/>
                  </a:moveTo>
                  <a:lnTo>
                    <a:pt x="1169" y="233989"/>
                  </a:lnTo>
                  <a:lnTo>
                    <a:pt x="0" y="220042"/>
                  </a:ln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9" y="300646"/>
                  </a:cubicBezTo>
                  <a:cubicBezTo>
                    <a:pt x="182388" y="300057"/>
                    <a:pt x="200038" y="296527"/>
                    <a:pt x="217100" y="291232"/>
                  </a:cubicBezTo>
                  <a:cubicBezTo>
                    <a:pt x="241810" y="283584"/>
                    <a:pt x="265933" y="273582"/>
                    <a:pt x="289467" y="261815"/>
                  </a:cubicBezTo>
                  <a:cubicBezTo>
                    <a:pt x="290055" y="264168"/>
                    <a:pt x="290643" y="267110"/>
                    <a:pt x="290643" y="269463"/>
                  </a:cubicBezTo>
                  <a:lnTo>
                    <a:pt x="290643" y="275347"/>
                  </a:lnTo>
                  <a:cubicBezTo>
                    <a:pt x="259461" y="302117"/>
                    <a:pt x="223425" y="320208"/>
                    <a:pt x="189080" y="3319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7" name="Forme libre : forme 396">
              <a:extLst>
                <a:ext uri="{FF2B5EF4-FFF2-40B4-BE49-F238E27FC236}">
                  <a16:creationId xmlns:a16="http://schemas.microsoft.com/office/drawing/2014/main" id="{E7200A70-679E-46A4-89BB-E2CFE2F1D7AE}"/>
                </a:ext>
              </a:extLst>
            </p:cNvPr>
            <p:cNvSpPr/>
            <p:nvPr/>
          </p:nvSpPr>
          <p:spPr>
            <a:xfrm rot="8716295">
              <a:off x="5046375" y="53059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8" name="Forme libre : forme 397">
              <a:extLst>
                <a:ext uri="{FF2B5EF4-FFF2-40B4-BE49-F238E27FC236}">
                  <a16:creationId xmlns:a16="http://schemas.microsoft.com/office/drawing/2014/main" id="{5D528D3B-7826-4D4D-96B5-43ADE18F1EA6}"/>
                </a:ext>
              </a:extLst>
            </p:cNvPr>
            <p:cNvSpPr/>
            <p:nvPr/>
          </p:nvSpPr>
          <p:spPr>
            <a:xfrm rot="8716295">
              <a:off x="5517321" y="-4401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9" name="Forme libre : forme 398">
              <a:extLst>
                <a:ext uri="{FF2B5EF4-FFF2-40B4-BE49-F238E27FC236}">
                  <a16:creationId xmlns:a16="http://schemas.microsoft.com/office/drawing/2014/main" id="{2614F3E9-F724-4FC2-90FF-F1B58DCC0522}"/>
                </a:ext>
              </a:extLst>
            </p:cNvPr>
            <p:cNvSpPr/>
            <p:nvPr/>
          </p:nvSpPr>
          <p:spPr>
            <a:xfrm rot="8716295">
              <a:off x="5660365" y="29418"/>
              <a:ext cx="361480" cy="358038"/>
            </a:xfrm>
            <a:custGeom>
              <a:avLst/>
              <a:gdLst>
                <a:gd name="connsiteX0" fmla="*/ 56401 w 238830"/>
                <a:gd name="connsiteY0" fmla="*/ 236556 h 236556"/>
                <a:gd name="connsiteX1" fmla="*/ 29681 w 238830"/>
                <a:gd name="connsiteY1" fmla="*/ 218034 h 236556"/>
                <a:gd name="connsiteX2" fmla="*/ 29681 w 238830"/>
                <a:gd name="connsiteY2" fmla="*/ 45624 h 236556"/>
                <a:gd name="connsiteX3" fmla="*/ 0 w 238830"/>
                <a:gd name="connsiteY3" fmla="*/ 45624 h 236556"/>
                <a:gd name="connsiteX4" fmla="*/ 36558 w 238830"/>
                <a:gd name="connsiteY4" fmla="*/ 1425 h 236556"/>
                <a:gd name="connsiteX5" fmla="*/ 82994 w 238830"/>
                <a:gd name="connsiteY5" fmla="*/ 1425 h 236556"/>
                <a:gd name="connsiteX6" fmla="*/ 82994 w 238830"/>
                <a:gd name="connsiteY6" fmla="*/ 75242 h 236556"/>
                <a:gd name="connsiteX7" fmla="*/ 84360 w 238830"/>
                <a:gd name="connsiteY7" fmla="*/ 75242 h 236556"/>
                <a:gd name="connsiteX8" fmla="*/ 132205 w 238830"/>
                <a:gd name="connsiteY8" fmla="*/ 5981 h 236556"/>
                <a:gd name="connsiteX9" fmla="*/ 163646 w 238830"/>
                <a:gd name="connsiteY9" fmla="*/ 57 h 236556"/>
                <a:gd name="connsiteX10" fmla="*/ 238830 w 238830"/>
                <a:gd name="connsiteY10" fmla="*/ 88456 h 236556"/>
                <a:gd name="connsiteX11" fmla="*/ 238830 w 238830"/>
                <a:gd name="connsiteY11" fmla="*/ 94380 h 236556"/>
                <a:gd name="connsiteX12" fmla="*/ 176860 w 238830"/>
                <a:gd name="connsiteY12" fmla="*/ 98025 h 236556"/>
                <a:gd name="connsiteX13" fmla="*/ 176860 w 238830"/>
                <a:gd name="connsiteY13" fmla="*/ 81621 h 236556"/>
                <a:gd name="connsiteX14" fmla="*/ 143141 w 238830"/>
                <a:gd name="connsiteY14" fmla="*/ 40156 h 236556"/>
                <a:gd name="connsiteX15" fmla="*/ 89829 w 238830"/>
                <a:gd name="connsiteY15" fmla="*/ 127643 h 236556"/>
                <a:gd name="connsiteX16" fmla="*/ 89829 w 238830"/>
                <a:gd name="connsiteY16" fmla="*/ 213764 h 236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8830" h="236556">
                  <a:moveTo>
                    <a:pt x="56401" y="236556"/>
                  </a:moveTo>
                  <a:lnTo>
                    <a:pt x="29681" y="218034"/>
                  </a:lnTo>
                  <a:lnTo>
                    <a:pt x="29681" y="45624"/>
                  </a:lnTo>
                  <a:lnTo>
                    <a:pt x="0" y="45624"/>
                  </a:lnTo>
                  <a:lnTo>
                    <a:pt x="36558" y="1425"/>
                  </a:lnTo>
                  <a:lnTo>
                    <a:pt x="82994" y="1425"/>
                  </a:lnTo>
                  <a:lnTo>
                    <a:pt x="82994" y="75242"/>
                  </a:lnTo>
                  <a:lnTo>
                    <a:pt x="84360" y="75242"/>
                  </a:lnTo>
                  <a:cubicBezTo>
                    <a:pt x="98942" y="31954"/>
                    <a:pt x="110333" y="15095"/>
                    <a:pt x="132205" y="5981"/>
                  </a:cubicBezTo>
                  <a:cubicBezTo>
                    <a:pt x="142230" y="1880"/>
                    <a:pt x="152710" y="-398"/>
                    <a:pt x="163646" y="57"/>
                  </a:cubicBezTo>
                  <a:cubicBezTo>
                    <a:pt x="210579" y="-854"/>
                    <a:pt x="238830" y="31954"/>
                    <a:pt x="238830" y="88456"/>
                  </a:cubicBezTo>
                  <a:lnTo>
                    <a:pt x="238830" y="94380"/>
                  </a:lnTo>
                  <a:lnTo>
                    <a:pt x="176860" y="98025"/>
                  </a:lnTo>
                  <a:lnTo>
                    <a:pt x="176860" y="81621"/>
                  </a:lnTo>
                  <a:cubicBezTo>
                    <a:pt x="176860" y="57016"/>
                    <a:pt x="162735" y="40156"/>
                    <a:pt x="143141" y="40156"/>
                  </a:cubicBezTo>
                  <a:cubicBezTo>
                    <a:pt x="113979" y="40156"/>
                    <a:pt x="89829" y="78887"/>
                    <a:pt x="89829" y="127643"/>
                  </a:cubicBezTo>
                  <a:lnTo>
                    <a:pt x="89829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0" name="Forme libre : forme 399">
              <a:extLst>
                <a:ext uri="{FF2B5EF4-FFF2-40B4-BE49-F238E27FC236}">
                  <a16:creationId xmlns:a16="http://schemas.microsoft.com/office/drawing/2014/main" id="{30961414-E4AD-4BB3-9FB3-626F7F1FE23D}"/>
                </a:ext>
              </a:extLst>
            </p:cNvPr>
            <p:cNvSpPr/>
            <p:nvPr/>
          </p:nvSpPr>
          <p:spPr>
            <a:xfrm rot="8716295">
              <a:off x="5347450" y="8999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1" name="Forme libre : forme 400">
              <a:extLst>
                <a:ext uri="{FF2B5EF4-FFF2-40B4-BE49-F238E27FC236}">
                  <a16:creationId xmlns:a16="http://schemas.microsoft.com/office/drawing/2014/main" id="{30769E12-B50E-4874-9A5A-F158D8D6A603}"/>
                </a:ext>
              </a:extLst>
            </p:cNvPr>
            <p:cNvSpPr/>
            <p:nvPr/>
          </p:nvSpPr>
          <p:spPr>
            <a:xfrm rot="8716295">
              <a:off x="5220022" y="-7080"/>
              <a:ext cx="219414" cy="84041"/>
            </a:xfrm>
            <a:custGeom>
              <a:avLst/>
              <a:gdLst>
                <a:gd name="connsiteX0" fmla="*/ 80105 w 144967"/>
                <a:gd name="connsiteY0" fmla="*/ 55526 h 55526"/>
                <a:gd name="connsiteX1" fmla="*/ 0 w 144967"/>
                <a:gd name="connsiteY1" fmla="*/ 0 h 55526"/>
                <a:gd name="connsiteX2" fmla="*/ 144967 w 144967"/>
                <a:gd name="connsiteY2" fmla="*/ 0 h 55526"/>
                <a:gd name="connsiteX3" fmla="*/ 144967 w 144967"/>
                <a:gd name="connsiteY3" fmla="*/ 55323 h 55526"/>
                <a:gd name="connsiteX4" fmla="*/ 80175 w 144967"/>
                <a:gd name="connsiteY4" fmla="*/ 55323 h 55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967" h="55526">
                  <a:moveTo>
                    <a:pt x="80105" y="55526"/>
                  </a:moveTo>
                  <a:lnTo>
                    <a:pt x="0" y="0"/>
                  </a:lnTo>
                  <a:lnTo>
                    <a:pt x="144967" y="0"/>
                  </a:lnTo>
                  <a:lnTo>
                    <a:pt x="144967" y="55323"/>
                  </a:lnTo>
                  <a:lnTo>
                    <a:pt x="8017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2" name="Forme libre : forme 401">
              <a:extLst>
                <a:ext uri="{FF2B5EF4-FFF2-40B4-BE49-F238E27FC236}">
                  <a16:creationId xmlns:a16="http://schemas.microsoft.com/office/drawing/2014/main" id="{DED468EA-B834-46DE-9EEF-86FA34FB4D87}"/>
                </a:ext>
              </a:extLst>
            </p:cNvPr>
            <p:cNvSpPr/>
            <p:nvPr/>
          </p:nvSpPr>
          <p:spPr>
            <a:xfrm rot="8716295">
              <a:off x="5483939" y="15198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3" name="Forme libre : forme 402">
              <a:extLst>
                <a:ext uri="{FF2B5EF4-FFF2-40B4-BE49-F238E27FC236}">
                  <a16:creationId xmlns:a16="http://schemas.microsoft.com/office/drawing/2014/main" id="{3C1561C2-2060-4974-8514-2DC34975F6D4}"/>
                </a:ext>
              </a:extLst>
            </p:cNvPr>
            <p:cNvSpPr/>
            <p:nvPr/>
          </p:nvSpPr>
          <p:spPr>
            <a:xfrm rot="8716295">
              <a:off x="5128323" y="-20358"/>
              <a:ext cx="80664" cy="63766"/>
            </a:xfrm>
            <a:custGeom>
              <a:avLst/>
              <a:gdLst>
                <a:gd name="connsiteX0" fmla="*/ 51759 w 53295"/>
                <a:gd name="connsiteY0" fmla="*/ 42130 h 42130"/>
                <a:gd name="connsiteX1" fmla="*/ 0 w 53295"/>
                <a:gd name="connsiteY1" fmla="*/ 6252 h 42130"/>
                <a:gd name="connsiteX2" fmla="*/ 14807 w 53295"/>
                <a:gd name="connsiteY2" fmla="*/ 0 h 42130"/>
                <a:gd name="connsiteX3" fmla="*/ 41975 w 53295"/>
                <a:gd name="connsiteY3" fmla="*/ 11471 h 42130"/>
                <a:gd name="connsiteX4" fmla="*/ 53295 w 53295"/>
                <a:gd name="connsiteY4" fmla="*/ 38412 h 42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295" h="42130">
                  <a:moveTo>
                    <a:pt x="51759" y="42130"/>
                  </a:moveTo>
                  <a:lnTo>
                    <a:pt x="0" y="6252"/>
                  </a:lnTo>
                  <a:lnTo>
                    <a:pt x="14807" y="0"/>
                  </a:lnTo>
                  <a:cubicBezTo>
                    <a:pt x="25071" y="0"/>
                    <a:pt x="34731" y="4226"/>
                    <a:pt x="41975" y="11471"/>
                  </a:cubicBezTo>
                  <a:cubicBezTo>
                    <a:pt x="49522" y="18716"/>
                    <a:pt x="53295" y="28526"/>
                    <a:pt x="53295" y="3841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4" name="Forme libre : forme 403">
              <a:extLst>
                <a:ext uri="{FF2B5EF4-FFF2-40B4-BE49-F238E27FC236}">
                  <a16:creationId xmlns:a16="http://schemas.microsoft.com/office/drawing/2014/main" id="{BE3C9C9C-FBEC-4353-AF9E-1F8508D75B04}"/>
                </a:ext>
              </a:extLst>
            </p:cNvPr>
            <p:cNvSpPr/>
            <p:nvPr/>
          </p:nvSpPr>
          <p:spPr>
            <a:xfrm rot="7484129">
              <a:off x="5642756" y="4415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5" name="Forme libre : forme 404">
              <a:extLst>
                <a:ext uri="{FF2B5EF4-FFF2-40B4-BE49-F238E27FC236}">
                  <a16:creationId xmlns:a16="http://schemas.microsoft.com/office/drawing/2014/main" id="{8A4BC53C-40CB-4B8B-A2E3-E4599AA1DEB7}"/>
                </a:ext>
              </a:extLst>
            </p:cNvPr>
            <p:cNvSpPr/>
            <p:nvPr/>
          </p:nvSpPr>
          <p:spPr>
            <a:xfrm rot="13089394">
              <a:off x="5789679" y="415199"/>
              <a:ext cx="360116" cy="446294"/>
            </a:xfrm>
            <a:custGeom>
              <a:avLst/>
              <a:gdLst>
                <a:gd name="connsiteX0" fmla="*/ 39306 w 237929"/>
                <a:gd name="connsiteY0" fmla="*/ 79955 h 294867"/>
                <a:gd name="connsiteX1" fmla="*/ 0 w 237929"/>
                <a:gd name="connsiteY1" fmla="*/ 20095 h 294867"/>
                <a:gd name="connsiteX2" fmla="*/ 38733 w 237929"/>
                <a:gd name="connsiteY2" fmla="*/ 0 h 294867"/>
                <a:gd name="connsiteX3" fmla="*/ 237929 w 237929"/>
                <a:gd name="connsiteY3" fmla="*/ 258238 h 294867"/>
                <a:gd name="connsiteX4" fmla="*/ 191415 w 237929"/>
                <a:gd name="connsiteY4" fmla="*/ 290069 h 294867"/>
                <a:gd name="connsiteX5" fmla="*/ 180425 w 237929"/>
                <a:gd name="connsiteY5" fmla="*/ 294867 h 294867"/>
                <a:gd name="connsiteX6" fmla="*/ 166448 w 237929"/>
                <a:gd name="connsiteY6" fmla="*/ 273582 h 294867"/>
                <a:gd name="connsiteX7" fmla="*/ 168955 w 237929"/>
                <a:gd name="connsiteY7" fmla="*/ 273136 h 294867"/>
                <a:gd name="connsiteX8" fmla="*/ 236826 w 237929"/>
                <a:gd name="connsiteY8" fmla="*/ 245547 h 294867"/>
                <a:gd name="connsiteX9" fmla="*/ 237929 w 237929"/>
                <a:gd name="connsiteY9" fmla="*/ 252720 h 294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7929" h="294867">
                  <a:moveTo>
                    <a:pt x="39306" y="79955"/>
                  </a:moveTo>
                  <a:lnTo>
                    <a:pt x="0" y="20095"/>
                  </a:lnTo>
                  <a:lnTo>
                    <a:pt x="38733" y="0"/>
                  </a:lnTo>
                  <a:close/>
                  <a:moveTo>
                    <a:pt x="237929" y="258238"/>
                  </a:moveTo>
                  <a:cubicBezTo>
                    <a:pt x="223307" y="270791"/>
                    <a:pt x="207546" y="281309"/>
                    <a:pt x="191415" y="290069"/>
                  </a:cubicBezTo>
                  <a:lnTo>
                    <a:pt x="180425" y="294867"/>
                  </a:lnTo>
                  <a:lnTo>
                    <a:pt x="166448" y="273582"/>
                  </a:lnTo>
                  <a:lnTo>
                    <a:pt x="168955" y="273136"/>
                  </a:lnTo>
                  <a:cubicBezTo>
                    <a:pt x="192130" y="265963"/>
                    <a:pt x="214754" y="256582"/>
                    <a:pt x="236826" y="245547"/>
                  </a:cubicBezTo>
                  <a:cubicBezTo>
                    <a:pt x="237377" y="247754"/>
                    <a:pt x="237929" y="250513"/>
                    <a:pt x="237929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6" name="Forme libre : forme 405">
              <a:extLst>
                <a:ext uri="{FF2B5EF4-FFF2-40B4-BE49-F238E27FC236}">
                  <a16:creationId xmlns:a16="http://schemas.microsoft.com/office/drawing/2014/main" id="{800D034F-ECF4-4F0F-8FF6-C97DAD2143D3}"/>
                </a:ext>
              </a:extLst>
            </p:cNvPr>
            <p:cNvSpPr/>
            <p:nvPr/>
          </p:nvSpPr>
          <p:spPr>
            <a:xfrm rot="8716295">
              <a:off x="5996886" y="-12676"/>
              <a:ext cx="90399" cy="122140"/>
            </a:xfrm>
            <a:custGeom>
              <a:avLst/>
              <a:gdLst>
                <a:gd name="connsiteX0" fmla="*/ 0 w 59727"/>
                <a:gd name="connsiteY0" fmla="*/ 52945 h 80698"/>
                <a:gd name="connsiteX1" fmla="*/ 43791 w 59727"/>
                <a:gd name="connsiteY1" fmla="*/ 0 h 80698"/>
                <a:gd name="connsiteX2" fmla="*/ 59727 w 59727"/>
                <a:gd name="connsiteY2" fmla="*/ 37928 h 80698"/>
                <a:gd name="connsiteX3" fmla="*/ 42480 w 59727"/>
                <a:gd name="connsiteY3" fmla="*/ 79666 h 80698"/>
                <a:gd name="connsiteX4" fmla="*/ 40038 w 59727"/>
                <a:gd name="connsiteY4" fmla="*/ 80698 h 80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727" h="80698">
                  <a:moveTo>
                    <a:pt x="0" y="52945"/>
                  </a:moveTo>
                  <a:lnTo>
                    <a:pt x="43791" y="0"/>
                  </a:lnTo>
                  <a:lnTo>
                    <a:pt x="59727" y="37928"/>
                  </a:lnTo>
                  <a:cubicBezTo>
                    <a:pt x="59727" y="52991"/>
                    <a:pt x="53978" y="68168"/>
                    <a:pt x="42480" y="79666"/>
                  </a:cubicBezTo>
                  <a:lnTo>
                    <a:pt x="40038" y="806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7" name="Forme libre : forme 406">
              <a:extLst>
                <a:ext uri="{FF2B5EF4-FFF2-40B4-BE49-F238E27FC236}">
                  <a16:creationId xmlns:a16="http://schemas.microsoft.com/office/drawing/2014/main" id="{3B32A0F8-96EA-444F-A5F3-4315A6F0F2B6}"/>
                </a:ext>
              </a:extLst>
            </p:cNvPr>
            <p:cNvSpPr/>
            <p:nvPr/>
          </p:nvSpPr>
          <p:spPr>
            <a:xfrm rot="8716295">
              <a:off x="5631023" y="-8174"/>
              <a:ext cx="87445" cy="82387"/>
            </a:xfrm>
            <a:custGeom>
              <a:avLst/>
              <a:gdLst>
                <a:gd name="connsiteX0" fmla="*/ 37946 w 57775"/>
                <a:gd name="connsiteY0" fmla="*/ 54433 h 54433"/>
                <a:gd name="connsiteX1" fmla="*/ 0 w 57775"/>
                <a:gd name="connsiteY1" fmla="*/ 28130 h 54433"/>
                <a:gd name="connsiteX2" fmla="*/ 8222 w 57775"/>
                <a:gd name="connsiteY2" fmla="*/ 8658 h 54433"/>
                <a:gd name="connsiteX3" fmla="*/ 28726 w 57775"/>
                <a:gd name="connsiteY3" fmla="*/ 0 h 54433"/>
                <a:gd name="connsiteX4" fmla="*/ 49232 w 57775"/>
                <a:gd name="connsiteY4" fmla="*/ 8658 h 54433"/>
                <a:gd name="connsiteX5" fmla="*/ 49232 w 57775"/>
                <a:gd name="connsiteY5" fmla="*/ 49668 h 54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775" h="54433">
                  <a:moveTo>
                    <a:pt x="37946" y="54433"/>
                  </a:moveTo>
                  <a:lnTo>
                    <a:pt x="0" y="28130"/>
                  </a:lnTo>
                  <a:lnTo>
                    <a:pt x="8222" y="8658"/>
                  </a:lnTo>
                  <a:cubicBezTo>
                    <a:pt x="13690" y="3190"/>
                    <a:pt x="20981" y="0"/>
                    <a:pt x="28726" y="0"/>
                  </a:cubicBezTo>
                  <a:cubicBezTo>
                    <a:pt x="36473" y="0"/>
                    <a:pt x="43764" y="3190"/>
                    <a:pt x="49232" y="8658"/>
                  </a:cubicBezTo>
                  <a:cubicBezTo>
                    <a:pt x="60624" y="19594"/>
                    <a:pt x="60623" y="38276"/>
                    <a:pt x="49232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pic>
        <p:nvPicPr>
          <p:cNvPr id="409" name="Graphique 408">
            <a:extLst>
              <a:ext uri="{FF2B5EF4-FFF2-40B4-BE49-F238E27FC236}">
                <a16:creationId xmlns:a16="http://schemas.microsoft.com/office/drawing/2014/main" id="{F10A60C0-CBC0-4A34-A118-4449B251E1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97194" y="513241"/>
            <a:ext cx="2255854" cy="673200"/>
          </a:xfrm>
          <a:prstGeom prst="rect">
            <a:avLst/>
          </a:prstGeom>
        </p:spPr>
      </p:pic>
      <p:sp>
        <p:nvSpPr>
          <p:cNvPr id="411" name="Espace réservé du texte 410">
            <a:extLst>
              <a:ext uri="{FF2B5EF4-FFF2-40B4-BE49-F238E27FC236}">
                <a16:creationId xmlns:a16="http://schemas.microsoft.com/office/drawing/2014/main" id="{E014E6DC-AD19-40E5-A2B7-DF68385EE1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3141" y="1755675"/>
            <a:ext cx="7379432" cy="299187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lang="fr-FR" sz="4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r">
              <a:buNone/>
              <a:defRPr sz="5400" b="1" cap="all" baseline="0">
                <a:solidFill>
                  <a:srgbClr val="009FE3"/>
                </a:solidFill>
              </a:defRPr>
            </a:lvl2pPr>
          </a:lstStyle>
          <a:p>
            <a:pPr lvl="0"/>
            <a:r>
              <a:rPr lang="fr-FR" dirty="0"/>
              <a:t>Titre de la </a:t>
            </a:r>
            <a:br>
              <a:rPr lang="fr-FR" dirty="0"/>
            </a:br>
            <a:r>
              <a:rPr lang="fr-FR" dirty="0"/>
              <a:t>présentation</a:t>
            </a:r>
          </a:p>
          <a:p>
            <a:pPr lvl="1"/>
            <a:r>
              <a:rPr lang="fr-FR" dirty="0"/>
              <a:t>exergue</a:t>
            </a:r>
          </a:p>
        </p:txBody>
      </p:sp>
    </p:spTree>
    <p:extLst>
      <p:ext uri="{BB962C8B-B14F-4D97-AF65-F5344CB8AC3E}">
        <p14:creationId xmlns:p14="http://schemas.microsoft.com/office/powerpoint/2010/main" val="10986176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ur une lign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Forme libre : forme 137">
            <a:extLst>
              <a:ext uri="{FF2B5EF4-FFF2-40B4-BE49-F238E27FC236}">
                <a16:creationId xmlns:a16="http://schemas.microsoft.com/office/drawing/2014/main" id="{0FDE4FE4-FDFC-41B3-BDA4-CE918EEAE71E}"/>
              </a:ext>
            </a:extLst>
          </p:cNvPr>
          <p:cNvSpPr/>
          <p:nvPr userDrawn="1"/>
        </p:nvSpPr>
        <p:spPr>
          <a:xfrm>
            <a:off x="629550" y="0"/>
            <a:ext cx="8514451" cy="5143499"/>
          </a:xfrm>
          <a:custGeom>
            <a:avLst/>
            <a:gdLst>
              <a:gd name="connsiteX0" fmla="*/ 689595 w 8514451"/>
              <a:gd name="connsiteY0" fmla="*/ 884098 h 5143499"/>
              <a:gd name="connsiteX1" fmla="*/ 689595 w 8514451"/>
              <a:gd name="connsiteY1" fmla="*/ 929817 h 5143499"/>
              <a:gd name="connsiteX2" fmla="*/ 1049595 w 8514451"/>
              <a:gd name="connsiteY2" fmla="*/ 929817 h 5143499"/>
              <a:gd name="connsiteX3" fmla="*/ 1049595 w 8514451"/>
              <a:gd name="connsiteY3" fmla="*/ 884098 h 5143499"/>
              <a:gd name="connsiteX4" fmla="*/ 268034 w 8514451"/>
              <a:gd name="connsiteY4" fmla="*/ 0 h 5143499"/>
              <a:gd name="connsiteX5" fmla="*/ 8514451 w 8514451"/>
              <a:gd name="connsiteY5" fmla="*/ 0 h 5143499"/>
              <a:gd name="connsiteX6" fmla="*/ 8514451 w 8514451"/>
              <a:gd name="connsiteY6" fmla="*/ 5143499 h 5143499"/>
              <a:gd name="connsiteX7" fmla="*/ 274758 w 8514451"/>
              <a:gd name="connsiteY7" fmla="*/ 5143499 h 5143499"/>
              <a:gd name="connsiteX8" fmla="*/ 0 w 8514451"/>
              <a:gd name="connsiteY8" fmla="*/ 3148262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514451" h="5143499">
                <a:moveTo>
                  <a:pt x="689595" y="884098"/>
                </a:moveTo>
                <a:lnTo>
                  <a:pt x="689595" y="929817"/>
                </a:lnTo>
                <a:lnTo>
                  <a:pt x="1049595" y="929817"/>
                </a:lnTo>
                <a:lnTo>
                  <a:pt x="1049595" y="884098"/>
                </a:lnTo>
                <a:close/>
                <a:moveTo>
                  <a:pt x="268034" y="0"/>
                </a:moveTo>
                <a:lnTo>
                  <a:pt x="8514451" y="0"/>
                </a:lnTo>
                <a:lnTo>
                  <a:pt x="8514451" y="5143499"/>
                </a:lnTo>
                <a:lnTo>
                  <a:pt x="274758" y="5143499"/>
                </a:lnTo>
                <a:lnTo>
                  <a:pt x="0" y="31482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48DF42C1-5220-478C-ABAC-92E468D673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Titre de la slide sur une ligne</a:t>
            </a:r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EE6FDC8C-3CED-409B-A90D-CC766521C58C}"/>
              </a:ext>
            </a:extLst>
          </p:cNvPr>
          <p:cNvGrpSpPr/>
          <p:nvPr userDrawn="1"/>
        </p:nvGrpSpPr>
        <p:grpSpPr>
          <a:xfrm>
            <a:off x="-91485" y="-57106"/>
            <a:ext cx="1008300" cy="5190499"/>
            <a:chOff x="-91485" y="-57106"/>
            <a:chExt cx="1008300" cy="5190499"/>
          </a:xfrm>
        </p:grpSpPr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4100D4C0-1B0B-4813-97B4-727B3F07A2B3}"/>
                </a:ext>
              </a:extLst>
            </p:cNvPr>
            <p:cNvSpPr/>
            <p:nvPr/>
          </p:nvSpPr>
          <p:spPr>
            <a:xfrm rot="8716295">
              <a:off x="617786" y="1780350"/>
              <a:ext cx="152726" cy="195873"/>
            </a:xfrm>
            <a:custGeom>
              <a:avLst/>
              <a:gdLst>
                <a:gd name="connsiteX0" fmla="*/ 39589 w 152726"/>
                <a:gd name="connsiteY0" fmla="*/ 195873 h 195873"/>
                <a:gd name="connsiteX1" fmla="*/ 0 w 152726"/>
                <a:gd name="connsiteY1" fmla="*/ 122219 h 195873"/>
                <a:gd name="connsiteX2" fmla="*/ 101089 w 152726"/>
                <a:gd name="connsiteY2" fmla="*/ 0 h 195873"/>
                <a:gd name="connsiteX3" fmla="*/ 152726 w 152726"/>
                <a:gd name="connsiteY3" fmla="*/ 0 h 195873"/>
                <a:gd name="connsiteX4" fmla="*/ 152726 w 152726"/>
                <a:gd name="connsiteY4" fmla="*/ 55323 h 195873"/>
                <a:gd name="connsiteX5" fmla="*/ 87934 w 152726"/>
                <a:gd name="connsiteY5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726" h="195873">
                  <a:moveTo>
                    <a:pt x="39589" y="195873"/>
                  </a:moveTo>
                  <a:lnTo>
                    <a:pt x="0" y="122219"/>
                  </a:lnTo>
                  <a:lnTo>
                    <a:pt x="101089" y="0"/>
                  </a:lnTo>
                  <a:lnTo>
                    <a:pt x="152726" y="0"/>
                  </a:lnTo>
                  <a:lnTo>
                    <a:pt x="152726" y="55323"/>
                  </a:lnTo>
                  <a:lnTo>
                    <a:pt x="87934" y="5532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CB9A2237-374C-411A-AB62-0191ED80FFE2}"/>
                </a:ext>
              </a:extLst>
            </p:cNvPr>
            <p:cNvSpPr/>
            <p:nvPr/>
          </p:nvSpPr>
          <p:spPr>
            <a:xfrm rot="8716295">
              <a:off x="534441" y="1654353"/>
              <a:ext cx="262864" cy="103234"/>
            </a:xfrm>
            <a:custGeom>
              <a:avLst/>
              <a:gdLst>
                <a:gd name="connsiteX0" fmla="*/ 0 w 262864"/>
                <a:gd name="connsiteY0" fmla="*/ 75341 h 103234"/>
                <a:gd name="connsiteX1" fmla="*/ 62316 w 262864"/>
                <a:gd name="connsiteY1" fmla="*/ 0 h 103234"/>
                <a:gd name="connsiteX2" fmla="*/ 65768 w 262864"/>
                <a:gd name="connsiteY2" fmla="*/ 14220 h 103234"/>
                <a:gd name="connsiteX3" fmla="*/ 136369 w 262864"/>
                <a:gd name="connsiteY3" fmla="*/ 53051 h 103234"/>
                <a:gd name="connsiteX4" fmla="*/ 189321 w 262864"/>
                <a:gd name="connsiteY4" fmla="*/ 43637 h 103234"/>
                <a:gd name="connsiteX5" fmla="*/ 261688 w 262864"/>
                <a:gd name="connsiteY5" fmla="*/ 14220 h 103234"/>
                <a:gd name="connsiteX6" fmla="*/ 262864 w 262864"/>
                <a:gd name="connsiteY6" fmla="*/ 21868 h 103234"/>
                <a:gd name="connsiteX7" fmla="*/ 262864 w 262864"/>
                <a:gd name="connsiteY7" fmla="*/ 27752 h 103234"/>
                <a:gd name="connsiteX8" fmla="*/ 69887 w 262864"/>
                <a:gd name="connsiteY8" fmla="*/ 103060 h 103234"/>
                <a:gd name="connsiteX9" fmla="*/ 30615 w 262864"/>
                <a:gd name="connsiteY9" fmla="*/ 96294 h 103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2864" h="103234">
                  <a:moveTo>
                    <a:pt x="0" y="75341"/>
                  </a:moveTo>
                  <a:lnTo>
                    <a:pt x="62316" y="0"/>
                  </a:lnTo>
                  <a:lnTo>
                    <a:pt x="65768" y="14220"/>
                  </a:lnTo>
                  <a:cubicBezTo>
                    <a:pt x="75182" y="40107"/>
                    <a:pt x="99304" y="53051"/>
                    <a:pt x="136369" y="53051"/>
                  </a:cubicBezTo>
                  <a:cubicBezTo>
                    <a:pt x="154609" y="52462"/>
                    <a:pt x="172259" y="48932"/>
                    <a:pt x="189321" y="43637"/>
                  </a:cubicBezTo>
                  <a:cubicBezTo>
                    <a:pt x="214031" y="35988"/>
                    <a:pt x="238154" y="25987"/>
                    <a:pt x="261688" y="14220"/>
                  </a:cubicBezTo>
                  <a:cubicBezTo>
                    <a:pt x="262276" y="16573"/>
                    <a:pt x="262864" y="19515"/>
                    <a:pt x="262864" y="21868"/>
                  </a:cubicBezTo>
                  <a:lnTo>
                    <a:pt x="262864" y="27752"/>
                  </a:lnTo>
                  <a:cubicBezTo>
                    <a:pt x="200500" y="81291"/>
                    <a:pt x="118719" y="100119"/>
                    <a:pt x="69887" y="103060"/>
                  </a:cubicBezTo>
                  <a:cubicBezTo>
                    <a:pt x="56355" y="103943"/>
                    <a:pt x="42970" y="101442"/>
                    <a:pt x="30615" y="96294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8F8A3734-3F77-44C7-9A38-570198540CBC}"/>
                </a:ext>
              </a:extLst>
            </p:cNvPr>
            <p:cNvSpPr/>
            <p:nvPr/>
          </p:nvSpPr>
          <p:spPr>
            <a:xfrm rot="8716295">
              <a:off x="632719" y="1232432"/>
              <a:ext cx="121558" cy="232388"/>
            </a:xfrm>
            <a:custGeom>
              <a:avLst/>
              <a:gdLst>
                <a:gd name="connsiteX0" fmla="*/ 60499 w 121558"/>
                <a:gd name="connsiteY0" fmla="*/ 232388 h 232388"/>
                <a:gd name="connsiteX1" fmla="*/ 60499 w 121558"/>
                <a:gd name="connsiteY1" fmla="*/ 69717 h 232388"/>
                <a:gd name="connsiteX2" fmla="*/ 60499 w 121558"/>
                <a:gd name="connsiteY2" fmla="*/ 65615 h 232388"/>
                <a:gd name="connsiteX3" fmla="*/ 39995 w 121558"/>
                <a:gd name="connsiteY3" fmla="*/ 50123 h 232388"/>
                <a:gd name="connsiteX4" fmla="*/ 0 w 121558"/>
                <a:gd name="connsiteY4" fmla="*/ 50123 h 232388"/>
                <a:gd name="connsiteX5" fmla="*/ 41457 w 121558"/>
                <a:gd name="connsiteY5" fmla="*/ 0 h 232388"/>
                <a:gd name="connsiteX6" fmla="*/ 64601 w 121558"/>
                <a:gd name="connsiteY6" fmla="*/ 0 h 232388"/>
                <a:gd name="connsiteX7" fmla="*/ 121558 w 121558"/>
                <a:gd name="connsiteY7" fmla="*/ 50123 h 232388"/>
                <a:gd name="connsiteX8" fmla="*/ 121558 w 121558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558" h="232388">
                  <a:moveTo>
                    <a:pt x="60499" y="232388"/>
                  </a:moveTo>
                  <a:lnTo>
                    <a:pt x="60499" y="69717"/>
                  </a:lnTo>
                  <a:cubicBezTo>
                    <a:pt x="60499" y="68349"/>
                    <a:pt x="60499" y="66983"/>
                    <a:pt x="60499" y="65615"/>
                  </a:cubicBezTo>
                  <a:cubicBezTo>
                    <a:pt x="59133" y="55591"/>
                    <a:pt x="50019" y="48756"/>
                    <a:pt x="39995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64601" y="0"/>
                  </a:lnTo>
                  <a:cubicBezTo>
                    <a:pt x="101509" y="0"/>
                    <a:pt x="121558" y="15948"/>
                    <a:pt x="121558" y="50123"/>
                  </a:cubicBezTo>
                  <a:lnTo>
                    <a:pt x="121558" y="208238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70856B7B-717B-4AEA-95A4-A1E79A999538}"/>
                </a:ext>
              </a:extLst>
            </p:cNvPr>
            <p:cNvSpPr/>
            <p:nvPr/>
          </p:nvSpPr>
          <p:spPr>
            <a:xfrm rot="8716295">
              <a:off x="763454" y="1474783"/>
              <a:ext cx="14143" cy="14319"/>
            </a:xfrm>
            <a:custGeom>
              <a:avLst/>
              <a:gdLst>
                <a:gd name="connsiteX0" fmla="*/ 0 w 14143"/>
                <a:gd name="connsiteY0" fmla="*/ 14319 h 14319"/>
                <a:gd name="connsiteX1" fmla="*/ 11843 w 14143"/>
                <a:gd name="connsiteY1" fmla="*/ 0 h 14319"/>
                <a:gd name="connsiteX2" fmla="*/ 14143 w 14143"/>
                <a:gd name="connsiteY2" fmla="*/ 7563 h 14319"/>
                <a:gd name="connsiteX3" fmla="*/ 14143 w 14143"/>
                <a:gd name="connsiteY3" fmla="*/ 13487 h 1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43" h="14319">
                  <a:moveTo>
                    <a:pt x="0" y="14319"/>
                  </a:moveTo>
                  <a:lnTo>
                    <a:pt x="11843" y="0"/>
                  </a:lnTo>
                  <a:lnTo>
                    <a:pt x="14143" y="7563"/>
                  </a:lnTo>
                  <a:lnTo>
                    <a:pt x="14143" y="13487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3E264A51-6081-4342-94AB-E5098D8BEE47}"/>
                </a:ext>
              </a:extLst>
            </p:cNvPr>
            <p:cNvSpPr/>
            <p:nvPr/>
          </p:nvSpPr>
          <p:spPr>
            <a:xfrm rot="8716295">
              <a:off x="672878" y="1171577"/>
              <a:ext cx="183964" cy="137618"/>
            </a:xfrm>
            <a:custGeom>
              <a:avLst/>
              <a:gdLst>
                <a:gd name="connsiteX0" fmla="*/ 0 w 183964"/>
                <a:gd name="connsiteY0" fmla="*/ 137618 h 137618"/>
                <a:gd name="connsiteX1" fmla="*/ 53346 w 183964"/>
                <a:gd name="connsiteY1" fmla="*/ 73121 h 137618"/>
                <a:gd name="connsiteX2" fmla="*/ 101034 w 183964"/>
                <a:gd name="connsiteY2" fmla="*/ 28251 h 137618"/>
                <a:gd name="connsiteX3" fmla="*/ 155713 w 183964"/>
                <a:gd name="connsiteY3" fmla="*/ 0 h 137618"/>
                <a:gd name="connsiteX4" fmla="*/ 183964 w 183964"/>
                <a:gd name="connsiteY4" fmla="*/ 33719 h 137618"/>
                <a:gd name="connsiteX5" fmla="*/ 157536 w 183964"/>
                <a:gd name="connsiteY5" fmla="*/ 69261 h 137618"/>
                <a:gd name="connsiteX6" fmla="*/ 157991 w 183964"/>
                <a:gd name="connsiteY6" fmla="*/ 69261 h 137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3964" h="137618">
                  <a:moveTo>
                    <a:pt x="0" y="137618"/>
                  </a:moveTo>
                  <a:lnTo>
                    <a:pt x="53346" y="73121"/>
                  </a:lnTo>
                  <a:lnTo>
                    <a:pt x="101034" y="28251"/>
                  </a:lnTo>
                  <a:cubicBezTo>
                    <a:pt x="114703" y="12303"/>
                    <a:pt x="134297" y="2278"/>
                    <a:pt x="155713" y="0"/>
                  </a:cubicBezTo>
                  <a:cubicBezTo>
                    <a:pt x="177585" y="0"/>
                    <a:pt x="183964" y="19138"/>
                    <a:pt x="183964" y="33719"/>
                  </a:cubicBezTo>
                  <a:cubicBezTo>
                    <a:pt x="182597" y="49667"/>
                    <a:pt x="172117" y="62881"/>
                    <a:pt x="157536" y="69261"/>
                  </a:cubicBezTo>
                  <a:lnTo>
                    <a:pt x="157991" y="69261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03D4C536-74A8-424A-B4F4-647CD66813A6}"/>
                </a:ext>
              </a:extLst>
            </p:cNvPr>
            <p:cNvSpPr/>
            <p:nvPr/>
          </p:nvSpPr>
          <p:spPr>
            <a:xfrm rot="8716295">
              <a:off x="519479" y="13148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6C726A65-5764-428F-B78B-B207E19CC8A7}"/>
                </a:ext>
              </a:extLst>
            </p:cNvPr>
            <p:cNvSpPr/>
            <p:nvPr/>
          </p:nvSpPr>
          <p:spPr>
            <a:xfrm rot="8716295">
              <a:off x="394576" y="11061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B057F75B-3923-494B-B65B-A96E682E21D4}"/>
                </a:ext>
              </a:extLst>
            </p:cNvPr>
            <p:cNvSpPr/>
            <p:nvPr/>
          </p:nvSpPr>
          <p:spPr>
            <a:xfrm rot="8716295">
              <a:off x="382524" y="96739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B57FA1DB-CF40-4C3B-8603-B0C589DE9032}"/>
                </a:ext>
              </a:extLst>
            </p:cNvPr>
            <p:cNvSpPr/>
            <p:nvPr/>
          </p:nvSpPr>
          <p:spPr>
            <a:xfrm rot="8716295">
              <a:off x="609657" y="135579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8AA6873E-3CFC-4928-9C0D-5E1C199A6A43}"/>
                </a:ext>
              </a:extLst>
            </p:cNvPr>
            <p:cNvSpPr/>
            <p:nvPr/>
          </p:nvSpPr>
          <p:spPr>
            <a:xfrm rot="8716295">
              <a:off x="683426" y="869567"/>
              <a:ext cx="156000" cy="195873"/>
            </a:xfrm>
            <a:custGeom>
              <a:avLst/>
              <a:gdLst>
                <a:gd name="connsiteX0" fmla="*/ 42863 w 156000"/>
                <a:gd name="connsiteY0" fmla="*/ 195873 h 195873"/>
                <a:gd name="connsiteX1" fmla="*/ 0 w 156000"/>
                <a:gd name="connsiteY1" fmla="*/ 116129 h 195873"/>
                <a:gd name="connsiteX2" fmla="*/ 5100 w 156000"/>
                <a:gd name="connsiteY2" fmla="*/ 101988 h 195873"/>
                <a:gd name="connsiteX3" fmla="*/ 89456 w 156000"/>
                <a:gd name="connsiteY3" fmla="*/ 0 h 195873"/>
                <a:gd name="connsiteX4" fmla="*/ 156000 w 156000"/>
                <a:gd name="connsiteY4" fmla="*/ 0 h 195873"/>
                <a:gd name="connsiteX5" fmla="*/ 156000 w 156000"/>
                <a:gd name="connsiteY5" fmla="*/ 55323 h 195873"/>
                <a:gd name="connsiteX6" fmla="*/ 91208 w 156000"/>
                <a:gd name="connsiteY6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000" h="195873">
                  <a:moveTo>
                    <a:pt x="42863" y="195873"/>
                  </a:moveTo>
                  <a:lnTo>
                    <a:pt x="0" y="116129"/>
                  </a:lnTo>
                  <a:lnTo>
                    <a:pt x="5100" y="101988"/>
                  </a:lnTo>
                  <a:lnTo>
                    <a:pt x="89456" y="0"/>
                  </a:lnTo>
                  <a:lnTo>
                    <a:pt x="156000" y="0"/>
                  </a:lnTo>
                  <a:lnTo>
                    <a:pt x="156000" y="55323"/>
                  </a:lnTo>
                  <a:lnTo>
                    <a:pt x="91208" y="5532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0609DC7B-52A5-4494-9388-1386F1B7ECA0}"/>
                </a:ext>
              </a:extLst>
            </p:cNvPr>
            <p:cNvSpPr/>
            <p:nvPr/>
          </p:nvSpPr>
          <p:spPr>
            <a:xfrm rot="8716295">
              <a:off x="657305" y="95604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FA9B5438-F371-4C5C-851A-CA35F035D933}"/>
                </a:ext>
              </a:extLst>
            </p:cNvPr>
            <p:cNvSpPr/>
            <p:nvPr/>
          </p:nvSpPr>
          <p:spPr>
            <a:xfrm rot="8716295">
              <a:off x="412774" y="56424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ED2997EF-2C09-4DA3-BB88-8DA5032A40C8}"/>
                </a:ext>
              </a:extLst>
            </p:cNvPr>
            <p:cNvSpPr/>
            <p:nvPr/>
          </p:nvSpPr>
          <p:spPr>
            <a:xfrm rot="8716295">
              <a:off x="502166" y="59348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DBD136C4-820E-4184-B91F-ED5B5690DC24}"/>
                </a:ext>
              </a:extLst>
            </p:cNvPr>
            <p:cNvSpPr/>
            <p:nvPr/>
          </p:nvSpPr>
          <p:spPr>
            <a:xfrm rot="8716295">
              <a:off x="457316" y="50720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8BD8CCA9-A2C8-4634-B0CF-620A635CE67A}"/>
                </a:ext>
              </a:extLst>
            </p:cNvPr>
            <p:cNvSpPr/>
            <p:nvPr/>
          </p:nvSpPr>
          <p:spPr>
            <a:xfrm rot="8716295">
              <a:off x="300540" y="65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33B24AF7-29F7-4408-AE25-97A38660E784}"/>
                </a:ext>
              </a:extLst>
            </p:cNvPr>
            <p:cNvSpPr/>
            <p:nvPr/>
          </p:nvSpPr>
          <p:spPr>
            <a:xfrm rot="8716295">
              <a:off x="175637" y="44411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506A4C62-4148-4841-838F-A205F53AD573}"/>
                </a:ext>
              </a:extLst>
            </p:cNvPr>
            <p:cNvSpPr/>
            <p:nvPr/>
          </p:nvSpPr>
          <p:spPr>
            <a:xfrm rot="8716295">
              <a:off x="163585" y="30533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1C1A41D0-65C3-44E5-8A29-ECCEBE983C62}"/>
                </a:ext>
              </a:extLst>
            </p:cNvPr>
            <p:cNvSpPr/>
            <p:nvPr/>
          </p:nvSpPr>
          <p:spPr>
            <a:xfrm rot="8716295">
              <a:off x="390718" y="69374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A93B008E-5902-4D55-9E1E-85F07149CD35}"/>
                </a:ext>
              </a:extLst>
            </p:cNvPr>
            <p:cNvSpPr/>
            <p:nvPr/>
          </p:nvSpPr>
          <p:spPr>
            <a:xfrm rot="8716295">
              <a:off x="702015" y="317459"/>
              <a:ext cx="131260" cy="232388"/>
            </a:xfrm>
            <a:custGeom>
              <a:avLst/>
              <a:gdLst>
                <a:gd name="connsiteX0" fmla="*/ 70201 w 131260"/>
                <a:gd name="connsiteY0" fmla="*/ 232388 h 232388"/>
                <a:gd name="connsiteX1" fmla="*/ 70201 w 131260"/>
                <a:gd name="connsiteY1" fmla="*/ 69717 h 232388"/>
                <a:gd name="connsiteX2" fmla="*/ 70201 w 131260"/>
                <a:gd name="connsiteY2" fmla="*/ 65615 h 232388"/>
                <a:gd name="connsiteX3" fmla="*/ 49697 w 131260"/>
                <a:gd name="connsiteY3" fmla="*/ 50123 h 232388"/>
                <a:gd name="connsiteX4" fmla="*/ 0 w 131260"/>
                <a:gd name="connsiteY4" fmla="*/ 50123 h 232388"/>
                <a:gd name="connsiteX5" fmla="*/ 41457 w 131260"/>
                <a:gd name="connsiteY5" fmla="*/ 0 h 232388"/>
                <a:gd name="connsiteX6" fmla="*/ 74303 w 131260"/>
                <a:gd name="connsiteY6" fmla="*/ 0 h 232388"/>
                <a:gd name="connsiteX7" fmla="*/ 131260 w 131260"/>
                <a:gd name="connsiteY7" fmla="*/ 50123 h 232388"/>
                <a:gd name="connsiteX8" fmla="*/ 131260 w 131260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1260" h="232388">
                  <a:moveTo>
                    <a:pt x="70201" y="232388"/>
                  </a:moveTo>
                  <a:lnTo>
                    <a:pt x="70201" y="69717"/>
                  </a:lnTo>
                  <a:cubicBezTo>
                    <a:pt x="70201" y="68349"/>
                    <a:pt x="70201" y="66983"/>
                    <a:pt x="70201" y="65615"/>
                  </a:cubicBezTo>
                  <a:cubicBezTo>
                    <a:pt x="68835" y="55591"/>
                    <a:pt x="59721" y="48756"/>
                    <a:pt x="49697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74303" y="0"/>
                  </a:lnTo>
                  <a:cubicBezTo>
                    <a:pt x="111211" y="0"/>
                    <a:pt x="131260" y="15948"/>
                    <a:pt x="131260" y="50123"/>
                  </a:cubicBezTo>
                  <a:lnTo>
                    <a:pt x="131260" y="208238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8AA688E0-8B68-432D-AC4C-16B34E3E659F}"/>
                </a:ext>
              </a:extLst>
            </p:cNvPr>
            <p:cNvSpPr/>
            <p:nvPr/>
          </p:nvSpPr>
          <p:spPr>
            <a:xfrm rot="8716295">
              <a:off x="834978" y="558357"/>
              <a:ext cx="24341" cy="23495"/>
            </a:xfrm>
            <a:custGeom>
              <a:avLst/>
              <a:gdLst>
                <a:gd name="connsiteX0" fmla="*/ 0 w 24341"/>
                <a:gd name="connsiteY0" fmla="*/ 23495 h 23495"/>
                <a:gd name="connsiteX1" fmla="*/ 19433 w 24341"/>
                <a:gd name="connsiteY1" fmla="*/ 0 h 23495"/>
                <a:gd name="connsiteX2" fmla="*/ 24341 w 24341"/>
                <a:gd name="connsiteY2" fmla="*/ 16139 h 23495"/>
                <a:gd name="connsiteX3" fmla="*/ 24341 w 24341"/>
                <a:gd name="connsiteY3" fmla="*/ 22063 h 23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41" h="23495">
                  <a:moveTo>
                    <a:pt x="0" y="23495"/>
                  </a:moveTo>
                  <a:lnTo>
                    <a:pt x="19433" y="0"/>
                  </a:lnTo>
                  <a:lnTo>
                    <a:pt x="24341" y="16139"/>
                  </a:lnTo>
                  <a:lnTo>
                    <a:pt x="24341" y="2206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672AA540-A579-4E8F-A234-CD30C1FF0A89}"/>
                </a:ext>
              </a:extLst>
            </p:cNvPr>
            <p:cNvSpPr/>
            <p:nvPr/>
          </p:nvSpPr>
          <p:spPr>
            <a:xfrm rot="8716295">
              <a:off x="589639" y="40263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C0BAD361-E55B-42F0-893F-014DB3986A10}"/>
                </a:ext>
              </a:extLst>
            </p:cNvPr>
            <p:cNvSpPr/>
            <p:nvPr/>
          </p:nvSpPr>
          <p:spPr>
            <a:xfrm rot="8716295">
              <a:off x="464737" y="19396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C7776BC0-23C7-4489-8F09-E129A530C0CC}"/>
                </a:ext>
              </a:extLst>
            </p:cNvPr>
            <p:cNvSpPr/>
            <p:nvPr/>
          </p:nvSpPr>
          <p:spPr>
            <a:xfrm rot="8716295">
              <a:off x="679817" y="44358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6EC00833-27CA-42E8-A3F4-264B72DC896E}"/>
                </a:ext>
              </a:extLst>
            </p:cNvPr>
            <p:cNvSpPr/>
            <p:nvPr/>
          </p:nvSpPr>
          <p:spPr>
            <a:xfrm rot="8716295">
              <a:off x="438366" y="29398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1FD6DD85-FCBC-4AED-9D6D-4125AB918B1C}"/>
                </a:ext>
              </a:extLst>
            </p:cNvPr>
            <p:cNvSpPr/>
            <p:nvPr/>
          </p:nvSpPr>
          <p:spPr>
            <a:xfrm rot="7484129">
              <a:off x="811674" y="658874"/>
              <a:ext cx="31078" cy="46141"/>
            </a:xfrm>
            <a:custGeom>
              <a:avLst/>
              <a:gdLst>
                <a:gd name="connsiteX0" fmla="*/ 15207 w 31078"/>
                <a:gd name="connsiteY0" fmla="*/ 46141 h 46141"/>
                <a:gd name="connsiteX1" fmla="*/ 0 w 31078"/>
                <a:gd name="connsiteY1" fmla="*/ 17849 h 46141"/>
                <a:gd name="connsiteX2" fmla="*/ 31078 w 31078"/>
                <a:gd name="connsiteY2" fmla="*/ 0 h 46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078" h="46141">
                  <a:moveTo>
                    <a:pt x="15207" y="46141"/>
                  </a:moveTo>
                  <a:lnTo>
                    <a:pt x="0" y="17849"/>
                  </a:lnTo>
                  <a:lnTo>
                    <a:pt x="31078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ED8E04A5-1CCB-474C-BB14-6861F24B92EE}"/>
                </a:ext>
              </a:extLst>
            </p:cNvPr>
            <p:cNvSpPr/>
            <p:nvPr/>
          </p:nvSpPr>
          <p:spPr>
            <a:xfrm rot="8716295">
              <a:off x="780102" y="336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D2589E01-70DB-4980-9D5E-15028C3BF442}"/>
                </a:ext>
              </a:extLst>
            </p:cNvPr>
            <p:cNvSpPr/>
            <p:nvPr/>
          </p:nvSpPr>
          <p:spPr>
            <a:xfrm rot="8716295">
              <a:off x="202348" y="-57106"/>
              <a:ext cx="142167" cy="186494"/>
            </a:xfrm>
            <a:custGeom>
              <a:avLst/>
              <a:gdLst>
                <a:gd name="connsiteX0" fmla="*/ 142167 w 142167"/>
                <a:gd name="connsiteY0" fmla="*/ 186494 h 186494"/>
                <a:gd name="connsiteX1" fmla="*/ 81108 w 142167"/>
                <a:gd name="connsiteY1" fmla="*/ 144170 h 186494"/>
                <a:gd name="connsiteX2" fmla="*/ 81108 w 142167"/>
                <a:gd name="connsiteY2" fmla="*/ 69717 h 186494"/>
                <a:gd name="connsiteX3" fmla="*/ 81108 w 142167"/>
                <a:gd name="connsiteY3" fmla="*/ 65615 h 186494"/>
                <a:gd name="connsiteX4" fmla="*/ 60603 w 142167"/>
                <a:gd name="connsiteY4" fmla="*/ 50123 h 186494"/>
                <a:gd name="connsiteX5" fmla="*/ 0 w 142167"/>
                <a:gd name="connsiteY5" fmla="*/ 50123 h 186494"/>
                <a:gd name="connsiteX6" fmla="*/ 0 w 142167"/>
                <a:gd name="connsiteY6" fmla="*/ 0 h 186494"/>
                <a:gd name="connsiteX7" fmla="*/ 85209 w 142167"/>
                <a:gd name="connsiteY7" fmla="*/ 0 h 186494"/>
                <a:gd name="connsiteX8" fmla="*/ 142167 w 142167"/>
                <a:gd name="connsiteY8" fmla="*/ 50123 h 186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86494">
                  <a:moveTo>
                    <a:pt x="142167" y="186494"/>
                  </a:moveTo>
                  <a:lnTo>
                    <a:pt x="81108" y="144170"/>
                  </a:lnTo>
                  <a:lnTo>
                    <a:pt x="81108" y="69717"/>
                  </a:lnTo>
                  <a:cubicBezTo>
                    <a:pt x="81108" y="68349"/>
                    <a:pt x="81108" y="66983"/>
                    <a:pt x="81108" y="65615"/>
                  </a:cubicBezTo>
                  <a:cubicBezTo>
                    <a:pt x="79741" y="55591"/>
                    <a:pt x="70628" y="48756"/>
                    <a:pt x="60603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2AEF8F7A-52DD-4323-9058-8F5D8BF7C257}"/>
                </a:ext>
              </a:extLst>
            </p:cNvPr>
            <p:cNvSpPr/>
            <p:nvPr/>
          </p:nvSpPr>
          <p:spPr>
            <a:xfrm rot="8716295">
              <a:off x="298766" y="-5395"/>
              <a:ext cx="260639" cy="180054"/>
            </a:xfrm>
            <a:custGeom>
              <a:avLst/>
              <a:gdLst>
                <a:gd name="connsiteX0" fmla="*/ 111638 w 260639"/>
                <a:gd name="connsiteY0" fmla="*/ 180054 h 180054"/>
                <a:gd name="connsiteX1" fmla="*/ 51490 w 260639"/>
                <a:gd name="connsiteY1" fmla="*/ 138362 h 180054"/>
                <a:gd name="connsiteX2" fmla="*/ 51490 w 260639"/>
                <a:gd name="connsiteY2" fmla="*/ 45624 h 180054"/>
                <a:gd name="connsiteX3" fmla="*/ 0 w 260639"/>
                <a:gd name="connsiteY3" fmla="*/ 45624 h 180054"/>
                <a:gd name="connsiteX4" fmla="*/ 0 w 260639"/>
                <a:gd name="connsiteY4" fmla="*/ 1425 h 180054"/>
                <a:gd name="connsiteX5" fmla="*/ 104802 w 260639"/>
                <a:gd name="connsiteY5" fmla="*/ 1425 h 180054"/>
                <a:gd name="connsiteX6" fmla="*/ 104802 w 260639"/>
                <a:gd name="connsiteY6" fmla="*/ 75242 h 180054"/>
                <a:gd name="connsiteX7" fmla="*/ 106169 w 260639"/>
                <a:gd name="connsiteY7" fmla="*/ 75242 h 180054"/>
                <a:gd name="connsiteX8" fmla="*/ 154014 w 260639"/>
                <a:gd name="connsiteY8" fmla="*/ 5981 h 180054"/>
                <a:gd name="connsiteX9" fmla="*/ 185455 w 260639"/>
                <a:gd name="connsiteY9" fmla="*/ 57 h 180054"/>
                <a:gd name="connsiteX10" fmla="*/ 260639 w 260639"/>
                <a:gd name="connsiteY10" fmla="*/ 88456 h 180054"/>
                <a:gd name="connsiteX11" fmla="*/ 260639 w 260639"/>
                <a:gd name="connsiteY11" fmla="*/ 94380 h 180054"/>
                <a:gd name="connsiteX12" fmla="*/ 198669 w 260639"/>
                <a:gd name="connsiteY12" fmla="*/ 98025 h 180054"/>
                <a:gd name="connsiteX13" fmla="*/ 198669 w 260639"/>
                <a:gd name="connsiteY13" fmla="*/ 81621 h 180054"/>
                <a:gd name="connsiteX14" fmla="*/ 164950 w 260639"/>
                <a:gd name="connsiteY14" fmla="*/ 40156 h 180054"/>
                <a:gd name="connsiteX15" fmla="*/ 111638 w 260639"/>
                <a:gd name="connsiteY15" fmla="*/ 127643 h 180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0639" h="180054">
                  <a:moveTo>
                    <a:pt x="111638" y="180054"/>
                  </a:moveTo>
                  <a:lnTo>
                    <a:pt x="51490" y="138362"/>
                  </a:ln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4EA5F182-B436-49C8-8170-C1AD6D2F32D5}"/>
                </a:ext>
              </a:extLst>
            </p:cNvPr>
            <p:cNvSpPr/>
            <p:nvPr/>
          </p:nvSpPr>
          <p:spPr>
            <a:xfrm rot="8716295">
              <a:off x="276903" y="-12823"/>
              <a:ext cx="36272" cy="27982"/>
            </a:xfrm>
            <a:custGeom>
              <a:avLst/>
              <a:gdLst>
                <a:gd name="connsiteX0" fmla="*/ 36272 w 36272"/>
                <a:gd name="connsiteY0" fmla="*/ 27982 h 27982"/>
                <a:gd name="connsiteX1" fmla="*/ 0 w 36272"/>
                <a:gd name="connsiteY1" fmla="*/ 2840 h 27982"/>
                <a:gd name="connsiteX2" fmla="*/ 9543 w 36272"/>
                <a:gd name="connsiteY2" fmla="*/ 0 h 27982"/>
                <a:gd name="connsiteX3" fmla="*/ 31871 w 36272"/>
                <a:gd name="connsiteY3" fmla="*/ 11392 h 27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272" h="27982">
                  <a:moveTo>
                    <a:pt x="36272" y="27982"/>
                  </a:moveTo>
                  <a:lnTo>
                    <a:pt x="0" y="2840"/>
                  </a:lnTo>
                  <a:lnTo>
                    <a:pt x="9543" y="0"/>
                  </a:lnTo>
                  <a:cubicBezTo>
                    <a:pt x="20479" y="0"/>
                    <a:pt x="27542" y="4784"/>
                    <a:pt x="31871" y="11392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F421218E-0235-4F72-A3A0-C0DE2686EE65}"/>
                </a:ext>
              </a:extLst>
            </p:cNvPr>
            <p:cNvSpPr/>
            <p:nvPr/>
          </p:nvSpPr>
          <p:spPr>
            <a:xfrm rot="8716295">
              <a:off x="74640" y="-9665"/>
              <a:ext cx="58068" cy="54772"/>
            </a:xfrm>
            <a:custGeom>
              <a:avLst/>
              <a:gdLst>
                <a:gd name="connsiteX0" fmla="*/ 37436 w 58068"/>
                <a:gd name="connsiteY0" fmla="*/ 54772 h 54772"/>
                <a:gd name="connsiteX1" fmla="*/ 0 w 58068"/>
                <a:gd name="connsiteY1" fmla="*/ 28823 h 54772"/>
                <a:gd name="connsiteX2" fmla="*/ 8515 w 58068"/>
                <a:gd name="connsiteY2" fmla="*/ 8658 h 54772"/>
                <a:gd name="connsiteX3" fmla="*/ 29020 w 58068"/>
                <a:gd name="connsiteY3" fmla="*/ 0 h 54772"/>
                <a:gd name="connsiteX4" fmla="*/ 49525 w 58068"/>
                <a:gd name="connsiteY4" fmla="*/ 8658 h 54772"/>
                <a:gd name="connsiteX5" fmla="*/ 49525 w 58068"/>
                <a:gd name="connsiteY5" fmla="*/ 49668 h 5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068" h="54772">
                  <a:moveTo>
                    <a:pt x="37436" y="54772"/>
                  </a:moveTo>
                  <a:lnTo>
                    <a:pt x="0" y="28823"/>
                  </a:lnTo>
                  <a:lnTo>
                    <a:pt x="8515" y="8658"/>
                  </a:lnTo>
                  <a:cubicBezTo>
                    <a:pt x="13983" y="3190"/>
                    <a:pt x="21273" y="0"/>
                    <a:pt x="29020" y="0"/>
                  </a:cubicBezTo>
                  <a:cubicBezTo>
                    <a:pt x="36766" y="0"/>
                    <a:pt x="44057" y="3190"/>
                    <a:pt x="49525" y="8658"/>
                  </a:cubicBezTo>
                  <a:cubicBezTo>
                    <a:pt x="60916" y="19594"/>
                    <a:pt x="60916" y="38276"/>
                    <a:pt x="49525" y="49668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CE77A4A5-0ECD-4D80-A03D-A10DC965EA39}"/>
                </a:ext>
              </a:extLst>
            </p:cNvPr>
            <p:cNvSpPr/>
            <p:nvPr/>
          </p:nvSpPr>
          <p:spPr>
            <a:xfrm rot="8716295">
              <a:off x="13802" y="-10406"/>
              <a:ext cx="30027" cy="20814"/>
            </a:xfrm>
            <a:custGeom>
              <a:avLst/>
              <a:gdLst>
                <a:gd name="connsiteX0" fmla="*/ 30027 w 30027"/>
                <a:gd name="connsiteY0" fmla="*/ 20814 h 20814"/>
                <a:gd name="connsiteX1" fmla="*/ 0 w 30027"/>
                <a:gd name="connsiteY1" fmla="*/ 0 h 20814"/>
                <a:gd name="connsiteX2" fmla="*/ 30027 w 30027"/>
                <a:gd name="connsiteY2" fmla="*/ 0 h 20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027" h="20814">
                  <a:moveTo>
                    <a:pt x="30027" y="20814"/>
                  </a:moveTo>
                  <a:lnTo>
                    <a:pt x="0" y="0"/>
                  </a:lnTo>
                  <a:lnTo>
                    <a:pt x="30027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403799C4-A408-4325-A92C-9E809B8BB4D4}"/>
                </a:ext>
              </a:extLst>
            </p:cNvPr>
            <p:cNvSpPr/>
            <p:nvPr/>
          </p:nvSpPr>
          <p:spPr>
            <a:xfrm rot="8716295">
              <a:off x="168048" y="3032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01FB23B7-9B20-4D2E-83CD-6A7A68C9BDC4}"/>
                </a:ext>
              </a:extLst>
            </p:cNvPr>
            <p:cNvSpPr/>
            <p:nvPr/>
          </p:nvSpPr>
          <p:spPr>
            <a:xfrm rot="7484129">
              <a:off x="562078" y="-284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ACF32F9A-0344-4E5B-A601-5E2A5DCEE676}"/>
                </a:ext>
              </a:extLst>
            </p:cNvPr>
            <p:cNvSpPr/>
            <p:nvPr/>
          </p:nvSpPr>
          <p:spPr>
            <a:xfrm rot="13089394">
              <a:off x="767127" y="-2787"/>
              <a:ext cx="149688" cy="301067"/>
            </a:xfrm>
            <a:custGeom>
              <a:avLst/>
              <a:gdLst>
                <a:gd name="connsiteX0" fmla="*/ 149688 w 149688"/>
                <a:gd name="connsiteY0" fmla="*/ 279622 h 301067"/>
                <a:gd name="connsiteX1" fmla="*/ 122393 w 149688"/>
                <a:gd name="connsiteY1" fmla="*/ 301067 h 301067"/>
                <a:gd name="connsiteX2" fmla="*/ 0 w 149688"/>
                <a:gd name="connsiteY2" fmla="*/ 114672 h 301067"/>
                <a:gd name="connsiteX3" fmla="*/ 0 w 149688"/>
                <a:gd name="connsiteY3" fmla="*/ 38074 h 301067"/>
                <a:gd name="connsiteX4" fmla="*/ 73388 w 149688"/>
                <a:gd name="connsiteY4" fmla="*/ 0 h 301067"/>
                <a:gd name="connsiteX5" fmla="*/ 74492 w 149688"/>
                <a:gd name="connsiteY5" fmla="*/ 153950 h 301067"/>
                <a:gd name="connsiteX6" fmla="*/ 87734 w 149688"/>
                <a:gd name="connsiteY6" fmla="*/ 245547 h 301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9688" h="301067">
                  <a:moveTo>
                    <a:pt x="149688" y="279622"/>
                  </a:moveTo>
                  <a:lnTo>
                    <a:pt x="122393" y="301067"/>
                  </a:lnTo>
                  <a:lnTo>
                    <a:pt x="0" y="114672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2836" y="184850"/>
                    <a:pt x="77802" y="216302"/>
                    <a:pt x="87734" y="245547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9B540A9C-752F-4966-AE11-E0DA13D5676A}"/>
                </a:ext>
              </a:extLst>
            </p:cNvPr>
            <p:cNvSpPr/>
            <p:nvPr/>
          </p:nvSpPr>
          <p:spPr>
            <a:xfrm rot="8716295">
              <a:off x="212141" y="304502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27352092-3B53-44B3-ABC2-E6A268F28524}"/>
                </a:ext>
              </a:extLst>
            </p:cNvPr>
            <p:cNvSpPr/>
            <p:nvPr/>
          </p:nvSpPr>
          <p:spPr>
            <a:xfrm rot="8716295">
              <a:off x="301533" y="307427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1A1EEC7B-8896-4B95-9A1A-B0F21E6748C1}"/>
                </a:ext>
              </a:extLst>
            </p:cNvPr>
            <p:cNvSpPr/>
            <p:nvPr/>
          </p:nvSpPr>
          <p:spPr>
            <a:xfrm rot="8716295">
              <a:off x="256683" y="298799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4FA7D1EC-A217-4326-8F37-649F5ADE83EB}"/>
                </a:ext>
              </a:extLst>
            </p:cNvPr>
            <p:cNvSpPr/>
            <p:nvPr/>
          </p:nvSpPr>
          <p:spPr>
            <a:xfrm rot="8716295">
              <a:off x="99907" y="31335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33C99497-0B48-43C7-BD1A-0279E44CA612}"/>
                </a:ext>
              </a:extLst>
            </p:cNvPr>
            <p:cNvSpPr/>
            <p:nvPr/>
          </p:nvSpPr>
          <p:spPr>
            <a:xfrm rot="8716295">
              <a:off x="-24996" y="29248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A93858F0-0010-48FE-BF9C-AFE6080030D7}"/>
                </a:ext>
              </a:extLst>
            </p:cNvPr>
            <p:cNvSpPr/>
            <p:nvPr/>
          </p:nvSpPr>
          <p:spPr>
            <a:xfrm rot="8716295">
              <a:off x="51899" y="2754602"/>
              <a:ext cx="189488" cy="350829"/>
            </a:xfrm>
            <a:custGeom>
              <a:avLst/>
              <a:gdLst>
                <a:gd name="connsiteX0" fmla="*/ 25299 w 189488"/>
                <a:gd name="connsiteY0" fmla="*/ 321238 h 350829"/>
                <a:gd name="connsiteX1" fmla="*/ 0 w 189488"/>
                <a:gd name="connsiteY1" fmla="*/ 220042 h 350829"/>
                <a:gd name="connsiteX2" fmla="*/ 0 w 189488"/>
                <a:gd name="connsiteY2" fmla="*/ 40596 h 350829"/>
                <a:gd name="connsiteX3" fmla="*/ 78250 w 189488"/>
                <a:gd name="connsiteY3" fmla="*/ 0 h 350829"/>
                <a:gd name="connsiteX4" fmla="*/ 79427 w 189488"/>
                <a:gd name="connsiteY4" fmla="*/ 164149 h 350829"/>
                <a:gd name="connsiteX5" fmla="*/ 93547 w 189488"/>
                <a:gd name="connsiteY5" fmla="*/ 261815 h 350829"/>
                <a:gd name="connsiteX6" fmla="*/ 164148 w 189488"/>
                <a:gd name="connsiteY6" fmla="*/ 300646 h 350829"/>
                <a:gd name="connsiteX7" fmla="*/ 189488 w 189488"/>
                <a:gd name="connsiteY7" fmla="*/ 296141 h 350829"/>
                <a:gd name="connsiteX8" fmla="*/ 160617 w 189488"/>
                <a:gd name="connsiteY8" fmla="*/ 337791 h 350829"/>
                <a:gd name="connsiteX9" fmla="*/ 97666 w 189488"/>
                <a:gd name="connsiteY9" fmla="*/ 350655 h 350829"/>
                <a:gd name="connsiteX10" fmla="*/ 25299 w 189488"/>
                <a:gd name="connsiteY10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9488" h="350829">
                  <a:moveTo>
                    <a:pt x="25299" y="321238"/>
                  </a:moveTo>
                  <a:cubicBezTo>
                    <a:pt x="5295" y="301823"/>
                    <a:pt x="0" y="268286"/>
                    <a:pt x="0" y="220042"/>
                  </a:cubicBez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8" y="300646"/>
                  </a:cubicBezTo>
                  <a:lnTo>
                    <a:pt x="189488" y="296141"/>
                  </a:lnTo>
                  <a:lnTo>
                    <a:pt x="160617" y="337791"/>
                  </a:lnTo>
                  <a:lnTo>
                    <a:pt x="97666" y="350655"/>
                  </a:ln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CAFD1C73-118C-42A8-A6D1-F7527C0F98CE}"/>
                </a:ext>
              </a:extLst>
            </p:cNvPr>
            <p:cNvSpPr/>
            <p:nvPr/>
          </p:nvSpPr>
          <p:spPr>
            <a:xfrm rot="8716295">
              <a:off x="190085" y="317452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E7F4D18B-0BB2-451B-AA77-2B268E142A91}"/>
                </a:ext>
              </a:extLst>
            </p:cNvPr>
            <p:cNvSpPr/>
            <p:nvPr/>
          </p:nvSpPr>
          <p:spPr>
            <a:xfrm rot="8716295">
              <a:off x="502599" y="2802136"/>
              <a:ext cx="117588" cy="232388"/>
            </a:xfrm>
            <a:custGeom>
              <a:avLst/>
              <a:gdLst>
                <a:gd name="connsiteX0" fmla="*/ 56529 w 117588"/>
                <a:gd name="connsiteY0" fmla="*/ 232388 h 232388"/>
                <a:gd name="connsiteX1" fmla="*/ 56529 w 117588"/>
                <a:gd name="connsiteY1" fmla="*/ 69717 h 232388"/>
                <a:gd name="connsiteX2" fmla="*/ 56529 w 117588"/>
                <a:gd name="connsiteY2" fmla="*/ 65615 h 232388"/>
                <a:gd name="connsiteX3" fmla="*/ 36025 w 117588"/>
                <a:gd name="connsiteY3" fmla="*/ 50123 h 232388"/>
                <a:gd name="connsiteX4" fmla="*/ 0 w 117588"/>
                <a:gd name="connsiteY4" fmla="*/ 50123 h 232388"/>
                <a:gd name="connsiteX5" fmla="*/ 41458 w 117588"/>
                <a:gd name="connsiteY5" fmla="*/ 0 h 232388"/>
                <a:gd name="connsiteX6" fmla="*/ 60630 w 117588"/>
                <a:gd name="connsiteY6" fmla="*/ 0 h 232388"/>
                <a:gd name="connsiteX7" fmla="*/ 117588 w 117588"/>
                <a:gd name="connsiteY7" fmla="*/ 50123 h 232388"/>
                <a:gd name="connsiteX8" fmla="*/ 117588 w 117588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7588" h="232388">
                  <a:moveTo>
                    <a:pt x="56529" y="232388"/>
                  </a:moveTo>
                  <a:lnTo>
                    <a:pt x="56529" y="69717"/>
                  </a:lnTo>
                  <a:cubicBezTo>
                    <a:pt x="56529" y="68349"/>
                    <a:pt x="56529" y="66983"/>
                    <a:pt x="56529" y="65615"/>
                  </a:cubicBezTo>
                  <a:cubicBezTo>
                    <a:pt x="55163" y="55591"/>
                    <a:pt x="46049" y="48756"/>
                    <a:pt x="36025" y="50123"/>
                  </a:cubicBezTo>
                  <a:lnTo>
                    <a:pt x="0" y="50123"/>
                  </a:lnTo>
                  <a:lnTo>
                    <a:pt x="41458" y="0"/>
                  </a:lnTo>
                  <a:lnTo>
                    <a:pt x="60630" y="0"/>
                  </a:lnTo>
                  <a:cubicBezTo>
                    <a:pt x="97539" y="0"/>
                    <a:pt x="117588" y="15948"/>
                    <a:pt x="117588" y="50123"/>
                  </a:cubicBezTo>
                  <a:lnTo>
                    <a:pt x="117588" y="208238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6F67DBA9-AD6C-4780-AA17-98BCE9381DC5}"/>
                </a:ext>
              </a:extLst>
            </p:cNvPr>
            <p:cNvSpPr/>
            <p:nvPr/>
          </p:nvSpPr>
          <p:spPr>
            <a:xfrm rot="8716295">
              <a:off x="389006" y="2883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60CE2A9A-219E-42C9-9F53-FED763C7A971}"/>
                </a:ext>
              </a:extLst>
            </p:cNvPr>
            <p:cNvSpPr/>
            <p:nvPr/>
          </p:nvSpPr>
          <p:spPr>
            <a:xfrm rot="8716295">
              <a:off x="264104" y="267474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5F47A361-80F1-4C02-906B-845AB367B960}"/>
                </a:ext>
              </a:extLst>
            </p:cNvPr>
            <p:cNvSpPr/>
            <p:nvPr/>
          </p:nvSpPr>
          <p:spPr>
            <a:xfrm rot="8716295">
              <a:off x="479184" y="292437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2CC40EA3-7663-4B10-9112-24251EC60BEA}"/>
                </a:ext>
              </a:extLst>
            </p:cNvPr>
            <p:cNvSpPr/>
            <p:nvPr/>
          </p:nvSpPr>
          <p:spPr>
            <a:xfrm rot="8716295">
              <a:off x="237733" y="277477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96946020-930E-406D-ABEE-7096E7CB1426}"/>
                </a:ext>
              </a:extLst>
            </p:cNvPr>
            <p:cNvSpPr/>
            <p:nvPr/>
          </p:nvSpPr>
          <p:spPr>
            <a:xfrm rot="7484129">
              <a:off x="609980" y="3142825"/>
              <a:ext cx="20881" cy="31001"/>
            </a:xfrm>
            <a:custGeom>
              <a:avLst/>
              <a:gdLst>
                <a:gd name="connsiteX0" fmla="*/ 10218 w 20881"/>
                <a:gd name="connsiteY0" fmla="*/ 31001 h 31001"/>
                <a:gd name="connsiteX1" fmla="*/ 0 w 20881"/>
                <a:gd name="connsiteY1" fmla="*/ 11992 h 31001"/>
                <a:gd name="connsiteX2" fmla="*/ 20881 w 20881"/>
                <a:gd name="connsiteY2" fmla="*/ 0 h 31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881" h="31001">
                  <a:moveTo>
                    <a:pt x="10218" y="31001"/>
                  </a:moveTo>
                  <a:lnTo>
                    <a:pt x="0" y="11992"/>
                  </a:lnTo>
                  <a:lnTo>
                    <a:pt x="20881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9709EEED-4F73-41F3-A069-C965126CECA4}"/>
                </a:ext>
              </a:extLst>
            </p:cNvPr>
            <p:cNvSpPr/>
            <p:nvPr/>
          </p:nvSpPr>
          <p:spPr>
            <a:xfrm rot="8716295">
              <a:off x="579469" y="28172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AB7C8B58-13F0-4FCC-99DC-3B3AAD65E69B}"/>
                </a:ext>
              </a:extLst>
            </p:cNvPr>
            <p:cNvSpPr/>
            <p:nvPr/>
          </p:nvSpPr>
          <p:spPr>
            <a:xfrm rot="8716295">
              <a:off x="437995" y="3716235"/>
              <a:ext cx="102679" cy="232388"/>
            </a:xfrm>
            <a:custGeom>
              <a:avLst/>
              <a:gdLst>
                <a:gd name="connsiteX0" fmla="*/ 41620 w 102679"/>
                <a:gd name="connsiteY0" fmla="*/ 232388 h 232388"/>
                <a:gd name="connsiteX1" fmla="*/ 41620 w 102679"/>
                <a:gd name="connsiteY1" fmla="*/ 69717 h 232388"/>
                <a:gd name="connsiteX2" fmla="*/ 41620 w 102679"/>
                <a:gd name="connsiteY2" fmla="*/ 65615 h 232388"/>
                <a:gd name="connsiteX3" fmla="*/ 21116 w 102679"/>
                <a:gd name="connsiteY3" fmla="*/ 50123 h 232388"/>
                <a:gd name="connsiteX4" fmla="*/ 0 w 102679"/>
                <a:gd name="connsiteY4" fmla="*/ 50123 h 232388"/>
                <a:gd name="connsiteX5" fmla="*/ 41457 w 102679"/>
                <a:gd name="connsiteY5" fmla="*/ 0 h 232388"/>
                <a:gd name="connsiteX6" fmla="*/ 45721 w 102679"/>
                <a:gd name="connsiteY6" fmla="*/ 0 h 232388"/>
                <a:gd name="connsiteX7" fmla="*/ 102679 w 102679"/>
                <a:gd name="connsiteY7" fmla="*/ 50123 h 232388"/>
                <a:gd name="connsiteX8" fmla="*/ 102679 w 102679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2679" h="232388">
                  <a:moveTo>
                    <a:pt x="41620" y="232388"/>
                  </a:moveTo>
                  <a:lnTo>
                    <a:pt x="41620" y="69717"/>
                  </a:lnTo>
                  <a:cubicBezTo>
                    <a:pt x="41620" y="68349"/>
                    <a:pt x="41620" y="66983"/>
                    <a:pt x="41620" y="65615"/>
                  </a:cubicBezTo>
                  <a:cubicBezTo>
                    <a:pt x="40254" y="55591"/>
                    <a:pt x="31140" y="48756"/>
                    <a:pt x="21116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45721" y="0"/>
                  </a:lnTo>
                  <a:cubicBezTo>
                    <a:pt x="82630" y="0"/>
                    <a:pt x="102679" y="15948"/>
                    <a:pt x="102679" y="50123"/>
                  </a:cubicBezTo>
                  <a:lnTo>
                    <a:pt x="102679" y="208238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9C4DC6CC-AFAA-4414-8BA6-D58CC891D657}"/>
                </a:ext>
              </a:extLst>
            </p:cNvPr>
            <p:cNvSpPr/>
            <p:nvPr/>
          </p:nvSpPr>
          <p:spPr>
            <a:xfrm rot="8716295">
              <a:off x="482715" y="3669965"/>
              <a:ext cx="154563" cy="124897"/>
            </a:xfrm>
            <a:custGeom>
              <a:avLst/>
              <a:gdLst>
                <a:gd name="connsiteX0" fmla="*/ 0 w 154563"/>
                <a:gd name="connsiteY0" fmla="*/ 124897 h 124897"/>
                <a:gd name="connsiteX1" fmla="*/ 95474 w 154563"/>
                <a:gd name="connsiteY1" fmla="*/ 9467 h 124897"/>
                <a:gd name="connsiteX2" fmla="*/ 96067 w 154563"/>
                <a:gd name="connsiteY2" fmla="*/ 9000 h 124897"/>
                <a:gd name="connsiteX3" fmla="*/ 126312 w 154563"/>
                <a:gd name="connsiteY3" fmla="*/ 0 h 124897"/>
                <a:gd name="connsiteX4" fmla="*/ 154563 w 154563"/>
                <a:gd name="connsiteY4" fmla="*/ 33719 h 124897"/>
                <a:gd name="connsiteX5" fmla="*/ 128135 w 154563"/>
                <a:gd name="connsiteY5" fmla="*/ 69261 h 124897"/>
                <a:gd name="connsiteX6" fmla="*/ 128590 w 154563"/>
                <a:gd name="connsiteY6" fmla="*/ 69261 h 12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4563" h="124897">
                  <a:moveTo>
                    <a:pt x="0" y="124897"/>
                  </a:moveTo>
                  <a:lnTo>
                    <a:pt x="95474" y="9467"/>
                  </a:lnTo>
                  <a:lnTo>
                    <a:pt x="96067" y="9000"/>
                  </a:lnTo>
                  <a:cubicBezTo>
                    <a:pt x="105351" y="4215"/>
                    <a:pt x="115604" y="1139"/>
                    <a:pt x="126312" y="0"/>
                  </a:cubicBezTo>
                  <a:cubicBezTo>
                    <a:pt x="148184" y="0"/>
                    <a:pt x="154563" y="19138"/>
                    <a:pt x="154563" y="33719"/>
                  </a:cubicBezTo>
                  <a:cubicBezTo>
                    <a:pt x="153196" y="49668"/>
                    <a:pt x="142715" y="62882"/>
                    <a:pt x="128135" y="69261"/>
                  </a:cubicBezTo>
                  <a:lnTo>
                    <a:pt x="128590" y="69261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orme libre : forme 58">
              <a:extLst>
                <a:ext uri="{FF2B5EF4-FFF2-40B4-BE49-F238E27FC236}">
                  <a16:creationId xmlns:a16="http://schemas.microsoft.com/office/drawing/2014/main" id="{4EE0C0AC-519B-4FC6-8231-6D03F18E647C}"/>
                </a:ext>
              </a:extLst>
            </p:cNvPr>
            <p:cNvSpPr/>
            <p:nvPr/>
          </p:nvSpPr>
          <p:spPr>
            <a:xfrm rot="8716295">
              <a:off x="323074" y="379327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orme libre : forme 59">
              <a:extLst>
                <a:ext uri="{FF2B5EF4-FFF2-40B4-BE49-F238E27FC236}">
                  <a16:creationId xmlns:a16="http://schemas.microsoft.com/office/drawing/2014/main" id="{D6F59EA5-8316-4C20-AADC-7D706ECCBE6F}"/>
                </a:ext>
              </a:extLst>
            </p:cNvPr>
            <p:cNvSpPr/>
            <p:nvPr/>
          </p:nvSpPr>
          <p:spPr>
            <a:xfrm rot="8716295">
              <a:off x="198171" y="358459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orme libre : forme 60">
              <a:extLst>
                <a:ext uri="{FF2B5EF4-FFF2-40B4-BE49-F238E27FC236}">
                  <a16:creationId xmlns:a16="http://schemas.microsoft.com/office/drawing/2014/main" id="{B0440107-C1DF-4CF9-A961-BF836C4847FA}"/>
                </a:ext>
              </a:extLst>
            </p:cNvPr>
            <p:cNvSpPr/>
            <p:nvPr/>
          </p:nvSpPr>
          <p:spPr>
            <a:xfrm rot="8716295">
              <a:off x="186119" y="344581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orme libre : forme 61">
              <a:extLst>
                <a:ext uri="{FF2B5EF4-FFF2-40B4-BE49-F238E27FC236}">
                  <a16:creationId xmlns:a16="http://schemas.microsoft.com/office/drawing/2014/main" id="{FAD20847-20DA-4661-A963-D2C01E523D8E}"/>
                </a:ext>
              </a:extLst>
            </p:cNvPr>
            <p:cNvSpPr/>
            <p:nvPr/>
          </p:nvSpPr>
          <p:spPr>
            <a:xfrm rot="8716295">
              <a:off x="410218" y="3834716"/>
              <a:ext cx="103435" cy="219174"/>
            </a:xfrm>
            <a:custGeom>
              <a:avLst/>
              <a:gdLst>
                <a:gd name="connsiteX0" fmla="*/ 103435 w 103435"/>
                <a:gd name="connsiteY0" fmla="*/ 219174 h 219174"/>
                <a:gd name="connsiteX1" fmla="*/ 43288 w 103435"/>
                <a:gd name="connsiteY1" fmla="*/ 161305 h 219174"/>
                <a:gd name="connsiteX2" fmla="*/ 43288 w 103435"/>
                <a:gd name="connsiteY2" fmla="*/ 16404 h 219174"/>
                <a:gd name="connsiteX3" fmla="*/ 0 w 103435"/>
                <a:gd name="connsiteY3" fmla="*/ 16404 h 219174"/>
                <a:gd name="connsiteX4" fmla="*/ 0 w 103435"/>
                <a:gd name="connsiteY4" fmla="*/ 16028 h 219174"/>
                <a:gd name="connsiteX5" fmla="*/ 11583 w 103435"/>
                <a:gd name="connsiteY5" fmla="*/ 2023 h 219174"/>
                <a:gd name="connsiteX6" fmla="*/ 103435 w 103435"/>
                <a:gd name="connsiteY6" fmla="*/ 0 h 219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19174">
                  <a:moveTo>
                    <a:pt x="103435" y="219174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16028"/>
                  </a:lnTo>
                  <a:lnTo>
                    <a:pt x="11583" y="2023"/>
                  </a:lnTo>
                  <a:lnTo>
                    <a:pt x="103435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orme libre : forme 62">
              <a:extLst>
                <a:ext uri="{FF2B5EF4-FFF2-40B4-BE49-F238E27FC236}">
                  <a16:creationId xmlns:a16="http://schemas.microsoft.com/office/drawing/2014/main" id="{28D4D932-7CCD-4A1C-82BE-BDC6C863C34D}"/>
                </a:ext>
              </a:extLst>
            </p:cNvPr>
            <p:cNvSpPr/>
            <p:nvPr/>
          </p:nvSpPr>
          <p:spPr>
            <a:xfrm rot="8716295">
              <a:off x="487452" y="3349370"/>
              <a:ext cx="151162" cy="195873"/>
            </a:xfrm>
            <a:custGeom>
              <a:avLst/>
              <a:gdLst>
                <a:gd name="connsiteX0" fmla="*/ 38025 w 151162"/>
                <a:gd name="connsiteY0" fmla="*/ 195873 h 195873"/>
                <a:gd name="connsiteX1" fmla="*/ 0 w 151162"/>
                <a:gd name="connsiteY1" fmla="*/ 125130 h 195873"/>
                <a:gd name="connsiteX2" fmla="*/ 103497 w 151162"/>
                <a:gd name="connsiteY2" fmla="*/ 0 h 195873"/>
                <a:gd name="connsiteX3" fmla="*/ 151162 w 151162"/>
                <a:gd name="connsiteY3" fmla="*/ 0 h 195873"/>
                <a:gd name="connsiteX4" fmla="*/ 151162 w 151162"/>
                <a:gd name="connsiteY4" fmla="*/ 55323 h 195873"/>
                <a:gd name="connsiteX5" fmla="*/ 86370 w 151162"/>
                <a:gd name="connsiteY5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1162" h="195873">
                  <a:moveTo>
                    <a:pt x="38025" y="195873"/>
                  </a:moveTo>
                  <a:lnTo>
                    <a:pt x="0" y="125130"/>
                  </a:lnTo>
                  <a:lnTo>
                    <a:pt x="103497" y="0"/>
                  </a:lnTo>
                  <a:lnTo>
                    <a:pt x="151162" y="0"/>
                  </a:lnTo>
                  <a:lnTo>
                    <a:pt x="151162" y="55323"/>
                  </a:lnTo>
                  <a:lnTo>
                    <a:pt x="86370" y="5532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orme libre : forme 63">
              <a:extLst>
                <a:ext uri="{FF2B5EF4-FFF2-40B4-BE49-F238E27FC236}">
                  <a16:creationId xmlns:a16="http://schemas.microsoft.com/office/drawing/2014/main" id="{CC6BD8CB-3AAF-4232-9DAB-6067219DB083}"/>
                </a:ext>
              </a:extLst>
            </p:cNvPr>
            <p:cNvSpPr/>
            <p:nvPr/>
          </p:nvSpPr>
          <p:spPr>
            <a:xfrm rot="8716295">
              <a:off x="460900" y="343447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orme libre : forme 64">
              <a:extLst>
                <a:ext uri="{FF2B5EF4-FFF2-40B4-BE49-F238E27FC236}">
                  <a16:creationId xmlns:a16="http://schemas.microsoft.com/office/drawing/2014/main" id="{C4402BE5-EFA1-455E-87AA-2CF0F2131AB9}"/>
                </a:ext>
              </a:extLst>
            </p:cNvPr>
            <p:cNvSpPr/>
            <p:nvPr/>
          </p:nvSpPr>
          <p:spPr>
            <a:xfrm rot="8716295">
              <a:off x="417336" y="4258920"/>
              <a:ext cx="147637" cy="195874"/>
            </a:xfrm>
            <a:custGeom>
              <a:avLst/>
              <a:gdLst>
                <a:gd name="connsiteX0" fmla="*/ 34500 w 147637"/>
                <a:gd name="connsiteY0" fmla="*/ 195874 h 195874"/>
                <a:gd name="connsiteX1" fmla="*/ 0 w 147637"/>
                <a:gd name="connsiteY1" fmla="*/ 131688 h 195874"/>
                <a:gd name="connsiteX2" fmla="*/ 108921 w 147637"/>
                <a:gd name="connsiteY2" fmla="*/ 0 h 195874"/>
                <a:gd name="connsiteX3" fmla="*/ 147637 w 147637"/>
                <a:gd name="connsiteY3" fmla="*/ 0 h 195874"/>
                <a:gd name="connsiteX4" fmla="*/ 147637 w 147637"/>
                <a:gd name="connsiteY4" fmla="*/ 55323 h 195874"/>
                <a:gd name="connsiteX5" fmla="*/ 82845 w 147637"/>
                <a:gd name="connsiteY5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7637" h="195874">
                  <a:moveTo>
                    <a:pt x="34500" y="195874"/>
                  </a:moveTo>
                  <a:lnTo>
                    <a:pt x="0" y="131688"/>
                  </a:lnTo>
                  <a:lnTo>
                    <a:pt x="108921" y="0"/>
                  </a:lnTo>
                  <a:lnTo>
                    <a:pt x="147637" y="0"/>
                  </a:lnTo>
                  <a:lnTo>
                    <a:pt x="147637" y="55323"/>
                  </a:lnTo>
                  <a:lnTo>
                    <a:pt x="82845" y="5532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orme libre : forme 65">
              <a:extLst>
                <a:ext uri="{FF2B5EF4-FFF2-40B4-BE49-F238E27FC236}">
                  <a16:creationId xmlns:a16="http://schemas.microsoft.com/office/drawing/2014/main" id="{61A670F2-3CC6-425A-A67F-3F30EE51B04A}"/>
                </a:ext>
              </a:extLst>
            </p:cNvPr>
            <p:cNvSpPr/>
            <p:nvPr/>
          </p:nvSpPr>
          <p:spPr>
            <a:xfrm rot="8716295">
              <a:off x="330834" y="4134902"/>
              <a:ext cx="254613" cy="91157"/>
            </a:xfrm>
            <a:custGeom>
              <a:avLst/>
              <a:gdLst>
                <a:gd name="connsiteX0" fmla="*/ 0 w 254613"/>
                <a:gd name="connsiteY0" fmla="*/ 68911 h 91157"/>
                <a:gd name="connsiteX1" fmla="*/ 56997 w 254613"/>
                <a:gd name="connsiteY1" fmla="*/ 0 h 91157"/>
                <a:gd name="connsiteX2" fmla="*/ 57517 w 254613"/>
                <a:gd name="connsiteY2" fmla="*/ 2143 h 91157"/>
                <a:gd name="connsiteX3" fmla="*/ 128118 w 254613"/>
                <a:gd name="connsiteY3" fmla="*/ 40974 h 91157"/>
                <a:gd name="connsiteX4" fmla="*/ 181070 w 254613"/>
                <a:gd name="connsiteY4" fmla="*/ 31560 h 91157"/>
                <a:gd name="connsiteX5" fmla="*/ 253437 w 254613"/>
                <a:gd name="connsiteY5" fmla="*/ 2143 h 91157"/>
                <a:gd name="connsiteX6" fmla="*/ 254613 w 254613"/>
                <a:gd name="connsiteY6" fmla="*/ 9791 h 91157"/>
                <a:gd name="connsiteX7" fmla="*/ 254613 w 254613"/>
                <a:gd name="connsiteY7" fmla="*/ 15674 h 91157"/>
                <a:gd name="connsiteX8" fmla="*/ 61636 w 254613"/>
                <a:gd name="connsiteY8" fmla="*/ 90983 h 91157"/>
                <a:gd name="connsiteX9" fmla="*/ 22363 w 254613"/>
                <a:gd name="connsiteY9" fmla="*/ 84217 h 91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4613" h="91157">
                  <a:moveTo>
                    <a:pt x="0" y="68911"/>
                  </a:moveTo>
                  <a:lnTo>
                    <a:pt x="56997" y="0"/>
                  </a:lnTo>
                  <a:lnTo>
                    <a:pt x="57517" y="2143"/>
                  </a:lnTo>
                  <a:cubicBezTo>
                    <a:pt x="66931" y="28030"/>
                    <a:pt x="91053" y="40974"/>
                    <a:pt x="128118" y="40974"/>
                  </a:cubicBezTo>
                  <a:cubicBezTo>
                    <a:pt x="146357" y="40385"/>
                    <a:pt x="164008" y="36855"/>
                    <a:pt x="181070" y="31560"/>
                  </a:cubicBezTo>
                  <a:cubicBezTo>
                    <a:pt x="205780" y="23912"/>
                    <a:pt x="229903" y="13910"/>
                    <a:pt x="253437" y="2143"/>
                  </a:cubicBezTo>
                  <a:cubicBezTo>
                    <a:pt x="254025" y="4496"/>
                    <a:pt x="254613" y="7438"/>
                    <a:pt x="254613" y="9791"/>
                  </a:cubicBezTo>
                  <a:lnTo>
                    <a:pt x="254613" y="15674"/>
                  </a:lnTo>
                  <a:cubicBezTo>
                    <a:pt x="192249" y="69215"/>
                    <a:pt x="110468" y="88042"/>
                    <a:pt x="61636" y="90983"/>
                  </a:cubicBezTo>
                  <a:cubicBezTo>
                    <a:pt x="48104" y="91866"/>
                    <a:pt x="34719" y="89365"/>
                    <a:pt x="22363" y="84217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orme libre : forme 66">
              <a:extLst>
                <a:ext uri="{FF2B5EF4-FFF2-40B4-BE49-F238E27FC236}">
                  <a16:creationId xmlns:a16="http://schemas.microsoft.com/office/drawing/2014/main" id="{8311F45B-46D1-4E93-B5FB-C96A0B131FB3}"/>
                </a:ext>
              </a:extLst>
            </p:cNvPr>
            <p:cNvSpPr/>
            <p:nvPr/>
          </p:nvSpPr>
          <p:spPr>
            <a:xfrm rot="8716295">
              <a:off x="-3428" y="2405990"/>
              <a:ext cx="142167" cy="208592"/>
            </a:xfrm>
            <a:custGeom>
              <a:avLst/>
              <a:gdLst>
                <a:gd name="connsiteX0" fmla="*/ 81108 w 142167"/>
                <a:gd name="connsiteY0" fmla="*/ 208592 h 208592"/>
                <a:gd name="connsiteX1" fmla="*/ 81108 w 142167"/>
                <a:gd name="connsiteY1" fmla="*/ 69717 h 208592"/>
                <a:gd name="connsiteX2" fmla="*/ 81108 w 142167"/>
                <a:gd name="connsiteY2" fmla="*/ 65615 h 208592"/>
                <a:gd name="connsiteX3" fmla="*/ 60604 w 142167"/>
                <a:gd name="connsiteY3" fmla="*/ 50123 h 208592"/>
                <a:gd name="connsiteX4" fmla="*/ 0 w 142167"/>
                <a:gd name="connsiteY4" fmla="*/ 50123 h 208592"/>
                <a:gd name="connsiteX5" fmla="*/ 0 w 142167"/>
                <a:gd name="connsiteY5" fmla="*/ 0 h 208592"/>
                <a:gd name="connsiteX6" fmla="*/ 85210 w 142167"/>
                <a:gd name="connsiteY6" fmla="*/ 0 h 208592"/>
                <a:gd name="connsiteX7" fmla="*/ 142167 w 142167"/>
                <a:gd name="connsiteY7" fmla="*/ 50123 h 208592"/>
                <a:gd name="connsiteX8" fmla="*/ 142167 w 142167"/>
                <a:gd name="connsiteY8" fmla="*/ 120504 h 20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08592">
                  <a:moveTo>
                    <a:pt x="81108" y="208592"/>
                  </a:moveTo>
                  <a:lnTo>
                    <a:pt x="81108" y="69717"/>
                  </a:lnTo>
                  <a:cubicBezTo>
                    <a:pt x="81108" y="68350"/>
                    <a:pt x="81108" y="66983"/>
                    <a:pt x="81108" y="65615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10" y="0"/>
                  </a:lnTo>
                  <a:cubicBezTo>
                    <a:pt x="122118" y="0"/>
                    <a:pt x="142167" y="15948"/>
                    <a:pt x="142167" y="50123"/>
                  </a:cubicBezTo>
                  <a:lnTo>
                    <a:pt x="142167" y="120504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FBB49843-79D6-49E9-8512-3ED8074BAF49}"/>
                </a:ext>
              </a:extLst>
            </p:cNvPr>
            <p:cNvSpPr/>
            <p:nvPr/>
          </p:nvSpPr>
          <p:spPr>
            <a:xfrm rot="8716295">
              <a:off x="80015" y="241329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orme libre : forme 68">
              <a:extLst>
                <a:ext uri="{FF2B5EF4-FFF2-40B4-BE49-F238E27FC236}">
                  <a16:creationId xmlns:a16="http://schemas.microsoft.com/office/drawing/2014/main" id="{2588E0D5-81C5-4973-87D7-DBF7607FAFF4}"/>
                </a:ext>
              </a:extLst>
            </p:cNvPr>
            <p:cNvSpPr/>
            <p:nvPr/>
          </p:nvSpPr>
          <p:spPr>
            <a:xfrm rot="8716295">
              <a:off x="35165" y="232701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orme libre : forme 69">
              <a:extLst>
                <a:ext uri="{FF2B5EF4-FFF2-40B4-BE49-F238E27FC236}">
                  <a16:creationId xmlns:a16="http://schemas.microsoft.com/office/drawing/2014/main" id="{4C19B60F-0DA9-4BC3-BAAD-2E7DE57F5376}"/>
                </a:ext>
              </a:extLst>
            </p:cNvPr>
            <p:cNvSpPr/>
            <p:nvPr/>
          </p:nvSpPr>
          <p:spPr>
            <a:xfrm rot="8716295">
              <a:off x="-20257" y="2217087"/>
              <a:ext cx="78731" cy="180665"/>
            </a:xfrm>
            <a:custGeom>
              <a:avLst/>
              <a:gdLst>
                <a:gd name="connsiteX0" fmla="*/ 0 w 78731"/>
                <a:gd name="connsiteY0" fmla="*/ 180665 h 180665"/>
                <a:gd name="connsiteX1" fmla="*/ 0 w 78731"/>
                <a:gd name="connsiteY1" fmla="*/ 40596 h 180665"/>
                <a:gd name="connsiteX2" fmla="*/ 78250 w 78731"/>
                <a:gd name="connsiteY2" fmla="*/ 0 h 180665"/>
                <a:gd name="connsiteX3" fmla="*/ 78731 w 78731"/>
                <a:gd name="connsiteY3" fmla="*/ 67083 h 180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731" h="180665">
                  <a:moveTo>
                    <a:pt x="0" y="180665"/>
                  </a:moveTo>
                  <a:lnTo>
                    <a:pt x="0" y="40596"/>
                  </a:lnTo>
                  <a:lnTo>
                    <a:pt x="78250" y="0"/>
                  </a:lnTo>
                  <a:lnTo>
                    <a:pt x="78731" y="6708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orme libre : forme 70">
              <a:extLst>
                <a:ext uri="{FF2B5EF4-FFF2-40B4-BE49-F238E27FC236}">
                  <a16:creationId xmlns:a16="http://schemas.microsoft.com/office/drawing/2014/main" id="{6EC16758-5536-44AA-B18E-D5428BFF36DA}"/>
                </a:ext>
              </a:extLst>
            </p:cNvPr>
            <p:cNvSpPr/>
            <p:nvPr/>
          </p:nvSpPr>
          <p:spPr>
            <a:xfrm rot="8716295">
              <a:off x="-15341" y="2575209"/>
              <a:ext cx="103435" cy="152027"/>
            </a:xfrm>
            <a:custGeom>
              <a:avLst/>
              <a:gdLst>
                <a:gd name="connsiteX0" fmla="*/ 43288 w 103435"/>
                <a:gd name="connsiteY0" fmla="*/ 152027 h 152027"/>
                <a:gd name="connsiteX1" fmla="*/ 43288 w 103435"/>
                <a:gd name="connsiteY1" fmla="*/ 16404 h 152027"/>
                <a:gd name="connsiteX2" fmla="*/ 0 w 103435"/>
                <a:gd name="connsiteY2" fmla="*/ 16404 h 152027"/>
                <a:gd name="connsiteX3" fmla="*/ 0 w 103435"/>
                <a:gd name="connsiteY3" fmla="*/ 2278 h 152027"/>
                <a:gd name="connsiteX4" fmla="*/ 103435 w 103435"/>
                <a:gd name="connsiteY4" fmla="*/ 0 h 152027"/>
                <a:gd name="connsiteX5" fmla="*/ 103435 w 103435"/>
                <a:gd name="connsiteY5" fmla="*/ 65255 h 152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152027">
                  <a:moveTo>
                    <a:pt x="43288" y="152027"/>
                  </a:move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65255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orme libre : forme 71">
              <a:extLst>
                <a:ext uri="{FF2B5EF4-FFF2-40B4-BE49-F238E27FC236}">
                  <a16:creationId xmlns:a16="http://schemas.microsoft.com/office/drawing/2014/main" id="{F8CD2FD6-8E29-4A7B-A6E7-A08269AC0224}"/>
                </a:ext>
              </a:extLst>
            </p:cNvPr>
            <p:cNvSpPr/>
            <p:nvPr/>
          </p:nvSpPr>
          <p:spPr>
            <a:xfrm rot="8716295">
              <a:off x="279722" y="21339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orme libre : forme 72">
              <a:extLst>
                <a:ext uri="{FF2B5EF4-FFF2-40B4-BE49-F238E27FC236}">
                  <a16:creationId xmlns:a16="http://schemas.microsoft.com/office/drawing/2014/main" id="{B8E4BE1C-C619-4E1A-8472-B00AFC43BA29}"/>
                </a:ext>
              </a:extLst>
            </p:cNvPr>
            <p:cNvSpPr/>
            <p:nvPr/>
          </p:nvSpPr>
          <p:spPr>
            <a:xfrm rot="8716295">
              <a:off x="369114" y="21631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" name="Forme libre : forme 73">
              <a:extLst>
                <a:ext uri="{FF2B5EF4-FFF2-40B4-BE49-F238E27FC236}">
                  <a16:creationId xmlns:a16="http://schemas.microsoft.com/office/drawing/2014/main" id="{E00D5309-AD7C-43C7-8A0B-B7211B97E879}"/>
                </a:ext>
              </a:extLst>
            </p:cNvPr>
            <p:cNvSpPr/>
            <p:nvPr/>
          </p:nvSpPr>
          <p:spPr>
            <a:xfrm rot="8716295">
              <a:off x="167488" y="22224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" name="Forme libre : forme 74">
              <a:extLst>
                <a:ext uri="{FF2B5EF4-FFF2-40B4-BE49-F238E27FC236}">
                  <a16:creationId xmlns:a16="http://schemas.microsoft.com/office/drawing/2014/main" id="{569B59A1-12B4-4886-9F85-B0AFCE236D87}"/>
                </a:ext>
              </a:extLst>
            </p:cNvPr>
            <p:cNvSpPr/>
            <p:nvPr/>
          </p:nvSpPr>
          <p:spPr>
            <a:xfrm rot="8716295">
              <a:off x="42586" y="20137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" name="Forme libre : forme 75">
              <a:extLst>
                <a:ext uri="{FF2B5EF4-FFF2-40B4-BE49-F238E27FC236}">
                  <a16:creationId xmlns:a16="http://schemas.microsoft.com/office/drawing/2014/main" id="{F564295A-16CC-45A5-86A1-4CEC6CD90425}"/>
                </a:ext>
              </a:extLst>
            </p:cNvPr>
            <p:cNvSpPr/>
            <p:nvPr/>
          </p:nvSpPr>
          <p:spPr>
            <a:xfrm rot="8716295">
              <a:off x="257666" y="226339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" name="Forme libre : forme 76">
              <a:extLst>
                <a:ext uri="{FF2B5EF4-FFF2-40B4-BE49-F238E27FC236}">
                  <a16:creationId xmlns:a16="http://schemas.microsoft.com/office/drawing/2014/main" id="{2384700C-00D8-4B4D-ABDF-BE0456A14505}"/>
                </a:ext>
              </a:extLst>
            </p:cNvPr>
            <p:cNvSpPr/>
            <p:nvPr/>
          </p:nvSpPr>
          <p:spPr>
            <a:xfrm rot="8716295">
              <a:off x="16215" y="211379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" name="Forme libre : forme 77">
              <a:extLst>
                <a:ext uri="{FF2B5EF4-FFF2-40B4-BE49-F238E27FC236}">
                  <a16:creationId xmlns:a16="http://schemas.microsoft.com/office/drawing/2014/main" id="{D8BA4606-ED26-402C-93D7-D77E55C056EF}"/>
                </a:ext>
              </a:extLst>
            </p:cNvPr>
            <p:cNvSpPr/>
            <p:nvPr/>
          </p:nvSpPr>
          <p:spPr>
            <a:xfrm rot="7484129">
              <a:off x="362597" y="245474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orme libre : forme 78">
              <a:extLst>
                <a:ext uri="{FF2B5EF4-FFF2-40B4-BE49-F238E27FC236}">
                  <a16:creationId xmlns:a16="http://schemas.microsoft.com/office/drawing/2014/main" id="{3CCE9711-ABFF-417D-B3E6-0BDB1263FCD1}"/>
                </a:ext>
              </a:extLst>
            </p:cNvPr>
            <p:cNvSpPr/>
            <p:nvPr/>
          </p:nvSpPr>
          <p:spPr>
            <a:xfrm rot="13089394">
              <a:off x="463440" y="2426400"/>
              <a:ext cx="272584" cy="319064"/>
            </a:xfrm>
            <a:custGeom>
              <a:avLst/>
              <a:gdLst>
                <a:gd name="connsiteX0" fmla="*/ 80445 w 272584"/>
                <a:gd name="connsiteY0" fmla="*/ 215518 h 319064"/>
                <a:gd name="connsiteX1" fmla="*/ 0 w 272584"/>
                <a:gd name="connsiteY1" fmla="*/ 93007 h 319064"/>
                <a:gd name="connsiteX2" fmla="*/ 0 w 272584"/>
                <a:gd name="connsiteY2" fmla="*/ 38074 h 319064"/>
                <a:gd name="connsiteX3" fmla="*/ 73388 w 272584"/>
                <a:gd name="connsiteY3" fmla="*/ 0 h 319064"/>
                <a:gd name="connsiteX4" fmla="*/ 74492 w 272584"/>
                <a:gd name="connsiteY4" fmla="*/ 153950 h 319064"/>
                <a:gd name="connsiteX5" fmla="*/ 76768 w 272584"/>
                <a:gd name="connsiteY5" fmla="*/ 200369 h 319064"/>
                <a:gd name="connsiteX6" fmla="*/ 272584 w 272584"/>
                <a:gd name="connsiteY6" fmla="*/ 258238 h 319064"/>
                <a:gd name="connsiteX7" fmla="*/ 177331 w 272584"/>
                <a:gd name="connsiteY7" fmla="*/ 311347 h 319064"/>
                <a:gd name="connsiteX8" fmla="*/ 148437 w 272584"/>
                <a:gd name="connsiteY8" fmla="*/ 319064 h 319064"/>
                <a:gd name="connsiteX9" fmla="*/ 119231 w 272584"/>
                <a:gd name="connsiteY9" fmla="*/ 274585 h 319064"/>
                <a:gd name="connsiteX10" fmla="*/ 153949 w 272584"/>
                <a:gd name="connsiteY10" fmla="*/ 281965 h 319064"/>
                <a:gd name="connsiteX11" fmla="*/ 203610 w 272584"/>
                <a:gd name="connsiteY11" fmla="*/ 273136 h 319064"/>
                <a:gd name="connsiteX12" fmla="*/ 271481 w 272584"/>
                <a:gd name="connsiteY12" fmla="*/ 245547 h 319064"/>
                <a:gd name="connsiteX13" fmla="*/ 272584 w 272584"/>
                <a:gd name="connsiteY13" fmla="*/ 252720 h 319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2584" h="319064">
                  <a:moveTo>
                    <a:pt x="80445" y="215518"/>
                  </a:moveTo>
                  <a:lnTo>
                    <a:pt x="0" y="93007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3664" y="169400"/>
                    <a:pt x="74492" y="184988"/>
                    <a:pt x="76768" y="200369"/>
                  </a:cubicBezTo>
                  <a:close/>
                  <a:moveTo>
                    <a:pt x="272584" y="258238"/>
                  </a:moveTo>
                  <a:cubicBezTo>
                    <a:pt x="243339" y="283344"/>
                    <a:pt x="209542" y="300312"/>
                    <a:pt x="177331" y="311347"/>
                  </a:cubicBezTo>
                  <a:lnTo>
                    <a:pt x="148437" y="319064"/>
                  </a:lnTo>
                  <a:lnTo>
                    <a:pt x="119231" y="274585"/>
                  </a:lnTo>
                  <a:lnTo>
                    <a:pt x="153949" y="281965"/>
                  </a:lnTo>
                  <a:cubicBezTo>
                    <a:pt x="171055" y="281413"/>
                    <a:pt x="187609" y="278102"/>
                    <a:pt x="203610" y="273136"/>
                  </a:cubicBezTo>
                  <a:cubicBezTo>
                    <a:pt x="226785" y="265963"/>
                    <a:pt x="249409" y="256583"/>
                    <a:pt x="271481" y="245547"/>
                  </a:cubicBezTo>
                  <a:cubicBezTo>
                    <a:pt x="272032" y="247754"/>
                    <a:pt x="272584" y="250513"/>
                    <a:pt x="272584" y="25272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Forme libre : forme 79">
              <a:extLst>
                <a:ext uri="{FF2B5EF4-FFF2-40B4-BE49-F238E27FC236}">
                  <a16:creationId xmlns:a16="http://schemas.microsoft.com/office/drawing/2014/main" id="{6E12610B-6A34-4C00-8EC5-09F9F5AEEEF0}"/>
                </a:ext>
              </a:extLst>
            </p:cNvPr>
            <p:cNvSpPr/>
            <p:nvPr/>
          </p:nvSpPr>
          <p:spPr>
            <a:xfrm rot="8716295">
              <a:off x="675867" y="2357327"/>
              <a:ext cx="38012" cy="45752"/>
            </a:xfrm>
            <a:custGeom>
              <a:avLst/>
              <a:gdLst>
                <a:gd name="connsiteX0" fmla="*/ 0 w 38012"/>
                <a:gd name="connsiteY0" fmla="*/ 45752 h 45752"/>
                <a:gd name="connsiteX1" fmla="*/ 37842 w 38012"/>
                <a:gd name="connsiteY1" fmla="*/ 0 h 45752"/>
                <a:gd name="connsiteX2" fmla="*/ 38012 w 38012"/>
                <a:gd name="connsiteY2" fmla="*/ 641 h 45752"/>
                <a:gd name="connsiteX3" fmla="*/ 6841 w 38012"/>
                <a:gd name="connsiteY3" fmla="*/ 42560 h 45752"/>
                <a:gd name="connsiteX4" fmla="*/ 7378 w 38012"/>
                <a:gd name="connsiteY4" fmla="*/ 42560 h 45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012" h="45752">
                  <a:moveTo>
                    <a:pt x="0" y="45752"/>
                  </a:moveTo>
                  <a:lnTo>
                    <a:pt x="37842" y="0"/>
                  </a:lnTo>
                  <a:lnTo>
                    <a:pt x="38012" y="641"/>
                  </a:lnTo>
                  <a:cubicBezTo>
                    <a:pt x="36400" y="19451"/>
                    <a:pt x="24039" y="35036"/>
                    <a:pt x="6841" y="42560"/>
                  </a:cubicBezTo>
                  <a:lnTo>
                    <a:pt x="7378" y="4256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" name="Forme libre : forme 80">
              <a:extLst>
                <a:ext uri="{FF2B5EF4-FFF2-40B4-BE49-F238E27FC236}">
                  <a16:creationId xmlns:a16="http://schemas.microsoft.com/office/drawing/2014/main" id="{04C60C27-7F84-4DDC-864F-602B18A26BC5}"/>
                </a:ext>
              </a:extLst>
            </p:cNvPr>
            <p:cNvSpPr/>
            <p:nvPr/>
          </p:nvSpPr>
          <p:spPr>
            <a:xfrm rot="8716295">
              <a:off x="601197" y="21260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orme libre : forme 81">
              <a:extLst>
                <a:ext uri="{FF2B5EF4-FFF2-40B4-BE49-F238E27FC236}">
                  <a16:creationId xmlns:a16="http://schemas.microsoft.com/office/drawing/2014/main" id="{603BCEF5-66FB-4B3A-9672-2C4F09A114FA}"/>
                </a:ext>
              </a:extLst>
            </p:cNvPr>
            <p:cNvSpPr/>
            <p:nvPr/>
          </p:nvSpPr>
          <p:spPr>
            <a:xfrm rot="8716295">
              <a:off x="357951" y="21562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Forme libre : forme 82">
              <a:extLst>
                <a:ext uri="{FF2B5EF4-FFF2-40B4-BE49-F238E27FC236}">
                  <a16:creationId xmlns:a16="http://schemas.microsoft.com/office/drawing/2014/main" id="{47C10671-5456-47FF-825A-4447688D4139}"/>
                </a:ext>
              </a:extLst>
            </p:cNvPr>
            <p:cNvSpPr/>
            <p:nvPr/>
          </p:nvSpPr>
          <p:spPr>
            <a:xfrm rot="8716295">
              <a:off x="535403" y="199698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4" name="Forme libre : forme 83">
              <a:extLst>
                <a:ext uri="{FF2B5EF4-FFF2-40B4-BE49-F238E27FC236}">
                  <a16:creationId xmlns:a16="http://schemas.microsoft.com/office/drawing/2014/main" id="{DB34C374-02D3-4583-9890-9C27CA821837}"/>
                </a:ext>
              </a:extLst>
            </p:cNvPr>
            <p:cNvSpPr/>
            <p:nvPr/>
          </p:nvSpPr>
          <p:spPr>
            <a:xfrm rot="8716295">
              <a:off x="-76043" y="1768178"/>
              <a:ext cx="197178" cy="215049"/>
            </a:xfrm>
            <a:custGeom>
              <a:avLst/>
              <a:gdLst>
                <a:gd name="connsiteX0" fmla="*/ 51490 w 197178"/>
                <a:gd name="connsiteY0" fmla="*/ 215049 h 215049"/>
                <a:gd name="connsiteX1" fmla="*/ 51490 w 197178"/>
                <a:gd name="connsiteY1" fmla="*/ 45624 h 215049"/>
                <a:gd name="connsiteX2" fmla="*/ 0 w 197178"/>
                <a:gd name="connsiteY2" fmla="*/ 45624 h 215049"/>
                <a:gd name="connsiteX3" fmla="*/ 0 w 197178"/>
                <a:gd name="connsiteY3" fmla="*/ 1424 h 215049"/>
                <a:gd name="connsiteX4" fmla="*/ 104803 w 197178"/>
                <a:gd name="connsiteY4" fmla="*/ 1425 h 215049"/>
                <a:gd name="connsiteX5" fmla="*/ 104803 w 197178"/>
                <a:gd name="connsiteY5" fmla="*/ 75242 h 215049"/>
                <a:gd name="connsiteX6" fmla="*/ 106169 w 197178"/>
                <a:gd name="connsiteY6" fmla="*/ 75242 h 215049"/>
                <a:gd name="connsiteX7" fmla="*/ 154014 w 197178"/>
                <a:gd name="connsiteY7" fmla="*/ 5981 h 215049"/>
                <a:gd name="connsiteX8" fmla="*/ 185455 w 197178"/>
                <a:gd name="connsiteY8" fmla="*/ 57 h 215049"/>
                <a:gd name="connsiteX9" fmla="*/ 197178 w 197178"/>
                <a:gd name="connsiteY9" fmla="*/ 4872 h 215049"/>
                <a:gd name="connsiteX10" fmla="*/ 170795 w 197178"/>
                <a:gd name="connsiteY10" fmla="*/ 42934 h 215049"/>
                <a:gd name="connsiteX11" fmla="*/ 164950 w 197178"/>
                <a:gd name="connsiteY11" fmla="*/ 40156 h 215049"/>
                <a:gd name="connsiteX12" fmla="*/ 111638 w 197178"/>
                <a:gd name="connsiteY12" fmla="*/ 127643 h 215049"/>
                <a:gd name="connsiteX13" fmla="*/ 111638 w 197178"/>
                <a:gd name="connsiteY13" fmla="*/ 128277 h 21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178" h="215049">
                  <a:moveTo>
                    <a:pt x="51490" y="215049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4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lnTo>
                    <a:pt x="197178" y="4872"/>
                  </a:lnTo>
                  <a:lnTo>
                    <a:pt x="170795" y="42934"/>
                  </a:lnTo>
                  <a:lnTo>
                    <a:pt x="164950" y="40156"/>
                  </a:ln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128277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5" name="Forme libre : forme 84">
              <a:extLst>
                <a:ext uri="{FF2B5EF4-FFF2-40B4-BE49-F238E27FC236}">
                  <a16:creationId xmlns:a16="http://schemas.microsoft.com/office/drawing/2014/main" id="{F27A5053-248B-4729-A180-CFD83FBA8C7D}"/>
                </a:ext>
              </a:extLst>
            </p:cNvPr>
            <p:cNvSpPr/>
            <p:nvPr/>
          </p:nvSpPr>
          <p:spPr>
            <a:xfrm rot="8716295">
              <a:off x="56555" y="14742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6" name="Forme libre : forme 85">
              <a:extLst>
                <a:ext uri="{FF2B5EF4-FFF2-40B4-BE49-F238E27FC236}">
                  <a16:creationId xmlns:a16="http://schemas.microsoft.com/office/drawing/2014/main" id="{9918622A-7E96-4EC8-A35B-CBCD19A79AE2}"/>
                </a:ext>
              </a:extLst>
            </p:cNvPr>
            <p:cNvSpPr/>
            <p:nvPr/>
          </p:nvSpPr>
          <p:spPr>
            <a:xfrm rot="8716295">
              <a:off x="145947" y="15034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7" name="Forme libre : forme 86">
              <a:extLst>
                <a:ext uri="{FF2B5EF4-FFF2-40B4-BE49-F238E27FC236}">
                  <a16:creationId xmlns:a16="http://schemas.microsoft.com/office/drawing/2014/main" id="{0ECD9757-2AFD-4623-9C3D-24E52F11F047}"/>
                </a:ext>
              </a:extLst>
            </p:cNvPr>
            <p:cNvSpPr/>
            <p:nvPr/>
          </p:nvSpPr>
          <p:spPr>
            <a:xfrm rot="8716295">
              <a:off x="-21870" y="1443501"/>
              <a:ext cx="68614" cy="55323"/>
            </a:xfrm>
            <a:custGeom>
              <a:avLst/>
              <a:gdLst>
                <a:gd name="connsiteX0" fmla="*/ 0 w 68614"/>
                <a:gd name="connsiteY0" fmla="*/ 55323 h 55323"/>
                <a:gd name="connsiteX1" fmla="*/ 0 w 68614"/>
                <a:gd name="connsiteY1" fmla="*/ 0 h 55323"/>
                <a:gd name="connsiteX2" fmla="*/ 68614 w 68614"/>
                <a:gd name="connsiteY2" fmla="*/ 0 h 55323"/>
                <a:gd name="connsiteX3" fmla="*/ 30266 w 68614"/>
                <a:gd name="connsiteY3" fmla="*/ 55323 h 55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614" h="55323">
                  <a:moveTo>
                    <a:pt x="0" y="55323"/>
                  </a:moveTo>
                  <a:lnTo>
                    <a:pt x="0" y="0"/>
                  </a:lnTo>
                  <a:lnTo>
                    <a:pt x="68614" y="0"/>
                  </a:lnTo>
                  <a:lnTo>
                    <a:pt x="30266" y="5532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8" name="Forme libre : forme 87">
              <a:extLst>
                <a:ext uri="{FF2B5EF4-FFF2-40B4-BE49-F238E27FC236}">
                  <a16:creationId xmlns:a16="http://schemas.microsoft.com/office/drawing/2014/main" id="{661ED1FA-7FC0-427E-9226-6E31215700D9}"/>
                </a:ext>
              </a:extLst>
            </p:cNvPr>
            <p:cNvSpPr/>
            <p:nvPr/>
          </p:nvSpPr>
          <p:spPr>
            <a:xfrm rot="8716295">
              <a:off x="35817" y="1618109"/>
              <a:ext cx="103435" cy="203897"/>
            </a:xfrm>
            <a:custGeom>
              <a:avLst/>
              <a:gdLst>
                <a:gd name="connsiteX0" fmla="*/ 87556 w 103435"/>
                <a:gd name="connsiteY0" fmla="*/ 203897 h 203897"/>
                <a:gd name="connsiteX1" fmla="*/ 43288 w 103435"/>
                <a:gd name="connsiteY1" fmla="*/ 161305 h 203897"/>
                <a:gd name="connsiteX2" fmla="*/ 43288 w 103435"/>
                <a:gd name="connsiteY2" fmla="*/ 16404 h 203897"/>
                <a:gd name="connsiteX3" fmla="*/ 0 w 103435"/>
                <a:gd name="connsiteY3" fmla="*/ 16404 h 203897"/>
                <a:gd name="connsiteX4" fmla="*/ 0 w 103435"/>
                <a:gd name="connsiteY4" fmla="*/ 2278 h 203897"/>
                <a:gd name="connsiteX5" fmla="*/ 103435 w 103435"/>
                <a:gd name="connsiteY5" fmla="*/ 0 h 203897"/>
                <a:gd name="connsiteX6" fmla="*/ 103435 w 103435"/>
                <a:gd name="connsiteY6" fmla="*/ 180989 h 203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03897">
                  <a:moveTo>
                    <a:pt x="87556" y="203897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180989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9" name="Forme libre : forme 88">
              <a:extLst>
                <a:ext uri="{FF2B5EF4-FFF2-40B4-BE49-F238E27FC236}">
                  <a16:creationId xmlns:a16="http://schemas.microsoft.com/office/drawing/2014/main" id="{A1295F39-BDBB-432C-B32B-C5B551977FC2}"/>
                </a:ext>
              </a:extLst>
            </p:cNvPr>
            <p:cNvSpPr/>
            <p:nvPr/>
          </p:nvSpPr>
          <p:spPr>
            <a:xfrm rot="7484129">
              <a:off x="139430" y="17950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" name="Forme libre : forme 89">
              <a:extLst>
                <a:ext uri="{FF2B5EF4-FFF2-40B4-BE49-F238E27FC236}">
                  <a16:creationId xmlns:a16="http://schemas.microsoft.com/office/drawing/2014/main" id="{F2E91B5E-C359-4716-9781-DAEDAFFE884C}"/>
                </a:ext>
              </a:extLst>
            </p:cNvPr>
            <p:cNvSpPr/>
            <p:nvPr/>
          </p:nvSpPr>
          <p:spPr>
            <a:xfrm rot="13089394">
              <a:off x="244250" y="17615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" name="Forme libre : forme 90">
              <a:extLst>
                <a:ext uri="{FF2B5EF4-FFF2-40B4-BE49-F238E27FC236}">
                  <a16:creationId xmlns:a16="http://schemas.microsoft.com/office/drawing/2014/main" id="{4C9CCC26-5417-41E7-B753-3B7D59038FBD}"/>
                </a:ext>
              </a:extLst>
            </p:cNvPr>
            <p:cNvSpPr/>
            <p:nvPr/>
          </p:nvSpPr>
          <p:spPr>
            <a:xfrm rot="8716295">
              <a:off x="429835" y="15699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" name="Forme libre : forme 91">
              <a:extLst>
                <a:ext uri="{FF2B5EF4-FFF2-40B4-BE49-F238E27FC236}">
                  <a16:creationId xmlns:a16="http://schemas.microsoft.com/office/drawing/2014/main" id="{D6712892-AD9E-4694-AEF5-3D17C5AEEE1D}"/>
                </a:ext>
              </a:extLst>
            </p:cNvPr>
            <p:cNvSpPr/>
            <p:nvPr/>
          </p:nvSpPr>
          <p:spPr>
            <a:xfrm rot="8716295">
              <a:off x="378030" y="14663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" name="Forme libre : forme 92">
              <a:extLst>
                <a:ext uri="{FF2B5EF4-FFF2-40B4-BE49-F238E27FC236}">
                  <a16:creationId xmlns:a16="http://schemas.microsoft.com/office/drawing/2014/main" id="{8DA7EFED-D0A6-45D4-A875-2F1DCEFC57C8}"/>
                </a:ext>
              </a:extLst>
            </p:cNvPr>
            <p:cNvSpPr/>
            <p:nvPr/>
          </p:nvSpPr>
          <p:spPr>
            <a:xfrm rot="8716295">
              <a:off x="134784" y="14965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" name="Forme libre : forme 93">
              <a:extLst>
                <a:ext uri="{FF2B5EF4-FFF2-40B4-BE49-F238E27FC236}">
                  <a16:creationId xmlns:a16="http://schemas.microsoft.com/office/drawing/2014/main" id="{32971A81-1820-4964-A66E-2FD721A16F56}"/>
                </a:ext>
              </a:extLst>
            </p:cNvPr>
            <p:cNvSpPr/>
            <p:nvPr/>
          </p:nvSpPr>
          <p:spPr>
            <a:xfrm rot="8716295">
              <a:off x="312236" y="13372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orme libre : forme 94">
              <a:extLst>
                <a:ext uri="{FF2B5EF4-FFF2-40B4-BE49-F238E27FC236}">
                  <a16:creationId xmlns:a16="http://schemas.microsoft.com/office/drawing/2014/main" id="{BC42F9C8-99E7-4F04-B258-C142D2DE142F}"/>
                </a:ext>
              </a:extLst>
            </p:cNvPr>
            <p:cNvSpPr/>
            <p:nvPr/>
          </p:nvSpPr>
          <p:spPr>
            <a:xfrm rot="8716295">
              <a:off x="-17798" y="949199"/>
              <a:ext cx="39526" cy="50123"/>
            </a:xfrm>
            <a:custGeom>
              <a:avLst/>
              <a:gdLst>
                <a:gd name="connsiteX0" fmla="*/ 0 w 39526"/>
                <a:gd name="connsiteY0" fmla="*/ 50123 h 50123"/>
                <a:gd name="connsiteX1" fmla="*/ 0 w 39526"/>
                <a:gd name="connsiteY1" fmla="*/ 0 h 50123"/>
                <a:gd name="connsiteX2" fmla="*/ 39526 w 39526"/>
                <a:gd name="connsiteY2" fmla="*/ 0 h 50123"/>
                <a:gd name="connsiteX3" fmla="*/ 4782 w 39526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26" h="50123">
                  <a:moveTo>
                    <a:pt x="0" y="50123"/>
                  </a:moveTo>
                  <a:lnTo>
                    <a:pt x="0" y="0"/>
                  </a:lnTo>
                  <a:lnTo>
                    <a:pt x="39526" y="0"/>
                  </a:lnTo>
                  <a:lnTo>
                    <a:pt x="4782" y="5012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Forme libre : forme 95">
              <a:extLst>
                <a:ext uri="{FF2B5EF4-FFF2-40B4-BE49-F238E27FC236}">
                  <a16:creationId xmlns:a16="http://schemas.microsoft.com/office/drawing/2014/main" id="{D29A62DB-0DC5-407D-A1DF-C8A39BAC784A}"/>
                </a:ext>
              </a:extLst>
            </p:cNvPr>
            <p:cNvSpPr/>
            <p:nvPr/>
          </p:nvSpPr>
          <p:spPr>
            <a:xfrm rot="8716295">
              <a:off x="-64996" y="834728"/>
              <a:ext cx="249650" cy="254774"/>
            </a:xfrm>
            <a:custGeom>
              <a:avLst/>
              <a:gdLst>
                <a:gd name="connsiteX0" fmla="*/ 51490 w 249650"/>
                <a:gd name="connsiteY0" fmla="*/ 254774 h 254774"/>
                <a:gd name="connsiteX1" fmla="*/ 51490 w 249650"/>
                <a:gd name="connsiteY1" fmla="*/ 45624 h 254774"/>
                <a:gd name="connsiteX2" fmla="*/ 0 w 249650"/>
                <a:gd name="connsiteY2" fmla="*/ 45624 h 254774"/>
                <a:gd name="connsiteX3" fmla="*/ 0 w 249650"/>
                <a:gd name="connsiteY3" fmla="*/ 1425 h 254774"/>
                <a:gd name="connsiteX4" fmla="*/ 104803 w 249650"/>
                <a:gd name="connsiteY4" fmla="*/ 1425 h 254774"/>
                <a:gd name="connsiteX5" fmla="*/ 104803 w 249650"/>
                <a:gd name="connsiteY5" fmla="*/ 75242 h 254774"/>
                <a:gd name="connsiteX6" fmla="*/ 106169 w 249650"/>
                <a:gd name="connsiteY6" fmla="*/ 75242 h 254774"/>
                <a:gd name="connsiteX7" fmla="*/ 154014 w 249650"/>
                <a:gd name="connsiteY7" fmla="*/ 5981 h 254774"/>
                <a:gd name="connsiteX8" fmla="*/ 185455 w 249650"/>
                <a:gd name="connsiteY8" fmla="*/ 57 h 254774"/>
                <a:gd name="connsiteX9" fmla="*/ 240647 w 249650"/>
                <a:gd name="connsiteY9" fmla="*/ 22727 h 254774"/>
                <a:gd name="connsiteX10" fmla="*/ 249650 w 249650"/>
                <a:gd name="connsiteY10" fmla="*/ 52327 h 254774"/>
                <a:gd name="connsiteX11" fmla="*/ 218795 w 249650"/>
                <a:gd name="connsiteY11" fmla="*/ 96841 h 254774"/>
                <a:gd name="connsiteX12" fmla="*/ 198669 w 249650"/>
                <a:gd name="connsiteY12" fmla="*/ 98025 h 254774"/>
                <a:gd name="connsiteX13" fmla="*/ 198669 w 249650"/>
                <a:gd name="connsiteY13" fmla="*/ 81621 h 254774"/>
                <a:gd name="connsiteX14" fmla="*/ 164950 w 249650"/>
                <a:gd name="connsiteY14" fmla="*/ 40156 h 254774"/>
                <a:gd name="connsiteX15" fmla="*/ 111638 w 249650"/>
                <a:gd name="connsiteY15" fmla="*/ 127643 h 254774"/>
                <a:gd name="connsiteX16" fmla="*/ 111638 w 249650"/>
                <a:gd name="connsiteY16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9650" h="254774">
                  <a:moveTo>
                    <a:pt x="51490" y="254774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08922" y="-398"/>
                    <a:pt x="227718" y="7576"/>
                    <a:pt x="240647" y="22727"/>
                  </a:cubicBezTo>
                  <a:lnTo>
                    <a:pt x="249650" y="52327"/>
                  </a:lnTo>
                  <a:lnTo>
                    <a:pt x="218795" y="96841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213764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" name="Forme libre : forme 96">
              <a:extLst>
                <a:ext uri="{FF2B5EF4-FFF2-40B4-BE49-F238E27FC236}">
                  <a16:creationId xmlns:a16="http://schemas.microsoft.com/office/drawing/2014/main" id="{4160A2B5-61C4-44D3-8FA4-49A1FCD41A0C}"/>
                </a:ext>
              </a:extLst>
            </p:cNvPr>
            <p:cNvSpPr/>
            <p:nvPr/>
          </p:nvSpPr>
          <p:spPr>
            <a:xfrm rot="7484129">
              <a:off x="-63314" y="1172497"/>
              <a:ext cx="203848" cy="146395"/>
            </a:xfrm>
            <a:custGeom>
              <a:avLst/>
              <a:gdLst>
                <a:gd name="connsiteX0" fmla="*/ 0 w 203848"/>
                <a:gd name="connsiteY0" fmla="*/ 55323 h 146395"/>
                <a:gd name="connsiteX1" fmla="*/ 0 w 203848"/>
                <a:gd name="connsiteY1" fmla="*/ 0 h 146395"/>
                <a:gd name="connsiteX2" fmla="*/ 203848 w 203848"/>
                <a:gd name="connsiteY2" fmla="*/ 0 h 146395"/>
                <a:gd name="connsiteX3" fmla="*/ 203847 w 203848"/>
                <a:gd name="connsiteY3" fmla="*/ 49512 h 146395"/>
                <a:gd name="connsiteX4" fmla="*/ 195466 w 203848"/>
                <a:gd name="connsiteY4" fmla="*/ 55323 h 146395"/>
                <a:gd name="connsiteX5" fmla="*/ 139055 w 203848"/>
                <a:gd name="connsiteY5" fmla="*/ 55323 h 146395"/>
                <a:gd name="connsiteX6" fmla="*/ 121388 w 203848"/>
                <a:gd name="connsiteY6" fmla="*/ 106685 h 146395"/>
                <a:gd name="connsiteX7" fmla="*/ 64115 w 203848"/>
                <a:gd name="connsiteY7" fmla="*/ 146395 h 146395"/>
                <a:gd name="connsiteX8" fmla="*/ 47847 w 203848"/>
                <a:gd name="connsiteY8" fmla="*/ 116129 h 146395"/>
                <a:gd name="connsiteX9" fmla="*/ 69777 w 203848"/>
                <a:gd name="connsiteY9" fmla="*/ 55323 h 146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848" h="146395">
                  <a:moveTo>
                    <a:pt x="0" y="55323"/>
                  </a:moveTo>
                  <a:lnTo>
                    <a:pt x="0" y="0"/>
                  </a:lnTo>
                  <a:lnTo>
                    <a:pt x="203848" y="0"/>
                  </a:lnTo>
                  <a:lnTo>
                    <a:pt x="203847" y="49512"/>
                  </a:lnTo>
                  <a:lnTo>
                    <a:pt x="195466" y="55323"/>
                  </a:lnTo>
                  <a:lnTo>
                    <a:pt x="139055" y="55323"/>
                  </a:lnTo>
                  <a:lnTo>
                    <a:pt x="121388" y="106685"/>
                  </a:lnTo>
                  <a:lnTo>
                    <a:pt x="64115" y="146395"/>
                  </a:lnTo>
                  <a:lnTo>
                    <a:pt x="47847" y="116129"/>
                  </a:lnTo>
                  <a:lnTo>
                    <a:pt x="69777" y="5532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" name="Forme libre : forme 97">
              <a:extLst>
                <a:ext uri="{FF2B5EF4-FFF2-40B4-BE49-F238E27FC236}">
                  <a16:creationId xmlns:a16="http://schemas.microsoft.com/office/drawing/2014/main" id="{0F651F8F-312F-4D1A-9E4B-A79B81999918}"/>
                </a:ext>
              </a:extLst>
            </p:cNvPr>
            <p:cNvSpPr/>
            <p:nvPr/>
          </p:nvSpPr>
          <p:spPr>
            <a:xfrm rot="13089394">
              <a:off x="25311" y="109952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" name="Forme libre : forme 98">
              <a:extLst>
                <a:ext uri="{FF2B5EF4-FFF2-40B4-BE49-F238E27FC236}">
                  <a16:creationId xmlns:a16="http://schemas.microsoft.com/office/drawing/2014/main" id="{12E33E54-ECAF-462B-B069-F233780DF121}"/>
                </a:ext>
              </a:extLst>
            </p:cNvPr>
            <p:cNvSpPr/>
            <p:nvPr/>
          </p:nvSpPr>
          <p:spPr>
            <a:xfrm rot="8716295">
              <a:off x="210896" y="90784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orme libre : forme 99">
              <a:extLst>
                <a:ext uri="{FF2B5EF4-FFF2-40B4-BE49-F238E27FC236}">
                  <a16:creationId xmlns:a16="http://schemas.microsoft.com/office/drawing/2014/main" id="{42ACC1F1-A8E1-420C-B7DE-55FFEE501260}"/>
                </a:ext>
              </a:extLst>
            </p:cNvPr>
            <p:cNvSpPr/>
            <p:nvPr/>
          </p:nvSpPr>
          <p:spPr>
            <a:xfrm rot="8716295">
              <a:off x="159091" y="80425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Forme libre : forme 100">
              <a:extLst>
                <a:ext uri="{FF2B5EF4-FFF2-40B4-BE49-F238E27FC236}">
                  <a16:creationId xmlns:a16="http://schemas.microsoft.com/office/drawing/2014/main" id="{B902C445-D42B-4D0E-8897-FDE236E78375}"/>
                </a:ext>
              </a:extLst>
            </p:cNvPr>
            <p:cNvSpPr/>
            <p:nvPr/>
          </p:nvSpPr>
          <p:spPr>
            <a:xfrm rot="8716295">
              <a:off x="93297" y="67523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" name="Forme libre : forme 101">
              <a:extLst>
                <a:ext uri="{FF2B5EF4-FFF2-40B4-BE49-F238E27FC236}">
                  <a16:creationId xmlns:a16="http://schemas.microsoft.com/office/drawing/2014/main" id="{4EDB9DFE-AA44-492B-9D2C-70F199FD6162}"/>
                </a:ext>
              </a:extLst>
            </p:cNvPr>
            <p:cNvSpPr/>
            <p:nvPr/>
          </p:nvSpPr>
          <p:spPr>
            <a:xfrm rot="8716295">
              <a:off x="-7001" y="316701"/>
              <a:ext cx="14001" cy="20198"/>
            </a:xfrm>
            <a:custGeom>
              <a:avLst/>
              <a:gdLst>
                <a:gd name="connsiteX0" fmla="*/ 0 w 14001"/>
                <a:gd name="connsiteY0" fmla="*/ 20198 h 20198"/>
                <a:gd name="connsiteX1" fmla="*/ 0 w 14001"/>
                <a:gd name="connsiteY1" fmla="*/ 0 h 20198"/>
                <a:gd name="connsiteX2" fmla="*/ 14001 w 14001"/>
                <a:gd name="connsiteY2" fmla="*/ 0 h 2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01" h="20198">
                  <a:moveTo>
                    <a:pt x="0" y="20198"/>
                  </a:moveTo>
                  <a:lnTo>
                    <a:pt x="0" y="0"/>
                  </a:lnTo>
                  <a:lnTo>
                    <a:pt x="14001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" name="Forme libre : forme 102">
              <a:extLst>
                <a:ext uri="{FF2B5EF4-FFF2-40B4-BE49-F238E27FC236}">
                  <a16:creationId xmlns:a16="http://schemas.microsoft.com/office/drawing/2014/main" id="{9B8E4668-5129-4061-833F-DDB8DC144C55}"/>
                </a:ext>
              </a:extLst>
            </p:cNvPr>
            <p:cNvSpPr/>
            <p:nvPr/>
          </p:nvSpPr>
          <p:spPr>
            <a:xfrm rot="13089394">
              <a:off x="-81658" y="472652"/>
              <a:ext cx="173631" cy="237684"/>
            </a:xfrm>
            <a:custGeom>
              <a:avLst/>
              <a:gdLst>
                <a:gd name="connsiteX0" fmla="*/ 173631 w 173631"/>
                <a:gd name="connsiteY0" fmla="*/ 220990 h 237684"/>
                <a:gd name="connsiteX1" fmla="*/ 130972 w 173631"/>
                <a:gd name="connsiteY1" fmla="*/ 232382 h 237684"/>
                <a:gd name="connsiteX2" fmla="*/ 91597 w 173631"/>
                <a:gd name="connsiteY2" fmla="*/ 237521 h 237684"/>
                <a:gd name="connsiteX3" fmla="*/ 23727 w 173631"/>
                <a:gd name="connsiteY3" fmla="*/ 209931 h 237684"/>
                <a:gd name="connsiteX4" fmla="*/ 0 w 173631"/>
                <a:gd name="connsiteY4" fmla="*/ 115023 h 237684"/>
                <a:gd name="connsiteX5" fmla="*/ 0 w 173631"/>
                <a:gd name="connsiteY5" fmla="*/ 0 h 237684"/>
                <a:gd name="connsiteX6" fmla="*/ 76176 w 173631"/>
                <a:gd name="connsiteY6" fmla="*/ 96953 h 237684"/>
                <a:gd name="connsiteX7" fmla="*/ 76768 w 173631"/>
                <a:gd name="connsiteY7" fmla="*/ 109023 h 237684"/>
                <a:gd name="connsiteX8" fmla="*/ 87734 w 173631"/>
                <a:gd name="connsiteY8" fmla="*/ 154201 h 237684"/>
                <a:gd name="connsiteX9" fmla="*/ 111117 w 173631"/>
                <a:gd name="connsiteY9" fmla="*/ 181514 h 237684"/>
                <a:gd name="connsiteX10" fmla="*/ 148930 w 173631"/>
                <a:gd name="connsiteY10" fmla="*/ 189552 h 237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3631" h="237684">
                  <a:moveTo>
                    <a:pt x="173631" y="220990"/>
                  </a:moveTo>
                  <a:lnTo>
                    <a:pt x="130972" y="232382"/>
                  </a:lnTo>
                  <a:cubicBezTo>
                    <a:pt x="116428" y="235210"/>
                    <a:pt x="103047" y="236831"/>
                    <a:pt x="91597" y="237521"/>
                  </a:cubicBezTo>
                  <a:cubicBezTo>
                    <a:pt x="66215" y="239176"/>
                    <a:pt x="41384" y="228141"/>
                    <a:pt x="23727" y="209931"/>
                  </a:cubicBezTo>
                  <a:cubicBezTo>
                    <a:pt x="4966" y="191722"/>
                    <a:pt x="0" y="160270"/>
                    <a:pt x="0" y="115023"/>
                  </a:cubicBezTo>
                  <a:lnTo>
                    <a:pt x="0" y="0"/>
                  </a:lnTo>
                  <a:lnTo>
                    <a:pt x="76176" y="96953"/>
                  </a:lnTo>
                  <a:lnTo>
                    <a:pt x="76768" y="109023"/>
                  </a:lnTo>
                  <a:cubicBezTo>
                    <a:pt x="79044" y="124404"/>
                    <a:pt x="82768" y="139578"/>
                    <a:pt x="87734" y="154201"/>
                  </a:cubicBezTo>
                  <a:cubicBezTo>
                    <a:pt x="92149" y="166340"/>
                    <a:pt x="100012" y="175445"/>
                    <a:pt x="111117" y="181514"/>
                  </a:cubicBezTo>
                  <a:lnTo>
                    <a:pt x="148930" y="189552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" name="Forme libre : forme 103">
              <a:extLst>
                <a:ext uri="{FF2B5EF4-FFF2-40B4-BE49-F238E27FC236}">
                  <a16:creationId xmlns:a16="http://schemas.microsoft.com/office/drawing/2014/main" id="{99FF5E45-909E-4FF2-B754-B344F6F11F69}"/>
                </a:ext>
              </a:extLst>
            </p:cNvPr>
            <p:cNvSpPr/>
            <p:nvPr/>
          </p:nvSpPr>
          <p:spPr>
            <a:xfrm rot="8716295">
              <a:off x="-11774" y="24443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" name="Forme libre : forme 104">
              <a:extLst>
                <a:ext uri="{FF2B5EF4-FFF2-40B4-BE49-F238E27FC236}">
                  <a16:creationId xmlns:a16="http://schemas.microsoft.com/office/drawing/2014/main" id="{EB79107E-889E-47A5-A1AB-E4F4B49C7BFA}"/>
                </a:ext>
              </a:extLst>
            </p:cNvPr>
            <p:cNvSpPr/>
            <p:nvPr/>
          </p:nvSpPr>
          <p:spPr>
            <a:xfrm rot="8716295">
              <a:off x="-30092" y="143486"/>
              <a:ext cx="77721" cy="97260"/>
            </a:xfrm>
            <a:custGeom>
              <a:avLst/>
              <a:gdLst>
                <a:gd name="connsiteX0" fmla="*/ 15821 w 77721"/>
                <a:gd name="connsiteY0" fmla="*/ 97260 h 97260"/>
                <a:gd name="connsiteX1" fmla="*/ 0 w 77721"/>
                <a:gd name="connsiteY1" fmla="*/ 59790 h 97260"/>
                <a:gd name="connsiteX2" fmla="*/ 0 w 77721"/>
                <a:gd name="connsiteY2" fmla="*/ 58869 h 97260"/>
                <a:gd name="connsiteX3" fmla="*/ 17477 w 77721"/>
                <a:gd name="connsiteY3" fmla="*/ 17477 h 97260"/>
                <a:gd name="connsiteX4" fmla="*/ 58869 w 77721"/>
                <a:gd name="connsiteY4" fmla="*/ 0 h 97260"/>
                <a:gd name="connsiteX5" fmla="*/ 77721 w 77721"/>
                <a:gd name="connsiteY5" fmla="*/ 7960 h 97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721" h="97260">
                  <a:moveTo>
                    <a:pt x="15821" y="97260"/>
                  </a:moveTo>
                  <a:lnTo>
                    <a:pt x="0" y="59790"/>
                  </a:ln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lnTo>
                    <a:pt x="77721" y="796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" name="Forme libre : forme 105">
              <a:extLst>
                <a:ext uri="{FF2B5EF4-FFF2-40B4-BE49-F238E27FC236}">
                  <a16:creationId xmlns:a16="http://schemas.microsoft.com/office/drawing/2014/main" id="{D8EC7674-F8C4-4C98-B223-FB48E7028D2B}"/>
                </a:ext>
              </a:extLst>
            </p:cNvPr>
            <p:cNvSpPr/>
            <p:nvPr/>
          </p:nvSpPr>
          <p:spPr>
            <a:xfrm rot="8716295">
              <a:off x="-17797" y="3452694"/>
              <a:ext cx="58455" cy="44199"/>
            </a:xfrm>
            <a:custGeom>
              <a:avLst/>
              <a:gdLst>
                <a:gd name="connsiteX0" fmla="*/ 0 w 58455"/>
                <a:gd name="connsiteY0" fmla="*/ 44199 h 44199"/>
                <a:gd name="connsiteX1" fmla="*/ 0 w 58455"/>
                <a:gd name="connsiteY1" fmla="*/ 0 h 44199"/>
                <a:gd name="connsiteX2" fmla="*/ 58455 w 58455"/>
                <a:gd name="connsiteY2" fmla="*/ 0 h 44199"/>
                <a:gd name="connsiteX3" fmla="*/ 27817 w 58455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55" h="44199">
                  <a:moveTo>
                    <a:pt x="0" y="44199"/>
                  </a:moveTo>
                  <a:lnTo>
                    <a:pt x="0" y="0"/>
                  </a:lnTo>
                  <a:lnTo>
                    <a:pt x="58455" y="0"/>
                  </a:lnTo>
                  <a:lnTo>
                    <a:pt x="27817" y="44199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" name="Forme libre : forme 106">
              <a:extLst>
                <a:ext uri="{FF2B5EF4-FFF2-40B4-BE49-F238E27FC236}">
                  <a16:creationId xmlns:a16="http://schemas.microsoft.com/office/drawing/2014/main" id="{4367C4D5-414D-49AB-A590-D84D23E38E78}"/>
                </a:ext>
              </a:extLst>
            </p:cNvPr>
            <p:cNvSpPr/>
            <p:nvPr/>
          </p:nvSpPr>
          <p:spPr>
            <a:xfrm rot="13089394">
              <a:off x="-91485" y="3601812"/>
              <a:ext cx="206527" cy="292654"/>
            </a:xfrm>
            <a:custGeom>
              <a:avLst/>
              <a:gdLst>
                <a:gd name="connsiteX0" fmla="*/ 206527 w 206527"/>
                <a:gd name="connsiteY0" fmla="*/ 258693 h 292654"/>
                <a:gd name="connsiteX1" fmla="*/ 177331 w 206527"/>
                <a:gd name="connsiteY1" fmla="*/ 274971 h 292654"/>
                <a:gd name="connsiteX2" fmla="*/ 91597 w 206527"/>
                <a:gd name="connsiteY2" fmla="*/ 292491 h 292654"/>
                <a:gd name="connsiteX3" fmla="*/ 23727 w 206527"/>
                <a:gd name="connsiteY3" fmla="*/ 264901 h 292654"/>
                <a:gd name="connsiteX4" fmla="*/ 0 w 206527"/>
                <a:gd name="connsiteY4" fmla="*/ 169993 h 292654"/>
                <a:gd name="connsiteX5" fmla="*/ 0 w 206527"/>
                <a:gd name="connsiteY5" fmla="*/ 1698 h 292654"/>
                <a:gd name="connsiteX6" fmla="*/ 3273 w 206527"/>
                <a:gd name="connsiteY6" fmla="*/ 0 h 292654"/>
                <a:gd name="connsiteX7" fmla="*/ 74297 w 206527"/>
                <a:gd name="connsiteY7" fmla="*/ 90396 h 292654"/>
                <a:gd name="connsiteX8" fmla="*/ 74492 w 206527"/>
                <a:gd name="connsiteY8" fmla="*/ 117574 h 292654"/>
                <a:gd name="connsiteX9" fmla="*/ 87734 w 206527"/>
                <a:gd name="connsiteY9" fmla="*/ 209171 h 292654"/>
                <a:gd name="connsiteX10" fmla="*/ 153949 w 206527"/>
                <a:gd name="connsiteY10" fmla="*/ 245589 h 292654"/>
                <a:gd name="connsiteX11" fmla="*/ 191049 w 206527"/>
                <a:gd name="connsiteY11" fmla="*/ 238993 h 292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527" h="292654">
                  <a:moveTo>
                    <a:pt x="206527" y="258693"/>
                  </a:moveTo>
                  <a:lnTo>
                    <a:pt x="177331" y="274971"/>
                  </a:lnTo>
                  <a:cubicBezTo>
                    <a:pt x="145121" y="286007"/>
                    <a:pt x="114496" y="291111"/>
                    <a:pt x="91597" y="292491"/>
                  </a:cubicBezTo>
                  <a:cubicBezTo>
                    <a:pt x="66215" y="294146"/>
                    <a:pt x="41385" y="283111"/>
                    <a:pt x="23727" y="264901"/>
                  </a:cubicBezTo>
                  <a:cubicBezTo>
                    <a:pt x="4966" y="246692"/>
                    <a:pt x="0" y="215240"/>
                    <a:pt x="0" y="169993"/>
                  </a:cubicBezTo>
                  <a:lnTo>
                    <a:pt x="0" y="1698"/>
                  </a:lnTo>
                  <a:lnTo>
                    <a:pt x="3273" y="0"/>
                  </a:lnTo>
                  <a:lnTo>
                    <a:pt x="74297" y="90396"/>
                  </a:lnTo>
                  <a:lnTo>
                    <a:pt x="74492" y="117574"/>
                  </a:lnTo>
                  <a:cubicBezTo>
                    <a:pt x="72836" y="148474"/>
                    <a:pt x="77802" y="179926"/>
                    <a:pt x="87734" y="209171"/>
                  </a:cubicBezTo>
                  <a:cubicBezTo>
                    <a:pt x="96564" y="233450"/>
                    <a:pt x="119187" y="245589"/>
                    <a:pt x="153949" y="245589"/>
                  </a:cubicBezTo>
                  <a:lnTo>
                    <a:pt x="191049" y="23899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" name="Forme libre : forme 107">
              <a:extLst>
                <a:ext uri="{FF2B5EF4-FFF2-40B4-BE49-F238E27FC236}">
                  <a16:creationId xmlns:a16="http://schemas.microsoft.com/office/drawing/2014/main" id="{C0F2930B-1B76-4127-88A5-3C45B984D36E}"/>
                </a:ext>
              </a:extLst>
            </p:cNvPr>
            <p:cNvSpPr/>
            <p:nvPr/>
          </p:nvSpPr>
          <p:spPr>
            <a:xfrm rot="8716295">
              <a:off x="24761" y="33896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" name="Forme libre : forme 108">
              <a:extLst>
                <a:ext uri="{FF2B5EF4-FFF2-40B4-BE49-F238E27FC236}">
                  <a16:creationId xmlns:a16="http://schemas.microsoft.com/office/drawing/2014/main" id="{5D516E03-78DF-4FFF-8FB2-A397635DD48F}"/>
                </a:ext>
              </a:extLst>
            </p:cNvPr>
            <p:cNvSpPr/>
            <p:nvPr/>
          </p:nvSpPr>
          <p:spPr>
            <a:xfrm rot="8716295">
              <a:off x="-24047" y="3281741"/>
              <a:ext cx="106042" cy="113733"/>
            </a:xfrm>
            <a:custGeom>
              <a:avLst/>
              <a:gdLst>
                <a:gd name="connsiteX0" fmla="*/ 17477 w 106042"/>
                <a:gd name="connsiteY0" fmla="*/ 101182 h 113733"/>
                <a:gd name="connsiteX1" fmla="*/ 0 w 106042"/>
                <a:gd name="connsiteY1" fmla="*/ 59790 h 113733"/>
                <a:gd name="connsiteX2" fmla="*/ 0 w 106042"/>
                <a:gd name="connsiteY2" fmla="*/ 58869 h 113733"/>
                <a:gd name="connsiteX3" fmla="*/ 17477 w 106042"/>
                <a:gd name="connsiteY3" fmla="*/ 17477 h 113733"/>
                <a:gd name="connsiteX4" fmla="*/ 58869 w 106042"/>
                <a:gd name="connsiteY4" fmla="*/ 0 h 113733"/>
                <a:gd name="connsiteX5" fmla="*/ 100262 w 106042"/>
                <a:gd name="connsiteY5" fmla="*/ 17477 h 113733"/>
                <a:gd name="connsiteX6" fmla="*/ 106042 w 106042"/>
                <a:gd name="connsiteY6" fmla="*/ 31234 h 113733"/>
                <a:gd name="connsiteX7" fmla="*/ 48856 w 106042"/>
                <a:gd name="connsiteY7" fmla="*/ 113733 h 11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042" h="113733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cubicBezTo>
                    <a:pt x="74507" y="0"/>
                    <a:pt x="89224" y="6439"/>
                    <a:pt x="100262" y="17477"/>
                  </a:cubicBezTo>
                  <a:lnTo>
                    <a:pt x="106042" y="31234"/>
                  </a:lnTo>
                  <a:lnTo>
                    <a:pt x="48856" y="11373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" name="Forme libre : forme 109">
              <a:extLst>
                <a:ext uri="{FF2B5EF4-FFF2-40B4-BE49-F238E27FC236}">
                  <a16:creationId xmlns:a16="http://schemas.microsoft.com/office/drawing/2014/main" id="{4709179C-E348-4A89-8150-2CCBA6DE45C5}"/>
                </a:ext>
              </a:extLst>
            </p:cNvPr>
            <p:cNvSpPr/>
            <p:nvPr/>
          </p:nvSpPr>
          <p:spPr>
            <a:xfrm rot="8716295">
              <a:off x="-21924" y="3179872"/>
              <a:ext cx="45776" cy="62656"/>
            </a:xfrm>
            <a:custGeom>
              <a:avLst/>
              <a:gdLst>
                <a:gd name="connsiteX0" fmla="*/ 2345 w 45776"/>
                <a:gd name="connsiteY0" fmla="*/ 62656 h 62656"/>
                <a:gd name="connsiteX1" fmla="*/ 0 w 45776"/>
                <a:gd name="connsiteY1" fmla="*/ 57104 h 62656"/>
                <a:gd name="connsiteX2" fmla="*/ 0 w 45776"/>
                <a:gd name="connsiteY2" fmla="*/ 56183 h 62656"/>
                <a:gd name="connsiteX3" fmla="*/ 17477 w 45776"/>
                <a:gd name="connsiteY3" fmla="*/ 14791 h 62656"/>
                <a:gd name="connsiteX4" fmla="*/ 36449 w 45776"/>
                <a:gd name="connsiteY4" fmla="*/ 1913 h 62656"/>
                <a:gd name="connsiteX5" fmla="*/ 45776 w 45776"/>
                <a:gd name="connsiteY5" fmla="*/ 0 h 62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776" h="62656">
                  <a:moveTo>
                    <a:pt x="2345" y="62656"/>
                  </a:moveTo>
                  <a:lnTo>
                    <a:pt x="0" y="57104"/>
                  </a:lnTo>
                  <a:lnTo>
                    <a:pt x="0" y="56183"/>
                  </a:lnTo>
                  <a:cubicBezTo>
                    <a:pt x="0" y="40547"/>
                    <a:pt x="6439" y="25829"/>
                    <a:pt x="17477" y="14791"/>
                  </a:cubicBezTo>
                  <a:cubicBezTo>
                    <a:pt x="22996" y="9272"/>
                    <a:pt x="29435" y="4903"/>
                    <a:pt x="36449" y="1913"/>
                  </a:cubicBezTo>
                  <a:lnTo>
                    <a:pt x="45776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" name="Forme libre : forme 110">
              <a:extLst>
                <a:ext uri="{FF2B5EF4-FFF2-40B4-BE49-F238E27FC236}">
                  <a16:creationId xmlns:a16="http://schemas.microsoft.com/office/drawing/2014/main" id="{E216B864-0116-44B5-A0E9-8D6C9FB4451C}"/>
                </a:ext>
              </a:extLst>
            </p:cNvPr>
            <p:cNvSpPr/>
            <p:nvPr/>
          </p:nvSpPr>
          <p:spPr>
            <a:xfrm rot="8716295">
              <a:off x="-21324" y="4100649"/>
              <a:ext cx="79113" cy="50123"/>
            </a:xfrm>
            <a:custGeom>
              <a:avLst/>
              <a:gdLst>
                <a:gd name="connsiteX0" fmla="*/ 0 w 79113"/>
                <a:gd name="connsiteY0" fmla="*/ 50123 h 50123"/>
                <a:gd name="connsiteX1" fmla="*/ 0 w 79113"/>
                <a:gd name="connsiteY1" fmla="*/ 0 h 50123"/>
                <a:gd name="connsiteX2" fmla="*/ 79113 w 79113"/>
                <a:gd name="connsiteY2" fmla="*/ 0 h 50123"/>
                <a:gd name="connsiteX3" fmla="*/ 44369 w 79113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113" h="50123">
                  <a:moveTo>
                    <a:pt x="0" y="50123"/>
                  </a:moveTo>
                  <a:lnTo>
                    <a:pt x="0" y="0"/>
                  </a:lnTo>
                  <a:lnTo>
                    <a:pt x="79113" y="0"/>
                  </a:lnTo>
                  <a:lnTo>
                    <a:pt x="44369" y="5012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" name="Forme libre : forme 111">
              <a:extLst>
                <a:ext uri="{FF2B5EF4-FFF2-40B4-BE49-F238E27FC236}">
                  <a16:creationId xmlns:a16="http://schemas.microsoft.com/office/drawing/2014/main" id="{E81DDFAA-1A06-4A18-8287-C68132D6876A}"/>
                </a:ext>
              </a:extLst>
            </p:cNvPr>
            <p:cNvSpPr/>
            <p:nvPr/>
          </p:nvSpPr>
          <p:spPr>
            <a:xfrm rot="8716295">
              <a:off x="-40457" y="398156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" name="Forme libre : forme 112">
              <a:extLst>
                <a:ext uri="{FF2B5EF4-FFF2-40B4-BE49-F238E27FC236}">
                  <a16:creationId xmlns:a16="http://schemas.microsoft.com/office/drawing/2014/main" id="{1D567C73-1317-457C-BAF4-E866C8E84479}"/>
                </a:ext>
              </a:extLst>
            </p:cNvPr>
            <p:cNvSpPr/>
            <p:nvPr/>
          </p:nvSpPr>
          <p:spPr>
            <a:xfrm rot="7484129">
              <a:off x="-46974" y="427316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" name="Forme libre : forme 113">
              <a:extLst>
                <a:ext uri="{FF2B5EF4-FFF2-40B4-BE49-F238E27FC236}">
                  <a16:creationId xmlns:a16="http://schemas.microsoft.com/office/drawing/2014/main" id="{4B07308E-D0A0-4D3E-9DEB-C235BB5B8299}"/>
                </a:ext>
              </a:extLst>
            </p:cNvPr>
            <p:cNvSpPr/>
            <p:nvPr/>
          </p:nvSpPr>
          <p:spPr>
            <a:xfrm rot="13089394">
              <a:off x="57846" y="423970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" name="Forme libre : forme 114">
              <a:extLst>
                <a:ext uri="{FF2B5EF4-FFF2-40B4-BE49-F238E27FC236}">
                  <a16:creationId xmlns:a16="http://schemas.microsoft.com/office/drawing/2014/main" id="{B3D02E0E-617A-4DDE-855C-BECF0834C305}"/>
                </a:ext>
              </a:extLst>
            </p:cNvPr>
            <p:cNvSpPr/>
            <p:nvPr/>
          </p:nvSpPr>
          <p:spPr>
            <a:xfrm rot="8716295">
              <a:off x="243431" y="404801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" name="Forme libre : forme 115">
              <a:extLst>
                <a:ext uri="{FF2B5EF4-FFF2-40B4-BE49-F238E27FC236}">
                  <a16:creationId xmlns:a16="http://schemas.microsoft.com/office/drawing/2014/main" id="{FCFFBDC4-0942-4E6E-9EF4-22477617D5C9}"/>
                </a:ext>
              </a:extLst>
            </p:cNvPr>
            <p:cNvSpPr/>
            <p:nvPr/>
          </p:nvSpPr>
          <p:spPr>
            <a:xfrm rot="8716295">
              <a:off x="191626" y="39444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" name="Forme libre : forme 116">
              <a:extLst>
                <a:ext uri="{FF2B5EF4-FFF2-40B4-BE49-F238E27FC236}">
                  <a16:creationId xmlns:a16="http://schemas.microsoft.com/office/drawing/2014/main" id="{6779D405-E211-4D4D-B286-FEED219E73DF}"/>
                </a:ext>
              </a:extLst>
            </p:cNvPr>
            <p:cNvSpPr/>
            <p:nvPr/>
          </p:nvSpPr>
          <p:spPr>
            <a:xfrm rot="8716295">
              <a:off x="125832" y="381540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" name="Forme libre : forme 117">
              <a:extLst>
                <a:ext uri="{FF2B5EF4-FFF2-40B4-BE49-F238E27FC236}">
                  <a16:creationId xmlns:a16="http://schemas.microsoft.com/office/drawing/2014/main" id="{1B98413D-C7CC-484D-AF71-C6706295A09F}"/>
                </a:ext>
              </a:extLst>
            </p:cNvPr>
            <p:cNvSpPr/>
            <p:nvPr/>
          </p:nvSpPr>
          <p:spPr>
            <a:xfrm rot="8716295">
              <a:off x="-73048" y="4876828"/>
              <a:ext cx="221382" cy="253349"/>
            </a:xfrm>
            <a:custGeom>
              <a:avLst/>
              <a:gdLst>
                <a:gd name="connsiteX0" fmla="*/ 51490 w 221382"/>
                <a:gd name="connsiteY0" fmla="*/ 253349 h 253349"/>
                <a:gd name="connsiteX1" fmla="*/ 51490 w 221382"/>
                <a:gd name="connsiteY1" fmla="*/ 44199 h 253349"/>
                <a:gd name="connsiteX2" fmla="*/ 0 w 221382"/>
                <a:gd name="connsiteY2" fmla="*/ 44199 h 253349"/>
                <a:gd name="connsiteX3" fmla="*/ 0 w 221382"/>
                <a:gd name="connsiteY3" fmla="*/ 0 h 253349"/>
                <a:gd name="connsiteX4" fmla="*/ 104803 w 221382"/>
                <a:gd name="connsiteY4" fmla="*/ 0 h 253349"/>
                <a:gd name="connsiteX5" fmla="*/ 104802 w 221382"/>
                <a:gd name="connsiteY5" fmla="*/ 73817 h 253349"/>
                <a:gd name="connsiteX6" fmla="*/ 106169 w 221382"/>
                <a:gd name="connsiteY6" fmla="*/ 73817 h 253349"/>
                <a:gd name="connsiteX7" fmla="*/ 154014 w 221382"/>
                <a:gd name="connsiteY7" fmla="*/ 4556 h 253349"/>
                <a:gd name="connsiteX8" fmla="*/ 174650 w 221382"/>
                <a:gd name="connsiteY8" fmla="*/ 668 h 253349"/>
                <a:gd name="connsiteX9" fmla="*/ 214075 w 221382"/>
                <a:gd name="connsiteY9" fmla="*/ 27996 h 253349"/>
                <a:gd name="connsiteX10" fmla="*/ 221382 w 221382"/>
                <a:gd name="connsiteY10" fmla="*/ 33060 h 253349"/>
                <a:gd name="connsiteX11" fmla="*/ 195540 w 221382"/>
                <a:gd name="connsiteY11" fmla="*/ 70341 h 253349"/>
                <a:gd name="connsiteX12" fmla="*/ 189157 w 221382"/>
                <a:gd name="connsiteY12" fmla="*/ 50236 h 253349"/>
                <a:gd name="connsiteX13" fmla="*/ 164950 w 221382"/>
                <a:gd name="connsiteY13" fmla="*/ 38731 h 253349"/>
                <a:gd name="connsiteX14" fmla="*/ 111638 w 221382"/>
                <a:gd name="connsiteY14" fmla="*/ 126218 h 253349"/>
                <a:gd name="connsiteX15" fmla="*/ 111638 w 221382"/>
                <a:gd name="connsiteY15" fmla="*/ 191383 h 253349"/>
                <a:gd name="connsiteX16" fmla="*/ 84096 w 221382"/>
                <a:gd name="connsiteY16" fmla="*/ 231117 h 253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1382" h="253349">
                  <a:moveTo>
                    <a:pt x="51490" y="253349"/>
                  </a:moveTo>
                  <a:lnTo>
                    <a:pt x="51490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104803" y="0"/>
                  </a:lnTo>
                  <a:lnTo>
                    <a:pt x="104802" y="73817"/>
                  </a:lnTo>
                  <a:lnTo>
                    <a:pt x="106169" y="73817"/>
                  </a:lnTo>
                  <a:cubicBezTo>
                    <a:pt x="120751" y="30529"/>
                    <a:pt x="132142" y="13670"/>
                    <a:pt x="154014" y="4556"/>
                  </a:cubicBezTo>
                  <a:lnTo>
                    <a:pt x="174650" y="668"/>
                  </a:lnTo>
                  <a:lnTo>
                    <a:pt x="214075" y="27996"/>
                  </a:lnTo>
                  <a:lnTo>
                    <a:pt x="221382" y="33060"/>
                  </a:lnTo>
                  <a:lnTo>
                    <a:pt x="195540" y="70341"/>
                  </a:lnTo>
                  <a:lnTo>
                    <a:pt x="189157" y="50236"/>
                  </a:lnTo>
                  <a:cubicBezTo>
                    <a:pt x="183177" y="42946"/>
                    <a:pt x="174747" y="38731"/>
                    <a:pt x="164950" y="38731"/>
                  </a:cubicBezTo>
                  <a:cubicBezTo>
                    <a:pt x="135788" y="38731"/>
                    <a:pt x="111638" y="77463"/>
                    <a:pt x="111638" y="126218"/>
                  </a:cubicBezTo>
                  <a:lnTo>
                    <a:pt x="111638" y="191383"/>
                  </a:lnTo>
                  <a:lnTo>
                    <a:pt x="84096" y="231117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" name="Forme libre : forme 118">
              <a:extLst>
                <a:ext uri="{FF2B5EF4-FFF2-40B4-BE49-F238E27FC236}">
                  <a16:creationId xmlns:a16="http://schemas.microsoft.com/office/drawing/2014/main" id="{6176F84A-9766-45D5-91E9-4847B60A5CD4}"/>
                </a:ext>
              </a:extLst>
            </p:cNvPr>
            <p:cNvSpPr/>
            <p:nvPr/>
          </p:nvSpPr>
          <p:spPr>
            <a:xfrm rot="8716295">
              <a:off x="93318" y="46120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" name="Forme libre : forme 119">
              <a:extLst>
                <a:ext uri="{FF2B5EF4-FFF2-40B4-BE49-F238E27FC236}">
                  <a16:creationId xmlns:a16="http://schemas.microsoft.com/office/drawing/2014/main" id="{3DA54937-5DEF-4122-B904-83A03268CA89}"/>
                </a:ext>
              </a:extLst>
            </p:cNvPr>
            <p:cNvSpPr/>
            <p:nvPr/>
          </p:nvSpPr>
          <p:spPr>
            <a:xfrm rot="8716295">
              <a:off x="182710" y="46412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" name="Forme libre : forme 120">
              <a:extLst>
                <a:ext uri="{FF2B5EF4-FFF2-40B4-BE49-F238E27FC236}">
                  <a16:creationId xmlns:a16="http://schemas.microsoft.com/office/drawing/2014/main" id="{24CD3C2A-51CB-4CA4-A2B4-FE03D227C422}"/>
                </a:ext>
              </a:extLst>
            </p:cNvPr>
            <p:cNvSpPr/>
            <p:nvPr/>
          </p:nvSpPr>
          <p:spPr>
            <a:xfrm rot="8716295">
              <a:off x="-14524" y="4699631"/>
              <a:ext cx="49997" cy="54238"/>
            </a:xfrm>
            <a:custGeom>
              <a:avLst/>
              <a:gdLst>
                <a:gd name="connsiteX0" fmla="*/ 8658 w 49997"/>
                <a:gd name="connsiteY0" fmla="*/ 50123 h 54238"/>
                <a:gd name="connsiteX1" fmla="*/ 0 w 49997"/>
                <a:gd name="connsiteY1" fmla="*/ 29619 h 54238"/>
                <a:gd name="connsiteX2" fmla="*/ 0 w 49997"/>
                <a:gd name="connsiteY2" fmla="*/ 29162 h 54238"/>
                <a:gd name="connsiteX3" fmla="*/ 8658 w 49997"/>
                <a:gd name="connsiteY3" fmla="*/ 8658 h 54238"/>
                <a:gd name="connsiteX4" fmla="*/ 29163 w 49997"/>
                <a:gd name="connsiteY4" fmla="*/ 0 h 54238"/>
                <a:gd name="connsiteX5" fmla="*/ 49668 w 49997"/>
                <a:gd name="connsiteY5" fmla="*/ 8658 h 54238"/>
                <a:gd name="connsiteX6" fmla="*/ 49997 w 49997"/>
                <a:gd name="connsiteY6" fmla="*/ 9441 h 54238"/>
                <a:gd name="connsiteX7" fmla="*/ 18945 w 49997"/>
                <a:gd name="connsiteY7" fmla="*/ 54238 h 54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997" h="54238">
                  <a:moveTo>
                    <a:pt x="8658" y="50123"/>
                  </a:moveTo>
                  <a:cubicBezTo>
                    <a:pt x="3190" y="44655"/>
                    <a:pt x="0" y="37365"/>
                    <a:pt x="0" y="29619"/>
                  </a:cubicBezTo>
                  <a:lnTo>
                    <a:pt x="0" y="29162"/>
                  </a:lnTo>
                  <a:cubicBezTo>
                    <a:pt x="0" y="21417"/>
                    <a:pt x="3190" y="14126"/>
                    <a:pt x="8658" y="8658"/>
                  </a:cubicBezTo>
                  <a:cubicBezTo>
                    <a:pt x="14126" y="3190"/>
                    <a:pt x="21416" y="0"/>
                    <a:pt x="29163" y="0"/>
                  </a:cubicBezTo>
                  <a:cubicBezTo>
                    <a:pt x="36909" y="0"/>
                    <a:pt x="44200" y="3190"/>
                    <a:pt x="49668" y="8658"/>
                  </a:cubicBezTo>
                  <a:lnTo>
                    <a:pt x="49997" y="9441"/>
                  </a:lnTo>
                  <a:lnTo>
                    <a:pt x="18945" y="54238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" name="Forme libre : forme 121">
              <a:extLst>
                <a:ext uri="{FF2B5EF4-FFF2-40B4-BE49-F238E27FC236}">
                  <a16:creationId xmlns:a16="http://schemas.microsoft.com/office/drawing/2014/main" id="{7A46CCF0-E67A-4E1E-9549-23C0DBDB68E2}"/>
                </a:ext>
              </a:extLst>
            </p:cNvPr>
            <p:cNvSpPr/>
            <p:nvPr/>
          </p:nvSpPr>
          <p:spPr>
            <a:xfrm rot="8716295">
              <a:off x="-30327" y="4579755"/>
              <a:ext cx="113346" cy="71024"/>
            </a:xfrm>
            <a:custGeom>
              <a:avLst/>
              <a:gdLst>
                <a:gd name="connsiteX0" fmla="*/ 0 w 113346"/>
                <a:gd name="connsiteY0" fmla="*/ 55323 h 71024"/>
                <a:gd name="connsiteX1" fmla="*/ 0 w 113346"/>
                <a:gd name="connsiteY1" fmla="*/ 0 h 71024"/>
                <a:gd name="connsiteX2" fmla="*/ 113346 w 113346"/>
                <a:gd name="connsiteY2" fmla="*/ 0 h 71024"/>
                <a:gd name="connsiteX3" fmla="*/ 64114 w 113346"/>
                <a:gd name="connsiteY3" fmla="*/ 71024 h 71024"/>
                <a:gd name="connsiteX4" fmla="*/ 69777 w 113346"/>
                <a:gd name="connsiteY4" fmla="*/ 55323 h 7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346" h="71024">
                  <a:moveTo>
                    <a:pt x="0" y="55323"/>
                  </a:moveTo>
                  <a:lnTo>
                    <a:pt x="0" y="0"/>
                  </a:lnTo>
                  <a:lnTo>
                    <a:pt x="113346" y="0"/>
                  </a:lnTo>
                  <a:lnTo>
                    <a:pt x="64114" y="71024"/>
                  </a:lnTo>
                  <a:lnTo>
                    <a:pt x="69777" y="5532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" name="Forme libre : forme 122">
              <a:extLst>
                <a:ext uri="{FF2B5EF4-FFF2-40B4-BE49-F238E27FC236}">
                  <a16:creationId xmlns:a16="http://schemas.microsoft.com/office/drawing/2014/main" id="{01D04BC1-282A-4CFE-BF99-5B57F855BCBC}"/>
                </a:ext>
              </a:extLst>
            </p:cNvPr>
            <p:cNvSpPr/>
            <p:nvPr/>
          </p:nvSpPr>
          <p:spPr>
            <a:xfrm rot="8716295">
              <a:off x="71262" y="47415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" name="Forme libre : forme 123">
              <a:extLst>
                <a:ext uri="{FF2B5EF4-FFF2-40B4-BE49-F238E27FC236}">
                  <a16:creationId xmlns:a16="http://schemas.microsoft.com/office/drawing/2014/main" id="{A04953EA-5C79-45C4-9757-065EFCA47539}"/>
                </a:ext>
              </a:extLst>
            </p:cNvPr>
            <p:cNvSpPr/>
            <p:nvPr/>
          </p:nvSpPr>
          <p:spPr>
            <a:xfrm rot="7484129">
              <a:off x="172059" y="493353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170341 w 203847"/>
                <a:gd name="connsiteY5" fmla="*/ 0 h 195874"/>
                <a:gd name="connsiteX6" fmla="*/ 203847 w 203847"/>
                <a:gd name="connsiteY6" fmla="*/ 48325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170341" y="0"/>
                  </a:lnTo>
                  <a:lnTo>
                    <a:pt x="203847" y="48325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" name="Forme libre : forme 124">
              <a:extLst>
                <a:ext uri="{FF2B5EF4-FFF2-40B4-BE49-F238E27FC236}">
                  <a16:creationId xmlns:a16="http://schemas.microsoft.com/office/drawing/2014/main" id="{49CB50EA-8DFB-4219-A82A-979E56D219DC}"/>
                </a:ext>
              </a:extLst>
            </p:cNvPr>
            <p:cNvSpPr/>
            <p:nvPr/>
          </p:nvSpPr>
          <p:spPr>
            <a:xfrm rot="13089394">
              <a:off x="313551" y="4906246"/>
              <a:ext cx="221827" cy="205098"/>
            </a:xfrm>
            <a:custGeom>
              <a:avLst/>
              <a:gdLst>
                <a:gd name="connsiteX0" fmla="*/ 24153 w 221827"/>
                <a:gd name="connsiteY0" fmla="*/ 55168 h 205098"/>
                <a:gd name="connsiteX1" fmla="*/ 0 w 221827"/>
                <a:gd name="connsiteY1" fmla="*/ 18385 h 205098"/>
                <a:gd name="connsiteX2" fmla="*/ 23400 w 221827"/>
                <a:gd name="connsiteY2" fmla="*/ 0 h 205098"/>
                <a:gd name="connsiteX3" fmla="*/ 23735 w 221827"/>
                <a:gd name="connsiteY3" fmla="*/ 46640 h 205098"/>
                <a:gd name="connsiteX4" fmla="*/ 221827 w 221827"/>
                <a:gd name="connsiteY4" fmla="*/ 150928 h 205098"/>
                <a:gd name="connsiteX5" fmla="*/ 126574 w 221827"/>
                <a:gd name="connsiteY5" fmla="*/ 204038 h 205098"/>
                <a:gd name="connsiteX6" fmla="*/ 122603 w 221827"/>
                <a:gd name="connsiteY6" fmla="*/ 205098 h 205098"/>
                <a:gd name="connsiteX7" fmla="*/ 102519 w 221827"/>
                <a:gd name="connsiteY7" fmla="*/ 174512 h 205098"/>
                <a:gd name="connsiteX8" fmla="*/ 103192 w 221827"/>
                <a:gd name="connsiteY8" fmla="*/ 174655 h 205098"/>
                <a:gd name="connsiteX9" fmla="*/ 152853 w 221827"/>
                <a:gd name="connsiteY9" fmla="*/ 165826 h 205098"/>
                <a:gd name="connsiteX10" fmla="*/ 220723 w 221827"/>
                <a:gd name="connsiteY10" fmla="*/ 138237 h 205098"/>
                <a:gd name="connsiteX11" fmla="*/ 221827 w 221827"/>
                <a:gd name="connsiteY11" fmla="*/ 145410 h 205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1827" h="205098">
                  <a:moveTo>
                    <a:pt x="24153" y="55168"/>
                  </a:moveTo>
                  <a:lnTo>
                    <a:pt x="0" y="18385"/>
                  </a:lnTo>
                  <a:lnTo>
                    <a:pt x="23400" y="0"/>
                  </a:lnTo>
                  <a:lnTo>
                    <a:pt x="23735" y="46640"/>
                  </a:lnTo>
                  <a:close/>
                  <a:moveTo>
                    <a:pt x="221827" y="150928"/>
                  </a:moveTo>
                  <a:cubicBezTo>
                    <a:pt x="192582" y="176035"/>
                    <a:pt x="158785" y="193002"/>
                    <a:pt x="126574" y="204038"/>
                  </a:cubicBezTo>
                  <a:lnTo>
                    <a:pt x="122603" y="205098"/>
                  </a:lnTo>
                  <a:lnTo>
                    <a:pt x="102519" y="174512"/>
                  </a:lnTo>
                  <a:lnTo>
                    <a:pt x="103192" y="174655"/>
                  </a:lnTo>
                  <a:cubicBezTo>
                    <a:pt x="120298" y="174103"/>
                    <a:pt x="136851" y="170792"/>
                    <a:pt x="152853" y="165826"/>
                  </a:cubicBezTo>
                  <a:cubicBezTo>
                    <a:pt x="176028" y="158653"/>
                    <a:pt x="198652" y="149273"/>
                    <a:pt x="220723" y="138237"/>
                  </a:cubicBezTo>
                  <a:cubicBezTo>
                    <a:pt x="221275" y="140444"/>
                    <a:pt x="221827" y="143203"/>
                    <a:pt x="221827" y="14541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" name="Forme libre : forme 125">
              <a:extLst>
                <a:ext uri="{FF2B5EF4-FFF2-40B4-BE49-F238E27FC236}">
                  <a16:creationId xmlns:a16="http://schemas.microsoft.com/office/drawing/2014/main" id="{5146513B-5632-4832-9AF5-1E4051EECD28}"/>
                </a:ext>
              </a:extLst>
            </p:cNvPr>
            <p:cNvSpPr/>
            <p:nvPr/>
          </p:nvSpPr>
          <p:spPr>
            <a:xfrm rot="8716295">
              <a:off x="406370" y="4600606"/>
              <a:ext cx="113655" cy="117117"/>
            </a:xfrm>
            <a:custGeom>
              <a:avLst/>
              <a:gdLst>
                <a:gd name="connsiteX0" fmla="*/ 13623 w 113655"/>
                <a:gd name="connsiteY0" fmla="*/ 100559 h 117117"/>
                <a:gd name="connsiteX1" fmla="*/ 0 w 113655"/>
                <a:gd name="connsiteY1" fmla="*/ 68296 h 117117"/>
                <a:gd name="connsiteX2" fmla="*/ 56488 w 113655"/>
                <a:gd name="connsiteY2" fmla="*/ 0 h 117117"/>
                <a:gd name="connsiteX3" fmla="*/ 96408 w 113655"/>
                <a:gd name="connsiteY3" fmla="*/ 16856 h 117117"/>
                <a:gd name="connsiteX4" fmla="*/ 96408 w 113655"/>
                <a:gd name="connsiteY4" fmla="*/ 99640 h 117117"/>
                <a:gd name="connsiteX5" fmla="*/ 55015 w 113655"/>
                <a:gd name="connsiteY5" fmla="*/ 117117 h 117117"/>
                <a:gd name="connsiteX6" fmla="*/ 13623 w 113655"/>
                <a:gd name="connsiteY6" fmla="*/ 100559 h 117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655" h="117117">
                  <a:moveTo>
                    <a:pt x="13623" y="100559"/>
                  </a:moveTo>
                  <a:lnTo>
                    <a:pt x="0" y="68296"/>
                  </a:lnTo>
                  <a:lnTo>
                    <a:pt x="56488" y="0"/>
                  </a:lnTo>
                  <a:lnTo>
                    <a:pt x="96408" y="16856"/>
                  </a:lnTo>
                  <a:cubicBezTo>
                    <a:pt x="119404" y="38931"/>
                    <a:pt x="119404" y="76644"/>
                    <a:pt x="96408" y="99640"/>
                  </a:cubicBezTo>
                  <a:cubicBezTo>
                    <a:pt x="85370" y="110678"/>
                    <a:pt x="70653" y="117116"/>
                    <a:pt x="55015" y="117117"/>
                  </a:cubicBezTo>
                  <a:cubicBezTo>
                    <a:pt x="39378" y="117117"/>
                    <a:pt x="24661" y="111597"/>
                    <a:pt x="13623" y="100559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" name="Forme libre : forme 126">
              <a:extLst>
                <a:ext uri="{FF2B5EF4-FFF2-40B4-BE49-F238E27FC236}">
                  <a16:creationId xmlns:a16="http://schemas.microsoft.com/office/drawing/2014/main" id="{FE3150CC-51A0-4255-BE10-7C4DD2D82ED1}"/>
                </a:ext>
              </a:extLst>
            </p:cNvPr>
            <p:cNvSpPr/>
            <p:nvPr/>
          </p:nvSpPr>
          <p:spPr>
            <a:xfrm rot="8716295">
              <a:off x="171547" y="46343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" name="Forme libre : forme 127">
              <a:extLst>
                <a:ext uri="{FF2B5EF4-FFF2-40B4-BE49-F238E27FC236}">
                  <a16:creationId xmlns:a16="http://schemas.microsoft.com/office/drawing/2014/main" id="{3071C62B-77D8-4A0E-86A6-83549F6B4AD6}"/>
                </a:ext>
              </a:extLst>
            </p:cNvPr>
            <p:cNvSpPr/>
            <p:nvPr/>
          </p:nvSpPr>
          <p:spPr>
            <a:xfrm rot="8716295">
              <a:off x="348999" y="44751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137" name="Rectangle 136">
            <a:extLst>
              <a:ext uri="{FF2B5EF4-FFF2-40B4-BE49-F238E27FC236}">
                <a16:creationId xmlns:a16="http://schemas.microsoft.com/office/drawing/2014/main" id="{BED9834D-49E7-4AFD-BEE4-8AB20B969F92}"/>
              </a:ext>
            </a:extLst>
          </p:cNvPr>
          <p:cNvSpPr/>
          <p:nvPr/>
        </p:nvSpPr>
        <p:spPr>
          <a:xfrm>
            <a:off x="1675026" y="884098"/>
            <a:ext cx="360000" cy="457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29" name="Espace réservé du numéro de diapositive 128">
            <a:extLst>
              <a:ext uri="{FF2B5EF4-FFF2-40B4-BE49-F238E27FC236}">
                <a16:creationId xmlns:a16="http://schemas.microsoft.com/office/drawing/2014/main" id="{DC511B95-0CDE-42B1-A913-D72AAC6127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9681" y="3148262"/>
            <a:ext cx="444626" cy="1995238"/>
          </a:xfrm>
          <a:custGeom>
            <a:avLst/>
            <a:gdLst>
              <a:gd name="connsiteX0" fmla="*/ 169868 w 444626"/>
              <a:gd name="connsiteY0" fmla="*/ 0 h 1995238"/>
              <a:gd name="connsiteX1" fmla="*/ 444626 w 444626"/>
              <a:gd name="connsiteY1" fmla="*/ 1995238 h 1995238"/>
              <a:gd name="connsiteX2" fmla="*/ 0 w 444626"/>
              <a:gd name="connsiteY2" fmla="*/ 1995238 h 1995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4626" h="1995238">
                <a:moveTo>
                  <a:pt x="169868" y="0"/>
                </a:moveTo>
                <a:lnTo>
                  <a:pt x="444626" y="1995238"/>
                </a:lnTo>
                <a:lnTo>
                  <a:pt x="0" y="199523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180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663929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e 4">
            <a:extLst>
              <a:ext uri="{FF2B5EF4-FFF2-40B4-BE49-F238E27FC236}">
                <a16:creationId xmlns:a16="http://schemas.microsoft.com/office/drawing/2014/main" id="{DDCE9304-D911-423A-A19F-03B0F7F07569}"/>
              </a:ext>
            </a:extLst>
          </p:cNvPr>
          <p:cNvGrpSpPr/>
          <p:nvPr userDrawn="1"/>
        </p:nvGrpSpPr>
        <p:grpSpPr>
          <a:xfrm>
            <a:off x="-91485" y="-57106"/>
            <a:ext cx="1008300" cy="5190499"/>
            <a:chOff x="-91485" y="-57106"/>
            <a:chExt cx="1008300" cy="5190499"/>
          </a:xfrm>
          <a:solidFill>
            <a:schemeClr val="bg2">
              <a:alpha val="5000"/>
            </a:schemeClr>
          </a:solidFill>
        </p:grpSpPr>
        <p:sp>
          <p:nvSpPr>
            <p:cNvPr id="6" name="Forme libre : forme 5">
              <a:extLst>
                <a:ext uri="{FF2B5EF4-FFF2-40B4-BE49-F238E27FC236}">
                  <a16:creationId xmlns:a16="http://schemas.microsoft.com/office/drawing/2014/main" id="{8BF43435-37FA-4F29-AABD-F905029537BD}"/>
                </a:ext>
              </a:extLst>
            </p:cNvPr>
            <p:cNvSpPr/>
            <p:nvPr/>
          </p:nvSpPr>
          <p:spPr>
            <a:xfrm rot="8716295">
              <a:off x="617786" y="1780350"/>
              <a:ext cx="152726" cy="195873"/>
            </a:xfrm>
            <a:custGeom>
              <a:avLst/>
              <a:gdLst>
                <a:gd name="connsiteX0" fmla="*/ 39589 w 152726"/>
                <a:gd name="connsiteY0" fmla="*/ 195873 h 195873"/>
                <a:gd name="connsiteX1" fmla="*/ 0 w 152726"/>
                <a:gd name="connsiteY1" fmla="*/ 122219 h 195873"/>
                <a:gd name="connsiteX2" fmla="*/ 101089 w 152726"/>
                <a:gd name="connsiteY2" fmla="*/ 0 h 195873"/>
                <a:gd name="connsiteX3" fmla="*/ 152726 w 152726"/>
                <a:gd name="connsiteY3" fmla="*/ 0 h 195873"/>
                <a:gd name="connsiteX4" fmla="*/ 152726 w 152726"/>
                <a:gd name="connsiteY4" fmla="*/ 55323 h 195873"/>
                <a:gd name="connsiteX5" fmla="*/ 87934 w 152726"/>
                <a:gd name="connsiteY5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726" h="195873">
                  <a:moveTo>
                    <a:pt x="39589" y="195873"/>
                  </a:moveTo>
                  <a:lnTo>
                    <a:pt x="0" y="122219"/>
                  </a:lnTo>
                  <a:lnTo>
                    <a:pt x="101089" y="0"/>
                  </a:lnTo>
                  <a:lnTo>
                    <a:pt x="152726" y="0"/>
                  </a:lnTo>
                  <a:lnTo>
                    <a:pt x="152726" y="55323"/>
                  </a:lnTo>
                  <a:lnTo>
                    <a:pt x="87934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" name="Forme libre : forme 6">
              <a:extLst>
                <a:ext uri="{FF2B5EF4-FFF2-40B4-BE49-F238E27FC236}">
                  <a16:creationId xmlns:a16="http://schemas.microsoft.com/office/drawing/2014/main" id="{8B995644-775E-4EEC-A2B1-C17BB27E6FAF}"/>
                </a:ext>
              </a:extLst>
            </p:cNvPr>
            <p:cNvSpPr/>
            <p:nvPr/>
          </p:nvSpPr>
          <p:spPr>
            <a:xfrm rot="8716295">
              <a:off x="534441" y="1654353"/>
              <a:ext cx="262864" cy="103234"/>
            </a:xfrm>
            <a:custGeom>
              <a:avLst/>
              <a:gdLst>
                <a:gd name="connsiteX0" fmla="*/ 0 w 262864"/>
                <a:gd name="connsiteY0" fmla="*/ 75341 h 103234"/>
                <a:gd name="connsiteX1" fmla="*/ 62316 w 262864"/>
                <a:gd name="connsiteY1" fmla="*/ 0 h 103234"/>
                <a:gd name="connsiteX2" fmla="*/ 65768 w 262864"/>
                <a:gd name="connsiteY2" fmla="*/ 14220 h 103234"/>
                <a:gd name="connsiteX3" fmla="*/ 136369 w 262864"/>
                <a:gd name="connsiteY3" fmla="*/ 53051 h 103234"/>
                <a:gd name="connsiteX4" fmla="*/ 189321 w 262864"/>
                <a:gd name="connsiteY4" fmla="*/ 43637 h 103234"/>
                <a:gd name="connsiteX5" fmla="*/ 261688 w 262864"/>
                <a:gd name="connsiteY5" fmla="*/ 14220 h 103234"/>
                <a:gd name="connsiteX6" fmla="*/ 262864 w 262864"/>
                <a:gd name="connsiteY6" fmla="*/ 21868 h 103234"/>
                <a:gd name="connsiteX7" fmla="*/ 262864 w 262864"/>
                <a:gd name="connsiteY7" fmla="*/ 27752 h 103234"/>
                <a:gd name="connsiteX8" fmla="*/ 69887 w 262864"/>
                <a:gd name="connsiteY8" fmla="*/ 103060 h 103234"/>
                <a:gd name="connsiteX9" fmla="*/ 30615 w 262864"/>
                <a:gd name="connsiteY9" fmla="*/ 96294 h 103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2864" h="103234">
                  <a:moveTo>
                    <a:pt x="0" y="75341"/>
                  </a:moveTo>
                  <a:lnTo>
                    <a:pt x="62316" y="0"/>
                  </a:lnTo>
                  <a:lnTo>
                    <a:pt x="65768" y="14220"/>
                  </a:lnTo>
                  <a:cubicBezTo>
                    <a:pt x="75182" y="40107"/>
                    <a:pt x="99304" y="53051"/>
                    <a:pt x="136369" y="53051"/>
                  </a:cubicBezTo>
                  <a:cubicBezTo>
                    <a:pt x="154609" y="52462"/>
                    <a:pt x="172259" y="48932"/>
                    <a:pt x="189321" y="43637"/>
                  </a:cubicBezTo>
                  <a:cubicBezTo>
                    <a:pt x="214031" y="35988"/>
                    <a:pt x="238154" y="25987"/>
                    <a:pt x="261688" y="14220"/>
                  </a:cubicBezTo>
                  <a:cubicBezTo>
                    <a:pt x="262276" y="16573"/>
                    <a:pt x="262864" y="19515"/>
                    <a:pt x="262864" y="21868"/>
                  </a:cubicBezTo>
                  <a:lnTo>
                    <a:pt x="262864" y="27752"/>
                  </a:lnTo>
                  <a:cubicBezTo>
                    <a:pt x="200500" y="81291"/>
                    <a:pt x="118719" y="100119"/>
                    <a:pt x="69887" y="103060"/>
                  </a:cubicBezTo>
                  <a:cubicBezTo>
                    <a:pt x="56355" y="103943"/>
                    <a:pt x="42970" y="101442"/>
                    <a:pt x="30615" y="9629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ECEF6D56-E3A3-4A1A-A07B-637782F55FFB}"/>
                </a:ext>
              </a:extLst>
            </p:cNvPr>
            <p:cNvSpPr/>
            <p:nvPr/>
          </p:nvSpPr>
          <p:spPr>
            <a:xfrm rot="8716295">
              <a:off x="632719" y="1232432"/>
              <a:ext cx="121558" cy="232388"/>
            </a:xfrm>
            <a:custGeom>
              <a:avLst/>
              <a:gdLst>
                <a:gd name="connsiteX0" fmla="*/ 60499 w 121558"/>
                <a:gd name="connsiteY0" fmla="*/ 232388 h 232388"/>
                <a:gd name="connsiteX1" fmla="*/ 60499 w 121558"/>
                <a:gd name="connsiteY1" fmla="*/ 69717 h 232388"/>
                <a:gd name="connsiteX2" fmla="*/ 60499 w 121558"/>
                <a:gd name="connsiteY2" fmla="*/ 65615 h 232388"/>
                <a:gd name="connsiteX3" fmla="*/ 39995 w 121558"/>
                <a:gd name="connsiteY3" fmla="*/ 50123 h 232388"/>
                <a:gd name="connsiteX4" fmla="*/ 0 w 121558"/>
                <a:gd name="connsiteY4" fmla="*/ 50123 h 232388"/>
                <a:gd name="connsiteX5" fmla="*/ 41457 w 121558"/>
                <a:gd name="connsiteY5" fmla="*/ 0 h 232388"/>
                <a:gd name="connsiteX6" fmla="*/ 64601 w 121558"/>
                <a:gd name="connsiteY6" fmla="*/ 0 h 232388"/>
                <a:gd name="connsiteX7" fmla="*/ 121558 w 121558"/>
                <a:gd name="connsiteY7" fmla="*/ 50123 h 232388"/>
                <a:gd name="connsiteX8" fmla="*/ 121558 w 121558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558" h="232388">
                  <a:moveTo>
                    <a:pt x="60499" y="232388"/>
                  </a:moveTo>
                  <a:lnTo>
                    <a:pt x="60499" y="69717"/>
                  </a:lnTo>
                  <a:cubicBezTo>
                    <a:pt x="60499" y="68349"/>
                    <a:pt x="60499" y="66983"/>
                    <a:pt x="60499" y="65615"/>
                  </a:cubicBezTo>
                  <a:cubicBezTo>
                    <a:pt x="59133" y="55591"/>
                    <a:pt x="50019" y="48756"/>
                    <a:pt x="39995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64601" y="0"/>
                  </a:lnTo>
                  <a:cubicBezTo>
                    <a:pt x="101509" y="0"/>
                    <a:pt x="121558" y="15948"/>
                    <a:pt x="121558" y="50123"/>
                  </a:cubicBezTo>
                  <a:lnTo>
                    <a:pt x="121558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C210E3DF-2FB4-4CAE-8361-8A940B0AC92D}"/>
                </a:ext>
              </a:extLst>
            </p:cNvPr>
            <p:cNvSpPr/>
            <p:nvPr/>
          </p:nvSpPr>
          <p:spPr>
            <a:xfrm rot="8716295">
              <a:off x="763454" y="1474783"/>
              <a:ext cx="14143" cy="14319"/>
            </a:xfrm>
            <a:custGeom>
              <a:avLst/>
              <a:gdLst>
                <a:gd name="connsiteX0" fmla="*/ 0 w 14143"/>
                <a:gd name="connsiteY0" fmla="*/ 14319 h 14319"/>
                <a:gd name="connsiteX1" fmla="*/ 11843 w 14143"/>
                <a:gd name="connsiteY1" fmla="*/ 0 h 14319"/>
                <a:gd name="connsiteX2" fmla="*/ 14143 w 14143"/>
                <a:gd name="connsiteY2" fmla="*/ 7563 h 14319"/>
                <a:gd name="connsiteX3" fmla="*/ 14143 w 14143"/>
                <a:gd name="connsiteY3" fmla="*/ 13487 h 1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43" h="14319">
                  <a:moveTo>
                    <a:pt x="0" y="14319"/>
                  </a:moveTo>
                  <a:lnTo>
                    <a:pt x="11843" y="0"/>
                  </a:lnTo>
                  <a:lnTo>
                    <a:pt x="14143" y="7563"/>
                  </a:lnTo>
                  <a:lnTo>
                    <a:pt x="14143" y="1348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F29133E2-23FE-4A05-8C3E-06E82B2EE756}"/>
                </a:ext>
              </a:extLst>
            </p:cNvPr>
            <p:cNvSpPr/>
            <p:nvPr/>
          </p:nvSpPr>
          <p:spPr>
            <a:xfrm rot="8716295">
              <a:off x="672878" y="1171577"/>
              <a:ext cx="183964" cy="137618"/>
            </a:xfrm>
            <a:custGeom>
              <a:avLst/>
              <a:gdLst>
                <a:gd name="connsiteX0" fmla="*/ 0 w 183964"/>
                <a:gd name="connsiteY0" fmla="*/ 137618 h 137618"/>
                <a:gd name="connsiteX1" fmla="*/ 53346 w 183964"/>
                <a:gd name="connsiteY1" fmla="*/ 73121 h 137618"/>
                <a:gd name="connsiteX2" fmla="*/ 101034 w 183964"/>
                <a:gd name="connsiteY2" fmla="*/ 28251 h 137618"/>
                <a:gd name="connsiteX3" fmla="*/ 155713 w 183964"/>
                <a:gd name="connsiteY3" fmla="*/ 0 h 137618"/>
                <a:gd name="connsiteX4" fmla="*/ 183964 w 183964"/>
                <a:gd name="connsiteY4" fmla="*/ 33719 h 137618"/>
                <a:gd name="connsiteX5" fmla="*/ 157536 w 183964"/>
                <a:gd name="connsiteY5" fmla="*/ 69261 h 137618"/>
                <a:gd name="connsiteX6" fmla="*/ 157991 w 183964"/>
                <a:gd name="connsiteY6" fmla="*/ 69261 h 137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3964" h="137618">
                  <a:moveTo>
                    <a:pt x="0" y="137618"/>
                  </a:moveTo>
                  <a:lnTo>
                    <a:pt x="53346" y="73121"/>
                  </a:lnTo>
                  <a:lnTo>
                    <a:pt x="101034" y="28251"/>
                  </a:lnTo>
                  <a:cubicBezTo>
                    <a:pt x="114703" y="12303"/>
                    <a:pt x="134297" y="2278"/>
                    <a:pt x="155713" y="0"/>
                  </a:cubicBezTo>
                  <a:cubicBezTo>
                    <a:pt x="177585" y="0"/>
                    <a:pt x="183964" y="19138"/>
                    <a:pt x="183964" y="33719"/>
                  </a:cubicBezTo>
                  <a:cubicBezTo>
                    <a:pt x="182597" y="49667"/>
                    <a:pt x="172117" y="62881"/>
                    <a:pt x="157536" y="69261"/>
                  </a:cubicBezTo>
                  <a:lnTo>
                    <a:pt x="157991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5E79E2F7-FE77-428C-929F-4D7C8FB066A9}"/>
                </a:ext>
              </a:extLst>
            </p:cNvPr>
            <p:cNvSpPr/>
            <p:nvPr/>
          </p:nvSpPr>
          <p:spPr>
            <a:xfrm rot="8716295">
              <a:off x="519479" y="13148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AC49361A-028A-4CA3-A2A1-A372F544DB33}"/>
                </a:ext>
              </a:extLst>
            </p:cNvPr>
            <p:cNvSpPr/>
            <p:nvPr/>
          </p:nvSpPr>
          <p:spPr>
            <a:xfrm rot="8716295">
              <a:off x="394576" y="11061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CAB08DB6-35D5-40DF-BB68-8D985BEBA2F5}"/>
                </a:ext>
              </a:extLst>
            </p:cNvPr>
            <p:cNvSpPr/>
            <p:nvPr/>
          </p:nvSpPr>
          <p:spPr>
            <a:xfrm rot="8716295">
              <a:off x="382524" y="96739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EF0B79A4-ED29-4509-A025-0FDBC80DDF4D}"/>
                </a:ext>
              </a:extLst>
            </p:cNvPr>
            <p:cNvSpPr/>
            <p:nvPr/>
          </p:nvSpPr>
          <p:spPr>
            <a:xfrm rot="8716295">
              <a:off x="609657" y="135579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8A5B8AD6-0C7B-4FD4-A763-E4D6A3665D82}"/>
                </a:ext>
              </a:extLst>
            </p:cNvPr>
            <p:cNvSpPr/>
            <p:nvPr/>
          </p:nvSpPr>
          <p:spPr>
            <a:xfrm rot="8716295">
              <a:off x="683426" y="869567"/>
              <a:ext cx="156000" cy="195873"/>
            </a:xfrm>
            <a:custGeom>
              <a:avLst/>
              <a:gdLst>
                <a:gd name="connsiteX0" fmla="*/ 42863 w 156000"/>
                <a:gd name="connsiteY0" fmla="*/ 195873 h 195873"/>
                <a:gd name="connsiteX1" fmla="*/ 0 w 156000"/>
                <a:gd name="connsiteY1" fmla="*/ 116129 h 195873"/>
                <a:gd name="connsiteX2" fmla="*/ 5100 w 156000"/>
                <a:gd name="connsiteY2" fmla="*/ 101988 h 195873"/>
                <a:gd name="connsiteX3" fmla="*/ 89456 w 156000"/>
                <a:gd name="connsiteY3" fmla="*/ 0 h 195873"/>
                <a:gd name="connsiteX4" fmla="*/ 156000 w 156000"/>
                <a:gd name="connsiteY4" fmla="*/ 0 h 195873"/>
                <a:gd name="connsiteX5" fmla="*/ 156000 w 156000"/>
                <a:gd name="connsiteY5" fmla="*/ 55323 h 195873"/>
                <a:gd name="connsiteX6" fmla="*/ 91208 w 156000"/>
                <a:gd name="connsiteY6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000" h="195873">
                  <a:moveTo>
                    <a:pt x="42863" y="195873"/>
                  </a:moveTo>
                  <a:lnTo>
                    <a:pt x="0" y="116129"/>
                  </a:lnTo>
                  <a:lnTo>
                    <a:pt x="5100" y="101988"/>
                  </a:lnTo>
                  <a:lnTo>
                    <a:pt x="89456" y="0"/>
                  </a:lnTo>
                  <a:lnTo>
                    <a:pt x="156000" y="0"/>
                  </a:lnTo>
                  <a:lnTo>
                    <a:pt x="156000" y="55323"/>
                  </a:lnTo>
                  <a:lnTo>
                    <a:pt x="91208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7DFCEA7D-F372-4371-803B-1BDFB976A5FE}"/>
                </a:ext>
              </a:extLst>
            </p:cNvPr>
            <p:cNvSpPr/>
            <p:nvPr/>
          </p:nvSpPr>
          <p:spPr>
            <a:xfrm rot="8716295">
              <a:off x="657305" y="95604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813AE7E0-5367-40AE-8648-A812F3FCEFB0}"/>
                </a:ext>
              </a:extLst>
            </p:cNvPr>
            <p:cNvSpPr/>
            <p:nvPr/>
          </p:nvSpPr>
          <p:spPr>
            <a:xfrm rot="8716295">
              <a:off x="412774" y="56424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4F0C8F89-3692-4CD2-AB49-0CA987B88CD5}"/>
                </a:ext>
              </a:extLst>
            </p:cNvPr>
            <p:cNvSpPr/>
            <p:nvPr/>
          </p:nvSpPr>
          <p:spPr>
            <a:xfrm rot="8716295">
              <a:off x="502166" y="59348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284418CA-40AC-4E29-8D1E-8E40819DE436}"/>
                </a:ext>
              </a:extLst>
            </p:cNvPr>
            <p:cNvSpPr/>
            <p:nvPr/>
          </p:nvSpPr>
          <p:spPr>
            <a:xfrm rot="8716295">
              <a:off x="457316" y="50720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19514F15-38A0-4598-8B03-DA5265616C1F}"/>
                </a:ext>
              </a:extLst>
            </p:cNvPr>
            <p:cNvSpPr/>
            <p:nvPr/>
          </p:nvSpPr>
          <p:spPr>
            <a:xfrm rot="8716295">
              <a:off x="300540" y="65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35129A39-F7B1-40CB-9723-42A8577DE4D8}"/>
                </a:ext>
              </a:extLst>
            </p:cNvPr>
            <p:cNvSpPr/>
            <p:nvPr/>
          </p:nvSpPr>
          <p:spPr>
            <a:xfrm rot="8716295">
              <a:off x="175637" y="44411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C7017F0B-1736-4A46-A863-13134C22DD70}"/>
                </a:ext>
              </a:extLst>
            </p:cNvPr>
            <p:cNvSpPr/>
            <p:nvPr/>
          </p:nvSpPr>
          <p:spPr>
            <a:xfrm rot="8716295">
              <a:off x="163585" y="30533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E31096BD-DD71-4593-87A9-9B536F3877A9}"/>
                </a:ext>
              </a:extLst>
            </p:cNvPr>
            <p:cNvSpPr/>
            <p:nvPr/>
          </p:nvSpPr>
          <p:spPr>
            <a:xfrm rot="8716295">
              <a:off x="390718" y="69374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489E6E27-B2DC-4644-8C61-0B68592B9997}"/>
                </a:ext>
              </a:extLst>
            </p:cNvPr>
            <p:cNvSpPr/>
            <p:nvPr/>
          </p:nvSpPr>
          <p:spPr>
            <a:xfrm rot="8716295">
              <a:off x="702015" y="317459"/>
              <a:ext cx="131260" cy="232388"/>
            </a:xfrm>
            <a:custGeom>
              <a:avLst/>
              <a:gdLst>
                <a:gd name="connsiteX0" fmla="*/ 70201 w 131260"/>
                <a:gd name="connsiteY0" fmla="*/ 232388 h 232388"/>
                <a:gd name="connsiteX1" fmla="*/ 70201 w 131260"/>
                <a:gd name="connsiteY1" fmla="*/ 69717 h 232388"/>
                <a:gd name="connsiteX2" fmla="*/ 70201 w 131260"/>
                <a:gd name="connsiteY2" fmla="*/ 65615 h 232388"/>
                <a:gd name="connsiteX3" fmla="*/ 49697 w 131260"/>
                <a:gd name="connsiteY3" fmla="*/ 50123 h 232388"/>
                <a:gd name="connsiteX4" fmla="*/ 0 w 131260"/>
                <a:gd name="connsiteY4" fmla="*/ 50123 h 232388"/>
                <a:gd name="connsiteX5" fmla="*/ 41457 w 131260"/>
                <a:gd name="connsiteY5" fmla="*/ 0 h 232388"/>
                <a:gd name="connsiteX6" fmla="*/ 74303 w 131260"/>
                <a:gd name="connsiteY6" fmla="*/ 0 h 232388"/>
                <a:gd name="connsiteX7" fmla="*/ 131260 w 131260"/>
                <a:gd name="connsiteY7" fmla="*/ 50123 h 232388"/>
                <a:gd name="connsiteX8" fmla="*/ 131260 w 131260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1260" h="232388">
                  <a:moveTo>
                    <a:pt x="70201" y="232388"/>
                  </a:moveTo>
                  <a:lnTo>
                    <a:pt x="70201" y="69717"/>
                  </a:lnTo>
                  <a:cubicBezTo>
                    <a:pt x="70201" y="68349"/>
                    <a:pt x="70201" y="66983"/>
                    <a:pt x="70201" y="65615"/>
                  </a:cubicBezTo>
                  <a:cubicBezTo>
                    <a:pt x="68835" y="55591"/>
                    <a:pt x="59721" y="48756"/>
                    <a:pt x="49697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74303" y="0"/>
                  </a:lnTo>
                  <a:cubicBezTo>
                    <a:pt x="111211" y="0"/>
                    <a:pt x="131260" y="15948"/>
                    <a:pt x="131260" y="50123"/>
                  </a:cubicBezTo>
                  <a:lnTo>
                    <a:pt x="131260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64B1D5CD-AA1A-4511-A70C-3D1648AA7620}"/>
                </a:ext>
              </a:extLst>
            </p:cNvPr>
            <p:cNvSpPr/>
            <p:nvPr/>
          </p:nvSpPr>
          <p:spPr>
            <a:xfrm rot="8716295">
              <a:off x="834978" y="558357"/>
              <a:ext cx="24341" cy="23495"/>
            </a:xfrm>
            <a:custGeom>
              <a:avLst/>
              <a:gdLst>
                <a:gd name="connsiteX0" fmla="*/ 0 w 24341"/>
                <a:gd name="connsiteY0" fmla="*/ 23495 h 23495"/>
                <a:gd name="connsiteX1" fmla="*/ 19433 w 24341"/>
                <a:gd name="connsiteY1" fmla="*/ 0 h 23495"/>
                <a:gd name="connsiteX2" fmla="*/ 24341 w 24341"/>
                <a:gd name="connsiteY2" fmla="*/ 16139 h 23495"/>
                <a:gd name="connsiteX3" fmla="*/ 24341 w 24341"/>
                <a:gd name="connsiteY3" fmla="*/ 22063 h 23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41" h="23495">
                  <a:moveTo>
                    <a:pt x="0" y="23495"/>
                  </a:moveTo>
                  <a:lnTo>
                    <a:pt x="19433" y="0"/>
                  </a:lnTo>
                  <a:lnTo>
                    <a:pt x="24341" y="16139"/>
                  </a:lnTo>
                  <a:lnTo>
                    <a:pt x="24341" y="220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C7E6623E-E147-4C70-B4C9-2964958B77BB}"/>
                </a:ext>
              </a:extLst>
            </p:cNvPr>
            <p:cNvSpPr/>
            <p:nvPr/>
          </p:nvSpPr>
          <p:spPr>
            <a:xfrm rot="8716295">
              <a:off x="589639" y="40263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4DE4261E-A052-44C0-B4E1-A4180EFF5C4E}"/>
                </a:ext>
              </a:extLst>
            </p:cNvPr>
            <p:cNvSpPr/>
            <p:nvPr/>
          </p:nvSpPr>
          <p:spPr>
            <a:xfrm rot="8716295">
              <a:off x="464737" y="19396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088943E8-6233-4A69-B579-FE8F6D2031DE}"/>
                </a:ext>
              </a:extLst>
            </p:cNvPr>
            <p:cNvSpPr/>
            <p:nvPr/>
          </p:nvSpPr>
          <p:spPr>
            <a:xfrm rot="8716295">
              <a:off x="679817" y="44358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C9608DDB-F100-4197-8B1F-FCABCA12152A}"/>
                </a:ext>
              </a:extLst>
            </p:cNvPr>
            <p:cNvSpPr/>
            <p:nvPr/>
          </p:nvSpPr>
          <p:spPr>
            <a:xfrm rot="8716295">
              <a:off x="438366" y="29398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D82830A6-34DE-41A5-85EB-BBC1292CFD2D}"/>
                </a:ext>
              </a:extLst>
            </p:cNvPr>
            <p:cNvSpPr/>
            <p:nvPr/>
          </p:nvSpPr>
          <p:spPr>
            <a:xfrm rot="7484129">
              <a:off x="811674" y="658874"/>
              <a:ext cx="31078" cy="46141"/>
            </a:xfrm>
            <a:custGeom>
              <a:avLst/>
              <a:gdLst>
                <a:gd name="connsiteX0" fmla="*/ 15207 w 31078"/>
                <a:gd name="connsiteY0" fmla="*/ 46141 h 46141"/>
                <a:gd name="connsiteX1" fmla="*/ 0 w 31078"/>
                <a:gd name="connsiteY1" fmla="*/ 17849 h 46141"/>
                <a:gd name="connsiteX2" fmla="*/ 31078 w 31078"/>
                <a:gd name="connsiteY2" fmla="*/ 0 h 46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078" h="46141">
                  <a:moveTo>
                    <a:pt x="15207" y="46141"/>
                  </a:moveTo>
                  <a:lnTo>
                    <a:pt x="0" y="17849"/>
                  </a:lnTo>
                  <a:lnTo>
                    <a:pt x="3107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F95DC290-4BE0-47A6-9E13-46128747A546}"/>
                </a:ext>
              </a:extLst>
            </p:cNvPr>
            <p:cNvSpPr/>
            <p:nvPr/>
          </p:nvSpPr>
          <p:spPr>
            <a:xfrm rot="8716295">
              <a:off x="780102" y="336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2DFDD14A-8BE6-4683-84E9-692286466F04}"/>
                </a:ext>
              </a:extLst>
            </p:cNvPr>
            <p:cNvSpPr/>
            <p:nvPr/>
          </p:nvSpPr>
          <p:spPr>
            <a:xfrm rot="8716295">
              <a:off x="202348" y="-57106"/>
              <a:ext cx="142167" cy="186494"/>
            </a:xfrm>
            <a:custGeom>
              <a:avLst/>
              <a:gdLst>
                <a:gd name="connsiteX0" fmla="*/ 142167 w 142167"/>
                <a:gd name="connsiteY0" fmla="*/ 186494 h 186494"/>
                <a:gd name="connsiteX1" fmla="*/ 81108 w 142167"/>
                <a:gd name="connsiteY1" fmla="*/ 144170 h 186494"/>
                <a:gd name="connsiteX2" fmla="*/ 81108 w 142167"/>
                <a:gd name="connsiteY2" fmla="*/ 69717 h 186494"/>
                <a:gd name="connsiteX3" fmla="*/ 81108 w 142167"/>
                <a:gd name="connsiteY3" fmla="*/ 65615 h 186494"/>
                <a:gd name="connsiteX4" fmla="*/ 60603 w 142167"/>
                <a:gd name="connsiteY4" fmla="*/ 50123 h 186494"/>
                <a:gd name="connsiteX5" fmla="*/ 0 w 142167"/>
                <a:gd name="connsiteY5" fmla="*/ 50123 h 186494"/>
                <a:gd name="connsiteX6" fmla="*/ 0 w 142167"/>
                <a:gd name="connsiteY6" fmla="*/ 0 h 186494"/>
                <a:gd name="connsiteX7" fmla="*/ 85209 w 142167"/>
                <a:gd name="connsiteY7" fmla="*/ 0 h 186494"/>
                <a:gd name="connsiteX8" fmla="*/ 142167 w 142167"/>
                <a:gd name="connsiteY8" fmla="*/ 50123 h 186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86494">
                  <a:moveTo>
                    <a:pt x="142167" y="186494"/>
                  </a:moveTo>
                  <a:lnTo>
                    <a:pt x="81108" y="144170"/>
                  </a:lnTo>
                  <a:lnTo>
                    <a:pt x="81108" y="69717"/>
                  </a:lnTo>
                  <a:cubicBezTo>
                    <a:pt x="81108" y="68349"/>
                    <a:pt x="81108" y="66983"/>
                    <a:pt x="81108" y="65615"/>
                  </a:cubicBezTo>
                  <a:cubicBezTo>
                    <a:pt x="79741" y="55591"/>
                    <a:pt x="70628" y="48756"/>
                    <a:pt x="60603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1290DDF0-32AF-49C1-9855-D4608A5165C7}"/>
                </a:ext>
              </a:extLst>
            </p:cNvPr>
            <p:cNvSpPr/>
            <p:nvPr/>
          </p:nvSpPr>
          <p:spPr>
            <a:xfrm rot="8716295">
              <a:off x="298766" y="-5395"/>
              <a:ext cx="260639" cy="180054"/>
            </a:xfrm>
            <a:custGeom>
              <a:avLst/>
              <a:gdLst>
                <a:gd name="connsiteX0" fmla="*/ 111638 w 260639"/>
                <a:gd name="connsiteY0" fmla="*/ 180054 h 180054"/>
                <a:gd name="connsiteX1" fmla="*/ 51490 w 260639"/>
                <a:gd name="connsiteY1" fmla="*/ 138362 h 180054"/>
                <a:gd name="connsiteX2" fmla="*/ 51490 w 260639"/>
                <a:gd name="connsiteY2" fmla="*/ 45624 h 180054"/>
                <a:gd name="connsiteX3" fmla="*/ 0 w 260639"/>
                <a:gd name="connsiteY3" fmla="*/ 45624 h 180054"/>
                <a:gd name="connsiteX4" fmla="*/ 0 w 260639"/>
                <a:gd name="connsiteY4" fmla="*/ 1425 h 180054"/>
                <a:gd name="connsiteX5" fmla="*/ 104802 w 260639"/>
                <a:gd name="connsiteY5" fmla="*/ 1425 h 180054"/>
                <a:gd name="connsiteX6" fmla="*/ 104802 w 260639"/>
                <a:gd name="connsiteY6" fmla="*/ 75242 h 180054"/>
                <a:gd name="connsiteX7" fmla="*/ 106169 w 260639"/>
                <a:gd name="connsiteY7" fmla="*/ 75242 h 180054"/>
                <a:gd name="connsiteX8" fmla="*/ 154014 w 260639"/>
                <a:gd name="connsiteY8" fmla="*/ 5981 h 180054"/>
                <a:gd name="connsiteX9" fmla="*/ 185455 w 260639"/>
                <a:gd name="connsiteY9" fmla="*/ 57 h 180054"/>
                <a:gd name="connsiteX10" fmla="*/ 260639 w 260639"/>
                <a:gd name="connsiteY10" fmla="*/ 88456 h 180054"/>
                <a:gd name="connsiteX11" fmla="*/ 260639 w 260639"/>
                <a:gd name="connsiteY11" fmla="*/ 94380 h 180054"/>
                <a:gd name="connsiteX12" fmla="*/ 198669 w 260639"/>
                <a:gd name="connsiteY12" fmla="*/ 98025 h 180054"/>
                <a:gd name="connsiteX13" fmla="*/ 198669 w 260639"/>
                <a:gd name="connsiteY13" fmla="*/ 81621 h 180054"/>
                <a:gd name="connsiteX14" fmla="*/ 164950 w 260639"/>
                <a:gd name="connsiteY14" fmla="*/ 40156 h 180054"/>
                <a:gd name="connsiteX15" fmla="*/ 111638 w 260639"/>
                <a:gd name="connsiteY15" fmla="*/ 127643 h 180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0639" h="180054">
                  <a:moveTo>
                    <a:pt x="111638" y="180054"/>
                  </a:moveTo>
                  <a:lnTo>
                    <a:pt x="51490" y="138362"/>
                  </a:ln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35F53667-6F8A-4DCE-969D-0E4C74C133AE}"/>
                </a:ext>
              </a:extLst>
            </p:cNvPr>
            <p:cNvSpPr/>
            <p:nvPr/>
          </p:nvSpPr>
          <p:spPr>
            <a:xfrm rot="8716295">
              <a:off x="276903" y="-12823"/>
              <a:ext cx="36272" cy="27982"/>
            </a:xfrm>
            <a:custGeom>
              <a:avLst/>
              <a:gdLst>
                <a:gd name="connsiteX0" fmla="*/ 36272 w 36272"/>
                <a:gd name="connsiteY0" fmla="*/ 27982 h 27982"/>
                <a:gd name="connsiteX1" fmla="*/ 0 w 36272"/>
                <a:gd name="connsiteY1" fmla="*/ 2840 h 27982"/>
                <a:gd name="connsiteX2" fmla="*/ 9543 w 36272"/>
                <a:gd name="connsiteY2" fmla="*/ 0 h 27982"/>
                <a:gd name="connsiteX3" fmla="*/ 31871 w 36272"/>
                <a:gd name="connsiteY3" fmla="*/ 11392 h 27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272" h="27982">
                  <a:moveTo>
                    <a:pt x="36272" y="27982"/>
                  </a:moveTo>
                  <a:lnTo>
                    <a:pt x="0" y="2840"/>
                  </a:lnTo>
                  <a:lnTo>
                    <a:pt x="9543" y="0"/>
                  </a:lnTo>
                  <a:cubicBezTo>
                    <a:pt x="20479" y="0"/>
                    <a:pt x="27542" y="4784"/>
                    <a:pt x="31871" y="113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7EAA08B2-D955-4718-8A05-F3FD6783C060}"/>
                </a:ext>
              </a:extLst>
            </p:cNvPr>
            <p:cNvSpPr/>
            <p:nvPr/>
          </p:nvSpPr>
          <p:spPr>
            <a:xfrm rot="8716295">
              <a:off x="74640" y="-9665"/>
              <a:ext cx="58068" cy="54772"/>
            </a:xfrm>
            <a:custGeom>
              <a:avLst/>
              <a:gdLst>
                <a:gd name="connsiteX0" fmla="*/ 37436 w 58068"/>
                <a:gd name="connsiteY0" fmla="*/ 54772 h 54772"/>
                <a:gd name="connsiteX1" fmla="*/ 0 w 58068"/>
                <a:gd name="connsiteY1" fmla="*/ 28823 h 54772"/>
                <a:gd name="connsiteX2" fmla="*/ 8515 w 58068"/>
                <a:gd name="connsiteY2" fmla="*/ 8658 h 54772"/>
                <a:gd name="connsiteX3" fmla="*/ 29020 w 58068"/>
                <a:gd name="connsiteY3" fmla="*/ 0 h 54772"/>
                <a:gd name="connsiteX4" fmla="*/ 49525 w 58068"/>
                <a:gd name="connsiteY4" fmla="*/ 8658 h 54772"/>
                <a:gd name="connsiteX5" fmla="*/ 49525 w 58068"/>
                <a:gd name="connsiteY5" fmla="*/ 49668 h 5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068" h="54772">
                  <a:moveTo>
                    <a:pt x="37436" y="54772"/>
                  </a:moveTo>
                  <a:lnTo>
                    <a:pt x="0" y="28823"/>
                  </a:lnTo>
                  <a:lnTo>
                    <a:pt x="8515" y="8658"/>
                  </a:lnTo>
                  <a:cubicBezTo>
                    <a:pt x="13983" y="3190"/>
                    <a:pt x="21273" y="0"/>
                    <a:pt x="29020" y="0"/>
                  </a:cubicBezTo>
                  <a:cubicBezTo>
                    <a:pt x="36766" y="0"/>
                    <a:pt x="44057" y="3190"/>
                    <a:pt x="49525" y="8658"/>
                  </a:cubicBezTo>
                  <a:cubicBezTo>
                    <a:pt x="60916" y="19594"/>
                    <a:pt x="60916" y="38276"/>
                    <a:pt x="49525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91D311A3-3988-4CE3-A999-8E18D0FD85FD}"/>
                </a:ext>
              </a:extLst>
            </p:cNvPr>
            <p:cNvSpPr/>
            <p:nvPr/>
          </p:nvSpPr>
          <p:spPr>
            <a:xfrm rot="8716295">
              <a:off x="13802" y="-10406"/>
              <a:ext cx="30027" cy="20814"/>
            </a:xfrm>
            <a:custGeom>
              <a:avLst/>
              <a:gdLst>
                <a:gd name="connsiteX0" fmla="*/ 30027 w 30027"/>
                <a:gd name="connsiteY0" fmla="*/ 20814 h 20814"/>
                <a:gd name="connsiteX1" fmla="*/ 0 w 30027"/>
                <a:gd name="connsiteY1" fmla="*/ 0 h 20814"/>
                <a:gd name="connsiteX2" fmla="*/ 30027 w 30027"/>
                <a:gd name="connsiteY2" fmla="*/ 0 h 20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027" h="20814">
                  <a:moveTo>
                    <a:pt x="30027" y="20814"/>
                  </a:moveTo>
                  <a:lnTo>
                    <a:pt x="0" y="0"/>
                  </a:lnTo>
                  <a:lnTo>
                    <a:pt x="3002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7D873286-5EB5-4CF8-8AF6-196B8CFE1B78}"/>
                </a:ext>
              </a:extLst>
            </p:cNvPr>
            <p:cNvSpPr/>
            <p:nvPr/>
          </p:nvSpPr>
          <p:spPr>
            <a:xfrm rot="8716295">
              <a:off x="168048" y="3032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7A821114-A2EA-43FA-A71F-B45BB20754C5}"/>
                </a:ext>
              </a:extLst>
            </p:cNvPr>
            <p:cNvSpPr/>
            <p:nvPr/>
          </p:nvSpPr>
          <p:spPr>
            <a:xfrm rot="7484129">
              <a:off x="562078" y="-284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3685BB38-9BA5-4418-8C8D-FBEB60E347A8}"/>
                </a:ext>
              </a:extLst>
            </p:cNvPr>
            <p:cNvSpPr/>
            <p:nvPr/>
          </p:nvSpPr>
          <p:spPr>
            <a:xfrm rot="13089394">
              <a:off x="767127" y="-2787"/>
              <a:ext cx="149688" cy="301067"/>
            </a:xfrm>
            <a:custGeom>
              <a:avLst/>
              <a:gdLst>
                <a:gd name="connsiteX0" fmla="*/ 149688 w 149688"/>
                <a:gd name="connsiteY0" fmla="*/ 279622 h 301067"/>
                <a:gd name="connsiteX1" fmla="*/ 122393 w 149688"/>
                <a:gd name="connsiteY1" fmla="*/ 301067 h 301067"/>
                <a:gd name="connsiteX2" fmla="*/ 0 w 149688"/>
                <a:gd name="connsiteY2" fmla="*/ 114672 h 301067"/>
                <a:gd name="connsiteX3" fmla="*/ 0 w 149688"/>
                <a:gd name="connsiteY3" fmla="*/ 38074 h 301067"/>
                <a:gd name="connsiteX4" fmla="*/ 73388 w 149688"/>
                <a:gd name="connsiteY4" fmla="*/ 0 h 301067"/>
                <a:gd name="connsiteX5" fmla="*/ 74492 w 149688"/>
                <a:gd name="connsiteY5" fmla="*/ 153950 h 301067"/>
                <a:gd name="connsiteX6" fmla="*/ 87734 w 149688"/>
                <a:gd name="connsiteY6" fmla="*/ 245547 h 301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9688" h="301067">
                  <a:moveTo>
                    <a:pt x="149688" y="279622"/>
                  </a:moveTo>
                  <a:lnTo>
                    <a:pt x="122393" y="301067"/>
                  </a:lnTo>
                  <a:lnTo>
                    <a:pt x="0" y="114672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2836" y="184850"/>
                    <a:pt x="77802" y="216302"/>
                    <a:pt x="87734" y="2455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114D5DAD-A121-412D-8EC9-36550D867937}"/>
                </a:ext>
              </a:extLst>
            </p:cNvPr>
            <p:cNvSpPr/>
            <p:nvPr/>
          </p:nvSpPr>
          <p:spPr>
            <a:xfrm rot="8716295">
              <a:off x="212141" y="304502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61E96B9A-4D28-4F84-A968-91920B4F682F}"/>
                </a:ext>
              </a:extLst>
            </p:cNvPr>
            <p:cNvSpPr/>
            <p:nvPr/>
          </p:nvSpPr>
          <p:spPr>
            <a:xfrm rot="8716295">
              <a:off x="301533" y="307427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EFBE6CB5-44BD-4FB1-964B-F9876CB1F02D}"/>
                </a:ext>
              </a:extLst>
            </p:cNvPr>
            <p:cNvSpPr/>
            <p:nvPr/>
          </p:nvSpPr>
          <p:spPr>
            <a:xfrm rot="8716295">
              <a:off x="256683" y="298799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38E45A1E-C02E-4B0D-9660-74BB6C6525C0}"/>
                </a:ext>
              </a:extLst>
            </p:cNvPr>
            <p:cNvSpPr/>
            <p:nvPr/>
          </p:nvSpPr>
          <p:spPr>
            <a:xfrm rot="8716295">
              <a:off x="99907" y="31335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6D3358CE-572A-49E2-A96A-A71EBB4EE87B}"/>
                </a:ext>
              </a:extLst>
            </p:cNvPr>
            <p:cNvSpPr/>
            <p:nvPr/>
          </p:nvSpPr>
          <p:spPr>
            <a:xfrm rot="8716295">
              <a:off x="-24996" y="29248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FD4661B5-95D9-433F-BEC2-9F56D7A1586B}"/>
                </a:ext>
              </a:extLst>
            </p:cNvPr>
            <p:cNvSpPr/>
            <p:nvPr/>
          </p:nvSpPr>
          <p:spPr>
            <a:xfrm rot="8716295">
              <a:off x="51899" y="2754602"/>
              <a:ext cx="189488" cy="350829"/>
            </a:xfrm>
            <a:custGeom>
              <a:avLst/>
              <a:gdLst>
                <a:gd name="connsiteX0" fmla="*/ 25299 w 189488"/>
                <a:gd name="connsiteY0" fmla="*/ 321238 h 350829"/>
                <a:gd name="connsiteX1" fmla="*/ 0 w 189488"/>
                <a:gd name="connsiteY1" fmla="*/ 220042 h 350829"/>
                <a:gd name="connsiteX2" fmla="*/ 0 w 189488"/>
                <a:gd name="connsiteY2" fmla="*/ 40596 h 350829"/>
                <a:gd name="connsiteX3" fmla="*/ 78250 w 189488"/>
                <a:gd name="connsiteY3" fmla="*/ 0 h 350829"/>
                <a:gd name="connsiteX4" fmla="*/ 79427 w 189488"/>
                <a:gd name="connsiteY4" fmla="*/ 164149 h 350829"/>
                <a:gd name="connsiteX5" fmla="*/ 93547 w 189488"/>
                <a:gd name="connsiteY5" fmla="*/ 261815 h 350829"/>
                <a:gd name="connsiteX6" fmla="*/ 164148 w 189488"/>
                <a:gd name="connsiteY6" fmla="*/ 300646 h 350829"/>
                <a:gd name="connsiteX7" fmla="*/ 189488 w 189488"/>
                <a:gd name="connsiteY7" fmla="*/ 296141 h 350829"/>
                <a:gd name="connsiteX8" fmla="*/ 160617 w 189488"/>
                <a:gd name="connsiteY8" fmla="*/ 337791 h 350829"/>
                <a:gd name="connsiteX9" fmla="*/ 97666 w 189488"/>
                <a:gd name="connsiteY9" fmla="*/ 350655 h 350829"/>
                <a:gd name="connsiteX10" fmla="*/ 25299 w 189488"/>
                <a:gd name="connsiteY10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9488" h="350829">
                  <a:moveTo>
                    <a:pt x="25299" y="321238"/>
                  </a:moveTo>
                  <a:cubicBezTo>
                    <a:pt x="5295" y="301823"/>
                    <a:pt x="0" y="268286"/>
                    <a:pt x="0" y="220042"/>
                  </a:cubicBez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8" y="300646"/>
                  </a:cubicBezTo>
                  <a:lnTo>
                    <a:pt x="189488" y="296141"/>
                  </a:lnTo>
                  <a:lnTo>
                    <a:pt x="160617" y="337791"/>
                  </a:lnTo>
                  <a:lnTo>
                    <a:pt x="97666" y="350655"/>
                  </a:ln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B2B32B95-C256-448F-A1B2-6C67C09DF5AE}"/>
                </a:ext>
              </a:extLst>
            </p:cNvPr>
            <p:cNvSpPr/>
            <p:nvPr/>
          </p:nvSpPr>
          <p:spPr>
            <a:xfrm rot="8716295">
              <a:off x="190085" y="317452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E877EB14-51C5-4A81-B0BF-26680B1F705F}"/>
                </a:ext>
              </a:extLst>
            </p:cNvPr>
            <p:cNvSpPr/>
            <p:nvPr/>
          </p:nvSpPr>
          <p:spPr>
            <a:xfrm rot="8716295">
              <a:off x="502599" y="2802136"/>
              <a:ext cx="117588" cy="232388"/>
            </a:xfrm>
            <a:custGeom>
              <a:avLst/>
              <a:gdLst>
                <a:gd name="connsiteX0" fmla="*/ 56529 w 117588"/>
                <a:gd name="connsiteY0" fmla="*/ 232388 h 232388"/>
                <a:gd name="connsiteX1" fmla="*/ 56529 w 117588"/>
                <a:gd name="connsiteY1" fmla="*/ 69717 h 232388"/>
                <a:gd name="connsiteX2" fmla="*/ 56529 w 117588"/>
                <a:gd name="connsiteY2" fmla="*/ 65615 h 232388"/>
                <a:gd name="connsiteX3" fmla="*/ 36025 w 117588"/>
                <a:gd name="connsiteY3" fmla="*/ 50123 h 232388"/>
                <a:gd name="connsiteX4" fmla="*/ 0 w 117588"/>
                <a:gd name="connsiteY4" fmla="*/ 50123 h 232388"/>
                <a:gd name="connsiteX5" fmla="*/ 41458 w 117588"/>
                <a:gd name="connsiteY5" fmla="*/ 0 h 232388"/>
                <a:gd name="connsiteX6" fmla="*/ 60630 w 117588"/>
                <a:gd name="connsiteY6" fmla="*/ 0 h 232388"/>
                <a:gd name="connsiteX7" fmla="*/ 117588 w 117588"/>
                <a:gd name="connsiteY7" fmla="*/ 50123 h 232388"/>
                <a:gd name="connsiteX8" fmla="*/ 117588 w 117588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7588" h="232388">
                  <a:moveTo>
                    <a:pt x="56529" y="232388"/>
                  </a:moveTo>
                  <a:lnTo>
                    <a:pt x="56529" y="69717"/>
                  </a:lnTo>
                  <a:cubicBezTo>
                    <a:pt x="56529" y="68349"/>
                    <a:pt x="56529" y="66983"/>
                    <a:pt x="56529" y="65615"/>
                  </a:cubicBezTo>
                  <a:cubicBezTo>
                    <a:pt x="55163" y="55591"/>
                    <a:pt x="46049" y="48756"/>
                    <a:pt x="36025" y="50123"/>
                  </a:cubicBezTo>
                  <a:lnTo>
                    <a:pt x="0" y="50123"/>
                  </a:lnTo>
                  <a:lnTo>
                    <a:pt x="41458" y="0"/>
                  </a:lnTo>
                  <a:lnTo>
                    <a:pt x="60630" y="0"/>
                  </a:lnTo>
                  <a:cubicBezTo>
                    <a:pt x="97539" y="0"/>
                    <a:pt x="117588" y="15948"/>
                    <a:pt x="117588" y="50123"/>
                  </a:cubicBezTo>
                  <a:lnTo>
                    <a:pt x="117588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AE770E37-12A5-49E8-A852-2213359AF064}"/>
                </a:ext>
              </a:extLst>
            </p:cNvPr>
            <p:cNvSpPr/>
            <p:nvPr/>
          </p:nvSpPr>
          <p:spPr>
            <a:xfrm rot="8716295">
              <a:off x="389006" y="2883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575CB7EC-73D6-440C-8D11-02C25DB1B58E}"/>
                </a:ext>
              </a:extLst>
            </p:cNvPr>
            <p:cNvSpPr/>
            <p:nvPr/>
          </p:nvSpPr>
          <p:spPr>
            <a:xfrm rot="8716295">
              <a:off x="264104" y="267474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3E6E4B66-1F26-432C-A14D-A0BFBE670784}"/>
                </a:ext>
              </a:extLst>
            </p:cNvPr>
            <p:cNvSpPr/>
            <p:nvPr/>
          </p:nvSpPr>
          <p:spPr>
            <a:xfrm rot="8716295">
              <a:off x="479184" y="292437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8324BF72-C5F2-44D4-8888-E752B7FEDC5D}"/>
                </a:ext>
              </a:extLst>
            </p:cNvPr>
            <p:cNvSpPr/>
            <p:nvPr/>
          </p:nvSpPr>
          <p:spPr>
            <a:xfrm rot="8716295">
              <a:off x="237733" y="277477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8239F27B-FC1E-4A05-9289-AB74F556DCB2}"/>
                </a:ext>
              </a:extLst>
            </p:cNvPr>
            <p:cNvSpPr/>
            <p:nvPr/>
          </p:nvSpPr>
          <p:spPr>
            <a:xfrm rot="7484129">
              <a:off x="609980" y="3142825"/>
              <a:ext cx="20881" cy="31001"/>
            </a:xfrm>
            <a:custGeom>
              <a:avLst/>
              <a:gdLst>
                <a:gd name="connsiteX0" fmla="*/ 10218 w 20881"/>
                <a:gd name="connsiteY0" fmla="*/ 31001 h 31001"/>
                <a:gd name="connsiteX1" fmla="*/ 0 w 20881"/>
                <a:gd name="connsiteY1" fmla="*/ 11992 h 31001"/>
                <a:gd name="connsiteX2" fmla="*/ 20881 w 20881"/>
                <a:gd name="connsiteY2" fmla="*/ 0 h 31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881" h="31001">
                  <a:moveTo>
                    <a:pt x="10218" y="31001"/>
                  </a:moveTo>
                  <a:lnTo>
                    <a:pt x="0" y="11992"/>
                  </a:lnTo>
                  <a:lnTo>
                    <a:pt x="2088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F966E638-4286-459E-B12F-23BB9A1D87B8}"/>
                </a:ext>
              </a:extLst>
            </p:cNvPr>
            <p:cNvSpPr/>
            <p:nvPr/>
          </p:nvSpPr>
          <p:spPr>
            <a:xfrm rot="8716295">
              <a:off x="579469" y="28172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B2C65482-1A23-4074-8C10-932297BE6093}"/>
                </a:ext>
              </a:extLst>
            </p:cNvPr>
            <p:cNvSpPr/>
            <p:nvPr/>
          </p:nvSpPr>
          <p:spPr>
            <a:xfrm rot="8716295">
              <a:off x="437995" y="3716235"/>
              <a:ext cx="102679" cy="232388"/>
            </a:xfrm>
            <a:custGeom>
              <a:avLst/>
              <a:gdLst>
                <a:gd name="connsiteX0" fmla="*/ 41620 w 102679"/>
                <a:gd name="connsiteY0" fmla="*/ 232388 h 232388"/>
                <a:gd name="connsiteX1" fmla="*/ 41620 w 102679"/>
                <a:gd name="connsiteY1" fmla="*/ 69717 h 232388"/>
                <a:gd name="connsiteX2" fmla="*/ 41620 w 102679"/>
                <a:gd name="connsiteY2" fmla="*/ 65615 h 232388"/>
                <a:gd name="connsiteX3" fmla="*/ 21116 w 102679"/>
                <a:gd name="connsiteY3" fmla="*/ 50123 h 232388"/>
                <a:gd name="connsiteX4" fmla="*/ 0 w 102679"/>
                <a:gd name="connsiteY4" fmla="*/ 50123 h 232388"/>
                <a:gd name="connsiteX5" fmla="*/ 41457 w 102679"/>
                <a:gd name="connsiteY5" fmla="*/ 0 h 232388"/>
                <a:gd name="connsiteX6" fmla="*/ 45721 w 102679"/>
                <a:gd name="connsiteY6" fmla="*/ 0 h 232388"/>
                <a:gd name="connsiteX7" fmla="*/ 102679 w 102679"/>
                <a:gd name="connsiteY7" fmla="*/ 50123 h 232388"/>
                <a:gd name="connsiteX8" fmla="*/ 102679 w 102679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2679" h="232388">
                  <a:moveTo>
                    <a:pt x="41620" y="232388"/>
                  </a:moveTo>
                  <a:lnTo>
                    <a:pt x="41620" y="69717"/>
                  </a:lnTo>
                  <a:cubicBezTo>
                    <a:pt x="41620" y="68349"/>
                    <a:pt x="41620" y="66983"/>
                    <a:pt x="41620" y="65615"/>
                  </a:cubicBezTo>
                  <a:cubicBezTo>
                    <a:pt x="40254" y="55591"/>
                    <a:pt x="31140" y="48756"/>
                    <a:pt x="21116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45721" y="0"/>
                  </a:lnTo>
                  <a:cubicBezTo>
                    <a:pt x="82630" y="0"/>
                    <a:pt x="102679" y="15948"/>
                    <a:pt x="102679" y="50123"/>
                  </a:cubicBezTo>
                  <a:lnTo>
                    <a:pt x="102679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3086E34F-1198-4AFB-9061-33B48AB15AF3}"/>
                </a:ext>
              </a:extLst>
            </p:cNvPr>
            <p:cNvSpPr/>
            <p:nvPr/>
          </p:nvSpPr>
          <p:spPr>
            <a:xfrm rot="8716295">
              <a:off x="482715" y="3669965"/>
              <a:ext cx="154563" cy="124897"/>
            </a:xfrm>
            <a:custGeom>
              <a:avLst/>
              <a:gdLst>
                <a:gd name="connsiteX0" fmla="*/ 0 w 154563"/>
                <a:gd name="connsiteY0" fmla="*/ 124897 h 124897"/>
                <a:gd name="connsiteX1" fmla="*/ 95474 w 154563"/>
                <a:gd name="connsiteY1" fmla="*/ 9467 h 124897"/>
                <a:gd name="connsiteX2" fmla="*/ 96067 w 154563"/>
                <a:gd name="connsiteY2" fmla="*/ 9000 h 124897"/>
                <a:gd name="connsiteX3" fmla="*/ 126312 w 154563"/>
                <a:gd name="connsiteY3" fmla="*/ 0 h 124897"/>
                <a:gd name="connsiteX4" fmla="*/ 154563 w 154563"/>
                <a:gd name="connsiteY4" fmla="*/ 33719 h 124897"/>
                <a:gd name="connsiteX5" fmla="*/ 128135 w 154563"/>
                <a:gd name="connsiteY5" fmla="*/ 69261 h 124897"/>
                <a:gd name="connsiteX6" fmla="*/ 128590 w 154563"/>
                <a:gd name="connsiteY6" fmla="*/ 69261 h 12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4563" h="124897">
                  <a:moveTo>
                    <a:pt x="0" y="124897"/>
                  </a:moveTo>
                  <a:lnTo>
                    <a:pt x="95474" y="9467"/>
                  </a:lnTo>
                  <a:lnTo>
                    <a:pt x="96067" y="9000"/>
                  </a:lnTo>
                  <a:cubicBezTo>
                    <a:pt x="105351" y="4215"/>
                    <a:pt x="115604" y="1139"/>
                    <a:pt x="126312" y="0"/>
                  </a:cubicBezTo>
                  <a:cubicBezTo>
                    <a:pt x="148184" y="0"/>
                    <a:pt x="154563" y="19138"/>
                    <a:pt x="154563" y="33719"/>
                  </a:cubicBezTo>
                  <a:cubicBezTo>
                    <a:pt x="153196" y="49668"/>
                    <a:pt x="142715" y="62882"/>
                    <a:pt x="128135" y="69261"/>
                  </a:cubicBezTo>
                  <a:lnTo>
                    <a:pt x="128590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34D8ECB7-8525-4B33-96F7-6EC94DA1622C}"/>
                </a:ext>
              </a:extLst>
            </p:cNvPr>
            <p:cNvSpPr/>
            <p:nvPr/>
          </p:nvSpPr>
          <p:spPr>
            <a:xfrm rot="8716295">
              <a:off x="323074" y="379327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F43D6D3D-6C35-4427-9A74-A2D3472F3BCC}"/>
                </a:ext>
              </a:extLst>
            </p:cNvPr>
            <p:cNvSpPr/>
            <p:nvPr/>
          </p:nvSpPr>
          <p:spPr>
            <a:xfrm rot="8716295">
              <a:off x="198171" y="358459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4464E862-CB30-4363-9C1D-B97AACD89182}"/>
                </a:ext>
              </a:extLst>
            </p:cNvPr>
            <p:cNvSpPr/>
            <p:nvPr/>
          </p:nvSpPr>
          <p:spPr>
            <a:xfrm rot="8716295">
              <a:off x="186119" y="344581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orme libre : forme 58">
              <a:extLst>
                <a:ext uri="{FF2B5EF4-FFF2-40B4-BE49-F238E27FC236}">
                  <a16:creationId xmlns:a16="http://schemas.microsoft.com/office/drawing/2014/main" id="{88BD8233-E48E-4089-A094-B851A84F1E37}"/>
                </a:ext>
              </a:extLst>
            </p:cNvPr>
            <p:cNvSpPr/>
            <p:nvPr/>
          </p:nvSpPr>
          <p:spPr>
            <a:xfrm rot="8716295">
              <a:off x="410218" y="3834716"/>
              <a:ext cx="103435" cy="219174"/>
            </a:xfrm>
            <a:custGeom>
              <a:avLst/>
              <a:gdLst>
                <a:gd name="connsiteX0" fmla="*/ 103435 w 103435"/>
                <a:gd name="connsiteY0" fmla="*/ 219174 h 219174"/>
                <a:gd name="connsiteX1" fmla="*/ 43288 w 103435"/>
                <a:gd name="connsiteY1" fmla="*/ 161305 h 219174"/>
                <a:gd name="connsiteX2" fmla="*/ 43288 w 103435"/>
                <a:gd name="connsiteY2" fmla="*/ 16404 h 219174"/>
                <a:gd name="connsiteX3" fmla="*/ 0 w 103435"/>
                <a:gd name="connsiteY3" fmla="*/ 16404 h 219174"/>
                <a:gd name="connsiteX4" fmla="*/ 0 w 103435"/>
                <a:gd name="connsiteY4" fmla="*/ 16028 h 219174"/>
                <a:gd name="connsiteX5" fmla="*/ 11583 w 103435"/>
                <a:gd name="connsiteY5" fmla="*/ 2023 h 219174"/>
                <a:gd name="connsiteX6" fmla="*/ 103435 w 103435"/>
                <a:gd name="connsiteY6" fmla="*/ 0 h 219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19174">
                  <a:moveTo>
                    <a:pt x="103435" y="219174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16028"/>
                  </a:lnTo>
                  <a:lnTo>
                    <a:pt x="11583" y="2023"/>
                  </a:lnTo>
                  <a:lnTo>
                    <a:pt x="10343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orme libre : forme 59">
              <a:extLst>
                <a:ext uri="{FF2B5EF4-FFF2-40B4-BE49-F238E27FC236}">
                  <a16:creationId xmlns:a16="http://schemas.microsoft.com/office/drawing/2014/main" id="{D72BA86C-11E8-4C7D-A93A-11E890905CBF}"/>
                </a:ext>
              </a:extLst>
            </p:cNvPr>
            <p:cNvSpPr/>
            <p:nvPr/>
          </p:nvSpPr>
          <p:spPr>
            <a:xfrm rot="8716295">
              <a:off x="487452" y="3349370"/>
              <a:ext cx="151162" cy="195873"/>
            </a:xfrm>
            <a:custGeom>
              <a:avLst/>
              <a:gdLst>
                <a:gd name="connsiteX0" fmla="*/ 38025 w 151162"/>
                <a:gd name="connsiteY0" fmla="*/ 195873 h 195873"/>
                <a:gd name="connsiteX1" fmla="*/ 0 w 151162"/>
                <a:gd name="connsiteY1" fmla="*/ 125130 h 195873"/>
                <a:gd name="connsiteX2" fmla="*/ 103497 w 151162"/>
                <a:gd name="connsiteY2" fmla="*/ 0 h 195873"/>
                <a:gd name="connsiteX3" fmla="*/ 151162 w 151162"/>
                <a:gd name="connsiteY3" fmla="*/ 0 h 195873"/>
                <a:gd name="connsiteX4" fmla="*/ 151162 w 151162"/>
                <a:gd name="connsiteY4" fmla="*/ 55323 h 195873"/>
                <a:gd name="connsiteX5" fmla="*/ 86370 w 151162"/>
                <a:gd name="connsiteY5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1162" h="195873">
                  <a:moveTo>
                    <a:pt x="38025" y="195873"/>
                  </a:moveTo>
                  <a:lnTo>
                    <a:pt x="0" y="125130"/>
                  </a:lnTo>
                  <a:lnTo>
                    <a:pt x="103497" y="0"/>
                  </a:lnTo>
                  <a:lnTo>
                    <a:pt x="151162" y="0"/>
                  </a:lnTo>
                  <a:lnTo>
                    <a:pt x="151162" y="55323"/>
                  </a:lnTo>
                  <a:lnTo>
                    <a:pt x="86370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orme libre : forme 60">
              <a:extLst>
                <a:ext uri="{FF2B5EF4-FFF2-40B4-BE49-F238E27FC236}">
                  <a16:creationId xmlns:a16="http://schemas.microsoft.com/office/drawing/2014/main" id="{BE142581-218C-47B8-9F20-81B808628CD1}"/>
                </a:ext>
              </a:extLst>
            </p:cNvPr>
            <p:cNvSpPr/>
            <p:nvPr/>
          </p:nvSpPr>
          <p:spPr>
            <a:xfrm rot="8716295">
              <a:off x="460900" y="343447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orme libre : forme 61">
              <a:extLst>
                <a:ext uri="{FF2B5EF4-FFF2-40B4-BE49-F238E27FC236}">
                  <a16:creationId xmlns:a16="http://schemas.microsoft.com/office/drawing/2014/main" id="{DB847D65-EDE7-4D20-A3B5-D7E0E2A3E756}"/>
                </a:ext>
              </a:extLst>
            </p:cNvPr>
            <p:cNvSpPr/>
            <p:nvPr/>
          </p:nvSpPr>
          <p:spPr>
            <a:xfrm rot="8716295">
              <a:off x="417336" y="4258920"/>
              <a:ext cx="147637" cy="195874"/>
            </a:xfrm>
            <a:custGeom>
              <a:avLst/>
              <a:gdLst>
                <a:gd name="connsiteX0" fmla="*/ 34500 w 147637"/>
                <a:gd name="connsiteY0" fmla="*/ 195874 h 195874"/>
                <a:gd name="connsiteX1" fmla="*/ 0 w 147637"/>
                <a:gd name="connsiteY1" fmla="*/ 131688 h 195874"/>
                <a:gd name="connsiteX2" fmla="*/ 108921 w 147637"/>
                <a:gd name="connsiteY2" fmla="*/ 0 h 195874"/>
                <a:gd name="connsiteX3" fmla="*/ 147637 w 147637"/>
                <a:gd name="connsiteY3" fmla="*/ 0 h 195874"/>
                <a:gd name="connsiteX4" fmla="*/ 147637 w 147637"/>
                <a:gd name="connsiteY4" fmla="*/ 55323 h 195874"/>
                <a:gd name="connsiteX5" fmla="*/ 82845 w 147637"/>
                <a:gd name="connsiteY5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7637" h="195874">
                  <a:moveTo>
                    <a:pt x="34500" y="195874"/>
                  </a:moveTo>
                  <a:lnTo>
                    <a:pt x="0" y="131688"/>
                  </a:lnTo>
                  <a:lnTo>
                    <a:pt x="108921" y="0"/>
                  </a:lnTo>
                  <a:lnTo>
                    <a:pt x="147637" y="0"/>
                  </a:lnTo>
                  <a:lnTo>
                    <a:pt x="147637" y="55323"/>
                  </a:lnTo>
                  <a:lnTo>
                    <a:pt x="8284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orme libre : forme 62">
              <a:extLst>
                <a:ext uri="{FF2B5EF4-FFF2-40B4-BE49-F238E27FC236}">
                  <a16:creationId xmlns:a16="http://schemas.microsoft.com/office/drawing/2014/main" id="{C9478417-E8D6-452F-A916-ED7E53424518}"/>
                </a:ext>
              </a:extLst>
            </p:cNvPr>
            <p:cNvSpPr/>
            <p:nvPr/>
          </p:nvSpPr>
          <p:spPr>
            <a:xfrm rot="8716295">
              <a:off x="330834" y="4134902"/>
              <a:ext cx="254613" cy="91157"/>
            </a:xfrm>
            <a:custGeom>
              <a:avLst/>
              <a:gdLst>
                <a:gd name="connsiteX0" fmla="*/ 0 w 254613"/>
                <a:gd name="connsiteY0" fmla="*/ 68911 h 91157"/>
                <a:gd name="connsiteX1" fmla="*/ 56997 w 254613"/>
                <a:gd name="connsiteY1" fmla="*/ 0 h 91157"/>
                <a:gd name="connsiteX2" fmla="*/ 57517 w 254613"/>
                <a:gd name="connsiteY2" fmla="*/ 2143 h 91157"/>
                <a:gd name="connsiteX3" fmla="*/ 128118 w 254613"/>
                <a:gd name="connsiteY3" fmla="*/ 40974 h 91157"/>
                <a:gd name="connsiteX4" fmla="*/ 181070 w 254613"/>
                <a:gd name="connsiteY4" fmla="*/ 31560 h 91157"/>
                <a:gd name="connsiteX5" fmla="*/ 253437 w 254613"/>
                <a:gd name="connsiteY5" fmla="*/ 2143 h 91157"/>
                <a:gd name="connsiteX6" fmla="*/ 254613 w 254613"/>
                <a:gd name="connsiteY6" fmla="*/ 9791 h 91157"/>
                <a:gd name="connsiteX7" fmla="*/ 254613 w 254613"/>
                <a:gd name="connsiteY7" fmla="*/ 15674 h 91157"/>
                <a:gd name="connsiteX8" fmla="*/ 61636 w 254613"/>
                <a:gd name="connsiteY8" fmla="*/ 90983 h 91157"/>
                <a:gd name="connsiteX9" fmla="*/ 22363 w 254613"/>
                <a:gd name="connsiteY9" fmla="*/ 84217 h 91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4613" h="91157">
                  <a:moveTo>
                    <a:pt x="0" y="68911"/>
                  </a:moveTo>
                  <a:lnTo>
                    <a:pt x="56997" y="0"/>
                  </a:lnTo>
                  <a:lnTo>
                    <a:pt x="57517" y="2143"/>
                  </a:lnTo>
                  <a:cubicBezTo>
                    <a:pt x="66931" y="28030"/>
                    <a:pt x="91053" y="40974"/>
                    <a:pt x="128118" y="40974"/>
                  </a:cubicBezTo>
                  <a:cubicBezTo>
                    <a:pt x="146357" y="40385"/>
                    <a:pt x="164008" y="36855"/>
                    <a:pt x="181070" y="31560"/>
                  </a:cubicBezTo>
                  <a:cubicBezTo>
                    <a:pt x="205780" y="23912"/>
                    <a:pt x="229903" y="13910"/>
                    <a:pt x="253437" y="2143"/>
                  </a:cubicBezTo>
                  <a:cubicBezTo>
                    <a:pt x="254025" y="4496"/>
                    <a:pt x="254613" y="7438"/>
                    <a:pt x="254613" y="9791"/>
                  </a:cubicBezTo>
                  <a:lnTo>
                    <a:pt x="254613" y="15674"/>
                  </a:lnTo>
                  <a:cubicBezTo>
                    <a:pt x="192249" y="69215"/>
                    <a:pt x="110468" y="88042"/>
                    <a:pt x="61636" y="90983"/>
                  </a:cubicBezTo>
                  <a:cubicBezTo>
                    <a:pt x="48104" y="91866"/>
                    <a:pt x="34719" y="89365"/>
                    <a:pt x="22363" y="842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orme libre : forme 63">
              <a:extLst>
                <a:ext uri="{FF2B5EF4-FFF2-40B4-BE49-F238E27FC236}">
                  <a16:creationId xmlns:a16="http://schemas.microsoft.com/office/drawing/2014/main" id="{59F2B7E5-77D6-489A-B472-1F63C4176A21}"/>
                </a:ext>
              </a:extLst>
            </p:cNvPr>
            <p:cNvSpPr/>
            <p:nvPr/>
          </p:nvSpPr>
          <p:spPr>
            <a:xfrm rot="8716295">
              <a:off x="-3428" y="2405990"/>
              <a:ext cx="142167" cy="208592"/>
            </a:xfrm>
            <a:custGeom>
              <a:avLst/>
              <a:gdLst>
                <a:gd name="connsiteX0" fmla="*/ 81108 w 142167"/>
                <a:gd name="connsiteY0" fmla="*/ 208592 h 208592"/>
                <a:gd name="connsiteX1" fmla="*/ 81108 w 142167"/>
                <a:gd name="connsiteY1" fmla="*/ 69717 h 208592"/>
                <a:gd name="connsiteX2" fmla="*/ 81108 w 142167"/>
                <a:gd name="connsiteY2" fmla="*/ 65615 h 208592"/>
                <a:gd name="connsiteX3" fmla="*/ 60604 w 142167"/>
                <a:gd name="connsiteY3" fmla="*/ 50123 h 208592"/>
                <a:gd name="connsiteX4" fmla="*/ 0 w 142167"/>
                <a:gd name="connsiteY4" fmla="*/ 50123 h 208592"/>
                <a:gd name="connsiteX5" fmla="*/ 0 w 142167"/>
                <a:gd name="connsiteY5" fmla="*/ 0 h 208592"/>
                <a:gd name="connsiteX6" fmla="*/ 85210 w 142167"/>
                <a:gd name="connsiteY6" fmla="*/ 0 h 208592"/>
                <a:gd name="connsiteX7" fmla="*/ 142167 w 142167"/>
                <a:gd name="connsiteY7" fmla="*/ 50123 h 208592"/>
                <a:gd name="connsiteX8" fmla="*/ 142167 w 142167"/>
                <a:gd name="connsiteY8" fmla="*/ 120504 h 20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08592">
                  <a:moveTo>
                    <a:pt x="81108" y="208592"/>
                  </a:moveTo>
                  <a:lnTo>
                    <a:pt x="81108" y="69717"/>
                  </a:lnTo>
                  <a:cubicBezTo>
                    <a:pt x="81108" y="68350"/>
                    <a:pt x="81108" y="66983"/>
                    <a:pt x="81108" y="65615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10" y="0"/>
                  </a:lnTo>
                  <a:cubicBezTo>
                    <a:pt x="122118" y="0"/>
                    <a:pt x="142167" y="15948"/>
                    <a:pt x="142167" y="50123"/>
                  </a:cubicBezTo>
                  <a:lnTo>
                    <a:pt x="142167" y="1205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orme libre : forme 64">
              <a:extLst>
                <a:ext uri="{FF2B5EF4-FFF2-40B4-BE49-F238E27FC236}">
                  <a16:creationId xmlns:a16="http://schemas.microsoft.com/office/drawing/2014/main" id="{58CACDEB-619D-4E1A-8308-201ECECE7C5B}"/>
                </a:ext>
              </a:extLst>
            </p:cNvPr>
            <p:cNvSpPr/>
            <p:nvPr/>
          </p:nvSpPr>
          <p:spPr>
            <a:xfrm rot="8716295">
              <a:off x="80015" y="241329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orme libre : forme 65">
              <a:extLst>
                <a:ext uri="{FF2B5EF4-FFF2-40B4-BE49-F238E27FC236}">
                  <a16:creationId xmlns:a16="http://schemas.microsoft.com/office/drawing/2014/main" id="{121B25A8-5A69-4AD6-9F92-752EBBD3BB04}"/>
                </a:ext>
              </a:extLst>
            </p:cNvPr>
            <p:cNvSpPr/>
            <p:nvPr/>
          </p:nvSpPr>
          <p:spPr>
            <a:xfrm rot="8716295">
              <a:off x="35165" y="232701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orme libre : forme 66">
              <a:extLst>
                <a:ext uri="{FF2B5EF4-FFF2-40B4-BE49-F238E27FC236}">
                  <a16:creationId xmlns:a16="http://schemas.microsoft.com/office/drawing/2014/main" id="{123E728A-9EE1-481E-BA1E-5D72AE6CC637}"/>
                </a:ext>
              </a:extLst>
            </p:cNvPr>
            <p:cNvSpPr/>
            <p:nvPr/>
          </p:nvSpPr>
          <p:spPr>
            <a:xfrm rot="8716295">
              <a:off x="-20257" y="2217087"/>
              <a:ext cx="78731" cy="180665"/>
            </a:xfrm>
            <a:custGeom>
              <a:avLst/>
              <a:gdLst>
                <a:gd name="connsiteX0" fmla="*/ 0 w 78731"/>
                <a:gd name="connsiteY0" fmla="*/ 180665 h 180665"/>
                <a:gd name="connsiteX1" fmla="*/ 0 w 78731"/>
                <a:gd name="connsiteY1" fmla="*/ 40596 h 180665"/>
                <a:gd name="connsiteX2" fmla="*/ 78250 w 78731"/>
                <a:gd name="connsiteY2" fmla="*/ 0 h 180665"/>
                <a:gd name="connsiteX3" fmla="*/ 78731 w 78731"/>
                <a:gd name="connsiteY3" fmla="*/ 67083 h 180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731" h="180665">
                  <a:moveTo>
                    <a:pt x="0" y="180665"/>
                  </a:moveTo>
                  <a:lnTo>
                    <a:pt x="0" y="40596"/>
                  </a:lnTo>
                  <a:lnTo>
                    <a:pt x="78250" y="0"/>
                  </a:lnTo>
                  <a:lnTo>
                    <a:pt x="78731" y="670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078C7082-EAB5-441A-B46A-D723C18E0F9C}"/>
                </a:ext>
              </a:extLst>
            </p:cNvPr>
            <p:cNvSpPr/>
            <p:nvPr/>
          </p:nvSpPr>
          <p:spPr>
            <a:xfrm rot="8716295">
              <a:off x="-15341" y="2575209"/>
              <a:ext cx="103435" cy="152027"/>
            </a:xfrm>
            <a:custGeom>
              <a:avLst/>
              <a:gdLst>
                <a:gd name="connsiteX0" fmla="*/ 43288 w 103435"/>
                <a:gd name="connsiteY0" fmla="*/ 152027 h 152027"/>
                <a:gd name="connsiteX1" fmla="*/ 43288 w 103435"/>
                <a:gd name="connsiteY1" fmla="*/ 16404 h 152027"/>
                <a:gd name="connsiteX2" fmla="*/ 0 w 103435"/>
                <a:gd name="connsiteY2" fmla="*/ 16404 h 152027"/>
                <a:gd name="connsiteX3" fmla="*/ 0 w 103435"/>
                <a:gd name="connsiteY3" fmla="*/ 2278 h 152027"/>
                <a:gd name="connsiteX4" fmla="*/ 103435 w 103435"/>
                <a:gd name="connsiteY4" fmla="*/ 0 h 152027"/>
                <a:gd name="connsiteX5" fmla="*/ 103435 w 103435"/>
                <a:gd name="connsiteY5" fmla="*/ 65255 h 152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152027">
                  <a:moveTo>
                    <a:pt x="43288" y="152027"/>
                  </a:move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652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orme libre : forme 68">
              <a:extLst>
                <a:ext uri="{FF2B5EF4-FFF2-40B4-BE49-F238E27FC236}">
                  <a16:creationId xmlns:a16="http://schemas.microsoft.com/office/drawing/2014/main" id="{74837562-030E-4828-9572-DEE64E263932}"/>
                </a:ext>
              </a:extLst>
            </p:cNvPr>
            <p:cNvSpPr/>
            <p:nvPr/>
          </p:nvSpPr>
          <p:spPr>
            <a:xfrm rot="8716295">
              <a:off x="279722" y="21339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orme libre : forme 69">
              <a:extLst>
                <a:ext uri="{FF2B5EF4-FFF2-40B4-BE49-F238E27FC236}">
                  <a16:creationId xmlns:a16="http://schemas.microsoft.com/office/drawing/2014/main" id="{DB4BA735-F92E-4D5D-ABB4-34ABAF286FF1}"/>
                </a:ext>
              </a:extLst>
            </p:cNvPr>
            <p:cNvSpPr/>
            <p:nvPr/>
          </p:nvSpPr>
          <p:spPr>
            <a:xfrm rot="8716295">
              <a:off x="369114" y="21631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orme libre : forme 70">
              <a:extLst>
                <a:ext uri="{FF2B5EF4-FFF2-40B4-BE49-F238E27FC236}">
                  <a16:creationId xmlns:a16="http://schemas.microsoft.com/office/drawing/2014/main" id="{2E20AC3A-A861-46F6-BDD8-390DF4BE3CED}"/>
                </a:ext>
              </a:extLst>
            </p:cNvPr>
            <p:cNvSpPr/>
            <p:nvPr/>
          </p:nvSpPr>
          <p:spPr>
            <a:xfrm rot="8716295">
              <a:off x="167488" y="22224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orme libre : forme 71">
              <a:extLst>
                <a:ext uri="{FF2B5EF4-FFF2-40B4-BE49-F238E27FC236}">
                  <a16:creationId xmlns:a16="http://schemas.microsoft.com/office/drawing/2014/main" id="{C0645F34-CD0D-494F-A821-08AC0632B9BD}"/>
                </a:ext>
              </a:extLst>
            </p:cNvPr>
            <p:cNvSpPr/>
            <p:nvPr/>
          </p:nvSpPr>
          <p:spPr>
            <a:xfrm rot="8716295">
              <a:off x="42586" y="20137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orme libre : forme 72">
              <a:extLst>
                <a:ext uri="{FF2B5EF4-FFF2-40B4-BE49-F238E27FC236}">
                  <a16:creationId xmlns:a16="http://schemas.microsoft.com/office/drawing/2014/main" id="{D42C02D3-67F7-4963-8807-40F86032EE07}"/>
                </a:ext>
              </a:extLst>
            </p:cNvPr>
            <p:cNvSpPr/>
            <p:nvPr/>
          </p:nvSpPr>
          <p:spPr>
            <a:xfrm rot="8716295">
              <a:off x="257666" y="226339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" name="Forme libre : forme 73">
              <a:extLst>
                <a:ext uri="{FF2B5EF4-FFF2-40B4-BE49-F238E27FC236}">
                  <a16:creationId xmlns:a16="http://schemas.microsoft.com/office/drawing/2014/main" id="{E5391012-9EC2-494D-B5E3-A045F6898117}"/>
                </a:ext>
              </a:extLst>
            </p:cNvPr>
            <p:cNvSpPr/>
            <p:nvPr/>
          </p:nvSpPr>
          <p:spPr>
            <a:xfrm rot="8716295">
              <a:off x="16215" y="211379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" name="Forme libre : forme 74">
              <a:extLst>
                <a:ext uri="{FF2B5EF4-FFF2-40B4-BE49-F238E27FC236}">
                  <a16:creationId xmlns:a16="http://schemas.microsoft.com/office/drawing/2014/main" id="{3E9CDE54-D663-4CD6-BAFF-9CD31B4515CC}"/>
                </a:ext>
              </a:extLst>
            </p:cNvPr>
            <p:cNvSpPr/>
            <p:nvPr/>
          </p:nvSpPr>
          <p:spPr>
            <a:xfrm rot="7484129">
              <a:off x="362597" y="245474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" name="Forme libre : forme 75">
              <a:extLst>
                <a:ext uri="{FF2B5EF4-FFF2-40B4-BE49-F238E27FC236}">
                  <a16:creationId xmlns:a16="http://schemas.microsoft.com/office/drawing/2014/main" id="{1542052B-ACD1-4069-A62D-DB3DE17F9DFB}"/>
                </a:ext>
              </a:extLst>
            </p:cNvPr>
            <p:cNvSpPr/>
            <p:nvPr/>
          </p:nvSpPr>
          <p:spPr>
            <a:xfrm rot="13089394">
              <a:off x="463440" y="2426400"/>
              <a:ext cx="272584" cy="319064"/>
            </a:xfrm>
            <a:custGeom>
              <a:avLst/>
              <a:gdLst>
                <a:gd name="connsiteX0" fmla="*/ 80445 w 272584"/>
                <a:gd name="connsiteY0" fmla="*/ 215518 h 319064"/>
                <a:gd name="connsiteX1" fmla="*/ 0 w 272584"/>
                <a:gd name="connsiteY1" fmla="*/ 93007 h 319064"/>
                <a:gd name="connsiteX2" fmla="*/ 0 w 272584"/>
                <a:gd name="connsiteY2" fmla="*/ 38074 h 319064"/>
                <a:gd name="connsiteX3" fmla="*/ 73388 w 272584"/>
                <a:gd name="connsiteY3" fmla="*/ 0 h 319064"/>
                <a:gd name="connsiteX4" fmla="*/ 74492 w 272584"/>
                <a:gd name="connsiteY4" fmla="*/ 153950 h 319064"/>
                <a:gd name="connsiteX5" fmla="*/ 76768 w 272584"/>
                <a:gd name="connsiteY5" fmla="*/ 200369 h 319064"/>
                <a:gd name="connsiteX6" fmla="*/ 272584 w 272584"/>
                <a:gd name="connsiteY6" fmla="*/ 258238 h 319064"/>
                <a:gd name="connsiteX7" fmla="*/ 177331 w 272584"/>
                <a:gd name="connsiteY7" fmla="*/ 311347 h 319064"/>
                <a:gd name="connsiteX8" fmla="*/ 148437 w 272584"/>
                <a:gd name="connsiteY8" fmla="*/ 319064 h 319064"/>
                <a:gd name="connsiteX9" fmla="*/ 119231 w 272584"/>
                <a:gd name="connsiteY9" fmla="*/ 274585 h 319064"/>
                <a:gd name="connsiteX10" fmla="*/ 153949 w 272584"/>
                <a:gd name="connsiteY10" fmla="*/ 281965 h 319064"/>
                <a:gd name="connsiteX11" fmla="*/ 203610 w 272584"/>
                <a:gd name="connsiteY11" fmla="*/ 273136 h 319064"/>
                <a:gd name="connsiteX12" fmla="*/ 271481 w 272584"/>
                <a:gd name="connsiteY12" fmla="*/ 245547 h 319064"/>
                <a:gd name="connsiteX13" fmla="*/ 272584 w 272584"/>
                <a:gd name="connsiteY13" fmla="*/ 252720 h 319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2584" h="319064">
                  <a:moveTo>
                    <a:pt x="80445" y="215518"/>
                  </a:moveTo>
                  <a:lnTo>
                    <a:pt x="0" y="93007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3664" y="169400"/>
                    <a:pt x="74492" y="184988"/>
                    <a:pt x="76768" y="200369"/>
                  </a:cubicBezTo>
                  <a:close/>
                  <a:moveTo>
                    <a:pt x="272584" y="258238"/>
                  </a:moveTo>
                  <a:cubicBezTo>
                    <a:pt x="243339" y="283344"/>
                    <a:pt x="209542" y="300312"/>
                    <a:pt x="177331" y="311347"/>
                  </a:cubicBezTo>
                  <a:lnTo>
                    <a:pt x="148437" y="319064"/>
                  </a:lnTo>
                  <a:lnTo>
                    <a:pt x="119231" y="274585"/>
                  </a:lnTo>
                  <a:lnTo>
                    <a:pt x="153949" y="281965"/>
                  </a:lnTo>
                  <a:cubicBezTo>
                    <a:pt x="171055" y="281413"/>
                    <a:pt x="187609" y="278102"/>
                    <a:pt x="203610" y="273136"/>
                  </a:cubicBezTo>
                  <a:cubicBezTo>
                    <a:pt x="226785" y="265963"/>
                    <a:pt x="249409" y="256583"/>
                    <a:pt x="271481" y="245547"/>
                  </a:cubicBezTo>
                  <a:cubicBezTo>
                    <a:pt x="272032" y="247754"/>
                    <a:pt x="272584" y="250513"/>
                    <a:pt x="272584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" name="Forme libre : forme 76">
              <a:extLst>
                <a:ext uri="{FF2B5EF4-FFF2-40B4-BE49-F238E27FC236}">
                  <a16:creationId xmlns:a16="http://schemas.microsoft.com/office/drawing/2014/main" id="{008086AB-D1B5-4A02-9688-BF0E6F507FBE}"/>
                </a:ext>
              </a:extLst>
            </p:cNvPr>
            <p:cNvSpPr/>
            <p:nvPr/>
          </p:nvSpPr>
          <p:spPr>
            <a:xfrm rot="8716295">
              <a:off x="675867" y="2357327"/>
              <a:ext cx="38012" cy="45752"/>
            </a:xfrm>
            <a:custGeom>
              <a:avLst/>
              <a:gdLst>
                <a:gd name="connsiteX0" fmla="*/ 0 w 38012"/>
                <a:gd name="connsiteY0" fmla="*/ 45752 h 45752"/>
                <a:gd name="connsiteX1" fmla="*/ 37842 w 38012"/>
                <a:gd name="connsiteY1" fmla="*/ 0 h 45752"/>
                <a:gd name="connsiteX2" fmla="*/ 38012 w 38012"/>
                <a:gd name="connsiteY2" fmla="*/ 641 h 45752"/>
                <a:gd name="connsiteX3" fmla="*/ 6841 w 38012"/>
                <a:gd name="connsiteY3" fmla="*/ 42560 h 45752"/>
                <a:gd name="connsiteX4" fmla="*/ 7378 w 38012"/>
                <a:gd name="connsiteY4" fmla="*/ 42560 h 45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012" h="45752">
                  <a:moveTo>
                    <a:pt x="0" y="45752"/>
                  </a:moveTo>
                  <a:lnTo>
                    <a:pt x="37842" y="0"/>
                  </a:lnTo>
                  <a:lnTo>
                    <a:pt x="38012" y="641"/>
                  </a:lnTo>
                  <a:cubicBezTo>
                    <a:pt x="36400" y="19451"/>
                    <a:pt x="24039" y="35036"/>
                    <a:pt x="6841" y="42560"/>
                  </a:cubicBezTo>
                  <a:lnTo>
                    <a:pt x="7378" y="425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" name="Forme libre : forme 77">
              <a:extLst>
                <a:ext uri="{FF2B5EF4-FFF2-40B4-BE49-F238E27FC236}">
                  <a16:creationId xmlns:a16="http://schemas.microsoft.com/office/drawing/2014/main" id="{9B2F10B6-851C-47E9-B83A-9B630209C4B4}"/>
                </a:ext>
              </a:extLst>
            </p:cNvPr>
            <p:cNvSpPr/>
            <p:nvPr/>
          </p:nvSpPr>
          <p:spPr>
            <a:xfrm rot="8716295">
              <a:off x="601197" y="21260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orme libre : forme 78">
              <a:extLst>
                <a:ext uri="{FF2B5EF4-FFF2-40B4-BE49-F238E27FC236}">
                  <a16:creationId xmlns:a16="http://schemas.microsoft.com/office/drawing/2014/main" id="{6C363324-5366-4BE0-9D94-DFCC2BE5B63F}"/>
                </a:ext>
              </a:extLst>
            </p:cNvPr>
            <p:cNvSpPr/>
            <p:nvPr/>
          </p:nvSpPr>
          <p:spPr>
            <a:xfrm rot="8716295">
              <a:off x="357951" y="21562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Forme libre : forme 79">
              <a:extLst>
                <a:ext uri="{FF2B5EF4-FFF2-40B4-BE49-F238E27FC236}">
                  <a16:creationId xmlns:a16="http://schemas.microsoft.com/office/drawing/2014/main" id="{9E637F42-3062-43A4-9D13-33DD5D4E936B}"/>
                </a:ext>
              </a:extLst>
            </p:cNvPr>
            <p:cNvSpPr/>
            <p:nvPr/>
          </p:nvSpPr>
          <p:spPr>
            <a:xfrm rot="8716295">
              <a:off x="535403" y="199698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" name="Forme libre : forme 80">
              <a:extLst>
                <a:ext uri="{FF2B5EF4-FFF2-40B4-BE49-F238E27FC236}">
                  <a16:creationId xmlns:a16="http://schemas.microsoft.com/office/drawing/2014/main" id="{B543A244-6E3B-4DEA-9891-1869B5B7D6A2}"/>
                </a:ext>
              </a:extLst>
            </p:cNvPr>
            <p:cNvSpPr/>
            <p:nvPr/>
          </p:nvSpPr>
          <p:spPr>
            <a:xfrm rot="8716295">
              <a:off x="-76043" y="1768178"/>
              <a:ext cx="197178" cy="215049"/>
            </a:xfrm>
            <a:custGeom>
              <a:avLst/>
              <a:gdLst>
                <a:gd name="connsiteX0" fmla="*/ 51490 w 197178"/>
                <a:gd name="connsiteY0" fmla="*/ 215049 h 215049"/>
                <a:gd name="connsiteX1" fmla="*/ 51490 w 197178"/>
                <a:gd name="connsiteY1" fmla="*/ 45624 h 215049"/>
                <a:gd name="connsiteX2" fmla="*/ 0 w 197178"/>
                <a:gd name="connsiteY2" fmla="*/ 45624 h 215049"/>
                <a:gd name="connsiteX3" fmla="*/ 0 w 197178"/>
                <a:gd name="connsiteY3" fmla="*/ 1424 h 215049"/>
                <a:gd name="connsiteX4" fmla="*/ 104803 w 197178"/>
                <a:gd name="connsiteY4" fmla="*/ 1425 h 215049"/>
                <a:gd name="connsiteX5" fmla="*/ 104803 w 197178"/>
                <a:gd name="connsiteY5" fmla="*/ 75242 h 215049"/>
                <a:gd name="connsiteX6" fmla="*/ 106169 w 197178"/>
                <a:gd name="connsiteY6" fmla="*/ 75242 h 215049"/>
                <a:gd name="connsiteX7" fmla="*/ 154014 w 197178"/>
                <a:gd name="connsiteY7" fmla="*/ 5981 h 215049"/>
                <a:gd name="connsiteX8" fmla="*/ 185455 w 197178"/>
                <a:gd name="connsiteY8" fmla="*/ 57 h 215049"/>
                <a:gd name="connsiteX9" fmla="*/ 197178 w 197178"/>
                <a:gd name="connsiteY9" fmla="*/ 4872 h 215049"/>
                <a:gd name="connsiteX10" fmla="*/ 170795 w 197178"/>
                <a:gd name="connsiteY10" fmla="*/ 42934 h 215049"/>
                <a:gd name="connsiteX11" fmla="*/ 164950 w 197178"/>
                <a:gd name="connsiteY11" fmla="*/ 40156 h 215049"/>
                <a:gd name="connsiteX12" fmla="*/ 111638 w 197178"/>
                <a:gd name="connsiteY12" fmla="*/ 127643 h 215049"/>
                <a:gd name="connsiteX13" fmla="*/ 111638 w 197178"/>
                <a:gd name="connsiteY13" fmla="*/ 128277 h 21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178" h="215049">
                  <a:moveTo>
                    <a:pt x="51490" y="215049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4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lnTo>
                    <a:pt x="197178" y="4872"/>
                  </a:lnTo>
                  <a:lnTo>
                    <a:pt x="170795" y="42934"/>
                  </a:lnTo>
                  <a:lnTo>
                    <a:pt x="164950" y="40156"/>
                  </a:ln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1282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orme libre : forme 81">
              <a:extLst>
                <a:ext uri="{FF2B5EF4-FFF2-40B4-BE49-F238E27FC236}">
                  <a16:creationId xmlns:a16="http://schemas.microsoft.com/office/drawing/2014/main" id="{5E1EF854-2162-442F-89D8-C209E584C6CD}"/>
                </a:ext>
              </a:extLst>
            </p:cNvPr>
            <p:cNvSpPr/>
            <p:nvPr/>
          </p:nvSpPr>
          <p:spPr>
            <a:xfrm rot="8716295">
              <a:off x="56555" y="14742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Forme libre : forme 82">
              <a:extLst>
                <a:ext uri="{FF2B5EF4-FFF2-40B4-BE49-F238E27FC236}">
                  <a16:creationId xmlns:a16="http://schemas.microsoft.com/office/drawing/2014/main" id="{18D9B3DC-64EA-4A25-9936-D0DEB0918428}"/>
                </a:ext>
              </a:extLst>
            </p:cNvPr>
            <p:cNvSpPr/>
            <p:nvPr/>
          </p:nvSpPr>
          <p:spPr>
            <a:xfrm rot="8716295">
              <a:off x="145947" y="15034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4" name="Forme libre : forme 83">
              <a:extLst>
                <a:ext uri="{FF2B5EF4-FFF2-40B4-BE49-F238E27FC236}">
                  <a16:creationId xmlns:a16="http://schemas.microsoft.com/office/drawing/2014/main" id="{09DE79A5-7E6F-42F4-BAE3-86955C2B68BA}"/>
                </a:ext>
              </a:extLst>
            </p:cNvPr>
            <p:cNvSpPr/>
            <p:nvPr/>
          </p:nvSpPr>
          <p:spPr>
            <a:xfrm rot="8716295">
              <a:off x="-21870" y="1443501"/>
              <a:ext cx="68614" cy="55323"/>
            </a:xfrm>
            <a:custGeom>
              <a:avLst/>
              <a:gdLst>
                <a:gd name="connsiteX0" fmla="*/ 0 w 68614"/>
                <a:gd name="connsiteY0" fmla="*/ 55323 h 55323"/>
                <a:gd name="connsiteX1" fmla="*/ 0 w 68614"/>
                <a:gd name="connsiteY1" fmla="*/ 0 h 55323"/>
                <a:gd name="connsiteX2" fmla="*/ 68614 w 68614"/>
                <a:gd name="connsiteY2" fmla="*/ 0 h 55323"/>
                <a:gd name="connsiteX3" fmla="*/ 30266 w 68614"/>
                <a:gd name="connsiteY3" fmla="*/ 55323 h 55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614" h="55323">
                  <a:moveTo>
                    <a:pt x="0" y="55323"/>
                  </a:moveTo>
                  <a:lnTo>
                    <a:pt x="0" y="0"/>
                  </a:lnTo>
                  <a:lnTo>
                    <a:pt x="68614" y="0"/>
                  </a:lnTo>
                  <a:lnTo>
                    <a:pt x="30266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5" name="Forme libre : forme 84">
              <a:extLst>
                <a:ext uri="{FF2B5EF4-FFF2-40B4-BE49-F238E27FC236}">
                  <a16:creationId xmlns:a16="http://schemas.microsoft.com/office/drawing/2014/main" id="{BF3B0698-561F-4C4D-847E-2B32780BA604}"/>
                </a:ext>
              </a:extLst>
            </p:cNvPr>
            <p:cNvSpPr/>
            <p:nvPr/>
          </p:nvSpPr>
          <p:spPr>
            <a:xfrm rot="8716295">
              <a:off x="35817" y="1618109"/>
              <a:ext cx="103435" cy="203897"/>
            </a:xfrm>
            <a:custGeom>
              <a:avLst/>
              <a:gdLst>
                <a:gd name="connsiteX0" fmla="*/ 87556 w 103435"/>
                <a:gd name="connsiteY0" fmla="*/ 203897 h 203897"/>
                <a:gd name="connsiteX1" fmla="*/ 43288 w 103435"/>
                <a:gd name="connsiteY1" fmla="*/ 161305 h 203897"/>
                <a:gd name="connsiteX2" fmla="*/ 43288 w 103435"/>
                <a:gd name="connsiteY2" fmla="*/ 16404 h 203897"/>
                <a:gd name="connsiteX3" fmla="*/ 0 w 103435"/>
                <a:gd name="connsiteY3" fmla="*/ 16404 h 203897"/>
                <a:gd name="connsiteX4" fmla="*/ 0 w 103435"/>
                <a:gd name="connsiteY4" fmla="*/ 2278 h 203897"/>
                <a:gd name="connsiteX5" fmla="*/ 103435 w 103435"/>
                <a:gd name="connsiteY5" fmla="*/ 0 h 203897"/>
                <a:gd name="connsiteX6" fmla="*/ 103435 w 103435"/>
                <a:gd name="connsiteY6" fmla="*/ 180989 h 203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03897">
                  <a:moveTo>
                    <a:pt x="87556" y="203897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1809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6" name="Forme libre : forme 85">
              <a:extLst>
                <a:ext uri="{FF2B5EF4-FFF2-40B4-BE49-F238E27FC236}">
                  <a16:creationId xmlns:a16="http://schemas.microsoft.com/office/drawing/2014/main" id="{7C271A8B-9C78-428F-B810-6F06C7D59A76}"/>
                </a:ext>
              </a:extLst>
            </p:cNvPr>
            <p:cNvSpPr/>
            <p:nvPr/>
          </p:nvSpPr>
          <p:spPr>
            <a:xfrm rot="7484129">
              <a:off x="139430" y="17950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7" name="Forme libre : forme 86">
              <a:extLst>
                <a:ext uri="{FF2B5EF4-FFF2-40B4-BE49-F238E27FC236}">
                  <a16:creationId xmlns:a16="http://schemas.microsoft.com/office/drawing/2014/main" id="{D36DE129-2836-4CBE-AD58-6C1713D6B3EE}"/>
                </a:ext>
              </a:extLst>
            </p:cNvPr>
            <p:cNvSpPr/>
            <p:nvPr/>
          </p:nvSpPr>
          <p:spPr>
            <a:xfrm rot="13089394">
              <a:off x="244250" y="17615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8" name="Forme libre : forme 87">
              <a:extLst>
                <a:ext uri="{FF2B5EF4-FFF2-40B4-BE49-F238E27FC236}">
                  <a16:creationId xmlns:a16="http://schemas.microsoft.com/office/drawing/2014/main" id="{79EA854C-B4CC-4CA7-8B2A-6C6BC24B199C}"/>
                </a:ext>
              </a:extLst>
            </p:cNvPr>
            <p:cNvSpPr/>
            <p:nvPr/>
          </p:nvSpPr>
          <p:spPr>
            <a:xfrm rot="8716295">
              <a:off x="429835" y="15699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9" name="Forme libre : forme 88">
              <a:extLst>
                <a:ext uri="{FF2B5EF4-FFF2-40B4-BE49-F238E27FC236}">
                  <a16:creationId xmlns:a16="http://schemas.microsoft.com/office/drawing/2014/main" id="{6B913878-9B85-4AB9-9126-9F632954B90F}"/>
                </a:ext>
              </a:extLst>
            </p:cNvPr>
            <p:cNvSpPr/>
            <p:nvPr/>
          </p:nvSpPr>
          <p:spPr>
            <a:xfrm rot="8716295">
              <a:off x="378030" y="14663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" name="Forme libre : forme 89">
              <a:extLst>
                <a:ext uri="{FF2B5EF4-FFF2-40B4-BE49-F238E27FC236}">
                  <a16:creationId xmlns:a16="http://schemas.microsoft.com/office/drawing/2014/main" id="{F162DFE3-5AFB-43AF-B410-9A244C9F4B59}"/>
                </a:ext>
              </a:extLst>
            </p:cNvPr>
            <p:cNvSpPr/>
            <p:nvPr/>
          </p:nvSpPr>
          <p:spPr>
            <a:xfrm rot="8716295">
              <a:off x="134784" y="14965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" name="Forme libre : forme 90">
              <a:extLst>
                <a:ext uri="{FF2B5EF4-FFF2-40B4-BE49-F238E27FC236}">
                  <a16:creationId xmlns:a16="http://schemas.microsoft.com/office/drawing/2014/main" id="{AC3582EB-A41A-446C-B180-6765259FBCEA}"/>
                </a:ext>
              </a:extLst>
            </p:cNvPr>
            <p:cNvSpPr/>
            <p:nvPr/>
          </p:nvSpPr>
          <p:spPr>
            <a:xfrm rot="8716295">
              <a:off x="312236" y="13372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" name="Forme libre : forme 91">
              <a:extLst>
                <a:ext uri="{FF2B5EF4-FFF2-40B4-BE49-F238E27FC236}">
                  <a16:creationId xmlns:a16="http://schemas.microsoft.com/office/drawing/2014/main" id="{B7D17BE7-3087-4D16-B830-BE754FB16667}"/>
                </a:ext>
              </a:extLst>
            </p:cNvPr>
            <p:cNvSpPr/>
            <p:nvPr/>
          </p:nvSpPr>
          <p:spPr>
            <a:xfrm rot="8716295">
              <a:off x="-17798" y="949199"/>
              <a:ext cx="39526" cy="50123"/>
            </a:xfrm>
            <a:custGeom>
              <a:avLst/>
              <a:gdLst>
                <a:gd name="connsiteX0" fmla="*/ 0 w 39526"/>
                <a:gd name="connsiteY0" fmla="*/ 50123 h 50123"/>
                <a:gd name="connsiteX1" fmla="*/ 0 w 39526"/>
                <a:gd name="connsiteY1" fmla="*/ 0 h 50123"/>
                <a:gd name="connsiteX2" fmla="*/ 39526 w 39526"/>
                <a:gd name="connsiteY2" fmla="*/ 0 h 50123"/>
                <a:gd name="connsiteX3" fmla="*/ 4782 w 39526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26" h="50123">
                  <a:moveTo>
                    <a:pt x="0" y="50123"/>
                  </a:moveTo>
                  <a:lnTo>
                    <a:pt x="0" y="0"/>
                  </a:lnTo>
                  <a:lnTo>
                    <a:pt x="39526" y="0"/>
                  </a:lnTo>
                  <a:lnTo>
                    <a:pt x="4782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" name="Forme libre : forme 92">
              <a:extLst>
                <a:ext uri="{FF2B5EF4-FFF2-40B4-BE49-F238E27FC236}">
                  <a16:creationId xmlns:a16="http://schemas.microsoft.com/office/drawing/2014/main" id="{2B1FCA7E-1DA9-4BE4-ACE8-6A5B3C76B12F}"/>
                </a:ext>
              </a:extLst>
            </p:cNvPr>
            <p:cNvSpPr/>
            <p:nvPr/>
          </p:nvSpPr>
          <p:spPr>
            <a:xfrm rot="8716295">
              <a:off x="-64996" y="834728"/>
              <a:ext cx="249650" cy="254774"/>
            </a:xfrm>
            <a:custGeom>
              <a:avLst/>
              <a:gdLst>
                <a:gd name="connsiteX0" fmla="*/ 51490 w 249650"/>
                <a:gd name="connsiteY0" fmla="*/ 254774 h 254774"/>
                <a:gd name="connsiteX1" fmla="*/ 51490 w 249650"/>
                <a:gd name="connsiteY1" fmla="*/ 45624 h 254774"/>
                <a:gd name="connsiteX2" fmla="*/ 0 w 249650"/>
                <a:gd name="connsiteY2" fmla="*/ 45624 h 254774"/>
                <a:gd name="connsiteX3" fmla="*/ 0 w 249650"/>
                <a:gd name="connsiteY3" fmla="*/ 1425 h 254774"/>
                <a:gd name="connsiteX4" fmla="*/ 104803 w 249650"/>
                <a:gd name="connsiteY4" fmla="*/ 1425 h 254774"/>
                <a:gd name="connsiteX5" fmla="*/ 104803 w 249650"/>
                <a:gd name="connsiteY5" fmla="*/ 75242 h 254774"/>
                <a:gd name="connsiteX6" fmla="*/ 106169 w 249650"/>
                <a:gd name="connsiteY6" fmla="*/ 75242 h 254774"/>
                <a:gd name="connsiteX7" fmla="*/ 154014 w 249650"/>
                <a:gd name="connsiteY7" fmla="*/ 5981 h 254774"/>
                <a:gd name="connsiteX8" fmla="*/ 185455 w 249650"/>
                <a:gd name="connsiteY8" fmla="*/ 57 h 254774"/>
                <a:gd name="connsiteX9" fmla="*/ 240647 w 249650"/>
                <a:gd name="connsiteY9" fmla="*/ 22727 h 254774"/>
                <a:gd name="connsiteX10" fmla="*/ 249650 w 249650"/>
                <a:gd name="connsiteY10" fmla="*/ 52327 h 254774"/>
                <a:gd name="connsiteX11" fmla="*/ 218795 w 249650"/>
                <a:gd name="connsiteY11" fmla="*/ 96841 h 254774"/>
                <a:gd name="connsiteX12" fmla="*/ 198669 w 249650"/>
                <a:gd name="connsiteY12" fmla="*/ 98025 h 254774"/>
                <a:gd name="connsiteX13" fmla="*/ 198669 w 249650"/>
                <a:gd name="connsiteY13" fmla="*/ 81621 h 254774"/>
                <a:gd name="connsiteX14" fmla="*/ 164950 w 249650"/>
                <a:gd name="connsiteY14" fmla="*/ 40156 h 254774"/>
                <a:gd name="connsiteX15" fmla="*/ 111638 w 249650"/>
                <a:gd name="connsiteY15" fmla="*/ 127643 h 254774"/>
                <a:gd name="connsiteX16" fmla="*/ 111638 w 249650"/>
                <a:gd name="connsiteY16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9650" h="254774">
                  <a:moveTo>
                    <a:pt x="51490" y="254774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08922" y="-398"/>
                    <a:pt x="227718" y="7576"/>
                    <a:pt x="240647" y="22727"/>
                  </a:cubicBezTo>
                  <a:lnTo>
                    <a:pt x="249650" y="52327"/>
                  </a:lnTo>
                  <a:lnTo>
                    <a:pt x="218795" y="96841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" name="Forme libre : forme 93">
              <a:extLst>
                <a:ext uri="{FF2B5EF4-FFF2-40B4-BE49-F238E27FC236}">
                  <a16:creationId xmlns:a16="http://schemas.microsoft.com/office/drawing/2014/main" id="{0E9593F0-A5A3-4981-A2E1-BBA808D790D1}"/>
                </a:ext>
              </a:extLst>
            </p:cNvPr>
            <p:cNvSpPr/>
            <p:nvPr/>
          </p:nvSpPr>
          <p:spPr>
            <a:xfrm rot="7484129">
              <a:off x="-63314" y="1172497"/>
              <a:ext cx="203848" cy="146395"/>
            </a:xfrm>
            <a:custGeom>
              <a:avLst/>
              <a:gdLst>
                <a:gd name="connsiteX0" fmla="*/ 0 w 203848"/>
                <a:gd name="connsiteY0" fmla="*/ 55323 h 146395"/>
                <a:gd name="connsiteX1" fmla="*/ 0 w 203848"/>
                <a:gd name="connsiteY1" fmla="*/ 0 h 146395"/>
                <a:gd name="connsiteX2" fmla="*/ 203848 w 203848"/>
                <a:gd name="connsiteY2" fmla="*/ 0 h 146395"/>
                <a:gd name="connsiteX3" fmla="*/ 203847 w 203848"/>
                <a:gd name="connsiteY3" fmla="*/ 49512 h 146395"/>
                <a:gd name="connsiteX4" fmla="*/ 195466 w 203848"/>
                <a:gd name="connsiteY4" fmla="*/ 55323 h 146395"/>
                <a:gd name="connsiteX5" fmla="*/ 139055 w 203848"/>
                <a:gd name="connsiteY5" fmla="*/ 55323 h 146395"/>
                <a:gd name="connsiteX6" fmla="*/ 121388 w 203848"/>
                <a:gd name="connsiteY6" fmla="*/ 106685 h 146395"/>
                <a:gd name="connsiteX7" fmla="*/ 64115 w 203848"/>
                <a:gd name="connsiteY7" fmla="*/ 146395 h 146395"/>
                <a:gd name="connsiteX8" fmla="*/ 47847 w 203848"/>
                <a:gd name="connsiteY8" fmla="*/ 116129 h 146395"/>
                <a:gd name="connsiteX9" fmla="*/ 69777 w 203848"/>
                <a:gd name="connsiteY9" fmla="*/ 55323 h 146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848" h="146395">
                  <a:moveTo>
                    <a:pt x="0" y="55323"/>
                  </a:moveTo>
                  <a:lnTo>
                    <a:pt x="0" y="0"/>
                  </a:lnTo>
                  <a:lnTo>
                    <a:pt x="203848" y="0"/>
                  </a:lnTo>
                  <a:lnTo>
                    <a:pt x="203847" y="49512"/>
                  </a:lnTo>
                  <a:lnTo>
                    <a:pt x="195466" y="55323"/>
                  </a:lnTo>
                  <a:lnTo>
                    <a:pt x="139055" y="55323"/>
                  </a:lnTo>
                  <a:lnTo>
                    <a:pt x="121388" y="106685"/>
                  </a:lnTo>
                  <a:lnTo>
                    <a:pt x="64115" y="146395"/>
                  </a:lnTo>
                  <a:lnTo>
                    <a:pt x="47847" y="116129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orme libre : forme 94">
              <a:extLst>
                <a:ext uri="{FF2B5EF4-FFF2-40B4-BE49-F238E27FC236}">
                  <a16:creationId xmlns:a16="http://schemas.microsoft.com/office/drawing/2014/main" id="{A6E76600-79D9-426B-9766-916282D4ABFE}"/>
                </a:ext>
              </a:extLst>
            </p:cNvPr>
            <p:cNvSpPr/>
            <p:nvPr/>
          </p:nvSpPr>
          <p:spPr>
            <a:xfrm rot="13089394">
              <a:off x="25311" y="109952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Forme libre : forme 95">
              <a:extLst>
                <a:ext uri="{FF2B5EF4-FFF2-40B4-BE49-F238E27FC236}">
                  <a16:creationId xmlns:a16="http://schemas.microsoft.com/office/drawing/2014/main" id="{1F255997-FD45-4250-B7D1-37AA1C212612}"/>
                </a:ext>
              </a:extLst>
            </p:cNvPr>
            <p:cNvSpPr/>
            <p:nvPr/>
          </p:nvSpPr>
          <p:spPr>
            <a:xfrm rot="8716295">
              <a:off x="210896" y="90784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" name="Forme libre : forme 96">
              <a:extLst>
                <a:ext uri="{FF2B5EF4-FFF2-40B4-BE49-F238E27FC236}">
                  <a16:creationId xmlns:a16="http://schemas.microsoft.com/office/drawing/2014/main" id="{6A36727B-2BE2-4161-AC0F-4C17D31824EA}"/>
                </a:ext>
              </a:extLst>
            </p:cNvPr>
            <p:cNvSpPr/>
            <p:nvPr/>
          </p:nvSpPr>
          <p:spPr>
            <a:xfrm rot="8716295">
              <a:off x="159091" y="80425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" name="Forme libre : forme 97">
              <a:extLst>
                <a:ext uri="{FF2B5EF4-FFF2-40B4-BE49-F238E27FC236}">
                  <a16:creationId xmlns:a16="http://schemas.microsoft.com/office/drawing/2014/main" id="{68E6EB3F-C519-4331-8DEC-97189DA5A2F9}"/>
                </a:ext>
              </a:extLst>
            </p:cNvPr>
            <p:cNvSpPr/>
            <p:nvPr/>
          </p:nvSpPr>
          <p:spPr>
            <a:xfrm rot="8716295">
              <a:off x="93297" y="67523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" name="Forme libre : forme 98">
              <a:extLst>
                <a:ext uri="{FF2B5EF4-FFF2-40B4-BE49-F238E27FC236}">
                  <a16:creationId xmlns:a16="http://schemas.microsoft.com/office/drawing/2014/main" id="{D6679E24-2A30-4105-9E55-76CEB4537132}"/>
                </a:ext>
              </a:extLst>
            </p:cNvPr>
            <p:cNvSpPr/>
            <p:nvPr/>
          </p:nvSpPr>
          <p:spPr>
            <a:xfrm rot="8716295">
              <a:off x="-7001" y="316701"/>
              <a:ext cx="14001" cy="20198"/>
            </a:xfrm>
            <a:custGeom>
              <a:avLst/>
              <a:gdLst>
                <a:gd name="connsiteX0" fmla="*/ 0 w 14001"/>
                <a:gd name="connsiteY0" fmla="*/ 20198 h 20198"/>
                <a:gd name="connsiteX1" fmla="*/ 0 w 14001"/>
                <a:gd name="connsiteY1" fmla="*/ 0 h 20198"/>
                <a:gd name="connsiteX2" fmla="*/ 14001 w 14001"/>
                <a:gd name="connsiteY2" fmla="*/ 0 h 2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01" h="20198">
                  <a:moveTo>
                    <a:pt x="0" y="20198"/>
                  </a:moveTo>
                  <a:lnTo>
                    <a:pt x="0" y="0"/>
                  </a:lnTo>
                  <a:lnTo>
                    <a:pt x="1400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orme libre : forme 99">
              <a:extLst>
                <a:ext uri="{FF2B5EF4-FFF2-40B4-BE49-F238E27FC236}">
                  <a16:creationId xmlns:a16="http://schemas.microsoft.com/office/drawing/2014/main" id="{0A78184A-E22F-4398-9ADF-6D98FA09F99E}"/>
                </a:ext>
              </a:extLst>
            </p:cNvPr>
            <p:cNvSpPr/>
            <p:nvPr/>
          </p:nvSpPr>
          <p:spPr>
            <a:xfrm rot="13089394">
              <a:off x="-81658" y="472652"/>
              <a:ext cx="173631" cy="237684"/>
            </a:xfrm>
            <a:custGeom>
              <a:avLst/>
              <a:gdLst>
                <a:gd name="connsiteX0" fmla="*/ 173631 w 173631"/>
                <a:gd name="connsiteY0" fmla="*/ 220990 h 237684"/>
                <a:gd name="connsiteX1" fmla="*/ 130972 w 173631"/>
                <a:gd name="connsiteY1" fmla="*/ 232382 h 237684"/>
                <a:gd name="connsiteX2" fmla="*/ 91597 w 173631"/>
                <a:gd name="connsiteY2" fmla="*/ 237521 h 237684"/>
                <a:gd name="connsiteX3" fmla="*/ 23727 w 173631"/>
                <a:gd name="connsiteY3" fmla="*/ 209931 h 237684"/>
                <a:gd name="connsiteX4" fmla="*/ 0 w 173631"/>
                <a:gd name="connsiteY4" fmla="*/ 115023 h 237684"/>
                <a:gd name="connsiteX5" fmla="*/ 0 w 173631"/>
                <a:gd name="connsiteY5" fmla="*/ 0 h 237684"/>
                <a:gd name="connsiteX6" fmla="*/ 76176 w 173631"/>
                <a:gd name="connsiteY6" fmla="*/ 96953 h 237684"/>
                <a:gd name="connsiteX7" fmla="*/ 76768 w 173631"/>
                <a:gd name="connsiteY7" fmla="*/ 109023 h 237684"/>
                <a:gd name="connsiteX8" fmla="*/ 87734 w 173631"/>
                <a:gd name="connsiteY8" fmla="*/ 154201 h 237684"/>
                <a:gd name="connsiteX9" fmla="*/ 111117 w 173631"/>
                <a:gd name="connsiteY9" fmla="*/ 181514 h 237684"/>
                <a:gd name="connsiteX10" fmla="*/ 148930 w 173631"/>
                <a:gd name="connsiteY10" fmla="*/ 189552 h 237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3631" h="237684">
                  <a:moveTo>
                    <a:pt x="173631" y="220990"/>
                  </a:moveTo>
                  <a:lnTo>
                    <a:pt x="130972" y="232382"/>
                  </a:lnTo>
                  <a:cubicBezTo>
                    <a:pt x="116428" y="235210"/>
                    <a:pt x="103047" y="236831"/>
                    <a:pt x="91597" y="237521"/>
                  </a:cubicBezTo>
                  <a:cubicBezTo>
                    <a:pt x="66215" y="239176"/>
                    <a:pt x="41384" y="228141"/>
                    <a:pt x="23727" y="209931"/>
                  </a:cubicBezTo>
                  <a:cubicBezTo>
                    <a:pt x="4966" y="191722"/>
                    <a:pt x="0" y="160270"/>
                    <a:pt x="0" y="115023"/>
                  </a:cubicBezTo>
                  <a:lnTo>
                    <a:pt x="0" y="0"/>
                  </a:lnTo>
                  <a:lnTo>
                    <a:pt x="76176" y="96953"/>
                  </a:lnTo>
                  <a:lnTo>
                    <a:pt x="76768" y="109023"/>
                  </a:lnTo>
                  <a:cubicBezTo>
                    <a:pt x="79044" y="124404"/>
                    <a:pt x="82768" y="139578"/>
                    <a:pt x="87734" y="154201"/>
                  </a:cubicBezTo>
                  <a:cubicBezTo>
                    <a:pt x="92149" y="166340"/>
                    <a:pt x="100012" y="175445"/>
                    <a:pt x="111117" y="181514"/>
                  </a:cubicBezTo>
                  <a:lnTo>
                    <a:pt x="148930" y="1895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Forme libre : forme 100">
              <a:extLst>
                <a:ext uri="{FF2B5EF4-FFF2-40B4-BE49-F238E27FC236}">
                  <a16:creationId xmlns:a16="http://schemas.microsoft.com/office/drawing/2014/main" id="{AD07E803-83BA-4CC0-BF0B-A773586C07A0}"/>
                </a:ext>
              </a:extLst>
            </p:cNvPr>
            <p:cNvSpPr/>
            <p:nvPr/>
          </p:nvSpPr>
          <p:spPr>
            <a:xfrm rot="8716295">
              <a:off x="-11774" y="24443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" name="Forme libre : forme 101">
              <a:extLst>
                <a:ext uri="{FF2B5EF4-FFF2-40B4-BE49-F238E27FC236}">
                  <a16:creationId xmlns:a16="http://schemas.microsoft.com/office/drawing/2014/main" id="{D7DD021A-277F-41FC-B62D-7AD8FCE94AB8}"/>
                </a:ext>
              </a:extLst>
            </p:cNvPr>
            <p:cNvSpPr/>
            <p:nvPr/>
          </p:nvSpPr>
          <p:spPr>
            <a:xfrm rot="8716295">
              <a:off x="-30092" y="143486"/>
              <a:ext cx="77721" cy="97260"/>
            </a:xfrm>
            <a:custGeom>
              <a:avLst/>
              <a:gdLst>
                <a:gd name="connsiteX0" fmla="*/ 15821 w 77721"/>
                <a:gd name="connsiteY0" fmla="*/ 97260 h 97260"/>
                <a:gd name="connsiteX1" fmla="*/ 0 w 77721"/>
                <a:gd name="connsiteY1" fmla="*/ 59790 h 97260"/>
                <a:gd name="connsiteX2" fmla="*/ 0 w 77721"/>
                <a:gd name="connsiteY2" fmla="*/ 58869 h 97260"/>
                <a:gd name="connsiteX3" fmla="*/ 17477 w 77721"/>
                <a:gd name="connsiteY3" fmla="*/ 17477 h 97260"/>
                <a:gd name="connsiteX4" fmla="*/ 58869 w 77721"/>
                <a:gd name="connsiteY4" fmla="*/ 0 h 97260"/>
                <a:gd name="connsiteX5" fmla="*/ 77721 w 77721"/>
                <a:gd name="connsiteY5" fmla="*/ 7960 h 97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721" h="97260">
                  <a:moveTo>
                    <a:pt x="15821" y="97260"/>
                  </a:moveTo>
                  <a:lnTo>
                    <a:pt x="0" y="59790"/>
                  </a:ln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lnTo>
                    <a:pt x="77721" y="79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" name="Forme libre : forme 102">
              <a:extLst>
                <a:ext uri="{FF2B5EF4-FFF2-40B4-BE49-F238E27FC236}">
                  <a16:creationId xmlns:a16="http://schemas.microsoft.com/office/drawing/2014/main" id="{4776F911-AFBC-41FE-BE2B-77BA9B6B6148}"/>
                </a:ext>
              </a:extLst>
            </p:cNvPr>
            <p:cNvSpPr/>
            <p:nvPr/>
          </p:nvSpPr>
          <p:spPr>
            <a:xfrm rot="8716295">
              <a:off x="-17797" y="3452694"/>
              <a:ext cx="58455" cy="44199"/>
            </a:xfrm>
            <a:custGeom>
              <a:avLst/>
              <a:gdLst>
                <a:gd name="connsiteX0" fmla="*/ 0 w 58455"/>
                <a:gd name="connsiteY0" fmla="*/ 44199 h 44199"/>
                <a:gd name="connsiteX1" fmla="*/ 0 w 58455"/>
                <a:gd name="connsiteY1" fmla="*/ 0 h 44199"/>
                <a:gd name="connsiteX2" fmla="*/ 58455 w 58455"/>
                <a:gd name="connsiteY2" fmla="*/ 0 h 44199"/>
                <a:gd name="connsiteX3" fmla="*/ 27817 w 58455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55" h="44199">
                  <a:moveTo>
                    <a:pt x="0" y="44199"/>
                  </a:moveTo>
                  <a:lnTo>
                    <a:pt x="0" y="0"/>
                  </a:lnTo>
                  <a:lnTo>
                    <a:pt x="58455" y="0"/>
                  </a:lnTo>
                  <a:lnTo>
                    <a:pt x="27817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" name="Forme libre : forme 103">
              <a:extLst>
                <a:ext uri="{FF2B5EF4-FFF2-40B4-BE49-F238E27FC236}">
                  <a16:creationId xmlns:a16="http://schemas.microsoft.com/office/drawing/2014/main" id="{33763C32-3833-42AB-BA5F-981A96FDD6C2}"/>
                </a:ext>
              </a:extLst>
            </p:cNvPr>
            <p:cNvSpPr/>
            <p:nvPr/>
          </p:nvSpPr>
          <p:spPr>
            <a:xfrm rot="13089394">
              <a:off x="-91485" y="3601812"/>
              <a:ext cx="206527" cy="292654"/>
            </a:xfrm>
            <a:custGeom>
              <a:avLst/>
              <a:gdLst>
                <a:gd name="connsiteX0" fmla="*/ 206527 w 206527"/>
                <a:gd name="connsiteY0" fmla="*/ 258693 h 292654"/>
                <a:gd name="connsiteX1" fmla="*/ 177331 w 206527"/>
                <a:gd name="connsiteY1" fmla="*/ 274971 h 292654"/>
                <a:gd name="connsiteX2" fmla="*/ 91597 w 206527"/>
                <a:gd name="connsiteY2" fmla="*/ 292491 h 292654"/>
                <a:gd name="connsiteX3" fmla="*/ 23727 w 206527"/>
                <a:gd name="connsiteY3" fmla="*/ 264901 h 292654"/>
                <a:gd name="connsiteX4" fmla="*/ 0 w 206527"/>
                <a:gd name="connsiteY4" fmla="*/ 169993 h 292654"/>
                <a:gd name="connsiteX5" fmla="*/ 0 w 206527"/>
                <a:gd name="connsiteY5" fmla="*/ 1698 h 292654"/>
                <a:gd name="connsiteX6" fmla="*/ 3273 w 206527"/>
                <a:gd name="connsiteY6" fmla="*/ 0 h 292654"/>
                <a:gd name="connsiteX7" fmla="*/ 74297 w 206527"/>
                <a:gd name="connsiteY7" fmla="*/ 90396 h 292654"/>
                <a:gd name="connsiteX8" fmla="*/ 74492 w 206527"/>
                <a:gd name="connsiteY8" fmla="*/ 117574 h 292654"/>
                <a:gd name="connsiteX9" fmla="*/ 87734 w 206527"/>
                <a:gd name="connsiteY9" fmla="*/ 209171 h 292654"/>
                <a:gd name="connsiteX10" fmla="*/ 153949 w 206527"/>
                <a:gd name="connsiteY10" fmla="*/ 245589 h 292654"/>
                <a:gd name="connsiteX11" fmla="*/ 191049 w 206527"/>
                <a:gd name="connsiteY11" fmla="*/ 238993 h 292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527" h="292654">
                  <a:moveTo>
                    <a:pt x="206527" y="258693"/>
                  </a:moveTo>
                  <a:lnTo>
                    <a:pt x="177331" y="274971"/>
                  </a:lnTo>
                  <a:cubicBezTo>
                    <a:pt x="145121" y="286007"/>
                    <a:pt x="114496" y="291111"/>
                    <a:pt x="91597" y="292491"/>
                  </a:cubicBezTo>
                  <a:cubicBezTo>
                    <a:pt x="66215" y="294146"/>
                    <a:pt x="41385" y="283111"/>
                    <a:pt x="23727" y="264901"/>
                  </a:cubicBezTo>
                  <a:cubicBezTo>
                    <a:pt x="4966" y="246692"/>
                    <a:pt x="0" y="215240"/>
                    <a:pt x="0" y="169993"/>
                  </a:cubicBezTo>
                  <a:lnTo>
                    <a:pt x="0" y="1698"/>
                  </a:lnTo>
                  <a:lnTo>
                    <a:pt x="3273" y="0"/>
                  </a:lnTo>
                  <a:lnTo>
                    <a:pt x="74297" y="90396"/>
                  </a:lnTo>
                  <a:lnTo>
                    <a:pt x="74492" y="117574"/>
                  </a:lnTo>
                  <a:cubicBezTo>
                    <a:pt x="72836" y="148474"/>
                    <a:pt x="77802" y="179926"/>
                    <a:pt x="87734" y="209171"/>
                  </a:cubicBezTo>
                  <a:cubicBezTo>
                    <a:pt x="96564" y="233450"/>
                    <a:pt x="119187" y="245589"/>
                    <a:pt x="153949" y="245589"/>
                  </a:cubicBezTo>
                  <a:lnTo>
                    <a:pt x="191049" y="2389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" name="Forme libre : forme 104">
              <a:extLst>
                <a:ext uri="{FF2B5EF4-FFF2-40B4-BE49-F238E27FC236}">
                  <a16:creationId xmlns:a16="http://schemas.microsoft.com/office/drawing/2014/main" id="{2884ED04-80A3-4E4F-8446-F1E8822CAE35}"/>
                </a:ext>
              </a:extLst>
            </p:cNvPr>
            <p:cNvSpPr/>
            <p:nvPr/>
          </p:nvSpPr>
          <p:spPr>
            <a:xfrm rot="8716295">
              <a:off x="24761" y="33896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" name="Forme libre : forme 105">
              <a:extLst>
                <a:ext uri="{FF2B5EF4-FFF2-40B4-BE49-F238E27FC236}">
                  <a16:creationId xmlns:a16="http://schemas.microsoft.com/office/drawing/2014/main" id="{31CC9695-68DF-410B-864E-7B9EA5DA2286}"/>
                </a:ext>
              </a:extLst>
            </p:cNvPr>
            <p:cNvSpPr/>
            <p:nvPr/>
          </p:nvSpPr>
          <p:spPr>
            <a:xfrm rot="8716295">
              <a:off x="-24047" y="3281741"/>
              <a:ext cx="106042" cy="113733"/>
            </a:xfrm>
            <a:custGeom>
              <a:avLst/>
              <a:gdLst>
                <a:gd name="connsiteX0" fmla="*/ 17477 w 106042"/>
                <a:gd name="connsiteY0" fmla="*/ 101182 h 113733"/>
                <a:gd name="connsiteX1" fmla="*/ 0 w 106042"/>
                <a:gd name="connsiteY1" fmla="*/ 59790 h 113733"/>
                <a:gd name="connsiteX2" fmla="*/ 0 w 106042"/>
                <a:gd name="connsiteY2" fmla="*/ 58869 h 113733"/>
                <a:gd name="connsiteX3" fmla="*/ 17477 w 106042"/>
                <a:gd name="connsiteY3" fmla="*/ 17477 h 113733"/>
                <a:gd name="connsiteX4" fmla="*/ 58869 w 106042"/>
                <a:gd name="connsiteY4" fmla="*/ 0 h 113733"/>
                <a:gd name="connsiteX5" fmla="*/ 100262 w 106042"/>
                <a:gd name="connsiteY5" fmla="*/ 17477 h 113733"/>
                <a:gd name="connsiteX6" fmla="*/ 106042 w 106042"/>
                <a:gd name="connsiteY6" fmla="*/ 31234 h 113733"/>
                <a:gd name="connsiteX7" fmla="*/ 48856 w 106042"/>
                <a:gd name="connsiteY7" fmla="*/ 113733 h 11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042" h="113733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cubicBezTo>
                    <a:pt x="74507" y="0"/>
                    <a:pt x="89224" y="6439"/>
                    <a:pt x="100262" y="17477"/>
                  </a:cubicBezTo>
                  <a:lnTo>
                    <a:pt x="106042" y="31234"/>
                  </a:lnTo>
                  <a:lnTo>
                    <a:pt x="48856" y="1137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" name="Forme libre : forme 106">
              <a:extLst>
                <a:ext uri="{FF2B5EF4-FFF2-40B4-BE49-F238E27FC236}">
                  <a16:creationId xmlns:a16="http://schemas.microsoft.com/office/drawing/2014/main" id="{1798CCB7-EC4B-437B-AB85-16FA76906419}"/>
                </a:ext>
              </a:extLst>
            </p:cNvPr>
            <p:cNvSpPr/>
            <p:nvPr/>
          </p:nvSpPr>
          <p:spPr>
            <a:xfrm rot="8716295">
              <a:off x="-21924" y="3179872"/>
              <a:ext cx="45776" cy="62656"/>
            </a:xfrm>
            <a:custGeom>
              <a:avLst/>
              <a:gdLst>
                <a:gd name="connsiteX0" fmla="*/ 2345 w 45776"/>
                <a:gd name="connsiteY0" fmla="*/ 62656 h 62656"/>
                <a:gd name="connsiteX1" fmla="*/ 0 w 45776"/>
                <a:gd name="connsiteY1" fmla="*/ 57104 h 62656"/>
                <a:gd name="connsiteX2" fmla="*/ 0 w 45776"/>
                <a:gd name="connsiteY2" fmla="*/ 56183 h 62656"/>
                <a:gd name="connsiteX3" fmla="*/ 17477 w 45776"/>
                <a:gd name="connsiteY3" fmla="*/ 14791 h 62656"/>
                <a:gd name="connsiteX4" fmla="*/ 36449 w 45776"/>
                <a:gd name="connsiteY4" fmla="*/ 1913 h 62656"/>
                <a:gd name="connsiteX5" fmla="*/ 45776 w 45776"/>
                <a:gd name="connsiteY5" fmla="*/ 0 h 62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776" h="62656">
                  <a:moveTo>
                    <a:pt x="2345" y="62656"/>
                  </a:moveTo>
                  <a:lnTo>
                    <a:pt x="0" y="57104"/>
                  </a:lnTo>
                  <a:lnTo>
                    <a:pt x="0" y="56183"/>
                  </a:lnTo>
                  <a:cubicBezTo>
                    <a:pt x="0" y="40547"/>
                    <a:pt x="6439" y="25829"/>
                    <a:pt x="17477" y="14791"/>
                  </a:cubicBezTo>
                  <a:cubicBezTo>
                    <a:pt x="22996" y="9272"/>
                    <a:pt x="29435" y="4903"/>
                    <a:pt x="36449" y="1913"/>
                  </a:cubicBezTo>
                  <a:lnTo>
                    <a:pt x="4577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" name="Forme libre : forme 107">
              <a:extLst>
                <a:ext uri="{FF2B5EF4-FFF2-40B4-BE49-F238E27FC236}">
                  <a16:creationId xmlns:a16="http://schemas.microsoft.com/office/drawing/2014/main" id="{6EA1D3A3-3395-441B-A805-B0DD713086F0}"/>
                </a:ext>
              </a:extLst>
            </p:cNvPr>
            <p:cNvSpPr/>
            <p:nvPr/>
          </p:nvSpPr>
          <p:spPr>
            <a:xfrm rot="8716295">
              <a:off x="-21324" y="4100649"/>
              <a:ext cx="79113" cy="50123"/>
            </a:xfrm>
            <a:custGeom>
              <a:avLst/>
              <a:gdLst>
                <a:gd name="connsiteX0" fmla="*/ 0 w 79113"/>
                <a:gd name="connsiteY0" fmla="*/ 50123 h 50123"/>
                <a:gd name="connsiteX1" fmla="*/ 0 w 79113"/>
                <a:gd name="connsiteY1" fmla="*/ 0 h 50123"/>
                <a:gd name="connsiteX2" fmla="*/ 79113 w 79113"/>
                <a:gd name="connsiteY2" fmla="*/ 0 h 50123"/>
                <a:gd name="connsiteX3" fmla="*/ 44369 w 79113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113" h="50123">
                  <a:moveTo>
                    <a:pt x="0" y="50123"/>
                  </a:moveTo>
                  <a:lnTo>
                    <a:pt x="0" y="0"/>
                  </a:lnTo>
                  <a:lnTo>
                    <a:pt x="79113" y="0"/>
                  </a:lnTo>
                  <a:lnTo>
                    <a:pt x="44369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" name="Forme libre : forme 108">
              <a:extLst>
                <a:ext uri="{FF2B5EF4-FFF2-40B4-BE49-F238E27FC236}">
                  <a16:creationId xmlns:a16="http://schemas.microsoft.com/office/drawing/2014/main" id="{441E37C8-B014-48F8-9D8A-E28C0A81E8F3}"/>
                </a:ext>
              </a:extLst>
            </p:cNvPr>
            <p:cNvSpPr/>
            <p:nvPr/>
          </p:nvSpPr>
          <p:spPr>
            <a:xfrm rot="8716295">
              <a:off x="-40457" y="398156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" name="Forme libre : forme 109">
              <a:extLst>
                <a:ext uri="{FF2B5EF4-FFF2-40B4-BE49-F238E27FC236}">
                  <a16:creationId xmlns:a16="http://schemas.microsoft.com/office/drawing/2014/main" id="{F00696DB-228C-441B-90E6-48605040C93E}"/>
                </a:ext>
              </a:extLst>
            </p:cNvPr>
            <p:cNvSpPr/>
            <p:nvPr/>
          </p:nvSpPr>
          <p:spPr>
            <a:xfrm rot="7484129">
              <a:off x="-46974" y="427316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" name="Forme libre : forme 110">
              <a:extLst>
                <a:ext uri="{FF2B5EF4-FFF2-40B4-BE49-F238E27FC236}">
                  <a16:creationId xmlns:a16="http://schemas.microsoft.com/office/drawing/2014/main" id="{9A6E1EC7-4FA0-43D8-BEC4-78E0A6587EAD}"/>
                </a:ext>
              </a:extLst>
            </p:cNvPr>
            <p:cNvSpPr/>
            <p:nvPr/>
          </p:nvSpPr>
          <p:spPr>
            <a:xfrm rot="13089394">
              <a:off x="57846" y="423970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" name="Forme libre : forme 111">
              <a:extLst>
                <a:ext uri="{FF2B5EF4-FFF2-40B4-BE49-F238E27FC236}">
                  <a16:creationId xmlns:a16="http://schemas.microsoft.com/office/drawing/2014/main" id="{80389F25-A4FB-4DBD-9B89-4F2BFC751AF3}"/>
                </a:ext>
              </a:extLst>
            </p:cNvPr>
            <p:cNvSpPr/>
            <p:nvPr/>
          </p:nvSpPr>
          <p:spPr>
            <a:xfrm rot="8716295">
              <a:off x="243431" y="404801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" name="Forme libre : forme 112">
              <a:extLst>
                <a:ext uri="{FF2B5EF4-FFF2-40B4-BE49-F238E27FC236}">
                  <a16:creationId xmlns:a16="http://schemas.microsoft.com/office/drawing/2014/main" id="{04EEF1E4-3A54-4E97-9251-258A8E514A0A}"/>
                </a:ext>
              </a:extLst>
            </p:cNvPr>
            <p:cNvSpPr/>
            <p:nvPr/>
          </p:nvSpPr>
          <p:spPr>
            <a:xfrm rot="8716295">
              <a:off x="191626" y="39444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" name="Forme libre : forme 113">
              <a:extLst>
                <a:ext uri="{FF2B5EF4-FFF2-40B4-BE49-F238E27FC236}">
                  <a16:creationId xmlns:a16="http://schemas.microsoft.com/office/drawing/2014/main" id="{6E5BBE1F-D3AC-46AF-8453-7400C641EAAA}"/>
                </a:ext>
              </a:extLst>
            </p:cNvPr>
            <p:cNvSpPr/>
            <p:nvPr/>
          </p:nvSpPr>
          <p:spPr>
            <a:xfrm rot="8716295">
              <a:off x="125832" y="381540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" name="Forme libre : forme 114">
              <a:extLst>
                <a:ext uri="{FF2B5EF4-FFF2-40B4-BE49-F238E27FC236}">
                  <a16:creationId xmlns:a16="http://schemas.microsoft.com/office/drawing/2014/main" id="{8071E294-ECD8-45A0-992E-907B1B9AB08E}"/>
                </a:ext>
              </a:extLst>
            </p:cNvPr>
            <p:cNvSpPr/>
            <p:nvPr/>
          </p:nvSpPr>
          <p:spPr>
            <a:xfrm rot="8716295">
              <a:off x="-73048" y="4876828"/>
              <a:ext cx="221382" cy="253349"/>
            </a:xfrm>
            <a:custGeom>
              <a:avLst/>
              <a:gdLst>
                <a:gd name="connsiteX0" fmla="*/ 51490 w 221382"/>
                <a:gd name="connsiteY0" fmla="*/ 253349 h 253349"/>
                <a:gd name="connsiteX1" fmla="*/ 51490 w 221382"/>
                <a:gd name="connsiteY1" fmla="*/ 44199 h 253349"/>
                <a:gd name="connsiteX2" fmla="*/ 0 w 221382"/>
                <a:gd name="connsiteY2" fmla="*/ 44199 h 253349"/>
                <a:gd name="connsiteX3" fmla="*/ 0 w 221382"/>
                <a:gd name="connsiteY3" fmla="*/ 0 h 253349"/>
                <a:gd name="connsiteX4" fmla="*/ 104803 w 221382"/>
                <a:gd name="connsiteY4" fmla="*/ 0 h 253349"/>
                <a:gd name="connsiteX5" fmla="*/ 104802 w 221382"/>
                <a:gd name="connsiteY5" fmla="*/ 73817 h 253349"/>
                <a:gd name="connsiteX6" fmla="*/ 106169 w 221382"/>
                <a:gd name="connsiteY6" fmla="*/ 73817 h 253349"/>
                <a:gd name="connsiteX7" fmla="*/ 154014 w 221382"/>
                <a:gd name="connsiteY7" fmla="*/ 4556 h 253349"/>
                <a:gd name="connsiteX8" fmla="*/ 174650 w 221382"/>
                <a:gd name="connsiteY8" fmla="*/ 668 h 253349"/>
                <a:gd name="connsiteX9" fmla="*/ 214075 w 221382"/>
                <a:gd name="connsiteY9" fmla="*/ 27996 h 253349"/>
                <a:gd name="connsiteX10" fmla="*/ 221382 w 221382"/>
                <a:gd name="connsiteY10" fmla="*/ 33060 h 253349"/>
                <a:gd name="connsiteX11" fmla="*/ 195540 w 221382"/>
                <a:gd name="connsiteY11" fmla="*/ 70341 h 253349"/>
                <a:gd name="connsiteX12" fmla="*/ 189157 w 221382"/>
                <a:gd name="connsiteY12" fmla="*/ 50236 h 253349"/>
                <a:gd name="connsiteX13" fmla="*/ 164950 w 221382"/>
                <a:gd name="connsiteY13" fmla="*/ 38731 h 253349"/>
                <a:gd name="connsiteX14" fmla="*/ 111638 w 221382"/>
                <a:gd name="connsiteY14" fmla="*/ 126218 h 253349"/>
                <a:gd name="connsiteX15" fmla="*/ 111638 w 221382"/>
                <a:gd name="connsiteY15" fmla="*/ 191383 h 253349"/>
                <a:gd name="connsiteX16" fmla="*/ 84096 w 221382"/>
                <a:gd name="connsiteY16" fmla="*/ 231117 h 253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1382" h="253349">
                  <a:moveTo>
                    <a:pt x="51490" y="253349"/>
                  </a:moveTo>
                  <a:lnTo>
                    <a:pt x="51490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104803" y="0"/>
                  </a:lnTo>
                  <a:lnTo>
                    <a:pt x="104802" y="73817"/>
                  </a:lnTo>
                  <a:lnTo>
                    <a:pt x="106169" y="73817"/>
                  </a:lnTo>
                  <a:cubicBezTo>
                    <a:pt x="120751" y="30529"/>
                    <a:pt x="132142" y="13670"/>
                    <a:pt x="154014" y="4556"/>
                  </a:cubicBezTo>
                  <a:lnTo>
                    <a:pt x="174650" y="668"/>
                  </a:lnTo>
                  <a:lnTo>
                    <a:pt x="214075" y="27996"/>
                  </a:lnTo>
                  <a:lnTo>
                    <a:pt x="221382" y="33060"/>
                  </a:lnTo>
                  <a:lnTo>
                    <a:pt x="195540" y="70341"/>
                  </a:lnTo>
                  <a:lnTo>
                    <a:pt x="189157" y="50236"/>
                  </a:lnTo>
                  <a:cubicBezTo>
                    <a:pt x="183177" y="42946"/>
                    <a:pt x="174747" y="38731"/>
                    <a:pt x="164950" y="38731"/>
                  </a:cubicBezTo>
                  <a:cubicBezTo>
                    <a:pt x="135788" y="38731"/>
                    <a:pt x="111638" y="77463"/>
                    <a:pt x="111638" y="126218"/>
                  </a:cubicBezTo>
                  <a:lnTo>
                    <a:pt x="111638" y="191383"/>
                  </a:lnTo>
                  <a:lnTo>
                    <a:pt x="84096" y="2311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" name="Forme libre : forme 115">
              <a:extLst>
                <a:ext uri="{FF2B5EF4-FFF2-40B4-BE49-F238E27FC236}">
                  <a16:creationId xmlns:a16="http://schemas.microsoft.com/office/drawing/2014/main" id="{E67B14CE-B3ED-42B6-983E-18D9D51B5069}"/>
                </a:ext>
              </a:extLst>
            </p:cNvPr>
            <p:cNvSpPr/>
            <p:nvPr/>
          </p:nvSpPr>
          <p:spPr>
            <a:xfrm rot="8716295">
              <a:off x="93318" y="46120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" name="Forme libre : forme 116">
              <a:extLst>
                <a:ext uri="{FF2B5EF4-FFF2-40B4-BE49-F238E27FC236}">
                  <a16:creationId xmlns:a16="http://schemas.microsoft.com/office/drawing/2014/main" id="{5F92E036-918D-4A69-A634-EF67D2AA85CF}"/>
                </a:ext>
              </a:extLst>
            </p:cNvPr>
            <p:cNvSpPr/>
            <p:nvPr/>
          </p:nvSpPr>
          <p:spPr>
            <a:xfrm rot="8716295">
              <a:off x="182710" y="46412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" name="Forme libre : forme 117">
              <a:extLst>
                <a:ext uri="{FF2B5EF4-FFF2-40B4-BE49-F238E27FC236}">
                  <a16:creationId xmlns:a16="http://schemas.microsoft.com/office/drawing/2014/main" id="{51C689BA-330C-44EA-8320-9417DA402819}"/>
                </a:ext>
              </a:extLst>
            </p:cNvPr>
            <p:cNvSpPr/>
            <p:nvPr/>
          </p:nvSpPr>
          <p:spPr>
            <a:xfrm rot="8716295">
              <a:off x="-14524" y="4699631"/>
              <a:ext cx="49997" cy="54238"/>
            </a:xfrm>
            <a:custGeom>
              <a:avLst/>
              <a:gdLst>
                <a:gd name="connsiteX0" fmla="*/ 8658 w 49997"/>
                <a:gd name="connsiteY0" fmla="*/ 50123 h 54238"/>
                <a:gd name="connsiteX1" fmla="*/ 0 w 49997"/>
                <a:gd name="connsiteY1" fmla="*/ 29619 h 54238"/>
                <a:gd name="connsiteX2" fmla="*/ 0 w 49997"/>
                <a:gd name="connsiteY2" fmla="*/ 29162 h 54238"/>
                <a:gd name="connsiteX3" fmla="*/ 8658 w 49997"/>
                <a:gd name="connsiteY3" fmla="*/ 8658 h 54238"/>
                <a:gd name="connsiteX4" fmla="*/ 29163 w 49997"/>
                <a:gd name="connsiteY4" fmla="*/ 0 h 54238"/>
                <a:gd name="connsiteX5" fmla="*/ 49668 w 49997"/>
                <a:gd name="connsiteY5" fmla="*/ 8658 h 54238"/>
                <a:gd name="connsiteX6" fmla="*/ 49997 w 49997"/>
                <a:gd name="connsiteY6" fmla="*/ 9441 h 54238"/>
                <a:gd name="connsiteX7" fmla="*/ 18945 w 49997"/>
                <a:gd name="connsiteY7" fmla="*/ 54238 h 54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997" h="54238">
                  <a:moveTo>
                    <a:pt x="8658" y="50123"/>
                  </a:moveTo>
                  <a:cubicBezTo>
                    <a:pt x="3190" y="44655"/>
                    <a:pt x="0" y="37365"/>
                    <a:pt x="0" y="29619"/>
                  </a:cubicBezTo>
                  <a:lnTo>
                    <a:pt x="0" y="29162"/>
                  </a:lnTo>
                  <a:cubicBezTo>
                    <a:pt x="0" y="21417"/>
                    <a:pt x="3190" y="14126"/>
                    <a:pt x="8658" y="8658"/>
                  </a:cubicBezTo>
                  <a:cubicBezTo>
                    <a:pt x="14126" y="3190"/>
                    <a:pt x="21416" y="0"/>
                    <a:pt x="29163" y="0"/>
                  </a:cubicBezTo>
                  <a:cubicBezTo>
                    <a:pt x="36909" y="0"/>
                    <a:pt x="44200" y="3190"/>
                    <a:pt x="49668" y="8658"/>
                  </a:cubicBezTo>
                  <a:lnTo>
                    <a:pt x="49997" y="9441"/>
                  </a:lnTo>
                  <a:lnTo>
                    <a:pt x="18945" y="54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" name="Forme libre : forme 118">
              <a:extLst>
                <a:ext uri="{FF2B5EF4-FFF2-40B4-BE49-F238E27FC236}">
                  <a16:creationId xmlns:a16="http://schemas.microsoft.com/office/drawing/2014/main" id="{F2474D32-2245-427E-9F4C-2458D31C5E60}"/>
                </a:ext>
              </a:extLst>
            </p:cNvPr>
            <p:cNvSpPr/>
            <p:nvPr/>
          </p:nvSpPr>
          <p:spPr>
            <a:xfrm rot="8716295">
              <a:off x="-30327" y="4579755"/>
              <a:ext cx="113346" cy="71024"/>
            </a:xfrm>
            <a:custGeom>
              <a:avLst/>
              <a:gdLst>
                <a:gd name="connsiteX0" fmla="*/ 0 w 113346"/>
                <a:gd name="connsiteY0" fmla="*/ 55323 h 71024"/>
                <a:gd name="connsiteX1" fmla="*/ 0 w 113346"/>
                <a:gd name="connsiteY1" fmla="*/ 0 h 71024"/>
                <a:gd name="connsiteX2" fmla="*/ 113346 w 113346"/>
                <a:gd name="connsiteY2" fmla="*/ 0 h 71024"/>
                <a:gd name="connsiteX3" fmla="*/ 64114 w 113346"/>
                <a:gd name="connsiteY3" fmla="*/ 71024 h 71024"/>
                <a:gd name="connsiteX4" fmla="*/ 69777 w 113346"/>
                <a:gd name="connsiteY4" fmla="*/ 55323 h 7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346" h="71024">
                  <a:moveTo>
                    <a:pt x="0" y="55323"/>
                  </a:moveTo>
                  <a:lnTo>
                    <a:pt x="0" y="0"/>
                  </a:lnTo>
                  <a:lnTo>
                    <a:pt x="113346" y="0"/>
                  </a:lnTo>
                  <a:lnTo>
                    <a:pt x="64114" y="71024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" name="Forme libre : forme 119">
              <a:extLst>
                <a:ext uri="{FF2B5EF4-FFF2-40B4-BE49-F238E27FC236}">
                  <a16:creationId xmlns:a16="http://schemas.microsoft.com/office/drawing/2014/main" id="{D5E32DFA-FE41-4DBB-9EA3-322E61838D6F}"/>
                </a:ext>
              </a:extLst>
            </p:cNvPr>
            <p:cNvSpPr/>
            <p:nvPr/>
          </p:nvSpPr>
          <p:spPr>
            <a:xfrm rot="8716295">
              <a:off x="71262" y="47415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" name="Forme libre : forme 120">
              <a:extLst>
                <a:ext uri="{FF2B5EF4-FFF2-40B4-BE49-F238E27FC236}">
                  <a16:creationId xmlns:a16="http://schemas.microsoft.com/office/drawing/2014/main" id="{98C82C88-21C9-41B9-8186-F52C472D7412}"/>
                </a:ext>
              </a:extLst>
            </p:cNvPr>
            <p:cNvSpPr/>
            <p:nvPr/>
          </p:nvSpPr>
          <p:spPr>
            <a:xfrm rot="7484129">
              <a:off x="172059" y="493353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170341 w 203847"/>
                <a:gd name="connsiteY5" fmla="*/ 0 h 195874"/>
                <a:gd name="connsiteX6" fmla="*/ 203847 w 203847"/>
                <a:gd name="connsiteY6" fmla="*/ 48325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170341" y="0"/>
                  </a:lnTo>
                  <a:lnTo>
                    <a:pt x="203847" y="48325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" name="Forme libre : forme 121">
              <a:extLst>
                <a:ext uri="{FF2B5EF4-FFF2-40B4-BE49-F238E27FC236}">
                  <a16:creationId xmlns:a16="http://schemas.microsoft.com/office/drawing/2014/main" id="{A66417E9-C757-466D-8994-1F366AA16F5B}"/>
                </a:ext>
              </a:extLst>
            </p:cNvPr>
            <p:cNvSpPr/>
            <p:nvPr/>
          </p:nvSpPr>
          <p:spPr>
            <a:xfrm rot="13089394">
              <a:off x="313551" y="4906246"/>
              <a:ext cx="221827" cy="205098"/>
            </a:xfrm>
            <a:custGeom>
              <a:avLst/>
              <a:gdLst>
                <a:gd name="connsiteX0" fmla="*/ 24153 w 221827"/>
                <a:gd name="connsiteY0" fmla="*/ 55168 h 205098"/>
                <a:gd name="connsiteX1" fmla="*/ 0 w 221827"/>
                <a:gd name="connsiteY1" fmla="*/ 18385 h 205098"/>
                <a:gd name="connsiteX2" fmla="*/ 23400 w 221827"/>
                <a:gd name="connsiteY2" fmla="*/ 0 h 205098"/>
                <a:gd name="connsiteX3" fmla="*/ 23735 w 221827"/>
                <a:gd name="connsiteY3" fmla="*/ 46640 h 205098"/>
                <a:gd name="connsiteX4" fmla="*/ 221827 w 221827"/>
                <a:gd name="connsiteY4" fmla="*/ 150928 h 205098"/>
                <a:gd name="connsiteX5" fmla="*/ 126574 w 221827"/>
                <a:gd name="connsiteY5" fmla="*/ 204038 h 205098"/>
                <a:gd name="connsiteX6" fmla="*/ 122603 w 221827"/>
                <a:gd name="connsiteY6" fmla="*/ 205098 h 205098"/>
                <a:gd name="connsiteX7" fmla="*/ 102519 w 221827"/>
                <a:gd name="connsiteY7" fmla="*/ 174512 h 205098"/>
                <a:gd name="connsiteX8" fmla="*/ 103192 w 221827"/>
                <a:gd name="connsiteY8" fmla="*/ 174655 h 205098"/>
                <a:gd name="connsiteX9" fmla="*/ 152853 w 221827"/>
                <a:gd name="connsiteY9" fmla="*/ 165826 h 205098"/>
                <a:gd name="connsiteX10" fmla="*/ 220723 w 221827"/>
                <a:gd name="connsiteY10" fmla="*/ 138237 h 205098"/>
                <a:gd name="connsiteX11" fmla="*/ 221827 w 221827"/>
                <a:gd name="connsiteY11" fmla="*/ 145410 h 205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1827" h="205098">
                  <a:moveTo>
                    <a:pt x="24153" y="55168"/>
                  </a:moveTo>
                  <a:lnTo>
                    <a:pt x="0" y="18385"/>
                  </a:lnTo>
                  <a:lnTo>
                    <a:pt x="23400" y="0"/>
                  </a:lnTo>
                  <a:lnTo>
                    <a:pt x="23735" y="46640"/>
                  </a:lnTo>
                  <a:close/>
                  <a:moveTo>
                    <a:pt x="221827" y="150928"/>
                  </a:moveTo>
                  <a:cubicBezTo>
                    <a:pt x="192582" y="176035"/>
                    <a:pt x="158785" y="193002"/>
                    <a:pt x="126574" y="204038"/>
                  </a:cubicBezTo>
                  <a:lnTo>
                    <a:pt x="122603" y="205098"/>
                  </a:lnTo>
                  <a:lnTo>
                    <a:pt x="102519" y="174512"/>
                  </a:lnTo>
                  <a:lnTo>
                    <a:pt x="103192" y="174655"/>
                  </a:lnTo>
                  <a:cubicBezTo>
                    <a:pt x="120298" y="174103"/>
                    <a:pt x="136851" y="170792"/>
                    <a:pt x="152853" y="165826"/>
                  </a:cubicBezTo>
                  <a:cubicBezTo>
                    <a:pt x="176028" y="158653"/>
                    <a:pt x="198652" y="149273"/>
                    <a:pt x="220723" y="138237"/>
                  </a:cubicBezTo>
                  <a:cubicBezTo>
                    <a:pt x="221275" y="140444"/>
                    <a:pt x="221827" y="143203"/>
                    <a:pt x="221827" y="1454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" name="Forme libre : forme 122">
              <a:extLst>
                <a:ext uri="{FF2B5EF4-FFF2-40B4-BE49-F238E27FC236}">
                  <a16:creationId xmlns:a16="http://schemas.microsoft.com/office/drawing/2014/main" id="{A36747DA-F5EA-42E3-9BB6-64441C3802E9}"/>
                </a:ext>
              </a:extLst>
            </p:cNvPr>
            <p:cNvSpPr/>
            <p:nvPr/>
          </p:nvSpPr>
          <p:spPr>
            <a:xfrm rot="8716295">
              <a:off x="406370" y="4600606"/>
              <a:ext cx="113655" cy="117117"/>
            </a:xfrm>
            <a:custGeom>
              <a:avLst/>
              <a:gdLst>
                <a:gd name="connsiteX0" fmla="*/ 13623 w 113655"/>
                <a:gd name="connsiteY0" fmla="*/ 100559 h 117117"/>
                <a:gd name="connsiteX1" fmla="*/ 0 w 113655"/>
                <a:gd name="connsiteY1" fmla="*/ 68296 h 117117"/>
                <a:gd name="connsiteX2" fmla="*/ 56488 w 113655"/>
                <a:gd name="connsiteY2" fmla="*/ 0 h 117117"/>
                <a:gd name="connsiteX3" fmla="*/ 96408 w 113655"/>
                <a:gd name="connsiteY3" fmla="*/ 16856 h 117117"/>
                <a:gd name="connsiteX4" fmla="*/ 96408 w 113655"/>
                <a:gd name="connsiteY4" fmla="*/ 99640 h 117117"/>
                <a:gd name="connsiteX5" fmla="*/ 55015 w 113655"/>
                <a:gd name="connsiteY5" fmla="*/ 117117 h 117117"/>
                <a:gd name="connsiteX6" fmla="*/ 13623 w 113655"/>
                <a:gd name="connsiteY6" fmla="*/ 100559 h 117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655" h="117117">
                  <a:moveTo>
                    <a:pt x="13623" y="100559"/>
                  </a:moveTo>
                  <a:lnTo>
                    <a:pt x="0" y="68296"/>
                  </a:lnTo>
                  <a:lnTo>
                    <a:pt x="56488" y="0"/>
                  </a:lnTo>
                  <a:lnTo>
                    <a:pt x="96408" y="16856"/>
                  </a:lnTo>
                  <a:cubicBezTo>
                    <a:pt x="119404" y="38931"/>
                    <a:pt x="119404" y="76644"/>
                    <a:pt x="96408" y="99640"/>
                  </a:cubicBezTo>
                  <a:cubicBezTo>
                    <a:pt x="85370" y="110678"/>
                    <a:pt x="70653" y="117116"/>
                    <a:pt x="55015" y="117117"/>
                  </a:cubicBezTo>
                  <a:cubicBezTo>
                    <a:pt x="39378" y="117117"/>
                    <a:pt x="24661" y="111597"/>
                    <a:pt x="13623" y="10055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" name="Forme libre : forme 123">
              <a:extLst>
                <a:ext uri="{FF2B5EF4-FFF2-40B4-BE49-F238E27FC236}">
                  <a16:creationId xmlns:a16="http://schemas.microsoft.com/office/drawing/2014/main" id="{AD73B6BA-63FC-484E-8F99-0F24CBA78B87}"/>
                </a:ext>
              </a:extLst>
            </p:cNvPr>
            <p:cNvSpPr/>
            <p:nvPr/>
          </p:nvSpPr>
          <p:spPr>
            <a:xfrm rot="8716295">
              <a:off x="171547" y="46343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" name="Forme libre : forme 124">
              <a:extLst>
                <a:ext uri="{FF2B5EF4-FFF2-40B4-BE49-F238E27FC236}">
                  <a16:creationId xmlns:a16="http://schemas.microsoft.com/office/drawing/2014/main" id="{066AF92B-6B4A-4726-9E49-C3D23D71D48B}"/>
                </a:ext>
              </a:extLst>
            </p:cNvPr>
            <p:cNvSpPr/>
            <p:nvPr/>
          </p:nvSpPr>
          <p:spPr>
            <a:xfrm rot="8716295">
              <a:off x="348999" y="44751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127" name="Forme libre : forme 126">
            <a:extLst>
              <a:ext uri="{FF2B5EF4-FFF2-40B4-BE49-F238E27FC236}">
                <a16:creationId xmlns:a16="http://schemas.microsoft.com/office/drawing/2014/main" id="{3DCAAB30-E6A5-4696-B938-B81AECA9B049}"/>
              </a:ext>
            </a:extLst>
          </p:cNvPr>
          <p:cNvSpPr/>
          <p:nvPr userDrawn="1"/>
        </p:nvSpPr>
        <p:spPr>
          <a:xfrm>
            <a:off x="629550" y="0"/>
            <a:ext cx="8514451" cy="5143499"/>
          </a:xfrm>
          <a:custGeom>
            <a:avLst/>
            <a:gdLst>
              <a:gd name="connsiteX0" fmla="*/ 268034 w 8514451"/>
              <a:gd name="connsiteY0" fmla="*/ 0 h 5143499"/>
              <a:gd name="connsiteX1" fmla="*/ 8514451 w 8514451"/>
              <a:gd name="connsiteY1" fmla="*/ 0 h 5143499"/>
              <a:gd name="connsiteX2" fmla="*/ 8514451 w 8514451"/>
              <a:gd name="connsiteY2" fmla="*/ 5143499 h 5143499"/>
              <a:gd name="connsiteX3" fmla="*/ 274758 w 8514451"/>
              <a:gd name="connsiteY3" fmla="*/ 5143499 h 5143499"/>
              <a:gd name="connsiteX4" fmla="*/ 0 w 8514451"/>
              <a:gd name="connsiteY4" fmla="*/ 3148262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14451" h="5143499">
                <a:moveTo>
                  <a:pt x="268034" y="0"/>
                </a:moveTo>
                <a:lnTo>
                  <a:pt x="8514451" y="0"/>
                </a:lnTo>
                <a:lnTo>
                  <a:pt x="8514451" y="5143499"/>
                </a:lnTo>
                <a:lnTo>
                  <a:pt x="274758" y="5143499"/>
                </a:lnTo>
                <a:lnTo>
                  <a:pt x="0" y="31482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26" name="Espace réservé du numéro de diapositive 125">
            <a:extLst>
              <a:ext uri="{FF2B5EF4-FFF2-40B4-BE49-F238E27FC236}">
                <a16:creationId xmlns:a16="http://schemas.microsoft.com/office/drawing/2014/main" id="{EB3A4323-AB23-411F-A098-2140921A34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9681" y="3148262"/>
            <a:ext cx="444626" cy="1995238"/>
          </a:xfrm>
          <a:custGeom>
            <a:avLst/>
            <a:gdLst>
              <a:gd name="connsiteX0" fmla="*/ 169868 w 444626"/>
              <a:gd name="connsiteY0" fmla="*/ 0 h 1995238"/>
              <a:gd name="connsiteX1" fmla="*/ 444626 w 444626"/>
              <a:gd name="connsiteY1" fmla="*/ 1995238 h 1995238"/>
              <a:gd name="connsiteX2" fmla="*/ 0 w 444626"/>
              <a:gd name="connsiteY2" fmla="*/ 1995238 h 1995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4626" h="1995238">
                <a:moveTo>
                  <a:pt x="169868" y="0"/>
                </a:moveTo>
                <a:lnTo>
                  <a:pt x="444626" y="1995238"/>
                </a:lnTo>
                <a:lnTo>
                  <a:pt x="0" y="199523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180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143093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Conten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8" name="Espace réservé du numéro de diapositive 517">
            <a:extLst>
              <a:ext uri="{FF2B5EF4-FFF2-40B4-BE49-F238E27FC236}">
                <a16:creationId xmlns:a16="http://schemas.microsoft.com/office/drawing/2014/main" id="{FFC307C1-4A5E-4267-B3FA-6564E6513B0C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3048000" y="2811362"/>
            <a:ext cx="519702" cy="2332138"/>
          </a:xfrm>
          <a:custGeom>
            <a:avLst/>
            <a:gdLst>
              <a:gd name="connsiteX0" fmla="*/ 198551 w 519702"/>
              <a:gd name="connsiteY0" fmla="*/ 0 h 2332138"/>
              <a:gd name="connsiteX1" fmla="*/ 519702 w 519702"/>
              <a:gd name="connsiteY1" fmla="*/ 2332138 h 2332138"/>
              <a:gd name="connsiteX2" fmla="*/ 0 w 519702"/>
              <a:gd name="connsiteY2" fmla="*/ 2332138 h 2332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19702" h="2332138">
                <a:moveTo>
                  <a:pt x="198551" y="0"/>
                </a:moveTo>
                <a:lnTo>
                  <a:pt x="519702" y="2332138"/>
                </a:lnTo>
                <a:lnTo>
                  <a:pt x="0" y="233213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180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523" name="Forme libre : forme 522">
            <a:extLst>
              <a:ext uri="{FF2B5EF4-FFF2-40B4-BE49-F238E27FC236}">
                <a16:creationId xmlns:a16="http://schemas.microsoft.com/office/drawing/2014/main" id="{C7F1D93A-4718-405C-AAEF-810045870EFB}"/>
              </a:ext>
            </a:extLst>
          </p:cNvPr>
          <p:cNvSpPr/>
          <p:nvPr userDrawn="1"/>
        </p:nvSpPr>
        <p:spPr>
          <a:xfrm>
            <a:off x="0" y="-1"/>
            <a:ext cx="9144000" cy="5143501"/>
          </a:xfrm>
          <a:custGeom>
            <a:avLst/>
            <a:gdLst>
              <a:gd name="connsiteX0" fmla="*/ 0 w 9144000"/>
              <a:gd name="connsiteY0" fmla="*/ 0 h 5143501"/>
              <a:gd name="connsiteX1" fmla="*/ 9144000 w 9144000"/>
              <a:gd name="connsiteY1" fmla="*/ 0 h 5143501"/>
              <a:gd name="connsiteX2" fmla="*/ 9144000 w 9144000"/>
              <a:gd name="connsiteY2" fmla="*/ 5143501 h 5143501"/>
              <a:gd name="connsiteX3" fmla="*/ 3567702 w 9144000"/>
              <a:gd name="connsiteY3" fmla="*/ 5143501 h 5143501"/>
              <a:gd name="connsiteX4" fmla="*/ 3246551 w 9144000"/>
              <a:gd name="connsiteY4" fmla="*/ 2811363 h 5143501"/>
              <a:gd name="connsiteX5" fmla="*/ 3485902 w 9144000"/>
              <a:gd name="connsiteY5" fmla="*/ 1 h 5143501"/>
              <a:gd name="connsiteX6" fmla="*/ 3048000 w 9144000"/>
              <a:gd name="connsiteY6" fmla="*/ 1 h 5143501"/>
              <a:gd name="connsiteX7" fmla="*/ 2859408 w 9144000"/>
              <a:gd name="connsiteY7" fmla="*/ 1 h 5143501"/>
              <a:gd name="connsiteX8" fmla="*/ 0 w 9144000"/>
              <a:gd name="connsiteY8" fmla="*/ 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4000" h="5143501">
                <a:moveTo>
                  <a:pt x="0" y="0"/>
                </a:moveTo>
                <a:lnTo>
                  <a:pt x="9144000" y="0"/>
                </a:lnTo>
                <a:lnTo>
                  <a:pt x="9144000" y="5143501"/>
                </a:lnTo>
                <a:lnTo>
                  <a:pt x="3567702" y="5143501"/>
                </a:lnTo>
                <a:lnTo>
                  <a:pt x="3246551" y="2811363"/>
                </a:lnTo>
                <a:lnTo>
                  <a:pt x="3485902" y="1"/>
                </a:lnTo>
                <a:lnTo>
                  <a:pt x="3048000" y="1"/>
                </a:lnTo>
                <a:lnTo>
                  <a:pt x="2859408" y="1"/>
                </a:lnTo>
                <a:lnTo>
                  <a:pt x="0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6CB10B59-8983-482C-BCD8-596396CF9E36}"/>
              </a:ext>
            </a:extLst>
          </p:cNvPr>
          <p:cNvGrpSpPr/>
          <p:nvPr userDrawn="1"/>
        </p:nvGrpSpPr>
        <p:grpSpPr>
          <a:xfrm>
            <a:off x="-91485" y="-107301"/>
            <a:ext cx="3580993" cy="5352842"/>
            <a:chOff x="-91485" y="-107301"/>
            <a:chExt cx="3580993" cy="5352842"/>
          </a:xfrm>
          <a:solidFill>
            <a:schemeClr val="bg2">
              <a:alpha val="5000"/>
            </a:schemeClr>
          </a:solidFill>
        </p:grpSpPr>
        <p:sp>
          <p:nvSpPr>
            <p:cNvPr id="7" name="Forme libre : forme 6">
              <a:extLst>
                <a:ext uri="{FF2B5EF4-FFF2-40B4-BE49-F238E27FC236}">
                  <a16:creationId xmlns:a16="http://schemas.microsoft.com/office/drawing/2014/main" id="{FB10E9E7-487F-4046-97FA-383A90CB2678}"/>
                </a:ext>
              </a:extLst>
            </p:cNvPr>
            <p:cNvSpPr/>
            <p:nvPr/>
          </p:nvSpPr>
          <p:spPr>
            <a:xfrm rot="8716295">
              <a:off x="3051469" y="229467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857E0B3E-CF84-4275-8769-4FA84ACE4C3B}"/>
                </a:ext>
              </a:extLst>
            </p:cNvPr>
            <p:cNvSpPr/>
            <p:nvPr/>
          </p:nvSpPr>
          <p:spPr>
            <a:xfrm rot="8716295">
              <a:off x="3141426" y="2335684"/>
              <a:ext cx="209149" cy="247728"/>
            </a:xfrm>
            <a:custGeom>
              <a:avLst/>
              <a:gdLst>
                <a:gd name="connsiteX0" fmla="*/ 147179 w 209149"/>
                <a:gd name="connsiteY0" fmla="*/ 90980 h 247728"/>
                <a:gd name="connsiteX1" fmla="*/ 147179 w 209149"/>
                <a:gd name="connsiteY1" fmla="*/ 74577 h 247728"/>
                <a:gd name="connsiteX2" fmla="*/ 137667 w 209149"/>
                <a:gd name="connsiteY2" fmla="*/ 44616 h 247728"/>
                <a:gd name="connsiteX3" fmla="*/ 132652 w 209149"/>
                <a:gd name="connsiteY3" fmla="*/ 42232 h 247728"/>
                <a:gd name="connsiteX4" fmla="*/ 167583 w 209149"/>
                <a:gd name="connsiteY4" fmla="*/ 0 h 247728"/>
                <a:gd name="connsiteX5" fmla="*/ 189157 w 209149"/>
                <a:gd name="connsiteY5" fmla="*/ 15682 h 247728"/>
                <a:gd name="connsiteX6" fmla="*/ 209149 w 209149"/>
                <a:gd name="connsiteY6" fmla="*/ 81411 h 247728"/>
                <a:gd name="connsiteX7" fmla="*/ 209149 w 209149"/>
                <a:gd name="connsiteY7" fmla="*/ 87335 h 247728"/>
                <a:gd name="connsiteX8" fmla="*/ 0 w 209149"/>
                <a:gd name="connsiteY8" fmla="*/ 247728 h 247728"/>
                <a:gd name="connsiteX9" fmla="*/ 0 w 209149"/>
                <a:gd name="connsiteY9" fmla="*/ 202611 h 247728"/>
                <a:gd name="connsiteX10" fmla="*/ 60148 w 209149"/>
                <a:gd name="connsiteY10" fmla="*/ 129891 h 247728"/>
                <a:gd name="connsiteX11" fmla="*/ 60148 w 209149"/>
                <a:gd name="connsiteY11" fmla="*/ 206719 h 24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9149" h="247728">
                  <a:moveTo>
                    <a:pt x="147179" y="90980"/>
                  </a:moveTo>
                  <a:lnTo>
                    <a:pt x="147179" y="74577"/>
                  </a:lnTo>
                  <a:cubicBezTo>
                    <a:pt x="147179" y="62273"/>
                    <a:pt x="143648" y="51907"/>
                    <a:pt x="137667" y="44616"/>
                  </a:cubicBezTo>
                  <a:lnTo>
                    <a:pt x="132652" y="42232"/>
                  </a:lnTo>
                  <a:lnTo>
                    <a:pt x="167583" y="0"/>
                  </a:lnTo>
                  <a:lnTo>
                    <a:pt x="189157" y="15682"/>
                  </a:lnTo>
                  <a:cubicBezTo>
                    <a:pt x="202086" y="30833"/>
                    <a:pt x="209149" y="53160"/>
                    <a:pt x="209149" y="81411"/>
                  </a:cubicBezTo>
                  <a:lnTo>
                    <a:pt x="209149" y="87335"/>
                  </a:lnTo>
                  <a:close/>
                  <a:moveTo>
                    <a:pt x="0" y="247728"/>
                  </a:moveTo>
                  <a:lnTo>
                    <a:pt x="0" y="202611"/>
                  </a:lnTo>
                  <a:lnTo>
                    <a:pt x="60148" y="129891"/>
                  </a:lnTo>
                  <a:lnTo>
                    <a:pt x="60148" y="20671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CA2EC427-A3CB-46EB-8802-9FA3F8105B5A}"/>
                </a:ext>
              </a:extLst>
            </p:cNvPr>
            <p:cNvSpPr/>
            <p:nvPr/>
          </p:nvSpPr>
          <p:spPr>
            <a:xfrm rot="8716295">
              <a:off x="3096011" y="2237639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474F4DDA-4FC2-4669-AB5F-02BB5506B529}"/>
                </a:ext>
              </a:extLst>
            </p:cNvPr>
            <p:cNvSpPr/>
            <p:nvPr/>
          </p:nvSpPr>
          <p:spPr>
            <a:xfrm rot="8716295">
              <a:off x="2939235" y="238322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D8FF9A2A-12F4-4D4A-838C-2EA6068FA2AB}"/>
                </a:ext>
              </a:extLst>
            </p:cNvPr>
            <p:cNvSpPr/>
            <p:nvPr/>
          </p:nvSpPr>
          <p:spPr>
            <a:xfrm rot="8716295">
              <a:off x="2814332" y="217454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56247F38-2BB4-4C4A-A842-2BBC34C00B4B}"/>
                </a:ext>
              </a:extLst>
            </p:cNvPr>
            <p:cNvSpPr/>
            <p:nvPr/>
          </p:nvSpPr>
          <p:spPr>
            <a:xfrm rot="8716295">
              <a:off x="2802280" y="203576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6B40DCDD-1ED3-48EB-9DB0-DEE21DA8FE29}"/>
                </a:ext>
              </a:extLst>
            </p:cNvPr>
            <p:cNvSpPr/>
            <p:nvPr/>
          </p:nvSpPr>
          <p:spPr>
            <a:xfrm rot="8716295">
              <a:off x="3029413" y="2424173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EEC2D8FD-062C-4F42-B8C0-F129DEB5F20C}"/>
                </a:ext>
              </a:extLst>
            </p:cNvPr>
            <p:cNvSpPr/>
            <p:nvPr/>
          </p:nvSpPr>
          <p:spPr>
            <a:xfrm rot="8716295">
              <a:off x="3300250" y="2118999"/>
              <a:ext cx="9515" cy="11504"/>
            </a:xfrm>
            <a:custGeom>
              <a:avLst/>
              <a:gdLst>
                <a:gd name="connsiteX0" fmla="*/ 0 w 9515"/>
                <a:gd name="connsiteY0" fmla="*/ 11504 h 11504"/>
                <a:gd name="connsiteX1" fmla="*/ 9515 w 9515"/>
                <a:gd name="connsiteY1" fmla="*/ 0 h 11504"/>
                <a:gd name="connsiteX2" fmla="*/ 9515 w 9515"/>
                <a:gd name="connsiteY2" fmla="*/ 7741 h 11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15" h="11504">
                  <a:moveTo>
                    <a:pt x="0" y="11504"/>
                  </a:moveTo>
                  <a:lnTo>
                    <a:pt x="9515" y="0"/>
                  </a:lnTo>
                  <a:lnTo>
                    <a:pt x="9515" y="77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15A33F8C-9B7A-4D6A-854E-3D326335591D}"/>
                </a:ext>
              </a:extLst>
            </p:cNvPr>
            <p:cNvSpPr/>
            <p:nvPr/>
          </p:nvSpPr>
          <p:spPr>
            <a:xfrm rot="8716295">
              <a:off x="3228334" y="213306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949EEDA1-3E93-4DFB-8B0F-8D57B83C540E}"/>
                </a:ext>
              </a:extLst>
            </p:cNvPr>
            <p:cNvSpPr/>
            <p:nvPr/>
          </p:nvSpPr>
          <p:spPr>
            <a:xfrm rot="8716295">
              <a:off x="3098921" y="1924310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44680 h 195874"/>
                <a:gd name="connsiteX5" fmla="*/ 36955 w 203847"/>
                <a:gd name="connsiteY5" fmla="*/ 0 h 195874"/>
                <a:gd name="connsiteX6" fmla="*/ 203847 w 203847"/>
                <a:gd name="connsiteY6" fmla="*/ 0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44680"/>
                  </a:lnTo>
                  <a:lnTo>
                    <a:pt x="36955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513E3AB2-D8F3-4D40-BC3C-53ABB60A2331}"/>
                </a:ext>
              </a:extLst>
            </p:cNvPr>
            <p:cNvSpPr/>
            <p:nvPr/>
          </p:nvSpPr>
          <p:spPr>
            <a:xfrm rot="8716295">
              <a:off x="3275349" y="2211673"/>
              <a:ext cx="24727" cy="53686"/>
            </a:xfrm>
            <a:custGeom>
              <a:avLst/>
              <a:gdLst>
                <a:gd name="connsiteX0" fmla="*/ 24727 w 24727"/>
                <a:gd name="connsiteY0" fmla="*/ 53686 h 53686"/>
                <a:gd name="connsiteX1" fmla="*/ 0 w 24727"/>
                <a:gd name="connsiteY1" fmla="*/ 29895 h 53686"/>
                <a:gd name="connsiteX2" fmla="*/ 24727 w 24727"/>
                <a:gd name="connsiteY2" fmla="*/ 0 h 53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27" h="53686">
                  <a:moveTo>
                    <a:pt x="24727" y="53686"/>
                  </a:moveTo>
                  <a:lnTo>
                    <a:pt x="0" y="29895"/>
                  </a:lnTo>
                  <a:lnTo>
                    <a:pt x="2472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69A3C0F4-2579-479E-90C6-255E973C947C}"/>
                </a:ext>
              </a:extLst>
            </p:cNvPr>
            <p:cNvSpPr/>
            <p:nvPr/>
          </p:nvSpPr>
          <p:spPr>
            <a:xfrm rot="8716295">
              <a:off x="3077061" y="202442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9022B708-F9CE-40AF-852D-9A004CAB7675}"/>
                </a:ext>
              </a:extLst>
            </p:cNvPr>
            <p:cNvSpPr/>
            <p:nvPr/>
          </p:nvSpPr>
          <p:spPr>
            <a:xfrm rot="8716295">
              <a:off x="3162402" y="30429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19F4F78B-5673-4710-BAF3-3B1975D1B861}"/>
                </a:ext>
              </a:extLst>
            </p:cNvPr>
            <p:cNvSpPr/>
            <p:nvPr/>
          </p:nvSpPr>
          <p:spPr>
            <a:xfrm rot="8716295">
              <a:off x="3033531" y="2835902"/>
              <a:ext cx="197743" cy="195873"/>
            </a:xfrm>
            <a:custGeom>
              <a:avLst/>
              <a:gdLst>
                <a:gd name="connsiteX0" fmla="*/ 84606 w 197743"/>
                <a:gd name="connsiteY0" fmla="*/ 195873 h 195873"/>
                <a:gd name="connsiteX1" fmla="*/ 41743 w 197743"/>
                <a:gd name="connsiteY1" fmla="*/ 116129 h 195873"/>
                <a:gd name="connsiteX2" fmla="*/ 63673 w 197743"/>
                <a:gd name="connsiteY2" fmla="*/ 55323 h 195873"/>
                <a:gd name="connsiteX3" fmla="*/ 0 w 197743"/>
                <a:gd name="connsiteY3" fmla="*/ 55323 h 195873"/>
                <a:gd name="connsiteX4" fmla="*/ 45759 w 197743"/>
                <a:gd name="connsiteY4" fmla="*/ 0 h 195873"/>
                <a:gd name="connsiteX5" fmla="*/ 197743 w 197743"/>
                <a:gd name="connsiteY5" fmla="*/ 0 h 195873"/>
                <a:gd name="connsiteX6" fmla="*/ 197743 w 197743"/>
                <a:gd name="connsiteY6" fmla="*/ 55323 h 195873"/>
                <a:gd name="connsiteX7" fmla="*/ 132951 w 197743"/>
                <a:gd name="connsiteY7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7743" h="195873">
                  <a:moveTo>
                    <a:pt x="84606" y="195873"/>
                  </a:moveTo>
                  <a:lnTo>
                    <a:pt x="41743" y="116129"/>
                  </a:lnTo>
                  <a:lnTo>
                    <a:pt x="63673" y="55323"/>
                  </a:lnTo>
                  <a:lnTo>
                    <a:pt x="0" y="55323"/>
                  </a:lnTo>
                  <a:lnTo>
                    <a:pt x="45759" y="0"/>
                  </a:lnTo>
                  <a:lnTo>
                    <a:pt x="197743" y="0"/>
                  </a:lnTo>
                  <a:lnTo>
                    <a:pt x="197743" y="55323"/>
                  </a:lnTo>
                  <a:lnTo>
                    <a:pt x="132951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0BB66207-2F6B-4469-9703-071564C7D57B}"/>
                </a:ext>
              </a:extLst>
            </p:cNvPr>
            <p:cNvSpPr/>
            <p:nvPr/>
          </p:nvSpPr>
          <p:spPr>
            <a:xfrm rot="8716295">
              <a:off x="2982649" y="2705505"/>
              <a:ext cx="289489" cy="211444"/>
            </a:xfrm>
            <a:custGeom>
              <a:avLst/>
              <a:gdLst>
                <a:gd name="connsiteX0" fmla="*/ 24145 w 289489"/>
                <a:gd name="connsiteY0" fmla="*/ 181853 h 211444"/>
                <a:gd name="connsiteX1" fmla="*/ 3994 w 289489"/>
                <a:gd name="connsiteY1" fmla="*/ 142066 h 211444"/>
                <a:gd name="connsiteX2" fmla="*/ 0 w 289489"/>
                <a:gd name="connsiteY2" fmla="*/ 94419 h 211444"/>
                <a:gd name="connsiteX3" fmla="*/ 78096 w 289489"/>
                <a:gd name="connsiteY3" fmla="*/ 0 h 211444"/>
                <a:gd name="connsiteX4" fmla="*/ 78273 w 289489"/>
                <a:gd name="connsiteY4" fmla="*/ 24764 h 211444"/>
                <a:gd name="connsiteX5" fmla="*/ 92393 w 289489"/>
                <a:gd name="connsiteY5" fmla="*/ 122430 h 211444"/>
                <a:gd name="connsiteX6" fmla="*/ 162994 w 289489"/>
                <a:gd name="connsiteY6" fmla="*/ 161261 h 211444"/>
                <a:gd name="connsiteX7" fmla="*/ 215946 w 289489"/>
                <a:gd name="connsiteY7" fmla="*/ 151847 h 211444"/>
                <a:gd name="connsiteX8" fmla="*/ 288313 w 289489"/>
                <a:gd name="connsiteY8" fmla="*/ 122430 h 211444"/>
                <a:gd name="connsiteX9" fmla="*/ 289489 w 289489"/>
                <a:gd name="connsiteY9" fmla="*/ 130078 h 211444"/>
                <a:gd name="connsiteX10" fmla="*/ 289489 w 289489"/>
                <a:gd name="connsiteY10" fmla="*/ 135962 h 211444"/>
                <a:gd name="connsiteX11" fmla="*/ 96512 w 289489"/>
                <a:gd name="connsiteY11" fmla="*/ 211270 h 211444"/>
                <a:gd name="connsiteX12" fmla="*/ 24145 w 289489"/>
                <a:gd name="connsiteY12" fmla="*/ 181853 h 211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9489" h="211444">
                  <a:moveTo>
                    <a:pt x="24145" y="181853"/>
                  </a:moveTo>
                  <a:cubicBezTo>
                    <a:pt x="14143" y="172145"/>
                    <a:pt x="7818" y="158907"/>
                    <a:pt x="3994" y="142066"/>
                  </a:cubicBezTo>
                  <a:lnTo>
                    <a:pt x="0" y="94419"/>
                  </a:lnTo>
                  <a:lnTo>
                    <a:pt x="78096" y="0"/>
                  </a:lnTo>
                  <a:lnTo>
                    <a:pt x="78273" y="24764"/>
                  </a:lnTo>
                  <a:cubicBezTo>
                    <a:pt x="76508" y="57712"/>
                    <a:pt x="81803" y="91247"/>
                    <a:pt x="92393" y="122430"/>
                  </a:cubicBezTo>
                  <a:cubicBezTo>
                    <a:pt x="101807" y="148317"/>
                    <a:pt x="125929" y="161261"/>
                    <a:pt x="162994" y="161261"/>
                  </a:cubicBezTo>
                  <a:cubicBezTo>
                    <a:pt x="181234" y="160672"/>
                    <a:pt x="198884" y="157142"/>
                    <a:pt x="215946" y="151847"/>
                  </a:cubicBezTo>
                  <a:cubicBezTo>
                    <a:pt x="240656" y="144198"/>
                    <a:pt x="264779" y="134197"/>
                    <a:pt x="288313" y="122430"/>
                  </a:cubicBezTo>
                  <a:cubicBezTo>
                    <a:pt x="288901" y="124783"/>
                    <a:pt x="289489" y="127725"/>
                    <a:pt x="289489" y="130078"/>
                  </a:cubicBezTo>
                  <a:lnTo>
                    <a:pt x="289489" y="135962"/>
                  </a:lnTo>
                  <a:cubicBezTo>
                    <a:pt x="227125" y="189501"/>
                    <a:pt x="145344" y="208329"/>
                    <a:pt x="96512" y="211270"/>
                  </a:cubicBezTo>
                  <a:cubicBezTo>
                    <a:pt x="69448" y="213035"/>
                    <a:pt x="42972" y="201268"/>
                    <a:pt x="24145" y="18185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4BE2CE41-0D24-49C7-BC05-1CA24F174056}"/>
                </a:ext>
              </a:extLst>
            </p:cNvPr>
            <p:cNvSpPr/>
            <p:nvPr/>
          </p:nvSpPr>
          <p:spPr>
            <a:xfrm rot="8716295">
              <a:off x="3205022" y="3125495"/>
              <a:ext cx="16424" cy="35661"/>
            </a:xfrm>
            <a:custGeom>
              <a:avLst/>
              <a:gdLst>
                <a:gd name="connsiteX0" fmla="*/ 16424 w 16424"/>
                <a:gd name="connsiteY0" fmla="*/ 35661 h 35661"/>
                <a:gd name="connsiteX1" fmla="*/ 0 w 16424"/>
                <a:gd name="connsiteY1" fmla="*/ 19858 h 35661"/>
                <a:gd name="connsiteX2" fmla="*/ 16424 w 16424"/>
                <a:gd name="connsiteY2" fmla="*/ 0 h 35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24" h="35661">
                  <a:moveTo>
                    <a:pt x="16424" y="35661"/>
                  </a:moveTo>
                  <a:lnTo>
                    <a:pt x="0" y="19858"/>
                  </a:lnTo>
                  <a:lnTo>
                    <a:pt x="16424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3C113F76-2275-4CD3-8629-730BFE6915AD}"/>
                </a:ext>
              </a:extLst>
            </p:cNvPr>
            <p:cNvSpPr/>
            <p:nvPr/>
          </p:nvSpPr>
          <p:spPr>
            <a:xfrm rot="8716295">
              <a:off x="2829951" y="16337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7B2BDFC9-A5B6-45EA-A262-AC19DCF358A2}"/>
                </a:ext>
              </a:extLst>
            </p:cNvPr>
            <p:cNvSpPr/>
            <p:nvPr/>
          </p:nvSpPr>
          <p:spPr>
            <a:xfrm rot="8716295">
              <a:off x="2919343" y="16629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2A249ED1-9FC2-465F-B1C2-CE832E06DAAB}"/>
                </a:ext>
              </a:extLst>
            </p:cNvPr>
            <p:cNvSpPr/>
            <p:nvPr/>
          </p:nvSpPr>
          <p:spPr>
            <a:xfrm rot="8716295">
              <a:off x="2874493" y="157666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D737513C-09E2-4A85-9268-7028FEA47AEC}"/>
                </a:ext>
              </a:extLst>
            </p:cNvPr>
            <p:cNvSpPr/>
            <p:nvPr/>
          </p:nvSpPr>
          <p:spPr>
            <a:xfrm rot="8716295">
              <a:off x="2717717" y="172224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B6E113ED-200A-42D1-8A9B-64F2EA6FEC37}"/>
                </a:ext>
              </a:extLst>
            </p:cNvPr>
            <p:cNvSpPr/>
            <p:nvPr/>
          </p:nvSpPr>
          <p:spPr>
            <a:xfrm rot="8716295">
              <a:off x="2592814" y="151357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C7386AEF-343D-4F67-937B-2D8AE784432C}"/>
                </a:ext>
              </a:extLst>
            </p:cNvPr>
            <p:cNvSpPr/>
            <p:nvPr/>
          </p:nvSpPr>
          <p:spPr>
            <a:xfrm rot="8716295">
              <a:off x="2580762" y="137479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D18230E6-6046-4801-9551-295B7C3DC9AE}"/>
                </a:ext>
              </a:extLst>
            </p:cNvPr>
            <p:cNvSpPr/>
            <p:nvPr/>
          </p:nvSpPr>
          <p:spPr>
            <a:xfrm rot="8716295">
              <a:off x="2807895" y="176319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AA767CF2-B25B-4F2C-8315-830DDA4419B8}"/>
                </a:ext>
              </a:extLst>
            </p:cNvPr>
            <p:cNvSpPr/>
            <p:nvPr/>
          </p:nvSpPr>
          <p:spPr>
            <a:xfrm rot="8716295">
              <a:off x="3119050" y="138355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AAABA641-3338-40FA-9C39-41C30A22033E}"/>
                </a:ext>
              </a:extLst>
            </p:cNvPr>
            <p:cNvSpPr/>
            <p:nvPr/>
          </p:nvSpPr>
          <p:spPr>
            <a:xfrm rot="8716295">
              <a:off x="3209851" y="1424295"/>
              <a:ext cx="209149" cy="250692"/>
            </a:xfrm>
            <a:custGeom>
              <a:avLst/>
              <a:gdLst>
                <a:gd name="connsiteX0" fmla="*/ 147179 w 209149"/>
                <a:gd name="connsiteY0" fmla="*/ 93944 h 250692"/>
                <a:gd name="connsiteX1" fmla="*/ 147179 w 209149"/>
                <a:gd name="connsiteY1" fmla="*/ 77540 h 250692"/>
                <a:gd name="connsiteX2" fmla="*/ 137667 w 209149"/>
                <a:gd name="connsiteY2" fmla="*/ 47580 h 250692"/>
                <a:gd name="connsiteX3" fmla="*/ 123379 w 209149"/>
                <a:gd name="connsiteY3" fmla="*/ 40789 h 250692"/>
                <a:gd name="connsiteX4" fmla="*/ 157117 w 209149"/>
                <a:gd name="connsiteY4" fmla="*/ 0 h 250692"/>
                <a:gd name="connsiteX5" fmla="*/ 165512 w 209149"/>
                <a:gd name="connsiteY5" fmla="*/ 1459 h 250692"/>
                <a:gd name="connsiteX6" fmla="*/ 209149 w 209149"/>
                <a:gd name="connsiteY6" fmla="*/ 84375 h 250692"/>
                <a:gd name="connsiteX7" fmla="*/ 209149 w 209149"/>
                <a:gd name="connsiteY7" fmla="*/ 90299 h 250692"/>
                <a:gd name="connsiteX8" fmla="*/ 0 w 209149"/>
                <a:gd name="connsiteY8" fmla="*/ 250692 h 250692"/>
                <a:gd name="connsiteX9" fmla="*/ 0 w 209149"/>
                <a:gd name="connsiteY9" fmla="*/ 189958 h 250692"/>
                <a:gd name="connsiteX10" fmla="*/ 61066 w 209149"/>
                <a:gd name="connsiteY10" fmla="*/ 116127 h 250692"/>
                <a:gd name="connsiteX11" fmla="*/ 60148 w 209149"/>
                <a:gd name="connsiteY11" fmla="*/ 123562 h 250692"/>
                <a:gd name="connsiteX12" fmla="*/ 60148 w 209149"/>
                <a:gd name="connsiteY12" fmla="*/ 209683 h 250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9149" h="250692">
                  <a:moveTo>
                    <a:pt x="147179" y="93944"/>
                  </a:moveTo>
                  <a:lnTo>
                    <a:pt x="147179" y="77540"/>
                  </a:lnTo>
                  <a:cubicBezTo>
                    <a:pt x="147179" y="65237"/>
                    <a:pt x="143648" y="54871"/>
                    <a:pt x="137667" y="47580"/>
                  </a:cubicBezTo>
                  <a:lnTo>
                    <a:pt x="123379" y="40789"/>
                  </a:lnTo>
                  <a:lnTo>
                    <a:pt x="157117" y="0"/>
                  </a:lnTo>
                  <a:lnTo>
                    <a:pt x="165512" y="1459"/>
                  </a:lnTo>
                  <a:cubicBezTo>
                    <a:pt x="193258" y="12950"/>
                    <a:pt x="209149" y="41998"/>
                    <a:pt x="209149" y="84375"/>
                  </a:cubicBezTo>
                  <a:lnTo>
                    <a:pt x="209149" y="90299"/>
                  </a:lnTo>
                  <a:close/>
                  <a:moveTo>
                    <a:pt x="0" y="250692"/>
                  </a:moveTo>
                  <a:lnTo>
                    <a:pt x="0" y="189958"/>
                  </a:lnTo>
                  <a:lnTo>
                    <a:pt x="61066" y="116127"/>
                  </a:lnTo>
                  <a:lnTo>
                    <a:pt x="60148" y="123562"/>
                  </a:lnTo>
                  <a:lnTo>
                    <a:pt x="60148" y="2096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B2896D46-0FA6-4563-B073-9C0C36686641}"/>
                </a:ext>
              </a:extLst>
            </p:cNvPr>
            <p:cNvSpPr/>
            <p:nvPr/>
          </p:nvSpPr>
          <p:spPr>
            <a:xfrm rot="8716295">
              <a:off x="3006816" y="147209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6EEB717B-FEDB-4989-BE8E-3CB6F80A9A3D}"/>
                </a:ext>
              </a:extLst>
            </p:cNvPr>
            <p:cNvSpPr/>
            <p:nvPr/>
          </p:nvSpPr>
          <p:spPr>
            <a:xfrm rot="8716295">
              <a:off x="2881914" y="126342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F9A3D111-F2E6-4EEC-BA5F-E3F48E1BC144}"/>
                </a:ext>
              </a:extLst>
            </p:cNvPr>
            <p:cNvSpPr/>
            <p:nvPr/>
          </p:nvSpPr>
          <p:spPr>
            <a:xfrm rot="8716295">
              <a:off x="3096994" y="151304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F60E79F3-84EF-445B-800D-9716EB35B924}"/>
                </a:ext>
              </a:extLst>
            </p:cNvPr>
            <p:cNvSpPr/>
            <p:nvPr/>
          </p:nvSpPr>
          <p:spPr>
            <a:xfrm rot="8716295">
              <a:off x="2855543" y="136344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FDB4A4C0-E883-499D-A6D3-A301318DCD73}"/>
                </a:ext>
              </a:extLst>
            </p:cNvPr>
            <p:cNvSpPr/>
            <p:nvPr/>
          </p:nvSpPr>
          <p:spPr>
            <a:xfrm rot="7484129">
              <a:off x="3207325" y="1725125"/>
              <a:ext cx="156001" cy="194030"/>
            </a:xfrm>
            <a:custGeom>
              <a:avLst/>
              <a:gdLst>
                <a:gd name="connsiteX0" fmla="*/ 42863 w 156001"/>
                <a:gd name="connsiteY0" fmla="*/ 194030 h 194030"/>
                <a:gd name="connsiteX1" fmla="*/ 0 w 156001"/>
                <a:gd name="connsiteY1" fmla="*/ 114286 h 194030"/>
                <a:gd name="connsiteX2" fmla="*/ 11232 w 156001"/>
                <a:gd name="connsiteY2" fmla="*/ 83143 h 194030"/>
                <a:gd name="connsiteX3" fmla="*/ 156000 w 156001"/>
                <a:gd name="connsiteY3" fmla="*/ 0 h 194030"/>
                <a:gd name="connsiteX4" fmla="*/ 156001 w 156001"/>
                <a:gd name="connsiteY4" fmla="*/ 53480 h 194030"/>
                <a:gd name="connsiteX5" fmla="*/ 91208 w 156001"/>
                <a:gd name="connsiteY5" fmla="*/ 53480 h 194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6001" h="194030">
                  <a:moveTo>
                    <a:pt x="42863" y="194030"/>
                  </a:moveTo>
                  <a:lnTo>
                    <a:pt x="0" y="114286"/>
                  </a:lnTo>
                  <a:lnTo>
                    <a:pt x="11232" y="83143"/>
                  </a:lnTo>
                  <a:lnTo>
                    <a:pt x="156000" y="0"/>
                  </a:lnTo>
                  <a:lnTo>
                    <a:pt x="156001" y="53480"/>
                  </a:lnTo>
                  <a:lnTo>
                    <a:pt x="91208" y="5348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0B787B40-9B3B-4DF6-B826-D34E59D7A748}"/>
                </a:ext>
              </a:extLst>
            </p:cNvPr>
            <p:cNvSpPr/>
            <p:nvPr/>
          </p:nvSpPr>
          <p:spPr>
            <a:xfrm rot="8716295">
              <a:off x="3197279" y="140587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0A8098AC-35DA-4C71-BDFA-C584261AED79}"/>
                </a:ext>
              </a:extLst>
            </p:cNvPr>
            <p:cNvSpPr/>
            <p:nvPr/>
          </p:nvSpPr>
          <p:spPr>
            <a:xfrm rot="8716295">
              <a:off x="3356472" y="1273070"/>
              <a:ext cx="38162" cy="46138"/>
            </a:xfrm>
            <a:custGeom>
              <a:avLst/>
              <a:gdLst>
                <a:gd name="connsiteX0" fmla="*/ 0 w 38162"/>
                <a:gd name="connsiteY0" fmla="*/ 46138 h 46138"/>
                <a:gd name="connsiteX1" fmla="*/ 38162 w 38162"/>
                <a:gd name="connsiteY1" fmla="*/ 0 h 46138"/>
                <a:gd name="connsiteX2" fmla="*/ 35645 w 38162"/>
                <a:gd name="connsiteY2" fmla="*/ 12962 h 46138"/>
                <a:gd name="connsiteX3" fmla="*/ 22710 w 38162"/>
                <a:gd name="connsiteY3" fmla="*/ 32494 h 46138"/>
                <a:gd name="connsiteX4" fmla="*/ 3739 w 38162"/>
                <a:gd name="connsiteY4" fmla="*/ 45372 h 46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62" h="46138">
                  <a:moveTo>
                    <a:pt x="0" y="46138"/>
                  </a:moveTo>
                  <a:lnTo>
                    <a:pt x="38162" y="0"/>
                  </a:lnTo>
                  <a:lnTo>
                    <a:pt x="35645" y="12962"/>
                  </a:lnTo>
                  <a:cubicBezTo>
                    <a:pt x="32771" y="20076"/>
                    <a:pt x="28459" y="26745"/>
                    <a:pt x="22710" y="32494"/>
                  </a:cubicBezTo>
                  <a:cubicBezTo>
                    <a:pt x="17191" y="38013"/>
                    <a:pt x="10753" y="42382"/>
                    <a:pt x="3739" y="4537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C5475FFB-2FE6-47F1-ADB1-3564B7362FBC}"/>
                </a:ext>
              </a:extLst>
            </p:cNvPr>
            <p:cNvSpPr/>
            <p:nvPr/>
          </p:nvSpPr>
          <p:spPr>
            <a:xfrm rot="8716295">
              <a:off x="2606784" y="97400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9DEC1430-749E-4073-9884-D3917B891663}"/>
                </a:ext>
              </a:extLst>
            </p:cNvPr>
            <p:cNvSpPr/>
            <p:nvPr/>
          </p:nvSpPr>
          <p:spPr>
            <a:xfrm rot="8716295">
              <a:off x="2696176" y="100324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626F965F-1168-4906-A312-B88FB685E6C8}"/>
                </a:ext>
              </a:extLst>
            </p:cNvPr>
            <p:cNvSpPr/>
            <p:nvPr/>
          </p:nvSpPr>
          <p:spPr>
            <a:xfrm rot="8716295">
              <a:off x="2651326" y="91696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63FEE4FF-1D87-4CAE-9FA8-9CF6A9D96EFB}"/>
                </a:ext>
              </a:extLst>
            </p:cNvPr>
            <p:cNvSpPr/>
            <p:nvPr/>
          </p:nvSpPr>
          <p:spPr>
            <a:xfrm rot="8716295">
              <a:off x="2494550" y="106254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BC11557D-3B0F-4F99-BB1C-10D4CD358771}"/>
                </a:ext>
              </a:extLst>
            </p:cNvPr>
            <p:cNvSpPr/>
            <p:nvPr/>
          </p:nvSpPr>
          <p:spPr>
            <a:xfrm rot="8716295">
              <a:off x="2369647" y="85387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1BF9B5DD-16B3-4C9A-A0CB-19167186C695}"/>
                </a:ext>
              </a:extLst>
            </p:cNvPr>
            <p:cNvSpPr/>
            <p:nvPr/>
          </p:nvSpPr>
          <p:spPr>
            <a:xfrm rot="8716295">
              <a:off x="2357595" y="71509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4BDAD41E-2E62-46D5-8972-DD9B42CE139E}"/>
                </a:ext>
              </a:extLst>
            </p:cNvPr>
            <p:cNvSpPr/>
            <p:nvPr/>
          </p:nvSpPr>
          <p:spPr>
            <a:xfrm rot="8716295">
              <a:off x="2584728" y="110350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49E7137B-1AE9-4612-BDE2-1AD75C253D82}"/>
                </a:ext>
              </a:extLst>
            </p:cNvPr>
            <p:cNvSpPr/>
            <p:nvPr/>
          </p:nvSpPr>
          <p:spPr>
            <a:xfrm rot="8716295">
              <a:off x="2895883" y="72385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FB51623D-A683-4809-B6F7-B7284C8425E7}"/>
                </a:ext>
              </a:extLst>
            </p:cNvPr>
            <p:cNvSpPr/>
            <p:nvPr/>
          </p:nvSpPr>
          <p:spPr>
            <a:xfrm rot="8716295">
              <a:off x="2985275" y="75309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281173AB-108D-4FE0-B6D3-50708833EE4A}"/>
                </a:ext>
              </a:extLst>
            </p:cNvPr>
            <p:cNvSpPr/>
            <p:nvPr/>
          </p:nvSpPr>
          <p:spPr>
            <a:xfrm rot="8716295">
              <a:off x="2783649" y="81239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BF07C4A0-5324-4C7F-B4EC-CC1184768828}"/>
                </a:ext>
              </a:extLst>
            </p:cNvPr>
            <p:cNvSpPr/>
            <p:nvPr/>
          </p:nvSpPr>
          <p:spPr>
            <a:xfrm rot="8716295">
              <a:off x="2658747" y="60372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6C1ACB1E-5691-49AE-AB29-06C5DC240D79}"/>
                </a:ext>
              </a:extLst>
            </p:cNvPr>
            <p:cNvSpPr/>
            <p:nvPr/>
          </p:nvSpPr>
          <p:spPr>
            <a:xfrm rot="8716295">
              <a:off x="2873827" y="85334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BBA32666-AB2E-4FC3-AC66-C412DC6DB6FE}"/>
                </a:ext>
              </a:extLst>
            </p:cNvPr>
            <p:cNvSpPr/>
            <p:nvPr/>
          </p:nvSpPr>
          <p:spPr>
            <a:xfrm rot="8716295">
              <a:off x="2632376" y="70374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446CB3B3-0538-4236-9A2B-B81F3C70F649}"/>
                </a:ext>
              </a:extLst>
            </p:cNvPr>
            <p:cNvSpPr/>
            <p:nvPr/>
          </p:nvSpPr>
          <p:spPr>
            <a:xfrm rot="7484129">
              <a:off x="2978758" y="10446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6FEF6605-DD46-4B6F-9434-E75F685EB3F1}"/>
                </a:ext>
              </a:extLst>
            </p:cNvPr>
            <p:cNvSpPr/>
            <p:nvPr/>
          </p:nvSpPr>
          <p:spPr>
            <a:xfrm rot="13089394">
              <a:off x="3083578" y="101123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5FAEA535-E5DC-4ECD-AC87-B4CF523A4E30}"/>
                </a:ext>
              </a:extLst>
            </p:cNvPr>
            <p:cNvSpPr/>
            <p:nvPr/>
          </p:nvSpPr>
          <p:spPr>
            <a:xfrm rot="8716295">
              <a:off x="3269163" y="81955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C4FD16EB-0DAD-4759-8354-258732BCDC6A}"/>
                </a:ext>
              </a:extLst>
            </p:cNvPr>
            <p:cNvSpPr/>
            <p:nvPr/>
          </p:nvSpPr>
          <p:spPr>
            <a:xfrm rot="8716295">
              <a:off x="3217358" y="71595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C79D5733-4C6C-4FFD-A38D-A89F64FE54C8}"/>
                </a:ext>
              </a:extLst>
            </p:cNvPr>
            <p:cNvSpPr/>
            <p:nvPr/>
          </p:nvSpPr>
          <p:spPr>
            <a:xfrm rot="8716295">
              <a:off x="2974112" y="74618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133AF81E-5F8E-4D81-87C0-011CC96E3CC9}"/>
                </a:ext>
              </a:extLst>
            </p:cNvPr>
            <p:cNvSpPr/>
            <p:nvPr/>
          </p:nvSpPr>
          <p:spPr>
            <a:xfrm rot="8716295">
              <a:off x="3151564" y="58693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F5BAA1B0-C7A6-44B2-8867-FEAE18AC26E8}"/>
                </a:ext>
              </a:extLst>
            </p:cNvPr>
            <p:cNvSpPr/>
            <p:nvPr/>
          </p:nvSpPr>
          <p:spPr>
            <a:xfrm rot="8716295">
              <a:off x="2387845" y="31194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orme libre : forme 58">
              <a:extLst>
                <a:ext uri="{FF2B5EF4-FFF2-40B4-BE49-F238E27FC236}">
                  <a16:creationId xmlns:a16="http://schemas.microsoft.com/office/drawing/2014/main" id="{B51F8FF7-DB45-4A7D-B87B-E8E0B15A9D38}"/>
                </a:ext>
              </a:extLst>
            </p:cNvPr>
            <p:cNvSpPr/>
            <p:nvPr/>
          </p:nvSpPr>
          <p:spPr>
            <a:xfrm rot="8716295">
              <a:off x="2477237" y="34118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orme libre : forme 59">
              <a:extLst>
                <a:ext uri="{FF2B5EF4-FFF2-40B4-BE49-F238E27FC236}">
                  <a16:creationId xmlns:a16="http://schemas.microsoft.com/office/drawing/2014/main" id="{1950BE25-03A0-4561-B14B-331445B0D0C3}"/>
                </a:ext>
              </a:extLst>
            </p:cNvPr>
            <p:cNvSpPr/>
            <p:nvPr/>
          </p:nvSpPr>
          <p:spPr>
            <a:xfrm rot="8716295">
              <a:off x="2432387" y="254908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orme libre : forme 60">
              <a:extLst>
                <a:ext uri="{FF2B5EF4-FFF2-40B4-BE49-F238E27FC236}">
                  <a16:creationId xmlns:a16="http://schemas.microsoft.com/office/drawing/2014/main" id="{1E041962-91AE-4D89-B179-1A31E1910CF1}"/>
                </a:ext>
              </a:extLst>
            </p:cNvPr>
            <p:cNvSpPr/>
            <p:nvPr/>
          </p:nvSpPr>
          <p:spPr>
            <a:xfrm rot="8716295">
              <a:off x="2275611" y="40049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orme libre : forme 61">
              <a:extLst>
                <a:ext uri="{FF2B5EF4-FFF2-40B4-BE49-F238E27FC236}">
                  <a16:creationId xmlns:a16="http://schemas.microsoft.com/office/drawing/2014/main" id="{376CFCCF-38DC-4A35-AA3F-E03998AD805A}"/>
                </a:ext>
              </a:extLst>
            </p:cNvPr>
            <p:cNvSpPr/>
            <p:nvPr/>
          </p:nvSpPr>
          <p:spPr>
            <a:xfrm rot="8716295">
              <a:off x="2150708" y="19181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orme libre : forme 62">
              <a:extLst>
                <a:ext uri="{FF2B5EF4-FFF2-40B4-BE49-F238E27FC236}">
                  <a16:creationId xmlns:a16="http://schemas.microsoft.com/office/drawing/2014/main" id="{68D158FE-3FEF-4222-A8A6-28BC2EB41760}"/>
                </a:ext>
              </a:extLst>
            </p:cNvPr>
            <p:cNvSpPr/>
            <p:nvPr/>
          </p:nvSpPr>
          <p:spPr>
            <a:xfrm rot="8716295">
              <a:off x="2138656" y="53037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orme libre : forme 63">
              <a:extLst>
                <a:ext uri="{FF2B5EF4-FFF2-40B4-BE49-F238E27FC236}">
                  <a16:creationId xmlns:a16="http://schemas.microsoft.com/office/drawing/2014/main" id="{DC9E9862-78FC-4213-B2E2-61DF3173636D}"/>
                </a:ext>
              </a:extLst>
            </p:cNvPr>
            <p:cNvSpPr/>
            <p:nvPr/>
          </p:nvSpPr>
          <p:spPr>
            <a:xfrm rot="8716295">
              <a:off x="2365789" y="441442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orme libre : forme 64">
              <a:extLst>
                <a:ext uri="{FF2B5EF4-FFF2-40B4-BE49-F238E27FC236}">
                  <a16:creationId xmlns:a16="http://schemas.microsoft.com/office/drawing/2014/main" id="{8722DBD7-5E81-4E3D-870A-6CD5E129D96B}"/>
                </a:ext>
              </a:extLst>
            </p:cNvPr>
            <p:cNvSpPr/>
            <p:nvPr/>
          </p:nvSpPr>
          <p:spPr>
            <a:xfrm rot="8716295">
              <a:off x="2676944" y="6179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orme libre : forme 65">
              <a:extLst>
                <a:ext uri="{FF2B5EF4-FFF2-40B4-BE49-F238E27FC236}">
                  <a16:creationId xmlns:a16="http://schemas.microsoft.com/office/drawing/2014/main" id="{43ED8C5C-290C-4E36-A603-A668764D918E}"/>
                </a:ext>
              </a:extLst>
            </p:cNvPr>
            <p:cNvSpPr/>
            <p:nvPr/>
          </p:nvSpPr>
          <p:spPr>
            <a:xfrm rot="8716295">
              <a:off x="2766336" y="9103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orme libre : forme 66">
              <a:extLst>
                <a:ext uri="{FF2B5EF4-FFF2-40B4-BE49-F238E27FC236}">
                  <a16:creationId xmlns:a16="http://schemas.microsoft.com/office/drawing/2014/main" id="{143AD9CC-AEFC-4AE6-ADAB-C03B27727981}"/>
                </a:ext>
              </a:extLst>
            </p:cNvPr>
            <p:cNvSpPr/>
            <p:nvPr/>
          </p:nvSpPr>
          <p:spPr>
            <a:xfrm rot="8716295">
              <a:off x="2564710" y="15033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03CE5A8E-699E-421E-ABA5-42929237719B}"/>
                </a:ext>
              </a:extLst>
            </p:cNvPr>
            <p:cNvSpPr/>
            <p:nvPr/>
          </p:nvSpPr>
          <p:spPr>
            <a:xfrm rot="8716295">
              <a:off x="2448552" y="-16031"/>
              <a:ext cx="203847" cy="149340"/>
            </a:xfrm>
            <a:custGeom>
              <a:avLst/>
              <a:gdLst>
                <a:gd name="connsiteX0" fmla="*/ 106716 w 203847"/>
                <a:gd name="connsiteY0" fmla="*/ 149340 h 149340"/>
                <a:gd name="connsiteX1" fmla="*/ 50038 w 203847"/>
                <a:gd name="connsiteY1" fmla="*/ 110053 h 149340"/>
                <a:gd name="connsiteX2" fmla="*/ 69777 w 203847"/>
                <a:gd name="connsiteY2" fmla="*/ 55323 h 149340"/>
                <a:gd name="connsiteX3" fmla="*/ 0 w 203847"/>
                <a:gd name="connsiteY3" fmla="*/ 55323 h 149340"/>
                <a:gd name="connsiteX4" fmla="*/ 0 w 203847"/>
                <a:gd name="connsiteY4" fmla="*/ 0 h 149340"/>
                <a:gd name="connsiteX5" fmla="*/ 203847 w 203847"/>
                <a:gd name="connsiteY5" fmla="*/ 0 h 149340"/>
                <a:gd name="connsiteX6" fmla="*/ 203847 w 203847"/>
                <a:gd name="connsiteY6" fmla="*/ 55323 h 149340"/>
                <a:gd name="connsiteX7" fmla="*/ 139055 w 203847"/>
                <a:gd name="connsiteY7" fmla="*/ 55323 h 14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49340">
                  <a:moveTo>
                    <a:pt x="106716" y="149340"/>
                  </a:moveTo>
                  <a:lnTo>
                    <a:pt x="50038" y="110053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orme libre : forme 68">
              <a:extLst>
                <a:ext uri="{FF2B5EF4-FFF2-40B4-BE49-F238E27FC236}">
                  <a16:creationId xmlns:a16="http://schemas.microsoft.com/office/drawing/2014/main" id="{4F51AFD5-9DB6-4DCA-8489-09E9C4297801}"/>
                </a:ext>
              </a:extLst>
            </p:cNvPr>
            <p:cNvSpPr/>
            <p:nvPr/>
          </p:nvSpPr>
          <p:spPr>
            <a:xfrm rot="8716295">
              <a:off x="2654888" y="191290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orme libre : forme 69">
              <a:extLst>
                <a:ext uri="{FF2B5EF4-FFF2-40B4-BE49-F238E27FC236}">
                  <a16:creationId xmlns:a16="http://schemas.microsoft.com/office/drawing/2014/main" id="{A2ECF224-799C-4DC5-AB51-FEB15AA2B828}"/>
                </a:ext>
              </a:extLst>
            </p:cNvPr>
            <p:cNvSpPr/>
            <p:nvPr/>
          </p:nvSpPr>
          <p:spPr>
            <a:xfrm rot="8716295">
              <a:off x="2413437" y="41690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orme libre : forme 70">
              <a:extLst>
                <a:ext uri="{FF2B5EF4-FFF2-40B4-BE49-F238E27FC236}">
                  <a16:creationId xmlns:a16="http://schemas.microsoft.com/office/drawing/2014/main" id="{1302BF26-B64E-4C90-894D-A7C67007EE36}"/>
                </a:ext>
              </a:extLst>
            </p:cNvPr>
            <p:cNvSpPr/>
            <p:nvPr/>
          </p:nvSpPr>
          <p:spPr>
            <a:xfrm rot="7484129">
              <a:off x="2759819" y="38264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orme libre : forme 71">
              <a:extLst>
                <a:ext uri="{FF2B5EF4-FFF2-40B4-BE49-F238E27FC236}">
                  <a16:creationId xmlns:a16="http://schemas.microsoft.com/office/drawing/2014/main" id="{170CE256-57E7-488F-BBB2-5B7F98B8FB76}"/>
                </a:ext>
              </a:extLst>
            </p:cNvPr>
            <p:cNvSpPr/>
            <p:nvPr/>
          </p:nvSpPr>
          <p:spPr>
            <a:xfrm rot="13089394">
              <a:off x="2864639" y="349175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orme libre : forme 72">
              <a:extLst>
                <a:ext uri="{FF2B5EF4-FFF2-40B4-BE49-F238E27FC236}">
                  <a16:creationId xmlns:a16="http://schemas.microsoft.com/office/drawing/2014/main" id="{5E848AEE-AD50-4EC7-B6E2-006804A78B57}"/>
                </a:ext>
              </a:extLst>
            </p:cNvPr>
            <p:cNvSpPr/>
            <p:nvPr/>
          </p:nvSpPr>
          <p:spPr>
            <a:xfrm rot="8716295">
              <a:off x="3050224" y="157494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" name="Forme libre : forme 73">
              <a:extLst>
                <a:ext uri="{FF2B5EF4-FFF2-40B4-BE49-F238E27FC236}">
                  <a16:creationId xmlns:a16="http://schemas.microsoft.com/office/drawing/2014/main" id="{BEE1CAE8-6503-4A10-B1BA-C6183C9E0E74}"/>
                </a:ext>
              </a:extLst>
            </p:cNvPr>
            <p:cNvSpPr/>
            <p:nvPr/>
          </p:nvSpPr>
          <p:spPr>
            <a:xfrm rot="8716295">
              <a:off x="2998419" y="5390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" name="Forme libre : forme 74">
              <a:extLst>
                <a:ext uri="{FF2B5EF4-FFF2-40B4-BE49-F238E27FC236}">
                  <a16:creationId xmlns:a16="http://schemas.microsoft.com/office/drawing/2014/main" id="{34A8E996-3975-4581-B536-E2CE9D88EBFE}"/>
                </a:ext>
              </a:extLst>
            </p:cNvPr>
            <p:cNvSpPr/>
            <p:nvPr/>
          </p:nvSpPr>
          <p:spPr>
            <a:xfrm rot="8716295">
              <a:off x="2755173" y="8412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" name="Forme libre : forme 75">
              <a:extLst>
                <a:ext uri="{FF2B5EF4-FFF2-40B4-BE49-F238E27FC236}">
                  <a16:creationId xmlns:a16="http://schemas.microsoft.com/office/drawing/2014/main" id="{3BE41751-0FE9-4A5C-97A5-9AF2319641D6}"/>
                </a:ext>
              </a:extLst>
            </p:cNvPr>
            <p:cNvSpPr/>
            <p:nvPr/>
          </p:nvSpPr>
          <p:spPr>
            <a:xfrm rot="8716295">
              <a:off x="2940014" y="-28690"/>
              <a:ext cx="88664" cy="70660"/>
            </a:xfrm>
            <a:custGeom>
              <a:avLst/>
              <a:gdLst>
                <a:gd name="connsiteX0" fmla="*/ 83649 w 88664"/>
                <a:gd name="connsiteY0" fmla="*/ 70660 h 70660"/>
                <a:gd name="connsiteX1" fmla="*/ 0 w 88664"/>
                <a:gd name="connsiteY1" fmla="*/ 12677 h 70660"/>
                <a:gd name="connsiteX2" fmla="*/ 30024 w 88664"/>
                <a:gd name="connsiteY2" fmla="*/ 0 h 70660"/>
                <a:gd name="connsiteX3" fmla="*/ 71417 w 88664"/>
                <a:gd name="connsiteY3" fmla="*/ 17477 h 70660"/>
                <a:gd name="connsiteX4" fmla="*/ 88664 w 88664"/>
                <a:gd name="connsiteY4" fmla="*/ 58525 h 70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664" h="70660">
                  <a:moveTo>
                    <a:pt x="83649" y="70660"/>
                  </a:moveTo>
                  <a:lnTo>
                    <a:pt x="0" y="12677"/>
                  </a:lnTo>
                  <a:lnTo>
                    <a:pt x="30024" y="0"/>
                  </a:lnTo>
                  <a:cubicBezTo>
                    <a:pt x="45662" y="0"/>
                    <a:pt x="60379" y="6439"/>
                    <a:pt x="71417" y="17477"/>
                  </a:cubicBezTo>
                  <a:cubicBezTo>
                    <a:pt x="82915" y="28515"/>
                    <a:pt x="88664" y="43462"/>
                    <a:pt x="88664" y="58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" name="Forme libre : forme 76">
              <a:extLst>
                <a:ext uri="{FF2B5EF4-FFF2-40B4-BE49-F238E27FC236}">
                  <a16:creationId xmlns:a16="http://schemas.microsoft.com/office/drawing/2014/main" id="{7C593DEA-1D52-4373-8D6B-6BD1BBF8835C}"/>
                </a:ext>
              </a:extLst>
            </p:cNvPr>
            <p:cNvSpPr/>
            <p:nvPr/>
          </p:nvSpPr>
          <p:spPr>
            <a:xfrm rot="13089394">
              <a:off x="2740820" y="-30870"/>
              <a:ext cx="73521" cy="76374"/>
            </a:xfrm>
            <a:custGeom>
              <a:avLst/>
              <a:gdLst>
                <a:gd name="connsiteX0" fmla="*/ 73521 w 73521"/>
                <a:gd name="connsiteY0" fmla="*/ 18609 h 76374"/>
                <a:gd name="connsiteX1" fmla="*/ 0 w 73521"/>
                <a:gd name="connsiteY1" fmla="*/ 76374 h 76374"/>
                <a:gd name="connsiteX2" fmla="*/ 0 w 73521"/>
                <a:gd name="connsiteY2" fmla="*/ 38074 h 76374"/>
                <a:gd name="connsiteX3" fmla="*/ 73388 w 73521"/>
                <a:gd name="connsiteY3" fmla="*/ 0 h 7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521" h="76374">
                  <a:moveTo>
                    <a:pt x="73521" y="18609"/>
                  </a:moveTo>
                  <a:lnTo>
                    <a:pt x="0" y="76374"/>
                  </a:lnTo>
                  <a:lnTo>
                    <a:pt x="0" y="38074"/>
                  </a:lnTo>
                  <a:lnTo>
                    <a:pt x="7338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" name="Forme libre : forme 77">
              <a:extLst>
                <a:ext uri="{FF2B5EF4-FFF2-40B4-BE49-F238E27FC236}">
                  <a16:creationId xmlns:a16="http://schemas.microsoft.com/office/drawing/2014/main" id="{31F42A73-BF6E-4A9E-A2F6-7111DF0FD878}"/>
                </a:ext>
              </a:extLst>
            </p:cNvPr>
            <p:cNvSpPr/>
            <p:nvPr/>
          </p:nvSpPr>
          <p:spPr>
            <a:xfrm rot="8716295">
              <a:off x="2166753" y="273158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orme libre : forme 78">
              <a:extLst>
                <a:ext uri="{FF2B5EF4-FFF2-40B4-BE49-F238E27FC236}">
                  <a16:creationId xmlns:a16="http://schemas.microsoft.com/office/drawing/2014/main" id="{863BEFD8-472A-4A82-B952-ACFEE2251E69}"/>
                </a:ext>
              </a:extLst>
            </p:cNvPr>
            <p:cNvSpPr/>
            <p:nvPr/>
          </p:nvSpPr>
          <p:spPr>
            <a:xfrm rot="8716295">
              <a:off x="2256145" y="276082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Forme libre : forme 79">
              <a:extLst>
                <a:ext uri="{FF2B5EF4-FFF2-40B4-BE49-F238E27FC236}">
                  <a16:creationId xmlns:a16="http://schemas.microsoft.com/office/drawing/2014/main" id="{9D41F395-157D-4566-AD0B-619CCA4FE6BE}"/>
                </a:ext>
              </a:extLst>
            </p:cNvPr>
            <p:cNvSpPr/>
            <p:nvPr/>
          </p:nvSpPr>
          <p:spPr>
            <a:xfrm rot="8716295">
              <a:off x="2211295" y="2674548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" name="Forme libre : forme 80">
              <a:extLst>
                <a:ext uri="{FF2B5EF4-FFF2-40B4-BE49-F238E27FC236}">
                  <a16:creationId xmlns:a16="http://schemas.microsoft.com/office/drawing/2014/main" id="{BF76F399-DC6B-4DE2-9E3A-1FFB94BB6465}"/>
                </a:ext>
              </a:extLst>
            </p:cNvPr>
            <p:cNvSpPr/>
            <p:nvPr/>
          </p:nvSpPr>
          <p:spPr>
            <a:xfrm rot="8716295">
              <a:off x="2054519" y="28201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orme libre : forme 81">
              <a:extLst>
                <a:ext uri="{FF2B5EF4-FFF2-40B4-BE49-F238E27FC236}">
                  <a16:creationId xmlns:a16="http://schemas.microsoft.com/office/drawing/2014/main" id="{3065D63F-B336-46ED-922F-641AF1B7B83C}"/>
                </a:ext>
              </a:extLst>
            </p:cNvPr>
            <p:cNvSpPr/>
            <p:nvPr/>
          </p:nvSpPr>
          <p:spPr>
            <a:xfrm rot="8716295">
              <a:off x="1929616" y="261145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Forme libre : forme 82">
              <a:extLst>
                <a:ext uri="{FF2B5EF4-FFF2-40B4-BE49-F238E27FC236}">
                  <a16:creationId xmlns:a16="http://schemas.microsoft.com/office/drawing/2014/main" id="{68BC6F5F-0186-40DD-8404-566D70BB9E99}"/>
                </a:ext>
              </a:extLst>
            </p:cNvPr>
            <p:cNvSpPr/>
            <p:nvPr/>
          </p:nvSpPr>
          <p:spPr>
            <a:xfrm rot="8716295">
              <a:off x="1917564" y="2472677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4" name="Forme libre : forme 83">
              <a:extLst>
                <a:ext uri="{FF2B5EF4-FFF2-40B4-BE49-F238E27FC236}">
                  <a16:creationId xmlns:a16="http://schemas.microsoft.com/office/drawing/2014/main" id="{E12469CC-5FF5-4C57-A661-5C5E14481CD9}"/>
                </a:ext>
              </a:extLst>
            </p:cNvPr>
            <p:cNvSpPr/>
            <p:nvPr/>
          </p:nvSpPr>
          <p:spPr>
            <a:xfrm rot="8716295">
              <a:off x="2144697" y="2861082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5" name="Forme libre : forme 84">
              <a:extLst>
                <a:ext uri="{FF2B5EF4-FFF2-40B4-BE49-F238E27FC236}">
                  <a16:creationId xmlns:a16="http://schemas.microsoft.com/office/drawing/2014/main" id="{30210F38-CF8D-4D63-B79E-43CAC77B4950}"/>
                </a:ext>
              </a:extLst>
            </p:cNvPr>
            <p:cNvSpPr/>
            <p:nvPr/>
          </p:nvSpPr>
          <p:spPr>
            <a:xfrm rot="8716295">
              <a:off x="2455852" y="248143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6" name="Forme libre : forme 85">
              <a:extLst>
                <a:ext uri="{FF2B5EF4-FFF2-40B4-BE49-F238E27FC236}">
                  <a16:creationId xmlns:a16="http://schemas.microsoft.com/office/drawing/2014/main" id="{695A233A-6503-484C-8F4F-186E71E5B99E}"/>
                </a:ext>
              </a:extLst>
            </p:cNvPr>
            <p:cNvSpPr/>
            <p:nvPr/>
          </p:nvSpPr>
          <p:spPr>
            <a:xfrm rot="8716295">
              <a:off x="2545244" y="251067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7" name="Forme libre : forme 86">
              <a:extLst>
                <a:ext uri="{FF2B5EF4-FFF2-40B4-BE49-F238E27FC236}">
                  <a16:creationId xmlns:a16="http://schemas.microsoft.com/office/drawing/2014/main" id="{C4016FC8-3862-4EDD-AD90-D27F3C486D6C}"/>
                </a:ext>
              </a:extLst>
            </p:cNvPr>
            <p:cNvSpPr/>
            <p:nvPr/>
          </p:nvSpPr>
          <p:spPr>
            <a:xfrm rot="8716295">
              <a:off x="2343618" y="256997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8" name="Forme libre : forme 87">
              <a:extLst>
                <a:ext uri="{FF2B5EF4-FFF2-40B4-BE49-F238E27FC236}">
                  <a16:creationId xmlns:a16="http://schemas.microsoft.com/office/drawing/2014/main" id="{841AD7D6-9A1D-47F3-B8D0-0F3912F8A2E1}"/>
                </a:ext>
              </a:extLst>
            </p:cNvPr>
            <p:cNvSpPr/>
            <p:nvPr/>
          </p:nvSpPr>
          <p:spPr>
            <a:xfrm rot="8716295">
              <a:off x="2218716" y="236130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9" name="Forme libre : forme 88">
              <a:extLst>
                <a:ext uri="{FF2B5EF4-FFF2-40B4-BE49-F238E27FC236}">
                  <a16:creationId xmlns:a16="http://schemas.microsoft.com/office/drawing/2014/main" id="{70BCC5A3-9952-4F01-975F-6F986E6B55DD}"/>
                </a:ext>
              </a:extLst>
            </p:cNvPr>
            <p:cNvSpPr/>
            <p:nvPr/>
          </p:nvSpPr>
          <p:spPr>
            <a:xfrm rot="8716295">
              <a:off x="2433796" y="2610930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" name="Forme libre : forme 89">
              <a:extLst>
                <a:ext uri="{FF2B5EF4-FFF2-40B4-BE49-F238E27FC236}">
                  <a16:creationId xmlns:a16="http://schemas.microsoft.com/office/drawing/2014/main" id="{48292A7A-33E9-4FF2-9525-C481018D3541}"/>
                </a:ext>
              </a:extLst>
            </p:cNvPr>
            <p:cNvSpPr/>
            <p:nvPr/>
          </p:nvSpPr>
          <p:spPr>
            <a:xfrm rot="8716295">
              <a:off x="2192345" y="2461330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" name="Forme libre : forme 90">
              <a:extLst>
                <a:ext uri="{FF2B5EF4-FFF2-40B4-BE49-F238E27FC236}">
                  <a16:creationId xmlns:a16="http://schemas.microsoft.com/office/drawing/2014/main" id="{3C5BF462-E2E4-4E2E-A187-F82081942730}"/>
                </a:ext>
              </a:extLst>
            </p:cNvPr>
            <p:cNvSpPr/>
            <p:nvPr/>
          </p:nvSpPr>
          <p:spPr>
            <a:xfrm rot="7484129">
              <a:off x="2538727" y="280228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" name="Forme libre : forme 91">
              <a:extLst>
                <a:ext uri="{FF2B5EF4-FFF2-40B4-BE49-F238E27FC236}">
                  <a16:creationId xmlns:a16="http://schemas.microsoft.com/office/drawing/2014/main" id="{53F93EE7-2FCB-4993-A211-9ABCA8AB16A1}"/>
                </a:ext>
              </a:extLst>
            </p:cNvPr>
            <p:cNvSpPr/>
            <p:nvPr/>
          </p:nvSpPr>
          <p:spPr>
            <a:xfrm rot="13089394">
              <a:off x="2643547" y="2768815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" name="Forme libre : forme 92">
              <a:extLst>
                <a:ext uri="{FF2B5EF4-FFF2-40B4-BE49-F238E27FC236}">
                  <a16:creationId xmlns:a16="http://schemas.microsoft.com/office/drawing/2014/main" id="{ACCCC6BB-9AC5-40F1-8FDF-2D7AAA4F97CC}"/>
                </a:ext>
              </a:extLst>
            </p:cNvPr>
            <p:cNvSpPr/>
            <p:nvPr/>
          </p:nvSpPr>
          <p:spPr>
            <a:xfrm rot="8716295">
              <a:off x="2829132" y="2577134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" name="Forme libre : forme 93">
              <a:extLst>
                <a:ext uri="{FF2B5EF4-FFF2-40B4-BE49-F238E27FC236}">
                  <a16:creationId xmlns:a16="http://schemas.microsoft.com/office/drawing/2014/main" id="{C83E96A9-D46F-4FBD-BA31-A3DDCAF05013}"/>
                </a:ext>
              </a:extLst>
            </p:cNvPr>
            <p:cNvSpPr/>
            <p:nvPr/>
          </p:nvSpPr>
          <p:spPr>
            <a:xfrm rot="8716295">
              <a:off x="2777327" y="247354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orme libre : forme 94">
              <a:extLst>
                <a:ext uri="{FF2B5EF4-FFF2-40B4-BE49-F238E27FC236}">
                  <a16:creationId xmlns:a16="http://schemas.microsoft.com/office/drawing/2014/main" id="{819524D5-42FD-49C2-A52C-138204093572}"/>
                </a:ext>
              </a:extLst>
            </p:cNvPr>
            <p:cNvSpPr/>
            <p:nvPr/>
          </p:nvSpPr>
          <p:spPr>
            <a:xfrm rot="8716295">
              <a:off x="2534081" y="250376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Forme libre : forme 95">
              <a:extLst>
                <a:ext uri="{FF2B5EF4-FFF2-40B4-BE49-F238E27FC236}">
                  <a16:creationId xmlns:a16="http://schemas.microsoft.com/office/drawing/2014/main" id="{D4292037-242B-4F99-8EE6-4056BF8CE17A}"/>
                </a:ext>
              </a:extLst>
            </p:cNvPr>
            <p:cNvSpPr/>
            <p:nvPr/>
          </p:nvSpPr>
          <p:spPr>
            <a:xfrm rot="8716295">
              <a:off x="2711533" y="234452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" name="Forme libre : forme 96">
              <a:extLst>
                <a:ext uri="{FF2B5EF4-FFF2-40B4-BE49-F238E27FC236}">
                  <a16:creationId xmlns:a16="http://schemas.microsoft.com/office/drawing/2014/main" id="{B300D5E8-99AD-4100-BBB0-F9335C60ABF1}"/>
                </a:ext>
              </a:extLst>
            </p:cNvPr>
            <p:cNvSpPr/>
            <p:nvPr/>
          </p:nvSpPr>
          <p:spPr>
            <a:xfrm rot="8716295">
              <a:off x="2389920" y="339128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" name="Forme libre : forme 97">
              <a:extLst>
                <a:ext uri="{FF2B5EF4-FFF2-40B4-BE49-F238E27FC236}">
                  <a16:creationId xmlns:a16="http://schemas.microsoft.com/office/drawing/2014/main" id="{050E0B4C-4868-4ECB-B52A-F4534FB3428C}"/>
                </a:ext>
              </a:extLst>
            </p:cNvPr>
            <p:cNvSpPr/>
            <p:nvPr/>
          </p:nvSpPr>
          <p:spPr>
            <a:xfrm rot="8716295">
              <a:off x="2479312" y="342052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" name="Forme libre : forme 98">
              <a:extLst>
                <a:ext uri="{FF2B5EF4-FFF2-40B4-BE49-F238E27FC236}">
                  <a16:creationId xmlns:a16="http://schemas.microsoft.com/office/drawing/2014/main" id="{2B753CAD-2E05-40BF-8117-865D3F8A49DD}"/>
                </a:ext>
              </a:extLst>
            </p:cNvPr>
            <p:cNvSpPr/>
            <p:nvPr/>
          </p:nvSpPr>
          <p:spPr>
            <a:xfrm rot="8716295">
              <a:off x="2434462" y="333424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orme libre : forme 99">
              <a:extLst>
                <a:ext uri="{FF2B5EF4-FFF2-40B4-BE49-F238E27FC236}">
                  <a16:creationId xmlns:a16="http://schemas.microsoft.com/office/drawing/2014/main" id="{5C8FF835-B7A5-4E03-BDCA-7B70EA22A6CB}"/>
                </a:ext>
              </a:extLst>
            </p:cNvPr>
            <p:cNvSpPr/>
            <p:nvPr/>
          </p:nvSpPr>
          <p:spPr>
            <a:xfrm rot="8716295">
              <a:off x="2277686" y="347982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Forme libre : forme 100">
              <a:extLst>
                <a:ext uri="{FF2B5EF4-FFF2-40B4-BE49-F238E27FC236}">
                  <a16:creationId xmlns:a16="http://schemas.microsoft.com/office/drawing/2014/main" id="{E640627F-DD46-4D4D-BFB7-C32CE4CD2C6E}"/>
                </a:ext>
              </a:extLst>
            </p:cNvPr>
            <p:cNvSpPr/>
            <p:nvPr/>
          </p:nvSpPr>
          <p:spPr>
            <a:xfrm rot="8716295">
              <a:off x="2152783" y="327115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" name="Forme libre : forme 101">
              <a:extLst>
                <a:ext uri="{FF2B5EF4-FFF2-40B4-BE49-F238E27FC236}">
                  <a16:creationId xmlns:a16="http://schemas.microsoft.com/office/drawing/2014/main" id="{D6CFC66E-117A-4E7B-A1B3-B61883DBC87C}"/>
                </a:ext>
              </a:extLst>
            </p:cNvPr>
            <p:cNvSpPr/>
            <p:nvPr/>
          </p:nvSpPr>
          <p:spPr>
            <a:xfrm rot="8716295">
              <a:off x="2140731" y="313237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" name="Forme libre : forme 102">
              <a:extLst>
                <a:ext uri="{FF2B5EF4-FFF2-40B4-BE49-F238E27FC236}">
                  <a16:creationId xmlns:a16="http://schemas.microsoft.com/office/drawing/2014/main" id="{44370D0A-70C8-47DE-B919-BD8689E5F0BD}"/>
                </a:ext>
              </a:extLst>
            </p:cNvPr>
            <p:cNvSpPr/>
            <p:nvPr/>
          </p:nvSpPr>
          <p:spPr>
            <a:xfrm rot="8716295">
              <a:off x="2367864" y="352078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" name="Forme libre : forme 103">
              <a:extLst>
                <a:ext uri="{FF2B5EF4-FFF2-40B4-BE49-F238E27FC236}">
                  <a16:creationId xmlns:a16="http://schemas.microsoft.com/office/drawing/2014/main" id="{6021BDC8-861D-486E-B439-FE7F06960030}"/>
                </a:ext>
              </a:extLst>
            </p:cNvPr>
            <p:cNvSpPr/>
            <p:nvPr/>
          </p:nvSpPr>
          <p:spPr>
            <a:xfrm rot="8716295">
              <a:off x="2679019" y="314113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" name="Forme libre : forme 104">
              <a:extLst>
                <a:ext uri="{FF2B5EF4-FFF2-40B4-BE49-F238E27FC236}">
                  <a16:creationId xmlns:a16="http://schemas.microsoft.com/office/drawing/2014/main" id="{0F608F19-E3BE-4D17-880D-C88146244ED4}"/>
                </a:ext>
              </a:extLst>
            </p:cNvPr>
            <p:cNvSpPr/>
            <p:nvPr/>
          </p:nvSpPr>
          <p:spPr>
            <a:xfrm rot="8716295">
              <a:off x="2768411" y="317037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" name="Forme libre : forme 105">
              <a:extLst>
                <a:ext uri="{FF2B5EF4-FFF2-40B4-BE49-F238E27FC236}">
                  <a16:creationId xmlns:a16="http://schemas.microsoft.com/office/drawing/2014/main" id="{64944F3B-C664-4365-A1CE-C418E167A34E}"/>
                </a:ext>
              </a:extLst>
            </p:cNvPr>
            <p:cNvSpPr/>
            <p:nvPr/>
          </p:nvSpPr>
          <p:spPr>
            <a:xfrm rot="8716295">
              <a:off x="2566785" y="322967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" name="Forme libre : forme 106">
              <a:extLst>
                <a:ext uri="{FF2B5EF4-FFF2-40B4-BE49-F238E27FC236}">
                  <a16:creationId xmlns:a16="http://schemas.microsoft.com/office/drawing/2014/main" id="{58328446-A7EA-46E8-B0B2-5078B627604C}"/>
                </a:ext>
              </a:extLst>
            </p:cNvPr>
            <p:cNvSpPr/>
            <p:nvPr/>
          </p:nvSpPr>
          <p:spPr>
            <a:xfrm rot="8716295">
              <a:off x="2441883" y="302100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" name="Forme libre : forme 107">
              <a:extLst>
                <a:ext uri="{FF2B5EF4-FFF2-40B4-BE49-F238E27FC236}">
                  <a16:creationId xmlns:a16="http://schemas.microsoft.com/office/drawing/2014/main" id="{358F3EE5-D858-432A-A907-9710D31351C8}"/>
                </a:ext>
              </a:extLst>
            </p:cNvPr>
            <p:cNvSpPr/>
            <p:nvPr/>
          </p:nvSpPr>
          <p:spPr>
            <a:xfrm rot="8716295">
              <a:off x="2656963" y="327062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" name="Forme libre : forme 108">
              <a:extLst>
                <a:ext uri="{FF2B5EF4-FFF2-40B4-BE49-F238E27FC236}">
                  <a16:creationId xmlns:a16="http://schemas.microsoft.com/office/drawing/2014/main" id="{B0966A7E-6D89-444C-8034-A9352897C897}"/>
                </a:ext>
              </a:extLst>
            </p:cNvPr>
            <p:cNvSpPr/>
            <p:nvPr/>
          </p:nvSpPr>
          <p:spPr>
            <a:xfrm rot="8716295">
              <a:off x="2415512" y="312102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" name="Forme libre : forme 109">
              <a:extLst>
                <a:ext uri="{FF2B5EF4-FFF2-40B4-BE49-F238E27FC236}">
                  <a16:creationId xmlns:a16="http://schemas.microsoft.com/office/drawing/2014/main" id="{37222F27-8DF7-4207-88C1-2429DD93BED2}"/>
                </a:ext>
              </a:extLst>
            </p:cNvPr>
            <p:cNvSpPr/>
            <p:nvPr/>
          </p:nvSpPr>
          <p:spPr>
            <a:xfrm rot="7484129">
              <a:off x="2761894" y="346198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" name="Forme libre : forme 110">
              <a:extLst>
                <a:ext uri="{FF2B5EF4-FFF2-40B4-BE49-F238E27FC236}">
                  <a16:creationId xmlns:a16="http://schemas.microsoft.com/office/drawing/2014/main" id="{993939CC-3AE4-419F-A9EE-0969EF61AE9B}"/>
                </a:ext>
              </a:extLst>
            </p:cNvPr>
            <p:cNvSpPr/>
            <p:nvPr/>
          </p:nvSpPr>
          <p:spPr>
            <a:xfrm rot="13089394">
              <a:off x="2866714" y="342851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" name="Forme libre : forme 111">
              <a:extLst>
                <a:ext uri="{FF2B5EF4-FFF2-40B4-BE49-F238E27FC236}">
                  <a16:creationId xmlns:a16="http://schemas.microsoft.com/office/drawing/2014/main" id="{A6A63E2F-4261-4DBF-8276-418D86D19210}"/>
                </a:ext>
              </a:extLst>
            </p:cNvPr>
            <p:cNvSpPr/>
            <p:nvPr/>
          </p:nvSpPr>
          <p:spPr>
            <a:xfrm rot="8716295">
              <a:off x="3052299" y="323683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" name="Forme libre : forme 112">
              <a:extLst>
                <a:ext uri="{FF2B5EF4-FFF2-40B4-BE49-F238E27FC236}">
                  <a16:creationId xmlns:a16="http://schemas.microsoft.com/office/drawing/2014/main" id="{1F2896C9-A0C7-4B2C-B1EE-DCCCD9009233}"/>
                </a:ext>
              </a:extLst>
            </p:cNvPr>
            <p:cNvSpPr/>
            <p:nvPr/>
          </p:nvSpPr>
          <p:spPr>
            <a:xfrm rot="8716295">
              <a:off x="3000494" y="313324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" name="Forme libre : forme 113">
              <a:extLst>
                <a:ext uri="{FF2B5EF4-FFF2-40B4-BE49-F238E27FC236}">
                  <a16:creationId xmlns:a16="http://schemas.microsoft.com/office/drawing/2014/main" id="{BFC2A5AA-74CC-447F-BCB7-82C53A9C1EBE}"/>
                </a:ext>
              </a:extLst>
            </p:cNvPr>
            <p:cNvSpPr/>
            <p:nvPr/>
          </p:nvSpPr>
          <p:spPr>
            <a:xfrm rot="8716295">
              <a:off x="2757248" y="316346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" name="Forme libre : forme 114">
              <a:extLst>
                <a:ext uri="{FF2B5EF4-FFF2-40B4-BE49-F238E27FC236}">
                  <a16:creationId xmlns:a16="http://schemas.microsoft.com/office/drawing/2014/main" id="{7736B671-8666-4922-9305-32A24DFDD7BC}"/>
                </a:ext>
              </a:extLst>
            </p:cNvPr>
            <p:cNvSpPr/>
            <p:nvPr/>
          </p:nvSpPr>
          <p:spPr>
            <a:xfrm rot="8716295">
              <a:off x="2934700" y="300421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" name="Forme libre : forme 115">
              <a:extLst>
                <a:ext uri="{FF2B5EF4-FFF2-40B4-BE49-F238E27FC236}">
                  <a16:creationId xmlns:a16="http://schemas.microsoft.com/office/drawing/2014/main" id="{4CF00AFF-9FDA-4C59-A1DE-7CCCB194DEA5}"/>
                </a:ext>
              </a:extLst>
            </p:cNvPr>
            <p:cNvSpPr/>
            <p:nvPr/>
          </p:nvSpPr>
          <p:spPr>
            <a:xfrm rot="8716295">
              <a:off x="2865744" y="5089178"/>
              <a:ext cx="140009" cy="103412"/>
            </a:xfrm>
            <a:custGeom>
              <a:avLst/>
              <a:gdLst>
                <a:gd name="connsiteX0" fmla="*/ 23004 w 140009"/>
                <a:gd name="connsiteY0" fmla="*/ 73821 h 103412"/>
                <a:gd name="connsiteX1" fmla="*/ 2853 w 140009"/>
                <a:gd name="connsiteY1" fmla="*/ 34034 h 103412"/>
                <a:gd name="connsiteX2" fmla="*/ 0 w 140009"/>
                <a:gd name="connsiteY2" fmla="*/ 0 h 103412"/>
                <a:gd name="connsiteX3" fmla="*/ 140009 w 140009"/>
                <a:gd name="connsiteY3" fmla="*/ 97050 h 103412"/>
                <a:gd name="connsiteX4" fmla="*/ 137354 w 140009"/>
                <a:gd name="connsiteY4" fmla="*/ 97759 h 103412"/>
                <a:gd name="connsiteX5" fmla="*/ 95370 w 140009"/>
                <a:gd name="connsiteY5" fmla="*/ 103238 h 103412"/>
                <a:gd name="connsiteX6" fmla="*/ 23004 w 140009"/>
                <a:gd name="connsiteY6" fmla="*/ 73821 h 103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0009" h="103412">
                  <a:moveTo>
                    <a:pt x="23004" y="73821"/>
                  </a:moveTo>
                  <a:cubicBezTo>
                    <a:pt x="13002" y="64113"/>
                    <a:pt x="6677" y="50875"/>
                    <a:pt x="2853" y="34034"/>
                  </a:cubicBezTo>
                  <a:lnTo>
                    <a:pt x="0" y="0"/>
                  </a:lnTo>
                  <a:lnTo>
                    <a:pt x="140009" y="97050"/>
                  </a:lnTo>
                  <a:lnTo>
                    <a:pt x="137354" y="97759"/>
                  </a:lnTo>
                  <a:cubicBezTo>
                    <a:pt x="121846" y="100775"/>
                    <a:pt x="107579" y="102502"/>
                    <a:pt x="95370" y="103238"/>
                  </a:cubicBezTo>
                  <a:cubicBezTo>
                    <a:pt x="68307" y="105003"/>
                    <a:pt x="41831" y="93236"/>
                    <a:pt x="23004" y="7382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" name="Forme libre : forme 116">
              <a:extLst>
                <a:ext uri="{FF2B5EF4-FFF2-40B4-BE49-F238E27FC236}">
                  <a16:creationId xmlns:a16="http://schemas.microsoft.com/office/drawing/2014/main" id="{7486FE8B-6DC8-400F-8B49-3D0FF59EDA59}"/>
                </a:ext>
              </a:extLst>
            </p:cNvPr>
            <p:cNvSpPr/>
            <p:nvPr/>
          </p:nvSpPr>
          <p:spPr>
            <a:xfrm rot="8716295">
              <a:off x="2608590" y="404968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" name="Forme libre : forme 117">
              <a:extLst>
                <a:ext uri="{FF2B5EF4-FFF2-40B4-BE49-F238E27FC236}">
                  <a16:creationId xmlns:a16="http://schemas.microsoft.com/office/drawing/2014/main" id="{409E4F60-3261-496F-85E7-0CED778B23AA}"/>
                </a:ext>
              </a:extLst>
            </p:cNvPr>
            <p:cNvSpPr/>
            <p:nvPr/>
          </p:nvSpPr>
          <p:spPr>
            <a:xfrm rot="8716295">
              <a:off x="2697982" y="407892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" name="Forme libre : forme 118">
              <a:extLst>
                <a:ext uri="{FF2B5EF4-FFF2-40B4-BE49-F238E27FC236}">
                  <a16:creationId xmlns:a16="http://schemas.microsoft.com/office/drawing/2014/main" id="{B4A7442C-1C02-4AB6-8CC3-22865B34D758}"/>
                </a:ext>
              </a:extLst>
            </p:cNvPr>
            <p:cNvSpPr/>
            <p:nvPr/>
          </p:nvSpPr>
          <p:spPr>
            <a:xfrm rot="8716295">
              <a:off x="2653132" y="399264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" name="Forme libre : forme 119">
              <a:extLst>
                <a:ext uri="{FF2B5EF4-FFF2-40B4-BE49-F238E27FC236}">
                  <a16:creationId xmlns:a16="http://schemas.microsoft.com/office/drawing/2014/main" id="{84547BFC-5C73-4C79-BC1E-65D2DA2F8F0F}"/>
                </a:ext>
              </a:extLst>
            </p:cNvPr>
            <p:cNvSpPr/>
            <p:nvPr/>
          </p:nvSpPr>
          <p:spPr>
            <a:xfrm rot="8716295">
              <a:off x="2496356" y="413822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" name="Forme libre : forme 120">
              <a:extLst>
                <a:ext uri="{FF2B5EF4-FFF2-40B4-BE49-F238E27FC236}">
                  <a16:creationId xmlns:a16="http://schemas.microsoft.com/office/drawing/2014/main" id="{1433A272-01C5-407E-A681-F11EFA1E77DE}"/>
                </a:ext>
              </a:extLst>
            </p:cNvPr>
            <p:cNvSpPr/>
            <p:nvPr/>
          </p:nvSpPr>
          <p:spPr>
            <a:xfrm rot="8716295">
              <a:off x="2371453" y="392955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" name="Forme libre : forme 121">
              <a:extLst>
                <a:ext uri="{FF2B5EF4-FFF2-40B4-BE49-F238E27FC236}">
                  <a16:creationId xmlns:a16="http://schemas.microsoft.com/office/drawing/2014/main" id="{B66B2FCE-B89D-4CFE-947C-F30A5386F13E}"/>
                </a:ext>
              </a:extLst>
            </p:cNvPr>
            <p:cNvSpPr/>
            <p:nvPr/>
          </p:nvSpPr>
          <p:spPr>
            <a:xfrm rot="8716295">
              <a:off x="2359401" y="379077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" name="Forme libre : forme 122">
              <a:extLst>
                <a:ext uri="{FF2B5EF4-FFF2-40B4-BE49-F238E27FC236}">
                  <a16:creationId xmlns:a16="http://schemas.microsoft.com/office/drawing/2014/main" id="{CB1F906C-3F04-489D-B712-86F36DCF301D}"/>
                </a:ext>
              </a:extLst>
            </p:cNvPr>
            <p:cNvSpPr/>
            <p:nvPr/>
          </p:nvSpPr>
          <p:spPr>
            <a:xfrm rot="8716295">
              <a:off x="2586534" y="417917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" name="Forme libre : forme 123">
              <a:extLst>
                <a:ext uri="{FF2B5EF4-FFF2-40B4-BE49-F238E27FC236}">
                  <a16:creationId xmlns:a16="http://schemas.microsoft.com/office/drawing/2014/main" id="{BA0DE2D1-2098-4B24-BF1D-8B4133E050A7}"/>
                </a:ext>
              </a:extLst>
            </p:cNvPr>
            <p:cNvSpPr/>
            <p:nvPr/>
          </p:nvSpPr>
          <p:spPr>
            <a:xfrm rot="8716295">
              <a:off x="2897689" y="379952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" name="Forme libre : forme 124">
              <a:extLst>
                <a:ext uri="{FF2B5EF4-FFF2-40B4-BE49-F238E27FC236}">
                  <a16:creationId xmlns:a16="http://schemas.microsoft.com/office/drawing/2014/main" id="{280C5645-8889-4114-AA92-3C2F280AAAB1}"/>
                </a:ext>
              </a:extLst>
            </p:cNvPr>
            <p:cNvSpPr/>
            <p:nvPr/>
          </p:nvSpPr>
          <p:spPr>
            <a:xfrm rot="8716295">
              <a:off x="2989368" y="3839999"/>
              <a:ext cx="209149" cy="253771"/>
            </a:xfrm>
            <a:custGeom>
              <a:avLst/>
              <a:gdLst>
                <a:gd name="connsiteX0" fmla="*/ 147179 w 209149"/>
                <a:gd name="connsiteY0" fmla="*/ 97023 h 253771"/>
                <a:gd name="connsiteX1" fmla="*/ 147179 w 209149"/>
                <a:gd name="connsiteY1" fmla="*/ 80620 h 253771"/>
                <a:gd name="connsiteX2" fmla="*/ 113460 w 209149"/>
                <a:gd name="connsiteY2" fmla="*/ 39154 h 253771"/>
                <a:gd name="connsiteX3" fmla="*/ 104592 w 209149"/>
                <a:gd name="connsiteY3" fmla="*/ 42082 h 253771"/>
                <a:gd name="connsiteX4" fmla="*/ 139399 w 209149"/>
                <a:gd name="connsiteY4" fmla="*/ 0 h 253771"/>
                <a:gd name="connsiteX5" fmla="*/ 165512 w 209149"/>
                <a:gd name="connsiteY5" fmla="*/ 4538 h 253771"/>
                <a:gd name="connsiteX6" fmla="*/ 209149 w 209149"/>
                <a:gd name="connsiteY6" fmla="*/ 87454 h 253771"/>
                <a:gd name="connsiteX7" fmla="*/ 209149 w 209149"/>
                <a:gd name="connsiteY7" fmla="*/ 93378 h 253771"/>
                <a:gd name="connsiteX8" fmla="*/ 0 w 209149"/>
                <a:gd name="connsiteY8" fmla="*/ 253771 h 253771"/>
                <a:gd name="connsiteX9" fmla="*/ 0 w 209149"/>
                <a:gd name="connsiteY9" fmla="*/ 168537 h 253771"/>
                <a:gd name="connsiteX10" fmla="*/ 65782 w 209149"/>
                <a:gd name="connsiteY10" fmla="*/ 89005 h 253771"/>
                <a:gd name="connsiteX11" fmla="*/ 64377 w 209149"/>
                <a:gd name="connsiteY11" fmla="*/ 92403 h 253771"/>
                <a:gd name="connsiteX12" fmla="*/ 60148 w 209149"/>
                <a:gd name="connsiteY12" fmla="*/ 126641 h 253771"/>
                <a:gd name="connsiteX13" fmla="*/ 60148 w 209149"/>
                <a:gd name="connsiteY13" fmla="*/ 212762 h 253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9149" h="253771">
                  <a:moveTo>
                    <a:pt x="147179" y="97023"/>
                  </a:moveTo>
                  <a:lnTo>
                    <a:pt x="147179" y="80620"/>
                  </a:lnTo>
                  <a:cubicBezTo>
                    <a:pt x="147179" y="56013"/>
                    <a:pt x="133054" y="39154"/>
                    <a:pt x="113460" y="39154"/>
                  </a:cubicBezTo>
                  <a:lnTo>
                    <a:pt x="104592" y="42082"/>
                  </a:lnTo>
                  <a:lnTo>
                    <a:pt x="139399" y="0"/>
                  </a:lnTo>
                  <a:lnTo>
                    <a:pt x="165512" y="4538"/>
                  </a:lnTo>
                  <a:cubicBezTo>
                    <a:pt x="193258" y="16029"/>
                    <a:pt x="209149" y="45077"/>
                    <a:pt x="209149" y="87454"/>
                  </a:cubicBezTo>
                  <a:lnTo>
                    <a:pt x="209149" y="93378"/>
                  </a:lnTo>
                  <a:close/>
                  <a:moveTo>
                    <a:pt x="0" y="253771"/>
                  </a:moveTo>
                  <a:lnTo>
                    <a:pt x="0" y="168537"/>
                  </a:lnTo>
                  <a:lnTo>
                    <a:pt x="65782" y="89005"/>
                  </a:lnTo>
                  <a:lnTo>
                    <a:pt x="64377" y="92403"/>
                  </a:lnTo>
                  <a:cubicBezTo>
                    <a:pt x="61657" y="102890"/>
                    <a:pt x="60148" y="114452"/>
                    <a:pt x="60148" y="126641"/>
                  </a:cubicBezTo>
                  <a:lnTo>
                    <a:pt x="60148" y="2127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" name="Forme libre : forme 125">
              <a:extLst>
                <a:ext uri="{FF2B5EF4-FFF2-40B4-BE49-F238E27FC236}">
                  <a16:creationId xmlns:a16="http://schemas.microsoft.com/office/drawing/2014/main" id="{12C74CA9-7295-4DD3-B257-BC02E33DC169}"/>
                </a:ext>
              </a:extLst>
            </p:cNvPr>
            <p:cNvSpPr/>
            <p:nvPr/>
          </p:nvSpPr>
          <p:spPr>
            <a:xfrm rot="8716295">
              <a:off x="2785455" y="388807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" name="Forme libre : forme 126">
              <a:extLst>
                <a:ext uri="{FF2B5EF4-FFF2-40B4-BE49-F238E27FC236}">
                  <a16:creationId xmlns:a16="http://schemas.microsoft.com/office/drawing/2014/main" id="{5EABE596-751A-434B-B681-D5C7A4015BC8}"/>
                </a:ext>
              </a:extLst>
            </p:cNvPr>
            <p:cNvSpPr/>
            <p:nvPr/>
          </p:nvSpPr>
          <p:spPr>
            <a:xfrm rot="8716295">
              <a:off x="2660553" y="367940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" name="Forme libre : forme 127">
              <a:extLst>
                <a:ext uri="{FF2B5EF4-FFF2-40B4-BE49-F238E27FC236}">
                  <a16:creationId xmlns:a16="http://schemas.microsoft.com/office/drawing/2014/main" id="{34A25BB8-E5A6-43A3-A6BE-6CBEBC3F2CD9}"/>
                </a:ext>
              </a:extLst>
            </p:cNvPr>
            <p:cNvSpPr/>
            <p:nvPr/>
          </p:nvSpPr>
          <p:spPr>
            <a:xfrm rot="8716295">
              <a:off x="2875633" y="392902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" name="Forme libre : forme 128">
              <a:extLst>
                <a:ext uri="{FF2B5EF4-FFF2-40B4-BE49-F238E27FC236}">
                  <a16:creationId xmlns:a16="http://schemas.microsoft.com/office/drawing/2014/main" id="{BC27C288-1E66-4F8B-924C-4EDB2BC25294}"/>
                </a:ext>
              </a:extLst>
            </p:cNvPr>
            <p:cNvSpPr/>
            <p:nvPr/>
          </p:nvSpPr>
          <p:spPr>
            <a:xfrm rot="8716295">
              <a:off x="2634182" y="377942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" name="Forme libre : forme 129">
              <a:extLst>
                <a:ext uri="{FF2B5EF4-FFF2-40B4-BE49-F238E27FC236}">
                  <a16:creationId xmlns:a16="http://schemas.microsoft.com/office/drawing/2014/main" id="{C22A0888-0C9E-4945-82D7-7EE608C46CC7}"/>
                </a:ext>
              </a:extLst>
            </p:cNvPr>
            <p:cNvSpPr/>
            <p:nvPr/>
          </p:nvSpPr>
          <p:spPr>
            <a:xfrm rot="7484129">
              <a:off x="2986722" y="4140706"/>
              <a:ext cx="156000" cy="195873"/>
            </a:xfrm>
            <a:custGeom>
              <a:avLst/>
              <a:gdLst>
                <a:gd name="connsiteX0" fmla="*/ 42863 w 156000"/>
                <a:gd name="connsiteY0" fmla="*/ 195873 h 195873"/>
                <a:gd name="connsiteX1" fmla="*/ 0 w 156000"/>
                <a:gd name="connsiteY1" fmla="*/ 116129 h 195873"/>
                <a:gd name="connsiteX2" fmla="*/ 19423 w 156000"/>
                <a:gd name="connsiteY2" fmla="*/ 62274 h 195873"/>
                <a:gd name="connsiteX3" fmla="*/ 127856 w 156000"/>
                <a:gd name="connsiteY3" fmla="*/ 0 h 195873"/>
                <a:gd name="connsiteX4" fmla="*/ 156000 w 156000"/>
                <a:gd name="connsiteY4" fmla="*/ 0 h 195873"/>
                <a:gd name="connsiteX5" fmla="*/ 156000 w 156000"/>
                <a:gd name="connsiteY5" fmla="*/ 55323 h 195873"/>
                <a:gd name="connsiteX6" fmla="*/ 91208 w 156000"/>
                <a:gd name="connsiteY6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000" h="195873">
                  <a:moveTo>
                    <a:pt x="42863" y="195873"/>
                  </a:moveTo>
                  <a:lnTo>
                    <a:pt x="0" y="116129"/>
                  </a:lnTo>
                  <a:lnTo>
                    <a:pt x="19423" y="62274"/>
                  </a:lnTo>
                  <a:lnTo>
                    <a:pt x="127856" y="0"/>
                  </a:lnTo>
                  <a:lnTo>
                    <a:pt x="156000" y="0"/>
                  </a:lnTo>
                  <a:lnTo>
                    <a:pt x="156000" y="55323"/>
                  </a:lnTo>
                  <a:lnTo>
                    <a:pt x="91208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" name="Forme libre : forme 130">
              <a:extLst>
                <a:ext uri="{FF2B5EF4-FFF2-40B4-BE49-F238E27FC236}">
                  <a16:creationId xmlns:a16="http://schemas.microsoft.com/office/drawing/2014/main" id="{B1E3FE16-8016-4EF3-8614-3D1D60105986}"/>
                </a:ext>
              </a:extLst>
            </p:cNvPr>
            <p:cNvSpPr/>
            <p:nvPr/>
          </p:nvSpPr>
          <p:spPr>
            <a:xfrm rot="8716295">
              <a:off x="2975918" y="382185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" name="Forme libre : forme 131">
              <a:extLst>
                <a:ext uri="{FF2B5EF4-FFF2-40B4-BE49-F238E27FC236}">
                  <a16:creationId xmlns:a16="http://schemas.microsoft.com/office/drawing/2014/main" id="{E69AE829-0E6B-4637-B9A4-FB76BF7CE509}"/>
                </a:ext>
              </a:extLst>
            </p:cNvPr>
            <p:cNvSpPr/>
            <p:nvPr/>
          </p:nvSpPr>
          <p:spPr>
            <a:xfrm rot="8716295">
              <a:off x="3136327" y="3677877"/>
              <a:ext cx="62210" cy="70771"/>
            </a:xfrm>
            <a:custGeom>
              <a:avLst/>
              <a:gdLst>
                <a:gd name="connsiteX0" fmla="*/ 0 w 62210"/>
                <a:gd name="connsiteY0" fmla="*/ 69343 h 70771"/>
                <a:gd name="connsiteX1" fmla="*/ 57354 w 62210"/>
                <a:gd name="connsiteY1" fmla="*/ 0 h 70771"/>
                <a:gd name="connsiteX2" fmla="*/ 62210 w 62210"/>
                <a:gd name="connsiteY2" fmla="*/ 11557 h 70771"/>
                <a:gd name="connsiteX3" fmla="*/ 44963 w 62210"/>
                <a:gd name="connsiteY3" fmla="*/ 53294 h 70771"/>
                <a:gd name="connsiteX4" fmla="*/ 3570 w 62210"/>
                <a:gd name="connsiteY4" fmla="*/ 70771 h 70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210" h="70771">
                  <a:moveTo>
                    <a:pt x="0" y="69343"/>
                  </a:moveTo>
                  <a:lnTo>
                    <a:pt x="57354" y="0"/>
                  </a:lnTo>
                  <a:lnTo>
                    <a:pt x="62210" y="11557"/>
                  </a:lnTo>
                  <a:cubicBezTo>
                    <a:pt x="62210" y="26619"/>
                    <a:pt x="56461" y="41796"/>
                    <a:pt x="44963" y="53294"/>
                  </a:cubicBezTo>
                  <a:cubicBezTo>
                    <a:pt x="33925" y="64332"/>
                    <a:pt x="19208" y="70771"/>
                    <a:pt x="3570" y="7077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" name="Forme libre : forme 132">
              <a:extLst>
                <a:ext uri="{FF2B5EF4-FFF2-40B4-BE49-F238E27FC236}">
                  <a16:creationId xmlns:a16="http://schemas.microsoft.com/office/drawing/2014/main" id="{D37688C2-C0A6-4E05-B609-4CB494CE709C}"/>
                </a:ext>
              </a:extLst>
            </p:cNvPr>
            <p:cNvSpPr/>
            <p:nvPr/>
          </p:nvSpPr>
          <p:spPr>
            <a:xfrm rot="8716295">
              <a:off x="2831757" y="470938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" name="Forme libre : forme 133">
              <a:extLst>
                <a:ext uri="{FF2B5EF4-FFF2-40B4-BE49-F238E27FC236}">
                  <a16:creationId xmlns:a16="http://schemas.microsoft.com/office/drawing/2014/main" id="{A3A6BF4C-1E72-4FF3-8FB3-699E9245E152}"/>
                </a:ext>
              </a:extLst>
            </p:cNvPr>
            <p:cNvSpPr/>
            <p:nvPr/>
          </p:nvSpPr>
          <p:spPr>
            <a:xfrm rot="8716295">
              <a:off x="2922791" y="4750051"/>
              <a:ext cx="209149" cy="251506"/>
            </a:xfrm>
            <a:custGeom>
              <a:avLst/>
              <a:gdLst>
                <a:gd name="connsiteX0" fmla="*/ 147179 w 209149"/>
                <a:gd name="connsiteY0" fmla="*/ 94758 h 251506"/>
                <a:gd name="connsiteX1" fmla="*/ 147179 w 209149"/>
                <a:gd name="connsiteY1" fmla="*/ 78354 h 251506"/>
                <a:gd name="connsiteX2" fmla="*/ 137667 w 209149"/>
                <a:gd name="connsiteY2" fmla="*/ 48394 h 251506"/>
                <a:gd name="connsiteX3" fmla="*/ 119535 w 209149"/>
                <a:gd name="connsiteY3" fmla="*/ 39776 h 251506"/>
                <a:gd name="connsiteX4" fmla="*/ 152434 w 209149"/>
                <a:gd name="connsiteY4" fmla="*/ 0 h 251506"/>
                <a:gd name="connsiteX5" fmla="*/ 165512 w 209149"/>
                <a:gd name="connsiteY5" fmla="*/ 2273 h 251506"/>
                <a:gd name="connsiteX6" fmla="*/ 209149 w 209149"/>
                <a:gd name="connsiteY6" fmla="*/ 85189 h 251506"/>
                <a:gd name="connsiteX7" fmla="*/ 209149 w 209149"/>
                <a:gd name="connsiteY7" fmla="*/ 91113 h 251506"/>
                <a:gd name="connsiteX8" fmla="*/ 0 w 209149"/>
                <a:gd name="connsiteY8" fmla="*/ 251506 h 251506"/>
                <a:gd name="connsiteX9" fmla="*/ 0 w 209149"/>
                <a:gd name="connsiteY9" fmla="*/ 184297 h 251506"/>
                <a:gd name="connsiteX10" fmla="*/ 62006 w 209149"/>
                <a:gd name="connsiteY10" fmla="*/ 109330 h 251506"/>
                <a:gd name="connsiteX11" fmla="*/ 60148 w 209149"/>
                <a:gd name="connsiteY11" fmla="*/ 124376 h 251506"/>
                <a:gd name="connsiteX12" fmla="*/ 60148 w 209149"/>
                <a:gd name="connsiteY12" fmla="*/ 210497 h 251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9149" h="251506">
                  <a:moveTo>
                    <a:pt x="147179" y="94758"/>
                  </a:moveTo>
                  <a:lnTo>
                    <a:pt x="147179" y="78354"/>
                  </a:lnTo>
                  <a:cubicBezTo>
                    <a:pt x="147179" y="66051"/>
                    <a:pt x="143648" y="55685"/>
                    <a:pt x="137667" y="48394"/>
                  </a:cubicBezTo>
                  <a:lnTo>
                    <a:pt x="119535" y="39776"/>
                  </a:lnTo>
                  <a:lnTo>
                    <a:pt x="152434" y="0"/>
                  </a:lnTo>
                  <a:lnTo>
                    <a:pt x="165512" y="2273"/>
                  </a:lnTo>
                  <a:cubicBezTo>
                    <a:pt x="193258" y="13764"/>
                    <a:pt x="209149" y="42812"/>
                    <a:pt x="209149" y="85189"/>
                  </a:cubicBezTo>
                  <a:lnTo>
                    <a:pt x="209149" y="91113"/>
                  </a:lnTo>
                  <a:close/>
                  <a:moveTo>
                    <a:pt x="0" y="251506"/>
                  </a:moveTo>
                  <a:lnTo>
                    <a:pt x="0" y="184297"/>
                  </a:lnTo>
                  <a:lnTo>
                    <a:pt x="62006" y="109330"/>
                  </a:lnTo>
                  <a:lnTo>
                    <a:pt x="60148" y="124376"/>
                  </a:lnTo>
                  <a:lnTo>
                    <a:pt x="60148" y="21049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" name="Forme libre : forme 134">
              <a:extLst>
                <a:ext uri="{FF2B5EF4-FFF2-40B4-BE49-F238E27FC236}">
                  <a16:creationId xmlns:a16="http://schemas.microsoft.com/office/drawing/2014/main" id="{5140B893-7827-4D80-AD77-FD3E70DDBAED}"/>
                </a:ext>
              </a:extLst>
            </p:cNvPr>
            <p:cNvSpPr/>
            <p:nvPr/>
          </p:nvSpPr>
          <p:spPr>
            <a:xfrm rot="8716295">
              <a:off x="2876299" y="465234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" name="Forme libre : forme 135">
              <a:extLst>
                <a:ext uri="{FF2B5EF4-FFF2-40B4-BE49-F238E27FC236}">
                  <a16:creationId xmlns:a16="http://schemas.microsoft.com/office/drawing/2014/main" id="{CEF19F0C-E18C-48D8-9AB5-6885668C7FC0}"/>
                </a:ext>
              </a:extLst>
            </p:cNvPr>
            <p:cNvSpPr/>
            <p:nvPr/>
          </p:nvSpPr>
          <p:spPr>
            <a:xfrm rot="8716295">
              <a:off x="2719523" y="479792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" name="Forme libre : forme 136">
              <a:extLst>
                <a:ext uri="{FF2B5EF4-FFF2-40B4-BE49-F238E27FC236}">
                  <a16:creationId xmlns:a16="http://schemas.microsoft.com/office/drawing/2014/main" id="{0BB22A70-3803-482F-84FC-984B6EC6C374}"/>
                </a:ext>
              </a:extLst>
            </p:cNvPr>
            <p:cNvSpPr/>
            <p:nvPr/>
          </p:nvSpPr>
          <p:spPr>
            <a:xfrm rot="8716295">
              <a:off x="2594620" y="458925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" name="Forme libre : forme 137">
              <a:extLst>
                <a:ext uri="{FF2B5EF4-FFF2-40B4-BE49-F238E27FC236}">
                  <a16:creationId xmlns:a16="http://schemas.microsoft.com/office/drawing/2014/main" id="{BB66996B-CABF-4C18-97CF-8361430CCC5E}"/>
                </a:ext>
              </a:extLst>
            </p:cNvPr>
            <p:cNvSpPr/>
            <p:nvPr/>
          </p:nvSpPr>
          <p:spPr>
            <a:xfrm rot="8716295">
              <a:off x="2582568" y="4450471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" name="Forme libre : forme 138">
              <a:extLst>
                <a:ext uri="{FF2B5EF4-FFF2-40B4-BE49-F238E27FC236}">
                  <a16:creationId xmlns:a16="http://schemas.microsoft.com/office/drawing/2014/main" id="{EE47147C-71F2-4045-A9A2-5EC38820966E}"/>
                </a:ext>
              </a:extLst>
            </p:cNvPr>
            <p:cNvSpPr/>
            <p:nvPr/>
          </p:nvSpPr>
          <p:spPr>
            <a:xfrm rot="8716295">
              <a:off x="2809701" y="483887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" name="Forme libre : forme 139">
              <a:extLst>
                <a:ext uri="{FF2B5EF4-FFF2-40B4-BE49-F238E27FC236}">
                  <a16:creationId xmlns:a16="http://schemas.microsoft.com/office/drawing/2014/main" id="{89BAF661-43F0-4B4A-A23C-BA7CE46BDD71}"/>
                </a:ext>
              </a:extLst>
            </p:cNvPr>
            <p:cNvSpPr/>
            <p:nvPr/>
          </p:nvSpPr>
          <p:spPr>
            <a:xfrm rot="8716295">
              <a:off x="3081353" y="4514214"/>
              <a:ext cx="36672" cy="44337"/>
            </a:xfrm>
            <a:custGeom>
              <a:avLst/>
              <a:gdLst>
                <a:gd name="connsiteX0" fmla="*/ 0 w 36672"/>
                <a:gd name="connsiteY0" fmla="*/ 44337 h 44337"/>
                <a:gd name="connsiteX1" fmla="*/ 36672 w 36672"/>
                <a:gd name="connsiteY1" fmla="*/ 0 h 44337"/>
                <a:gd name="connsiteX2" fmla="*/ 36672 w 36672"/>
                <a:gd name="connsiteY2" fmla="*/ 29833 h 44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672" h="44337">
                  <a:moveTo>
                    <a:pt x="0" y="44337"/>
                  </a:moveTo>
                  <a:lnTo>
                    <a:pt x="36672" y="0"/>
                  </a:lnTo>
                  <a:lnTo>
                    <a:pt x="36672" y="298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" name="Forme libre : forme 140">
              <a:extLst>
                <a:ext uri="{FF2B5EF4-FFF2-40B4-BE49-F238E27FC236}">
                  <a16:creationId xmlns:a16="http://schemas.microsoft.com/office/drawing/2014/main" id="{63A651C5-5D05-4459-83FE-EB640DC8F382}"/>
                </a:ext>
              </a:extLst>
            </p:cNvPr>
            <p:cNvSpPr/>
            <p:nvPr/>
          </p:nvSpPr>
          <p:spPr>
            <a:xfrm rot="8716295">
              <a:off x="3008622" y="45477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" name="Forme libre : forme 141">
              <a:extLst>
                <a:ext uri="{FF2B5EF4-FFF2-40B4-BE49-F238E27FC236}">
                  <a16:creationId xmlns:a16="http://schemas.microsoft.com/office/drawing/2014/main" id="{092AE7DF-4653-4199-BFAC-73916EFC860A}"/>
                </a:ext>
              </a:extLst>
            </p:cNvPr>
            <p:cNvSpPr/>
            <p:nvPr/>
          </p:nvSpPr>
          <p:spPr>
            <a:xfrm rot="8716295">
              <a:off x="2879209" y="433901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22587 h 195874"/>
                <a:gd name="connsiteX5" fmla="*/ 18682 w 203847"/>
                <a:gd name="connsiteY5" fmla="*/ 0 h 195874"/>
                <a:gd name="connsiteX6" fmla="*/ 203847 w 203847"/>
                <a:gd name="connsiteY6" fmla="*/ 0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22587"/>
                  </a:lnTo>
                  <a:lnTo>
                    <a:pt x="18682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" name="Forme libre : forme 142">
              <a:extLst>
                <a:ext uri="{FF2B5EF4-FFF2-40B4-BE49-F238E27FC236}">
                  <a16:creationId xmlns:a16="http://schemas.microsoft.com/office/drawing/2014/main" id="{D41ED30F-3026-421E-ABA6-358575487EBA}"/>
                </a:ext>
              </a:extLst>
            </p:cNvPr>
            <p:cNvSpPr/>
            <p:nvPr/>
          </p:nvSpPr>
          <p:spPr>
            <a:xfrm rot="8716295">
              <a:off x="3061023" y="4621511"/>
              <a:ext cx="34902" cy="75779"/>
            </a:xfrm>
            <a:custGeom>
              <a:avLst/>
              <a:gdLst>
                <a:gd name="connsiteX0" fmla="*/ 34902 w 34902"/>
                <a:gd name="connsiteY0" fmla="*/ 75779 h 75779"/>
                <a:gd name="connsiteX1" fmla="*/ 0 w 34902"/>
                <a:gd name="connsiteY1" fmla="*/ 42198 h 75779"/>
                <a:gd name="connsiteX2" fmla="*/ 34902 w 34902"/>
                <a:gd name="connsiteY2" fmla="*/ 0 h 75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902" h="75779">
                  <a:moveTo>
                    <a:pt x="34902" y="75779"/>
                  </a:moveTo>
                  <a:lnTo>
                    <a:pt x="0" y="42198"/>
                  </a:lnTo>
                  <a:lnTo>
                    <a:pt x="3490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4" name="Forme libre : forme 143">
              <a:extLst>
                <a:ext uri="{FF2B5EF4-FFF2-40B4-BE49-F238E27FC236}">
                  <a16:creationId xmlns:a16="http://schemas.microsoft.com/office/drawing/2014/main" id="{3F91EA7A-2760-47AB-B973-A377384BFCEB}"/>
                </a:ext>
              </a:extLst>
            </p:cNvPr>
            <p:cNvSpPr/>
            <p:nvPr/>
          </p:nvSpPr>
          <p:spPr>
            <a:xfrm rot="8716295">
              <a:off x="2857349" y="443912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5" name="Forme libre : forme 144">
              <a:extLst>
                <a:ext uri="{FF2B5EF4-FFF2-40B4-BE49-F238E27FC236}">
                  <a16:creationId xmlns:a16="http://schemas.microsoft.com/office/drawing/2014/main" id="{41EE0DAC-E1CD-4DF6-B038-DF99C017AF47}"/>
                </a:ext>
              </a:extLst>
            </p:cNvPr>
            <p:cNvSpPr/>
            <p:nvPr/>
          </p:nvSpPr>
          <p:spPr>
            <a:xfrm rot="8716295">
              <a:off x="1945235" y="207061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6" name="Forme libre : forme 145">
              <a:extLst>
                <a:ext uri="{FF2B5EF4-FFF2-40B4-BE49-F238E27FC236}">
                  <a16:creationId xmlns:a16="http://schemas.microsoft.com/office/drawing/2014/main" id="{280B0FCB-6B6E-4C11-92C1-4D7A5EC1D4AD}"/>
                </a:ext>
              </a:extLst>
            </p:cNvPr>
            <p:cNvSpPr/>
            <p:nvPr/>
          </p:nvSpPr>
          <p:spPr>
            <a:xfrm rot="8716295">
              <a:off x="2034627" y="209985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7" name="Forme libre : forme 146">
              <a:extLst>
                <a:ext uri="{FF2B5EF4-FFF2-40B4-BE49-F238E27FC236}">
                  <a16:creationId xmlns:a16="http://schemas.microsoft.com/office/drawing/2014/main" id="{9891BA28-484A-4733-8CF3-53CE88879C65}"/>
                </a:ext>
              </a:extLst>
            </p:cNvPr>
            <p:cNvSpPr/>
            <p:nvPr/>
          </p:nvSpPr>
          <p:spPr>
            <a:xfrm rot="8716295">
              <a:off x="1989777" y="201357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8" name="Forme libre : forme 147">
              <a:extLst>
                <a:ext uri="{FF2B5EF4-FFF2-40B4-BE49-F238E27FC236}">
                  <a16:creationId xmlns:a16="http://schemas.microsoft.com/office/drawing/2014/main" id="{9E43636F-0BE6-4C9B-B96D-D3D316F85163}"/>
                </a:ext>
              </a:extLst>
            </p:cNvPr>
            <p:cNvSpPr/>
            <p:nvPr/>
          </p:nvSpPr>
          <p:spPr>
            <a:xfrm rot="8716295">
              <a:off x="1833001" y="215915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9" name="Forme libre : forme 148">
              <a:extLst>
                <a:ext uri="{FF2B5EF4-FFF2-40B4-BE49-F238E27FC236}">
                  <a16:creationId xmlns:a16="http://schemas.microsoft.com/office/drawing/2014/main" id="{E5C5D07F-1F3F-49A7-9D1F-45F1F92DDF33}"/>
                </a:ext>
              </a:extLst>
            </p:cNvPr>
            <p:cNvSpPr/>
            <p:nvPr/>
          </p:nvSpPr>
          <p:spPr>
            <a:xfrm rot="8716295">
              <a:off x="1708098" y="195048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0" name="Forme libre : forme 149">
              <a:extLst>
                <a:ext uri="{FF2B5EF4-FFF2-40B4-BE49-F238E27FC236}">
                  <a16:creationId xmlns:a16="http://schemas.microsoft.com/office/drawing/2014/main" id="{207E57C6-B2AE-4BC9-A0BC-164A405D607B}"/>
                </a:ext>
              </a:extLst>
            </p:cNvPr>
            <p:cNvSpPr/>
            <p:nvPr/>
          </p:nvSpPr>
          <p:spPr>
            <a:xfrm rot="8716295">
              <a:off x="1696046" y="181170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1" name="Forme libre : forme 150">
              <a:extLst>
                <a:ext uri="{FF2B5EF4-FFF2-40B4-BE49-F238E27FC236}">
                  <a16:creationId xmlns:a16="http://schemas.microsoft.com/office/drawing/2014/main" id="{FD7783C5-00B3-479F-9977-DAF07693A1CC}"/>
                </a:ext>
              </a:extLst>
            </p:cNvPr>
            <p:cNvSpPr/>
            <p:nvPr/>
          </p:nvSpPr>
          <p:spPr>
            <a:xfrm rot="8716295">
              <a:off x="1923179" y="220010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2" name="Forme libre : forme 151">
              <a:extLst>
                <a:ext uri="{FF2B5EF4-FFF2-40B4-BE49-F238E27FC236}">
                  <a16:creationId xmlns:a16="http://schemas.microsoft.com/office/drawing/2014/main" id="{DEFBD7BA-14F9-43E3-A392-63B2C3EB3D89}"/>
                </a:ext>
              </a:extLst>
            </p:cNvPr>
            <p:cNvSpPr/>
            <p:nvPr/>
          </p:nvSpPr>
          <p:spPr>
            <a:xfrm rot="8716295">
              <a:off x="2234334" y="182046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3" name="Forme libre : forme 152">
              <a:extLst>
                <a:ext uri="{FF2B5EF4-FFF2-40B4-BE49-F238E27FC236}">
                  <a16:creationId xmlns:a16="http://schemas.microsoft.com/office/drawing/2014/main" id="{FA5B5BF3-F8F8-4C26-90BE-9AB63A9858C0}"/>
                </a:ext>
              </a:extLst>
            </p:cNvPr>
            <p:cNvSpPr/>
            <p:nvPr/>
          </p:nvSpPr>
          <p:spPr>
            <a:xfrm rot="8716295">
              <a:off x="2323726" y="184970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4" name="Forme libre : forme 153">
              <a:extLst>
                <a:ext uri="{FF2B5EF4-FFF2-40B4-BE49-F238E27FC236}">
                  <a16:creationId xmlns:a16="http://schemas.microsoft.com/office/drawing/2014/main" id="{7D4A76DD-C0C6-4680-9B5E-C0F67CFE2306}"/>
                </a:ext>
              </a:extLst>
            </p:cNvPr>
            <p:cNvSpPr/>
            <p:nvPr/>
          </p:nvSpPr>
          <p:spPr>
            <a:xfrm rot="8716295">
              <a:off x="2122100" y="19090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5" name="Forme libre : forme 154">
              <a:extLst>
                <a:ext uri="{FF2B5EF4-FFF2-40B4-BE49-F238E27FC236}">
                  <a16:creationId xmlns:a16="http://schemas.microsoft.com/office/drawing/2014/main" id="{6F20D922-BA49-4338-8552-0E24349BE40F}"/>
                </a:ext>
              </a:extLst>
            </p:cNvPr>
            <p:cNvSpPr/>
            <p:nvPr/>
          </p:nvSpPr>
          <p:spPr>
            <a:xfrm rot="8716295">
              <a:off x="1997198" y="170033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6" name="Forme libre : forme 155">
              <a:extLst>
                <a:ext uri="{FF2B5EF4-FFF2-40B4-BE49-F238E27FC236}">
                  <a16:creationId xmlns:a16="http://schemas.microsoft.com/office/drawing/2014/main" id="{C49CE272-F4B5-48DE-8F4E-72BDDD64982A}"/>
                </a:ext>
              </a:extLst>
            </p:cNvPr>
            <p:cNvSpPr/>
            <p:nvPr/>
          </p:nvSpPr>
          <p:spPr>
            <a:xfrm rot="8716295">
              <a:off x="2212278" y="194995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7" name="Forme libre : forme 156">
              <a:extLst>
                <a:ext uri="{FF2B5EF4-FFF2-40B4-BE49-F238E27FC236}">
                  <a16:creationId xmlns:a16="http://schemas.microsoft.com/office/drawing/2014/main" id="{89A0B9F3-EFEE-493B-B0C9-5CE4EF3AC015}"/>
                </a:ext>
              </a:extLst>
            </p:cNvPr>
            <p:cNvSpPr/>
            <p:nvPr/>
          </p:nvSpPr>
          <p:spPr>
            <a:xfrm rot="8716295">
              <a:off x="1970827" y="180035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8" name="Forme libre : forme 157">
              <a:extLst>
                <a:ext uri="{FF2B5EF4-FFF2-40B4-BE49-F238E27FC236}">
                  <a16:creationId xmlns:a16="http://schemas.microsoft.com/office/drawing/2014/main" id="{381186EF-923B-4BA3-A64F-0BC643A96F05}"/>
                </a:ext>
              </a:extLst>
            </p:cNvPr>
            <p:cNvSpPr/>
            <p:nvPr/>
          </p:nvSpPr>
          <p:spPr>
            <a:xfrm rot="7484129">
              <a:off x="2317209" y="214130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9" name="Forme libre : forme 158">
              <a:extLst>
                <a:ext uri="{FF2B5EF4-FFF2-40B4-BE49-F238E27FC236}">
                  <a16:creationId xmlns:a16="http://schemas.microsoft.com/office/drawing/2014/main" id="{788393C8-C36C-4E12-8713-6D9894A034E5}"/>
                </a:ext>
              </a:extLst>
            </p:cNvPr>
            <p:cNvSpPr/>
            <p:nvPr/>
          </p:nvSpPr>
          <p:spPr>
            <a:xfrm rot="13089394">
              <a:off x="2422029" y="2107841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0" name="Forme libre : forme 159">
              <a:extLst>
                <a:ext uri="{FF2B5EF4-FFF2-40B4-BE49-F238E27FC236}">
                  <a16:creationId xmlns:a16="http://schemas.microsoft.com/office/drawing/2014/main" id="{C4FA5850-C1BD-4E2E-921F-011D1E41FA44}"/>
                </a:ext>
              </a:extLst>
            </p:cNvPr>
            <p:cNvSpPr/>
            <p:nvPr/>
          </p:nvSpPr>
          <p:spPr>
            <a:xfrm rot="8716295">
              <a:off x="2607614" y="191616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1" name="Forme libre : forme 160">
              <a:extLst>
                <a:ext uri="{FF2B5EF4-FFF2-40B4-BE49-F238E27FC236}">
                  <a16:creationId xmlns:a16="http://schemas.microsoft.com/office/drawing/2014/main" id="{D19371A5-FFF2-4505-BA78-FDBD81E756C8}"/>
                </a:ext>
              </a:extLst>
            </p:cNvPr>
            <p:cNvSpPr/>
            <p:nvPr/>
          </p:nvSpPr>
          <p:spPr>
            <a:xfrm rot="8716295">
              <a:off x="2555809" y="181256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2" name="Forme libre : forme 161">
              <a:extLst>
                <a:ext uri="{FF2B5EF4-FFF2-40B4-BE49-F238E27FC236}">
                  <a16:creationId xmlns:a16="http://schemas.microsoft.com/office/drawing/2014/main" id="{A15BB5DD-2D34-4EE6-A86F-363F8D953409}"/>
                </a:ext>
              </a:extLst>
            </p:cNvPr>
            <p:cNvSpPr/>
            <p:nvPr/>
          </p:nvSpPr>
          <p:spPr>
            <a:xfrm rot="8716295">
              <a:off x="2312563" y="184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3" name="Forme libre : forme 162">
              <a:extLst>
                <a:ext uri="{FF2B5EF4-FFF2-40B4-BE49-F238E27FC236}">
                  <a16:creationId xmlns:a16="http://schemas.microsoft.com/office/drawing/2014/main" id="{EA840678-0C4C-427E-B930-90E4B3D4F4F5}"/>
                </a:ext>
              </a:extLst>
            </p:cNvPr>
            <p:cNvSpPr/>
            <p:nvPr/>
          </p:nvSpPr>
          <p:spPr>
            <a:xfrm rot="8716295">
              <a:off x="2490015" y="168354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4" name="Forme libre : forme 163">
              <a:extLst>
                <a:ext uri="{FF2B5EF4-FFF2-40B4-BE49-F238E27FC236}">
                  <a16:creationId xmlns:a16="http://schemas.microsoft.com/office/drawing/2014/main" id="{D24A7F84-D7C5-48B5-A2D9-046539552BF1}"/>
                </a:ext>
              </a:extLst>
            </p:cNvPr>
            <p:cNvSpPr/>
            <p:nvPr/>
          </p:nvSpPr>
          <p:spPr>
            <a:xfrm rot="8716295">
              <a:off x="1722068" y="141091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5" name="Forme libre : forme 164">
              <a:extLst>
                <a:ext uri="{FF2B5EF4-FFF2-40B4-BE49-F238E27FC236}">
                  <a16:creationId xmlns:a16="http://schemas.microsoft.com/office/drawing/2014/main" id="{5057A8E5-18E1-48A6-876F-42538393E91C}"/>
                </a:ext>
              </a:extLst>
            </p:cNvPr>
            <p:cNvSpPr/>
            <p:nvPr/>
          </p:nvSpPr>
          <p:spPr>
            <a:xfrm rot="8716295">
              <a:off x="1811460" y="144015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6" name="Forme libre : forme 165">
              <a:extLst>
                <a:ext uri="{FF2B5EF4-FFF2-40B4-BE49-F238E27FC236}">
                  <a16:creationId xmlns:a16="http://schemas.microsoft.com/office/drawing/2014/main" id="{F17BAF41-442E-4918-95C6-E19EEA6D7525}"/>
                </a:ext>
              </a:extLst>
            </p:cNvPr>
            <p:cNvSpPr/>
            <p:nvPr/>
          </p:nvSpPr>
          <p:spPr>
            <a:xfrm rot="8716295">
              <a:off x="1766610" y="135387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7" name="Forme libre : forme 166">
              <a:extLst>
                <a:ext uri="{FF2B5EF4-FFF2-40B4-BE49-F238E27FC236}">
                  <a16:creationId xmlns:a16="http://schemas.microsoft.com/office/drawing/2014/main" id="{62988CCC-AFDA-4601-89EC-2DCFE47EF1C9}"/>
                </a:ext>
              </a:extLst>
            </p:cNvPr>
            <p:cNvSpPr/>
            <p:nvPr/>
          </p:nvSpPr>
          <p:spPr>
            <a:xfrm rot="8716295">
              <a:off x="1609834" y="149945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8" name="Forme libre : forme 167">
              <a:extLst>
                <a:ext uri="{FF2B5EF4-FFF2-40B4-BE49-F238E27FC236}">
                  <a16:creationId xmlns:a16="http://schemas.microsoft.com/office/drawing/2014/main" id="{5054FA74-E8B8-46F3-A02A-768107F93576}"/>
                </a:ext>
              </a:extLst>
            </p:cNvPr>
            <p:cNvSpPr/>
            <p:nvPr/>
          </p:nvSpPr>
          <p:spPr>
            <a:xfrm rot="8716295">
              <a:off x="1484931" y="129078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9" name="Forme libre : forme 168">
              <a:extLst>
                <a:ext uri="{FF2B5EF4-FFF2-40B4-BE49-F238E27FC236}">
                  <a16:creationId xmlns:a16="http://schemas.microsoft.com/office/drawing/2014/main" id="{A04E0DF6-BDC7-4FC4-B1B7-F62238D08C5B}"/>
                </a:ext>
              </a:extLst>
            </p:cNvPr>
            <p:cNvSpPr/>
            <p:nvPr/>
          </p:nvSpPr>
          <p:spPr>
            <a:xfrm rot="8716295">
              <a:off x="1472879" y="115200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0" name="Forme libre : forme 169">
              <a:extLst>
                <a:ext uri="{FF2B5EF4-FFF2-40B4-BE49-F238E27FC236}">
                  <a16:creationId xmlns:a16="http://schemas.microsoft.com/office/drawing/2014/main" id="{57389608-4676-4687-8ECB-4D71B8133D4F}"/>
                </a:ext>
              </a:extLst>
            </p:cNvPr>
            <p:cNvSpPr/>
            <p:nvPr/>
          </p:nvSpPr>
          <p:spPr>
            <a:xfrm rot="8716295">
              <a:off x="1700012" y="154040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1" name="Forme libre : forme 170">
              <a:extLst>
                <a:ext uri="{FF2B5EF4-FFF2-40B4-BE49-F238E27FC236}">
                  <a16:creationId xmlns:a16="http://schemas.microsoft.com/office/drawing/2014/main" id="{B4719429-3450-446C-9492-3B4DE807655B}"/>
                </a:ext>
              </a:extLst>
            </p:cNvPr>
            <p:cNvSpPr/>
            <p:nvPr/>
          </p:nvSpPr>
          <p:spPr>
            <a:xfrm rot="8716295">
              <a:off x="2011167" y="116076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2" name="Forme libre : forme 171">
              <a:extLst>
                <a:ext uri="{FF2B5EF4-FFF2-40B4-BE49-F238E27FC236}">
                  <a16:creationId xmlns:a16="http://schemas.microsoft.com/office/drawing/2014/main" id="{1BD21CA5-EDB3-4B1C-9DA6-85A17C61C7E0}"/>
                </a:ext>
              </a:extLst>
            </p:cNvPr>
            <p:cNvSpPr/>
            <p:nvPr/>
          </p:nvSpPr>
          <p:spPr>
            <a:xfrm rot="8716295">
              <a:off x="2100559" y="119000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3" name="Forme libre : forme 172">
              <a:extLst>
                <a:ext uri="{FF2B5EF4-FFF2-40B4-BE49-F238E27FC236}">
                  <a16:creationId xmlns:a16="http://schemas.microsoft.com/office/drawing/2014/main" id="{7CA91DF5-20FD-481D-801E-1A30383F35AF}"/>
                </a:ext>
              </a:extLst>
            </p:cNvPr>
            <p:cNvSpPr/>
            <p:nvPr/>
          </p:nvSpPr>
          <p:spPr>
            <a:xfrm rot="8716295">
              <a:off x="1898933" y="124930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4" name="Forme libre : forme 173">
              <a:extLst>
                <a:ext uri="{FF2B5EF4-FFF2-40B4-BE49-F238E27FC236}">
                  <a16:creationId xmlns:a16="http://schemas.microsoft.com/office/drawing/2014/main" id="{14C3D20C-5774-494C-8893-5288670D0889}"/>
                </a:ext>
              </a:extLst>
            </p:cNvPr>
            <p:cNvSpPr/>
            <p:nvPr/>
          </p:nvSpPr>
          <p:spPr>
            <a:xfrm rot="8716295">
              <a:off x="1774031" y="104063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5" name="Forme libre : forme 174">
              <a:extLst>
                <a:ext uri="{FF2B5EF4-FFF2-40B4-BE49-F238E27FC236}">
                  <a16:creationId xmlns:a16="http://schemas.microsoft.com/office/drawing/2014/main" id="{921096A6-36F4-49A7-A062-8CA8DFB2FA2B}"/>
                </a:ext>
              </a:extLst>
            </p:cNvPr>
            <p:cNvSpPr/>
            <p:nvPr/>
          </p:nvSpPr>
          <p:spPr>
            <a:xfrm rot="8716295">
              <a:off x="1989111" y="129025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6" name="Forme libre : forme 175">
              <a:extLst>
                <a:ext uri="{FF2B5EF4-FFF2-40B4-BE49-F238E27FC236}">
                  <a16:creationId xmlns:a16="http://schemas.microsoft.com/office/drawing/2014/main" id="{B0920127-DB05-4341-ACD2-55A82DB831D0}"/>
                </a:ext>
              </a:extLst>
            </p:cNvPr>
            <p:cNvSpPr/>
            <p:nvPr/>
          </p:nvSpPr>
          <p:spPr>
            <a:xfrm rot="8716295">
              <a:off x="1747660" y="114065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7" name="Forme libre : forme 176">
              <a:extLst>
                <a:ext uri="{FF2B5EF4-FFF2-40B4-BE49-F238E27FC236}">
                  <a16:creationId xmlns:a16="http://schemas.microsoft.com/office/drawing/2014/main" id="{247E137A-2962-45C6-854D-3C335B97D942}"/>
                </a:ext>
              </a:extLst>
            </p:cNvPr>
            <p:cNvSpPr/>
            <p:nvPr/>
          </p:nvSpPr>
          <p:spPr>
            <a:xfrm rot="7484129">
              <a:off x="2094042" y="148160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8" name="Forme libre : forme 177">
              <a:extLst>
                <a:ext uri="{FF2B5EF4-FFF2-40B4-BE49-F238E27FC236}">
                  <a16:creationId xmlns:a16="http://schemas.microsoft.com/office/drawing/2014/main" id="{AF26B0FA-FC69-4100-A938-0778F8E044BC}"/>
                </a:ext>
              </a:extLst>
            </p:cNvPr>
            <p:cNvSpPr/>
            <p:nvPr/>
          </p:nvSpPr>
          <p:spPr>
            <a:xfrm rot="13089394">
              <a:off x="2198862" y="144814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9" name="Forme libre : forme 178">
              <a:extLst>
                <a:ext uri="{FF2B5EF4-FFF2-40B4-BE49-F238E27FC236}">
                  <a16:creationId xmlns:a16="http://schemas.microsoft.com/office/drawing/2014/main" id="{39EC1976-14A4-4281-9016-8D042C84E539}"/>
                </a:ext>
              </a:extLst>
            </p:cNvPr>
            <p:cNvSpPr/>
            <p:nvPr/>
          </p:nvSpPr>
          <p:spPr>
            <a:xfrm rot="8716295">
              <a:off x="2384447" y="125646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0" name="Forme libre : forme 179">
              <a:extLst>
                <a:ext uri="{FF2B5EF4-FFF2-40B4-BE49-F238E27FC236}">
                  <a16:creationId xmlns:a16="http://schemas.microsoft.com/office/drawing/2014/main" id="{C3D1445E-47EC-4B9A-86DA-68830C5A9003}"/>
                </a:ext>
              </a:extLst>
            </p:cNvPr>
            <p:cNvSpPr/>
            <p:nvPr/>
          </p:nvSpPr>
          <p:spPr>
            <a:xfrm rot="8716295">
              <a:off x="2332642" y="115286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" name="Forme libre : forme 180">
              <a:extLst>
                <a:ext uri="{FF2B5EF4-FFF2-40B4-BE49-F238E27FC236}">
                  <a16:creationId xmlns:a16="http://schemas.microsoft.com/office/drawing/2014/main" id="{6D64B041-AA03-4C2C-B195-E69DDAF61BCF}"/>
                </a:ext>
              </a:extLst>
            </p:cNvPr>
            <p:cNvSpPr/>
            <p:nvPr/>
          </p:nvSpPr>
          <p:spPr>
            <a:xfrm rot="8716295">
              <a:off x="2089396" y="118308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" name="Forme libre : forme 181">
              <a:extLst>
                <a:ext uri="{FF2B5EF4-FFF2-40B4-BE49-F238E27FC236}">
                  <a16:creationId xmlns:a16="http://schemas.microsoft.com/office/drawing/2014/main" id="{6929DCAA-A61B-45A7-8707-91162650FFF3}"/>
                </a:ext>
              </a:extLst>
            </p:cNvPr>
            <p:cNvSpPr/>
            <p:nvPr/>
          </p:nvSpPr>
          <p:spPr>
            <a:xfrm rot="8716295">
              <a:off x="2266848" y="102384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" name="Forme libre : forme 182">
              <a:extLst>
                <a:ext uri="{FF2B5EF4-FFF2-40B4-BE49-F238E27FC236}">
                  <a16:creationId xmlns:a16="http://schemas.microsoft.com/office/drawing/2014/main" id="{606C2101-E652-4D30-867F-39388545E11E}"/>
                </a:ext>
              </a:extLst>
            </p:cNvPr>
            <p:cNvSpPr/>
            <p:nvPr/>
          </p:nvSpPr>
          <p:spPr>
            <a:xfrm rot="8716295">
              <a:off x="1503129" y="74885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" name="Forme libre : forme 183">
              <a:extLst>
                <a:ext uri="{FF2B5EF4-FFF2-40B4-BE49-F238E27FC236}">
                  <a16:creationId xmlns:a16="http://schemas.microsoft.com/office/drawing/2014/main" id="{BCCF4C0A-B226-447A-AED6-6E411077F313}"/>
                </a:ext>
              </a:extLst>
            </p:cNvPr>
            <p:cNvSpPr/>
            <p:nvPr/>
          </p:nvSpPr>
          <p:spPr>
            <a:xfrm rot="8716295">
              <a:off x="1592521" y="77809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" name="Forme libre : forme 184">
              <a:extLst>
                <a:ext uri="{FF2B5EF4-FFF2-40B4-BE49-F238E27FC236}">
                  <a16:creationId xmlns:a16="http://schemas.microsoft.com/office/drawing/2014/main" id="{1047FAEE-E0A8-4DC0-AF81-D0262E51D58E}"/>
                </a:ext>
              </a:extLst>
            </p:cNvPr>
            <p:cNvSpPr/>
            <p:nvPr/>
          </p:nvSpPr>
          <p:spPr>
            <a:xfrm rot="8716295">
              <a:off x="1547671" y="69181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" name="Forme libre : forme 185">
              <a:extLst>
                <a:ext uri="{FF2B5EF4-FFF2-40B4-BE49-F238E27FC236}">
                  <a16:creationId xmlns:a16="http://schemas.microsoft.com/office/drawing/2014/main" id="{30E94405-5131-4E4F-8725-C67590E30DB2}"/>
                </a:ext>
              </a:extLst>
            </p:cNvPr>
            <p:cNvSpPr/>
            <p:nvPr/>
          </p:nvSpPr>
          <p:spPr>
            <a:xfrm rot="8716295">
              <a:off x="1390895" y="83739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" name="Forme libre : forme 186">
              <a:extLst>
                <a:ext uri="{FF2B5EF4-FFF2-40B4-BE49-F238E27FC236}">
                  <a16:creationId xmlns:a16="http://schemas.microsoft.com/office/drawing/2014/main" id="{3592B2BF-462B-42D1-B159-935FE013A746}"/>
                </a:ext>
              </a:extLst>
            </p:cNvPr>
            <p:cNvSpPr/>
            <p:nvPr/>
          </p:nvSpPr>
          <p:spPr>
            <a:xfrm rot="8716295">
              <a:off x="1265992" y="62872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" name="Forme libre : forme 187">
              <a:extLst>
                <a:ext uri="{FF2B5EF4-FFF2-40B4-BE49-F238E27FC236}">
                  <a16:creationId xmlns:a16="http://schemas.microsoft.com/office/drawing/2014/main" id="{1E56EF9D-6FEF-4D8D-A155-3A26210B9301}"/>
                </a:ext>
              </a:extLst>
            </p:cNvPr>
            <p:cNvSpPr/>
            <p:nvPr/>
          </p:nvSpPr>
          <p:spPr>
            <a:xfrm rot="8716295">
              <a:off x="1253940" y="48994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" name="Forme libre : forme 188">
              <a:extLst>
                <a:ext uri="{FF2B5EF4-FFF2-40B4-BE49-F238E27FC236}">
                  <a16:creationId xmlns:a16="http://schemas.microsoft.com/office/drawing/2014/main" id="{ABF55A8B-11D0-49F1-BB9C-9578891D6FAC}"/>
                </a:ext>
              </a:extLst>
            </p:cNvPr>
            <p:cNvSpPr/>
            <p:nvPr/>
          </p:nvSpPr>
          <p:spPr>
            <a:xfrm rot="8716295">
              <a:off x="1481073" y="87835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" name="Forme libre : forme 189">
              <a:extLst>
                <a:ext uri="{FF2B5EF4-FFF2-40B4-BE49-F238E27FC236}">
                  <a16:creationId xmlns:a16="http://schemas.microsoft.com/office/drawing/2014/main" id="{946D037D-9BA1-48DA-87EF-5EF5B831A0E1}"/>
                </a:ext>
              </a:extLst>
            </p:cNvPr>
            <p:cNvSpPr/>
            <p:nvPr/>
          </p:nvSpPr>
          <p:spPr>
            <a:xfrm rot="8716295">
              <a:off x="1792228" y="4987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" name="Forme libre : forme 190">
              <a:extLst>
                <a:ext uri="{FF2B5EF4-FFF2-40B4-BE49-F238E27FC236}">
                  <a16:creationId xmlns:a16="http://schemas.microsoft.com/office/drawing/2014/main" id="{27B82C76-9BEA-43A1-96FA-84295CCF0AA5}"/>
                </a:ext>
              </a:extLst>
            </p:cNvPr>
            <p:cNvSpPr/>
            <p:nvPr/>
          </p:nvSpPr>
          <p:spPr>
            <a:xfrm rot="8716295">
              <a:off x="1881620" y="5279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" name="Forme libre : forme 191">
              <a:extLst>
                <a:ext uri="{FF2B5EF4-FFF2-40B4-BE49-F238E27FC236}">
                  <a16:creationId xmlns:a16="http://schemas.microsoft.com/office/drawing/2014/main" id="{C9AF6FC6-301E-4498-93BF-1A9EB1439FE6}"/>
                </a:ext>
              </a:extLst>
            </p:cNvPr>
            <p:cNvSpPr/>
            <p:nvPr/>
          </p:nvSpPr>
          <p:spPr>
            <a:xfrm rot="8716295">
              <a:off x="1679994" y="58724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" name="Forme libre : forme 192">
              <a:extLst>
                <a:ext uri="{FF2B5EF4-FFF2-40B4-BE49-F238E27FC236}">
                  <a16:creationId xmlns:a16="http://schemas.microsoft.com/office/drawing/2014/main" id="{988C10D0-6B50-41AB-B9B5-23D20681103E}"/>
                </a:ext>
              </a:extLst>
            </p:cNvPr>
            <p:cNvSpPr/>
            <p:nvPr/>
          </p:nvSpPr>
          <p:spPr>
            <a:xfrm rot="8716295">
              <a:off x="1555092" y="37857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" name="Forme libre : forme 193">
              <a:extLst>
                <a:ext uri="{FF2B5EF4-FFF2-40B4-BE49-F238E27FC236}">
                  <a16:creationId xmlns:a16="http://schemas.microsoft.com/office/drawing/2014/main" id="{BA88EE97-63F0-4D28-BDD9-E175569D56C8}"/>
                </a:ext>
              </a:extLst>
            </p:cNvPr>
            <p:cNvSpPr/>
            <p:nvPr/>
          </p:nvSpPr>
          <p:spPr>
            <a:xfrm rot="8716295">
              <a:off x="1770172" y="62819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" name="Forme libre : forme 194">
              <a:extLst>
                <a:ext uri="{FF2B5EF4-FFF2-40B4-BE49-F238E27FC236}">
                  <a16:creationId xmlns:a16="http://schemas.microsoft.com/office/drawing/2014/main" id="{7DB936D3-752D-4426-96C6-451097B40A6E}"/>
                </a:ext>
              </a:extLst>
            </p:cNvPr>
            <p:cNvSpPr/>
            <p:nvPr/>
          </p:nvSpPr>
          <p:spPr>
            <a:xfrm rot="8716295">
              <a:off x="1528721" y="47859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" name="Forme libre : forme 195">
              <a:extLst>
                <a:ext uri="{FF2B5EF4-FFF2-40B4-BE49-F238E27FC236}">
                  <a16:creationId xmlns:a16="http://schemas.microsoft.com/office/drawing/2014/main" id="{6E95CB13-89AC-4C2B-9D9A-140661272E61}"/>
                </a:ext>
              </a:extLst>
            </p:cNvPr>
            <p:cNvSpPr/>
            <p:nvPr/>
          </p:nvSpPr>
          <p:spPr>
            <a:xfrm rot="7484129">
              <a:off x="1875103" y="8195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" name="Forme libre : forme 196">
              <a:extLst>
                <a:ext uri="{FF2B5EF4-FFF2-40B4-BE49-F238E27FC236}">
                  <a16:creationId xmlns:a16="http://schemas.microsoft.com/office/drawing/2014/main" id="{E94CA442-8190-4409-8D0E-996A3C13C977}"/>
                </a:ext>
              </a:extLst>
            </p:cNvPr>
            <p:cNvSpPr/>
            <p:nvPr/>
          </p:nvSpPr>
          <p:spPr>
            <a:xfrm rot="13089394">
              <a:off x="1979923" y="7860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" name="Forme libre : forme 197">
              <a:extLst>
                <a:ext uri="{FF2B5EF4-FFF2-40B4-BE49-F238E27FC236}">
                  <a16:creationId xmlns:a16="http://schemas.microsoft.com/office/drawing/2014/main" id="{52184F7E-FD35-4373-B77A-668CA5FF6983}"/>
                </a:ext>
              </a:extLst>
            </p:cNvPr>
            <p:cNvSpPr/>
            <p:nvPr/>
          </p:nvSpPr>
          <p:spPr>
            <a:xfrm rot="8716295">
              <a:off x="2165508" y="5944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" name="Forme libre : forme 198">
              <a:extLst>
                <a:ext uri="{FF2B5EF4-FFF2-40B4-BE49-F238E27FC236}">
                  <a16:creationId xmlns:a16="http://schemas.microsoft.com/office/drawing/2014/main" id="{203E9F12-3C6B-465D-9FDE-0F57C68E6794}"/>
                </a:ext>
              </a:extLst>
            </p:cNvPr>
            <p:cNvSpPr/>
            <p:nvPr/>
          </p:nvSpPr>
          <p:spPr>
            <a:xfrm rot="8716295">
              <a:off x="2113703" y="4908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" name="Forme libre : forme 199">
              <a:extLst>
                <a:ext uri="{FF2B5EF4-FFF2-40B4-BE49-F238E27FC236}">
                  <a16:creationId xmlns:a16="http://schemas.microsoft.com/office/drawing/2014/main" id="{3A4792DF-206D-4745-96BF-57BE9528DC29}"/>
                </a:ext>
              </a:extLst>
            </p:cNvPr>
            <p:cNvSpPr/>
            <p:nvPr/>
          </p:nvSpPr>
          <p:spPr>
            <a:xfrm rot="8716295">
              <a:off x="1870457" y="5210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" name="Forme libre : forme 200">
              <a:extLst>
                <a:ext uri="{FF2B5EF4-FFF2-40B4-BE49-F238E27FC236}">
                  <a16:creationId xmlns:a16="http://schemas.microsoft.com/office/drawing/2014/main" id="{D95C5BFF-0992-4FE2-933F-F0F5A8B60014}"/>
                </a:ext>
              </a:extLst>
            </p:cNvPr>
            <p:cNvSpPr/>
            <p:nvPr/>
          </p:nvSpPr>
          <p:spPr>
            <a:xfrm rot="8716295">
              <a:off x="2047909" y="3617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" name="Forme libre : forme 201">
              <a:extLst>
                <a:ext uri="{FF2B5EF4-FFF2-40B4-BE49-F238E27FC236}">
                  <a16:creationId xmlns:a16="http://schemas.microsoft.com/office/drawing/2014/main" id="{20C3FF4D-8F7D-4FCE-A8F6-F7C60C54B616}"/>
                </a:ext>
              </a:extLst>
            </p:cNvPr>
            <p:cNvSpPr/>
            <p:nvPr/>
          </p:nvSpPr>
          <p:spPr>
            <a:xfrm rot="8716295">
              <a:off x="1280459" y="8544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" name="Forme libre : forme 202">
              <a:extLst>
                <a:ext uri="{FF2B5EF4-FFF2-40B4-BE49-F238E27FC236}">
                  <a16:creationId xmlns:a16="http://schemas.microsoft.com/office/drawing/2014/main" id="{4A2EE2E0-D7CF-43D6-ACB3-BE33DBCC49BB}"/>
                </a:ext>
              </a:extLst>
            </p:cNvPr>
            <p:cNvSpPr/>
            <p:nvPr/>
          </p:nvSpPr>
          <p:spPr>
            <a:xfrm rot="8716295">
              <a:off x="1369851" y="11468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" name="Forme libre : forme 203">
              <a:extLst>
                <a:ext uri="{FF2B5EF4-FFF2-40B4-BE49-F238E27FC236}">
                  <a16:creationId xmlns:a16="http://schemas.microsoft.com/office/drawing/2014/main" id="{ADCFE50E-B4B9-4301-A613-96CD6C8E76F5}"/>
                </a:ext>
              </a:extLst>
            </p:cNvPr>
            <p:cNvSpPr/>
            <p:nvPr/>
          </p:nvSpPr>
          <p:spPr>
            <a:xfrm rot="8716295">
              <a:off x="1325001" y="2840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" name="Forme libre : forme 204">
              <a:extLst>
                <a:ext uri="{FF2B5EF4-FFF2-40B4-BE49-F238E27FC236}">
                  <a16:creationId xmlns:a16="http://schemas.microsoft.com/office/drawing/2014/main" id="{1C78DD3D-BA43-491E-A425-4F726ABF99F2}"/>
                </a:ext>
              </a:extLst>
            </p:cNvPr>
            <p:cNvSpPr/>
            <p:nvPr/>
          </p:nvSpPr>
          <p:spPr>
            <a:xfrm rot="8716295">
              <a:off x="1168225" y="17398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" name="Forme libre : forme 205">
              <a:extLst>
                <a:ext uri="{FF2B5EF4-FFF2-40B4-BE49-F238E27FC236}">
                  <a16:creationId xmlns:a16="http://schemas.microsoft.com/office/drawing/2014/main" id="{58A93461-0B09-4176-BDF3-87683487BEBD}"/>
                </a:ext>
              </a:extLst>
            </p:cNvPr>
            <p:cNvSpPr/>
            <p:nvPr/>
          </p:nvSpPr>
          <p:spPr>
            <a:xfrm rot="8716295">
              <a:off x="1045449" y="-13548"/>
              <a:ext cx="203847" cy="172572"/>
            </a:xfrm>
            <a:custGeom>
              <a:avLst/>
              <a:gdLst>
                <a:gd name="connsiteX0" fmla="*/ 98725 w 203847"/>
                <a:gd name="connsiteY0" fmla="*/ 172572 h 172572"/>
                <a:gd name="connsiteX1" fmla="*/ 65988 w 203847"/>
                <a:gd name="connsiteY1" fmla="*/ 149880 h 172572"/>
                <a:gd name="connsiteX2" fmla="*/ 47847 w 203847"/>
                <a:gd name="connsiteY2" fmla="*/ 116129 h 172572"/>
                <a:gd name="connsiteX3" fmla="*/ 69777 w 203847"/>
                <a:gd name="connsiteY3" fmla="*/ 55323 h 172572"/>
                <a:gd name="connsiteX4" fmla="*/ 0 w 203847"/>
                <a:gd name="connsiteY4" fmla="*/ 55323 h 172572"/>
                <a:gd name="connsiteX5" fmla="*/ 0 w 203847"/>
                <a:gd name="connsiteY5" fmla="*/ 0 h 172572"/>
                <a:gd name="connsiteX6" fmla="*/ 203847 w 203847"/>
                <a:gd name="connsiteY6" fmla="*/ 0 h 172572"/>
                <a:gd name="connsiteX7" fmla="*/ 203847 w 203847"/>
                <a:gd name="connsiteY7" fmla="*/ 55323 h 172572"/>
                <a:gd name="connsiteX8" fmla="*/ 139055 w 203847"/>
                <a:gd name="connsiteY8" fmla="*/ 55323 h 172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72572">
                  <a:moveTo>
                    <a:pt x="98725" y="172572"/>
                  </a:moveTo>
                  <a:lnTo>
                    <a:pt x="65988" y="149880"/>
                  </a:ln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" name="Forme libre : forme 206">
              <a:extLst>
                <a:ext uri="{FF2B5EF4-FFF2-40B4-BE49-F238E27FC236}">
                  <a16:creationId xmlns:a16="http://schemas.microsoft.com/office/drawing/2014/main" id="{F6E141F6-F3D7-4382-A5A9-B9DC46311949}"/>
                </a:ext>
              </a:extLst>
            </p:cNvPr>
            <p:cNvSpPr/>
            <p:nvPr/>
          </p:nvSpPr>
          <p:spPr>
            <a:xfrm rot="8716295">
              <a:off x="1049608" y="-107301"/>
              <a:ext cx="290643" cy="275223"/>
            </a:xfrm>
            <a:custGeom>
              <a:avLst/>
              <a:gdLst>
                <a:gd name="connsiteX0" fmla="*/ 79172 w 290643"/>
                <a:gd name="connsiteY0" fmla="*/ 128638 h 275223"/>
                <a:gd name="connsiteX1" fmla="*/ 0 w 290643"/>
                <a:gd name="connsiteY1" fmla="*/ 73758 h 275223"/>
                <a:gd name="connsiteX2" fmla="*/ 0 w 290643"/>
                <a:gd name="connsiteY2" fmla="*/ 40596 h 275223"/>
                <a:gd name="connsiteX3" fmla="*/ 78250 w 290643"/>
                <a:gd name="connsiteY3" fmla="*/ 0 h 275223"/>
                <a:gd name="connsiteX4" fmla="*/ 290643 w 290643"/>
                <a:gd name="connsiteY4" fmla="*/ 275223 h 275223"/>
                <a:gd name="connsiteX5" fmla="*/ 278016 w 290643"/>
                <a:gd name="connsiteY5" fmla="*/ 266470 h 275223"/>
                <a:gd name="connsiteX6" fmla="*/ 289467 w 290643"/>
                <a:gd name="connsiteY6" fmla="*/ 261815 h 275223"/>
                <a:gd name="connsiteX7" fmla="*/ 290643 w 290643"/>
                <a:gd name="connsiteY7" fmla="*/ 269463 h 27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0643" h="275223">
                  <a:moveTo>
                    <a:pt x="79172" y="128638"/>
                  </a:moveTo>
                  <a:lnTo>
                    <a:pt x="0" y="73758"/>
                  </a:lnTo>
                  <a:lnTo>
                    <a:pt x="0" y="40596"/>
                  </a:lnTo>
                  <a:lnTo>
                    <a:pt x="78250" y="0"/>
                  </a:lnTo>
                  <a:close/>
                  <a:moveTo>
                    <a:pt x="290643" y="275223"/>
                  </a:moveTo>
                  <a:lnTo>
                    <a:pt x="278016" y="266470"/>
                  </a:lnTo>
                  <a:lnTo>
                    <a:pt x="289467" y="261815"/>
                  </a:lnTo>
                  <a:cubicBezTo>
                    <a:pt x="290055" y="264168"/>
                    <a:pt x="290643" y="267110"/>
                    <a:pt x="290643" y="2694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" name="Forme libre : forme 207">
              <a:extLst>
                <a:ext uri="{FF2B5EF4-FFF2-40B4-BE49-F238E27FC236}">
                  <a16:creationId xmlns:a16="http://schemas.microsoft.com/office/drawing/2014/main" id="{4C5F5C19-6F05-476E-8B4C-2E1271E3709B}"/>
                </a:ext>
              </a:extLst>
            </p:cNvPr>
            <p:cNvSpPr/>
            <p:nvPr/>
          </p:nvSpPr>
          <p:spPr>
            <a:xfrm rot="8716295">
              <a:off x="1258403" y="21493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" name="Forme libre : forme 208">
              <a:extLst>
                <a:ext uri="{FF2B5EF4-FFF2-40B4-BE49-F238E27FC236}">
                  <a16:creationId xmlns:a16="http://schemas.microsoft.com/office/drawing/2014/main" id="{99462675-4E20-4299-99A1-8C989AC1AC7A}"/>
                </a:ext>
              </a:extLst>
            </p:cNvPr>
            <p:cNvSpPr/>
            <p:nvPr/>
          </p:nvSpPr>
          <p:spPr>
            <a:xfrm rot="8716295">
              <a:off x="1604517" y="-50002"/>
              <a:ext cx="142167" cy="106747"/>
            </a:xfrm>
            <a:custGeom>
              <a:avLst/>
              <a:gdLst>
                <a:gd name="connsiteX0" fmla="*/ 142167 w 142167"/>
                <a:gd name="connsiteY0" fmla="*/ 106747 h 106747"/>
                <a:gd name="connsiteX1" fmla="*/ 79942 w 142167"/>
                <a:gd name="connsiteY1" fmla="*/ 63615 h 106747"/>
                <a:gd name="connsiteX2" fmla="*/ 74103 w 142167"/>
                <a:gd name="connsiteY2" fmla="*/ 53597 h 106747"/>
                <a:gd name="connsiteX3" fmla="*/ 60604 w 142167"/>
                <a:gd name="connsiteY3" fmla="*/ 50123 h 106747"/>
                <a:gd name="connsiteX4" fmla="*/ 60478 w 142167"/>
                <a:gd name="connsiteY4" fmla="*/ 50123 h 106747"/>
                <a:gd name="connsiteX5" fmla="*/ 0 w 142167"/>
                <a:gd name="connsiteY5" fmla="*/ 8201 h 106747"/>
                <a:gd name="connsiteX6" fmla="*/ 0 w 142167"/>
                <a:gd name="connsiteY6" fmla="*/ 0 h 106747"/>
                <a:gd name="connsiteX7" fmla="*/ 85209 w 142167"/>
                <a:gd name="connsiteY7" fmla="*/ 0 h 106747"/>
                <a:gd name="connsiteX8" fmla="*/ 142167 w 142167"/>
                <a:gd name="connsiteY8" fmla="*/ 50123 h 10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06747">
                  <a:moveTo>
                    <a:pt x="142167" y="106747"/>
                  </a:moveTo>
                  <a:lnTo>
                    <a:pt x="79942" y="63615"/>
                  </a:lnTo>
                  <a:lnTo>
                    <a:pt x="74103" y="53597"/>
                  </a:lnTo>
                  <a:cubicBezTo>
                    <a:pt x="70400" y="50806"/>
                    <a:pt x="65616" y="49439"/>
                    <a:pt x="60604" y="50123"/>
                  </a:cubicBezTo>
                  <a:lnTo>
                    <a:pt x="60478" y="50123"/>
                  </a:lnTo>
                  <a:lnTo>
                    <a:pt x="0" y="8201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" name="Forme libre : forme 209">
              <a:extLst>
                <a:ext uri="{FF2B5EF4-FFF2-40B4-BE49-F238E27FC236}">
                  <a16:creationId xmlns:a16="http://schemas.microsoft.com/office/drawing/2014/main" id="{F18E365A-DFDC-47DB-8B33-290827288FD8}"/>
                </a:ext>
              </a:extLst>
            </p:cNvPr>
            <p:cNvSpPr/>
            <p:nvPr/>
          </p:nvSpPr>
          <p:spPr>
            <a:xfrm rot="8716295">
              <a:off x="1699771" y="-2013"/>
              <a:ext cx="260639" cy="104392"/>
            </a:xfrm>
            <a:custGeom>
              <a:avLst/>
              <a:gdLst>
                <a:gd name="connsiteX0" fmla="*/ 117530 w 260639"/>
                <a:gd name="connsiteY0" fmla="*/ 104392 h 104392"/>
                <a:gd name="connsiteX1" fmla="*/ 51490 w 260639"/>
                <a:gd name="connsiteY1" fmla="*/ 58614 h 104392"/>
                <a:gd name="connsiteX2" fmla="*/ 51490 w 260639"/>
                <a:gd name="connsiteY2" fmla="*/ 45624 h 104392"/>
                <a:gd name="connsiteX3" fmla="*/ 32748 w 260639"/>
                <a:gd name="connsiteY3" fmla="*/ 45624 h 104392"/>
                <a:gd name="connsiteX4" fmla="*/ 0 w 260639"/>
                <a:gd name="connsiteY4" fmla="*/ 22924 h 104392"/>
                <a:gd name="connsiteX5" fmla="*/ 0 w 260639"/>
                <a:gd name="connsiteY5" fmla="*/ 1425 h 104392"/>
                <a:gd name="connsiteX6" fmla="*/ 104802 w 260639"/>
                <a:gd name="connsiteY6" fmla="*/ 1425 h 104392"/>
                <a:gd name="connsiteX7" fmla="*/ 104802 w 260639"/>
                <a:gd name="connsiteY7" fmla="*/ 75242 h 104392"/>
                <a:gd name="connsiteX8" fmla="*/ 106169 w 260639"/>
                <a:gd name="connsiteY8" fmla="*/ 75242 h 104392"/>
                <a:gd name="connsiteX9" fmla="*/ 154014 w 260639"/>
                <a:gd name="connsiteY9" fmla="*/ 5981 h 104392"/>
                <a:gd name="connsiteX10" fmla="*/ 185455 w 260639"/>
                <a:gd name="connsiteY10" fmla="*/ 57 h 104392"/>
                <a:gd name="connsiteX11" fmla="*/ 260639 w 260639"/>
                <a:gd name="connsiteY11" fmla="*/ 88456 h 104392"/>
                <a:gd name="connsiteX12" fmla="*/ 260639 w 260639"/>
                <a:gd name="connsiteY12" fmla="*/ 94380 h 104392"/>
                <a:gd name="connsiteX13" fmla="*/ 198669 w 260639"/>
                <a:gd name="connsiteY13" fmla="*/ 98025 h 104392"/>
                <a:gd name="connsiteX14" fmla="*/ 198669 w 260639"/>
                <a:gd name="connsiteY14" fmla="*/ 81621 h 104392"/>
                <a:gd name="connsiteX15" fmla="*/ 164950 w 260639"/>
                <a:gd name="connsiteY15" fmla="*/ 40156 h 104392"/>
                <a:gd name="connsiteX16" fmla="*/ 127358 w 260639"/>
                <a:gd name="connsiteY16" fmla="*/ 65616 h 104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60639" h="104392">
                  <a:moveTo>
                    <a:pt x="117530" y="104392"/>
                  </a:moveTo>
                  <a:lnTo>
                    <a:pt x="51490" y="58614"/>
                  </a:lnTo>
                  <a:lnTo>
                    <a:pt x="51490" y="45624"/>
                  </a:lnTo>
                  <a:lnTo>
                    <a:pt x="32748" y="45624"/>
                  </a:lnTo>
                  <a:lnTo>
                    <a:pt x="0" y="229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5"/>
                    <a:pt x="184544" y="40156"/>
                    <a:pt x="164950" y="40156"/>
                  </a:cubicBezTo>
                  <a:cubicBezTo>
                    <a:pt x="150369" y="40156"/>
                    <a:pt x="137041" y="49839"/>
                    <a:pt x="127358" y="656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" name="Forme libre : forme 210">
              <a:extLst>
                <a:ext uri="{FF2B5EF4-FFF2-40B4-BE49-F238E27FC236}">
                  <a16:creationId xmlns:a16="http://schemas.microsoft.com/office/drawing/2014/main" id="{BD9DBA5B-B938-49AE-B4FF-DC0E17DDD56F}"/>
                </a:ext>
              </a:extLst>
            </p:cNvPr>
            <p:cNvSpPr/>
            <p:nvPr/>
          </p:nvSpPr>
          <p:spPr>
            <a:xfrm rot="8716295">
              <a:off x="1547502" y="-3521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" name="Forme libre : forme 211">
              <a:extLst>
                <a:ext uri="{FF2B5EF4-FFF2-40B4-BE49-F238E27FC236}">
                  <a16:creationId xmlns:a16="http://schemas.microsoft.com/office/drawing/2014/main" id="{8C64BFA5-88D5-4B19-8DD4-8DB6B59A61D8}"/>
                </a:ext>
              </a:extLst>
            </p:cNvPr>
            <p:cNvSpPr/>
            <p:nvPr/>
          </p:nvSpPr>
          <p:spPr>
            <a:xfrm rot="7484129">
              <a:off x="1652433" y="15613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" name="Forme libre : forme 212">
              <a:extLst>
                <a:ext uri="{FF2B5EF4-FFF2-40B4-BE49-F238E27FC236}">
                  <a16:creationId xmlns:a16="http://schemas.microsoft.com/office/drawing/2014/main" id="{034CC524-D8AC-40AF-8EAB-AB1B464A30AF}"/>
                </a:ext>
              </a:extLst>
            </p:cNvPr>
            <p:cNvSpPr/>
            <p:nvPr/>
          </p:nvSpPr>
          <p:spPr>
            <a:xfrm rot="13089394">
              <a:off x="1757253" y="122669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" name="Forme libre : forme 213">
              <a:extLst>
                <a:ext uri="{FF2B5EF4-FFF2-40B4-BE49-F238E27FC236}">
                  <a16:creationId xmlns:a16="http://schemas.microsoft.com/office/drawing/2014/main" id="{D78ECCFB-E224-46B7-92F0-42F89F972C82}"/>
                </a:ext>
              </a:extLst>
            </p:cNvPr>
            <p:cNvSpPr/>
            <p:nvPr/>
          </p:nvSpPr>
          <p:spPr>
            <a:xfrm rot="8716295">
              <a:off x="1960606" y="3279"/>
              <a:ext cx="142687" cy="109177"/>
            </a:xfrm>
            <a:custGeom>
              <a:avLst/>
              <a:gdLst>
                <a:gd name="connsiteX0" fmla="*/ 48521 w 142687"/>
                <a:gd name="connsiteY0" fmla="*/ 109177 h 109177"/>
                <a:gd name="connsiteX1" fmla="*/ 0 w 142687"/>
                <a:gd name="connsiteY1" fmla="*/ 75545 h 109177"/>
                <a:gd name="connsiteX2" fmla="*/ 44875 w 142687"/>
                <a:gd name="connsiteY2" fmla="*/ 33320 h 109177"/>
                <a:gd name="connsiteX3" fmla="*/ 109367 w 142687"/>
                <a:gd name="connsiteY3" fmla="*/ 0 h 109177"/>
                <a:gd name="connsiteX4" fmla="*/ 142687 w 142687"/>
                <a:gd name="connsiteY4" fmla="*/ 39770 h 109177"/>
                <a:gd name="connsiteX5" fmla="*/ 111516 w 142687"/>
                <a:gd name="connsiteY5" fmla="*/ 81689 h 109177"/>
                <a:gd name="connsiteX6" fmla="*/ 112053 w 142687"/>
                <a:gd name="connsiteY6" fmla="*/ 81689 h 109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687" h="109177">
                  <a:moveTo>
                    <a:pt x="48521" y="109177"/>
                  </a:moveTo>
                  <a:lnTo>
                    <a:pt x="0" y="75545"/>
                  </a:lnTo>
                  <a:lnTo>
                    <a:pt x="44875" y="33320"/>
                  </a:lnTo>
                  <a:cubicBezTo>
                    <a:pt x="60998" y="14511"/>
                    <a:pt x="84107" y="2687"/>
                    <a:pt x="109367" y="0"/>
                  </a:cubicBezTo>
                  <a:cubicBezTo>
                    <a:pt x="135163" y="0"/>
                    <a:pt x="142687" y="22572"/>
                    <a:pt x="142687" y="39770"/>
                  </a:cubicBezTo>
                  <a:cubicBezTo>
                    <a:pt x="141074" y="58580"/>
                    <a:pt x="128713" y="74165"/>
                    <a:pt x="111516" y="81689"/>
                  </a:cubicBezTo>
                  <a:lnTo>
                    <a:pt x="112053" y="816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" name="Forme libre : forme 214">
              <a:extLst>
                <a:ext uri="{FF2B5EF4-FFF2-40B4-BE49-F238E27FC236}">
                  <a16:creationId xmlns:a16="http://schemas.microsoft.com/office/drawing/2014/main" id="{30980170-BFE4-4DA8-B94E-3A74F835E666}"/>
                </a:ext>
              </a:extLst>
            </p:cNvPr>
            <p:cNvSpPr/>
            <p:nvPr/>
          </p:nvSpPr>
          <p:spPr>
            <a:xfrm rot="8716295">
              <a:off x="1076398" y="254697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" name="Forme libre : forme 215">
              <a:extLst>
                <a:ext uri="{FF2B5EF4-FFF2-40B4-BE49-F238E27FC236}">
                  <a16:creationId xmlns:a16="http://schemas.microsoft.com/office/drawing/2014/main" id="{EF36344D-9704-4C2C-BC8B-34C87B25880E}"/>
                </a:ext>
              </a:extLst>
            </p:cNvPr>
            <p:cNvSpPr/>
            <p:nvPr/>
          </p:nvSpPr>
          <p:spPr>
            <a:xfrm rot="8716295">
              <a:off x="1165790" y="257621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" name="Forme libre : forme 216">
              <a:extLst>
                <a:ext uri="{FF2B5EF4-FFF2-40B4-BE49-F238E27FC236}">
                  <a16:creationId xmlns:a16="http://schemas.microsoft.com/office/drawing/2014/main" id="{58A38589-98F6-451E-A434-58B30914CF96}"/>
                </a:ext>
              </a:extLst>
            </p:cNvPr>
            <p:cNvSpPr/>
            <p:nvPr/>
          </p:nvSpPr>
          <p:spPr>
            <a:xfrm rot="8716295">
              <a:off x="1120940" y="248993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" name="Forme libre : forme 217">
              <a:extLst>
                <a:ext uri="{FF2B5EF4-FFF2-40B4-BE49-F238E27FC236}">
                  <a16:creationId xmlns:a16="http://schemas.microsoft.com/office/drawing/2014/main" id="{1BBAB649-0D47-451B-AEA7-D99D438CCB67}"/>
                </a:ext>
              </a:extLst>
            </p:cNvPr>
            <p:cNvSpPr/>
            <p:nvPr/>
          </p:nvSpPr>
          <p:spPr>
            <a:xfrm rot="8716295">
              <a:off x="964164" y="263551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" name="Forme libre : forme 218">
              <a:extLst>
                <a:ext uri="{FF2B5EF4-FFF2-40B4-BE49-F238E27FC236}">
                  <a16:creationId xmlns:a16="http://schemas.microsoft.com/office/drawing/2014/main" id="{9ABD39F9-0013-4B66-B07C-F120985F94DF}"/>
                </a:ext>
              </a:extLst>
            </p:cNvPr>
            <p:cNvSpPr/>
            <p:nvPr/>
          </p:nvSpPr>
          <p:spPr>
            <a:xfrm rot="8716295">
              <a:off x="839261" y="242684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" name="Forme libre : forme 219">
              <a:extLst>
                <a:ext uri="{FF2B5EF4-FFF2-40B4-BE49-F238E27FC236}">
                  <a16:creationId xmlns:a16="http://schemas.microsoft.com/office/drawing/2014/main" id="{4B771D9C-DFA4-430F-84AF-9AE075F83BC7}"/>
                </a:ext>
              </a:extLst>
            </p:cNvPr>
            <p:cNvSpPr/>
            <p:nvPr/>
          </p:nvSpPr>
          <p:spPr>
            <a:xfrm rot="8716295">
              <a:off x="827209" y="228806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" name="Forme libre : forme 220">
              <a:extLst>
                <a:ext uri="{FF2B5EF4-FFF2-40B4-BE49-F238E27FC236}">
                  <a16:creationId xmlns:a16="http://schemas.microsoft.com/office/drawing/2014/main" id="{7FEF96BC-C543-4B58-AE20-95C6DC72AE3F}"/>
                </a:ext>
              </a:extLst>
            </p:cNvPr>
            <p:cNvSpPr/>
            <p:nvPr/>
          </p:nvSpPr>
          <p:spPr>
            <a:xfrm rot="8716295">
              <a:off x="1054342" y="267647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" name="Forme libre : forme 221">
              <a:extLst>
                <a:ext uri="{FF2B5EF4-FFF2-40B4-BE49-F238E27FC236}">
                  <a16:creationId xmlns:a16="http://schemas.microsoft.com/office/drawing/2014/main" id="{68891634-5A93-4AAD-9989-2DE5CE062379}"/>
                </a:ext>
              </a:extLst>
            </p:cNvPr>
            <p:cNvSpPr/>
            <p:nvPr/>
          </p:nvSpPr>
          <p:spPr>
            <a:xfrm rot="8716295">
              <a:off x="1365497" y="229682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" name="Forme libre : forme 222">
              <a:extLst>
                <a:ext uri="{FF2B5EF4-FFF2-40B4-BE49-F238E27FC236}">
                  <a16:creationId xmlns:a16="http://schemas.microsoft.com/office/drawing/2014/main" id="{39D665A4-4F4E-441C-B55C-726916A4039E}"/>
                </a:ext>
              </a:extLst>
            </p:cNvPr>
            <p:cNvSpPr/>
            <p:nvPr/>
          </p:nvSpPr>
          <p:spPr>
            <a:xfrm rot="8716295">
              <a:off x="1454889" y="232606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" name="Forme libre : forme 223">
              <a:extLst>
                <a:ext uri="{FF2B5EF4-FFF2-40B4-BE49-F238E27FC236}">
                  <a16:creationId xmlns:a16="http://schemas.microsoft.com/office/drawing/2014/main" id="{8AF4C94D-DC68-46A4-BF2C-889E3D6B62EC}"/>
                </a:ext>
              </a:extLst>
            </p:cNvPr>
            <p:cNvSpPr/>
            <p:nvPr/>
          </p:nvSpPr>
          <p:spPr>
            <a:xfrm rot="8716295">
              <a:off x="1253263" y="238536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" name="Forme libre : forme 224">
              <a:extLst>
                <a:ext uri="{FF2B5EF4-FFF2-40B4-BE49-F238E27FC236}">
                  <a16:creationId xmlns:a16="http://schemas.microsoft.com/office/drawing/2014/main" id="{C1408C1D-6D03-4994-BD3B-49E299BEE8DA}"/>
                </a:ext>
              </a:extLst>
            </p:cNvPr>
            <p:cNvSpPr/>
            <p:nvPr/>
          </p:nvSpPr>
          <p:spPr>
            <a:xfrm rot="8716295">
              <a:off x="1128361" y="217669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" name="Forme libre : forme 225">
              <a:extLst>
                <a:ext uri="{FF2B5EF4-FFF2-40B4-BE49-F238E27FC236}">
                  <a16:creationId xmlns:a16="http://schemas.microsoft.com/office/drawing/2014/main" id="{EB108B47-7607-4350-BAC7-848269D45EA1}"/>
                </a:ext>
              </a:extLst>
            </p:cNvPr>
            <p:cNvSpPr/>
            <p:nvPr/>
          </p:nvSpPr>
          <p:spPr>
            <a:xfrm rot="8716295">
              <a:off x="1343441" y="242631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" name="Forme libre : forme 226">
              <a:extLst>
                <a:ext uri="{FF2B5EF4-FFF2-40B4-BE49-F238E27FC236}">
                  <a16:creationId xmlns:a16="http://schemas.microsoft.com/office/drawing/2014/main" id="{016BF330-2E65-471B-BA9A-203A297FAFCE}"/>
                </a:ext>
              </a:extLst>
            </p:cNvPr>
            <p:cNvSpPr/>
            <p:nvPr/>
          </p:nvSpPr>
          <p:spPr>
            <a:xfrm rot="8716295">
              <a:off x="1101990" y="227671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" name="Forme libre : forme 227">
              <a:extLst>
                <a:ext uri="{FF2B5EF4-FFF2-40B4-BE49-F238E27FC236}">
                  <a16:creationId xmlns:a16="http://schemas.microsoft.com/office/drawing/2014/main" id="{20DF741A-5A82-48D0-A9BB-E29A7DA079B2}"/>
                </a:ext>
              </a:extLst>
            </p:cNvPr>
            <p:cNvSpPr/>
            <p:nvPr/>
          </p:nvSpPr>
          <p:spPr>
            <a:xfrm rot="7484129">
              <a:off x="1448372" y="261767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" name="Forme libre : forme 228">
              <a:extLst>
                <a:ext uri="{FF2B5EF4-FFF2-40B4-BE49-F238E27FC236}">
                  <a16:creationId xmlns:a16="http://schemas.microsoft.com/office/drawing/2014/main" id="{FBBC9382-FE3D-4581-90F5-934825D4E890}"/>
                </a:ext>
              </a:extLst>
            </p:cNvPr>
            <p:cNvSpPr/>
            <p:nvPr/>
          </p:nvSpPr>
          <p:spPr>
            <a:xfrm rot="13089394">
              <a:off x="1553192" y="258420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" name="Forme libre : forme 229">
              <a:extLst>
                <a:ext uri="{FF2B5EF4-FFF2-40B4-BE49-F238E27FC236}">
                  <a16:creationId xmlns:a16="http://schemas.microsoft.com/office/drawing/2014/main" id="{1722850A-0379-4FB9-9C9B-E45F998A47BD}"/>
                </a:ext>
              </a:extLst>
            </p:cNvPr>
            <p:cNvSpPr/>
            <p:nvPr/>
          </p:nvSpPr>
          <p:spPr>
            <a:xfrm rot="8716295">
              <a:off x="1738777" y="23925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" name="Forme libre : forme 230">
              <a:extLst>
                <a:ext uri="{FF2B5EF4-FFF2-40B4-BE49-F238E27FC236}">
                  <a16:creationId xmlns:a16="http://schemas.microsoft.com/office/drawing/2014/main" id="{BF511EF9-A49C-4AE3-8280-5A5B1337EE62}"/>
                </a:ext>
              </a:extLst>
            </p:cNvPr>
            <p:cNvSpPr/>
            <p:nvPr/>
          </p:nvSpPr>
          <p:spPr>
            <a:xfrm rot="8716295">
              <a:off x="1686972" y="228893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" name="Forme libre : forme 231">
              <a:extLst>
                <a:ext uri="{FF2B5EF4-FFF2-40B4-BE49-F238E27FC236}">
                  <a16:creationId xmlns:a16="http://schemas.microsoft.com/office/drawing/2014/main" id="{D138BF00-ED92-4133-ADF5-E9C66056A424}"/>
                </a:ext>
              </a:extLst>
            </p:cNvPr>
            <p:cNvSpPr/>
            <p:nvPr/>
          </p:nvSpPr>
          <p:spPr>
            <a:xfrm rot="8716295">
              <a:off x="1443726" y="231915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" name="Forme libre : forme 232">
              <a:extLst>
                <a:ext uri="{FF2B5EF4-FFF2-40B4-BE49-F238E27FC236}">
                  <a16:creationId xmlns:a16="http://schemas.microsoft.com/office/drawing/2014/main" id="{8E358CEB-AF06-484E-8852-BAE0311E02CC}"/>
                </a:ext>
              </a:extLst>
            </p:cNvPr>
            <p:cNvSpPr/>
            <p:nvPr/>
          </p:nvSpPr>
          <p:spPr>
            <a:xfrm rot="8716295">
              <a:off x="1621178" y="21599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" name="Forme libre : forme 233">
              <a:extLst>
                <a:ext uri="{FF2B5EF4-FFF2-40B4-BE49-F238E27FC236}">
                  <a16:creationId xmlns:a16="http://schemas.microsoft.com/office/drawing/2014/main" id="{9EBAEBBD-0226-432C-8DB2-1DA1060129B8}"/>
                </a:ext>
              </a:extLst>
            </p:cNvPr>
            <p:cNvSpPr/>
            <p:nvPr/>
          </p:nvSpPr>
          <p:spPr>
            <a:xfrm rot="8716295">
              <a:off x="1299565" y="320667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" name="Forme libre : forme 234">
              <a:extLst>
                <a:ext uri="{FF2B5EF4-FFF2-40B4-BE49-F238E27FC236}">
                  <a16:creationId xmlns:a16="http://schemas.microsoft.com/office/drawing/2014/main" id="{B666620F-F3D0-4B5D-9685-3CAB27EBF061}"/>
                </a:ext>
              </a:extLst>
            </p:cNvPr>
            <p:cNvSpPr/>
            <p:nvPr/>
          </p:nvSpPr>
          <p:spPr>
            <a:xfrm rot="8716295">
              <a:off x="1388957" y="323591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" name="Forme libre : forme 235">
              <a:extLst>
                <a:ext uri="{FF2B5EF4-FFF2-40B4-BE49-F238E27FC236}">
                  <a16:creationId xmlns:a16="http://schemas.microsoft.com/office/drawing/2014/main" id="{88947540-8C6A-4BF5-BB71-6D60ADEAEBA1}"/>
                </a:ext>
              </a:extLst>
            </p:cNvPr>
            <p:cNvSpPr/>
            <p:nvPr/>
          </p:nvSpPr>
          <p:spPr>
            <a:xfrm rot="8716295">
              <a:off x="1344107" y="314963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" name="Forme libre : forme 236">
              <a:extLst>
                <a:ext uri="{FF2B5EF4-FFF2-40B4-BE49-F238E27FC236}">
                  <a16:creationId xmlns:a16="http://schemas.microsoft.com/office/drawing/2014/main" id="{55A70DC6-65F6-4764-AD9C-C9CC5AC38D47}"/>
                </a:ext>
              </a:extLst>
            </p:cNvPr>
            <p:cNvSpPr/>
            <p:nvPr/>
          </p:nvSpPr>
          <p:spPr>
            <a:xfrm rot="8716295">
              <a:off x="1187331" y="329521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" name="Forme libre : forme 237">
              <a:extLst>
                <a:ext uri="{FF2B5EF4-FFF2-40B4-BE49-F238E27FC236}">
                  <a16:creationId xmlns:a16="http://schemas.microsoft.com/office/drawing/2014/main" id="{BB754C94-5023-48F1-A098-74F43CE79231}"/>
                </a:ext>
              </a:extLst>
            </p:cNvPr>
            <p:cNvSpPr/>
            <p:nvPr/>
          </p:nvSpPr>
          <p:spPr>
            <a:xfrm rot="8716295">
              <a:off x="1062428" y="308654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" name="Forme libre : forme 238">
              <a:extLst>
                <a:ext uri="{FF2B5EF4-FFF2-40B4-BE49-F238E27FC236}">
                  <a16:creationId xmlns:a16="http://schemas.microsoft.com/office/drawing/2014/main" id="{76EDC7DE-4ED0-41EE-BBDC-2D4CD0BE6E51}"/>
                </a:ext>
              </a:extLst>
            </p:cNvPr>
            <p:cNvSpPr/>
            <p:nvPr/>
          </p:nvSpPr>
          <p:spPr>
            <a:xfrm rot="8716295">
              <a:off x="1050376" y="294776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" name="Forme libre : forme 239">
              <a:extLst>
                <a:ext uri="{FF2B5EF4-FFF2-40B4-BE49-F238E27FC236}">
                  <a16:creationId xmlns:a16="http://schemas.microsoft.com/office/drawing/2014/main" id="{ABABCCB1-DB29-40D3-B384-2DA707723441}"/>
                </a:ext>
              </a:extLst>
            </p:cNvPr>
            <p:cNvSpPr/>
            <p:nvPr/>
          </p:nvSpPr>
          <p:spPr>
            <a:xfrm rot="8716295">
              <a:off x="1277509" y="333617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" name="Forme libre : forme 240">
              <a:extLst>
                <a:ext uri="{FF2B5EF4-FFF2-40B4-BE49-F238E27FC236}">
                  <a16:creationId xmlns:a16="http://schemas.microsoft.com/office/drawing/2014/main" id="{D86BE233-1E89-4884-9471-90ABF15AC049}"/>
                </a:ext>
              </a:extLst>
            </p:cNvPr>
            <p:cNvSpPr/>
            <p:nvPr/>
          </p:nvSpPr>
          <p:spPr>
            <a:xfrm rot="8716295">
              <a:off x="1588664" y="295652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" name="Forme libre : forme 241">
              <a:extLst>
                <a:ext uri="{FF2B5EF4-FFF2-40B4-BE49-F238E27FC236}">
                  <a16:creationId xmlns:a16="http://schemas.microsoft.com/office/drawing/2014/main" id="{1E4464D3-58E9-4A03-BB6A-8B83E3881142}"/>
                </a:ext>
              </a:extLst>
            </p:cNvPr>
            <p:cNvSpPr/>
            <p:nvPr/>
          </p:nvSpPr>
          <p:spPr>
            <a:xfrm rot="8716295">
              <a:off x="1678056" y="298576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" name="Forme libre : forme 242">
              <a:extLst>
                <a:ext uri="{FF2B5EF4-FFF2-40B4-BE49-F238E27FC236}">
                  <a16:creationId xmlns:a16="http://schemas.microsoft.com/office/drawing/2014/main" id="{17781F1F-DB19-4442-B92A-C7711450A6C2}"/>
                </a:ext>
              </a:extLst>
            </p:cNvPr>
            <p:cNvSpPr/>
            <p:nvPr/>
          </p:nvSpPr>
          <p:spPr>
            <a:xfrm rot="8716295">
              <a:off x="1476430" y="304506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" name="Forme libre : forme 243">
              <a:extLst>
                <a:ext uri="{FF2B5EF4-FFF2-40B4-BE49-F238E27FC236}">
                  <a16:creationId xmlns:a16="http://schemas.microsoft.com/office/drawing/2014/main" id="{DBD406CA-7502-44B6-87AF-2C3CFA35CDED}"/>
                </a:ext>
              </a:extLst>
            </p:cNvPr>
            <p:cNvSpPr/>
            <p:nvPr/>
          </p:nvSpPr>
          <p:spPr>
            <a:xfrm rot="8716295">
              <a:off x="1351528" y="283639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" name="Forme libre : forme 244">
              <a:extLst>
                <a:ext uri="{FF2B5EF4-FFF2-40B4-BE49-F238E27FC236}">
                  <a16:creationId xmlns:a16="http://schemas.microsoft.com/office/drawing/2014/main" id="{1D9F6882-BBB8-4C9A-BDD7-FAB6F4D5F59D}"/>
                </a:ext>
              </a:extLst>
            </p:cNvPr>
            <p:cNvSpPr/>
            <p:nvPr/>
          </p:nvSpPr>
          <p:spPr>
            <a:xfrm rot="8716295">
              <a:off x="1566608" y="308601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" name="Forme libre : forme 245">
              <a:extLst>
                <a:ext uri="{FF2B5EF4-FFF2-40B4-BE49-F238E27FC236}">
                  <a16:creationId xmlns:a16="http://schemas.microsoft.com/office/drawing/2014/main" id="{D03B605A-3C15-4096-9741-AEE20EFC39A1}"/>
                </a:ext>
              </a:extLst>
            </p:cNvPr>
            <p:cNvSpPr/>
            <p:nvPr/>
          </p:nvSpPr>
          <p:spPr>
            <a:xfrm rot="8716295">
              <a:off x="1325157" y="293641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" name="Forme libre : forme 246">
              <a:extLst>
                <a:ext uri="{FF2B5EF4-FFF2-40B4-BE49-F238E27FC236}">
                  <a16:creationId xmlns:a16="http://schemas.microsoft.com/office/drawing/2014/main" id="{38898AE8-B829-47A3-880A-38C78C89B9DE}"/>
                </a:ext>
              </a:extLst>
            </p:cNvPr>
            <p:cNvSpPr/>
            <p:nvPr/>
          </p:nvSpPr>
          <p:spPr>
            <a:xfrm rot="7484129">
              <a:off x="1671539" y="327736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" name="Forme libre : forme 247">
              <a:extLst>
                <a:ext uri="{FF2B5EF4-FFF2-40B4-BE49-F238E27FC236}">
                  <a16:creationId xmlns:a16="http://schemas.microsoft.com/office/drawing/2014/main" id="{6C94EF82-BA2B-46A8-965C-6EF68064713F}"/>
                </a:ext>
              </a:extLst>
            </p:cNvPr>
            <p:cNvSpPr/>
            <p:nvPr/>
          </p:nvSpPr>
          <p:spPr>
            <a:xfrm rot="13089394">
              <a:off x="1776359" y="324390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" name="Forme libre : forme 248">
              <a:extLst>
                <a:ext uri="{FF2B5EF4-FFF2-40B4-BE49-F238E27FC236}">
                  <a16:creationId xmlns:a16="http://schemas.microsoft.com/office/drawing/2014/main" id="{551D5950-1E6B-4DD0-AB72-CBFF9866A44D}"/>
                </a:ext>
              </a:extLst>
            </p:cNvPr>
            <p:cNvSpPr/>
            <p:nvPr/>
          </p:nvSpPr>
          <p:spPr>
            <a:xfrm rot="8716295">
              <a:off x="1961944" y="305222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" name="Forme libre : forme 249">
              <a:extLst>
                <a:ext uri="{FF2B5EF4-FFF2-40B4-BE49-F238E27FC236}">
                  <a16:creationId xmlns:a16="http://schemas.microsoft.com/office/drawing/2014/main" id="{B6B88D31-2E44-4166-86AB-E9E6ECCAF3B0}"/>
                </a:ext>
              </a:extLst>
            </p:cNvPr>
            <p:cNvSpPr/>
            <p:nvPr/>
          </p:nvSpPr>
          <p:spPr>
            <a:xfrm rot="8716295">
              <a:off x="1910139" y="294862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" name="Forme libre : forme 250">
              <a:extLst>
                <a:ext uri="{FF2B5EF4-FFF2-40B4-BE49-F238E27FC236}">
                  <a16:creationId xmlns:a16="http://schemas.microsoft.com/office/drawing/2014/main" id="{811032A2-B40D-4E18-A5FE-1E40E940D0A3}"/>
                </a:ext>
              </a:extLst>
            </p:cNvPr>
            <p:cNvSpPr/>
            <p:nvPr/>
          </p:nvSpPr>
          <p:spPr>
            <a:xfrm rot="8716295">
              <a:off x="1666893" y="297885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" name="Forme libre : forme 251">
              <a:extLst>
                <a:ext uri="{FF2B5EF4-FFF2-40B4-BE49-F238E27FC236}">
                  <a16:creationId xmlns:a16="http://schemas.microsoft.com/office/drawing/2014/main" id="{10E9AA39-FF6D-4519-822E-A935B8BFBA5C}"/>
                </a:ext>
              </a:extLst>
            </p:cNvPr>
            <p:cNvSpPr/>
            <p:nvPr/>
          </p:nvSpPr>
          <p:spPr>
            <a:xfrm rot="8716295">
              <a:off x="1844345" y="281960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" name="Forme libre : forme 252">
              <a:extLst>
                <a:ext uri="{FF2B5EF4-FFF2-40B4-BE49-F238E27FC236}">
                  <a16:creationId xmlns:a16="http://schemas.microsoft.com/office/drawing/2014/main" id="{6C0C2891-B5CF-43D2-8AFF-62DA18792308}"/>
                </a:ext>
              </a:extLst>
            </p:cNvPr>
            <p:cNvSpPr/>
            <p:nvPr/>
          </p:nvSpPr>
          <p:spPr>
            <a:xfrm rot="8716295">
              <a:off x="2092137" y="5100860"/>
              <a:ext cx="63833" cy="43384"/>
            </a:xfrm>
            <a:custGeom>
              <a:avLst/>
              <a:gdLst>
                <a:gd name="connsiteX0" fmla="*/ 5923 w 63833"/>
                <a:gd name="connsiteY0" fmla="*/ 43384 h 43384"/>
                <a:gd name="connsiteX1" fmla="*/ 0 w 63833"/>
                <a:gd name="connsiteY1" fmla="*/ 35182 h 43384"/>
                <a:gd name="connsiteX2" fmla="*/ 37391 w 63833"/>
                <a:gd name="connsiteY2" fmla="*/ 0 h 43384"/>
                <a:gd name="connsiteX3" fmla="*/ 63833 w 63833"/>
                <a:gd name="connsiteY3" fmla="*/ 18329 h 4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833" h="43384">
                  <a:moveTo>
                    <a:pt x="5923" y="43384"/>
                  </a:moveTo>
                  <a:lnTo>
                    <a:pt x="0" y="35182"/>
                  </a:lnTo>
                  <a:lnTo>
                    <a:pt x="37391" y="0"/>
                  </a:lnTo>
                  <a:lnTo>
                    <a:pt x="63833" y="1832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" name="Forme libre : forme 253">
              <a:extLst>
                <a:ext uri="{FF2B5EF4-FFF2-40B4-BE49-F238E27FC236}">
                  <a16:creationId xmlns:a16="http://schemas.microsoft.com/office/drawing/2014/main" id="{D0590309-C5C9-415B-B4DB-187E6398C8E2}"/>
                </a:ext>
              </a:extLst>
            </p:cNvPr>
            <p:cNvSpPr/>
            <p:nvPr/>
          </p:nvSpPr>
          <p:spPr>
            <a:xfrm rot="8716295">
              <a:off x="1789040" y="5044339"/>
              <a:ext cx="113322" cy="144291"/>
            </a:xfrm>
            <a:custGeom>
              <a:avLst/>
              <a:gdLst>
                <a:gd name="connsiteX0" fmla="*/ 0 w 113322"/>
                <a:gd name="connsiteY0" fmla="*/ 3741 h 144291"/>
                <a:gd name="connsiteX1" fmla="*/ 0 w 113322"/>
                <a:gd name="connsiteY1" fmla="*/ 0 h 144291"/>
                <a:gd name="connsiteX2" fmla="*/ 5398 w 113322"/>
                <a:gd name="connsiteY2" fmla="*/ 3741 h 144291"/>
                <a:gd name="connsiteX3" fmla="*/ 90709 w 113322"/>
                <a:gd name="connsiteY3" fmla="*/ 144291 h 144291"/>
                <a:gd name="connsiteX4" fmla="*/ 47847 w 113322"/>
                <a:gd name="connsiteY4" fmla="*/ 64547 h 144291"/>
                <a:gd name="connsiteX5" fmla="*/ 56901 w 113322"/>
                <a:gd name="connsiteY5" fmla="*/ 39441 h 144291"/>
                <a:gd name="connsiteX6" fmla="*/ 113322 w 113322"/>
                <a:gd name="connsiteY6" fmla="*/ 78551 h 144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322" h="144291">
                  <a:moveTo>
                    <a:pt x="0" y="3741"/>
                  </a:moveTo>
                  <a:lnTo>
                    <a:pt x="0" y="0"/>
                  </a:lnTo>
                  <a:lnTo>
                    <a:pt x="5398" y="3741"/>
                  </a:lnTo>
                  <a:close/>
                  <a:moveTo>
                    <a:pt x="90709" y="144291"/>
                  </a:moveTo>
                  <a:lnTo>
                    <a:pt x="47847" y="64547"/>
                  </a:lnTo>
                  <a:lnTo>
                    <a:pt x="56901" y="39441"/>
                  </a:lnTo>
                  <a:lnTo>
                    <a:pt x="113322" y="7855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" name="Forme libre : forme 254">
              <a:extLst>
                <a:ext uri="{FF2B5EF4-FFF2-40B4-BE49-F238E27FC236}">
                  <a16:creationId xmlns:a16="http://schemas.microsoft.com/office/drawing/2014/main" id="{5BD5D859-B6BE-4272-BEBA-C49F2EB86FA8}"/>
                </a:ext>
              </a:extLst>
            </p:cNvPr>
            <p:cNvSpPr/>
            <p:nvPr/>
          </p:nvSpPr>
          <p:spPr>
            <a:xfrm rot="8716295">
              <a:off x="1701335" y="4927006"/>
              <a:ext cx="290643" cy="318535"/>
            </a:xfrm>
            <a:custGeom>
              <a:avLst/>
              <a:gdLst>
                <a:gd name="connsiteX0" fmla="*/ 25298 w 290643"/>
                <a:gd name="connsiteY0" fmla="*/ 288944 h 318535"/>
                <a:gd name="connsiteX1" fmla="*/ 0 w 290643"/>
                <a:gd name="connsiteY1" fmla="*/ 187748 h 318535"/>
                <a:gd name="connsiteX2" fmla="*/ 0 w 290643"/>
                <a:gd name="connsiteY2" fmla="*/ 8302 h 318535"/>
                <a:gd name="connsiteX3" fmla="*/ 16003 w 290643"/>
                <a:gd name="connsiteY3" fmla="*/ 0 h 318535"/>
                <a:gd name="connsiteX4" fmla="*/ 78793 w 290643"/>
                <a:gd name="connsiteY4" fmla="*/ 43524 h 318535"/>
                <a:gd name="connsiteX5" fmla="*/ 79427 w 290643"/>
                <a:gd name="connsiteY5" fmla="*/ 131855 h 318535"/>
                <a:gd name="connsiteX6" fmla="*/ 93547 w 290643"/>
                <a:gd name="connsiteY6" fmla="*/ 229521 h 318535"/>
                <a:gd name="connsiteX7" fmla="*/ 164149 w 290643"/>
                <a:gd name="connsiteY7" fmla="*/ 268352 h 318535"/>
                <a:gd name="connsiteX8" fmla="*/ 217100 w 290643"/>
                <a:gd name="connsiteY8" fmla="*/ 258938 h 318535"/>
                <a:gd name="connsiteX9" fmla="*/ 289467 w 290643"/>
                <a:gd name="connsiteY9" fmla="*/ 229521 h 318535"/>
                <a:gd name="connsiteX10" fmla="*/ 290643 w 290643"/>
                <a:gd name="connsiteY10" fmla="*/ 237169 h 318535"/>
                <a:gd name="connsiteX11" fmla="*/ 290643 w 290643"/>
                <a:gd name="connsiteY11" fmla="*/ 243052 h 318535"/>
                <a:gd name="connsiteX12" fmla="*/ 97665 w 290643"/>
                <a:gd name="connsiteY12" fmla="*/ 318361 h 318535"/>
                <a:gd name="connsiteX13" fmla="*/ 25298 w 290643"/>
                <a:gd name="connsiteY13" fmla="*/ 288944 h 318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90643" h="318535">
                  <a:moveTo>
                    <a:pt x="25298" y="288944"/>
                  </a:moveTo>
                  <a:cubicBezTo>
                    <a:pt x="5295" y="269528"/>
                    <a:pt x="0" y="235992"/>
                    <a:pt x="0" y="187748"/>
                  </a:cubicBezTo>
                  <a:lnTo>
                    <a:pt x="0" y="8302"/>
                  </a:lnTo>
                  <a:lnTo>
                    <a:pt x="16003" y="0"/>
                  </a:lnTo>
                  <a:lnTo>
                    <a:pt x="78793" y="43524"/>
                  </a:lnTo>
                  <a:lnTo>
                    <a:pt x="79427" y="131855"/>
                  </a:lnTo>
                  <a:cubicBezTo>
                    <a:pt x="77662" y="164803"/>
                    <a:pt x="82957" y="198338"/>
                    <a:pt x="93547" y="229521"/>
                  </a:cubicBezTo>
                  <a:cubicBezTo>
                    <a:pt x="102961" y="255408"/>
                    <a:pt x="127083" y="268352"/>
                    <a:pt x="164149" y="268352"/>
                  </a:cubicBezTo>
                  <a:cubicBezTo>
                    <a:pt x="182387" y="267763"/>
                    <a:pt x="200038" y="264233"/>
                    <a:pt x="217100" y="258938"/>
                  </a:cubicBezTo>
                  <a:cubicBezTo>
                    <a:pt x="241810" y="251290"/>
                    <a:pt x="265933" y="241288"/>
                    <a:pt x="289467" y="229521"/>
                  </a:cubicBezTo>
                  <a:cubicBezTo>
                    <a:pt x="290055" y="231874"/>
                    <a:pt x="290643" y="234816"/>
                    <a:pt x="290643" y="237169"/>
                  </a:cubicBezTo>
                  <a:lnTo>
                    <a:pt x="290643" y="243052"/>
                  </a:lnTo>
                  <a:cubicBezTo>
                    <a:pt x="228278" y="296592"/>
                    <a:pt x="146498" y="315419"/>
                    <a:pt x="97665" y="318361"/>
                  </a:cubicBezTo>
                  <a:cubicBezTo>
                    <a:pt x="70602" y="320126"/>
                    <a:pt x="44126" y="308359"/>
                    <a:pt x="25298" y="28894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" name="Forme libre : forme 255">
              <a:extLst>
                <a:ext uri="{FF2B5EF4-FFF2-40B4-BE49-F238E27FC236}">
                  <a16:creationId xmlns:a16="http://schemas.microsoft.com/office/drawing/2014/main" id="{DF6324B6-1146-4A58-A87B-58A99832DFC5}"/>
                </a:ext>
              </a:extLst>
            </p:cNvPr>
            <p:cNvSpPr/>
            <p:nvPr/>
          </p:nvSpPr>
          <p:spPr>
            <a:xfrm rot="8716295">
              <a:off x="2251190" y="4935850"/>
              <a:ext cx="142167" cy="232388"/>
            </a:xfrm>
            <a:custGeom>
              <a:avLst/>
              <a:gdLst>
                <a:gd name="connsiteX0" fmla="*/ 81108 w 142167"/>
                <a:gd name="connsiteY0" fmla="*/ 232388 h 232388"/>
                <a:gd name="connsiteX1" fmla="*/ 81108 w 142167"/>
                <a:gd name="connsiteY1" fmla="*/ 69716 h 232388"/>
                <a:gd name="connsiteX2" fmla="*/ 81108 w 142167"/>
                <a:gd name="connsiteY2" fmla="*/ 65616 h 232388"/>
                <a:gd name="connsiteX3" fmla="*/ 60604 w 142167"/>
                <a:gd name="connsiteY3" fmla="*/ 50123 h 232388"/>
                <a:gd name="connsiteX4" fmla="*/ 0 w 142167"/>
                <a:gd name="connsiteY4" fmla="*/ 50123 h 232388"/>
                <a:gd name="connsiteX5" fmla="*/ 0 w 142167"/>
                <a:gd name="connsiteY5" fmla="*/ 0 h 232388"/>
                <a:gd name="connsiteX6" fmla="*/ 63990 w 142167"/>
                <a:gd name="connsiteY6" fmla="*/ 0 h 232388"/>
                <a:gd name="connsiteX7" fmla="*/ 142167 w 142167"/>
                <a:gd name="connsiteY7" fmla="*/ 54190 h 232388"/>
                <a:gd name="connsiteX8" fmla="*/ 142167 w 142167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32388">
                  <a:moveTo>
                    <a:pt x="81108" y="232388"/>
                  </a:moveTo>
                  <a:lnTo>
                    <a:pt x="81108" y="69716"/>
                  </a:lnTo>
                  <a:cubicBezTo>
                    <a:pt x="81108" y="68350"/>
                    <a:pt x="81108" y="66983"/>
                    <a:pt x="81108" y="65616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63990" y="0"/>
                  </a:lnTo>
                  <a:lnTo>
                    <a:pt x="142167" y="54190"/>
                  </a:lnTo>
                  <a:lnTo>
                    <a:pt x="142167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" name="Forme libre : forme 256">
              <a:extLst>
                <a:ext uri="{FF2B5EF4-FFF2-40B4-BE49-F238E27FC236}">
                  <a16:creationId xmlns:a16="http://schemas.microsoft.com/office/drawing/2014/main" id="{646EF66B-E595-4EAF-98DD-AFED25A9F1D2}"/>
                </a:ext>
              </a:extLst>
            </p:cNvPr>
            <p:cNvSpPr/>
            <p:nvPr/>
          </p:nvSpPr>
          <p:spPr>
            <a:xfrm rot="8716295">
              <a:off x="2456859" y="4924575"/>
              <a:ext cx="131246" cy="253348"/>
            </a:xfrm>
            <a:custGeom>
              <a:avLst/>
              <a:gdLst>
                <a:gd name="connsiteX0" fmla="*/ 51490 w 131246"/>
                <a:gd name="connsiteY0" fmla="*/ 253348 h 253348"/>
                <a:gd name="connsiteX1" fmla="*/ 51489 w 131246"/>
                <a:gd name="connsiteY1" fmla="*/ 44199 h 253348"/>
                <a:gd name="connsiteX2" fmla="*/ 0 w 131246"/>
                <a:gd name="connsiteY2" fmla="*/ 44199 h 253348"/>
                <a:gd name="connsiteX3" fmla="*/ 0 w 131246"/>
                <a:gd name="connsiteY3" fmla="*/ 0 h 253348"/>
                <a:gd name="connsiteX4" fmla="*/ 44807 w 131246"/>
                <a:gd name="connsiteY4" fmla="*/ 0 h 253348"/>
                <a:gd name="connsiteX5" fmla="*/ 104802 w 131246"/>
                <a:gd name="connsiteY5" fmla="*/ 41587 h 253348"/>
                <a:gd name="connsiteX6" fmla="*/ 104802 w 131246"/>
                <a:gd name="connsiteY6" fmla="*/ 73817 h 253348"/>
                <a:gd name="connsiteX7" fmla="*/ 106169 w 131246"/>
                <a:gd name="connsiteY7" fmla="*/ 73817 h 253348"/>
                <a:gd name="connsiteX8" fmla="*/ 115569 w 131246"/>
                <a:gd name="connsiteY8" fmla="*/ 49050 h 253348"/>
                <a:gd name="connsiteX9" fmla="*/ 131246 w 131246"/>
                <a:gd name="connsiteY9" fmla="*/ 59916 h 253348"/>
                <a:gd name="connsiteX10" fmla="*/ 127358 w 131246"/>
                <a:gd name="connsiteY10" fmla="*/ 64191 h 253348"/>
                <a:gd name="connsiteX11" fmla="*/ 111638 w 131246"/>
                <a:gd name="connsiteY11" fmla="*/ 126218 h 253348"/>
                <a:gd name="connsiteX12" fmla="*/ 111638 w 131246"/>
                <a:gd name="connsiteY12" fmla="*/ 212339 h 253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1246" h="253348">
                  <a:moveTo>
                    <a:pt x="51490" y="253348"/>
                  </a:moveTo>
                  <a:lnTo>
                    <a:pt x="51489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44807" y="0"/>
                  </a:lnTo>
                  <a:lnTo>
                    <a:pt x="104802" y="41587"/>
                  </a:lnTo>
                  <a:lnTo>
                    <a:pt x="104802" y="73817"/>
                  </a:lnTo>
                  <a:lnTo>
                    <a:pt x="106169" y="73817"/>
                  </a:lnTo>
                  <a:lnTo>
                    <a:pt x="115569" y="49050"/>
                  </a:lnTo>
                  <a:lnTo>
                    <a:pt x="131246" y="59916"/>
                  </a:lnTo>
                  <a:lnTo>
                    <a:pt x="127358" y="64191"/>
                  </a:lnTo>
                  <a:cubicBezTo>
                    <a:pt x="117675" y="79968"/>
                    <a:pt x="111638" y="101840"/>
                    <a:pt x="111638" y="126218"/>
                  </a:cubicBezTo>
                  <a:lnTo>
                    <a:pt x="111638" y="2123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" name="Forme libre : forme 257">
              <a:extLst>
                <a:ext uri="{FF2B5EF4-FFF2-40B4-BE49-F238E27FC236}">
                  <a16:creationId xmlns:a16="http://schemas.microsoft.com/office/drawing/2014/main" id="{BBB2A0DE-B613-4103-A446-00FD5673FDA7}"/>
                </a:ext>
              </a:extLst>
            </p:cNvPr>
            <p:cNvSpPr/>
            <p:nvPr/>
          </p:nvSpPr>
          <p:spPr>
            <a:xfrm rot="8716295">
              <a:off x="2139785" y="502413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" name="Forme libre : forme 258">
              <a:extLst>
                <a:ext uri="{FF2B5EF4-FFF2-40B4-BE49-F238E27FC236}">
                  <a16:creationId xmlns:a16="http://schemas.microsoft.com/office/drawing/2014/main" id="{CE0B209D-C132-46B3-A7D3-E99A86963D83}"/>
                </a:ext>
              </a:extLst>
            </p:cNvPr>
            <p:cNvSpPr/>
            <p:nvPr/>
          </p:nvSpPr>
          <p:spPr>
            <a:xfrm rot="8716295">
              <a:off x="2014883" y="481546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" name="Forme libre : forme 259">
              <a:extLst>
                <a:ext uri="{FF2B5EF4-FFF2-40B4-BE49-F238E27FC236}">
                  <a16:creationId xmlns:a16="http://schemas.microsoft.com/office/drawing/2014/main" id="{46BBD1CB-80EF-4DD7-9CA4-1F270A6D433D}"/>
                </a:ext>
              </a:extLst>
            </p:cNvPr>
            <p:cNvSpPr/>
            <p:nvPr/>
          </p:nvSpPr>
          <p:spPr>
            <a:xfrm rot="8716295">
              <a:off x="2190257" y="5090583"/>
              <a:ext cx="60147" cy="76898"/>
            </a:xfrm>
            <a:custGeom>
              <a:avLst/>
              <a:gdLst>
                <a:gd name="connsiteX0" fmla="*/ 60147 w 60147"/>
                <a:gd name="connsiteY0" fmla="*/ 76898 h 76898"/>
                <a:gd name="connsiteX1" fmla="*/ 0 w 60147"/>
                <a:gd name="connsiteY1" fmla="*/ 19028 h 76898"/>
                <a:gd name="connsiteX2" fmla="*/ 0 w 60147"/>
                <a:gd name="connsiteY2" fmla="*/ 0 h 76898"/>
                <a:gd name="connsiteX3" fmla="*/ 60147 w 60147"/>
                <a:gd name="connsiteY3" fmla="*/ 41692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7" h="76898">
                  <a:moveTo>
                    <a:pt x="60147" y="76898"/>
                  </a:moveTo>
                  <a:lnTo>
                    <a:pt x="0" y="19028"/>
                  </a:lnTo>
                  <a:lnTo>
                    <a:pt x="0" y="0"/>
                  </a:lnTo>
                  <a:lnTo>
                    <a:pt x="60147" y="416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" name="Forme libre : forme 260">
              <a:extLst>
                <a:ext uri="{FF2B5EF4-FFF2-40B4-BE49-F238E27FC236}">
                  <a16:creationId xmlns:a16="http://schemas.microsoft.com/office/drawing/2014/main" id="{A32DFF69-92E6-43D9-A847-4B37531C0FC1}"/>
                </a:ext>
              </a:extLst>
            </p:cNvPr>
            <p:cNvSpPr/>
            <p:nvPr/>
          </p:nvSpPr>
          <p:spPr>
            <a:xfrm rot="8716295">
              <a:off x="1988512" y="491548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" name="Forme libre : forme 261">
              <a:extLst>
                <a:ext uri="{FF2B5EF4-FFF2-40B4-BE49-F238E27FC236}">
                  <a16:creationId xmlns:a16="http://schemas.microsoft.com/office/drawing/2014/main" id="{8232E004-724D-4398-A64A-AF1F94C033B6}"/>
                </a:ext>
              </a:extLst>
            </p:cNvPr>
            <p:cNvSpPr/>
            <p:nvPr/>
          </p:nvSpPr>
          <p:spPr>
            <a:xfrm rot="8716295">
              <a:off x="2650789" y="5021708"/>
              <a:ext cx="177699" cy="117559"/>
            </a:xfrm>
            <a:custGeom>
              <a:avLst/>
              <a:gdLst>
                <a:gd name="connsiteX0" fmla="*/ 6986 w 177699"/>
                <a:gd name="connsiteY0" fmla="*/ 117559 h 117559"/>
                <a:gd name="connsiteX1" fmla="*/ 0 w 177699"/>
                <a:gd name="connsiteY1" fmla="*/ 107886 h 117559"/>
                <a:gd name="connsiteX2" fmla="*/ 114658 w 177699"/>
                <a:gd name="connsiteY2" fmla="*/ 0 h 117559"/>
                <a:gd name="connsiteX3" fmla="*/ 177699 w 177699"/>
                <a:gd name="connsiteY3" fmla="*/ 43698 h 117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7699" h="117559">
                  <a:moveTo>
                    <a:pt x="6986" y="117559"/>
                  </a:moveTo>
                  <a:lnTo>
                    <a:pt x="0" y="107886"/>
                  </a:lnTo>
                  <a:lnTo>
                    <a:pt x="114658" y="0"/>
                  </a:lnTo>
                  <a:lnTo>
                    <a:pt x="177699" y="436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" name="Forme libre : forme 262">
              <a:extLst>
                <a:ext uri="{FF2B5EF4-FFF2-40B4-BE49-F238E27FC236}">
                  <a16:creationId xmlns:a16="http://schemas.microsoft.com/office/drawing/2014/main" id="{FBFBE439-377B-4FDF-9911-15B61D5AC250}"/>
                </a:ext>
              </a:extLst>
            </p:cNvPr>
            <p:cNvSpPr/>
            <p:nvPr/>
          </p:nvSpPr>
          <p:spPr>
            <a:xfrm rot="8716295">
              <a:off x="2573494" y="492769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" name="Forme libre : forme 263">
              <a:extLst>
                <a:ext uri="{FF2B5EF4-FFF2-40B4-BE49-F238E27FC236}">
                  <a16:creationId xmlns:a16="http://schemas.microsoft.com/office/drawing/2014/main" id="{8F5A7FC6-58AF-4BF6-9769-158D9D43A4A8}"/>
                </a:ext>
              </a:extLst>
            </p:cNvPr>
            <p:cNvSpPr/>
            <p:nvPr/>
          </p:nvSpPr>
          <p:spPr>
            <a:xfrm rot="8716295">
              <a:off x="2330248" y="495791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" name="Forme libre : forme 264">
              <a:extLst>
                <a:ext uri="{FF2B5EF4-FFF2-40B4-BE49-F238E27FC236}">
                  <a16:creationId xmlns:a16="http://schemas.microsoft.com/office/drawing/2014/main" id="{0B99B4B3-E447-449D-B6F2-40AFC1232903}"/>
                </a:ext>
              </a:extLst>
            </p:cNvPr>
            <p:cNvSpPr/>
            <p:nvPr/>
          </p:nvSpPr>
          <p:spPr>
            <a:xfrm rot="8716295">
              <a:off x="2507700" y="479867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" name="Forme libre : forme 265">
              <a:extLst>
                <a:ext uri="{FF2B5EF4-FFF2-40B4-BE49-F238E27FC236}">
                  <a16:creationId xmlns:a16="http://schemas.microsoft.com/office/drawing/2014/main" id="{9FDE555B-22C7-4972-A03C-9A881E9F494C}"/>
                </a:ext>
              </a:extLst>
            </p:cNvPr>
            <p:cNvSpPr/>
            <p:nvPr/>
          </p:nvSpPr>
          <p:spPr>
            <a:xfrm rot="8716295">
              <a:off x="1518235" y="386507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" name="Forme libre : forme 266">
              <a:extLst>
                <a:ext uri="{FF2B5EF4-FFF2-40B4-BE49-F238E27FC236}">
                  <a16:creationId xmlns:a16="http://schemas.microsoft.com/office/drawing/2014/main" id="{47023A4A-E9A4-4E7C-9A1F-7F050E215658}"/>
                </a:ext>
              </a:extLst>
            </p:cNvPr>
            <p:cNvSpPr/>
            <p:nvPr/>
          </p:nvSpPr>
          <p:spPr>
            <a:xfrm rot="8716295">
              <a:off x="1607627" y="389431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" name="Forme libre : forme 267">
              <a:extLst>
                <a:ext uri="{FF2B5EF4-FFF2-40B4-BE49-F238E27FC236}">
                  <a16:creationId xmlns:a16="http://schemas.microsoft.com/office/drawing/2014/main" id="{721AE192-0DE9-44CE-AFE7-60EAD2184BA9}"/>
                </a:ext>
              </a:extLst>
            </p:cNvPr>
            <p:cNvSpPr/>
            <p:nvPr/>
          </p:nvSpPr>
          <p:spPr>
            <a:xfrm rot="8716295">
              <a:off x="1562777" y="380803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" name="Forme libre : forme 268">
              <a:extLst>
                <a:ext uri="{FF2B5EF4-FFF2-40B4-BE49-F238E27FC236}">
                  <a16:creationId xmlns:a16="http://schemas.microsoft.com/office/drawing/2014/main" id="{C1003FCB-894D-4CB7-9C82-85789FE9B276}"/>
                </a:ext>
              </a:extLst>
            </p:cNvPr>
            <p:cNvSpPr/>
            <p:nvPr/>
          </p:nvSpPr>
          <p:spPr>
            <a:xfrm rot="8716295">
              <a:off x="1406001" y="395361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0" name="Forme libre : forme 269">
              <a:extLst>
                <a:ext uri="{FF2B5EF4-FFF2-40B4-BE49-F238E27FC236}">
                  <a16:creationId xmlns:a16="http://schemas.microsoft.com/office/drawing/2014/main" id="{7F48A554-D952-4BC7-8F60-7FBDCE05FE70}"/>
                </a:ext>
              </a:extLst>
            </p:cNvPr>
            <p:cNvSpPr/>
            <p:nvPr/>
          </p:nvSpPr>
          <p:spPr>
            <a:xfrm rot="8716295">
              <a:off x="1281098" y="374494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1" name="Forme libre : forme 270">
              <a:extLst>
                <a:ext uri="{FF2B5EF4-FFF2-40B4-BE49-F238E27FC236}">
                  <a16:creationId xmlns:a16="http://schemas.microsoft.com/office/drawing/2014/main" id="{B64659B2-F8CD-4B3D-8353-ED1AAF15923F}"/>
                </a:ext>
              </a:extLst>
            </p:cNvPr>
            <p:cNvSpPr/>
            <p:nvPr/>
          </p:nvSpPr>
          <p:spPr>
            <a:xfrm rot="8716295">
              <a:off x="1269046" y="3606161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2" name="Forme libre : forme 271">
              <a:extLst>
                <a:ext uri="{FF2B5EF4-FFF2-40B4-BE49-F238E27FC236}">
                  <a16:creationId xmlns:a16="http://schemas.microsoft.com/office/drawing/2014/main" id="{C1336409-0E83-4F9F-AE44-B0095CEBE127}"/>
                </a:ext>
              </a:extLst>
            </p:cNvPr>
            <p:cNvSpPr/>
            <p:nvPr/>
          </p:nvSpPr>
          <p:spPr>
            <a:xfrm rot="8716295">
              <a:off x="1496179" y="399456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3" name="Forme libre : forme 272">
              <a:extLst>
                <a:ext uri="{FF2B5EF4-FFF2-40B4-BE49-F238E27FC236}">
                  <a16:creationId xmlns:a16="http://schemas.microsoft.com/office/drawing/2014/main" id="{11163225-7511-4602-A804-B9D156B88F47}"/>
                </a:ext>
              </a:extLst>
            </p:cNvPr>
            <p:cNvSpPr/>
            <p:nvPr/>
          </p:nvSpPr>
          <p:spPr>
            <a:xfrm rot="8716295">
              <a:off x="1807334" y="36149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4" name="Forme libre : forme 273">
              <a:extLst>
                <a:ext uri="{FF2B5EF4-FFF2-40B4-BE49-F238E27FC236}">
                  <a16:creationId xmlns:a16="http://schemas.microsoft.com/office/drawing/2014/main" id="{81961769-D6FF-4365-87D3-0FF20F673A4A}"/>
                </a:ext>
              </a:extLst>
            </p:cNvPr>
            <p:cNvSpPr/>
            <p:nvPr/>
          </p:nvSpPr>
          <p:spPr>
            <a:xfrm rot="8716295">
              <a:off x="1896726" y="36441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5" name="Forme libre : forme 274">
              <a:extLst>
                <a:ext uri="{FF2B5EF4-FFF2-40B4-BE49-F238E27FC236}">
                  <a16:creationId xmlns:a16="http://schemas.microsoft.com/office/drawing/2014/main" id="{D838E7DA-A3D8-4733-90D9-56C4006640C1}"/>
                </a:ext>
              </a:extLst>
            </p:cNvPr>
            <p:cNvSpPr/>
            <p:nvPr/>
          </p:nvSpPr>
          <p:spPr>
            <a:xfrm rot="8716295">
              <a:off x="1695100" y="370346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6" name="Forme libre : forme 275">
              <a:extLst>
                <a:ext uri="{FF2B5EF4-FFF2-40B4-BE49-F238E27FC236}">
                  <a16:creationId xmlns:a16="http://schemas.microsoft.com/office/drawing/2014/main" id="{BE48505C-4A3C-41E8-805D-3F3964663DC3}"/>
                </a:ext>
              </a:extLst>
            </p:cNvPr>
            <p:cNvSpPr/>
            <p:nvPr/>
          </p:nvSpPr>
          <p:spPr>
            <a:xfrm rot="8716295">
              <a:off x="1570198" y="349478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7" name="Forme libre : forme 276">
              <a:extLst>
                <a:ext uri="{FF2B5EF4-FFF2-40B4-BE49-F238E27FC236}">
                  <a16:creationId xmlns:a16="http://schemas.microsoft.com/office/drawing/2014/main" id="{74C1AFD3-7B5D-49B6-B346-37FFDE5D01C0}"/>
                </a:ext>
              </a:extLst>
            </p:cNvPr>
            <p:cNvSpPr/>
            <p:nvPr/>
          </p:nvSpPr>
          <p:spPr>
            <a:xfrm rot="8716295">
              <a:off x="1785278" y="37444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8" name="Forme libre : forme 277">
              <a:extLst>
                <a:ext uri="{FF2B5EF4-FFF2-40B4-BE49-F238E27FC236}">
                  <a16:creationId xmlns:a16="http://schemas.microsoft.com/office/drawing/2014/main" id="{B918BF38-28D0-4E79-852B-01ED43D79B29}"/>
                </a:ext>
              </a:extLst>
            </p:cNvPr>
            <p:cNvSpPr/>
            <p:nvPr/>
          </p:nvSpPr>
          <p:spPr>
            <a:xfrm rot="8716295">
              <a:off x="1543827" y="359481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9" name="Forme libre : forme 278">
              <a:extLst>
                <a:ext uri="{FF2B5EF4-FFF2-40B4-BE49-F238E27FC236}">
                  <a16:creationId xmlns:a16="http://schemas.microsoft.com/office/drawing/2014/main" id="{9821C7DC-A0EE-43BB-82AD-2D73FD4DEC58}"/>
                </a:ext>
              </a:extLst>
            </p:cNvPr>
            <p:cNvSpPr/>
            <p:nvPr/>
          </p:nvSpPr>
          <p:spPr>
            <a:xfrm rot="7484129">
              <a:off x="1890209" y="393576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0" name="Forme libre : forme 279">
              <a:extLst>
                <a:ext uri="{FF2B5EF4-FFF2-40B4-BE49-F238E27FC236}">
                  <a16:creationId xmlns:a16="http://schemas.microsoft.com/office/drawing/2014/main" id="{CE9B832D-CDB0-4485-83A6-7D7ED44A3320}"/>
                </a:ext>
              </a:extLst>
            </p:cNvPr>
            <p:cNvSpPr/>
            <p:nvPr/>
          </p:nvSpPr>
          <p:spPr>
            <a:xfrm rot="13089394">
              <a:off x="1995029" y="3902299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1" name="Forme libre : forme 280">
              <a:extLst>
                <a:ext uri="{FF2B5EF4-FFF2-40B4-BE49-F238E27FC236}">
                  <a16:creationId xmlns:a16="http://schemas.microsoft.com/office/drawing/2014/main" id="{B39230A2-1C21-4062-B5E2-4E3B7D0C88CD}"/>
                </a:ext>
              </a:extLst>
            </p:cNvPr>
            <p:cNvSpPr/>
            <p:nvPr/>
          </p:nvSpPr>
          <p:spPr>
            <a:xfrm rot="8716295">
              <a:off x="2180614" y="371061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2" name="Forme libre : forme 281">
              <a:extLst>
                <a:ext uri="{FF2B5EF4-FFF2-40B4-BE49-F238E27FC236}">
                  <a16:creationId xmlns:a16="http://schemas.microsoft.com/office/drawing/2014/main" id="{81DCB6A5-C857-4E79-932B-EE7CD6E9E80D}"/>
                </a:ext>
              </a:extLst>
            </p:cNvPr>
            <p:cNvSpPr/>
            <p:nvPr/>
          </p:nvSpPr>
          <p:spPr>
            <a:xfrm rot="8716295">
              <a:off x="2128809" y="360702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3" name="Forme libre : forme 282">
              <a:extLst>
                <a:ext uri="{FF2B5EF4-FFF2-40B4-BE49-F238E27FC236}">
                  <a16:creationId xmlns:a16="http://schemas.microsoft.com/office/drawing/2014/main" id="{DE2E55F0-E1D2-42EF-81BE-5B9CF56A8B16}"/>
                </a:ext>
              </a:extLst>
            </p:cNvPr>
            <p:cNvSpPr/>
            <p:nvPr/>
          </p:nvSpPr>
          <p:spPr>
            <a:xfrm rot="8716295">
              <a:off x="1885563" y="36372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4" name="Forme libre : forme 283">
              <a:extLst>
                <a:ext uri="{FF2B5EF4-FFF2-40B4-BE49-F238E27FC236}">
                  <a16:creationId xmlns:a16="http://schemas.microsoft.com/office/drawing/2014/main" id="{14AD1449-9E25-4F42-B0CB-B7AB7DA137A1}"/>
                </a:ext>
              </a:extLst>
            </p:cNvPr>
            <p:cNvSpPr/>
            <p:nvPr/>
          </p:nvSpPr>
          <p:spPr>
            <a:xfrm rot="8716295">
              <a:off x="2063015" y="34780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5" name="Forme libre : forme 284">
              <a:extLst>
                <a:ext uri="{FF2B5EF4-FFF2-40B4-BE49-F238E27FC236}">
                  <a16:creationId xmlns:a16="http://schemas.microsoft.com/office/drawing/2014/main" id="{9459C257-BD83-4EA3-A67A-64F2E29D2444}"/>
                </a:ext>
              </a:extLst>
            </p:cNvPr>
            <p:cNvSpPr/>
            <p:nvPr/>
          </p:nvSpPr>
          <p:spPr>
            <a:xfrm rot="8716295">
              <a:off x="1741402" y="452476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6" name="Forme libre : forme 285">
              <a:extLst>
                <a:ext uri="{FF2B5EF4-FFF2-40B4-BE49-F238E27FC236}">
                  <a16:creationId xmlns:a16="http://schemas.microsoft.com/office/drawing/2014/main" id="{776DF04A-9E10-40B0-8F87-C3176DFB0655}"/>
                </a:ext>
              </a:extLst>
            </p:cNvPr>
            <p:cNvSpPr/>
            <p:nvPr/>
          </p:nvSpPr>
          <p:spPr>
            <a:xfrm rot="8716295">
              <a:off x="1830794" y="455401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7" name="Forme libre : forme 286">
              <a:extLst>
                <a:ext uri="{FF2B5EF4-FFF2-40B4-BE49-F238E27FC236}">
                  <a16:creationId xmlns:a16="http://schemas.microsoft.com/office/drawing/2014/main" id="{1BCF78D3-72E0-4C34-AE46-85492A03A633}"/>
                </a:ext>
              </a:extLst>
            </p:cNvPr>
            <p:cNvSpPr/>
            <p:nvPr/>
          </p:nvSpPr>
          <p:spPr>
            <a:xfrm rot="8716295">
              <a:off x="1785944" y="4467731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8" name="Forme libre : forme 287">
              <a:extLst>
                <a:ext uri="{FF2B5EF4-FFF2-40B4-BE49-F238E27FC236}">
                  <a16:creationId xmlns:a16="http://schemas.microsoft.com/office/drawing/2014/main" id="{40DD2911-8E83-41A0-92FE-163A6FA95009}"/>
                </a:ext>
              </a:extLst>
            </p:cNvPr>
            <p:cNvSpPr/>
            <p:nvPr/>
          </p:nvSpPr>
          <p:spPr>
            <a:xfrm rot="8716295">
              <a:off x="1629168" y="461331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9" name="Forme libre : forme 288">
              <a:extLst>
                <a:ext uri="{FF2B5EF4-FFF2-40B4-BE49-F238E27FC236}">
                  <a16:creationId xmlns:a16="http://schemas.microsoft.com/office/drawing/2014/main" id="{E686274E-624B-4FD1-9536-D2B4D790F806}"/>
                </a:ext>
              </a:extLst>
            </p:cNvPr>
            <p:cNvSpPr/>
            <p:nvPr/>
          </p:nvSpPr>
          <p:spPr>
            <a:xfrm rot="8716295">
              <a:off x="1504265" y="440464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0" name="Forme libre : forme 289">
              <a:extLst>
                <a:ext uri="{FF2B5EF4-FFF2-40B4-BE49-F238E27FC236}">
                  <a16:creationId xmlns:a16="http://schemas.microsoft.com/office/drawing/2014/main" id="{DA92638D-CC75-4944-B78B-61E3B22A12E3}"/>
                </a:ext>
              </a:extLst>
            </p:cNvPr>
            <p:cNvSpPr/>
            <p:nvPr/>
          </p:nvSpPr>
          <p:spPr>
            <a:xfrm rot="8716295">
              <a:off x="1492213" y="4265860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1" name="Forme libre : forme 290">
              <a:extLst>
                <a:ext uri="{FF2B5EF4-FFF2-40B4-BE49-F238E27FC236}">
                  <a16:creationId xmlns:a16="http://schemas.microsoft.com/office/drawing/2014/main" id="{17950727-3BF3-4A34-9F11-5322F5CFB8F3}"/>
                </a:ext>
              </a:extLst>
            </p:cNvPr>
            <p:cNvSpPr/>
            <p:nvPr/>
          </p:nvSpPr>
          <p:spPr>
            <a:xfrm rot="8716295">
              <a:off x="1719346" y="465426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2" name="Forme libre : forme 291">
              <a:extLst>
                <a:ext uri="{FF2B5EF4-FFF2-40B4-BE49-F238E27FC236}">
                  <a16:creationId xmlns:a16="http://schemas.microsoft.com/office/drawing/2014/main" id="{9010FFF3-701E-491D-97A1-527670851B3C}"/>
                </a:ext>
              </a:extLst>
            </p:cNvPr>
            <p:cNvSpPr/>
            <p:nvPr/>
          </p:nvSpPr>
          <p:spPr>
            <a:xfrm rot="8716295">
              <a:off x="2030501" y="427461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3" name="Forme libre : forme 292">
              <a:extLst>
                <a:ext uri="{FF2B5EF4-FFF2-40B4-BE49-F238E27FC236}">
                  <a16:creationId xmlns:a16="http://schemas.microsoft.com/office/drawing/2014/main" id="{8E50FB82-1555-41A1-B55B-D3699A1B10A3}"/>
                </a:ext>
              </a:extLst>
            </p:cNvPr>
            <p:cNvSpPr/>
            <p:nvPr/>
          </p:nvSpPr>
          <p:spPr>
            <a:xfrm rot="8716295">
              <a:off x="2119893" y="430385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4" name="Forme libre : forme 293">
              <a:extLst>
                <a:ext uri="{FF2B5EF4-FFF2-40B4-BE49-F238E27FC236}">
                  <a16:creationId xmlns:a16="http://schemas.microsoft.com/office/drawing/2014/main" id="{ECB71CB3-C9D6-4612-8036-4BC5560F17FE}"/>
                </a:ext>
              </a:extLst>
            </p:cNvPr>
            <p:cNvSpPr/>
            <p:nvPr/>
          </p:nvSpPr>
          <p:spPr>
            <a:xfrm rot="8716295">
              <a:off x="1918267" y="436316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5" name="Forme libre : forme 294">
              <a:extLst>
                <a:ext uri="{FF2B5EF4-FFF2-40B4-BE49-F238E27FC236}">
                  <a16:creationId xmlns:a16="http://schemas.microsoft.com/office/drawing/2014/main" id="{23C3947C-E5CD-4C04-A462-D000016701AE}"/>
                </a:ext>
              </a:extLst>
            </p:cNvPr>
            <p:cNvSpPr/>
            <p:nvPr/>
          </p:nvSpPr>
          <p:spPr>
            <a:xfrm rot="8716295">
              <a:off x="1793365" y="415448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6" name="Forme libre : forme 295">
              <a:extLst>
                <a:ext uri="{FF2B5EF4-FFF2-40B4-BE49-F238E27FC236}">
                  <a16:creationId xmlns:a16="http://schemas.microsoft.com/office/drawing/2014/main" id="{36960960-0C32-4C59-8462-A2186C943B16}"/>
                </a:ext>
              </a:extLst>
            </p:cNvPr>
            <p:cNvSpPr/>
            <p:nvPr/>
          </p:nvSpPr>
          <p:spPr>
            <a:xfrm rot="8716295">
              <a:off x="2008445" y="4404113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7" name="Forme libre : forme 296">
              <a:extLst>
                <a:ext uri="{FF2B5EF4-FFF2-40B4-BE49-F238E27FC236}">
                  <a16:creationId xmlns:a16="http://schemas.microsoft.com/office/drawing/2014/main" id="{A017DED6-0DF0-4954-AA17-FAF145052546}"/>
                </a:ext>
              </a:extLst>
            </p:cNvPr>
            <p:cNvSpPr/>
            <p:nvPr/>
          </p:nvSpPr>
          <p:spPr>
            <a:xfrm rot="8716295">
              <a:off x="1766994" y="4254513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8" name="Forme libre : forme 297">
              <a:extLst>
                <a:ext uri="{FF2B5EF4-FFF2-40B4-BE49-F238E27FC236}">
                  <a16:creationId xmlns:a16="http://schemas.microsoft.com/office/drawing/2014/main" id="{5CC2F812-5E9A-4217-955F-4164466B5C25}"/>
                </a:ext>
              </a:extLst>
            </p:cNvPr>
            <p:cNvSpPr/>
            <p:nvPr/>
          </p:nvSpPr>
          <p:spPr>
            <a:xfrm rot="7484129">
              <a:off x="2113376" y="459546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9" name="Forme libre : forme 298">
              <a:extLst>
                <a:ext uri="{FF2B5EF4-FFF2-40B4-BE49-F238E27FC236}">
                  <a16:creationId xmlns:a16="http://schemas.microsoft.com/office/drawing/2014/main" id="{C4DB3C3C-7923-468B-A1D6-C35736B5F055}"/>
                </a:ext>
              </a:extLst>
            </p:cNvPr>
            <p:cNvSpPr/>
            <p:nvPr/>
          </p:nvSpPr>
          <p:spPr>
            <a:xfrm rot="13089394">
              <a:off x="2218196" y="4561998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0" name="Forme libre : forme 299">
              <a:extLst>
                <a:ext uri="{FF2B5EF4-FFF2-40B4-BE49-F238E27FC236}">
                  <a16:creationId xmlns:a16="http://schemas.microsoft.com/office/drawing/2014/main" id="{4DB3A68B-6594-48A3-9ED1-B19E13D1C859}"/>
                </a:ext>
              </a:extLst>
            </p:cNvPr>
            <p:cNvSpPr/>
            <p:nvPr/>
          </p:nvSpPr>
          <p:spPr>
            <a:xfrm rot="8716295">
              <a:off x="2403781" y="4370317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1" name="Forme libre : forme 300">
              <a:extLst>
                <a:ext uri="{FF2B5EF4-FFF2-40B4-BE49-F238E27FC236}">
                  <a16:creationId xmlns:a16="http://schemas.microsoft.com/office/drawing/2014/main" id="{257847A5-8115-45F6-B365-C04D26B7A465}"/>
                </a:ext>
              </a:extLst>
            </p:cNvPr>
            <p:cNvSpPr/>
            <p:nvPr/>
          </p:nvSpPr>
          <p:spPr>
            <a:xfrm rot="8716295">
              <a:off x="2351976" y="426672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2" name="Forme libre : forme 301">
              <a:extLst>
                <a:ext uri="{FF2B5EF4-FFF2-40B4-BE49-F238E27FC236}">
                  <a16:creationId xmlns:a16="http://schemas.microsoft.com/office/drawing/2014/main" id="{8F6B8004-8361-41BA-B532-27BD701A55E8}"/>
                </a:ext>
              </a:extLst>
            </p:cNvPr>
            <p:cNvSpPr/>
            <p:nvPr/>
          </p:nvSpPr>
          <p:spPr>
            <a:xfrm rot="8716295">
              <a:off x="2108730" y="429694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3" name="Forme libre : forme 302">
              <a:extLst>
                <a:ext uri="{FF2B5EF4-FFF2-40B4-BE49-F238E27FC236}">
                  <a16:creationId xmlns:a16="http://schemas.microsoft.com/office/drawing/2014/main" id="{A2707731-9E6E-4897-BF1C-AD23EDDF33B9}"/>
                </a:ext>
              </a:extLst>
            </p:cNvPr>
            <p:cNvSpPr/>
            <p:nvPr/>
          </p:nvSpPr>
          <p:spPr>
            <a:xfrm rot="8716295">
              <a:off x="2286182" y="413770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4" name="Forme libre : forme 303">
              <a:extLst>
                <a:ext uri="{FF2B5EF4-FFF2-40B4-BE49-F238E27FC236}">
                  <a16:creationId xmlns:a16="http://schemas.microsoft.com/office/drawing/2014/main" id="{71585C5B-7ACF-4291-A3CC-77CF6C2FAF80}"/>
                </a:ext>
              </a:extLst>
            </p:cNvPr>
            <p:cNvSpPr/>
            <p:nvPr/>
          </p:nvSpPr>
          <p:spPr>
            <a:xfrm rot="8716295">
              <a:off x="854880" y="188600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5" name="Forme libre : forme 304">
              <a:extLst>
                <a:ext uri="{FF2B5EF4-FFF2-40B4-BE49-F238E27FC236}">
                  <a16:creationId xmlns:a16="http://schemas.microsoft.com/office/drawing/2014/main" id="{825A50BE-E198-461A-AE4C-E99B0DB548B8}"/>
                </a:ext>
              </a:extLst>
            </p:cNvPr>
            <p:cNvSpPr/>
            <p:nvPr/>
          </p:nvSpPr>
          <p:spPr>
            <a:xfrm rot="8716295">
              <a:off x="944272" y="191524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6" name="Forme libre : forme 305">
              <a:extLst>
                <a:ext uri="{FF2B5EF4-FFF2-40B4-BE49-F238E27FC236}">
                  <a16:creationId xmlns:a16="http://schemas.microsoft.com/office/drawing/2014/main" id="{A7FBDA8A-DF94-413D-B047-17E3CE1805C0}"/>
                </a:ext>
              </a:extLst>
            </p:cNvPr>
            <p:cNvSpPr/>
            <p:nvPr/>
          </p:nvSpPr>
          <p:spPr>
            <a:xfrm rot="8716295">
              <a:off x="899422" y="182896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7" name="Forme libre : forme 306">
              <a:extLst>
                <a:ext uri="{FF2B5EF4-FFF2-40B4-BE49-F238E27FC236}">
                  <a16:creationId xmlns:a16="http://schemas.microsoft.com/office/drawing/2014/main" id="{8DB66338-D210-4BFA-9092-FF348569CC52}"/>
                </a:ext>
              </a:extLst>
            </p:cNvPr>
            <p:cNvSpPr/>
            <p:nvPr/>
          </p:nvSpPr>
          <p:spPr>
            <a:xfrm rot="8716295">
              <a:off x="742646" y="197454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8" name="Forme libre : forme 307">
              <a:extLst>
                <a:ext uri="{FF2B5EF4-FFF2-40B4-BE49-F238E27FC236}">
                  <a16:creationId xmlns:a16="http://schemas.microsoft.com/office/drawing/2014/main" id="{74B60F54-C3F2-4334-BC7E-D49FA3ACE1ED}"/>
                </a:ext>
              </a:extLst>
            </p:cNvPr>
            <p:cNvSpPr/>
            <p:nvPr/>
          </p:nvSpPr>
          <p:spPr>
            <a:xfrm rot="8716295">
              <a:off x="617743" y="176587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9" name="Forme libre : forme 308">
              <a:extLst>
                <a:ext uri="{FF2B5EF4-FFF2-40B4-BE49-F238E27FC236}">
                  <a16:creationId xmlns:a16="http://schemas.microsoft.com/office/drawing/2014/main" id="{CA3E19C2-F96C-48A0-9D2C-698B32CA8895}"/>
                </a:ext>
              </a:extLst>
            </p:cNvPr>
            <p:cNvSpPr/>
            <p:nvPr/>
          </p:nvSpPr>
          <p:spPr>
            <a:xfrm rot="8716295">
              <a:off x="605691" y="162709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0" name="Forme libre : forme 309">
              <a:extLst>
                <a:ext uri="{FF2B5EF4-FFF2-40B4-BE49-F238E27FC236}">
                  <a16:creationId xmlns:a16="http://schemas.microsoft.com/office/drawing/2014/main" id="{9A0D5CB1-8D83-4AFE-B1BE-9F0F522C0D2B}"/>
                </a:ext>
              </a:extLst>
            </p:cNvPr>
            <p:cNvSpPr/>
            <p:nvPr/>
          </p:nvSpPr>
          <p:spPr>
            <a:xfrm rot="8716295">
              <a:off x="832824" y="201549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1" name="Forme libre : forme 310">
              <a:extLst>
                <a:ext uri="{FF2B5EF4-FFF2-40B4-BE49-F238E27FC236}">
                  <a16:creationId xmlns:a16="http://schemas.microsoft.com/office/drawing/2014/main" id="{7A50FCE7-03C8-4853-B73F-CE26795DB2CC}"/>
                </a:ext>
              </a:extLst>
            </p:cNvPr>
            <p:cNvSpPr/>
            <p:nvPr/>
          </p:nvSpPr>
          <p:spPr>
            <a:xfrm rot="8716295">
              <a:off x="1143979" y="163584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2" name="Forme libre : forme 311">
              <a:extLst>
                <a:ext uri="{FF2B5EF4-FFF2-40B4-BE49-F238E27FC236}">
                  <a16:creationId xmlns:a16="http://schemas.microsoft.com/office/drawing/2014/main" id="{457A7093-695D-4C41-85A0-782C2CD8BC44}"/>
                </a:ext>
              </a:extLst>
            </p:cNvPr>
            <p:cNvSpPr/>
            <p:nvPr/>
          </p:nvSpPr>
          <p:spPr>
            <a:xfrm rot="8716295">
              <a:off x="1233371" y="166509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3" name="Forme libre : forme 312">
              <a:extLst>
                <a:ext uri="{FF2B5EF4-FFF2-40B4-BE49-F238E27FC236}">
                  <a16:creationId xmlns:a16="http://schemas.microsoft.com/office/drawing/2014/main" id="{704E3047-55DF-4CDA-9182-C95BBA17BD9B}"/>
                </a:ext>
              </a:extLst>
            </p:cNvPr>
            <p:cNvSpPr/>
            <p:nvPr/>
          </p:nvSpPr>
          <p:spPr>
            <a:xfrm rot="8716295">
              <a:off x="1031745" y="172439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4" name="Forme libre : forme 313">
              <a:extLst>
                <a:ext uri="{FF2B5EF4-FFF2-40B4-BE49-F238E27FC236}">
                  <a16:creationId xmlns:a16="http://schemas.microsoft.com/office/drawing/2014/main" id="{75BDC6A2-BB14-4847-BB83-0C2ABA630806}"/>
                </a:ext>
              </a:extLst>
            </p:cNvPr>
            <p:cNvSpPr/>
            <p:nvPr/>
          </p:nvSpPr>
          <p:spPr>
            <a:xfrm rot="8716295">
              <a:off x="906843" y="151572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5" name="Forme libre : forme 314">
              <a:extLst>
                <a:ext uri="{FF2B5EF4-FFF2-40B4-BE49-F238E27FC236}">
                  <a16:creationId xmlns:a16="http://schemas.microsoft.com/office/drawing/2014/main" id="{7B4C3322-60E4-483D-8950-104BAFBDD71B}"/>
                </a:ext>
              </a:extLst>
            </p:cNvPr>
            <p:cNvSpPr/>
            <p:nvPr/>
          </p:nvSpPr>
          <p:spPr>
            <a:xfrm rot="8716295">
              <a:off x="1121923" y="176534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6" name="Forme libre : forme 315">
              <a:extLst>
                <a:ext uri="{FF2B5EF4-FFF2-40B4-BE49-F238E27FC236}">
                  <a16:creationId xmlns:a16="http://schemas.microsoft.com/office/drawing/2014/main" id="{2CCC10C4-A47F-46B3-9A5E-2B69B8F95724}"/>
                </a:ext>
              </a:extLst>
            </p:cNvPr>
            <p:cNvSpPr/>
            <p:nvPr/>
          </p:nvSpPr>
          <p:spPr>
            <a:xfrm rot="8716295">
              <a:off x="880472" y="161574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7" name="Forme libre : forme 316">
              <a:extLst>
                <a:ext uri="{FF2B5EF4-FFF2-40B4-BE49-F238E27FC236}">
                  <a16:creationId xmlns:a16="http://schemas.microsoft.com/office/drawing/2014/main" id="{C3F47D9C-5F75-4589-82C5-2EB76DD8C333}"/>
                </a:ext>
              </a:extLst>
            </p:cNvPr>
            <p:cNvSpPr/>
            <p:nvPr/>
          </p:nvSpPr>
          <p:spPr>
            <a:xfrm rot="7484129">
              <a:off x="1226854" y="195669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8" name="Forme libre : forme 317">
              <a:extLst>
                <a:ext uri="{FF2B5EF4-FFF2-40B4-BE49-F238E27FC236}">
                  <a16:creationId xmlns:a16="http://schemas.microsoft.com/office/drawing/2014/main" id="{06EDA617-7C34-4BCB-8273-6505201538B5}"/>
                </a:ext>
              </a:extLst>
            </p:cNvPr>
            <p:cNvSpPr/>
            <p:nvPr/>
          </p:nvSpPr>
          <p:spPr>
            <a:xfrm rot="13089394">
              <a:off x="1331674" y="192323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9" name="Forme libre : forme 318">
              <a:extLst>
                <a:ext uri="{FF2B5EF4-FFF2-40B4-BE49-F238E27FC236}">
                  <a16:creationId xmlns:a16="http://schemas.microsoft.com/office/drawing/2014/main" id="{8C00C036-C8B0-4F77-B0BC-B732FD327F08}"/>
                </a:ext>
              </a:extLst>
            </p:cNvPr>
            <p:cNvSpPr/>
            <p:nvPr/>
          </p:nvSpPr>
          <p:spPr>
            <a:xfrm rot="8716295">
              <a:off x="1517259" y="173154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0" name="Forme libre : forme 319">
              <a:extLst>
                <a:ext uri="{FF2B5EF4-FFF2-40B4-BE49-F238E27FC236}">
                  <a16:creationId xmlns:a16="http://schemas.microsoft.com/office/drawing/2014/main" id="{079E7D4D-7CBC-4E80-9ADD-66D10F53D00A}"/>
                </a:ext>
              </a:extLst>
            </p:cNvPr>
            <p:cNvSpPr/>
            <p:nvPr/>
          </p:nvSpPr>
          <p:spPr>
            <a:xfrm rot="8716295">
              <a:off x="1465454" y="162795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1" name="Forme libre : forme 320">
              <a:extLst>
                <a:ext uri="{FF2B5EF4-FFF2-40B4-BE49-F238E27FC236}">
                  <a16:creationId xmlns:a16="http://schemas.microsoft.com/office/drawing/2014/main" id="{F6CBC04A-ACBC-43B1-86C9-792F0278AE9C}"/>
                </a:ext>
              </a:extLst>
            </p:cNvPr>
            <p:cNvSpPr/>
            <p:nvPr/>
          </p:nvSpPr>
          <p:spPr>
            <a:xfrm rot="8716295">
              <a:off x="1222208" y="165817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2" name="Forme libre : forme 321">
              <a:extLst>
                <a:ext uri="{FF2B5EF4-FFF2-40B4-BE49-F238E27FC236}">
                  <a16:creationId xmlns:a16="http://schemas.microsoft.com/office/drawing/2014/main" id="{877F1B10-A111-4EDF-9C97-C64DD5E5FC2D}"/>
                </a:ext>
              </a:extLst>
            </p:cNvPr>
            <p:cNvSpPr/>
            <p:nvPr/>
          </p:nvSpPr>
          <p:spPr>
            <a:xfrm rot="8716295">
              <a:off x="1399660" y="149893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3" name="Forme libre : forme 322">
              <a:extLst>
                <a:ext uri="{FF2B5EF4-FFF2-40B4-BE49-F238E27FC236}">
                  <a16:creationId xmlns:a16="http://schemas.microsoft.com/office/drawing/2014/main" id="{247A35DD-1AE0-4F8F-91F1-39A539F5145A}"/>
                </a:ext>
              </a:extLst>
            </p:cNvPr>
            <p:cNvSpPr/>
            <p:nvPr/>
          </p:nvSpPr>
          <p:spPr>
            <a:xfrm rot="8716295">
              <a:off x="631713" y="12263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4" name="Forme libre : forme 323">
              <a:extLst>
                <a:ext uri="{FF2B5EF4-FFF2-40B4-BE49-F238E27FC236}">
                  <a16:creationId xmlns:a16="http://schemas.microsoft.com/office/drawing/2014/main" id="{B2057DA7-CDDF-43BB-8EAC-22466BE1F259}"/>
                </a:ext>
              </a:extLst>
            </p:cNvPr>
            <p:cNvSpPr/>
            <p:nvPr/>
          </p:nvSpPr>
          <p:spPr>
            <a:xfrm rot="8716295">
              <a:off x="721105" y="12555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5" name="Forme libre : forme 324">
              <a:extLst>
                <a:ext uri="{FF2B5EF4-FFF2-40B4-BE49-F238E27FC236}">
                  <a16:creationId xmlns:a16="http://schemas.microsoft.com/office/drawing/2014/main" id="{E77CA785-1459-4C27-B776-D857A8D4B013}"/>
                </a:ext>
              </a:extLst>
            </p:cNvPr>
            <p:cNvSpPr/>
            <p:nvPr/>
          </p:nvSpPr>
          <p:spPr>
            <a:xfrm rot="8716295">
              <a:off x="676255" y="116926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6" name="Forme libre : forme 325">
              <a:extLst>
                <a:ext uri="{FF2B5EF4-FFF2-40B4-BE49-F238E27FC236}">
                  <a16:creationId xmlns:a16="http://schemas.microsoft.com/office/drawing/2014/main" id="{D9BFC3E7-D875-4777-80CD-7BECEB16ED0F}"/>
                </a:ext>
              </a:extLst>
            </p:cNvPr>
            <p:cNvSpPr/>
            <p:nvPr/>
          </p:nvSpPr>
          <p:spPr>
            <a:xfrm rot="8716295">
              <a:off x="519479" y="13148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7" name="Forme libre : forme 326">
              <a:extLst>
                <a:ext uri="{FF2B5EF4-FFF2-40B4-BE49-F238E27FC236}">
                  <a16:creationId xmlns:a16="http://schemas.microsoft.com/office/drawing/2014/main" id="{E87C9BB6-CA72-4C32-8CA3-A029EC77D88B}"/>
                </a:ext>
              </a:extLst>
            </p:cNvPr>
            <p:cNvSpPr/>
            <p:nvPr/>
          </p:nvSpPr>
          <p:spPr>
            <a:xfrm rot="8716295">
              <a:off x="394576" y="11061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8" name="Forme libre : forme 327">
              <a:extLst>
                <a:ext uri="{FF2B5EF4-FFF2-40B4-BE49-F238E27FC236}">
                  <a16:creationId xmlns:a16="http://schemas.microsoft.com/office/drawing/2014/main" id="{40F6441D-9B69-4079-B1A2-720CB6BA2101}"/>
                </a:ext>
              </a:extLst>
            </p:cNvPr>
            <p:cNvSpPr/>
            <p:nvPr/>
          </p:nvSpPr>
          <p:spPr>
            <a:xfrm rot="8716295">
              <a:off x="382524" y="96739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9" name="Forme libre : forme 328">
              <a:extLst>
                <a:ext uri="{FF2B5EF4-FFF2-40B4-BE49-F238E27FC236}">
                  <a16:creationId xmlns:a16="http://schemas.microsoft.com/office/drawing/2014/main" id="{B832EB8F-3703-48E0-A315-AEFC6F1CBB35}"/>
                </a:ext>
              </a:extLst>
            </p:cNvPr>
            <p:cNvSpPr/>
            <p:nvPr/>
          </p:nvSpPr>
          <p:spPr>
            <a:xfrm rot="8716295">
              <a:off x="609657" y="135579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0" name="Forme libre : forme 329">
              <a:extLst>
                <a:ext uri="{FF2B5EF4-FFF2-40B4-BE49-F238E27FC236}">
                  <a16:creationId xmlns:a16="http://schemas.microsoft.com/office/drawing/2014/main" id="{763E69C5-E960-4417-A0EA-1ECCFB8C6C35}"/>
                </a:ext>
              </a:extLst>
            </p:cNvPr>
            <p:cNvSpPr/>
            <p:nvPr/>
          </p:nvSpPr>
          <p:spPr>
            <a:xfrm rot="8716295">
              <a:off x="920812" y="97615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1" name="Forme libre : forme 330">
              <a:extLst>
                <a:ext uri="{FF2B5EF4-FFF2-40B4-BE49-F238E27FC236}">
                  <a16:creationId xmlns:a16="http://schemas.microsoft.com/office/drawing/2014/main" id="{651DF2CF-FEA7-4A17-8C45-74CA1E1691C9}"/>
                </a:ext>
              </a:extLst>
            </p:cNvPr>
            <p:cNvSpPr/>
            <p:nvPr/>
          </p:nvSpPr>
          <p:spPr>
            <a:xfrm rot="8716295">
              <a:off x="1010204" y="100539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2" name="Forme libre : forme 331">
              <a:extLst>
                <a:ext uri="{FF2B5EF4-FFF2-40B4-BE49-F238E27FC236}">
                  <a16:creationId xmlns:a16="http://schemas.microsoft.com/office/drawing/2014/main" id="{F4BE6752-2F2B-4713-BCC2-F5A751451D2F}"/>
                </a:ext>
              </a:extLst>
            </p:cNvPr>
            <p:cNvSpPr/>
            <p:nvPr/>
          </p:nvSpPr>
          <p:spPr>
            <a:xfrm rot="8716295">
              <a:off x="808578" y="106469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3" name="Forme libre : forme 332">
              <a:extLst>
                <a:ext uri="{FF2B5EF4-FFF2-40B4-BE49-F238E27FC236}">
                  <a16:creationId xmlns:a16="http://schemas.microsoft.com/office/drawing/2014/main" id="{F0181337-48BC-4C6E-BF6A-EF75BA2ADF65}"/>
                </a:ext>
              </a:extLst>
            </p:cNvPr>
            <p:cNvSpPr/>
            <p:nvPr/>
          </p:nvSpPr>
          <p:spPr>
            <a:xfrm rot="8716295">
              <a:off x="683676" y="85602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4" name="Forme libre : forme 333">
              <a:extLst>
                <a:ext uri="{FF2B5EF4-FFF2-40B4-BE49-F238E27FC236}">
                  <a16:creationId xmlns:a16="http://schemas.microsoft.com/office/drawing/2014/main" id="{51A8FF0F-FF59-4E76-A691-2074D9AE597E}"/>
                </a:ext>
              </a:extLst>
            </p:cNvPr>
            <p:cNvSpPr/>
            <p:nvPr/>
          </p:nvSpPr>
          <p:spPr>
            <a:xfrm rot="8716295">
              <a:off x="898756" y="110564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5" name="Forme libre : forme 334">
              <a:extLst>
                <a:ext uri="{FF2B5EF4-FFF2-40B4-BE49-F238E27FC236}">
                  <a16:creationId xmlns:a16="http://schemas.microsoft.com/office/drawing/2014/main" id="{D5F2DBF7-EA5E-412E-BE60-C63CE87201BD}"/>
                </a:ext>
              </a:extLst>
            </p:cNvPr>
            <p:cNvSpPr/>
            <p:nvPr/>
          </p:nvSpPr>
          <p:spPr>
            <a:xfrm rot="8716295">
              <a:off x="657305" y="95604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6" name="Forme libre : forme 335">
              <a:extLst>
                <a:ext uri="{FF2B5EF4-FFF2-40B4-BE49-F238E27FC236}">
                  <a16:creationId xmlns:a16="http://schemas.microsoft.com/office/drawing/2014/main" id="{2B86FAAC-284E-4293-B3BE-662E153BEFE7}"/>
                </a:ext>
              </a:extLst>
            </p:cNvPr>
            <p:cNvSpPr/>
            <p:nvPr/>
          </p:nvSpPr>
          <p:spPr>
            <a:xfrm rot="7484129">
              <a:off x="1003687" y="129699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7" name="Forme libre : forme 336">
              <a:extLst>
                <a:ext uri="{FF2B5EF4-FFF2-40B4-BE49-F238E27FC236}">
                  <a16:creationId xmlns:a16="http://schemas.microsoft.com/office/drawing/2014/main" id="{F8C25AEA-BEFD-464B-AC86-4743BA580AF0}"/>
                </a:ext>
              </a:extLst>
            </p:cNvPr>
            <p:cNvSpPr/>
            <p:nvPr/>
          </p:nvSpPr>
          <p:spPr>
            <a:xfrm rot="13089394">
              <a:off x="1108507" y="1263531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8" name="Forme libre : forme 337">
              <a:extLst>
                <a:ext uri="{FF2B5EF4-FFF2-40B4-BE49-F238E27FC236}">
                  <a16:creationId xmlns:a16="http://schemas.microsoft.com/office/drawing/2014/main" id="{C5FC227C-CE0A-4B9A-BEB5-86A5822E13D2}"/>
                </a:ext>
              </a:extLst>
            </p:cNvPr>
            <p:cNvSpPr/>
            <p:nvPr/>
          </p:nvSpPr>
          <p:spPr>
            <a:xfrm rot="8716295">
              <a:off x="1294092" y="107185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9" name="Forme libre : forme 338">
              <a:extLst>
                <a:ext uri="{FF2B5EF4-FFF2-40B4-BE49-F238E27FC236}">
                  <a16:creationId xmlns:a16="http://schemas.microsoft.com/office/drawing/2014/main" id="{2AD54659-FB71-46D1-A755-0BCF081E050A}"/>
                </a:ext>
              </a:extLst>
            </p:cNvPr>
            <p:cNvSpPr/>
            <p:nvPr/>
          </p:nvSpPr>
          <p:spPr>
            <a:xfrm rot="8716295">
              <a:off x="1242287" y="96825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0" name="Forme libre : forme 339">
              <a:extLst>
                <a:ext uri="{FF2B5EF4-FFF2-40B4-BE49-F238E27FC236}">
                  <a16:creationId xmlns:a16="http://schemas.microsoft.com/office/drawing/2014/main" id="{EA0D1B29-AE82-4655-80DE-F5EADED15310}"/>
                </a:ext>
              </a:extLst>
            </p:cNvPr>
            <p:cNvSpPr/>
            <p:nvPr/>
          </p:nvSpPr>
          <p:spPr>
            <a:xfrm rot="8716295">
              <a:off x="999041" y="99847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1" name="Forme libre : forme 340">
              <a:extLst>
                <a:ext uri="{FF2B5EF4-FFF2-40B4-BE49-F238E27FC236}">
                  <a16:creationId xmlns:a16="http://schemas.microsoft.com/office/drawing/2014/main" id="{FE59AAF9-5326-4148-B75B-C59DBA653A58}"/>
                </a:ext>
              </a:extLst>
            </p:cNvPr>
            <p:cNvSpPr/>
            <p:nvPr/>
          </p:nvSpPr>
          <p:spPr>
            <a:xfrm rot="8716295">
              <a:off x="1176493" y="83923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2" name="Forme libre : forme 341">
              <a:extLst>
                <a:ext uri="{FF2B5EF4-FFF2-40B4-BE49-F238E27FC236}">
                  <a16:creationId xmlns:a16="http://schemas.microsoft.com/office/drawing/2014/main" id="{2B5ED39A-BA82-4FB9-B8D1-BFCBF5FCF8AB}"/>
                </a:ext>
              </a:extLst>
            </p:cNvPr>
            <p:cNvSpPr/>
            <p:nvPr/>
          </p:nvSpPr>
          <p:spPr>
            <a:xfrm rot="8716295">
              <a:off x="412774" y="56424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3" name="Forme libre : forme 342">
              <a:extLst>
                <a:ext uri="{FF2B5EF4-FFF2-40B4-BE49-F238E27FC236}">
                  <a16:creationId xmlns:a16="http://schemas.microsoft.com/office/drawing/2014/main" id="{EF04C128-AC77-4E99-970E-568F219D8A8C}"/>
                </a:ext>
              </a:extLst>
            </p:cNvPr>
            <p:cNvSpPr/>
            <p:nvPr/>
          </p:nvSpPr>
          <p:spPr>
            <a:xfrm rot="8716295">
              <a:off x="502166" y="59348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4" name="Forme libre : forme 343">
              <a:extLst>
                <a:ext uri="{FF2B5EF4-FFF2-40B4-BE49-F238E27FC236}">
                  <a16:creationId xmlns:a16="http://schemas.microsoft.com/office/drawing/2014/main" id="{35DEA77E-6D52-40CB-86CA-54607FDC07E9}"/>
                </a:ext>
              </a:extLst>
            </p:cNvPr>
            <p:cNvSpPr/>
            <p:nvPr/>
          </p:nvSpPr>
          <p:spPr>
            <a:xfrm rot="8716295">
              <a:off x="457316" y="50720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5" name="Forme libre : forme 344">
              <a:extLst>
                <a:ext uri="{FF2B5EF4-FFF2-40B4-BE49-F238E27FC236}">
                  <a16:creationId xmlns:a16="http://schemas.microsoft.com/office/drawing/2014/main" id="{7F83C78F-975E-4433-96C7-AC45753DC5C9}"/>
                </a:ext>
              </a:extLst>
            </p:cNvPr>
            <p:cNvSpPr/>
            <p:nvPr/>
          </p:nvSpPr>
          <p:spPr>
            <a:xfrm rot="8716295">
              <a:off x="300540" y="65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6" name="Forme libre : forme 345">
              <a:extLst>
                <a:ext uri="{FF2B5EF4-FFF2-40B4-BE49-F238E27FC236}">
                  <a16:creationId xmlns:a16="http://schemas.microsoft.com/office/drawing/2014/main" id="{FD3979A2-0F0A-4D64-B2D1-D790A7310394}"/>
                </a:ext>
              </a:extLst>
            </p:cNvPr>
            <p:cNvSpPr/>
            <p:nvPr/>
          </p:nvSpPr>
          <p:spPr>
            <a:xfrm rot="8716295">
              <a:off x="175637" y="44411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7" name="Forme libre : forme 346">
              <a:extLst>
                <a:ext uri="{FF2B5EF4-FFF2-40B4-BE49-F238E27FC236}">
                  <a16:creationId xmlns:a16="http://schemas.microsoft.com/office/drawing/2014/main" id="{AA76E107-EED2-43EE-909B-E95F465CE73B}"/>
                </a:ext>
              </a:extLst>
            </p:cNvPr>
            <p:cNvSpPr/>
            <p:nvPr/>
          </p:nvSpPr>
          <p:spPr>
            <a:xfrm rot="8716295">
              <a:off x="163585" y="30533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8" name="Forme libre : forme 347">
              <a:extLst>
                <a:ext uri="{FF2B5EF4-FFF2-40B4-BE49-F238E27FC236}">
                  <a16:creationId xmlns:a16="http://schemas.microsoft.com/office/drawing/2014/main" id="{B9BBA0BC-EEAF-493E-A940-F09587491C29}"/>
                </a:ext>
              </a:extLst>
            </p:cNvPr>
            <p:cNvSpPr/>
            <p:nvPr/>
          </p:nvSpPr>
          <p:spPr>
            <a:xfrm rot="8716295">
              <a:off x="390718" y="69374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9" name="Forme libre : forme 348">
              <a:extLst>
                <a:ext uri="{FF2B5EF4-FFF2-40B4-BE49-F238E27FC236}">
                  <a16:creationId xmlns:a16="http://schemas.microsoft.com/office/drawing/2014/main" id="{C8D30F56-4A06-4C10-B3F2-60FAA4FF4FB6}"/>
                </a:ext>
              </a:extLst>
            </p:cNvPr>
            <p:cNvSpPr/>
            <p:nvPr/>
          </p:nvSpPr>
          <p:spPr>
            <a:xfrm rot="8716295">
              <a:off x="701873" y="31409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0" name="Forme libre : forme 349">
              <a:extLst>
                <a:ext uri="{FF2B5EF4-FFF2-40B4-BE49-F238E27FC236}">
                  <a16:creationId xmlns:a16="http://schemas.microsoft.com/office/drawing/2014/main" id="{5C6936A8-9A95-4204-9D28-D9B75C140322}"/>
                </a:ext>
              </a:extLst>
            </p:cNvPr>
            <p:cNvSpPr/>
            <p:nvPr/>
          </p:nvSpPr>
          <p:spPr>
            <a:xfrm rot="8716295">
              <a:off x="791265" y="34333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1" name="Forme libre : forme 350">
              <a:extLst>
                <a:ext uri="{FF2B5EF4-FFF2-40B4-BE49-F238E27FC236}">
                  <a16:creationId xmlns:a16="http://schemas.microsoft.com/office/drawing/2014/main" id="{FFF2D367-BA47-4EF1-A7BB-098E80C21CBE}"/>
                </a:ext>
              </a:extLst>
            </p:cNvPr>
            <p:cNvSpPr/>
            <p:nvPr/>
          </p:nvSpPr>
          <p:spPr>
            <a:xfrm rot="8716295">
              <a:off x="589639" y="40263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2" name="Forme libre : forme 351">
              <a:extLst>
                <a:ext uri="{FF2B5EF4-FFF2-40B4-BE49-F238E27FC236}">
                  <a16:creationId xmlns:a16="http://schemas.microsoft.com/office/drawing/2014/main" id="{449281FC-8C05-45F5-BEE0-D74C1D2991A0}"/>
                </a:ext>
              </a:extLst>
            </p:cNvPr>
            <p:cNvSpPr/>
            <p:nvPr/>
          </p:nvSpPr>
          <p:spPr>
            <a:xfrm rot="8716295">
              <a:off x="464737" y="19396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3" name="Forme libre : forme 352">
              <a:extLst>
                <a:ext uri="{FF2B5EF4-FFF2-40B4-BE49-F238E27FC236}">
                  <a16:creationId xmlns:a16="http://schemas.microsoft.com/office/drawing/2014/main" id="{AC76B493-44A9-4110-A979-E79DA2DAD0EF}"/>
                </a:ext>
              </a:extLst>
            </p:cNvPr>
            <p:cNvSpPr/>
            <p:nvPr/>
          </p:nvSpPr>
          <p:spPr>
            <a:xfrm rot="8716295">
              <a:off x="679817" y="44358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4" name="Forme libre : forme 353">
              <a:extLst>
                <a:ext uri="{FF2B5EF4-FFF2-40B4-BE49-F238E27FC236}">
                  <a16:creationId xmlns:a16="http://schemas.microsoft.com/office/drawing/2014/main" id="{A1E49731-9881-455E-A515-C358862DEBAE}"/>
                </a:ext>
              </a:extLst>
            </p:cNvPr>
            <p:cNvSpPr/>
            <p:nvPr/>
          </p:nvSpPr>
          <p:spPr>
            <a:xfrm rot="8716295">
              <a:off x="438366" y="29398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5" name="Forme libre : forme 354">
              <a:extLst>
                <a:ext uri="{FF2B5EF4-FFF2-40B4-BE49-F238E27FC236}">
                  <a16:creationId xmlns:a16="http://schemas.microsoft.com/office/drawing/2014/main" id="{8204F475-BA32-42D6-B48D-2BEE0C6DF622}"/>
                </a:ext>
              </a:extLst>
            </p:cNvPr>
            <p:cNvSpPr/>
            <p:nvPr/>
          </p:nvSpPr>
          <p:spPr>
            <a:xfrm rot="7484129">
              <a:off x="784748" y="63493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6" name="Forme libre : forme 355">
              <a:extLst>
                <a:ext uri="{FF2B5EF4-FFF2-40B4-BE49-F238E27FC236}">
                  <a16:creationId xmlns:a16="http://schemas.microsoft.com/office/drawing/2014/main" id="{3407396E-8B17-4E89-82BB-C091E11448DB}"/>
                </a:ext>
              </a:extLst>
            </p:cNvPr>
            <p:cNvSpPr/>
            <p:nvPr/>
          </p:nvSpPr>
          <p:spPr>
            <a:xfrm rot="13089394">
              <a:off x="889568" y="60147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7" name="Forme libre : forme 356">
              <a:extLst>
                <a:ext uri="{FF2B5EF4-FFF2-40B4-BE49-F238E27FC236}">
                  <a16:creationId xmlns:a16="http://schemas.microsoft.com/office/drawing/2014/main" id="{27719725-2BB1-4B94-8AC6-F116861C62F1}"/>
                </a:ext>
              </a:extLst>
            </p:cNvPr>
            <p:cNvSpPr/>
            <p:nvPr/>
          </p:nvSpPr>
          <p:spPr>
            <a:xfrm rot="8716295">
              <a:off x="1075153" y="40979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8" name="Forme libre : forme 357">
              <a:extLst>
                <a:ext uri="{FF2B5EF4-FFF2-40B4-BE49-F238E27FC236}">
                  <a16:creationId xmlns:a16="http://schemas.microsoft.com/office/drawing/2014/main" id="{43C5E8C2-1177-4638-AAC9-C608290C6D73}"/>
                </a:ext>
              </a:extLst>
            </p:cNvPr>
            <p:cNvSpPr/>
            <p:nvPr/>
          </p:nvSpPr>
          <p:spPr>
            <a:xfrm rot="8716295">
              <a:off x="1023348" y="30619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9" name="Forme libre : forme 358">
              <a:extLst>
                <a:ext uri="{FF2B5EF4-FFF2-40B4-BE49-F238E27FC236}">
                  <a16:creationId xmlns:a16="http://schemas.microsoft.com/office/drawing/2014/main" id="{66F400C8-484F-4AA9-9E69-F9DA598D65AC}"/>
                </a:ext>
              </a:extLst>
            </p:cNvPr>
            <p:cNvSpPr/>
            <p:nvPr/>
          </p:nvSpPr>
          <p:spPr>
            <a:xfrm rot="8716295">
              <a:off x="780102" y="336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0" name="Forme libre : forme 359">
              <a:extLst>
                <a:ext uri="{FF2B5EF4-FFF2-40B4-BE49-F238E27FC236}">
                  <a16:creationId xmlns:a16="http://schemas.microsoft.com/office/drawing/2014/main" id="{FD3344B4-1783-4AD8-8B1E-198B5BC45770}"/>
                </a:ext>
              </a:extLst>
            </p:cNvPr>
            <p:cNvSpPr/>
            <p:nvPr/>
          </p:nvSpPr>
          <p:spPr>
            <a:xfrm rot="8716295">
              <a:off x="957554" y="17717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1" name="Forme libre : forme 360">
              <a:extLst>
                <a:ext uri="{FF2B5EF4-FFF2-40B4-BE49-F238E27FC236}">
                  <a16:creationId xmlns:a16="http://schemas.microsoft.com/office/drawing/2014/main" id="{B1F20E97-7F16-49D8-A491-FB12C97898BA}"/>
                </a:ext>
              </a:extLst>
            </p:cNvPr>
            <p:cNvSpPr/>
            <p:nvPr/>
          </p:nvSpPr>
          <p:spPr>
            <a:xfrm rot="8716295">
              <a:off x="202348" y="-57106"/>
              <a:ext cx="142167" cy="186494"/>
            </a:xfrm>
            <a:custGeom>
              <a:avLst/>
              <a:gdLst>
                <a:gd name="connsiteX0" fmla="*/ 142167 w 142167"/>
                <a:gd name="connsiteY0" fmla="*/ 186494 h 186494"/>
                <a:gd name="connsiteX1" fmla="*/ 81108 w 142167"/>
                <a:gd name="connsiteY1" fmla="*/ 144170 h 186494"/>
                <a:gd name="connsiteX2" fmla="*/ 81108 w 142167"/>
                <a:gd name="connsiteY2" fmla="*/ 69717 h 186494"/>
                <a:gd name="connsiteX3" fmla="*/ 81108 w 142167"/>
                <a:gd name="connsiteY3" fmla="*/ 65615 h 186494"/>
                <a:gd name="connsiteX4" fmla="*/ 60603 w 142167"/>
                <a:gd name="connsiteY4" fmla="*/ 50123 h 186494"/>
                <a:gd name="connsiteX5" fmla="*/ 0 w 142167"/>
                <a:gd name="connsiteY5" fmla="*/ 50123 h 186494"/>
                <a:gd name="connsiteX6" fmla="*/ 0 w 142167"/>
                <a:gd name="connsiteY6" fmla="*/ 0 h 186494"/>
                <a:gd name="connsiteX7" fmla="*/ 85209 w 142167"/>
                <a:gd name="connsiteY7" fmla="*/ 0 h 186494"/>
                <a:gd name="connsiteX8" fmla="*/ 142167 w 142167"/>
                <a:gd name="connsiteY8" fmla="*/ 50123 h 186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86494">
                  <a:moveTo>
                    <a:pt x="142167" y="186494"/>
                  </a:moveTo>
                  <a:lnTo>
                    <a:pt x="81108" y="144170"/>
                  </a:lnTo>
                  <a:lnTo>
                    <a:pt x="81108" y="69717"/>
                  </a:lnTo>
                  <a:cubicBezTo>
                    <a:pt x="81108" y="68349"/>
                    <a:pt x="81108" y="66983"/>
                    <a:pt x="81108" y="65615"/>
                  </a:cubicBezTo>
                  <a:cubicBezTo>
                    <a:pt x="79741" y="55591"/>
                    <a:pt x="70628" y="48756"/>
                    <a:pt x="60603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2" name="Forme libre : forme 361">
              <a:extLst>
                <a:ext uri="{FF2B5EF4-FFF2-40B4-BE49-F238E27FC236}">
                  <a16:creationId xmlns:a16="http://schemas.microsoft.com/office/drawing/2014/main" id="{627DF55A-0BF9-412B-B088-58C19C1BDCF8}"/>
                </a:ext>
              </a:extLst>
            </p:cNvPr>
            <p:cNvSpPr/>
            <p:nvPr/>
          </p:nvSpPr>
          <p:spPr>
            <a:xfrm rot="8716295">
              <a:off x="298766" y="-5395"/>
              <a:ext cx="260639" cy="180054"/>
            </a:xfrm>
            <a:custGeom>
              <a:avLst/>
              <a:gdLst>
                <a:gd name="connsiteX0" fmla="*/ 111638 w 260639"/>
                <a:gd name="connsiteY0" fmla="*/ 180054 h 180054"/>
                <a:gd name="connsiteX1" fmla="*/ 51490 w 260639"/>
                <a:gd name="connsiteY1" fmla="*/ 138362 h 180054"/>
                <a:gd name="connsiteX2" fmla="*/ 51490 w 260639"/>
                <a:gd name="connsiteY2" fmla="*/ 45624 h 180054"/>
                <a:gd name="connsiteX3" fmla="*/ 0 w 260639"/>
                <a:gd name="connsiteY3" fmla="*/ 45624 h 180054"/>
                <a:gd name="connsiteX4" fmla="*/ 0 w 260639"/>
                <a:gd name="connsiteY4" fmla="*/ 1425 h 180054"/>
                <a:gd name="connsiteX5" fmla="*/ 104802 w 260639"/>
                <a:gd name="connsiteY5" fmla="*/ 1425 h 180054"/>
                <a:gd name="connsiteX6" fmla="*/ 104802 w 260639"/>
                <a:gd name="connsiteY6" fmla="*/ 75242 h 180054"/>
                <a:gd name="connsiteX7" fmla="*/ 106169 w 260639"/>
                <a:gd name="connsiteY7" fmla="*/ 75242 h 180054"/>
                <a:gd name="connsiteX8" fmla="*/ 154014 w 260639"/>
                <a:gd name="connsiteY8" fmla="*/ 5981 h 180054"/>
                <a:gd name="connsiteX9" fmla="*/ 185455 w 260639"/>
                <a:gd name="connsiteY9" fmla="*/ 57 h 180054"/>
                <a:gd name="connsiteX10" fmla="*/ 260639 w 260639"/>
                <a:gd name="connsiteY10" fmla="*/ 88456 h 180054"/>
                <a:gd name="connsiteX11" fmla="*/ 260639 w 260639"/>
                <a:gd name="connsiteY11" fmla="*/ 94380 h 180054"/>
                <a:gd name="connsiteX12" fmla="*/ 198669 w 260639"/>
                <a:gd name="connsiteY12" fmla="*/ 98025 h 180054"/>
                <a:gd name="connsiteX13" fmla="*/ 198669 w 260639"/>
                <a:gd name="connsiteY13" fmla="*/ 81621 h 180054"/>
                <a:gd name="connsiteX14" fmla="*/ 164950 w 260639"/>
                <a:gd name="connsiteY14" fmla="*/ 40156 h 180054"/>
                <a:gd name="connsiteX15" fmla="*/ 111638 w 260639"/>
                <a:gd name="connsiteY15" fmla="*/ 127643 h 180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0639" h="180054">
                  <a:moveTo>
                    <a:pt x="111638" y="180054"/>
                  </a:moveTo>
                  <a:lnTo>
                    <a:pt x="51490" y="138362"/>
                  </a:ln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3" name="Forme libre : forme 362">
              <a:extLst>
                <a:ext uri="{FF2B5EF4-FFF2-40B4-BE49-F238E27FC236}">
                  <a16:creationId xmlns:a16="http://schemas.microsoft.com/office/drawing/2014/main" id="{B1CC1170-12B9-42E7-B048-36951089B415}"/>
                </a:ext>
              </a:extLst>
            </p:cNvPr>
            <p:cNvSpPr/>
            <p:nvPr/>
          </p:nvSpPr>
          <p:spPr>
            <a:xfrm rot="8716295">
              <a:off x="276903" y="-12823"/>
              <a:ext cx="36272" cy="27982"/>
            </a:xfrm>
            <a:custGeom>
              <a:avLst/>
              <a:gdLst>
                <a:gd name="connsiteX0" fmla="*/ 36272 w 36272"/>
                <a:gd name="connsiteY0" fmla="*/ 27982 h 27982"/>
                <a:gd name="connsiteX1" fmla="*/ 0 w 36272"/>
                <a:gd name="connsiteY1" fmla="*/ 2840 h 27982"/>
                <a:gd name="connsiteX2" fmla="*/ 9543 w 36272"/>
                <a:gd name="connsiteY2" fmla="*/ 0 h 27982"/>
                <a:gd name="connsiteX3" fmla="*/ 31871 w 36272"/>
                <a:gd name="connsiteY3" fmla="*/ 11392 h 27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272" h="27982">
                  <a:moveTo>
                    <a:pt x="36272" y="27982"/>
                  </a:moveTo>
                  <a:lnTo>
                    <a:pt x="0" y="2840"/>
                  </a:lnTo>
                  <a:lnTo>
                    <a:pt x="9543" y="0"/>
                  </a:lnTo>
                  <a:cubicBezTo>
                    <a:pt x="20479" y="0"/>
                    <a:pt x="27542" y="4784"/>
                    <a:pt x="31871" y="113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4" name="Forme libre : forme 363">
              <a:extLst>
                <a:ext uri="{FF2B5EF4-FFF2-40B4-BE49-F238E27FC236}">
                  <a16:creationId xmlns:a16="http://schemas.microsoft.com/office/drawing/2014/main" id="{E033BF19-7D8B-489E-8421-40953085A3CD}"/>
                </a:ext>
              </a:extLst>
            </p:cNvPr>
            <p:cNvSpPr/>
            <p:nvPr/>
          </p:nvSpPr>
          <p:spPr>
            <a:xfrm rot="8716295">
              <a:off x="74640" y="-9665"/>
              <a:ext cx="58068" cy="54772"/>
            </a:xfrm>
            <a:custGeom>
              <a:avLst/>
              <a:gdLst>
                <a:gd name="connsiteX0" fmla="*/ 37436 w 58068"/>
                <a:gd name="connsiteY0" fmla="*/ 54772 h 54772"/>
                <a:gd name="connsiteX1" fmla="*/ 0 w 58068"/>
                <a:gd name="connsiteY1" fmla="*/ 28823 h 54772"/>
                <a:gd name="connsiteX2" fmla="*/ 8515 w 58068"/>
                <a:gd name="connsiteY2" fmla="*/ 8658 h 54772"/>
                <a:gd name="connsiteX3" fmla="*/ 29020 w 58068"/>
                <a:gd name="connsiteY3" fmla="*/ 0 h 54772"/>
                <a:gd name="connsiteX4" fmla="*/ 49525 w 58068"/>
                <a:gd name="connsiteY4" fmla="*/ 8658 h 54772"/>
                <a:gd name="connsiteX5" fmla="*/ 49525 w 58068"/>
                <a:gd name="connsiteY5" fmla="*/ 49668 h 5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068" h="54772">
                  <a:moveTo>
                    <a:pt x="37436" y="54772"/>
                  </a:moveTo>
                  <a:lnTo>
                    <a:pt x="0" y="28823"/>
                  </a:lnTo>
                  <a:lnTo>
                    <a:pt x="8515" y="8658"/>
                  </a:lnTo>
                  <a:cubicBezTo>
                    <a:pt x="13983" y="3190"/>
                    <a:pt x="21273" y="0"/>
                    <a:pt x="29020" y="0"/>
                  </a:cubicBezTo>
                  <a:cubicBezTo>
                    <a:pt x="36766" y="0"/>
                    <a:pt x="44057" y="3190"/>
                    <a:pt x="49525" y="8658"/>
                  </a:cubicBezTo>
                  <a:cubicBezTo>
                    <a:pt x="60916" y="19594"/>
                    <a:pt x="60916" y="38276"/>
                    <a:pt x="49525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5" name="Forme libre : forme 364">
              <a:extLst>
                <a:ext uri="{FF2B5EF4-FFF2-40B4-BE49-F238E27FC236}">
                  <a16:creationId xmlns:a16="http://schemas.microsoft.com/office/drawing/2014/main" id="{CB7A744C-FCCB-4B93-9898-2A2B2B95BBB6}"/>
                </a:ext>
              </a:extLst>
            </p:cNvPr>
            <p:cNvSpPr/>
            <p:nvPr/>
          </p:nvSpPr>
          <p:spPr>
            <a:xfrm rot="8716295">
              <a:off x="13802" y="-10406"/>
              <a:ext cx="30027" cy="20814"/>
            </a:xfrm>
            <a:custGeom>
              <a:avLst/>
              <a:gdLst>
                <a:gd name="connsiteX0" fmla="*/ 30027 w 30027"/>
                <a:gd name="connsiteY0" fmla="*/ 20814 h 20814"/>
                <a:gd name="connsiteX1" fmla="*/ 0 w 30027"/>
                <a:gd name="connsiteY1" fmla="*/ 0 h 20814"/>
                <a:gd name="connsiteX2" fmla="*/ 30027 w 30027"/>
                <a:gd name="connsiteY2" fmla="*/ 0 h 20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027" h="20814">
                  <a:moveTo>
                    <a:pt x="30027" y="20814"/>
                  </a:moveTo>
                  <a:lnTo>
                    <a:pt x="0" y="0"/>
                  </a:lnTo>
                  <a:lnTo>
                    <a:pt x="3002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6" name="Forme libre : forme 365">
              <a:extLst>
                <a:ext uri="{FF2B5EF4-FFF2-40B4-BE49-F238E27FC236}">
                  <a16:creationId xmlns:a16="http://schemas.microsoft.com/office/drawing/2014/main" id="{A7508798-38A9-48C7-9AA8-5A92078CC84B}"/>
                </a:ext>
              </a:extLst>
            </p:cNvPr>
            <p:cNvSpPr/>
            <p:nvPr/>
          </p:nvSpPr>
          <p:spPr>
            <a:xfrm rot="8716295">
              <a:off x="168048" y="3032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7" name="Forme libre : forme 366">
              <a:extLst>
                <a:ext uri="{FF2B5EF4-FFF2-40B4-BE49-F238E27FC236}">
                  <a16:creationId xmlns:a16="http://schemas.microsoft.com/office/drawing/2014/main" id="{0E351C93-E018-436B-9326-CEDEA386B63D}"/>
                </a:ext>
              </a:extLst>
            </p:cNvPr>
            <p:cNvSpPr/>
            <p:nvPr/>
          </p:nvSpPr>
          <p:spPr>
            <a:xfrm rot="7484129">
              <a:off x="562078" y="-284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8" name="Forme libre : forme 367">
              <a:extLst>
                <a:ext uri="{FF2B5EF4-FFF2-40B4-BE49-F238E27FC236}">
                  <a16:creationId xmlns:a16="http://schemas.microsoft.com/office/drawing/2014/main" id="{BDEF799B-C934-4303-874D-CB44161BDCB0}"/>
                </a:ext>
              </a:extLst>
            </p:cNvPr>
            <p:cNvSpPr/>
            <p:nvPr/>
          </p:nvSpPr>
          <p:spPr>
            <a:xfrm rot="13089394">
              <a:off x="775514" y="-27038"/>
              <a:ext cx="149688" cy="328219"/>
            </a:xfrm>
            <a:custGeom>
              <a:avLst/>
              <a:gdLst>
                <a:gd name="connsiteX0" fmla="*/ 149688 w 149688"/>
                <a:gd name="connsiteY0" fmla="*/ 279622 h 328219"/>
                <a:gd name="connsiteX1" fmla="*/ 87835 w 149688"/>
                <a:gd name="connsiteY1" fmla="*/ 328219 h 328219"/>
                <a:gd name="connsiteX2" fmla="*/ 54765 w 149688"/>
                <a:gd name="connsiteY2" fmla="*/ 322521 h 328219"/>
                <a:gd name="connsiteX3" fmla="*/ 23727 w 149688"/>
                <a:gd name="connsiteY3" fmla="*/ 301277 h 328219"/>
                <a:gd name="connsiteX4" fmla="*/ 0 w 149688"/>
                <a:gd name="connsiteY4" fmla="*/ 206369 h 328219"/>
                <a:gd name="connsiteX5" fmla="*/ 0 w 149688"/>
                <a:gd name="connsiteY5" fmla="*/ 38074 h 328219"/>
                <a:gd name="connsiteX6" fmla="*/ 73388 w 149688"/>
                <a:gd name="connsiteY6" fmla="*/ 0 h 328219"/>
                <a:gd name="connsiteX7" fmla="*/ 74492 w 149688"/>
                <a:gd name="connsiteY7" fmla="*/ 153950 h 328219"/>
                <a:gd name="connsiteX8" fmla="*/ 87734 w 149688"/>
                <a:gd name="connsiteY8" fmla="*/ 245547 h 328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9688" h="328219">
                  <a:moveTo>
                    <a:pt x="149688" y="279622"/>
                  </a:moveTo>
                  <a:lnTo>
                    <a:pt x="87835" y="328219"/>
                  </a:lnTo>
                  <a:lnTo>
                    <a:pt x="54765" y="322521"/>
                  </a:lnTo>
                  <a:cubicBezTo>
                    <a:pt x="43178" y="317693"/>
                    <a:pt x="32555" y="310382"/>
                    <a:pt x="23727" y="301277"/>
                  </a:cubicBezTo>
                  <a:cubicBezTo>
                    <a:pt x="4966" y="283069"/>
                    <a:pt x="0" y="251616"/>
                    <a:pt x="0" y="206369"/>
                  </a:cubicBez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2836" y="184850"/>
                    <a:pt x="77802" y="216302"/>
                    <a:pt x="87734" y="2455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9" name="Forme libre : forme 368">
              <a:extLst>
                <a:ext uri="{FF2B5EF4-FFF2-40B4-BE49-F238E27FC236}">
                  <a16:creationId xmlns:a16="http://schemas.microsoft.com/office/drawing/2014/main" id="{85452057-F6AF-4671-A171-74C9DE20E061}"/>
                </a:ext>
              </a:extLst>
            </p:cNvPr>
            <p:cNvSpPr/>
            <p:nvPr/>
          </p:nvSpPr>
          <p:spPr>
            <a:xfrm rot="8716295">
              <a:off x="3366575" y="56973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0" name="Forme libre : forme 369">
              <a:extLst>
                <a:ext uri="{FF2B5EF4-FFF2-40B4-BE49-F238E27FC236}">
                  <a16:creationId xmlns:a16="http://schemas.microsoft.com/office/drawing/2014/main" id="{0B76C80E-592A-400D-A327-9F0390D4B3C2}"/>
                </a:ext>
              </a:extLst>
            </p:cNvPr>
            <p:cNvSpPr/>
            <p:nvPr/>
          </p:nvSpPr>
          <p:spPr>
            <a:xfrm rot="8716295">
              <a:off x="3237162" y="360980"/>
              <a:ext cx="203847" cy="195873"/>
            </a:xfrm>
            <a:custGeom>
              <a:avLst/>
              <a:gdLst>
                <a:gd name="connsiteX0" fmla="*/ 90710 w 203847"/>
                <a:gd name="connsiteY0" fmla="*/ 195873 h 195873"/>
                <a:gd name="connsiteX1" fmla="*/ 47847 w 203847"/>
                <a:gd name="connsiteY1" fmla="*/ 116129 h 195873"/>
                <a:gd name="connsiteX2" fmla="*/ 69777 w 203847"/>
                <a:gd name="connsiteY2" fmla="*/ 55323 h 195873"/>
                <a:gd name="connsiteX3" fmla="*/ 0 w 203847"/>
                <a:gd name="connsiteY3" fmla="*/ 55323 h 195873"/>
                <a:gd name="connsiteX4" fmla="*/ 0 w 203847"/>
                <a:gd name="connsiteY4" fmla="*/ 52719 h 195873"/>
                <a:gd name="connsiteX5" fmla="*/ 43605 w 203847"/>
                <a:gd name="connsiteY5" fmla="*/ 0 h 195873"/>
                <a:gd name="connsiteX6" fmla="*/ 203847 w 203847"/>
                <a:gd name="connsiteY6" fmla="*/ 0 h 195873"/>
                <a:gd name="connsiteX7" fmla="*/ 203847 w 203847"/>
                <a:gd name="connsiteY7" fmla="*/ 55323 h 195873"/>
                <a:gd name="connsiteX8" fmla="*/ 139055 w 203847"/>
                <a:gd name="connsiteY8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3">
                  <a:moveTo>
                    <a:pt x="90710" y="195873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52719"/>
                  </a:lnTo>
                  <a:lnTo>
                    <a:pt x="43605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1" name="Forme libre : forme 370">
              <a:extLst>
                <a:ext uri="{FF2B5EF4-FFF2-40B4-BE49-F238E27FC236}">
                  <a16:creationId xmlns:a16="http://schemas.microsoft.com/office/drawing/2014/main" id="{5150644E-4F20-423C-8383-236544837AE7}"/>
                </a:ext>
              </a:extLst>
            </p:cNvPr>
            <p:cNvSpPr/>
            <p:nvPr/>
          </p:nvSpPr>
          <p:spPr>
            <a:xfrm rot="8716295">
              <a:off x="3189574" y="231224"/>
              <a:ext cx="290249" cy="221342"/>
            </a:xfrm>
            <a:custGeom>
              <a:avLst/>
              <a:gdLst>
                <a:gd name="connsiteX0" fmla="*/ 24905 w 290249"/>
                <a:gd name="connsiteY0" fmla="*/ 191751 h 221342"/>
                <a:gd name="connsiteX1" fmla="*/ 4754 w 290249"/>
                <a:gd name="connsiteY1" fmla="*/ 151964 h 221342"/>
                <a:gd name="connsiteX2" fmla="*/ 0 w 290249"/>
                <a:gd name="connsiteY2" fmla="*/ 95252 h 221342"/>
                <a:gd name="connsiteX3" fmla="*/ 78785 w 290249"/>
                <a:gd name="connsiteY3" fmla="*/ 0 h 221342"/>
                <a:gd name="connsiteX4" fmla="*/ 79033 w 290249"/>
                <a:gd name="connsiteY4" fmla="*/ 34662 h 221342"/>
                <a:gd name="connsiteX5" fmla="*/ 93153 w 290249"/>
                <a:gd name="connsiteY5" fmla="*/ 132328 h 221342"/>
                <a:gd name="connsiteX6" fmla="*/ 163754 w 290249"/>
                <a:gd name="connsiteY6" fmla="*/ 171159 h 221342"/>
                <a:gd name="connsiteX7" fmla="*/ 216706 w 290249"/>
                <a:gd name="connsiteY7" fmla="*/ 161745 h 221342"/>
                <a:gd name="connsiteX8" fmla="*/ 289073 w 290249"/>
                <a:gd name="connsiteY8" fmla="*/ 132328 h 221342"/>
                <a:gd name="connsiteX9" fmla="*/ 290249 w 290249"/>
                <a:gd name="connsiteY9" fmla="*/ 139976 h 221342"/>
                <a:gd name="connsiteX10" fmla="*/ 290249 w 290249"/>
                <a:gd name="connsiteY10" fmla="*/ 145860 h 221342"/>
                <a:gd name="connsiteX11" fmla="*/ 97272 w 290249"/>
                <a:gd name="connsiteY11" fmla="*/ 221168 h 221342"/>
                <a:gd name="connsiteX12" fmla="*/ 24905 w 290249"/>
                <a:gd name="connsiteY12" fmla="*/ 191751 h 221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0249" h="221342">
                  <a:moveTo>
                    <a:pt x="24905" y="191751"/>
                  </a:moveTo>
                  <a:cubicBezTo>
                    <a:pt x="14903" y="182043"/>
                    <a:pt x="8578" y="168805"/>
                    <a:pt x="4754" y="151964"/>
                  </a:cubicBezTo>
                  <a:lnTo>
                    <a:pt x="0" y="95252"/>
                  </a:lnTo>
                  <a:lnTo>
                    <a:pt x="78785" y="0"/>
                  </a:lnTo>
                  <a:lnTo>
                    <a:pt x="79033" y="34662"/>
                  </a:lnTo>
                  <a:cubicBezTo>
                    <a:pt x="77268" y="67610"/>
                    <a:pt x="82563" y="101145"/>
                    <a:pt x="93153" y="132328"/>
                  </a:cubicBezTo>
                  <a:cubicBezTo>
                    <a:pt x="102567" y="158215"/>
                    <a:pt x="126689" y="171159"/>
                    <a:pt x="163754" y="171159"/>
                  </a:cubicBezTo>
                  <a:cubicBezTo>
                    <a:pt x="181994" y="170570"/>
                    <a:pt x="199644" y="167040"/>
                    <a:pt x="216706" y="161745"/>
                  </a:cubicBezTo>
                  <a:cubicBezTo>
                    <a:pt x="241416" y="154096"/>
                    <a:pt x="265539" y="144095"/>
                    <a:pt x="289073" y="132328"/>
                  </a:cubicBezTo>
                  <a:cubicBezTo>
                    <a:pt x="289661" y="134681"/>
                    <a:pt x="290249" y="137623"/>
                    <a:pt x="290249" y="139976"/>
                  </a:cubicBezTo>
                  <a:lnTo>
                    <a:pt x="290249" y="145860"/>
                  </a:lnTo>
                  <a:cubicBezTo>
                    <a:pt x="227885" y="199399"/>
                    <a:pt x="146104" y="218227"/>
                    <a:pt x="97272" y="221168"/>
                  </a:cubicBezTo>
                  <a:cubicBezTo>
                    <a:pt x="70208" y="222933"/>
                    <a:pt x="43732" y="211166"/>
                    <a:pt x="24905" y="19175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2" name="Forme libre : forme 371">
              <a:extLst>
                <a:ext uri="{FF2B5EF4-FFF2-40B4-BE49-F238E27FC236}">
                  <a16:creationId xmlns:a16="http://schemas.microsoft.com/office/drawing/2014/main" id="{9266C455-B545-49CA-BF30-2607C744AB8E}"/>
                </a:ext>
              </a:extLst>
            </p:cNvPr>
            <p:cNvSpPr/>
            <p:nvPr/>
          </p:nvSpPr>
          <p:spPr>
            <a:xfrm rot="8716295">
              <a:off x="3411629" y="650113"/>
              <a:ext cx="21023" cy="45645"/>
            </a:xfrm>
            <a:custGeom>
              <a:avLst/>
              <a:gdLst>
                <a:gd name="connsiteX0" fmla="*/ 21023 w 21023"/>
                <a:gd name="connsiteY0" fmla="*/ 45645 h 45645"/>
                <a:gd name="connsiteX1" fmla="*/ 0 w 21023"/>
                <a:gd name="connsiteY1" fmla="*/ 25418 h 45645"/>
                <a:gd name="connsiteX2" fmla="*/ 21023 w 21023"/>
                <a:gd name="connsiteY2" fmla="*/ 0 h 4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023" h="45645">
                  <a:moveTo>
                    <a:pt x="21023" y="45645"/>
                  </a:moveTo>
                  <a:lnTo>
                    <a:pt x="0" y="25418"/>
                  </a:lnTo>
                  <a:lnTo>
                    <a:pt x="2102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3" name="Forme libre : forme 372">
              <a:extLst>
                <a:ext uri="{FF2B5EF4-FFF2-40B4-BE49-F238E27FC236}">
                  <a16:creationId xmlns:a16="http://schemas.microsoft.com/office/drawing/2014/main" id="{8A8C4152-A6DA-4079-AA7F-C7451551470E}"/>
                </a:ext>
              </a:extLst>
            </p:cNvPr>
            <p:cNvSpPr/>
            <p:nvPr/>
          </p:nvSpPr>
          <p:spPr>
            <a:xfrm rot="8716295">
              <a:off x="3298850" y="-42720"/>
              <a:ext cx="123263" cy="85442"/>
            </a:xfrm>
            <a:custGeom>
              <a:avLst/>
              <a:gdLst>
                <a:gd name="connsiteX0" fmla="*/ 123263 w 123263"/>
                <a:gd name="connsiteY0" fmla="*/ 85442 h 85442"/>
                <a:gd name="connsiteX1" fmla="*/ 0 w 123263"/>
                <a:gd name="connsiteY1" fmla="*/ 0 h 85442"/>
                <a:gd name="connsiteX2" fmla="*/ 66305 w 123263"/>
                <a:gd name="connsiteY2" fmla="*/ 0 h 85442"/>
                <a:gd name="connsiteX3" fmla="*/ 123263 w 123263"/>
                <a:gd name="connsiteY3" fmla="*/ 50123 h 85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63" h="85442">
                  <a:moveTo>
                    <a:pt x="123263" y="85442"/>
                  </a:moveTo>
                  <a:lnTo>
                    <a:pt x="0" y="0"/>
                  </a:lnTo>
                  <a:lnTo>
                    <a:pt x="66305" y="0"/>
                  </a:lnTo>
                  <a:cubicBezTo>
                    <a:pt x="103214" y="0"/>
                    <a:pt x="123263" y="15948"/>
                    <a:pt x="123263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4" name="Forme libre : forme 373">
              <a:extLst>
                <a:ext uri="{FF2B5EF4-FFF2-40B4-BE49-F238E27FC236}">
                  <a16:creationId xmlns:a16="http://schemas.microsoft.com/office/drawing/2014/main" id="{A339289A-5EC3-49A9-9A48-D86927329ED5}"/>
                </a:ext>
              </a:extLst>
            </p:cNvPr>
            <p:cNvSpPr/>
            <p:nvPr/>
          </p:nvSpPr>
          <p:spPr>
            <a:xfrm rot="8716295">
              <a:off x="3402681" y="37518"/>
              <a:ext cx="82257" cy="93201"/>
            </a:xfrm>
            <a:custGeom>
              <a:avLst/>
              <a:gdLst>
                <a:gd name="connsiteX0" fmla="*/ 20287 w 82257"/>
                <a:gd name="connsiteY0" fmla="*/ 93201 h 93201"/>
                <a:gd name="connsiteX1" fmla="*/ 20287 w 82257"/>
                <a:gd name="connsiteY1" fmla="*/ 76797 h 93201"/>
                <a:gd name="connsiteX2" fmla="*/ 10775 w 82257"/>
                <a:gd name="connsiteY2" fmla="*/ 46837 h 93201"/>
                <a:gd name="connsiteX3" fmla="*/ 0 w 82257"/>
                <a:gd name="connsiteY3" fmla="*/ 41716 h 93201"/>
                <a:gd name="connsiteX4" fmla="*/ 34504 w 82257"/>
                <a:gd name="connsiteY4" fmla="*/ 0 h 93201"/>
                <a:gd name="connsiteX5" fmla="*/ 38620 w 82257"/>
                <a:gd name="connsiteY5" fmla="*/ 715 h 93201"/>
                <a:gd name="connsiteX6" fmla="*/ 82257 w 82257"/>
                <a:gd name="connsiteY6" fmla="*/ 83632 h 93201"/>
                <a:gd name="connsiteX7" fmla="*/ 82257 w 82257"/>
                <a:gd name="connsiteY7" fmla="*/ 89556 h 93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2257" h="93201">
                  <a:moveTo>
                    <a:pt x="20287" y="93201"/>
                  </a:moveTo>
                  <a:lnTo>
                    <a:pt x="20287" y="76797"/>
                  </a:lnTo>
                  <a:cubicBezTo>
                    <a:pt x="20287" y="64494"/>
                    <a:pt x="16756" y="54128"/>
                    <a:pt x="10775" y="46837"/>
                  </a:cubicBezTo>
                  <a:lnTo>
                    <a:pt x="0" y="41716"/>
                  </a:lnTo>
                  <a:lnTo>
                    <a:pt x="34504" y="0"/>
                  </a:lnTo>
                  <a:lnTo>
                    <a:pt x="38620" y="715"/>
                  </a:lnTo>
                  <a:cubicBezTo>
                    <a:pt x="66366" y="12207"/>
                    <a:pt x="82257" y="41255"/>
                    <a:pt x="82257" y="83632"/>
                  </a:cubicBezTo>
                  <a:lnTo>
                    <a:pt x="82257" y="8955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5" name="Forme libre : forme 374">
              <a:extLst>
                <a:ext uri="{FF2B5EF4-FFF2-40B4-BE49-F238E27FC236}">
                  <a16:creationId xmlns:a16="http://schemas.microsoft.com/office/drawing/2014/main" id="{FE84117C-0D75-44E5-BDA4-CA1CB1F335CF}"/>
                </a:ext>
              </a:extLst>
            </p:cNvPr>
            <p:cNvSpPr/>
            <p:nvPr/>
          </p:nvSpPr>
          <p:spPr>
            <a:xfrm rot="8716295">
              <a:off x="3234083" y="-5272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6" name="Forme libre : forme 375">
              <a:extLst>
                <a:ext uri="{FF2B5EF4-FFF2-40B4-BE49-F238E27FC236}">
                  <a16:creationId xmlns:a16="http://schemas.microsoft.com/office/drawing/2014/main" id="{12EEAD1F-5DD6-435B-8A93-C66CE1909363}"/>
                </a:ext>
              </a:extLst>
            </p:cNvPr>
            <p:cNvSpPr/>
            <p:nvPr/>
          </p:nvSpPr>
          <p:spPr>
            <a:xfrm rot="8716295">
              <a:off x="212141" y="304502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7" name="Forme libre : forme 376">
              <a:extLst>
                <a:ext uri="{FF2B5EF4-FFF2-40B4-BE49-F238E27FC236}">
                  <a16:creationId xmlns:a16="http://schemas.microsoft.com/office/drawing/2014/main" id="{E2B3F83B-E193-4145-A936-C1756D937D20}"/>
                </a:ext>
              </a:extLst>
            </p:cNvPr>
            <p:cNvSpPr/>
            <p:nvPr/>
          </p:nvSpPr>
          <p:spPr>
            <a:xfrm rot="8716295">
              <a:off x="301533" y="307427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8" name="Forme libre : forme 377">
              <a:extLst>
                <a:ext uri="{FF2B5EF4-FFF2-40B4-BE49-F238E27FC236}">
                  <a16:creationId xmlns:a16="http://schemas.microsoft.com/office/drawing/2014/main" id="{0EBCDD2D-96D0-40D5-832B-9D432203380A}"/>
                </a:ext>
              </a:extLst>
            </p:cNvPr>
            <p:cNvSpPr/>
            <p:nvPr/>
          </p:nvSpPr>
          <p:spPr>
            <a:xfrm rot="8716295">
              <a:off x="256683" y="298799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9" name="Forme libre : forme 378">
              <a:extLst>
                <a:ext uri="{FF2B5EF4-FFF2-40B4-BE49-F238E27FC236}">
                  <a16:creationId xmlns:a16="http://schemas.microsoft.com/office/drawing/2014/main" id="{D7B14EA1-A5A0-49C4-996C-1F9E3834E06F}"/>
                </a:ext>
              </a:extLst>
            </p:cNvPr>
            <p:cNvSpPr/>
            <p:nvPr/>
          </p:nvSpPr>
          <p:spPr>
            <a:xfrm rot="8716295">
              <a:off x="99907" y="31335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0" name="Forme libre : forme 379">
              <a:extLst>
                <a:ext uri="{FF2B5EF4-FFF2-40B4-BE49-F238E27FC236}">
                  <a16:creationId xmlns:a16="http://schemas.microsoft.com/office/drawing/2014/main" id="{736F0423-C826-490E-96A4-CDB0EDE4D27E}"/>
                </a:ext>
              </a:extLst>
            </p:cNvPr>
            <p:cNvSpPr/>
            <p:nvPr/>
          </p:nvSpPr>
          <p:spPr>
            <a:xfrm rot="8716295">
              <a:off x="-24996" y="29248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1" name="Forme libre : forme 380">
              <a:extLst>
                <a:ext uri="{FF2B5EF4-FFF2-40B4-BE49-F238E27FC236}">
                  <a16:creationId xmlns:a16="http://schemas.microsoft.com/office/drawing/2014/main" id="{75D8D9C1-45FD-4A7E-AA8D-777A228E8F1D}"/>
                </a:ext>
              </a:extLst>
            </p:cNvPr>
            <p:cNvSpPr/>
            <p:nvPr/>
          </p:nvSpPr>
          <p:spPr>
            <a:xfrm rot="8716295">
              <a:off x="51899" y="2754602"/>
              <a:ext cx="189488" cy="350829"/>
            </a:xfrm>
            <a:custGeom>
              <a:avLst/>
              <a:gdLst>
                <a:gd name="connsiteX0" fmla="*/ 25299 w 189488"/>
                <a:gd name="connsiteY0" fmla="*/ 321238 h 350829"/>
                <a:gd name="connsiteX1" fmla="*/ 0 w 189488"/>
                <a:gd name="connsiteY1" fmla="*/ 220042 h 350829"/>
                <a:gd name="connsiteX2" fmla="*/ 0 w 189488"/>
                <a:gd name="connsiteY2" fmla="*/ 40596 h 350829"/>
                <a:gd name="connsiteX3" fmla="*/ 78250 w 189488"/>
                <a:gd name="connsiteY3" fmla="*/ 0 h 350829"/>
                <a:gd name="connsiteX4" fmla="*/ 79427 w 189488"/>
                <a:gd name="connsiteY4" fmla="*/ 164149 h 350829"/>
                <a:gd name="connsiteX5" fmla="*/ 93547 w 189488"/>
                <a:gd name="connsiteY5" fmla="*/ 261815 h 350829"/>
                <a:gd name="connsiteX6" fmla="*/ 164148 w 189488"/>
                <a:gd name="connsiteY6" fmla="*/ 300646 h 350829"/>
                <a:gd name="connsiteX7" fmla="*/ 189488 w 189488"/>
                <a:gd name="connsiteY7" fmla="*/ 296141 h 350829"/>
                <a:gd name="connsiteX8" fmla="*/ 160617 w 189488"/>
                <a:gd name="connsiteY8" fmla="*/ 337791 h 350829"/>
                <a:gd name="connsiteX9" fmla="*/ 97666 w 189488"/>
                <a:gd name="connsiteY9" fmla="*/ 350655 h 350829"/>
                <a:gd name="connsiteX10" fmla="*/ 25299 w 189488"/>
                <a:gd name="connsiteY10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9488" h="350829">
                  <a:moveTo>
                    <a:pt x="25299" y="321238"/>
                  </a:moveTo>
                  <a:cubicBezTo>
                    <a:pt x="5295" y="301823"/>
                    <a:pt x="0" y="268286"/>
                    <a:pt x="0" y="220042"/>
                  </a:cubicBez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8" y="300646"/>
                  </a:cubicBezTo>
                  <a:lnTo>
                    <a:pt x="189488" y="296141"/>
                  </a:lnTo>
                  <a:lnTo>
                    <a:pt x="160617" y="337791"/>
                  </a:lnTo>
                  <a:lnTo>
                    <a:pt x="97666" y="350655"/>
                  </a:ln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2" name="Forme libre : forme 381">
              <a:extLst>
                <a:ext uri="{FF2B5EF4-FFF2-40B4-BE49-F238E27FC236}">
                  <a16:creationId xmlns:a16="http://schemas.microsoft.com/office/drawing/2014/main" id="{B4FEB9FE-AF54-49A2-BE6D-72BA7BE2EB18}"/>
                </a:ext>
              </a:extLst>
            </p:cNvPr>
            <p:cNvSpPr/>
            <p:nvPr/>
          </p:nvSpPr>
          <p:spPr>
            <a:xfrm rot="8716295">
              <a:off x="190085" y="317452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3" name="Forme libre : forme 382">
              <a:extLst>
                <a:ext uri="{FF2B5EF4-FFF2-40B4-BE49-F238E27FC236}">
                  <a16:creationId xmlns:a16="http://schemas.microsoft.com/office/drawing/2014/main" id="{8DA05A66-E883-464C-B559-6FC6B28A3E8D}"/>
                </a:ext>
              </a:extLst>
            </p:cNvPr>
            <p:cNvSpPr/>
            <p:nvPr/>
          </p:nvSpPr>
          <p:spPr>
            <a:xfrm rot="8716295">
              <a:off x="501240" y="279487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4" name="Forme libre : forme 383">
              <a:extLst>
                <a:ext uri="{FF2B5EF4-FFF2-40B4-BE49-F238E27FC236}">
                  <a16:creationId xmlns:a16="http://schemas.microsoft.com/office/drawing/2014/main" id="{70D6E3B7-3736-43CC-9D76-86B0F97A5780}"/>
                </a:ext>
              </a:extLst>
            </p:cNvPr>
            <p:cNvSpPr/>
            <p:nvPr/>
          </p:nvSpPr>
          <p:spPr>
            <a:xfrm rot="8716295">
              <a:off x="590632" y="282411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5" name="Forme libre : forme 384">
              <a:extLst>
                <a:ext uri="{FF2B5EF4-FFF2-40B4-BE49-F238E27FC236}">
                  <a16:creationId xmlns:a16="http://schemas.microsoft.com/office/drawing/2014/main" id="{FC4D3741-889D-4E54-B83F-D0BA201DC6A2}"/>
                </a:ext>
              </a:extLst>
            </p:cNvPr>
            <p:cNvSpPr/>
            <p:nvPr/>
          </p:nvSpPr>
          <p:spPr>
            <a:xfrm rot="8716295">
              <a:off x="389006" y="2883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6" name="Forme libre : forme 385">
              <a:extLst>
                <a:ext uri="{FF2B5EF4-FFF2-40B4-BE49-F238E27FC236}">
                  <a16:creationId xmlns:a16="http://schemas.microsoft.com/office/drawing/2014/main" id="{C9BA88DB-9441-45DF-A22F-E12869EF8794}"/>
                </a:ext>
              </a:extLst>
            </p:cNvPr>
            <p:cNvSpPr/>
            <p:nvPr/>
          </p:nvSpPr>
          <p:spPr>
            <a:xfrm rot="8716295">
              <a:off x="264104" y="267474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7" name="Forme libre : forme 386">
              <a:extLst>
                <a:ext uri="{FF2B5EF4-FFF2-40B4-BE49-F238E27FC236}">
                  <a16:creationId xmlns:a16="http://schemas.microsoft.com/office/drawing/2014/main" id="{BBD785FB-255F-47D4-869B-DA2427044735}"/>
                </a:ext>
              </a:extLst>
            </p:cNvPr>
            <p:cNvSpPr/>
            <p:nvPr/>
          </p:nvSpPr>
          <p:spPr>
            <a:xfrm rot="8716295">
              <a:off x="479184" y="292437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8" name="Forme libre : forme 387">
              <a:extLst>
                <a:ext uri="{FF2B5EF4-FFF2-40B4-BE49-F238E27FC236}">
                  <a16:creationId xmlns:a16="http://schemas.microsoft.com/office/drawing/2014/main" id="{04B3E6F0-D035-4122-A08C-156643A27C96}"/>
                </a:ext>
              </a:extLst>
            </p:cNvPr>
            <p:cNvSpPr/>
            <p:nvPr/>
          </p:nvSpPr>
          <p:spPr>
            <a:xfrm rot="8716295">
              <a:off x="237733" y="277477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9" name="Forme libre : forme 388">
              <a:extLst>
                <a:ext uri="{FF2B5EF4-FFF2-40B4-BE49-F238E27FC236}">
                  <a16:creationId xmlns:a16="http://schemas.microsoft.com/office/drawing/2014/main" id="{09952F73-FF5F-406A-8919-7345F484086E}"/>
                </a:ext>
              </a:extLst>
            </p:cNvPr>
            <p:cNvSpPr/>
            <p:nvPr/>
          </p:nvSpPr>
          <p:spPr>
            <a:xfrm rot="7484129">
              <a:off x="584115" y="311572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0" name="Forme libre : forme 389">
              <a:extLst>
                <a:ext uri="{FF2B5EF4-FFF2-40B4-BE49-F238E27FC236}">
                  <a16:creationId xmlns:a16="http://schemas.microsoft.com/office/drawing/2014/main" id="{09ED8664-259A-4F65-B984-54EB26583D37}"/>
                </a:ext>
              </a:extLst>
            </p:cNvPr>
            <p:cNvSpPr/>
            <p:nvPr/>
          </p:nvSpPr>
          <p:spPr>
            <a:xfrm rot="13089394">
              <a:off x="688935" y="3082257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1" name="Forme libre : forme 390">
              <a:extLst>
                <a:ext uri="{FF2B5EF4-FFF2-40B4-BE49-F238E27FC236}">
                  <a16:creationId xmlns:a16="http://schemas.microsoft.com/office/drawing/2014/main" id="{5005AA8C-EF3F-42BB-886F-BDC096F9E2C6}"/>
                </a:ext>
              </a:extLst>
            </p:cNvPr>
            <p:cNvSpPr/>
            <p:nvPr/>
          </p:nvSpPr>
          <p:spPr>
            <a:xfrm rot="8716295">
              <a:off x="874520" y="2890576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2" name="Forme libre : forme 391">
              <a:extLst>
                <a:ext uri="{FF2B5EF4-FFF2-40B4-BE49-F238E27FC236}">
                  <a16:creationId xmlns:a16="http://schemas.microsoft.com/office/drawing/2014/main" id="{F901BAD2-7BC9-4B9B-9AEE-194DC6FC05A0}"/>
                </a:ext>
              </a:extLst>
            </p:cNvPr>
            <p:cNvSpPr/>
            <p:nvPr/>
          </p:nvSpPr>
          <p:spPr>
            <a:xfrm rot="8716295">
              <a:off x="822715" y="278698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3" name="Forme libre : forme 392">
              <a:extLst>
                <a:ext uri="{FF2B5EF4-FFF2-40B4-BE49-F238E27FC236}">
                  <a16:creationId xmlns:a16="http://schemas.microsoft.com/office/drawing/2014/main" id="{9E3F70D1-21EF-4CD2-8FEB-B48B0201A2F5}"/>
                </a:ext>
              </a:extLst>
            </p:cNvPr>
            <p:cNvSpPr/>
            <p:nvPr/>
          </p:nvSpPr>
          <p:spPr>
            <a:xfrm rot="8716295">
              <a:off x="579469" y="28172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4" name="Forme libre : forme 393">
              <a:extLst>
                <a:ext uri="{FF2B5EF4-FFF2-40B4-BE49-F238E27FC236}">
                  <a16:creationId xmlns:a16="http://schemas.microsoft.com/office/drawing/2014/main" id="{EE0D830B-AE35-40E9-8728-E21F6C35586C}"/>
                </a:ext>
              </a:extLst>
            </p:cNvPr>
            <p:cNvSpPr/>
            <p:nvPr/>
          </p:nvSpPr>
          <p:spPr>
            <a:xfrm rot="8716295">
              <a:off x="756921" y="265796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5" name="Forme libre : forme 394">
              <a:extLst>
                <a:ext uri="{FF2B5EF4-FFF2-40B4-BE49-F238E27FC236}">
                  <a16:creationId xmlns:a16="http://schemas.microsoft.com/office/drawing/2014/main" id="{8FFBDF4B-90C1-4FB0-93F5-3CF9CE875883}"/>
                </a:ext>
              </a:extLst>
            </p:cNvPr>
            <p:cNvSpPr/>
            <p:nvPr/>
          </p:nvSpPr>
          <p:spPr>
            <a:xfrm rot="8716295">
              <a:off x="435308" y="370472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6" name="Forme libre : forme 395">
              <a:extLst>
                <a:ext uri="{FF2B5EF4-FFF2-40B4-BE49-F238E27FC236}">
                  <a16:creationId xmlns:a16="http://schemas.microsoft.com/office/drawing/2014/main" id="{4DB3DB14-6327-4A57-8367-203E6F4E011B}"/>
                </a:ext>
              </a:extLst>
            </p:cNvPr>
            <p:cNvSpPr/>
            <p:nvPr/>
          </p:nvSpPr>
          <p:spPr>
            <a:xfrm rot="8716295">
              <a:off x="524700" y="373396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7" name="Forme libre : forme 396">
              <a:extLst>
                <a:ext uri="{FF2B5EF4-FFF2-40B4-BE49-F238E27FC236}">
                  <a16:creationId xmlns:a16="http://schemas.microsoft.com/office/drawing/2014/main" id="{4355D30E-1756-4406-84C9-F6A8049756B3}"/>
                </a:ext>
              </a:extLst>
            </p:cNvPr>
            <p:cNvSpPr/>
            <p:nvPr/>
          </p:nvSpPr>
          <p:spPr>
            <a:xfrm rot="8716295">
              <a:off x="479850" y="3647689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8" name="Forme libre : forme 397">
              <a:extLst>
                <a:ext uri="{FF2B5EF4-FFF2-40B4-BE49-F238E27FC236}">
                  <a16:creationId xmlns:a16="http://schemas.microsoft.com/office/drawing/2014/main" id="{BA4A47C8-0B69-4C29-80A3-E8882E41243E}"/>
                </a:ext>
              </a:extLst>
            </p:cNvPr>
            <p:cNvSpPr/>
            <p:nvPr/>
          </p:nvSpPr>
          <p:spPr>
            <a:xfrm rot="8716295">
              <a:off x="323074" y="379327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9" name="Forme libre : forme 398">
              <a:extLst>
                <a:ext uri="{FF2B5EF4-FFF2-40B4-BE49-F238E27FC236}">
                  <a16:creationId xmlns:a16="http://schemas.microsoft.com/office/drawing/2014/main" id="{C7193D43-8FAD-40C8-B968-D6B7B8EE8D8F}"/>
                </a:ext>
              </a:extLst>
            </p:cNvPr>
            <p:cNvSpPr/>
            <p:nvPr/>
          </p:nvSpPr>
          <p:spPr>
            <a:xfrm rot="8716295">
              <a:off x="198171" y="358459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0" name="Forme libre : forme 399">
              <a:extLst>
                <a:ext uri="{FF2B5EF4-FFF2-40B4-BE49-F238E27FC236}">
                  <a16:creationId xmlns:a16="http://schemas.microsoft.com/office/drawing/2014/main" id="{F68A3447-0210-45C1-9F87-4B1D4BFE9738}"/>
                </a:ext>
              </a:extLst>
            </p:cNvPr>
            <p:cNvSpPr/>
            <p:nvPr/>
          </p:nvSpPr>
          <p:spPr>
            <a:xfrm rot="8716295">
              <a:off x="186119" y="344581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1" name="Forme libre : forme 400">
              <a:extLst>
                <a:ext uri="{FF2B5EF4-FFF2-40B4-BE49-F238E27FC236}">
                  <a16:creationId xmlns:a16="http://schemas.microsoft.com/office/drawing/2014/main" id="{7AF4A353-4506-4959-86A0-C8690BF59E95}"/>
                </a:ext>
              </a:extLst>
            </p:cNvPr>
            <p:cNvSpPr/>
            <p:nvPr/>
          </p:nvSpPr>
          <p:spPr>
            <a:xfrm rot="8716295">
              <a:off x="413252" y="3834223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2" name="Forme libre : forme 401">
              <a:extLst>
                <a:ext uri="{FF2B5EF4-FFF2-40B4-BE49-F238E27FC236}">
                  <a16:creationId xmlns:a16="http://schemas.microsoft.com/office/drawing/2014/main" id="{598CEB9B-8E04-469F-A771-F927470C3F4E}"/>
                </a:ext>
              </a:extLst>
            </p:cNvPr>
            <p:cNvSpPr/>
            <p:nvPr/>
          </p:nvSpPr>
          <p:spPr>
            <a:xfrm rot="8716295">
              <a:off x="724407" y="345457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3" name="Forme libre : forme 402">
              <a:extLst>
                <a:ext uri="{FF2B5EF4-FFF2-40B4-BE49-F238E27FC236}">
                  <a16:creationId xmlns:a16="http://schemas.microsoft.com/office/drawing/2014/main" id="{AB980D08-B340-4454-A274-3AD08D2A9A3A}"/>
                </a:ext>
              </a:extLst>
            </p:cNvPr>
            <p:cNvSpPr/>
            <p:nvPr/>
          </p:nvSpPr>
          <p:spPr>
            <a:xfrm rot="8716295">
              <a:off x="813799" y="348381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4" name="Forme libre : forme 403">
              <a:extLst>
                <a:ext uri="{FF2B5EF4-FFF2-40B4-BE49-F238E27FC236}">
                  <a16:creationId xmlns:a16="http://schemas.microsoft.com/office/drawing/2014/main" id="{2652DA6E-5978-4E5D-A96D-58C298CBA732}"/>
                </a:ext>
              </a:extLst>
            </p:cNvPr>
            <p:cNvSpPr/>
            <p:nvPr/>
          </p:nvSpPr>
          <p:spPr>
            <a:xfrm rot="8716295">
              <a:off x="612173" y="354311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5" name="Forme libre : forme 404">
              <a:extLst>
                <a:ext uri="{FF2B5EF4-FFF2-40B4-BE49-F238E27FC236}">
                  <a16:creationId xmlns:a16="http://schemas.microsoft.com/office/drawing/2014/main" id="{BCA796D3-CCB0-45BE-BB99-D45334DE88BA}"/>
                </a:ext>
              </a:extLst>
            </p:cNvPr>
            <p:cNvSpPr/>
            <p:nvPr/>
          </p:nvSpPr>
          <p:spPr>
            <a:xfrm rot="8716295">
              <a:off x="487271" y="333444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6" name="Forme libre : forme 405">
              <a:extLst>
                <a:ext uri="{FF2B5EF4-FFF2-40B4-BE49-F238E27FC236}">
                  <a16:creationId xmlns:a16="http://schemas.microsoft.com/office/drawing/2014/main" id="{933101B8-7867-420E-81EE-0503A80C6D03}"/>
                </a:ext>
              </a:extLst>
            </p:cNvPr>
            <p:cNvSpPr/>
            <p:nvPr/>
          </p:nvSpPr>
          <p:spPr>
            <a:xfrm rot="8716295">
              <a:off x="702351" y="3584071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7" name="Forme libre : forme 406">
              <a:extLst>
                <a:ext uri="{FF2B5EF4-FFF2-40B4-BE49-F238E27FC236}">
                  <a16:creationId xmlns:a16="http://schemas.microsoft.com/office/drawing/2014/main" id="{5B641A15-3B25-4DD3-9A6C-0FFDEC9A133C}"/>
                </a:ext>
              </a:extLst>
            </p:cNvPr>
            <p:cNvSpPr/>
            <p:nvPr/>
          </p:nvSpPr>
          <p:spPr>
            <a:xfrm rot="8716295">
              <a:off x="460900" y="343447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8" name="Forme libre : forme 407">
              <a:extLst>
                <a:ext uri="{FF2B5EF4-FFF2-40B4-BE49-F238E27FC236}">
                  <a16:creationId xmlns:a16="http://schemas.microsoft.com/office/drawing/2014/main" id="{E763D240-1B00-445A-81E2-30AFA6DA38B9}"/>
                </a:ext>
              </a:extLst>
            </p:cNvPr>
            <p:cNvSpPr/>
            <p:nvPr/>
          </p:nvSpPr>
          <p:spPr>
            <a:xfrm rot="7484129">
              <a:off x="807282" y="377542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9" name="Forme libre : forme 408">
              <a:extLst>
                <a:ext uri="{FF2B5EF4-FFF2-40B4-BE49-F238E27FC236}">
                  <a16:creationId xmlns:a16="http://schemas.microsoft.com/office/drawing/2014/main" id="{73387E34-81D2-4A73-B141-75343A132394}"/>
                </a:ext>
              </a:extLst>
            </p:cNvPr>
            <p:cNvSpPr/>
            <p:nvPr/>
          </p:nvSpPr>
          <p:spPr>
            <a:xfrm rot="13089394">
              <a:off x="912102" y="374195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0" name="Forme libre : forme 409">
              <a:extLst>
                <a:ext uri="{FF2B5EF4-FFF2-40B4-BE49-F238E27FC236}">
                  <a16:creationId xmlns:a16="http://schemas.microsoft.com/office/drawing/2014/main" id="{CCA2FEEB-CE96-44BC-8FB9-EA169A41218A}"/>
                </a:ext>
              </a:extLst>
            </p:cNvPr>
            <p:cNvSpPr/>
            <p:nvPr/>
          </p:nvSpPr>
          <p:spPr>
            <a:xfrm rot="8716295">
              <a:off x="1097687" y="355027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1" name="Forme libre : forme 410">
              <a:extLst>
                <a:ext uri="{FF2B5EF4-FFF2-40B4-BE49-F238E27FC236}">
                  <a16:creationId xmlns:a16="http://schemas.microsoft.com/office/drawing/2014/main" id="{E1A40A9E-A324-487B-A5D9-A64B315CC0DB}"/>
                </a:ext>
              </a:extLst>
            </p:cNvPr>
            <p:cNvSpPr/>
            <p:nvPr/>
          </p:nvSpPr>
          <p:spPr>
            <a:xfrm rot="8716295">
              <a:off x="1045882" y="344668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2" name="Forme libre : forme 411">
              <a:extLst>
                <a:ext uri="{FF2B5EF4-FFF2-40B4-BE49-F238E27FC236}">
                  <a16:creationId xmlns:a16="http://schemas.microsoft.com/office/drawing/2014/main" id="{A6958C47-9B80-4B26-AABB-8FF29B27BC9F}"/>
                </a:ext>
              </a:extLst>
            </p:cNvPr>
            <p:cNvSpPr/>
            <p:nvPr/>
          </p:nvSpPr>
          <p:spPr>
            <a:xfrm rot="8716295">
              <a:off x="802636" y="347690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3" name="Forme libre : forme 412">
              <a:extLst>
                <a:ext uri="{FF2B5EF4-FFF2-40B4-BE49-F238E27FC236}">
                  <a16:creationId xmlns:a16="http://schemas.microsoft.com/office/drawing/2014/main" id="{8E6D0100-AF69-44B2-A5CF-E8C0130AB7E9}"/>
                </a:ext>
              </a:extLst>
            </p:cNvPr>
            <p:cNvSpPr/>
            <p:nvPr/>
          </p:nvSpPr>
          <p:spPr>
            <a:xfrm rot="8716295">
              <a:off x="980088" y="331766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4" name="Forme libre : forme 413">
              <a:extLst>
                <a:ext uri="{FF2B5EF4-FFF2-40B4-BE49-F238E27FC236}">
                  <a16:creationId xmlns:a16="http://schemas.microsoft.com/office/drawing/2014/main" id="{DDF69E8D-616E-4B06-B6E7-5816DA160ADA}"/>
                </a:ext>
              </a:extLst>
            </p:cNvPr>
            <p:cNvSpPr/>
            <p:nvPr/>
          </p:nvSpPr>
          <p:spPr>
            <a:xfrm rot="8716295">
              <a:off x="653978" y="436312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5" name="Forme libre : forme 414">
              <a:extLst>
                <a:ext uri="{FF2B5EF4-FFF2-40B4-BE49-F238E27FC236}">
                  <a16:creationId xmlns:a16="http://schemas.microsoft.com/office/drawing/2014/main" id="{28F41443-BBE2-4975-B85B-8718620F25A2}"/>
                </a:ext>
              </a:extLst>
            </p:cNvPr>
            <p:cNvSpPr/>
            <p:nvPr/>
          </p:nvSpPr>
          <p:spPr>
            <a:xfrm rot="8716295">
              <a:off x="743370" y="439236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6" name="Forme libre : forme 415">
              <a:extLst>
                <a:ext uri="{FF2B5EF4-FFF2-40B4-BE49-F238E27FC236}">
                  <a16:creationId xmlns:a16="http://schemas.microsoft.com/office/drawing/2014/main" id="{66BEE935-162B-468C-A488-08BB53F0E96A}"/>
                </a:ext>
              </a:extLst>
            </p:cNvPr>
            <p:cNvSpPr/>
            <p:nvPr/>
          </p:nvSpPr>
          <p:spPr>
            <a:xfrm rot="8716295">
              <a:off x="698520" y="430608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7" name="Forme libre : forme 416">
              <a:extLst>
                <a:ext uri="{FF2B5EF4-FFF2-40B4-BE49-F238E27FC236}">
                  <a16:creationId xmlns:a16="http://schemas.microsoft.com/office/drawing/2014/main" id="{C6A86155-7B92-42A4-B02E-66184BF812F2}"/>
                </a:ext>
              </a:extLst>
            </p:cNvPr>
            <p:cNvSpPr/>
            <p:nvPr/>
          </p:nvSpPr>
          <p:spPr>
            <a:xfrm rot="8716295">
              <a:off x="541744" y="445166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8" name="Forme libre : forme 417">
              <a:extLst>
                <a:ext uri="{FF2B5EF4-FFF2-40B4-BE49-F238E27FC236}">
                  <a16:creationId xmlns:a16="http://schemas.microsoft.com/office/drawing/2014/main" id="{46BFD870-BFFF-4A29-A35F-C7406F7430F7}"/>
                </a:ext>
              </a:extLst>
            </p:cNvPr>
            <p:cNvSpPr/>
            <p:nvPr/>
          </p:nvSpPr>
          <p:spPr>
            <a:xfrm rot="8716295">
              <a:off x="416841" y="424299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9" name="Forme libre : forme 418">
              <a:extLst>
                <a:ext uri="{FF2B5EF4-FFF2-40B4-BE49-F238E27FC236}">
                  <a16:creationId xmlns:a16="http://schemas.microsoft.com/office/drawing/2014/main" id="{A679BEA0-D0C5-41E0-ADCB-C970608B53F5}"/>
                </a:ext>
              </a:extLst>
            </p:cNvPr>
            <p:cNvSpPr/>
            <p:nvPr/>
          </p:nvSpPr>
          <p:spPr>
            <a:xfrm rot="8716295">
              <a:off x="404789" y="410421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0" name="Forme libre : forme 419">
              <a:extLst>
                <a:ext uri="{FF2B5EF4-FFF2-40B4-BE49-F238E27FC236}">
                  <a16:creationId xmlns:a16="http://schemas.microsoft.com/office/drawing/2014/main" id="{12FE079E-BD6C-4326-BBC6-E7FED6AEB0DE}"/>
                </a:ext>
              </a:extLst>
            </p:cNvPr>
            <p:cNvSpPr/>
            <p:nvPr/>
          </p:nvSpPr>
          <p:spPr>
            <a:xfrm rot="8716295">
              <a:off x="631922" y="449261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1" name="Forme libre : forme 420">
              <a:extLst>
                <a:ext uri="{FF2B5EF4-FFF2-40B4-BE49-F238E27FC236}">
                  <a16:creationId xmlns:a16="http://schemas.microsoft.com/office/drawing/2014/main" id="{ADCC2EDC-1B28-4142-9C4B-B780064981F4}"/>
                </a:ext>
              </a:extLst>
            </p:cNvPr>
            <p:cNvSpPr/>
            <p:nvPr/>
          </p:nvSpPr>
          <p:spPr>
            <a:xfrm rot="8716295">
              <a:off x="943077" y="411297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2" name="Forme libre : forme 421">
              <a:extLst>
                <a:ext uri="{FF2B5EF4-FFF2-40B4-BE49-F238E27FC236}">
                  <a16:creationId xmlns:a16="http://schemas.microsoft.com/office/drawing/2014/main" id="{85A46BE2-B28A-4B10-A98B-E1A4C9718784}"/>
                </a:ext>
              </a:extLst>
            </p:cNvPr>
            <p:cNvSpPr/>
            <p:nvPr/>
          </p:nvSpPr>
          <p:spPr>
            <a:xfrm rot="8716295">
              <a:off x="1032469" y="414221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3" name="Forme libre : forme 422">
              <a:extLst>
                <a:ext uri="{FF2B5EF4-FFF2-40B4-BE49-F238E27FC236}">
                  <a16:creationId xmlns:a16="http://schemas.microsoft.com/office/drawing/2014/main" id="{B997AC73-4A2E-4369-A0A3-B98AEFAEB0D2}"/>
                </a:ext>
              </a:extLst>
            </p:cNvPr>
            <p:cNvSpPr/>
            <p:nvPr/>
          </p:nvSpPr>
          <p:spPr>
            <a:xfrm rot="8716295">
              <a:off x="830843" y="420151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4" name="Forme libre : forme 423">
              <a:extLst>
                <a:ext uri="{FF2B5EF4-FFF2-40B4-BE49-F238E27FC236}">
                  <a16:creationId xmlns:a16="http://schemas.microsoft.com/office/drawing/2014/main" id="{B0F441EE-58D5-406D-84C8-BF6FB45F3E10}"/>
                </a:ext>
              </a:extLst>
            </p:cNvPr>
            <p:cNvSpPr/>
            <p:nvPr/>
          </p:nvSpPr>
          <p:spPr>
            <a:xfrm rot="8716295">
              <a:off x="705941" y="399284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5" name="Forme libre : forme 424">
              <a:extLst>
                <a:ext uri="{FF2B5EF4-FFF2-40B4-BE49-F238E27FC236}">
                  <a16:creationId xmlns:a16="http://schemas.microsoft.com/office/drawing/2014/main" id="{C2116289-0ECD-487D-B988-2550AD513EBC}"/>
                </a:ext>
              </a:extLst>
            </p:cNvPr>
            <p:cNvSpPr/>
            <p:nvPr/>
          </p:nvSpPr>
          <p:spPr>
            <a:xfrm rot="8716295">
              <a:off x="921021" y="424246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6" name="Forme libre : forme 425">
              <a:extLst>
                <a:ext uri="{FF2B5EF4-FFF2-40B4-BE49-F238E27FC236}">
                  <a16:creationId xmlns:a16="http://schemas.microsoft.com/office/drawing/2014/main" id="{BB2DB617-3C2B-44C3-B229-D2E3AF1F6397}"/>
                </a:ext>
              </a:extLst>
            </p:cNvPr>
            <p:cNvSpPr/>
            <p:nvPr/>
          </p:nvSpPr>
          <p:spPr>
            <a:xfrm rot="8716295">
              <a:off x="679570" y="409286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7" name="Forme libre : forme 426">
              <a:extLst>
                <a:ext uri="{FF2B5EF4-FFF2-40B4-BE49-F238E27FC236}">
                  <a16:creationId xmlns:a16="http://schemas.microsoft.com/office/drawing/2014/main" id="{AB1A41E1-EFF1-4B46-86EA-03A5D3137ECE}"/>
                </a:ext>
              </a:extLst>
            </p:cNvPr>
            <p:cNvSpPr/>
            <p:nvPr/>
          </p:nvSpPr>
          <p:spPr>
            <a:xfrm rot="7484129">
              <a:off x="1025952" y="443381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8" name="Forme libre : forme 427">
              <a:extLst>
                <a:ext uri="{FF2B5EF4-FFF2-40B4-BE49-F238E27FC236}">
                  <a16:creationId xmlns:a16="http://schemas.microsoft.com/office/drawing/2014/main" id="{FC716ACC-6F89-47F8-ABE1-58EDBEC4B6CB}"/>
                </a:ext>
              </a:extLst>
            </p:cNvPr>
            <p:cNvSpPr/>
            <p:nvPr/>
          </p:nvSpPr>
          <p:spPr>
            <a:xfrm rot="13089394">
              <a:off x="1130772" y="440035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9" name="Forme libre : forme 428">
              <a:extLst>
                <a:ext uri="{FF2B5EF4-FFF2-40B4-BE49-F238E27FC236}">
                  <a16:creationId xmlns:a16="http://schemas.microsoft.com/office/drawing/2014/main" id="{FBEB36D4-4104-4CEA-A5D9-270F8D790AEC}"/>
                </a:ext>
              </a:extLst>
            </p:cNvPr>
            <p:cNvSpPr/>
            <p:nvPr/>
          </p:nvSpPr>
          <p:spPr>
            <a:xfrm rot="8716295">
              <a:off x="1316357" y="420867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0" name="Forme libre : forme 429">
              <a:extLst>
                <a:ext uri="{FF2B5EF4-FFF2-40B4-BE49-F238E27FC236}">
                  <a16:creationId xmlns:a16="http://schemas.microsoft.com/office/drawing/2014/main" id="{F7950902-6556-4E4C-B905-0DD59A5961CC}"/>
                </a:ext>
              </a:extLst>
            </p:cNvPr>
            <p:cNvSpPr/>
            <p:nvPr/>
          </p:nvSpPr>
          <p:spPr>
            <a:xfrm rot="8716295">
              <a:off x="1264552" y="410507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1" name="Forme libre : forme 430">
              <a:extLst>
                <a:ext uri="{FF2B5EF4-FFF2-40B4-BE49-F238E27FC236}">
                  <a16:creationId xmlns:a16="http://schemas.microsoft.com/office/drawing/2014/main" id="{4F003DDA-355E-4DAE-A8BB-3FB35F5F4EAE}"/>
                </a:ext>
              </a:extLst>
            </p:cNvPr>
            <p:cNvSpPr/>
            <p:nvPr/>
          </p:nvSpPr>
          <p:spPr>
            <a:xfrm rot="8716295">
              <a:off x="1021306" y="413529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2" name="Forme libre : forme 431">
              <a:extLst>
                <a:ext uri="{FF2B5EF4-FFF2-40B4-BE49-F238E27FC236}">
                  <a16:creationId xmlns:a16="http://schemas.microsoft.com/office/drawing/2014/main" id="{3F6E657C-3858-4D98-91AA-063146CE262A}"/>
                </a:ext>
              </a:extLst>
            </p:cNvPr>
            <p:cNvSpPr/>
            <p:nvPr/>
          </p:nvSpPr>
          <p:spPr>
            <a:xfrm rot="8716295">
              <a:off x="1198758" y="397605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3" name="Forme libre : forme 432">
              <a:extLst>
                <a:ext uri="{FF2B5EF4-FFF2-40B4-BE49-F238E27FC236}">
                  <a16:creationId xmlns:a16="http://schemas.microsoft.com/office/drawing/2014/main" id="{6881A455-FC30-4886-9181-EEE1433B5DFF}"/>
                </a:ext>
              </a:extLst>
            </p:cNvPr>
            <p:cNvSpPr/>
            <p:nvPr/>
          </p:nvSpPr>
          <p:spPr>
            <a:xfrm rot="8716295">
              <a:off x="849927" y="5056695"/>
              <a:ext cx="61059" cy="114384"/>
            </a:xfrm>
            <a:custGeom>
              <a:avLst/>
              <a:gdLst>
                <a:gd name="connsiteX0" fmla="*/ 0 w 61059"/>
                <a:gd name="connsiteY0" fmla="*/ 114384 h 114384"/>
                <a:gd name="connsiteX1" fmla="*/ 0 w 61059"/>
                <a:gd name="connsiteY1" fmla="*/ 0 h 114384"/>
                <a:gd name="connsiteX2" fmla="*/ 61059 w 61059"/>
                <a:gd name="connsiteY2" fmla="*/ 42324 h 114384"/>
                <a:gd name="connsiteX3" fmla="*/ 61059 w 61059"/>
                <a:gd name="connsiteY3" fmla="*/ 90234 h 114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059" h="114384">
                  <a:moveTo>
                    <a:pt x="0" y="114384"/>
                  </a:moveTo>
                  <a:lnTo>
                    <a:pt x="0" y="0"/>
                  </a:lnTo>
                  <a:lnTo>
                    <a:pt x="61059" y="42324"/>
                  </a:lnTo>
                  <a:lnTo>
                    <a:pt x="61059" y="902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4" name="Forme libre : forme 433">
              <a:extLst>
                <a:ext uri="{FF2B5EF4-FFF2-40B4-BE49-F238E27FC236}">
                  <a16:creationId xmlns:a16="http://schemas.microsoft.com/office/drawing/2014/main" id="{CE4C8C85-2581-4CDF-9EB4-9C8C2E2C159C}"/>
                </a:ext>
              </a:extLst>
            </p:cNvPr>
            <p:cNvSpPr/>
            <p:nvPr/>
          </p:nvSpPr>
          <p:spPr>
            <a:xfrm rot="8716295">
              <a:off x="1072880" y="5030752"/>
              <a:ext cx="60148" cy="142578"/>
            </a:xfrm>
            <a:custGeom>
              <a:avLst/>
              <a:gdLst>
                <a:gd name="connsiteX0" fmla="*/ 0 w 60148"/>
                <a:gd name="connsiteY0" fmla="*/ 142578 h 142578"/>
                <a:gd name="connsiteX1" fmla="*/ 0 w 60148"/>
                <a:gd name="connsiteY1" fmla="*/ 0 h 142578"/>
                <a:gd name="connsiteX2" fmla="*/ 60148 w 60148"/>
                <a:gd name="connsiteY2" fmla="*/ 41693 h 142578"/>
                <a:gd name="connsiteX3" fmla="*/ 60148 w 60148"/>
                <a:gd name="connsiteY3" fmla="*/ 101569 h 142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8" h="142578">
                  <a:moveTo>
                    <a:pt x="0" y="142578"/>
                  </a:moveTo>
                  <a:lnTo>
                    <a:pt x="0" y="0"/>
                  </a:lnTo>
                  <a:lnTo>
                    <a:pt x="60148" y="41693"/>
                  </a:lnTo>
                  <a:lnTo>
                    <a:pt x="60148" y="1015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5" name="Forme libre : forme 434">
              <a:extLst>
                <a:ext uri="{FF2B5EF4-FFF2-40B4-BE49-F238E27FC236}">
                  <a16:creationId xmlns:a16="http://schemas.microsoft.com/office/drawing/2014/main" id="{683CB711-80B1-4038-ABB6-5DBDA3CAB0C0}"/>
                </a:ext>
              </a:extLst>
            </p:cNvPr>
            <p:cNvSpPr/>
            <p:nvPr/>
          </p:nvSpPr>
          <p:spPr>
            <a:xfrm rot="8716295">
              <a:off x="921687" y="496578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6" name="Forme libre : forme 435">
              <a:extLst>
                <a:ext uri="{FF2B5EF4-FFF2-40B4-BE49-F238E27FC236}">
                  <a16:creationId xmlns:a16="http://schemas.microsoft.com/office/drawing/2014/main" id="{8B993DFE-EE3E-4E92-8884-9A227F7DEAD1}"/>
                </a:ext>
              </a:extLst>
            </p:cNvPr>
            <p:cNvSpPr/>
            <p:nvPr/>
          </p:nvSpPr>
          <p:spPr>
            <a:xfrm rot="8716295">
              <a:off x="762271" y="5108547"/>
              <a:ext cx="53742" cy="49705"/>
            </a:xfrm>
            <a:custGeom>
              <a:avLst/>
              <a:gdLst>
                <a:gd name="connsiteX0" fmla="*/ 8658 w 53742"/>
                <a:gd name="connsiteY0" fmla="*/ 41503 h 49705"/>
                <a:gd name="connsiteX1" fmla="*/ 0 w 53742"/>
                <a:gd name="connsiteY1" fmla="*/ 20999 h 49705"/>
                <a:gd name="connsiteX2" fmla="*/ 0 w 53742"/>
                <a:gd name="connsiteY2" fmla="*/ 20542 h 49705"/>
                <a:gd name="connsiteX3" fmla="*/ 8658 w 53742"/>
                <a:gd name="connsiteY3" fmla="*/ 38 h 49705"/>
                <a:gd name="connsiteX4" fmla="*/ 8747 w 53742"/>
                <a:gd name="connsiteY4" fmla="*/ 0 h 49705"/>
                <a:gd name="connsiteX5" fmla="*/ 53742 w 53742"/>
                <a:gd name="connsiteY5" fmla="*/ 31189 h 49705"/>
                <a:gd name="connsiteX6" fmla="*/ 49668 w 53742"/>
                <a:gd name="connsiteY6" fmla="*/ 41048 h 49705"/>
                <a:gd name="connsiteX7" fmla="*/ 29162 w 53742"/>
                <a:gd name="connsiteY7" fmla="*/ 49705 h 49705"/>
                <a:gd name="connsiteX8" fmla="*/ 8658 w 53742"/>
                <a:gd name="connsiteY8" fmla="*/ 41503 h 49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2" h="49705">
                  <a:moveTo>
                    <a:pt x="8658" y="41503"/>
                  </a:moveTo>
                  <a:cubicBezTo>
                    <a:pt x="3190" y="36035"/>
                    <a:pt x="0" y="28744"/>
                    <a:pt x="0" y="20999"/>
                  </a:cubicBezTo>
                  <a:lnTo>
                    <a:pt x="0" y="20542"/>
                  </a:lnTo>
                  <a:cubicBezTo>
                    <a:pt x="0" y="12796"/>
                    <a:pt x="3190" y="5506"/>
                    <a:pt x="8658" y="38"/>
                  </a:cubicBezTo>
                  <a:lnTo>
                    <a:pt x="8747" y="0"/>
                  </a:lnTo>
                  <a:lnTo>
                    <a:pt x="53742" y="31189"/>
                  </a:lnTo>
                  <a:lnTo>
                    <a:pt x="49668" y="41048"/>
                  </a:lnTo>
                  <a:cubicBezTo>
                    <a:pt x="44200" y="46516"/>
                    <a:pt x="36909" y="49705"/>
                    <a:pt x="29162" y="49705"/>
                  </a:cubicBezTo>
                  <a:cubicBezTo>
                    <a:pt x="21416" y="49705"/>
                    <a:pt x="14126" y="46971"/>
                    <a:pt x="8658" y="415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7" name="Forme libre : forme 436">
              <a:extLst>
                <a:ext uri="{FF2B5EF4-FFF2-40B4-BE49-F238E27FC236}">
                  <a16:creationId xmlns:a16="http://schemas.microsoft.com/office/drawing/2014/main" id="{8DF09363-6B2B-44FC-9677-ED983FC9E371}"/>
                </a:ext>
              </a:extLst>
            </p:cNvPr>
            <p:cNvSpPr/>
            <p:nvPr/>
          </p:nvSpPr>
          <p:spPr>
            <a:xfrm rot="8716295">
              <a:off x="635497" y="4902607"/>
              <a:ext cx="203847" cy="195874"/>
            </a:xfrm>
            <a:custGeom>
              <a:avLst/>
              <a:gdLst>
                <a:gd name="connsiteX0" fmla="*/ 90709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203847 w 203847"/>
                <a:gd name="connsiteY5" fmla="*/ 0 h 195874"/>
                <a:gd name="connsiteX6" fmla="*/ 203847 w 203847"/>
                <a:gd name="connsiteY6" fmla="*/ 55323 h 195874"/>
                <a:gd name="connsiteX7" fmla="*/ 139055 w 203847"/>
                <a:gd name="connsiteY7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95874">
                  <a:moveTo>
                    <a:pt x="90709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8" name="Forme libre : forme 437">
              <a:extLst>
                <a:ext uri="{FF2B5EF4-FFF2-40B4-BE49-F238E27FC236}">
                  <a16:creationId xmlns:a16="http://schemas.microsoft.com/office/drawing/2014/main" id="{532437B6-4FB3-4387-A6A2-9CA74243FC9D}"/>
                </a:ext>
              </a:extLst>
            </p:cNvPr>
            <p:cNvSpPr/>
            <p:nvPr/>
          </p:nvSpPr>
          <p:spPr>
            <a:xfrm rot="8716295">
              <a:off x="627956" y="476391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9" name="Forme libre : forme 438">
              <a:extLst>
                <a:ext uri="{FF2B5EF4-FFF2-40B4-BE49-F238E27FC236}">
                  <a16:creationId xmlns:a16="http://schemas.microsoft.com/office/drawing/2014/main" id="{DC114E70-E891-401E-9C24-8619044C69DA}"/>
                </a:ext>
              </a:extLst>
            </p:cNvPr>
            <p:cNvSpPr/>
            <p:nvPr/>
          </p:nvSpPr>
          <p:spPr>
            <a:xfrm rot="8716295">
              <a:off x="1166244" y="477267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0" name="Forme libre : forme 439">
              <a:extLst>
                <a:ext uri="{FF2B5EF4-FFF2-40B4-BE49-F238E27FC236}">
                  <a16:creationId xmlns:a16="http://schemas.microsoft.com/office/drawing/2014/main" id="{1B83E310-81D3-4935-AA0D-87EA212E2F8C}"/>
                </a:ext>
              </a:extLst>
            </p:cNvPr>
            <p:cNvSpPr/>
            <p:nvPr/>
          </p:nvSpPr>
          <p:spPr>
            <a:xfrm rot="8716295">
              <a:off x="1255636" y="480191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1" name="Forme libre : forme 440">
              <a:extLst>
                <a:ext uri="{FF2B5EF4-FFF2-40B4-BE49-F238E27FC236}">
                  <a16:creationId xmlns:a16="http://schemas.microsoft.com/office/drawing/2014/main" id="{8A0A400D-6D17-4603-B756-25D5B32DB841}"/>
                </a:ext>
              </a:extLst>
            </p:cNvPr>
            <p:cNvSpPr/>
            <p:nvPr/>
          </p:nvSpPr>
          <p:spPr>
            <a:xfrm rot="8716295">
              <a:off x="1054010" y="486121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2" name="Forme libre : forme 441">
              <a:extLst>
                <a:ext uri="{FF2B5EF4-FFF2-40B4-BE49-F238E27FC236}">
                  <a16:creationId xmlns:a16="http://schemas.microsoft.com/office/drawing/2014/main" id="{A46C9B70-DE37-4964-9FA4-17387E1BA45F}"/>
                </a:ext>
              </a:extLst>
            </p:cNvPr>
            <p:cNvSpPr/>
            <p:nvPr/>
          </p:nvSpPr>
          <p:spPr>
            <a:xfrm rot="8716295">
              <a:off x="929108" y="465254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3" name="Forme libre : forme 442">
              <a:extLst>
                <a:ext uri="{FF2B5EF4-FFF2-40B4-BE49-F238E27FC236}">
                  <a16:creationId xmlns:a16="http://schemas.microsoft.com/office/drawing/2014/main" id="{B9F4170A-6E5B-49E4-8193-4286DEBE2EC9}"/>
                </a:ext>
              </a:extLst>
            </p:cNvPr>
            <p:cNvSpPr/>
            <p:nvPr/>
          </p:nvSpPr>
          <p:spPr>
            <a:xfrm rot="8716295">
              <a:off x="1144188" y="490216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4" name="Forme libre : forme 443">
              <a:extLst>
                <a:ext uri="{FF2B5EF4-FFF2-40B4-BE49-F238E27FC236}">
                  <a16:creationId xmlns:a16="http://schemas.microsoft.com/office/drawing/2014/main" id="{9F81EDCD-5E16-426F-9754-D2A37212C8FE}"/>
                </a:ext>
              </a:extLst>
            </p:cNvPr>
            <p:cNvSpPr/>
            <p:nvPr/>
          </p:nvSpPr>
          <p:spPr>
            <a:xfrm rot="8716295">
              <a:off x="902737" y="475256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5" name="Forme libre : forme 444">
              <a:extLst>
                <a:ext uri="{FF2B5EF4-FFF2-40B4-BE49-F238E27FC236}">
                  <a16:creationId xmlns:a16="http://schemas.microsoft.com/office/drawing/2014/main" id="{179F229D-2224-4467-8649-9DF965D65362}"/>
                </a:ext>
              </a:extLst>
            </p:cNvPr>
            <p:cNvSpPr/>
            <p:nvPr/>
          </p:nvSpPr>
          <p:spPr>
            <a:xfrm rot="7484129">
              <a:off x="1313689" y="5058219"/>
              <a:ext cx="97325" cy="159603"/>
            </a:xfrm>
            <a:custGeom>
              <a:avLst/>
              <a:gdLst>
                <a:gd name="connsiteX0" fmla="*/ 0 w 97325"/>
                <a:gd name="connsiteY0" fmla="*/ 19052 h 159603"/>
                <a:gd name="connsiteX1" fmla="*/ 0 w 97325"/>
                <a:gd name="connsiteY1" fmla="*/ 0 h 159603"/>
                <a:gd name="connsiteX2" fmla="*/ 13209 w 97325"/>
                <a:gd name="connsiteY2" fmla="*/ 19052 h 159603"/>
                <a:gd name="connsiteX3" fmla="*/ 90710 w 97325"/>
                <a:gd name="connsiteY3" fmla="*/ 159603 h 159603"/>
                <a:gd name="connsiteX4" fmla="*/ 47847 w 97325"/>
                <a:gd name="connsiteY4" fmla="*/ 79858 h 159603"/>
                <a:gd name="connsiteX5" fmla="*/ 50421 w 97325"/>
                <a:gd name="connsiteY5" fmla="*/ 72721 h 159603"/>
                <a:gd name="connsiteX6" fmla="*/ 97325 w 97325"/>
                <a:gd name="connsiteY6" fmla="*/ 140370 h 159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7325" h="159603">
                  <a:moveTo>
                    <a:pt x="0" y="19052"/>
                  </a:moveTo>
                  <a:lnTo>
                    <a:pt x="0" y="0"/>
                  </a:lnTo>
                  <a:lnTo>
                    <a:pt x="13209" y="19052"/>
                  </a:lnTo>
                  <a:close/>
                  <a:moveTo>
                    <a:pt x="90710" y="159603"/>
                  </a:moveTo>
                  <a:lnTo>
                    <a:pt x="47847" y="79858"/>
                  </a:lnTo>
                  <a:lnTo>
                    <a:pt x="50421" y="72721"/>
                  </a:lnTo>
                  <a:lnTo>
                    <a:pt x="97325" y="14037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6" name="Forme libre : forme 445">
              <a:extLst>
                <a:ext uri="{FF2B5EF4-FFF2-40B4-BE49-F238E27FC236}">
                  <a16:creationId xmlns:a16="http://schemas.microsoft.com/office/drawing/2014/main" id="{0DC6D2C5-5676-4685-B6C7-B0D9124302BA}"/>
                </a:ext>
              </a:extLst>
            </p:cNvPr>
            <p:cNvSpPr/>
            <p:nvPr/>
          </p:nvSpPr>
          <p:spPr>
            <a:xfrm rot="13089394">
              <a:off x="1435176" y="5064332"/>
              <a:ext cx="213297" cy="83320"/>
            </a:xfrm>
            <a:custGeom>
              <a:avLst/>
              <a:gdLst>
                <a:gd name="connsiteX0" fmla="*/ 213297 w 213297"/>
                <a:gd name="connsiteY0" fmla="*/ 12691 h 83320"/>
                <a:gd name="connsiteX1" fmla="*/ 32310 w 213297"/>
                <a:gd name="connsiteY1" fmla="*/ 83320 h 83320"/>
                <a:gd name="connsiteX2" fmla="*/ 0 w 213297"/>
                <a:gd name="connsiteY2" fmla="*/ 77753 h 83320"/>
                <a:gd name="connsiteX3" fmla="*/ 69926 w 213297"/>
                <a:gd name="connsiteY3" fmla="*/ 22813 h 83320"/>
                <a:gd name="connsiteX4" fmla="*/ 94662 w 213297"/>
                <a:gd name="connsiteY4" fmla="*/ 36418 h 83320"/>
                <a:gd name="connsiteX5" fmla="*/ 144323 w 213297"/>
                <a:gd name="connsiteY5" fmla="*/ 27589 h 83320"/>
                <a:gd name="connsiteX6" fmla="*/ 212193 w 213297"/>
                <a:gd name="connsiteY6" fmla="*/ 0 h 83320"/>
                <a:gd name="connsiteX7" fmla="*/ 213297 w 213297"/>
                <a:gd name="connsiteY7" fmla="*/ 7173 h 83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3297" h="83320">
                  <a:moveTo>
                    <a:pt x="213297" y="12691"/>
                  </a:moveTo>
                  <a:cubicBezTo>
                    <a:pt x="154807" y="62904"/>
                    <a:pt x="78108" y="80561"/>
                    <a:pt x="32310" y="83320"/>
                  </a:cubicBezTo>
                  <a:lnTo>
                    <a:pt x="0" y="77753"/>
                  </a:lnTo>
                  <a:lnTo>
                    <a:pt x="69926" y="22813"/>
                  </a:lnTo>
                  <a:lnTo>
                    <a:pt x="94662" y="36418"/>
                  </a:lnTo>
                  <a:cubicBezTo>
                    <a:pt x="111768" y="35866"/>
                    <a:pt x="128321" y="32555"/>
                    <a:pt x="144323" y="27589"/>
                  </a:cubicBezTo>
                  <a:cubicBezTo>
                    <a:pt x="167498" y="20416"/>
                    <a:pt x="190122" y="11036"/>
                    <a:pt x="212193" y="0"/>
                  </a:cubicBezTo>
                  <a:cubicBezTo>
                    <a:pt x="212745" y="2207"/>
                    <a:pt x="213297" y="4966"/>
                    <a:pt x="213297" y="71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7" name="Forme libre : forme 446">
              <a:extLst>
                <a:ext uri="{FF2B5EF4-FFF2-40B4-BE49-F238E27FC236}">
                  <a16:creationId xmlns:a16="http://schemas.microsoft.com/office/drawing/2014/main" id="{933D0F57-4827-4379-ADFC-4E442A7AA9F5}"/>
                </a:ext>
              </a:extLst>
            </p:cNvPr>
            <p:cNvSpPr/>
            <p:nvPr/>
          </p:nvSpPr>
          <p:spPr>
            <a:xfrm rot="8716295">
              <a:off x="1539524" y="486837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8" name="Forme libre : forme 447">
              <a:extLst>
                <a:ext uri="{FF2B5EF4-FFF2-40B4-BE49-F238E27FC236}">
                  <a16:creationId xmlns:a16="http://schemas.microsoft.com/office/drawing/2014/main" id="{F2B3C0A6-3119-4AF6-9904-83AA6D24B4D4}"/>
                </a:ext>
              </a:extLst>
            </p:cNvPr>
            <p:cNvSpPr/>
            <p:nvPr/>
          </p:nvSpPr>
          <p:spPr>
            <a:xfrm rot="8716295">
              <a:off x="1487719" y="476477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9" name="Forme libre : forme 448">
              <a:extLst>
                <a:ext uri="{FF2B5EF4-FFF2-40B4-BE49-F238E27FC236}">
                  <a16:creationId xmlns:a16="http://schemas.microsoft.com/office/drawing/2014/main" id="{A101E396-638E-4D53-9DD4-DFCEEB801BC5}"/>
                </a:ext>
              </a:extLst>
            </p:cNvPr>
            <p:cNvSpPr/>
            <p:nvPr/>
          </p:nvSpPr>
          <p:spPr>
            <a:xfrm rot="8716295">
              <a:off x="1244473" y="479499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0" name="Forme libre : forme 449">
              <a:extLst>
                <a:ext uri="{FF2B5EF4-FFF2-40B4-BE49-F238E27FC236}">
                  <a16:creationId xmlns:a16="http://schemas.microsoft.com/office/drawing/2014/main" id="{67402E49-E65F-45DA-8073-25DB882ECA1B}"/>
                </a:ext>
              </a:extLst>
            </p:cNvPr>
            <p:cNvSpPr/>
            <p:nvPr/>
          </p:nvSpPr>
          <p:spPr>
            <a:xfrm rot="8716295">
              <a:off x="1421925" y="463575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1" name="Forme libre : forme 450">
              <a:extLst>
                <a:ext uri="{FF2B5EF4-FFF2-40B4-BE49-F238E27FC236}">
                  <a16:creationId xmlns:a16="http://schemas.microsoft.com/office/drawing/2014/main" id="{4AD140D5-5D83-48BA-8FB5-0AE18019D236}"/>
                </a:ext>
              </a:extLst>
            </p:cNvPr>
            <p:cNvSpPr/>
            <p:nvPr/>
          </p:nvSpPr>
          <p:spPr>
            <a:xfrm rot="8716295">
              <a:off x="-3428" y="2405990"/>
              <a:ext cx="142167" cy="208592"/>
            </a:xfrm>
            <a:custGeom>
              <a:avLst/>
              <a:gdLst>
                <a:gd name="connsiteX0" fmla="*/ 81108 w 142167"/>
                <a:gd name="connsiteY0" fmla="*/ 208592 h 208592"/>
                <a:gd name="connsiteX1" fmla="*/ 81108 w 142167"/>
                <a:gd name="connsiteY1" fmla="*/ 69717 h 208592"/>
                <a:gd name="connsiteX2" fmla="*/ 81108 w 142167"/>
                <a:gd name="connsiteY2" fmla="*/ 65615 h 208592"/>
                <a:gd name="connsiteX3" fmla="*/ 60604 w 142167"/>
                <a:gd name="connsiteY3" fmla="*/ 50123 h 208592"/>
                <a:gd name="connsiteX4" fmla="*/ 0 w 142167"/>
                <a:gd name="connsiteY4" fmla="*/ 50123 h 208592"/>
                <a:gd name="connsiteX5" fmla="*/ 0 w 142167"/>
                <a:gd name="connsiteY5" fmla="*/ 0 h 208592"/>
                <a:gd name="connsiteX6" fmla="*/ 85210 w 142167"/>
                <a:gd name="connsiteY6" fmla="*/ 0 h 208592"/>
                <a:gd name="connsiteX7" fmla="*/ 142167 w 142167"/>
                <a:gd name="connsiteY7" fmla="*/ 50123 h 208592"/>
                <a:gd name="connsiteX8" fmla="*/ 142167 w 142167"/>
                <a:gd name="connsiteY8" fmla="*/ 120504 h 20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08592">
                  <a:moveTo>
                    <a:pt x="81108" y="208592"/>
                  </a:moveTo>
                  <a:lnTo>
                    <a:pt x="81108" y="69717"/>
                  </a:lnTo>
                  <a:cubicBezTo>
                    <a:pt x="81108" y="68350"/>
                    <a:pt x="81108" y="66983"/>
                    <a:pt x="81108" y="65615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10" y="0"/>
                  </a:lnTo>
                  <a:cubicBezTo>
                    <a:pt x="122118" y="0"/>
                    <a:pt x="142167" y="15948"/>
                    <a:pt x="142167" y="50123"/>
                  </a:cubicBezTo>
                  <a:lnTo>
                    <a:pt x="142167" y="1205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2" name="Forme libre : forme 451">
              <a:extLst>
                <a:ext uri="{FF2B5EF4-FFF2-40B4-BE49-F238E27FC236}">
                  <a16:creationId xmlns:a16="http://schemas.microsoft.com/office/drawing/2014/main" id="{2BA0993E-9FAB-4AEE-B83B-4CF3D7902044}"/>
                </a:ext>
              </a:extLst>
            </p:cNvPr>
            <p:cNvSpPr/>
            <p:nvPr/>
          </p:nvSpPr>
          <p:spPr>
            <a:xfrm rot="8716295">
              <a:off x="80015" y="241329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3" name="Forme libre : forme 452">
              <a:extLst>
                <a:ext uri="{FF2B5EF4-FFF2-40B4-BE49-F238E27FC236}">
                  <a16:creationId xmlns:a16="http://schemas.microsoft.com/office/drawing/2014/main" id="{CCF3EEA8-B3F9-461B-98BC-F35553672A96}"/>
                </a:ext>
              </a:extLst>
            </p:cNvPr>
            <p:cNvSpPr/>
            <p:nvPr/>
          </p:nvSpPr>
          <p:spPr>
            <a:xfrm rot="8716295">
              <a:off x="35165" y="232701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4" name="Forme libre : forme 453">
              <a:extLst>
                <a:ext uri="{FF2B5EF4-FFF2-40B4-BE49-F238E27FC236}">
                  <a16:creationId xmlns:a16="http://schemas.microsoft.com/office/drawing/2014/main" id="{7409E8F1-7A32-4862-9918-61EE35F1B801}"/>
                </a:ext>
              </a:extLst>
            </p:cNvPr>
            <p:cNvSpPr/>
            <p:nvPr/>
          </p:nvSpPr>
          <p:spPr>
            <a:xfrm rot="8716295">
              <a:off x="-20257" y="2217087"/>
              <a:ext cx="78731" cy="180665"/>
            </a:xfrm>
            <a:custGeom>
              <a:avLst/>
              <a:gdLst>
                <a:gd name="connsiteX0" fmla="*/ 0 w 78731"/>
                <a:gd name="connsiteY0" fmla="*/ 180665 h 180665"/>
                <a:gd name="connsiteX1" fmla="*/ 0 w 78731"/>
                <a:gd name="connsiteY1" fmla="*/ 40596 h 180665"/>
                <a:gd name="connsiteX2" fmla="*/ 78250 w 78731"/>
                <a:gd name="connsiteY2" fmla="*/ 0 h 180665"/>
                <a:gd name="connsiteX3" fmla="*/ 78731 w 78731"/>
                <a:gd name="connsiteY3" fmla="*/ 67083 h 180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731" h="180665">
                  <a:moveTo>
                    <a:pt x="0" y="180665"/>
                  </a:moveTo>
                  <a:lnTo>
                    <a:pt x="0" y="40596"/>
                  </a:lnTo>
                  <a:lnTo>
                    <a:pt x="78250" y="0"/>
                  </a:lnTo>
                  <a:lnTo>
                    <a:pt x="78731" y="670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5" name="Forme libre : forme 454">
              <a:extLst>
                <a:ext uri="{FF2B5EF4-FFF2-40B4-BE49-F238E27FC236}">
                  <a16:creationId xmlns:a16="http://schemas.microsoft.com/office/drawing/2014/main" id="{D1FF2FF9-6448-4826-95B6-0FAE856B0348}"/>
                </a:ext>
              </a:extLst>
            </p:cNvPr>
            <p:cNvSpPr/>
            <p:nvPr/>
          </p:nvSpPr>
          <p:spPr>
            <a:xfrm rot="8716295">
              <a:off x="-15341" y="2575209"/>
              <a:ext cx="103435" cy="152027"/>
            </a:xfrm>
            <a:custGeom>
              <a:avLst/>
              <a:gdLst>
                <a:gd name="connsiteX0" fmla="*/ 43288 w 103435"/>
                <a:gd name="connsiteY0" fmla="*/ 152027 h 152027"/>
                <a:gd name="connsiteX1" fmla="*/ 43288 w 103435"/>
                <a:gd name="connsiteY1" fmla="*/ 16404 h 152027"/>
                <a:gd name="connsiteX2" fmla="*/ 0 w 103435"/>
                <a:gd name="connsiteY2" fmla="*/ 16404 h 152027"/>
                <a:gd name="connsiteX3" fmla="*/ 0 w 103435"/>
                <a:gd name="connsiteY3" fmla="*/ 2278 h 152027"/>
                <a:gd name="connsiteX4" fmla="*/ 103435 w 103435"/>
                <a:gd name="connsiteY4" fmla="*/ 0 h 152027"/>
                <a:gd name="connsiteX5" fmla="*/ 103435 w 103435"/>
                <a:gd name="connsiteY5" fmla="*/ 65255 h 152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152027">
                  <a:moveTo>
                    <a:pt x="43288" y="152027"/>
                  </a:move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652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6" name="Forme libre : forme 455">
              <a:extLst>
                <a:ext uri="{FF2B5EF4-FFF2-40B4-BE49-F238E27FC236}">
                  <a16:creationId xmlns:a16="http://schemas.microsoft.com/office/drawing/2014/main" id="{D4422BA3-5FC8-407B-A01D-69AD0749DDD6}"/>
                </a:ext>
              </a:extLst>
            </p:cNvPr>
            <p:cNvSpPr/>
            <p:nvPr/>
          </p:nvSpPr>
          <p:spPr>
            <a:xfrm rot="8716295">
              <a:off x="279722" y="21339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7" name="Forme libre : forme 456">
              <a:extLst>
                <a:ext uri="{FF2B5EF4-FFF2-40B4-BE49-F238E27FC236}">
                  <a16:creationId xmlns:a16="http://schemas.microsoft.com/office/drawing/2014/main" id="{D39FDC20-561D-4627-BA38-506D7FCF7089}"/>
                </a:ext>
              </a:extLst>
            </p:cNvPr>
            <p:cNvSpPr/>
            <p:nvPr/>
          </p:nvSpPr>
          <p:spPr>
            <a:xfrm rot="8716295">
              <a:off x="369114" y="21631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8" name="Forme libre : forme 457">
              <a:extLst>
                <a:ext uri="{FF2B5EF4-FFF2-40B4-BE49-F238E27FC236}">
                  <a16:creationId xmlns:a16="http://schemas.microsoft.com/office/drawing/2014/main" id="{D14C1499-CA5F-496B-8BEC-69E04E19EA0D}"/>
                </a:ext>
              </a:extLst>
            </p:cNvPr>
            <p:cNvSpPr/>
            <p:nvPr/>
          </p:nvSpPr>
          <p:spPr>
            <a:xfrm rot="8716295">
              <a:off x="167488" y="22224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9" name="Forme libre : forme 458">
              <a:extLst>
                <a:ext uri="{FF2B5EF4-FFF2-40B4-BE49-F238E27FC236}">
                  <a16:creationId xmlns:a16="http://schemas.microsoft.com/office/drawing/2014/main" id="{193174EE-CFBC-438F-B1BB-D3ADA063388E}"/>
                </a:ext>
              </a:extLst>
            </p:cNvPr>
            <p:cNvSpPr/>
            <p:nvPr/>
          </p:nvSpPr>
          <p:spPr>
            <a:xfrm rot="8716295">
              <a:off x="42586" y="20137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0" name="Forme libre : forme 459">
              <a:extLst>
                <a:ext uri="{FF2B5EF4-FFF2-40B4-BE49-F238E27FC236}">
                  <a16:creationId xmlns:a16="http://schemas.microsoft.com/office/drawing/2014/main" id="{7E2244BC-364D-47B4-8B77-1ABDEF1DBB36}"/>
                </a:ext>
              </a:extLst>
            </p:cNvPr>
            <p:cNvSpPr/>
            <p:nvPr/>
          </p:nvSpPr>
          <p:spPr>
            <a:xfrm rot="8716295">
              <a:off x="257666" y="226339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1" name="Forme libre : forme 460">
              <a:extLst>
                <a:ext uri="{FF2B5EF4-FFF2-40B4-BE49-F238E27FC236}">
                  <a16:creationId xmlns:a16="http://schemas.microsoft.com/office/drawing/2014/main" id="{88E8FCAA-5A69-41AD-9BBF-E06402368569}"/>
                </a:ext>
              </a:extLst>
            </p:cNvPr>
            <p:cNvSpPr/>
            <p:nvPr/>
          </p:nvSpPr>
          <p:spPr>
            <a:xfrm rot="8716295">
              <a:off x="16215" y="211379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2" name="Forme libre : forme 461">
              <a:extLst>
                <a:ext uri="{FF2B5EF4-FFF2-40B4-BE49-F238E27FC236}">
                  <a16:creationId xmlns:a16="http://schemas.microsoft.com/office/drawing/2014/main" id="{2C0CE443-0100-47A6-BB72-6A7BBA3B084B}"/>
                </a:ext>
              </a:extLst>
            </p:cNvPr>
            <p:cNvSpPr/>
            <p:nvPr/>
          </p:nvSpPr>
          <p:spPr>
            <a:xfrm rot="7484129">
              <a:off x="362597" y="245474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3" name="Forme libre : forme 462">
              <a:extLst>
                <a:ext uri="{FF2B5EF4-FFF2-40B4-BE49-F238E27FC236}">
                  <a16:creationId xmlns:a16="http://schemas.microsoft.com/office/drawing/2014/main" id="{AE6C94D5-06F7-4134-9BDD-8703B8C3642E}"/>
                </a:ext>
              </a:extLst>
            </p:cNvPr>
            <p:cNvSpPr/>
            <p:nvPr/>
          </p:nvSpPr>
          <p:spPr>
            <a:xfrm rot="13089394">
              <a:off x="467417" y="242128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4" name="Forme libre : forme 463">
              <a:extLst>
                <a:ext uri="{FF2B5EF4-FFF2-40B4-BE49-F238E27FC236}">
                  <a16:creationId xmlns:a16="http://schemas.microsoft.com/office/drawing/2014/main" id="{90543D7D-143B-4ADD-B896-F2C09B360BC1}"/>
                </a:ext>
              </a:extLst>
            </p:cNvPr>
            <p:cNvSpPr/>
            <p:nvPr/>
          </p:nvSpPr>
          <p:spPr>
            <a:xfrm rot="8716295">
              <a:off x="653002" y="222960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5" name="Forme libre : forme 464">
              <a:extLst>
                <a:ext uri="{FF2B5EF4-FFF2-40B4-BE49-F238E27FC236}">
                  <a16:creationId xmlns:a16="http://schemas.microsoft.com/office/drawing/2014/main" id="{0A3F3F5B-79C0-41C7-8F17-B5752CC6E817}"/>
                </a:ext>
              </a:extLst>
            </p:cNvPr>
            <p:cNvSpPr/>
            <p:nvPr/>
          </p:nvSpPr>
          <p:spPr>
            <a:xfrm rot="8716295">
              <a:off x="601197" y="21260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6" name="Forme libre : forme 465">
              <a:extLst>
                <a:ext uri="{FF2B5EF4-FFF2-40B4-BE49-F238E27FC236}">
                  <a16:creationId xmlns:a16="http://schemas.microsoft.com/office/drawing/2014/main" id="{69D0AA2C-A5BB-4B7B-BB03-432400F6F2C5}"/>
                </a:ext>
              </a:extLst>
            </p:cNvPr>
            <p:cNvSpPr/>
            <p:nvPr/>
          </p:nvSpPr>
          <p:spPr>
            <a:xfrm rot="8716295">
              <a:off x="357951" y="21562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7" name="Forme libre : forme 466">
              <a:extLst>
                <a:ext uri="{FF2B5EF4-FFF2-40B4-BE49-F238E27FC236}">
                  <a16:creationId xmlns:a16="http://schemas.microsoft.com/office/drawing/2014/main" id="{82D68D60-D905-4F9D-9F1E-9018FDA856E2}"/>
                </a:ext>
              </a:extLst>
            </p:cNvPr>
            <p:cNvSpPr/>
            <p:nvPr/>
          </p:nvSpPr>
          <p:spPr>
            <a:xfrm rot="8716295">
              <a:off x="535403" y="199698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8" name="Forme libre : forme 467">
              <a:extLst>
                <a:ext uri="{FF2B5EF4-FFF2-40B4-BE49-F238E27FC236}">
                  <a16:creationId xmlns:a16="http://schemas.microsoft.com/office/drawing/2014/main" id="{E3253363-EB34-44DB-883A-13B6DE6143A2}"/>
                </a:ext>
              </a:extLst>
            </p:cNvPr>
            <p:cNvSpPr/>
            <p:nvPr/>
          </p:nvSpPr>
          <p:spPr>
            <a:xfrm rot="8716295">
              <a:off x="-76043" y="1768178"/>
              <a:ext cx="197178" cy="215049"/>
            </a:xfrm>
            <a:custGeom>
              <a:avLst/>
              <a:gdLst>
                <a:gd name="connsiteX0" fmla="*/ 51490 w 197178"/>
                <a:gd name="connsiteY0" fmla="*/ 215049 h 215049"/>
                <a:gd name="connsiteX1" fmla="*/ 51490 w 197178"/>
                <a:gd name="connsiteY1" fmla="*/ 45624 h 215049"/>
                <a:gd name="connsiteX2" fmla="*/ 0 w 197178"/>
                <a:gd name="connsiteY2" fmla="*/ 45624 h 215049"/>
                <a:gd name="connsiteX3" fmla="*/ 0 w 197178"/>
                <a:gd name="connsiteY3" fmla="*/ 1424 h 215049"/>
                <a:gd name="connsiteX4" fmla="*/ 104803 w 197178"/>
                <a:gd name="connsiteY4" fmla="*/ 1425 h 215049"/>
                <a:gd name="connsiteX5" fmla="*/ 104803 w 197178"/>
                <a:gd name="connsiteY5" fmla="*/ 75242 h 215049"/>
                <a:gd name="connsiteX6" fmla="*/ 106169 w 197178"/>
                <a:gd name="connsiteY6" fmla="*/ 75242 h 215049"/>
                <a:gd name="connsiteX7" fmla="*/ 154014 w 197178"/>
                <a:gd name="connsiteY7" fmla="*/ 5981 h 215049"/>
                <a:gd name="connsiteX8" fmla="*/ 185455 w 197178"/>
                <a:gd name="connsiteY8" fmla="*/ 57 h 215049"/>
                <a:gd name="connsiteX9" fmla="*/ 197178 w 197178"/>
                <a:gd name="connsiteY9" fmla="*/ 4872 h 215049"/>
                <a:gd name="connsiteX10" fmla="*/ 170795 w 197178"/>
                <a:gd name="connsiteY10" fmla="*/ 42934 h 215049"/>
                <a:gd name="connsiteX11" fmla="*/ 164950 w 197178"/>
                <a:gd name="connsiteY11" fmla="*/ 40156 h 215049"/>
                <a:gd name="connsiteX12" fmla="*/ 111638 w 197178"/>
                <a:gd name="connsiteY12" fmla="*/ 127643 h 215049"/>
                <a:gd name="connsiteX13" fmla="*/ 111638 w 197178"/>
                <a:gd name="connsiteY13" fmla="*/ 128277 h 21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178" h="215049">
                  <a:moveTo>
                    <a:pt x="51490" y="215049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4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lnTo>
                    <a:pt x="197178" y="4872"/>
                  </a:lnTo>
                  <a:lnTo>
                    <a:pt x="170795" y="42934"/>
                  </a:lnTo>
                  <a:lnTo>
                    <a:pt x="164950" y="40156"/>
                  </a:ln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1282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9" name="Forme libre : forme 468">
              <a:extLst>
                <a:ext uri="{FF2B5EF4-FFF2-40B4-BE49-F238E27FC236}">
                  <a16:creationId xmlns:a16="http://schemas.microsoft.com/office/drawing/2014/main" id="{13CAFE6B-0A3E-486D-8691-4D8C7920E841}"/>
                </a:ext>
              </a:extLst>
            </p:cNvPr>
            <p:cNvSpPr/>
            <p:nvPr/>
          </p:nvSpPr>
          <p:spPr>
            <a:xfrm rot="8716295">
              <a:off x="56555" y="14742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0" name="Forme libre : forme 469">
              <a:extLst>
                <a:ext uri="{FF2B5EF4-FFF2-40B4-BE49-F238E27FC236}">
                  <a16:creationId xmlns:a16="http://schemas.microsoft.com/office/drawing/2014/main" id="{AAF44C60-8776-4956-B0ED-2BB1FFCE9812}"/>
                </a:ext>
              </a:extLst>
            </p:cNvPr>
            <p:cNvSpPr/>
            <p:nvPr/>
          </p:nvSpPr>
          <p:spPr>
            <a:xfrm rot="8716295">
              <a:off x="145947" y="15034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1" name="Forme libre : forme 470">
              <a:extLst>
                <a:ext uri="{FF2B5EF4-FFF2-40B4-BE49-F238E27FC236}">
                  <a16:creationId xmlns:a16="http://schemas.microsoft.com/office/drawing/2014/main" id="{5A27D428-CE77-42C1-B8CA-3A227D5DF411}"/>
                </a:ext>
              </a:extLst>
            </p:cNvPr>
            <p:cNvSpPr/>
            <p:nvPr/>
          </p:nvSpPr>
          <p:spPr>
            <a:xfrm rot="8716295">
              <a:off x="-21870" y="1443501"/>
              <a:ext cx="68614" cy="55323"/>
            </a:xfrm>
            <a:custGeom>
              <a:avLst/>
              <a:gdLst>
                <a:gd name="connsiteX0" fmla="*/ 0 w 68614"/>
                <a:gd name="connsiteY0" fmla="*/ 55323 h 55323"/>
                <a:gd name="connsiteX1" fmla="*/ 0 w 68614"/>
                <a:gd name="connsiteY1" fmla="*/ 0 h 55323"/>
                <a:gd name="connsiteX2" fmla="*/ 68614 w 68614"/>
                <a:gd name="connsiteY2" fmla="*/ 0 h 55323"/>
                <a:gd name="connsiteX3" fmla="*/ 30266 w 68614"/>
                <a:gd name="connsiteY3" fmla="*/ 55323 h 55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614" h="55323">
                  <a:moveTo>
                    <a:pt x="0" y="55323"/>
                  </a:moveTo>
                  <a:lnTo>
                    <a:pt x="0" y="0"/>
                  </a:lnTo>
                  <a:lnTo>
                    <a:pt x="68614" y="0"/>
                  </a:lnTo>
                  <a:lnTo>
                    <a:pt x="30266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2" name="Forme libre : forme 471">
              <a:extLst>
                <a:ext uri="{FF2B5EF4-FFF2-40B4-BE49-F238E27FC236}">
                  <a16:creationId xmlns:a16="http://schemas.microsoft.com/office/drawing/2014/main" id="{DF9A3F72-B629-4ECA-8440-27AD7A8DC93E}"/>
                </a:ext>
              </a:extLst>
            </p:cNvPr>
            <p:cNvSpPr/>
            <p:nvPr/>
          </p:nvSpPr>
          <p:spPr>
            <a:xfrm rot="8716295">
              <a:off x="35817" y="1618109"/>
              <a:ext cx="103435" cy="203897"/>
            </a:xfrm>
            <a:custGeom>
              <a:avLst/>
              <a:gdLst>
                <a:gd name="connsiteX0" fmla="*/ 87556 w 103435"/>
                <a:gd name="connsiteY0" fmla="*/ 203897 h 203897"/>
                <a:gd name="connsiteX1" fmla="*/ 43288 w 103435"/>
                <a:gd name="connsiteY1" fmla="*/ 161305 h 203897"/>
                <a:gd name="connsiteX2" fmla="*/ 43288 w 103435"/>
                <a:gd name="connsiteY2" fmla="*/ 16404 h 203897"/>
                <a:gd name="connsiteX3" fmla="*/ 0 w 103435"/>
                <a:gd name="connsiteY3" fmla="*/ 16404 h 203897"/>
                <a:gd name="connsiteX4" fmla="*/ 0 w 103435"/>
                <a:gd name="connsiteY4" fmla="*/ 2278 h 203897"/>
                <a:gd name="connsiteX5" fmla="*/ 103435 w 103435"/>
                <a:gd name="connsiteY5" fmla="*/ 0 h 203897"/>
                <a:gd name="connsiteX6" fmla="*/ 103435 w 103435"/>
                <a:gd name="connsiteY6" fmla="*/ 180989 h 203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03897">
                  <a:moveTo>
                    <a:pt x="87556" y="203897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1809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3" name="Forme libre : forme 472">
              <a:extLst>
                <a:ext uri="{FF2B5EF4-FFF2-40B4-BE49-F238E27FC236}">
                  <a16:creationId xmlns:a16="http://schemas.microsoft.com/office/drawing/2014/main" id="{8E07B202-4136-4FA5-B44B-66518FBBBBA3}"/>
                </a:ext>
              </a:extLst>
            </p:cNvPr>
            <p:cNvSpPr/>
            <p:nvPr/>
          </p:nvSpPr>
          <p:spPr>
            <a:xfrm rot="7484129">
              <a:off x="139430" y="17950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4" name="Forme libre : forme 473">
              <a:extLst>
                <a:ext uri="{FF2B5EF4-FFF2-40B4-BE49-F238E27FC236}">
                  <a16:creationId xmlns:a16="http://schemas.microsoft.com/office/drawing/2014/main" id="{34554139-A9A2-4D5D-81E5-F4C0EE65204A}"/>
                </a:ext>
              </a:extLst>
            </p:cNvPr>
            <p:cNvSpPr/>
            <p:nvPr/>
          </p:nvSpPr>
          <p:spPr>
            <a:xfrm rot="13089394">
              <a:off x="244250" y="17615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5" name="Forme libre : forme 474">
              <a:extLst>
                <a:ext uri="{FF2B5EF4-FFF2-40B4-BE49-F238E27FC236}">
                  <a16:creationId xmlns:a16="http://schemas.microsoft.com/office/drawing/2014/main" id="{AB2F70AF-AA56-4CAD-ADF4-0833FC541883}"/>
                </a:ext>
              </a:extLst>
            </p:cNvPr>
            <p:cNvSpPr/>
            <p:nvPr/>
          </p:nvSpPr>
          <p:spPr>
            <a:xfrm rot="8716295">
              <a:off x="429835" y="15699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6" name="Forme libre : forme 475">
              <a:extLst>
                <a:ext uri="{FF2B5EF4-FFF2-40B4-BE49-F238E27FC236}">
                  <a16:creationId xmlns:a16="http://schemas.microsoft.com/office/drawing/2014/main" id="{75BBDF35-8448-40A6-BE33-7EEF756160B0}"/>
                </a:ext>
              </a:extLst>
            </p:cNvPr>
            <p:cNvSpPr/>
            <p:nvPr/>
          </p:nvSpPr>
          <p:spPr>
            <a:xfrm rot="8716295">
              <a:off x="378030" y="14663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7" name="Forme libre : forme 476">
              <a:extLst>
                <a:ext uri="{FF2B5EF4-FFF2-40B4-BE49-F238E27FC236}">
                  <a16:creationId xmlns:a16="http://schemas.microsoft.com/office/drawing/2014/main" id="{423A5D9B-DC1A-419A-9AFB-176F76ADBA77}"/>
                </a:ext>
              </a:extLst>
            </p:cNvPr>
            <p:cNvSpPr/>
            <p:nvPr/>
          </p:nvSpPr>
          <p:spPr>
            <a:xfrm rot="8716295">
              <a:off x="134784" y="14965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8" name="Forme libre : forme 477">
              <a:extLst>
                <a:ext uri="{FF2B5EF4-FFF2-40B4-BE49-F238E27FC236}">
                  <a16:creationId xmlns:a16="http://schemas.microsoft.com/office/drawing/2014/main" id="{09A04993-945B-4073-A4A3-49D8F429837D}"/>
                </a:ext>
              </a:extLst>
            </p:cNvPr>
            <p:cNvSpPr/>
            <p:nvPr/>
          </p:nvSpPr>
          <p:spPr>
            <a:xfrm rot="8716295">
              <a:off x="312236" y="13372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9" name="Forme libre : forme 478">
              <a:extLst>
                <a:ext uri="{FF2B5EF4-FFF2-40B4-BE49-F238E27FC236}">
                  <a16:creationId xmlns:a16="http://schemas.microsoft.com/office/drawing/2014/main" id="{F26589E4-0AEF-428F-8239-E3EDEF00E7E4}"/>
                </a:ext>
              </a:extLst>
            </p:cNvPr>
            <p:cNvSpPr/>
            <p:nvPr/>
          </p:nvSpPr>
          <p:spPr>
            <a:xfrm rot="8716295">
              <a:off x="-17798" y="949199"/>
              <a:ext cx="39526" cy="50123"/>
            </a:xfrm>
            <a:custGeom>
              <a:avLst/>
              <a:gdLst>
                <a:gd name="connsiteX0" fmla="*/ 0 w 39526"/>
                <a:gd name="connsiteY0" fmla="*/ 50123 h 50123"/>
                <a:gd name="connsiteX1" fmla="*/ 0 w 39526"/>
                <a:gd name="connsiteY1" fmla="*/ 0 h 50123"/>
                <a:gd name="connsiteX2" fmla="*/ 39526 w 39526"/>
                <a:gd name="connsiteY2" fmla="*/ 0 h 50123"/>
                <a:gd name="connsiteX3" fmla="*/ 4782 w 39526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26" h="50123">
                  <a:moveTo>
                    <a:pt x="0" y="50123"/>
                  </a:moveTo>
                  <a:lnTo>
                    <a:pt x="0" y="0"/>
                  </a:lnTo>
                  <a:lnTo>
                    <a:pt x="39526" y="0"/>
                  </a:lnTo>
                  <a:lnTo>
                    <a:pt x="4782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0" name="Forme libre : forme 479">
              <a:extLst>
                <a:ext uri="{FF2B5EF4-FFF2-40B4-BE49-F238E27FC236}">
                  <a16:creationId xmlns:a16="http://schemas.microsoft.com/office/drawing/2014/main" id="{4C4296DE-55F9-4C4A-97B0-A63397A7DF77}"/>
                </a:ext>
              </a:extLst>
            </p:cNvPr>
            <p:cNvSpPr/>
            <p:nvPr/>
          </p:nvSpPr>
          <p:spPr>
            <a:xfrm rot="8716295">
              <a:off x="-64996" y="834728"/>
              <a:ext cx="249650" cy="254774"/>
            </a:xfrm>
            <a:custGeom>
              <a:avLst/>
              <a:gdLst>
                <a:gd name="connsiteX0" fmla="*/ 51490 w 249650"/>
                <a:gd name="connsiteY0" fmla="*/ 254774 h 254774"/>
                <a:gd name="connsiteX1" fmla="*/ 51490 w 249650"/>
                <a:gd name="connsiteY1" fmla="*/ 45624 h 254774"/>
                <a:gd name="connsiteX2" fmla="*/ 0 w 249650"/>
                <a:gd name="connsiteY2" fmla="*/ 45624 h 254774"/>
                <a:gd name="connsiteX3" fmla="*/ 0 w 249650"/>
                <a:gd name="connsiteY3" fmla="*/ 1425 h 254774"/>
                <a:gd name="connsiteX4" fmla="*/ 104803 w 249650"/>
                <a:gd name="connsiteY4" fmla="*/ 1425 h 254774"/>
                <a:gd name="connsiteX5" fmla="*/ 104803 w 249650"/>
                <a:gd name="connsiteY5" fmla="*/ 75242 h 254774"/>
                <a:gd name="connsiteX6" fmla="*/ 106169 w 249650"/>
                <a:gd name="connsiteY6" fmla="*/ 75242 h 254774"/>
                <a:gd name="connsiteX7" fmla="*/ 154014 w 249650"/>
                <a:gd name="connsiteY7" fmla="*/ 5981 h 254774"/>
                <a:gd name="connsiteX8" fmla="*/ 185455 w 249650"/>
                <a:gd name="connsiteY8" fmla="*/ 57 h 254774"/>
                <a:gd name="connsiteX9" fmla="*/ 240647 w 249650"/>
                <a:gd name="connsiteY9" fmla="*/ 22727 h 254774"/>
                <a:gd name="connsiteX10" fmla="*/ 249650 w 249650"/>
                <a:gd name="connsiteY10" fmla="*/ 52327 h 254774"/>
                <a:gd name="connsiteX11" fmla="*/ 218795 w 249650"/>
                <a:gd name="connsiteY11" fmla="*/ 96841 h 254774"/>
                <a:gd name="connsiteX12" fmla="*/ 198669 w 249650"/>
                <a:gd name="connsiteY12" fmla="*/ 98025 h 254774"/>
                <a:gd name="connsiteX13" fmla="*/ 198669 w 249650"/>
                <a:gd name="connsiteY13" fmla="*/ 81621 h 254774"/>
                <a:gd name="connsiteX14" fmla="*/ 164950 w 249650"/>
                <a:gd name="connsiteY14" fmla="*/ 40156 h 254774"/>
                <a:gd name="connsiteX15" fmla="*/ 111638 w 249650"/>
                <a:gd name="connsiteY15" fmla="*/ 127643 h 254774"/>
                <a:gd name="connsiteX16" fmla="*/ 111638 w 249650"/>
                <a:gd name="connsiteY16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9650" h="254774">
                  <a:moveTo>
                    <a:pt x="51490" y="254774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08922" y="-398"/>
                    <a:pt x="227718" y="7576"/>
                    <a:pt x="240647" y="22727"/>
                  </a:cubicBezTo>
                  <a:lnTo>
                    <a:pt x="249650" y="52327"/>
                  </a:lnTo>
                  <a:lnTo>
                    <a:pt x="218795" y="96841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1" name="Forme libre : forme 480">
              <a:extLst>
                <a:ext uri="{FF2B5EF4-FFF2-40B4-BE49-F238E27FC236}">
                  <a16:creationId xmlns:a16="http://schemas.microsoft.com/office/drawing/2014/main" id="{5A2819AD-E741-4041-ACED-C828CEF01D2A}"/>
                </a:ext>
              </a:extLst>
            </p:cNvPr>
            <p:cNvSpPr/>
            <p:nvPr/>
          </p:nvSpPr>
          <p:spPr>
            <a:xfrm rot="7484129">
              <a:off x="-63314" y="1172497"/>
              <a:ext cx="203848" cy="146395"/>
            </a:xfrm>
            <a:custGeom>
              <a:avLst/>
              <a:gdLst>
                <a:gd name="connsiteX0" fmla="*/ 0 w 203848"/>
                <a:gd name="connsiteY0" fmla="*/ 55323 h 146395"/>
                <a:gd name="connsiteX1" fmla="*/ 0 w 203848"/>
                <a:gd name="connsiteY1" fmla="*/ 0 h 146395"/>
                <a:gd name="connsiteX2" fmla="*/ 203848 w 203848"/>
                <a:gd name="connsiteY2" fmla="*/ 0 h 146395"/>
                <a:gd name="connsiteX3" fmla="*/ 203847 w 203848"/>
                <a:gd name="connsiteY3" fmla="*/ 49512 h 146395"/>
                <a:gd name="connsiteX4" fmla="*/ 195466 w 203848"/>
                <a:gd name="connsiteY4" fmla="*/ 55323 h 146395"/>
                <a:gd name="connsiteX5" fmla="*/ 139055 w 203848"/>
                <a:gd name="connsiteY5" fmla="*/ 55323 h 146395"/>
                <a:gd name="connsiteX6" fmla="*/ 121388 w 203848"/>
                <a:gd name="connsiteY6" fmla="*/ 106685 h 146395"/>
                <a:gd name="connsiteX7" fmla="*/ 64115 w 203848"/>
                <a:gd name="connsiteY7" fmla="*/ 146395 h 146395"/>
                <a:gd name="connsiteX8" fmla="*/ 47847 w 203848"/>
                <a:gd name="connsiteY8" fmla="*/ 116129 h 146395"/>
                <a:gd name="connsiteX9" fmla="*/ 69777 w 203848"/>
                <a:gd name="connsiteY9" fmla="*/ 55323 h 146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848" h="146395">
                  <a:moveTo>
                    <a:pt x="0" y="55323"/>
                  </a:moveTo>
                  <a:lnTo>
                    <a:pt x="0" y="0"/>
                  </a:lnTo>
                  <a:lnTo>
                    <a:pt x="203848" y="0"/>
                  </a:lnTo>
                  <a:lnTo>
                    <a:pt x="203847" y="49512"/>
                  </a:lnTo>
                  <a:lnTo>
                    <a:pt x="195466" y="55323"/>
                  </a:lnTo>
                  <a:lnTo>
                    <a:pt x="139055" y="55323"/>
                  </a:lnTo>
                  <a:lnTo>
                    <a:pt x="121388" y="106685"/>
                  </a:lnTo>
                  <a:lnTo>
                    <a:pt x="64115" y="146395"/>
                  </a:lnTo>
                  <a:lnTo>
                    <a:pt x="47847" y="116129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2" name="Forme libre : forme 481">
              <a:extLst>
                <a:ext uri="{FF2B5EF4-FFF2-40B4-BE49-F238E27FC236}">
                  <a16:creationId xmlns:a16="http://schemas.microsoft.com/office/drawing/2014/main" id="{BF19A776-F6DB-4B5F-AAC3-71AD58912554}"/>
                </a:ext>
              </a:extLst>
            </p:cNvPr>
            <p:cNvSpPr/>
            <p:nvPr/>
          </p:nvSpPr>
          <p:spPr>
            <a:xfrm rot="13089394">
              <a:off x="25311" y="109952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3" name="Forme libre : forme 482">
              <a:extLst>
                <a:ext uri="{FF2B5EF4-FFF2-40B4-BE49-F238E27FC236}">
                  <a16:creationId xmlns:a16="http://schemas.microsoft.com/office/drawing/2014/main" id="{1F910699-3B12-45BE-B517-E2166075FFC7}"/>
                </a:ext>
              </a:extLst>
            </p:cNvPr>
            <p:cNvSpPr/>
            <p:nvPr/>
          </p:nvSpPr>
          <p:spPr>
            <a:xfrm rot="8716295">
              <a:off x="210896" y="90784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4" name="Forme libre : forme 483">
              <a:extLst>
                <a:ext uri="{FF2B5EF4-FFF2-40B4-BE49-F238E27FC236}">
                  <a16:creationId xmlns:a16="http://schemas.microsoft.com/office/drawing/2014/main" id="{A819C2A4-F35F-43E8-9AB1-07103AECD990}"/>
                </a:ext>
              </a:extLst>
            </p:cNvPr>
            <p:cNvSpPr/>
            <p:nvPr/>
          </p:nvSpPr>
          <p:spPr>
            <a:xfrm rot="8716295">
              <a:off x="159091" y="80425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5" name="Forme libre : forme 484">
              <a:extLst>
                <a:ext uri="{FF2B5EF4-FFF2-40B4-BE49-F238E27FC236}">
                  <a16:creationId xmlns:a16="http://schemas.microsoft.com/office/drawing/2014/main" id="{F748C402-EDBB-4B63-B49E-2F4080A37ADD}"/>
                </a:ext>
              </a:extLst>
            </p:cNvPr>
            <p:cNvSpPr/>
            <p:nvPr/>
          </p:nvSpPr>
          <p:spPr>
            <a:xfrm rot="8716295">
              <a:off x="93297" y="67523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6" name="Forme libre : forme 485">
              <a:extLst>
                <a:ext uri="{FF2B5EF4-FFF2-40B4-BE49-F238E27FC236}">
                  <a16:creationId xmlns:a16="http://schemas.microsoft.com/office/drawing/2014/main" id="{73609A63-0E69-42A0-8437-604DF28699ED}"/>
                </a:ext>
              </a:extLst>
            </p:cNvPr>
            <p:cNvSpPr/>
            <p:nvPr/>
          </p:nvSpPr>
          <p:spPr>
            <a:xfrm rot="8716295">
              <a:off x="-7001" y="316701"/>
              <a:ext cx="14001" cy="20198"/>
            </a:xfrm>
            <a:custGeom>
              <a:avLst/>
              <a:gdLst>
                <a:gd name="connsiteX0" fmla="*/ 0 w 14001"/>
                <a:gd name="connsiteY0" fmla="*/ 20198 h 20198"/>
                <a:gd name="connsiteX1" fmla="*/ 0 w 14001"/>
                <a:gd name="connsiteY1" fmla="*/ 0 h 20198"/>
                <a:gd name="connsiteX2" fmla="*/ 14001 w 14001"/>
                <a:gd name="connsiteY2" fmla="*/ 0 h 2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01" h="20198">
                  <a:moveTo>
                    <a:pt x="0" y="20198"/>
                  </a:moveTo>
                  <a:lnTo>
                    <a:pt x="0" y="0"/>
                  </a:lnTo>
                  <a:lnTo>
                    <a:pt x="1400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7" name="Forme libre : forme 486">
              <a:extLst>
                <a:ext uri="{FF2B5EF4-FFF2-40B4-BE49-F238E27FC236}">
                  <a16:creationId xmlns:a16="http://schemas.microsoft.com/office/drawing/2014/main" id="{577CC5F5-15C9-4008-90A0-668217098FFB}"/>
                </a:ext>
              </a:extLst>
            </p:cNvPr>
            <p:cNvSpPr/>
            <p:nvPr/>
          </p:nvSpPr>
          <p:spPr>
            <a:xfrm rot="13089394">
              <a:off x="-81658" y="472652"/>
              <a:ext cx="173631" cy="237684"/>
            </a:xfrm>
            <a:custGeom>
              <a:avLst/>
              <a:gdLst>
                <a:gd name="connsiteX0" fmla="*/ 173631 w 173631"/>
                <a:gd name="connsiteY0" fmla="*/ 220990 h 237684"/>
                <a:gd name="connsiteX1" fmla="*/ 130972 w 173631"/>
                <a:gd name="connsiteY1" fmla="*/ 232382 h 237684"/>
                <a:gd name="connsiteX2" fmla="*/ 91597 w 173631"/>
                <a:gd name="connsiteY2" fmla="*/ 237521 h 237684"/>
                <a:gd name="connsiteX3" fmla="*/ 23727 w 173631"/>
                <a:gd name="connsiteY3" fmla="*/ 209931 h 237684"/>
                <a:gd name="connsiteX4" fmla="*/ 0 w 173631"/>
                <a:gd name="connsiteY4" fmla="*/ 115023 h 237684"/>
                <a:gd name="connsiteX5" fmla="*/ 0 w 173631"/>
                <a:gd name="connsiteY5" fmla="*/ 0 h 237684"/>
                <a:gd name="connsiteX6" fmla="*/ 76176 w 173631"/>
                <a:gd name="connsiteY6" fmla="*/ 96953 h 237684"/>
                <a:gd name="connsiteX7" fmla="*/ 76768 w 173631"/>
                <a:gd name="connsiteY7" fmla="*/ 109023 h 237684"/>
                <a:gd name="connsiteX8" fmla="*/ 87734 w 173631"/>
                <a:gd name="connsiteY8" fmla="*/ 154201 h 237684"/>
                <a:gd name="connsiteX9" fmla="*/ 111117 w 173631"/>
                <a:gd name="connsiteY9" fmla="*/ 181514 h 237684"/>
                <a:gd name="connsiteX10" fmla="*/ 148930 w 173631"/>
                <a:gd name="connsiteY10" fmla="*/ 189552 h 237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3631" h="237684">
                  <a:moveTo>
                    <a:pt x="173631" y="220990"/>
                  </a:moveTo>
                  <a:lnTo>
                    <a:pt x="130972" y="232382"/>
                  </a:lnTo>
                  <a:cubicBezTo>
                    <a:pt x="116428" y="235210"/>
                    <a:pt x="103047" y="236831"/>
                    <a:pt x="91597" y="237521"/>
                  </a:cubicBezTo>
                  <a:cubicBezTo>
                    <a:pt x="66215" y="239176"/>
                    <a:pt x="41384" y="228141"/>
                    <a:pt x="23727" y="209931"/>
                  </a:cubicBezTo>
                  <a:cubicBezTo>
                    <a:pt x="4966" y="191722"/>
                    <a:pt x="0" y="160270"/>
                    <a:pt x="0" y="115023"/>
                  </a:cubicBezTo>
                  <a:lnTo>
                    <a:pt x="0" y="0"/>
                  </a:lnTo>
                  <a:lnTo>
                    <a:pt x="76176" y="96953"/>
                  </a:lnTo>
                  <a:lnTo>
                    <a:pt x="76768" y="109023"/>
                  </a:lnTo>
                  <a:cubicBezTo>
                    <a:pt x="79044" y="124404"/>
                    <a:pt x="82768" y="139578"/>
                    <a:pt x="87734" y="154201"/>
                  </a:cubicBezTo>
                  <a:cubicBezTo>
                    <a:pt x="92149" y="166340"/>
                    <a:pt x="100012" y="175445"/>
                    <a:pt x="111117" y="181514"/>
                  </a:cubicBezTo>
                  <a:lnTo>
                    <a:pt x="148930" y="1895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8" name="Forme libre : forme 487">
              <a:extLst>
                <a:ext uri="{FF2B5EF4-FFF2-40B4-BE49-F238E27FC236}">
                  <a16:creationId xmlns:a16="http://schemas.microsoft.com/office/drawing/2014/main" id="{E64C5A14-C3CC-4B02-838F-FD1CD7D882CB}"/>
                </a:ext>
              </a:extLst>
            </p:cNvPr>
            <p:cNvSpPr/>
            <p:nvPr/>
          </p:nvSpPr>
          <p:spPr>
            <a:xfrm rot="8716295">
              <a:off x="-11774" y="24443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9" name="Forme libre : forme 488">
              <a:extLst>
                <a:ext uri="{FF2B5EF4-FFF2-40B4-BE49-F238E27FC236}">
                  <a16:creationId xmlns:a16="http://schemas.microsoft.com/office/drawing/2014/main" id="{26383EB6-3CD6-4688-B5B2-AB6D6EF7025D}"/>
                </a:ext>
              </a:extLst>
            </p:cNvPr>
            <p:cNvSpPr/>
            <p:nvPr/>
          </p:nvSpPr>
          <p:spPr>
            <a:xfrm rot="8716295">
              <a:off x="-30092" y="143486"/>
              <a:ext cx="77721" cy="97260"/>
            </a:xfrm>
            <a:custGeom>
              <a:avLst/>
              <a:gdLst>
                <a:gd name="connsiteX0" fmla="*/ 15821 w 77721"/>
                <a:gd name="connsiteY0" fmla="*/ 97260 h 97260"/>
                <a:gd name="connsiteX1" fmla="*/ 0 w 77721"/>
                <a:gd name="connsiteY1" fmla="*/ 59790 h 97260"/>
                <a:gd name="connsiteX2" fmla="*/ 0 w 77721"/>
                <a:gd name="connsiteY2" fmla="*/ 58869 h 97260"/>
                <a:gd name="connsiteX3" fmla="*/ 17477 w 77721"/>
                <a:gd name="connsiteY3" fmla="*/ 17477 h 97260"/>
                <a:gd name="connsiteX4" fmla="*/ 58869 w 77721"/>
                <a:gd name="connsiteY4" fmla="*/ 0 h 97260"/>
                <a:gd name="connsiteX5" fmla="*/ 77721 w 77721"/>
                <a:gd name="connsiteY5" fmla="*/ 7960 h 97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721" h="97260">
                  <a:moveTo>
                    <a:pt x="15821" y="97260"/>
                  </a:moveTo>
                  <a:lnTo>
                    <a:pt x="0" y="59790"/>
                  </a:ln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lnTo>
                    <a:pt x="77721" y="79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0" name="Forme libre : forme 489">
              <a:extLst>
                <a:ext uri="{FF2B5EF4-FFF2-40B4-BE49-F238E27FC236}">
                  <a16:creationId xmlns:a16="http://schemas.microsoft.com/office/drawing/2014/main" id="{6537CDA1-2216-4877-A848-A93D1F552A9D}"/>
                </a:ext>
              </a:extLst>
            </p:cNvPr>
            <p:cNvSpPr/>
            <p:nvPr/>
          </p:nvSpPr>
          <p:spPr>
            <a:xfrm rot="8716295">
              <a:off x="-17797" y="3452694"/>
              <a:ext cx="58455" cy="44199"/>
            </a:xfrm>
            <a:custGeom>
              <a:avLst/>
              <a:gdLst>
                <a:gd name="connsiteX0" fmla="*/ 0 w 58455"/>
                <a:gd name="connsiteY0" fmla="*/ 44199 h 44199"/>
                <a:gd name="connsiteX1" fmla="*/ 0 w 58455"/>
                <a:gd name="connsiteY1" fmla="*/ 0 h 44199"/>
                <a:gd name="connsiteX2" fmla="*/ 58455 w 58455"/>
                <a:gd name="connsiteY2" fmla="*/ 0 h 44199"/>
                <a:gd name="connsiteX3" fmla="*/ 27817 w 58455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55" h="44199">
                  <a:moveTo>
                    <a:pt x="0" y="44199"/>
                  </a:moveTo>
                  <a:lnTo>
                    <a:pt x="0" y="0"/>
                  </a:lnTo>
                  <a:lnTo>
                    <a:pt x="58455" y="0"/>
                  </a:lnTo>
                  <a:lnTo>
                    <a:pt x="27817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1" name="Forme libre : forme 490">
              <a:extLst>
                <a:ext uri="{FF2B5EF4-FFF2-40B4-BE49-F238E27FC236}">
                  <a16:creationId xmlns:a16="http://schemas.microsoft.com/office/drawing/2014/main" id="{215CC3B1-8089-4D43-97B0-1819B833BE19}"/>
                </a:ext>
              </a:extLst>
            </p:cNvPr>
            <p:cNvSpPr/>
            <p:nvPr/>
          </p:nvSpPr>
          <p:spPr>
            <a:xfrm rot="13089394">
              <a:off x="-91485" y="3601812"/>
              <a:ext cx="206527" cy="292654"/>
            </a:xfrm>
            <a:custGeom>
              <a:avLst/>
              <a:gdLst>
                <a:gd name="connsiteX0" fmla="*/ 206527 w 206527"/>
                <a:gd name="connsiteY0" fmla="*/ 258693 h 292654"/>
                <a:gd name="connsiteX1" fmla="*/ 177331 w 206527"/>
                <a:gd name="connsiteY1" fmla="*/ 274971 h 292654"/>
                <a:gd name="connsiteX2" fmla="*/ 91597 w 206527"/>
                <a:gd name="connsiteY2" fmla="*/ 292491 h 292654"/>
                <a:gd name="connsiteX3" fmla="*/ 23727 w 206527"/>
                <a:gd name="connsiteY3" fmla="*/ 264901 h 292654"/>
                <a:gd name="connsiteX4" fmla="*/ 0 w 206527"/>
                <a:gd name="connsiteY4" fmla="*/ 169993 h 292654"/>
                <a:gd name="connsiteX5" fmla="*/ 0 w 206527"/>
                <a:gd name="connsiteY5" fmla="*/ 1698 h 292654"/>
                <a:gd name="connsiteX6" fmla="*/ 3273 w 206527"/>
                <a:gd name="connsiteY6" fmla="*/ 0 h 292654"/>
                <a:gd name="connsiteX7" fmla="*/ 74297 w 206527"/>
                <a:gd name="connsiteY7" fmla="*/ 90396 h 292654"/>
                <a:gd name="connsiteX8" fmla="*/ 74492 w 206527"/>
                <a:gd name="connsiteY8" fmla="*/ 117574 h 292654"/>
                <a:gd name="connsiteX9" fmla="*/ 87734 w 206527"/>
                <a:gd name="connsiteY9" fmla="*/ 209171 h 292654"/>
                <a:gd name="connsiteX10" fmla="*/ 153949 w 206527"/>
                <a:gd name="connsiteY10" fmla="*/ 245589 h 292654"/>
                <a:gd name="connsiteX11" fmla="*/ 191049 w 206527"/>
                <a:gd name="connsiteY11" fmla="*/ 238993 h 292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527" h="292654">
                  <a:moveTo>
                    <a:pt x="206527" y="258693"/>
                  </a:moveTo>
                  <a:lnTo>
                    <a:pt x="177331" y="274971"/>
                  </a:lnTo>
                  <a:cubicBezTo>
                    <a:pt x="145121" y="286007"/>
                    <a:pt x="114496" y="291111"/>
                    <a:pt x="91597" y="292491"/>
                  </a:cubicBezTo>
                  <a:cubicBezTo>
                    <a:pt x="66215" y="294146"/>
                    <a:pt x="41385" y="283111"/>
                    <a:pt x="23727" y="264901"/>
                  </a:cubicBezTo>
                  <a:cubicBezTo>
                    <a:pt x="4966" y="246692"/>
                    <a:pt x="0" y="215240"/>
                    <a:pt x="0" y="169993"/>
                  </a:cubicBezTo>
                  <a:lnTo>
                    <a:pt x="0" y="1698"/>
                  </a:lnTo>
                  <a:lnTo>
                    <a:pt x="3273" y="0"/>
                  </a:lnTo>
                  <a:lnTo>
                    <a:pt x="74297" y="90396"/>
                  </a:lnTo>
                  <a:lnTo>
                    <a:pt x="74492" y="117574"/>
                  </a:lnTo>
                  <a:cubicBezTo>
                    <a:pt x="72836" y="148474"/>
                    <a:pt x="77802" y="179926"/>
                    <a:pt x="87734" y="209171"/>
                  </a:cubicBezTo>
                  <a:cubicBezTo>
                    <a:pt x="96564" y="233450"/>
                    <a:pt x="119187" y="245589"/>
                    <a:pt x="153949" y="245589"/>
                  </a:cubicBezTo>
                  <a:lnTo>
                    <a:pt x="191049" y="2389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2" name="Forme libre : forme 491">
              <a:extLst>
                <a:ext uri="{FF2B5EF4-FFF2-40B4-BE49-F238E27FC236}">
                  <a16:creationId xmlns:a16="http://schemas.microsoft.com/office/drawing/2014/main" id="{234A14C5-DCBF-4B3D-8912-C2966FB8FAA0}"/>
                </a:ext>
              </a:extLst>
            </p:cNvPr>
            <p:cNvSpPr/>
            <p:nvPr/>
          </p:nvSpPr>
          <p:spPr>
            <a:xfrm rot="8716295">
              <a:off x="24761" y="33896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3" name="Forme libre : forme 492">
              <a:extLst>
                <a:ext uri="{FF2B5EF4-FFF2-40B4-BE49-F238E27FC236}">
                  <a16:creationId xmlns:a16="http://schemas.microsoft.com/office/drawing/2014/main" id="{A8F20E36-ED7E-4DCB-8818-49A4A7E98BE7}"/>
                </a:ext>
              </a:extLst>
            </p:cNvPr>
            <p:cNvSpPr/>
            <p:nvPr/>
          </p:nvSpPr>
          <p:spPr>
            <a:xfrm rot="8716295">
              <a:off x="-24047" y="3281741"/>
              <a:ext cx="106042" cy="113733"/>
            </a:xfrm>
            <a:custGeom>
              <a:avLst/>
              <a:gdLst>
                <a:gd name="connsiteX0" fmla="*/ 17477 w 106042"/>
                <a:gd name="connsiteY0" fmla="*/ 101182 h 113733"/>
                <a:gd name="connsiteX1" fmla="*/ 0 w 106042"/>
                <a:gd name="connsiteY1" fmla="*/ 59790 h 113733"/>
                <a:gd name="connsiteX2" fmla="*/ 0 w 106042"/>
                <a:gd name="connsiteY2" fmla="*/ 58869 h 113733"/>
                <a:gd name="connsiteX3" fmla="*/ 17477 w 106042"/>
                <a:gd name="connsiteY3" fmla="*/ 17477 h 113733"/>
                <a:gd name="connsiteX4" fmla="*/ 58869 w 106042"/>
                <a:gd name="connsiteY4" fmla="*/ 0 h 113733"/>
                <a:gd name="connsiteX5" fmla="*/ 100262 w 106042"/>
                <a:gd name="connsiteY5" fmla="*/ 17477 h 113733"/>
                <a:gd name="connsiteX6" fmla="*/ 106042 w 106042"/>
                <a:gd name="connsiteY6" fmla="*/ 31234 h 113733"/>
                <a:gd name="connsiteX7" fmla="*/ 48856 w 106042"/>
                <a:gd name="connsiteY7" fmla="*/ 113733 h 11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042" h="113733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cubicBezTo>
                    <a:pt x="74507" y="0"/>
                    <a:pt x="89224" y="6439"/>
                    <a:pt x="100262" y="17477"/>
                  </a:cubicBezTo>
                  <a:lnTo>
                    <a:pt x="106042" y="31234"/>
                  </a:lnTo>
                  <a:lnTo>
                    <a:pt x="48856" y="1137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4" name="Forme libre : forme 493">
              <a:extLst>
                <a:ext uri="{FF2B5EF4-FFF2-40B4-BE49-F238E27FC236}">
                  <a16:creationId xmlns:a16="http://schemas.microsoft.com/office/drawing/2014/main" id="{521798C9-8778-477C-89ED-433CF02349E9}"/>
                </a:ext>
              </a:extLst>
            </p:cNvPr>
            <p:cNvSpPr/>
            <p:nvPr/>
          </p:nvSpPr>
          <p:spPr>
            <a:xfrm rot="8716295">
              <a:off x="-21924" y="3179872"/>
              <a:ext cx="45776" cy="62656"/>
            </a:xfrm>
            <a:custGeom>
              <a:avLst/>
              <a:gdLst>
                <a:gd name="connsiteX0" fmla="*/ 2345 w 45776"/>
                <a:gd name="connsiteY0" fmla="*/ 62656 h 62656"/>
                <a:gd name="connsiteX1" fmla="*/ 0 w 45776"/>
                <a:gd name="connsiteY1" fmla="*/ 57104 h 62656"/>
                <a:gd name="connsiteX2" fmla="*/ 0 w 45776"/>
                <a:gd name="connsiteY2" fmla="*/ 56183 h 62656"/>
                <a:gd name="connsiteX3" fmla="*/ 17477 w 45776"/>
                <a:gd name="connsiteY3" fmla="*/ 14791 h 62656"/>
                <a:gd name="connsiteX4" fmla="*/ 36449 w 45776"/>
                <a:gd name="connsiteY4" fmla="*/ 1913 h 62656"/>
                <a:gd name="connsiteX5" fmla="*/ 45776 w 45776"/>
                <a:gd name="connsiteY5" fmla="*/ 0 h 62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776" h="62656">
                  <a:moveTo>
                    <a:pt x="2345" y="62656"/>
                  </a:moveTo>
                  <a:lnTo>
                    <a:pt x="0" y="57104"/>
                  </a:lnTo>
                  <a:lnTo>
                    <a:pt x="0" y="56183"/>
                  </a:lnTo>
                  <a:cubicBezTo>
                    <a:pt x="0" y="40547"/>
                    <a:pt x="6439" y="25829"/>
                    <a:pt x="17477" y="14791"/>
                  </a:cubicBezTo>
                  <a:cubicBezTo>
                    <a:pt x="22996" y="9272"/>
                    <a:pt x="29435" y="4903"/>
                    <a:pt x="36449" y="1913"/>
                  </a:cubicBezTo>
                  <a:lnTo>
                    <a:pt x="4577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5" name="Forme libre : forme 494">
              <a:extLst>
                <a:ext uri="{FF2B5EF4-FFF2-40B4-BE49-F238E27FC236}">
                  <a16:creationId xmlns:a16="http://schemas.microsoft.com/office/drawing/2014/main" id="{BB8A2107-7C61-4B85-8EFA-ABA59720E5DB}"/>
                </a:ext>
              </a:extLst>
            </p:cNvPr>
            <p:cNvSpPr/>
            <p:nvPr/>
          </p:nvSpPr>
          <p:spPr>
            <a:xfrm rot="8716295">
              <a:off x="592036" y="5123131"/>
              <a:ext cx="56900" cy="40151"/>
            </a:xfrm>
            <a:custGeom>
              <a:avLst/>
              <a:gdLst>
                <a:gd name="connsiteX0" fmla="*/ 13826 w 56900"/>
                <a:gd name="connsiteY0" fmla="*/ 23593 h 40151"/>
                <a:gd name="connsiteX1" fmla="*/ 948 w 56900"/>
                <a:gd name="connsiteY1" fmla="*/ 4622 h 40151"/>
                <a:gd name="connsiteX2" fmla="*/ 0 w 56900"/>
                <a:gd name="connsiteY2" fmla="*/ 0 h 40151"/>
                <a:gd name="connsiteX3" fmla="*/ 56900 w 56900"/>
                <a:gd name="connsiteY3" fmla="*/ 39441 h 40151"/>
                <a:gd name="connsiteX4" fmla="*/ 55218 w 56900"/>
                <a:gd name="connsiteY4" fmla="*/ 40151 h 40151"/>
                <a:gd name="connsiteX5" fmla="*/ 13826 w 56900"/>
                <a:gd name="connsiteY5" fmla="*/ 23593 h 40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900" h="40151">
                  <a:moveTo>
                    <a:pt x="13826" y="23593"/>
                  </a:moveTo>
                  <a:cubicBezTo>
                    <a:pt x="8307" y="18074"/>
                    <a:pt x="3938" y="11636"/>
                    <a:pt x="948" y="4622"/>
                  </a:cubicBezTo>
                  <a:lnTo>
                    <a:pt x="0" y="0"/>
                  </a:lnTo>
                  <a:lnTo>
                    <a:pt x="56900" y="39441"/>
                  </a:lnTo>
                  <a:lnTo>
                    <a:pt x="55218" y="40151"/>
                  </a:lnTo>
                  <a:cubicBezTo>
                    <a:pt x="39581" y="40151"/>
                    <a:pt x="24864" y="34631"/>
                    <a:pt x="13826" y="2359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6" name="Forme libre : forme 495">
              <a:extLst>
                <a:ext uri="{FF2B5EF4-FFF2-40B4-BE49-F238E27FC236}">
                  <a16:creationId xmlns:a16="http://schemas.microsoft.com/office/drawing/2014/main" id="{7E303E9D-76C1-4789-8C9D-5012551E179C}"/>
                </a:ext>
              </a:extLst>
            </p:cNvPr>
            <p:cNvSpPr/>
            <p:nvPr/>
          </p:nvSpPr>
          <p:spPr>
            <a:xfrm rot="8716295">
              <a:off x="-21324" y="4100649"/>
              <a:ext cx="79113" cy="50123"/>
            </a:xfrm>
            <a:custGeom>
              <a:avLst/>
              <a:gdLst>
                <a:gd name="connsiteX0" fmla="*/ 0 w 79113"/>
                <a:gd name="connsiteY0" fmla="*/ 50123 h 50123"/>
                <a:gd name="connsiteX1" fmla="*/ 0 w 79113"/>
                <a:gd name="connsiteY1" fmla="*/ 0 h 50123"/>
                <a:gd name="connsiteX2" fmla="*/ 79113 w 79113"/>
                <a:gd name="connsiteY2" fmla="*/ 0 h 50123"/>
                <a:gd name="connsiteX3" fmla="*/ 44369 w 79113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113" h="50123">
                  <a:moveTo>
                    <a:pt x="0" y="50123"/>
                  </a:moveTo>
                  <a:lnTo>
                    <a:pt x="0" y="0"/>
                  </a:lnTo>
                  <a:lnTo>
                    <a:pt x="79113" y="0"/>
                  </a:lnTo>
                  <a:lnTo>
                    <a:pt x="44369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7" name="Forme libre : forme 496">
              <a:extLst>
                <a:ext uri="{FF2B5EF4-FFF2-40B4-BE49-F238E27FC236}">
                  <a16:creationId xmlns:a16="http://schemas.microsoft.com/office/drawing/2014/main" id="{02FDD4B8-F673-41A9-915D-2FF1DD6CBE6F}"/>
                </a:ext>
              </a:extLst>
            </p:cNvPr>
            <p:cNvSpPr/>
            <p:nvPr/>
          </p:nvSpPr>
          <p:spPr>
            <a:xfrm rot="8716295">
              <a:off x="-40457" y="398156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8" name="Forme libre : forme 497">
              <a:extLst>
                <a:ext uri="{FF2B5EF4-FFF2-40B4-BE49-F238E27FC236}">
                  <a16:creationId xmlns:a16="http://schemas.microsoft.com/office/drawing/2014/main" id="{DBB3B685-0513-450E-A467-E28F77542517}"/>
                </a:ext>
              </a:extLst>
            </p:cNvPr>
            <p:cNvSpPr/>
            <p:nvPr/>
          </p:nvSpPr>
          <p:spPr>
            <a:xfrm rot="7484129">
              <a:off x="-46974" y="427316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9" name="Forme libre : forme 498">
              <a:extLst>
                <a:ext uri="{FF2B5EF4-FFF2-40B4-BE49-F238E27FC236}">
                  <a16:creationId xmlns:a16="http://schemas.microsoft.com/office/drawing/2014/main" id="{C5419776-A8A1-4E3C-9093-D945DA9FAC68}"/>
                </a:ext>
              </a:extLst>
            </p:cNvPr>
            <p:cNvSpPr/>
            <p:nvPr/>
          </p:nvSpPr>
          <p:spPr>
            <a:xfrm rot="13089394">
              <a:off x="57846" y="423970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0" name="Forme libre : forme 499">
              <a:extLst>
                <a:ext uri="{FF2B5EF4-FFF2-40B4-BE49-F238E27FC236}">
                  <a16:creationId xmlns:a16="http://schemas.microsoft.com/office/drawing/2014/main" id="{F97D67FD-E4E6-48C4-AEFE-555D34A356DE}"/>
                </a:ext>
              </a:extLst>
            </p:cNvPr>
            <p:cNvSpPr/>
            <p:nvPr/>
          </p:nvSpPr>
          <p:spPr>
            <a:xfrm rot="8716295">
              <a:off x="243431" y="404801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1" name="Forme libre : forme 500">
              <a:extLst>
                <a:ext uri="{FF2B5EF4-FFF2-40B4-BE49-F238E27FC236}">
                  <a16:creationId xmlns:a16="http://schemas.microsoft.com/office/drawing/2014/main" id="{BCE94871-8BA1-45A9-8930-C2F42EF9B5F3}"/>
                </a:ext>
              </a:extLst>
            </p:cNvPr>
            <p:cNvSpPr/>
            <p:nvPr/>
          </p:nvSpPr>
          <p:spPr>
            <a:xfrm rot="8716295">
              <a:off x="191626" y="39444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2" name="Forme libre : forme 501">
              <a:extLst>
                <a:ext uri="{FF2B5EF4-FFF2-40B4-BE49-F238E27FC236}">
                  <a16:creationId xmlns:a16="http://schemas.microsoft.com/office/drawing/2014/main" id="{04CBAE1D-449E-47DE-9709-A831A36DA439}"/>
                </a:ext>
              </a:extLst>
            </p:cNvPr>
            <p:cNvSpPr/>
            <p:nvPr/>
          </p:nvSpPr>
          <p:spPr>
            <a:xfrm rot="8716295">
              <a:off x="125832" y="381540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3" name="Forme libre : forme 502">
              <a:extLst>
                <a:ext uri="{FF2B5EF4-FFF2-40B4-BE49-F238E27FC236}">
                  <a16:creationId xmlns:a16="http://schemas.microsoft.com/office/drawing/2014/main" id="{2F83938F-B075-4593-8D11-BBF0A979A7C6}"/>
                </a:ext>
              </a:extLst>
            </p:cNvPr>
            <p:cNvSpPr/>
            <p:nvPr/>
          </p:nvSpPr>
          <p:spPr>
            <a:xfrm rot="8716295">
              <a:off x="-73048" y="4876828"/>
              <a:ext cx="221382" cy="253349"/>
            </a:xfrm>
            <a:custGeom>
              <a:avLst/>
              <a:gdLst>
                <a:gd name="connsiteX0" fmla="*/ 51490 w 221382"/>
                <a:gd name="connsiteY0" fmla="*/ 253349 h 253349"/>
                <a:gd name="connsiteX1" fmla="*/ 51490 w 221382"/>
                <a:gd name="connsiteY1" fmla="*/ 44199 h 253349"/>
                <a:gd name="connsiteX2" fmla="*/ 0 w 221382"/>
                <a:gd name="connsiteY2" fmla="*/ 44199 h 253349"/>
                <a:gd name="connsiteX3" fmla="*/ 0 w 221382"/>
                <a:gd name="connsiteY3" fmla="*/ 0 h 253349"/>
                <a:gd name="connsiteX4" fmla="*/ 104803 w 221382"/>
                <a:gd name="connsiteY4" fmla="*/ 0 h 253349"/>
                <a:gd name="connsiteX5" fmla="*/ 104802 w 221382"/>
                <a:gd name="connsiteY5" fmla="*/ 73817 h 253349"/>
                <a:gd name="connsiteX6" fmla="*/ 106169 w 221382"/>
                <a:gd name="connsiteY6" fmla="*/ 73817 h 253349"/>
                <a:gd name="connsiteX7" fmla="*/ 154014 w 221382"/>
                <a:gd name="connsiteY7" fmla="*/ 4556 h 253349"/>
                <a:gd name="connsiteX8" fmla="*/ 174650 w 221382"/>
                <a:gd name="connsiteY8" fmla="*/ 668 h 253349"/>
                <a:gd name="connsiteX9" fmla="*/ 214075 w 221382"/>
                <a:gd name="connsiteY9" fmla="*/ 27996 h 253349"/>
                <a:gd name="connsiteX10" fmla="*/ 221382 w 221382"/>
                <a:gd name="connsiteY10" fmla="*/ 33060 h 253349"/>
                <a:gd name="connsiteX11" fmla="*/ 195540 w 221382"/>
                <a:gd name="connsiteY11" fmla="*/ 70341 h 253349"/>
                <a:gd name="connsiteX12" fmla="*/ 189157 w 221382"/>
                <a:gd name="connsiteY12" fmla="*/ 50236 h 253349"/>
                <a:gd name="connsiteX13" fmla="*/ 164950 w 221382"/>
                <a:gd name="connsiteY13" fmla="*/ 38731 h 253349"/>
                <a:gd name="connsiteX14" fmla="*/ 111638 w 221382"/>
                <a:gd name="connsiteY14" fmla="*/ 126218 h 253349"/>
                <a:gd name="connsiteX15" fmla="*/ 111638 w 221382"/>
                <a:gd name="connsiteY15" fmla="*/ 191383 h 253349"/>
                <a:gd name="connsiteX16" fmla="*/ 84096 w 221382"/>
                <a:gd name="connsiteY16" fmla="*/ 231117 h 253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1382" h="253349">
                  <a:moveTo>
                    <a:pt x="51490" y="253349"/>
                  </a:moveTo>
                  <a:lnTo>
                    <a:pt x="51490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104803" y="0"/>
                  </a:lnTo>
                  <a:lnTo>
                    <a:pt x="104802" y="73817"/>
                  </a:lnTo>
                  <a:lnTo>
                    <a:pt x="106169" y="73817"/>
                  </a:lnTo>
                  <a:cubicBezTo>
                    <a:pt x="120751" y="30529"/>
                    <a:pt x="132142" y="13670"/>
                    <a:pt x="154014" y="4556"/>
                  </a:cubicBezTo>
                  <a:lnTo>
                    <a:pt x="174650" y="668"/>
                  </a:lnTo>
                  <a:lnTo>
                    <a:pt x="214075" y="27996"/>
                  </a:lnTo>
                  <a:lnTo>
                    <a:pt x="221382" y="33060"/>
                  </a:lnTo>
                  <a:lnTo>
                    <a:pt x="195540" y="70341"/>
                  </a:lnTo>
                  <a:lnTo>
                    <a:pt x="189157" y="50236"/>
                  </a:lnTo>
                  <a:cubicBezTo>
                    <a:pt x="183177" y="42946"/>
                    <a:pt x="174747" y="38731"/>
                    <a:pt x="164950" y="38731"/>
                  </a:cubicBezTo>
                  <a:cubicBezTo>
                    <a:pt x="135788" y="38731"/>
                    <a:pt x="111638" y="77463"/>
                    <a:pt x="111638" y="126218"/>
                  </a:cubicBezTo>
                  <a:lnTo>
                    <a:pt x="111638" y="191383"/>
                  </a:lnTo>
                  <a:lnTo>
                    <a:pt x="84096" y="2311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4" name="Forme libre : forme 503">
              <a:extLst>
                <a:ext uri="{FF2B5EF4-FFF2-40B4-BE49-F238E27FC236}">
                  <a16:creationId xmlns:a16="http://schemas.microsoft.com/office/drawing/2014/main" id="{BCB8F26A-8D9E-4DAA-BBEC-C72C4F89205F}"/>
                </a:ext>
              </a:extLst>
            </p:cNvPr>
            <p:cNvSpPr/>
            <p:nvPr/>
          </p:nvSpPr>
          <p:spPr>
            <a:xfrm rot="8716295">
              <a:off x="93318" y="46120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5" name="Forme libre : forme 504">
              <a:extLst>
                <a:ext uri="{FF2B5EF4-FFF2-40B4-BE49-F238E27FC236}">
                  <a16:creationId xmlns:a16="http://schemas.microsoft.com/office/drawing/2014/main" id="{81732388-5ACB-454A-B491-3EF6429CC57C}"/>
                </a:ext>
              </a:extLst>
            </p:cNvPr>
            <p:cNvSpPr/>
            <p:nvPr/>
          </p:nvSpPr>
          <p:spPr>
            <a:xfrm rot="8716295">
              <a:off x="182710" y="46412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6" name="Forme libre : forme 505">
              <a:extLst>
                <a:ext uri="{FF2B5EF4-FFF2-40B4-BE49-F238E27FC236}">
                  <a16:creationId xmlns:a16="http://schemas.microsoft.com/office/drawing/2014/main" id="{7C87F3BF-43A4-45FA-839A-23BBD5B5D4BE}"/>
                </a:ext>
              </a:extLst>
            </p:cNvPr>
            <p:cNvSpPr/>
            <p:nvPr/>
          </p:nvSpPr>
          <p:spPr>
            <a:xfrm rot="8716295">
              <a:off x="-14524" y="4699631"/>
              <a:ext cx="49997" cy="54238"/>
            </a:xfrm>
            <a:custGeom>
              <a:avLst/>
              <a:gdLst>
                <a:gd name="connsiteX0" fmla="*/ 8658 w 49997"/>
                <a:gd name="connsiteY0" fmla="*/ 50123 h 54238"/>
                <a:gd name="connsiteX1" fmla="*/ 0 w 49997"/>
                <a:gd name="connsiteY1" fmla="*/ 29619 h 54238"/>
                <a:gd name="connsiteX2" fmla="*/ 0 w 49997"/>
                <a:gd name="connsiteY2" fmla="*/ 29162 h 54238"/>
                <a:gd name="connsiteX3" fmla="*/ 8658 w 49997"/>
                <a:gd name="connsiteY3" fmla="*/ 8658 h 54238"/>
                <a:gd name="connsiteX4" fmla="*/ 29163 w 49997"/>
                <a:gd name="connsiteY4" fmla="*/ 0 h 54238"/>
                <a:gd name="connsiteX5" fmla="*/ 49668 w 49997"/>
                <a:gd name="connsiteY5" fmla="*/ 8658 h 54238"/>
                <a:gd name="connsiteX6" fmla="*/ 49997 w 49997"/>
                <a:gd name="connsiteY6" fmla="*/ 9441 h 54238"/>
                <a:gd name="connsiteX7" fmla="*/ 18945 w 49997"/>
                <a:gd name="connsiteY7" fmla="*/ 54238 h 54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997" h="54238">
                  <a:moveTo>
                    <a:pt x="8658" y="50123"/>
                  </a:moveTo>
                  <a:cubicBezTo>
                    <a:pt x="3190" y="44655"/>
                    <a:pt x="0" y="37365"/>
                    <a:pt x="0" y="29619"/>
                  </a:cubicBezTo>
                  <a:lnTo>
                    <a:pt x="0" y="29162"/>
                  </a:lnTo>
                  <a:cubicBezTo>
                    <a:pt x="0" y="21417"/>
                    <a:pt x="3190" y="14126"/>
                    <a:pt x="8658" y="8658"/>
                  </a:cubicBezTo>
                  <a:cubicBezTo>
                    <a:pt x="14126" y="3190"/>
                    <a:pt x="21416" y="0"/>
                    <a:pt x="29163" y="0"/>
                  </a:cubicBezTo>
                  <a:cubicBezTo>
                    <a:pt x="36909" y="0"/>
                    <a:pt x="44200" y="3190"/>
                    <a:pt x="49668" y="8658"/>
                  </a:cubicBezTo>
                  <a:lnTo>
                    <a:pt x="49997" y="9441"/>
                  </a:lnTo>
                  <a:lnTo>
                    <a:pt x="18945" y="54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7" name="Forme libre : forme 506">
              <a:extLst>
                <a:ext uri="{FF2B5EF4-FFF2-40B4-BE49-F238E27FC236}">
                  <a16:creationId xmlns:a16="http://schemas.microsoft.com/office/drawing/2014/main" id="{462FB9FF-D95F-4684-BB21-FBBABD5DD31F}"/>
                </a:ext>
              </a:extLst>
            </p:cNvPr>
            <p:cNvSpPr/>
            <p:nvPr/>
          </p:nvSpPr>
          <p:spPr>
            <a:xfrm rot="8716295">
              <a:off x="-30327" y="4579755"/>
              <a:ext cx="113346" cy="71024"/>
            </a:xfrm>
            <a:custGeom>
              <a:avLst/>
              <a:gdLst>
                <a:gd name="connsiteX0" fmla="*/ 0 w 113346"/>
                <a:gd name="connsiteY0" fmla="*/ 55323 h 71024"/>
                <a:gd name="connsiteX1" fmla="*/ 0 w 113346"/>
                <a:gd name="connsiteY1" fmla="*/ 0 h 71024"/>
                <a:gd name="connsiteX2" fmla="*/ 113346 w 113346"/>
                <a:gd name="connsiteY2" fmla="*/ 0 h 71024"/>
                <a:gd name="connsiteX3" fmla="*/ 64114 w 113346"/>
                <a:gd name="connsiteY3" fmla="*/ 71024 h 71024"/>
                <a:gd name="connsiteX4" fmla="*/ 69777 w 113346"/>
                <a:gd name="connsiteY4" fmla="*/ 55323 h 7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346" h="71024">
                  <a:moveTo>
                    <a:pt x="0" y="55323"/>
                  </a:moveTo>
                  <a:lnTo>
                    <a:pt x="0" y="0"/>
                  </a:lnTo>
                  <a:lnTo>
                    <a:pt x="113346" y="0"/>
                  </a:lnTo>
                  <a:lnTo>
                    <a:pt x="64114" y="71024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8" name="Forme libre : forme 507">
              <a:extLst>
                <a:ext uri="{FF2B5EF4-FFF2-40B4-BE49-F238E27FC236}">
                  <a16:creationId xmlns:a16="http://schemas.microsoft.com/office/drawing/2014/main" id="{67567764-034B-4A90-A05F-295129068706}"/>
                </a:ext>
              </a:extLst>
            </p:cNvPr>
            <p:cNvSpPr/>
            <p:nvPr/>
          </p:nvSpPr>
          <p:spPr>
            <a:xfrm rot="8716295">
              <a:off x="71262" y="47415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9" name="Forme libre : forme 508">
              <a:extLst>
                <a:ext uri="{FF2B5EF4-FFF2-40B4-BE49-F238E27FC236}">
                  <a16:creationId xmlns:a16="http://schemas.microsoft.com/office/drawing/2014/main" id="{0224BB71-E49A-401D-8E10-A43693404F59}"/>
                </a:ext>
              </a:extLst>
            </p:cNvPr>
            <p:cNvSpPr/>
            <p:nvPr/>
          </p:nvSpPr>
          <p:spPr>
            <a:xfrm rot="7484129">
              <a:off x="172059" y="493353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170341 w 203847"/>
                <a:gd name="connsiteY5" fmla="*/ 0 h 195874"/>
                <a:gd name="connsiteX6" fmla="*/ 203847 w 203847"/>
                <a:gd name="connsiteY6" fmla="*/ 48325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170341" y="0"/>
                  </a:lnTo>
                  <a:lnTo>
                    <a:pt x="203847" y="48325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0" name="Forme libre : forme 509">
              <a:extLst>
                <a:ext uri="{FF2B5EF4-FFF2-40B4-BE49-F238E27FC236}">
                  <a16:creationId xmlns:a16="http://schemas.microsoft.com/office/drawing/2014/main" id="{02C7DC92-22CE-4278-8FF3-A3AB1608AA63}"/>
                </a:ext>
              </a:extLst>
            </p:cNvPr>
            <p:cNvSpPr/>
            <p:nvPr/>
          </p:nvSpPr>
          <p:spPr>
            <a:xfrm rot="13089394">
              <a:off x="313263" y="4907079"/>
              <a:ext cx="272584" cy="221720"/>
            </a:xfrm>
            <a:custGeom>
              <a:avLst/>
              <a:gdLst>
                <a:gd name="connsiteX0" fmla="*/ 272584 w 272584"/>
                <a:gd name="connsiteY0" fmla="*/ 150928 h 221720"/>
                <a:gd name="connsiteX1" fmla="*/ 91597 w 272584"/>
                <a:gd name="connsiteY1" fmla="*/ 221557 h 221720"/>
                <a:gd name="connsiteX2" fmla="*/ 23727 w 272584"/>
                <a:gd name="connsiteY2" fmla="*/ 193967 h 221720"/>
                <a:gd name="connsiteX3" fmla="*/ 0 w 272584"/>
                <a:gd name="connsiteY3" fmla="*/ 99060 h 221720"/>
                <a:gd name="connsiteX4" fmla="*/ 0 w 272584"/>
                <a:gd name="connsiteY4" fmla="*/ 58265 h 221720"/>
                <a:gd name="connsiteX5" fmla="*/ 74157 w 272584"/>
                <a:gd name="connsiteY5" fmla="*/ 0 h 221720"/>
                <a:gd name="connsiteX6" fmla="*/ 74492 w 272584"/>
                <a:gd name="connsiteY6" fmla="*/ 46640 h 221720"/>
                <a:gd name="connsiteX7" fmla="*/ 87734 w 272584"/>
                <a:gd name="connsiteY7" fmla="*/ 138237 h 221720"/>
                <a:gd name="connsiteX8" fmla="*/ 153949 w 272584"/>
                <a:gd name="connsiteY8" fmla="*/ 174655 h 221720"/>
                <a:gd name="connsiteX9" fmla="*/ 203610 w 272584"/>
                <a:gd name="connsiteY9" fmla="*/ 165826 h 221720"/>
                <a:gd name="connsiteX10" fmla="*/ 271480 w 272584"/>
                <a:gd name="connsiteY10" fmla="*/ 138237 h 221720"/>
                <a:gd name="connsiteX11" fmla="*/ 272584 w 272584"/>
                <a:gd name="connsiteY11" fmla="*/ 145410 h 22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2584" h="221720">
                  <a:moveTo>
                    <a:pt x="272584" y="150928"/>
                  </a:moveTo>
                  <a:cubicBezTo>
                    <a:pt x="214094" y="201141"/>
                    <a:pt x="137395" y="218798"/>
                    <a:pt x="91597" y="221557"/>
                  </a:cubicBezTo>
                  <a:cubicBezTo>
                    <a:pt x="66215" y="223213"/>
                    <a:pt x="41384" y="212177"/>
                    <a:pt x="23727" y="193967"/>
                  </a:cubicBezTo>
                  <a:cubicBezTo>
                    <a:pt x="4966" y="175759"/>
                    <a:pt x="0" y="144306"/>
                    <a:pt x="0" y="99060"/>
                  </a:cubicBezTo>
                  <a:lnTo>
                    <a:pt x="0" y="58265"/>
                  </a:lnTo>
                  <a:lnTo>
                    <a:pt x="74157" y="0"/>
                  </a:lnTo>
                  <a:lnTo>
                    <a:pt x="74492" y="46640"/>
                  </a:lnTo>
                  <a:cubicBezTo>
                    <a:pt x="72836" y="77540"/>
                    <a:pt x="77802" y="108992"/>
                    <a:pt x="87734" y="138237"/>
                  </a:cubicBezTo>
                  <a:cubicBezTo>
                    <a:pt x="96563" y="162515"/>
                    <a:pt x="119186" y="174655"/>
                    <a:pt x="153949" y="174655"/>
                  </a:cubicBezTo>
                  <a:cubicBezTo>
                    <a:pt x="171055" y="174103"/>
                    <a:pt x="187608" y="170792"/>
                    <a:pt x="203610" y="165826"/>
                  </a:cubicBezTo>
                  <a:cubicBezTo>
                    <a:pt x="226785" y="158653"/>
                    <a:pt x="249409" y="149273"/>
                    <a:pt x="271480" y="138237"/>
                  </a:cubicBezTo>
                  <a:cubicBezTo>
                    <a:pt x="272032" y="140444"/>
                    <a:pt x="272584" y="143203"/>
                    <a:pt x="272584" y="1454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1" name="Forme libre : forme 510">
              <a:extLst>
                <a:ext uri="{FF2B5EF4-FFF2-40B4-BE49-F238E27FC236}">
                  <a16:creationId xmlns:a16="http://schemas.microsoft.com/office/drawing/2014/main" id="{2684AFDD-CDE2-41B8-A59C-E03D9F5FB899}"/>
                </a:ext>
              </a:extLst>
            </p:cNvPr>
            <p:cNvSpPr/>
            <p:nvPr/>
          </p:nvSpPr>
          <p:spPr>
            <a:xfrm rot="8716295">
              <a:off x="466598" y="470771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2" name="Forme libre : forme 511">
              <a:extLst>
                <a:ext uri="{FF2B5EF4-FFF2-40B4-BE49-F238E27FC236}">
                  <a16:creationId xmlns:a16="http://schemas.microsoft.com/office/drawing/2014/main" id="{874191D1-5A8A-4106-89BC-E4DE3F05FDFC}"/>
                </a:ext>
              </a:extLst>
            </p:cNvPr>
            <p:cNvSpPr/>
            <p:nvPr/>
          </p:nvSpPr>
          <p:spPr>
            <a:xfrm rot="8716295">
              <a:off x="414793" y="460412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3" name="Forme libre : forme 512">
              <a:extLst>
                <a:ext uri="{FF2B5EF4-FFF2-40B4-BE49-F238E27FC236}">
                  <a16:creationId xmlns:a16="http://schemas.microsoft.com/office/drawing/2014/main" id="{8D49479A-E710-4758-BEAF-44161F8FF530}"/>
                </a:ext>
              </a:extLst>
            </p:cNvPr>
            <p:cNvSpPr/>
            <p:nvPr/>
          </p:nvSpPr>
          <p:spPr>
            <a:xfrm rot="8716295">
              <a:off x="171547" y="46343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4" name="Forme libre : forme 513">
              <a:extLst>
                <a:ext uri="{FF2B5EF4-FFF2-40B4-BE49-F238E27FC236}">
                  <a16:creationId xmlns:a16="http://schemas.microsoft.com/office/drawing/2014/main" id="{0D3E5977-ABDE-469A-8B37-82662D2EE7DA}"/>
                </a:ext>
              </a:extLst>
            </p:cNvPr>
            <p:cNvSpPr/>
            <p:nvPr/>
          </p:nvSpPr>
          <p:spPr>
            <a:xfrm rot="8716295">
              <a:off x="348999" y="44751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528" name="Espace réservé du texte 527">
            <a:extLst>
              <a:ext uri="{FF2B5EF4-FFF2-40B4-BE49-F238E27FC236}">
                <a16:creationId xmlns:a16="http://schemas.microsoft.com/office/drawing/2014/main" id="{6A8E0876-8CB4-4156-A0C1-0BC7361D1C40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429470" y="3802408"/>
            <a:ext cx="108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29" name="Espace réservé du texte 528">
            <a:extLst>
              <a:ext uri="{FF2B5EF4-FFF2-40B4-BE49-F238E27FC236}">
                <a16:creationId xmlns:a16="http://schemas.microsoft.com/office/drawing/2014/main" id="{20C5F896-3CE3-44F8-B5B2-F667F9101641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1512561" y="3802408"/>
            <a:ext cx="108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rgbClr val="3A1B0B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31" name="Espace réservé du texte 530">
            <a:extLst>
              <a:ext uri="{FF2B5EF4-FFF2-40B4-BE49-F238E27FC236}">
                <a16:creationId xmlns:a16="http://schemas.microsoft.com/office/drawing/2014/main" id="{70ADA97F-36B2-42A5-9506-18C5EA9C6E0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3993" y="482179"/>
            <a:ext cx="2495932" cy="302805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24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3pPr>
            <a:lvl4pPr marL="0" indent="0">
              <a:buNone/>
              <a:defRPr sz="1000">
                <a:solidFill>
                  <a:schemeClr val="bg1"/>
                </a:solidFill>
              </a:defRPr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Niveau 2</a:t>
            </a:r>
          </a:p>
          <a:p>
            <a:pPr lvl="2"/>
            <a:r>
              <a:rPr lang="fr-FR" dirty="0"/>
              <a:t>Niveau 3</a:t>
            </a:r>
          </a:p>
          <a:p>
            <a:pPr lvl="3"/>
            <a:r>
              <a:rPr lang="fr-FR" dirty="0"/>
              <a:t>Niveau 4</a:t>
            </a:r>
          </a:p>
        </p:txBody>
      </p:sp>
      <p:sp>
        <p:nvSpPr>
          <p:cNvPr id="534" name="Espace réservé du texte 533">
            <a:extLst>
              <a:ext uri="{FF2B5EF4-FFF2-40B4-BE49-F238E27FC236}">
                <a16:creationId xmlns:a16="http://schemas.microsoft.com/office/drawing/2014/main" id="{6A4C2977-D550-4471-9F3E-815F6F49158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11668" y="507082"/>
            <a:ext cx="5068800" cy="4129200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300"/>
              </a:spcBef>
              <a:spcAft>
                <a:spcPts val="1000"/>
              </a:spcAft>
              <a:buNone/>
              <a:defRPr sz="1400">
                <a:solidFill>
                  <a:schemeClr val="tx1"/>
                </a:solidFill>
              </a:defRPr>
            </a:lvl2pPr>
            <a:lvl3pPr marL="270000" indent="-270000" algn="l" defTabSz="457200" rtl="0" eaLnBrk="1" latinLnBrk="0" hangingPunct="1">
              <a:spcBef>
                <a:spcPts val="400"/>
              </a:spcBef>
              <a:spcAft>
                <a:spcPts val="1000"/>
              </a:spcAft>
              <a:buSzPct val="100000"/>
              <a:buFontTx/>
              <a:buBlip>
                <a:blip r:embed="rId2"/>
              </a:buBlip>
              <a:defRPr lang="fr-FR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0000" indent="-269875">
              <a:spcBef>
                <a:spcPts val="400"/>
              </a:spcBef>
              <a:spcAft>
                <a:spcPts val="1000"/>
              </a:spcAft>
              <a:buFontTx/>
              <a:buBlip>
                <a:blip r:embed="rId3"/>
              </a:buBlip>
              <a:defRPr sz="1400" b="1">
                <a:solidFill>
                  <a:schemeClr val="tx1"/>
                </a:solidFill>
              </a:defRPr>
            </a:lvl4pPr>
            <a:lvl5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4"/>
              </a:buBlip>
              <a:defRPr sz="1400" b="1">
                <a:solidFill>
                  <a:schemeClr val="tx1"/>
                </a:solidFill>
              </a:defRPr>
            </a:lvl5pPr>
            <a:lvl6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5"/>
              </a:buBlip>
              <a:defRPr sz="1400" b="1">
                <a:solidFill>
                  <a:schemeClr val="tx1"/>
                </a:solidFill>
              </a:defRPr>
            </a:lvl6pPr>
            <a:lvl7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6"/>
              </a:buBlip>
              <a:defRPr sz="1400" b="1">
                <a:solidFill>
                  <a:schemeClr val="tx1"/>
                </a:solidFill>
              </a:defRPr>
            </a:lvl7pPr>
            <a:lvl8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7"/>
              </a:buBlip>
              <a:defRPr sz="1400" b="1">
                <a:solidFill>
                  <a:schemeClr val="tx1"/>
                </a:solidFill>
              </a:defRPr>
            </a:lvl8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Puce bleu</a:t>
            </a:r>
          </a:p>
          <a:p>
            <a:pPr lvl="3"/>
            <a:r>
              <a:rPr lang="fr-FR" dirty="0"/>
              <a:t>Puce orange</a:t>
            </a:r>
          </a:p>
          <a:p>
            <a:pPr lvl="4"/>
            <a:r>
              <a:rPr lang="fr-FR" dirty="0"/>
              <a:t>Puce rouge</a:t>
            </a:r>
          </a:p>
          <a:p>
            <a:pPr lvl="5"/>
            <a:r>
              <a:rPr lang="fr-FR" dirty="0"/>
              <a:t>Puce vert d’eau</a:t>
            </a:r>
          </a:p>
          <a:p>
            <a:pPr lvl="6"/>
            <a:r>
              <a:rPr lang="fr-FR" dirty="0"/>
              <a:t>Puce verte</a:t>
            </a:r>
          </a:p>
          <a:p>
            <a:pPr lvl="7"/>
            <a:r>
              <a:rPr lang="fr-FR" dirty="0"/>
              <a:t>Puce violette</a:t>
            </a:r>
          </a:p>
        </p:txBody>
      </p:sp>
    </p:spTree>
    <p:extLst>
      <p:ext uri="{BB962C8B-B14F-4D97-AF65-F5344CB8AC3E}">
        <p14:creationId xmlns:p14="http://schemas.microsoft.com/office/powerpoint/2010/main" val="425047739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ayures / Texte + Conten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8" name="Graphique 517">
            <a:extLst>
              <a:ext uri="{FF2B5EF4-FFF2-40B4-BE49-F238E27FC236}">
                <a16:creationId xmlns:a16="http://schemas.microsoft.com/office/drawing/2014/main" id="{9DDE0F79-02B4-4C9D-B3C3-ADF18F103B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3416312" cy="5143500"/>
          </a:xfrm>
          <a:prstGeom prst="rect">
            <a:avLst/>
          </a:prstGeom>
        </p:spPr>
      </p:pic>
      <p:sp>
        <p:nvSpPr>
          <p:cNvPr id="523" name="Forme libre : forme 522">
            <a:extLst>
              <a:ext uri="{FF2B5EF4-FFF2-40B4-BE49-F238E27FC236}">
                <a16:creationId xmlns:a16="http://schemas.microsoft.com/office/drawing/2014/main" id="{C7F1D93A-4718-405C-AAEF-810045870EFB}"/>
              </a:ext>
            </a:extLst>
          </p:cNvPr>
          <p:cNvSpPr/>
          <p:nvPr userDrawn="1"/>
        </p:nvSpPr>
        <p:spPr>
          <a:xfrm>
            <a:off x="0" y="-1"/>
            <a:ext cx="9144000" cy="5143501"/>
          </a:xfrm>
          <a:custGeom>
            <a:avLst/>
            <a:gdLst>
              <a:gd name="connsiteX0" fmla="*/ 0 w 9144000"/>
              <a:gd name="connsiteY0" fmla="*/ 0 h 5143501"/>
              <a:gd name="connsiteX1" fmla="*/ 9144000 w 9144000"/>
              <a:gd name="connsiteY1" fmla="*/ 0 h 5143501"/>
              <a:gd name="connsiteX2" fmla="*/ 9144000 w 9144000"/>
              <a:gd name="connsiteY2" fmla="*/ 5143501 h 5143501"/>
              <a:gd name="connsiteX3" fmla="*/ 3567702 w 9144000"/>
              <a:gd name="connsiteY3" fmla="*/ 5143501 h 5143501"/>
              <a:gd name="connsiteX4" fmla="*/ 3246551 w 9144000"/>
              <a:gd name="connsiteY4" fmla="*/ 2811363 h 5143501"/>
              <a:gd name="connsiteX5" fmla="*/ 3485902 w 9144000"/>
              <a:gd name="connsiteY5" fmla="*/ 1 h 5143501"/>
              <a:gd name="connsiteX6" fmla="*/ 3048000 w 9144000"/>
              <a:gd name="connsiteY6" fmla="*/ 1 h 5143501"/>
              <a:gd name="connsiteX7" fmla="*/ 2859408 w 9144000"/>
              <a:gd name="connsiteY7" fmla="*/ 1 h 5143501"/>
              <a:gd name="connsiteX8" fmla="*/ 0 w 9144000"/>
              <a:gd name="connsiteY8" fmla="*/ 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4000" h="5143501">
                <a:moveTo>
                  <a:pt x="0" y="0"/>
                </a:moveTo>
                <a:lnTo>
                  <a:pt x="9144000" y="0"/>
                </a:lnTo>
                <a:lnTo>
                  <a:pt x="9144000" y="5143501"/>
                </a:lnTo>
                <a:lnTo>
                  <a:pt x="3567702" y="5143501"/>
                </a:lnTo>
                <a:lnTo>
                  <a:pt x="3246551" y="2811363"/>
                </a:lnTo>
                <a:lnTo>
                  <a:pt x="3485902" y="1"/>
                </a:lnTo>
                <a:lnTo>
                  <a:pt x="3048000" y="1"/>
                </a:lnTo>
                <a:lnTo>
                  <a:pt x="2859408" y="1"/>
                </a:lnTo>
                <a:lnTo>
                  <a:pt x="0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528" name="Espace réservé du texte 527">
            <a:extLst>
              <a:ext uri="{FF2B5EF4-FFF2-40B4-BE49-F238E27FC236}">
                <a16:creationId xmlns:a16="http://schemas.microsoft.com/office/drawing/2014/main" id="{6A8E0876-8CB4-4156-A0C1-0BC7361D1C40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429470" y="3802408"/>
            <a:ext cx="108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29" name="Espace réservé du texte 528">
            <a:extLst>
              <a:ext uri="{FF2B5EF4-FFF2-40B4-BE49-F238E27FC236}">
                <a16:creationId xmlns:a16="http://schemas.microsoft.com/office/drawing/2014/main" id="{20C5F896-3CE3-44F8-B5B2-F667F9101641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1512561" y="3802408"/>
            <a:ext cx="108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rgbClr val="3A1B0B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31" name="Espace réservé du texte 530">
            <a:extLst>
              <a:ext uri="{FF2B5EF4-FFF2-40B4-BE49-F238E27FC236}">
                <a16:creationId xmlns:a16="http://schemas.microsoft.com/office/drawing/2014/main" id="{70ADA97F-36B2-42A5-9506-18C5EA9C6E0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3993" y="482179"/>
            <a:ext cx="2495932" cy="302805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24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3pPr>
            <a:lvl4pPr marL="0" indent="0">
              <a:buNone/>
              <a:defRPr sz="1000">
                <a:solidFill>
                  <a:schemeClr val="bg1"/>
                </a:solidFill>
              </a:defRPr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Niveau 2</a:t>
            </a:r>
          </a:p>
          <a:p>
            <a:pPr lvl="2"/>
            <a:r>
              <a:rPr lang="fr-FR" dirty="0"/>
              <a:t>Niveau 3</a:t>
            </a:r>
          </a:p>
          <a:p>
            <a:pPr lvl="3"/>
            <a:r>
              <a:rPr lang="fr-FR" dirty="0"/>
              <a:t>Niveau 4</a:t>
            </a:r>
          </a:p>
        </p:txBody>
      </p:sp>
      <p:sp>
        <p:nvSpPr>
          <p:cNvPr id="534" name="Espace réservé du texte 533">
            <a:extLst>
              <a:ext uri="{FF2B5EF4-FFF2-40B4-BE49-F238E27FC236}">
                <a16:creationId xmlns:a16="http://schemas.microsoft.com/office/drawing/2014/main" id="{6A4C2977-D550-4471-9F3E-815F6F49158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11668" y="507082"/>
            <a:ext cx="5068800" cy="4129200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300"/>
              </a:spcBef>
              <a:spcAft>
                <a:spcPts val="1000"/>
              </a:spcAft>
              <a:buNone/>
              <a:defRPr sz="1400">
                <a:solidFill>
                  <a:schemeClr val="tx1"/>
                </a:solidFill>
              </a:defRPr>
            </a:lvl2pPr>
            <a:lvl3pPr marL="270000" indent="-270000" algn="l" defTabSz="457200" rtl="0" eaLnBrk="1" latinLnBrk="0" hangingPunct="1">
              <a:spcBef>
                <a:spcPts val="400"/>
              </a:spcBef>
              <a:spcAft>
                <a:spcPts val="1000"/>
              </a:spcAft>
              <a:buSzPct val="100000"/>
              <a:buFontTx/>
              <a:buBlip>
                <a:blip r:embed="rId4"/>
              </a:buBlip>
              <a:defRPr lang="fr-FR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0000" indent="-269875">
              <a:spcBef>
                <a:spcPts val="400"/>
              </a:spcBef>
              <a:spcAft>
                <a:spcPts val="1000"/>
              </a:spcAft>
              <a:buFontTx/>
              <a:buBlip>
                <a:blip r:embed="rId5"/>
              </a:buBlip>
              <a:defRPr sz="1400" b="1">
                <a:solidFill>
                  <a:schemeClr val="tx1"/>
                </a:solidFill>
              </a:defRPr>
            </a:lvl4pPr>
            <a:lvl5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6"/>
              </a:buBlip>
              <a:defRPr sz="1400" b="1">
                <a:solidFill>
                  <a:schemeClr val="tx1"/>
                </a:solidFill>
              </a:defRPr>
            </a:lvl5pPr>
            <a:lvl6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7"/>
              </a:buBlip>
              <a:defRPr sz="1400" b="1">
                <a:solidFill>
                  <a:schemeClr val="tx1"/>
                </a:solidFill>
              </a:defRPr>
            </a:lvl6pPr>
            <a:lvl7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8"/>
              </a:buBlip>
              <a:defRPr sz="1400" b="1">
                <a:solidFill>
                  <a:schemeClr val="tx1"/>
                </a:solidFill>
              </a:defRPr>
            </a:lvl7pPr>
            <a:lvl8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9"/>
              </a:buBlip>
              <a:defRPr sz="1400" b="1">
                <a:solidFill>
                  <a:schemeClr val="tx1"/>
                </a:solidFill>
              </a:defRPr>
            </a:lvl8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Puce bleu</a:t>
            </a:r>
          </a:p>
          <a:p>
            <a:pPr lvl="3"/>
            <a:r>
              <a:rPr lang="fr-FR" dirty="0"/>
              <a:t>Puce orange</a:t>
            </a:r>
          </a:p>
          <a:p>
            <a:pPr lvl="4"/>
            <a:r>
              <a:rPr lang="fr-FR" dirty="0"/>
              <a:t>Puce rouge</a:t>
            </a:r>
          </a:p>
          <a:p>
            <a:pPr lvl="5"/>
            <a:r>
              <a:rPr lang="fr-FR" dirty="0"/>
              <a:t>Puce vert d’eau</a:t>
            </a:r>
          </a:p>
          <a:p>
            <a:pPr lvl="6"/>
            <a:r>
              <a:rPr lang="fr-FR" dirty="0"/>
              <a:t>Puce verte</a:t>
            </a:r>
          </a:p>
          <a:p>
            <a:pPr lvl="7"/>
            <a:r>
              <a:rPr lang="fr-FR" dirty="0"/>
              <a:t>Puce violette</a:t>
            </a:r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14363415-6A88-4870-B059-FE46177801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48000" y="2811362"/>
            <a:ext cx="519702" cy="2332138"/>
          </a:xfrm>
          <a:custGeom>
            <a:avLst/>
            <a:gdLst>
              <a:gd name="connsiteX0" fmla="*/ 198551 w 519702"/>
              <a:gd name="connsiteY0" fmla="*/ 0 h 2332138"/>
              <a:gd name="connsiteX1" fmla="*/ 519702 w 519702"/>
              <a:gd name="connsiteY1" fmla="*/ 2332138 h 2332138"/>
              <a:gd name="connsiteX2" fmla="*/ 0 w 519702"/>
              <a:gd name="connsiteY2" fmla="*/ 2332138 h 2332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19702" h="2332138">
                <a:moveTo>
                  <a:pt x="198551" y="0"/>
                </a:moveTo>
                <a:lnTo>
                  <a:pt x="519702" y="2332138"/>
                </a:lnTo>
                <a:lnTo>
                  <a:pt x="0" y="233213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180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484824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filtre bleu + Titre + Contenu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5" name="Espace réservé pour une image  524">
            <a:extLst>
              <a:ext uri="{FF2B5EF4-FFF2-40B4-BE49-F238E27FC236}">
                <a16:creationId xmlns:a16="http://schemas.microsoft.com/office/drawing/2014/main" id="{98410260-974C-4913-B9B1-FBF4231643C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2"/>
            <a:ext cx="3567702" cy="5143499"/>
          </a:xfrm>
          <a:custGeom>
            <a:avLst/>
            <a:gdLst>
              <a:gd name="connsiteX0" fmla="*/ 0 w 3567702"/>
              <a:gd name="connsiteY0" fmla="*/ 0 h 5143499"/>
              <a:gd name="connsiteX1" fmla="*/ 2859408 w 3567702"/>
              <a:gd name="connsiteY1" fmla="*/ 0 h 5143499"/>
              <a:gd name="connsiteX2" fmla="*/ 3048000 w 3567702"/>
              <a:gd name="connsiteY2" fmla="*/ 0 h 5143499"/>
              <a:gd name="connsiteX3" fmla="*/ 3485902 w 3567702"/>
              <a:gd name="connsiteY3" fmla="*/ 0 h 5143499"/>
              <a:gd name="connsiteX4" fmla="*/ 3246551 w 3567702"/>
              <a:gd name="connsiteY4" fmla="*/ 2811361 h 5143499"/>
              <a:gd name="connsiteX5" fmla="*/ 3246551 w 3567702"/>
              <a:gd name="connsiteY5" fmla="*/ 2811360 h 5143499"/>
              <a:gd name="connsiteX6" fmla="*/ 3048000 w 3567702"/>
              <a:gd name="connsiteY6" fmla="*/ 5143498 h 5143499"/>
              <a:gd name="connsiteX7" fmla="*/ 3567702 w 3567702"/>
              <a:gd name="connsiteY7" fmla="*/ 5143498 h 5143499"/>
              <a:gd name="connsiteX8" fmla="*/ 3567702 w 3567702"/>
              <a:gd name="connsiteY8" fmla="*/ 5143499 h 5143499"/>
              <a:gd name="connsiteX9" fmla="*/ 0 w 3567702"/>
              <a:gd name="connsiteY9" fmla="*/ 5143499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67702" h="5143499">
                <a:moveTo>
                  <a:pt x="0" y="0"/>
                </a:moveTo>
                <a:lnTo>
                  <a:pt x="2859408" y="0"/>
                </a:lnTo>
                <a:lnTo>
                  <a:pt x="3048000" y="0"/>
                </a:lnTo>
                <a:lnTo>
                  <a:pt x="3485902" y="0"/>
                </a:lnTo>
                <a:lnTo>
                  <a:pt x="3246551" y="2811361"/>
                </a:lnTo>
                <a:lnTo>
                  <a:pt x="3246551" y="2811360"/>
                </a:lnTo>
                <a:lnTo>
                  <a:pt x="3048000" y="5143498"/>
                </a:lnTo>
                <a:lnTo>
                  <a:pt x="3567702" y="5143498"/>
                </a:lnTo>
                <a:lnTo>
                  <a:pt x="3567702" y="5143499"/>
                </a:lnTo>
                <a:lnTo>
                  <a:pt x="0" y="5143499"/>
                </a:ln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fr-FR" dirty="0"/>
              <a:t>Cliquez sur l’icône</a:t>
            </a:r>
            <a:br>
              <a:rPr lang="fr-FR" dirty="0"/>
            </a:br>
            <a:r>
              <a:rPr lang="fr-FR" dirty="0"/>
              <a:t>pour ajouter une image</a:t>
            </a:r>
          </a:p>
        </p:txBody>
      </p:sp>
      <p:sp>
        <p:nvSpPr>
          <p:cNvPr id="523" name="Forme libre : forme 522">
            <a:extLst>
              <a:ext uri="{FF2B5EF4-FFF2-40B4-BE49-F238E27FC236}">
                <a16:creationId xmlns:a16="http://schemas.microsoft.com/office/drawing/2014/main" id="{C7F1D93A-4718-405C-AAEF-810045870EFB}"/>
              </a:ext>
            </a:extLst>
          </p:cNvPr>
          <p:cNvSpPr/>
          <p:nvPr userDrawn="1"/>
        </p:nvSpPr>
        <p:spPr>
          <a:xfrm>
            <a:off x="3246551" y="-1"/>
            <a:ext cx="5897449" cy="5143501"/>
          </a:xfrm>
          <a:custGeom>
            <a:avLst/>
            <a:gdLst>
              <a:gd name="connsiteX0" fmla="*/ 0 w 9144000"/>
              <a:gd name="connsiteY0" fmla="*/ 0 h 5143501"/>
              <a:gd name="connsiteX1" fmla="*/ 9144000 w 9144000"/>
              <a:gd name="connsiteY1" fmla="*/ 0 h 5143501"/>
              <a:gd name="connsiteX2" fmla="*/ 9144000 w 9144000"/>
              <a:gd name="connsiteY2" fmla="*/ 5143501 h 5143501"/>
              <a:gd name="connsiteX3" fmla="*/ 3567702 w 9144000"/>
              <a:gd name="connsiteY3" fmla="*/ 5143501 h 5143501"/>
              <a:gd name="connsiteX4" fmla="*/ 3246551 w 9144000"/>
              <a:gd name="connsiteY4" fmla="*/ 2811363 h 5143501"/>
              <a:gd name="connsiteX5" fmla="*/ 3485902 w 9144000"/>
              <a:gd name="connsiteY5" fmla="*/ 1 h 5143501"/>
              <a:gd name="connsiteX6" fmla="*/ 3048000 w 9144000"/>
              <a:gd name="connsiteY6" fmla="*/ 1 h 5143501"/>
              <a:gd name="connsiteX7" fmla="*/ 2859408 w 9144000"/>
              <a:gd name="connsiteY7" fmla="*/ 1 h 5143501"/>
              <a:gd name="connsiteX8" fmla="*/ 0 w 9144000"/>
              <a:gd name="connsiteY8" fmla="*/ 1 h 5143501"/>
              <a:gd name="connsiteX0" fmla="*/ 0 w 9144000"/>
              <a:gd name="connsiteY0" fmla="*/ 1 h 5143501"/>
              <a:gd name="connsiteX1" fmla="*/ 9144000 w 9144000"/>
              <a:gd name="connsiteY1" fmla="*/ 0 h 5143501"/>
              <a:gd name="connsiteX2" fmla="*/ 9144000 w 9144000"/>
              <a:gd name="connsiteY2" fmla="*/ 5143501 h 5143501"/>
              <a:gd name="connsiteX3" fmla="*/ 3567702 w 9144000"/>
              <a:gd name="connsiteY3" fmla="*/ 5143501 h 5143501"/>
              <a:gd name="connsiteX4" fmla="*/ 3246551 w 9144000"/>
              <a:gd name="connsiteY4" fmla="*/ 2811363 h 5143501"/>
              <a:gd name="connsiteX5" fmla="*/ 3485902 w 9144000"/>
              <a:gd name="connsiteY5" fmla="*/ 1 h 5143501"/>
              <a:gd name="connsiteX6" fmla="*/ 3048000 w 9144000"/>
              <a:gd name="connsiteY6" fmla="*/ 1 h 5143501"/>
              <a:gd name="connsiteX7" fmla="*/ 2859408 w 9144000"/>
              <a:gd name="connsiteY7" fmla="*/ 1 h 5143501"/>
              <a:gd name="connsiteX8" fmla="*/ 0 w 9144000"/>
              <a:gd name="connsiteY8" fmla="*/ 1 h 5143501"/>
              <a:gd name="connsiteX0" fmla="*/ 0 w 6284592"/>
              <a:gd name="connsiteY0" fmla="*/ 1 h 5143501"/>
              <a:gd name="connsiteX1" fmla="*/ 6284592 w 6284592"/>
              <a:gd name="connsiteY1" fmla="*/ 0 h 5143501"/>
              <a:gd name="connsiteX2" fmla="*/ 6284592 w 6284592"/>
              <a:gd name="connsiteY2" fmla="*/ 5143501 h 5143501"/>
              <a:gd name="connsiteX3" fmla="*/ 708294 w 6284592"/>
              <a:gd name="connsiteY3" fmla="*/ 5143501 h 5143501"/>
              <a:gd name="connsiteX4" fmla="*/ 387143 w 6284592"/>
              <a:gd name="connsiteY4" fmla="*/ 2811363 h 5143501"/>
              <a:gd name="connsiteX5" fmla="*/ 626494 w 6284592"/>
              <a:gd name="connsiteY5" fmla="*/ 1 h 5143501"/>
              <a:gd name="connsiteX6" fmla="*/ 188592 w 6284592"/>
              <a:gd name="connsiteY6" fmla="*/ 1 h 5143501"/>
              <a:gd name="connsiteX7" fmla="*/ 0 w 6284592"/>
              <a:gd name="connsiteY7" fmla="*/ 1 h 5143501"/>
              <a:gd name="connsiteX0" fmla="*/ 0 w 6096000"/>
              <a:gd name="connsiteY0" fmla="*/ 1 h 5143501"/>
              <a:gd name="connsiteX1" fmla="*/ 6096000 w 6096000"/>
              <a:gd name="connsiteY1" fmla="*/ 0 h 5143501"/>
              <a:gd name="connsiteX2" fmla="*/ 6096000 w 6096000"/>
              <a:gd name="connsiteY2" fmla="*/ 5143501 h 5143501"/>
              <a:gd name="connsiteX3" fmla="*/ 519702 w 6096000"/>
              <a:gd name="connsiteY3" fmla="*/ 5143501 h 5143501"/>
              <a:gd name="connsiteX4" fmla="*/ 198551 w 6096000"/>
              <a:gd name="connsiteY4" fmla="*/ 2811363 h 5143501"/>
              <a:gd name="connsiteX5" fmla="*/ 437902 w 6096000"/>
              <a:gd name="connsiteY5" fmla="*/ 1 h 5143501"/>
              <a:gd name="connsiteX6" fmla="*/ 0 w 6096000"/>
              <a:gd name="connsiteY6" fmla="*/ 1 h 5143501"/>
              <a:gd name="connsiteX0" fmla="*/ 239351 w 5897449"/>
              <a:gd name="connsiteY0" fmla="*/ 1 h 5143501"/>
              <a:gd name="connsiteX1" fmla="*/ 5897449 w 5897449"/>
              <a:gd name="connsiteY1" fmla="*/ 0 h 5143501"/>
              <a:gd name="connsiteX2" fmla="*/ 5897449 w 5897449"/>
              <a:gd name="connsiteY2" fmla="*/ 5143501 h 5143501"/>
              <a:gd name="connsiteX3" fmla="*/ 321151 w 5897449"/>
              <a:gd name="connsiteY3" fmla="*/ 5143501 h 5143501"/>
              <a:gd name="connsiteX4" fmla="*/ 0 w 5897449"/>
              <a:gd name="connsiteY4" fmla="*/ 2811363 h 5143501"/>
              <a:gd name="connsiteX5" fmla="*/ 239351 w 5897449"/>
              <a:gd name="connsiteY5" fmla="*/ 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97449" h="5143501">
                <a:moveTo>
                  <a:pt x="239351" y="1"/>
                </a:moveTo>
                <a:lnTo>
                  <a:pt x="5897449" y="0"/>
                </a:lnTo>
                <a:lnTo>
                  <a:pt x="5897449" y="5143501"/>
                </a:lnTo>
                <a:lnTo>
                  <a:pt x="321151" y="5143501"/>
                </a:lnTo>
                <a:lnTo>
                  <a:pt x="0" y="2811363"/>
                </a:lnTo>
                <a:lnTo>
                  <a:pt x="239351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534" name="Espace réservé du texte 533">
            <a:extLst>
              <a:ext uri="{FF2B5EF4-FFF2-40B4-BE49-F238E27FC236}">
                <a16:creationId xmlns:a16="http://schemas.microsoft.com/office/drawing/2014/main" id="{6A4C2977-D550-4471-9F3E-815F6F49158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11668" y="507082"/>
            <a:ext cx="5068800" cy="4129200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300"/>
              </a:spcBef>
              <a:spcAft>
                <a:spcPts val="1000"/>
              </a:spcAft>
              <a:buNone/>
              <a:defRPr sz="1400">
                <a:solidFill>
                  <a:schemeClr val="tx1"/>
                </a:solidFill>
              </a:defRPr>
            </a:lvl2pPr>
            <a:lvl3pPr marL="270000" indent="-270000" algn="l" defTabSz="457200" rtl="0" eaLnBrk="1" latinLnBrk="0" hangingPunct="1">
              <a:spcBef>
                <a:spcPts val="400"/>
              </a:spcBef>
              <a:spcAft>
                <a:spcPts val="1000"/>
              </a:spcAft>
              <a:buSzPct val="100000"/>
              <a:buFontTx/>
              <a:buBlip>
                <a:blip r:embed="rId2"/>
              </a:buBlip>
              <a:defRPr lang="fr-FR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0000" indent="-269875">
              <a:spcBef>
                <a:spcPts val="400"/>
              </a:spcBef>
              <a:spcAft>
                <a:spcPts val="1000"/>
              </a:spcAft>
              <a:buFontTx/>
              <a:buBlip>
                <a:blip r:embed="rId3"/>
              </a:buBlip>
              <a:defRPr sz="1400" b="1">
                <a:solidFill>
                  <a:schemeClr val="tx1"/>
                </a:solidFill>
              </a:defRPr>
            </a:lvl4pPr>
            <a:lvl5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4"/>
              </a:buBlip>
              <a:defRPr sz="1400" b="1">
                <a:solidFill>
                  <a:schemeClr val="tx1"/>
                </a:solidFill>
              </a:defRPr>
            </a:lvl5pPr>
            <a:lvl6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5"/>
              </a:buBlip>
              <a:defRPr sz="1400" b="1">
                <a:solidFill>
                  <a:schemeClr val="tx1"/>
                </a:solidFill>
              </a:defRPr>
            </a:lvl6pPr>
            <a:lvl7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6"/>
              </a:buBlip>
              <a:defRPr sz="1400" b="1">
                <a:solidFill>
                  <a:schemeClr val="tx1"/>
                </a:solidFill>
              </a:defRPr>
            </a:lvl7pPr>
            <a:lvl8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7"/>
              </a:buBlip>
              <a:defRPr sz="1400" b="1">
                <a:solidFill>
                  <a:schemeClr val="tx1"/>
                </a:solidFill>
              </a:defRPr>
            </a:lvl8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Puce bleu</a:t>
            </a:r>
          </a:p>
          <a:p>
            <a:pPr lvl="3"/>
            <a:r>
              <a:rPr lang="fr-FR" dirty="0"/>
              <a:t>Puce orange</a:t>
            </a:r>
          </a:p>
          <a:p>
            <a:pPr lvl="4"/>
            <a:r>
              <a:rPr lang="fr-FR" dirty="0"/>
              <a:t>Puce rouge</a:t>
            </a:r>
          </a:p>
          <a:p>
            <a:pPr lvl="5"/>
            <a:r>
              <a:rPr lang="fr-FR" dirty="0"/>
              <a:t>Puce vert d’eau</a:t>
            </a:r>
          </a:p>
          <a:p>
            <a:pPr lvl="6"/>
            <a:r>
              <a:rPr lang="fr-FR" dirty="0"/>
              <a:t>Puce verte</a:t>
            </a:r>
          </a:p>
          <a:p>
            <a:pPr lvl="7"/>
            <a:r>
              <a:rPr lang="fr-FR" dirty="0"/>
              <a:t>Puce violette</a:t>
            </a:r>
          </a:p>
        </p:txBody>
      </p:sp>
      <p:sp>
        <p:nvSpPr>
          <p:cNvPr id="536" name="Espace réservé du texte 535">
            <a:extLst>
              <a:ext uri="{FF2B5EF4-FFF2-40B4-BE49-F238E27FC236}">
                <a16:creationId xmlns:a16="http://schemas.microsoft.com/office/drawing/2014/main" id="{FDBBC0BA-813C-472C-8014-D20CA63A20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-6824" y="0"/>
            <a:ext cx="3492727" cy="2565779"/>
          </a:xfrm>
          <a:custGeom>
            <a:avLst/>
            <a:gdLst>
              <a:gd name="connsiteX0" fmla="*/ 3353602 w 4086971"/>
              <a:gd name="connsiteY0" fmla="*/ 3588742 h 5143499"/>
              <a:gd name="connsiteX1" fmla="*/ 3567703 w 4086971"/>
              <a:gd name="connsiteY1" fmla="*/ 5143499 h 5143499"/>
              <a:gd name="connsiteX2" fmla="*/ 3567703 w 4086971"/>
              <a:gd name="connsiteY2" fmla="*/ 5143499 h 5143499"/>
              <a:gd name="connsiteX3" fmla="*/ 0 w 4086971"/>
              <a:gd name="connsiteY3" fmla="*/ 0 h 5143499"/>
              <a:gd name="connsiteX4" fmla="*/ 4086971 w 4086971"/>
              <a:gd name="connsiteY4" fmla="*/ 0 h 5143499"/>
              <a:gd name="connsiteX5" fmla="*/ 4086971 w 4086971"/>
              <a:gd name="connsiteY5" fmla="*/ 1 h 5143499"/>
              <a:gd name="connsiteX6" fmla="*/ 1 w 4086971"/>
              <a:gd name="connsiteY6" fmla="*/ 1 h 5143499"/>
              <a:gd name="connsiteX7" fmla="*/ 1 w 4086971"/>
              <a:gd name="connsiteY7" fmla="*/ 2 h 5143499"/>
              <a:gd name="connsiteX8" fmla="*/ 2859409 w 4086971"/>
              <a:gd name="connsiteY8" fmla="*/ 2 h 5143499"/>
              <a:gd name="connsiteX9" fmla="*/ 3048001 w 4086971"/>
              <a:gd name="connsiteY9" fmla="*/ 2 h 5143499"/>
              <a:gd name="connsiteX10" fmla="*/ 3485903 w 4086971"/>
              <a:gd name="connsiteY10" fmla="*/ 2 h 5143499"/>
              <a:gd name="connsiteX11" fmla="*/ 3246552 w 4086971"/>
              <a:gd name="connsiteY11" fmla="*/ 2811363 h 5143499"/>
              <a:gd name="connsiteX12" fmla="*/ 3246552 w 4086971"/>
              <a:gd name="connsiteY12" fmla="*/ 2811363 h 5143499"/>
              <a:gd name="connsiteX13" fmla="*/ 3048001 w 4086971"/>
              <a:gd name="connsiteY13" fmla="*/ 5143499 h 5143499"/>
              <a:gd name="connsiteX14" fmla="*/ 0 w 4086971"/>
              <a:gd name="connsiteY14" fmla="*/ 5143499 h 5143499"/>
              <a:gd name="connsiteX0" fmla="*/ 3353602 w 4086971"/>
              <a:gd name="connsiteY0" fmla="*/ 3588742 h 5143499"/>
              <a:gd name="connsiteX1" fmla="*/ 3567703 w 4086971"/>
              <a:gd name="connsiteY1" fmla="*/ 5143499 h 5143499"/>
              <a:gd name="connsiteX2" fmla="*/ 3567703 w 4086971"/>
              <a:gd name="connsiteY2" fmla="*/ 5143499 h 5143499"/>
              <a:gd name="connsiteX3" fmla="*/ 3353602 w 4086971"/>
              <a:gd name="connsiteY3" fmla="*/ 3588742 h 5143499"/>
              <a:gd name="connsiteX4" fmla="*/ 0 w 4086971"/>
              <a:gd name="connsiteY4" fmla="*/ 0 h 5143499"/>
              <a:gd name="connsiteX5" fmla="*/ 4086971 w 4086971"/>
              <a:gd name="connsiteY5" fmla="*/ 0 h 5143499"/>
              <a:gd name="connsiteX6" fmla="*/ 1 w 4086971"/>
              <a:gd name="connsiteY6" fmla="*/ 1 h 5143499"/>
              <a:gd name="connsiteX7" fmla="*/ 1 w 4086971"/>
              <a:gd name="connsiteY7" fmla="*/ 2 h 5143499"/>
              <a:gd name="connsiteX8" fmla="*/ 2859409 w 4086971"/>
              <a:gd name="connsiteY8" fmla="*/ 2 h 5143499"/>
              <a:gd name="connsiteX9" fmla="*/ 3048001 w 4086971"/>
              <a:gd name="connsiteY9" fmla="*/ 2 h 5143499"/>
              <a:gd name="connsiteX10" fmla="*/ 3485903 w 4086971"/>
              <a:gd name="connsiteY10" fmla="*/ 2 h 5143499"/>
              <a:gd name="connsiteX11" fmla="*/ 3246552 w 4086971"/>
              <a:gd name="connsiteY11" fmla="*/ 2811363 h 5143499"/>
              <a:gd name="connsiteX12" fmla="*/ 3246552 w 4086971"/>
              <a:gd name="connsiteY12" fmla="*/ 2811363 h 5143499"/>
              <a:gd name="connsiteX13" fmla="*/ 3048001 w 4086971"/>
              <a:gd name="connsiteY13" fmla="*/ 5143499 h 5143499"/>
              <a:gd name="connsiteX14" fmla="*/ 0 w 4086971"/>
              <a:gd name="connsiteY14" fmla="*/ 5143499 h 5143499"/>
              <a:gd name="connsiteX15" fmla="*/ 0 w 4086971"/>
              <a:gd name="connsiteY15" fmla="*/ 0 h 5143499"/>
              <a:gd name="connsiteX0" fmla="*/ 3353602 w 3567703"/>
              <a:gd name="connsiteY0" fmla="*/ 3588742 h 5143499"/>
              <a:gd name="connsiteX1" fmla="*/ 3567703 w 3567703"/>
              <a:gd name="connsiteY1" fmla="*/ 5143499 h 5143499"/>
              <a:gd name="connsiteX2" fmla="*/ 3567703 w 3567703"/>
              <a:gd name="connsiteY2" fmla="*/ 5143499 h 5143499"/>
              <a:gd name="connsiteX3" fmla="*/ 3353602 w 3567703"/>
              <a:gd name="connsiteY3" fmla="*/ 3588742 h 5143499"/>
              <a:gd name="connsiteX4" fmla="*/ 0 w 3567703"/>
              <a:gd name="connsiteY4" fmla="*/ 0 h 5143499"/>
              <a:gd name="connsiteX5" fmla="*/ 1 w 3567703"/>
              <a:gd name="connsiteY5" fmla="*/ 1 h 5143499"/>
              <a:gd name="connsiteX6" fmla="*/ 1 w 3567703"/>
              <a:gd name="connsiteY6" fmla="*/ 2 h 5143499"/>
              <a:gd name="connsiteX7" fmla="*/ 2859409 w 3567703"/>
              <a:gd name="connsiteY7" fmla="*/ 2 h 5143499"/>
              <a:gd name="connsiteX8" fmla="*/ 3048001 w 3567703"/>
              <a:gd name="connsiteY8" fmla="*/ 2 h 5143499"/>
              <a:gd name="connsiteX9" fmla="*/ 3485903 w 3567703"/>
              <a:gd name="connsiteY9" fmla="*/ 2 h 5143499"/>
              <a:gd name="connsiteX10" fmla="*/ 3246552 w 3567703"/>
              <a:gd name="connsiteY10" fmla="*/ 2811363 h 5143499"/>
              <a:gd name="connsiteX11" fmla="*/ 3246552 w 3567703"/>
              <a:gd name="connsiteY11" fmla="*/ 2811363 h 5143499"/>
              <a:gd name="connsiteX12" fmla="*/ 3048001 w 3567703"/>
              <a:gd name="connsiteY12" fmla="*/ 5143499 h 5143499"/>
              <a:gd name="connsiteX13" fmla="*/ 0 w 3567703"/>
              <a:gd name="connsiteY13" fmla="*/ 5143499 h 5143499"/>
              <a:gd name="connsiteX14" fmla="*/ 0 w 3567703"/>
              <a:gd name="connsiteY14" fmla="*/ 0 h 5143499"/>
              <a:gd name="connsiteX0" fmla="*/ 3353602 w 3567703"/>
              <a:gd name="connsiteY0" fmla="*/ 3588742 h 5143499"/>
              <a:gd name="connsiteX1" fmla="*/ 3567703 w 3567703"/>
              <a:gd name="connsiteY1" fmla="*/ 5143499 h 5143499"/>
              <a:gd name="connsiteX2" fmla="*/ 3353602 w 3567703"/>
              <a:gd name="connsiteY2" fmla="*/ 3588742 h 5143499"/>
              <a:gd name="connsiteX3" fmla="*/ 0 w 3567703"/>
              <a:gd name="connsiteY3" fmla="*/ 0 h 5143499"/>
              <a:gd name="connsiteX4" fmla="*/ 1 w 3567703"/>
              <a:gd name="connsiteY4" fmla="*/ 1 h 5143499"/>
              <a:gd name="connsiteX5" fmla="*/ 1 w 3567703"/>
              <a:gd name="connsiteY5" fmla="*/ 2 h 5143499"/>
              <a:gd name="connsiteX6" fmla="*/ 2859409 w 3567703"/>
              <a:gd name="connsiteY6" fmla="*/ 2 h 5143499"/>
              <a:gd name="connsiteX7" fmla="*/ 3048001 w 3567703"/>
              <a:gd name="connsiteY7" fmla="*/ 2 h 5143499"/>
              <a:gd name="connsiteX8" fmla="*/ 3485903 w 3567703"/>
              <a:gd name="connsiteY8" fmla="*/ 2 h 5143499"/>
              <a:gd name="connsiteX9" fmla="*/ 3246552 w 3567703"/>
              <a:gd name="connsiteY9" fmla="*/ 2811363 h 5143499"/>
              <a:gd name="connsiteX10" fmla="*/ 3246552 w 3567703"/>
              <a:gd name="connsiteY10" fmla="*/ 2811363 h 5143499"/>
              <a:gd name="connsiteX11" fmla="*/ 3048001 w 3567703"/>
              <a:gd name="connsiteY11" fmla="*/ 5143499 h 5143499"/>
              <a:gd name="connsiteX12" fmla="*/ 0 w 3567703"/>
              <a:gd name="connsiteY12" fmla="*/ 5143499 h 5143499"/>
              <a:gd name="connsiteX13" fmla="*/ 0 w 3567703"/>
              <a:gd name="connsiteY13" fmla="*/ 0 h 5143499"/>
              <a:gd name="connsiteX0" fmla="*/ 0 w 3485903"/>
              <a:gd name="connsiteY0" fmla="*/ 0 h 5143499"/>
              <a:gd name="connsiteX1" fmla="*/ 1 w 3485903"/>
              <a:gd name="connsiteY1" fmla="*/ 1 h 5143499"/>
              <a:gd name="connsiteX2" fmla="*/ 1 w 3485903"/>
              <a:gd name="connsiteY2" fmla="*/ 2 h 5143499"/>
              <a:gd name="connsiteX3" fmla="*/ 2859409 w 3485903"/>
              <a:gd name="connsiteY3" fmla="*/ 2 h 5143499"/>
              <a:gd name="connsiteX4" fmla="*/ 3048001 w 3485903"/>
              <a:gd name="connsiteY4" fmla="*/ 2 h 5143499"/>
              <a:gd name="connsiteX5" fmla="*/ 3485903 w 3485903"/>
              <a:gd name="connsiteY5" fmla="*/ 2 h 5143499"/>
              <a:gd name="connsiteX6" fmla="*/ 3246552 w 3485903"/>
              <a:gd name="connsiteY6" fmla="*/ 2811363 h 5143499"/>
              <a:gd name="connsiteX7" fmla="*/ 3246552 w 3485903"/>
              <a:gd name="connsiteY7" fmla="*/ 2811363 h 5143499"/>
              <a:gd name="connsiteX8" fmla="*/ 3048001 w 3485903"/>
              <a:gd name="connsiteY8" fmla="*/ 5143499 h 5143499"/>
              <a:gd name="connsiteX9" fmla="*/ 0 w 3485903"/>
              <a:gd name="connsiteY9" fmla="*/ 5143499 h 5143499"/>
              <a:gd name="connsiteX10" fmla="*/ 0 w 3485903"/>
              <a:gd name="connsiteY10" fmla="*/ 0 h 5143499"/>
              <a:gd name="connsiteX0" fmla="*/ 0 w 3485903"/>
              <a:gd name="connsiteY0" fmla="*/ 0 h 5143499"/>
              <a:gd name="connsiteX1" fmla="*/ 1 w 3485903"/>
              <a:gd name="connsiteY1" fmla="*/ 1 h 5143499"/>
              <a:gd name="connsiteX2" fmla="*/ 1 w 3485903"/>
              <a:gd name="connsiteY2" fmla="*/ 2 h 5143499"/>
              <a:gd name="connsiteX3" fmla="*/ 2859409 w 3485903"/>
              <a:gd name="connsiteY3" fmla="*/ 2 h 5143499"/>
              <a:gd name="connsiteX4" fmla="*/ 3048001 w 3485903"/>
              <a:gd name="connsiteY4" fmla="*/ 2 h 5143499"/>
              <a:gd name="connsiteX5" fmla="*/ 3485903 w 3485903"/>
              <a:gd name="connsiteY5" fmla="*/ 2 h 5143499"/>
              <a:gd name="connsiteX6" fmla="*/ 3370997 w 3485903"/>
              <a:gd name="connsiteY6" fmla="*/ 1337481 h 5143499"/>
              <a:gd name="connsiteX7" fmla="*/ 3246552 w 3485903"/>
              <a:gd name="connsiteY7" fmla="*/ 2811363 h 5143499"/>
              <a:gd name="connsiteX8" fmla="*/ 3246552 w 3485903"/>
              <a:gd name="connsiteY8" fmla="*/ 2811363 h 5143499"/>
              <a:gd name="connsiteX9" fmla="*/ 3048001 w 3485903"/>
              <a:gd name="connsiteY9" fmla="*/ 5143499 h 5143499"/>
              <a:gd name="connsiteX10" fmla="*/ 0 w 3485903"/>
              <a:gd name="connsiteY10" fmla="*/ 5143499 h 5143499"/>
              <a:gd name="connsiteX11" fmla="*/ 0 w 3485903"/>
              <a:gd name="connsiteY11" fmla="*/ 0 h 5143499"/>
              <a:gd name="connsiteX0" fmla="*/ 6824 w 3492727"/>
              <a:gd name="connsiteY0" fmla="*/ 0 h 5143499"/>
              <a:gd name="connsiteX1" fmla="*/ 6825 w 3492727"/>
              <a:gd name="connsiteY1" fmla="*/ 1 h 5143499"/>
              <a:gd name="connsiteX2" fmla="*/ 6825 w 3492727"/>
              <a:gd name="connsiteY2" fmla="*/ 2 h 5143499"/>
              <a:gd name="connsiteX3" fmla="*/ 2866233 w 3492727"/>
              <a:gd name="connsiteY3" fmla="*/ 2 h 5143499"/>
              <a:gd name="connsiteX4" fmla="*/ 3054825 w 3492727"/>
              <a:gd name="connsiteY4" fmla="*/ 2 h 5143499"/>
              <a:gd name="connsiteX5" fmla="*/ 3492727 w 3492727"/>
              <a:gd name="connsiteY5" fmla="*/ 2 h 5143499"/>
              <a:gd name="connsiteX6" fmla="*/ 3377821 w 3492727"/>
              <a:gd name="connsiteY6" fmla="*/ 1337481 h 5143499"/>
              <a:gd name="connsiteX7" fmla="*/ 3253376 w 3492727"/>
              <a:gd name="connsiteY7" fmla="*/ 2811363 h 5143499"/>
              <a:gd name="connsiteX8" fmla="*/ 3253376 w 3492727"/>
              <a:gd name="connsiteY8" fmla="*/ 2811363 h 5143499"/>
              <a:gd name="connsiteX9" fmla="*/ 3054825 w 3492727"/>
              <a:gd name="connsiteY9" fmla="*/ 5143499 h 5143499"/>
              <a:gd name="connsiteX10" fmla="*/ 6824 w 3492727"/>
              <a:gd name="connsiteY10" fmla="*/ 5143499 h 5143499"/>
              <a:gd name="connsiteX11" fmla="*/ 0 w 3492727"/>
              <a:gd name="connsiteY11" fmla="*/ 2565779 h 5143499"/>
              <a:gd name="connsiteX12" fmla="*/ 6824 w 3492727"/>
              <a:gd name="connsiteY12" fmla="*/ 0 h 5143499"/>
              <a:gd name="connsiteX0" fmla="*/ 6824 w 3492727"/>
              <a:gd name="connsiteY0" fmla="*/ 0 h 5143499"/>
              <a:gd name="connsiteX1" fmla="*/ 6825 w 3492727"/>
              <a:gd name="connsiteY1" fmla="*/ 1 h 5143499"/>
              <a:gd name="connsiteX2" fmla="*/ 6825 w 3492727"/>
              <a:gd name="connsiteY2" fmla="*/ 2 h 5143499"/>
              <a:gd name="connsiteX3" fmla="*/ 2866233 w 3492727"/>
              <a:gd name="connsiteY3" fmla="*/ 2 h 5143499"/>
              <a:gd name="connsiteX4" fmla="*/ 3054825 w 3492727"/>
              <a:gd name="connsiteY4" fmla="*/ 2 h 5143499"/>
              <a:gd name="connsiteX5" fmla="*/ 3492727 w 3492727"/>
              <a:gd name="connsiteY5" fmla="*/ 2 h 5143499"/>
              <a:gd name="connsiteX6" fmla="*/ 3377821 w 3492727"/>
              <a:gd name="connsiteY6" fmla="*/ 1337481 h 5143499"/>
              <a:gd name="connsiteX7" fmla="*/ 3253376 w 3492727"/>
              <a:gd name="connsiteY7" fmla="*/ 2811363 h 5143499"/>
              <a:gd name="connsiteX8" fmla="*/ 3253376 w 3492727"/>
              <a:gd name="connsiteY8" fmla="*/ 2811363 h 5143499"/>
              <a:gd name="connsiteX9" fmla="*/ 3054825 w 3492727"/>
              <a:gd name="connsiteY9" fmla="*/ 5143499 h 5143499"/>
              <a:gd name="connsiteX10" fmla="*/ 0 w 3492727"/>
              <a:gd name="connsiteY10" fmla="*/ 2565779 h 5143499"/>
              <a:gd name="connsiteX11" fmla="*/ 6824 w 3492727"/>
              <a:gd name="connsiteY11" fmla="*/ 0 h 5143499"/>
              <a:gd name="connsiteX0" fmla="*/ 6824 w 3492727"/>
              <a:gd name="connsiteY0" fmla="*/ 0 h 2811363"/>
              <a:gd name="connsiteX1" fmla="*/ 6825 w 3492727"/>
              <a:gd name="connsiteY1" fmla="*/ 1 h 2811363"/>
              <a:gd name="connsiteX2" fmla="*/ 6825 w 3492727"/>
              <a:gd name="connsiteY2" fmla="*/ 2 h 2811363"/>
              <a:gd name="connsiteX3" fmla="*/ 2866233 w 3492727"/>
              <a:gd name="connsiteY3" fmla="*/ 2 h 2811363"/>
              <a:gd name="connsiteX4" fmla="*/ 3054825 w 3492727"/>
              <a:gd name="connsiteY4" fmla="*/ 2 h 2811363"/>
              <a:gd name="connsiteX5" fmla="*/ 3492727 w 3492727"/>
              <a:gd name="connsiteY5" fmla="*/ 2 h 2811363"/>
              <a:gd name="connsiteX6" fmla="*/ 3377821 w 3492727"/>
              <a:gd name="connsiteY6" fmla="*/ 1337481 h 2811363"/>
              <a:gd name="connsiteX7" fmla="*/ 3253376 w 3492727"/>
              <a:gd name="connsiteY7" fmla="*/ 2811363 h 2811363"/>
              <a:gd name="connsiteX8" fmla="*/ 3253376 w 3492727"/>
              <a:gd name="connsiteY8" fmla="*/ 2811363 h 2811363"/>
              <a:gd name="connsiteX9" fmla="*/ 0 w 3492727"/>
              <a:gd name="connsiteY9" fmla="*/ 2565779 h 2811363"/>
              <a:gd name="connsiteX10" fmla="*/ 6824 w 3492727"/>
              <a:gd name="connsiteY10" fmla="*/ 0 h 2811363"/>
              <a:gd name="connsiteX0" fmla="*/ 6824 w 3492727"/>
              <a:gd name="connsiteY0" fmla="*/ 0 h 2811363"/>
              <a:gd name="connsiteX1" fmla="*/ 6825 w 3492727"/>
              <a:gd name="connsiteY1" fmla="*/ 1 h 2811363"/>
              <a:gd name="connsiteX2" fmla="*/ 6825 w 3492727"/>
              <a:gd name="connsiteY2" fmla="*/ 2 h 2811363"/>
              <a:gd name="connsiteX3" fmla="*/ 2866233 w 3492727"/>
              <a:gd name="connsiteY3" fmla="*/ 2 h 2811363"/>
              <a:gd name="connsiteX4" fmla="*/ 3054825 w 3492727"/>
              <a:gd name="connsiteY4" fmla="*/ 2 h 2811363"/>
              <a:gd name="connsiteX5" fmla="*/ 3492727 w 3492727"/>
              <a:gd name="connsiteY5" fmla="*/ 2 h 2811363"/>
              <a:gd name="connsiteX6" fmla="*/ 3377821 w 3492727"/>
              <a:gd name="connsiteY6" fmla="*/ 1337481 h 2811363"/>
              <a:gd name="connsiteX7" fmla="*/ 3253376 w 3492727"/>
              <a:gd name="connsiteY7" fmla="*/ 2811363 h 2811363"/>
              <a:gd name="connsiteX8" fmla="*/ 0 w 3492727"/>
              <a:gd name="connsiteY8" fmla="*/ 2565779 h 2811363"/>
              <a:gd name="connsiteX9" fmla="*/ 6824 w 3492727"/>
              <a:gd name="connsiteY9" fmla="*/ 0 h 2811363"/>
              <a:gd name="connsiteX0" fmla="*/ 6824 w 3492727"/>
              <a:gd name="connsiteY0" fmla="*/ 0 h 2565779"/>
              <a:gd name="connsiteX1" fmla="*/ 6825 w 3492727"/>
              <a:gd name="connsiteY1" fmla="*/ 1 h 2565779"/>
              <a:gd name="connsiteX2" fmla="*/ 6825 w 3492727"/>
              <a:gd name="connsiteY2" fmla="*/ 2 h 2565779"/>
              <a:gd name="connsiteX3" fmla="*/ 2866233 w 3492727"/>
              <a:gd name="connsiteY3" fmla="*/ 2 h 2565779"/>
              <a:gd name="connsiteX4" fmla="*/ 3054825 w 3492727"/>
              <a:gd name="connsiteY4" fmla="*/ 2 h 2565779"/>
              <a:gd name="connsiteX5" fmla="*/ 3492727 w 3492727"/>
              <a:gd name="connsiteY5" fmla="*/ 2 h 2565779"/>
              <a:gd name="connsiteX6" fmla="*/ 3377821 w 3492727"/>
              <a:gd name="connsiteY6" fmla="*/ 1337481 h 2565779"/>
              <a:gd name="connsiteX7" fmla="*/ 0 w 3492727"/>
              <a:gd name="connsiteY7" fmla="*/ 2565779 h 2565779"/>
              <a:gd name="connsiteX8" fmla="*/ 6824 w 3492727"/>
              <a:gd name="connsiteY8" fmla="*/ 0 h 2565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92727" h="2565779">
                <a:moveTo>
                  <a:pt x="6824" y="0"/>
                </a:moveTo>
                <a:lnTo>
                  <a:pt x="6825" y="1"/>
                </a:lnTo>
                <a:lnTo>
                  <a:pt x="6825" y="2"/>
                </a:lnTo>
                <a:lnTo>
                  <a:pt x="2866233" y="2"/>
                </a:lnTo>
                <a:lnTo>
                  <a:pt x="3054825" y="2"/>
                </a:lnTo>
                <a:lnTo>
                  <a:pt x="3492727" y="2"/>
                </a:lnTo>
                <a:lnTo>
                  <a:pt x="3377821" y="1337481"/>
                </a:lnTo>
                <a:lnTo>
                  <a:pt x="0" y="2565779"/>
                </a:lnTo>
                <a:cubicBezTo>
                  <a:pt x="2275" y="1710519"/>
                  <a:pt x="4549" y="855260"/>
                  <a:pt x="6824" y="0"/>
                </a:cubicBezTo>
                <a:close/>
              </a:path>
            </a:pathLst>
          </a:custGeom>
          <a:solidFill>
            <a:schemeClr val="tx2">
              <a:alpha val="80000"/>
            </a:schemeClr>
          </a:solidFill>
        </p:spPr>
        <p:txBody>
          <a:bodyPr vert="horz" wrap="square" lIns="91440" tIns="45720" rIns="91440" bIns="45720" rtlCol="0">
            <a:noAutofit/>
          </a:bodyPr>
          <a:lstStyle>
            <a:lvl1pPr>
              <a:defRPr lang="fr-FR" sz="100" dirty="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28" name="Espace réservé du texte 527">
            <a:extLst>
              <a:ext uri="{FF2B5EF4-FFF2-40B4-BE49-F238E27FC236}">
                <a16:creationId xmlns:a16="http://schemas.microsoft.com/office/drawing/2014/main" id="{6A8E0876-8CB4-4156-A0C1-0BC7361D1C40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429470" y="1194381"/>
            <a:ext cx="108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29" name="Espace réservé du texte 528">
            <a:extLst>
              <a:ext uri="{FF2B5EF4-FFF2-40B4-BE49-F238E27FC236}">
                <a16:creationId xmlns:a16="http://schemas.microsoft.com/office/drawing/2014/main" id="{20C5F896-3CE3-44F8-B5B2-F667F9101641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1512561" y="1194381"/>
            <a:ext cx="108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rgbClr val="3A1B0B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31" name="Espace réservé du texte 530">
            <a:extLst>
              <a:ext uri="{FF2B5EF4-FFF2-40B4-BE49-F238E27FC236}">
                <a16:creationId xmlns:a16="http://schemas.microsoft.com/office/drawing/2014/main" id="{70ADA97F-36B2-42A5-9506-18C5EA9C6E0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3993" y="190831"/>
            <a:ext cx="2495932" cy="92235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3pPr>
            <a:lvl4pPr marL="0" indent="0">
              <a:buNone/>
              <a:defRPr sz="1000">
                <a:solidFill>
                  <a:schemeClr val="bg1"/>
                </a:solidFill>
              </a:defRPr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F07F141A-1265-42D2-9F40-A84C5A069F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48000" y="2811362"/>
            <a:ext cx="519702" cy="2332138"/>
          </a:xfrm>
          <a:custGeom>
            <a:avLst/>
            <a:gdLst>
              <a:gd name="connsiteX0" fmla="*/ 198551 w 519702"/>
              <a:gd name="connsiteY0" fmla="*/ 0 h 2332138"/>
              <a:gd name="connsiteX1" fmla="*/ 519702 w 519702"/>
              <a:gd name="connsiteY1" fmla="*/ 2332138 h 2332138"/>
              <a:gd name="connsiteX2" fmla="*/ 0 w 519702"/>
              <a:gd name="connsiteY2" fmla="*/ 2332138 h 2332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19702" h="2332138">
                <a:moveTo>
                  <a:pt x="198551" y="0"/>
                </a:moveTo>
                <a:lnTo>
                  <a:pt x="519702" y="2332138"/>
                </a:lnTo>
                <a:lnTo>
                  <a:pt x="0" y="233213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180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385956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filtre bleu + Conten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5" name="Espace réservé pour une image  524">
            <a:extLst>
              <a:ext uri="{FF2B5EF4-FFF2-40B4-BE49-F238E27FC236}">
                <a16:creationId xmlns:a16="http://schemas.microsoft.com/office/drawing/2014/main" id="{98410260-974C-4913-B9B1-FBF4231643C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2"/>
            <a:ext cx="3567702" cy="5143499"/>
          </a:xfrm>
          <a:custGeom>
            <a:avLst/>
            <a:gdLst>
              <a:gd name="connsiteX0" fmla="*/ 0 w 3567702"/>
              <a:gd name="connsiteY0" fmla="*/ 0 h 5143499"/>
              <a:gd name="connsiteX1" fmla="*/ 2859408 w 3567702"/>
              <a:gd name="connsiteY1" fmla="*/ 0 h 5143499"/>
              <a:gd name="connsiteX2" fmla="*/ 3048000 w 3567702"/>
              <a:gd name="connsiteY2" fmla="*/ 0 h 5143499"/>
              <a:gd name="connsiteX3" fmla="*/ 3485902 w 3567702"/>
              <a:gd name="connsiteY3" fmla="*/ 0 h 5143499"/>
              <a:gd name="connsiteX4" fmla="*/ 3246551 w 3567702"/>
              <a:gd name="connsiteY4" fmla="*/ 2811361 h 5143499"/>
              <a:gd name="connsiteX5" fmla="*/ 3246551 w 3567702"/>
              <a:gd name="connsiteY5" fmla="*/ 2811360 h 5143499"/>
              <a:gd name="connsiteX6" fmla="*/ 3048000 w 3567702"/>
              <a:gd name="connsiteY6" fmla="*/ 5143498 h 5143499"/>
              <a:gd name="connsiteX7" fmla="*/ 3567702 w 3567702"/>
              <a:gd name="connsiteY7" fmla="*/ 5143498 h 5143499"/>
              <a:gd name="connsiteX8" fmla="*/ 3567702 w 3567702"/>
              <a:gd name="connsiteY8" fmla="*/ 5143499 h 5143499"/>
              <a:gd name="connsiteX9" fmla="*/ 0 w 3567702"/>
              <a:gd name="connsiteY9" fmla="*/ 5143499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67702" h="5143499">
                <a:moveTo>
                  <a:pt x="0" y="0"/>
                </a:moveTo>
                <a:lnTo>
                  <a:pt x="2859408" y="0"/>
                </a:lnTo>
                <a:lnTo>
                  <a:pt x="3048000" y="0"/>
                </a:lnTo>
                <a:lnTo>
                  <a:pt x="3485902" y="0"/>
                </a:lnTo>
                <a:lnTo>
                  <a:pt x="3246551" y="2811361"/>
                </a:lnTo>
                <a:lnTo>
                  <a:pt x="3246551" y="2811360"/>
                </a:lnTo>
                <a:lnTo>
                  <a:pt x="3048000" y="5143498"/>
                </a:lnTo>
                <a:lnTo>
                  <a:pt x="3567702" y="5143498"/>
                </a:lnTo>
                <a:lnTo>
                  <a:pt x="3567702" y="5143499"/>
                </a:lnTo>
                <a:lnTo>
                  <a:pt x="0" y="5143499"/>
                </a:ln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Cliquez sur l’icône</a:t>
            </a:r>
            <a:br>
              <a:rPr lang="fr-FR" dirty="0"/>
            </a:br>
            <a:r>
              <a:rPr lang="fr-FR" dirty="0"/>
              <a:t>pour ajouter une image</a:t>
            </a:r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5CE4A1F0-610C-4E30-853B-8F3E7CCABABE}"/>
              </a:ext>
            </a:extLst>
          </p:cNvPr>
          <p:cNvSpPr/>
          <p:nvPr userDrawn="1"/>
        </p:nvSpPr>
        <p:spPr>
          <a:xfrm>
            <a:off x="3246551" y="-3"/>
            <a:ext cx="5897449" cy="5143501"/>
          </a:xfrm>
          <a:custGeom>
            <a:avLst/>
            <a:gdLst>
              <a:gd name="connsiteX0" fmla="*/ 675524 w 5897449"/>
              <a:gd name="connsiteY0" fmla="*/ 1246049 h 5143501"/>
              <a:gd name="connsiteX1" fmla="*/ 675524 w 5897449"/>
              <a:gd name="connsiteY1" fmla="*/ 1291768 h 5143501"/>
              <a:gd name="connsiteX2" fmla="*/ 1035524 w 5897449"/>
              <a:gd name="connsiteY2" fmla="*/ 1291768 h 5143501"/>
              <a:gd name="connsiteX3" fmla="*/ 1035524 w 5897449"/>
              <a:gd name="connsiteY3" fmla="*/ 1246049 h 5143501"/>
              <a:gd name="connsiteX4" fmla="*/ 5897449 w 5897449"/>
              <a:gd name="connsiteY4" fmla="*/ 0 h 5143501"/>
              <a:gd name="connsiteX5" fmla="*/ 5897449 w 5897449"/>
              <a:gd name="connsiteY5" fmla="*/ 5143501 h 5143501"/>
              <a:gd name="connsiteX6" fmla="*/ 321151 w 5897449"/>
              <a:gd name="connsiteY6" fmla="*/ 5143501 h 5143501"/>
              <a:gd name="connsiteX7" fmla="*/ 0 w 5897449"/>
              <a:gd name="connsiteY7" fmla="*/ 2811363 h 5143501"/>
              <a:gd name="connsiteX8" fmla="*/ 239351 w 5897449"/>
              <a:gd name="connsiteY8" fmla="*/ 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97449" h="5143501">
                <a:moveTo>
                  <a:pt x="675524" y="1246049"/>
                </a:moveTo>
                <a:lnTo>
                  <a:pt x="675524" y="1291768"/>
                </a:lnTo>
                <a:lnTo>
                  <a:pt x="1035524" y="1291768"/>
                </a:lnTo>
                <a:lnTo>
                  <a:pt x="1035524" y="1246049"/>
                </a:lnTo>
                <a:close/>
                <a:moveTo>
                  <a:pt x="5897449" y="0"/>
                </a:moveTo>
                <a:lnTo>
                  <a:pt x="5897449" y="5143501"/>
                </a:lnTo>
                <a:lnTo>
                  <a:pt x="321151" y="5143501"/>
                </a:lnTo>
                <a:lnTo>
                  <a:pt x="0" y="2811363"/>
                </a:lnTo>
                <a:lnTo>
                  <a:pt x="239351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534" name="Espace réservé du texte 533">
            <a:extLst>
              <a:ext uri="{FF2B5EF4-FFF2-40B4-BE49-F238E27FC236}">
                <a16:creationId xmlns:a16="http://schemas.microsoft.com/office/drawing/2014/main" id="{6A4C2977-D550-4471-9F3E-815F6F49158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11668" y="1733384"/>
            <a:ext cx="5068800" cy="2902897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300"/>
              </a:spcBef>
              <a:spcAft>
                <a:spcPts val="1000"/>
              </a:spcAft>
              <a:buNone/>
              <a:defRPr sz="1400">
                <a:solidFill>
                  <a:schemeClr val="tx1"/>
                </a:solidFill>
              </a:defRPr>
            </a:lvl2pPr>
            <a:lvl3pPr marL="270000" indent="-270000" algn="l" defTabSz="457200" rtl="0" eaLnBrk="1" latinLnBrk="0" hangingPunct="1">
              <a:spcBef>
                <a:spcPts val="400"/>
              </a:spcBef>
              <a:spcAft>
                <a:spcPts val="1000"/>
              </a:spcAft>
              <a:buSzPct val="100000"/>
              <a:buFontTx/>
              <a:buBlip>
                <a:blip r:embed="rId2"/>
              </a:buBlip>
              <a:defRPr lang="fr-FR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0000" indent="-269875">
              <a:spcBef>
                <a:spcPts val="400"/>
              </a:spcBef>
              <a:spcAft>
                <a:spcPts val="1000"/>
              </a:spcAft>
              <a:buFontTx/>
              <a:buBlip>
                <a:blip r:embed="rId3"/>
              </a:buBlip>
              <a:defRPr sz="1400" b="1">
                <a:solidFill>
                  <a:schemeClr val="tx1"/>
                </a:solidFill>
              </a:defRPr>
            </a:lvl4pPr>
            <a:lvl5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4"/>
              </a:buBlip>
              <a:defRPr sz="1400" b="1">
                <a:solidFill>
                  <a:schemeClr val="tx1"/>
                </a:solidFill>
              </a:defRPr>
            </a:lvl5pPr>
            <a:lvl6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5"/>
              </a:buBlip>
              <a:defRPr sz="1400" b="1">
                <a:solidFill>
                  <a:schemeClr val="tx1"/>
                </a:solidFill>
              </a:defRPr>
            </a:lvl6pPr>
            <a:lvl7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6"/>
              </a:buBlip>
              <a:defRPr sz="1400" b="1">
                <a:solidFill>
                  <a:schemeClr val="tx1"/>
                </a:solidFill>
              </a:defRPr>
            </a:lvl7pPr>
            <a:lvl8pPr marL="270000" indent="-270000">
              <a:spcBef>
                <a:spcPts val="400"/>
              </a:spcBef>
              <a:spcAft>
                <a:spcPts val="1000"/>
              </a:spcAft>
              <a:buFontTx/>
              <a:buBlip>
                <a:blip r:embed="rId7"/>
              </a:buBlip>
              <a:defRPr sz="1400" b="1">
                <a:solidFill>
                  <a:schemeClr val="tx1"/>
                </a:solidFill>
              </a:defRPr>
            </a:lvl8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Puce bleu</a:t>
            </a:r>
          </a:p>
          <a:p>
            <a:pPr lvl="3"/>
            <a:r>
              <a:rPr lang="fr-FR" dirty="0"/>
              <a:t>Puce orange</a:t>
            </a:r>
          </a:p>
          <a:p>
            <a:pPr lvl="4"/>
            <a:r>
              <a:rPr lang="fr-FR" dirty="0"/>
              <a:t>Puce rouge</a:t>
            </a:r>
          </a:p>
          <a:p>
            <a:pPr lvl="5"/>
            <a:r>
              <a:rPr lang="fr-FR" dirty="0"/>
              <a:t>Puce vert d’eau</a:t>
            </a:r>
          </a:p>
          <a:p>
            <a:pPr lvl="6"/>
            <a:r>
              <a:rPr lang="fr-FR" dirty="0"/>
              <a:t>Puce verte</a:t>
            </a:r>
          </a:p>
          <a:p>
            <a:pPr lvl="7"/>
            <a:r>
              <a:rPr lang="fr-FR" dirty="0"/>
              <a:t>Puce violette</a:t>
            </a:r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B2156BC2-FC71-4D1F-B37F-36F71AB7D57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129050" y="0"/>
            <a:ext cx="1356852" cy="5143500"/>
          </a:xfrm>
          <a:custGeom>
            <a:avLst/>
            <a:gdLst>
              <a:gd name="connsiteX0" fmla="*/ 0 w 1508264"/>
              <a:gd name="connsiteY0" fmla="*/ 0 h 5125258"/>
              <a:gd name="connsiteX1" fmla="*/ 1508264 w 1508264"/>
              <a:gd name="connsiteY1" fmla="*/ 5160 h 5125258"/>
              <a:gd name="connsiteX2" fmla="*/ 1268913 w 1508264"/>
              <a:gd name="connsiteY2" fmla="*/ 2816519 h 5125258"/>
              <a:gd name="connsiteX3" fmla="*/ 1072354 w 1508264"/>
              <a:gd name="connsiteY3" fmla="*/ 5125258 h 5125258"/>
              <a:gd name="connsiteX4" fmla="*/ 151412 w 1508264"/>
              <a:gd name="connsiteY4" fmla="*/ 5157 h 5125258"/>
              <a:gd name="connsiteX0" fmla="*/ 0 w 1356852"/>
              <a:gd name="connsiteY0" fmla="*/ 0 h 5120101"/>
              <a:gd name="connsiteX1" fmla="*/ 1356852 w 1356852"/>
              <a:gd name="connsiteY1" fmla="*/ 3 h 5120101"/>
              <a:gd name="connsiteX2" fmla="*/ 1117501 w 1356852"/>
              <a:gd name="connsiteY2" fmla="*/ 2811362 h 5120101"/>
              <a:gd name="connsiteX3" fmla="*/ 920942 w 1356852"/>
              <a:gd name="connsiteY3" fmla="*/ 5120101 h 5120101"/>
              <a:gd name="connsiteX4" fmla="*/ 0 w 1356852"/>
              <a:gd name="connsiteY4" fmla="*/ 0 h 5120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56852" h="5120101">
                <a:moveTo>
                  <a:pt x="0" y="0"/>
                </a:moveTo>
                <a:lnTo>
                  <a:pt x="1356852" y="3"/>
                </a:lnTo>
                <a:lnTo>
                  <a:pt x="1117501" y="2811362"/>
                </a:lnTo>
                <a:lnTo>
                  <a:pt x="920942" y="5120101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alpha val="8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11" name="Titre 1">
            <a:extLst>
              <a:ext uri="{FF2B5EF4-FFF2-40B4-BE49-F238E27FC236}">
                <a16:creationId xmlns:a16="http://schemas.microsoft.com/office/drawing/2014/main" id="{77D3BAD7-91CA-45C1-8644-7B0FCB1D2E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1669" y="349390"/>
            <a:ext cx="5068800" cy="757130"/>
          </a:xfrm>
        </p:spPr>
        <p:txBody>
          <a:bodyPr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Titre de la slide</a:t>
            </a:r>
            <a:br>
              <a:rPr lang="fr-FR" dirty="0"/>
            </a:br>
            <a:r>
              <a:rPr lang="fr-FR" dirty="0"/>
              <a:t>sur deux lign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0E9C47C-828D-42F4-8D18-0AAD2F9715E8}"/>
              </a:ext>
            </a:extLst>
          </p:cNvPr>
          <p:cNvSpPr/>
          <p:nvPr userDrawn="1"/>
        </p:nvSpPr>
        <p:spPr>
          <a:xfrm>
            <a:off x="4281011" y="1246048"/>
            <a:ext cx="360000" cy="45719"/>
          </a:xfrm>
          <a:prstGeom prst="rect">
            <a:avLst/>
          </a:prstGeom>
          <a:solidFill>
            <a:srgbClr val="3A1B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71FB6C94-4C94-44CD-8E09-7270E29D7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48000" y="2811362"/>
            <a:ext cx="519702" cy="2332138"/>
          </a:xfrm>
          <a:custGeom>
            <a:avLst/>
            <a:gdLst>
              <a:gd name="connsiteX0" fmla="*/ 198551 w 519702"/>
              <a:gd name="connsiteY0" fmla="*/ 0 h 2332138"/>
              <a:gd name="connsiteX1" fmla="*/ 519702 w 519702"/>
              <a:gd name="connsiteY1" fmla="*/ 2332138 h 2332138"/>
              <a:gd name="connsiteX2" fmla="*/ 0 w 519702"/>
              <a:gd name="connsiteY2" fmla="*/ 2332138 h 2332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19702" h="2332138">
                <a:moveTo>
                  <a:pt x="198551" y="0"/>
                </a:moveTo>
                <a:lnTo>
                  <a:pt x="519702" y="2332138"/>
                </a:lnTo>
                <a:lnTo>
                  <a:pt x="0" y="233213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180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60560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1" name="Espace réservé pour une image  520">
            <a:extLst>
              <a:ext uri="{FF2B5EF4-FFF2-40B4-BE49-F238E27FC236}">
                <a16:creationId xmlns:a16="http://schemas.microsoft.com/office/drawing/2014/main" id="{B8DAB854-64EB-4DD7-A364-5485ED453A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246551" y="-1"/>
            <a:ext cx="5897449" cy="5143501"/>
          </a:xfrm>
          <a:custGeom>
            <a:avLst/>
            <a:gdLst>
              <a:gd name="connsiteX0" fmla="*/ 0 w 6088062"/>
              <a:gd name="connsiteY0" fmla="*/ 0 h 5143501"/>
              <a:gd name="connsiteX1" fmla="*/ 6088062 w 6088062"/>
              <a:gd name="connsiteY1" fmla="*/ 0 h 5143501"/>
              <a:gd name="connsiteX2" fmla="*/ 6088062 w 6088062"/>
              <a:gd name="connsiteY2" fmla="*/ 5143501 h 5143501"/>
              <a:gd name="connsiteX3" fmla="*/ 511764 w 6088062"/>
              <a:gd name="connsiteY3" fmla="*/ 5143501 h 5143501"/>
              <a:gd name="connsiteX4" fmla="*/ 190613 w 6088062"/>
              <a:gd name="connsiteY4" fmla="*/ 2811363 h 5143501"/>
              <a:gd name="connsiteX5" fmla="*/ 429964 w 6088062"/>
              <a:gd name="connsiteY5" fmla="*/ 1 h 5143501"/>
              <a:gd name="connsiteX6" fmla="*/ 0 w 6088062"/>
              <a:gd name="connsiteY6" fmla="*/ 1 h 5143501"/>
              <a:gd name="connsiteX0" fmla="*/ 0 w 6088062"/>
              <a:gd name="connsiteY0" fmla="*/ 1 h 5143501"/>
              <a:gd name="connsiteX1" fmla="*/ 6088062 w 6088062"/>
              <a:gd name="connsiteY1" fmla="*/ 0 h 5143501"/>
              <a:gd name="connsiteX2" fmla="*/ 6088062 w 6088062"/>
              <a:gd name="connsiteY2" fmla="*/ 5143501 h 5143501"/>
              <a:gd name="connsiteX3" fmla="*/ 511764 w 6088062"/>
              <a:gd name="connsiteY3" fmla="*/ 5143501 h 5143501"/>
              <a:gd name="connsiteX4" fmla="*/ 190613 w 6088062"/>
              <a:gd name="connsiteY4" fmla="*/ 2811363 h 5143501"/>
              <a:gd name="connsiteX5" fmla="*/ 429964 w 6088062"/>
              <a:gd name="connsiteY5" fmla="*/ 1 h 5143501"/>
              <a:gd name="connsiteX6" fmla="*/ 0 w 6088062"/>
              <a:gd name="connsiteY6" fmla="*/ 1 h 5143501"/>
              <a:gd name="connsiteX0" fmla="*/ 239351 w 5897449"/>
              <a:gd name="connsiteY0" fmla="*/ 1 h 5143501"/>
              <a:gd name="connsiteX1" fmla="*/ 5897449 w 5897449"/>
              <a:gd name="connsiteY1" fmla="*/ 0 h 5143501"/>
              <a:gd name="connsiteX2" fmla="*/ 5897449 w 5897449"/>
              <a:gd name="connsiteY2" fmla="*/ 5143501 h 5143501"/>
              <a:gd name="connsiteX3" fmla="*/ 321151 w 5897449"/>
              <a:gd name="connsiteY3" fmla="*/ 5143501 h 5143501"/>
              <a:gd name="connsiteX4" fmla="*/ 0 w 5897449"/>
              <a:gd name="connsiteY4" fmla="*/ 2811363 h 5143501"/>
              <a:gd name="connsiteX5" fmla="*/ 239351 w 5897449"/>
              <a:gd name="connsiteY5" fmla="*/ 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97449" h="5143501">
                <a:moveTo>
                  <a:pt x="239351" y="1"/>
                </a:moveTo>
                <a:lnTo>
                  <a:pt x="5897449" y="0"/>
                </a:lnTo>
                <a:lnTo>
                  <a:pt x="5897449" y="5143501"/>
                </a:lnTo>
                <a:lnTo>
                  <a:pt x="321151" y="5143501"/>
                </a:lnTo>
                <a:lnTo>
                  <a:pt x="0" y="2811363"/>
                </a:lnTo>
                <a:lnTo>
                  <a:pt x="239351" y="1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6CB10B59-8983-482C-BCD8-596396CF9E36}"/>
              </a:ext>
            </a:extLst>
          </p:cNvPr>
          <p:cNvGrpSpPr/>
          <p:nvPr userDrawn="1"/>
        </p:nvGrpSpPr>
        <p:grpSpPr>
          <a:xfrm>
            <a:off x="-91485" y="-107301"/>
            <a:ext cx="3580993" cy="5352842"/>
            <a:chOff x="-91485" y="-107301"/>
            <a:chExt cx="3580993" cy="5352842"/>
          </a:xfrm>
          <a:solidFill>
            <a:schemeClr val="bg2">
              <a:alpha val="5000"/>
            </a:schemeClr>
          </a:solidFill>
        </p:grpSpPr>
        <p:sp>
          <p:nvSpPr>
            <p:cNvPr id="7" name="Forme libre : forme 6">
              <a:extLst>
                <a:ext uri="{FF2B5EF4-FFF2-40B4-BE49-F238E27FC236}">
                  <a16:creationId xmlns:a16="http://schemas.microsoft.com/office/drawing/2014/main" id="{FB10E9E7-487F-4046-97FA-383A90CB2678}"/>
                </a:ext>
              </a:extLst>
            </p:cNvPr>
            <p:cNvSpPr/>
            <p:nvPr/>
          </p:nvSpPr>
          <p:spPr>
            <a:xfrm rot="8716295">
              <a:off x="3051469" y="229467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857E0B3E-CF84-4275-8769-4FA84ACE4C3B}"/>
                </a:ext>
              </a:extLst>
            </p:cNvPr>
            <p:cNvSpPr/>
            <p:nvPr/>
          </p:nvSpPr>
          <p:spPr>
            <a:xfrm rot="8716295">
              <a:off x="3141426" y="2335684"/>
              <a:ext cx="209149" cy="247728"/>
            </a:xfrm>
            <a:custGeom>
              <a:avLst/>
              <a:gdLst>
                <a:gd name="connsiteX0" fmla="*/ 147179 w 209149"/>
                <a:gd name="connsiteY0" fmla="*/ 90980 h 247728"/>
                <a:gd name="connsiteX1" fmla="*/ 147179 w 209149"/>
                <a:gd name="connsiteY1" fmla="*/ 74577 h 247728"/>
                <a:gd name="connsiteX2" fmla="*/ 137667 w 209149"/>
                <a:gd name="connsiteY2" fmla="*/ 44616 h 247728"/>
                <a:gd name="connsiteX3" fmla="*/ 132652 w 209149"/>
                <a:gd name="connsiteY3" fmla="*/ 42232 h 247728"/>
                <a:gd name="connsiteX4" fmla="*/ 167583 w 209149"/>
                <a:gd name="connsiteY4" fmla="*/ 0 h 247728"/>
                <a:gd name="connsiteX5" fmla="*/ 189157 w 209149"/>
                <a:gd name="connsiteY5" fmla="*/ 15682 h 247728"/>
                <a:gd name="connsiteX6" fmla="*/ 209149 w 209149"/>
                <a:gd name="connsiteY6" fmla="*/ 81411 h 247728"/>
                <a:gd name="connsiteX7" fmla="*/ 209149 w 209149"/>
                <a:gd name="connsiteY7" fmla="*/ 87335 h 247728"/>
                <a:gd name="connsiteX8" fmla="*/ 0 w 209149"/>
                <a:gd name="connsiteY8" fmla="*/ 247728 h 247728"/>
                <a:gd name="connsiteX9" fmla="*/ 0 w 209149"/>
                <a:gd name="connsiteY9" fmla="*/ 202611 h 247728"/>
                <a:gd name="connsiteX10" fmla="*/ 60148 w 209149"/>
                <a:gd name="connsiteY10" fmla="*/ 129891 h 247728"/>
                <a:gd name="connsiteX11" fmla="*/ 60148 w 209149"/>
                <a:gd name="connsiteY11" fmla="*/ 206719 h 24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9149" h="247728">
                  <a:moveTo>
                    <a:pt x="147179" y="90980"/>
                  </a:moveTo>
                  <a:lnTo>
                    <a:pt x="147179" y="74577"/>
                  </a:lnTo>
                  <a:cubicBezTo>
                    <a:pt x="147179" y="62273"/>
                    <a:pt x="143648" y="51907"/>
                    <a:pt x="137667" y="44616"/>
                  </a:cubicBezTo>
                  <a:lnTo>
                    <a:pt x="132652" y="42232"/>
                  </a:lnTo>
                  <a:lnTo>
                    <a:pt x="167583" y="0"/>
                  </a:lnTo>
                  <a:lnTo>
                    <a:pt x="189157" y="15682"/>
                  </a:lnTo>
                  <a:cubicBezTo>
                    <a:pt x="202086" y="30833"/>
                    <a:pt x="209149" y="53160"/>
                    <a:pt x="209149" y="81411"/>
                  </a:cubicBezTo>
                  <a:lnTo>
                    <a:pt x="209149" y="87335"/>
                  </a:lnTo>
                  <a:close/>
                  <a:moveTo>
                    <a:pt x="0" y="247728"/>
                  </a:moveTo>
                  <a:lnTo>
                    <a:pt x="0" y="202611"/>
                  </a:lnTo>
                  <a:lnTo>
                    <a:pt x="60148" y="129891"/>
                  </a:lnTo>
                  <a:lnTo>
                    <a:pt x="60148" y="20671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CA2EC427-A3CB-46EB-8802-9FA3F8105B5A}"/>
                </a:ext>
              </a:extLst>
            </p:cNvPr>
            <p:cNvSpPr/>
            <p:nvPr/>
          </p:nvSpPr>
          <p:spPr>
            <a:xfrm rot="8716295">
              <a:off x="3096011" y="2237639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474F4DDA-4FC2-4669-AB5F-02BB5506B529}"/>
                </a:ext>
              </a:extLst>
            </p:cNvPr>
            <p:cNvSpPr/>
            <p:nvPr/>
          </p:nvSpPr>
          <p:spPr>
            <a:xfrm rot="8716295">
              <a:off x="2939235" y="238322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D8FF9A2A-12F4-4D4A-838C-2EA6068FA2AB}"/>
                </a:ext>
              </a:extLst>
            </p:cNvPr>
            <p:cNvSpPr/>
            <p:nvPr/>
          </p:nvSpPr>
          <p:spPr>
            <a:xfrm rot="8716295">
              <a:off x="2814332" y="217454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56247F38-2BB4-4C4A-A842-2BBC34C00B4B}"/>
                </a:ext>
              </a:extLst>
            </p:cNvPr>
            <p:cNvSpPr/>
            <p:nvPr/>
          </p:nvSpPr>
          <p:spPr>
            <a:xfrm rot="8716295">
              <a:off x="2802280" y="203576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6B40DCDD-1ED3-48EB-9DB0-DEE21DA8FE29}"/>
                </a:ext>
              </a:extLst>
            </p:cNvPr>
            <p:cNvSpPr/>
            <p:nvPr/>
          </p:nvSpPr>
          <p:spPr>
            <a:xfrm rot="8716295">
              <a:off x="3029413" y="2424173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EEC2D8FD-062C-4F42-B8C0-F129DEB5F20C}"/>
                </a:ext>
              </a:extLst>
            </p:cNvPr>
            <p:cNvSpPr/>
            <p:nvPr/>
          </p:nvSpPr>
          <p:spPr>
            <a:xfrm rot="8716295">
              <a:off x="3300250" y="2118999"/>
              <a:ext cx="9515" cy="11504"/>
            </a:xfrm>
            <a:custGeom>
              <a:avLst/>
              <a:gdLst>
                <a:gd name="connsiteX0" fmla="*/ 0 w 9515"/>
                <a:gd name="connsiteY0" fmla="*/ 11504 h 11504"/>
                <a:gd name="connsiteX1" fmla="*/ 9515 w 9515"/>
                <a:gd name="connsiteY1" fmla="*/ 0 h 11504"/>
                <a:gd name="connsiteX2" fmla="*/ 9515 w 9515"/>
                <a:gd name="connsiteY2" fmla="*/ 7741 h 11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15" h="11504">
                  <a:moveTo>
                    <a:pt x="0" y="11504"/>
                  </a:moveTo>
                  <a:lnTo>
                    <a:pt x="9515" y="0"/>
                  </a:lnTo>
                  <a:lnTo>
                    <a:pt x="9515" y="77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15A33F8C-9B7A-4D6A-854E-3D326335591D}"/>
                </a:ext>
              </a:extLst>
            </p:cNvPr>
            <p:cNvSpPr/>
            <p:nvPr/>
          </p:nvSpPr>
          <p:spPr>
            <a:xfrm rot="8716295">
              <a:off x="3228334" y="213306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949EEDA1-3E93-4DFB-8B0F-8D57B83C540E}"/>
                </a:ext>
              </a:extLst>
            </p:cNvPr>
            <p:cNvSpPr/>
            <p:nvPr/>
          </p:nvSpPr>
          <p:spPr>
            <a:xfrm rot="8716295">
              <a:off x="3098921" y="1924310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44680 h 195874"/>
                <a:gd name="connsiteX5" fmla="*/ 36955 w 203847"/>
                <a:gd name="connsiteY5" fmla="*/ 0 h 195874"/>
                <a:gd name="connsiteX6" fmla="*/ 203847 w 203847"/>
                <a:gd name="connsiteY6" fmla="*/ 0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44680"/>
                  </a:lnTo>
                  <a:lnTo>
                    <a:pt x="36955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513E3AB2-D8F3-4D40-BC3C-53ABB60A2331}"/>
                </a:ext>
              </a:extLst>
            </p:cNvPr>
            <p:cNvSpPr/>
            <p:nvPr/>
          </p:nvSpPr>
          <p:spPr>
            <a:xfrm rot="8716295">
              <a:off x="3275349" y="2211673"/>
              <a:ext cx="24727" cy="53686"/>
            </a:xfrm>
            <a:custGeom>
              <a:avLst/>
              <a:gdLst>
                <a:gd name="connsiteX0" fmla="*/ 24727 w 24727"/>
                <a:gd name="connsiteY0" fmla="*/ 53686 h 53686"/>
                <a:gd name="connsiteX1" fmla="*/ 0 w 24727"/>
                <a:gd name="connsiteY1" fmla="*/ 29895 h 53686"/>
                <a:gd name="connsiteX2" fmla="*/ 24727 w 24727"/>
                <a:gd name="connsiteY2" fmla="*/ 0 h 53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27" h="53686">
                  <a:moveTo>
                    <a:pt x="24727" y="53686"/>
                  </a:moveTo>
                  <a:lnTo>
                    <a:pt x="0" y="29895"/>
                  </a:lnTo>
                  <a:lnTo>
                    <a:pt x="2472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69A3C0F4-2579-479E-90C6-255E973C947C}"/>
                </a:ext>
              </a:extLst>
            </p:cNvPr>
            <p:cNvSpPr/>
            <p:nvPr/>
          </p:nvSpPr>
          <p:spPr>
            <a:xfrm rot="8716295">
              <a:off x="3077061" y="202442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9022B708-F9CE-40AF-852D-9A004CAB7675}"/>
                </a:ext>
              </a:extLst>
            </p:cNvPr>
            <p:cNvSpPr/>
            <p:nvPr/>
          </p:nvSpPr>
          <p:spPr>
            <a:xfrm rot="8716295">
              <a:off x="3162402" y="30429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19F4F78B-5673-4710-BAF3-3B1975D1B861}"/>
                </a:ext>
              </a:extLst>
            </p:cNvPr>
            <p:cNvSpPr/>
            <p:nvPr/>
          </p:nvSpPr>
          <p:spPr>
            <a:xfrm rot="8716295">
              <a:off x="3033531" y="2835902"/>
              <a:ext cx="197743" cy="195873"/>
            </a:xfrm>
            <a:custGeom>
              <a:avLst/>
              <a:gdLst>
                <a:gd name="connsiteX0" fmla="*/ 84606 w 197743"/>
                <a:gd name="connsiteY0" fmla="*/ 195873 h 195873"/>
                <a:gd name="connsiteX1" fmla="*/ 41743 w 197743"/>
                <a:gd name="connsiteY1" fmla="*/ 116129 h 195873"/>
                <a:gd name="connsiteX2" fmla="*/ 63673 w 197743"/>
                <a:gd name="connsiteY2" fmla="*/ 55323 h 195873"/>
                <a:gd name="connsiteX3" fmla="*/ 0 w 197743"/>
                <a:gd name="connsiteY3" fmla="*/ 55323 h 195873"/>
                <a:gd name="connsiteX4" fmla="*/ 45759 w 197743"/>
                <a:gd name="connsiteY4" fmla="*/ 0 h 195873"/>
                <a:gd name="connsiteX5" fmla="*/ 197743 w 197743"/>
                <a:gd name="connsiteY5" fmla="*/ 0 h 195873"/>
                <a:gd name="connsiteX6" fmla="*/ 197743 w 197743"/>
                <a:gd name="connsiteY6" fmla="*/ 55323 h 195873"/>
                <a:gd name="connsiteX7" fmla="*/ 132951 w 197743"/>
                <a:gd name="connsiteY7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7743" h="195873">
                  <a:moveTo>
                    <a:pt x="84606" y="195873"/>
                  </a:moveTo>
                  <a:lnTo>
                    <a:pt x="41743" y="116129"/>
                  </a:lnTo>
                  <a:lnTo>
                    <a:pt x="63673" y="55323"/>
                  </a:lnTo>
                  <a:lnTo>
                    <a:pt x="0" y="55323"/>
                  </a:lnTo>
                  <a:lnTo>
                    <a:pt x="45759" y="0"/>
                  </a:lnTo>
                  <a:lnTo>
                    <a:pt x="197743" y="0"/>
                  </a:lnTo>
                  <a:lnTo>
                    <a:pt x="197743" y="55323"/>
                  </a:lnTo>
                  <a:lnTo>
                    <a:pt x="132951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0BB66207-2F6B-4469-9703-071564C7D57B}"/>
                </a:ext>
              </a:extLst>
            </p:cNvPr>
            <p:cNvSpPr/>
            <p:nvPr/>
          </p:nvSpPr>
          <p:spPr>
            <a:xfrm rot="8716295">
              <a:off x="2982649" y="2705505"/>
              <a:ext cx="289489" cy="211444"/>
            </a:xfrm>
            <a:custGeom>
              <a:avLst/>
              <a:gdLst>
                <a:gd name="connsiteX0" fmla="*/ 24145 w 289489"/>
                <a:gd name="connsiteY0" fmla="*/ 181853 h 211444"/>
                <a:gd name="connsiteX1" fmla="*/ 3994 w 289489"/>
                <a:gd name="connsiteY1" fmla="*/ 142066 h 211444"/>
                <a:gd name="connsiteX2" fmla="*/ 0 w 289489"/>
                <a:gd name="connsiteY2" fmla="*/ 94419 h 211444"/>
                <a:gd name="connsiteX3" fmla="*/ 78096 w 289489"/>
                <a:gd name="connsiteY3" fmla="*/ 0 h 211444"/>
                <a:gd name="connsiteX4" fmla="*/ 78273 w 289489"/>
                <a:gd name="connsiteY4" fmla="*/ 24764 h 211444"/>
                <a:gd name="connsiteX5" fmla="*/ 92393 w 289489"/>
                <a:gd name="connsiteY5" fmla="*/ 122430 h 211444"/>
                <a:gd name="connsiteX6" fmla="*/ 162994 w 289489"/>
                <a:gd name="connsiteY6" fmla="*/ 161261 h 211444"/>
                <a:gd name="connsiteX7" fmla="*/ 215946 w 289489"/>
                <a:gd name="connsiteY7" fmla="*/ 151847 h 211444"/>
                <a:gd name="connsiteX8" fmla="*/ 288313 w 289489"/>
                <a:gd name="connsiteY8" fmla="*/ 122430 h 211444"/>
                <a:gd name="connsiteX9" fmla="*/ 289489 w 289489"/>
                <a:gd name="connsiteY9" fmla="*/ 130078 h 211444"/>
                <a:gd name="connsiteX10" fmla="*/ 289489 w 289489"/>
                <a:gd name="connsiteY10" fmla="*/ 135962 h 211444"/>
                <a:gd name="connsiteX11" fmla="*/ 96512 w 289489"/>
                <a:gd name="connsiteY11" fmla="*/ 211270 h 211444"/>
                <a:gd name="connsiteX12" fmla="*/ 24145 w 289489"/>
                <a:gd name="connsiteY12" fmla="*/ 181853 h 211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9489" h="211444">
                  <a:moveTo>
                    <a:pt x="24145" y="181853"/>
                  </a:moveTo>
                  <a:cubicBezTo>
                    <a:pt x="14143" y="172145"/>
                    <a:pt x="7818" y="158907"/>
                    <a:pt x="3994" y="142066"/>
                  </a:cubicBezTo>
                  <a:lnTo>
                    <a:pt x="0" y="94419"/>
                  </a:lnTo>
                  <a:lnTo>
                    <a:pt x="78096" y="0"/>
                  </a:lnTo>
                  <a:lnTo>
                    <a:pt x="78273" y="24764"/>
                  </a:lnTo>
                  <a:cubicBezTo>
                    <a:pt x="76508" y="57712"/>
                    <a:pt x="81803" y="91247"/>
                    <a:pt x="92393" y="122430"/>
                  </a:cubicBezTo>
                  <a:cubicBezTo>
                    <a:pt x="101807" y="148317"/>
                    <a:pt x="125929" y="161261"/>
                    <a:pt x="162994" y="161261"/>
                  </a:cubicBezTo>
                  <a:cubicBezTo>
                    <a:pt x="181234" y="160672"/>
                    <a:pt x="198884" y="157142"/>
                    <a:pt x="215946" y="151847"/>
                  </a:cubicBezTo>
                  <a:cubicBezTo>
                    <a:pt x="240656" y="144198"/>
                    <a:pt x="264779" y="134197"/>
                    <a:pt x="288313" y="122430"/>
                  </a:cubicBezTo>
                  <a:cubicBezTo>
                    <a:pt x="288901" y="124783"/>
                    <a:pt x="289489" y="127725"/>
                    <a:pt x="289489" y="130078"/>
                  </a:cubicBezTo>
                  <a:lnTo>
                    <a:pt x="289489" y="135962"/>
                  </a:lnTo>
                  <a:cubicBezTo>
                    <a:pt x="227125" y="189501"/>
                    <a:pt x="145344" y="208329"/>
                    <a:pt x="96512" y="211270"/>
                  </a:cubicBezTo>
                  <a:cubicBezTo>
                    <a:pt x="69448" y="213035"/>
                    <a:pt x="42972" y="201268"/>
                    <a:pt x="24145" y="18185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4BE2CE41-0D24-49C7-BC05-1CA24F174056}"/>
                </a:ext>
              </a:extLst>
            </p:cNvPr>
            <p:cNvSpPr/>
            <p:nvPr/>
          </p:nvSpPr>
          <p:spPr>
            <a:xfrm rot="8716295">
              <a:off x="3205022" y="3125495"/>
              <a:ext cx="16424" cy="35661"/>
            </a:xfrm>
            <a:custGeom>
              <a:avLst/>
              <a:gdLst>
                <a:gd name="connsiteX0" fmla="*/ 16424 w 16424"/>
                <a:gd name="connsiteY0" fmla="*/ 35661 h 35661"/>
                <a:gd name="connsiteX1" fmla="*/ 0 w 16424"/>
                <a:gd name="connsiteY1" fmla="*/ 19858 h 35661"/>
                <a:gd name="connsiteX2" fmla="*/ 16424 w 16424"/>
                <a:gd name="connsiteY2" fmla="*/ 0 h 35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24" h="35661">
                  <a:moveTo>
                    <a:pt x="16424" y="35661"/>
                  </a:moveTo>
                  <a:lnTo>
                    <a:pt x="0" y="19858"/>
                  </a:lnTo>
                  <a:lnTo>
                    <a:pt x="16424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3C113F76-2275-4CD3-8629-730BFE6915AD}"/>
                </a:ext>
              </a:extLst>
            </p:cNvPr>
            <p:cNvSpPr/>
            <p:nvPr/>
          </p:nvSpPr>
          <p:spPr>
            <a:xfrm rot="8716295">
              <a:off x="2829951" y="16337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7B2BDFC9-A5B6-45EA-A262-AC19DCF358A2}"/>
                </a:ext>
              </a:extLst>
            </p:cNvPr>
            <p:cNvSpPr/>
            <p:nvPr/>
          </p:nvSpPr>
          <p:spPr>
            <a:xfrm rot="8716295">
              <a:off x="2919343" y="16629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2A249ED1-9FC2-465F-B1C2-CE832E06DAAB}"/>
                </a:ext>
              </a:extLst>
            </p:cNvPr>
            <p:cNvSpPr/>
            <p:nvPr/>
          </p:nvSpPr>
          <p:spPr>
            <a:xfrm rot="8716295">
              <a:off x="2874493" y="157666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D737513C-09E2-4A85-9268-7028FEA47AEC}"/>
                </a:ext>
              </a:extLst>
            </p:cNvPr>
            <p:cNvSpPr/>
            <p:nvPr/>
          </p:nvSpPr>
          <p:spPr>
            <a:xfrm rot="8716295">
              <a:off x="2717717" y="172224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B6E113ED-200A-42D1-8A9B-64F2EA6FEC37}"/>
                </a:ext>
              </a:extLst>
            </p:cNvPr>
            <p:cNvSpPr/>
            <p:nvPr/>
          </p:nvSpPr>
          <p:spPr>
            <a:xfrm rot="8716295">
              <a:off x="2592814" y="151357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C7386AEF-343D-4F67-937B-2D8AE784432C}"/>
                </a:ext>
              </a:extLst>
            </p:cNvPr>
            <p:cNvSpPr/>
            <p:nvPr/>
          </p:nvSpPr>
          <p:spPr>
            <a:xfrm rot="8716295">
              <a:off x="2580762" y="137479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D18230E6-6046-4801-9551-295B7C3DC9AE}"/>
                </a:ext>
              </a:extLst>
            </p:cNvPr>
            <p:cNvSpPr/>
            <p:nvPr/>
          </p:nvSpPr>
          <p:spPr>
            <a:xfrm rot="8716295">
              <a:off x="2807895" y="176319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AA767CF2-B25B-4F2C-8315-830DDA4419B8}"/>
                </a:ext>
              </a:extLst>
            </p:cNvPr>
            <p:cNvSpPr/>
            <p:nvPr/>
          </p:nvSpPr>
          <p:spPr>
            <a:xfrm rot="8716295">
              <a:off x="3119050" y="138355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AAABA641-3338-40FA-9C39-41C30A22033E}"/>
                </a:ext>
              </a:extLst>
            </p:cNvPr>
            <p:cNvSpPr/>
            <p:nvPr/>
          </p:nvSpPr>
          <p:spPr>
            <a:xfrm rot="8716295">
              <a:off x="3209851" y="1424295"/>
              <a:ext cx="209149" cy="250692"/>
            </a:xfrm>
            <a:custGeom>
              <a:avLst/>
              <a:gdLst>
                <a:gd name="connsiteX0" fmla="*/ 147179 w 209149"/>
                <a:gd name="connsiteY0" fmla="*/ 93944 h 250692"/>
                <a:gd name="connsiteX1" fmla="*/ 147179 w 209149"/>
                <a:gd name="connsiteY1" fmla="*/ 77540 h 250692"/>
                <a:gd name="connsiteX2" fmla="*/ 137667 w 209149"/>
                <a:gd name="connsiteY2" fmla="*/ 47580 h 250692"/>
                <a:gd name="connsiteX3" fmla="*/ 123379 w 209149"/>
                <a:gd name="connsiteY3" fmla="*/ 40789 h 250692"/>
                <a:gd name="connsiteX4" fmla="*/ 157117 w 209149"/>
                <a:gd name="connsiteY4" fmla="*/ 0 h 250692"/>
                <a:gd name="connsiteX5" fmla="*/ 165512 w 209149"/>
                <a:gd name="connsiteY5" fmla="*/ 1459 h 250692"/>
                <a:gd name="connsiteX6" fmla="*/ 209149 w 209149"/>
                <a:gd name="connsiteY6" fmla="*/ 84375 h 250692"/>
                <a:gd name="connsiteX7" fmla="*/ 209149 w 209149"/>
                <a:gd name="connsiteY7" fmla="*/ 90299 h 250692"/>
                <a:gd name="connsiteX8" fmla="*/ 0 w 209149"/>
                <a:gd name="connsiteY8" fmla="*/ 250692 h 250692"/>
                <a:gd name="connsiteX9" fmla="*/ 0 w 209149"/>
                <a:gd name="connsiteY9" fmla="*/ 189958 h 250692"/>
                <a:gd name="connsiteX10" fmla="*/ 61066 w 209149"/>
                <a:gd name="connsiteY10" fmla="*/ 116127 h 250692"/>
                <a:gd name="connsiteX11" fmla="*/ 60148 w 209149"/>
                <a:gd name="connsiteY11" fmla="*/ 123562 h 250692"/>
                <a:gd name="connsiteX12" fmla="*/ 60148 w 209149"/>
                <a:gd name="connsiteY12" fmla="*/ 209683 h 250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9149" h="250692">
                  <a:moveTo>
                    <a:pt x="147179" y="93944"/>
                  </a:moveTo>
                  <a:lnTo>
                    <a:pt x="147179" y="77540"/>
                  </a:lnTo>
                  <a:cubicBezTo>
                    <a:pt x="147179" y="65237"/>
                    <a:pt x="143648" y="54871"/>
                    <a:pt x="137667" y="47580"/>
                  </a:cubicBezTo>
                  <a:lnTo>
                    <a:pt x="123379" y="40789"/>
                  </a:lnTo>
                  <a:lnTo>
                    <a:pt x="157117" y="0"/>
                  </a:lnTo>
                  <a:lnTo>
                    <a:pt x="165512" y="1459"/>
                  </a:lnTo>
                  <a:cubicBezTo>
                    <a:pt x="193258" y="12950"/>
                    <a:pt x="209149" y="41998"/>
                    <a:pt x="209149" y="84375"/>
                  </a:cubicBezTo>
                  <a:lnTo>
                    <a:pt x="209149" y="90299"/>
                  </a:lnTo>
                  <a:close/>
                  <a:moveTo>
                    <a:pt x="0" y="250692"/>
                  </a:moveTo>
                  <a:lnTo>
                    <a:pt x="0" y="189958"/>
                  </a:lnTo>
                  <a:lnTo>
                    <a:pt x="61066" y="116127"/>
                  </a:lnTo>
                  <a:lnTo>
                    <a:pt x="60148" y="123562"/>
                  </a:lnTo>
                  <a:lnTo>
                    <a:pt x="60148" y="2096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B2896D46-0FA6-4563-B073-9C0C36686641}"/>
                </a:ext>
              </a:extLst>
            </p:cNvPr>
            <p:cNvSpPr/>
            <p:nvPr/>
          </p:nvSpPr>
          <p:spPr>
            <a:xfrm rot="8716295">
              <a:off x="3006816" y="147209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6EEB717B-FEDB-4989-BE8E-3CB6F80A9A3D}"/>
                </a:ext>
              </a:extLst>
            </p:cNvPr>
            <p:cNvSpPr/>
            <p:nvPr/>
          </p:nvSpPr>
          <p:spPr>
            <a:xfrm rot="8716295">
              <a:off x="2881914" y="126342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F9A3D111-F2E6-4EEC-BA5F-E3F48E1BC144}"/>
                </a:ext>
              </a:extLst>
            </p:cNvPr>
            <p:cNvSpPr/>
            <p:nvPr/>
          </p:nvSpPr>
          <p:spPr>
            <a:xfrm rot="8716295">
              <a:off x="3096994" y="151304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F60E79F3-84EF-445B-800D-9716EB35B924}"/>
                </a:ext>
              </a:extLst>
            </p:cNvPr>
            <p:cNvSpPr/>
            <p:nvPr/>
          </p:nvSpPr>
          <p:spPr>
            <a:xfrm rot="8716295">
              <a:off x="2855543" y="136344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FDB4A4C0-E883-499D-A6D3-A301318DCD73}"/>
                </a:ext>
              </a:extLst>
            </p:cNvPr>
            <p:cNvSpPr/>
            <p:nvPr/>
          </p:nvSpPr>
          <p:spPr>
            <a:xfrm rot="7484129">
              <a:off x="3207325" y="1725125"/>
              <a:ext cx="156001" cy="194030"/>
            </a:xfrm>
            <a:custGeom>
              <a:avLst/>
              <a:gdLst>
                <a:gd name="connsiteX0" fmla="*/ 42863 w 156001"/>
                <a:gd name="connsiteY0" fmla="*/ 194030 h 194030"/>
                <a:gd name="connsiteX1" fmla="*/ 0 w 156001"/>
                <a:gd name="connsiteY1" fmla="*/ 114286 h 194030"/>
                <a:gd name="connsiteX2" fmla="*/ 11232 w 156001"/>
                <a:gd name="connsiteY2" fmla="*/ 83143 h 194030"/>
                <a:gd name="connsiteX3" fmla="*/ 156000 w 156001"/>
                <a:gd name="connsiteY3" fmla="*/ 0 h 194030"/>
                <a:gd name="connsiteX4" fmla="*/ 156001 w 156001"/>
                <a:gd name="connsiteY4" fmla="*/ 53480 h 194030"/>
                <a:gd name="connsiteX5" fmla="*/ 91208 w 156001"/>
                <a:gd name="connsiteY5" fmla="*/ 53480 h 194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6001" h="194030">
                  <a:moveTo>
                    <a:pt x="42863" y="194030"/>
                  </a:moveTo>
                  <a:lnTo>
                    <a:pt x="0" y="114286"/>
                  </a:lnTo>
                  <a:lnTo>
                    <a:pt x="11232" y="83143"/>
                  </a:lnTo>
                  <a:lnTo>
                    <a:pt x="156000" y="0"/>
                  </a:lnTo>
                  <a:lnTo>
                    <a:pt x="156001" y="53480"/>
                  </a:lnTo>
                  <a:lnTo>
                    <a:pt x="91208" y="5348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0B787B40-9B3B-4DF6-B826-D34E59D7A748}"/>
                </a:ext>
              </a:extLst>
            </p:cNvPr>
            <p:cNvSpPr/>
            <p:nvPr/>
          </p:nvSpPr>
          <p:spPr>
            <a:xfrm rot="8716295">
              <a:off x="3197279" y="140587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0A8098AC-35DA-4C71-BDFA-C584261AED79}"/>
                </a:ext>
              </a:extLst>
            </p:cNvPr>
            <p:cNvSpPr/>
            <p:nvPr/>
          </p:nvSpPr>
          <p:spPr>
            <a:xfrm rot="8716295">
              <a:off x="3356472" y="1273070"/>
              <a:ext cx="38162" cy="46138"/>
            </a:xfrm>
            <a:custGeom>
              <a:avLst/>
              <a:gdLst>
                <a:gd name="connsiteX0" fmla="*/ 0 w 38162"/>
                <a:gd name="connsiteY0" fmla="*/ 46138 h 46138"/>
                <a:gd name="connsiteX1" fmla="*/ 38162 w 38162"/>
                <a:gd name="connsiteY1" fmla="*/ 0 h 46138"/>
                <a:gd name="connsiteX2" fmla="*/ 35645 w 38162"/>
                <a:gd name="connsiteY2" fmla="*/ 12962 h 46138"/>
                <a:gd name="connsiteX3" fmla="*/ 22710 w 38162"/>
                <a:gd name="connsiteY3" fmla="*/ 32494 h 46138"/>
                <a:gd name="connsiteX4" fmla="*/ 3739 w 38162"/>
                <a:gd name="connsiteY4" fmla="*/ 45372 h 46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62" h="46138">
                  <a:moveTo>
                    <a:pt x="0" y="46138"/>
                  </a:moveTo>
                  <a:lnTo>
                    <a:pt x="38162" y="0"/>
                  </a:lnTo>
                  <a:lnTo>
                    <a:pt x="35645" y="12962"/>
                  </a:lnTo>
                  <a:cubicBezTo>
                    <a:pt x="32771" y="20076"/>
                    <a:pt x="28459" y="26745"/>
                    <a:pt x="22710" y="32494"/>
                  </a:cubicBezTo>
                  <a:cubicBezTo>
                    <a:pt x="17191" y="38013"/>
                    <a:pt x="10753" y="42382"/>
                    <a:pt x="3739" y="4537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C5475FFB-2FE6-47F1-ADB1-3564B7362FBC}"/>
                </a:ext>
              </a:extLst>
            </p:cNvPr>
            <p:cNvSpPr/>
            <p:nvPr/>
          </p:nvSpPr>
          <p:spPr>
            <a:xfrm rot="8716295">
              <a:off x="2606784" y="97400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9DEC1430-749E-4073-9884-D3917B891663}"/>
                </a:ext>
              </a:extLst>
            </p:cNvPr>
            <p:cNvSpPr/>
            <p:nvPr/>
          </p:nvSpPr>
          <p:spPr>
            <a:xfrm rot="8716295">
              <a:off x="2696176" y="100324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626F965F-1168-4906-A312-B88FB685E6C8}"/>
                </a:ext>
              </a:extLst>
            </p:cNvPr>
            <p:cNvSpPr/>
            <p:nvPr/>
          </p:nvSpPr>
          <p:spPr>
            <a:xfrm rot="8716295">
              <a:off x="2651326" y="91696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63FEE4FF-1D87-4CAE-9FA8-9CF6A9D96EFB}"/>
                </a:ext>
              </a:extLst>
            </p:cNvPr>
            <p:cNvSpPr/>
            <p:nvPr/>
          </p:nvSpPr>
          <p:spPr>
            <a:xfrm rot="8716295">
              <a:off x="2494550" y="106254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BC11557D-3B0F-4F99-BB1C-10D4CD358771}"/>
                </a:ext>
              </a:extLst>
            </p:cNvPr>
            <p:cNvSpPr/>
            <p:nvPr/>
          </p:nvSpPr>
          <p:spPr>
            <a:xfrm rot="8716295">
              <a:off x="2369647" y="85387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1BF9B5DD-16B3-4C9A-A0CB-19167186C695}"/>
                </a:ext>
              </a:extLst>
            </p:cNvPr>
            <p:cNvSpPr/>
            <p:nvPr/>
          </p:nvSpPr>
          <p:spPr>
            <a:xfrm rot="8716295">
              <a:off x="2357595" y="71509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4BDAD41E-2E62-46D5-8972-DD9B42CE139E}"/>
                </a:ext>
              </a:extLst>
            </p:cNvPr>
            <p:cNvSpPr/>
            <p:nvPr/>
          </p:nvSpPr>
          <p:spPr>
            <a:xfrm rot="8716295">
              <a:off x="2584728" y="110350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49E7137B-1AE9-4612-BDE2-1AD75C253D82}"/>
                </a:ext>
              </a:extLst>
            </p:cNvPr>
            <p:cNvSpPr/>
            <p:nvPr/>
          </p:nvSpPr>
          <p:spPr>
            <a:xfrm rot="8716295">
              <a:off x="2895883" y="72385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FB51623D-A683-4809-B6F7-B7284C8425E7}"/>
                </a:ext>
              </a:extLst>
            </p:cNvPr>
            <p:cNvSpPr/>
            <p:nvPr/>
          </p:nvSpPr>
          <p:spPr>
            <a:xfrm rot="8716295">
              <a:off x="2985275" y="75309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281173AB-108D-4FE0-B6D3-50708833EE4A}"/>
                </a:ext>
              </a:extLst>
            </p:cNvPr>
            <p:cNvSpPr/>
            <p:nvPr/>
          </p:nvSpPr>
          <p:spPr>
            <a:xfrm rot="8716295">
              <a:off x="2783649" y="81239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BF07C4A0-5324-4C7F-B4EC-CC1184768828}"/>
                </a:ext>
              </a:extLst>
            </p:cNvPr>
            <p:cNvSpPr/>
            <p:nvPr/>
          </p:nvSpPr>
          <p:spPr>
            <a:xfrm rot="8716295">
              <a:off x="2658747" y="60372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6C1ACB1E-5691-49AE-AB29-06C5DC240D79}"/>
                </a:ext>
              </a:extLst>
            </p:cNvPr>
            <p:cNvSpPr/>
            <p:nvPr/>
          </p:nvSpPr>
          <p:spPr>
            <a:xfrm rot="8716295">
              <a:off x="2873827" y="85334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BBA32666-AB2E-4FC3-AC66-C412DC6DB6FE}"/>
                </a:ext>
              </a:extLst>
            </p:cNvPr>
            <p:cNvSpPr/>
            <p:nvPr/>
          </p:nvSpPr>
          <p:spPr>
            <a:xfrm rot="8716295">
              <a:off x="2632376" y="70374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446CB3B3-0538-4236-9A2B-B81F3C70F649}"/>
                </a:ext>
              </a:extLst>
            </p:cNvPr>
            <p:cNvSpPr/>
            <p:nvPr/>
          </p:nvSpPr>
          <p:spPr>
            <a:xfrm rot="7484129">
              <a:off x="2978758" y="10446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6FEF6605-DD46-4B6F-9434-E75F685EB3F1}"/>
                </a:ext>
              </a:extLst>
            </p:cNvPr>
            <p:cNvSpPr/>
            <p:nvPr/>
          </p:nvSpPr>
          <p:spPr>
            <a:xfrm rot="13089394">
              <a:off x="3083578" y="101123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5FAEA535-E5DC-4ECD-AC87-B4CF523A4E30}"/>
                </a:ext>
              </a:extLst>
            </p:cNvPr>
            <p:cNvSpPr/>
            <p:nvPr/>
          </p:nvSpPr>
          <p:spPr>
            <a:xfrm rot="8716295">
              <a:off x="3269163" y="81955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C4FD16EB-0DAD-4759-8354-258732BCDC6A}"/>
                </a:ext>
              </a:extLst>
            </p:cNvPr>
            <p:cNvSpPr/>
            <p:nvPr/>
          </p:nvSpPr>
          <p:spPr>
            <a:xfrm rot="8716295">
              <a:off x="3217358" y="71595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C79D5733-4C6C-4FFD-A38D-A89F64FE54C8}"/>
                </a:ext>
              </a:extLst>
            </p:cNvPr>
            <p:cNvSpPr/>
            <p:nvPr/>
          </p:nvSpPr>
          <p:spPr>
            <a:xfrm rot="8716295">
              <a:off x="2974112" y="74618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133AF81E-5F8E-4D81-87C0-011CC96E3CC9}"/>
                </a:ext>
              </a:extLst>
            </p:cNvPr>
            <p:cNvSpPr/>
            <p:nvPr/>
          </p:nvSpPr>
          <p:spPr>
            <a:xfrm rot="8716295">
              <a:off x="3151564" y="58693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F5BAA1B0-C7A6-44B2-8867-FEAE18AC26E8}"/>
                </a:ext>
              </a:extLst>
            </p:cNvPr>
            <p:cNvSpPr/>
            <p:nvPr/>
          </p:nvSpPr>
          <p:spPr>
            <a:xfrm rot="8716295">
              <a:off x="2387845" y="31194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orme libre : forme 58">
              <a:extLst>
                <a:ext uri="{FF2B5EF4-FFF2-40B4-BE49-F238E27FC236}">
                  <a16:creationId xmlns:a16="http://schemas.microsoft.com/office/drawing/2014/main" id="{B51F8FF7-DB45-4A7D-B87B-E8E0B15A9D38}"/>
                </a:ext>
              </a:extLst>
            </p:cNvPr>
            <p:cNvSpPr/>
            <p:nvPr/>
          </p:nvSpPr>
          <p:spPr>
            <a:xfrm rot="8716295">
              <a:off x="2477237" y="34118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orme libre : forme 59">
              <a:extLst>
                <a:ext uri="{FF2B5EF4-FFF2-40B4-BE49-F238E27FC236}">
                  <a16:creationId xmlns:a16="http://schemas.microsoft.com/office/drawing/2014/main" id="{1950BE25-03A0-4561-B14B-331445B0D0C3}"/>
                </a:ext>
              </a:extLst>
            </p:cNvPr>
            <p:cNvSpPr/>
            <p:nvPr/>
          </p:nvSpPr>
          <p:spPr>
            <a:xfrm rot="8716295">
              <a:off x="2432387" y="254908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orme libre : forme 60">
              <a:extLst>
                <a:ext uri="{FF2B5EF4-FFF2-40B4-BE49-F238E27FC236}">
                  <a16:creationId xmlns:a16="http://schemas.microsoft.com/office/drawing/2014/main" id="{1E041962-91AE-4D89-B179-1A31E1910CF1}"/>
                </a:ext>
              </a:extLst>
            </p:cNvPr>
            <p:cNvSpPr/>
            <p:nvPr/>
          </p:nvSpPr>
          <p:spPr>
            <a:xfrm rot="8716295">
              <a:off x="2275611" y="40049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orme libre : forme 61">
              <a:extLst>
                <a:ext uri="{FF2B5EF4-FFF2-40B4-BE49-F238E27FC236}">
                  <a16:creationId xmlns:a16="http://schemas.microsoft.com/office/drawing/2014/main" id="{376CFCCF-38DC-4A35-AA3F-E03998AD805A}"/>
                </a:ext>
              </a:extLst>
            </p:cNvPr>
            <p:cNvSpPr/>
            <p:nvPr/>
          </p:nvSpPr>
          <p:spPr>
            <a:xfrm rot="8716295">
              <a:off x="2150708" y="19181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orme libre : forme 62">
              <a:extLst>
                <a:ext uri="{FF2B5EF4-FFF2-40B4-BE49-F238E27FC236}">
                  <a16:creationId xmlns:a16="http://schemas.microsoft.com/office/drawing/2014/main" id="{68D158FE-3FEF-4222-A8A6-28BC2EB41760}"/>
                </a:ext>
              </a:extLst>
            </p:cNvPr>
            <p:cNvSpPr/>
            <p:nvPr/>
          </p:nvSpPr>
          <p:spPr>
            <a:xfrm rot="8716295">
              <a:off x="2138656" y="53037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orme libre : forme 63">
              <a:extLst>
                <a:ext uri="{FF2B5EF4-FFF2-40B4-BE49-F238E27FC236}">
                  <a16:creationId xmlns:a16="http://schemas.microsoft.com/office/drawing/2014/main" id="{DC9E9862-78FC-4213-B2E2-61DF3173636D}"/>
                </a:ext>
              </a:extLst>
            </p:cNvPr>
            <p:cNvSpPr/>
            <p:nvPr/>
          </p:nvSpPr>
          <p:spPr>
            <a:xfrm rot="8716295">
              <a:off x="2365789" y="441442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orme libre : forme 64">
              <a:extLst>
                <a:ext uri="{FF2B5EF4-FFF2-40B4-BE49-F238E27FC236}">
                  <a16:creationId xmlns:a16="http://schemas.microsoft.com/office/drawing/2014/main" id="{8722DBD7-5E81-4E3D-870A-6CD5E129D96B}"/>
                </a:ext>
              </a:extLst>
            </p:cNvPr>
            <p:cNvSpPr/>
            <p:nvPr/>
          </p:nvSpPr>
          <p:spPr>
            <a:xfrm rot="8716295">
              <a:off x="2676944" y="6179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orme libre : forme 65">
              <a:extLst>
                <a:ext uri="{FF2B5EF4-FFF2-40B4-BE49-F238E27FC236}">
                  <a16:creationId xmlns:a16="http://schemas.microsoft.com/office/drawing/2014/main" id="{43ED8C5C-290C-4E36-A603-A668764D918E}"/>
                </a:ext>
              </a:extLst>
            </p:cNvPr>
            <p:cNvSpPr/>
            <p:nvPr/>
          </p:nvSpPr>
          <p:spPr>
            <a:xfrm rot="8716295">
              <a:off x="2766336" y="9103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orme libre : forme 66">
              <a:extLst>
                <a:ext uri="{FF2B5EF4-FFF2-40B4-BE49-F238E27FC236}">
                  <a16:creationId xmlns:a16="http://schemas.microsoft.com/office/drawing/2014/main" id="{143AD9CC-AEFC-4AE6-ADAB-C03B27727981}"/>
                </a:ext>
              </a:extLst>
            </p:cNvPr>
            <p:cNvSpPr/>
            <p:nvPr/>
          </p:nvSpPr>
          <p:spPr>
            <a:xfrm rot="8716295">
              <a:off x="2564710" y="15033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03CE5A8E-699E-421E-ABA5-42929237719B}"/>
                </a:ext>
              </a:extLst>
            </p:cNvPr>
            <p:cNvSpPr/>
            <p:nvPr/>
          </p:nvSpPr>
          <p:spPr>
            <a:xfrm rot="8716295">
              <a:off x="2448552" y="-16031"/>
              <a:ext cx="203847" cy="149340"/>
            </a:xfrm>
            <a:custGeom>
              <a:avLst/>
              <a:gdLst>
                <a:gd name="connsiteX0" fmla="*/ 106716 w 203847"/>
                <a:gd name="connsiteY0" fmla="*/ 149340 h 149340"/>
                <a:gd name="connsiteX1" fmla="*/ 50038 w 203847"/>
                <a:gd name="connsiteY1" fmla="*/ 110053 h 149340"/>
                <a:gd name="connsiteX2" fmla="*/ 69777 w 203847"/>
                <a:gd name="connsiteY2" fmla="*/ 55323 h 149340"/>
                <a:gd name="connsiteX3" fmla="*/ 0 w 203847"/>
                <a:gd name="connsiteY3" fmla="*/ 55323 h 149340"/>
                <a:gd name="connsiteX4" fmla="*/ 0 w 203847"/>
                <a:gd name="connsiteY4" fmla="*/ 0 h 149340"/>
                <a:gd name="connsiteX5" fmla="*/ 203847 w 203847"/>
                <a:gd name="connsiteY5" fmla="*/ 0 h 149340"/>
                <a:gd name="connsiteX6" fmla="*/ 203847 w 203847"/>
                <a:gd name="connsiteY6" fmla="*/ 55323 h 149340"/>
                <a:gd name="connsiteX7" fmla="*/ 139055 w 203847"/>
                <a:gd name="connsiteY7" fmla="*/ 55323 h 14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49340">
                  <a:moveTo>
                    <a:pt x="106716" y="149340"/>
                  </a:moveTo>
                  <a:lnTo>
                    <a:pt x="50038" y="110053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orme libre : forme 68">
              <a:extLst>
                <a:ext uri="{FF2B5EF4-FFF2-40B4-BE49-F238E27FC236}">
                  <a16:creationId xmlns:a16="http://schemas.microsoft.com/office/drawing/2014/main" id="{4F51AFD5-9DB6-4DCA-8489-09E9C4297801}"/>
                </a:ext>
              </a:extLst>
            </p:cNvPr>
            <p:cNvSpPr/>
            <p:nvPr/>
          </p:nvSpPr>
          <p:spPr>
            <a:xfrm rot="8716295">
              <a:off x="2654888" y="191290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orme libre : forme 69">
              <a:extLst>
                <a:ext uri="{FF2B5EF4-FFF2-40B4-BE49-F238E27FC236}">
                  <a16:creationId xmlns:a16="http://schemas.microsoft.com/office/drawing/2014/main" id="{A2ECF224-799C-4DC5-AB51-FEB15AA2B828}"/>
                </a:ext>
              </a:extLst>
            </p:cNvPr>
            <p:cNvSpPr/>
            <p:nvPr/>
          </p:nvSpPr>
          <p:spPr>
            <a:xfrm rot="8716295">
              <a:off x="2413437" y="41690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orme libre : forme 70">
              <a:extLst>
                <a:ext uri="{FF2B5EF4-FFF2-40B4-BE49-F238E27FC236}">
                  <a16:creationId xmlns:a16="http://schemas.microsoft.com/office/drawing/2014/main" id="{1302BF26-B64E-4C90-894D-A7C67007EE36}"/>
                </a:ext>
              </a:extLst>
            </p:cNvPr>
            <p:cNvSpPr/>
            <p:nvPr/>
          </p:nvSpPr>
          <p:spPr>
            <a:xfrm rot="7484129">
              <a:off x="2759819" y="38264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orme libre : forme 71">
              <a:extLst>
                <a:ext uri="{FF2B5EF4-FFF2-40B4-BE49-F238E27FC236}">
                  <a16:creationId xmlns:a16="http://schemas.microsoft.com/office/drawing/2014/main" id="{170CE256-57E7-488F-BBB2-5B7F98B8FB76}"/>
                </a:ext>
              </a:extLst>
            </p:cNvPr>
            <p:cNvSpPr/>
            <p:nvPr/>
          </p:nvSpPr>
          <p:spPr>
            <a:xfrm rot="13089394">
              <a:off x="2864639" y="349175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orme libre : forme 72">
              <a:extLst>
                <a:ext uri="{FF2B5EF4-FFF2-40B4-BE49-F238E27FC236}">
                  <a16:creationId xmlns:a16="http://schemas.microsoft.com/office/drawing/2014/main" id="{5E848AEE-AD50-4EC7-B6E2-006804A78B57}"/>
                </a:ext>
              </a:extLst>
            </p:cNvPr>
            <p:cNvSpPr/>
            <p:nvPr/>
          </p:nvSpPr>
          <p:spPr>
            <a:xfrm rot="8716295">
              <a:off x="3050224" y="157494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" name="Forme libre : forme 73">
              <a:extLst>
                <a:ext uri="{FF2B5EF4-FFF2-40B4-BE49-F238E27FC236}">
                  <a16:creationId xmlns:a16="http://schemas.microsoft.com/office/drawing/2014/main" id="{BEE1CAE8-6503-4A10-B1BA-C6183C9E0E74}"/>
                </a:ext>
              </a:extLst>
            </p:cNvPr>
            <p:cNvSpPr/>
            <p:nvPr/>
          </p:nvSpPr>
          <p:spPr>
            <a:xfrm rot="8716295">
              <a:off x="2998419" y="5390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" name="Forme libre : forme 74">
              <a:extLst>
                <a:ext uri="{FF2B5EF4-FFF2-40B4-BE49-F238E27FC236}">
                  <a16:creationId xmlns:a16="http://schemas.microsoft.com/office/drawing/2014/main" id="{34A8E996-3975-4581-B536-E2CE9D88EBFE}"/>
                </a:ext>
              </a:extLst>
            </p:cNvPr>
            <p:cNvSpPr/>
            <p:nvPr/>
          </p:nvSpPr>
          <p:spPr>
            <a:xfrm rot="8716295">
              <a:off x="2755173" y="8412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" name="Forme libre : forme 75">
              <a:extLst>
                <a:ext uri="{FF2B5EF4-FFF2-40B4-BE49-F238E27FC236}">
                  <a16:creationId xmlns:a16="http://schemas.microsoft.com/office/drawing/2014/main" id="{3BE41751-0FE9-4A5C-97A5-9AF2319641D6}"/>
                </a:ext>
              </a:extLst>
            </p:cNvPr>
            <p:cNvSpPr/>
            <p:nvPr/>
          </p:nvSpPr>
          <p:spPr>
            <a:xfrm rot="8716295">
              <a:off x="2940014" y="-28690"/>
              <a:ext cx="88664" cy="70660"/>
            </a:xfrm>
            <a:custGeom>
              <a:avLst/>
              <a:gdLst>
                <a:gd name="connsiteX0" fmla="*/ 83649 w 88664"/>
                <a:gd name="connsiteY0" fmla="*/ 70660 h 70660"/>
                <a:gd name="connsiteX1" fmla="*/ 0 w 88664"/>
                <a:gd name="connsiteY1" fmla="*/ 12677 h 70660"/>
                <a:gd name="connsiteX2" fmla="*/ 30024 w 88664"/>
                <a:gd name="connsiteY2" fmla="*/ 0 h 70660"/>
                <a:gd name="connsiteX3" fmla="*/ 71417 w 88664"/>
                <a:gd name="connsiteY3" fmla="*/ 17477 h 70660"/>
                <a:gd name="connsiteX4" fmla="*/ 88664 w 88664"/>
                <a:gd name="connsiteY4" fmla="*/ 58525 h 70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664" h="70660">
                  <a:moveTo>
                    <a:pt x="83649" y="70660"/>
                  </a:moveTo>
                  <a:lnTo>
                    <a:pt x="0" y="12677"/>
                  </a:lnTo>
                  <a:lnTo>
                    <a:pt x="30024" y="0"/>
                  </a:lnTo>
                  <a:cubicBezTo>
                    <a:pt x="45662" y="0"/>
                    <a:pt x="60379" y="6439"/>
                    <a:pt x="71417" y="17477"/>
                  </a:cubicBezTo>
                  <a:cubicBezTo>
                    <a:pt x="82915" y="28515"/>
                    <a:pt x="88664" y="43462"/>
                    <a:pt x="88664" y="58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" name="Forme libre : forme 76">
              <a:extLst>
                <a:ext uri="{FF2B5EF4-FFF2-40B4-BE49-F238E27FC236}">
                  <a16:creationId xmlns:a16="http://schemas.microsoft.com/office/drawing/2014/main" id="{7C593DEA-1D52-4373-8D6B-6BD1BBF8835C}"/>
                </a:ext>
              </a:extLst>
            </p:cNvPr>
            <p:cNvSpPr/>
            <p:nvPr/>
          </p:nvSpPr>
          <p:spPr>
            <a:xfrm rot="13089394">
              <a:off x="2740820" y="-30870"/>
              <a:ext cx="73521" cy="76374"/>
            </a:xfrm>
            <a:custGeom>
              <a:avLst/>
              <a:gdLst>
                <a:gd name="connsiteX0" fmla="*/ 73521 w 73521"/>
                <a:gd name="connsiteY0" fmla="*/ 18609 h 76374"/>
                <a:gd name="connsiteX1" fmla="*/ 0 w 73521"/>
                <a:gd name="connsiteY1" fmla="*/ 76374 h 76374"/>
                <a:gd name="connsiteX2" fmla="*/ 0 w 73521"/>
                <a:gd name="connsiteY2" fmla="*/ 38074 h 76374"/>
                <a:gd name="connsiteX3" fmla="*/ 73388 w 73521"/>
                <a:gd name="connsiteY3" fmla="*/ 0 h 7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521" h="76374">
                  <a:moveTo>
                    <a:pt x="73521" y="18609"/>
                  </a:moveTo>
                  <a:lnTo>
                    <a:pt x="0" y="76374"/>
                  </a:lnTo>
                  <a:lnTo>
                    <a:pt x="0" y="38074"/>
                  </a:lnTo>
                  <a:lnTo>
                    <a:pt x="7338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" name="Forme libre : forme 77">
              <a:extLst>
                <a:ext uri="{FF2B5EF4-FFF2-40B4-BE49-F238E27FC236}">
                  <a16:creationId xmlns:a16="http://schemas.microsoft.com/office/drawing/2014/main" id="{31F42A73-BF6E-4A9E-A2F6-7111DF0FD878}"/>
                </a:ext>
              </a:extLst>
            </p:cNvPr>
            <p:cNvSpPr/>
            <p:nvPr/>
          </p:nvSpPr>
          <p:spPr>
            <a:xfrm rot="8716295">
              <a:off x="2166753" y="273158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orme libre : forme 78">
              <a:extLst>
                <a:ext uri="{FF2B5EF4-FFF2-40B4-BE49-F238E27FC236}">
                  <a16:creationId xmlns:a16="http://schemas.microsoft.com/office/drawing/2014/main" id="{863BEFD8-472A-4A82-B952-ACFEE2251E69}"/>
                </a:ext>
              </a:extLst>
            </p:cNvPr>
            <p:cNvSpPr/>
            <p:nvPr/>
          </p:nvSpPr>
          <p:spPr>
            <a:xfrm rot="8716295">
              <a:off x="2256145" y="276082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Forme libre : forme 79">
              <a:extLst>
                <a:ext uri="{FF2B5EF4-FFF2-40B4-BE49-F238E27FC236}">
                  <a16:creationId xmlns:a16="http://schemas.microsoft.com/office/drawing/2014/main" id="{9D41F395-157D-4566-AD0B-619CCA4FE6BE}"/>
                </a:ext>
              </a:extLst>
            </p:cNvPr>
            <p:cNvSpPr/>
            <p:nvPr/>
          </p:nvSpPr>
          <p:spPr>
            <a:xfrm rot="8716295">
              <a:off x="2211295" y="2674548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" name="Forme libre : forme 80">
              <a:extLst>
                <a:ext uri="{FF2B5EF4-FFF2-40B4-BE49-F238E27FC236}">
                  <a16:creationId xmlns:a16="http://schemas.microsoft.com/office/drawing/2014/main" id="{BF76F399-DC6B-4DE2-9E3A-1FFB94BB6465}"/>
                </a:ext>
              </a:extLst>
            </p:cNvPr>
            <p:cNvSpPr/>
            <p:nvPr/>
          </p:nvSpPr>
          <p:spPr>
            <a:xfrm rot="8716295">
              <a:off x="2054519" y="28201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orme libre : forme 81">
              <a:extLst>
                <a:ext uri="{FF2B5EF4-FFF2-40B4-BE49-F238E27FC236}">
                  <a16:creationId xmlns:a16="http://schemas.microsoft.com/office/drawing/2014/main" id="{3065D63F-B336-46ED-922F-641AF1B7B83C}"/>
                </a:ext>
              </a:extLst>
            </p:cNvPr>
            <p:cNvSpPr/>
            <p:nvPr/>
          </p:nvSpPr>
          <p:spPr>
            <a:xfrm rot="8716295">
              <a:off x="1929616" y="261145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Forme libre : forme 82">
              <a:extLst>
                <a:ext uri="{FF2B5EF4-FFF2-40B4-BE49-F238E27FC236}">
                  <a16:creationId xmlns:a16="http://schemas.microsoft.com/office/drawing/2014/main" id="{68BC6F5F-0186-40DD-8404-566D70BB9E99}"/>
                </a:ext>
              </a:extLst>
            </p:cNvPr>
            <p:cNvSpPr/>
            <p:nvPr/>
          </p:nvSpPr>
          <p:spPr>
            <a:xfrm rot="8716295">
              <a:off x="1917564" y="2472677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4" name="Forme libre : forme 83">
              <a:extLst>
                <a:ext uri="{FF2B5EF4-FFF2-40B4-BE49-F238E27FC236}">
                  <a16:creationId xmlns:a16="http://schemas.microsoft.com/office/drawing/2014/main" id="{E12469CC-5FF5-4C57-A661-5C5E14481CD9}"/>
                </a:ext>
              </a:extLst>
            </p:cNvPr>
            <p:cNvSpPr/>
            <p:nvPr/>
          </p:nvSpPr>
          <p:spPr>
            <a:xfrm rot="8716295">
              <a:off x="2144697" y="2861082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5" name="Forme libre : forme 84">
              <a:extLst>
                <a:ext uri="{FF2B5EF4-FFF2-40B4-BE49-F238E27FC236}">
                  <a16:creationId xmlns:a16="http://schemas.microsoft.com/office/drawing/2014/main" id="{30210F38-CF8D-4D63-B79E-43CAC77B4950}"/>
                </a:ext>
              </a:extLst>
            </p:cNvPr>
            <p:cNvSpPr/>
            <p:nvPr/>
          </p:nvSpPr>
          <p:spPr>
            <a:xfrm rot="8716295">
              <a:off x="2455852" y="248143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6" name="Forme libre : forme 85">
              <a:extLst>
                <a:ext uri="{FF2B5EF4-FFF2-40B4-BE49-F238E27FC236}">
                  <a16:creationId xmlns:a16="http://schemas.microsoft.com/office/drawing/2014/main" id="{695A233A-6503-484C-8F4F-186E71E5B99E}"/>
                </a:ext>
              </a:extLst>
            </p:cNvPr>
            <p:cNvSpPr/>
            <p:nvPr/>
          </p:nvSpPr>
          <p:spPr>
            <a:xfrm rot="8716295">
              <a:off x="2545244" y="251067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7" name="Forme libre : forme 86">
              <a:extLst>
                <a:ext uri="{FF2B5EF4-FFF2-40B4-BE49-F238E27FC236}">
                  <a16:creationId xmlns:a16="http://schemas.microsoft.com/office/drawing/2014/main" id="{C4016FC8-3862-4EDD-AD90-D27F3C486D6C}"/>
                </a:ext>
              </a:extLst>
            </p:cNvPr>
            <p:cNvSpPr/>
            <p:nvPr/>
          </p:nvSpPr>
          <p:spPr>
            <a:xfrm rot="8716295">
              <a:off x="2343618" y="256997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8" name="Forme libre : forme 87">
              <a:extLst>
                <a:ext uri="{FF2B5EF4-FFF2-40B4-BE49-F238E27FC236}">
                  <a16:creationId xmlns:a16="http://schemas.microsoft.com/office/drawing/2014/main" id="{841AD7D6-9A1D-47F3-B8D0-0F3912F8A2E1}"/>
                </a:ext>
              </a:extLst>
            </p:cNvPr>
            <p:cNvSpPr/>
            <p:nvPr/>
          </p:nvSpPr>
          <p:spPr>
            <a:xfrm rot="8716295">
              <a:off x="2218716" y="236130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9" name="Forme libre : forme 88">
              <a:extLst>
                <a:ext uri="{FF2B5EF4-FFF2-40B4-BE49-F238E27FC236}">
                  <a16:creationId xmlns:a16="http://schemas.microsoft.com/office/drawing/2014/main" id="{70BCC5A3-9952-4F01-975F-6F986E6B55DD}"/>
                </a:ext>
              </a:extLst>
            </p:cNvPr>
            <p:cNvSpPr/>
            <p:nvPr/>
          </p:nvSpPr>
          <p:spPr>
            <a:xfrm rot="8716295">
              <a:off x="2433796" y="2610930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" name="Forme libre : forme 89">
              <a:extLst>
                <a:ext uri="{FF2B5EF4-FFF2-40B4-BE49-F238E27FC236}">
                  <a16:creationId xmlns:a16="http://schemas.microsoft.com/office/drawing/2014/main" id="{48292A7A-33E9-4FF2-9525-C481018D3541}"/>
                </a:ext>
              </a:extLst>
            </p:cNvPr>
            <p:cNvSpPr/>
            <p:nvPr/>
          </p:nvSpPr>
          <p:spPr>
            <a:xfrm rot="8716295">
              <a:off x="2192345" y="2461330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" name="Forme libre : forme 90">
              <a:extLst>
                <a:ext uri="{FF2B5EF4-FFF2-40B4-BE49-F238E27FC236}">
                  <a16:creationId xmlns:a16="http://schemas.microsoft.com/office/drawing/2014/main" id="{3C5BF462-E2E4-4E2E-A187-F82081942730}"/>
                </a:ext>
              </a:extLst>
            </p:cNvPr>
            <p:cNvSpPr/>
            <p:nvPr/>
          </p:nvSpPr>
          <p:spPr>
            <a:xfrm rot="7484129">
              <a:off x="2538727" y="280228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" name="Forme libre : forme 91">
              <a:extLst>
                <a:ext uri="{FF2B5EF4-FFF2-40B4-BE49-F238E27FC236}">
                  <a16:creationId xmlns:a16="http://schemas.microsoft.com/office/drawing/2014/main" id="{53F93EE7-2FCB-4993-A211-9ABCA8AB16A1}"/>
                </a:ext>
              </a:extLst>
            </p:cNvPr>
            <p:cNvSpPr/>
            <p:nvPr/>
          </p:nvSpPr>
          <p:spPr>
            <a:xfrm rot="13089394">
              <a:off x="2643547" y="2768815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" name="Forme libre : forme 92">
              <a:extLst>
                <a:ext uri="{FF2B5EF4-FFF2-40B4-BE49-F238E27FC236}">
                  <a16:creationId xmlns:a16="http://schemas.microsoft.com/office/drawing/2014/main" id="{ACCCC6BB-9AC5-40F1-8FDF-2D7AAA4F97CC}"/>
                </a:ext>
              </a:extLst>
            </p:cNvPr>
            <p:cNvSpPr/>
            <p:nvPr/>
          </p:nvSpPr>
          <p:spPr>
            <a:xfrm rot="8716295">
              <a:off x="2829132" y="2577134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" name="Forme libre : forme 93">
              <a:extLst>
                <a:ext uri="{FF2B5EF4-FFF2-40B4-BE49-F238E27FC236}">
                  <a16:creationId xmlns:a16="http://schemas.microsoft.com/office/drawing/2014/main" id="{C83E96A9-D46F-4FBD-BA31-A3DDCAF05013}"/>
                </a:ext>
              </a:extLst>
            </p:cNvPr>
            <p:cNvSpPr/>
            <p:nvPr/>
          </p:nvSpPr>
          <p:spPr>
            <a:xfrm rot="8716295">
              <a:off x="2777327" y="247354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orme libre : forme 94">
              <a:extLst>
                <a:ext uri="{FF2B5EF4-FFF2-40B4-BE49-F238E27FC236}">
                  <a16:creationId xmlns:a16="http://schemas.microsoft.com/office/drawing/2014/main" id="{819524D5-42FD-49C2-A52C-138204093572}"/>
                </a:ext>
              </a:extLst>
            </p:cNvPr>
            <p:cNvSpPr/>
            <p:nvPr/>
          </p:nvSpPr>
          <p:spPr>
            <a:xfrm rot="8716295">
              <a:off x="2534081" y="250376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Forme libre : forme 95">
              <a:extLst>
                <a:ext uri="{FF2B5EF4-FFF2-40B4-BE49-F238E27FC236}">
                  <a16:creationId xmlns:a16="http://schemas.microsoft.com/office/drawing/2014/main" id="{D4292037-242B-4F99-8EE6-4056BF8CE17A}"/>
                </a:ext>
              </a:extLst>
            </p:cNvPr>
            <p:cNvSpPr/>
            <p:nvPr/>
          </p:nvSpPr>
          <p:spPr>
            <a:xfrm rot="8716295">
              <a:off x="2711533" y="234452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" name="Forme libre : forme 96">
              <a:extLst>
                <a:ext uri="{FF2B5EF4-FFF2-40B4-BE49-F238E27FC236}">
                  <a16:creationId xmlns:a16="http://schemas.microsoft.com/office/drawing/2014/main" id="{B300D5E8-99AD-4100-BBB0-F9335C60ABF1}"/>
                </a:ext>
              </a:extLst>
            </p:cNvPr>
            <p:cNvSpPr/>
            <p:nvPr/>
          </p:nvSpPr>
          <p:spPr>
            <a:xfrm rot="8716295">
              <a:off x="2389920" y="339128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" name="Forme libre : forme 97">
              <a:extLst>
                <a:ext uri="{FF2B5EF4-FFF2-40B4-BE49-F238E27FC236}">
                  <a16:creationId xmlns:a16="http://schemas.microsoft.com/office/drawing/2014/main" id="{050E0B4C-4868-4ECB-B52A-F4534FB3428C}"/>
                </a:ext>
              </a:extLst>
            </p:cNvPr>
            <p:cNvSpPr/>
            <p:nvPr/>
          </p:nvSpPr>
          <p:spPr>
            <a:xfrm rot="8716295">
              <a:off x="2479312" y="342052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" name="Forme libre : forme 98">
              <a:extLst>
                <a:ext uri="{FF2B5EF4-FFF2-40B4-BE49-F238E27FC236}">
                  <a16:creationId xmlns:a16="http://schemas.microsoft.com/office/drawing/2014/main" id="{2B753CAD-2E05-40BF-8117-865D3F8A49DD}"/>
                </a:ext>
              </a:extLst>
            </p:cNvPr>
            <p:cNvSpPr/>
            <p:nvPr/>
          </p:nvSpPr>
          <p:spPr>
            <a:xfrm rot="8716295">
              <a:off x="2434462" y="333424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orme libre : forme 99">
              <a:extLst>
                <a:ext uri="{FF2B5EF4-FFF2-40B4-BE49-F238E27FC236}">
                  <a16:creationId xmlns:a16="http://schemas.microsoft.com/office/drawing/2014/main" id="{5C8FF835-B7A5-4E03-BDCA-7B70EA22A6CB}"/>
                </a:ext>
              </a:extLst>
            </p:cNvPr>
            <p:cNvSpPr/>
            <p:nvPr/>
          </p:nvSpPr>
          <p:spPr>
            <a:xfrm rot="8716295">
              <a:off x="2277686" y="347982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Forme libre : forme 100">
              <a:extLst>
                <a:ext uri="{FF2B5EF4-FFF2-40B4-BE49-F238E27FC236}">
                  <a16:creationId xmlns:a16="http://schemas.microsoft.com/office/drawing/2014/main" id="{E640627F-DD46-4D4D-BFB7-C32CE4CD2C6E}"/>
                </a:ext>
              </a:extLst>
            </p:cNvPr>
            <p:cNvSpPr/>
            <p:nvPr/>
          </p:nvSpPr>
          <p:spPr>
            <a:xfrm rot="8716295">
              <a:off x="2152783" y="327115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" name="Forme libre : forme 101">
              <a:extLst>
                <a:ext uri="{FF2B5EF4-FFF2-40B4-BE49-F238E27FC236}">
                  <a16:creationId xmlns:a16="http://schemas.microsoft.com/office/drawing/2014/main" id="{D6CFC66E-117A-4E7B-A1B3-B61883DBC87C}"/>
                </a:ext>
              </a:extLst>
            </p:cNvPr>
            <p:cNvSpPr/>
            <p:nvPr/>
          </p:nvSpPr>
          <p:spPr>
            <a:xfrm rot="8716295">
              <a:off x="2140731" y="313237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" name="Forme libre : forme 102">
              <a:extLst>
                <a:ext uri="{FF2B5EF4-FFF2-40B4-BE49-F238E27FC236}">
                  <a16:creationId xmlns:a16="http://schemas.microsoft.com/office/drawing/2014/main" id="{44370D0A-70C8-47DE-B919-BD8689E5F0BD}"/>
                </a:ext>
              </a:extLst>
            </p:cNvPr>
            <p:cNvSpPr/>
            <p:nvPr/>
          </p:nvSpPr>
          <p:spPr>
            <a:xfrm rot="8716295">
              <a:off x="2367864" y="352078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" name="Forme libre : forme 103">
              <a:extLst>
                <a:ext uri="{FF2B5EF4-FFF2-40B4-BE49-F238E27FC236}">
                  <a16:creationId xmlns:a16="http://schemas.microsoft.com/office/drawing/2014/main" id="{6021BDC8-861D-486E-B439-FE7F06960030}"/>
                </a:ext>
              </a:extLst>
            </p:cNvPr>
            <p:cNvSpPr/>
            <p:nvPr/>
          </p:nvSpPr>
          <p:spPr>
            <a:xfrm rot="8716295">
              <a:off x="2679019" y="314113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" name="Forme libre : forme 104">
              <a:extLst>
                <a:ext uri="{FF2B5EF4-FFF2-40B4-BE49-F238E27FC236}">
                  <a16:creationId xmlns:a16="http://schemas.microsoft.com/office/drawing/2014/main" id="{0F608F19-E3BE-4D17-880D-C88146244ED4}"/>
                </a:ext>
              </a:extLst>
            </p:cNvPr>
            <p:cNvSpPr/>
            <p:nvPr/>
          </p:nvSpPr>
          <p:spPr>
            <a:xfrm rot="8716295">
              <a:off x="2768411" y="317037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" name="Forme libre : forme 105">
              <a:extLst>
                <a:ext uri="{FF2B5EF4-FFF2-40B4-BE49-F238E27FC236}">
                  <a16:creationId xmlns:a16="http://schemas.microsoft.com/office/drawing/2014/main" id="{64944F3B-C664-4365-A1CE-C418E167A34E}"/>
                </a:ext>
              </a:extLst>
            </p:cNvPr>
            <p:cNvSpPr/>
            <p:nvPr/>
          </p:nvSpPr>
          <p:spPr>
            <a:xfrm rot="8716295">
              <a:off x="2566785" y="322967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" name="Forme libre : forme 106">
              <a:extLst>
                <a:ext uri="{FF2B5EF4-FFF2-40B4-BE49-F238E27FC236}">
                  <a16:creationId xmlns:a16="http://schemas.microsoft.com/office/drawing/2014/main" id="{58328446-A7EA-46E8-B0B2-5078B627604C}"/>
                </a:ext>
              </a:extLst>
            </p:cNvPr>
            <p:cNvSpPr/>
            <p:nvPr/>
          </p:nvSpPr>
          <p:spPr>
            <a:xfrm rot="8716295">
              <a:off x="2441883" y="302100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" name="Forme libre : forme 107">
              <a:extLst>
                <a:ext uri="{FF2B5EF4-FFF2-40B4-BE49-F238E27FC236}">
                  <a16:creationId xmlns:a16="http://schemas.microsoft.com/office/drawing/2014/main" id="{358F3EE5-D858-432A-A907-9710D31351C8}"/>
                </a:ext>
              </a:extLst>
            </p:cNvPr>
            <p:cNvSpPr/>
            <p:nvPr/>
          </p:nvSpPr>
          <p:spPr>
            <a:xfrm rot="8716295">
              <a:off x="2656963" y="327062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" name="Forme libre : forme 108">
              <a:extLst>
                <a:ext uri="{FF2B5EF4-FFF2-40B4-BE49-F238E27FC236}">
                  <a16:creationId xmlns:a16="http://schemas.microsoft.com/office/drawing/2014/main" id="{B0966A7E-6D89-444C-8034-A9352897C897}"/>
                </a:ext>
              </a:extLst>
            </p:cNvPr>
            <p:cNvSpPr/>
            <p:nvPr/>
          </p:nvSpPr>
          <p:spPr>
            <a:xfrm rot="8716295">
              <a:off x="2415512" y="312102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" name="Forme libre : forme 109">
              <a:extLst>
                <a:ext uri="{FF2B5EF4-FFF2-40B4-BE49-F238E27FC236}">
                  <a16:creationId xmlns:a16="http://schemas.microsoft.com/office/drawing/2014/main" id="{37222F27-8DF7-4207-88C1-2429DD93BED2}"/>
                </a:ext>
              </a:extLst>
            </p:cNvPr>
            <p:cNvSpPr/>
            <p:nvPr/>
          </p:nvSpPr>
          <p:spPr>
            <a:xfrm rot="7484129">
              <a:off x="2761894" y="346198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" name="Forme libre : forme 110">
              <a:extLst>
                <a:ext uri="{FF2B5EF4-FFF2-40B4-BE49-F238E27FC236}">
                  <a16:creationId xmlns:a16="http://schemas.microsoft.com/office/drawing/2014/main" id="{993939CC-3AE4-419F-A9EE-0969EF61AE9B}"/>
                </a:ext>
              </a:extLst>
            </p:cNvPr>
            <p:cNvSpPr/>
            <p:nvPr/>
          </p:nvSpPr>
          <p:spPr>
            <a:xfrm rot="13089394">
              <a:off x="2866714" y="342851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" name="Forme libre : forme 111">
              <a:extLst>
                <a:ext uri="{FF2B5EF4-FFF2-40B4-BE49-F238E27FC236}">
                  <a16:creationId xmlns:a16="http://schemas.microsoft.com/office/drawing/2014/main" id="{A6A63E2F-4261-4DBF-8276-418D86D19210}"/>
                </a:ext>
              </a:extLst>
            </p:cNvPr>
            <p:cNvSpPr/>
            <p:nvPr/>
          </p:nvSpPr>
          <p:spPr>
            <a:xfrm rot="8716295">
              <a:off x="3052299" y="323683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" name="Forme libre : forme 112">
              <a:extLst>
                <a:ext uri="{FF2B5EF4-FFF2-40B4-BE49-F238E27FC236}">
                  <a16:creationId xmlns:a16="http://schemas.microsoft.com/office/drawing/2014/main" id="{1F2896C9-A0C7-4B2C-B1EE-DCCCD9009233}"/>
                </a:ext>
              </a:extLst>
            </p:cNvPr>
            <p:cNvSpPr/>
            <p:nvPr/>
          </p:nvSpPr>
          <p:spPr>
            <a:xfrm rot="8716295">
              <a:off x="3000494" y="313324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" name="Forme libre : forme 113">
              <a:extLst>
                <a:ext uri="{FF2B5EF4-FFF2-40B4-BE49-F238E27FC236}">
                  <a16:creationId xmlns:a16="http://schemas.microsoft.com/office/drawing/2014/main" id="{BFC2A5AA-74CC-447F-BCB7-82C53A9C1EBE}"/>
                </a:ext>
              </a:extLst>
            </p:cNvPr>
            <p:cNvSpPr/>
            <p:nvPr/>
          </p:nvSpPr>
          <p:spPr>
            <a:xfrm rot="8716295">
              <a:off x="2757248" y="316346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" name="Forme libre : forme 114">
              <a:extLst>
                <a:ext uri="{FF2B5EF4-FFF2-40B4-BE49-F238E27FC236}">
                  <a16:creationId xmlns:a16="http://schemas.microsoft.com/office/drawing/2014/main" id="{7736B671-8666-4922-9305-32A24DFDD7BC}"/>
                </a:ext>
              </a:extLst>
            </p:cNvPr>
            <p:cNvSpPr/>
            <p:nvPr/>
          </p:nvSpPr>
          <p:spPr>
            <a:xfrm rot="8716295">
              <a:off x="2934700" y="300421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" name="Forme libre : forme 115">
              <a:extLst>
                <a:ext uri="{FF2B5EF4-FFF2-40B4-BE49-F238E27FC236}">
                  <a16:creationId xmlns:a16="http://schemas.microsoft.com/office/drawing/2014/main" id="{4CF00AFF-9FDA-4C59-A1DE-7CCCB194DEA5}"/>
                </a:ext>
              </a:extLst>
            </p:cNvPr>
            <p:cNvSpPr/>
            <p:nvPr/>
          </p:nvSpPr>
          <p:spPr>
            <a:xfrm rot="8716295">
              <a:off x="2865744" y="5089178"/>
              <a:ext cx="140009" cy="103412"/>
            </a:xfrm>
            <a:custGeom>
              <a:avLst/>
              <a:gdLst>
                <a:gd name="connsiteX0" fmla="*/ 23004 w 140009"/>
                <a:gd name="connsiteY0" fmla="*/ 73821 h 103412"/>
                <a:gd name="connsiteX1" fmla="*/ 2853 w 140009"/>
                <a:gd name="connsiteY1" fmla="*/ 34034 h 103412"/>
                <a:gd name="connsiteX2" fmla="*/ 0 w 140009"/>
                <a:gd name="connsiteY2" fmla="*/ 0 h 103412"/>
                <a:gd name="connsiteX3" fmla="*/ 140009 w 140009"/>
                <a:gd name="connsiteY3" fmla="*/ 97050 h 103412"/>
                <a:gd name="connsiteX4" fmla="*/ 137354 w 140009"/>
                <a:gd name="connsiteY4" fmla="*/ 97759 h 103412"/>
                <a:gd name="connsiteX5" fmla="*/ 95370 w 140009"/>
                <a:gd name="connsiteY5" fmla="*/ 103238 h 103412"/>
                <a:gd name="connsiteX6" fmla="*/ 23004 w 140009"/>
                <a:gd name="connsiteY6" fmla="*/ 73821 h 103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0009" h="103412">
                  <a:moveTo>
                    <a:pt x="23004" y="73821"/>
                  </a:moveTo>
                  <a:cubicBezTo>
                    <a:pt x="13002" y="64113"/>
                    <a:pt x="6677" y="50875"/>
                    <a:pt x="2853" y="34034"/>
                  </a:cubicBezTo>
                  <a:lnTo>
                    <a:pt x="0" y="0"/>
                  </a:lnTo>
                  <a:lnTo>
                    <a:pt x="140009" y="97050"/>
                  </a:lnTo>
                  <a:lnTo>
                    <a:pt x="137354" y="97759"/>
                  </a:lnTo>
                  <a:cubicBezTo>
                    <a:pt x="121846" y="100775"/>
                    <a:pt x="107579" y="102502"/>
                    <a:pt x="95370" y="103238"/>
                  </a:cubicBezTo>
                  <a:cubicBezTo>
                    <a:pt x="68307" y="105003"/>
                    <a:pt x="41831" y="93236"/>
                    <a:pt x="23004" y="7382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" name="Forme libre : forme 116">
              <a:extLst>
                <a:ext uri="{FF2B5EF4-FFF2-40B4-BE49-F238E27FC236}">
                  <a16:creationId xmlns:a16="http://schemas.microsoft.com/office/drawing/2014/main" id="{7486FE8B-6DC8-400F-8B49-3D0FF59EDA59}"/>
                </a:ext>
              </a:extLst>
            </p:cNvPr>
            <p:cNvSpPr/>
            <p:nvPr/>
          </p:nvSpPr>
          <p:spPr>
            <a:xfrm rot="8716295">
              <a:off x="2608590" y="404968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" name="Forme libre : forme 117">
              <a:extLst>
                <a:ext uri="{FF2B5EF4-FFF2-40B4-BE49-F238E27FC236}">
                  <a16:creationId xmlns:a16="http://schemas.microsoft.com/office/drawing/2014/main" id="{409E4F60-3261-496F-85E7-0CED778B23AA}"/>
                </a:ext>
              </a:extLst>
            </p:cNvPr>
            <p:cNvSpPr/>
            <p:nvPr/>
          </p:nvSpPr>
          <p:spPr>
            <a:xfrm rot="8716295">
              <a:off x="2697982" y="407892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" name="Forme libre : forme 118">
              <a:extLst>
                <a:ext uri="{FF2B5EF4-FFF2-40B4-BE49-F238E27FC236}">
                  <a16:creationId xmlns:a16="http://schemas.microsoft.com/office/drawing/2014/main" id="{B4A7442C-1C02-4AB6-8CC3-22865B34D758}"/>
                </a:ext>
              </a:extLst>
            </p:cNvPr>
            <p:cNvSpPr/>
            <p:nvPr/>
          </p:nvSpPr>
          <p:spPr>
            <a:xfrm rot="8716295">
              <a:off x="2653132" y="399264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" name="Forme libre : forme 119">
              <a:extLst>
                <a:ext uri="{FF2B5EF4-FFF2-40B4-BE49-F238E27FC236}">
                  <a16:creationId xmlns:a16="http://schemas.microsoft.com/office/drawing/2014/main" id="{84547BFC-5C73-4C79-BC1E-65D2DA2F8F0F}"/>
                </a:ext>
              </a:extLst>
            </p:cNvPr>
            <p:cNvSpPr/>
            <p:nvPr/>
          </p:nvSpPr>
          <p:spPr>
            <a:xfrm rot="8716295">
              <a:off x="2496356" y="413822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" name="Forme libre : forme 120">
              <a:extLst>
                <a:ext uri="{FF2B5EF4-FFF2-40B4-BE49-F238E27FC236}">
                  <a16:creationId xmlns:a16="http://schemas.microsoft.com/office/drawing/2014/main" id="{1433A272-01C5-407E-A681-F11EFA1E77DE}"/>
                </a:ext>
              </a:extLst>
            </p:cNvPr>
            <p:cNvSpPr/>
            <p:nvPr/>
          </p:nvSpPr>
          <p:spPr>
            <a:xfrm rot="8716295">
              <a:off x="2371453" y="392955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" name="Forme libre : forme 121">
              <a:extLst>
                <a:ext uri="{FF2B5EF4-FFF2-40B4-BE49-F238E27FC236}">
                  <a16:creationId xmlns:a16="http://schemas.microsoft.com/office/drawing/2014/main" id="{B66B2FCE-B89D-4CFE-947C-F30A5386F13E}"/>
                </a:ext>
              </a:extLst>
            </p:cNvPr>
            <p:cNvSpPr/>
            <p:nvPr/>
          </p:nvSpPr>
          <p:spPr>
            <a:xfrm rot="8716295">
              <a:off x="2359401" y="379077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" name="Forme libre : forme 122">
              <a:extLst>
                <a:ext uri="{FF2B5EF4-FFF2-40B4-BE49-F238E27FC236}">
                  <a16:creationId xmlns:a16="http://schemas.microsoft.com/office/drawing/2014/main" id="{CB1F906C-3F04-489D-B712-86F36DCF301D}"/>
                </a:ext>
              </a:extLst>
            </p:cNvPr>
            <p:cNvSpPr/>
            <p:nvPr/>
          </p:nvSpPr>
          <p:spPr>
            <a:xfrm rot="8716295">
              <a:off x="2586534" y="417917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" name="Forme libre : forme 123">
              <a:extLst>
                <a:ext uri="{FF2B5EF4-FFF2-40B4-BE49-F238E27FC236}">
                  <a16:creationId xmlns:a16="http://schemas.microsoft.com/office/drawing/2014/main" id="{BA0DE2D1-2098-4B24-BF1D-8B4133E050A7}"/>
                </a:ext>
              </a:extLst>
            </p:cNvPr>
            <p:cNvSpPr/>
            <p:nvPr/>
          </p:nvSpPr>
          <p:spPr>
            <a:xfrm rot="8716295">
              <a:off x="2897689" y="379952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" name="Forme libre : forme 124">
              <a:extLst>
                <a:ext uri="{FF2B5EF4-FFF2-40B4-BE49-F238E27FC236}">
                  <a16:creationId xmlns:a16="http://schemas.microsoft.com/office/drawing/2014/main" id="{280C5645-8889-4114-AA92-3C2F280AAAB1}"/>
                </a:ext>
              </a:extLst>
            </p:cNvPr>
            <p:cNvSpPr/>
            <p:nvPr/>
          </p:nvSpPr>
          <p:spPr>
            <a:xfrm rot="8716295">
              <a:off x="2989368" y="3839999"/>
              <a:ext cx="209149" cy="253771"/>
            </a:xfrm>
            <a:custGeom>
              <a:avLst/>
              <a:gdLst>
                <a:gd name="connsiteX0" fmla="*/ 147179 w 209149"/>
                <a:gd name="connsiteY0" fmla="*/ 97023 h 253771"/>
                <a:gd name="connsiteX1" fmla="*/ 147179 w 209149"/>
                <a:gd name="connsiteY1" fmla="*/ 80620 h 253771"/>
                <a:gd name="connsiteX2" fmla="*/ 113460 w 209149"/>
                <a:gd name="connsiteY2" fmla="*/ 39154 h 253771"/>
                <a:gd name="connsiteX3" fmla="*/ 104592 w 209149"/>
                <a:gd name="connsiteY3" fmla="*/ 42082 h 253771"/>
                <a:gd name="connsiteX4" fmla="*/ 139399 w 209149"/>
                <a:gd name="connsiteY4" fmla="*/ 0 h 253771"/>
                <a:gd name="connsiteX5" fmla="*/ 165512 w 209149"/>
                <a:gd name="connsiteY5" fmla="*/ 4538 h 253771"/>
                <a:gd name="connsiteX6" fmla="*/ 209149 w 209149"/>
                <a:gd name="connsiteY6" fmla="*/ 87454 h 253771"/>
                <a:gd name="connsiteX7" fmla="*/ 209149 w 209149"/>
                <a:gd name="connsiteY7" fmla="*/ 93378 h 253771"/>
                <a:gd name="connsiteX8" fmla="*/ 0 w 209149"/>
                <a:gd name="connsiteY8" fmla="*/ 253771 h 253771"/>
                <a:gd name="connsiteX9" fmla="*/ 0 w 209149"/>
                <a:gd name="connsiteY9" fmla="*/ 168537 h 253771"/>
                <a:gd name="connsiteX10" fmla="*/ 65782 w 209149"/>
                <a:gd name="connsiteY10" fmla="*/ 89005 h 253771"/>
                <a:gd name="connsiteX11" fmla="*/ 64377 w 209149"/>
                <a:gd name="connsiteY11" fmla="*/ 92403 h 253771"/>
                <a:gd name="connsiteX12" fmla="*/ 60148 w 209149"/>
                <a:gd name="connsiteY12" fmla="*/ 126641 h 253771"/>
                <a:gd name="connsiteX13" fmla="*/ 60148 w 209149"/>
                <a:gd name="connsiteY13" fmla="*/ 212762 h 253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9149" h="253771">
                  <a:moveTo>
                    <a:pt x="147179" y="97023"/>
                  </a:moveTo>
                  <a:lnTo>
                    <a:pt x="147179" y="80620"/>
                  </a:lnTo>
                  <a:cubicBezTo>
                    <a:pt x="147179" y="56013"/>
                    <a:pt x="133054" y="39154"/>
                    <a:pt x="113460" y="39154"/>
                  </a:cubicBezTo>
                  <a:lnTo>
                    <a:pt x="104592" y="42082"/>
                  </a:lnTo>
                  <a:lnTo>
                    <a:pt x="139399" y="0"/>
                  </a:lnTo>
                  <a:lnTo>
                    <a:pt x="165512" y="4538"/>
                  </a:lnTo>
                  <a:cubicBezTo>
                    <a:pt x="193258" y="16029"/>
                    <a:pt x="209149" y="45077"/>
                    <a:pt x="209149" y="87454"/>
                  </a:cubicBezTo>
                  <a:lnTo>
                    <a:pt x="209149" y="93378"/>
                  </a:lnTo>
                  <a:close/>
                  <a:moveTo>
                    <a:pt x="0" y="253771"/>
                  </a:moveTo>
                  <a:lnTo>
                    <a:pt x="0" y="168537"/>
                  </a:lnTo>
                  <a:lnTo>
                    <a:pt x="65782" y="89005"/>
                  </a:lnTo>
                  <a:lnTo>
                    <a:pt x="64377" y="92403"/>
                  </a:lnTo>
                  <a:cubicBezTo>
                    <a:pt x="61657" y="102890"/>
                    <a:pt x="60148" y="114452"/>
                    <a:pt x="60148" y="126641"/>
                  </a:cubicBezTo>
                  <a:lnTo>
                    <a:pt x="60148" y="2127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" name="Forme libre : forme 125">
              <a:extLst>
                <a:ext uri="{FF2B5EF4-FFF2-40B4-BE49-F238E27FC236}">
                  <a16:creationId xmlns:a16="http://schemas.microsoft.com/office/drawing/2014/main" id="{12C74CA9-7295-4DD3-B257-BC02E33DC169}"/>
                </a:ext>
              </a:extLst>
            </p:cNvPr>
            <p:cNvSpPr/>
            <p:nvPr/>
          </p:nvSpPr>
          <p:spPr>
            <a:xfrm rot="8716295">
              <a:off x="2785455" y="388807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" name="Forme libre : forme 126">
              <a:extLst>
                <a:ext uri="{FF2B5EF4-FFF2-40B4-BE49-F238E27FC236}">
                  <a16:creationId xmlns:a16="http://schemas.microsoft.com/office/drawing/2014/main" id="{5EABE596-751A-434B-B681-D5C7A4015BC8}"/>
                </a:ext>
              </a:extLst>
            </p:cNvPr>
            <p:cNvSpPr/>
            <p:nvPr/>
          </p:nvSpPr>
          <p:spPr>
            <a:xfrm rot="8716295">
              <a:off x="2660553" y="367940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" name="Forme libre : forme 127">
              <a:extLst>
                <a:ext uri="{FF2B5EF4-FFF2-40B4-BE49-F238E27FC236}">
                  <a16:creationId xmlns:a16="http://schemas.microsoft.com/office/drawing/2014/main" id="{34A25BB8-E5A6-43A3-A6BE-6CBEBC3F2CD9}"/>
                </a:ext>
              </a:extLst>
            </p:cNvPr>
            <p:cNvSpPr/>
            <p:nvPr/>
          </p:nvSpPr>
          <p:spPr>
            <a:xfrm rot="8716295">
              <a:off x="2875633" y="392902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" name="Forme libre : forme 128">
              <a:extLst>
                <a:ext uri="{FF2B5EF4-FFF2-40B4-BE49-F238E27FC236}">
                  <a16:creationId xmlns:a16="http://schemas.microsoft.com/office/drawing/2014/main" id="{BC27C288-1E66-4F8B-924C-4EDB2BC25294}"/>
                </a:ext>
              </a:extLst>
            </p:cNvPr>
            <p:cNvSpPr/>
            <p:nvPr/>
          </p:nvSpPr>
          <p:spPr>
            <a:xfrm rot="8716295">
              <a:off x="2634182" y="377942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" name="Forme libre : forme 129">
              <a:extLst>
                <a:ext uri="{FF2B5EF4-FFF2-40B4-BE49-F238E27FC236}">
                  <a16:creationId xmlns:a16="http://schemas.microsoft.com/office/drawing/2014/main" id="{C22A0888-0C9E-4945-82D7-7EE608C46CC7}"/>
                </a:ext>
              </a:extLst>
            </p:cNvPr>
            <p:cNvSpPr/>
            <p:nvPr/>
          </p:nvSpPr>
          <p:spPr>
            <a:xfrm rot="7484129">
              <a:off x="2986722" y="4140706"/>
              <a:ext cx="156000" cy="195873"/>
            </a:xfrm>
            <a:custGeom>
              <a:avLst/>
              <a:gdLst>
                <a:gd name="connsiteX0" fmla="*/ 42863 w 156000"/>
                <a:gd name="connsiteY0" fmla="*/ 195873 h 195873"/>
                <a:gd name="connsiteX1" fmla="*/ 0 w 156000"/>
                <a:gd name="connsiteY1" fmla="*/ 116129 h 195873"/>
                <a:gd name="connsiteX2" fmla="*/ 19423 w 156000"/>
                <a:gd name="connsiteY2" fmla="*/ 62274 h 195873"/>
                <a:gd name="connsiteX3" fmla="*/ 127856 w 156000"/>
                <a:gd name="connsiteY3" fmla="*/ 0 h 195873"/>
                <a:gd name="connsiteX4" fmla="*/ 156000 w 156000"/>
                <a:gd name="connsiteY4" fmla="*/ 0 h 195873"/>
                <a:gd name="connsiteX5" fmla="*/ 156000 w 156000"/>
                <a:gd name="connsiteY5" fmla="*/ 55323 h 195873"/>
                <a:gd name="connsiteX6" fmla="*/ 91208 w 156000"/>
                <a:gd name="connsiteY6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000" h="195873">
                  <a:moveTo>
                    <a:pt x="42863" y="195873"/>
                  </a:moveTo>
                  <a:lnTo>
                    <a:pt x="0" y="116129"/>
                  </a:lnTo>
                  <a:lnTo>
                    <a:pt x="19423" y="62274"/>
                  </a:lnTo>
                  <a:lnTo>
                    <a:pt x="127856" y="0"/>
                  </a:lnTo>
                  <a:lnTo>
                    <a:pt x="156000" y="0"/>
                  </a:lnTo>
                  <a:lnTo>
                    <a:pt x="156000" y="55323"/>
                  </a:lnTo>
                  <a:lnTo>
                    <a:pt x="91208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" name="Forme libre : forme 130">
              <a:extLst>
                <a:ext uri="{FF2B5EF4-FFF2-40B4-BE49-F238E27FC236}">
                  <a16:creationId xmlns:a16="http://schemas.microsoft.com/office/drawing/2014/main" id="{B1E3FE16-8016-4EF3-8614-3D1D60105986}"/>
                </a:ext>
              </a:extLst>
            </p:cNvPr>
            <p:cNvSpPr/>
            <p:nvPr/>
          </p:nvSpPr>
          <p:spPr>
            <a:xfrm rot="8716295">
              <a:off x="2975918" y="382185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" name="Forme libre : forme 131">
              <a:extLst>
                <a:ext uri="{FF2B5EF4-FFF2-40B4-BE49-F238E27FC236}">
                  <a16:creationId xmlns:a16="http://schemas.microsoft.com/office/drawing/2014/main" id="{E69AE829-0E6B-4637-B9A4-FB76BF7CE509}"/>
                </a:ext>
              </a:extLst>
            </p:cNvPr>
            <p:cNvSpPr/>
            <p:nvPr/>
          </p:nvSpPr>
          <p:spPr>
            <a:xfrm rot="8716295">
              <a:off x="3136327" y="3677877"/>
              <a:ext cx="62210" cy="70771"/>
            </a:xfrm>
            <a:custGeom>
              <a:avLst/>
              <a:gdLst>
                <a:gd name="connsiteX0" fmla="*/ 0 w 62210"/>
                <a:gd name="connsiteY0" fmla="*/ 69343 h 70771"/>
                <a:gd name="connsiteX1" fmla="*/ 57354 w 62210"/>
                <a:gd name="connsiteY1" fmla="*/ 0 h 70771"/>
                <a:gd name="connsiteX2" fmla="*/ 62210 w 62210"/>
                <a:gd name="connsiteY2" fmla="*/ 11557 h 70771"/>
                <a:gd name="connsiteX3" fmla="*/ 44963 w 62210"/>
                <a:gd name="connsiteY3" fmla="*/ 53294 h 70771"/>
                <a:gd name="connsiteX4" fmla="*/ 3570 w 62210"/>
                <a:gd name="connsiteY4" fmla="*/ 70771 h 70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210" h="70771">
                  <a:moveTo>
                    <a:pt x="0" y="69343"/>
                  </a:moveTo>
                  <a:lnTo>
                    <a:pt x="57354" y="0"/>
                  </a:lnTo>
                  <a:lnTo>
                    <a:pt x="62210" y="11557"/>
                  </a:lnTo>
                  <a:cubicBezTo>
                    <a:pt x="62210" y="26619"/>
                    <a:pt x="56461" y="41796"/>
                    <a:pt x="44963" y="53294"/>
                  </a:cubicBezTo>
                  <a:cubicBezTo>
                    <a:pt x="33925" y="64332"/>
                    <a:pt x="19208" y="70771"/>
                    <a:pt x="3570" y="7077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" name="Forme libre : forme 132">
              <a:extLst>
                <a:ext uri="{FF2B5EF4-FFF2-40B4-BE49-F238E27FC236}">
                  <a16:creationId xmlns:a16="http://schemas.microsoft.com/office/drawing/2014/main" id="{D37688C2-C0A6-4E05-B609-4CB494CE709C}"/>
                </a:ext>
              </a:extLst>
            </p:cNvPr>
            <p:cNvSpPr/>
            <p:nvPr/>
          </p:nvSpPr>
          <p:spPr>
            <a:xfrm rot="8716295">
              <a:off x="2831757" y="470938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" name="Forme libre : forme 133">
              <a:extLst>
                <a:ext uri="{FF2B5EF4-FFF2-40B4-BE49-F238E27FC236}">
                  <a16:creationId xmlns:a16="http://schemas.microsoft.com/office/drawing/2014/main" id="{A3A6BF4C-1E72-4FF3-8FB3-699E9245E152}"/>
                </a:ext>
              </a:extLst>
            </p:cNvPr>
            <p:cNvSpPr/>
            <p:nvPr/>
          </p:nvSpPr>
          <p:spPr>
            <a:xfrm rot="8716295">
              <a:off x="2922791" y="4750051"/>
              <a:ext cx="209149" cy="251506"/>
            </a:xfrm>
            <a:custGeom>
              <a:avLst/>
              <a:gdLst>
                <a:gd name="connsiteX0" fmla="*/ 147179 w 209149"/>
                <a:gd name="connsiteY0" fmla="*/ 94758 h 251506"/>
                <a:gd name="connsiteX1" fmla="*/ 147179 w 209149"/>
                <a:gd name="connsiteY1" fmla="*/ 78354 h 251506"/>
                <a:gd name="connsiteX2" fmla="*/ 137667 w 209149"/>
                <a:gd name="connsiteY2" fmla="*/ 48394 h 251506"/>
                <a:gd name="connsiteX3" fmla="*/ 119535 w 209149"/>
                <a:gd name="connsiteY3" fmla="*/ 39776 h 251506"/>
                <a:gd name="connsiteX4" fmla="*/ 152434 w 209149"/>
                <a:gd name="connsiteY4" fmla="*/ 0 h 251506"/>
                <a:gd name="connsiteX5" fmla="*/ 165512 w 209149"/>
                <a:gd name="connsiteY5" fmla="*/ 2273 h 251506"/>
                <a:gd name="connsiteX6" fmla="*/ 209149 w 209149"/>
                <a:gd name="connsiteY6" fmla="*/ 85189 h 251506"/>
                <a:gd name="connsiteX7" fmla="*/ 209149 w 209149"/>
                <a:gd name="connsiteY7" fmla="*/ 91113 h 251506"/>
                <a:gd name="connsiteX8" fmla="*/ 0 w 209149"/>
                <a:gd name="connsiteY8" fmla="*/ 251506 h 251506"/>
                <a:gd name="connsiteX9" fmla="*/ 0 w 209149"/>
                <a:gd name="connsiteY9" fmla="*/ 184297 h 251506"/>
                <a:gd name="connsiteX10" fmla="*/ 62006 w 209149"/>
                <a:gd name="connsiteY10" fmla="*/ 109330 h 251506"/>
                <a:gd name="connsiteX11" fmla="*/ 60148 w 209149"/>
                <a:gd name="connsiteY11" fmla="*/ 124376 h 251506"/>
                <a:gd name="connsiteX12" fmla="*/ 60148 w 209149"/>
                <a:gd name="connsiteY12" fmla="*/ 210497 h 251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9149" h="251506">
                  <a:moveTo>
                    <a:pt x="147179" y="94758"/>
                  </a:moveTo>
                  <a:lnTo>
                    <a:pt x="147179" y="78354"/>
                  </a:lnTo>
                  <a:cubicBezTo>
                    <a:pt x="147179" y="66051"/>
                    <a:pt x="143648" y="55685"/>
                    <a:pt x="137667" y="48394"/>
                  </a:cubicBezTo>
                  <a:lnTo>
                    <a:pt x="119535" y="39776"/>
                  </a:lnTo>
                  <a:lnTo>
                    <a:pt x="152434" y="0"/>
                  </a:lnTo>
                  <a:lnTo>
                    <a:pt x="165512" y="2273"/>
                  </a:lnTo>
                  <a:cubicBezTo>
                    <a:pt x="193258" y="13764"/>
                    <a:pt x="209149" y="42812"/>
                    <a:pt x="209149" y="85189"/>
                  </a:cubicBezTo>
                  <a:lnTo>
                    <a:pt x="209149" y="91113"/>
                  </a:lnTo>
                  <a:close/>
                  <a:moveTo>
                    <a:pt x="0" y="251506"/>
                  </a:moveTo>
                  <a:lnTo>
                    <a:pt x="0" y="184297"/>
                  </a:lnTo>
                  <a:lnTo>
                    <a:pt x="62006" y="109330"/>
                  </a:lnTo>
                  <a:lnTo>
                    <a:pt x="60148" y="124376"/>
                  </a:lnTo>
                  <a:lnTo>
                    <a:pt x="60148" y="21049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" name="Forme libre : forme 134">
              <a:extLst>
                <a:ext uri="{FF2B5EF4-FFF2-40B4-BE49-F238E27FC236}">
                  <a16:creationId xmlns:a16="http://schemas.microsoft.com/office/drawing/2014/main" id="{5140B893-7827-4D80-AD77-FD3E70DDBAED}"/>
                </a:ext>
              </a:extLst>
            </p:cNvPr>
            <p:cNvSpPr/>
            <p:nvPr/>
          </p:nvSpPr>
          <p:spPr>
            <a:xfrm rot="8716295">
              <a:off x="2876299" y="465234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" name="Forme libre : forme 135">
              <a:extLst>
                <a:ext uri="{FF2B5EF4-FFF2-40B4-BE49-F238E27FC236}">
                  <a16:creationId xmlns:a16="http://schemas.microsoft.com/office/drawing/2014/main" id="{CEF19F0C-E18C-48D8-9AB5-6885668C7FC0}"/>
                </a:ext>
              </a:extLst>
            </p:cNvPr>
            <p:cNvSpPr/>
            <p:nvPr/>
          </p:nvSpPr>
          <p:spPr>
            <a:xfrm rot="8716295">
              <a:off x="2719523" y="479792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" name="Forme libre : forme 136">
              <a:extLst>
                <a:ext uri="{FF2B5EF4-FFF2-40B4-BE49-F238E27FC236}">
                  <a16:creationId xmlns:a16="http://schemas.microsoft.com/office/drawing/2014/main" id="{0BB22A70-3803-482F-84FC-984B6EC6C374}"/>
                </a:ext>
              </a:extLst>
            </p:cNvPr>
            <p:cNvSpPr/>
            <p:nvPr/>
          </p:nvSpPr>
          <p:spPr>
            <a:xfrm rot="8716295">
              <a:off x="2594620" y="458925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" name="Forme libre : forme 137">
              <a:extLst>
                <a:ext uri="{FF2B5EF4-FFF2-40B4-BE49-F238E27FC236}">
                  <a16:creationId xmlns:a16="http://schemas.microsoft.com/office/drawing/2014/main" id="{BB66996B-CABF-4C18-97CF-8361430CCC5E}"/>
                </a:ext>
              </a:extLst>
            </p:cNvPr>
            <p:cNvSpPr/>
            <p:nvPr/>
          </p:nvSpPr>
          <p:spPr>
            <a:xfrm rot="8716295">
              <a:off x="2582568" y="4450471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" name="Forme libre : forme 138">
              <a:extLst>
                <a:ext uri="{FF2B5EF4-FFF2-40B4-BE49-F238E27FC236}">
                  <a16:creationId xmlns:a16="http://schemas.microsoft.com/office/drawing/2014/main" id="{EE47147C-71F2-4045-A9A2-5EC38820966E}"/>
                </a:ext>
              </a:extLst>
            </p:cNvPr>
            <p:cNvSpPr/>
            <p:nvPr/>
          </p:nvSpPr>
          <p:spPr>
            <a:xfrm rot="8716295">
              <a:off x="2809701" y="483887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" name="Forme libre : forme 139">
              <a:extLst>
                <a:ext uri="{FF2B5EF4-FFF2-40B4-BE49-F238E27FC236}">
                  <a16:creationId xmlns:a16="http://schemas.microsoft.com/office/drawing/2014/main" id="{89BAF661-43F0-4B4A-A23C-BA7CE46BDD71}"/>
                </a:ext>
              </a:extLst>
            </p:cNvPr>
            <p:cNvSpPr/>
            <p:nvPr/>
          </p:nvSpPr>
          <p:spPr>
            <a:xfrm rot="8716295">
              <a:off x="3081353" y="4514214"/>
              <a:ext cx="36672" cy="44337"/>
            </a:xfrm>
            <a:custGeom>
              <a:avLst/>
              <a:gdLst>
                <a:gd name="connsiteX0" fmla="*/ 0 w 36672"/>
                <a:gd name="connsiteY0" fmla="*/ 44337 h 44337"/>
                <a:gd name="connsiteX1" fmla="*/ 36672 w 36672"/>
                <a:gd name="connsiteY1" fmla="*/ 0 h 44337"/>
                <a:gd name="connsiteX2" fmla="*/ 36672 w 36672"/>
                <a:gd name="connsiteY2" fmla="*/ 29833 h 44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672" h="44337">
                  <a:moveTo>
                    <a:pt x="0" y="44337"/>
                  </a:moveTo>
                  <a:lnTo>
                    <a:pt x="36672" y="0"/>
                  </a:lnTo>
                  <a:lnTo>
                    <a:pt x="36672" y="298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" name="Forme libre : forme 140">
              <a:extLst>
                <a:ext uri="{FF2B5EF4-FFF2-40B4-BE49-F238E27FC236}">
                  <a16:creationId xmlns:a16="http://schemas.microsoft.com/office/drawing/2014/main" id="{63A651C5-5D05-4459-83FE-EB640DC8F382}"/>
                </a:ext>
              </a:extLst>
            </p:cNvPr>
            <p:cNvSpPr/>
            <p:nvPr/>
          </p:nvSpPr>
          <p:spPr>
            <a:xfrm rot="8716295">
              <a:off x="3008622" y="45477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" name="Forme libre : forme 141">
              <a:extLst>
                <a:ext uri="{FF2B5EF4-FFF2-40B4-BE49-F238E27FC236}">
                  <a16:creationId xmlns:a16="http://schemas.microsoft.com/office/drawing/2014/main" id="{092AE7DF-4653-4199-BFAC-73916EFC860A}"/>
                </a:ext>
              </a:extLst>
            </p:cNvPr>
            <p:cNvSpPr/>
            <p:nvPr/>
          </p:nvSpPr>
          <p:spPr>
            <a:xfrm rot="8716295">
              <a:off x="2879209" y="433901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22587 h 195874"/>
                <a:gd name="connsiteX5" fmla="*/ 18682 w 203847"/>
                <a:gd name="connsiteY5" fmla="*/ 0 h 195874"/>
                <a:gd name="connsiteX6" fmla="*/ 203847 w 203847"/>
                <a:gd name="connsiteY6" fmla="*/ 0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22587"/>
                  </a:lnTo>
                  <a:lnTo>
                    <a:pt x="18682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" name="Forme libre : forme 142">
              <a:extLst>
                <a:ext uri="{FF2B5EF4-FFF2-40B4-BE49-F238E27FC236}">
                  <a16:creationId xmlns:a16="http://schemas.microsoft.com/office/drawing/2014/main" id="{D41ED30F-3026-421E-ABA6-358575487EBA}"/>
                </a:ext>
              </a:extLst>
            </p:cNvPr>
            <p:cNvSpPr/>
            <p:nvPr/>
          </p:nvSpPr>
          <p:spPr>
            <a:xfrm rot="8716295">
              <a:off x="3061023" y="4621511"/>
              <a:ext cx="34902" cy="75779"/>
            </a:xfrm>
            <a:custGeom>
              <a:avLst/>
              <a:gdLst>
                <a:gd name="connsiteX0" fmla="*/ 34902 w 34902"/>
                <a:gd name="connsiteY0" fmla="*/ 75779 h 75779"/>
                <a:gd name="connsiteX1" fmla="*/ 0 w 34902"/>
                <a:gd name="connsiteY1" fmla="*/ 42198 h 75779"/>
                <a:gd name="connsiteX2" fmla="*/ 34902 w 34902"/>
                <a:gd name="connsiteY2" fmla="*/ 0 h 75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902" h="75779">
                  <a:moveTo>
                    <a:pt x="34902" y="75779"/>
                  </a:moveTo>
                  <a:lnTo>
                    <a:pt x="0" y="42198"/>
                  </a:lnTo>
                  <a:lnTo>
                    <a:pt x="3490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4" name="Forme libre : forme 143">
              <a:extLst>
                <a:ext uri="{FF2B5EF4-FFF2-40B4-BE49-F238E27FC236}">
                  <a16:creationId xmlns:a16="http://schemas.microsoft.com/office/drawing/2014/main" id="{3F91EA7A-2760-47AB-B973-A377384BFCEB}"/>
                </a:ext>
              </a:extLst>
            </p:cNvPr>
            <p:cNvSpPr/>
            <p:nvPr/>
          </p:nvSpPr>
          <p:spPr>
            <a:xfrm rot="8716295">
              <a:off x="2857349" y="443912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5" name="Forme libre : forme 144">
              <a:extLst>
                <a:ext uri="{FF2B5EF4-FFF2-40B4-BE49-F238E27FC236}">
                  <a16:creationId xmlns:a16="http://schemas.microsoft.com/office/drawing/2014/main" id="{41EE0DAC-E1CD-4DF6-B038-DF99C017AF47}"/>
                </a:ext>
              </a:extLst>
            </p:cNvPr>
            <p:cNvSpPr/>
            <p:nvPr/>
          </p:nvSpPr>
          <p:spPr>
            <a:xfrm rot="8716295">
              <a:off x="1945235" y="207061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6" name="Forme libre : forme 145">
              <a:extLst>
                <a:ext uri="{FF2B5EF4-FFF2-40B4-BE49-F238E27FC236}">
                  <a16:creationId xmlns:a16="http://schemas.microsoft.com/office/drawing/2014/main" id="{280B0FCB-6B6E-4C11-92C1-4D7A5EC1D4AD}"/>
                </a:ext>
              </a:extLst>
            </p:cNvPr>
            <p:cNvSpPr/>
            <p:nvPr/>
          </p:nvSpPr>
          <p:spPr>
            <a:xfrm rot="8716295">
              <a:off x="2034627" y="209985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7" name="Forme libre : forme 146">
              <a:extLst>
                <a:ext uri="{FF2B5EF4-FFF2-40B4-BE49-F238E27FC236}">
                  <a16:creationId xmlns:a16="http://schemas.microsoft.com/office/drawing/2014/main" id="{9891BA28-484A-4733-8CF3-53CE88879C65}"/>
                </a:ext>
              </a:extLst>
            </p:cNvPr>
            <p:cNvSpPr/>
            <p:nvPr/>
          </p:nvSpPr>
          <p:spPr>
            <a:xfrm rot="8716295">
              <a:off x="1989777" y="201357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8" name="Forme libre : forme 147">
              <a:extLst>
                <a:ext uri="{FF2B5EF4-FFF2-40B4-BE49-F238E27FC236}">
                  <a16:creationId xmlns:a16="http://schemas.microsoft.com/office/drawing/2014/main" id="{9E43636F-0BE6-4C9B-B96D-D3D316F85163}"/>
                </a:ext>
              </a:extLst>
            </p:cNvPr>
            <p:cNvSpPr/>
            <p:nvPr/>
          </p:nvSpPr>
          <p:spPr>
            <a:xfrm rot="8716295">
              <a:off x="1833001" y="215915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9" name="Forme libre : forme 148">
              <a:extLst>
                <a:ext uri="{FF2B5EF4-FFF2-40B4-BE49-F238E27FC236}">
                  <a16:creationId xmlns:a16="http://schemas.microsoft.com/office/drawing/2014/main" id="{E5C5D07F-1F3F-49A7-9D1F-45F1F92DDF33}"/>
                </a:ext>
              </a:extLst>
            </p:cNvPr>
            <p:cNvSpPr/>
            <p:nvPr/>
          </p:nvSpPr>
          <p:spPr>
            <a:xfrm rot="8716295">
              <a:off x="1708098" y="195048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0" name="Forme libre : forme 149">
              <a:extLst>
                <a:ext uri="{FF2B5EF4-FFF2-40B4-BE49-F238E27FC236}">
                  <a16:creationId xmlns:a16="http://schemas.microsoft.com/office/drawing/2014/main" id="{207E57C6-B2AE-4BC9-A0BC-164A405D607B}"/>
                </a:ext>
              </a:extLst>
            </p:cNvPr>
            <p:cNvSpPr/>
            <p:nvPr/>
          </p:nvSpPr>
          <p:spPr>
            <a:xfrm rot="8716295">
              <a:off x="1696046" y="181170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1" name="Forme libre : forme 150">
              <a:extLst>
                <a:ext uri="{FF2B5EF4-FFF2-40B4-BE49-F238E27FC236}">
                  <a16:creationId xmlns:a16="http://schemas.microsoft.com/office/drawing/2014/main" id="{FD7783C5-00B3-479F-9977-DAF07693A1CC}"/>
                </a:ext>
              </a:extLst>
            </p:cNvPr>
            <p:cNvSpPr/>
            <p:nvPr/>
          </p:nvSpPr>
          <p:spPr>
            <a:xfrm rot="8716295">
              <a:off x="1923179" y="220010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2" name="Forme libre : forme 151">
              <a:extLst>
                <a:ext uri="{FF2B5EF4-FFF2-40B4-BE49-F238E27FC236}">
                  <a16:creationId xmlns:a16="http://schemas.microsoft.com/office/drawing/2014/main" id="{DEFBD7BA-14F9-43E3-A392-63B2C3EB3D89}"/>
                </a:ext>
              </a:extLst>
            </p:cNvPr>
            <p:cNvSpPr/>
            <p:nvPr/>
          </p:nvSpPr>
          <p:spPr>
            <a:xfrm rot="8716295">
              <a:off x="2234334" y="182046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3" name="Forme libre : forme 152">
              <a:extLst>
                <a:ext uri="{FF2B5EF4-FFF2-40B4-BE49-F238E27FC236}">
                  <a16:creationId xmlns:a16="http://schemas.microsoft.com/office/drawing/2014/main" id="{FA5B5BF3-F8F8-4C26-90BE-9AB63A9858C0}"/>
                </a:ext>
              </a:extLst>
            </p:cNvPr>
            <p:cNvSpPr/>
            <p:nvPr/>
          </p:nvSpPr>
          <p:spPr>
            <a:xfrm rot="8716295">
              <a:off x="2323726" y="184970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4" name="Forme libre : forme 153">
              <a:extLst>
                <a:ext uri="{FF2B5EF4-FFF2-40B4-BE49-F238E27FC236}">
                  <a16:creationId xmlns:a16="http://schemas.microsoft.com/office/drawing/2014/main" id="{7D4A76DD-C0C6-4680-9B5E-C0F67CFE2306}"/>
                </a:ext>
              </a:extLst>
            </p:cNvPr>
            <p:cNvSpPr/>
            <p:nvPr/>
          </p:nvSpPr>
          <p:spPr>
            <a:xfrm rot="8716295">
              <a:off x="2122100" y="19090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5" name="Forme libre : forme 154">
              <a:extLst>
                <a:ext uri="{FF2B5EF4-FFF2-40B4-BE49-F238E27FC236}">
                  <a16:creationId xmlns:a16="http://schemas.microsoft.com/office/drawing/2014/main" id="{6F20D922-BA49-4338-8552-0E24349BE40F}"/>
                </a:ext>
              </a:extLst>
            </p:cNvPr>
            <p:cNvSpPr/>
            <p:nvPr/>
          </p:nvSpPr>
          <p:spPr>
            <a:xfrm rot="8716295">
              <a:off x="1997198" y="170033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6" name="Forme libre : forme 155">
              <a:extLst>
                <a:ext uri="{FF2B5EF4-FFF2-40B4-BE49-F238E27FC236}">
                  <a16:creationId xmlns:a16="http://schemas.microsoft.com/office/drawing/2014/main" id="{C49CE272-F4B5-48DE-8F4E-72BDDD64982A}"/>
                </a:ext>
              </a:extLst>
            </p:cNvPr>
            <p:cNvSpPr/>
            <p:nvPr/>
          </p:nvSpPr>
          <p:spPr>
            <a:xfrm rot="8716295">
              <a:off x="2212278" y="194995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7" name="Forme libre : forme 156">
              <a:extLst>
                <a:ext uri="{FF2B5EF4-FFF2-40B4-BE49-F238E27FC236}">
                  <a16:creationId xmlns:a16="http://schemas.microsoft.com/office/drawing/2014/main" id="{89A0B9F3-EFEE-493B-B0C9-5CE4EF3AC015}"/>
                </a:ext>
              </a:extLst>
            </p:cNvPr>
            <p:cNvSpPr/>
            <p:nvPr/>
          </p:nvSpPr>
          <p:spPr>
            <a:xfrm rot="8716295">
              <a:off x="1970827" y="180035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8" name="Forme libre : forme 157">
              <a:extLst>
                <a:ext uri="{FF2B5EF4-FFF2-40B4-BE49-F238E27FC236}">
                  <a16:creationId xmlns:a16="http://schemas.microsoft.com/office/drawing/2014/main" id="{381186EF-923B-4BA3-A64F-0BC643A96F05}"/>
                </a:ext>
              </a:extLst>
            </p:cNvPr>
            <p:cNvSpPr/>
            <p:nvPr/>
          </p:nvSpPr>
          <p:spPr>
            <a:xfrm rot="7484129">
              <a:off x="2317209" y="214130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9" name="Forme libre : forme 158">
              <a:extLst>
                <a:ext uri="{FF2B5EF4-FFF2-40B4-BE49-F238E27FC236}">
                  <a16:creationId xmlns:a16="http://schemas.microsoft.com/office/drawing/2014/main" id="{788393C8-C36C-4E12-8713-6D9894A034E5}"/>
                </a:ext>
              </a:extLst>
            </p:cNvPr>
            <p:cNvSpPr/>
            <p:nvPr/>
          </p:nvSpPr>
          <p:spPr>
            <a:xfrm rot="13089394">
              <a:off x="2422029" y="2107841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0" name="Forme libre : forme 159">
              <a:extLst>
                <a:ext uri="{FF2B5EF4-FFF2-40B4-BE49-F238E27FC236}">
                  <a16:creationId xmlns:a16="http://schemas.microsoft.com/office/drawing/2014/main" id="{C4FA5850-C1BD-4E2E-921F-011D1E41FA44}"/>
                </a:ext>
              </a:extLst>
            </p:cNvPr>
            <p:cNvSpPr/>
            <p:nvPr/>
          </p:nvSpPr>
          <p:spPr>
            <a:xfrm rot="8716295">
              <a:off x="2607614" y="191616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1" name="Forme libre : forme 160">
              <a:extLst>
                <a:ext uri="{FF2B5EF4-FFF2-40B4-BE49-F238E27FC236}">
                  <a16:creationId xmlns:a16="http://schemas.microsoft.com/office/drawing/2014/main" id="{D19371A5-FFF2-4505-BA78-FDBD81E756C8}"/>
                </a:ext>
              </a:extLst>
            </p:cNvPr>
            <p:cNvSpPr/>
            <p:nvPr/>
          </p:nvSpPr>
          <p:spPr>
            <a:xfrm rot="8716295">
              <a:off x="2555809" y="181256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2" name="Forme libre : forme 161">
              <a:extLst>
                <a:ext uri="{FF2B5EF4-FFF2-40B4-BE49-F238E27FC236}">
                  <a16:creationId xmlns:a16="http://schemas.microsoft.com/office/drawing/2014/main" id="{A15BB5DD-2D34-4EE6-A86F-363F8D953409}"/>
                </a:ext>
              </a:extLst>
            </p:cNvPr>
            <p:cNvSpPr/>
            <p:nvPr/>
          </p:nvSpPr>
          <p:spPr>
            <a:xfrm rot="8716295">
              <a:off x="2312563" y="184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3" name="Forme libre : forme 162">
              <a:extLst>
                <a:ext uri="{FF2B5EF4-FFF2-40B4-BE49-F238E27FC236}">
                  <a16:creationId xmlns:a16="http://schemas.microsoft.com/office/drawing/2014/main" id="{EA840678-0C4C-427E-B930-90E4B3D4F4F5}"/>
                </a:ext>
              </a:extLst>
            </p:cNvPr>
            <p:cNvSpPr/>
            <p:nvPr/>
          </p:nvSpPr>
          <p:spPr>
            <a:xfrm rot="8716295">
              <a:off x="2490015" y="168354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4" name="Forme libre : forme 163">
              <a:extLst>
                <a:ext uri="{FF2B5EF4-FFF2-40B4-BE49-F238E27FC236}">
                  <a16:creationId xmlns:a16="http://schemas.microsoft.com/office/drawing/2014/main" id="{D24A7F84-D7C5-48B5-A2D9-046539552BF1}"/>
                </a:ext>
              </a:extLst>
            </p:cNvPr>
            <p:cNvSpPr/>
            <p:nvPr/>
          </p:nvSpPr>
          <p:spPr>
            <a:xfrm rot="8716295">
              <a:off x="1722068" y="141091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5" name="Forme libre : forme 164">
              <a:extLst>
                <a:ext uri="{FF2B5EF4-FFF2-40B4-BE49-F238E27FC236}">
                  <a16:creationId xmlns:a16="http://schemas.microsoft.com/office/drawing/2014/main" id="{5057A8E5-18E1-48A6-876F-42538393E91C}"/>
                </a:ext>
              </a:extLst>
            </p:cNvPr>
            <p:cNvSpPr/>
            <p:nvPr/>
          </p:nvSpPr>
          <p:spPr>
            <a:xfrm rot="8716295">
              <a:off x="1811460" y="144015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6" name="Forme libre : forme 165">
              <a:extLst>
                <a:ext uri="{FF2B5EF4-FFF2-40B4-BE49-F238E27FC236}">
                  <a16:creationId xmlns:a16="http://schemas.microsoft.com/office/drawing/2014/main" id="{F17BAF41-442E-4918-95C6-E19EEA6D7525}"/>
                </a:ext>
              </a:extLst>
            </p:cNvPr>
            <p:cNvSpPr/>
            <p:nvPr/>
          </p:nvSpPr>
          <p:spPr>
            <a:xfrm rot="8716295">
              <a:off x="1766610" y="135387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7" name="Forme libre : forme 166">
              <a:extLst>
                <a:ext uri="{FF2B5EF4-FFF2-40B4-BE49-F238E27FC236}">
                  <a16:creationId xmlns:a16="http://schemas.microsoft.com/office/drawing/2014/main" id="{62988CCC-AFDA-4601-89EC-2DCFE47EF1C9}"/>
                </a:ext>
              </a:extLst>
            </p:cNvPr>
            <p:cNvSpPr/>
            <p:nvPr/>
          </p:nvSpPr>
          <p:spPr>
            <a:xfrm rot="8716295">
              <a:off x="1609834" y="149945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8" name="Forme libre : forme 167">
              <a:extLst>
                <a:ext uri="{FF2B5EF4-FFF2-40B4-BE49-F238E27FC236}">
                  <a16:creationId xmlns:a16="http://schemas.microsoft.com/office/drawing/2014/main" id="{5054FA74-E8B8-46F3-A02A-768107F93576}"/>
                </a:ext>
              </a:extLst>
            </p:cNvPr>
            <p:cNvSpPr/>
            <p:nvPr/>
          </p:nvSpPr>
          <p:spPr>
            <a:xfrm rot="8716295">
              <a:off x="1484931" y="129078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9" name="Forme libre : forme 168">
              <a:extLst>
                <a:ext uri="{FF2B5EF4-FFF2-40B4-BE49-F238E27FC236}">
                  <a16:creationId xmlns:a16="http://schemas.microsoft.com/office/drawing/2014/main" id="{A04E0DF6-BDC7-4FC4-B1B7-F62238D08C5B}"/>
                </a:ext>
              </a:extLst>
            </p:cNvPr>
            <p:cNvSpPr/>
            <p:nvPr/>
          </p:nvSpPr>
          <p:spPr>
            <a:xfrm rot="8716295">
              <a:off x="1472879" y="115200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0" name="Forme libre : forme 169">
              <a:extLst>
                <a:ext uri="{FF2B5EF4-FFF2-40B4-BE49-F238E27FC236}">
                  <a16:creationId xmlns:a16="http://schemas.microsoft.com/office/drawing/2014/main" id="{57389608-4676-4687-8ECB-4D71B8133D4F}"/>
                </a:ext>
              </a:extLst>
            </p:cNvPr>
            <p:cNvSpPr/>
            <p:nvPr/>
          </p:nvSpPr>
          <p:spPr>
            <a:xfrm rot="8716295">
              <a:off x="1700012" y="154040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1" name="Forme libre : forme 170">
              <a:extLst>
                <a:ext uri="{FF2B5EF4-FFF2-40B4-BE49-F238E27FC236}">
                  <a16:creationId xmlns:a16="http://schemas.microsoft.com/office/drawing/2014/main" id="{B4719429-3450-446C-9492-3B4DE807655B}"/>
                </a:ext>
              </a:extLst>
            </p:cNvPr>
            <p:cNvSpPr/>
            <p:nvPr/>
          </p:nvSpPr>
          <p:spPr>
            <a:xfrm rot="8716295">
              <a:off x="2011167" y="116076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2" name="Forme libre : forme 171">
              <a:extLst>
                <a:ext uri="{FF2B5EF4-FFF2-40B4-BE49-F238E27FC236}">
                  <a16:creationId xmlns:a16="http://schemas.microsoft.com/office/drawing/2014/main" id="{1BD21CA5-EDB3-4B1C-9DA6-85A17C61C7E0}"/>
                </a:ext>
              </a:extLst>
            </p:cNvPr>
            <p:cNvSpPr/>
            <p:nvPr/>
          </p:nvSpPr>
          <p:spPr>
            <a:xfrm rot="8716295">
              <a:off x="2100559" y="119000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3" name="Forme libre : forme 172">
              <a:extLst>
                <a:ext uri="{FF2B5EF4-FFF2-40B4-BE49-F238E27FC236}">
                  <a16:creationId xmlns:a16="http://schemas.microsoft.com/office/drawing/2014/main" id="{7CA91DF5-20FD-481D-801E-1A30383F35AF}"/>
                </a:ext>
              </a:extLst>
            </p:cNvPr>
            <p:cNvSpPr/>
            <p:nvPr/>
          </p:nvSpPr>
          <p:spPr>
            <a:xfrm rot="8716295">
              <a:off x="1898933" y="124930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4" name="Forme libre : forme 173">
              <a:extLst>
                <a:ext uri="{FF2B5EF4-FFF2-40B4-BE49-F238E27FC236}">
                  <a16:creationId xmlns:a16="http://schemas.microsoft.com/office/drawing/2014/main" id="{14C3D20C-5774-494C-8893-5288670D0889}"/>
                </a:ext>
              </a:extLst>
            </p:cNvPr>
            <p:cNvSpPr/>
            <p:nvPr/>
          </p:nvSpPr>
          <p:spPr>
            <a:xfrm rot="8716295">
              <a:off x="1774031" y="104063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5" name="Forme libre : forme 174">
              <a:extLst>
                <a:ext uri="{FF2B5EF4-FFF2-40B4-BE49-F238E27FC236}">
                  <a16:creationId xmlns:a16="http://schemas.microsoft.com/office/drawing/2014/main" id="{921096A6-36F4-49A7-A062-8CA8DFB2FA2B}"/>
                </a:ext>
              </a:extLst>
            </p:cNvPr>
            <p:cNvSpPr/>
            <p:nvPr/>
          </p:nvSpPr>
          <p:spPr>
            <a:xfrm rot="8716295">
              <a:off x="1989111" y="129025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6" name="Forme libre : forme 175">
              <a:extLst>
                <a:ext uri="{FF2B5EF4-FFF2-40B4-BE49-F238E27FC236}">
                  <a16:creationId xmlns:a16="http://schemas.microsoft.com/office/drawing/2014/main" id="{B0920127-DB05-4341-ACD2-55A82DB831D0}"/>
                </a:ext>
              </a:extLst>
            </p:cNvPr>
            <p:cNvSpPr/>
            <p:nvPr/>
          </p:nvSpPr>
          <p:spPr>
            <a:xfrm rot="8716295">
              <a:off x="1747660" y="114065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7" name="Forme libre : forme 176">
              <a:extLst>
                <a:ext uri="{FF2B5EF4-FFF2-40B4-BE49-F238E27FC236}">
                  <a16:creationId xmlns:a16="http://schemas.microsoft.com/office/drawing/2014/main" id="{247E137A-2962-45C6-854D-3C335B97D942}"/>
                </a:ext>
              </a:extLst>
            </p:cNvPr>
            <p:cNvSpPr/>
            <p:nvPr/>
          </p:nvSpPr>
          <p:spPr>
            <a:xfrm rot="7484129">
              <a:off x="2094042" y="148160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8" name="Forme libre : forme 177">
              <a:extLst>
                <a:ext uri="{FF2B5EF4-FFF2-40B4-BE49-F238E27FC236}">
                  <a16:creationId xmlns:a16="http://schemas.microsoft.com/office/drawing/2014/main" id="{AF26B0FA-FC69-4100-A938-0778F8E044BC}"/>
                </a:ext>
              </a:extLst>
            </p:cNvPr>
            <p:cNvSpPr/>
            <p:nvPr/>
          </p:nvSpPr>
          <p:spPr>
            <a:xfrm rot="13089394">
              <a:off x="2198862" y="144814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9" name="Forme libre : forme 178">
              <a:extLst>
                <a:ext uri="{FF2B5EF4-FFF2-40B4-BE49-F238E27FC236}">
                  <a16:creationId xmlns:a16="http://schemas.microsoft.com/office/drawing/2014/main" id="{39EC1976-14A4-4281-9016-8D042C84E539}"/>
                </a:ext>
              </a:extLst>
            </p:cNvPr>
            <p:cNvSpPr/>
            <p:nvPr/>
          </p:nvSpPr>
          <p:spPr>
            <a:xfrm rot="8716295">
              <a:off x="2384447" y="125646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0" name="Forme libre : forme 179">
              <a:extLst>
                <a:ext uri="{FF2B5EF4-FFF2-40B4-BE49-F238E27FC236}">
                  <a16:creationId xmlns:a16="http://schemas.microsoft.com/office/drawing/2014/main" id="{C3D1445E-47EC-4B9A-86DA-68830C5A9003}"/>
                </a:ext>
              </a:extLst>
            </p:cNvPr>
            <p:cNvSpPr/>
            <p:nvPr/>
          </p:nvSpPr>
          <p:spPr>
            <a:xfrm rot="8716295">
              <a:off x="2332642" y="115286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" name="Forme libre : forme 180">
              <a:extLst>
                <a:ext uri="{FF2B5EF4-FFF2-40B4-BE49-F238E27FC236}">
                  <a16:creationId xmlns:a16="http://schemas.microsoft.com/office/drawing/2014/main" id="{6D64B041-AA03-4C2C-B195-E69DDAF61BCF}"/>
                </a:ext>
              </a:extLst>
            </p:cNvPr>
            <p:cNvSpPr/>
            <p:nvPr/>
          </p:nvSpPr>
          <p:spPr>
            <a:xfrm rot="8716295">
              <a:off x="2089396" y="118308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" name="Forme libre : forme 181">
              <a:extLst>
                <a:ext uri="{FF2B5EF4-FFF2-40B4-BE49-F238E27FC236}">
                  <a16:creationId xmlns:a16="http://schemas.microsoft.com/office/drawing/2014/main" id="{6929DCAA-A61B-45A7-8707-91162650FFF3}"/>
                </a:ext>
              </a:extLst>
            </p:cNvPr>
            <p:cNvSpPr/>
            <p:nvPr/>
          </p:nvSpPr>
          <p:spPr>
            <a:xfrm rot="8716295">
              <a:off x="2266848" y="102384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" name="Forme libre : forme 182">
              <a:extLst>
                <a:ext uri="{FF2B5EF4-FFF2-40B4-BE49-F238E27FC236}">
                  <a16:creationId xmlns:a16="http://schemas.microsoft.com/office/drawing/2014/main" id="{606C2101-E652-4D30-867F-39388545E11E}"/>
                </a:ext>
              </a:extLst>
            </p:cNvPr>
            <p:cNvSpPr/>
            <p:nvPr/>
          </p:nvSpPr>
          <p:spPr>
            <a:xfrm rot="8716295">
              <a:off x="1503129" y="74885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" name="Forme libre : forme 183">
              <a:extLst>
                <a:ext uri="{FF2B5EF4-FFF2-40B4-BE49-F238E27FC236}">
                  <a16:creationId xmlns:a16="http://schemas.microsoft.com/office/drawing/2014/main" id="{BCCF4C0A-B226-447A-AED6-6E411077F313}"/>
                </a:ext>
              </a:extLst>
            </p:cNvPr>
            <p:cNvSpPr/>
            <p:nvPr/>
          </p:nvSpPr>
          <p:spPr>
            <a:xfrm rot="8716295">
              <a:off x="1592521" y="77809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" name="Forme libre : forme 184">
              <a:extLst>
                <a:ext uri="{FF2B5EF4-FFF2-40B4-BE49-F238E27FC236}">
                  <a16:creationId xmlns:a16="http://schemas.microsoft.com/office/drawing/2014/main" id="{1047FAEE-E0A8-4DC0-AF81-D0262E51D58E}"/>
                </a:ext>
              </a:extLst>
            </p:cNvPr>
            <p:cNvSpPr/>
            <p:nvPr/>
          </p:nvSpPr>
          <p:spPr>
            <a:xfrm rot="8716295">
              <a:off x="1547671" y="69181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" name="Forme libre : forme 185">
              <a:extLst>
                <a:ext uri="{FF2B5EF4-FFF2-40B4-BE49-F238E27FC236}">
                  <a16:creationId xmlns:a16="http://schemas.microsoft.com/office/drawing/2014/main" id="{30E94405-5131-4E4F-8725-C67590E30DB2}"/>
                </a:ext>
              </a:extLst>
            </p:cNvPr>
            <p:cNvSpPr/>
            <p:nvPr/>
          </p:nvSpPr>
          <p:spPr>
            <a:xfrm rot="8716295">
              <a:off x="1390895" y="83739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" name="Forme libre : forme 186">
              <a:extLst>
                <a:ext uri="{FF2B5EF4-FFF2-40B4-BE49-F238E27FC236}">
                  <a16:creationId xmlns:a16="http://schemas.microsoft.com/office/drawing/2014/main" id="{3592B2BF-462B-42D1-B159-935FE013A746}"/>
                </a:ext>
              </a:extLst>
            </p:cNvPr>
            <p:cNvSpPr/>
            <p:nvPr/>
          </p:nvSpPr>
          <p:spPr>
            <a:xfrm rot="8716295">
              <a:off x="1265992" y="62872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" name="Forme libre : forme 187">
              <a:extLst>
                <a:ext uri="{FF2B5EF4-FFF2-40B4-BE49-F238E27FC236}">
                  <a16:creationId xmlns:a16="http://schemas.microsoft.com/office/drawing/2014/main" id="{1E56EF9D-6FEF-4D8D-A155-3A26210B9301}"/>
                </a:ext>
              </a:extLst>
            </p:cNvPr>
            <p:cNvSpPr/>
            <p:nvPr/>
          </p:nvSpPr>
          <p:spPr>
            <a:xfrm rot="8716295">
              <a:off x="1253940" y="48994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" name="Forme libre : forme 188">
              <a:extLst>
                <a:ext uri="{FF2B5EF4-FFF2-40B4-BE49-F238E27FC236}">
                  <a16:creationId xmlns:a16="http://schemas.microsoft.com/office/drawing/2014/main" id="{ABF55A8B-11D0-49F1-BB9C-9578891D6FAC}"/>
                </a:ext>
              </a:extLst>
            </p:cNvPr>
            <p:cNvSpPr/>
            <p:nvPr/>
          </p:nvSpPr>
          <p:spPr>
            <a:xfrm rot="8716295">
              <a:off x="1481073" y="87835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" name="Forme libre : forme 189">
              <a:extLst>
                <a:ext uri="{FF2B5EF4-FFF2-40B4-BE49-F238E27FC236}">
                  <a16:creationId xmlns:a16="http://schemas.microsoft.com/office/drawing/2014/main" id="{946D037D-9BA1-48DA-87EF-5EF5B831A0E1}"/>
                </a:ext>
              </a:extLst>
            </p:cNvPr>
            <p:cNvSpPr/>
            <p:nvPr/>
          </p:nvSpPr>
          <p:spPr>
            <a:xfrm rot="8716295">
              <a:off x="1792228" y="4987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" name="Forme libre : forme 190">
              <a:extLst>
                <a:ext uri="{FF2B5EF4-FFF2-40B4-BE49-F238E27FC236}">
                  <a16:creationId xmlns:a16="http://schemas.microsoft.com/office/drawing/2014/main" id="{27B82C76-9BEA-43A1-96FA-84295CCF0AA5}"/>
                </a:ext>
              </a:extLst>
            </p:cNvPr>
            <p:cNvSpPr/>
            <p:nvPr/>
          </p:nvSpPr>
          <p:spPr>
            <a:xfrm rot="8716295">
              <a:off x="1881620" y="5279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" name="Forme libre : forme 191">
              <a:extLst>
                <a:ext uri="{FF2B5EF4-FFF2-40B4-BE49-F238E27FC236}">
                  <a16:creationId xmlns:a16="http://schemas.microsoft.com/office/drawing/2014/main" id="{C9AF6FC6-301E-4498-93BF-1A9EB1439FE6}"/>
                </a:ext>
              </a:extLst>
            </p:cNvPr>
            <p:cNvSpPr/>
            <p:nvPr/>
          </p:nvSpPr>
          <p:spPr>
            <a:xfrm rot="8716295">
              <a:off x="1679994" y="58724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" name="Forme libre : forme 192">
              <a:extLst>
                <a:ext uri="{FF2B5EF4-FFF2-40B4-BE49-F238E27FC236}">
                  <a16:creationId xmlns:a16="http://schemas.microsoft.com/office/drawing/2014/main" id="{988C10D0-6B50-41AB-B9B5-23D20681103E}"/>
                </a:ext>
              </a:extLst>
            </p:cNvPr>
            <p:cNvSpPr/>
            <p:nvPr/>
          </p:nvSpPr>
          <p:spPr>
            <a:xfrm rot="8716295">
              <a:off x="1555092" y="37857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" name="Forme libre : forme 193">
              <a:extLst>
                <a:ext uri="{FF2B5EF4-FFF2-40B4-BE49-F238E27FC236}">
                  <a16:creationId xmlns:a16="http://schemas.microsoft.com/office/drawing/2014/main" id="{BA88EE97-63F0-4D28-BDD9-E175569D56C8}"/>
                </a:ext>
              </a:extLst>
            </p:cNvPr>
            <p:cNvSpPr/>
            <p:nvPr/>
          </p:nvSpPr>
          <p:spPr>
            <a:xfrm rot="8716295">
              <a:off x="1770172" y="62819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" name="Forme libre : forme 194">
              <a:extLst>
                <a:ext uri="{FF2B5EF4-FFF2-40B4-BE49-F238E27FC236}">
                  <a16:creationId xmlns:a16="http://schemas.microsoft.com/office/drawing/2014/main" id="{7DB936D3-752D-4426-96C6-451097B40A6E}"/>
                </a:ext>
              </a:extLst>
            </p:cNvPr>
            <p:cNvSpPr/>
            <p:nvPr/>
          </p:nvSpPr>
          <p:spPr>
            <a:xfrm rot="8716295">
              <a:off x="1528721" y="47859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" name="Forme libre : forme 195">
              <a:extLst>
                <a:ext uri="{FF2B5EF4-FFF2-40B4-BE49-F238E27FC236}">
                  <a16:creationId xmlns:a16="http://schemas.microsoft.com/office/drawing/2014/main" id="{6E95CB13-89AC-4C2B-9D9A-140661272E61}"/>
                </a:ext>
              </a:extLst>
            </p:cNvPr>
            <p:cNvSpPr/>
            <p:nvPr/>
          </p:nvSpPr>
          <p:spPr>
            <a:xfrm rot="7484129">
              <a:off x="1875103" y="8195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" name="Forme libre : forme 196">
              <a:extLst>
                <a:ext uri="{FF2B5EF4-FFF2-40B4-BE49-F238E27FC236}">
                  <a16:creationId xmlns:a16="http://schemas.microsoft.com/office/drawing/2014/main" id="{E94CA442-8190-4409-8D0E-996A3C13C977}"/>
                </a:ext>
              </a:extLst>
            </p:cNvPr>
            <p:cNvSpPr/>
            <p:nvPr/>
          </p:nvSpPr>
          <p:spPr>
            <a:xfrm rot="13089394">
              <a:off x="1979923" y="7860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" name="Forme libre : forme 197">
              <a:extLst>
                <a:ext uri="{FF2B5EF4-FFF2-40B4-BE49-F238E27FC236}">
                  <a16:creationId xmlns:a16="http://schemas.microsoft.com/office/drawing/2014/main" id="{52184F7E-FD35-4373-B77A-668CA5FF6983}"/>
                </a:ext>
              </a:extLst>
            </p:cNvPr>
            <p:cNvSpPr/>
            <p:nvPr/>
          </p:nvSpPr>
          <p:spPr>
            <a:xfrm rot="8716295">
              <a:off x="2165508" y="5944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" name="Forme libre : forme 198">
              <a:extLst>
                <a:ext uri="{FF2B5EF4-FFF2-40B4-BE49-F238E27FC236}">
                  <a16:creationId xmlns:a16="http://schemas.microsoft.com/office/drawing/2014/main" id="{203E9F12-3C6B-465D-9FDE-0F57C68E6794}"/>
                </a:ext>
              </a:extLst>
            </p:cNvPr>
            <p:cNvSpPr/>
            <p:nvPr/>
          </p:nvSpPr>
          <p:spPr>
            <a:xfrm rot="8716295">
              <a:off x="2113703" y="4908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" name="Forme libre : forme 199">
              <a:extLst>
                <a:ext uri="{FF2B5EF4-FFF2-40B4-BE49-F238E27FC236}">
                  <a16:creationId xmlns:a16="http://schemas.microsoft.com/office/drawing/2014/main" id="{3A4792DF-206D-4745-96BF-57BE9528DC29}"/>
                </a:ext>
              </a:extLst>
            </p:cNvPr>
            <p:cNvSpPr/>
            <p:nvPr/>
          </p:nvSpPr>
          <p:spPr>
            <a:xfrm rot="8716295">
              <a:off x="1870457" y="5210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" name="Forme libre : forme 200">
              <a:extLst>
                <a:ext uri="{FF2B5EF4-FFF2-40B4-BE49-F238E27FC236}">
                  <a16:creationId xmlns:a16="http://schemas.microsoft.com/office/drawing/2014/main" id="{D95C5BFF-0992-4FE2-933F-F0F5A8B60014}"/>
                </a:ext>
              </a:extLst>
            </p:cNvPr>
            <p:cNvSpPr/>
            <p:nvPr/>
          </p:nvSpPr>
          <p:spPr>
            <a:xfrm rot="8716295">
              <a:off x="2047909" y="3617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" name="Forme libre : forme 201">
              <a:extLst>
                <a:ext uri="{FF2B5EF4-FFF2-40B4-BE49-F238E27FC236}">
                  <a16:creationId xmlns:a16="http://schemas.microsoft.com/office/drawing/2014/main" id="{20C3FF4D-8F7D-4FCE-A8F6-F7C60C54B616}"/>
                </a:ext>
              </a:extLst>
            </p:cNvPr>
            <p:cNvSpPr/>
            <p:nvPr/>
          </p:nvSpPr>
          <p:spPr>
            <a:xfrm rot="8716295">
              <a:off x="1280459" y="8544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" name="Forme libre : forme 202">
              <a:extLst>
                <a:ext uri="{FF2B5EF4-FFF2-40B4-BE49-F238E27FC236}">
                  <a16:creationId xmlns:a16="http://schemas.microsoft.com/office/drawing/2014/main" id="{4A2EE2E0-D7CF-43D6-ACB3-BE33DBCC49BB}"/>
                </a:ext>
              </a:extLst>
            </p:cNvPr>
            <p:cNvSpPr/>
            <p:nvPr/>
          </p:nvSpPr>
          <p:spPr>
            <a:xfrm rot="8716295">
              <a:off x="1369851" y="11468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" name="Forme libre : forme 203">
              <a:extLst>
                <a:ext uri="{FF2B5EF4-FFF2-40B4-BE49-F238E27FC236}">
                  <a16:creationId xmlns:a16="http://schemas.microsoft.com/office/drawing/2014/main" id="{ADCFE50E-B4B9-4301-A613-96CD6C8E76F5}"/>
                </a:ext>
              </a:extLst>
            </p:cNvPr>
            <p:cNvSpPr/>
            <p:nvPr/>
          </p:nvSpPr>
          <p:spPr>
            <a:xfrm rot="8716295">
              <a:off x="1325001" y="2840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" name="Forme libre : forme 204">
              <a:extLst>
                <a:ext uri="{FF2B5EF4-FFF2-40B4-BE49-F238E27FC236}">
                  <a16:creationId xmlns:a16="http://schemas.microsoft.com/office/drawing/2014/main" id="{1C78DD3D-BA43-491E-A425-4F726ABF99F2}"/>
                </a:ext>
              </a:extLst>
            </p:cNvPr>
            <p:cNvSpPr/>
            <p:nvPr/>
          </p:nvSpPr>
          <p:spPr>
            <a:xfrm rot="8716295">
              <a:off x="1168225" y="17398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" name="Forme libre : forme 205">
              <a:extLst>
                <a:ext uri="{FF2B5EF4-FFF2-40B4-BE49-F238E27FC236}">
                  <a16:creationId xmlns:a16="http://schemas.microsoft.com/office/drawing/2014/main" id="{58A93461-0B09-4176-BDF3-87683487BEBD}"/>
                </a:ext>
              </a:extLst>
            </p:cNvPr>
            <p:cNvSpPr/>
            <p:nvPr/>
          </p:nvSpPr>
          <p:spPr>
            <a:xfrm rot="8716295">
              <a:off x="1045449" y="-13548"/>
              <a:ext cx="203847" cy="172572"/>
            </a:xfrm>
            <a:custGeom>
              <a:avLst/>
              <a:gdLst>
                <a:gd name="connsiteX0" fmla="*/ 98725 w 203847"/>
                <a:gd name="connsiteY0" fmla="*/ 172572 h 172572"/>
                <a:gd name="connsiteX1" fmla="*/ 65988 w 203847"/>
                <a:gd name="connsiteY1" fmla="*/ 149880 h 172572"/>
                <a:gd name="connsiteX2" fmla="*/ 47847 w 203847"/>
                <a:gd name="connsiteY2" fmla="*/ 116129 h 172572"/>
                <a:gd name="connsiteX3" fmla="*/ 69777 w 203847"/>
                <a:gd name="connsiteY3" fmla="*/ 55323 h 172572"/>
                <a:gd name="connsiteX4" fmla="*/ 0 w 203847"/>
                <a:gd name="connsiteY4" fmla="*/ 55323 h 172572"/>
                <a:gd name="connsiteX5" fmla="*/ 0 w 203847"/>
                <a:gd name="connsiteY5" fmla="*/ 0 h 172572"/>
                <a:gd name="connsiteX6" fmla="*/ 203847 w 203847"/>
                <a:gd name="connsiteY6" fmla="*/ 0 h 172572"/>
                <a:gd name="connsiteX7" fmla="*/ 203847 w 203847"/>
                <a:gd name="connsiteY7" fmla="*/ 55323 h 172572"/>
                <a:gd name="connsiteX8" fmla="*/ 139055 w 203847"/>
                <a:gd name="connsiteY8" fmla="*/ 55323 h 172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72572">
                  <a:moveTo>
                    <a:pt x="98725" y="172572"/>
                  </a:moveTo>
                  <a:lnTo>
                    <a:pt x="65988" y="149880"/>
                  </a:ln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" name="Forme libre : forme 206">
              <a:extLst>
                <a:ext uri="{FF2B5EF4-FFF2-40B4-BE49-F238E27FC236}">
                  <a16:creationId xmlns:a16="http://schemas.microsoft.com/office/drawing/2014/main" id="{F6E141F6-F3D7-4382-A5A9-B9DC46311949}"/>
                </a:ext>
              </a:extLst>
            </p:cNvPr>
            <p:cNvSpPr/>
            <p:nvPr/>
          </p:nvSpPr>
          <p:spPr>
            <a:xfrm rot="8716295">
              <a:off x="1049608" y="-107301"/>
              <a:ext cx="290643" cy="275223"/>
            </a:xfrm>
            <a:custGeom>
              <a:avLst/>
              <a:gdLst>
                <a:gd name="connsiteX0" fmla="*/ 79172 w 290643"/>
                <a:gd name="connsiteY0" fmla="*/ 128638 h 275223"/>
                <a:gd name="connsiteX1" fmla="*/ 0 w 290643"/>
                <a:gd name="connsiteY1" fmla="*/ 73758 h 275223"/>
                <a:gd name="connsiteX2" fmla="*/ 0 w 290643"/>
                <a:gd name="connsiteY2" fmla="*/ 40596 h 275223"/>
                <a:gd name="connsiteX3" fmla="*/ 78250 w 290643"/>
                <a:gd name="connsiteY3" fmla="*/ 0 h 275223"/>
                <a:gd name="connsiteX4" fmla="*/ 290643 w 290643"/>
                <a:gd name="connsiteY4" fmla="*/ 275223 h 275223"/>
                <a:gd name="connsiteX5" fmla="*/ 278016 w 290643"/>
                <a:gd name="connsiteY5" fmla="*/ 266470 h 275223"/>
                <a:gd name="connsiteX6" fmla="*/ 289467 w 290643"/>
                <a:gd name="connsiteY6" fmla="*/ 261815 h 275223"/>
                <a:gd name="connsiteX7" fmla="*/ 290643 w 290643"/>
                <a:gd name="connsiteY7" fmla="*/ 269463 h 27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0643" h="275223">
                  <a:moveTo>
                    <a:pt x="79172" y="128638"/>
                  </a:moveTo>
                  <a:lnTo>
                    <a:pt x="0" y="73758"/>
                  </a:lnTo>
                  <a:lnTo>
                    <a:pt x="0" y="40596"/>
                  </a:lnTo>
                  <a:lnTo>
                    <a:pt x="78250" y="0"/>
                  </a:lnTo>
                  <a:close/>
                  <a:moveTo>
                    <a:pt x="290643" y="275223"/>
                  </a:moveTo>
                  <a:lnTo>
                    <a:pt x="278016" y="266470"/>
                  </a:lnTo>
                  <a:lnTo>
                    <a:pt x="289467" y="261815"/>
                  </a:lnTo>
                  <a:cubicBezTo>
                    <a:pt x="290055" y="264168"/>
                    <a:pt x="290643" y="267110"/>
                    <a:pt x="290643" y="2694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" name="Forme libre : forme 207">
              <a:extLst>
                <a:ext uri="{FF2B5EF4-FFF2-40B4-BE49-F238E27FC236}">
                  <a16:creationId xmlns:a16="http://schemas.microsoft.com/office/drawing/2014/main" id="{4C5F5C19-6F05-476E-8B4C-2E1271E3709B}"/>
                </a:ext>
              </a:extLst>
            </p:cNvPr>
            <p:cNvSpPr/>
            <p:nvPr/>
          </p:nvSpPr>
          <p:spPr>
            <a:xfrm rot="8716295">
              <a:off x="1258403" y="21493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" name="Forme libre : forme 208">
              <a:extLst>
                <a:ext uri="{FF2B5EF4-FFF2-40B4-BE49-F238E27FC236}">
                  <a16:creationId xmlns:a16="http://schemas.microsoft.com/office/drawing/2014/main" id="{99462675-4E20-4299-99A1-8C989AC1AC7A}"/>
                </a:ext>
              </a:extLst>
            </p:cNvPr>
            <p:cNvSpPr/>
            <p:nvPr/>
          </p:nvSpPr>
          <p:spPr>
            <a:xfrm rot="8716295">
              <a:off x="1604517" y="-50002"/>
              <a:ext cx="142167" cy="106747"/>
            </a:xfrm>
            <a:custGeom>
              <a:avLst/>
              <a:gdLst>
                <a:gd name="connsiteX0" fmla="*/ 142167 w 142167"/>
                <a:gd name="connsiteY0" fmla="*/ 106747 h 106747"/>
                <a:gd name="connsiteX1" fmla="*/ 79942 w 142167"/>
                <a:gd name="connsiteY1" fmla="*/ 63615 h 106747"/>
                <a:gd name="connsiteX2" fmla="*/ 74103 w 142167"/>
                <a:gd name="connsiteY2" fmla="*/ 53597 h 106747"/>
                <a:gd name="connsiteX3" fmla="*/ 60604 w 142167"/>
                <a:gd name="connsiteY3" fmla="*/ 50123 h 106747"/>
                <a:gd name="connsiteX4" fmla="*/ 60478 w 142167"/>
                <a:gd name="connsiteY4" fmla="*/ 50123 h 106747"/>
                <a:gd name="connsiteX5" fmla="*/ 0 w 142167"/>
                <a:gd name="connsiteY5" fmla="*/ 8201 h 106747"/>
                <a:gd name="connsiteX6" fmla="*/ 0 w 142167"/>
                <a:gd name="connsiteY6" fmla="*/ 0 h 106747"/>
                <a:gd name="connsiteX7" fmla="*/ 85209 w 142167"/>
                <a:gd name="connsiteY7" fmla="*/ 0 h 106747"/>
                <a:gd name="connsiteX8" fmla="*/ 142167 w 142167"/>
                <a:gd name="connsiteY8" fmla="*/ 50123 h 10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06747">
                  <a:moveTo>
                    <a:pt x="142167" y="106747"/>
                  </a:moveTo>
                  <a:lnTo>
                    <a:pt x="79942" y="63615"/>
                  </a:lnTo>
                  <a:lnTo>
                    <a:pt x="74103" y="53597"/>
                  </a:lnTo>
                  <a:cubicBezTo>
                    <a:pt x="70400" y="50806"/>
                    <a:pt x="65616" y="49439"/>
                    <a:pt x="60604" y="50123"/>
                  </a:cubicBezTo>
                  <a:lnTo>
                    <a:pt x="60478" y="50123"/>
                  </a:lnTo>
                  <a:lnTo>
                    <a:pt x="0" y="8201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" name="Forme libre : forme 209">
              <a:extLst>
                <a:ext uri="{FF2B5EF4-FFF2-40B4-BE49-F238E27FC236}">
                  <a16:creationId xmlns:a16="http://schemas.microsoft.com/office/drawing/2014/main" id="{F18E365A-DFDC-47DB-8B33-290827288FD8}"/>
                </a:ext>
              </a:extLst>
            </p:cNvPr>
            <p:cNvSpPr/>
            <p:nvPr/>
          </p:nvSpPr>
          <p:spPr>
            <a:xfrm rot="8716295">
              <a:off x="1699771" y="-2013"/>
              <a:ext cx="260639" cy="104392"/>
            </a:xfrm>
            <a:custGeom>
              <a:avLst/>
              <a:gdLst>
                <a:gd name="connsiteX0" fmla="*/ 117530 w 260639"/>
                <a:gd name="connsiteY0" fmla="*/ 104392 h 104392"/>
                <a:gd name="connsiteX1" fmla="*/ 51490 w 260639"/>
                <a:gd name="connsiteY1" fmla="*/ 58614 h 104392"/>
                <a:gd name="connsiteX2" fmla="*/ 51490 w 260639"/>
                <a:gd name="connsiteY2" fmla="*/ 45624 h 104392"/>
                <a:gd name="connsiteX3" fmla="*/ 32748 w 260639"/>
                <a:gd name="connsiteY3" fmla="*/ 45624 h 104392"/>
                <a:gd name="connsiteX4" fmla="*/ 0 w 260639"/>
                <a:gd name="connsiteY4" fmla="*/ 22924 h 104392"/>
                <a:gd name="connsiteX5" fmla="*/ 0 w 260639"/>
                <a:gd name="connsiteY5" fmla="*/ 1425 h 104392"/>
                <a:gd name="connsiteX6" fmla="*/ 104802 w 260639"/>
                <a:gd name="connsiteY6" fmla="*/ 1425 h 104392"/>
                <a:gd name="connsiteX7" fmla="*/ 104802 w 260639"/>
                <a:gd name="connsiteY7" fmla="*/ 75242 h 104392"/>
                <a:gd name="connsiteX8" fmla="*/ 106169 w 260639"/>
                <a:gd name="connsiteY8" fmla="*/ 75242 h 104392"/>
                <a:gd name="connsiteX9" fmla="*/ 154014 w 260639"/>
                <a:gd name="connsiteY9" fmla="*/ 5981 h 104392"/>
                <a:gd name="connsiteX10" fmla="*/ 185455 w 260639"/>
                <a:gd name="connsiteY10" fmla="*/ 57 h 104392"/>
                <a:gd name="connsiteX11" fmla="*/ 260639 w 260639"/>
                <a:gd name="connsiteY11" fmla="*/ 88456 h 104392"/>
                <a:gd name="connsiteX12" fmla="*/ 260639 w 260639"/>
                <a:gd name="connsiteY12" fmla="*/ 94380 h 104392"/>
                <a:gd name="connsiteX13" fmla="*/ 198669 w 260639"/>
                <a:gd name="connsiteY13" fmla="*/ 98025 h 104392"/>
                <a:gd name="connsiteX14" fmla="*/ 198669 w 260639"/>
                <a:gd name="connsiteY14" fmla="*/ 81621 h 104392"/>
                <a:gd name="connsiteX15" fmla="*/ 164950 w 260639"/>
                <a:gd name="connsiteY15" fmla="*/ 40156 h 104392"/>
                <a:gd name="connsiteX16" fmla="*/ 127358 w 260639"/>
                <a:gd name="connsiteY16" fmla="*/ 65616 h 104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60639" h="104392">
                  <a:moveTo>
                    <a:pt x="117530" y="104392"/>
                  </a:moveTo>
                  <a:lnTo>
                    <a:pt x="51490" y="58614"/>
                  </a:lnTo>
                  <a:lnTo>
                    <a:pt x="51490" y="45624"/>
                  </a:lnTo>
                  <a:lnTo>
                    <a:pt x="32748" y="45624"/>
                  </a:lnTo>
                  <a:lnTo>
                    <a:pt x="0" y="229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5"/>
                    <a:pt x="184544" y="40156"/>
                    <a:pt x="164950" y="40156"/>
                  </a:cubicBezTo>
                  <a:cubicBezTo>
                    <a:pt x="150369" y="40156"/>
                    <a:pt x="137041" y="49839"/>
                    <a:pt x="127358" y="656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" name="Forme libre : forme 210">
              <a:extLst>
                <a:ext uri="{FF2B5EF4-FFF2-40B4-BE49-F238E27FC236}">
                  <a16:creationId xmlns:a16="http://schemas.microsoft.com/office/drawing/2014/main" id="{BD9DBA5B-B938-49AE-B4FF-DC0E17DDD56F}"/>
                </a:ext>
              </a:extLst>
            </p:cNvPr>
            <p:cNvSpPr/>
            <p:nvPr/>
          </p:nvSpPr>
          <p:spPr>
            <a:xfrm rot="8716295">
              <a:off x="1547502" y="-3521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" name="Forme libre : forme 211">
              <a:extLst>
                <a:ext uri="{FF2B5EF4-FFF2-40B4-BE49-F238E27FC236}">
                  <a16:creationId xmlns:a16="http://schemas.microsoft.com/office/drawing/2014/main" id="{8C64BFA5-88D5-4B19-8DD4-8DB6B59A61D8}"/>
                </a:ext>
              </a:extLst>
            </p:cNvPr>
            <p:cNvSpPr/>
            <p:nvPr/>
          </p:nvSpPr>
          <p:spPr>
            <a:xfrm rot="7484129">
              <a:off x="1652433" y="15613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" name="Forme libre : forme 212">
              <a:extLst>
                <a:ext uri="{FF2B5EF4-FFF2-40B4-BE49-F238E27FC236}">
                  <a16:creationId xmlns:a16="http://schemas.microsoft.com/office/drawing/2014/main" id="{034CC524-D8AC-40AF-8EAB-AB1B464A30AF}"/>
                </a:ext>
              </a:extLst>
            </p:cNvPr>
            <p:cNvSpPr/>
            <p:nvPr/>
          </p:nvSpPr>
          <p:spPr>
            <a:xfrm rot="13089394">
              <a:off x="1757253" y="122669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" name="Forme libre : forme 213">
              <a:extLst>
                <a:ext uri="{FF2B5EF4-FFF2-40B4-BE49-F238E27FC236}">
                  <a16:creationId xmlns:a16="http://schemas.microsoft.com/office/drawing/2014/main" id="{D78ECCFB-E224-46B7-92F0-42F89F972C82}"/>
                </a:ext>
              </a:extLst>
            </p:cNvPr>
            <p:cNvSpPr/>
            <p:nvPr/>
          </p:nvSpPr>
          <p:spPr>
            <a:xfrm rot="8716295">
              <a:off x="1960606" y="3279"/>
              <a:ext cx="142687" cy="109177"/>
            </a:xfrm>
            <a:custGeom>
              <a:avLst/>
              <a:gdLst>
                <a:gd name="connsiteX0" fmla="*/ 48521 w 142687"/>
                <a:gd name="connsiteY0" fmla="*/ 109177 h 109177"/>
                <a:gd name="connsiteX1" fmla="*/ 0 w 142687"/>
                <a:gd name="connsiteY1" fmla="*/ 75545 h 109177"/>
                <a:gd name="connsiteX2" fmla="*/ 44875 w 142687"/>
                <a:gd name="connsiteY2" fmla="*/ 33320 h 109177"/>
                <a:gd name="connsiteX3" fmla="*/ 109367 w 142687"/>
                <a:gd name="connsiteY3" fmla="*/ 0 h 109177"/>
                <a:gd name="connsiteX4" fmla="*/ 142687 w 142687"/>
                <a:gd name="connsiteY4" fmla="*/ 39770 h 109177"/>
                <a:gd name="connsiteX5" fmla="*/ 111516 w 142687"/>
                <a:gd name="connsiteY5" fmla="*/ 81689 h 109177"/>
                <a:gd name="connsiteX6" fmla="*/ 112053 w 142687"/>
                <a:gd name="connsiteY6" fmla="*/ 81689 h 109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687" h="109177">
                  <a:moveTo>
                    <a:pt x="48521" y="109177"/>
                  </a:moveTo>
                  <a:lnTo>
                    <a:pt x="0" y="75545"/>
                  </a:lnTo>
                  <a:lnTo>
                    <a:pt x="44875" y="33320"/>
                  </a:lnTo>
                  <a:cubicBezTo>
                    <a:pt x="60998" y="14511"/>
                    <a:pt x="84107" y="2687"/>
                    <a:pt x="109367" y="0"/>
                  </a:cubicBezTo>
                  <a:cubicBezTo>
                    <a:pt x="135163" y="0"/>
                    <a:pt x="142687" y="22572"/>
                    <a:pt x="142687" y="39770"/>
                  </a:cubicBezTo>
                  <a:cubicBezTo>
                    <a:pt x="141074" y="58580"/>
                    <a:pt x="128713" y="74165"/>
                    <a:pt x="111516" y="81689"/>
                  </a:cubicBezTo>
                  <a:lnTo>
                    <a:pt x="112053" y="816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" name="Forme libre : forme 214">
              <a:extLst>
                <a:ext uri="{FF2B5EF4-FFF2-40B4-BE49-F238E27FC236}">
                  <a16:creationId xmlns:a16="http://schemas.microsoft.com/office/drawing/2014/main" id="{30980170-BFE4-4DA8-B94E-3A74F835E666}"/>
                </a:ext>
              </a:extLst>
            </p:cNvPr>
            <p:cNvSpPr/>
            <p:nvPr/>
          </p:nvSpPr>
          <p:spPr>
            <a:xfrm rot="8716295">
              <a:off x="1076398" y="254697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" name="Forme libre : forme 215">
              <a:extLst>
                <a:ext uri="{FF2B5EF4-FFF2-40B4-BE49-F238E27FC236}">
                  <a16:creationId xmlns:a16="http://schemas.microsoft.com/office/drawing/2014/main" id="{EF36344D-9704-4C2C-BC8B-34C87B25880E}"/>
                </a:ext>
              </a:extLst>
            </p:cNvPr>
            <p:cNvSpPr/>
            <p:nvPr/>
          </p:nvSpPr>
          <p:spPr>
            <a:xfrm rot="8716295">
              <a:off x="1165790" y="257621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" name="Forme libre : forme 216">
              <a:extLst>
                <a:ext uri="{FF2B5EF4-FFF2-40B4-BE49-F238E27FC236}">
                  <a16:creationId xmlns:a16="http://schemas.microsoft.com/office/drawing/2014/main" id="{58A38589-98F6-451E-A434-58B30914CF96}"/>
                </a:ext>
              </a:extLst>
            </p:cNvPr>
            <p:cNvSpPr/>
            <p:nvPr/>
          </p:nvSpPr>
          <p:spPr>
            <a:xfrm rot="8716295">
              <a:off x="1120940" y="248993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" name="Forme libre : forme 217">
              <a:extLst>
                <a:ext uri="{FF2B5EF4-FFF2-40B4-BE49-F238E27FC236}">
                  <a16:creationId xmlns:a16="http://schemas.microsoft.com/office/drawing/2014/main" id="{1BBAB649-0D47-451B-AEA7-D99D438CCB67}"/>
                </a:ext>
              </a:extLst>
            </p:cNvPr>
            <p:cNvSpPr/>
            <p:nvPr/>
          </p:nvSpPr>
          <p:spPr>
            <a:xfrm rot="8716295">
              <a:off x="964164" y="263551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" name="Forme libre : forme 218">
              <a:extLst>
                <a:ext uri="{FF2B5EF4-FFF2-40B4-BE49-F238E27FC236}">
                  <a16:creationId xmlns:a16="http://schemas.microsoft.com/office/drawing/2014/main" id="{9ABD39F9-0013-4B66-B07C-F120985F94DF}"/>
                </a:ext>
              </a:extLst>
            </p:cNvPr>
            <p:cNvSpPr/>
            <p:nvPr/>
          </p:nvSpPr>
          <p:spPr>
            <a:xfrm rot="8716295">
              <a:off x="839261" y="242684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" name="Forme libre : forme 219">
              <a:extLst>
                <a:ext uri="{FF2B5EF4-FFF2-40B4-BE49-F238E27FC236}">
                  <a16:creationId xmlns:a16="http://schemas.microsoft.com/office/drawing/2014/main" id="{4B771D9C-DFA4-430F-84AF-9AE075F83BC7}"/>
                </a:ext>
              </a:extLst>
            </p:cNvPr>
            <p:cNvSpPr/>
            <p:nvPr/>
          </p:nvSpPr>
          <p:spPr>
            <a:xfrm rot="8716295">
              <a:off x="827209" y="228806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" name="Forme libre : forme 220">
              <a:extLst>
                <a:ext uri="{FF2B5EF4-FFF2-40B4-BE49-F238E27FC236}">
                  <a16:creationId xmlns:a16="http://schemas.microsoft.com/office/drawing/2014/main" id="{7FEF96BC-C543-4B58-AE20-95C6DC72AE3F}"/>
                </a:ext>
              </a:extLst>
            </p:cNvPr>
            <p:cNvSpPr/>
            <p:nvPr/>
          </p:nvSpPr>
          <p:spPr>
            <a:xfrm rot="8716295">
              <a:off x="1054342" y="267647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" name="Forme libre : forme 221">
              <a:extLst>
                <a:ext uri="{FF2B5EF4-FFF2-40B4-BE49-F238E27FC236}">
                  <a16:creationId xmlns:a16="http://schemas.microsoft.com/office/drawing/2014/main" id="{68891634-5A93-4AAD-9989-2DE5CE062379}"/>
                </a:ext>
              </a:extLst>
            </p:cNvPr>
            <p:cNvSpPr/>
            <p:nvPr/>
          </p:nvSpPr>
          <p:spPr>
            <a:xfrm rot="8716295">
              <a:off x="1365497" y="229682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" name="Forme libre : forme 222">
              <a:extLst>
                <a:ext uri="{FF2B5EF4-FFF2-40B4-BE49-F238E27FC236}">
                  <a16:creationId xmlns:a16="http://schemas.microsoft.com/office/drawing/2014/main" id="{39D665A4-4F4E-441C-B55C-726916A4039E}"/>
                </a:ext>
              </a:extLst>
            </p:cNvPr>
            <p:cNvSpPr/>
            <p:nvPr/>
          </p:nvSpPr>
          <p:spPr>
            <a:xfrm rot="8716295">
              <a:off x="1454889" y="232606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" name="Forme libre : forme 223">
              <a:extLst>
                <a:ext uri="{FF2B5EF4-FFF2-40B4-BE49-F238E27FC236}">
                  <a16:creationId xmlns:a16="http://schemas.microsoft.com/office/drawing/2014/main" id="{8AF4C94D-DC68-46A4-BF2C-889E3D6B62EC}"/>
                </a:ext>
              </a:extLst>
            </p:cNvPr>
            <p:cNvSpPr/>
            <p:nvPr/>
          </p:nvSpPr>
          <p:spPr>
            <a:xfrm rot="8716295">
              <a:off x="1253263" y="238536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" name="Forme libre : forme 224">
              <a:extLst>
                <a:ext uri="{FF2B5EF4-FFF2-40B4-BE49-F238E27FC236}">
                  <a16:creationId xmlns:a16="http://schemas.microsoft.com/office/drawing/2014/main" id="{C1408C1D-6D03-4994-BD3B-49E299BEE8DA}"/>
                </a:ext>
              </a:extLst>
            </p:cNvPr>
            <p:cNvSpPr/>
            <p:nvPr/>
          </p:nvSpPr>
          <p:spPr>
            <a:xfrm rot="8716295">
              <a:off x="1128361" y="217669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" name="Forme libre : forme 225">
              <a:extLst>
                <a:ext uri="{FF2B5EF4-FFF2-40B4-BE49-F238E27FC236}">
                  <a16:creationId xmlns:a16="http://schemas.microsoft.com/office/drawing/2014/main" id="{EB108B47-7607-4350-BAC7-848269D45EA1}"/>
                </a:ext>
              </a:extLst>
            </p:cNvPr>
            <p:cNvSpPr/>
            <p:nvPr/>
          </p:nvSpPr>
          <p:spPr>
            <a:xfrm rot="8716295">
              <a:off x="1343441" y="242631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" name="Forme libre : forme 226">
              <a:extLst>
                <a:ext uri="{FF2B5EF4-FFF2-40B4-BE49-F238E27FC236}">
                  <a16:creationId xmlns:a16="http://schemas.microsoft.com/office/drawing/2014/main" id="{016BF330-2E65-471B-BA9A-203A297FAFCE}"/>
                </a:ext>
              </a:extLst>
            </p:cNvPr>
            <p:cNvSpPr/>
            <p:nvPr/>
          </p:nvSpPr>
          <p:spPr>
            <a:xfrm rot="8716295">
              <a:off x="1101990" y="227671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" name="Forme libre : forme 227">
              <a:extLst>
                <a:ext uri="{FF2B5EF4-FFF2-40B4-BE49-F238E27FC236}">
                  <a16:creationId xmlns:a16="http://schemas.microsoft.com/office/drawing/2014/main" id="{20DF741A-5A82-48D0-A9BB-E29A7DA079B2}"/>
                </a:ext>
              </a:extLst>
            </p:cNvPr>
            <p:cNvSpPr/>
            <p:nvPr/>
          </p:nvSpPr>
          <p:spPr>
            <a:xfrm rot="7484129">
              <a:off x="1448372" y="261767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" name="Forme libre : forme 228">
              <a:extLst>
                <a:ext uri="{FF2B5EF4-FFF2-40B4-BE49-F238E27FC236}">
                  <a16:creationId xmlns:a16="http://schemas.microsoft.com/office/drawing/2014/main" id="{FBBC9382-FE3D-4581-90F5-934825D4E890}"/>
                </a:ext>
              </a:extLst>
            </p:cNvPr>
            <p:cNvSpPr/>
            <p:nvPr/>
          </p:nvSpPr>
          <p:spPr>
            <a:xfrm rot="13089394">
              <a:off x="1553192" y="258420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" name="Forme libre : forme 229">
              <a:extLst>
                <a:ext uri="{FF2B5EF4-FFF2-40B4-BE49-F238E27FC236}">
                  <a16:creationId xmlns:a16="http://schemas.microsoft.com/office/drawing/2014/main" id="{1722850A-0379-4FB9-9C9B-E45F998A47BD}"/>
                </a:ext>
              </a:extLst>
            </p:cNvPr>
            <p:cNvSpPr/>
            <p:nvPr/>
          </p:nvSpPr>
          <p:spPr>
            <a:xfrm rot="8716295">
              <a:off x="1738777" y="23925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" name="Forme libre : forme 230">
              <a:extLst>
                <a:ext uri="{FF2B5EF4-FFF2-40B4-BE49-F238E27FC236}">
                  <a16:creationId xmlns:a16="http://schemas.microsoft.com/office/drawing/2014/main" id="{BF511EF9-A49C-4AE3-8280-5A5B1337EE62}"/>
                </a:ext>
              </a:extLst>
            </p:cNvPr>
            <p:cNvSpPr/>
            <p:nvPr/>
          </p:nvSpPr>
          <p:spPr>
            <a:xfrm rot="8716295">
              <a:off x="1686972" y="228893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" name="Forme libre : forme 231">
              <a:extLst>
                <a:ext uri="{FF2B5EF4-FFF2-40B4-BE49-F238E27FC236}">
                  <a16:creationId xmlns:a16="http://schemas.microsoft.com/office/drawing/2014/main" id="{D138BF00-ED92-4133-ADF5-E9C66056A424}"/>
                </a:ext>
              </a:extLst>
            </p:cNvPr>
            <p:cNvSpPr/>
            <p:nvPr/>
          </p:nvSpPr>
          <p:spPr>
            <a:xfrm rot="8716295">
              <a:off x="1443726" y="231915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" name="Forme libre : forme 232">
              <a:extLst>
                <a:ext uri="{FF2B5EF4-FFF2-40B4-BE49-F238E27FC236}">
                  <a16:creationId xmlns:a16="http://schemas.microsoft.com/office/drawing/2014/main" id="{8E358CEB-AF06-484E-8852-BAE0311E02CC}"/>
                </a:ext>
              </a:extLst>
            </p:cNvPr>
            <p:cNvSpPr/>
            <p:nvPr/>
          </p:nvSpPr>
          <p:spPr>
            <a:xfrm rot="8716295">
              <a:off x="1621178" y="21599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" name="Forme libre : forme 233">
              <a:extLst>
                <a:ext uri="{FF2B5EF4-FFF2-40B4-BE49-F238E27FC236}">
                  <a16:creationId xmlns:a16="http://schemas.microsoft.com/office/drawing/2014/main" id="{9EBAEBBD-0226-432C-8DB2-1DA1060129B8}"/>
                </a:ext>
              </a:extLst>
            </p:cNvPr>
            <p:cNvSpPr/>
            <p:nvPr/>
          </p:nvSpPr>
          <p:spPr>
            <a:xfrm rot="8716295">
              <a:off x="1299565" y="320667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" name="Forme libre : forme 234">
              <a:extLst>
                <a:ext uri="{FF2B5EF4-FFF2-40B4-BE49-F238E27FC236}">
                  <a16:creationId xmlns:a16="http://schemas.microsoft.com/office/drawing/2014/main" id="{B666620F-F3D0-4B5D-9685-3CAB27EBF061}"/>
                </a:ext>
              </a:extLst>
            </p:cNvPr>
            <p:cNvSpPr/>
            <p:nvPr/>
          </p:nvSpPr>
          <p:spPr>
            <a:xfrm rot="8716295">
              <a:off x="1388957" y="323591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" name="Forme libre : forme 235">
              <a:extLst>
                <a:ext uri="{FF2B5EF4-FFF2-40B4-BE49-F238E27FC236}">
                  <a16:creationId xmlns:a16="http://schemas.microsoft.com/office/drawing/2014/main" id="{88947540-8C6A-4BF5-BB71-6D60ADEAEBA1}"/>
                </a:ext>
              </a:extLst>
            </p:cNvPr>
            <p:cNvSpPr/>
            <p:nvPr/>
          </p:nvSpPr>
          <p:spPr>
            <a:xfrm rot="8716295">
              <a:off x="1344107" y="314963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" name="Forme libre : forme 236">
              <a:extLst>
                <a:ext uri="{FF2B5EF4-FFF2-40B4-BE49-F238E27FC236}">
                  <a16:creationId xmlns:a16="http://schemas.microsoft.com/office/drawing/2014/main" id="{55A70DC6-65F6-4764-AD9C-C9CC5AC38D47}"/>
                </a:ext>
              </a:extLst>
            </p:cNvPr>
            <p:cNvSpPr/>
            <p:nvPr/>
          </p:nvSpPr>
          <p:spPr>
            <a:xfrm rot="8716295">
              <a:off x="1187331" y="329521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" name="Forme libre : forme 237">
              <a:extLst>
                <a:ext uri="{FF2B5EF4-FFF2-40B4-BE49-F238E27FC236}">
                  <a16:creationId xmlns:a16="http://schemas.microsoft.com/office/drawing/2014/main" id="{BB754C94-5023-48F1-A098-74F43CE79231}"/>
                </a:ext>
              </a:extLst>
            </p:cNvPr>
            <p:cNvSpPr/>
            <p:nvPr/>
          </p:nvSpPr>
          <p:spPr>
            <a:xfrm rot="8716295">
              <a:off x="1062428" y="308654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" name="Forme libre : forme 238">
              <a:extLst>
                <a:ext uri="{FF2B5EF4-FFF2-40B4-BE49-F238E27FC236}">
                  <a16:creationId xmlns:a16="http://schemas.microsoft.com/office/drawing/2014/main" id="{76EDC7DE-4ED0-41EE-BBDC-2D4CD0BE6E51}"/>
                </a:ext>
              </a:extLst>
            </p:cNvPr>
            <p:cNvSpPr/>
            <p:nvPr/>
          </p:nvSpPr>
          <p:spPr>
            <a:xfrm rot="8716295">
              <a:off x="1050376" y="294776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" name="Forme libre : forme 239">
              <a:extLst>
                <a:ext uri="{FF2B5EF4-FFF2-40B4-BE49-F238E27FC236}">
                  <a16:creationId xmlns:a16="http://schemas.microsoft.com/office/drawing/2014/main" id="{ABABCCB1-DB29-40D3-B384-2DA707723441}"/>
                </a:ext>
              </a:extLst>
            </p:cNvPr>
            <p:cNvSpPr/>
            <p:nvPr/>
          </p:nvSpPr>
          <p:spPr>
            <a:xfrm rot="8716295">
              <a:off x="1277509" y="333617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" name="Forme libre : forme 240">
              <a:extLst>
                <a:ext uri="{FF2B5EF4-FFF2-40B4-BE49-F238E27FC236}">
                  <a16:creationId xmlns:a16="http://schemas.microsoft.com/office/drawing/2014/main" id="{D86BE233-1E89-4884-9471-90ABF15AC049}"/>
                </a:ext>
              </a:extLst>
            </p:cNvPr>
            <p:cNvSpPr/>
            <p:nvPr/>
          </p:nvSpPr>
          <p:spPr>
            <a:xfrm rot="8716295">
              <a:off x="1588664" y="295652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" name="Forme libre : forme 241">
              <a:extLst>
                <a:ext uri="{FF2B5EF4-FFF2-40B4-BE49-F238E27FC236}">
                  <a16:creationId xmlns:a16="http://schemas.microsoft.com/office/drawing/2014/main" id="{1E4464D3-58E9-4A03-BB6A-8B83E3881142}"/>
                </a:ext>
              </a:extLst>
            </p:cNvPr>
            <p:cNvSpPr/>
            <p:nvPr/>
          </p:nvSpPr>
          <p:spPr>
            <a:xfrm rot="8716295">
              <a:off x="1678056" y="298576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" name="Forme libre : forme 242">
              <a:extLst>
                <a:ext uri="{FF2B5EF4-FFF2-40B4-BE49-F238E27FC236}">
                  <a16:creationId xmlns:a16="http://schemas.microsoft.com/office/drawing/2014/main" id="{17781F1F-DB19-4442-B92A-C7711450A6C2}"/>
                </a:ext>
              </a:extLst>
            </p:cNvPr>
            <p:cNvSpPr/>
            <p:nvPr/>
          </p:nvSpPr>
          <p:spPr>
            <a:xfrm rot="8716295">
              <a:off x="1476430" y="304506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" name="Forme libre : forme 243">
              <a:extLst>
                <a:ext uri="{FF2B5EF4-FFF2-40B4-BE49-F238E27FC236}">
                  <a16:creationId xmlns:a16="http://schemas.microsoft.com/office/drawing/2014/main" id="{DBD406CA-7502-44B6-87AF-2C3CFA35CDED}"/>
                </a:ext>
              </a:extLst>
            </p:cNvPr>
            <p:cNvSpPr/>
            <p:nvPr/>
          </p:nvSpPr>
          <p:spPr>
            <a:xfrm rot="8716295">
              <a:off x="1351528" y="283639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" name="Forme libre : forme 244">
              <a:extLst>
                <a:ext uri="{FF2B5EF4-FFF2-40B4-BE49-F238E27FC236}">
                  <a16:creationId xmlns:a16="http://schemas.microsoft.com/office/drawing/2014/main" id="{1D9F6882-BBB8-4C9A-BDD7-FAB6F4D5F59D}"/>
                </a:ext>
              </a:extLst>
            </p:cNvPr>
            <p:cNvSpPr/>
            <p:nvPr/>
          </p:nvSpPr>
          <p:spPr>
            <a:xfrm rot="8716295">
              <a:off x="1566608" y="308601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" name="Forme libre : forme 245">
              <a:extLst>
                <a:ext uri="{FF2B5EF4-FFF2-40B4-BE49-F238E27FC236}">
                  <a16:creationId xmlns:a16="http://schemas.microsoft.com/office/drawing/2014/main" id="{D03B605A-3C15-4096-9741-AEE20EFC39A1}"/>
                </a:ext>
              </a:extLst>
            </p:cNvPr>
            <p:cNvSpPr/>
            <p:nvPr/>
          </p:nvSpPr>
          <p:spPr>
            <a:xfrm rot="8716295">
              <a:off x="1325157" y="293641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" name="Forme libre : forme 246">
              <a:extLst>
                <a:ext uri="{FF2B5EF4-FFF2-40B4-BE49-F238E27FC236}">
                  <a16:creationId xmlns:a16="http://schemas.microsoft.com/office/drawing/2014/main" id="{38898AE8-B829-47A3-880A-38C78C89B9DE}"/>
                </a:ext>
              </a:extLst>
            </p:cNvPr>
            <p:cNvSpPr/>
            <p:nvPr/>
          </p:nvSpPr>
          <p:spPr>
            <a:xfrm rot="7484129">
              <a:off x="1671539" y="327736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" name="Forme libre : forme 247">
              <a:extLst>
                <a:ext uri="{FF2B5EF4-FFF2-40B4-BE49-F238E27FC236}">
                  <a16:creationId xmlns:a16="http://schemas.microsoft.com/office/drawing/2014/main" id="{6C94EF82-BA2B-46A8-965C-6EF68064713F}"/>
                </a:ext>
              </a:extLst>
            </p:cNvPr>
            <p:cNvSpPr/>
            <p:nvPr/>
          </p:nvSpPr>
          <p:spPr>
            <a:xfrm rot="13089394">
              <a:off x="1776359" y="324390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" name="Forme libre : forme 248">
              <a:extLst>
                <a:ext uri="{FF2B5EF4-FFF2-40B4-BE49-F238E27FC236}">
                  <a16:creationId xmlns:a16="http://schemas.microsoft.com/office/drawing/2014/main" id="{551D5950-1E6B-4DD0-AB72-CBFF9866A44D}"/>
                </a:ext>
              </a:extLst>
            </p:cNvPr>
            <p:cNvSpPr/>
            <p:nvPr/>
          </p:nvSpPr>
          <p:spPr>
            <a:xfrm rot="8716295">
              <a:off x="1961944" y="305222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" name="Forme libre : forme 249">
              <a:extLst>
                <a:ext uri="{FF2B5EF4-FFF2-40B4-BE49-F238E27FC236}">
                  <a16:creationId xmlns:a16="http://schemas.microsoft.com/office/drawing/2014/main" id="{B6B88D31-2E44-4166-86AB-E9E6ECCAF3B0}"/>
                </a:ext>
              </a:extLst>
            </p:cNvPr>
            <p:cNvSpPr/>
            <p:nvPr/>
          </p:nvSpPr>
          <p:spPr>
            <a:xfrm rot="8716295">
              <a:off x="1910139" y="294862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" name="Forme libre : forme 250">
              <a:extLst>
                <a:ext uri="{FF2B5EF4-FFF2-40B4-BE49-F238E27FC236}">
                  <a16:creationId xmlns:a16="http://schemas.microsoft.com/office/drawing/2014/main" id="{811032A2-B40D-4E18-A5FE-1E40E940D0A3}"/>
                </a:ext>
              </a:extLst>
            </p:cNvPr>
            <p:cNvSpPr/>
            <p:nvPr/>
          </p:nvSpPr>
          <p:spPr>
            <a:xfrm rot="8716295">
              <a:off x="1666893" y="297885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" name="Forme libre : forme 251">
              <a:extLst>
                <a:ext uri="{FF2B5EF4-FFF2-40B4-BE49-F238E27FC236}">
                  <a16:creationId xmlns:a16="http://schemas.microsoft.com/office/drawing/2014/main" id="{10E9AA39-FF6D-4519-822E-A935B8BFBA5C}"/>
                </a:ext>
              </a:extLst>
            </p:cNvPr>
            <p:cNvSpPr/>
            <p:nvPr/>
          </p:nvSpPr>
          <p:spPr>
            <a:xfrm rot="8716295">
              <a:off x="1844345" y="281960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" name="Forme libre : forme 252">
              <a:extLst>
                <a:ext uri="{FF2B5EF4-FFF2-40B4-BE49-F238E27FC236}">
                  <a16:creationId xmlns:a16="http://schemas.microsoft.com/office/drawing/2014/main" id="{6C0C2891-B5CF-43D2-8AFF-62DA18792308}"/>
                </a:ext>
              </a:extLst>
            </p:cNvPr>
            <p:cNvSpPr/>
            <p:nvPr/>
          </p:nvSpPr>
          <p:spPr>
            <a:xfrm rot="8716295">
              <a:off x="2092137" y="5100860"/>
              <a:ext cx="63833" cy="43384"/>
            </a:xfrm>
            <a:custGeom>
              <a:avLst/>
              <a:gdLst>
                <a:gd name="connsiteX0" fmla="*/ 5923 w 63833"/>
                <a:gd name="connsiteY0" fmla="*/ 43384 h 43384"/>
                <a:gd name="connsiteX1" fmla="*/ 0 w 63833"/>
                <a:gd name="connsiteY1" fmla="*/ 35182 h 43384"/>
                <a:gd name="connsiteX2" fmla="*/ 37391 w 63833"/>
                <a:gd name="connsiteY2" fmla="*/ 0 h 43384"/>
                <a:gd name="connsiteX3" fmla="*/ 63833 w 63833"/>
                <a:gd name="connsiteY3" fmla="*/ 18329 h 4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833" h="43384">
                  <a:moveTo>
                    <a:pt x="5923" y="43384"/>
                  </a:moveTo>
                  <a:lnTo>
                    <a:pt x="0" y="35182"/>
                  </a:lnTo>
                  <a:lnTo>
                    <a:pt x="37391" y="0"/>
                  </a:lnTo>
                  <a:lnTo>
                    <a:pt x="63833" y="1832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" name="Forme libre : forme 253">
              <a:extLst>
                <a:ext uri="{FF2B5EF4-FFF2-40B4-BE49-F238E27FC236}">
                  <a16:creationId xmlns:a16="http://schemas.microsoft.com/office/drawing/2014/main" id="{D0590309-C5C9-415B-B4DB-187E6398C8E2}"/>
                </a:ext>
              </a:extLst>
            </p:cNvPr>
            <p:cNvSpPr/>
            <p:nvPr/>
          </p:nvSpPr>
          <p:spPr>
            <a:xfrm rot="8716295">
              <a:off x="1789040" y="5044339"/>
              <a:ext cx="113322" cy="144291"/>
            </a:xfrm>
            <a:custGeom>
              <a:avLst/>
              <a:gdLst>
                <a:gd name="connsiteX0" fmla="*/ 0 w 113322"/>
                <a:gd name="connsiteY0" fmla="*/ 3741 h 144291"/>
                <a:gd name="connsiteX1" fmla="*/ 0 w 113322"/>
                <a:gd name="connsiteY1" fmla="*/ 0 h 144291"/>
                <a:gd name="connsiteX2" fmla="*/ 5398 w 113322"/>
                <a:gd name="connsiteY2" fmla="*/ 3741 h 144291"/>
                <a:gd name="connsiteX3" fmla="*/ 90709 w 113322"/>
                <a:gd name="connsiteY3" fmla="*/ 144291 h 144291"/>
                <a:gd name="connsiteX4" fmla="*/ 47847 w 113322"/>
                <a:gd name="connsiteY4" fmla="*/ 64547 h 144291"/>
                <a:gd name="connsiteX5" fmla="*/ 56901 w 113322"/>
                <a:gd name="connsiteY5" fmla="*/ 39441 h 144291"/>
                <a:gd name="connsiteX6" fmla="*/ 113322 w 113322"/>
                <a:gd name="connsiteY6" fmla="*/ 78551 h 144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322" h="144291">
                  <a:moveTo>
                    <a:pt x="0" y="3741"/>
                  </a:moveTo>
                  <a:lnTo>
                    <a:pt x="0" y="0"/>
                  </a:lnTo>
                  <a:lnTo>
                    <a:pt x="5398" y="3741"/>
                  </a:lnTo>
                  <a:close/>
                  <a:moveTo>
                    <a:pt x="90709" y="144291"/>
                  </a:moveTo>
                  <a:lnTo>
                    <a:pt x="47847" y="64547"/>
                  </a:lnTo>
                  <a:lnTo>
                    <a:pt x="56901" y="39441"/>
                  </a:lnTo>
                  <a:lnTo>
                    <a:pt x="113322" y="7855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" name="Forme libre : forme 254">
              <a:extLst>
                <a:ext uri="{FF2B5EF4-FFF2-40B4-BE49-F238E27FC236}">
                  <a16:creationId xmlns:a16="http://schemas.microsoft.com/office/drawing/2014/main" id="{5BD5D859-B6BE-4272-BEBA-C49F2EB86FA8}"/>
                </a:ext>
              </a:extLst>
            </p:cNvPr>
            <p:cNvSpPr/>
            <p:nvPr/>
          </p:nvSpPr>
          <p:spPr>
            <a:xfrm rot="8716295">
              <a:off x="1701335" y="4927006"/>
              <a:ext cx="290643" cy="318535"/>
            </a:xfrm>
            <a:custGeom>
              <a:avLst/>
              <a:gdLst>
                <a:gd name="connsiteX0" fmla="*/ 25298 w 290643"/>
                <a:gd name="connsiteY0" fmla="*/ 288944 h 318535"/>
                <a:gd name="connsiteX1" fmla="*/ 0 w 290643"/>
                <a:gd name="connsiteY1" fmla="*/ 187748 h 318535"/>
                <a:gd name="connsiteX2" fmla="*/ 0 w 290643"/>
                <a:gd name="connsiteY2" fmla="*/ 8302 h 318535"/>
                <a:gd name="connsiteX3" fmla="*/ 16003 w 290643"/>
                <a:gd name="connsiteY3" fmla="*/ 0 h 318535"/>
                <a:gd name="connsiteX4" fmla="*/ 78793 w 290643"/>
                <a:gd name="connsiteY4" fmla="*/ 43524 h 318535"/>
                <a:gd name="connsiteX5" fmla="*/ 79427 w 290643"/>
                <a:gd name="connsiteY5" fmla="*/ 131855 h 318535"/>
                <a:gd name="connsiteX6" fmla="*/ 93547 w 290643"/>
                <a:gd name="connsiteY6" fmla="*/ 229521 h 318535"/>
                <a:gd name="connsiteX7" fmla="*/ 164149 w 290643"/>
                <a:gd name="connsiteY7" fmla="*/ 268352 h 318535"/>
                <a:gd name="connsiteX8" fmla="*/ 217100 w 290643"/>
                <a:gd name="connsiteY8" fmla="*/ 258938 h 318535"/>
                <a:gd name="connsiteX9" fmla="*/ 289467 w 290643"/>
                <a:gd name="connsiteY9" fmla="*/ 229521 h 318535"/>
                <a:gd name="connsiteX10" fmla="*/ 290643 w 290643"/>
                <a:gd name="connsiteY10" fmla="*/ 237169 h 318535"/>
                <a:gd name="connsiteX11" fmla="*/ 290643 w 290643"/>
                <a:gd name="connsiteY11" fmla="*/ 243052 h 318535"/>
                <a:gd name="connsiteX12" fmla="*/ 97665 w 290643"/>
                <a:gd name="connsiteY12" fmla="*/ 318361 h 318535"/>
                <a:gd name="connsiteX13" fmla="*/ 25298 w 290643"/>
                <a:gd name="connsiteY13" fmla="*/ 288944 h 318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90643" h="318535">
                  <a:moveTo>
                    <a:pt x="25298" y="288944"/>
                  </a:moveTo>
                  <a:cubicBezTo>
                    <a:pt x="5295" y="269528"/>
                    <a:pt x="0" y="235992"/>
                    <a:pt x="0" y="187748"/>
                  </a:cubicBezTo>
                  <a:lnTo>
                    <a:pt x="0" y="8302"/>
                  </a:lnTo>
                  <a:lnTo>
                    <a:pt x="16003" y="0"/>
                  </a:lnTo>
                  <a:lnTo>
                    <a:pt x="78793" y="43524"/>
                  </a:lnTo>
                  <a:lnTo>
                    <a:pt x="79427" y="131855"/>
                  </a:lnTo>
                  <a:cubicBezTo>
                    <a:pt x="77662" y="164803"/>
                    <a:pt x="82957" y="198338"/>
                    <a:pt x="93547" y="229521"/>
                  </a:cubicBezTo>
                  <a:cubicBezTo>
                    <a:pt x="102961" y="255408"/>
                    <a:pt x="127083" y="268352"/>
                    <a:pt x="164149" y="268352"/>
                  </a:cubicBezTo>
                  <a:cubicBezTo>
                    <a:pt x="182387" y="267763"/>
                    <a:pt x="200038" y="264233"/>
                    <a:pt x="217100" y="258938"/>
                  </a:cubicBezTo>
                  <a:cubicBezTo>
                    <a:pt x="241810" y="251290"/>
                    <a:pt x="265933" y="241288"/>
                    <a:pt x="289467" y="229521"/>
                  </a:cubicBezTo>
                  <a:cubicBezTo>
                    <a:pt x="290055" y="231874"/>
                    <a:pt x="290643" y="234816"/>
                    <a:pt x="290643" y="237169"/>
                  </a:cubicBezTo>
                  <a:lnTo>
                    <a:pt x="290643" y="243052"/>
                  </a:lnTo>
                  <a:cubicBezTo>
                    <a:pt x="228278" y="296592"/>
                    <a:pt x="146498" y="315419"/>
                    <a:pt x="97665" y="318361"/>
                  </a:cubicBezTo>
                  <a:cubicBezTo>
                    <a:pt x="70602" y="320126"/>
                    <a:pt x="44126" y="308359"/>
                    <a:pt x="25298" y="28894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" name="Forme libre : forme 255">
              <a:extLst>
                <a:ext uri="{FF2B5EF4-FFF2-40B4-BE49-F238E27FC236}">
                  <a16:creationId xmlns:a16="http://schemas.microsoft.com/office/drawing/2014/main" id="{DF6324B6-1146-4A58-A87B-58A99832DFC5}"/>
                </a:ext>
              </a:extLst>
            </p:cNvPr>
            <p:cNvSpPr/>
            <p:nvPr/>
          </p:nvSpPr>
          <p:spPr>
            <a:xfrm rot="8716295">
              <a:off x="2251190" y="4935850"/>
              <a:ext cx="142167" cy="232388"/>
            </a:xfrm>
            <a:custGeom>
              <a:avLst/>
              <a:gdLst>
                <a:gd name="connsiteX0" fmla="*/ 81108 w 142167"/>
                <a:gd name="connsiteY0" fmla="*/ 232388 h 232388"/>
                <a:gd name="connsiteX1" fmla="*/ 81108 w 142167"/>
                <a:gd name="connsiteY1" fmla="*/ 69716 h 232388"/>
                <a:gd name="connsiteX2" fmla="*/ 81108 w 142167"/>
                <a:gd name="connsiteY2" fmla="*/ 65616 h 232388"/>
                <a:gd name="connsiteX3" fmla="*/ 60604 w 142167"/>
                <a:gd name="connsiteY3" fmla="*/ 50123 h 232388"/>
                <a:gd name="connsiteX4" fmla="*/ 0 w 142167"/>
                <a:gd name="connsiteY4" fmla="*/ 50123 h 232388"/>
                <a:gd name="connsiteX5" fmla="*/ 0 w 142167"/>
                <a:gd name="connsiteY5" fmla="*/ 0 h 232388"/>
                <a:gd name="connsiteX6" fmla="*/ 63990 w 142167"/>
                <a:gd name="connsiteY6" fmla="*/ 0 h 232388"/>
                <a:gd name="connsiteX7" fmla="*/ 142167 w 142167"/>
                <a:gd name="connsiteY7" fmla="*/ 54190 h 232388"/>
                <a:gd name="connsiteX8" fmla="*/ 142167 w 142167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32388">
                  <a:moveTo>
                    <a:pt x="81108" y="232388"/>
                  </a:moveTo>
                  <a:lnTo>
                    <a:pt x="81108" y="69716"/>
                  </a:lnTo>
                  <a:cubicBezTo>
                    <a:pt x="81108" y="68350"/>
                    <a:pt x="81108" y="66983"/>
                    <a:pt x="81108" y="65616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63990" y="0"/>
                  </a:lnTo>
                  <a:lnTo>
                    <a:pt x="142167" y="54190"/>
                  </a:lnTo>
                  <a:lnTo>
                    <a:pt x="142167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" name="Forme libre : forme 256">
              <a:extLst>
                <a:ext uri="{FF2B5EF4-FFF2-40B4-BE49-F238E27FC236}">
                  <a16:creationId xmlns:a16="http://schemas.microsoft.com/office/drawing/2014/main" id="{646EF66B-E595-4EAF-98DD-AFED25A9F1D2}"/>
                </a:ext>
              </a:extLst>
            </p:cNvPr>
            <p:cNvSpPr/>
            <p:nvPr/>
          </p:nvSpPr>
          <p:spPr>
            <a:xfrm rot="8716295">
              <a:off x="2456859" y="4924575"/>
              <a:ext cx="131246" cy="253348"/>
            </a:xfrm>
            <a:custGeom>
              <a:avLst/>
              <a:gdLst>
                <a:gd name="connsiteX0" fmla="*/ 51490 w 131246"/>
                <a:gd name="connsiteY0" fmla="*/ 253348 h 253348"/>
                <a:gd name="connsiteX1" fmla="*/ 51489 w 131246"/>
                <a:gd name="connsiteY1" fmla="*/ 44199 h 253348"/>
                <a:gd name="connsiteX2" fmla="*/ 0 w 131246"/>
                <a:gd name="connsiteY2" fmla="*/ 44199 h 253348"/>
                <a:gd name="connsiteX3" fmla="*/ 0 w 131246"/>
                <a:gd name="connsiteY3" fmla="*/ 0 h 253348"/>
                <a:gd name="connsiteX4" fmla="*/ 44807 w 131246"/>
                <a:gd name="connsiteY4" fmla="*/ 0 h 253348"/>
                <a:gd name="connsiteX5" fmla="*/ 104802 w 131246"/>
                <a:gd name="connsiteY5" fmla="*/ 41587 h 253348"/>
                <a:gd name="connsiteX6" fmla="*/ 104802 w 131246"/>
                <a:gd name="connsiteY6" fmla="*/ 73817 h 253348"/>
                <a:gd name="connsiteX7" fmla="*/ 106169 w 131246"/>
                <a:gd name="connsiteY7" fmla="*/ 73817 h 253348"/>
                <a:gd name="connsiteX8" fmla="*/ 115569 w 131246"/>
                <a:gd name="connsiteY8" fmla="*/ 49050 h 253348"/>
                <a:gd name="connsiteX9" fmla="*/ 131246 w 131246"/>
                <a:gd name="connsiteY9" fmla="*/ 59916 h 253348"/>
                <a:gd name="connsiteX10" fmla="*/ 127358 w 131246"/>
                <a:gd name="connsiteY10" fmla="*/ 64191 h 253348"/>
                <a:gd name="connsiteX11" fmla="*/ 111638 w 131246"/>
                <a:gd name="connsiteY11" fmla="*/ 126218 h 253348"/>
                <a:gd name="connsiteX12" fmla="*/ 111638 w 131246"/>
                <a:gd name="connsiteY12" fmla="*/ 212339 h 253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1246" h="253348">
                  <a:moveTo>
                    <a:pt x="51490" y="253348"/>
                  </a:moveTo>
                  <a:lnTo>
                    <a:pt x="51489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44807" y="0"/>
                  </a:lnTo>
                  <a:lnTo>
                    <a:pt x="104802" y="41587"/>
                  </a:lnTo>
                  <a:lnTo>
                    <a:pt x="104802" y="73817"/>
                  </a:lnTo>
                  <a:lnTo>
                    <a:pt x="106169" y="73817"/>
                  </a:lnTo>
                  <a:lnTo>
                    <a:pt x="115569" y="49050"/>
                  </a:lnTo>
                  <a:lnTo>
                    <a:pt x="131246" y="59916"/>
                  </a:lnTo>
                  <a:lnTo>
                    <a:pt x="127358" y="64191"/>
                  </a:lnTo>
                  <a:cubicBezTo>
                    <a:pt x="117675" y="79968"/>
                    <a:pt x="111638" y="101840"/>
                    <a:pt x="111638" y="126218"/>
                  </a:cubicBezTo>
                  <a:lnTo>
                    <a:pt x="111638" y="2123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" name="Forme libre : forme 257">
              <a:extLst>
                <a:ext uri="{FF2B5EF4-FFF2-40B4-BE49-F238E27FC236}">
                  <a16:creationId xmlns:a16="http://schemas.microsoft.com/office/drawing/2014/main" id="{BBB2A0DE-B613-4103-A446-00FD5673FDA7}"/>
                </a:ext>
              </a:extLst>
            </p:cNvPr>
            <p:cNvSpPr/>
            <p:nvPr/>
          </p:nvSpPr>
          <p:spPr>
            <a:xfrm rot="8716295">
              <a:off x="2139785" y="502413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" name="Forme libre : forme 258">
              <a:extLst>
                <a:ext uri="{FF2B5EF4-FFF2-40B4-BE49-F238E27FC236}">
                  <a16:creationId xmlns:a16="http://schemas.microsoft.com/office/drawing/2014/main" id="{CE0B209D-C132-46B3-A7D3-E99A86963D83}"/>
                </a:ext>
              </a:extLst>
            </p:cNvPr>
            <p:cNvSpPr/>
            <p:nvPr/>
          </p:nvSpPr>
          <p:spPr>
            <a:xfrm rot="8716295">
              <a:off x="2014883" y="481546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" name="Forme libre : forme 259">
              <a:extLst>
                <a:ext uri="{FF2B5EF4-FFF2-40B4-BE49-F238E27FC236}">
                  <a16:creationId xmlns:a16="http://schemas.microsoft.com/office/drawing/2014/main" id="{46BBD1CB-80EF-4DD7-9CA4-1F270A6D433D}"/>
                </a:ext>
              </a:extLst>
            </p:cNvPr>
            <p:cNvSpPr/>
            <p:nvPr/>
          </p:nvSpPr>
          <p:spPr>
            <a:xfrm rot="8716295">
              <a:off x="2190257" y="5090583"/>
              <a:ext cx="60147" cy="76898"/>
            </a:xfrm>
            <a:custGeom>
              <a:avLst/>
              <a:gdLst>
                <a:gd name="connsiteX0" fmla="*/ 60147 w 60147"/>
                <a:gd name="connsiteY0" fmla="*/ 76898 h 76898"/>
                <a:gd name="connsiteX1" fmla="*/ 0 w 60147"/>
                <a:gd name="connsiteY1" fmla="*/ 19028 h 76898"/>
                <a:gd name="connsiteX2" fmla="*/ 0 w 60147"/>
                <a:gd name="connsiteY2" fmla="*/ 0 h 76898"/>
                <a:gd name="connsiteX3" fmla="*/ 60147 w 60147"/>
                <a:gd name="connsiteY3" fmla="*/ 41692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7" h="76898">
                  <a:moveTo>
                    <a:pt x="60147" y="76898"/>
                  </a:moveTo>
                  <a:lnTo>
                    <a:pt x="0" y="19028"/>
                  </a:lnTo>
                  <a:lnTo>
                    <a:pt x="0" y="0"/>
                  </a:lnTo>
                  <a:lnTo>
                    <a:pt x="60147" y="416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" name="Forme libre : forme 260">
              <a:extLst>
                <a:ext uri="{FF2B5EF4-FFF2-40B4-BE49-F238E27FC236}">
                  <a16:creationId xmlns:a16="http://schemas.microsoft.com/office/drawing/2014/main" id="{A32DFF69-92E6-43D9-A847-4B37531C0FC1}"/>
                </a:ext>
              </a:extLst>
            </p:cNvPr>
            <p:cNvSpPr/>
            <p:nvPr/>
          </p:nvSpPr>
          <p:spPr>
            <a:xfrm rot="8716295">
              <a:off x="1988512" y="491548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" name="Forme libre : forme 261">
              <a:extLst>
                <a:ext uri="{FF2B5EF4-FFF2-40B4-BE49-F238E27FC236}">
                  <a16:creationId xmlns:a16="http://schemas.microsoft.com/office/drawing/2014/main" id="{8232E004-724D-4398-A64A-AF1F94C033B6}"/>
                </a:ext>
              </a:extLst>
            </p:cNvPr>
            <p:cNvSpPr/>
            <p:nvPr/>
          </p:nvSpPr>
          <p:spPr>
            <a:xfrm rot="8716295">
              <a:off x="2650789" y="5021708"/>
              <a:ext cx="177699" cy="117559"/>
            </a:xfrm>
            <a:custGeom>
              <a:avLst/>
              <a:gdLst>
                <a:gd name="connsiteX0" fmla="*/ 6986 w 177699"/>
                <a:gd name="connsiteY0" fmla="*/ 117559 h 117559"/>
                <a:gd name="connsiteX1" fmla="*/ 0 w 177699"/>
                <a:gd name="connsiteY1" fmla="*/ 107886 h 117559"/>
                <a:gd name="connsiteX2" fmla="*/ 114658 w 177699"/>
                <a:gd name="connsiteY2" fmla="*/ 0 h 117559"/>
                <a:gd name="connsiteX3" fmla="*/ 177699 w 177699"/>
                <a:gd name="connsiteY3" fmla="*/ 43698 h 117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7699" h="117559">
                  <a:moveTo>
                    <a:pt x="6986" y="117559"/>
                  </a:moveTo>
                  <a:lnTo>
                    <a:pt x="0" y="107886"/>
                  </a:lnTo>
                  <a:lnTo>
                    <a:pt x="114658" y="0"/>
                  </a:lnTo>
                  <a:lnTo>
                    <a:pt x="177699" y="436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" name="Forme libre : forme 262">
              <a:extLst>
                <a:ext uri="{FF2B5EF4-FFF2-40B4-BE49-F238E27FC236}">
                  <a16:creationId xmlns:a16="http://schemas.microsoft.com/office/drawing/2014/main" id="{FBFBE439-377B-4FDF-9911-15B61D5AC250}"/>
                </a:ext>
              </a:extLst>
            </p:cNvPr>
            <p:cNvSpPr/>
            <p:nvPr/>
          </p:nvSpPr>
          <p:spPr>
            <a:xfrm rot="8716295">
              <a:off x="2573494" y="492769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" name="Forme libre : forme 263">
              <a:extLst>
                <a:ext uri="{FF2B5EF4-FFF2-40B4-BE49-F238E27FC236}">
                  <a16:creationId xmlns:a16="http://schemas.microsoft.com/office/drawing/2014/main" id="{8F5A7FC6-58AF-4BF6-9769-158D9D43A4A8}"/>
                </a:ext>
              </a:extLst>
            </p:cNvPr>
            <p:cNvSpPr/>
            <p:nvPr/>
          </p:nvSpPr>
          <p:spPr>
            <a:xfrm rot="8716295">
              <a:off x="2330248" y="495791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" name="Forme libre : forme 264">
              <a:extLst>
                <a:ext uri="{FF2B5EF4-FFF2-40B4-BE49-F238E27FC236}">
                  <a16:creationId xmlns:a16="http://schemas.microsoft.com/office/drawing/2014/main" id="{0B99B4B3-E447-449D-B6F2-40AFC1232903}"/>
                </a:ext>
              </a:extLst>
            </p:cNvPr>
            <p:cNvSpPr/>
            <p:nvPr/>
          </p:nvSpPr>
          <p:spPr>
            <a:xfrm rot="8716295">
              <a:off x="2507700" y="479867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" name="Forme libre : forme 265">
              <a:extLst>
                <a:ext uri="{FF2B5EF4-FFF2-40B4-BE49-F238E27FC236}">
                  <a16:creationId xmlns:a16="http://schemas.microsoft.com/office/drawing/2014/main" id="{9FDE555B-22C7-4972-A03C-9A881E9F494C}"/>
                </a:ext>
              </a:extLst>
            </p:cNvPr>
            <p:cNvSpPr/>
            <p:nvPr/>
          </p:nvSpPr>
          <p:spPr>
            <a:xfrm rot="8716295">
              <a:off x="1518235" y="386507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" name="Forme libre : forme 266">
              <a:extLst>
                <a:ext uri="{FF2B5EF4-FFF2-40B4-BE49-F238E27FC236}">
                  <a16:creationId xmlns:a16="http://schemas.microsoft.com/office/drawing/2014/main" id="{47023A4A-E9A4-4E7C-9A1F-7F050E215658}"/>
                </a:ext>
              </a:extLst>
            </p:cNvPr>
            <p:cNvSpPr/>
            <p:nvPr/>
          </p:nvSpPr>
          <p:spPr>
            <a:xfrm rot="8716295">
              <a:off x="1607627" y="389431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" name="Forme libre : forme 267">
              <a:extLst>
                <a:ext uri="{FF2B5EF4-FFF2-40B4-BE49-F238E27FC236}">
                  <a16:creationId xmlns:a16="http://schemas.microsoft.com/office/drawing/2014/main" id="{721AE192-0DE9-44CE-AFE7-60EAD2184BA9}"/>
                </a:ext>
              </a:extLst>
            </p:cNvPr>
            <p:cNvSpPr/>
            <p:nvPr/>
          </p:nvSpPr>
          <p:spPr>
            <a:xfrm rot="8716295">
              <a:off x="1562777" y="380803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" name="Forme libre : forme 268">
              <a:extLst>
                <a:ext uri="{FF2B5EF4-FFF2-40B4-BE49-F238E27FC236}">
                  <a16:creationId xmlns:a16="http://schemas.microsoft.com/office/drawing/2014/main" id="{C1003FCB-894D-4CB7-9C82-85789FE9B276}"/>
                </a:ext>
              </a:extLst>
            </p:cNvPr>
            <p:cNvSpPr/>
            <p:nvPr/>
          </p:nvSpPr>
          <p:spPr>
            <a:xfrm rot="8716295">
              <a:off x="1406001" y="395361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0" name="Forme libre : forme 269">
              <a:extLst>
                <a:ext uri="{FF2B5EF4-FFF2-40B4-BE49-F238E27FC236}">
                  <a16:creationId xmlns:a16="http://schemas.microsoft.com/office/drawing/2014/main" id="{7F48A554-D952-4BC7-8F60-7FBDCE05FE70}"/>
                </a:ext>
              </a:extLst>
            </p:cNvPr>
            <p:cNvSpPr/>
            <p:nvPr/>
          </p:nvSpPr>
          <p:spPr>
            <a:xfrm rot="8716295">
              <a:off x="1281098" y="374494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1" name="Forme libre : forme 270">
              <a:extLst>
                <a:ext uri="{FF2B5EF4-FFF2-40B4-BE49-F238E27FC236}">
                  <a16:creationId xmlns:a16="http://schemas.microsoft.com/office/drawing/2014/main" id="{B64659B2-F8CD-4B3D-8353-ED1AAF15923F}"/>
                </a:ext>
              </a:extLst>
            </p:cNvPr>
            <p:cNvSpPr/>
            <p:nvPr/>
          </p:nvSpPr>
          <p:spPr>
            <a:xfrm rot="8716295">
              <a:off x="1269046" y="3606161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2" name="Forme libre : forme 271">
              <a:extLst>
                <a:ext uri="{FF2B5EF4-FFF2-40B4-BE49-F238E27FC236}">
                  <a16:creationId xmlns:a16="http://schemas.microsoft.com/office/drawing/2014/main" id="{C1336409-0E83-4F9F-AE44-B0095CEBE127}"/>
                </a:ext>
              </a:extLst>
            </p:cNvPr>
            <p:cNvSpPr/>
            <p:nvPr/>
          </p:nvSpPr>
          <p:spPr>
            <a:xfrm rot="8716295">
              <a:off x="1496179" y="399456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3" name="Forme libre : forme 272">
              <a:extLst>
                <a:ext uri="{FF2B5EF4-FFF2-40B4-BE49-F238E27FC236}">
                  <a16:creationId xmlns:a16="http://schemas.microsoft.com/office/drawing/2014/main" id="{11163225-7511-4602-A804-B9D156B88F47}"/>
                </a:ext>
              </a:extLst>
            </p:cNvPr>
            <p:cNvSpPr/>
            <p:nvPr/>
          </p:nvSpPr>
          <p:spPr>
            <a:xfrm rot="8716295">
              <a:off x="1807334" y="36149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4" name="Forme libre : forme 273">
              <a:extLst>
                <a:ext uri="{FF2B5EF4-FFF2-40B4-BE49-F238E27FC236}">
                  <a16:creationId xmlns:a16="http://schemas.microsoft.com/office/drawing/2014/main" id="{81961769-D6FF-4365-87D3-0FF20F673A4A}"/>
                </a:ext>
              </a:extLst>
            </p:cNvPr>
            <p:cNvSpPr/>
            <p:nvPr/>
          </p:nvSpPr>
          <p:spPr>
            <a:xfrm rot="8716295">
              <a:off x="1896726" y="36441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5" name="Forme libre : forme 274">
              <a:extLst>
                <a:ext uri="{FF2B5EF4-FFF2-40B4-BE49-F238E27FC236}">
                  <a16:creationId xmlns:a16="http://schemas.microsoft.com/office/drawing/2014/main" id="{D838E7DA-A3D8-4733-90D9-56C4006640C1}"/>
                </a:ext>
              </a:extLst>
            </p:cNvPr>
            <p:cNvSpPr/>
            <p:nvPr/>
          </p:nvSpPr>
          <p:spPr>
            <a:xfrm rot="8716295">
              <a:off x="1695100" y="370346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6" name="Forme libre : forme 275">
              <a:extLst>
                <a:ext uri="{FF2B5EF4-FFF2-40B4-BE49-F238E27FC236}">
                  <a16:creationId xmlns:a16="http://schemas.microsoft.com/office/drawing/2014/main" id="{BE48505C-4A3C-41E8-805D-3F3964663DC3}"/>
                </a:ext>
              </a:extLst>
            </p:cNvPr>
            <p:cNvSpPr/>
            <p:nvPr/>
          </p:nvSpPr>
          <p:spPr>
            <a:xfrm rot="8716295">
              <a:off x="1570198" y="349478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7" name="Forme libre : forme 276">
              <a:extLst>
                <a:ext uri="{FF2B5EF4-FFF2-40B4-BE49-F238E27FC236}">
                  <a16:creationId xmlns:a16="http://schemas.microsoft.com/office/drawing/2014/main" id="{74C1AFD3-7B5D-49B6-B346-37FFDE5D01C0}"/>
                </a:ext>
              </a:extLst>
            </p:cNvPr>
            <p:cNvSpPr/>
            <p:nvPr/>
          </p:nvSpPr>
          <p:spPr>
            <a:xfrm rot="8716295">
              <a:off x="1785278" y="37444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8" name="Forme libre : forme 277">
              <a:extLst>
                <a:ext uri="{FF2B5EF4-FFF2-40B4-BE49-F238E27FC236}">
                  <a16:creationId xmlns:a16="http://schemas.microsoft.com/office/drawing/2014/main" id="{B918BF38-28D0-4E79-852B-01ED43D79B29}"/>
                </a:ext>
              </a:extLst>
            </p:cNvPr>
            <p:cNvSpPr/>
            <p:nvPr/>
          </p:nvSpPr>
          <p:spPr>
            <a:xfrm rot="8716295">
              <a:off x="1543827" y="359481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9" name="Forme libre : forme 278">
              <a:extLst>
                <a:ext uri="{FF2B5EF4-FFF2-40B4-BE49-F238E27FC236}">
                  <a16:creationId xmlns:a16="http://schemas.microsoft.com/office/drawing/2014/main" id="{9821C7DC-A0EE-43BB-82AD-2D73FD4DEC58}"/>
                </a:ext>
              </a:extLst>
            </p:cNvPr>
            <p:cNvSpPr/>
            <p:nvPr/>
          </p:nvSpPr>
          <p:spPr>
            <a:xfrm rot="7484129">
              <a:off x="1890209" y="393576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0" name="Forme libre : forme 279">
              <a:extLst>
                <a:ext uri="{FF2B5EF4-FFF2-40B4-BE49-F238E27FC236}">
                  <a16:creationId xmlns:a16="http://schemas.microsoft.com/office/drawing/2014/main" id="{CE9B832D-CDB0-4485-83A6-7D7ED44A3320}"/>
                </a:ext>
              </a:extLst>
            </p:cNvPr>
            <p:cNvSpPr/>
            <p:nvPr/>
          </p:nvSpPr>
          <p:spPr>
            <a:xfrm rot="13089394">
              <a:off x="1995029" y="3902299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1" name="Forme libre : forme 280">
              <a:extLst>
                <a:ext uri="{FF2B5EF4-FFF2-40B4-BE49-F238E27FC236}">
                  <a16:creationId xmlns:a16="http://schemas.microsoft.com/office/drawing/2014/main" id="{B39230A2-1C21-4062-B5E2-4E3B7D0C88CD}"/>
                </a:ext>
              </a:extLst>
            </p:cNvPr>
            <p:cNvSpPr/>
            <p:nvPr/>
          </p:nvSpPr>
          <p:spPr>
            <a:xfrm rot="8716295">
              <a:off x="2180614" y="371061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2" name="Forme libre : forme 281">
              <a:extLst>
                <a:ext uri="{FF2B5EF4-FFF2-40B4-BE49-F238E27FC236}">
                  <a16:creationId xmlns:a16="http://schemas.microsoft.com/office/drawing/2014/main" id="{81DCB6A5-C857-4E79-932B-EE7CD6E9E80D}"/>
                </a:ext>
              </a:extLst>
            </p:cNvPr>
            <p:cNvSpPr/>
            <p:nvPr/>
          </p:nvSpPr>
          <p:spPr>
            <a:xfrm rot="8716295">
              <a:off x="2128809" y="360702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3" name="Forme libre : forme 282">
              <a:extLst>
                <a:ext uri="{FF2B5EF4-FFF2-40B4-BE49-F238E27FC236}">
                  <a16:creationId xmlns:a16="http://schemas.microsoft.com/office/drawing/2014/main" id="{DE2E55F0-E1D2-42EF-81BE-5B9CF56A8B16}"/>
                </a:ext>
              </a:extLst>
            </p:cNvPr>
            <p:cNvSpPr/>
            <p:nvPr/>
          </p:nvSpPr>
          <p:spPr>
            <a:xfrm rot="8716295">
              <a:off x="1885563" y="36372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4" name="Forme libre : forme 283">
              <a:extLst>
                <a:ext uri="{FF2B5EF4-FFF2-40B4-BE49-F238E27FC236}">
                  <a16:creationId xmlns:a16="http://schemas.microsoft.com/office/drawing/2014/main" id="{14AD1449-9E25-4F42-B0CB-B7AB7DA137A1}"/>
                </a:ext>
              </a:extLst>
            </p:cNvPr>
            <p:cNvSpPr/>
            <p:nvPr/>
          </p:nvSpPr>
          <p:spPr>
            <a:xfrm rot="8716295">
              <a:off x="2063015" y="34780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5" name="Forme libre : forme 284">
              <a:extLst>
                <a:ext uri="{FF2B5EF4-FFF2-40B4-BE49-F238E27FC236}">
                  <a16:creationId xmlns:a16="http://schemas.microsoft.com/office/drawing/2014/main" id="{9459C257-BD83-4EA3-A67A-64F2E29D2444}"/>
                </a:ext>
              </a:extLst>
            </p:cNvPr>
            <p:cNvSpPr/>
            <p:nvPr/>
          </p:nvSpPr>
          <p:spPr>
            <a:xfrm rot="8716295">
              <a:off x="1741402" y="452476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6" name="Forme libre : forme 285">
              <a:extLst>
                <a:ext uri="{FF2B5EF4-FFF2-40B4-BE49-F238E27FC236}">
                  <a16:creationId xmlns:a16="http://schemas.microsoft.com/office/drawing/2014/main" id="{776DF04A-9E10-40B0-8F87-C3176DFB0655}"/>
                </a:ext>
              </a:extLst>
            </p:cNvPr>
            <p:cNvSpPr/>
            <p:nvPr/>
          </p:nvSpPr>
          <p:spPr>
            <a:xfrm rot="8716295">
              <a:off x="1830794" y="455401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7" name="Forme libre : forme 286">
              <a:extLst>
                <a:ext uri="{FF2B5EF4-FFF2-40B4-BE49-F238E27FC236}">
                  <a16:creationId xmlns:a16="http://schemas.microsoft.com/office/drawing/2014/main" id="{1BCF78D3-72E0-4C34-AE46-85492A03A633}"/>
                </a:ext>
              </a:extLst>
            </p:cNvPr>
            <p:cNvSpPr/>
            <p:nvPr/>
          </p:nvSpPr>
          <p:spPr>
            <a:xfrm rot="8716295">
              <a:off x="1785944" y="4467731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8" name="Forme libre : forme 287">
              <a:extLst>
                <a:ext uri="{FF2B5EF4-FFF2-40B4-BE49-F238E27FC236}">
                  <a16:creationId xmlns:a16="http://schemas.microsoft.com/office/drawing/2014/main" id="{40DD2911-8E83-41A0-92FE-163A6FA95009}"/>
                </a:ext>
              </a:extLst>
            </p:cNvPr>
            <p:cNvSpPr/>
            <p:nvPr/>
          </p:nvSpPr>
          <p:spPr>
            <a:xfrm rot="8716295">
              <a:off x="1629168" y="461331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9" name="Forme libre : forme 288">
              <a:extLst>
                <a:ext uri="{FF2B5EF4-FFF2-40B4-BE49-F238E27FC236}">
                  <a16:creationId xmlns:a16="http://schemas.microsoft.com/office/drawing/2014/main" id="{E686274E-624B-4FD1-9536-D2B4D790F806}"/>
                </a:ext>
              </a:extLst>
            </p:cNvPr>
            <p:cNvSpPr/>
            <p:nvPr/>
          </p:nvSpPr>
          <p:spPr>
            <a:xfrm rot="8716295">
              <a:off x="1504265" y="440464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0" name="Forme libre : forme 289">
              <a:extLst>
                <a:ext uri="{FF2B5EF4-FFF2-40B4-BE49-F238E27FC236}">
                  <a16:creationId xmlns:a16="http://schemas.microsoft.com/office/drawing/2014/main" id="{DA92638D-CC75-4944-B78B-61E3B22A12E3}"/>
                </a:ext>
              </a:extLst>
            </p:cNvPr>
            <p:cNvSpPr/>
            <p:nvPr/>
          </p:nvSpPr>
          <p:spPr>
            <a:xfrm rot="8716295">
              <a:off x="1492213" y="4265860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1" name="Forme libre : forme 290">
              <a:extLst>
                <a:ext uri="{FF2B5EF4-FFF2-40B4-BE49-F238E27FC236}">
                  <a16:creationId xmlns:a16="http://schemas.microsoft.com/office/drawing/2014/main" id="{17950727-3BF3-4A34-9F11-5322F5CFB8F3}"/>
                </a:ext>
              </a:extLst>
            </p:cNvPr>
            <p:cNvSpPr/>
            <p:nvPr/>
          </p:nvSpPr>
          <p:spPr>
            <a:xfrm rot="8716295">
              <a:off x="1719346" y="465426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2" name="Forme libre : forme 291">
              <a:extLst>
                <a:ext uri="{FF2B5EF4-FFF2-40B4-BE49-F238E27FC236}">
                  <a16:creationId xmlns:a16="http://schemas.microsoft.com/office/drawing/2014/main" id="{9010FFF3-701E-491D-97A1-527670851B3C}"/>
                </a:ext>
              </a:extLst>
            </p:cNvPr>
            <p:cNvSpPr/>
            <p:nvPr/>
          </p:nvSpPr>
          <p:spPr>
            <a:xfrm rot="8716295">
              <a:off x="2030501" y="427461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3" name="Forme libre : forme 292">
              <a:extLst>
                <a:ext uri="{FF2B5EF4-FFF2-40B4-BE49-F238E27FC236}">
                  <a16:creationId xmlns:a16="http://schemas.microsoft.com/office/drawing/2014/main" id="{8E50FB82-1555-41A1-B55B-D3699A1B10A3}"/>
                </a:ext>
              </a:extLst>
            </p:cNvPr>
            <p:cNvSpPr/>
            <p:nvPr/>
          </p:nvSpPr>
          <p:spPr>
            <a:xfrm rot="8716295">
              <a:off x="2119893" y="430385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4" name="Forme libre : forme 293">
              <a:extLst>
                <a:ext uri="{FF2B5EF4-FFF2-40B4-BE49-F238E27FC236}">
                  <a16:creationId xmlns:a16="http://schemas.microsoft.com/office/drawing/2014/main" id="{ECB71CB3-C9D6-4612-8036-4BC5560F17FE}"/>
                </a:ext>
              </a:extLst>
            </p:cNvPr>
            <p:cNvSpPr/>
            <p:nvPr/>
          </p:nvSpPr>
          <p:spPr>
            <a:xfrm rot="8716295">
              <a:off x="1918267" y="436316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5" name="Forme libre : forme 294">
              <a:extLst>
                <a:ext uri="{FF2B5EF4-FFF2-40B4-BE49-F238E27FC236}">
                  <a16:creationId xmlns:a16="http://schemas.microsoft.com/office/drawing/2014/main" id="{23C3947C-E5CD-4C04-A462-D000016701AE}"/>
                </a:ext>
              </a:extLst>
            </p:cNvPr>
            <p:cNvSpPr/>
            <p:nvPr/>
          </p:nvSpPr>
          <p:spPr>
            <a:xfrm rot="8716295">
              <a:off x="1793365" y="415448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6" name="Forme libre : forme 295">
              <a:extLst>
                <a:ext uri="{FF2B5EF4-FFF2-40B4-BE49-F238E27FC236}">
                  <a16:creationId xmlns:a16="http://schemas.microsoft.com/office/drawing/2014/main" id="{36960960-0C32-4C59-8462-A2186C943B16}"/>
                </a:ext>
              </a:extLst>
            </p:cNvPr>
            <p:cNvSpPr/>
            <p:nvPr/>
          </p:nvSpPr>
          <p:spPr>
            <a:xfrm rot="8716295">
              <a:off x="2008445" y="4404113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7" name="Forme libre : forme 296">
              <a:extLst>
                <a:ext uri="{FF2B5EF4-FFF2-40B4-BE49-F238E27FC236}">
                  <a16:creationId xmlns:a16="http://schemas.microsoft.com/office/drawing/2014/main" id="{A017DED6-0DF0-4954-AA17-FAF145052546}"/>
                </a:ext>
              </a:extLst>
            </p:cNvPr>
            <p:cNvSpPr/>
            <p:nvPr/>
          </p:nvSpPr>
          <p:spPr>
            <a:xfrm rot="8716295">
              <a:off x="1766994" y="4254513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8" name="Forme libre : forme 297">
              <a:extLst>
                <a:ext uri="{FF2B5EF4-FFF2-40B4-BE49-F238E27FC236}">
                  <a16:creationId xmlns:a16="http://schemas.microsoft.com/office/drawing/2014/main" id="{5CC2F812-5E9A-4217-955F-4164466B5C25}"/>
                </a:ext>
              </a:extLst>
            </p:cNvPr>
            <p:cNvSpPr/>
            <p:nvPr/>
          </p:nvSpPr>
          <p:spPr>
            <a:xfrm rot="7484129">
              <a:off x="2113376" y="459546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9" name="Forme libre : forme 298">
              <a:extLst>
                <a:ext uri="{FF2B5EF4-FFF2-40B4-BE49-F238E27FC236}">
                  <a16:creationId xmlns:a16="http://schemas.microsoft.com/office/drawing/2014/main" id="{C4DB3C3C-7923-468B-A1D6-C35736B5F055}"/>
                </a:ext>
              </a:extLst>
            </p:cNvPr>
            <p:cNvSpPr/>
            <p:nvPr/>
          </p:nvSpPr>
          <p:spPr>
            <a:xfrm rot="13089394">
              <a:off x="2218196" y="4561998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0" name="Forme libre : forme 299">
              <a:extLst>
                <a:ext uri="{FF2B5EF4-FFF2-40B4-BE49-F238E27FC236}">
                  <a16:creationId xmlns:a16="http://schemas.microsoft.com/office/drawing/2014/main" id="{4DB3A68B-6594-48A3-9ED1-B19E13D1C859}"/>
                </a:ext>
              </a:extLst>
            </p:cNvPr>
            <p:cNvSpPr/>
            <p:nvPr/>
          </p:nvSpPr>
          <p:spPr>
            <a:xfrm rot="8716295">
              <a:off x="2403781" y="4370317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1" name="Forme libre : forme 300">
              <a:extLst>
                <a:ext uri="{FF2B5EF4-FFF2-40B4-BE49-F238E27FC236}">
                  <a16:creationId xmlns:a16="http://schemas.microsoft.com/office/drawing/2014/main" id="{257847A5-8115-45F6-B365-C04D26B7A465}"/>
                </a:ext>
              </a:extLst>
            </p:cNvPr>
            <p:cNvSpPr/>
            <p:nvPr/>
          </p:nvSpPr>
          <p:spPr>
            <a:xfrm rot="8716295">
              <a:off x="2351976" y="426672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2" name="Forme libre : forme 301">
              <a:extLst>
                <a:ext uri="{FF2B5EF4-FFF2-40B4-BE49-F238E27FC236}">
                  <a16:creationId xmlns:a16="http://schemas.microsoft.com/office/drawing/2014/main" id="{8F6B8004-8361-41BA-B532-27BD701A55E8}"/>
                </a:ext>
              </a:extLst>
            </p:cNvPr>
            <p:cNvSpPr/>
            <p:nvPr/>
          </p:nvSpPr>
          <p:spPr>
            <a:xfrm rot="8716295">
              <a:off x="2108730" y="429694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3" name="Forme libre : forme 302">
              <a:extLst>
                <a:ext uri="{FF2B5EF4-FFF2-40B4-BE49-F238E27FC236}">
                  <a16:creationId xmlns:a16="http://schemas.microsoft.com/office/drawing/2014/main" id="{A2707731-9E6E-4897-BF1C-AD23EDDF33B9}"/>
                </a:ext>
              </a:extLst>
            </p:cNvPr>
            <p:cNvSpPr/>
            <p:nvPr/>
          </p:nvSpPr>
          <p:spPr>
            <a:xfrm rot="8716295">
              <a:off x="2286182" y="413770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4" name="Forme libre : forme 303">
              <a:extLst>
                <a:ext uri="{FF2B5EF4-FFF2-40B4-BE49-F238E27FC236}">
                  <a16:creationId xmlns:a16="http://schemas.microsoft.com/office/drawing/2014/main" id="{71585C5B-7ACF-4291-A3CC-77CF6C2FAF80}"/>
                </a:ext>
              </a:extLst>
            </p:cNvPr>
            <p:cNvSpPr/>
            <p:nvPr/>
          </p:nvSpPr>
          <p:spPr>
            <a:xfrm rot="8716295">
              <a:off x="854880" y="188600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5" name="Forme libre : forme 304">
              <a:extLst>
                <a:ext uri="{FF2B5EF4-FFF2-40B4-BE49-F238E27FC236}">
                  <a16:creationId xmlns:a16="http://schemas.microsoft.com/office/drawing/2014/main" id="{825A50BE-E198-461A-AE4C-E99B0DB548B8}"/>
                </a:ext>
              </a:extLst>
            </p:cNvPr>
            <p:cNvSpPr/>
            <p:nvPr/>
          </p:nvSpPr>
          <p:spPr>
            <a:xfrm rot="8716295">
              <a:off x="944272" y="191524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6" name="Forme libre : forme 305">
              <a:extLst>
                <a:ext uri="{FF2B5EF4-FFF2-40B4-BE49-F238E27FC236}">
                  <a16:creationId xmlns:a16="http://schemas.microsoft.com/office/drawing/2014/main" id="{A7FBDA8A-DF94-413D-B047-17E3CE1805C0}"/>
                </a:ext>
              </a:extLst>
            </p:cNvPr>
            <p:cNvSpPr/>
            <p:nvPr/>
          </p:nvSpPr>
          <p:spPr>
            <a:xfrm rot="8716295">
              <a:off x="899422" y="182896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7" name="Forme libre : forme 306">
              <a:extLst>
                <a:ext uri="{FF2B5EF4-FFF2-40B4-BE49-F238E27FC236}">
                  <a16:creationId xmlns:a16="http://schemas.microsoft.com/office/drawing/2014/main" id="{8DB66338-D210-4BFA-9092-FF348569CC52}"/>
                </a:ext>
              </a:extLst>
            </p:cNvPr>
            <p:cNvSpPr/>
            <p:nvPr/>
          </p:nvSpPr>
          <p:spPr>
            <a:xfrm rot="8716295">
              <a:off x="742646" y="197454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8" name="Forme libre : forme 307">
              <a:extLst>
                <a:ext uri="{FF2B5EF4-FFF2-40B4-BE49-F238E27FC236}">
                  <a16:creationId xmlns:a16="http://schemas.microsoft.com/office/drawing/2014/main" id="{74B60F54-C3F2-4334-BC7E-D49FA3ACE1ED}"/>
                </a:ext>
              </a:extLst>
            </p:cNvPr>
            <p:cNvSpPr/>
            <p:nvPr/>
          </p:nvSpPr>
          <p:spPr>
            <a:xfrm rot="8716295">
              <a:off x="617743" y="176587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9" name="Forme libre : forme 308">
              <a:extLst>
                <a:ext uri="{FF2B5EF4-FFF2-40B4-BE49-F238E27FC236}">
                  <a16:creationId xmlns:a16="http://schemas.microsoft.com/office/drawing/2014/main" id="{CA3E19C2-F96C-48A0-9D2C-698B32CA8895}"/>
                </a:ext>
              </a:extLst>
            </p:cNvPr>
            <p:cNvSpPr/>
            <p:nvPr/>
          </p:nvSpPr>
          <p:spPr>
            <a:xfrm rot="8716295">
              <a:off x="605691" y="162709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0" name="Forme libre : forme 309">
              <a:extLst>
                <a:ext uri="{FF2B5EF4-FFF2-40B4-BE49-F238E27FC236}">
                  <a16:creationId xmlns:a16="http://schemas.microsoft.com/office/drawing/2014/main" id="{9A0D5CB1-8D83-4AFE-B1BE-9F0F522C0D2B}"/>
                </a:ext>
              </a:extLst>
            </p:cNvPr>
            <p:cNvSpPr/>
            <p:nvPr/>
          </p:nvSpPr>
          <p:spPr>
            <a:xfrm rot="8716295">
              <a:off x="832824" y="201549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1" name="Forme libre : forme 310">
              <a:extLst>
                <a:ext uri="{FF2B5EF4-FFF2-40B4-BE49-F238E27FC236}">
                  <a16:creationId xmlns:a16="http://schemas.microsoft.com/office/drawing/2014/main" id="{7A50FCE7-03C8-4853-B73F-CE26795DB2CC}"/>
                </a:ext>
              </a:extLst>
            </p:cNvPr>
            <p:cNvSpPr/>
            <p:nvPr/>
          </p:nvSpPr>
          <p:spPr>
            <a:xfrm rot="8716295">
              <a:off x="1143979" y="163584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2" name="Forme libre : forme 311">
              <a:extLst>
                <a:ext uri="{FF2B5EF4-FFF2-40B4-BE49-F238E27FC236}">
                  <a16:creationId xmlns:a16="http://schemas.microsoft.com/office/drawing/2014/main" id="{457A7093-695D-4C41-85A0-782C2CD8BC44}"/>
                </a:ext>
              </a:extLst>
            </p:cNvPr>
            <p:cNvSpPr/>
            <p:nvPr/>
          </p:nvSpPr>
          <p:spPr>
            <a:xfrm rot="8716295">
              <a:off x="1233371" y="166509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3" name="Forme libre : forme 312">
              <a:extLst>
                <a:ext uri="{FF2B5EF4-FFF2-40B4-BE49-F238E27FC236}">
                  <a16:creationId xmlns:a16="http://schemas.microsoft.com/office/drawing/2014/main" id="{704E3047-55DF-4CDA-9182-C95BBA17BD9B}"/>
                </a:ext>
              </a:extLst>
            </p:cNvPr>
            <p:cNvSpPr/>
            <p:nvPr/>
          </p:nvSpPr>
          <p:spPr>
            <a:xfrm rot="8716295">
              <a:off x="1031745" y="172439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4" name="Forme libre : forme 313">
              <a:extLst>
                <a:ext uri="{FF2B5EF4-FFF2-40B4-BE49-F238E27FC236}">
                  <a16:creationId xmlns:a16="http://schemas.microsoft.com/office/drawing/2014/main" id="{75BDC6A2-BB14-4847-BB83-0C2ABA630806}"/>
                </a:ext>
              </a:extLst>
            </p:cNvPr>
            <p:cNvSpPr/>
            <p:nvPr/>
          </p:nvSpPr>
          <p:spPr>
            <a:xfrm rot="8716295">
              <a:off x="906843" y="151572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5" name="Forme libre : forme 314">
              <a:extLst>
                <a:ext uri="{FF2B5EF4-FFF2-40B4-BE49-F238E27FC236}">
                  <a16:creationId xmlns:a16="http://schemas.microsoft.com/office/drawing/2014/main" id="{7B4C3322-60E4-483D-8950-104BAFBDD71B}"/>
                </a:ext>
              </a:extLst>
            </p:cNvPr>
            <p:cNvSpPr/>
            <p:nvPr/>
          </p:nvSpPr>
          <p:spPr>
            <a:xfrm rot="8716295">
              <a:off x="1121923" y="176534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6" name="Forme libre : forme 315">
              <a:extLst>
                <a:ext uri="{FF2B5EF4-FFF2-40B4-BE49-F238E27FC236}">
                  <a16:creationId xmlns:a16="http://schemas.microsoft.com/office/drawing/2014/main" id="{2CCC10C4-A47F-46B3-9A5E-2B69B8F95724}"/>
                </a:ext>
              </a:extLst>
            </p:cNvPr>
            <p:cNvSpPr/>
            <p:nvPr/>
          </p:nvSpPr>
          <p:spPr>
            <a:xfrm rot="8716295">
              <a:off x="880472" y="161574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7" name="Forme libre : forme 316">
              <a:extLst>
                <a:ext uri="{FF2B5EF4-FFF2-40B4-BE49-F238E27FC236}">
                  <a16:creationId xmlns:a16="http://schemas.microsoft.com/office/drawing/2014/main" id="{C3F47D9C-5F75-4589-82C5-2EB76DD8C333}"/>
                </a:ext>
              </a:extLst>
            </p:cNvPr>
            <p:cNvSpPr/>
            <p:nvPr/>
          </p:nvSpPr>
          <p:spPr>
            <a:xfrm rot="7484129">
              <a:off x="1226854" y="195669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8" name="Forme libre : forme 317">
              <a:extLst>
                <a:ext uri="{FF2B5EF4-FFF2-40B4-BE49-F238E27FC236}">
                  <a16:creationId xmlns:a16="http://schemas.microsoft.com/office/drawing/2014/main" id="{06EDA617-7C34-4BCB-8273-6505201538B5}"/>
                </a:ext>
              </a:extLst>
            </p:cNvPr>
            <p:cNvSpPr/>
            <p:nvPr/>
          </p:nvSpPr>
          <p:spPr>
            <a:xfrm rot="13089394">
              <a:off x="1331674" y="192323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9" name="Forme libre : forme 318">
              <a:extLst>
                <a:ext uri="{FF2B5EF4-FFF2-40B4-BE49-F238E27FC236}">
                  <a16:creationId xmlns:a16="http://schemas.microsoft.com/office/drawing/2014/main" id="{8C00C036-C8B0-4F77-B0BC-B732FD327F08}"/>
                </a:ext>
              </a:extLst>
            </p:cNvPr>
            <p:cNvSpPr/>
            <p:nvPr/>
          </p:nvSpPr>
          <p:spPr>
            <a:xfrm rot="8716295">
              <a:off x="1517259" y="173154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0" name="Forme libre : forme 319">
              <a:extLst>
                <a:ext uri="{FF2B5EF4-FFF2-40B4-BE49-F238E27FC236}">
                  <a16:creationId xmlns:a16="http://schemas.microsoft.com/office/drawing/2014/main" id="{079E7D4D-7CBC-4E80-9ADD-66D10F53D00A}"/>
                </a:ext>
              </a:extLst>
            </p:cNvPr>
            <p:cNvSpPr/>
            <p:nvPr/>
          </p:nvSpPr>
          <p:spPr>
            <a:xfrm rot="8716295">
              <a:off x="1465454" y="162795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1" name="Forme libre : forme 320">
              <a:extLst>
                <a:ext uri="{FF2B5EF4-FFF2-40B4-BE49-F238E27FC236}">
                  <a16:creationId xmlns:a16="http://schemas.microsoft.com/office/drawing/2014/main" id="{F6CBC04A-ACBC-43B1-86C9-792F0278AE9C}"/>
                </a:ext>
              </a:extLst>
            </p:cNvPr>
            <p:cNvSpPr/>
            <p:nvPr/>
          </p:nvSpPr>
          <p:spPr>
            <a:xfrm rot="8716295">
              <a:off x="1222208" y="165817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2" name="Forme libre : forme 321">
              <a:extLst>
                <a:ext uri="{FF2B5EF4-FFF2-40B4-BE49-F238E27FC236}">
                  <a16:creationId xmlns:a16="http://schemas.microsoft.com/office/drawing/2014/main" id="{877F1B10-A111-4EDF-9C97-C64DD5E5FC2D}"/>
                </a:ext>
              </a:extLst>
            </p:cNvPr>
            <p:cNvSpPr/>
            <p:nvPr/>
          </p:nvSpPr>
          <p:spPr>
            <a:xfrm rot="8716295">
              <a:off x="1399660" y="149893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3" name="Forme libre : forme 322">
              <a:extLst>
                <a:ext uri="{FF2B5EF4-FFF2-40B4-BE49-F238E27FC236}">
                  <a16:creationId xmlns:a16="http://schemas.microsoft.com/office/drawing/2014/main" id="{247A35DD-1AE0-4F8F-91F1-39A539F5145A}"/>
                </a:ext>
              </a:extLst>
            </p:cNvPr>
            <p:cNvSpPr/>
            <p:nvPr/>
          </p:nvSpPr>
          <p:spPr>
            <a:xfrm rot="8716295">
              <a:off x="631713" y="12263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4" name="Forme libre : forme 323">
              <a:extLst>
                <a:ext uri="{FF2B5EF4-FFF2-40B4-BE49-F238E27FC236}">
                  <a16:creationId xmlns:a16="http://schemas.microsoft.com/office/drawing/2014/main" id="{B2057DA7-CDDF-43BB-8EAC-22466BE1F259}"/>
                </a:ext>
              </a:extLst>
            </p:cNvPr>
            <p:cNvSpPr/>
            <p:nvPr/>
          </p:nvSpPr>
          <p:spPr>
            <a:xfrm rot="8716295">
              <a:off x="721105" y="12555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5" name="Forme libre : forme 324">
              <a:extLst>
                <a:ext uri="{FF2B5EF4-FFF2-40B4-BE49-F238E27FC236}">
                  <a16:creationId xmlns:a16="http://schemas.microsoft.com/office/drawing/2014/main" id="{E77CA785-1459-4C27-B776-D857A8D4B013}"/>
                </a:ext>
              </a:extLst>
            </p:cNvPr>
            <p:cNvSpPr/>
            <p:nvPr/>
          </p:nvSpPr>
          <p:spPr>
            <a:xfrm rot="8716295">
              <a:off x="676255" y="116926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6" name="Forme libre : forme 325">
              <a:extLst>
                <a:ext uri="{FF2B5EF4-FFF2-40B4-BE49-F238E27FC236}">
                  <a16:creationId xmlns:a16="http://schemas.microsoft.com/office/drawing/2014/main" id="{D9BFC3E7-D875-4777-80CD-7BECEB16ED0F}"/>
                </a:ext>
              </a:extLst>
            </p:cNvPr>
            <p:cNvSpPr/>
            <p:nvPr/>
          </p:nvSpPr>
          <p:spPr>
            <a:xfrm rot="8716295">
              <a:off x="519479" y="13148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7" name="Forme libre : forme 326">
              <a:extLst>
                <a:ext uri="{FF2B5EF4-FFF2-40B4-BE49-F238E27FC236}">
                  <a16:creationId xmlns:a16="http://schemas.microsoft.com/office/drawing/2014/main" id="{E87C9BB6-CA72-4C32-8CA3-A029EC77D88B}"/>
                </a:ext>
              </a:extLst>
            </p:cNvPr>
            <p:cNvSpPr/>
            <p:nvPr/>
          </p:nvSpPr>
          <p:spPr>
            <a:xfrm rot="8716295">
              <a:off x="394576" y="11061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8" name="Forme libre : forme 327">
              <a:extLst>
                <a:ext uri="{FF2B5EF4-FFF2-40B4-BE49-F238E27FC236}">
                  <a16:creationId xmlns:a16="http://schemas.microsoft.com/office/drawing/2014/main" id="{40F6441D-9B69-4079-B1A2-720CB6BA2101}"/>
                </a:ext>
              </a:extLst>
            </p:cNvPr>
            <p:cNvSpPr/>
            <p:nvPr/>
          </p:nvSpPr>
          <p:spPr>
            <a:xfrm rot="8716295">
              <a:off x="382524" y="96739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9" name="Forme libre : forme 328">
              <a:extLst>
                <a:ext uri="{FF2B5EF4-FFF2-40B4-BE49-F238E27FC236}">
                  <a16:creationId xmlns:a16="http://schemas.microsoft.com/office/drawing/2014/main" id="{B832EB8F-3703-48E0-A315-AEFC6F1CBB35}"/>
                </a:ext>
              </a:extLst>
            </p:cNvPr>
            <p:cNvSpPr/>
            <p:nvPr/>
          </p:nvSpPr>
          <p:spPr>
            <a:xfrm rot="8716295">
              <a:off x="609657" y="135579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0" name="Forme libre : forme 329">
              <a:extLst>
                <a:ext uri="{FF2B5EF4-FFF2-40B4-BE49-F238E27FC236}">
                  <a16:creationId xmlns:a16="http://schemas.microsoft.com/office/drawing/2014/main" id="{763E69C5-E960-4417-A0EA-1ECCFB8C6C35}"/>
                </a:ext>
              </a:extLst>
            </p:cNvPr>
            <p:cNvSpPr/>
            <p:nvPr/>
          </p:nvSpPr>
          <p:spPr>
            <a:xfrm rot="8716295">
              <a:off x="920812" y="97615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1" name="Forme libre : forme 330">
              <a:extLst>
                <a:ext uri="{FF2B5EF4-FFF2-40B4-BE49-F238E27FC236}">
                  <a16:creationId xmlns:a16="http://schemas.microsoft.com/office/drawing/2014/main" id="{651DF2CF-FEA7-4A17-8C45-74CA1E1691C9}"/>
                </a:ext>
              </a:extLst>
            </p:cNvPr>
            <p:cNvSpPr/>
            <p:nvPr/>
          </p:nvSpPr>
          <p:spPr>
            <a:xfrm rot="8716295">
              <a:off x="1010204" y="100539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2" name="Forme libre : forme 331">
              <a:extLst>
                <a:ext uri="{FF2B5EF4-FFF2-40B4-BE49-F238E27FC236}">
                  <a16:creationId xmlns:a16="http://schemas.microsoft.com/office/drawing/2014/main" id="{F4BE6752-2F2B-4713-BCC2-F5A751451D2F}"/>
                </a:ext>
              </a:extLst>
            </p:cNvPr>
            <p:cNvSpPr/>
            <p:nvPr/>
          </p:nvSpPr>
          <p:spPr>
            <a:xfrm rot="8716295">
              <a:off x="808578" y="106469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3" name="Forme libre : forme 332">
              <a:extLst>
                <a:ext uri="{FF2B5EF4-FFF2-40B4-BE49-F238E27FC236}">
                  <a16:creationId xmlns:a16="http://schemas.microsoft.com/office/drawing/2014/main" id="{F0181337-48BC-4C6E-BF6A-EF75BA2ADF65}"/>
                </a:ext>
              </a:extLst>
            </p:cNvPr>
            <p:cNvSpPr/>
            <p:nvPr/>
          </p:nvSpPr>
          <p:spPr>
            <a:xfrm rot="8716295">
              <a:off x="683676" y="85602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4" name="Forme libre : forme 333">
              <a:extLst>
                <a:ext uri="{FF2B5EF4-FFF2-40B4-BE49-F238E27FC236}">
                  <a16:creationId xmlns:a16="http://schemas.microsoft.com/office/drawing/2014/main" id="{51A8FF0F-FF59-4E76-A691-2074D9AE597E}"/>
                </a:ext>
              </a:extLst>
            </p:cNvPr>
            <p:cNvSpPr/>
            <p:nvPr/>
          </p:nvSpPr>
          <p:spPr>
            <a:xfrm rot="8716295">
              <a:off x="898756" y="110564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5" name="Forme libre : forme 334">
              <a:extLst>
                <a:ext uri="{FF2B5EF4-FFF2-40B4-BE49-F238E27FC236}">
                  <a16:creationId xmlns:a16="http://schemas.microsoft.com/office/drawing/2014/main" id="{D5F2DBF7-EA5E-412E-BE60-C63CE87201BD}"/>
                </a:ext>
              </a:extLst>
            </p:cNvPr>
            <p:cNvSpPr/>
            <p:nvPr/>
          </p:nvSpPr>
          <p:spPr>
            <a:xfrm rot="8716295">
              <a:off x="657305" y="95604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6" name="Forme libre : forme 335">
              <a:extLst>
                <a:ext uri="{FF2B5EF4-FFF2-40B4-BE49-F238E27FC236}">
                  <a16:creationId xmlns:a16="http://schemas.microsoft.com/office/drawing/2014/main" id="{2B86FAAC-284E-4293-B3BE-662E153BEFE7}"/>
                </a:ext>
              </a:extLst>
            </p:cNvPr>
            <p:cNvSpPr/>
            <p:nvPr/>
          </p:nvSpPr>
          <p:spPr>
            <a:xfrm rot="7484129">
              <a:off x="1003687" y="129699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7" name="Forme libre : forme 336">
              <a:extLst>
                <a:ext uri="{FF2B5EF4-FFF2-40B4-BE49-F238E27FC236}">
                  <a16:creationId xmlns:a16="http://schemas.microsoft.com/office/drawing/2014/main" id="{F8C25AEA-BEFD-464B-AC86-4743BA580AF0}"/>
                </a:ext>
              </a:extLst>
            </p:cNvPr>
            <p:cNvSpPr/>
            <p:nvPr/>
          </p:nvSpPr>
          <p:spPr>
            <a:xfrm rot="13089394">
              <a:off x="1108507" y="1263531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8" name="Forme libre : forme 337">
              <a:extLst>
                <a:ext uri="{FF2B5EF4-FFF2-40B4-BE49-F238E27FC236}">
                  <a16:creationId xmlns:a16="http://schemas.microsoft.com/office/drawing/2014/main" id="{C5FC227C-CE0A-4B9A-BEB5-86A5822E13D2}"/>
                </a:ext>
              </a:extLst>
            </p:cNvPr>
            <p:cNvSpPr/>
            <p:nvPr/>
          </p:nvSpPr>
          <p:spPr>
            <a:xfrm rot="8716295">
              <a:off x="1294092" y="107185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9" name="Forme libre : forme 338">
              <a:extLst>
                <a:ext uri="{FF2B5EF4-FFF2-40B4-BE49-F238E27FC236}">
                  <a16:creationId xmlns:a16="http://schemas.microsoft.com/office/drawing/2014/main" id="{2AD54659-FB71-46D1-A755-0BCF081E050A}"/>
                </a:ext>
              </a:extLst>
            </p:cNvPr>
            <p:cNvSpPr/>
            <p:nvPr/>
          </p:nvSpPr>
          <p:spPr>
            <a:xfrm rot="8716295">
              <a:off x="1242287" y="96825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0" name="Forme libre : forme 339">
              <a:extLst>
                <a:ext uri="{FF2B5EF4-FFF2-40B4-BE49-F238E27FC236}">
                  <a16:creationId xmlns:a16="http://schemas.microsoft.com/office/drawing/2014/main" id="{EA0D1B29-AE82-4655-80DE-F5EADED15310}"/>
                </a:ext>
              </a:extLst>
            </p:cNvPr>
            <p:cNvSpPr/>
            <p:nvPr/>
          </p:nvSpPr>
          <p:spPr>
            <a:xfrm rot="8716295">
              <a:off x="999041" y="99847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1" name="Forme libre : forme 340">
              <a:extLst>
                <a:ext uri="{FF2B5EF4-FFF2-40B4-BE49-F238E27FC236}">
                  <a16:creationId xmlns:a16="http://schemas.microsoft.com/office/drawing/2014/main" id="{FE59AAF9-5326-4148-B75B-C59DBA653A58}"/>
                </a:ext>
              </a:extLst>
            </p:cNvPr>
            <p:cNvSpPr/>
            <p:nvPr/>
          </p:nvSpPr>
          <p:spPr>
            <a:xfrm rot="8716295">
              <a:off x="1176493" y="83923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2" name="Forme libre : forme 341">
              <a:extLst>
                <a:ext uri="{FF2B5EF4-FFF2-40B4-BE49-F238E27FC236}">
                  <a16:creationId xmlns:a16="http://schemas.microsoft.com/office/drawing/2014/main" id="{2B5ED39A-BA82-4FB9-B8D1-BFCBF5FCF8AB}"/>
                </a:ext>
              </a:extLst>
            </p:cNvPr>
            <p:cNvSpPr/>
            <p:nvPr/>
          </p:nvSpPr>
          <p:spPr>
            <a:xfrm rot="8716295">
              <a:off x="412774" y="56424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3" name="Forme libre : forme 342">
              <a:extLst>
                <a:ext uri="{FF2B5EF4-FFF2-40B4-BE49-F238E27FC236}">
                  <a16:creationId xmlns:a16="http://schemas.microsoft.com/office/drawing/2014/main" id="{EF04C128-AC77-4E99-970E-568F219D8A8C}"/>
                </a:ext>
              </a:extLst>
            </p:cNvPr>
            <p:cNvSpPr/>
            <p:nvPr/>
          </p:nvSpPr>
          <p:spPr>
            <a:xfrm rot="8716295">
              <a:off x="502166" y="59348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4" name="Forme libre : forme 343">
              <a:extLst>
                <a:ext uri="{FF2B5EF4-FFF2-40B4-BE49-F238E27FC236}">
                  <a16:creationId xmlns:a16="http://schemas.microsoft.com/office/drawing/2014/main" id="{35DEA77E-6D52-40CB-86CA-54607FDC07E9}"/>
                </a:ext>
              </a:extLst>
            </p:cNvPr>
            <p:cNvSpPr/>
            <p:nvPr/>
          </p:nvSpPr>
          <p:spPr>
            <a:xfrm rot="8716295">
              <a:off x="457316" y="50720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5" name="Forme libre : forme 344">
              <a:extLst>
                <a:ext uri="{FF2B5EF4-FFF2-40B4-BE49-F238E27FC236}">
                  <a16:creationId xmlns:a16="http://schemas.microsoft.com/office/drawing/2014/main" id="{7F83C78F-975E-4433-96C7-AC45753DC5C9}"/>
                </a:ext>
              </a:extLst>
            </p:cNvPr>
            <p:cNvSpPr/>
            <p:nvPr/>
          </p:nvSpPr>
          <p:spPr>
            <a:xfrm rot="8716295">
              <a:off x="300540" y="65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6" name="Forme libre : forme 345">
              <a:extLst>
                <a:ext uri="{FF2B5EF4-FFF2-40B4-BE49-F238E27FC236}">
                  <a16:creationId xmlns:a16="http://schemas.microsoft.com/office/drawing/2014/main" id="{FD3979A2-0F0A-4D64-B2D1-D790A7310394}"/>
                </a:ext>
              </a:extLst>
            </p:cNvPr>
            <p:cNvSpPr/>
            <p:nvPr/>
          </p:nvSpPr>
          <p:spPr>
            <a:xfrm rot="8716295">
              <a:off x="175637" y="44411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7" name="Forme libre : forme 346">
              <a:extLst>
                <a:ext uri="{FF2B5EF4-FFF2-40B4-BE49-F238E27FC236}">
                  <a16:creationId xmlns:a16="http://schemas.microsoft.com/office/drawing/2014/main" id="{AA76E107-EED2-43EE-909B-E95F465CE73B}"/>
                </a:ext>
              </a:extLst>
            </p:cNvPr>
            <p:cNvSpPr/>
            <p:nvPr/>
          </p:nvSpPr>
          <p:spPr>
            <a:xfrm rot="8716295">
              <a:off x="163585" y="30533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8" name="Forme libre : forme 347">
              <a:extLst>
                <a:ext uri="{FF2B5EF4-FFF2-40B4-BE49-F238E27FC236}">
                  <a16:creationId xmlns:a16="http://schemas.microsoft.com/office/drawing/2014/main" id="{B9BBA0BC-EEAF-493E-A940-F09587491C29}"/>
                </a:ext>
              </a:extLst>
            </p:cNvPr>
            <p:cNvSpPr/>
            <p:nvPr/>
          </p:nvSpPr>
          <p:spPr>
            <a:xfrm rot="8716295">
              <a:off x="390718" y="69374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9" name="Forme libre : forme 348">
              <a:extLst>
                <a:ext uri="{FF2B5EF4-FFF2-40B4-BE49-F238E27FC236}">
                  <a16:creationId xmlns:a16="http://schemas.microsoft.com/office/drawing/2014/main" id="{C8D30F56-4A06-4C10-B3F2-60FAA4FF4FB6}"/>
                </a:ext>
              </a:extLst>
            </p:cNvPr>
            <p:cNvSpPr/>
            <p:nvPr/>
          </p:nvSpPr>
          <p:spPr>
            <a:xfrm rot="8716295">
              <a:off x="701873" y="31409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0" name="Forme libre : forme 349">
              <a:extLst>
                <a:ext uri="{FF2B5EF4-FFF2-40B4-BE49-F238E27FC236}">
                  <a16:creationId xmlns:a16="http://schemas.microsoft.com/office/drawing/2014/main" id="{5C6936A8-9A95-4204-9D28-D9B75C140322}"/>
                </a:ext>
              </a:extLst>
            </p:cNvPr>
            <p:cNvSpPr/>
            <p:nvPr/>
          </p:nvSpPr>
          <p:spPr>
            <a:xfrm rot="8716295">
              <a:off x="791265" y="34333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1" name="Forme libre : forme 350">
              <a:extLst>
                <a:ext uri="{FF2B5EF4-FFF2-40B4-BE49-F238E27FC236}">
                  <a16:creationId xmlns:a16="http://schemas.microsoft.com/office/drawing/2014/main" id="{FFF2D367-BA47-4EF1-A7BB-098E80C21CBE}"/>
                </a:ext>
              </a:extLst>
            </p:cNvPr>
            <p:cNvSpPr/>
            <p:nvPr/>
          </p:nvSpPr>
          <p:spPr>
            <a:xfrm rot="8716295">
              <a:off x="589639" y="40263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2" name="Forme libre : forme 351">
              <a:extLst>
                <a:ext uri="{FF2B5EF4-FFF2-40B4-BE49-F238E27FC236}">
                  <a16:creationId xmlns:a16="http://schemas.microsoft.com/office/drawing/2014/main" id="{449281FC-8C05-45F5-BEE0-D74C1D2991A0}"/>
                </a:ext>
              </a:extLst>
            </p:cNvPr>
            <p:cNvSpPr/>
            <p:nvPr/>
          </p:nvSpPr>
          <p:spPr>
            <a:xfrm rot="8716295">
              <a:off x="464737" y="19396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3" name="Forme libre : forme 352">
              <a:extLst>
                <a:ext uri="{FF2B5EF4-FFF2-40B4-BE49-F238E27FC236}">
                  <a16:creationId xmlns:a16="http://schemas.microsoft.com/office/drawing/2014/main" id="{AC76B493-44A9-4110-A979-E79DA2DAD0EF}"/>
                </a:ext>
              </a:extLst>
            </p:cNvPr>
            <p:cNvSpPr/>
            <p:nvPr/>
          </p:nvSpPr>
          <p:spPr>
            <a:xfrm rot="8716295">
              <a:off x="679817" y="44358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4" name="Forme libre : forme 353">
              <a:extLst>
                <a:ext uri="{FF2B5EF4-FFF2-40B4-BE49-F238E27FC236}">
                  <a16:creationId xmlns:a16="http://schemas.microsoft.com/office/drawing/2014/main" id="{A1E49731-9881-455E-A515-C358862DEBAE}"/>
                </a:ext>
              </a:extLst>
            </p:cNvPr>
            <p:cNvSpPr/>
            <p:nvPr/>
          </p:nvSpPr>
          <p:spPr>
            <a:xfrm rot="8716295">
              <a:off x="438366" y="29398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5" name="Forme libre : forme 354">
              <a:extLst>
                <a:ext uri="{FF2B5EF4-FFF2-40B4-BE49-F238E27FC236}">
                  <a16:creationId xmlns:a16="http://schemas.microsoft.com/office/drawing/2014/main" id="{8204F475-BA32-42D6-B48D-2BEE0C6DF622}"/>
                </a:ext>
              </a:extLst>
            </p:cNvPr>
            <p:cNvSpPr/>
            <p:nvPr/>
          </p:nvSpPr>
          <p:spPr>
            <a:xfrm rot="7484129">
              <a:off x="784748" y="63493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6" name="Forme libre : forme 355">
              <a:extLst>
                <a:ext uri="{FF2B5EF4-FFF2-40B4-BE49-F238E27FC236}">
                  <a16:creationId xmlns:a16="http://schemas.microsoft.com/office/drawing/2014/main" id="{3407396E-8B17-4E89-82BB-C091E11448DB}"/>
                </a:ext>
              </a:extLst>
            </p:cNvPr>
            <p:cNvSpPr/>
            <p:nvPr/>
          </p:nvSpPr>
          <p:spPr>
            <a:xfrm rot="13089394">
              <a:off x="889568" y="60147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7" name="Forme libre : forme 356">
              <a:extLst>
                <a:ext uri="{FF2B5EF4-FFF2-40B4-BE49-F238E27FC236}">
                  <a16:creationId xmlns:a16="http://schemas.microsoft.com/office/drawing/2014/main" id="{27719725-2BB1-4B94-8AC6-F116861C62F1}"/>
                </a:ext>
              </a:extLst>
            </p:cNvPr>
            <p:cNvSpPr/>
            <p:nvPr/>
          </p:nvSpPr>
          <p:spPr>
            <a:xfrm rot="8716295">
              <a:off x="1075153" y="40979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8" name="Forme libre : forme 357">
              <a:extLst>
                <a:ext uri="{FF2B5EF4-FFF2-40B4-BE49-F238E27FC236}">
                  <a16:creationId xmlns:a16="http://schemas.microsoft.com/office/drawing/2014/main" id="{43C5E8C2-1177-4638-AAC9-C608290C6D73}"/>
                </a:ext>
              </a:extLst>
            </p:cNvPr>
            <p:cNvSpPr/>
            <p:nvPr/>
          </p:nvSpPr>
          <p:spPr>
            <a:xfrm rot="8716295">
              <a:off x="1023348" y="30619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9" name="Forme libre : forme 358">
              <a:extLst>
                <a:ext uri="{FF2B5EF4-FFF2-40B4-BE49-F238E27FC236}">
                  <a16:creationId xmlns:a16="http://schemas.microsoft.com/office/drawing/2014/main" id="{66F400C8-484F-4AA9-9E69-F9DA598D65AC}"/>
                </a:ext>
              </a:extLst>
            </p:cNvPr>
            <p:cNvSpPr/>
            <p:nvPr/>
          </p:nvSpPr>
          <p:spPr>
            <a:xfrm rot="8716295">
              <a:off x="780102" y="336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0" name="Forme libre : forme 359">
              <a:extLst>
                <a:ext uri="{FF2B5EF4-FFF2-40B4-BE49-F238E27FC236}">
                  <a16:creationId xmlns:a16="http://schemas.microsoft.com/office/drawing/2014/main" id="{FD3344B4-1783-4AD8-8B1E-198B5BC45770}"/>
                </a:ext>
              </a:extLst>
            </p:cNvPr>
            <p:cNvSpPr/>
            <p:nvPr/>
          </p:nvSpPr>
          <p:spPr>
            <a:xfrm rot="8716295">
              <a:off x="957554" y="17717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1" name="Forme libre : forme 360">
              <a:extLst>
                <a:ext uri="{FF2B5EF4-FFF2-40B4-BE49-F238E27FC236}">
                  <a16:creationId xmlns:a16="http://schemas.microsoft.com/office/drawing/2014/main" id="{B1F20E97-7F16-49D8-A491-FB12C97898BA}"/>
                </a:ext>
              </a:extLst>
            </p:cNvPr>
            <p:cNvSpPr/>
            <p:nvPr/>
          </p:nvSpPr>
          <p:spPr>
            <a:xfrm rot="8716295">
              <a:off x="202348" y="-57106"/>
              <a:ext cx="142167" cy="186494"/>
            </a:xfrm>
            <a:custGeom>
              <a:avLst/>
              <a:gdLst>
                <a:gd name="connsiteX0" fmla="*/ 142167 w 142167"/>
                <a:gd name="connsiteY0" fmla="*/ 186494 h 186494"/>
                <a:gd name="connsiteX1" fmla="*/ 81108 w 142167"/>
                <a:gd name="connsiteY1" fmla="*/ 144170 h 186494"/>
                <a:gd name="connsiteX2" fmla="*/ 81108 w 142167"/>
                <a:gd name="connsiteY2" fmla="*/ 69717 h 186494"/>
                <a:gd name="connsiteX3" fmla="*/ 81108 w 142167"/>
                <a:gd name="connsiteY3" fmla="*/ 65615 h 186494"/>
                <a:gd name="connsiteX4" fmla="*/ 60603 w 142167"/>
                <a:gd name="connsiteY4" fmla="*/ 50123 h 186494"/>
                <a:gd name="connsiteX5" fmla="*/ 0 w 142167"/>
                <a:gd name="connsiteY5" fmla="*/ 50123 h 186494"/>
                <a:gd name="connsiteX6" fmla="*/ 0 w 142167"/>
                <a:gd name="connsiteY6" fmla="*/ 0 h 186494"/>
                <a:gd name="connsiteX7" fmla="*/ 85209 w 142167"/>
                <a:gd name="connsiteY7" fmla="*/ 0 h 186494"/>
                <a:gd name="connsiteX8" fmla="*/ 142167 w 142167"/>
                <a:gd name="connsiteY8" fmla="*/ 50123 h 186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86494">
                  <a:moveTo>
                    <a:pt x="142167" y="186494"/>
                  </a:moveTo>
                  <a:lnTo>
                    <a:pt x="81108" y="144170"/>
                  </a:lnTo>
                  <a:lnTo>
                    <a:pt x="81108" y="69717"/>
                  </a:lnTo>
                  <a:cubicBezTo>
                    <a:pt x="81108" y="68349"/>
                    <a:pt x="81108" y="66983"/>
                    <a:pt x="81108" y="65615"/>
                  </a:cubicBezTo>
                  <a:cubicBezTo>
                    <a:pt x="79741" y="55591"/>
                    <a:pt x="70628" y="48756"/>
                    <a:pt x="60603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2" name="Forme libre : forme 361">
              <a:extLst>
                <a:ext uri="{FF2B5EF4-FFF2-40B4-BE49-F238E27FC236}">
                  <a16:creationId xmlns:a16="http://schemas.microsoft.com/office/drawing/2014/main" id="{627DF55A-0BF9-412B-B088-58C19C1BDCF8}"/>
                </a:ext>
              </a:extLst>
            </p:cNvPr>
            <p:cNvSpPr/>
            <p:nvPr/>
          </p:nvSpPr>
          <p:spPr>
            <a:xfrm rot="8716295">
              <a:off x="298766" y="-5395"/>
              <a:ext cx="260639" cy="180054"/>
            </a:xfrm>
            <a:custGeom>
              <a:avLst/>
              <a:gdLst>
                <a:gd name="connsiteX0" fmla="*/ 111638 w 260639"/>
                <a:gd name="connsiteY0" fmla="*/ 180054 h 180054"/>
                <a:gd name="connsiteX1" fmla="*/ 51490 w 260639"/>
                <a:gd name="connsiteY1" fmla="*/ 138362 h 180054"/>
                <a:gd name="connsiteX2" fmla="*/ 51490 w 260639"/>
                <a:gd name="connsiteY2" fmla="*/ 45624 h 180054"/>
                <a:gd name="connsiteX3" fmla="*/ 0 w 260639"/>
                <a:gd name="connsiteY3" fmla="*/ 45624 h 180054"/>
                <a:gd name="connsiteX4" fmla="*/ 0 w 260639"/>
                <a:gd name="connsiteY4" fmla="*/ 1425 h 180054"/>
                <a:gd name="connsiteX5" fmla="*/ 104802 w 260639"/>
                <a:gd name="connsiteY5" fmla="*/ 1425 h 180054"/>
                <a:gd name="connsiteX6" fmla="*/ 104802 w 260639"/>
                <a:gd name="connsiteY6" fmla="*/ 75242 h 180054"/>
                <a:gd name="connsiteX7" fmla="*/ 106169 w 260639"/>
                <a:gd name="connsiteY7" fmla="*/ 75242 h 180054"/>
                <a:gd name="connsiteX8" fmla="*/ 154014 w 260639"/>
                <a:gd name="connsiteY8" fmla="*/ 5981 h 180054"/>
                <a:gd name="connsiteX9" fmla="*/ 185455 w 260639"/>
                <a:gd name="connsiteY9" fmla="*/ 57 h 180054"/>
                <a:gd name="connsiteX10" fmla="*/ 260639 w 260639"/>
                <a:gd name="connsiteY10" fmla="*/ 88456 h 180054"/>
                <a:gd name="connsiteX11" fmla="*/ 260639 w 260639"/>
                <a:gd name="connsiteY11" fmla="*/ 94380 h 180054"/>
                <a:gd name="connsiteX12" fmla="*/ 198669 w 260639"/>
                <a:gd name="connsiteY12" fmla="*/ 98025 h 180054"/>
                <a:gd name="connsiteX13" fmla="*/ 198669 w 260639"/>
                <a:gd name="connsiteY13" fmla="*/ 81621 h 180054"/>
                <a:gd name="connsiteX14" fmla="*/ 164950 w 260639"/>
                <a:gd name="connsiteY14" fmla="*/ 40156 h 180054"/>
                <a:gd name="connsiteX15" fmla="*/ 111638 w 260639"/>
                <a:gd name="connsiteY15" fmla="*/ 127643 h 180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0639" h="180054">
                  <a:moveTo>
                    <a:pt x="111638" y="180054"/>
                  </a:moveTo>
                  <a:lnTo>
                    <a:pt x="51490" y="138362"/>
                  </a:ln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3" name="Forme libre : forme 362">
              <a:extLst>
                <a:ext uri="{FF2B5EF4-FFF2-40B4-BE49-F238E27FC236}">
                  <a16:creationId xmlns:a16="http://schemas.microsoft.com/office/drawing/2014/main" id="{B1CC1170-12B9-42E7-B048-36951089B415}"/>
                </a:ext>
              </a:extLst>
            </p:cNvPr>
            <p:cNvSpPr/>
            <p:nvPr/>
          </p:nvSpPr>
          <p:spPr>
            <a:xfrm rot="8716295">
              <a:off x="276903" y="-12823"/>
              <a:ext cx="36272" cy="27982"/>
            </a:xfrm>
            <a:custGeom>
              <a:avLst/>
              <a:gdLst>
                <a:gd name="connsiteX0" fmla="*/ 36272 w 36272"/>
                <a:gd name="connsiteY0" fmla="*/ 27982 h 27982"/>
                <a:gd name="connsiteX1" fmla="*/ 0 w 36272"/>
                <a:gd name="connsiteY1" fmla="*/ 2840 h 27982"/>
                <a:gd name="connsiteX2" fmla="*/ 9543 w 36272"/>
                <a:gd name="connsiteY2" fmla="*/ 0 h 27982"/>
                <a:gd name="connsiteX3" fmla="*/ 31871 w 36272"/>
                <a:gd name="connsiteY3" fmla="*/ 11392 h 27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272" h="27982">
                  <a:moveTo>
                    <a:pt x="36272" y="27982"/>
                  </a:moveTo>
                  <a:lnTo>
                    <a:pt x="0" y="2840"/>
                  </a:lnTo>
                  <a:lnTo>
                    <a:pt x="9543" y="0"/>
                  </a:lnTo>
                  <a:cubicBezTo>
                    <a:pt x="20479" y="0"/>
                    <a:pt x="27542" y="4784"/>
                    <a:pt x="31871" y="113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4" name="Forme libre : forme 363">
              <a:extLst>
                <a:ext uri="{FF2B5EF4-FFF2-40B4-BE49-F238E27FC236}">
                  <a16:creationId xmlns:a16="http://schemas.microsoft.com/office/drawing/2014/main" id="{E033BF19-7D8B-489E-8421-40953085A3CD}"/>
                </a:ext>
              </a:extLst>
            </p:cNvPr>
            <p:cNvSpPr/>
            <p:nvPr/>
          </p:nvSpPr>
          <p:spPr>
            <a:xfrm rot="8716295">
              <a:off x="74640" y="-9665"/>
              <a:ext cx="58068" cy="54772"/>
            </a:xfrm>
            <a:custGeom>
              <a:avLst/>
              <a:gdLst>
                <a:gd name="connsiteX0" fmla="*/ 37436 w 58068"/>
                <a:gd name="connsiteY0" fmla="*/ 54772 h 54772"/>
                <a:gd name="connsiteX1" fmla="*/ 0 w 58068"/>
                <a:gd name="connsiteY1" fmla="*/ 28823 h 54772"/>
                <a:gd name="connsiteX2" fmla="*/ 8515 w 58068"/>
                <a:gd name="connsiteY2" fmla="*/ 8658 h 54772"/>
                <a:gd name="connsiteX3" fmla="*/ 29020 w 58068"/>
                <a:gd name="connsiteY3" fmla="*/ 0 h 54772"/>
                <a:gd name="connsiteX4" fmla="*/ 49525 w 58068"/>
                <a:gd name="connsiteY4" fmla="*/ 8658 h 54772"/>
                <a:gd name="connsiteX5" fmla="*/ 49525 w 58068"/>
                <a:gd name="connsiteY5" fmla="*/ 49668 h 5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068" h="54772">
                  <a:moveTo>
                    <a:pt x="37436" y="54772"/>
                  </a:moveTo>
                  <a:lnTo>
                    <a:pt x="0" y="28823"/>
                  </a:lnTo>
                  <a:lnTo>
                    <a:pt x="8515" y="8658"/>
                  </a:lnTo>
                  <a:cubicBezTo>
                    <a:pt x="13983" y="3190"/>
                    <a:pt x="21273" y="0"/>
                    <a:pt x="29020" y="0"/>
                  </a:cubicBezTo>
                  <a:cubicBezTo>
                    <a:pt x="36766" y="0"/>
                    <a:pt x="44057" y="3190"/>
                    <a:pt x="49525" y="8658"/>
                  </a:cubicBezTo>
                  <a:cubicBezTo>
                    <a:pt x="60916" y="19594"/>
                    <a:pt x="60916" y="38276"/>
                    <a:pt x="49525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5" name="Forme libre : forme 364">
              <a:extLst>
                <a:ext uri="{FF2B5EF4-FFF2-40B4-BE49-F238E27FC236}">
                  <a16:creationId xmlns:a16="http://schemas.microsoft.com/office/drawing/2014/main" id="{CB7A744C-FCCB-4B93-9898-2A2B2B95BBB6}"/>
                </a:ext>
              </a:extLst>
            </p:cNvPr>
            <p:cNvSpPr/>
            <p:nvPr/>
          </p:nvSpPr>
          <p:spPr>
            <a:xfrm rot="8716295">
              <a:off x="13802" y="-10406"/>
              <a:ext cx="30027" cy="20814"/>
            </a:xfrm>
            <a:custGeom>
              <a:avLst/>
              <a:gdLst>
                <a:gd name="connsiteX0" fmla="*/ 30027 w 30027"/>
                <a:gd name="connsiteY0" fmla="*/ 20814 h 20814"/>
                <a:gd name="connsiteX1" fmla="*/ 0 w 30027"/>
                <a:gd name="connsiteY1" fmla="*/ 0 h 20814"/>
                <a:gd name="connsiteX2" fmla="*/ 30027 w 30027"/>
                <a:gd name="connsiteY2" fmla="*/ 0 h 20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027" h="20814">
                  <a:moveTo>
                    <a:pt x="30027" y="20814"/>
                  </a:moveTo>
                  <a:lnTo>
                    <a:pt x="0" y="0"/>
                  </a:lnTo>
                  <a:lnTo>
                    <a:pt x="3002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6" name="Forme libre : forme 365">
              <a:extLst>
                <a:ext uri="{FF2B5EF4-FFF2-40B4-BE49-F238E27FC236}">
                  <a16:creationId xmlns:a16="http://schemas.microsoft.com/office/drawing/2014/main" id="{A7508798-38A9-48C7-9AA8-5A92078CC84B}"/>
                </a:ext>
              </a:extLst>
            </p:cNvPr>
            <p:cNvSpPr/>
            <p:nvPr/>
          </p:nvSpPr>
          <p:spPr>
            <a:xfrm rot="8716295">
              <a:off x="168048" y="3032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7" name="Forme libre : forme 366">
              <a:extLst>
                <a:ext uri="{FF2B5EF4-FFF2-40B4-BE49-F238E27FC236}">
                  <a16:creationId xmlns:a16="http://schemas.microsoft.com/office/drawing/2014/main" id="{0E351C93-E018-436B-9326-CEDEA386B63D}"/>
                </a:ext>
              </a:extLst>
            </p:cNvPr>
            <p:cNvSpPr/>
            <p:nvPr/>
          </p:nvSpPr>
          <p:spPr>
            <a:xfrm rot="7484129">
              <a:off x="562078" y="-284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8" name="Forme libre : forme 367">
              <a:extLst>
                <a:ext uri="{FF2B5EF4-FFF2-40B4-BE49-F238E27FC236}">
                  <a16:creationId xmlns:a16="http://schemas.microsoft.com/office/drawing/2014/main" id="{BDEF799B-C934-4303-874D-CB44161BDCB0}"/>
                </a:ext>
              </a:extLst>
            </p:cNvPr>
            <p:cNvSpPr/>
            <p:nvPr/>
          </p:nvSpPr>
          <p:spPr>
            <a:xfrm rot="13089394">
              <a:off x="775514" y="-27038"/>
              <a:ext cx="149688" cy="328219"/>
            </a:xfrm>
            <a:custGeom>
              <a:avLst/>
              <a:gdLst>
                <a:gd name="connsiteX0" fmla="*/ 149688 w 149688"/>
                <a:gd name="connsiteY0" fmla="*/ 279622 h 328219"/>
                <a:gd name="connsiteX1" fmla="*/ 87835 w 149688"/>
                <a:gd name="connsiteY1" fmla="*/ 328219 h 328219"/>
                <a:gd name="connsiteX2" fmla="*/ 54765 w 149688"/>
                <a:gd name="connsiteY2" fmla="*/ 322521 h 328219"/>
                <a:gd name="connsiteX3" fmla="*/ 23727 w 149688"/>
                <a:gd name="connsiteY3" fmla="*/ 301277 h 328219"/>
                <a:gd name="connsiteX4" fmla="*/ 0 w 149688"/>
                <a:gd name="connsiteY4" fmla="*/ 206369 h 328219"/>
                <a:gd name="connsiteX5" fmla="*/ 0 w 149688"/>
                <a:gd name="connsiteY5" fmla="*/ 38074 h 328219"/>
                <a:gd name="connsiteX6" fmla="*/ 73388 w 149688"/>
                <a:gd name="connsiteY6" fmla="*/ 0 h 328219"/>
                <a:gd name="connsiteX7" fmla="*/ 74492 w 149688"/>
                <a:gd name="connsiteY7" fmla="*/ 153950 h 328219"/>
                <a:gd name="connsiteX8" fmla="*/ 87734 w 149688"/>
                <a:gd name="connsiteY8" fmla="*/ 245547 h 328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9688" h="328219">
                  <a:moveTo>
                    <a:pt x="149688" y="279622"/>
                  </a:moveTo>
                  <a:lnTo>
                    <a:pt x="87835" y="328219"/>
                  </a:lnTo>
                  <a:lnTo>
                    <a:pt x="54765" y="322521"/>
                  </a:lnTo>
                  <a:cubicBezTo>
                    <a:pt x="43178" y="317693"/>
                    <a:pt x="32555" y="310382"/>
                    <a:pt x="23727" y="301277"/>
                  </a:cubicBezTo>
                  <a:cubicBezTo>
                    <a:pt x="4966" y="283069"/>
                    <a:pt x="0" y="251616"/>
                    <a:pt x="0" y="206369"/>
                  </a:cubicBez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2836" y="184850"/>
                    <a:pt x="77802" y="216302"/>
                    <a:pt x="87734" y="2455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9" name="Forme libre : forme 368">
              <a:extLst>
                <a:ext uri="{FF2B5EF4-FFF2-40B4-BE49-F238E27FC236}">
                  <a16:creationId xmlns:a16="http://schemas.microsoft.com/office/drawing/2014/main" id="{85452057-F6AF-4671-A171-74C9DE20E061}"/>
                </a:ext>
              </a:extLst>
            </p:cNvPr>
            <p:cNvSpPr/>
            <p:nvPr/>
          </p:nvSpPr>
          <p:spPr>
            <a:xfrm rot="8716295">
              <a:off x="3366575" y="56973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0" name="Forme libre : forme 369">
              <a:extLst>
                <a:ext uri="{FF2B5EF4-FFF2-40B4-BE49-F238E27FC236}">
                  <a16:creationId xmlns:a16="http://schemas.microsoft.com/office/drawing/2014/main" id="{0B76C80E-592A-400D-A327-9F0390D4B3C2}"/>
                </a:ext>
              </a:extLst>
            </p:cNvPr>
            <p:cNvSpPr/>
            <p:nvPr/>
          </p:nvSpPr>
          <p:spPr>
            <a:xfrm rot="8716295">
              <a:off x="3237162" y="360980"/>
              <a:ext cx="203847" cy="195873"/>
            </a:xfrm>
            <a:custGeom>
              <a:avLst/>
              <a:gdLst>
                <a:gd name="connsiteX0" fmla="*/ 90710 w 203847"/>
                <a:gd name="connsiteY0" fmla="*/ 195873 h 195873"/>
                <a:gd name="connsiteX1" fmla="*/ 47847 w 203847"/>
                <a:gd name="connsiteY1" fmla="*/ 116129 h 195873"/>
                <a:gd name="connsiteX2" fmla="*/ 69777 w 203847"/>
                <a:gd name="connsiteY2" fmla="*/ 55323 h 195873"/>
                <a:gd name="connsiteX3" fmla="*/ 0 w 203847"/>
                <a:gd name="connsiteY3" fmla="*/ 55323 h 195873"/>
                <a:gd name="connsiteX4" fmla="*/ 0 w 203847"/>
                <a:gd name="connsiteY4" fmla="*/ 52719 h 195873"/>
                <a:gd name="connsiteX5" fmla="*/ 43605 w 203847"/>
                <a:gd name="connsiteY5" fmla="*/ 0 h 195873"/>
                <a:gd name="connsiteX6" fmla="*/ 203847 w 203847"/>
                <a:gd name="connsiteY6" fmla="*/ 0 h 195873"/>
                <a:gd name="connsiteX7" fmla="*/ 203847 w 203847"/>
                <a:gd name="connsiteY7" fmla="*/ 55323 h 195873"/>
                <a:gd name="connsiteX8" fmla="*/ 139055 w 203847"/>
                <a:gd name="connsiteY8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3">
                  <a:moveTo>
                    <a:pt x="90710" y="195873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52719"/>
                  </a:lnTo>
                  <a:lnTo>
                    <a:pt x="43605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1" name="Forme libre : forme 370">
              <a:extLst>
                <a:ext uri="{FF2B5EF4-FFF2-40B4-BE49-F238E27FC236}">
                  <a16:creationId xmlns:a16="http://schemas.microsoft.com/office/drawing/2014/main" id="{5150644E-4F20-423C-8383-236544837AE7}"/>
                </a:ext>
              </a:extLst>
            </p:cNvPr>
            <p:cNvSpPr/>
            <p:nvPr/>
          </p:nvSpPr>
          <p:spPr>
            <a:xfrm rot="8716295">
              <a:off x="3189574" y="231224"/>
              <a:ext cx="290249" cy="221342"/>
            </a:xfrm>
            <a:custGeom>
              <a:avLst/>
              <a:gdLst>
                <a:gd name="connsiteX0" fmla="*/ 24905 w 290249"/>
                <a:gd name="connsiteY0" fmla="*/ 191751 h 221342"/>
                <a:gd name="connsiteX1" fmla="*/ 4754 w 290249"/>
                <a:gd name="connsiteY1" fmla="*/ 151964 h 221342"/>
                <a:gd name="connsiteX2" fmla="*/ 0 w 290249"/>
                <a:gd name="connsiteY2" fmla="*/ 95252 h 221342"/>
                <a:gd name="connsiteX3" fmla="*/ 78785 w 290249"/>
                <a:gd name="connsiteY3" fmla="*/ 0 h 221342"/>
                <a:gd name="connsiteX4" fmla="*/ 79033 w 290249"/>
                <a:gd name="connsiteY4" fmla="*/ 34662 h 221342"/>
                <a:gd name="connsiteX5" fmla="*/ 93153 w 290249"/>
                <a:gd name="connsiteY5" fmla="*/ 132328 h 221342"/>
                <a:gd name="connsiteX6" fmla="*/ 163754 w 290249"/>
                <a:gd name="connsiteY6" fmla="*/ 171159 h 221342"/>
                <a:gd name="connsiteX7" fmla="*/ 216706 w 290249"/>
                <a:gd name="connsiteY7" fmla="*/ 161745 h 221342"/>
                <a:gd name="connsiteX8" fmla="*/ 289073 w 290249"/>
                <a:gd name="connsiteY8" fmla="*/ 132328 h 221342"/>
                <a:gd name="connsiteX9" fmla="*/ 290249 w 290249"/>
                <a:gd name="connsiteY9" fmla="*/ 139976 h 221342"/>
                <a:gd name="connsiteX10" fmla="*/ 290249 w 290249"/>
                <a:gd name="connsiteY10" fmla="*/ 145860 h 221342"/>
                <a:gd name="connsiteX11" fmla="*/ 97272 w 290249"/>
                <a:gd name="connsiteY11" fmla="*/ 221168 h 221342"/>
                <a:gd name="connsiteX12" fmla="*/ 24905 w 290249"/>
                <a:gd name="connsiteY12" fmla="*/ 191751 h 221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0249" h="221342">
                  <a:moveTo>
                    <a:pt x="24905" y="191751"/>
                  </a:moveTo>
                  <a:cubicBezTo>
                    <a:pt x="14903" y="182043"/>
                    <a:pt x="8578" y="168805"/>
                    <a:pt x="4754" y="151964"/>
                  </a:cubicBezTo>
                  <a:lnTo>
                    <a:pt x="0" y="95252"/>
                  </a:lnTo>
                  <a:lnTo>
                    <a:pt x="78785" y="0"/>
                  </a:lnTo>
                  <a:lnTo>
                    <a:pt x="79033" y="34662"/>
                  </a:lnTo>
                  <a:cubicBezTo>
                    <a:pt x="77268" y="67610"/>
                    <a:pt x="82563" y="101145"/>
                    <a:pt x="93153" y="132328"/>
                  </a:cubicBezTo>
                  <a:cubicBezTo>
                    <a:pt x="102567" y="158215"/>
                    <a:pt x="126689" y="171159"/>
                    <a:pt x="163754" y="171159"/>
                  </a:cubicBezTo>
                  <a:cubicBezTo>
                    <a:pt x="181994" y="170570"/>
                    <a:pt x="199644" y="167040"/>
                    <a:pt x="216706" y="161745"/>
                  </a:cubicBezTo>
                  <a:cubicBezTo>
                    <a:pt x="241416" y="154096"/>
                    <a:pt x="265539" y="144095"/>
                    <a:pt x="289073" y="132328"/>
                  </a:cubicBezTo>
                  <a:cubicBezTo>
                    <a:pt x="289661" y="134681"/>
                    <a:pt x="290249" y="137623"/>
                    <a:pt x="290249" y="139976"/>
                  </a:cubicBezTo>
                  <a:lnTo>
                    <a:pt x="290249" y="145860"/>
                  </a:lnTo>
                  <a:cubicBezTo>
                    <a:pt x="227885" y="199399"/>
                    <a:pt x="146104" y="218227"/>
                    <a:pt x="97272" y="221168"/>
                  </a:cubicBezTo>
                  <a:cubicBezTo>
                    <a:pt x="70208" y="222933"/>
                    <a:pt x="43732" y="211166"/>
                    <a:pt x="24905" y="19175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2" name="Forme libre : forme 371">
              <a:extLst>
                <a:ext uri="{FF2B5EF4-FFF2-40B4-BE49-F238E27FC236}">
                  <a16:creationId xmlns:a16="http://schemas.microsoft.com/office/drawing/2014/main" id="{9266C455-B545-49CA-BF30-2607C744AB8E}"/>
                </a:ext>
              </a:extLst>
            </p:cNvPr>
            <p:cNvSpPr/>
            <p:nvPr/>
          </p:nvSpPr>
          <p:spPr>
            <a:xfrm rot="8716295">
              <a:off x="3411629" y="650113"/>
              <a:ext cx="21023" cy="45645"/>
            </a:xfrm>
            <a:custGeom>
              <a:avLst/>
              <a:gdLst>
                <a:gd name="connsiteX0" fmla="*/ 21023 w 21023"/>
                <a:gd name="connsiteY0" fmla="*/ 45645 h 45645"/>
                <a:gd name="connsiteX1" fmla="*/ 0 w 21023"/>
                <a:gd name="connsiteY1" fmla="*/ 25418 h 45645"/>
                <a:gd name="connsiteX2" fmla="*/ 21023 w 21023"/>
                <a:gd name="connsiteY2" fmla="*/ 0 h 4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023" h="45645">
                  <a:moveTo>
                    <a:pt x="21023" y="45645"/>
                  </a:moveTo>
                  <a:lnTo>
                    <a:pt x="0" y="25418"/>
                  </a:lnTo>
                  <a:lnTo>
                    <a:pt x="2102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3" name="Forme libre : forme 372">
              <a:extLst>
                <a:ext uri="{FF2B5EF4-FFF2-40B4-BE49-F238E27FC236}">
                  <a16:creationId xmlns:a16="http://schemas.microsoft.com/office/drawing/2014/main" id="{8A8C4152-A6DA-4079-AA7F-C7451551470E}"/>
                </a:ext>
              </a:extLst>
            </p:cNvPr>
            <p:cNvSpPr/>
            <p:nvPr/>
          </p:nvSpPr>
          <p:spPr>
            <a:xfrm rot="8716295">
              <a:off x="3298850" y="-42720"/>
              <a:ext cx="123263" cy="85442"/>
            </a:xfrm>
            <a:custGeom>
              <a:avLst/>
              <a:gdLst>
                <a:gd name="connsiteX0" fmla="*/ 123263 w 123263"/>
                <a:gd name="connsiteY0" fmla="*/ 85442 h 85442"/>
                <a:gd name="connsiteX1" fmla="*/ 0 w 123263"/>
                <a:gd name="connsiteY1" fmla="*/ 0 h 85442"/>
                <a:gd name="connsiteX2" fmla="*/ 66305 w 123263"/>
                <a:gd name="connsiteY2" fmla="*/ 0 h 85442"/>
                <a:gd name="connsiteX3" fmla="*/ 123263 w 123263"/>
                <a:gd name="connsiteY3" fmla="*/ 50123 h 85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63" h="85442">
                  <a:moveTo>
                    <a:pt x="123263" y="85442"/>
                  </a:moveTo>
                  <a:lnTo>
                    <a:pt x="0" y="0"/>
                  </a:lnTo>
                  <a:lnTo>
                    <a:pt x="66305" y="0"/>
                  </a:lnTo>
                  <a:cubicBezTo>
                    <a:pt x="103214" y="0"/>
                    <a:pt x="123263" y="15948"/>
                    <a:pt x="123263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4" name="Forme libre : forme 373">
              <a:extLst>
                <a:ext uri="{FF2B5EF4-FFF2-40B4-BE49-F238E27FC236}">
                  <a16:creationId xmlns:a16="http://schemas.microsoft.com/office/drawing/2014/main" id="{A339289A-5EC3-49A9-9A48-D86927329ED5}"/>
                </a:ext>
              </a:extLst>
            </p:cNvPr>
            <p:cNvSpPr/>
            <p:nvPr/>
          </p:nvSpPr>
          <p:spPr>
            <a:xfrm rot="8716295">
              <a:off x="3402681" y="37518"/>
              <a:ext cx="82257" cy="93201"/>
            </a:xfrm>
            <a:custGeom>
              <a:avLst/>
              <a:gdLst>
                <a:gd name="connsiteX0" fmla="*/ 20287 w 82257"/>
                <a:gd name="connsiteY0" fmla="*/ 93201 h 93201"/>
                <a:gd name="connsiteX1" fmla="*/ 20287 w 82257"/>
                <a:gd name="connsiteY1" fmla="*/ 76797 h 93201"/>
                <a:gd name="connsiteX2" fmla="*/ 10775 w 82257"/>
                <a:gd name="connsiteY2" fmla="*/ 46837 h 93201"/>
                <a:gd name="connsiteX3" fmla="*/ 0 w 82257"/>
                <a:gd name="connsiteY3" fmla="*/ 41716 h 93201"/>
                <a:gd name="connsiteX4" fmla="*/ 34504 w 82257"/>
                <a:gd name="connsiteY4" fmla="*/ 0 h 93201"/>
                <a:gd name="connsiteX5" fmla="*/ 38620 w 82257"/>
                <a:gd name="connsiteY5" fmla="*/ 715 h 93201"/>
                <a:gd name="connsiteX6" fmla="*/ 82257 w 82257"/>
                <a:gd name="connsiteY6" fmla="*/ 83632 h 93201"/>
                <a:gd name="connsiteX7" fmla="*/ 82257 w 82257"/>
                <a:gd name="connsiteY7" fmla="*/ 89556 h 93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2257" h="93201">
                  <a:moveTo>
                    <a:pt x="20287" y="93201"/>
                  </a:moveTo>
                  <a:lnTo>
                    <a:pt x="20287" y="76797"/>
                  </a:lnTo>
                  <a:cubicBezTo>
                    <a:pt x="20287" y="64494"/>
                    <a:pt x="16756" y="54128"/>
                    <a:pt x="10775" y="46837"/>
                  </a:cubicBezTo>
                  <a:lnTo>
                    <a:pt x="0" y="41716"/>
                  </a:lnTo>
                  <a:lnTo>
                    <a:pt x="34504" y="0"/>
                  </a:lnTo>
                  <a:lnTo>
                    <a:pt x="38620" y="715"/>
                  </a:lnTo>
                  <a:cubicBezTo>
                    <a:pt x="66366" y="12207"/>
                    <a:pt x="82257" y="41255"/>
                    <a:pt x="82257" y="83632"/>
                  </a:cubicBezTo>
                  <a:lnTo>
                    <a:pt x="82257" y="8955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5" name="Forme libre : forme 374">
              <a:extLst>
                <a:ext uri="{FF2B5EF4-FFF2-40B4-BE49-F238E27FC236}">
                  <a16:creationId xmlns:a16="http://schemas.microsoft.com/office/drawing/2014/main" id="{FE84117C-0D75-44E5-BDA4-CA1CB1F335CF}"/>
                </a:ext>
              </a:extLst>
            </p:cNvPr>
            <p:cNvSpPr/>
            <p:nvPr/>
          </p:nvSpPr>
          <p:spPr>
            <a:xfrm rot="8716295">
              <a:off x="3234083" y="-5272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6" name="Forme libre : forme 375">
              <a:extLst>
                <a:ext uri="{FF2B5EF4-FFF2-40B4-BE49-F238E27FC236}">
                  <a16:creationId xmlns:a16="http://schemas.microsoft.com/office/drawing/2014/main" id="{12EEAD1F-5DD6-435B-8A93-C66CE1909363}"/>
                </a:ext>
              </a:extLst>
            </p:cNvPr>
            <p:cNvSpPr/>
            <p:nvPr/>
          </p:nvSpPr>
          <p:spPr>
            <a:xfrm rot="8716295">
              <a:off x="212141" y="304502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7" name="Forme libre : forme 376">
              <a:extLst>
                <a:ext uri="{FF2B5EF4-FFF2-40B4-BE49-F238E27FC236}">
                  <a16:creationId xmlns:a16="http://schemas.microsoft.com/office/drawing/2014/main" id="{E2B3F83B-E193-4145-A936-C1756D937D20}"/>
                </a:ext>
              </a:extLst>
            </p:cNvPr>
            <p:cNvSpPr/>
            <p:nvPr/>
          </p:nvSpPr>
          <p:spPr>
            <a:xfrm rot="8716295">
              <a:off x="301533" y="307427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8" name="Forme libre : forme 377">
              <a:extLst>
                <a:ext uri="{FF2B5EF4-FFF2-40B4-BE49-F238E27FC236}">
                  <a16:creationId xmlns:a16="http://schemas.microsoft.com/office/drawing/2014/main" id="{0EBCDD2D-96D0-40D5-832B-9D432203380A}"/>
                </a:ext>
              </a:extLst>
            </p:cNvPr>
            <p:cNvSpPr/>
            <p:nvPr/>
          </p:nvSpPr>
          <p:spPr>
            <a:xfrm rot="8716295">
              <a:off x="256683" y="298799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9" name="Forme libre : forme 378">
              <a:extLst>
                <a:ext uri="{FF2B5EF4-FFF2-40B4-BE49-F238E27FC236}">
                  <a16:creationId xmlns:a16="http://schemas.microsoft.com/office/drawing/2014/main" id="{D7B14EA1-A5A0-49C4-996C-1F9E3834E06F}"/>
                </a:ext>
              </a:extLst>
            </p:cNvPr>
            <p:cNvSpPr/>
            <p:nvPr/>
          </p:nvSpPr>
          <p:spPr>
            <a:xfrm rot="8716295">
              <a:off x="99907" y="31335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0" name="Forme libre : forme 379">
              <a:extLst>
                <a:ext uri="{FF2B5EF4-FFF2-40B4-BE49-F238E27FC236}">
                  <a16:creationId xmlns:a16="http://schemas.microsoft.com/office/drawing/2014/main" id="{736F0423-C826-490E-96A4-CDB0EDE4D27E}"/>
                </a:ext>
              </a:extLst>
            </p:cNvPr>
            <p:cNvSpPr/>
            <p:nvPr/>
          </p:nvSpPr>
          <p:spPr>
            <a:xfrm rot="8716295">
              <a:off x="-24996" y="29248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1" name="Forme libre : forme 380">
              <a:extLst>
                <a:ext uri="{FF2B5EF4-FFF2-40B4-BE49-F238E27FC236}">
                  <a16:creationId xmlns:a16="http://schemas.microsoft.com/office/drawing/2014/main" id="{75D8D9C1-45FD-4A7E-AA8D-777A228E8F1D}"/>
                </a:ext>
              </a:extLst>
            </p:cNvPr>
            <p:cNvSpPr/>
            <p:nvPr/>
          </p:nvSpPr>
          <p:spPr>
            <a:xfrm rot="8716295">
              <a:off x="51899" y="2754602"/>
              <a:ext cx="189488" cy="350829"/>
            </a:xfrm>
            <a:custGeom>
              <a:avLst/>
              <a:gdLst>
                <a:gd name="connsiteX0" fmla="*/ 25299 w 189488"/>
                <a:gd name="connsiteY0" fmla="*/ 321238 h 350829"/>
                <a:gd name="connsiteX1" fmla="*/ 0 w 189488"/>
                <a:gd name="connsiteY1" fmla="*/ 220042 h 350829"/>
                <a:gd name="connsiteX2" fmla="*/ 0 w 189488"/>
                <a:gd name="connsiteY2" fmla="*/ 40596 h 350829"/>
                <a:gd name="connsiteX3" fmla="*/ 78250 w 189488"/>
                <a:gd name="connsiteY3" fmla="*/ 0 h 350829"/>
                <a:gd name="connsiteX4" fmla="*/ 79427 w 189488"/>
                <a:gd name="connsiteY4" fmla="*/ 164149 h 350829"/>
                <a:gd name="connsiteX5" fmla="*/ 93547 w 189488"/>
                <a:gd name="connsiteY5" fmla="*/ 261815 h 350829"/>
                <a:gd name="connsiteX6" fmla="*/ 164148 w 189488"/>
                <a:gd name="connsiteY6" fmla="*/ 300646 h 350829"/>
                <a:gd name="connsiteX7" fmla="*/ 189488 w 189488"/>
                <a:gd name="connsiteY7" fmla="*/ 296141 h 350829"/>
                <a:gd name="connsiteX8" fmla="*/ 160617 w 189488"/>
                <a:gd name="connsiteY8" fmla="*/ 337791 h 350829"/>
                <a:gd name="connsiteX9" fmla="*/ 97666 w 189488"/>
                <a:gd name="connsiteY9" fmla="*/ 350655 h 350829"/>
                <a:gd name="connsiteX10" fmla="*/ 25299 w 189488"/>
                <a:gd name="connsiteY10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9488" h="350829">
                  <a:moveTo>
                    <a:pt x="25299" y="321238"/>
                  </a:moveTo>
                  <a:cubicBezTo>
                    <a:pt x="5295" y="301823"/>
                    <a:pt x="0" y="268286"/>
                    <a:pt x="0" y="220042"/>
                  </a:cubicBez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8" y="300646"/>
                  </a:cubicBezTo>
                  <a:lnTo>
                    <a:pt x="189488" y="296141"/>
                  </a:lnTo>
                  <a:lnTo>
                    <a:pt x="160617" y="337791"/>
                  </a:lnTo>
                  <a:lnTo>
                    <a:pt x="97666" y="350655"/>
                  </a:ln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2" name="Forme libre : forme 381">
              <a:extLst>
                <a:ext uri="{FF2B5EF4-FFF2-40B4-BE49-F238E27FC236}">
                  <a16:creationId xmlns:a16="http://schemas.microsoft.com/office/drawing/2014/main" id="{B4FEB9FE-AF54-49A2-BE6D-72BA7BE2EB18}"/>
                </a:ext>
              </a:extLst>
            </p:cNvPr>
            <p:cNvSpPr/>
            <p:nvPr/>
          </p:nvSpPr>
          <p:spPr>
            <a:xfrm rot="8716295">
              <a:off x="190085" y="317452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3" name="Forme libre : forme 382">
              <a:extLst>
                <a:ext uri="{FF2B5EF4-FFF2-40B4-BE49-F238E27FC236}">
                  <a16:creationId xmlns:a16="http://schemas.microsoft.com/office/drawing/2014/main" id="{8DA05A66-E883-464C-B559-6FC6B28A3E8D}"/>
                </a:ext>
              </a:extLst>
            </p:cNvPr>
            <p:cNvSpPr/>
            <p:nvPr/>
          </p:nvSpPr>
          <p:spPr>
            <a:xfrm rot="8716295">
              <a:off x="501240" y="279487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4" name="Forme libre : forme 383">
              <a:extLst>
                <a:ext uri="{FF2B5EF4-FFF2-40B4-BE49-F238E27FC236}">
                  <a16:creationId xmlns:a16="http://schemas.microsoft.com/office/drawing/2014/main" id="{70D6E3B7-3736-43CC-9D76-86B0F97A5780}"/>
                </a:ext>
              </a:extLst>
            </p:cNvPr>
            <p:cNvSpPr/>
            <p:nvPr/>
          </p:nvSpPr>
          <p:spPr>
            <a:xfrm rot="8716295">
              <a:off x="590632" y="282411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5" name="Forme libre : forme 384">
              <a:extLst>
                <a:ext uri="{FF2B5EF4-FFF2-40B4-BE49-F238E27FC236}">
                  <a16:creationId xmlns:a16="http://schemas.microsoft.com/office/drawing/2014/main" id="{FC4D3741-889D-4E54-B83F-D0BA201DC6A2}"/>
                </a:ext>
              </a:extLst>
            </p:cNvPr>
            <p:cNvSpPr/>
            <p:nvPr/>
          </p:nvSpPr>
          <p:spPr>
            <a:xfrm rot="8716295">
              <a:off x="389006" y="2883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6" name="Forme libre : forme 385">
              <a:extLst>
                <a:ext uri="{FF2B5EF4-FFF2-40B4-BE49-F238E27FC236}">
                  <a16:creationId xmlns:a16="http://schemas.microsoft.com/office/drawing/2014/main" id="{C9BA88DB-9441-45DF-A22F-E12869EF8794}"/>
                </a:ext>
              </a:extLst>
            </p:cNvPr>
            <p:cNvSpPr/>
            <p:nvPr/>
          </p:nvSpPr>
          <p:spPr>
            <a:xfrm rot="8716295">
              <a:off x="264104" y="267474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7" name="Forme libre : forme 386">
              <a:extLst>
                <a:ext uri="{FF2B5EF4-FFF2-40B4-BE49-F238E27FC236}">
                  <a16:creationId xmlns:a16="http://schemas.microsoft.com/office/drawing/2014/main" id="{BBD785FB-255F-47D4-869B-DA2427044735}"/>
                </a:ext>
              </a:extLst>
            </p:cNvPr>
            <p:cNvSpPr/>
            <p:nvPr/>
          </p:nvSpPr>
          <p:spPr>
            <a:xfrm rot="8716295">
              <a:off x="479184" y="292437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8" name="Forme libre : forme 387">
              <a:extLst>
                <a:ext uri="{FF2B5EF4-FFF2-40B4-BE49-F238E27FC236}">
                  <a16:creationId xmlns:a16="http://schemas.microsoft.com/office/drawing/2014/main" id="{04B3E6F0-D035-4122-A08C-156643A27C96}"/>
                </a:ext>
              </a:extLst>
            </p:cNvPr>
            <p:cNvSpPr/>
            <p:nvPr/>
          </p:nvSpPr>
          <p:spPr>
            <a:xfrm rot="8716295">
              <a:off x="237733" y="277477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9" name="Forme libre : forme 388">
              <a:extLst>
                <a:ext uri="{FF2B5EF4-FFF2-40B4-BE49-F238E27FC236}">
                  <a16:creationId xmlns:a16="http://schemas.microsoft.com/office/drawing/2014/main" id="{09952F73-FF5F-406A-8919-7345F484086E}"/>
                </a:ext>
              </a:extLst>
            </p:cNvPr>
            <p:cNvSpPr/>
            <p:nvPr/>
          </p:nvSpPr>
          <p:spPr>
            <a:xfrm rot="7484129">
              <a:off x="584115" y="311572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0" name="Forme libre : forme 389">
              <a:extLst>
                <a:ext uri="{FF2B5EF4-FFF2-40B4-BE49-F238E27FC236}">
                  <a16:creationId xmlns:a16="http://schemas.microsoft.com/office/drawing/2014/main" id="{09ED8664-259A-4F65-B984-54EB26583D37}"/>
                </a:ext>
              </a:extLst>
            </p:cNvPr>
            <p:cNvSpPr/>
            <p:nvPr/>
          </p:nvSpPr>
          <p:spPr>
            <a:xfrm rot="13089394">
              <a:off x="688935" y="3082257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1" name="Forme libre : forme 390">
              <a:extLst>
                <a:ext uri="{FF2B5EF4-FFF2-40B4-BE49-F238E27FC236}">
                  <a16:creationId xmlns:a16="http://schemas.microsoft.com/office/drawing/2014/main" id="{5005AA8C-EF3F-42BB-886F-BDC096F9E2C6}"/>
                </a:ext>
              </a:extLst>
            </p:cNvPr>
            <p:cNvSpPr/>
            <p:nvPr/>
          </p:nvSpPr>
          <p:spPr>
            <a:xfrm rot="8716295">
              <a:off x="874520" y="2890576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2" name="Forme libre : forme 391">
              <a:extLst>
                <a:ext uri="{FF2B5EF4-FFF2-40B4-BE49-F238E27FC236}">
                  <a16:creationId xmlns:a16="http://schemas.microsoft.com/office/drawing/2014/main" id="{F901BAD2-7BC9-4B9B-9AEE-194DC6FC05A0}"/>
                </a:ext>
              </a:extLst>
            </p:cNvPr>
            <p:cNvSpPr/>
            <p:nvPr/>
          </p:nvSpPr>
          <p:spPr>
            <a:xfrm rot="8716295">
              <a:off x="822715" y="278698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3" name="Forme libre : forme 392">
              <a:extLst>
                <a:ext uri="{FF2B5EF4-FFF2-40B4-BE49-F238E27FC236}">
                  <a16:creationId xmlns:a16="http://schemas.microsoft.com/office/drawing/2014/main" id="{9E3F70D1-21EF-4CD2-8FEB-B48B0201A2F5}"/>
                </a:ext>
              </a:extLst>
            </p:cNvPr>
            <p:cNvSpPr/>
            <p:nvPr/>
          </p:nvSpPr>
          <p:spPr>
            <a:xfrm rot="8716295">
              <a:off x="579469" y="28172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4" name="Forme libre : forme 393">
              <a:extLst>
                <a:ext uri="{FF2B5EF4-FFF2-40B4-BE49-F238E27FC236}">
                  <a16:creationId xmlns:a16="http://schemas.microsoft.com/office/drawing/2014/main" id="{EE0D830B-AE35-40E9-8728-E21F6C35586C}"/>
                </a:ext>
              </a:extLst>
            </p:cNvPr>
            <p:cNvSpPr/>
            <p:nvPr/>
          </p:nvSpPr>
          <p:spPr>
            <a:xfrm rot="8716295">
              <a:off x="756921" y="265796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5" name="Forme libre : forme 394">
              <a:extLst>
                <a:ext uri="{FF2B5EF4-FFF2-40B4-BE49-F238E27FC236}">
                  <a16:creationId xmlns:a16="http://schemas.microsoft.com/office/drawing/2014/main" id="{8FFBDF4B-90C1-4FB0-93F5-3CF9CE875883}"/>
                </a:ext>
              </a:extLst>
            </p:cNvPr>
            <p:cNvSpPr/>
            <p:nvPr/>
          </p:nvSpPr>
          <p:spPr>
            <a:xfrm rot="8716295">
              <a:off x="435308" y="370472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6" name="Forme libre : forme 395">
              <a:extLst>
                <a:ext uri="{FF2B5EF4-FFF2-40B4-BE49-F238E27FC236}">
                  <a16:creationId xmlns:a16="http://schemas.microsoft.com/office/drawing/2014/main" id="{4DB3DB14-6327-4A57-8367-203E6F4E011B}"/>
                </a:ext>
              </a:extLst>
            </p:cNvPr>
            <p:cNvSpPr/>
            <p:nvPr/>
          </p:nvSpPr>
          <p:spPr>
            <a:xfrm rot="8716295">
              <a:off x="524700" y="373396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7" name="Forme libre : forme 396">
              <a:extLst>
                <a:ext uri="{FF2B5EF4-FFF2-40B4-BE49-F238E27FC236}">
                  <a16:creationId xmlns:a16="http://schemas.microsoft.com/office/drawing/2014/main" id="{4355D30E-1756-4406-84C9-F6A8049756B3}"/>
                </a:ext>
              </a:extLst>
            </p:cNvPr>
            <p:cNvSpPr/>
            <p:nvPr/>
          </p:nvSpPr>
          <p:spPr>
            <a:xfrm rot="8716295">
              <a:off x="479850" y="3647689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8" name="Forme libre : forme 397">
              <a:extLst>
                <a:ext uri="{FF2B5EF4-FFF2-40B4-BE49-F238E27FC236}">
                  <a16:creationId xmlns:a16="http://schemas.microsoft.com/office/drawing/2014/main" id="{BA4A47C8-0B69-4C29-80A3-E8882E41243E}"/>
                </a:ext>
              </a:extLst>
            </p:cNvPr>
            <p:cNvSpPr/>
            <p:nvPr/>
          </p:nvSpPr>
          <p:spPr>
            <a:xfrm rot="8716295">
              <a:off x="323074" y="379327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9" name="Forme libre : forme 398">
              <a:extLst>
                <a:ext uri="{FF2B5EF4-FFF2-40B4-BE49-F238E27FC236}">
                  <a16:creationId xmlns:a16="http://schemas.microsoft.com/office/drawing/2014/main" id="{C7193D43-8FAD-40C8-B968-D6B7B8EE8D8F}"/>
                </a:ext>
              </a:extLst>
            </p:cNvPr>
            <p:cNvSpPr/>
            <p:nvPr/>
          </p:nvSpPr>
          <p:spPr>
            <a:xfrm rot="8716295">
              <a:off x="198171" y="358459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0" name="Forme libre : forme 399">
              <a:extLst>
                <a:ext uri="{FF2B5EF4-FFF2-40B4-BE49-F238E27FC236}">
                  <a16:creationId xmlns:a16="http://schemas.microsoft.com/office/drawing/2014/main" id="{F68A3447-0210-45C1-9F87-4B1D4BFE9738}"/>
                </a:ext>
              </a:extLst>
            </p:cNvPr>
            <p:cNvSpPr/>
            <p:nvPr/>
          </p:nvSpPr>
          <p:spPr>
            <a:xfrm rot="8716295">
              <a:off x="186119" y="344581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1" name="Forme libre : forme 400">
              <a:extLst>
                <a:ext uri="{FF2B5EF4-FFF2-40B4-BE49-F238E27FC236}">
                  <a16:creationId xmlns:a16="http://schemas.microsoft.com/office/drawing/2014/main" id="{7AF4A353-4506-4959-86A0-C8690BF59E95}"/>
                </a:ext>
              </a:extLst>
            </p:cNvPr>
            <p:cNvSpPr/>
            <p:nvPr/>
          </p:nvSpPr>
          <p:spPr>
            <a:xfrm rot="8716295">
              <a:off x="413252" y="3834223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2" name="Forme libre : forme 401">
              <a:extLst>
                <a:ext uri="{FF2B5EF4-FFF2-40B4-BE49-F238E27FC236}">
                  <a16:creationId xmlns:a16="http://schemas.microsoft.com/office/drawing/2014/main" id="{598CEB9B-8E04-469F-A771-F927470C3F4E}"/>
                </a:ext>
              </a:extLst>
            </p:cNvPr>
            <p:cNvSpPr/>
            <p:nvPr/>
          </p:nvSpPr>
          <p:spPr>
            <a:xfrm rot="8716295">
              <a:off x="724407" y="345457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3" name="Forme libre : forme 402">
              <a:extLst>
                <a:ext uri="{FF2B5EF4-FFF2-40B4-BE49-F238E27FC236}">
                  <a16:creationId xmlns:a16="http://schemas.microsoft.com/office/drawing/2014/main" id="{AB980D08-B340-4454-A274-3AD08D2A9A3A}"/>
                </a:ext>
              </a:extLst>
            </p:cNvPr>
            <p:cNvSpPr/>
            <p:nvPr/>
          </p:nvSpPr>
          <p:spPr>
            <a:xfrm rot="8716295">
              <a:off x="813799" y="348381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4" name="Forme libre : forme 403">
              <a:extLst>
                <a:ext uri="{FF2B5EF4-FFF2-40B4-BE49-F238E27FC236}">
                  <a16:creationId xmlns:a16="http://schemas.microsoft.com/office/drawing/2014/main" id="{2652DA6E-5978-4E5D-A96D-58C298CBA732}"/>
                </a:ext>
              </a:extLst>
            </p:cNvPr>
            <p:cNvSpPr/>
            <p:nvPr/>
          </p:nvSpPr>
          <p:spPr>
            <a:xfrm rot="8716295">
              <a:off x="612173" y="354311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5" name="Forme libre : forme 404">
              <a:extLst>
                <a:ext uri="{FF2B5EF4-FFF2-40B4-BE49-F238E27FC236}">
                  <a16:creationId xmlns:a16="http://schemas.microsoft.com/office/drawing/2014/main" id="{BCA796D3-CCB0-45BE-BB99-D45334DE88BA}"/>
                </a:ext>
              </a:extLst>
            </p:cNvPr>
            <p:cNvSpPr/>
            <p:nvPr/>
          </p:nvSpPr>
          <p:spPr>
            <a:xfrm rot="8716295">
              <a:off x="487271" y="333444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6" name="Forme libre : forme 405">
              <a:extLst>
                <a:ext uri="{FF2B5EF4-FFF2-40B4-BE49-F238E27FC236}">
                  <a16:creationId xmlns:a16="http://schemas.microsoft.com/office/drawing/2014/main" id="{933101B8-7867-420E-81EE-0503A80C6D03}"/>
                </a:ext>
              </a:extLst>
            </p:cNvPr>
            <p:cNvSpPr/>
            <p:nvPr/>
          </p:nvSpPr>
          <p:spPr>
            <a:xfrm rot="8716295">
              <a:off x="702351" y="3584071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7" name="Forme libre : forme 406">
              <a:extLst>
                <a:ext uri="{FF2B5EF4-FFF2-40B4-BE49-F238E27FC236}">
                  <a16:creationId xmlns:a16="http://schemas.microsoft.com/office/drawing/2014/main" id="{5B641A15-3B25-4DD3-9A6C-0FFDEC9A133C}"/>
                </a:ext>
              </a:extLst>
            </p:cNvPr>
            <p:cNvSpPr/>
            <p:nvPr/>
          </p:nvSpPr>
          <p:spPr>
            <a:xfrm rot="8716295">
              <a:off x="460900" y="343447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8" name="Forme libre : forme 407">
              <a:extLst>
                <a:ext uri="{FF2B5EF4-FFF2-40B4-BE49-F238E27FC236}">
                  <a16:creationId xmlns:a16="http://schemas.microsoft.com/office/drawing/2014/main" id="{E763D240-1B00-445A-81E2-30AFA6DA38B9}"/>
                </a:ext>
              </a:extLst>
            </p:cNvPr>
            <p:cNvSpPr/>
            <p:nvPr/>
          </p:nvSpPr>
          <p:spPr>
            <a:xfrm rot="7484129">
              <a:off x="807282" y="377542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9" name="Forme libre : forme 408">
              <a:extLst>
                <a:ext uri="{FF2B5EF4-FFF2-40B4-BE49-F238E27FC236}">
                  <a16:creationId xmlns:a16="http://schemas.microsoft.com/office/drawing/2014/main" id="{73387E34-81D2-4A73-B141-75343A132394}"/>
                </a:ext>
              </a:extLst>
            </p:cNvPr>
            <p:cNvSpPr/>
            <p:nvPr/>
          </p:nvSpPr>
          <p:spPr>
            <a:xfrm rot="13089394">
              <a:off x="912102" y="374195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0" name="Forme libre : forme 409">
              <a:extLst>
                <a:ext uri="{FF2B5EF4-FFF2-40B4-BE49-F238E27FC236}">
                  <a16:creationId xmlns:a16="http://schemas.microsoft.com/office/drawing/2014/main" id="{CCA2FEEB-CE96-44BC-8FB9-EA169A41218A}"/>
                </a:ext>
              </a:extLst>
            </p:cNvPr>
            <p:cNvSpPr/>
            <p:nvPr/>
          </p:nvSpPr>
          <p:spPr>
            <a:xfrm rot="8716295">
              <a:off x="1097687" y="355027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1" name="Forme libre : forme 410">
              <a:extLst>
                <a:ext uri="{FF2B5EF4-FFF2-40B4-BE49-F238E27FC236}">
                  <a16:creationId xmlns:a16="http://schemas.microsoft.com/office/drawing/2014/main" id="{E1A40A9E-A324-487B-A5D9-A64B315CC0DB}"/>
                </a:ext>
              </a:extLst>
            </p:cNvPr>
            <p:cNvSpPr/>
            <p:nvPr/>
          </p:nvSpPr>
          <p:spPr>
            <a:xfrm rot="8716295">
              <a:off x="1045882" y="344668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2" name="Forme libre : forme 411">
              <a:extLst>
                <a:ext uri="{FF2B5EF4-FFF2-40B4-BE49-F238E27FC236}">
                  <a16:creationId xmlns:a16="http://schemas.microsoft.com/office/drawing/2014/main" id="{A6958C47-9B80-4B26-AABB-8FF29B27BC9F}"/>
                </a:ext>
              </a:extLst>
            </p:cNvPr>
            <p:cNvSpPr/>
            <p:nvPr/>
          </p:nvSpPr>
          <p:spPr>
            <a:xfrm rot="8716295">
              <a:off x="802636" y="347690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3" name="Forme libre : forme 412">
              <a:extLst>
                <a:ext uri="{FF2B5EF4-FFF2-40B4-BE49-F238E27FC236}">
                  <a16:creationId xmlns:a16="http://schemas.microsoft.com/office/drawing/2014/main" id="{8E6D0100-AF69-44B2-A5CF-E8C0130AB7E9}"/>
                </a:ext>
              </a:extLst>
            </p:cNvPr>
            <p:cNvSpPr/>
            <p:nvPr/>
          </p:nvSpPr>
          <p:spPr>
            <a:xfrm rot="8716295">
              <a:off x="980088" y="331766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4" name="Forme libre : forme 413">
              <a:extLst>
                <a:ext uri="{FF2B5EF4-FFF2-40B4-BE49-F238E27FC236}">
                  <a16:creationId xmlns:a16="http://schemas.microsoft.com/office/drawing/2014/main" id="{DDF69E8D-616E-4B06-B6E7-5816DA160ADA}"/>
                </a:ext>
              </a:extLst>
            </p:cNvPr>
            <p:cNvSpPr/>
            <p:nvPr/>
          </p:nvSpPr>
          <p:spPr>
            <a:xfrm rot="8716295">
              <a:off x="653978" y="436312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5" name="Forme libre : forme 414">
              <a:extLst>
                <a:ext uri="{FF2B5EF4-FFF2-40B4-BE49-F238E27FC236}">
                  <a16:creationId xmlns:a16="http://schemas.microsoft.com/office/drawing/2014/main" id="{28F41443-BBE2-4975-B85B-8718620F25A2}"/>
                </a:ext>
              </a:extLst>
            </p:cNvPr>
            <p:cNvSpPr/>
            <p:nvPr/>
          </p:nvSpPr>
          <p:spPr>
            <a:xfrm rot="8716295">
              <a:off x="743370" y="439236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6" name="Forme libre : forme 415">
              <a:extLst>
                <a:ext uri="{FF2B5EF4-FFF2-40B4-BE49-F238E27FC236}">
                  <a16:creationId xmlns:a16="http://schemas.microsoft.com/office/drawing/2014/main" id="{66BEE935-162B-468C-A488-08BB53F0E96A}"/>
                </a:ext>
              </a:extLst>
            </p:cNvPr>
            <p:cNvSpPr/>
            <p:nvPr/>
          </p:nvSpPr>
          <p:spPr>
            <a:xfrm rot="8716295">
              <a:off x="698520" y="430608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7" name="Forme libre : forme 416">
              <a:extLst>
                <a:ext uri="{FF2B5EF4-FFF2-40B4-BE49-F238E27FC236}">
                  <a16:creationId xmlns:a16="http://schemas.microsoft.com/office/drawing/2014/main" id="{C6A86155-7B92-42A4-B02E-66184BF812F2}"/>
                </a:ext>
              </a:extLst>
            </p:cNvPr>
            <p:cNvSpPr/>
            <p:nvPr/>
          </p:nvSpPr>
          <p:spPr>
            <a:xfrm rot="8716295">
              <a:off x="541744" y="445166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8" name="Forme libre : forme 417">
              <a:extLst>
                <a:ext uri="{FF2B5EF4-FFF2-40B4-BE49-F238E27FC236}">
                  <a16:creationId xmlns:a16="http://schemas.microsoft.com/office/drawing/2014/main" id="{46BFD870-BFFF-4A29-A35F-C7406F7430F7}"/>
                </a:ext>
              </a:extLst>
            </p:cNvPr>
            <p:cNvSpPr/>
            <p:nvPr/>
          </p:nvSpPr>
          <p:spPr>
            <a:xfrm rot="8716295">
              <a:off x="416841" y="424299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9" name="Forme libre : forme 418">
              <a:extLst>
                <a:ext uri="{FF2B5EF4-FFF2-40B4-BE49-F238E27FC236}">
                  <a16:creationId xmlns:a16="http://schemas.microsoft.com/office/drawing/2014/main" id="{A679BEA0-D0C5-41E0-ADCB-C970608B53F5}"/>
                </a:ext>
              </a:extLst>
            </p:cNvPr>
            <p:cNvSpPr/>
            <p:nvPr/>
          </p:nvSpPr>
          <p:spPr>
            <a:xfrm rot="8716295">
              <a:off x="404789" y="410421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0" name="Forme libre : forme 419">
              <a:extLst>
                <a:ext uri="{FF2B5EF4-FFF2-40B4-BE49-F238E27FC236}">
                  <a16:creationId xmlns:a16="http://schemas.microsoft.com/office/drawing/2014/main" id="{12FE079E-BD6C-4326-BBC6-E7FED6AEB0DE}"/>
                </a:ext>
              </a:extLst>
            </p:cNvPr>
            <p:cNvSpPr/>
            <p:nvPr/>
          </p:nvSpPr>
          <p:spPr>
            <a:xfrm rot="8716295">
              <a:off x="631922" y="449261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1" name="Forme libre : forme 420">
              <a:extLst>
                <a:ext uri="{FF2B5EF4-FFF2-40B4-BE49-F238E27FC236}">
                  <a16:creationId xmlns:a16="http://schemas.microsoft.com/office/drawing/2014/main" id="{ADCC2EDC-1B28-4142-9C4B-B780064981F4}"/>
                </a:ext>
              </a:extLst>
            </p:cNvPr>
            <p:cNvSpPr/>
            <p:nvPr/>
          </p:nvSpPr>
          <p:spPr>
            <a:xfrm rot="8716295">
              <a:off x="943077" y="411297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2" name="Forme libre : forme 421">
              <a:extLst>
                <a:ext uri="{FF2B5EF4-FFF2-40B4-BE49-F238E27FC236}">
                  <a16:creationId xmlns:a16="http://schemas.microsoft.com/office/drawing/2014/main" id="{85A46BE2-B28A-4B10-A98B-E1A4C9718784}"/>
                </a:ext>
              </a:extLst>
            </p:cNvPr>
            <p:cNvSpPr/>
            <p:nvPr/>
          </p:nvSpPr>
          <p:spPr>
            <a:xfrm rot="8716295">
              <a:off x="1032469" y="414221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3" name="Forme libre : forme 422">
              <a:extLst>
                <a:ext uri="{FF2B5EF4-FFF2-40B4-BE49-F238E27FC236}">
                  <a16:creationId xmlns:a16="http://schemas.microsoft.com/office/drawing/2014/main" id="{B997AC73-4A2E-4369-A0A3-B98AEFAEB0D2}"/>
                </a:ext>
              </a:extLst>
            </p:cNvPr>
            <p:cNvSpPr/>
            <p:nvPr/>
          </p:nvSpPr>
          <p:spPr>
            <a:xfrm rot="8716295">
              <a:off x="830843" y="420151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4" name="Forme libre : forme 423">
              <a:extLst>
                <a:ext uri="{FF2B5EF4-FFF2-40B4-BE49-F238E27FC236}">
                  <a16:creationId xmlns:a16="http://schemas.microsoft.com/office/drawing/2014/main" id="{B0F441EE-58D5-406D-84C8-BF6FB45F3E10}"/>
                </a:ext>
              </a:extLst>
            </p:cNvPr>
            <p:cNvSpPr/>
            <p:nvPr/>
          </p:nvSpPr>
          <p:spPr>
            <a:xfrm rot="8716295">
              <a:off x="705941" y="399284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5" name="Forme libre : forme 424">
              <a:extLst>
                <a:ext uri="{FF2B5EF4-FFF2-40B4-BE49-F238E27FC236}">
                  <a16:creationId xmlns:a16="http://schemas.microsoft.com/office/drawing/2014/main" id="{C2116289-0ECD-487D-B988-2550AD513EBC}"/>
                </a:ext>
              </a:extLst>
            </p:cNvPr>
            <p:cNvSpPr/>
            <p:nvPr/>
          </p:nvSpPr>
          <p:spPr>
            <a:xfrm rot="8716295">
              <a:off x="921021" y="424246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6" name="Forme libre : forme 425">
              <a:extLst>
                <a:ext uri="{FF2B5EF4-FFF2-40B4-BE49-F238E27FC236}">
                  <a16:creationId xmlns:a16="http://schemas.microsoft.com/office/drawing/2014/main" id="{BB2DB617-3C2B-44C3-B229-D2E3AF1F6397}"/>
                </a:ext>
              </a:extLst>
            </p:cNvPr>
            <p:cNvSpPr/>
            <p:nvPr/>
          </p:nvSpPr>
          <p:spPr>
            <a:xfrm rot="8716295">
              <a:off x="679570" y="409286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7" name="Forme libre : forme 426">
              <a:extLst>
                <a:ext uri="{FF2B5EF4-FFF2-40B4-BE49-F238E27FC236}">
                  <a16:creationId xmlns:a16="http://schemas.microsoft.com/office/drawing/2014/main" id="{AB1A41E1-EFF1-4B46-86EA-03A5D3137ECE}"/>
                </a:ext>
              </a:extLst>
            </p:cNvPr>
            <p:cNvSpPr/>
            <p:nvPr/>
          </p:nvSpPr>
          <p:spPr>
            <a:xfrm rot="7484129">
              <a:off x="1025952" y="443381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8" name="Forme libre : forme 427">
              <a:extLst>
                <a:ext uri="{FF2B5EF4-FFF2-40B4-BE49-F238E27FC236}">
                  <a16:creationId xmlns:a16="http://schemas.microsoft.com/office/drawing/2014/main" id="{FC716ACC-6F89-47F8-ABE1-58EDBEC4B6CB}"/>
                </a:ext>
              </a:extLst>
            </p:cNvPr>
            <p:cNvSpPr/>
            <p:nvPr/>
          </p:nvSpPr>
          <p:spPr>
            <a:xfrm rot="13089394">
              <a:off x="1130772" y="440035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9" name="Forme libre : forme 428">
              <a:extLst>
                <a:ext uri="{FF2B5EF4-FFF2-40B4-BE49-F238E27FC236}">
                  <a16:creationId xmlns:a16="http://schemas.microsoft.com/office/drawing/2014/main" id="{FBEB36D4-4104-4CEA-A5D9-270F8D790AEC}"/>
                </a:ext>
              </a:extLst>
            </p:cNvPr>
            <p:cNvSpPr/>
            <p:nvPr/>
          </p:nvSpPr>
          <p:spPr>
            <a:xfrm rot="8716295">
              <a:off x="1316357" y="420867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0" name="Forme libre : forme 429">
              <a:extLst>
                <a:ext uri="{FF2B5EF4-FFF2-40B4-BE49-F238E27FC236}">
                  <a16:creationId xmlns:a16="http://schemas.microsoft.com/office/drawing/2014/main" id="{F7950902-6556-4E4C-B905-0DD59A5961CC}"/>
                </a:ext>
              </a:extLst>
            </p:cNvPr>
            <p:cNvSpPr/>
            <p:nvPr/>
          </p:nvSpPr>
          <p:spPr>
            <a:xfrm rot="8716295">
              <a:off x="1264552" y="410507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1" name="Forme libre : forme 430">
              <a:extLst>
                <a:ext uri="{FF2B5EF4-FFF2-40B4-BE49-F238E27FC236}">
                  <a16:creationId xmlns:a16="http://schemas.microsoft.com/office/drawing/2014/main" id="{4F003DDA-355E-4DAE-A8BB-3FB35F5F4EAE}"/>
                </a:ext>
              </a:extLst>
            </p:cNvPr>
            <p:cNvSpPr/>
            <p:nvPr/>
          </p:nvSpPr>
          <p:spPr>
            <a:xfrm rot="8716295">
              <a:off x="1021306" y="413529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2" name="Forme libre : forme 431">
              <a:extLst>
                <a:ext uri="{FF2B5EF4-FFF2-40B4-BE49-F238E27FC236}">
                  <a16:creationId xmlns:a16="http://schemas.microsoft.com/office/drawing/2014/main" id="{3F6E657C-3858-4D98-91AA-063146CE262A}"/>
                </a:ext>
              </a:extLst>
            </p:cNvPr>
            <p:cNvSpPr/>
            <p:nvPr/>
          </p:nvSpPr>
          <p:spPr>
            <a:xfrm rot="8716295">
              <a:off x="1198758" y="397605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3" name="Forme libre : forme 432">
              <a:extLst>
                <a:ext uri="{FF2B5EF4-FFF2-40B4-BE49-F238E27FC236}">
                  <a16:creationId xmlns:a16="http://schemas.microsoft.com/office/drawing/2014/main" id="{6881A455-FC30-4886-9181-EEE1433B5DFF}"/>
                </a:ext>
              </a:extLst>
            </p:cNvPr>
            <p:cNvSpPr/>
            <p:nvPr/>
          </p:nvSpPr>
          <p:spPr>
            <a:xfrm rot="8716295">
              <a:off x="849927" y="5056695"/>
              <a:ext cx="61059" cy="114384"/>
            </a:xfrm>
            <a:custGeom>
              <a:avLst/>
              <a:gdLst>
                <a:gd name="connsiteX0" fmla="*/ 0 w 61059"/>
                <a:gd name="connsiteY0" fmla="*/ 114384 h 114384"/>
                <a:gd name="connsiteX1" fmla="*/ 0 w 61059"/>
                <a:gd name="connsiteY1" fmla="*/ 0 h 114384"/>
                <a:gd name="connsiteX2" fmla="*/ 61059 w 61059"/>
                <a:gd name="connsiteY2" fmla="*/ 42324 h 114384"/>
                <a:gd name="connsiteX3" fmla="*/ 61059 w 61059"/>
                <a:gd name="connsiteY3" fmla="*/ 90234 h 114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059" h="114384">
                  <a:moveTo>
                    <a:pt x="0" y="114384"/>
                  </a:moveTo>
                  <a:lnTo>
                    <a:pt x="0" y="0"/>
                  </a:lnTo>
                  <a:lnTo>
                    <a:pt x="61059" y="42324"/>
                  </a:lnTo>
                  <a:lnTo>
                    <a:pt x="61059" y="902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4" name="Forme libre : forme 433">
              <a:extLst>
                <a:ext uri="{FF2B5EF4-FFF2-40B4-BE49-F238E27FC236}">
                  <a16:creationId xmlns:a16="http://schemas.microsoft.com/office/drawing/2014/main" id="{CE4C8C85-2581-4CDF-9EB4-9C8C2E2C159C}"/>
                </a:ext>
              </a:extLst>
            </p:cNvPr>
            <p:cNvSpPr/>
            <p:nvPr/>
          </p:nvSpPr>
          <p:spPr>
            <a:xfrm rot="8716295">
              <a:off x="1072880" y="5030752"/>
              <a:ext cx="60148" cy="142578"/>
            </a:xfrm>
            <a:custGeom>
              <a:avLst/>
              <a:gdLst>
                <a:gd name="connsiteX0" fmla="*/ 0 w 60148"/>
                <a:gd name="connsiteY0" fmla="*/ 142578 h 142578"/>
                <a:gd name="connsiteX1" fmla="*/ 0 w 60148"/>
                <a:gd name="connsiteY1" fmla="*/ 0 h 142578"/>
                <a:gd name="connsiteX2" fmla="*/ 60148 w 60148"/>
                <a:gd name="connsiteY2" fmla="*/ 41693 h 142578"/>
                <a:gd name="connsiteX3" fmla="*/ 60148 w 60148"/>
                <a:gd name="connsiteY3" fmla="*/ 101569 h 142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8" h="142578">
                  <a:moveTo>
                    <a:pt x="0" y="142578"/>
                  </a:moveTo>
                  <a:lnTo>
                    <a:pt x="0" y="0"/>
                  </a:lnTo>
                  <a:lnTo>
                    <a:pt x="60148" y="41693"/>
                  </a:lnTo>
                  <a:lnTo>
                    <a:pt x="60148" y="1015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5" name="Forme libre : forme 434">
              <a:extLst>
                <a:ext uri="{FF2B5EF4-FFF2-40B4-BE49-F238E27FC236}">
                  <a16:creationId xmlns:a16="http://schemas.microsoft.com/office/drawing/2014/main" id="{683CB711-80B1-4038-ABB6-5DBDA3CAB0C0}"/>
                </a:ext>
              </a:extLst>
            </p:cNvPr>
            <p:cNvSpPr/>
            <p:nvPr/>
          </p:nvSpPr>
          <p:spPr>
            <a:xfrm rot="8716295">
              <a:off x="921687" y="496578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6" name="Forme libre : forme 435">
              <a:extLst>
                <a:ext uri="{FF2B5EF4-FFF2-40B4-BE49-F238E27FC236}">
                  <a16:creationId xmlns:a16="http://schemas.microsoft.com/office/drawing/2014/main" id="{8B993DFE-EE3E-4E92-8884-9A227F7DEAD1}"/>
                </a:ext>
              </a:extLst>
            </p:cNvPr>
            <p:cNvSpPr/>
            <p:nvPr/>
          </p:nvSpPr>
          <p:spPr>
            <a:xfrm rot="8716295">
              <a:off x="762271" y="5108547"/>
              <a:ext cx="53742" cy="49705"/>
            </a:xfrm>
            <a:custGeom>
              <a:avLst/>
              <a:gdLst>
                <a:gd name="connsiteX0" fmla="*/ 8658 w 53742"/>
                <a:gd name="connsiteY0" fmla="*/ 41503 h 49705"/>
                <a:gd name="connsiteX1" fmla="*/ 0 w 53742"/>
                <a:gd name="connsiteY1" fmla="*/ 20999 h 49705"/>
                <a:gd name="connsiteX2" fmla="*/ 0 w 53742"/>
                <a:gd name="connsiteY2" fmla="*/ 20542 h 49705"/>
                <a:gd name="connsiteX3" fmla="*/ 8658 w 53742"/>
                <a:gd name="connsiteY3" fmla="*/ 38 h 49705"/>
                <a:gd name="connsiteX4" fmla="*/ 8747 w 53742"/>
                <a:gd name="connsiteY4" fmla="*/ 0 h 49705"/>
                <a:gd name="connsiteX5" fmla="*/ 53742 w 53742"/>
                <a:gd name="connsiteY5" fmla="*/ 31189 h 49705"/>
                <a:gd name="connsiteX6" fmla="*/ 49668 w 53742"/>
                <a:gd name="connsiteY6" fmla="*/ 41048 h 49705"/>
                <a:gd name="connsiteX7" fmla="*/ 29162 w 53742"/>
                <a:gd name="connsiteY7" fmla="*/ 49705 h 49705"/>
                <a:gd name="connsiteX8" fmla="*/ 8658 w 53742"/>
                <a:gd name="connsiteY8" fmla="*/ 41503 h 49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2" h="49705">
                  <a:moveTo>
                    <a:pt x="8658" y="41503"/>
                  </a:moveTo>
                  <a:cubicBezTo>
                    <a:pt x="3190" y="36035"/>
                    <a:pt x="0" y="28744"/>
                    <a:pt x="0" y="20999"/>
                  </a:cubicBezTo>
                  <a:lnTo>
                    <a:pt x="0" y="20542"/>
                  </a:lnTo>
                  <a:cubicBezTo>
                    <a:pt x="0" y="12796"/>
                    <a:pt x="3190" y="5506"/>
                    <a:pt x="8658" y="38"/>
                  </a:cubicBezTo>
                  <a:lnTo>
                    <a:pt x="8747" y="0"/>
                  </a:lnTo>
                  <a:lnTo>
                    <a:pt x="53742" y="31189"/>
                  </a:lnTo>
                  <a:lnTo>
                    <a:pt x="49668" y="41048"/>
                  </a:lnTo>
                  <a:cubicBezTo>
                    <a:pt x="44200" y="46516"/>
                    <a:pt x="36909" y="49705"/>
                    <a:pt x="29162" y="49705"/>
                  </a:cubicBezTo>
                  <a:cubicBezTo>
                    <a:pt x="21416" y="49705"/>
                    <a:pt x="14126" y="46971"/>
                    <a:pt x="8658" y="415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7" name="Forme libre : forme 436">
              <a:extLst>
                <a:ext uri="{FF2B5EF4-FFF2-40B4-BE49-F238E27FC236}">
                  <a16:creationId xmlns:a16="http://schemas.microsoft.com/office/drawing/2014/main" id="{8DF09363-6B2B-44FC-9677-ED983FC9E371}"/>
                </a:ext>
              </a:extLst>
            </p:cNvPr>
            <p:cNvSpPr/>
            <p:nvPr/>
          </p:nvSpPr>
          <p:spPr>
            <a:xfrm rot="8716295">
              <a:off x="635497" y="4902607"/>
              <a:ext cx="203847" cy="195874"/>
            </a:xfrm>
            <a:custGeom>
              <a:avLst/>
              <a:gdLst>
                <a:gd name="connsiteX0" fmla="*/ 90709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203847 w 203847"/>
                <a:gd name="connsiteY5" fmla="*/ 0 h 195874"/>
                <a:gd name="connsiteX6" fmla="*/ 203847 w 203847"/>
                <a:gd name="connsiteY6" fmla="*/ 55323 h 195874"/>
                <a:gd name="connsiteX7" fmla="*/ 139055 w 203847"/>
                <a:gd name="connsiteY7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95874">
                  <a:moveTo>
                    <a:pt x="90709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8" name="Forme libre : forme 437">
              <a:extLst>
                <a:ext uri="{FF2B5EF4-FFF2-40B4-BE49-F238E27FC236}">
                  <a16:creationId xmlns:a16="http://schemas.microsoft.com/office/drawing/2014/main" id="{532437B6-4FB3-4387-A6A2-9CA74243FC9D}"/>
                </a:ext>
              </a:extLst>
            </p:cNvPr>
            <p:cNvSpPr/>
            <p:nvPr/>
          </p:nvSpPr>
          <p:spPr>
            <a:xfrm rot="8716295">
              <a:off x="627956" y="476391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9" name="Forme libre : forme 438">
              <a:extLst>
                <a:ext uri="{FF2B5EF4-FFF2-40B4-BE49-F238E27FC236}">
                  <a16:creationId xmlns:a16="http://schemas.microsoft.com/office/drawing/2014/main" id="{DC114E70-E891-401E-9C24-8619044C69DA}"/>
                </a:ext>
              </a:extLst>
            </p:cNvPr>
            <p:cNvSpPr/>
            <p:nvPr/>
          </p:nvSpPr>
          <p:spPr>
            <a:xfrm rot="8716295">
              <a:off x="1166244" y="477267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0" name="Forme libre : forme 439">
              <a:extLst>
                <a:ext uri="{FF2B5EF4-FFF2-40B4-BE49-F238E27FC236}">
                  <a16:creationId xmlns:a16="http://schemas.microsoft.com/office/drawing/2014/main" id="{1B83E310-81D3-4935-AA0D-87EA212E2F8C}"/>
                </a:ext>
              </a:extLst>
            </p:cNvPr>
            <p:cNvSpPr/>
            <p:nvPr/>
          </p:nvSpPr>
          <p:spPr>
            <a:xfrm rot="8716295">
              <a:off x="1255636" y="480191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1" name="Forme libre : forme 440">
              <a:extLst>
                <a:ext uri="{FF2B5EF4-FFF2-40B4-BE49-F238E27FC236}">
                  <a16:creationId xmlns:a16="http://schemas.microsoft.com/office/drawing/2014/main" id="{8A0A400D-6D17-4603-B756-25D5B32DB841}"/>
                </a:ext>
              </a:extLst>
            </p:cNvPr>
            <p:cNvSpPr/>
            <p:nvPr/>
          </p:nvSpPr>
          <p:spPr>
            <a:xfrm rot="8716295">
              <a:off x="1054010" y="486121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2" name="Forme libre : forme 441">
              <a:extLst>
                <a:ext uri="{FF2B5EF4-FFF2-40B4-BE49-F238E27FC236}">
                  <a16:creationId xmlns:a16="http://schemas.microsoft.com/office/drawing/2014/main" id="{A46C9B70-DE37-4964-9FA4-17387E1BA45F}"/>
                </a:ext>
              </a:extLst>
            </p:cNvPr>
            <p:cNvSpPr/>
            <p:nvPr/>
          </p:nvSpPr>
          <p:spPr>
            <a:xfrm rot="8716295">
              <a:off x="929108" y="465254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3" name="Forme libre : forme 442">
              <a:extLst>
                <a:ext uri="{FF2B5EF4-FFF2-40B4-BE49-F238E27FC236}">
                  <a16:creationId xmlns:a16="http://schemas.microsoft.com/office/drawing/2014/main" id="{B9F4170A-6E5B-49E4-8193-4286DEBE2EC9}"/>
                </a:ext>
              </a:extLst>
            </p:cNvPr>
            <p:cNvSpPr/>
            <p:nvPr/>
          </p:nvSpPr>
          <p:spPr>
            <a:xfrm rot="8716295">
              <a:off x="1144188" y="490216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4" name="Forme libre : forme 443">
              <a:extLst>
                <a:ext uri="{FF2B5EF4-FFF2-40B4-BE49-F238E27FC236}">
                  <a16:creationId xmlns:a16="http://schemas.microsoft.com/office/drawing/2014/main" id="{9F81EDCD-5E16-426F-9754-D2A37212C8FE}"/>
                </a:ext>
              </a:extLst>
            </p:cNvPr>
            <p:cNvSpPr/>
            <p:nvPr/>
          </p:nvSpPr>
          <p:spPr>
            <a:xfrm rot="8716295">
              <a:off x="902737" y="475256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5" name="Forme libre : forme 444">
              <a:extLst>
                <a:ext uri="{FF2B5EF4-FFF2-40B4-BE49-F238E27FC236}">
                  <a16:creationId xmlns:a16="http://schemas.microsoft.com/office/drawing/2014/main" id="{179F229D-2224-4467-8649-9DF965D65362}"/>
                </a:ext>
              </a:extLst>
            </p:cNvPr>
            <p:cNvSpPr/>
            <p:nvPr/>
          </p:nvSpPr>
          <p:spPr>
            <a:xfrm rot="7484129">
              <a:off x="1313689" y="5058219"/>
              <a:ext cx="97325" cy="159603"/>
            </a:xfrm>
            <a:custGeom>
              <a:avLst/>
              <a:gdLst>
                <a:gd name="connsiteX0" fmla="*/ 0 w 97325"/>
                <a:gd name="connsiteY0" fmla="*/ 19052 h 159603"/>
                <a:gd name="connsiteX1" fmla="*/ 0 w 97325"/>
                <a:gd name="connsiteY1" fmla="*/ 0 h 159603"/>
                <a:gd name="connsiteX2" fmla="*/ 13209 w 97325"/>
                <a:gd name="connsiteY2" fmla="*/ 19052 h 159603"/>
                <a:gd name="connsiteX3" fmla="*/ 90710 w 97325"/>
                <a:gd name="connsiteY3" fmla="*/ 159603 h 159603"/>
                <a:gd name="connsiteX4" fmla="*/ 47847 w 97325"/>
                <a:gd name="connsiteY4" fmla="*/ 79858 h 159603"/>
                <a:gd name="connsiteX5" fmla="*/ 50421 w 97325"/>
                <a:gd name="connsiteY5" fmla="*/ 72721 h 159603"/>
                <a:gd name="connsiteX6" fmla="*/ 97325 w 97325"/>
                <a:gd name="connsiteY6" fmla="*/ 140370 h 159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7325" h="159603">
                  <a:moveTo>
                    <a:pt x="0" y="19052"/>
                  </a:moveTo>
                  <a:lnTo>
                    <a:pt x="0" y="0"/>
                  </a:lnTo>
                  <a:lnTo>
                    <a:pt x="13209" y="19052"/>
                  </a:lnTo>
                  <a:close/>
                  <a:moveTo>
                    <a:pt x="90710" y="159603"/>
                  </a:moveTo>
                  <a:lnTo>
                    <a:pt x="47847" y="79858"/>
                  </a:lnTo>
                  <a:lnTo>
                    <a:pt x="50421" y="72721"/>
                  </a:lnTo>
                  <a:lnTo>
                    <a:pt x="97325" y="14037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6" name="Forme libre : forme 445">
              <a:extLst>
                <a:ext uri="{FF2B5EF4-FFF2-40B4-BE49-F238E27FC236}">
                  <a16:creationId xmlns:a16="http://schemas.microsoft.com/office/drawing/2014/main" id="{0DC6D2C5-5676-4685-B6C7-B0D9124302BA}"/>
                </a:ext>
              </a:extLst>
            </p:cNvPr>
            <p:cNvSpPr/>
            <p:nvPr/>
          </p:nvSpPr>
          <p:spPr>
            <a:xfrm rot="13089394">
              <a:off x="1435176" y="5064332"/>
              <a:ext cx="213297" cy="83320"/>
            </a:xfrm>
            <a:custGeom>
              <a:avLst/>
              <a:gdLst>
                <a:gd name="connsiteX0" fmla="*/ 213297 w 213297"/>
                <a:gd name="connsiteY0" fmla="*/ 12691 h 83320"/>
                <a:gd name="connsiteX1" fmla="*/ 32310 w 213297"/>
                <a:gd name="connsiteY1" fmla="*/ 83320 h 83320"/>
                <a:gd name="connsiteX2" fmla="*/ 0 w 213297"/>
                <a:gd name="connsiteY2" fmla="*/ 77753 h 83320"/>
                <a:gd name="connsiteX3" fmla="*/ 69926 w 213297"/>
                <a:gd name="connsiteY3" fmla="*/ 22813 h 83320"/>
                <a:gd name="connsiteX4" fmla="*/ 94662 w 213297"/>
                <a:gd name="connsiteY4" fmla="*/ 36418 h 83320"/>
                <a:gd name="connsiteX5" fmla="*/ 144323 w 213297"/>
                <a:gd name="connsiteY5" fmla="*/ 27589 h 83320"/>
                <a:gd name="connsiteX6" fmla="*/ 212193 w 213297"/>
                <a:gd name="connsiteY6" fmla="*/ 0 h 83320"/>
                <a:gd name="connsiteX7" fmla="*/ 213297 w 213297"/>
                <a:gd name="connsiteY7" fmla="*/ 7173 h 83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3297" h="83320">
                  <a:moveTo>
                    <a:pt x="213297" y="12691"/>
                  </a:moveTo>
                  <a:cubicBezTo>
                    <a:pt x="154807" y="62904"/>
                    <a:pt x="78108" y="80561"/>
                    <a:pt x="32310" y="83320"/>
                  </a:cubicBezTo>
                  <a:lnTo>
                    <a:pt x="0" y="77753"/>
                  </a:lnTo>
                  <a:lnTo>
                    <a:pt x="69926" y="22813"/>
                  </a:lnTo>
                  <a:lnTo>
                    <a:pt x="94662" y="36418"/>
                  </a:lnTo>
                  <a:cubicBezTo>
                    <a:pt x="111768" y="35866"/>
                    <a:pt x="128321" y="32555"/>
                    <a:pt x="144323" y="27589"/>
                  </a:cubicBezTo>
                  <a:cubicBezTo>
                    <a:pt x="167498" y="20416"/>
                    <a:pt x="190122" y="11036"/>
                    <a:pt x="212193" y="0"/>
                  </a:cubicBezTo>
                  <a:cubicBezTo>
                    <a:pt x="212745" y="2207"/>
                    <a:pt x="213297" y="4966"/>
                    <a:pt x="213297" y="71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7" name="Forme libre : forme 446">
              <a:extLst>
                <a:ext uri="{FF2B5EF4-FFF2-40B4-BE49-F238E27FC236}">
                  <a16:creationId xmlns:a16="http://schemas.microsoft.com/office/drawing/2014/main" id="{933D0F57-4827-4379-ADFC-4E442A7AA9F5}"/>
                </a:ext>
              </a:extLst>
            </p:cNvPr>
            <p:cNvSpPr/>
            <p:nvPr/>
          </p:nvSpPr>
          <p:spPr>
            <a:xfrm rot="8716295">
              <a:off x="1539524" y="486837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8" name="Forme libre : forme 447">
              <a:extLst>
                <a:ext uri="{FF2B5EF4-FFF2-40B4-BE49-F238E27FC236}">
                  <a16:creationId xmlns:a16="http://schemas.microsoft.com/office/drawing/2014/main" id="{F2B3C0A6-3119-4AF6-9904-83AA6D24B4D4}"/>
                </a:ext>
              </a:extLst>
            </p:cNvPr>
            <p:cNvSpPr/>
            <p:nvPr/>
          </p:nvSpPr>
          <p:spPr>
            <a:xfrm rot="8716295">
              <a:off x="1487719" y="476477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9" name="Forme libre : forme 448">
              <a:extLst>
                <a:ext uri="{FF2B5EF4-FFF2-40B4-BE49-F238E27FC236}">
                  <a16:creationId xmlns:a16="http://schemas.microsoft.com/office/drawing/2014/main" id="{A101E396-638E-4D53-9DD4-DFCEEB801BC5}"/>
                </a:ext>
              </a:extLst>
            </p:cNvPr>
            <p:cNvSpPr/>
            <p:nvPr/>
          </p:nvSpPr>
          <p:spPr>
            <a:xfrm rot="8716295">
              <a:off x="1244473" y="479499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0" name="Forme libre : forme 449">
              <a:extLst>
                <a:ext uri="{FF2B5EF4-FFF2-40B4-BE49-F238E27FC236}">
                  <a16:creationId xmlns:a16="http://schemas.microsoft.com/office/drawing/2014/main" id="{67402E49-E65F-45DA-8073-25DB882ECA1B}"/>
                </a:ext>
              </a:extLst>
            </p:cNvPr>
            <p:cNvSpPr/>
            <p:nvPr/>
          </p:nvSpPr>
          <p:spPr>
            <a:xfrm rot="8716295">
              <a:off x="1421925" y="463575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1" name="Forme libre : forme 450">
              <a:extLst>
                <a:ext uri="{FF2B5EF4-FFF2-40B4-BE49-F238E27FC236}">
                  <a16:creationId xmlns:a16="http://schemas.microsoft.com/office/drawing/2014/main" id="{4AD140D5-5D83-48BA-8FB5-0AE18019D236}"/>
                </a:ext>
              </a:extLst>
            </p:cNvPr>
            <p:cNvSpPr/>
            <p:nvPr/>
          </p:nvSpPr>
          <p:spPr>
            <a:xfrm rot="8716295">
              <a:off x="-3428" y="2405990"/>
              <a:ext cx="142167" cy="208592"/>
            </a:xfrm>
            <a:custGeom>
              <a:avLst/>
              <a:gdLst>
                <a:gd name="connsiteX0" fmla="*/ 81108 w 142167"/>
                <a:gd name="connsiteY0" fmla="*/ 208592 h 208592"/>
                <a:gd name="connsiteX1" fmla="*/ 81108 w 142167"/>
                <a:gd name="connsiteY1" fmla="*/ 69717 h 208592"/>
                <a:gd name="connsiteX2" fmla="*/ 81108 w 142167"/>
                <a:gd name="connsiteY2" fmla="*/ 65615 h 208592"/>
                <a:gd name="connsiteX3" fmla="*/ 60604 w 142167"/>
                <a:gd name="connsiteY3" fmla="*/ 50123 h 208592"/>
                <a:gd name="connsiteX4" fmla="*/ 0 w 142167"/>
                <a:gd name="connsiteY4" fmla="*/ 50123 h 208592"/>
                <a:gd name="connsiteX5" fmla="*/ 0 w 142167"/>
                <a:gd name="connsiteY5" fmla="*/ 0 h 208592"/>
                <a:gd name="connsiteX6" fmla="*/ 85210 w 142167"/>
                <a:gd name="connsiteY6" fmla="*/ 0 h 208592"/>
                <a:gd name="connsiteX7" fmla="*/ 142167 w 142167"/>
                <a:gd name="connsiteY7" fmla="*/ 50123 h 208592"/>
                <a:gd name="connsiteX8" fmla="*/ 142167 w 142167"/>
                <a:gd name="connsiteY8" fmla="*/ 120504 h 20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08592">
                  <a:moveTo>
                    <a:pt x="81108" y="208592"/>
                  </a:moveTo>
                  <a:lnTo>
                    <a:pt x="81108" y="69717"/>
                  </a:lnTo>
                  <a:cubicBezTo>
                    <a:pt x="81108" y="68350"/>
                    <a:pt x="81108" y="66983"/>
                    <a:pt x="81108" y="65615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10" y="0"/>
                  </a:lnTo>
                  <a:cubicBezTo>
                    <a:pt x="122118" y="0"/>
                    <a:pt x="142167" y="15948"/>
                    <a:pt x="142167" y="50123"/>
                  </a:cubicBezTo>
                  <a:lnTo>
                    <a:pt x="142167" y="1205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2" name="Forme libre : forme 451">
              <a:extLst>
                <a:ext uri="{FF2B5EF4-FFF2-40B4-BE49-F238E27FC236}">
                  <a16:creationId xmlns:a16="http://schemas.microsoft.com/office/drawing/2014/main" id="{2BA0993E-9FAB-4AEE-B83B-4CF3D7902044}"/>
                </a:ext>
              </a:extLst>
            </p:cNvPr>
            <p:cNvSpPr/>
            <p:nvPr/>
          </p:nvSpPr>
          <p:spPr>
            <a:xfrm rot="8716295">
              <a:off x="80015" y="241329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3" name="Forme libre : forme 452">
              <a:extLst>
                <a:ext uri="{FF2B5EF4-FFF2-40B4-BE49-F238E27FC236}">
                  <a16:creationId xmlns:a16="http://schemas.microsoft.com/office/drawing/2014/main" id="{CCF3EEA8-B3F9-461B-98BC-F35553672A96}"/>
                </a:ext>
              </a:extLst>
            </p:cNvPr>
            <p:cNvSpPr/>
            <p:nvPr/>
          </p:nvSpPr>
          <p:spPr>
            <a:xfrm rot="8716295">
              <a:off x="35165" y="232701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4" name="Forme libre : forme 453">
              <a:extLst>
                <a:ext uri="{FF2B5EF4-FFF2-40B4-BE49-F238E27FC236}">
                  <a16:creationId xmlns:a16="http://schemas.microsoft.com/office/drawing/2014/main" id="{7409E8F1-7A32-4862-9918-61EE35F1B801}"/>
                </a:ext>
              </a:extLst>
            </p:cNvPr>
            <p:cNvSpPr/>
            <p:nvPr/>
          </p:nvSpPr>
          <p:spPr>
            <a:xfrm rot="8716295">
              <a:off x="-20257" y="2217087"/>
              <a:ext cx="78731" cy="180665"/>
            </a:xfrm>
            <a:custGeom>
              <a:avLst/>
              <a:gdLst>
                <a:gd name="connsiteX0" fmla="*/ 0 w 78731"/>
                <a:gd name="connsiteY0" fmla="*/ 180665 h 180665"/>
                <a:gd name="connsiteX1" fmla="*/ 0 w 78731"/>
                <a:gd name="connsiteY1" fmla="*/ 40596 h 180665"/>
                <a:gd name="connsiteX2" fmla="*/ 78250 w 78731"/>
                <a:gd name="connsiteY2" fmla="*/ 0 h 180665"/>
                <a:gd name="connsiteX3" fmla="*/ 78731 w 78731"/>
                <a:gd name="connsiteY3" fmla="*/ 67083 h 180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731" h="180665">
                  <a:moveTo>
                    <a:pt x="0" y="180665"/>
                  </a:moveTo>
                  <a:lnTo>
                    <a:pt x="0" y="40596"/>
                  </a:lnTo>
                  <a:lnTo>
                    <a:pt x="78250" y="0"/>
                  </a:lnTo>
                  <a:lnTo>
                    <a:pt x="78731" y="670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5" name="Forme libre : forme 454">
              <a:extLst>
                <a:ext uri="{FF2B5EF4-FFF2-40B4-BE49-F238E27FC236}">
                  <a16:creationId xmlns:a16="http://schemas.microsoft.com/office/drawing/2014/main" id="{D1FF2FF9-6448-4826-95B6-0FAE856B0348}"/>
                </a:ext>
              </a:extLst>
            </p:cNvPr>
            <p:cNvSpPr/>
            <p:nvPr/>
          </p:nvSpPr>
          <p:spPr>
            <a:xfrm rot="8716295">
              <a:off x="-15341" y="2575209"/>
              <a:ext cx="103435" cy="152027"/>
            </a:xfrm>
            <a:custGeom>
              <a:avLst/>
              <a:gdLst>
                <a:gd name="connsiteX0" fmla="*/ 43288 w 103435"/>
                <a:gd name="connsiteY0" fmla="*/ 152027 h 152027"/>
                <a:gd name="connsiteX1" fmla="*/ 43288 w 103435"/>
                <a:gd name="connsiteY1" fmla="*/ 16404 h 152027"/>
                <a:gd name="connsiteX2" fmla="*/ 0 w 103435"/>
                <a:gd name="connsiteY2" fmla="*/ 16404 h 152027"/>
                <a:gd name="connsiteX3" fmla="*/ 0 w 103435"/>
                <a:gd name="connsiteY3" fmla="*/ 2278 h 152027"/>
                <a:gd name="connsiteX4" fmla="*/ 103435 w 103435"/>
                <a:gd name="connsiteY4" fmla="*/ 0 h 152027"/>
                <a:gd name="connsiteX5" fmla="*/ 103435 w 103435"/>
                <a:gd name="connsiteY5" fmla="*/ 65255 h 152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152027">
                  <a:moveTo>
                    <a:pt x="43288" y="152027"/>
                  </a:move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652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6" name="Forme libre : forme 455">
              <a:extLst>
                <a:ext uri="{FF2B5EF4-FFF2-40B4-BE49-F238E27FC236}">
                  <a16:creationId xmlns:a16="http://schemas.microsoft.com/office/drawing/2014/main" id="{D4422BA3-5FC8-407B-A01D-69AD0749DDD6}"/>
                </a:ext>
              </a:extLst>
            </p:cNvPr>
            <p:cNvSpPr/>
            <p:nvPr/>
          </p:nvSpPr>
          <p:spPr>
            <a:xfrm rot="8716295">
              <a:off x="279722" y="21339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7" name="Forme libre : forme 456">
              <a:extLst>
                <a:ext uri="{FF2B5EF4-FFF2-40B4-BE49-F238E27FC236}">
                  <a16:creationId xmlns:a16="http://schemas.microsoft.com/office/drawing/2014/main" id="{D39FDC20-561D-4627-BA38-506D7FCF7089}"/>
                </a:ext>
              </a:extLst>
            </p:cNvPr>
            <p:cNvSpPr/>
            <p:nvPr/>
          </p:nvSpPr>
          <p:spPr>
            <a:xfrm rot="8716295">
              <a:off x="369114" y="21631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8" name="Forme libre : forme 457">
              <a:extLst>
                <a:ext uri="{FF2B5EF4-FFF2-40B4-BE49-F238E27FC236}">
                  <a16:creationId xmlns:a16="http://schemas.microsoft.com/office/drawing/2014/main" id="{D14C1499-CA5F-496B-8BEC-69E04E19EA0D}"/>
                </a:ext>
              </a:extLst>
            </p:cNvPr>
            <p:cNvSpPr/>
            <p:nvPr/>
          </p:nvSpPr>
          <p:spPr>
            <a:xfrm rot="8716295">
              <a:off x="167488" y="22224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9" name="Forme libre : forme 458">
              <a:extLst>
                <a:ext uri="{FF2B5EF4-FFF2-40B4-BE49-F238E27FC236}">
                  <a16:creationId xmlns:a16="http://schemas.microsoft.com/office/drawing/2014/main" id="{193174EE-CFBC-438F-B1BB-D3ADA063388E}"/>
                </a:ext>
              </a:extLst>
            </p:cNvPr>
            <p:cNvSpPr/>
            <p:nvPr/>
          </p:nvSpPr>
          <p:spPr>
            <a:xfrm rot="8716295">
              <a:off x="42586" y="20137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0" name="Forme libre : forme 459">
              <a:extLst>
                <a:ext uri="{FF2B5EF4-FFF2-40B4-BE49-F238E27FC236}">
                  <a16:creationId xmlns:a16="http://schemas.microsoft.com/office/drawing/2014/main" id="{7E2244BC-364D-47B4-8B77-1ABDEF1DBB36}"/>
                </a:ext>
              </a:extLst>
            </p:cNvPr>
            <p:cNvSpPr/>
            <p:nvPr/>
          </p:nvSpPr>
          <p:spPr>
            <a:xfrm rot="8716295">
              <a:off x="257666" y="226339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1" name="Forme libre : forme 460">
              <a:extLst>
                <a:ext uri="{FF2B5EF4-FFF2-40B4-BE49-F238E27FC236}">
                  <a16:creationId xmlns:a16="http://schemas.microsoft.com/office/drawing/2014/main" id="{88E8FCAA-5A69-41AD-9BBF-E06402368569}"/>
                </a:ext>
              </a:extLst>
            </p:cNvPr>
            <p:cNvSpPr/>
            <p:nvPr/>
          </p:nvSpPr>
          <p:spPr>
            <a:xfrm rot="8716295">
              <a:off x="16215" y="211379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2" name="Forme libre : forme 461">
              <a:extLst>
                <a:ext uri="{FF2B5EF4-FFF2-40B4-BE49-F238E27FC236}">
                  <a16:creationId xmlns:a16="http://schemas.microsoft.com/office/drawing/2014/main" id="{2C0CE443-0100-47A6-BB72-6A7BBA3B084B}"/>
                </a:ext>
              </a:extLst>
            </p:cNvPr>
            <p:cNvSpPr/>
            <p:nvPr/>
          </p:nvSpPr>
          <p:spPr>
            <a:xfrm rot="7484129">
              <a:off x="362597" y="245474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3" name="Forme libre : forme 462">
              <a:extLst>
                <a:ext uri="{FF2B5EF4-FFF2-40B4-BE49-F238E27FC236}">
                  <a16:creationId xmlns:a16="http://schemas.microsoft.com/office/drawing/2014/main" id="{AE6C94D5-06F7-4134-9BDD-8703B8C3642E}"/>
                </a:ext>
              </a:extLst>
            </p:cNvPr>
            <p:cNvSpPr/>
            <p:nvPr/>
          </p:nvSpPr>
          <p:spPr>
            <a:xfrm rot="13089394">
              <a:off x="467417" y="242128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4" name="Forme libre : forme 463">
              <a:extLst>
                <a:ext uri="{FF2B5EF4-FFF2-40B4-BE49-F238E27FC236}">
                  <a16:creationId xmlns:a16="http://schemas.microsoft.com/office/drawing/2014/main" id="{90543D7D-143B-4ADD-B896-F2C09B360BC1}"/>
                </a:ext>
              </a:extLst>
            </p:cNvPr>
            <p:cNvSpPr/>
            <p:nvPr/>
          </p:nvSpPr>
          <p:spPr>
            <a:xfrm rot="8716295">
              <a:off x="653002" y="222960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5" name="Forme libre : forme 464">
              <a:extLst>
                <a:ext uri="{FF2B5EF4-FFF2-40B4-BE49-F238E27FC236}">
                  <a16:creationId xmlns:a16="http://schemas.microsoft.com/office/drawing/2014/main" id="{0A3F3F5B-79C0-41C7-8F17-B5752CC6E817}"/>
                </a:ext>
              </a:extLst>
            </p:cNvPr>
            <p:cNvSpPr/>
            <p:nvPr/>
          </p:nvSpPr>
          <p:spPr>
            <a:xfrm rot="8716295">
              <a:off x="601197" y="21260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6" name="Forme libre : forme 465">
              <a:extLst>
                <a:ext uri="{FF2B5EF4-FFF2-40B4-BE49-F238E27FC236}">
                  <a16:creationId xmlns:a16="http://schemas.microsoft.com/office/drawing/2014/main" id="{69D0AA2C-A5BB-4B7B-BB03-432400F6F2C5}"/>
                </a:ext>
              </a:extLst>
            </p:cNvPr>
            <p:cNvSpPr/>
            <p:nvPr/>
          </p:nvSpPr>
          <p:spPr>
            <a:xfrm rot="8716295">
              <a:off x="357951" y="21562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7" name="Forme libre : forme 466">
              <a:extLst>
                <a:ext uri="{FF2B5EF4-FFF2-40B4-BE49-F238E27FC236}">
                  <a16:creationId xmlns:a16="http://schemas.microsoft.com/office/drawing/2014/main" id="{82D68D60-D905-4F9D-9F1E-9018FDA856E2}"/>
                </a:ext>
              </a:extLst>
            </p:cNvPr>
            <p:cNvSpPr/>
            <p:nvPr/>
          </p:nvSpPr>
          <p:spPr>
            <a:xfrm rot="8716295">
              <a:off x="535403" y="199698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8" name="Forme libre : forme 467">
              <a:extLst>
                <a:ext uri="{FF2B5EF4-FFF2-40B4-BE49-F238E27FC236}">
                  <a16:creationId xmlns:a16="http://schemas.microsoft.com/office/drawing/2014/main" id="{E3253363-EB34-44DB-883A-13B6DE6143A2}"/>
                </a:ext>
              </a:extLst>
            </p:cNvPr>
            <p:cNvSpPr/>
            <p:nvPr/>
          </p:nvSpPr>
          <p:spPr>
            <a:xfrm rot="8716295">
              <a:off x="-76043" y="1768178"/>
              <a:ext cx="197178" cy="215049"/>
            </a:xfrm>
            <a:custGeom>
              <a:avLst/>
              <a:gdLst>
                <a:gd name="connsiteX0" fmla="*/ 51490 w 197178"/>
                <a:gd name="connsiteY0" fmla="*/ 215049 h 215049"/>
                <a:gd name="connsiteX1" fmla="*/ 51490 w 197178"/>
                <a:gd name="connsiteY1" fmla="*/ 45624 h 215049"/>
                <a:gd name="connsiteX2" fmla="*/ 0 w 197178"/>
                <a:gd name="connsiteY2" fmla="*/ 45624 h 215049"/>
                <a:gd name="connsiteX3" fmla="*/ 0 w 197178"/>
                <a:gd name="connsiteY3" fmla="*/ 1424 h 215049"/>
                <a:gd name="connsiteX4" fmla="*/ 104803 w 197178"/>
                <a:gd name="connsiteY4" fmla="*/ 1425 h 215049"/>
                <a:gd name="connsiteX5" fmla="*/ 104803 w 197178"/>
                <a:gd name="connsiteY5" fmla="*/ 75242 h 215049"/>
                <a:gd name="connsiteX6" fmla="*/ 106169 w 197178"/>
                <a:gd name="connsiteY6" fmla="*/ 75242 h 215049"/>
                <a:gd name="connsiteX7" fmla="*/ 154014 w 197178"/>
                <a:gd name="connsiteY7" fmla="*/ 5981 h 215049"/>
                <a:gd name="connsiteX8" fmla="*/ 185455 w 197178"/>
                <a:gd name="connsiteY8" fmla="*/ 57 h 215049"/>
                <a:gd name="connsiteX9" fmla="*/ 197178 w 197178"/>
                <a:gd name="connsiteY9" fmla="*/ 4872 h 215049"/>
                <a:gd name="connsiteX10" fmla="*/ 170795 w 197178"/>
                <a:gd name="connsiteY10" fmla="*/ 42934 h 215049"/>
                <a:gd name="connsiteX11" fmla="*/ 164950 w 197178"/>
                <a:gd name="connsiteY11" fmla="*/ 40156 h 215049"/>
                <a:gd name="connsiteX12" fmla="*/ 111638 w 197178"/>
                <a:gd name="connsiteY12" fmla="*/ 127643 h 215049"/>
                <a:gd name="connsiteX13" fmla="*/ 111638 w 197178"/>
                <a:gd name="connsiteY13" fmla="*/ 128277 h 21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178" h="215049">
                  <a:moveTo>
                    <a:pt x="51490" y="215049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4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lnTo>
                    <a:pt x="197178" y="4872"/>
                  </a:lnTo>
                  <a:lnTo>
                    <a:pt x="170795" y="42934"/>
                  </a:lnTo>
                  <a:lnTo>
                    <a:pt x="164950" y="40156"/>
                  </a:ln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1282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9" name="Forme libre : forme 468">
              <a:extLst>
                <a:ext uri="{FF2B5EF4-FFF2-40B4-BE49-F238E27FC236}">
                  <a16:creationId xmlns:a16="http://schemas.microsoft.com/office/drawing/2014/main" id="{13CAFE6B-0A3E-486D-8691-4D8C7920E841}"/>
                </a:ext>
              </a:extLst>
            </p:cNvPr>
            <p:cNvSpPr/>
            <p:nvPr/>
          </p:nvSpPr>
          <p:spPr>
            <a:xfrm rot="8716295">
              <a:off x="56555" y="14742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0" name="Forme libre : forme 469">
              <a:extLst>
                <a:ext uri="{FF2B5EF4-FFF2-40B4-BE49-F238E27FC236}">
                  <a16:creationId xmlns:a16="http://schemas.microsoft.com/office/drawing/2014/main" id="{AAF44C60-8776-4956-B0ED-2BB1FFCE9812}"/>
                </a:ext>
              </a:extLst>
            </p:cNvPr>
            <p:cNvSpPr/>
            <p:nvPr/>
          </p:nvSpPr>
          <p:spPr>
            <a:xfrm rot="8716295">
              <a:off x="145947" y="15034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1" name="Forme libre : forme 470">
              <a:extLst>
                <a:ext uri="{FF2B5EF4-FFF2-40B4-BE49-F238E27FC236}">
                  <a16:creationId xmlns:a16="http://schemas.microsoft.com/office/drawing/2014/main" id="{5A27D428-CE77-42C1-B8CA-3A227D5DF411}"/>
                </a:ext>
              </a:extLst>
            </p:cNvPr>
            <p:cNvSpPr/>
            <p:nvPr/>
          </p:nvSpPr>
          <p:spPr>
            <a:xfrm rot="8716295">
              <a:off x="-21870" y="1443501"/>
              <a:ext cx="68614" cy="55323"/>
            </a:xfrm>
            <a:custGeom>
              <a:avLst/>
              <a:gdLst>
                <a:gd name="connsiteX0" fmla="*/ 0 w 68614"/>
                <a:gd name="connsiteY0" fmla="*/ 55323 h 55323"/>
                <a:gd name="connsiteX1" fmla="*/ 0 w 68614"/>
                <a:gd name="connsiteY1" fmla="*/ 0 h 55323"/>
                <a:gd name="connsiteX2" fmla="*/ 68614 w 68614"/>
                <a:gd name="connsiteY2" fmla="*/ 0 h 55323"/>
                <a:gd name="connsiteX3" fmla="*/ 30266 w 68614"/>
                <a:gd name="connsiteY3" fmla="*/ 55323 h 55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614" h="55323">
                  <a:moveTo>
                    <a:pt x="0" y="55323"/>
                  </a:moveTo>
                  <a:lnTo>
                    <a:pt x="0" y="0"/>
                  </a:lnTo>
                  <a:lnTo>
                    <a:pt x="68614" y="0"/>
                  </a:lnTo>
                  <a:lnTo>
                    <a:pt x="30266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2" name="Forme libre : forme 471">
              <a:extLst>
                <a:ext uri="{FF2B5EF4-FFF2-40B4-BE49-F238E27FC236}">
                  <a16:creationId xmlns:a16="http://schemas.microsoft.com/office/drawing/2014/main" id="{DF9A3F72-B629-4ECA-8440-27AD7A8DC93E}"/>
                </a:ext>
              </a:extLst>
            </p:cNvPr>
            <p:cNvSpPr/>
            <p:nvPr/>
          </p:nvSpPr>
          <p:spPr>
            <a:xfrm rot="8716295">
              <a:off x="35817" y="1618109"/>
              <a:ext cx="103435" cy="203897"/>
            </a:xfrm>
            <a:custGeom>
              <a:avLst/>
              <a:gdLst>
                <a:gd name="connsiteX0" fmla="*/ 87556 w 103435"/>
                <a:gd name="connsiteY0" fmla="*/ 203897 h 203897"/>
                <a:gd name="connsiteX1" fmla="*/ 43288 w 103435"/>
                <a:gd name="connsiteY1" fmla="*/ 161305 h 203897"/>
                <a:gd name="connsiteX2" fmla="*/ 43288 w 103435"/>
                <a:gd name="connsiteY2" fmla="*/ 16404 h 203897"/>
                <a:gd name="connsiteX3" fmla="*/ 0 w 103435"/>
                <a:gd name="connsiteY3" fmla="*/ 16404 h 203897"/>
                <a:gd name="connsiteX4" fmla="*/ 0 w 103435"/>
                <a:gd name="connsiteY4" fmla="*/ 2278 h 203897"/>
                <a:gd name="connsiteX5" fmla="*/ 103435 w 103435"/>
                <a:gd name="connsiteY5" fmla="*/ 0 h 203897"/>
                <a:gd name="connsiteX6" fmla="*/ 103435 w 103435"/>
                <a:gd name="connsiteY6" fmla="*/ 180989 h 203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03897">
                  <a:moveTo>
                    <a:pt x="87556" y="203897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1809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3" name="Forme libre : forme 472">
              <a:extLst>
                <a:ext uri="{FF2B5EF4-FFF2-40B4-BE49-F238E27FC236}">
                  <a16:creationId xmlns:a16="http://schemas.microsoft.com/office/drawing/2014/main" id="{8E07B202-4136-4FA5-B44B-66518FBBBBA3}"/>
                </a:ext>
              </a:extLst>
            </p:cNvPr>
            <p:cNvSpPr/>
            <p:nvPr/>
          </p:nvSpPr>
          <p:spPr>
            <a:xfrm rot="7484129">
              <a:off x="139430" y="17950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4" name="Forme libre : forme 473">
              <a:extLst>
                <a:ext uri="{FF2B5EF4-FFF2-40B4-BE49-F238E27FC236}">
                  <a16:creationId xmlns:a16="http://schemas.microsoft.com/office/drawing/2014/main" id="{34554139-A9A2-4D5D-81E5-F4C0EE65204A}"/>
                </a:ext>
              </a:extLst>
            </p:cNvPr>
            <p:cNvSpPr/>
            <p:nvPr/>
          </p:nvSpPr>
          <p:spPr>
            <a:xfrm rot="13089394">
              <a:off x="244250" y="17615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5" name="Forme libre : forme 474">
              <a:extLst>
                <a:ext uri="{FF2B5EF4-FFF2-40B4-BE49-F238E27FC236}">
                  <a16:creationId xmlns:a16="http://schemas.microsoft.com/office/drawing/2014/main" id="{AB2F70AF-AA56-4CAD-ADF4-0833FC541883}"/>
                </a:ext>
              </a:extLst>
            </p:cNvPr>
            <p:cNvSpPr/>
            <p:nvPr/>
          </p:nvSpPr>
          <p:spPr>
            <a:xfrm rot="8716295">
              <a:off x="429835" y="15699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6" name="Forme libre : forme 475">
              <a:extLst>
                <a:ext uri="{FF2B5EF4-FFF2-40B4-BE49-F238E27FC236}">
                  <a16:creationId xmlns:a16="http://schemas.microsoft.com/office/drawing/2014/main" id="{75BBDF35-8448-40A6-BE33-7EEF756160B0}"/>
                </a:ext>
              </a:extLst>
            </p:cNvPr>
            <p:cNvSpPr/>
            <p:nvPr/>
          </p:nvSpPr>
          <p:spPr>
            <a:xfrm rot="8716295">
              <a:off x="378030" y="14663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7" name="Forme libre : forme 476">
              <a:extLst>
                <a:ext uri="{FF2B5EF4-FFF2-40B4-BE49-F238E27FC236}">
                  <a16:creationId xmlns:a16="http://schemas.microsoft.com/office/drawing/2014/main" id="{423A5D9B-DC1A-419A-9AFB-176F76ADBA77}"/>
                </a:ext>
              </a:extLst>
            </p:cNvPr>
            <p:cNvSpPr/>
            <p:nvPr/>
          </p:nvSpPr>
          <p:spPr>
            <a:xfrm rot="8716295">
              <a:off x="134784" y="14965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8" name="Forme libre : forme 477">
              <a:extLst>
                <a:ext uri="{FF2B5EF4-FFF2-40B4-BE49-F238E27FC236}">
                  <a16:creationId xmlns:a16="http://schemas.microsoft.com/office/drawing/2014/main" id="{09A04993-945B-4073-A4A3-49D8F429837D}"/>
                </a:ext>
              </a:extLst>
            </p:cNvPr>
            <p:cNvSpPr/>
            <p:nvPr/>
          </p:nvSpPr>
          <p:spPr>
            <a:xfrm rot="8716295">
              <a:off x="312236" y="13372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9" name="Forme libre : forme 478">
              <a:extLst>
                <a:ext uri="{FF2B5EF4-FFF2-40B4-BE49-F238E27FC236}">
                  <a16:creationId xmlns:a16="http://schemas.microsoft.com/office/drawing/2014/main" id="{F26589E4-0AEF-428F-8239-E3EDEF00E7E4}"/>
                </a:ext>
              </a:extLst>
            </p:cNvPr>
            <p:cNvSpPr/>
            <p:nvPr/>
          </p:nvSpPr>
          <p:spPr>
            <a:xfrm rot="8716295">
              <a:off x="-17798" y="949199"/>
              <a:ext cx="39526" cy="50123"/>
            </a:xfrm>
            <a:custGeom>
              <a:avLst/>
              <a:gdLst>
                <a:gd name="connsiteX0" fmla="*/ 0 w 39526"/>
                <a:gd name="connsiteY0" fmla="*/ 50123 h 50123"/>
                <a:gd name="connsiteX1" fmla="*/ 0 w 39526"/>
                <a:gd name="connsiteY1" fmla="*/ 0 h 50123"/>
                <a:gd name="connsiteX2" fmla="*/ 39526 w 39526"/>
                <a:gd name="connsiteY2" fmla="*/ 0 h 50123"/>
                <a:gd name="connsiteX3" fmla="*/ 4782 w 39526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26" h="50123">
                  <a:moveTo>
                    <a:pt x="0" y="50123"/>
                  </a:moveTo>
                  <a:lnTo>
                    <a:pt x="0" y="0"/>
                  </a:lnTo>
                  <a:lnTo>
                    <a:pt x="39526" y="0"/>
                  </a:lnTo>
                  <a:lnTo>
                    <a:pt x="4782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0" name="Forme libre : forme 479">
              <a:extLst>
                <a:ext uri="{FF2B5EF4-FFF2-40B4-BE49-F238E27FC236}">
                  <a16:creationId xmlns:a16="http://schemas.microsoft.com/office/drawing/2014/main" id="{4C4296DE-55F9-4C4A-97B0-A63397A7DF77}"/>
                </a:ext>
              </a:extLst>
            </p:cNvPr>
            <p:cNvSpPr/>
            <p:nvPr/>
          </p:nvSpPr>
          <p:spPr>
            <a:xfrm rot="8716295">
              <a:off x="-64996" y="834728"/>
              <a:ext cx="249650" cy="254774"/>
            </a:xfrm>
            <a:custGeom>
              <a:avLst/>
              <a:gdLst>
                <a:gd name="connsiteX0" fmla="*/ 51490 w 249650"/>
                <a:gd name="connsiteY0" fmla="*/ 254774 h 254774"/>
                <a:gd name="connsiteX1" fmla="*/ 51490 w 249650"/>
                <a:gd name="connsiteY1" fmla="*/ 45624 h 254774"/>
                <a:gd name="connsiteX2" fmla="*/ 0 w 249650"/>
                <a:gd name="connsiteY2" fmla="*/ 45624 h 254774"/>
                <a:gd name="connsiteX3" fmla="*/ 0 w 249650"/>
                <a:gd name="connsiteY3" fmla="*/ 1425 h 254774"/>
                <a:gd name="connsiteX4" fmla="*/ 104803 w 249650"/>
                <a:gd name="connsiteY4" fmla="*/ 1425 h 254774"/>
                <a:gd name="connsiteX5" fmla="*/ 104803 w 249650"/>
                <a:gd name="connsiteY5" fmla="*/ 75242 h 254774"/>
                <a:gd name="connsiteX6" fmla="*/ 106169 w 249650"/>
                <a:gd name="connsiteY6" fmla="*/ 75242 h 254774"/>
                <a:gd name="connsiteX7" fmla="*/ 154014 w 249650"/>
                <a:gd name="connsiteY7" fmla="*/ 5981 h 254774"/>
                <a:gd name="connsiteX8" fmla="*/ 185455 w 249650"/>
                <a:gd name="connsiteY8" fmla="*/ 57 h 254774"/>
                <a:gd name="connsiteX9" fmla="*/ 240647 w 249650"/>
                <a:gd name="connsiteY9" fmla="*/ 22727 h 254774"/>
                <a:gd name="connsiteX10" fmla="*/ 249650 w 249650"/>
                <a:gd name="connsiteY10" fmla="*/ 52327 h 254774"/>
                <a:gd name="connsiteX11" fmla="*/ 218795 w 249650"/>
                <a:gd name="connsiteY11" fmla="*/ 96841 h 254774"/>
                <a:gd name="connsiteX12" fmla="*/ 198669 w 249650"/>
                <a:gd name="connsiteY12" fmla="*/ 98025 h 254774"/>
                <a:gd name="connsiteX13" fmla="*/ 198669 w 249650"/>
                <a:gd name="connsiteY13" fmla="*/ 81621 h 254774"/>
                <a:gd name="connsiteX14" fmla="*/ 164950 w 249650"/>
                <a:gd name="connsiteY14" fmla="*/ 40156 h 254774"/>
                <a:gd name="connsiteX15" fmla="*/ 111638 w 249650"/>
                <a:gd name="connsiteY15" fmla="*/ 127643 h 254774"/>
                <a:gd name="connsiteX16" fmla="*/ 111638 w 249650"/>
                <a:gd name="connsiteY16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9650" h="254774">
                  <a:moveTo>
                    <a:pt x="51490" y="254774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08922" y="-398"/>
                    <a:pt x="227718" y="7576"/>
                    <a:pt x="240647" y="22727"/>
                  </a:cubicBezTo>
                  <a:lnTo>
                    <a:pt x="249650" y="52327"/>
                  </a:lnTo>
                  <a:lnTo>
                    <a:pt x="218795" y="96841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1" name="Forme libre : forme 480">
              <a:extLst>
                <a:ext uri="{FF2B5EF4-FFF2-40B4-BE49-F238E27FC236}">
                  <a16:creationId xmlns:a16="http://schemas.microsoft.com/office/drawing/2014/main" id="{5A2819AD-E741-4041-ACED-C828CEF01D2A}"/>
                </a:ext>
              </a:extLst>
            </p:cNvPr>
            <p:cNvSpPr/>
            <p:nvPr/>
          </p:nvSpPr>
          <p:spPr>
            <a:xfrm rot="7484129">
              <a:off x="-63314" y="1172497"/>
              <a:ext cx="203848" cy="146395"/>
            </a:xfrm>
            <a:custGeom>
              <a:avLst/>
              <a:gdLst>
                <a:gd name="connsiteX0" fmla="*/ 0 w 203848"/>
                <a:gd name="connsiteY0" fmla="*/ 55323 h 146395"/>
                <a:gd name="connsiteX1" fmla="*/ 0 w 203848"/>
                <a:gd name="connsiteY1" fmla="*/ 0 h 146395"/>
                <a:gd name="connsiteX2" fmla="*/ 203848 w 203848"/>
                <a:gd name="connsiteY2" fmla="*/ 0 h 146395"/>
                <a:gd name="connsiteX3" fmla="*/ 203847 w 203848"/>
                <a:gd name="connsiteY3" fmla="*/ 49512 h 146395"/>
                <a:gd name="connsiteX4" fmla="*/ 195466 w 203848"/>
                <a:gd name="connsiteY4" fmla="*/ 55323 h 146395"/>
                <a:gd name="connsiteX5" fmla="*/ 139055 w 203848"/>
                <a:gd name="connsiteY5" fmla="*/ 55323 h 146395"/>
                <a:gd name="connsiteX6" fmla="*/ 121388 w 203848"/>
                <a:gd name="connsiteY6" fmla="*/ 106685 h 146395"/>
                <a:gd name="connsiteX7" fmla="*/ 64115 w 203848"/>
                <a:gd name="connsiteY7" fmla="*/ 146395 h 146395"/>
                <a:gd name="connsiteX8" fmla="*/ 47847 w 203848"/>
                <a:gd name="connsiteY8" fmla="*/ 116129 h 146395"/>
                <a:gd name="connsiteX9" fmla="*/ 69777 w 203848"/>
                <a:gd name="connsiteY9" fmla="*/ 55323 h 146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848" h="146395">
                  <a:moveTo>
                    <a:pt x="0" y="55323"/>
                  </a:moveTo>
                  <a:lnTo>
                    <a:pt x="0" y="0"/>
                  </a:lnTo>
                  <a:lnTo>
                    <a:pt x="203848" y="0"/>
                  </a:lnTo>
                  <a:lnTo>
                    <a:pt x="203847" y="49512"/>
                  </a:lnTo>
                  <a:lnTo>
                    <a:pt x="195466" y="55323"/>
                  </a:lnTo>
                  <a:lnTo>
                    <a:pt x="139055" y="55323"/>
                  </a:lnTo>
                  <a:lnTo>
                    <a:pt x="121388" y="106685"/>
                  </a:lnTo>
                  <a:lnTo>
                    <a:pt x="64115" y="146395"/>
                  </a:lnTo>
                  <a:lnTo>
                    <a:pt x="47847" y="116129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2" name="Forme libre : forme 481">
              <a:extLst>
                <a:ext uri="{FF2B5EF4-FFF2-40B4-BE49-F238E27FC236}">
                  <a16:creationId xmlns:a16="http://schemas.microsoft.com/office/drawing/2014/main" id="{BF19A776-F6DB-4B5F-AAC3-71AD58912554}"/>
                </a:ext>
              </a:extLst>
            </p:cNvPr>
            <p:cNvSpPr/>
            <p:nvPr/>
          </p:nvSpPr>
          <p:spPr>
            <a:xfrm rot="13089394">
              <a:off x="25311" y="109952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3" name="Forme libre : forme 482">
              <a:extLst>
                <a:ext uri="{FF2B5EF4-FFF2-40B4-BE49-F238E27FC236}">
                  <a16:creationId xmlns:a16="http://schemas.microsoft.com/office/drawing/2014/main" id="{1F910699-3B12-45BE-B517-E2166075FFC7}"/>
                </a:ext>
              </a:extLst>
            </p:cNvPr>
            <p:cNvSpPr/>
            <p:nvPr/>
          </p:nvSpPr>
          <p:spPr>
            <a:xfrm rot="8716295">
              <a:off x="210896" y="90784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4" name="Forme libre : forme 483">
              <a:extLst>
                <a:ext uri="{FF2B5EF4-FFF2-40B4-BE49-F238E27FC236}">
                  <a16:creationId xmlns:a16="http://schemas.microsoft.com/office/drawing/2014/main" id="{A819C2A4-F35F-43E8-9AB1-07103AECD990}"/>
                </a:ext>
              </a:extLst>
            </p:cNvPr>
            <p:cNvSpPr/>
            <p:nvPr/>
          </p:nvSpPr>
          <p:spPr>
            <a:xfrm rot="8716295">
              <a:off x="159091" y="80425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5" name="Forme libre : forme 484">
              <a:extLst>
                <a:ext uri="{FF2B5EF4-FFF2-40B4-BE49-F238E27FC236}">
                  <a16:creationId xmlns:a16="http://schemas.microsoft.com/office/drawing/2014/main" id="{F748C402-EDBB-4B63-B49E-2F4080A37ADD}"/>
                </a:ext>
              </a:extLst>
            </p:cNvPr>
            <p:cNvSpPr/>
            <p:nvPr/>
          </p:nvSpPr>
          <p:spPr>
            <a:xfrm rot="8716295">
              <a:off x="93297" y="67523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6" name="Forme libre : forme 485">
              <a:extLst>
                <a:ext uri="{FF2B5EF4-FFF2-40B4-BE49-F238E27FC236}">
                  <a16:creationId xmlns:a16="http://schemas.microsoft.com/office/drawing/2014/main" id="{73609A63-0E69-42A0-8437-604DF28699ED}"/>
                </a:ext>
              </a:extLst>
            </p:cNvPr>
            <p:cNvSpPr/>
            <p:nvPr/>
          </p:nvSpPr>
          <p:spPr>
            <a:xfrm rot="8716295">
              <a:off x="-7001" y="316701"/>
              <a:ext cx="14001" cy="20198"/>
            </a:xfrm>
            <a:custGeom>
              <a:avLst/>
              <a:gdLst>
                <a:gd name="connsiteX0" fmla="*/ 0 w 14001"/>
                <a:gd name="connsiteY0" fmla="*/ 20198 h 20198"/>
                <a:gd name="connsiteX1" fmla="*/ 0 w 14001"/>
                <a:gd name="connsiteY1" fmla="*/ 0 h 20198"/>
                <a:gd name="connsiteX2" fmla="*/ 14001 w 14001"/>
                <a:gd name="connsiteY2" fmla="*/ 0 h 2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01" h="20198">
                  <a:moveTo>
                    <a:pt x="0" y="20198"/>
                  </a:moveTo>
                  <a:lnTo>
                    <a:pt x="0" y="0"/>
                  </a:lnTo>
                  <a:lnTo>
                    <a:pt x="1400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7" name="Forme libre : forme 486">
              <a:extLst>
                <a:ext uri="{FF2B5EF4-FFF2-40B4-BE49-F238E27FC236}">
                  <a16:creationId xmlns:a16="http://schemas.microsoft.com/office/drawing/2014/main" id="{577CC5F5-15C9-4008-90A0-668217098FFB}"/>
                </a:ext>
              </a:extLst>
            </p:cNvPr>
            <p:cNvSpPr/>
            <p:nvPr/>
          </p:nvSpPr>
          <p:spPr>
            <a:xfrm rot="13089394">
              <a:off x="-81658" y="472652"/>
              <a:ext cx="173631" cy="237684"/>
            </a:xfrm>
            <a:custGeom>
              <a:avLst/>
              <a:gdLst>
                <a:gd name="connsiteX0" fmla="*/ 173631 w 173631"/>
                <a:gd name="connsiteY0" fmla="*/ 220990 h 237684"/>
                <a:gd name="connsiteX1" fmla="*/ 130972 w 173631"/>
                <a:gd name="connsiteY1" fmla="*/ 232382 h 237684"/>
                <a:gd name="connsiteX2" fmla="*/ 91597 w 173631"/>
                <a:gd name="connsiteY2" fmla="*/ 237521 h 237684"/>
                <a:gd name="connsiteX3" fmla="*/ 23727 w 173631"/>
                <a:gd name="connsiteY3" fmla="*/ 209931 h 237684"/>
                <a:gd name="connsiteX4" fmla="*/ 0 w 173631"/>
                <a:gd name="connsiteY4" fmla="*/ 115023 h 237684"/>
                <a:gd name="connsiteX5" fmla="*/ 0 w 173631"/>
                <a:gd name="connsiteY5" fmla="*/ 0 h 237684"/>
                <a:gd name="connsiteX6" fmla="*/ 76176 w 173631"/>
                <a:gd name="connsiteY6" fmla="*/ 96953 h 237684"/>
                <a:gd name="connsiteX7" fmla="*/ 76768 w 173631"/>
                <a:gd name="connsiteY7" fmla="*/ 109023 h 237684"/>
                <a:gd name="connsiteX8" fmla="*/ 87734 w 173631"/>
                <a:gd name="connsiteY8" fmla="*/ 154201 h 237684"/>
                <a:gd name="connsiteX9" fmla="*/ 111117 w 173631"/>
                <a:gd name="connsiteY9" fmla="*/ 181514 h 237684"/>
                <a:gd name="connsiteX10" fmla="*/ 148930 w 173631"/>
                <a:gd name="connsiteY10" fmla="*/ 189552 h 237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3631" h="237684">
                  <a:moveTo>
                    <a:pt x="173631" y="220990"/>
                  </a:moveTo>
                  <a:lnTo>
                    <a:pt x="130972" y="232382"/>
                  </a:lnTo>
                  <a:cubicBezTo>
                    <a:pt x="116428" y="235210"/>
                    <a:pt x="103047" y="236831"/>
                    <a:pt x="91597" y="237521"/>
                  </a:cubicBezTo>
                  <a:cubicBezTo>
                    <a:pt x="66215" y="239176"/>
                    <a:pt x="41384" y="228141"/>
                    <a:pt x="23727" y="209931"/>
                  </a:cubicBezTo>
                  <a:cubicBezTo>
                    <a:pt x="4966" y="191722"/>
                    <a:pt x="0" y="160270"/>
                    <a:pt x="0" y="115023"/>
                  </a:cubicBezTo>
                  <a:lnTo>
                    <a:pt x="0" y="0"/>
                  </a:lnTo>
                  <a:lnTo>
                    <a:pt x="76176" y="96953"/>
                  </a:lnTo>
                  <a:lnTo>
                    <a:pt x="76768" y="109023"/>
                  </a:lnTo>
                  <a:cubicBezTo>
                    <a:pt x="79044" y="124404"/>
                    <a:pt x="82768" y="139578"/>
                    <a:pt x="87734" y="154201"/>
                  </a:cubicBezTo>
                  <a:cubicBezTo>
                    <a:pt x="92149" y="166340"/>
                    <a:pt x="100012" y="175445"/>
                    <a:pt x="111117" y="181514"/>
                  </a:cubicBezTo>
                  <a:lnTo>
                    <a:pt x="148930" y="1895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8" name="Forme libre : forme 487">
              <a:extLst>
                <a:ext uri="{FF2B5EF4-FFF2-40B4-BE49-F238E27FC236}">
                  <a16:creationId xmlns:a16="http://schemas.microsoft.com/office/drawing/2014/main" id="{E64C5A14-C3CC-4B02-838F-FD1CD7D882CB}"/>
                </a:ext>
              </a:extLst>
            </p:cNvPr>
            <p:cNvSpPr/>
            <p:nvPr/>
          </p:nvSpPr>
          <p:spPr>
            <a:xfrm rot="8716295">
              <a:off x="-11774" y="24443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9" name="Forme libre : forme 488">
              <a:extLst>
                <a:ext uri="{FF2B5EF4-FFF2-40B4-BE49-F238E27FC236}">
                  <a16:creationId xmlns:a16="http://schemas.microsoft.com/office/drawing/2014/main" id="{26383EB6-3CD6-4688-B5B2-AB6D6EF7025D}"/>
                </a:ext>
              </a:extLst>
            </p:cNvPr>
            <p:cNvSpPr/>
            <p:nvPr/>
          </p:nvSpPr>
          <p:spPr>
            <a:xfrm rot="8716295">
              <a:off x="-30092" y="143486"/>
              <a:ext cx="77721" cy="97260"/>
            </a:xfrm>
            <a:custGeom>
              <a:avLst/>
              <a:gdLst>
                <a:gd name="connsiteX0" fmla="*/ 15821 w 77721"/>
                <a:gd name="connsiteY0" fmla="*/ 97260 h 97260"/>
                <a:gd name="connsiteX1" fmla="*/ 0 w 77721"/>
                <a:gd name="connsiteY1" fmla="*/ 59790 h 97260"/>
                <a:gd name="connsiteX2" fmla="*/ 0 w 77721"/>
                <a:gd name="connsiteY2" fmla="*/ 58869 h 97260"/>
                <a:gd name="connsiteX3" fmla="*/ 17477 w 77721"/>
                <a:gd name="connsiteY3" fmla="*/ 17477 h 97260"/>
                <a:gd name="connsiteX4" fmla="*/ 58869 w 77721"/>
                <a:gd name="connsiteY4" fmla="*/ 0 h 97260"/>
                <a:gd name="connsiteX5" fmla="*/ 77721 w 77721"/>
                <a:gd name="connsiteY5" fmla="*/ 7960 h 97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721" h="97260">
                  <a:moveTo>
                    <a:pt x="15821" y="97260"/>
                  </a:moveTo>
                  <a:lnTo>
                    <a:pt x="0" y="59790"/>
                  </a:ln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lnTo>
                    <a:pt x="77721" y="79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0" name="Forme libre : forme 489">
              <a:extLst>
                <a:ext uri="{FF2B5EF4-FFF2-40B4-BE49-F238E27FC236}">
                  <a16:creationId xmlns:a16="http://schemas.microsoft.com/office/drawing/2014/main" id="{6537CDA1-2216-4877-A848-A93D1F552A9D}"/>
                </a:ext>
              </a:extLst>
            </p:cNvPr>
            <p:cNvSpPr/>
            <p:nvPr/>
          </p:nvSpPr>
          <p:spPr>
            <a:xfrm rot="8716295">
              <a:off x="-17797" y="3452694"/>
              <a:ext cx="58455" cy="44199"/>
            </a:xfrm>
            <a:custGeom>
              <a:avLst/>
              <a:gdLst>
                <a:gd name="connsiteX0" fmla="*/ 0 w 58455"/>
                <a:gd name="connsiteY0" fmla="*/ 44199 h 44199"/>
                <a:gd name="connsiteX1" fmla="*/ 0 w 58455"/>
                <a:gd name="connsiteY1" fmla="*/ 0 h 44199"/>
                <a:gd name="connsiteX2" fmla="*/ 58455 w 58455"/>
                <a:gd name="connsiteY2" fmla="*/ 0 h 44199"/>
                <a:gd name="connsiteX3" fmla="*/ 27817 w 58455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55" h="44199">
                  <a:moveTo>
                    <a:pt x="0" y="44199"/>
                  </a:moveTo>
                  <a:lnTo>
                    <a:pt x="0" y="0"/>
                  </a:lnTo>
                  <a:lnTo>
                    <a:pt x="58455" y="0"/>
                  </a:lnTo>
                  <a:lnTo>
                    <a:pt x="27817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1" name="Forme libre : forme 490">
              <a:extLst>
                <a:ext uri="{FF2B5EF4-FFF2-40B4-BE49-F238E27FC236}">
                  <a16:creationId xmlns:a16="http://schemas.microsoft.com/office/drawing/2014/main" id="{215CC3B1-8089-4D43-97B0-1819B833BE19}"/>
                </a:ext>
              </a:extLst>
            </p:cNvPr>
            <p:cNvSpPr/>
            <p:nvPr/>
          </p:nvSpPr>
          <p:spPr>
            <a:xfrm rot="13089394">
              <a:off x="-91485" y="3601812"/>
              <a:ext cx="206527" cy="292654"/>
            </a:xfrm>
            <a:custGeom>
              <a:avLst/>
              <a:gdLst>
                <a:gd name="connsiteX0" fmla="*/ 206527 w 206527"/>
                <a:gd name="connsiteY0" fmla="*/ 258693 h 292654"/>
                <a:gd name="connsiteX1" fmla="*/ 177331 w 206527"/>
                <a:gd name="connsiteY1" fmla="*/ 274971 h 292654"/>
                <a:gd name="connsiteX2" fmla="*/ 91597 w 206527"/>
                <a:gd name="connsiteY2" fmla="*/ 292491 h 292654"/>
                <a:gd name="connsiteX3" fmla="*/ 23727 w 206527"/>
                <a:gd name="connsiteY3" fmla="*/ 264901 h 292654"/>
                <a:gd name="connsiteX4" fmla="*/ 0 w 206527"/>
                <a:gd name="connsiteY4" fmla="*/ 169993 h 292654"/>
                <a:gd name="connsiteX5" fmla="*/ 0 w 206527"/>
                <a:gd name="connsiteY5" fmla="*/ 1698 h 292654"/>
                <a:gd name="connsiteX6" fmla="*/ 3273 w 206527"/>
                <a:gd name="connsiteY6" fmla="*/ 0 h 292654"/>
                <a:gd name="connsiteX7" fmla="*/ 74297 w 206527"/>
                <a:gd name="connsiteY7" fmla="*/ 90396 h 292654"/>
                <a:gd name="connsiteX8" fmla="*/ 74492 w 206527"/>
                <a:gd name="connsiteY8" fmla="*/ 117574 h 292654"/>
                <a:gd name="connsiteX9" fmla="*/ 87734 w 206527"/>
                <a:gd name="connsiteY9" fmla="*/ 209171 h 292654"/>
                <a:gd name="connsiteX10" fmla="*/ 153949 w 206527"/>
                <a:gd name="connsiteY10" fmla="*/ 245589 h 292654"/>
                <a:gd name="connsiteX11" fmla="*/ 191049 w 206527"/>
                <a:gd name="connsiteY11" fmla="*/ 238993 h 292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527" h="292654">
                  <a:moveTo>
                    <a:pt x="206527" y="258693"/>
                  </a:moveTo>
                  <a:lnTo>
                    <a:pt x="177331" y="274971"/>
                  </a:lnTo>
                  <a:cubicBezTo>
                    <a:pt x="145121" y="286007"/>
                    <a:pt x="114496" y="291111"/>
                    <a:pt x="91597" y="292491"/>
                  </a:cubicBezTo>
                  <a:cubicBezTo>
                    <a:pt x="66215" y="294146"/>
                    <a:pt x="41385" y="283111"/>
                    <a:pt x="23727" y="264901"/>
                  </a:cubicBezTo>
                  <a:cubicBezTo>
                    <a:pt x="4966" y="246692"/>
                    <a:pt x="0" y="215240"/>
                    <a:pt x="0" y="169993"/>
                  </a:cubicBezTo>
                  <a:lnTo>
                    <a:pt x="0" y="1698"/>
                  </a:lnTo>
                  <a:lnTo>
                    <a:pt x="3273" y="0"/>
                  </a:lnTo>
                  <a:lnTo>
                    <a:pt x="74297" y="90396"/>
                  </a:lnTo>
                  <a:lnTo>
                    <a:pt x="74492" y="117574"/>
                  </a:lnTo>
                  <a:cubicBezTo>
                    <a:pt x="72836" y="148474"/>
                    <a:pt x="77802" y="179926"/>
                    <a:pt x="87734" y="209171"/>
                  </a:cubicBezTo>
                  <a:cubicBezTo>
                    <a:pt x="96564" y="233450"/>
                    <a:pt x="119187" y="245589"/>
                    <a:pt x="153949" y="245589"/>
                  </a:cubicBezTo>
                  <a:lnTo>
                    <a:pt x="191049" y="2389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2" name="Forme libre : forme 491">
              <a:extLst>
                <a:ext uri="{FF2B5EF4-FFF2-40B4-BE49-F238E27FC236}">
                  <a16:creationId xmlns:a16="http://schemas.microsoft.com/office/drawing/2014/main" id="{234A14C5-DCBF-4B3D-8912-C2966FB8FAA0}"/>
                </a:ext>
              </a:extLst>
            </p:cNvPr>
            <p:cNvSpPr/>
            <p:nvPr/>
          </p:nvSpPr>
          <p:spPr>
            <a:xfrm rot="8716295">
              <a:off x="24761" y="33896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3" name="Forme libre : forme 492">
              <a:extLst>
                <a:ext uri="{FF2B5EF4-FFF2-40B4-BE49-F238E27FC236}">
                  <a16:creationId xmlns:a16="http://schemas.microsoft.com/office/drawing/2014/main" id="{A8F20E36-ED7E-4DCB-8818-49A4A7E98BE7}"/>
                </a:ext>
              </a:extLst>
            </p:cNvPr>
            <p:cNvSpPr/>
            <p:nvPr/>
          </p:nvSpPr>
          <p:spPr>
            <a:xfrm rot="8716295">
              <a:off x="-24047" y="3281741"/>
              <a:ext cx="106042" cy="113733"/>
            </a:xfrm>
            <a:custGeom>
              <a:avLst/>
              <a:gdLst>
                <a:gd name="connsiteX0" fmla="*/ 17477 w 106042"/>
                <a:gd name="connsiteY0" fmla="*/ 101182 h 113733"/>
                <a:gd name="connsiteX1" fmla="*/ 0 w 106042"/>
                <a:gd name="connsiteY1" fmla="*/ 59790 h 113733"/>
                <a:gd name="connsiteX2" fmla="*/ 0 w 106042"/>
                <a:gd name="connsiteY2" fmla="*/ 58869 h 113733"/>
                <a:gd name="connsiteX3" fmla="*/ 17477 w 106042"/>
                <a:gd name="connsiteY3" fmla="*/ 17477 h 113733"/>
                <a:gd name="connsiteX4" fmla="*/ 58869 w 106042"/>
                <a:gd name="connsiteY4" fmla="*/ 0 h 113733"/>
                <a:gd name="connsiteX5" fmla="*/ 100262 w 106042"/>
                <a:gd name="connsiteY5" fmla="*/ 17477 h 113733"/>
                <a:gd name="connsiteX6" fmla="*/ 106042 w 106042"/>
                <a:gd name="connsiteY6" fmla="*/ 31234 h 113733"/>
                <a:gd name="connsiteX7" fmla="*/ 48856 w 106042"/>
                <a:gd name="connsiteY7" fmla="*/ 113733 h 11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042" h="113733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cubicBezTo>
                    <a:pt x="74507" y="0"/>
                    <a:pt x="89224" y="6439"/>
                    <a:pt x="100262" y="17477"/>
                  </a:cubicBezTo>
                  <a:lnTo>
                    <a:pt x="106042" y="31234"/>
                  </a:lnTo>
                  <a:lnTo>
                    <a:pt x="48856" y="1137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4" name="Forme libre : forme 493">
              <a:extLst>
                <a:ext uri="{FF2B5EF4-FFF2-40B4-BE49-F238E27FC236}">
                  <a16:creationId xmlns:a16="http://schemas.microsoft.com/office/drawing/2014/main" id="{521798C9-8778-477C-89ED-433CF02349E9}"/>
                </a:ext>
              </a:extLst>
            </p:cNvPr>
            <p:cNvSpPr/>
            <p:nvPr/>
          </p:nvSpPr>
          <p:spPr>
            <a:xfrm rot="8716295">
              <a:off x="-21924" y="3179872"/>
              <a:ext cx="45776" cy="62656"/>
            </a:xfrm>
            <a:custGeom>
              <a:avLst/>
              <a:gdLst>
                <a:gd name="connsiteX0" fmla="*/ 2345 w 45776"/>
                <a:gd name="connsiteY0" fmla="*/ 62656 h 62656"/>
                <a:gd name="connsiteX1" fmla="*/ 0 w 45776"/>
                <a:gd name="connsiteY1" fmla="*/ 57104 h 62656"/>
                <a:gd name="connsiteX2" fmla="*/ 0 w 45776"/>
                <a:gd name="connsiteY2" fmla="*/ 56183 h 62656"/>
                <a:gd name="connsiteX3" fmla="*/ 17477 w 45776"/>
                <a:gd name="connsiteY3" fmla="*/ 14791 h 62656"/>
                <a:gd name="connsiteX4" fmla="*/ 36449 w 45776"/>
                <a:gd name="connsiteY4" fmla="*/ 1913 h 62656"/>
                <a:gd name="connsiteX5" fmla="*/ 45776 w 45776"/>
                <a:gd name="connsiteY5" fmla="*/ 0 h 62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776" h="62656">
                  <a:moveTo>
                    <a:pt x="2345" y="62656"/>
                  </a:moveTo>
                  <a:lnTo>
                    <a:pt x="0" y="57104"/>
                  </a:lnTo>
                  <a:lnTo>
                    <a:pt x="0" y="56183"/>
                  </a:lnTo>
                  <a:cubicBezTo>
                    <a:pt x="0" y="40547"/>
                    <a:pt x="6439" y="25829"/>
                    <a:pt x="17477" y="14791"/>
                  </a:cubicBezTo>
                  <a:cubicBezTo>
                    <a:pt x="22996" y="9272"/>
                    <a:pt x="29435" y="4903"/>
                    <a:pt x="36449" y="1913"/>
                  </a:cubicBezTo>
                  <a:lnTo>
                    <a:pt x="4577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5" name="Forme libre : forme 494">
              <a:extLst>
                <a:ext uri="{FF2B5EF4-FFF2-40B4-BE49-F238E27FC236}">
                  <a16:creationId xmlns:a16="http://schemas.microsoft.com/office/drawing/2014/main" id="{BB8A2107-7C61-4B85-8EFA-ABA59720E5DB}"/>
                </a:ext>
              </a:extLst>
            </p:cNvPr>
            <p:cNvSpPr/>
            <p:nvPr/>
          </p:nvSpPr>
          <p:spPr>
            <a:xfrm rot="8716295">
              <a:off x="592036" y="5123131"/>
              <a:ext cx="56900" cy="40151"/>
            </a:xfrm>
            <a:custGeom>
              <a:avLst/>
              <a:gdLst>
                <a:gd name="connsiteX0" fmla="*/ 13826 w 56900"/>
                <a:gd name="connsiteY0" fmla="*/ 23593 h 40151"/>
                <a:gd name="connsiteX1" fmla="*/ 948 w 56900"/>
                <a:gd name="connsiteY1" fmla="*/ 4622 h 40151"/>
                <a:gd name="connsiteX2" fmla="*/ 0 w 56900"/>
                <a:gd name="connsiteY2" fmla="*/ 0 h 40151"/>
                <a:gd name="connsiteX3" fmla="*/ 56900 w 56900"/>
                <a:gd name="connsiteY3" fmla="*/ 39441 h 40151"/>
                <a:gd name="connsiteX4" fmla="*/ 55218 w 56900"/>
                <a:gd name="connsiteY4" fmla="*/ 40151 h 40151"/>
                <a:gd name="connsiteX5" fmla="*/ 13826 w 56900"/>
                <a:gd name="connsiteY5" fmla="*/ 23593 h 40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900" h="40151">
                  <a:moveTo>
                    <a:pt x="13826" y="23593"/>
                  </a:moveTo>
                  <a:cubicBezTo>
                    <a:pt x="8307" y="18074"/>
                    <a:pt x="3938" y="11636"/>
                    <a:pt x="948" y="4622"/>
                  </a:cubicBezTo>
                  <a:lnTo>
                    <a:pt x="0" y="0"/>
                  </a:lnTo>
                  <a:lnTo>
                    <a:pt x="56900" y="39441"/>
                  </a:lnTo>
                  <a:lnTo>
                    <a:pt x="55218" y="40151"/>
                  </a:lnTo>
                  <a:cubicBezTo>
                    <a:pt x="39581" y="40151"/>
                    <a:pt x="24864" y="34631"/>
                    <a:pt x="13826" y="2359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6" name="Forme libre : forme 495">
              <a:extLst>
                <a:ext uri="{FF2B5EF4-FFF2-40B4-BE49-F238E27FC236}">
                  <a16:creationId xmlns:a16="http://schemas.microsoft.com/office/drawing/2014/main" id="{7E303E9D-76C1-4789-8C9D-5012551E179C}"/>
                </a:ext>
              </a:extLst>
            </p:cNvPr>
            <p:cNvSpPr/>
            <p:nvPr/>
          </p:nvSpPr>
          <p:spPr>
            <a:xfrm rot="8716295">
              <a:off x="-21324" y="4100649"/>
              <a:ext cx="79113" cy="50123"/>
            </a:xfrm>
            <a:custGeom>
              <a:avLst/>
              <a:gdLst>
                <a:gd name="connsiteX0" fmla="*/ 0 w 79113"/>
                <a:gd name="connsiteY0" fmla="*/ 50123 h 50123"/>
                <a:gd name="connsiteX1" fmla="*/ 0 w 79113"/>
                <a:gd name="connsiteY1" fmla="*/ 0 h 50123"/>
                <a:gd name="connsiteX2" fmla="*/ 79113 w 79113"/>
                <a:gd name="connsiteY2" fmla="*/ 0 h 50123"/>
                <a:gd name="connsiteX3" fmla="*/ 44369 w 79113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113" h="50123">
                  <a:moveTo>
                    <a:pt x="0" y="50123"/>
                  </a:moveTo>
                  <a:lnTo>
                    <a:pt x="0" y="0"/>
                  </a:lnTo>
                  <a:lnTo>
                    <a:pt x="79113" y="0"/>
                  </a:lnTo>
                  <a:lnTo>
                    <a:pt x="44369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7" name="Forme libre : forme 496">
              <a:extLst>
                <a:ext uri="{FF2B5EF4-FFF2-40B4-BE49-F238E27FC236}">
                  <a16:creationId xmlns:a16="http://schemas.microsoft.com/office/drawing/2014/main" id="{02FDD4B8-F673-41A9-915D-2FF1DD6CBE6F}"/>
                </a:ext>
              </a:extLst>
            </p:cNvPr>
            <p:cNvSpPr/>
            <p:nvPr/>
          </p:nvSpPr>
          <p:spPr>
            <a:xfrm rot="8716295">
              <a:off x="-40457" y="398156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8" name="Forme libre : forme 497">
              <a:extLst>
                <a:ext uri="{FF2B5EF4-FFF2-40B4-BE49-F238E27FC236}">
                  <a16:creationId xmlns:a16="http://schemas.microsoft.com/office/drawing/2014/main" id="{DBB3B685-0513-450E-A467-E28F77542517}"/>
                </a:ext>
              </a:extLst>
            </p:cNvPr>
            <p:cNvSpPr/>
            <p:nvPr/>
          </p:nvSpPr>
          <p:spPr>
            <a:xfrm rot="7484129">
              <a:off x="-46974" y="427316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9" name="Forme libre : forme 498">
              <a:extLst>
                <a:ext uri="{FF2B5EF4-FFF2-40B4-BE49-F238E27FC236}">
                  <a16:creationId xmlns:a16="http://schemas.microsoft.com/office/drawing/2014/main" id="{C5419776-A8A1-4E3C-9093-D945DA9FAC68}"/>
                </a:ext>
              </a:extLst>
            </p:cNvPr>
            <p:cNvSpPr/>
            <p:nvPr/>
          </p:nvSpPr>
          <p:spPr>
            <a:xfrm rot="13089394">
              <a:off x="57846" y="423970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0" name="Forme libre : forme 499">
              <a:extLst>
                <a:ext uri="{FF2B5EF4-FFF2-40B4-BE49-F238E27FC236}">
                  <a16:creationId xmlns:a16="http://schemas.microsoft.com/office/drawing/2014/main" id="{F97D67FD-E4E6-48C4-AEFE-555D34A356DE}"/>
                </a:ext>
              </a:extLst>
            </p:cNvPr>
            <p:cNvSpPr/>
            <p:nvPr/>
          </p:nvSpPr>
          <p:spPr>
            <a:xfrm rot="8716295">
              <a:off x="243431" y="404801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1" name="Forme libre : forme 500">
              <a:extLst>
                <a:ext uri="{FF2B5EF4-FFF2-40B4-BE49-F238E27FC236}">
                  <a16:creationId xmlns:a16="http://schemas.microsoft.com/office/drawing/2014/main" id="{BCE94871-8BA1-45A9-8930-C2F42EF9B5F3}"/>
                </a:ext>
              </a:extLst>
            </p:cNvPr>
            <p:cNvSpPr/>
            <p:nvPr/>
          </p:nvSpPr>
          <p:spPr>
            <a:xfrm rot="8716295">
              <a:off x="191626" y="39444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2" name="Forme libre : forme 501">
              <a:extLst>
                <a:ext uri="{FF2B5EF4-FFF2-40B4-BE49-F238E27FC236}">
                  <a16:creationId xmlns:a16="http://schemas.microsoft.com/office/drawing/2014/main" id="{04CBAE1D-449E-47DE-9709-A831A36DA439}"/>
                </a:ext>
              </a:extLst>
            </p:cNvPr>
            <p:cNvSpPr/>
            <p:nvPr/>
          </p:nvSpPr>
          <p:spPr>
            <a:xfrm rot="8716295">
              <a:off x="125832" y="381540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3" name="Forme libre : forme 502">
              <a:extLst>
                <a:ext uri="{FF2B5EF4-FFF2-40B4-BE49-F238E27FC236}">
                  <a16:creationId xmlns:a16="http://schemas.microsoft.com/office/drawing/2014/main" id="{2F83938F-B075-4593-8D11-BBF0A979A7C6}"/>
                </a:ext>
              </a:extLst>
            </p:cNvPr>
            <p:cNvSpPr/>
            <p:nvPr/>
          </p:nvSpPr>
          <p:spPr>
            <a:xfrm rot="8716295">
              <a:off x="-73048" y="4876828"/>
              <a:ext cx="221382" cy="253349"/>
            </a:xfrm>
            <a:custGeom>
              <a:avLst/>
              <a:gdLst>
                <a:gd name="connsiteX0" fmla="*/ 51490 w 221382"/>
                <a:gd name="connsiteY0" fmla="*/ 253349 h 253349"/>
                <a:gd name="connsiteX1" fmla="*/ 51490 w 221382"/>
                <a:gd name="connsiteY1" fmla="*/ 44199 h 253349"/>
                <a:gd name="connsiteX2" fmla="*/ 0 w 221382"/>
                <a:gd name="connsiteY2" fmla="*/ 44199 h 253349"/>
                <a:gd name="connsiteX3" fmla="*/ 0 w 221382"/>
                <a:gd name="connsiteY3" fmla="*/ 0 h 253349"/>
                <a:gd name="connsiteX4" fmla="*/ 104803 w 221382"/>
                <a:gd name="connsiteY4" fmla="*/ 0 h 253349"/>
                <a:gd name="connsiteX5" fmla="*/ 104802 w 221382"/>
                <a:gd name="connsiteY5" fmla="*/ 73817 h 253349"/>
                <a:gd name="connsiteX6" fmla="*/ 106169 w 221382"/>
                <a:gd name="connsiteY6" fmla="*/ 73817 h 253349"/>
                <a:gd name="connsiteX7" fmla="*/ 154014 w 221382"/>
                <a:gd name="connsiteY7" fmla="*/ 4556 h 253349"/>
                <a:gd name="connsiteX8" fmla="*/ 174650 w 221382"/>
                <a:gd name="connsiteY8" fmla="*/ 668 h 253349"/>
                <a:gd name="connsiteX9" fmla="*/ 214075 w 221382"/>
                <a:gd name="connsiteY9" fmla="*/ 27996 h 253349"/>
                <a:gd name="connsiteX10" fmla="*/ 221382 w 221382"/>
                <a:gd name="connsiteY10" fmla="*/ 33060 h 253349"/>
                <a:gd name="connsiteX11" fmla="*/ 195540 w 221382"/>
                <a:gd name="connsiteY11" fmla="*/ 70341 h 253349"/>
                <a:gd name="connsiteX12" fmla="*/ 189157 w 221382"/>
                <a:gd name="connsiteY12" fmla="*/ 50236 h 253349"/>
                <a:gd name="connsiteX13" fmla="*/ 164950 w 221382"/>
                <a:gd name="connsiteY13" fmla="*/ 38731 h 253349"/>
                <a:gd name="connsiteX14" fmla="*/ 111638 w 221382"/>
                <a:gd name="connsiteY14" fmla="*/ 126218 h 253349"/>
                <a:gd name="connsiteX15" fmla="*/ 111638 w 221382"/>
                <a:gd name="connsiteY15" fmla="*/ 191383 h 253349"/>
                <a:gd name="connsiteX16" fmla="*/ 84096 w 221382"/>
                <a:gd name="connsiteY16" fmla="*/ 231117 h 253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1382" h="253349">
                  <a:moveTo>
                    <a:pt x="51490" y="253349"/>
                  </a:moveTo>
                  <a:lnTo>
                    <a:pt x="51490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104803" y="0"/>
                  </a:lnTo>
                  <a:lnTo>
                    <a:pt x="104802" y="73817"/>
                  </a:lnTo>
                  <a:lnTo>
                    <a:pt x="106169" y="73817"/>
                  </a:lnTo>
                  <a:cubicBezTo>
                    <a:pt x="120751" y="30529"/>
                    <a:pt x="132142" y="13670"/>
                    <a:pt x="154014" y="4556"/>
                  </a:cubicBezTo>
                  <a:lnTo>
                    <a:pt x="174650" y="668"/>
                  </a:lnTo>
                  <a:lnTo>
                    <a:pt x="214075" y="27996"/>
                  </a:lnTo>
                  <a:lnTo>
                    <a:pt x="221382" y="33060"/>
                  </a:lnTo>
                  <a:lnTo>
                    <a:pt x="195540" y="70341"/>
                  </a:lnTo>
                  <a:lnTo>
                    <a:pt x="189157" y="50236"/>
                  </a:lnTo>
                  <a:cubicBezTo>
                    <a:pt x="183177" y="42946"/>
                    <a:pt x="174747" y="38731"/>
                    <a:pt x="164950" y="38731"/>
                  </a:cubicBezTo>
                  <a:cubicBezTo>
                    <a:pt x="135788" y="38731"/>
                    <a:pt x="111638" y="77463"/>
                    <a:pt x="111638" y="126218"/>
                  </a:cubicBezTo>
                  <a:lnTo>
                    <a:pt x="111638" y="191383"/>
                  </a:lnTo>
                  <a:lnTo>
                    <a:pt x="84096" y="2311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4" name="Forme libre : forme 503">
              <a:extLst>
                <a:ext uri="{FF2B5EF4-FFF2-40B4-BE49-F238E27FC236}">
                  <a16:creationId xmlns:a16="http://schemas.microsoft.com/office/drawing/2014/main" id="{BCB8F26A-8D9E-4DAA-BBEC-C72C4F89205F}"/>
                </a:ext>
              </a:extLst>
            </p:cNvPr>
            <p:cNvSpPr/>
            <p:nvPr/>
          </p:nvSpPr>
          <p:spPr>
            <a:xfrm rot="8716295">
              <a:off x="93318" y="46120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5" name="Forme libre : forme 504">
              <a:extLst>
                <a:ext uri="{FF2B5EF4-FFF2-40B4-BE49-F238E27FC236}">
                  <a16:creationId xmlns:a16="http://schemas.microsoft.com/office/drawing/2014/main" id="{81732388-5ACB-454A-B491-3EF6429CC57C}"/>
                </a:ext>
              </a:extLst>
            </p:cNvPr>
            <p:cNvSpPr/>
            <p:nvPr/>
          </p:nvSpPr>
          <p:spPr>
            <a:xfrm rot="8716295">
              <a:off x="182710" y="46412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6" name="Forme libre : forme 505">
              <a:extLst>
                <a:ext uri="{FF2B5EF4-FFF2-40B4-BE49-F238E27FC236}">
                  <a16:creationId xmlns:a16="http://schemas.microsoft.com/office/drawing/2014/main" id="{7C87F3BF-43A4-45FA-839A-23BBD5B5D4BE}"/>
                </a:ext>
              </a:extLst>
            </p:cNvPr>
            <p:cNvSpPr/>
            <p:nvPr/>
          </p:nvSpPr>
          <p:spPr>
            <a:xfrm rot="8716295">
              <a:off x="-14524" y="4699631"/>
              <a:ext cx="49997" cy="54238"/>
            </a:xfrm>
            <a:custGeom>
              <a:avLst/>
              <a:gdLst>
                <a:gd name="connsiteX0" fmla="*/ 8658 w 49997"/>
                <a:gd name="connsiteY0" fmla="*/ 50123 h 54238"/>
                <a:gd name="connsiteX1" fmla="*/ 0 w 49997"/>
                <a:gd name="connsiteY1" fmla="*/ 29619 h 54238"/>
                <a:gd name="connsiteX2" fmla="*/ 0 w 49997"/>
                <a:gd name="connsiteY2" fmla="*/ 29162 h 54238"/>
                <a:gd name="connsiteX3" fmla="*/ 8658 w 49997"/>
                <a:gd name="connsiteY3" fmla="*/ 8658 h 54238"/>
                <a:gd name="connsiteX4" fmla="*/ 29163 w 49997"/>
                <a:gd name="connsiteY4" fmla="*/ 0 h 54238"/>
                <a:gd name="connsiteX5" fmla="*/ 49668 w 49997"/>
                <a:gd name="connsiteY5" fmla="*/ 8658 h 54238"/>
                <a:gd name="connsiteX6" fmla="*/ 49997 w 49997"/>
                <a:gd name="connsiteY6" fmla="*/ 9441 h 54238"/>
                <a:gd name="connsiteX7" fmla="*/ 18945 w 49997"/>
                <a:gd name="connsiteY7" fmla="*/ 54238 h 54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997" h="54238">
                  <a:moveTo>
                    <a:pt x="8658" y="50123"/>
                  </a:moveTo>
                  <a:cubicBezTo>
                    <a:pt x="3190" y="44655"/>
                    <a:pt x="0" y="37365"/>
                    <a:pt x="0" y="29619"/>
                  </a:cubicBezTo>
                  <a:lnTo>
                    <a:pt x="0" y="29162"/>
                  </a:lnTo>
                  <a:cubicBezTo>
                    <a:pt x="0" y="21417"/>
                    <a:pt x="3190" y="14126"/>
                    <a:pt x="8658" y="8658"/>
                  </a:cubicBezTo>
                  <a:cubicBezTo>
                    <a:pt x="14126" y="3190"/>
                    <a:pt x="21416" y="0"/>
                    <a:pt x="29163" y="0"/>
                  </a:cubicBezTo>
                  <a:cubicBezTo>
                    <a:pt x="36909" y="0"/>
                    <a:pt x="44200" y="3190"/>
                    <a:pt x="49668" y="8658"/>
                  </a:cubicBezTo>
                  <a:lnTo>
                    <a:pt x="49997" y="9441"/>
                  </a:lnTo>
                  <a:lnTo>
                    <a:pt x="18945" y="54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7" name="Forme libre : forme 506">
              <a:extLst>
                <a:ext uri="{FF2B5EF4-FFF2-40B4-BE49-F238E27FC236}">
                  <a16:creationId xmlns:a16="http://schemas.microsoft.com/office/drawing/2014/main" id="{462FB9FF-D95F-4684-BB21-FBBABD5DD31F}"/>
                </a:ext>
              </a:extLst>
            </p:cNvPr>
            <p:cNvSpPr/>
            <p:nvPr/>
          </p:nvSpPr>
          <p:spPr>
            <a:xfrm rot="8716295">
              <a:off x="-30327" y="4579755"/>
              <a:ext cx="113346" cy="71024"/>
            </a:xfrm>
            <a:custGeom>
              <a:avLst/>
              <a:gdLst>
                <a:gd name="connsiteX0" fmla="*/ 0 w 113346"/>
                <a:gd name="connsiteY0" fmla="*/ 55323 h 71024"/>
                <a:gd name="connsiteX1" fmla="*/ 0 w 113346"/>
                <a:gd name="connsiteY1" fmla="*/ 0 h 71024"/>
                <a:gd name="connsiteX2" fmla="*/ 113346 w 113346"/>
                <a:gd name="connsiteY2" fmla="*/ 0 h 71024"/>
                <a:gd name="connsiteX3" fmla="*/ 64114 w 113346"/>
                <a:gd name="connsiteY3" fmla="*/ 71024 h 71024"/>
                <a:gd name="connsiteX4" fmla="*/ 69777 w 113346"/>
                <a:gd name="connsiteY4" fmla="*/ 55323 h 7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346" h="71024">
                  <a:moveTo>
                    <a:pt x="0" y="55323"/>
                  </a:moveTo>
                  <a:lnTo>
                    <a:pt x="0" y="0"/>
                  </a:lnTo>
                  <a:lnTo>
                    <a:pt x="113346" y="0"/>
                  </a:lnTo>
                  <a:lnTo>
                    <a:pt x="64114" y="71024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8" name="Forme libre : forme 507">
              <a:extLst>
                <a:ext uri="{FF2B5EF4-FFF2-40B4-BE49-F238E27FC236}">
                  <a16:creationId xmlns:a16="http://schemas.microsoft.com/office/drawing/2014/main" id="{67567764-034B-4A90-A05F-295129068706}"/>
                </a:ext>
              </a:extLst>
            </p:cNvPr>
            <p:cNvSpPr/>
            <p:nvPr/>
          </p:nvSpPr>
          <p:spPr>
            <a:xfrm rot="8716295">
              <a:off x="71262" y="47415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9" name="Forme libre : forme 508">
              <a:extLst>
                <a:ext uri="{FF2B5EF4-FFF2-40B4-BE49-F238E27FC236}">
                  <a16:creationId xmlns:a16="http://schemas.microsoft.com/office/drawing/2014/main" id="{0224BB71-E49A-401D-8E10-A43693404F59}"/>
                </a:ext>
              </a:extLst>
            </p:cNvPr>
            <p:cNvSpPr/>
            <p:nvPr/>
          </p:nvSpPr>
          <p:spPr>
            <a:xfrm rot="7484129">
              <a:off x="172059" y="493353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170341 w 203847"/>
                <a:gd name="connsiteY5" fmla="*/ 0 h 195874"/>
                <a:gd name="connsiteX6" fmla="*/ 203847 w 203847"/>
                <a:gd name="connsiteY6" fmla="*/ 48325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170341" y="0"/>
                  </a:lnTo>
                  <a:lnTo>
                    <a:pt x="203847" y="48325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0" name="Forme libre : forme 509">
              <a:extLst>
                <a:ext uri="{FF2B5EF4-FFF2-40B4-BE49-F238E27FC236}">
                  <a16:creationId xmlns:a16="http://schemas.microsoft.com/office/drawing/2014/main" id="{02C7DC92-22CE-4278-8FF3-A3AB1608AA63}"/>
                </a:ext>
              </a:extLst>
            </p:cNvPr>
            <p:cNvSpPr/>
            <p:nvPr/>
          </p:nvSpPr>
          <p:spPr>
            <a:xfrm rot="13089394">
              <a:off x="313263" y="4907079"/>
              <a:ext cx="272584" cy="221720"/>
            </a:xfrm>
            <a:custGeom>
              <a:avLst/>
              <a:gdLst>
                <a:gd name="connsiteX0" fmla="*/ 272584 w 272584"/>
                <a:gd name="connsiteY0" fmla="*/ 150928 h 221720"/>
                <a:gd name="connsiteX1" fmla="*/ 91597 w 272584"/>
                <a:gd name="connsiteY1" fmla="*/ 221557 h 221720"/>
                <a:gd name="connsiteX2" fmla="*/ 23727 w 272584"/>
                <a:gd name="connsiteY2" fmla="*/ 193967 h 221720"/>
                <a:gd name="connsiteX3" fmla="*/ 0 w 272584"/>
                <a:gd name="connsiteY3" fmla="*/ 99060 h 221720"/>
                <a:gd name="connsiteX4" fmla="*/ 0 w 272584"/>
                <a:gd name="connsiteY4" fmla="*/ 58265 h 221720"/>
                <a:gd name="connsiteX5" fmla="*/ 74157 w 272584"/>
                <a:gd name="connsiteY5" fmla="*/ 0 h 221720"/>
                <a:gd name="connsiteX6" fmla="*/ 74492 w 272584"/>
                <a:gd name="connsiteY6" fmla="*/ 46640 h 221720"/>
                <a:gd name="connsiteX7" fmla="*/ 87734 w 272584"/>
                <a:gd name="connsiteY7" fmla="*/ 138237 h 221720"/>
                <a:gd name="connsiteX8" fmla="*/ 153949 w 272584"/>
                <a:gd name="connsiteY8" fmla="*/ 174655 h 221720"/>
                <a:gd name="connsiteX9" fmla="*/ 203610 w 272584"/>
                <a:gd name="connsiteY9" fmla="*/ 165826 h 221720"/>
                <a:gd name="connsiteX10" fmla="*/ 271480 w 272584"/>
                <a:gd name="connsiteY10" fmla="*/ 138237 h 221720"/>
                <a:gd name="connsiteX11" fmla="*/ 272584 w 272584"/>
                <a:gd name="connsiteY11" fmla="*/ 145410 h 22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2584" h="221720">
                  <a:moveTo>
                    <a:pt x="272584" y="150928"/>
                  </a:moveTo>
                  <a:cubicBezTo>
                    <a:pt x="214094" y="201141"/>
                    <a:pt x="137395" y="218798"/>
                    <a:pt x="91597" y="221557"/>
                  </a:cubicBezTo>
                  <a:cubicBezTo>
                    <a:pt x="66215" y="223213"/>
                    <a:pt x="41384" y="212177"/>
                    <a:pt x="23727" y="193967"/>
                  </a:cubicBezTo>
                  <a:cubicBezTo>
                    <a:pt x="4966" y="175759"/>
                    <a:pt x="0" y="144306"/>
                    <a:pt x="0" y="99060"/>
                  </a:cubicBezTo>
                  <a:lnTo>
                    <a:pt x="0" y="58265"/>
                  </a:lnTo>
                  <a:lnTo>
                    <a:pt x="74157" y="0"/>
                  </a:lnTo>
                  <a:lnTo>
                    <a:pt x="74492" y="46640"/>
                  </a:lnTo>
                  <a:cubicBezTo>
                    <a:pt x="72836" y="77540"/>
                    <a:pt x="77802" y="108992"/>
                    <a:pt x="87734" y="138237"/>
                  </a:cubicBezTo>
                  <a:cubicBezTo>
                    <a:pt x="96563" y="162515"/>
                    <a:pt x="119186" y="174655"/>
                    <a:pt x="153949" y="174655"/>
                  </a:cubicBezTo>
                  <a:cubicBezTo>
                    <a:pt x="171055" y="174103"/>
                    <a:pt x="187608" y="170792"/>
                    <a:pt x="203610" y="165826"/>
                  </a:cubicBezTo>
                  <a:cubicBezTo>
                    <a:pt x="226785" y="158653"/>
                    <a:pt x="249409" y="149273"/>
                    <a:pt x="271480" y="138237"/>
                  </a:cubicBezTo>
                  <a:cubicBezTo>
                    <a:pt x="272032" y="140444"/>
                    <a:pt x="272584" y="143203"/>
                    <a:pt x="272584" y="1454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1" name="Forme libre : forme 510">
              <a:extLst>
                <a:ext uri="{FF2B5EF4-FFF2-40B4-BE49-F238E27FC236}">
                  <a16:creationId xmlns:a16="http://schemas.microsoft.com/office/drawing/2014/main" id="{2684AFDD-CDE2-41B8-A59C-E03D9F5FB899}"/>
                </a:ext>
              </a:extLst>
            </p:cNvPr>
            <p:cNvSpPr/>
            <p:nvPr/>
          </p:nvSpPr>
          <p:spPr>
            <a:xfrm rot="8716295">
              <a:off x="466598" y="470771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2" name="Forme libre : forme 511">
              <a:extLst>
                <a:ext uri="{FF2B5EF4-FFF2-40B4-BE49-F238E27FC236}">
                  <a16:creationId xmlns:a16="http://schemas.microsoft.com/office/drawing/2014/main" id="{874191D1-5A8A-4106-89BC-E4DE3F05FDFC}"/>
                </a:ext>
              </a:extLst>
            </p:cNvPr>
            <p:cNvSpPr/>
            <p:nvPr/>
          </p:nvSpPr>
          <p:spPr>
            <a:xfrm rot="8716295">
              <a:off x="414793" y="460412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3" name="Forme libre : forme 512">
              <a:extLst>
                <a:ext uri="{FF2B5EF4-FFF2-40B4-BE49-F238E27FC236}">
                  <a16:creationId xmlns:a16="http://schemas.microsoft.com/office/drawing/2014/main" id="{8D49479A-E710-4758-BEAF-44161F8FF530}"/>
                </a:ext>
              </a:extLst>
            </p:cNvPr>
            <p:cNvSpPr/>
            <p:nvPr/>
          </p:nvSpPr>
          <p:spPr>
            <a:xfrm rot="8716295">
              <a:off x="171547" y="46343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4" name="Forme libre : forme 513">
              <a:extLst>
                <a:ext uri="{FF2B5EF4-FFF2-40B4-BE49-F238E27FC236}">
                  <a16:creationId xmlns:a16="http://schemas.microsoft.com/office/drawing/2014/main" id="{0D3E5977-ABDE-469A-8B37-82662D2EE7DA}"/>
                </a:ext>
              </a:extLst>
            </p:cNvPr>
            <p:cNvSpPr/>
            <p:nvPr/>
          </p:nvSpPr>
          <p:spPr>
            <a:xfrm rot="8716295">
              <a:off x="348999" y="44751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528" name="Espace réservé du texte 527">
            <a:extLst>
              <a:ext uri="{FF2B5EF4-FFF2-40B4-BE49-F238E27FC236}">
                <a16:creationId xmlns:a16="http://schemas.microsoft.com/office/drawing/2014/main" id="{6A8E0876-8CB4-4156-A0C1-0BC7361D1C40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429470" y="3802408"/>
            <a:ext cx="108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29" name="Espace réservé du texte 528">
            <a:extLst>
              <a:ext uri="{FF2B5EF4-FFF2-40B4-BE49-F238E27FC236}">
                <a16:creationId xmlns:a16="http://schemas.microsoft.com/office/drawing/2014/main" id="{20C5F896-3CE3-44F8-B5B2-F667F9101641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1512561" y="3802408"/>
            <a:ext cx="108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31" name="Espace réservé du texte 530">
            <a:extLst>
              <a:ext uri="{FF2B5EF4-FFF2-40B4-BE49-F238E27FC236}">
                <a16:creationId xmlns:a16="http://schemas.microsoft.com/office/drawing/2014/main" id="{70ADA97F-36B2-42A5-9506-18C5EA9C6E0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3993" y="482179"/>
            <a:ext cx="2495932" cy="302805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24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3pPr>
            <a:lvl4pPr marL="0" indent="0">
              <a:buNone/>
              <a:defRPr sz="1000">
                <a:solidFill>
                  <a:schemeClr val="bg1"/>
                </a:solidFill>
              </a:defRPr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Niveau 2</a:t>
            </a:r>
          </a:p>
          <a:p>
            <a:pPr lvl="2"/>
            <a:r>
              <a:rPr lang="fr-FR" dirty="0"/>
              <a:t>Niveau 3</a:t>
            </a:r>
          </a:p>
          <a:p>
            <a:pPr lvl="3"/>
            <a:r>
              <a:rPr lang="fr-FR" dirty="0"/>
              <a:t>Niveau 4</a:t>
            </a:r>
          </a:p>
        </p:txBody>
      </p:sp>
      <p:sp>
        <p:nvSpPr>
          <p:cNvPr id="517" name="Espace réservé du numéro de diapositive 516">
            <a:extLst>
              <a:ext uri="{FF2B5EF4-FFF2-40B4-BE49-F238E27FC236}">
                <a16:creationId xmlns:a16="http://schemas.microsoft.com/office/drawing/2014/main" id="{D493D9E0-D7BE-4D71-A32F-50FDBE8AC3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48000" y="2811362"/>
            <a:ext cx="519702" cy="2332138"/>
          </a:xfrm>
          <a:custGeom>
            <a:avLst/>
            <a:gdLst>
              <a:gd name="connsiteX0" fmla="*/ 198551 w 519702"/>
              <a:gd name="connsiteY0" fmla="*/ 0 h 2332138"/>
              <a:gd name="connsiteX1" fmla="*/ 519702 w 519702"/>
              <a:gd name="connsiteY1" fmla="*/ 2332138 h 2332138"/>
              <a:gd name="connsiteX2" fmla="*/ 0 w 519702"/>
              <a:gd name="connsiteY2" fmla="*/ 2332138 h 2332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19702" h="2332138">
                <a:moveTo>
                  <a:pt x="198551" y="0"/>
                </a:moveTo>
                <a:lnTo>
                  <a:pt x="519702" y="2332138"/>
                </a:lnTo>
                <a:lnTo>
                  <a:pt x="0" y="233213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180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530481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ayures / Texte +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que 1">
            <a:extLst>
              <a:ext uri="{FF2B5EF4-FFF2-40B4-BE49-F238E27FC236}">
                <a16:creationId xmlns:a16="http://schemas.microsoft.com/office/drawing/2014/main" id="{66D8F75D-5A38-42AF-8BDE-EAA8F19867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3416312" cy="5143500"/>
          </a:xfrm>
          <a:prstGeom prst="rect">
            <a:avLst/>
          </a:prstGeom>
        </p:spPr>
      </p:pic>
      <p:sp>
        <p:nvSpPr>
          <p:cNvPr id="521" name="Espace réservé pour une image  520">
            <a:extLst>
              <a:ext uri="{FF2B5EF4-FFF2-40B4-BE49-F238E27FC236}">
                <a16:creationId xmlns:a16="http://schemas.microsoft.com/office/drawing/2014/main" id="{B8DAB854-64EB-4DD7-A364-5485ED453A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246551" y="-1"/>
            <a:ext cx="5897449" cy="5143501"/>
          </a:xfrm>
          <a:custGeom>
            <a:avLst/>
            <a:gdLst>
              <a:gd name="connsiteX0" fmla="*/ 0 w 6088062"/>
              <a:gd name="connsiteY0" fmla="*/ 0 h 5143501"/>
              <a:gd name="connsiteX1" fmla="*/ 6088062 w 6088062"/>
              <a:gd name="connsiteY1" fmla="*/ 0 h 5143501"/>
              <a:gd name="connsiteX2" fmla="*/ 6088062 w 6088062"/>
              <a:gd name="connsiteY2" fmla="*/ 5143501 h 5143501"/>
              <a:gd name="connsiteX3" fmla="*/ 511764 w 6088062"/>
              <a:gd name="connsiteY3" fmla="*/ 5143501 h 5143501"/>
              <a:gd name="connsiteX4" fmla="*/ 190613 w 6088062"/>
              <a:gd name="connsiteY4" fmla="*/ 2811363 h 5143501"/>
              <a:gd name="connsiteX5" fmla="*/ 429964 w 6088062"/>
              <a:gd name="connsiteY5" fmla="*/ 1 h 5143501"/>
              <a:gd name="connsiteX6" fmla="*/ 0 w 6088062"/>
              <a:gd name="connsiteY6" fmla="*/ 1 h 5143501"/>
              <a:gd name="connsiteX0" fmla="*/ 0 w 6088062"/>
              <a:gd name="connsiteY0" fmla="*/ 1 h 5143501"/>
              <a:gd name="connsiteX1" fmla="*/ 6088062 w 6088062"/>
              <a:gd name="connsiteY1" fmla="*/ 0 h 5143501"/>
              <a:gd name="connsiteX2" fmla="*/ 6088062 w 6088062"/>
              <a:gd name="connsiteY2" fmla="*/ 5143501 h 5143501"/>
              <a:gd name="connsiteX3" fmla="*/ 511764 w 6088062"/>
              <a:gd name="connsiteY3" fmla="*/ 5143501 h 5143501"/>
              <a:gd name="connsiteX4" fmla="*/ 190613 w 6088062"/>
              <a:gd name="connsiteY4" fmla="*/ 2811363 h 5143501"/>
              <a:gd name="connsiteX5" fmla="*/ 429964 w 6088062"/>
              <a:gd name="connsiteY5" fmla="*/ 1 h 5143501"/>
              <a:gd name="connsiteX6" fmla="*/ 0 w 6088062"/>
              <a:gd name="connsiteY6" fmla="*/ 1 h 5143501"/>
              <a:gd name="connsiteX0" fmla="*/ 239351 w 5897449"/>
              <a:gd name="connsiteY0" fmla="*/ 1 h 5143501"/>
              <a:gd name="connsiteX1" fmla="*/ 5897449 w 5897449"/>
              <a:gd name="connsiteY1" fmla="*/ 0 h 5143501"/>
              <a:gd name="connsiteX2" fmla="*/ 5897449 w 5897449"/>
              <a:gd name="connsiteY2" fmla="*/ 5143501 h 5143501"/>
              <a:gd name="connsiteX3" fmla="*/ 321151 w 5897449"/>
              <a:gd name="connsiteY3" fmla="*/ 5143501 h 5143501"/>
              <a:gd name="connsiteX4" fmla="*/ 0 w 5897449"/>
              <a:gd name="connsiteY4" fmla="*/ 2811363 h 5143501"/>
              <a:gd name="connsiteX5" fmla="*/ 239351 w 5897449"/>
              <a:gd name="connsiteY5" fmla="*/ 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97449" h="5143501">
                <a:moveTo>
                  <a:pt x="239351" y="1"/>
                </a:moveTo>
                <a:lnTo>
                  <a:pt x="5897449" y="0"/>
                </a:lnTo>
                <a:lnTo>
                  <a:pt x="5897449" y="5143501"/>
                </a:lnTo>
                <a:lnTo>
                  <a:pt x="321151" y="5143501"/>
                </a:lnTo>
                <a:lnTo>
                  <a:pt x="0" y="2811363"/>
                </a:lnTo>
                <a:lnTo>
                  <a:pt x="239351" y="1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528" name="Espace réservé du texte 527">
            <a:extLst>
              <a:ext uri="{FF2B5EF4-FFF2-40B4-BE49-F238E27FC236}">
                <a16:creationId xmlns:a16="http://schemas.microsoft.com/office/drawing/2014/main" id="{6A8E0876-8CB4-4156-A0C1-0BC7361D1C40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429470" y="3802408"/>
            <a:ext cx="108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29" name="Espace réservé du texte 528">
            <a:extLst>
              <a:ext uri="{FF2B5EF4-FFF2-40B4-BE49-F238E27FC236}">
                <a16:creationId xmlns:a16="http://schemas.microsoft.com/office/drawing/2014/main" id="{20C5F896-3CE3-44F8-B5B2-F667F9101641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1512561" y="3802408"/>
            <a:ext cx="108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31" name="Espace réservé du texte 530">
            <a:extLst>
              <a:ext uri="{FF2B5EF4-FFF2-40B4-BE49-F238E27FC236}">
                <a16:creationId xmlns:a16="http://schemas.microsoft.com/office/drawing/2014/main" id="{70ADA97F-36B2-42A5-9506-18C5EA9C6E0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3993" y="482179"/>
            <a:ext cx="2495932" cy="302805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24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3pPr>
            <a:lvl4pPr marL="0" indent="0">
              <a:buNone/>
              <a:defRPr sz="1000">
                <a:solidFill>
                  <a:schemeClr val="bg1"/>
                </a:solidFill>
              </a:defRPr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Niveau 2</a:t>
            </a:r>
          </a:p>
          <a:p>
            <a:pPr lvl="2"/>
            <a:r>
              <a:rPr lang="fr-FR" dirty="0"/>
              <a:t>Niveau 3</a:t>
            </a:r>
          </a:p>
          <a:p>
            <a:pPr lvl="3"/>
            <a:r>
              <a:rPr lang="fr-FR" dirty="0"/>
              <a:t>Niveau 4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29405B57-1CDE-4EE7-A0BA-3013851436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48000" y="2811362"/>
            <a:ext cx="519702" cy="2332138"/>
          </a:xfrm>
          <a:custGeom>
            <a:avLst/>
            <a:gdLst>
              <a:gd name="connsiteX0" fmla="*/ 198551 w 519702"/>
              <a:gd name="connsiteY0" fmla="*/ 0 h 2332138"/>
              <a:gd name="connsiteX1" fmla="*/ 519702 w 519702"/>
              <a:gd name="connsiteY1" fmla="*/ 2332138 h 2332138"/>
              <a:gd name="connsiteX2" fmla="*/ 0 w 519702"/>
              <a:gd name="connsiteY2" fmla="*/ 2332138 h 2332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19702" h="2332138">
                <a:moveTo>
                  <a:pt x="198551" y="0"/>
                </a:moveTo>
                <a:lnTo>
                  <a:pt x="519702" y="2332138"/>
                </a:lnTo>
                <a:lnTo>
                  <a:pt x="0" y="233213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180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4371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&amp; Réseaux sociaux - Fond foncé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Rectangle 123">
            <a:hlinkClick r:id="rId2"/>
            <a:extLst>
              <a:ext uri="{FF2B5EF4-FFF2-40B4-BE49-F238E27FC236}">
                <a16:creationId xmlns:a16="http://schemas.microsoft.com/office/drawing/2014/main" id="{35F4AE06-723F-4907-A0C1-25C2A55668EF}"/>
              </a:ext>
            </a:extLst>
          </p:cNvPr>
          <p:cNvSpPr/>
          <p:nvPr userDrawn="1"/>
        </p:nvSpPr>
        <p:spPr>
          <a:xfrm>
            <a:off x="3294590" y="1121624"/>
            <a:ext cx="90922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prstClr val="white"/>
                </a:solidFill>
              </a:rPr>
              <a:t>@</a:t>
            </a:r>
            <a:r>
              <a:rPr lang="fr-FR" sz="800" dirty="0" err="1">
                <a:solidFill>
                  <a:prstClr val="white"/>
                </a:solidFill>
              </a:rPr>
              <a:t>univbordeaux</a:t>
            </a:r>
            <a:endParaRPr lang="fr-FR" sz="800" dirty="0">
              <a:solidFill>
                <a:prstClr val="white"/>
              </a:solidFill>
            </a:endParaRPr>
          </a:p>
        </p:txBody>
      </p:sp>
      <p:pic>
        <p:nvPicPr>
          <p:cNvPr id="125" name="Graphique 124">
            <a:hlinkClick r:id="rId2"/>
            <a:extLst>
              <a:ext uri="{FF2B5EF4-FFF2-40B4-BE49-F238E27FC236}">
                <a16:creationId xmlns:a16="http://schemas.microsoft.com/office/drawing/2014/main" id="{C6FD32D5-7851-419E-B042-2C17E6452CA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69202" y="702273"/>
            <a:ext cx="360000" cy="360000"/>
          </a:xfrm>
          <a:prstGeom prst="rect">
            <a:avLst/>
          </a:prstGeom>
        </p:spPr>
      </p:pic>
      <p:pic>
        <p:nvPicPr>
          <p:cNvPr id="126" name="Graphique 125">
            <a:hlinkClick r:id="rId5"/>
            <a:extLst>
              <a:ext uri="{FF2B5EF4-FFF2-40B4-BE49-F238E27FC236}">
                <a16:creationId xmlns:a16="http://schemas.microsoft.com/office/drawing/2014/main" id="{AC4BA783-078F-4C6E-BE4E-E143E9F636D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894972" y="702273"/>
            <a:ext cx="360000" cy="360000"/>
          </a:xfrm>
          <a:prstGeom prst="rect">
            <a:avLst/>
          </a:prstGeom>
        </p:spPr>
      </p:pic>
      <p:sp>
        <p:nvSpPr>
          <p:cNvPr id="127" name="Rectangle 126">
            <a:hlinkClick r:id="rId5"/>
            <a:extLst>
              <a:ext uri="{FF2B5EF4-FFF2-40B4-BE49-F238E27FC236}">
                <a16:creationId xmlns:a16="http://schemas.microsoft.com/office/drawing/2014/main" id="{0DEFADA8-A00E-42F6-AAA8-08025CB38A01}"/>
              </a:ext>
            </a:extLst>
          </p:cNvPr>
          <p:cNvSpPr/>
          <p:nvPr userDrawn="1"/>
        </p:nvSpPr>
        <p:spPr>
          <a:xfrm>
            <a:off x="6620360" y="1121624"/>
            <a:ext cx="90922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prstClr val="white"/>
                </a:solidFill>
              </a:rPr>
              <a:t>@</a:t>
            </a:r>
            <a:r>
              <a:rPr lang="fr-FR" sz="800" dirty="0" err="1">
                <a:solidFill>
                  <a:prstClr val="white"/>
                </a:solidFill>
              </a:rPr>
              <a:t>univbordeaux</a:t>
            </a:r>
            <a:endParaRPr lang="fr-FR" sz="800" dirty="0">
              <a:solidFill>
                <a:prstClr val="white"/>
              </a:solidFill>
            </a:endParaRPr>
          </a:p>
        </p:txBody>
      </p:sp>
      <p:sp>
        <p:nvSpPr>
          <p:cNvPr id="128" name="Rectangle 127">
            <a:hlinkClick r:id="rId8"/>
            <a:extLst>
              <a:ext uri="{FF2B5EF4-FFF2-40B4-BE49-F238E27FC236}">
                <a16:creationId xmlns:a16="http://schemas.microsoft.com/office/drawing/2014/main" id="{43060483-BA3F-4429-9DB5-CBA75DDBC66C}"/>
              </a:ext>
            </a:extLst>
          </p:cNvPr>
          <p:cNvSpPr/>
          <p:nvPr userDrawn="1"/>
        </p:nvSpPr>
        <p:spPr>
          <a:xfrm>
            <a:off x="2277866" y="2154670"/>
            <a:ext cx="127631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prstClr val="white"/>
                </a:solidFill>
              </a:rPr>
              <a:t>@</a:t>
            </a:r>
            <a:r>
              <a:rPr lang="fr-FR" sz="800" dirty="0" err="1">
                <a:solidFill>
                  <a:prstClr val="white"/>
                </a:solidFill>
              </a:rPr>
              <a:t>universitedebordeaux</a:t>
            </a:r>
            <a:endParaRPr lang="fr-FR" sz="800" dirty="0">
              <a:solidFill>
                <a:prstClr val="white"/>
              </a:solidFill>
            </a:endParaRPr>
          </a:p>
        </p:txBody>
      </p:sp>
      <p:pic>
        <p:nvPicPr>
          <p:cNvPr id="129" name="Graphique 128">
            <a:hlinkClick r:id="rId8"/>
            <a:extLst>
              <a:ext uri="{FF2B5EF4-FFF2-40B4-BE49-F238E27FC236}">
                <a16:creationId xmlns:a16="http://schemas.microsoft.com/office/drawing/2014/main" id="{64F997C0-D043-4AC6-968A-B1C30BBB2282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736022" y="1735319"/>
            <a:ext cx="360000" cy="360000"/>
          </a:xfrm>
          <a:prstGeom prst="rect">
            <a:avLst/>
          </a:prstGeom>
        </p:spPr>
      </p:pic>
      <p:pic>
        <p:nvPicPr>
          <p:cNvPr id="130" name="Graphique 129">
            <a:hlinkClick r:id="rId11"/>
            <a:extLst>
              <a:ext uri="{FF2B5EF4-FFF2-40B4-BE49-F238E27FC236}">
                <a16:creationId xmlns:a16="http://schemas.microsoft.com/office/drawing/2014/main" id="{83FCBC0C-46CD-4319-932E-4A574B930242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232820" y="702273"/>
            <a:ext cx="360000" cy="360000"/>
          </a:xfrm>
          <a:prstGeom prst="rect">
            <a:avLst/>
          </a:prstGeom>
        </p:spPr>
      </p:pic>
      <p:pic>
        <p:nvPicPr>
          <p:cNvPr id="131" name="Graphique 130">
            <a:hlinkClick r:id="rId14"/>
            <a:extLst>
              <a:ext uri="{FF2B5EF4-FFF2-40B4-BE49-F238E27FC236}">
                <a16:creationId xmlns:a16="http://schemas.microsoft.com/office/drawing/2014/main" id="{1819CD89-E770-4FC4-A88B-BD521AE63294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904363" y="702273"/>
            <a:ext cx="360000" cy="360000"/>
          </a:xfrm>
          <a:prstGeom prst="rect">
            <a:avLst/>
          </a:prstGeom>
        </p:spPr>
      </p:pic>
      <p:sp>
        <p:nvSpPr>
          <p:cNvPr id="132" name="Rectangle 131">
            <a:hlinkClick r:id="rId14"/>
            <a:extLst>
              <a:ext uri="{FF2B5EF4-FFF2-40B4-BE49-F238E27FC236}">
                <a16:creationId xmlns:a16="http://schemas.microsoft.com/office/drawing/2014/main" id="{FD3B5232-D5E9-44F0-9C33-33247F54B052}"/>
              </a:ext>
            </a:extLst>
          </p:cNvPr>
          <p:cNvSpPr/>
          <p:nvPr userDrawn="1"/>
        </p:nvSpPr>
        <p:spPr>
          <a:xfrm>
            <a:off x="1560019" y="1121624"/>
            <a:ext cx="104868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prstClr val="white"/>
                </a:solidFill>
              </a:rPr>
              <a:t>www.u-bordeaux.fr</a:t>
            </a:r>
          </a:p>
        </p:txBody>
      </p:sp>
      <p:pic>
        <p:nvPicPr>
          <p:cNvPr id="133" name="Graphique 132">
            <a:hlinkClick r:id="rId17"/>
            <a:extLst>
              <a:ext uri="{FF2B5EF4-FFF2-40B4-BE49-F238E27FC236}">
                <a16:creationId xmlns:a16="http://schemas.microsoft.com/office/drawing/2014/main" id="{5E1444FE-01A7-45A1-BCDA-AF5DE3864777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060942" y="1735319"/>
            <a:ext cx="360000" cy="360000"/>
          </a:xfrm>
          <a:prstGeom prst="rect">
            <a:avLst/>
          </a:prstGeom>
        </p:spPr>
      </p:pic>
      <p:pic>
        <p:nvPicPr>
          <p:cNvPr id="134" name="Graphique 133">
            <a:extLst>
              <a:ext uri="{FF2B5EF4-FFF2-40B4-BE49-F238E27FC236}">
                <a16:creationId xmlns:a16="http://schemas.microsoft.com/office/drawing/2014/main" id="{AE8061E4-BB31-415B-8A63-EE72EEB79D9C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4400221" y="1735319"/>
            <a:ext cx="360000" cy="360000"/>
          </a:xfrm>
          <a:prstGeom prst="rect">
            <a:avLst/>
          </a:prstGeom>
        </p:spPr>
      </p:pic>
      <p:sp>
        <p:nvSpPr>
          <p:cNvPr id="135" name="Rectangle 134">
            <a:extLst>
              <a:ext uri="{FF2B5EF4-FFF2-40B4-BE49-F238E27FC236}">
                <a16:creationId xmlns:a16="http://schemas.microsoft.com/office/drawing/2014/main" id="{C8AD63C4-784A-4776-9B5D-FA8BD25ACF8C}"/>
              </a:ext>
            </a:extLst>
          </p:cNvPr>
          <p:cNvSpPr/>
          <p:nvPr userDrawn="1"/>
        </p:nvSpPr>
        <p:spPr>
          <a:xfrm>
            <a:off x="4029281" y="2154670"/>
            <a:ext cx="108876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prstClr val="white"/>
                </a:solidFill>
              </a:rPr>
              <a:t>Appli mobile </a:t>
            </a:r>
            <a:r>
              <a:rPr lang="fr-FR" sz="800" dirty="0" err="1">
                <a:solidFill>
                  <a:prstClr val="white"/>
                </a:solidFill>
              </a:rPr>
              <a:t>U&amp;me</a:t>
            </a:r>
            <a:endParaRPr lang="fr-FR" sz="800" dirty="0">
              <a:solidFill>
                <a:prstClr val="white"/>
              </a:solidFill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26C582E0-BC44-4452-B431-ACC02FF3B9A7}"/>
              </a:ext>
            </a:extLst>
          </p:cNvPr>
          <p:cNvSpPr/>
          <p:nvPr userDrawn="1"/>
        </p:nvSpPr>
        <p:spPr>
          <a:xfrm>
            <a:off x="5780492" y="2154670"/>
            <a:ext cx="90922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prstClr val="white"/>
                </a:solidFill>
              </a:rPr>
              <a:t>@</a:t>
            </a:r>
            <a:r>
              <a:rPr lang="fr-FR" sz="800" dirty="0" err="1">
                <a:solidFill>
                  <a:prstClr val="white"/>
                </a:solidFill>
              </a:rPr>
              <a:t>univbordeaux</a:t>
            </a:r>
            <a:endParaRPr lang="fr-FR" sz="800" dirty="0">
              <a:solidFill>
                <a:prstClr val="white"/>
              </a:solidFill>
            </a:endParaRPr>
          </a:p>
        </p:txBody>
      </p:sp>
      <p:sp>
        <p:nvSpPr>
          <p:cNvPr id="137" name="Rectangle 136">
            <a:hlinkClick r:id="rId11"/>
            <a:extLst>
              <a:ext uri="{FF2B5EF4-FFF2-40B4-BE49-F238E27FC236}">
                <a16:creationId xmlns:a16="http://schemas.microsoft.com/office/drawing/2014/main" id="{191CC0A6-AEB3-4CFD-B3D3-4BB18C95F655}"/>
              </a:ext>
            </a:extLst>
          </p:cNvPr>
          <p:cNvSpPr/>
          <p:nvPr userDrawn="1"/>
        </p:nvSpPr>
        <p:spPr>
          <a:xfrm>
            <a:off x="4774665" y="1121624"/>
            <a:ext cx="127631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prstClr val="white"/>
                </a:solidFill>
              </a:rPr>
              <a:t>@</a:t>
            </a:r>
            <a:r>
              <a:rPr lang="fr-FR" sz="800" dirty="0" err="1">
                <a:solidFill>
                  <a:prstClr val="white"/>
                </a:solidFill>
              </a:rPr>
              <a:t>universitedebordeaux</a:t>
            </a:r>
            <a:endParaRPr lang="fr-FR" sz="800" dirty="0">
              <a:solidFill>
                <a:prstClr val="white"/>
              </a:solidFill>
            </a:endParaRPr>
          </a:p>
        </p:txBody>
      </p:sp>
      <p:pic>
        <p:nvPicPr>
          <p:cNvPr id="139" name="Graphique 138">
            <a:extLst>
              <a:ext uri="{FF2B5EF4-FFF2-40B4-BE49-F238E27FC236}">
                <a16:creationId xmlns:a16="http://schemas.microsoft.com/office/drawing/2014/main" id="{79773E20-FDC7-4245-9634-08A0DCC6FE2D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3242261" y="3601712"/>
            <a:ext cx="2659479" cy="793651"/>
          </a:xfrm>
          <a:prstGeom prst="rect">
            <a:avLst/>
          </a:prstGeom>
        </p:spPr>
      </p:pic>
      <p:sp>
        <p:nvSpPr>
          <p:cNvPr id="141" name="Espace réservé du texte 140">
            <a:extLst>
              <a:ext uri="{FF2B5EF4-FFF2-40B4-BE49-F238E27FC236}">
                <a16:creationId xmlns:a16="http://schemas.microsoft.com/office/drawing/2014/main" id="{EE880427-05D3-40E0-A2B2-744B3528ADE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4417" y="2973427"/>
            <a:ext cx="5915166" cy="31393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algn="ctr" defTabSz="457200">
              <a:buNone/>
              <a:defRPr lang="fr-FR" sz="1600" b="1" dirty="0" smtClean="0">
                <a:solidFill>
                  <a:schemeClr val="bg1"/>
                </a:solidFill>
              </a:defRPr>
            </a:lvl1pPr>
          </a:lstStyle>
          <a:p>
            <a:pPr marL="0" lvl="0" algn="ctr" defTabSz="457200"/>
            <a:r>
              <a:rPr lang="fr-FR" dirty="0"/>
              <a:t>Message / remerciement</a:t>
            </a:r>
          </a:p>
        </p:txBody>
      </p:sp>
      <p:sp>
        <p:nvSpPr>
          <p:cNvPr id="144" name="Espace réservé du texte 143">
            <a:extLst>
              <a:ext uri="{FF2B5EF4-FFF2-40B4-BE49-F238E27FC236}">
                <a16:creationId xmlns:a16="http://schemas.microsoft.com/office/drawing/2014/main" id="{C20905A2-6F02-47AA-AF2E-63158D48679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5689" y="1"/>
            <a:ext cx="457523" cy="2017735"/>
          </a:xfrm>
          <a:custGeom>
            <a:avLst/>
            <a:gdLst>
              <a:gd name="connsiteX0" fmla="*/ 0 w 457523"/>
              <a:gd name="connsiteY0" fmla="*/ 0 h 2017735"/>
              <a:gd name="connsiteX1" fmla="*/ 275802 w 457523"/>
              <a:gd name="connsiteY1" fmla="*/ 0 h 2017735"/>
              <a:gd name="connsiteX2" fmla="*/ 457523 w 457523"/>
              <a:gd name="connsiteY2" fmla="*/ 0 h 2017735"/>
              <a:gd name="connsiteX3" fmla="*/ 179667 w 457523"/>
              <a:gd name="connsiteY3" fmla="*/ 2017735 h 2017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7523" h="2017735">
                <a:moveTo>
                  <a:pt x="0" y="0"/>
                </a:moveTo>
                <a:lnTo>
                  <a:pt x="275802" y="0"/>
                </a:lnTo>
                <a:lnTo>
                  <a:pt x="457523" y="0"/>
                </a:lnTo>
                <a:lnTo>
                  <a:pt x="179667" y="2017735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grpSp>
        <p:nvGrpSpPr>
          <p:cNvPr id="267" name="Groupe 266">
            <a:extLst>
              <a:ext uri="{FF2B5EF4-FFF2-40B4-BE49-F238E27FC236}">
                <a16:creationId xmlns:a16="http://schemas.microsoft.com/office/drawing/2014/main" id="{5E1891F2-FAFB-45B7-ADB0-B4532A71DEC4}"/>
              </a:ext>
            </a:extLst>
          </p:cNvPr>
          <p:cNvGrpSpPr/>
          <p:nvPr userDrawn="1"/>
        </p:nvGrpSpPr>
        <p:grpSpPr>
          <a:xfrm flipV="1">
            <a:off x="-91485" y="12467"/>
            <a:ext cx="1008300" cy="5190499"/>
            <a:chOff x="-91485" y="-57106"/>
            <a:chExt cx="1008300" cy="5190499"/>
          </a:xfrm>
          <a:solidFill>
            <a:schemeClr val="bg2">
              <a:alpha val="10000"/>
            </a:schemeClr>
          </a:solidFill>
        </p:grpSpPr>
        <p:sp>
          <p:nvSpPr>
            <p:cNvPr id="268" name="Forme libre : forme 267">
              <a:extLst>
                <a:ext uri="{FF2B5EF4-FFF2-40B4-BE49-F238E27FC236}">
                  <a16:creationId xmlns:a16="http://schemas.microsoft.com/office/drawing/2014/main" id="{73F747AB-BDD9-4153-8A0F-81B6FADAE149}"/>
                </a:ext>
              </a:extLst>
            </p:cNvPr>
            <p:cNvSpPr/>
            <p:nvPr/>
          </p:nvSpPr>
          <p:spPr>
            <a:xfrm rot="8716295">
              <a:off x="617786" y="1780350"/>
              <a:ext cx="152726" cy="195873"/>
            </a:xfrm>
            <a:custGeom>
              <a:avLst/>
              <a:gdLst>
                <a:gd name="connsiteX0" fmla="*/ 39589 w 152726"/>
                <a:gd name="connsiteY0" fmla="*/ 195873 h 195873"/>
                <a:gd name="connsiteX1" fmla="*/ 0 w 152726"/>
                <a:gd name="connsiteY1" fmla="*/ 122219 h 195873"/>
                <a:gd name="connsiteX2" fmla="*/ 101089 w 152726"/>
                <a:gd name="connsiteY2" fmla="*/ 0 h 195873"/>
                <a:gd name="connsiteX3" fmla="*/ 152726 w 152726"/>
                <a:gd name="connsiteY3" fmla="*/ 0 h 195873"/>
                <a:gd name="connsiteX4" fmla="*/ 152726 w 152726"/>
                <a:gd name="connsiteY4" fmla="*/ 55323 h 195873"/>
                <a:gd name="connsiteX5" fmla="*/ 87934 w 152726"/>
                <a:gd name="connsiteY5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726" h="195873">
                  <a:moveTo>
                    <a:pt x="39589" y="195873"/>
                  </a:moveTo>
                  <a:lnTo>
                    <a:pt x="0" y="122219"/>
                  </a:lnTo>
                  <a:lnTo>
                    <a:pt x="101089" y="0"/>
                  </a:lnTo>
                  <a:lnTo>
                    <a:pt x="152726" y="0"/>
                  </a:lnTo>
                  <a:lnTo>
                    <a:pt x="152726" y="55323"/>
                  </a:lnTo>
                  <a:lnTo>
                    <a:pt x="87934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" name="Forme libre : forme 268">
              <a:extLst>
                <a:ext uri="{FF2B5EF4-FFF2-40B4-BE49-F238E27FC236}">
                  <a16:creationId xmlns:a16="http://schemas.microsoft.com/office/drawing/2014/main" id="{ABB68B3A-64E8-421E-A122-56A45C711E07}"/>
                </a:ext>
              </a:extLst>
            </p:cNvPr>
            <p:cNvSpPr/>
            <p:nvPr/>
          </p:nvSpPr>
          <p:spPr>
            <a:xfrm rot="8716295">
              <a:off x="534441" y="1654353"/>
              <a:ext cx="262864" cy="103234"/>
            </a:xfrm>
            <a:custGeom>
              <a:avLst/>
              <a:gdLst>
                <a:gd name="connsiteX0" fmla="*/ 0 w 262864"/>
                <a:gd name="connsiteY0" fmla="*/ 75341 h 103234"/>
                <a:gd name="connsiteX1" fmla="*/ 62316 w 262864"/>
                <a:gd name="connsiteY1" fmla="*/ 0 h 103234"/>
                <a:gd name="connsiteX2" fmla="*/ 65768 w 262864"/>
                <a:gd name="connsiteY2" fmla="*/ 14220 h 103234"/>
                <a:gd name="connsiteX3" fmla="*/ 136369 w 262864"/>
                <a:gd name="connsiteY3" fmla="*/ 53051 h 103234"/>
                <a:gd name="connsiteX4" fmla="*/ 189321 w 262864"/>
                <a:gd name="connsiteY4" fmla="*/ 43637 h 103234"/>
                <a:gd name="connsiteX5" fmla="*/ 261688 w 262864"/>
                <a:gd name="connsiteY5" fmla="*/ 14220 h 103234"/>
                <a:gd name="connsiteX6" fmla="*/ 262864 w 262864"/>
                <a:gd name="connsiteY6" fmla="*/ 21868 h 103234"/>
                <a:gd name="connsiteX7" fmla="*/ 262864 w 262864"/>
                <a:gd name="connsiteY7" fmla="*/ 27752 h 103234"/>
                <a:gd name="connsiteX8" fmla="*/ 69887 w 262864"/>
                <a:gd name="connsiteY8" fmla="*/ 103060 h 103234"/>
                <a:gd name="connsiteX9" fmla="*/ 30615 w 262864"/>
                <a:gd name="connsiteY9" fmla="*/ 96294 h 103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2864" h="103234">
                  <a:moveTo>
                    <a:pt x="0" y="75341"/>
                  </a:moveTo>
                  <a:lnTo>
                    <a:pt x="62316" y="0"/>
                  </a:lnTo>
                  <a:lnTo>
                    <a:pt x="65768" y="14220"/>
                  </a:lnTo>
                  <a:cubicBezTo>
                    <a:pt x="75182" y="40107"/>
                    <a:pt x="99304" y="53051"/>
                    <a:pt x="136369" y="53051"/>
                  </a:cubicBezTo>
                  <a:cubicBezTo>
                    <a:pt x="154609" y="52462"/>
                    <a:pt x="172259" y="48932"/>
                    <a:pt x="189321" y="43637"/>
                  </a:cubicBezTo>
                  <a:cubicBezTo>
                    <a:pt x="214031" y="35988"/>
                    <a:pt x="238154" y="25987"/>
                    <a:pt x="261688" y="14220"/>
                  </a:cubicBezTo>
                  <a:cubicBezTo>
                    <a:pt x="262276" y="16573"/>
                    <a:pt x="262864" y="19515"/>
                    <a:pt x="262864" y="21868"/>
                  </a:cubicBezTo>
                  <a:lnTo>
                    <a:pt x="262864" y="27752"/>
                  </a:lnTo>
                  <a:cubicBezTo>
                    <a:pt x="200500" y="81291"/>
                    <a:pt x="118719" y="100119"/>
                    <a:pt x="69887" y="103060"/>
                  </a:cubicBezTo>
                  <a:cubicBezTo>
                    <a:pt x="56355" y="103943"/>
                    <a:pt x="42970" y="101442"/>
                    <a:pt x="30615" y="9629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0" name="Forme libre : forme 269">
              <a:extLst>
                <a:ext uri="{FF2B5EF4-FFF2-40B4-BE49-F238E27FC236}">
                  <a16:creationId xmlns:a16="http://schemas.microsoft.com/office/drawing/2014/main" id="{053D4FF2-A9EA-4185-9507-77A0BB17DB0B}"/>
                </a:ext>
              </a:extLst>
            </p:cNvPr>
            <p:cNvSpPr/>
            <p:nvPr/>
          </p:nvSpPr>
          <p:spPr>
            <a:xfrm rot="8716295">
              <a:off x="632719" y="1232432"/>
              <a:ext cx="121558" cy="232388"/>
            </a:xfrm>
            <a:custGeom>
              <a:avLst/>
              <a:gdLst>
                <a:gd name="connsiteX0" fmla="*/ 60499 w 121558"/>
                <a:gd name="connsiteY0" fmla="*/ 232388 h 232388"/>
                <a:gd name="connsiteX1" fmla="*/ 60499 w 121558"/>
                <a:gd name="connsiteY1" fmla="*/ 69717 h 232388"/>
                <a:gd name="connsiteX2" fmla="*/ 60499 w 121558"/>
                <a:gd name="connsiteY2" fmla="*/ 65615 h 232388"/>
                <a:gd name="connsiteX3" fmla="*/ 39995 w 121558"/>
                <a:gd name="connsiteY3" fmla="*/ 50123 h 232388"/>
                <a:gd name="connsiteX4" fmla="*/ 0 w 121558"/>
                <a:gd name="connsiteY4" fmla="*/ 50123 h 232388"/>
                <a:gd name="connsiteX5" fmla="*/ 41457 w 121558"/>
                <a:gd name="connsiteY5" fmla="*/ 0 h 232388"/>
                <a:gd name="connsiteX6" fmla="*/ 64601 w 121558"/>
                <a:gd name="connsiteY6" fmla="*/ 0 h 232388"/>
                <a:gd name="connsiteX7" fmla="*/ 121558 w 121558"/>
                <a:gd name="connsiteY7" fmla="*/ 50123 h 232388"/>
                <a:gd name="connsiteX8" fmla="*/ 121558 w 121558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558" h="232388">
                  <a:moveTo>
                    <a:pt x="60499" y="232388"/>
                  </a:moveTo>
                  <a:lnTo>
                    <a:pt x="60499" y="69717"/>
                  </a:lnTo>
                  <a:cubicBezTo>
                    <a:pt x="60499" y="68349"/>
                    <a:pt x="60499" y="66983"/>
                    <a:pt x="60499" y="65615"/>
                  </a:cubicBezTo>
                  <a:cubicBezTo>
                    <a:pt x="59133" y="55591"/>
                    <a:pt x="50019" y="48756"/>
                    <a:pt x="39995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64601" y="0"/>
                  </a:lnTo>
                  <a:cubicBezTo>
                    <a:pt x="101509" y="0"/>
                    <a:pt x="121558" y="15948"/>
                    <a:pt x="121558" y="50123"/>
                  </a:cubicBezTo>
                  <a:lnTo>
                    <a:pt x="121558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1" name="Forme libre : forme 270">
              <a:extLst>
                <a:ext uri="{FF2B5EF4-FFF2-40B4-BE49-F238E27FC236}">
                  <a16:creationId xmlns:a16="http://schemas.microsoft.com/office/drawing/2014/main" id="{79A1F7C8-13AC-4C12-A1FD-013BA48F78A7}"/>
                </a:ext>
              </a:extLst>
            </p:cNvPr>
            <p:cNvSpPr/>
            <p:nvPr/>
          </p:nvSpPr>
          <p:spPr>
            <a:xfrm rot="8716295">
              <a:off x="763454" y="1474783"/>
              <a:ext cx="14143" cy="14319"/>
            </a:xfrm>
            <a:custGeom>
              <a:avLst/>
              <a:gdLst>
                <a:gd name="connsiteX0" fmla="*/ 0 w 14143"/>
                <a:gd name="connsiteY0" fmla="*/ 14319 h 14319"/>
                <a:gd name="connsiteX1" fmla="*/ 11843 w 14143"/>
                <a:gd name="connsiteY1" fmla="*/ 0 h 14319"/>
                <a:gd name="connsiteX2" fmla="*/ 14143 w 14143"/>
                <a:gd name="connsiteY2" fmla="*/ 7563 h 14319"/>
                <a:gd name="connsiteX3" fmla="*/ 14143 w 14143"/>
                <a:gd name="connsiteY3" fmla="*/ 13487 h 1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43" h="14319">
                  <a:moveTo>
                    <a:pt x="0" y="14319"/>
                  </a:moveTo>
                  <a:lnTo>
                    <a:pt x="11843" y="0"/>
                  </a:lnTo>
                  <a:lnTo>
                    <a:pt x="14143" y="7563"/>
                  </a:lnTo>
                  <a:lnTo>
                    <a:pt x="14143" y="1348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2" name="Forme libre : forme 271">
              <a:extLst>
                <a:ext uri="{FF2B5EF4-FFF2-40B4-BE49-F238E27FC236}">
                  <a16:creationId xmlns:a16="http://schemas.microsoft.com/office/drawing/2014/main" id="{C3E454D8-15B4-4672-8FB0-B86B805165E6}"/>
                </a:ext>
              </a:extLst>
            </p:cNvPr>
            <p:cNvSpPr/>
            <p:nvPr/>
          </p:nvSpPr>
          <p:spPr>
            <a:xfrm rot="8716295">
              <a:off x="672878" y="1171577"/>
              <a:ext cx="183964" cy="137618"/>
            </a:xfrm>
            <a:custGeom>
              <a:avLst/>
              <a:gdLst>
                <a:gd name="connsiteX0" fmla="*/ 0 w 183964"/>
                <a:gd name="connsiteY0" fmla="*/ 137618 h 137618"/>
                <a:gd name="connsiteX1" fmla="*/ 53346 w 183964"/>
                <a:gd name="connsiteY1" fmla="*/ 73121 h 137618"/>
                <a:gd name="connsiteX2" fmla="*/ 101034 w 183964"/>
                <a:gd name="connsiteY2" fmla="*/ 28251 h 137618"/>
                <a:gd name="connsiteX3" fmla="*/ 155713 w 183964"/>
                <a:gd name="connsiteY3" fmla="*/ 0 h 137618"/>
                <a:gd name="connsiteX4" fmla="*/ 183964 w 183964"/>
                <a:gd name="connsiteY4" fmla="*/ 33719 h 137618"/>
                <a:gd name="connsiteX5" fmla="*/ 157536 w 183964"/>
                <a:gd name="connsiteY5" fmla="*/ 69261 h 137618"/>
                <a:gd name="connsiteX6" fmla="*/ 157991 w 183964"/>
                <a:gd name="connsiteY6" fmla="*/ 69261 h 137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3964" h="137618">
                  <a:moveTo>
                    <a:pt x="0" y="137618"/>
                  </a:moveTo>
                  <a:lnTo>
                    <a:pt x="53346" y="73121"/>
                  </a:lnTo>
                  <a:lnTo>
                    <a:pt x="101034" y="28251"/>
                  </a:lnTo>
                  <a:cubicBezTo>
                    <a:pt x="114703" y="12303"/>
                    <a:pt x="134297" y="2278"/>
                    <a:pt x="155713" y="0"/>
                  </a:cubicBezTo>
                  <a:cubicBezTo>
                    <a:pt x="177585" y="0"/>
                    <a:pt x="183964" y="19138"/>
                    <a:pt x="183964" y="33719"/>
                  </a:cubicBezTo>
                  <a:cubicBezTo>
                    <a:pt x="182597" y="49667"/>
                    <a:pt x="172117" y="62881"/>
                    <a:pt x="157536" y="69261"/>
                  </a:cubicBezTo>
                  <a:lnTo>
                    <a:pt x="157991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3" name="Forme libre : forme 272">
              <a:extLst>
                <a:ext uri="{FF2B5EF4-FFF2-40B4-BE49-F238E27FC236}">
                  <a16:creationId xmlns:a16="http://schemas.microsoft.com/office/drawing/2014/main" id="{9C05EADF-BE0D-49AA-B420-B1EB4831C5FE}"/>
                </a:ext>
              </a:extLst>
            </p:cNvPr>
            <p:cNvSpPr/>
            <p:nvPr/>
          </p:nvSpPr>
          <p:spPr>
            <a:xfrm rot="8716295">
              <a:off x="519479" y="13148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4" name="Forme libre : forme 273">
              <a:extLst>
                <a:ext uri="{FF2B5EF4-FFF2-40B4-BE49-F238E27FC236}">
                  <a16:creationId xmlns:a16="http://schemas.microsoft.com/office/drawing/2014/main" id="{AB241E56-80DB-4C03-BDCB-013736737321}"/>
                </a:ext>
              </a:extLst>
            </p:cNvPr>
            <p:cNvSpPr/>
            <p:nvPr/>
          </p:nvSpPr>
          <p:spPr>
            <a:xfrm rot="8716295">
              <a:off x="394576" y="11061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5" name="Forme libre : forme 274">
              <a:extLst>
                <a:ext uri="{FF2B5EF4-FFF2-40B4-BE49-F238E27FC236}">
                  <a16:creationId xmlns:a16="http://schemas.microsoft.com/office/drawing/2014/main" id="{E447AC23-F520-414E-AA97-1E8F359564D9}"/>
                </a:ext>
              </a:extLst>
            </p:cNvPr>
            <p:cNvSpPr/>
            <p:nvPr/>
          </p:nvSpPr>
          <p:spPr>
            <a:xfrm rot="8716295">
              <a:off x="382524" y="96739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6" name="Forme libre : forme 275">
              <a:extLst>
                <a:ext uri="{FF2B5EF4-FFF2-40B4-BE49-F238E27FC236}">
                  <a16:creationId xmlns:a16="http://schemas.microsoft.com/office/drawing/2014/main" id="{64C6C88C-FD82-456D-9665-DF0FCE0E4C47}"/>
                </a:ext>
              </a:extLst>
            </p:cNvPr>
            <p:cNvSpPr/>
            <p:nvPr/>
          </p:nvSpPr>
          <p:spPr>
            <a:xfrm rot="8716295">
              <a:off x="609657" y="135579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7" name="Forme libre : forme 276">
              <a:extLst>
                <a:ext uri="{FF2B5EF4-FFF2-40B4-BE49-F238E27FC236}">
                  <a16:creationId xmlns:a16="http://schemas.microsoft.com/office/drawing/2014/main" id="{0A77A193-F583-4928-97AF-E64E8FF6DEAD}"/>
                </a:ext>
              </a:extLst>
            </p:cNvPr>
            <p:cNvSpPr/>
            <p:nvPr/>
          </p:nvSpPr>
          <p:spPr>
            <a:xfrm rot="8716295">
              <a:off x="683426" y="869567"/>
              <a:ext cx="156000" cy="195873"/>
            </a:xfrm>
            <a:custGeom>
              <a:avLst/>
              <a:gdLst>
                <a:gd name="connsiteX0" fmla="*/ 42863 w 156000"/>
                <a:gd name="connsiteY0" fmla="*/ 195873 h 195873"/>
                <a:gd name="connsiteX1" fmla="*/ 0 w 156000"/>
                <a:gd name="connsiteY1" fmla="*/ 116129 h 195873"/>
                <a:gd name="connsiteX2" fmla="*/ 5100 w 156000"/>
                <a:gd name="connsiteY2" fmla="*/ 101988 h 195873"/>
                <a:gd name="connsiteX3" fmla="*/ 89456 w 156000"/>
                <a:gd name="connsiteY3" fmla="*/ 0 h 195873"/>
                <a:gd name="connsiteX4" fmla="*/ 156000 w 156000"/>
                <a:gd name="connsiteY4" fmla="*/ 0 h 195873"/>
                <a:gd name="connsiteX5" fmla="*/ 156000 w 156000"/>
                <a:gd name="connsiteY5" fmla="*/ 55323 h 195873"/>
                <a:gd name="connsiteX6" fmla="*/ 91208 w 156000"/>
                <a:gd name="connsiteY6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000" h="195873">
                  <a:moveTo>
                    <a:pt x="42863" y="195873"/>
                  </a:moveTo>
                  <a:lnTo>
                    <a:pt x="0" y="116129"/>
                  </a:lnTo>
                  <a:lnTo>
                    <a:pt x="5100" y="101988"/>
                  </a:lnTo>
                  <a:lnTo>
                    <a:pt x="89456" y="0"/>
                  </a:lnTo>
                  <a:lnTo>
                    <a:pt x="156000" y="0"/>
                  </a:lnTo>
                  <a:lnTo>
                    <a:pt x="156000" y="55323"/>
                  </a:lnTo>
                  <a:lnTo>
                    <a:pt x="91208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8" name="Forme libre : forme 277">
              <a:extLst>
                <a:ext uri="{FF2B5EF4-FFF2-40B4-BE49-F238E27FC236}">
                  <a16:creationId xmlns:a16="http://schemas.microsoft.com/office/drawing/2014/main" id="{CF3F0AFD-D31B-4029-B3F3-E13BB8216AB9}"/>
                </a:ext>
              </a:extLst>
            </p:cNvPr>
            <p:cNvSpPr/>
            <p:nvPr/>
          </p:nvSpPr>
          <p:spPr>
            <a:xfrm rot="8716295">
              <a:off x="657305" y="95604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9" name="Forme libre : forme 278">
              <a:extLst>
                <a:ext uri="{FF2B5EF4-FFF2-40B4-BE49-F238E27FC236}">
                  <a16:creationId xmlns:a16="http://schemas.microsoft.com/office/drawing/2014/main" id="{4E0EA875-3BAB-4BDB-A5B0-808C38082217}"/>
                </a:ext>
              </a:extLst>
            </p:cNvPr>
            <p:cNvSpPr/>
            <p:nvPr/>
          </p:nvSpPr>
          <p:spPr>
            <a:xfrm rot="8716295">
              <a:off x="412774" y="56424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0" name="Forme libre : forme 279">
              <a:extLst>
                <a:ext uri="{FF2B5EF4-FFF2-40B4-BE49-F238E27FC236}">
                  <a16:creationId xmlns:a16="http://schemas.microsoft.com/office/drawing/2014/main" id="{842C3D6E-95C4-425C-8B38-D0EBD8DBD5E5}"/>
                </a:ext>
              </a:extLst>
            </p:cNvPr>
            <p:cNvSpPr/>
            <p:nvPr/>
          </p:nvSpPr>
          <p:spPr>
            <a:xfrm rot="8716295">
              <a:off x="502166" y="59348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1" name="Forme libre : forme 280">
              <a:extLst>
                <a:ext uri="{FF2B5EF4-FFF2-40B4-BE49-F238E27FC236}">
                  <a16:creationId xmlns:a16="http://schemas.microsoft.com/office/drawing/2014/main" id="{A75BA1B9-497A-4874-9158-409D833D072A}"/>
                </a:ext>
              </a:extLst>
            </p:cNvPr>
            <p:cNvSpPr/>
            <p:nvPr/>
          </p:nvSpPr>
          <p:spPr>
            <a:xfrm rot="8716295">
              <a:off x="457316" y="50720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2" name="Forme libre : forme 281">
              <a:extLst>
                <a:ext uri="{FF2B5EF4-FFF2-40B4-BE49-F238E27FC236}">
                  <a16:creationId xmlns:a16="http://schemas.microsoft.com/office/drawing/2014/main" id="{205B75CA-6160-44CB-AE0D-8B52A04FF9B7}"/>
                </a:ext>
              </a:extLst>
            </p:cNvPr>
            <p:cNvSpPr/>
            <p:nvPr/>
          </p:nvSpPr>
          <p:spPr>
            <a:xfrm rot="8716295">
              <a:off x="300540" y="65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3" name="Forme libre : forme 282">
              <a:extLst>
                <a:ext uri="{FF2B5EF4-FFF2-40B4-BE49-F238E27FC236}">
                  <a16:creationId xmlns:a16="http://schemas.microsoft.com/office/drawing/2014/main" id="{91186326-55D6-4548-B33F-3511BC925FE8}"/>
                </a:ext>
              </a:extLst>
            </p:cNvPr>
            <p:cNvSpPr/>
            <p:nvPr/>
          </p:nvSpPr>
          <p:spPr>
            <a:xfrm rot="8716295">
              <a:off x="175637" y="44411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4" name="Forme libre : forme 283">
              <a:extLst>
                <a:ext uri="{FF2B5EF4-FFF2-40B4-BE49-F238E27FC236}">
                  <a16:creationId xmlns:a16="http://schemas.microsoft.com/office/drawing/2014/main" id="{A2ED5F31-FCDD-430A-BE16-9B1EA12A7F4F}"/>
                </a:ext>
              </a:extLst>
            </p:cNvPr>
            <p:cNvSpPr/>
            <p:nvPr/>
          </p:nvSpPr>
          <p:spPr>
            <a:xfrm rot="8716295">
              <a:off x="163585" y="30533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5" name="Forme libre : forme 284">
              <a:extLst>
                <a:ext uri="{FF2B5EF4-FFF2-40B4-BE49-F238E27FC236}">
                  <a16:creationId xmlns:a16="http://schemas.microsoft.com/office/drawing/2014/main" id="{FEC22DEA-F709-420C-A439-1AC57EB74539}"/>
                </a:ext>
              </a:extLst>
            </p:cNvPr>
            <p:cNvSpPr/>
            <p:nvPr/>
          </p:nvSpPr>
          <p:spPr>
            <a:xfrm rot="8716295">
              <a:off x="390718" y="69374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6" name="Forme libre : forme 285">
              <a:extLst>
                <a:ext uri="{FF2B5EF4-FFF2-40B4-BE49-F238E27FC236}">
                  <a16:creationId xmlns:a16="http://schemas.microsoft.com/office/drawing/2014/main" id="{4DA790D9-C5B8-43BC-8AB6-4E888B07FAC5}"/>
                </a:ext>
              </a:extLst>
            </p:cNvPr>
            <p:cNvSpPr/>
            <p:nvPr/>
          </p:nvSpPr>
          <p:spPr>
            <a:xfrm rot="8716295">
              <a:off x="702015" y="317459"/>
              <a:ext cx="131260" cy="232388"/>
            </a:xfrm>
            <a:custGeom>
              <a:avLst/>
              <a:gdLst>
                <a:gd name="connsiteX0" fmla="*/ 70201 w 131260"/>
                <a:gd name="connsiteY0" fmla="*/ 232388 h 232388"/>
                <a:gd name="connsiteX1" fmla="*/ 70201 w 131260"/>
                <a:gd name="connsiteY1" fmla="*/ 69717 h 232388"/>
                <a:gd name="connsiteX2" fmla="*/ 70201 w 131260"/>
                <a:gd name="connsiteY2" fmla="*/ 65615 h 232388"/>
                <a:gd name="connsiteX3" fmla="*/ 49697 w 131260"/>
                <a:gd name="connsiteY3" fmla="*/ 50123 h 232388"/>
                <a:gd name="connsiteX4" fmla="*/ 0 w 131260"/>
                <a:gd name="connsiteY4" fmla="*/ 50123 h 232388"/>
                <a:gd name="connsiteX5" fmla="*/ 41457 w 131260"/>
                <a:gd name="connsiteY5" fmla="*/ 0 h 232388"/>
                <a:gd name="connsiteX6" fmla="*/ 74303 w 131260"/>
                <a:gd name="connsiteY6" fmla="*/ 0 h 232388"/>
                <a:gd name="connsiteX7" fmla="*/ 131260 w 131260"/>
                <a:gd name="connsiteY7" fmla="*/ 50123 h 232388"/>
                <a:gd name="connsiteX8" fmla="*/ 131260 w 131260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1260" h="232388">
                  <a:moveTo>
                    <a:pt x="70201" y="232388"/>
                  </a:moveTo>
                  <a:lnTo>
                    <a:pt x="70201" y="69717"/>
                  </a:lnTo>
                  <a:cubicBezTo>
                    <a:pt x="70201" y="68349"/>
                    <a:pt x="70201" y="66983"/>
                    <a:pt x="70201" y="65615"/>
                  </a:cubicBezTo>
                  <a:cubicBezTo>
                    <a:pt x="68835" y="55591"/>
                    <a:pt x="59721" y="48756"/>
                    <a:pt x="49697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74303" y="0"/>
                  </a:lnTo>
                  <a:cubicBezTo>
                    <a:pt x="111211" y="0"/>
                    <a:pt x="131260" y="15948"/>
                    <a:pt x="131260" y="50123"/>
                  </a:cubicBezTo>
                  <a:lnTo>
                    <a:pt x="131260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7" name="Forme libre : forme 286">
              <a:extLst>
                <a:ext uri="{FF2B5EF4-FFF2-40B4-BE49-F238E27FC236}">
                  <a16:creationId xmlns:a16="http://schemas.microsoft.com/office/drawing/2014/main" id="{091E5F9C-73C6-4CAB-93E5-EFA60788C51C}"/>
                </a:ext>
              </a:extLst>
            </p:cNvPr>
            <p:cNvSpPr/>
            <p:nvPr/>
          </p:nvSpPr>
          <p:spPr>
            <a:xfrm rot="8716295">
              <a:off x="834978" y="558357"/>
              <a:ext cx="24341" cy="23495"/>
            </a:xfrm>
            <a:custGeom>
              <a:avLst/>
              <a:gdLst>
                <a:gd name="connsiteX0" fmla="*/ 0 w 24341"/>
                <a:gd name="connsiteY0" fmla="*/ 23495 h 23495"/>
                <a:gd name="connsiteX1" fmla="*/ 19433 w 24341"/>
                <a:gd name="connsiteY1" fmla="*/ 0 h 23495"/>
                <a:gd name="connsiteX2" fmla="*/ 24341 w 24341"/>
                <a:gd name="connsiteY2" fmla="*/ 16139 h 23495"/>
                <a:gd name="connsiteX3" fmla="*/ 24341 w 24341"/>
                <a:gd name="connsiteY3" fmla="*/ 22063 h 23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41" h="23495">
                  <a:moveTo>
                    <a:pt x="0" y="23495"/>
                  </a:moveTo>
                  <a:lnTo>
                    <a:pt x="19433" y="0"/>
                  </a:lnTo>
                  <a:lnTo>
                    <a:pt x="24341" y="16139"/>
                  </a:lnTo>
                  <a:lnTo>
                    <a:pt x="24341" y="220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8" name="Forme libre : forme 287">
              <a:extLst>
                <a:ext uri="{FF2B5EF4-FFF2-40B4-BE49-F238E27FC236}">
                  <a16:creationId xmlns:a16="http://schemas.microsoft.com/office/drawing/2014/main" id="{93F3A654-B74E-499B-8487-8A2B2CC5A0EA}"/>
                </a:ext>
              </a:extLst>
            </p:cNvPr>
            <p:cNvSpPr/>
            <p:nvPr/>
          </p:nvSpPr>
          <p:spPr>
            <a:xfrm rot="8716295">
              <a:off x="589639" y="40263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9" name="Forme libre : forme 288">
              <a:extLst>
                <a:ext uri="{FF2B5EF4-FFF2-40B4-BE49-F238E27FC236}">
                  <a16:creationId xmlns:a16="http://schemas.microsoft.com/office/drawing/2014/main" id="{D0AE4335-4774-4A5C-9D6E-6AA33670DF96}"/>
                </a:ext>
              </a:extLst>
            </p:cNvPr>
            <p:cNvSpPr/>
            <p:nvPr/>
          </p:nvSpPr>
          <p:spPr>
            <a:xfrm rot="8716295">
              <a:off x="464737" y="19396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0" name="Forme libre : forme 289">
              <a:extLst>
                <a:ext uri="{FF2B5EF4-FFF2-40B4-BE49-F238E27FC236}">
                  <a16:creationId xmlns:a16="http://schemas.microsoft.com/office/drawing/2014/main" id="{2305D91E-CF26-4028-92DC-E2D20BB482D6}"/>
                </a:ext>
              </a:extLst>
            </p:cNvPr>
            <p:cNvSpPr/>
            <p:nvPr/>
          </p:nvSpPr>
          <p:spPr>
            <a:xfrm rot="8716295">
              <a:off x="679817" y="44358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1" name="Forme libre : forme 290">
              <a:extLst>
                <a:ext uri="{FF2B5EF4-FFF2-40B4-BE49-F238E27FC236}">
                  <a16:creationId xmlns:a16="http://schemas.microsoft.com/office/drawing/2014/main" id="{DF9C8202-D29B-450E-90FF-E46CAC2E7FA2}"/>
                </a:ext>
              </a:extLst>
            </p:cNvPr>
            <p:cNvSpPr/>
            <p:nvPr/>
          </p:nvSpPr>
          <p:spPr>
            <a:xfrm rot="8716295">
              <a:off x="438366" y="29398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2" name="Forme libre : forme 291">
              <a:extLst>
                <a:ext uri="{FF2B5EF4-FFF2-40B4-BE49-F238E27FC236}">
                  <a16:creationId xmlns:a16="http://schemas.microsoft.com/office/drawing/2014/main" id="{28FFA2F5-C74D-4918-B35E-56FAFD44D7DC}"/>
                </a:ext>
              </a:extLst>
            </p:cNvPr>
            <p:cNvSpPr/>
            <p:nvPr/>
          </p:nvSpPr>
          <p:spPr>
            <a:xfrm rot="7484129">
              <a:off x="811674" y="658874"/>
              <a:ext cx="31078" cy="46141"/>
            </a:xfrm>
            <a:custGeom>
              <a:avLst/>
              <a:gdLst>
                <a:gd name="connsiteX0" fmla="*/ 15207 w 31078"/>
                <a:gd name="connsiteY0" fmla="*/ 46141 h 46141"/>
                <a:gd name="connsiteX1" fmla="*/ 0 w 31078"/>
                <a:gd name="connsiteY1" fmla="*/ 17849 h 46141"/>
                <a:gd name="connsiteX2" fmla="*/ 31078 w 31078"/>
                <a:gd name="connsiteY2" fmla="*/ 0 h 46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078" h="46141">
                  <a:moveTo>
                    <a:pt x="15207" y="46141"/>
                  </a:moveTo>
                  <a:lnTo>
                    <a:pt x="0" y="17849"/>
                  </a:lnTo>
                  <a:lnTo>
                    <a:pt x="3107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3" name="Forme libre : forme 292">
              <a:extLst>
                <a:ext uri="{FF2B5EF4-FFF2-40B4-BE49-F238E27FC236}">
                  <a16:creationId xmlns:a16="http://schemas.microsoft.com/office/drawing/2014/main" id="{F7F1B592-6665-4DA1-B454-1D5C767BA63B}"/>
                </a:ext>
              </a:extLst>
            </p:cNvPr>
            <p:cNvSpPr/>
            <p:nvPr/>
          </p:nvSpPr>
          <p:spPr>
            <a:xfrm rot="8716295">
              <a:off x="780102" y="336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4" name="Forme libre : forme 293">
              <a:extLst>
                <a:ext uri="{FF2B5EF4-FFF2-40B4-BE49-F238E27FC236}">
                  <a16:creationId xmlns:a16="http://schemas.microsoft.com/office/drawing/2014/main" id="{33626504-CACB-4364-8AA4-F28F086A7B6A}"/>
                </a:ext>
              </a:extLst>
            </p:cNvPr>
            <p:cNvSpPr/>
            <p:nvPr/>
          </p:nvSpPr>
          <p:spPr>
            <a:xfrm rot="8716295">
              <a:off x="202348" y="-57106"/>
              <a:ext cx="142167" cy="186494"/>
            </a:xfrm>
            <a:custGeom>
              <a:avLst/>
              <a:gdLst>
                <a:gd name="connsiteX0" fmla="*/ 142167 w 142167"/>
                <a:gd name="connsiteY0" fmla="*/ 186494 h 186494"/>
                <a:gd name="connsiteX1" fmla="*/ 81108 w 142167"/>
                <a:gd name="connsiteY1" fmla="*/ 144170 h 186494"/>
                <a:gd name="connsiteX2" fmla="*/ 81108 w 142167"/>
                <a:gd name="connsiteY2" fmla="*/ 69717 h 186494"/>
                <a:gd name="connsiteX3" fmla="*/ 81108 w 142167"/>
                <a:gd name="connsiteY3" fmla="*/ 65615 h 186494"/>
                <a:gd name="connsiteX4" fmla="*/ 60603 w 142167"/>
                <a:gd name="connsiteY4" fmla="*/ 50123 h 186494"/>
                <a:gd name="connsiteX5" fmla="*/ 0 w 142167"/>
                <a:gd name="connsiteY5" fmla="*/ 50123 h 186494"/>
                <a:gd name="connsiteX6" fmla="*/ 0 w 142167"/>
                <a:gd name="connsiteY6" fmla="*/ 0 h 186494"/>
                <a:gd name="connsiteX7" fmla="*/ 85209 w 142167"/>
                <a:gd name="connsiteY7" fmla="*/ 0 h 186494"/>
                <a:gd name="connsiteX8" fmla="*/ 142167 w 142167"/>
                <a:gd name="connsiteY8" fmla="*/ 50123 h 186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86494">
                  <a:moveTo>
                    <a:pt x="142167" y="186494"/>
                  </a:moveTo>
                  <a:lnTo>
                    <a:pt x="81108" y="144170"/>
                  </a:lnTo>
                  <a:lnTo>
                    <a:pt x="81108" y="69717"/>
                  </a:lnTo>
                  <a:cubicBezTo>
                    <a:pt x="81108" y="68349"/>
                    <a:pt x="81108" y="66983"/>
                    <a:pt x="81108" y="65615"/>
                  </a:cubicBezTo>
                  <a:cubicBezTo>
                    <a:pt x="79741" y="55591"/>
                    <a:pt x="70628" y="48756"/>
                    <a:pt x="60603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5" name="Forme libre : forme 294">
              <a:extLst>
                <a:ext uri="{FF2B5EF4-FFF2-40B4-BE49-F238E27FC236}">
                  <a16:creationId xmlns:a16="http://schemas.microsoft.com/office/drawing/2014/main" id="{8B9EE4C0-9C2E-42BB-B294-381EB8F6C5DA}"/>
                </a:ext>
              </a:extLst>
            </p:cNvPr>
            <p:cNvSpPr/>
            <p:nvPr/>
          </p:nvSpPr>
          <p:spPr>
            <a:xfrm rot="8716295">
              <a:off x="298766" y="-5395"/>
              <a:ext cx="260639" cy="180054"/>
            </a:xfrm>
            <a:custGeom>
              <a:avLst/>
              <a:gdLst>
                <a:gd name="connsiteX0" fmla="*/ 111638 w 260639"/>
                <a:gd name="connsiteY0" fmla="*/ 180054 h 180054"/>
                <a:gd name="connsiteX1" fmla="*/ 51490 w 260639"/>
                <a:gd name="connsiteY1" fmla="*/ 138362 h 180054"/>
                <a:gd name="connsiteX2" fmla="*/ 51490 w 260639"/>
                <a:gd name="connsiteY2" fmla="*/ 45624 h 180054"/>
                <a:gd name="connsiteX3" fmla="*/ 0 w 260639"/>
                <a:gd name="connsiteY3" fmla="*/ 45624 h 180054"/>
                <a:gd name="connsiteX4" fmla="*/ 0 w 260639"/>
                <a:gd name="connsiteY4" fmla="*/ 1425 h 180054"/>
                <a:gd name="connsiteX5" fmla="*/ 104802 w 260639"/>
                <a:gd name="connsiteY5" fmla="*/ 1425 h 180054"/>
                <a:gd name="connsiteX6" fmla="*/ 104802 w 260639"/>
                <a:gd name="connsiteY6" fmla="*/ 75242 h 180054"/>
                <a:gd name="connsiteX7" fmla="*/ 106169 w 260639"/>
                <a:gd name="connsiteY7" fmla="*/ 75242 h 180054"/>
                <a:gd name="connsiteX8" fmla="*/ 154014 w 260639"/>
                <a:gd name="connsiteY8" fmla="*/ 5981 h 180054"/>
                <a:gd name="connsiteX9" fmla="*/ 185455 w 260639"/>
                <a:gd name="connsiteY9" fmla="*/ 57 h 180054"/>
                <a:gd name="connsiteX10" fmla="*/ 260639 w 260639"/>
                <a:gd name="connsiteY10" fmla="*/ 88456 h 180054"/>
                <a:gd name="connsiteX11" fmla="*/ 260639 w 260639"/>
                <a:gd name="connsiteY11" fmla="*/ 94380 h 180054"/>
                <a:gd name="connsiteX12" fmla="*/ 198669 w 260639"/>
                <a:gd name="connsiteY12" fmla="*/ 98025 h 180054"/>
                <a:gd name="connsiteX13" fmla="*/ 198669 w 260639"/>
                <a:gd name="connsiteY13" fmla="*/ 81621 h 180054"/>
                <a:gd name="connsiteX14" fmla="*/ 164950 w 260639"/>
                <a:gd name="connsiteY14" fmla="*/ 40156 h 180054"/>
                <a:gd name="connsiteX15" fmla="*/ 111638 w 260639"/>
                <a:gd name="connsiteY15" fmla="*/ 127643 h 180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0639" h="180054">
                  <a:moveTo>
                    <a:pt x="111638" y="180054"/>
                  </a:moveTo>
                  <a:lnTo>
                    <a:pt x="51490" y="138362"/>
                  </a:ln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6" name="Forme libre : forme 295">
              <a:extLst>
                <a:ext uri="{FF2B5EF4-FFF2-40B4-BE49-F238E27FC236}">
                  <a16:creationId xmlns:a16="http://schemas.microsoft.com/office/drawing/2014/main" id="{426417CD-8FE4-43C3-B84F-A51A46F7C7B1}"/>
                </a:ext>
              </a:extLst>
            </p:cNvPr>
            <p:cNvSpPr/>
            <p:nvPr/>
          </p:nvSpPr>
          <p:spPr>
            <a:xfrm rot="8716295">
              <a:off x="276903" y="-12823"/>
              <a:ext cx="36272" cy="27982"/>
            </a:xfrm>
            <a:custGeom>
              <a:avLst/>
              <a:gdLst>
                <a:gd name="connsiteX0" fmla="*/ 36272 w 36272"/>
                <a:gd name="connsiteY0" fmla="*/ 27982 h 27982"/>
                <a:gd name="connsiteX1" fmla="*/ 0 w 36272"/>
                <a:gd name="connsiteY1" fmla="*/ 2840 h 27982"/>
                <a:gd name="connsiteX2" fmla="*/ 9543 w 36272"/>
                <a:gd name="connsiteY2" fmla="*/ 0 h 27982"/>
                <a:gd name="connsiteX3" fmla="*/ 31871 w 36272"/>
                <a:gd name="connsiteY3" fmla="*/ 11392 h 27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272" h="27982">
                  <a:moveTo>
                    <a:pt x="36272" y="27982"/>
                  </a:moveTo>
                  <a:lnTo>
                    <a:pt x="0" y="2840"/>
                  </a:lnTo>
                  <a:lnTo>
                    <a:pt x="9543" y="0"/>
                  </a:lnTo>
                  <a:cubicBezTo>
                    <a:pt x="20479" y="0"/>
                    <a:pt x="27542" y="4784"/>
                    <a:pt x="31871" y="113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7" name="Forme libre : forme 296">
              <a:extLst>
                <a:ext uri="{FF2B5EF4-FFF2-40B4-BE49-F238E27FC236}">
                  <a16:creationId xmlns:a16="http://schemas.microsoft.com/office/drawing/2014/main" id="{2194BB82-FA83-4BF9-8EBD-D8D0328F9BDF}"/>
                </a:ext>
              </a:extLst>
            </p:cNvPr>
            <p:cNvSpPr/>
            <p:nvPr/>
          </p:nvSpPr>
          <p:spPr>
            <a:xfrm rot="8716295">
              <a:off x="74640" y="-9665"/>
              <a:ext cx="58068" cy="54772"/>
            </a:xfrm>
            <a:custGeom>
              <a:avLst/>
              <a:gdLst>
                <a:gd name="connsiteX0" fmla="*/ 37436 w 58068"/>
                <a:gd name="connsiteY0" fmla="*/ 54772 h 54772"/>
                <a:gd name="connsiteX1" fmla="*/ 0 w 58068"/>
                <a:gd name="connsiteY1" fmla="*/ 28823 h 54772"/>
                <a:gd name="connsiteX2" fmla="*/ 8515 w 58068"/>
                <a:gd name="connsiteY2" fmla="*/ 8658 h 54772"/>
                <a:gd name="connsiteX3" fmla="*/ 29020 w 58068"/>
                <a:gd name="connsiteY3" fmla="*/ 0 h 54772"/>
                <a:gd name="connsiteX4" fmla="*/ 49525 w 58068"/>
                <a:gd name="connsiteY4" fmla="*/ 8658 h 54772"/>
                <a:gd name="connsiteX5" fmla="*/ 49525 w 58068"/>
                <a:gd name="connsiteY5" fmla="*/ 49668 h 5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068" h="54772">
                  <a:moveTo>
                    <a:pt x="37436" y="54772"/>
                  </a:moveTo>
                  <a:lnTo>
                    <a:pt x="0" y="28823"/>
                  </a:lnTo>
                  <a:lnTo>
                    <a:pt x="8515" y="8658"/>
                  </a:lnTo>
                  <a:cubicBezTo>
                    <a:pt x="13983" y="3190"/>
                    <a:pt x="21273" y="0"/>
                    <a:pt x="29020" y="0"/>
                  </a:cubicBezTo>
                  <a:cubicBezTo>
                    <a:pt x="36766" y="0"/>
                    <a:pt x="44057" y="3190"/>
                    <a:pt x="49525" y="8658"/>
                  </a:cubicBezTo>
                  <a:cubicBezTo>
                    <a:pt x="60916" y="19594"/>
                    <a:pt x="60916" y="38276"/>
                    <a:pt x="49525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8" name="Forme libre : forme 297">
              <a:extLst>
                <a:ext uri="{FF2B5EF4-FFF2-40B4-BE49-F238E27FC236}">
                  <a16:creationId xmlns:a16="http://schemas.microsoft.com/office/drawing/2014/main" id="{1E2DA60E-6B88-4273-B8B8-20DC571CA2F9}"/>
                </a:ext>
              </a:extLst>
            </p:cNvPr>
            <p:cNvSpPr/>
            <p:nvPr/>
          </p:nvSpPr>
          <p:spPr>
            <a:xfrm rot="8716295">
              <a:off x="13802" y="-10406"/>
              <a:ext cx="30027" cy="20814"/>
            </a:xfrm>
            <a:custGeom>
              <a:avLst/>
              <a:gdLst>
                <a:gd name="connsiteX0" fmla="*/ 30027 w 30027"/>
                <a:gd name="connsiteY0" fmla="*/ 20814 h 20814"/>
                <a:gd name="connsiteX1" fmla="*/ 0 w 30027"/>
                <a:gd name="connsiteY1" fmla="*/ 0 h 20814"/>
                <a:gd name="connsiteX2" fmla="*/ 30027 w 30027"/>
                <a:gd name="connsiteY2" fmla="*/ 0 h 20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027" h="20814">
                  <a:moveTo>
                    <a:pt x="30027" y="20814"/>
                  </a:moveTo>
                  <a:lnTo>
                    <a:pt x="0" y="0"/>
                  </a:lnTo>
                  <a:lnTo>
                    <a:pt x="3002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9" name="Forme libre : forme 298">
              <a:extLst>
                <a:ext uri="{FF2B5EF4-FFF2-40B4-BE49-F238E27FC236}">
                  <a16:creationId xmlns:a16="http://schemas.microsoft.com/office/drawing/2014/main" id="{0B53881C-9CFA-4C7A-B7BB-D045B9F708A3}"/>
                </a:ext>
              </a:extLst>
            </p:cNvPr>
            <p:cNvSpPr/>
            <p:nvPr/>
          </p:nvSpPr>
          <p:spPr>
            <a:xfrm rot="8716295">
              <a:off x="168048" y="3032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0" name="Forme libre : forme 299">
              <a:extLst>
                <a:ext uri="{FF2B5EF4-FFF2-40B4-BE49-F238E27FC236}">
                  <a16:creationId xmlns:a16="http://schemas.microsoft.com/office/drawing/2014/main" id="{07B92E1C-0CE7-4A26-8278-C39DA02570AC}"/>
                </a:ext>
              </a:extLst>
            </p:cNvPr>
            <p:cNvSpPr/>
            <p:nvPr/>
          </p:nvSpPr>
          <p:spPr>
            <a:xfrm rot="7484129">
              <a:off x="562078" y="-284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1" name="Forme libre : forme 300">
              <a:extLst>
                <a:ext uri="{FF2B5EF4-FFF2-40B4-BE49-F238E27FC236}">
                  <a16:creationId xmlns:a16="http://schemas.microsoft.com/office/drawing/2014/main" id="{CAE7423C-0BBB-4D40-8F55-D1ED03A3FDDA}"/>
                </a:ext>
              </a:extLst>
            </p:cNvPr>
            <p:cNvSpPr/>
            <p:nvPr/>
          </p:nvSpPr>
          <p:spPr>
            <a:xfrm rot="13089394">
              <a:off x="767127" y="-2787"/>
              <a:ext cx="149688" cy="301067"/>
            </a:xfrm>
            <a:custGeom>
              <a:avLst/>
              <a:gdLst>
                <a:gd name="connsiteX0" fmla="*/ 149688 w 149688"/>
                <a:gd name="connsiteY0" fmla="*/ 279622 h 301067"/>
                <a:gd name="connsiteX1" fmla="*/ 122393 w 149688"/>
                <a:gd name="connsiteY1" fmla="*/ 301067 h 301067"/>
                <a:gd name="connsiteX2" fmla="*/ 0 w 149688"/>
                <a:gd name="connsiteY2" fmla="*/ 114672 h 301067"/>
                <a:gd name="connsiteX3" fmla="*/ 0 w 149688"/>
                <a:gd name="connsiteY3" fmla="*/ 38074 h 301067"/>
                <a:gd name="connsiteX4" fmla="*/ 73388 w 149688"/>
                <a:gd name="connsiteY4" fmla="*/ 0 h 301067"/>
                <a:gd name="connsiteX5" fmla="*/ 74492 w 149688"/>
                <a:gd name="connsiteY5" fmla="*/ 153950 h 301067"/>
                <a:gd name="connsiteX6" fmla="*/ 87734 w 149688"/>
                <a:gd name="connsiteY6" fmla="*/ 245547 h 301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9688" h="301067">
                  <a:moveTo>
                    <a:pt x="149688" y="279622"/>
                  </a:moveTo>
                  <a:lnTo>
                    <a:pt x="122393" y="301067"/>
                  </a:lnTo>
                  <a:lnTo>
                    <a:pt x="0" y="114672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2836" y="184850"/>
                    <a:pt x="77802" y="216302"/>
                    <a:pt x="87734" y="2455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2" name="Forme libre : forme 301">
              <a:extLst>
                <a:ext uri="{FF2B5EF4-FFF2-40B4-BE49-F238E27FC236}">
                  <a16:creationId xmlns:a16="http://schemas.microsoft.com/office/drawing/2014/main" id="{DE7F88C3-F95A-48EB-BC5C-94F46E2332ED}"/>
                </a:ext>
              </a:extLst>
            </p:cNvPr>
            <p:cNvSpPr/>
            <p:nvPr/>
          </p:nvSpPr>
          <p:spPr>
            <a:xfrm rot="8716295">
              <a:off x="212141" y="304502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3" name="Forme libre : forme 302">
              <a:extLst>
                <a:ext uri="{FF2B5EF4-FFF2-40B4-BE49-F238E27FC236}">
                  <a16:creationId xmlns:a16="http://schemas.microsoft.com/office/drawing/2014/main" id="{D55BD2D7-C439-4F43-96D6-CC4EB9C9A2CD}"/>
                </a:ext>
              </a:extLst>
            </p:cNvPr>
            <p:cNvSpPr/>
            <p:nvPr/>
          </p:nvSpPr>
          <p:spPr>
            <a:xfrm rot="8716295">
              <a:off x="301533" y="307427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4" name="Forme libre : forme 303">
              <a:extLst>
                <a:ext uri="{FF2B5EF4-FFF2-40B4-BE49-F238E27FC236}">
                  <a16:creationId xmlns:a16="http://schemas.microsoft.com/office/drawing/2014/main" id="{98520A64-DC7D-4391-9310-C02770ED1A94}"/>
                </a:ext>
              </a:extLst>
            </p:cNvPr>
            <p:cNvSpPr/>
            <p:nvPr/>
          </p:nvSpPr>
          <p:spPr>
            <a:xfrm rot="8716295">
              <a:off x="256683" y="298799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5" name="Forme libre : forme 304">
              <a:extLst>
                <a:ext uri="{FF2B5EF4-FFF2-40B4-BE49-F238E27FC236}">
                  <a16:creationId xmlns:a16="http://schemas.microsoft.com/office/drawing/2014/main" id="{F4D8F56B-62F1-42CF-A7A2-650DB4131292}"/>
                </a:ext>
              </a:extLst>
            </p:cNvPr>
            <p:cNvSpPr/>
            <p:nvPr/>
          </p:nvSpPr>
          <p:spPr>
            <a:xfrm rot="8716295">
              <a:off x="99907" y="31335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6" name="Forme libre : forme 305">
              <a:extLst>
                <a:ext uri="{FF2B5EF4-FFF2-40B4-BE49-F238E27FC236}">
                  <a16:creationId xmlns:a16="http://schemas.microsoft.com/office/drawing/2014/main" id="{0D43E076-CB6A-4FEE-A459-C1DE20E99E2F}"/>
                </a:ext>
              </a:extLst>
            </p:cNvPr>
            <p:cNvSpPr/>
            <p:nvPr/>
          </p:nvSpPr>
          <p:spPr>
            <a:xfrm rot="8716295">
              <a:off x="-24996" y="29248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7" name="Forme libre : forme 306">
              <a:extLst>
                <a:ext uri="{FF2B5EF4-FFF2-40B4-BE49-F238E27FC236}">
                  <a16:creationId xmlns:a16="http://schemas.microsoft.com/office/drawing/2014/main" id="{CA2035BC-118E-49FD-BF84-9E105EEC437B}"/>
                </a:ext>
              </a:extLst>
            </p:cNvPr>
            <p:cNvSpPr/>
            <p:nvPr/>
          </p:nvSpPr>
          <p:spPr>
            <a:xfrm rot="8716295">
              <a:off x="51899" y="2754602"/>
              <a:ext cx="189488" cy="350829"/>
            </a:xfrm>
            <a:custGeom>
              <a:avLst/>
              <a:gdLst>
                <a:gd name="connsiteX0" fmla="*/ 25299 w 189488"/>
                <a:gd name="connsiteY0" fmla="*/ 321238 h 350829"/>
                <a:gd name="connsiteX1" fmla="*/ 0 w 189488"/>
                <a:gd name="connsiteY1" fmla="*/ 220042 h 350829"/>
                <a:gd name="connsiteX2" fmla="*/ 0 w 189488"/>
                <a:gd name="connsiteY2" fmla="*/ 40596 h 350829"/>
                <a:gd name="connsiteX3" fmla="*/ 78250 w 189488"/>
                <a:gd name="connsiteY3" fmla="*/ 0 h 350829"/>
                <a:gd name="connsiteX4" fmla="*/ 79427 w 189488"/>
                <a:gd name="connsiteY4" fmla="*/ 164149 h 350829"/>
                <a:gd name="connsiteX5" fmla="*/ 93547 w 189488"/>
                <a:gd name="connsiteY5" fmla="*/ 261815 h 350829"/>
                <a:gd name="connsiteX6" fmla="*/ 164148 w 189488"/>
                <a:gd name="connsiteY6" fmla="*/ 300646 h 350829"/>
                <a:gd name="connsiteX7" fmla="*/ 189488 w 189488"/>
                <a:gd name="connsiteY7" fmla="*/ 296141 h 350829"/>
                <a:gd name="connsiteX8" fmla="*/ 160617 w 189488"/>
                <a:gd name="connsiteY8" fmla="*/ 337791 h 350829"/>
                <a:gd name="connsiteX9" fmla="*/ 97666 w 189488"/>
                <a:gd name="connsiteY9" fmla="*/ 350655 h 350829"/>
                <a:gd name="connsiteX10" fmla="*/ 25299 w 189488"/>
                <a:gd name="connsiteY10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9488" h="350829">
                  <a:moveTo>
                    <a:pt x="25299" y="321238"/>
                  </a:moveTo>
                  <a:cubicBezTo>
                    <a:pt x="5295" y="301823"/>
                    <a:pt x="0" y="268286"/>
                    <a:pt x="0" y="220042"/>
                  </a:cubicBez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8" y="300646"/>
                  </a:cubicBezTo>
                  <a:lnTo>
                    <a:pt x="189488" y="296141"/>
                  </a:lnTo>
                  <a:lnTo>
                    <a:pt x="160617" y="337791"/>
                  </a:lnTo>
                  <a:lnTo>
                    <a:pt x="97666" y="350655"/>
                  </a:ln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8" name="Forme libre : forme 307">
              <a:extLst>
                <a:ext uri="{FF2B5EF4-FFF2-40B4-BE49-F238E27FC236}">
                  <a16:creationId xmlns:a16="http://schemas.microsoft.com/office/drawing/2014/main" id="{E8F898AD-C8B7-4665-871C-0DD08867FE33}"/>
                </a:ext>
              </a:extLst>
            </p:cNvPr>
            <p:cNvSpPr/>
            <p:nvPr/>
          </p:nvSpPr>
          <p:spPr>
            <a:xfrm rot="8716295">
              <a:off x="190085" y="317452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9" name="Forme libre : forme 308">
              <a:extLst>
                <a:ext uri="{FF2B5EF4-FFF2-40B4-BE49-F238E27FC236}">
                  <a16:creationId xmlns:a16="http://schemas.microsoft.com/office/drawing/2014/main" id="{21447FE1-A29B-45A2-85C9-8C8BA929308B}"/>
                </a:ext>
              </a:extLst>
            </p:cNvPr>
            <p:cNvSpPr/>
            <p:nvPr/>
          </p:nvSpPr>
          <p:spPr>
            <a:xfrm rot="8716295">
              <a:off x="502599" y="2802136"/>
              <a:ext cx="117588" cy="232388"/>
            </a:xfrm>
            <a:custGeom>
              <a:avLst/>
              <a:gdLst>
                <a:gd name="connsiteX0" fmla="*/ 56529 w 117588"/>
                <a:gd name="connsiteY0" fmla="*/ 232388 h 232388"/>
                <a:gd name="connsiteX1" fmla="*/ 56529 w 117588"/>
                <a:gd name="connsiteY1" fmla="*/ 69717 h 232388"/>
                <a:gd name="connsiteX2" fmla="*/ 56529 w 117588"/>
                <a:gd name="connsiteY2" fmla="*/ 65615 h 232388"/>
                <a:gd name="connsiteX3" fmla="*/ 36025 w 117588"/>
                <a:gd name="connsiteY3" fmla="*/ 50123 h 232388"/>
                <a:gd name="connsiteX4" fmla="*/ 0 w 117588"/>
                <a:gd name="connsiteY4" fmla="*/ 50123 h 232388"/>
                <a:gd name="connsiteX5" fmla="*/ 41458 w 117588"/>
                <a:gd name="connsiteY5" fmla="*/ 0 h 232388"/>
                <a:gd name="connsiteX6" fmla="*/ 60630 w 117588"/>
                <a:gd name="connsiteY6" fmla="*/ 0 h 232388"/>
                <a:gd name="connsiteX7" fmla="*/ 117588 w 117588"/>
                <a:gd name="connsiteY7" fmla="*/ 50123 h 232388"/>
                <a:gd name="connsiteX8" fmla="*/ 117588 w 117588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7588" h="232388">
                  <a:moveTo>
                    <a:pt x="56529" y="232388"/>
                  </a:moveTo>
                  <a:lnTo>
                    <a:pt x="56529" y="69717"/>
                  </a:lnTo>
                  <a:cubicBezTo>
                    <a:pt x="56529" y="68349"/>
                    <a:pt x="56529" y="66983"/>
                    <a:pt x="56529" y="65615"/>
                  </a:cubicBezTo>
                  <a:cubicBezTo>
                    <a:pt x="55163" y="55591"/>
                    <a:pt x="46049" y="48756"/>
                    <a:pt x="36025" y="50123"/>
                  </a:cubicBezTo>
                  <a:lnTo>
                    <a:pt x="0" y="50123"/>
                  </a:lnTo>
                  <a:lnTo>
                    <a:pt x="41458" y="0"/>
                  </a:lnTo>
                  <a:lnTo>
                    <a:pt x="60630" y="0"/>
                  </a:lnTo>
                  <a:cubicBezTo>
                    <a:pt x="97539" y="0"/>
                    <a:pt x="117588" y="15948"/>
                    <a:pt x="117588" y="50123"/>
                  </a:cubicBezTo>
                  <a:lnTo>
                    <a:pt x="117588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0" name="Forme libre : forme 309">
              <a:extLst>
                <a:ext uri="{FF2B5EF4-FFF2-40B4-BE49-F238E27FC236}">
                  <a16:creationId xmlns:a16="http://schemas.microsoft.com/office/drawing/2014/main" id="{DC5CD014-032B-4188-8129-1BA9EDEB5E1C}"/>
                </a:ext>
              </a:extLst>
            </p:cNvPr>
            <p:cNvSpPr/>
            <p:nvPr/>
          </p:nvSpPr>
          <p:spPr>
            <a:xfrm rot="8716295">
              <a:off x="389006" y="2883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1" name="Forme libre : forme 310">
              <a:extLst>
                <a:ext uri="{FF2B5EF4-FFF2-40B4-BE49-F238E27FC236}">
                  <a16:creationId xmlns:a16="http://schemas.microsoft.com/office/drawing/2014/main" id="{4BFA54F9-8E75-4357-98AE-7842173849BD}"/>
                </a:ext>
              </a:extLst>
            </p:cNvPr>
            <p:cNvSpPr/>
            <p:nvPr/>
          </p:nvSpPr>
          <p:spPr>
            <a:xfrm rot="8716295">
              <a:off x="264104" y="267474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2" name="Forme libre : forme 311">
              <a:extLst>
                <a:ext uri="{FF2B5EF4-FFF2-40B4-BE49-F238E27FC236}">
                  <a16:creationId xmlns:a16="http://schemas.microsoft.com/office/drawing/2014/main" id="{D627B6F1-7278-4938-8513-4523BF111D7A}"/>
                </a:ext>
              </a:extLst>
            </p:cNvPr>
            <p:cNvSpPr/>
            <p:nvPr/>
          </p:nvSpPr>
          <p:spPr>
            <a:xfrm rot="8716295">
              <a:off x="479184" y="292437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3" name="Forme libre : forme 312">
              <a:extLst>
                <a:ext uri="{FF2B5EF4-FFF2-40B4-BE49-F238E27FC236}">
                  <a16:creationId xmlns:a16="http://schemas.microsoft.com/office/drawing/2014/main" id="{44A8C608-76B9-49F0-B8EA-9C07C31A92DA}"/>
                </a:ext>
              </a:extLst>
            </p:cNvPr>
            <p:cNvSpPr/>
            <p:nvPr/>
          </p:nvSpPr>
          <p:spPr>
            <a:xfrm rot="8716295">
              <a:off x="237733" y="277477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4" name="Forme libre : forme 313">
              <a:extLst>
                <a:ext uri="{FF2B5EF4-FFF2-40B4-BE49-F238E27FC236}">
                  <a16:creationId xmlns:a16="http://schemas.microsoft.com/office/drawing/2014/main" id="{31723CE5-0F31-4468-8030-5F9773A83A08}"/>
                </a:ext>
              </a:extLst>
            </p:cNvPr>
            <p:cNvSpPr/>
            <p:nvPr/>
          </p:nvSpPr>
          <p:spPr>
            <a:xfrm rot="7484129">
              <a:off x="609980" y="3142825"/>
              <a:ext cx="20881" cy="31001"/>
            </a:xfrm>
            <a:custGeom>
              <a:avLst/>
              <a:gdLst>
                <a:gd name="connsiteX0" fmla="*/ 10218 w 20881"/>
                <a:gd name="connsiteY0" fmla="*/ 31001 h 31001"/>
                <a:gd name="connsiteX1" fmla="*/ 0 w 20881"/>
                <a:gd name="connsiteY1" fmla="*/ 11992 h 31001"/>
                <a:gd name="connsiteX2" fmla="*/ 20881 w 20881"/>
                <a:gd name="connsiteY2" fmla="*/ 0 h 31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881" h="31001">
                  <a:moveTo>
                    <a:pt x="10218" y="31001"/>
                  </a:moveTo>
                  <a:lnTo>
                    <a:pt x="0" y="11992"/>
                  </a:lnTo>
                  <a:lnTo>
                    <a:pt x="2088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5" name="Forme libre : forme 314">
              <a:extLst>
                <a:ext uri="{FF2B5EF4-FFF2-40B4-BE49-F238E27FC236}">
                  <a16:creationId xmlns:a16="http://schemas.microsoft.com/office/drawing/2014/main" id="{0A1A01CF-9944-4EC3-883D-948C509B42CD}"/>
                </a:ext>
              </a:extLst>
            </p:cNvPr>
            <p:cNvSpPr/>
            <p:nvPr/>
          </p:nvSpPr>
          <p:spPr>
            <a:xfrm rot="8716295">
              <a:off x="579469" y="28172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6" name="Forme libre : forme 315">
              <a:extLst>
                <a:ext uri="{FF2B5EF4-FFF2-40B4-BE49-F238E27FC236}">
                  <a16:creationId xmlns:a16="http://schemas.microsoft.com/office/drawing/2014/main" id="{71717ABE-8C5B-4E08-B642-252D74033C89}"/>
                </a:ext>
              </a:extLst>
            </p:cNvPr>
            <p:cNvSpPr/>
            <p:nvPr/>
          </p:nvSpPr>
          <p:spPr>
            <a:xfrm rot="8716295">
              <a:off x="437995" y="3716235"/>
              <a:ext cx="102679" cy="232388"/>
            </a:xfrm>
            <a:custGeom>
              <a:avLst/>
              <a:gdLst>
                <a:gd name="connsiteX0" fmla="*/ 41620 w 102679"/>
                <a:gd name="connsiteY0" fmla="*/ 232388 h 232388"/>
                <a:gd name="connsiteX1" fmla="*/ 41620 w 102679"/>
                <a:gd name="connsiteY1" fmla="*/ 69717 h 232388"/>
                <a:gd name="connsiteX2" fmla="*/ 41620 w 102679"/>
                <a:gd name="connsiteY2" fmla="*/ 65615 h 232388"/>
                <a:gd name="connsiteX3" fmla="*/ 21116 w 102679"/>
                <a:gd name="connsiteY3" fmla="*/ 50123 h 232388"/>
                <a:gd name="connsiteX4" fmla="*/ 0 w 102679"/>
                <a:gd name="connsiteY4" fmla="*/ 50123 h 232388"/>
                <a:gd name="connsiteX5" fmla="*/ 41457 w 102679"/>
                <a:gd name="connsiteY5" fmla="*/ 0 h 232388"/>
                <a:gd name="connsiteX6" fmla="*/ 45721 w 102679"/>
                <a:gd name="connsiteY6" fmla="*/ 0 h 232388"/>
                <a:gd name="connsiteX7" fmla="*/ 102679 w 102679"/>
                <a:gd name="connsiteY7" fmla="*/ 50123 h 232388"/>
                <a:gd name="connsiteX8" fmla="*/ 102679 w 102679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2679" h="232388">
                  <a:moveTo>
                    <a:pt x="41620" y="232388"/>
                  </a:moveTo>
                  <a:lnTo>
                    <a:pt x="41620" y="69717"/>
                  </a:lnTo>
                  <a:cubicBezTo>
                    <a:pt x="41620" y="68349"/>
                    <a:pt x="41620" y="66983"/>
                    <a:pt x="41620" y="65615"/>
                  </a:cubicBezTo>
                  <a:cubicBezTo>
                    <a:pt x="40254" y="55591"/>
                    <a:pt x="31140" y="48756"/>
                    <a:pt x="21116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45721" y="0"/>
                  </a:lnTo>
                  <a:cubicBezTo>
                    <a:pt x="82630" y="0"/>
                    <a:pt x="102679" y="15948"/>
                    <a:pt x="102679" y="50123"/>
                  </a:cubicBezTo>
                  <a:lnTo>
                    <a:pt x="102679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7" name="Forme libre : forme 316">
              <a:extLst>
                <a:ext uri="{FF2B5EF4-FFF2-40B4-BE49-F238E27FC236}">
                  <a16:creationId xmlns:a16="http://schemas.microsoft.com/office/drawing/2014/main" id="{57F9E802-91E2-4CB8-8036-748B1071E3AB}"/>
                </a:ext>
              </a:extLst>
            </p:cNvPr>
            <p:cNvSpPr/>
            <p:nvPr/>
          </p:nvSpPr>
          <p:spPr>
            <a:xfrm rot="8716295">
              <a:off x="482715" y="3669965"/>
              <a:ext cx="154563" cy="124897"/>
            </a:xfrm>
            <a:custGeom>
              <a:avLst/>
              <a:gdLst>
                <a:gd name="connsiteX0" fmla="*/ 0 w 154563"/>
                <a:gd name="connsiteY0" fmla="*/ 124897 h 124897"/>
                <a:gd name="connsiteX1" fmla="*/ 95474 w 154563"/>
                <a:gd name="connsiteY1" fmla="*/ 9467 h 124897"/>
                <a:gd name="connsiteX2" fmla="*/ 96067 w 154563"/>
                <a:gd name="connsiteY2" fmla="*/ 9000 h 124897"/>
                <a:gd name="connsiteX3" fmla="*/ 126312 w 154563"/>
                <a:gd name="connsiteY3" fmla="*/ 0 h 124897"/>
                <a:gd name="connsiteX4" fmla="*/ 154563 w 154563"/>
                <a:gd name="connsiteY4" fmla="*/ 33719 h 124897"/>
                <a:gd name="connsiteX5" fmla="*/ 128135 w 154563"/>
                <a:gd name="connsiteY5" fmla="*/ 69261 h 124897"/>
                <a:gd name="connsiteX6" fmla="*/ 128590 w 154563"/>
                <a:gd name="connsiteY6" fmla="*/ 69261 h 12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4563" h="124897">
                  <a:moveTo>
                    <a:pt x="0" y="124897"/>
                  </a:moveTo>
                  <a:lnTo>
                    <a:pt x="95474" y="9467"/>
                  </a:lnTo>
                  <a:lnTo>
                    <a:pt x="96067" y="9000"/>
                  </a:lnTo>
                  <a:cubicBezTo>
                    <a:pt x="105351" y="4215"/>
                    <a:pt x="115604" y="1139"/>
                    <a:pt x="126312" y="0"/>
                  </a:cubicBezTo>
                  <a:cubicBezTo>
                    <a:pt x="148184" y="0"/>
                    <a:pt x="154563" y="19138"/>
                    <a:pt x="154563" y="33719"/>
                  </a:cubicBezTo>
                  <a:cubicBezTo>
                    <a:pt x="153196" y="49668"/>
                    <a:pt x="142715" y="62882"/>
                    <a:pt x="128135" y="69261"/>
                  </a:cubicBezTo>
                  <a:lnTo>
                    <a:pt x="128590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8" name="Forme libre : forme 317">
              <a:extLst>
                <a:ext uri="{FF2B5EF4-FFF2-40B4-BE49-F238E27FC236}">
                  <a16:creationId xmlns:a16="http://schemas.microsoft.com/office/drawing/2014/main" id="{844BD3AC-808C-49B6-9585-45AED27044D8}"/>
                </a:ext>
              </a:extLst>
            </p:cNvPr>
            <p:cNvSpPr/>
            <p:nvPr/>
          </p:nvSpPr>
          <p:spPr>
            <a:xfrm rot="8716295">
              <a:off x="323074" y="379327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9" name="Forme libre : forme 318">
              <a:extLst>
                <a:ext uri="{FF2B5EF4-FFF2-40B4-BE49-F238E27FC236}">
                  <a16:creationId xmlns:a16="http://schemas.microsoft.com/office/drawing/2014/main" id="{6610930E-080F-4669-B332-C11A7EDE2E69}"/>
                </a:ext>
              </a:extLst>
            </p:cNvPr>
            <p:cNvSpPr/>
            <p:nvPr/>
          </p:nvSpPr>
          <p:spPr>
            <a:xfrm rot="8716295">
              <a:off x="198171" y="358459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0" name="Forme libre : forme 319">
              <a:extLst>
                <a:ext uri="{FF2B5EF4-FFF2-40B4-BE49-F238E27FC236}">
                  <a16:creationId xmlns:a16="http://schemas.microsoft.com/office/drawing/2014/main" id="{BB6AE4FF-01F3-4791-9797-82B71A71685F}"/>
                </a:ext>
              </a:extLst>
            </p:cNvPr>
            <p:cNvSpPr/>
            <p:nvPr/>
          </p:nvSpPr>
          <p:spPr>
            <a:xfrm rot="8716295">
              <a:off x="186119" y="344581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1" name="Forme libre : forme 320">
              <a:extLst>
                <a:ext uri="{FF2B5EF4-FFF2-40B4-BE49-F238E27FC236}">
                  <a16:creationId xmlns:a16="http://schemas.microsoft.com/office/drawing/2014/main" id="{B2FBA9B1-476F-454A-86CF-CB8E10185C59}"/>
                </a:ext>
              </a:extLst>
            </p:cNvPr>
            <p:cNvSpPr/>
            <p:nvPr/>
          </p:nvSpPr>
          <p:spPr>
            <a:xfrm rot="8716295">
              <a:off x="410218" y="3834716"/>
              <a:ext cx="103435" cy="219174"/>
            </a:xfrm>
            <a:custGeom>
              <a:avLst/>
              <a:gdLst>
                <a:gd name="connsiteX0" fmla="*/ 103435 w 103435"/>
                <a:gd name="connsiteY0" fmla="*/ 219174 h 219174"/>
                <a:gd name="connsiteX1" fmla="*/ 43288 w 103435"/>
                <a:gd name="connsiteY1" fmla="*/ 161305 h 219174"/>
                <a:gd name="connsiteX2" fmla="*/ 43288 w 103435"/>
                <a:gd name="connsiteY2" fmla="*/ 16404 h 219174"/>
                <a:gd name="connsiteX3" fmla="*/ 0 w 103435"/>
                <a:gd name="connsiteY3" fmla="*/ 16404 h 219174"/>
                <a:gd name="connsiteX4" fmla="*/ 0 w 103435"/>
                <a:gd name="connsiteY4" fmla="*/ 16028 h 219174"/>
                <a:gd name="connsiteX5" fmla="*/ 11583 w 103435"/>
                <a:gd name="connsiteY5" fmla="*/ 2023 h 219174"/>
                <a:gd name="connsiteX6" fmla="*/ 103435 w 103435"/>
                <a:gd name="connsiteY6" fmla="*/ 0 h 219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19174">
                  <a:moveTo>
                    <a:pt x="103435" y="219174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16028"/>
                  </a:lnTo>
                  <a:lnTo>
                    <a:pt x="11583" y="2023"/>
                  </a:lnTo>
                  <a:lnTo>
                    <a:pt x="10343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2" name="Forme libre : forme 321">
              <a:extLst>
                <a:ext uri="{FF2B5EF4-FFF2-40B4-BE49-F238E27FC236}">
                  <a16:creationId xmlns:a16="http://schemas.microsoft.com/office/drawing/2014/main" id="{FC54D21D-2562-49FC-BEBE-B5E2AB5AF4EE}"/>
                </a:ext>
              </a:extLst>
            </p:cNvPr>
            <p:cNvSpPr/>
            <p:nvPr/>
          </p:nvSpPr>
          <p:spPr>
            <a:xfrm rot="8716295">
              <a:off x="487452" y="3349370"/>
              <a:ext cx="151162" cy="195873"/>
            </a:xfrm>
            <a:custGeom>
              <a:avLst/>
              <a:gdLst>
                <a:gd name="connsiteX0" fmla="*/ 38025 w 151162"/>
                <a:gd name="connsiteY0" fmla="*/ 195873 h 195873"/>
                <a:gd name="connsiteX1" fmla="*/ 0 w 151162"/>
                <a:gd name="connsiteY1" fmla="*/ 125130 h 195873"/>
                <a:gd name="connsiteX2" fmla="*/ 103497 w 151162"/>
                <a:gd name="connsiteY2" fmla="*/ 0 h 195873"/>
                <a:gd name="connsiteX3" fmla="*/ 151162 w 151162"/>
                <a:gd name="connsiteY3" fmla="*/ 0 h 195873"/>
                <a:gd name="connsiteX4" fmla="*/ 151162 w 151162"/>
                <a:gd name="connsiteY4" fmla="*/ 55323 h 195873"/>
                <a:gd name="connsiteX5" fmla="*/ 86370 w 151162"/>
                <a:gd name="connsiteY5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1162" h="195873">
                  <a:moveTo>
                    <a:pt x="38025" y="195873"/>
                  </a:moveTo>
                  <a:lnTo>
                    <a:pt x="0" y="125130"/>
                  </a:lnTo>
                  <a:lnTo>
                    <a:pt x="103497" y="0"/>
                  </a:lnTo>
                  <a:lnTo>
                    <a:pt x="151162" y="0"/>
                  </a:lnTo>
                  <a:lnTo>
                    <a:pt x="151162" y="55323"/>
                  </a:lnTo>
                  <a:lnTo>
                    <a:pt x="86370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3" name="Forme libre : forme 322">
              <a:extLst>
                <a:ext uri="{FF2B5EF4-FFF2-40B4-BE49-F238E27FC236}">
                  <a16:creationId xmlns:a16="http://schemas.microsoft.com/office/drawing/2014/main" id="{1800C2CB-54A6-4240-B3ED-11D6043BB03F}"/>
                </a:ext>
              </a:extLst>
            </p:cNvPr>
            <p:cNvSpPr/>
            <p:nvPr/>
          </p:nvSpPr>
          <p:spPr>
            <a:xfrm rot="8716295">
              <a:off x="460900" y="343447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4" name="Forme libre : forme 323">
              <a:extLst>
                <a:ext uri="{FF2B5EF4-FFF2-40B4-BE49-F238E27FC236}">
                  <a16:creationId xmlns:a16="http://schemas.microsoft.com/office/drawing/2014/main" id="{3EBD1C82-1557-40AF-96AD-1C870F5CE8D7}"/>
                </a:ext>
              </a:extLst>
            </p:cNvPr>
            <p:cNvSpPr/>
            <p:nvPr/>
          </p:nvSpPr>
          <p:spPr>
            <a:xfrm rot="8716295">
              <a:off x="417336" y="4258920"/>
              <a:ext cx="147637" cy="195874"/>
            </a:xfrm>
            <a:custGeom>
              <a:avLst/>
              <a:gdLst>
                <a:gd name="connsiteX0" fmla="*/ 34500 w 147637"/>
                <a:gd name="connsiteY0" fmla="*/ 195874 h 195874"/>
                <a:gd name="connsiteX1" fmla="*/ 0 w 147637"/>
                <a:gd name="connsiteY1" fmla="*/ 131688 h 195874"/>
                <a:gd name="connsiteX2" fmla="*/ 108921 w 147637"/>
                <a:gd name="connsiteY2" fmla="*/ 0 h 195874"/>
                <a:gd name="connsiteX3" fmla="*/ 147637 w 147637"/>
                <a:gd name="connsiteY3" fmla="*/ 0 h 195874"/>
                <a:gd name="connsiteX4" fmla="*/ 147637 w 147637"/>
                <a:gd name="connsiteY4" fmla="*/ 55323 h 195874"/>
                <a:gd name="connsiteX5" fmla="*/ 82845 w 147637"/>
                <a:gd name="connsiteY5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7637" h="195874">
                  <a:moveTo>
                    <a:pt x="34500" y="195874"/>
                  </a:moveTo>
                  <a:lnTo>
                    <a:pt x="0" y="131688"/>
                  </a:lnTo>
                  <a:lnTo>
                    <a:pt x="108921" y="0"/>
                  </a:lnTo>
                  <a:lnTo>
                    <a:pt x="147637" y="0"/>
                  </a:lnTo>
                  <a:lnTo>
                    <a:pt x="147637" y="55323"/>
                  </a:lnTo>
                  <a:lnTo>
                    <a:pt x="8284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5" name="Forme libre : forme 324">
              <a:extLst>
                <a:ext uri="{FF2B5EF4-FFF2-40B4-BE49-F238E27FC236}">
                  <a16:creationId xmlns:a16="http://schemas.microsoft.com/office/drawing/2014/main" id="{50FA5920-2CA1-4B57-AFE9-708172C7151C}"/>
                </a:ext>
              </a:extLst>
            </p:cNvPr>
            <p:cNvSpPr/>
            <p:nvPr/>
          </p:nvSpPr>
          <p:spPr>
            <a:xfrm rot="8716295">
              <a:off x="330834" y="4134902"/>
              <a:ext cx="254613" cy="91157"/>
            </a:xfrm>
            <a:custGeom>
              <a:avLst/>
              <a:gdLst>
                <a:gd name="connsiteX0" fmla="*/ 0 w 254613"/>
                <a:gd name="connsiteY0" fmla="*/ 68911 h 91157"/>
                <a:gd name="connsiteX1" fmla="*/ 56997 w 254613"/>
                <a:gd name="connsiteY1" fmla="*/ 0 h 91157"/>
                <a:gd name="connsiteX2" fmla="*/ 57517 w 254613"/>
                <a:gd name="connsiteY2" fmla="*/ 2143 h 91157"/>
                <a:gd name="connsiteX3" fmla="*/ 128118 w 254613"/>
                <a:gd name="connsiteY3" fmla="*/ 40974 h 91157"/>
                <a:gd name="connsiteX4" fmla="*/ 181070 w 254613"/>
                <a:gd name="connsiteY4" fmla="*/ 31560 h 91157"/>
                <a:gd name="connsiteX5" fmla="*/ 253437 w 254613"/>
                <a:gd name="connsiteY5" fmla="*/ 2143 h 91157"/>
                <a:gd name="connsiteX6" fmla="*/ 254613 w 254613"/>
                <a:gd name="connsiteY6" fmla="*/ 9791 h 91157"/>
                <a:gd name="connsiteX7" fmla="*/ 254613 w 254613"/>
                <a:gd name="connsiteY7" fmla="*/ 15674 h 91157"/>
                <a:gd name="connsiteX8" fmla="*/ 61636 w 254613"/>
                <a:gd name="connsiteY8" fmla="*/ 90983 h 91157"/>
                <a:gd name="connsiteX9" fmla="*/ 22363 w 254613"/>
                <a:gd name="connsiteY9" fmla="*/ 84217 h 91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4613" h="91157">
                  <a:moveTo>
                    <a:pt x="0" y="68911"/>
                  </a:moveTo>
                  <a:lnTo>
                    <a:pt x="56997" y="0"/>
                  </a:lnTo>
                  <a:lnTo>
                    <a:pt x="57517" y="2143"/>
                  </a:lnTo>
                  <a:cubicBezTo>
                    <a:pt x="66931" y="28030"/>
                    <a:pt x="91053" y="40974"/>
                    <a:pt x="128118" y="40974"/>
                  </a:cubicBezTo>
                  <a:cubicBezTo>
                    <a:pt x="146357" y="40385"/>
                    <a:pt x="164008" y="36855"/>
                    <a:pt x="181070" y="31560"/>
                  </a:cubicBezTo>
                  <a:cubicBezTo>
                    <a:pt x="205780" y="23912"/>
                    <a:pt x="229903" y="13910"/>
                    <a:pt x="253437" y="2143"/>
                  </a:cubicBezTo>
                  <a:cubicBezTo>
                    <a:pt x="254025" y="4496"/>
                    <a:pt x="254613" y="7438"/>
                    <a:pt x="254613" y="9791"/>
                  </a:cubicBezTo>
                  <a:lnTo>
                    <a:pt x="254613" y="15674"/>
                  </a:lnTo>
                  <a:cubicBezTo>
                    <a:pt x="192249" y="69215"/>
                    <a:pt x="110468" y="88042"/>
                    <a:pt x="61636" y="90983"/>
                  </a:cubicBezTo>
                  <a:cubicBezTo>
                    <a:pt x="48104" y="91866"/>
                    <a:pt x="34719" y="89365"/>
                    <a:pt x="22363" y="842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6" name="Forme libre : forme 325">
              <a:extLst>
                <a:ext uri="{FF2B5EF4-FFF2-40B4-BE49-F238E27FC236}">
                  <a16:creationId xmlns:a16="http://schemas.microsoft.com/office/drawing/2014/main" id="{E3EDD39B-7171-468B-A877-2CE2BD07726B}"/>
                </a:ext>
              </a:extLst>
            </p:cNvPr>
            <p:cNvSpPr/>
            <p:nvPr/>
          </p:nvSpPr>
          <p:spPr>
            <a:xfrm rot="8716295">
              <a:off x="-3428" y="2405990"/>
              <a:ext cx="142167" cy="208592"/>
            </a:xfrm>
            <a:custGeom>
              <a:avLst/>
              <a:gdLst>
                <a:gd name="connsiteX0" fmla="*/ 81108 w 142167"/>
                <a:gd name="connsiteY0" fmla="*/ 208592 h 208592"/>
                <a:gd name="connsiteX1" fmla="*/ 81108 w 142167"/>
                <a:gd name="connsiteY1" fmla="*/ 69717 h 208592"/>
                <a:gd name="connsiteX2" fmla="*/ 81108 w 142167"/>
                <a:gd name="connsiteY2" fmla="*/ 65615 h 208592"/>
                <a:gd name="connsiteX3" fmla="*/ 60604 w 142167"/>
                <a:gd name="connsiteY3" fmla="*/ 50123 h 208592"/>
                <a:gd name="connsiteX4" fmla="*/ 0 w 142167"/>
                <a:gd name="connsiteY4" fmla="*/ 50123 h 208592"/>
                <a:gd name="connsiteX5" fmla="*/ 0 w 142167"/>
                <a:gd name="connsiteY5" fmla="*/ 0 h 208592"/>
                <a:gd name="connsiteX6" fmla="*/ 85210 w 142167"/>
                <a:gd name="connsiteY6" fmla="*/ 0 h 208592"/>
                <a:gd name="connsiteX7" fmla="*/ 142167 w 142167"/>
                <a:gd name="connsiteY7" fmla="*/ 50123 h 208592"/>
                <a:gd name="connsiteX8" fmla="*/ 142167 w 142167"/>
                <a:gd name="connsiteY8" fmla="*/ 120504 h 20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08592">
                  <a:moveTo>
                    <a:pt x="81108" y="208592"/>
                  </a:moveTo>
                  <a:lnTo>
                    <a:pt x="81108" y="69717"/>
                  </a:lnTo>
                  <a:cubicBezTo>
                    <a:pt x="81108" y="68350"/>
                    <a:pt x="81108" y="66983"/>
                    <a:pt x="81108" y="65615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10" y="0"/>
                  </a:lnTo>
                  <a:cubicBezTo>
                    <a:pt x="122118" y="0"/>
                    <a:pt x="142167" y="15948"/>
                    <a:pt x="142167" y="50123"/>
                  </a:cubicBezTo>
                  <a:lnTo>
                    <a:pt x="142167" y="1205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7" name="Forme libre : forme 326">
              <a:extLst>
                <a:ext uri="{FF2B5EF4-FFF2-40B4-BE49-F238E27FC236}">
                  <a16:creationId xmlns:a16="http://schemas.microsoft.com/office/drawing/2014/main" id="{23F7EF39-C8FF-4CA7-9DED-AF0E47CA9C7E}"/>
                </a:ext>
              </a:extLst>
            </p:cNvPr>
            <p:cNvSpPr/>
            <p:nvPr/>
          </p:nvSpPr>
          <p:spPr>
            <a:xfrm rot="8716295">
              <a:off x="80015" y="241329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8" name="Forme libre : forme 327">
              <a:extLst>
                <a:ext uri="{FF2B5EF4-FFF2-40B4-BE49-F238E27FC236}">
                  <a16:creationId xmlns:a16="http://schemas.microsoft.com/office/drawing/2014/main" id="{FBC44AA7-6291-474B-9C67-ED7522250EEB}"/>
                </a:ext>
              </a:extLst>
            </p:cNvPr>
            <p:cNvSpPr/>
            <p:nvPr/>
          </p:nvSpPr>
          <p:spPr>
            <a:xfrm rot="8716295">
              <a:off x="35165" y="232701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9" name="Forme libre : forme 328">
              <a:extLst>
                <a:ext uri="{FF2B5EF4-FFF2-40B4-BE49-F238E27FC236}">
                  <a16:creationId xmlns:a16="http://schemas.microsoft.com/office/drawing/2014/main" id="{5EA7A5E2-9C29-45B6-9267-972B0EFC92AD}"/>
                </a:ext>
              </a:extLst>
            </p:cNvPr>
            <p:cNvSpPr/>
            <p:nvPr/>
          </p:nvSpPr>
          <p:spPr>
            <a:xfrm rot="8716295">
              <a:off x="-20257" y="2217087"/>
              <a:ext cx="78731" cy="180665"/>
            </a:xfrm>
            <a:custGeom>
              <a:avLst/>
              <a:gdLst>
                <a:gd name="connsiteX0" fmla="*/ 0 w 78731"/>
                <a:gd name="connsiteY0" fmla="*/ 180665 h 180665"/>
                <a:gd name="connsiteX1" fmla="*/ 0 w 78731"/>
                <a:gd name="connsiteY1" fmla="*/ 40596 h 180665"/>
                <a:gd name="connsiteX2" fmla="*/ 78250 w 78731"/>
                <a:gd name="connsiteY2" fmla="*/ 0 h 180665"/>
                <a:gd name="connsiteX3" fmla="*/ 78731 w 78731"/>
                <a:gd name="connsiteY3" fmla="*/ 67083 h 180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731" h="180665">
                  <a:moveTo>
                    <a:pt x="0" y="180665"/>
                  </a:moveTo>
                  <a:lnTo>
                    <a:pt x="0" y="40596"/>
                  </a:lnTo>
                  <a:lnTo>
                    <a:pt x="78250" y="0"/>
                  </a:lnTo>
                  <a:lnTo>
                    <a:pt x="78731" y="670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0" name="Forme libre : forme 329">
              <a:extLst>
                <a:ext uri="{FF2B5EF4-FFF2-40B4-BE49-F238E27FC236}">
                  <a16:creationId xmlns:a16="http://schemas.microsoft.com/office/drawing/2014/main" id="{29FF2476-3E2D-4E1C-AC58-09A8EA6AE16D}"/>
                </a:ext>
              </a:extLst>
            </p:cNvPr>
            <p:cNvSpPr/>
            <p:nvPr/>
          </p:nvSpPr>
          <p:spPr>
            <a:xfrm rot="8716295">
              <a:off x="-15341" y="2575209"/>
              <a:ext cx="103435" cy="152027"/>
            </a:xfrm>
            <a:custGeom>
              <a:avLst/>
              <a:gdLst>
                <a:gd name="connsiteX0" fmla="*/ 43288 w 103435"/>
                <a:gd name="connsiteY0" fmla="*/ 152027 h 152027"/>
                <a:gd name="connsiteX1" fmla="*/ 43288 w 103435"/>
                <a:gd name="connsiteY1" fmla="*/ 16404 h 152027"/>
                <a:gd name="connsiteX2" fmla="*/ 0 w 103435"/>
                <a:gd name="connsiteY2" fmla="*/ 16404 h 152027"/>
                <a:gd name="connsiteX3" fmla="*/ 0 w 103435"/>
                <a:gd name="connsiteY3" fmla="*/ 2278 h 152027"/>
                <a:gd name="connsiteX4" fmla="*/ 103435 w 103435"/>
                <a:gd name="connsiteY4" fmla="*/ 0 h 152027"/>
                <a:gd name="connsiteX5" fmla="*/ 103435 w 103435"/>
                <a:gd name="connsiteY5" fmla="*/ 65255 h 152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152027">
                  <a:moveTo>
                    <a:pt x="43288" y="152027"/>
                  </a:move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652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1" name="Forme libre : forme 330">
              <a:extLst>
                <a:ext uri="{FF2B5EF4-FFF2-40B4-BE49-F238E27FC236}">
                  <a16:creationId xmlns:a16="http://schemas.microsoft.com/office/drawing/2014/main" id="{75F88328-D448-4AA5-9E75-FE8115368C6C}"/>
                </a:ext>
              </a:extLst>
            </p:cNvPr>
            <p:cNvSpPr/>
            <p:nvPr/>
          </p:nvSpPr>
          <p:spPr>
            <a:xfrm rot="8716295">
              <a:off x="279722" y="21339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2" name="Forme libre : forme 331">
              <a:extLst>
                <a:ext uri="{FF2B5EF4-FFF2-40B4-BE49-F238E27FC236}">
                  <a16:creationId xmlns:a16="http://schemas.microsoft.com/office/drawing/2014/main" id="{426E2A9F-197F-4F75-8782-ED9A68D4D6C8}"/>
                </a:ext>
              </a:extLst>
            </p:cNvPr>
            <p:cNvSpPr/>
            <p:nvPr/>
          </p:nvSpPr>
          <p:spPr>
            <a:xfrm rot="8716295">
              <a:off x="369114" y="21631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3" name="Forme libre : forme 332">
              <a:extLst>
                <a:ext uri="{FF2B5EF4-FFF2-40B4-BE49-F238E27FC236}">
                  <a16:creationId xmlns:a16="http://schemas.microsoft.com/office/drawing/2014/main" id="{94DB51E7-8EDB-4900-9675-0F9A6F5C490B}"/>
                </a:ext>
              </a:extLst>
            </p:cNvPr>
            <p:cNvSpPr/>
            <p:nvPr/>
          </p:nvSpPr>
          <p:spPr>
            <a:xfrm rot="8716295">
              <a:off x="167488" y="22224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4" name="Forme libre : forme 333">
              <a:extLst>
                <a:ext uri="{FF2B5EF4-FFF2-40B4-BE49-F238E27FC236}">
                  <a16:creationId xmlns:a16="http://schemas.microsoft.com/office/drawing/2014/main" id="{2E5B2022-399F-4450-9579-1B2308763857}"/>
                </a:ext>
              </a:extLst>
            </p:cNvPr>
            <p:cNvSpPr/>
            <p:nvPr/>
          </p:nvSpPr>
          <p:spPr>
            <a:xfrm rot="8716295">
              <a:off x="42586" y="20137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5" name="Forme libre : forme 334">
              <a:extLst>
                <a:ext uri="{FF2B5EF4-FFF2-40B4-BE49-F238E27FC236}">
                  <a16:creationId xmlns:a16="http://schemas.microsoft.com/office/drawing/2014/main" id="{2929CE2C-2256-40A5-A8F3-3829812FC41F}"/>
                </a:ext>
              </a:extLst>
            </p:cNvPr>
            <p:cNvSpPr/>
            <p:nvPr/>
          </p:nvSpPr>
          <p:spPr>
            <a:xfrm rot="8716295">
              <a:off x="257666" y="226339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6" name="Forme libre : forme 335">
              <a:extLst>
                <a:ext uri="{FF2B5EF4-FFF2-40B4-BE49-F238E27FC236}">
                  <a16:creationId xmlns:a16="http://schemas.microsoft.com/office/drawing/2014/main" id="{5B080DE2-EB07-4251-8225-D8F835BCC870}"/>
                </a:ext>
              </a:extLst>
            </p:cNvPr>
            <p:cNvSpPr/>
            <p:nvPr/>
          </p:nvSpPr>
          <p:spPr>
            <a:xfrm rot="8716295">
              <a:off x="16215" y="211379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7" name="Forme libre : forme 336">
              <a:extLst>
                <a:ext uri="{FF2B5EF4-FFF2-40B4-BE49-F238E27FC236}">
                  <a16:creationId xmlns:a16="http://schemas.microsoft.com/office/drawing/2014/main" id="{CE30ADAD-6662-46CB-9F1B-B1109F31D2A1}"/>
                </a:ext>
              </a:extLst>
            </p:cNvPr>
            <p:cNvSpPr/>
            <p:nvPr/>
          </p:nvSpPr>
          <p:spPr>
            <a:xfrm rot="7484129">
              <a:off x="362597" y="245474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8" name="Forme libre : forme 337">
              <a:extLst>
                <a:ext uri="{FF2B5EF4-FFF2-40B4-BE49-F238E27FC236}">
                  <a16:creationId xmlns:a16="http://schemas.microsoft.com/office/drawing/2014/main" id="{E0EC12C4-DE16-425E-A187-948925CA8B78}"/>
                </a:ext>
              </a:extLst>
            </p:cNvPr>
            <p:cNvSpPr/>
            <p:nvPr/>
          </p:nvSpPr>
          <p:spPr>
            <a:xfrm rot="13089394">
              <a:off x="463440" y="2426400"/>
              <a:ext cx="272584" cy="319064"/>
            </a:xfrm>
            <a:custGeom>
              <a:avLst/>
              <a:gdLst>
                <a:gd name="connsiteX0" fmla="*/ 80445 w 272584"/>
                <a:gd name="connsiteY0" fmla="*/ 215518 h 319064"/>
                <a:gd name="connsiteX1" fmla="*/ 0 w 272584"/>
                <a:gd name="connsiteY1" fmla="*/ 93007 h 319064"/>
                <a:gd name="connsiteX2" fmla="*/ 0 w 272584"/>
                <a:gd name="connsiteY2" fmla="*/ 38074 h 319064"/>
                <a:gd name="connsiteX3" fmla="*/ 73388 w 272584"/>
                <a:gd name="connsiteY3" fmla="*/ 0 h 319064"/>
                <a:gd name="connsiteX4" fmla="*/ 74492 w 272584"/>
                <a:gd name="connsiteY4" fmla="*/ 153950 h 319064"/>
                <a:gd name="connsiteX5" fmla="*/ 76768 w 272584"/>
                <a:gd name="connsiteY5" fmla="*/ 200369 h 319064"/>
                <a:gd name="connsiteX6" fmla="*/ 272584 w 272584"/>
                <a:gd name="connsiteY6" fmla="*/ 258238 h 319064"/>
                <a:gd name="connsiteX7" fmla="*/ 177331 w 272584"/>
                <a:gd name="connsiteY7" fmla="*/ 311347 h 319064"/>
                <a:gd name="connsiteX8" fmla="*/ 148437 w 272584"/>
                <a:gd name="connsiteY8" fmla="*/ 319064 h 319064"/>
                <a:gd name="connsiteX9" fmla="*/ 119231 w 272584"/>
                <a:gd name="connsiteY9" fmla="*/ 274585 h 319064"/>
                <a:gd name="connsiteX10" fmla="*/ 153949 w 272584"/>
                <a:gd name="connsiteY10" fmla="*/ 281965 h 319064"/>
                <a:gd name="connsiteX11" fmla="*/ 203610 w 272584"/>
                <a:gd name="connsiteY11" fmla="*/ 273136 h 319064"/>
                <a:gd name="connsiteX12" fmla="*/ 271481 w 272584"/>
                <a:gd name="connsiteY12" fmla="*/ 245547 h 319064"/>
                <a:gd name="connsiteX13" fmla="*/ 272584 w 272584"/>
                <a:gd name="connsiteY13" fmla="*/ 252720 h 319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2584" h="319064">
                  <a:moveTo>
                    <a:pt x="80445" y="215518"/>
                  </a:moveTo>
                  <a:lnTo>
                    <a:pt x="0" y="93007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3664" y="169400"/>
                    <a:pt x="74492" y="184988"/>
                    <a:pt x="76768" y="200369"/>
                  </a:cubicBezTo>
                  <a:close/>
                  <a:moveTo>
                    <a:pt x="272584" y="258238"/>
                  </a:moveTo>
                  <a:cubicBezTo>
                    <a:pt x="243339" y="283344"/>
                    <a:pt x="209542" y="300312"/>
                    <a:pt x="177331" y="311347"/>
                  </a:cubicBezTo>
                  <a:lnTo>
                    <a:pt x="148437" y="319064"/>
                  </a:lnTo>
                  <a:lnTo>
                    <a:pt x="119231" y="274585"/>
                  </a:lnTo>
                  <a:lnTo>
                    <a:pt x="153949" y="281965"/>
                  </a:lnTo>
                  <a:cubicBezTo>
                    <a:pt x="171055" y="281413"/>
                    <a:pt x="187609" y="278102"/>
                    <a:pt x="203610" y="273136"/>
                  </a:cubicBezTo>
                  <a:cubicBezTo>
                    <a:pt x="226785" y="265963"/>
                    <a:pt x="249409" y="256583"/>
                    <a:pt x="271481" y="245547"/>
                  </a:cubicBezTo>
                  <a:cubicBezTo>
                    <a:pt x="272032" y="247754"/>
                    <a:pt x="272584" y="250513"/>
                    <a:pt x="272584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9" name="Forme libre : forme 338">
              <a:extLst>
                <a:ext uri="{FF2B5EF4-FFF2-40B4-BE49-F238E27FC236}">
                  <a16:creationId xmlns:a16="http://schemas.microsoft.com/office/drawing/2014/main" id="{0EBB3BF6-5F1A-4179-B16F-FF1F99B6BEAC}"/>
                </a:ext>
              </a:extLst>
            </p:cNvPr>
            <p:cNvSpPr/>
            <p:nvPr/>
          </p:nvSpPr>
          <p:spPr>
            <a:xfrm rot="8716295">
              <a:off x="675867" y="2357327"/>
              <a:ext cx="38012" cy="45752"/>
            </a:xfrm>
            <a:custGeom>
              <a:avLst/>
              <a:gdLst>
                <a:gd name="connsiteX0" fmla="*/ 0 w 38012"/>
                <a:gd name="connsiteY0" fmla="*/ 45752 h 45752"/>
                <a:gd name="connsiteX1" fmla="*/ 37842 w 38012"/>
                <a:gd name="connsiteY1" fmla="*/ 0 h 45752"/>
                <a:gd name="connsiteX2" fmla="*/ 38012 w 38012"/>
                <a:gd name="connsiteY2" fmla="*/ 641 h 45752"/>
                <a:gd name="connsiteX3" fmla="*/ 6841 w 38012"/>
                <a:gd name="connsiteY3" fmla="*/ 42560 h 45752"/>
                <a:gd name="connsiteX4" fmla="*/ 7378 w 38012"/>
                <a:gd name="connsiteY4" fmla="*/ 42560 h 45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012" h="45752">
                  <a:moveTo>
                    <a:pt x="0" y="45752"/>
                  </a:moveTo>
                  <a:lnTo>
                    <a:pt x="37842" y="0"/>
                  </a:lnTo>
                  <a:lnTo>
                    <a:pt x="38012" y="641"/>
                  </a:lnTo>
                  <a:cubicBezTo>
                    <a:pt x="36400" y="19451"/>
                    <a:pt x="24039" y="35036"/>
                    <a:pt x="6841" y="42560"/>
                  </a:cubicBezTo>
                  <a:lnTo>
                    <a:pt x="7378" y="425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0" name="Forme libre : forme 339">
              <a:extLst>
                <a:ext uri="{FF2B5EF4-FFF2-40B4-BE49-F238E27FC236}">
                  <a16:creationId xmlns:a16="http://schemas.microsoft.com/office/drawing/2014/main" id="{40BD2394-2E6A-43B3-8282-5AF2A68AFB55}"/>
                </a:ext>
              </a:extLst>
            </p:cNvPr>
            <p:cNvSpPr/>
            <p:nvPr/>
          </p:nvSpPr>
          <p:spPr>
            <a:xfrm rot="8716295">
              <a:off x="601197" y="21260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1" name="Forme libre : forme 340">
              <a:extLst>
                <a:ext uri="{FF2B5EF4-FFF2-40B4-BE49-F238E27FC236}">
                  <a16:creationId xmlns:a16="http://schemas.microsoft.com/office/drawing/2014/main" id="{98C4AC75-3010-49F3-9D48-1212A4D988F1}"/>
                </a:ext>
              </a:extLst>
            </p:cNvPr>
            <p:cNvSpPr/>
            <p:nvPr/>
          </p:nvSpPr>
          <p:spPr>
            <a:xfrm rot="8716295">
              <a:off x="357951" y="21562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2" name="Forme libre : forme 341">
              <a:extLst>
                <a:ext uri="{FF2B5EF4-FFF2-40B4-BE49-F238E27FC236}">
                  <a16:creationId xmlns:a16="http://schemas.microsoft.com/office/drawing/2014/main" id="{F44EFD0C-26D8-44AF-B8B7-34925D1881F3}"/>
                </a:ext>
              </a:extLst>
            </p:cNvPr>
            <p:cNvSpPr/>
            <p:nvPr/>
          </p:nvSpPr>
          <p:spPr>
            <a:xfrm rot="8716295">
              <a:off x="535403" y="199698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3" name="Forme libre : forme 342">
              <a:extLst>
                <a:ext uri="{FF2B5EF4-FFF2-40B4-BE49-F238E27FC236}">
                  <a16:creationId xmlns:a16="http://schemas.microsoft.com/office/drawing/2014/main" id="{1A320605-AC28-4E7D-BF63-1E3FD62FB21F}"/>
                </a:ext>
              </a:extLst>
            </p:cNvPr>
            <p:cNvSpPr/>
            <p:nvPr/>
          </p:nvSpPr>
          <p:spPr>
            <a:xfrm rot="8716295">
              <a:off x="-76043" y="1768178"/>
              <a:ext cx="197178" cy="215049"/>
            </a:xfrm>
            <a:custGeom>
              <a:avLst/>
              <a:gdLst>
                <a:gd name="connsiteX0" fmla="*/ 51490 w 197178"/>
                <a:gd name="connsiteY0" fmla="*/ 215049 h 215049"/>
                <a:gd name="connsiteX1" fmla="*/ 51490 w 197178"/>
                <a:gd name="connsiteY1" fmla="*/ 45624 h 215049"/>
                <a:gd name="connsiteX2" fmla="*/ 0 w 197178"/>
                <a:gd name="connsiteY2" fmla="*/ 45624 h 215049"/>
                <a:gd name="connsiteX3" fmla="*/ 0 w 197178"/>
                <a:gd name="connsiteY3" fmla="*/ 1424 h 215049"/>
                <a:gd name="connsiteX4" fmla="*/ 104803 w 197178"/>
                <a:gd name="connsiteY4" fmla="*/ 1425 h 215049"/>
                <a:gd name="connsiteX5" fmla="*/ 104803 w 197178"/>
                <a:gd name="connsiteY5" fmla="*/ 75242 h 215049"/>
                <a:gd name="connsiteX6" fmla="*/ 106169 w 197178"/>
                <a:gd name="connsiteY6" fmla="*/ 75242 h 215049"/>
                <a:gd name="connsiteX7" fmla="*/ 154014 w 197178"/>
                <a:gd name="connsiteY7" fmla="*/ 5981 h 215049"/>
                <a:gd name="connsiteX8" fmla="*/ 185455 w 197178"/>
                <a:gd name="connsiteY8" fmla="*/ 57 h 215049"/>
                <a:gd name="connsiteX9" fmla="*/ 197178 w 197178"/>
                <a:gd name="connsiteY9" fmla="*/ 4872 h 215049"/>
                <a:gd name="connsiteX10" fmla="*/ 170795 w 197178"/>
                <a:gd name="connsiteY10" fmla="*/ 42934 h 215049"/>
                <a:gd name="connsiteX11" fmla="*/ 164950 w 197178"/>
                <a:gd name="connsiteY11" fmla="*/ 40156 h 215049"/>
                <a:gd name="connsiteX12" fmla="*/ 111638 w 197178"/>
                <a:gd name="connsiteY12" fmla="*/ 127643 h 215049"/>
                <a:gd name="connsiteX13" fmla="*/ 111638 w 197178"/>
                <a:gd name="connsiteY13" fmla="*/ 128277 h 21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178" h="215049">
                  <a:moveTo>
                    <a:pt x="51490" y="215049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4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lnTo>
                    <a:pt x="197178" y="4872"/>
                  </a:lnTo>
                  <a:lnTo>
                    <a:pt x="170795" y="42934"/>
                  </a:lnTo>
                  <a:lnTo>
                    <a:pt x="164950" y="40156"/>
                  </a:ln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1282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4" name="Forme libre : forme 343">
              <a:extLst>
                <a:ext uri="{FF2B5EF4-FFF2-40B4-BE49-F238E27FC236}">
                  <a16:creationId xmlns:a16="http://schemas.microsoft.com/office/drawing/2014/main" id="{79B4D19B-E848-47AB-BAFE-59EBF555A6F5}"/>
                </a:ext>
              </a:extLst>
            </p:cNvPr>
            <p:cNvSpPr/>
            <p:nvPr/>
          </p:nvSpPr>
          <p:spPr>
            <a:xfrm rot="8716295">
              <a:off x="56555" y="14742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5" name="Forme libre : forme 344">
              <a:extLst>
                <a:ext uri="{FF2B5EF4-FFF2-40B4-BE49-F238E27FC236}">
                  <a16:creationId xmlns:a16="http://schemas.microsoft.com/office/drawing/2014/main" id="{0496B299-828A-4BBC-966F-5FA47083E3CE}"/>
                </a:ext>
              </a:extLst>
            </p:cNvPr>
            <p:cNvSpPr/>
            <p:nvPr/>
          </p:nvSpPr>
          <p:spPr>
            <a:xfrm rot="8716295">
              <a:off x="145947" y="15034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6" name="Forme libre : forme 345">
              <a:extLst>
                <a:ext uri="{FF2B5EF4-FFF2-40B4-BE49-F238E27FC236}">
                  <a16:creationId xmlns:a16="http://schemas.microsoft.com/office/drawing/2014/main" id="{47AF6C7D-4B3B-4997-9D6C-9505A068BCE6}"/>
                </a:ext>
              </a:extLst>
            </p:cNvPr>
            <p:cNvSpPr/>
            <p:nvPr/>
          </p:nvSpPr>
          <p:spPr>
            <a:xfrm rot="8716295">
              <a:off x="-21870" y="1443501"/>
              <a:ext cx="68614" cy="55323"/>
            </a:xfrm>
            <a:custGeom>
              <a:avLst/>
              <a:gdLst>
                <a:gd name="connsiteX0" fmla="*/ 0 w 68614"/>
                <a:gd name="connsiteY0" fmla="*/ 55323 h 55323"/>
                <a:gd name="connsiteX1" fmla="*/ 0 w 68614"/>
                <a:gd name="connsiteY1" fmla="*/ 0 h 55323"/>
                <a:gd name="connsiteX2" fmla="*/ 68614 w 68614"/>
                <a:gd name="connsiteY2" fmla="*/ 0 h 55323"/>
                <a:gd name="connsiteX3" fmla="*/ 30266 w 68614"/>
                <a:gd name="connsiteY3" fmla="*/ 55323 h 55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614" h="55323">
                  <a:moveTo>
                    <a:pt x="0" y="55323"/>
                  </a:moveTo>
                  <a:lnTo>
                    <a:pt x="0" y="0"/>
                  </a:lnTo>
                  <a:lnTo>
                    <a:pt x="68614" y="0"/>
                  </a:lnTo>
                  <a:lnTo>
                    <a:pt x="30266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7" name="Forme libre : forme 346">
              <a:extLst>
                <a:ext uri="{FF2B5EF4-FFF2-40B4-BE49-F238E27FC236}">
                  <a16:creationId xmlns:a16="http://schemas.microsoft.com/office/drawing/2014/main" id="{6A925E12-2BFF-4625-A0A6-B147409EE83D}"/>
                </a:ext>
              </a:extLst>
            </p:cNvPr>
            <p:cNvSpPr/>
            <p:nvPr/>
          </p:nvSpPr>
          <p:spPr>
            <a:xfrm rot="8716295">
              <a:off x="35817" y="1618109"/>
              <a:ext cx="103435" cy="203897"/>
            </a:xfrm>
            <a:custGeom>
              <a:avLst/>
              <a:gdLst>
                <a:gd name="connsiteX0" fmla="*/ 87556 w 103435"/>
                <a:gd name="connsiteY0" fmla="*/ 203897 h 203897"/>
                <a:gd name="connsiteX1" fmla="*/ 43288 w 103435"/>
                <a:gd name="connsiteY1" fmla="*/ 161305 h 203897"/>
                <a:gd name="connsiteX2" fmla="*/ 43288 w 103435"/>
                <a:gd name="connsiteY2" fmla="*/ 16404 h 203897"/>
                <a:gd name="connsiteX3" fmla="*/ 0 w 103435"/>
                <a:gd name="connsiteY3" fmla="*/ 16404 h 203897"/>
                <a:gd name="connsiteX4" fmla="*/ 0 w 103435"/>
                <a:gd name="connsiteY4" fmla="*/ 2278 h 203897"/>
                <a:gd name="connsiteX5" fmla="*/ 103435 w 103435"/>
                <a:gd name="connsiteY5" fmla="*/ 0 h 203897"/>
                <a:gd name="connsiteX6" fmla="*/ 103435 w 103435"/>
                <a:gd name="connsiteY6" fmla="*/ 180989 h 203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03897">
                  <a:moveTo>
                    <a:pt x="87556" y="203897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1809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8" name="Forme libre : forme 347">
              <a:extLst>
                <a:ext uri="{FF2B5EF4-FFF2-40B4-BE49-F238E27FC236}">
                  <a16:creationId xmlns:a16="http://schemas.microsoft.com/office/drawing/2014/main" id="{8F161AAD-ABF3-4F08-A5E7-178FA67C468C}"/>
                </a:ext>
              </a:extLst>
            </p:cNvPr>
            <p:cNvSpPr/>
            <p:nvPr/>
          </p:nvSpPr>
          <p:spPr>
            <a:xfrm rot="7484129">
              <a:off x="139430" y="17950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9" name="Forme libre : forme 348">
              <a:extLst>
                <a:ext uri="{FF2B5EF4-FFF2-40B4-BE49-F238E27FC236}">
                  <a16:creationId xmlns:a16="http://schemas.microsoft.com/office/drawing/2014/main" id="{2B2677AB-A960-4EDE-895B-90B39923E929}"/>
                </a:ext>
              </a:extLst>
            </p:cNvPr>
            <p:cNvSpPr/>
            <p:nvPr/>
          </p:nvSpPr>
          <p:spPr>
            <a:xfrm rot="13089394">
              <a:off x="244250" y="17615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0" name="Forme libre : forme 349">
              <a:extLst>
                <a:ext uri="{FF2B5EF4-FFF2-40B4-BE49-F238E27FC236}">
                  <a16:creationId xmlns:a16="http://schemas.microsoft.com/office/drawing/2014/main" id="{57CCAF2A-AD40-4587-8C0B-9AD3AA1B47B2}"/>
                </a:ext>
              </a:extLst>
            </p:cNvPr>
            <p:cNvSpPr/>
            <p:nvPr/>
          </p:nvSpPr>
          <p:spPr>
            <a:xfrm rot="8716295">
              <a:off x="429835" y="15699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1" name="Forme libre : forme 350">
              <a:extLst>
                <a:ext uri="{FF2B5EF4-FFF2-40B4-BE49-F238E27FC236}">
                  <a16:creationId xmlns:a16="http://schemas.microsoft.com/office/drawing/2014/main" id="{1CD46395-0105-4DB9-A258-02757ED2970C}"/>
                </a:ext>
              </a:extLst>
            </p:cNvPr>
            <p:cNvSpPr/>
            <p:nvPr/>
          </p:nvSpPr>
          <p:spPr>
            <a:xfrm rot="8716295">
              <a:off x="378030" y="14663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2" name="Forme libre : forme 351">
              <a:extLst>
                <a:ext uri="{FF2B5EF4-FFF2-40B4-BE49-F238E27FC236}">
                  <a16:creationId xmlns:a16="http://schemas.microsoft.com/office/drawing/2014/main" id="{792A22ED-7042-473B-B5F0-A8F38B0EAB40}"/>
                </a:ext>
              </a:extLst>
            </p:cNvPr>
            <p:cNvSpPr/>
            <p:nvPr/>
          </p:nvSpPr>
          <p:spPr>
            <a:xfrm rot="8716295">
              <a:off x="134784" y="14965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3" name="Forme libre : forme 352">
              <a:extLst>
                <a:ext uri="{FF2B5EF4-FFF2-40B4-BE49-F238E27FC236}">
                  <a16:creationId xmlns:a16="http://schemas.microsoft.com/office/drawing/2014/main" id="{F026E106-3ED5-479C-A7E5-1D0CF59276FB}"/>
                </a:ext>
              </a:extLst>
            </p:cNvPr>
            <p:cNvSpPr/>
            <p:nvPr/>
          </p:nvSpPr>
          <p:spPr>
            <a:xfrm rot="8716295">
              <a:off x="312236" y="13372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4" name="Forme libre : forme 353">
              <a:extLst>
                <a:ext uri="{FF2B5EF4-FFF2-40B4-BE49-F238E27FC236}">
                  <a16:creationId xmlns:a16="http://schemas.microsoft.com/office/drawing/2014/main" id="{A652AA44-0788-418A-BCB7-7692D06F9F9C}"/>
                </a:ext>
              </a:extLst>
            </p:cNvPr>
            <p:cNvSpPr/>
            <p:nvPr/>
          </p:nvSpPr>
          <p:spPr>
            <a:xfrm rot="8716295">
              <a:off x="-17798" y="949199"/>
              <a:ext cx="39526" cy="50123"/>
            </a:xfrm>
            <a:custGeom>
              <a:avLst/>
              <a:gdLst>
                <a:gd name="connsiteX0" fmla="*/ 0 w 39526"/>
                <a:gd name="connsiteY0" fmla="*/ 50123 h 50123"/>
                <a:gd name="connsiteX1" fmla="*/ 0 w 39526"/>
                <a:gd name="connsiteY1" fmla="*/ 0 h 50123"/>
                <a:gd name="connsiteX2" fmla="*/ 39526 w 39526"/>
                <a:gd name="connsiteY2" fmla="*/ 0 h 50123"/>
                <a:gd name="connsiteX3" fmla="*/ 4782 w 39526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26" h="50123">
                  <a:moveTo>
                    <a:pt x="0" y="50123"/>
                  </a:moveTo>
                  <a:lnTo>
                    <a:pt x="0" y="0"/>
                  </a:lnTo>
                  <a:lnTo>
                    <a:pt x="39526" y="0"/>
                  </a:lnTo>
                  <a:lnTo>
                    <a:pt x="4782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5" name="Forme libre : forme 354">
              <a:extLst>
                <a:ext uri="{FF2B5EF4-FFF2-40B4-BE49-F238E27FC236}">
                  <a16:creationId xmlns:a16="http://schemas.microsoft.com/office/drawing/2014/main" id="{CC7F2B2F-A9EF-4436-92EE-F187A921B5A2}"/>
                </a:ext>
              </a:extLst>
            </p:cNvPr>
            <p:cNvSpPr/>
            <p:nvPr/>
          </p:nvSpPr>
          <p:spPr>
            <a:xfrm rot="8716295">
              <a:off x="-64996" y="834728"/>
              <a:ext cx="249650" cy="254774"/>
            </a:xfrm>
            <a:custGeom>
              <a:avLst/>
              <a:gdLst>
                <a:gd name="connsiteX0" fmla="*/ 51490 w 249650"/>
                <a:gd name="connsiteY0" fmla="*/ 254774 h 254774"/>
                <a:gd name="connsiteX1" fmla="*/ 51490 w 249650"/>
                <a:gd name="connsiteY1" fmla="*/ 45624 h 254774"/>
                <a:gd name="connsiteX2" fmla="*/ 0 w 249650"/>
                <a:gd name="connsiteY2" fmla="*/ 45624 h 254774"/>
                <a:gd name="connsiteX3" fmla="*/ 0 w 249650"/>
                <a:gd name="connsiteY3" fmla="*/ 1425 h 254774"/>
                <a:gd name="connsiteX4" fmla="*/ 104803 w 249650"/>
                <a:gd name="connsiteY4" fmla="*/ 1425 h 254774"/>
                <a:gd name="connsiteX5" fmla="*/ 104803 w 249650"/>
                <a:gd name="connsiteY5" fmla="*/ 75242 h 254774"/>
                <a:gd name="connsiteX6" fmla="*/ 106169 w 249650"/>
                <a:gd name="connsiteY6" fmla="*/ 75242 h 254774"/>
                <a:gd name="connsiteX7" fmla="*/ 154014 w 249650"/>
                <a:gd name="connsiteY7" fmla="*/ 5981 h 254774"/>
                <a:gd name="connsiteX8" fmla="*/ 185455 w 249650"/>
                <a:gd name="connsiteY8" fmla="*/ 57 h 254774"/>
                <a:gd name="connsiteX9" fmla="*/ 240647 w 249650"/>
                <a:gd name="connsiteY9" fmla="*/ 22727 h 254774"/>
                <a:gd name="connsiteX10" fmla="*/ 249650 w 249650"/>
                <a:gd name="connsiteY10" fmla="*/ 52327 h 254774"/>
                <a:gd name="connsiteX11" fmla="*/ 218795 w 249650"/>
                <a:gd name="connsiteY11" fmla="*/ 96841 h 254774"/>
                <a:gd name="connsiteX12" fmla="*/ 198669 w 249650"/>
                <a:gd name="connsiteY12" fmla="*/ 98025 h 254774"/>
                <a:gd name="connsiteX13" fmla="*/ 198669 w 249650"/>
                <a:gd name="connsiteY13" fmla="*/ 81621 h 254774"/>
                <a:gd name="connsiteX14" fmla="*/ 164950 w 249650"/>
                <a:gd name="connsiteY14" fmla="*/ 40156 h 254774"/>
                <a:gd name="connsiteX15" fmla="*/ 111638 w 249650"/>
                <a:gd name="connsiteY15" fmla="*/ 127643 h 254774"/>
                <a:gd name="connsiteX16" fmla="*/ 111638 w 249650"/>
                <a:gd name="connsiteY16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9650" h="254774">
                  <a:moveTo>
                    <a:pt x="51490" y="254774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08922" y="-398"/>
                    <a:pt x="227718" y="7576"/>
                    <a:pt x="240647" y="22727"/>
                  </a:cubicBezTo>
                  <a:lnTo>
                    <a:pt x="249650" y="52327"/>
                  </a:lnTo>
                  <a:lnTo>
                    <a:pt x="218795" y="96841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6" name="Forme libre : forme 355">
              <a:extLst>
                <a:ext uri="{FF2B5EF4-FFF2-40B4-BE49-F238E27FC236}">
                  <a16:creationId xmlns:a16="http://schemas.microsoft.com/office/drawing/2014/main" id="{B491F0AE-2B60-457D-9F7E-DF3C2D622FF0}"/>
                </a:ext>
              </a:extLst>
            </p:cNvPr>
            <p:cNvSpPr/>
            <p:nvPr/>
          </p:nvSpPr>
          <p:spPr>
            <a:xfrm rot="7484129">
              <a:off x="-63314" y="1172497"/>
              <a:ext cx="203848" cy="146395"/>
            </a:xfrm>
            <a:custGeom>
              <a:avLst/>
              <a:gdLst>
                <a:gd name="connsiteX0" fmla="*/ 0 w 203848"/>
                <a:gd name="connsiteY0" fmla="*/ 55323 h 146395"/>
                <a:gd name="connsiteX1" fmla="*/ 0 w 203848"/>
                <a:gd name="connsiteY1" fmla="*/ 0 h 146395"/>
                <a:gd name="connsiteX2" fmla="*/ 203848 w 203848"/>
                <a:gd name="connsiteY2" fmla="*/ 0 h 146395"/>
                <a:gd name="connsiteX3" fmla="*/ 203847 w 203848"/>
                <a:gd name="connsiteY3" fmla="*/ 49512 h 146395"/>
                <a:gd name="connsiteX4" fmla="*/ 195466 w 203848"/>
                <a:gd name="connsiteY4" fmla="*/ 55323 h 146395"/>
                <a:gd name="connsiteX5" fmla="*/ 139055 w 203848"/>
                <a:gd name="connsiteY5" fmla="*/ 55323 h 146395"/>
                <a:gd name="connsiteX6" fmla="*/ 121388 w 203848"/>
                <a:gd name="connsiteY6" fmla="*/ 106685 h 146395"/>
                <a:gd name="connsiteX7" fmla="*/ 64115 w 203848"/>
                <a:gd name="connsiteY7" fmla="*/ 146395 h 146395"/>
                <a:gd name="connsiteX8" fmla="*/ 47847 w 203848"/>
                <a:gd name="connsiteY8" fmla="*/ 116129 h 146395"/>
                <a:gd name="connsiteX9" fmla="*/ 69777 w 203848"/>
                <a:gd name="connsiteY9" fmla="*/ 55323 h 146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848" h="146395">
                  <a:moveTo>
                    <a:pt x="0" y="55323"/>
                  </a:moveTo>
                  <a:lnTo>
                    <a:pt x="0" y="0"/>
                  </a:lnTo>
                  <a:lnTo>
                    <a:pt x="203848" y="0"/>
                  </a:lnTo>
                  <a:lnTo>
                    <a:pt x="203847" y="49512"/>
                  </a:lnTo>
                  <a:lnTo>
                    <a:pt x="195466" y="55323"/>
                  </a:lnTo>
                  <a:lnTo>
                    <a:pt x="139055" y="55323"/>
                  </a:lnTo>
                  <a:lnTo>
                    <a:pt x="121388" y="106685"/>
                  </a:lnTo>
                  <a:lnTo>
                    <a:pt x="64115" y="146395"/>
                  </a:lnTo>
                  <a:lnTo>
                    <a:pt x="47847" y="116129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7" name="Forme libre : forme 356">
              <a:extLst>
                <a:ext uri="{FF2B5EF4-FFF2-40B4-BE49-F238E27FC236}">
                  <a16:creationId xmlns:a16="http://schemas.microsoft.com/office/drawing/2014/main" id="{566B0F1B-76F2-42A3-83ED-13519BAD8E0C}"/>
                </a:ext>
              </a:extLst>
            </p:cNvPr>
            <p:cNvSpPr/>
            <p:nvPr/>
          </p:nvSpPr>
          <p:spPr>
            <a:xfrm rot="13089394">
              <a:off x="25311" y="109952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8" name="Forme libre : forme 357">
              <a:extLst>
                <a:ext uri="{FF2B5EF4-FFF2-40B4-BE49-F238E27FC236}">
                  <a16:creationId xmlns:a16="http://schemas.microsoft.com/office/drawing/2014/main" id="{6ACA7109-A9A0-4CC8-B8F0-2B22C7DA70BF}"/>
                </a:ext>
              </a:extLst>
            </p:cNvPr>
            <p:cNvSpPr/>
            <p:nvPr/>
          </p:nvSpPr>
          <p:spPr>
            <a:xfrm rot="8716295">
              <a:off x="210896" y="90784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9" name="Forme libre : forme 358">
              <a:extLst>
                <a:ext uri="{FF2B5EF4-FFF2-40B4-BE49-F238E27FC236}">
                  <a16:creationId xmlns:a16="http://schemas.microsoft.com/office/drawing/2014/main" id="{452ADC31-6E2B-47AB-819B-06E9BDE7841B}"/>
                </a:ext>
              </a:extLst>
            </p:cNvPr>
            <p:cNvSpPr/>
            <p:nvPr/>
          </p:nvSpPr>
          <p:spPr>
            <a:xfrm rot="8716295">
              <a:off x="159091" y="80425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0" name="Forme libre : forme 359">
              <a:extLst>
                <a:ext uri="{FF2B5EF4-FFF2-40B4-BE49-F238E27FC236}">
                  <a16:creationId xmlns:a16="http://schemas.microsoft.com/office/drawing/2014/main" id="{BCEE9B8C-AA03-4719-891E-01DB914C78AC}"/>
                </a:ext>
              </a:extLst>
            </p:cNvPr>
            <p:cNvSpPr/>
            <p:nvPr/>
          </p:nvSpPr>
          <p:spPr>
            <a:xfrm rot="8716295">
              <a:off x="93297" y="67523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1" name="Forme libre : forme 360">
              <a:extLst>
                <a:ext uri="{FF2B5EF4-FFF2-40B4-BE49-F238E27FC236}">
                  <a16:creationId xmlns:a16="http://schemas.microsoft.com/office/drawing/2014/main" id="{F9DD0D80-4138-4478-988E-136F3B8038CE}"/>
                </a:ext>
              </a:extLst>
            </p:cNvPr>
            <p:cNvSpPr/>
            <p:nvPr/>
          </p:nvSpPr>
          <p:spPr>
            <a:xfrm rot="8716295">
              <a:off x="-7001" y="316701"/>
              <a:ext cx="14001" cy="20198"/>
            </a:xfrm>
            <a:custGeom>
              <a:avLst/>
              <a:gdLst>
                <a:gd name="connsiteX0" fmla="*/ 0 w 14001"/>
                <a:gd name="connsiteY0" fmla="*/ 20198 h 20198"/>
                <a:gd name="connsiteX1" fmla="*/ 0 w 14001"/>
                <a:gd name="connsiteY1" fmla="*/ 0 h 20198"/>
                <a:gd name="connsiteX2" fmla="*/ 14001 w 14001"/>
                <a:gd name="connsiteY2" fmla="*/ 0 h 2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01" h="20198">
                  <a:moveTo>
                    <a:pt x="0" y="20198"/>
                  </a:moveTo>
                  <a:lnTo>
                    <a:pt x="0" y="0"/>
                  </a:lnTo>
                  <a:lnTo>
                    <a:pt x="1400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2" name="Forme libre : forme 361">
              <a:extLst>
                <a:ext uri="{FF2B5EF4-FFF2-40B4-BE49-F238E27FC236}">
                  <a16:creationId xmlns:a16="http://schemas.microsoft.com/office/drawing/2014/main" id="{DF35AC08-7EAC-4D88-B60D-06D59DB2131D}"/>
                </a:ext>
              </a:extLst>
            </p:cNvPr>
            <p:cNvSpPr/>
            <p:nvPr/>
          </p:nvSpPr>
          <p:spPr>
            <a:xfrm rot="13089394">
              <a:off x="-81658" y="472652"/>
              <a:ext cx="173631" cy="237684"/>
            </a:xfrm>
            <a:custGeom>
              <a:avLst/>
              <a:gdLst>
                <a:gd name="connsiteX0" fmla="*/ 173631 w 173631"/>
                <a:gd name="connsiteY0" fmla="*/ 220990 h 237684"/>
                <a:gd name="connsiteX1" fmla="*/ 130972 w 173631"/>
                <a:gd name="connsiteY1" fmla="*/ 232382 h 237684"/>
                <a:gd name="connsiteX2" fmla="*/ 91597 w 173631"/>
                <a:gd name="connsiteY2" fmla="*/ 237521 h 237684"/>
                <a:gd name="connsiteX3" fmla="*/ 23727 w 173631"/>
                <a:gd name="connsiteY3" fmla="*/ 209931 h 237684"/>
                <a:gd name="connsiteX4" fmla="*/ 0 w 173631"/>
                <a:gd name="connsiteY4" fmla="*/ 115023 h 237684"/>
                <a:gd name="connsiteX5" fmla="*/ 0 w 173631"/>
                <a:gd name="connsiteY5" fmla="*/ 0 h 237684"/>
                <a:gd name="connsiteX6" fmla="*/ 76176 w 173631"/>
                <a:gd name="connsiteY6" fmla="*/ 96953 h 237684"/>
                <a:gd name="connsiteX7" fmla="*/ 76768 w 173631"/>
                <a:gd name="connsiteY7" fmla="*/ 109023 h 237684"/>
                <a:gd name="connsiteX8" fmla="*/ 87734 w 173631"/>
                <a:gd name="connsiteY8" fmla="*/ 154201 h 237684"/>
                <a:gd name="connsiteX9" fmla="*/ 111117 w 173631"/>
                <a:gd name="connsiteY9" fmla="*/ 181514 h 237684"/>
                <a:gd name="connsiteX10" fmla="*/ 148930 w 173631"/>
                <a:gd name="connsiteY10" fmla="*/ 189552 h 237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3631" h="237684">
                  <a:moveTo>
                    <a:pt x="173631" y="220990"/>
                  </a:moveTo>
                  <a:lnTo>
                    <a:pt x="130972" y="232382"/>
                  </a:lnTo>
                  <a:cubicBezTo>
                    <a:pt x="116428" y="235210"/>
                    <a:pt x="103047" y="236831"/>
                    <a:pt x="91597" y="237521"/>
                  </a:cubicBezTo>
                  <a:cubicBezTo>
                    <a:pt x="66215" y="239176"/>
                    <a:pt x="41384" y="228141"/>
                    <a:pt x="23727" y="209931"/>
                  </a:cubicBezTo>
                  <a:cubicBezTo>
                    <a:pt x="4966" y="191722"/>
                    <a:pt x="0" y="160270"/>
                    <a:pt x="0" y="115023"/>
                  </a:cubicBezTo>
                  <a:lnTo>
                    <a:pt x="0" y="0"/>
                  </a:lnTo>
                  <a:lnTo>
                    <a:pt x="76176" y="96953"/>
                  </a:lnTo>
                  <a:lnTo>
                    <a:pt x="76768" y="109023"/>
                  </a:lnTo>
                  <a:cubicBezTo>
                    <a:pt x="79044" y="124404"/>
                    <a:pt x="82768" y="139578"/>
                    <a:pt x="87734" y="154201"/>
                  </a:cubicBezTo>
                  <a:cubicBezTo>
                    <a:pt x="92149" y="166340"/>
                    <a:pt x="100012" y="175445"/>
                    <a:pt x="111117" y="181514"/>
                  </a:cubicBezTo>
                  <a:lnTo>
                    <a:pt x="148930" y="1895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3" name="Forme libre : forme 362">
              <a:extLst>
                <a:ext uri="{FF2B5EF4-FFF2-40B4-BE49-F238E27FC236}">
                  <a16:creationId xmlns:a16="http://schemas.microsoft.com/office/drawing/2014/main" id="{9AFF3E46-2559-4C6F-8BF3-7DBBEBA30E07}"/>
                </a:ext>
              </a:extLst>
            </p:cNvPr>
            <p:cNvSpPr/>
            <p:nvPr/>
          </p:nvSpPr>
          <p:spPr>
            <a:xfrm rot="8716295">
              <a:off x="-11774" y="24443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4" name="Forme libre : forme 363">
              <a:extLst>
                <a:ext uri="{FF2B5EF4-FFF2-40B4-BE49-F238E27FC236}">
                  <a16:creationId xmlns:a16="http://schemas.microsoft.com/office/drawing/2014/main" id="{97E07195-EA95-4E14-9CB9-A69F34AE04C5}"/>
                </a:ext>
              </a:extLst>
            </p:cNvPr>
            <p:cNvSpPr/>
            <p:nvPr/>
          </p:nvSpPr>
          <p:spPr>
            <a:xfrm rot="8716295">
              <a:off x="-30092" y="143486"/>
              <a:ext cx="77721" cy="97260"/>
            </a:xfrm>
            <a:custGeom>
              <a:avLst/>
              <a:gdLst>
                <a:gd name="connsiteX0" fmla="*/ 15821 w 77721"/>
                <a:gd name="connsiteY0" fmla="*/ 97260 h 97260"/>
                <a:gd name="connsiteX1" fmla="*/ 0 w 77721"/>
                <a:gd name="connsiteY1" fmla="*/ 59790 h 97260"/>
                <a:gd name="connsiteX2" fmla="*/ 0 w 77721"/>
                <a:gd name="connsiteY2" fmla="*/ 58869 h 97260"/>
                <a:gd name="connsiteX3" fmla="*/ 17477 w 77721"/>
                <a:gd name="connsiteY3" fmla="*/ 17477 h 97260"/>
                <a:gd name="connsiteX4" fmla="*/ 58869 w 77721"/>
                <a:gd name="connsiteY4" fmla="*/ 0 h 97260"/>
                <a:gd name="connsiteX5" fmla="*/ 77721 w 77721"/>
                <a:gd name="connsiteY5" fmla="*/ 7960 h 97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721" h="97260">
                  <a:moveTo>
                    <a:pt x="15821" y="97260"/>
                  </a:moveTo>
                  <a:lnTo>
                    <a:pt x="0" y="59790"/>
                  </a:ln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lnTo>
                    <a:pt x="77721" y="79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5" name="Forme libre : forme 364">
              <a:extLst>
                <a:ext uri="{FF2B5EF4-FFF2-40B4-BE49-F238E27FC236}">
                  <a16:creationId xmlns:a16="http://schemas.microsoft.com/office/drawing/2014/main" id="{F46DA911-E7B0-4E9F-BFB6-93C98E7208E7}"/>
                </a:ext>
              </a:extLst>
            </p:cNvPr>
            <p:cNvSpPr/>
            <p:nvPr/>
          </p:nvSpPr>
          <p:spPr>
            <a:xfrm rot="8716295">
              <a:off x="-17797" y="3452694"/>
              <a:ext cx="58455" cy="44199"/>
            </a:xfrm>
            <a:custGeom>
              <a:avLst/>
              <a:gdLst>
                <a:gd name="connsiteX0" fmla="*/ 0 w 58455"/>
                <a:gd name="connsiteY0" fmla="*/ 44199 h 44199"/>
                <a:gd name="connsiteX1" fmla="*/ 0 w 58455"/>
                <a:gd name="connsiteY1" fmla="*/ 0 h 44199"/>
                <a:gd name="connsiteX2" fmla="*/ 58455 w 58455"/>
                <a:gd name="connsiteY2" fmla="*/ 0 h 44199"/>
                <a:gd name="connsiteX3" fmla="*/ 27817 w 58455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55" h="44199">
                  <a:moveTo>
                    <a:pt x="0" y="44199"/>
                  </a:moveTo>
                  <a:lnTo>
                    <a:pt x="0" y="0"/>
                  </a:lnTo>
                  <a:lnTo>
                    <a:pt x="58455" y="0"/>
                  </a:lnTo>
                  <a:lnTo>
                    <a:pt x="27817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6" name="Forme libre : forme 365">
              <a:extLst>
                <a:ext uri="{FF2B5EF4-FFF2-40B4-BE49-F238E27FC236}">
                  <a16:creationId xmlns:a16="http://schemas.microsoft.com/office/drawing/2014/main" id="{C1D02749-F8C1-46C8-BEE0-16746055E93D}"/>
                </a:ext>
              </a:extLst>
            </p:cNvPr>
            <p:cNvSpPr/>
            <p:nvPr/>
          </p:nvSpPr>
          <p:spPr>
            <a:xfrm rot="13089394">
              <a:off x="-91485" y="3601812"/>
              <a:ext cx="206527" cy="292654"/>
            </a:xfrm>
            <a:custGeom>
              <a:avLst/>
              <a:gdLst>
                <a:gd name="connsiteX0" fmla="*/ 206527 w 206527"/>
                <a:gd name="connsiteY0" fmla="*/ 258693 h 292654"/>
                <a:gd name="connsiteX1" fmla="*/ 177331 w 206527"/>
                <a:gd name="connsiteY1" fmla="*/ 274971 h 292654"/>
                <a:gd name="connsiteX2" fmla="*/ 91597 w 206527"/>
                <a:gd name="connsiteY2" fmla="*/ 292491 h 292654"/>
                <a:gd name="connsiteX3" fmla="*/ 23727 w 206527"/>
                <a:gd name="connsiteY3" fmla="*/ 264901 h 292654"/>
                <a:gd name="connsiteX4" fmla="*/ 0 w 206527"/>
                <a:gd name="connsiteY4" fmla="*/ 169993 h 292654"/>
                <a:gd name="connsiteX5" fmla="*/ 0 w 206527"/>
                <a:gd name="connsiteY5" fmla="*/ 1698 h 292654"/>
                <a:gd name="connsiteX6" fmla="*/ 3273 w 206527"/>
                <a:gd name="connsiteY6" fmla="*/ 0 h 292654"/>
                <a:gd name="connsiteX7" fmla="*/ 74297 w 206527"/>
                <a:gd name="connsiteY7" fmla="*/ 90396 h 292654"/>
                <a:gd name="connsiteX8" fmla="*/ 74492 w 206527"/>
                <a:gd name="connsiteY8" fmla="*/ 117574 h 292654"/>
                <a:gd name="connsiteX9" fmla="*/ 87734 w 206527"/>
                <a:gd name="connsiteY9" fmla="*/ 209171 h 292654"/>
                <a:gd name="connsiteX10" fmla="*/ 153949 w 206527"/>
                <a:gd name="connsiteY10" fmla="*/ 245589 h 292654"/>
                <a:gd name="connsiteX11" fmla="*/ 191049 w 206527"/>
                <a:gd name="connsiteY11" fmla="*/ 238993 h 292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527" h="292654">
                  <a:moveTo>
                    <a:pt x="206527" y="258693"/>
                  </a:moveTo>
                  <a:lnTo>
                    <a:pt x="177331" y="274971"/>
                  </a:lnTo>
                  <a:cubicBezTo>
                    <a:pt x="145121" y="286007"/>
                    <a:pt x="114496" y="291111"/>
                    <a:pt x="91597" y="292491"/>
                  </a:cubicBezTo>
                  <a:cubicBezTo>
                    <a:pt x="66215" y="294146"/>
                    <a:pt x="41385" y="283111"/>
                    <a:pt x="23727" y="264901"/>
                  </a:cubicBezTo>
                  <a:cubicBezTo>
                    <a:pt x="4966" y="246692"/>
                    <a:pt x="0" y="215240"/>
                    <a:pt x="0" y="169993"/>
                  </a:cubicBezTo>
                  <a:lnTo>
                    <a:pt x="0" y="1698"/>
                  </a:lnTo>
                  <a:lnTo>
                    <a:pt x="3273" y="0"/>
                  </a:lnTo>
                  <a:lnTo>
                    <a:pt x="74297" y="90396"/>
                  </a:lnTo>
                  <a:lnTo>
                    <a:pt x="74492" y="117574"/>
                  </a:lnTo>
                  <a:cubicBezTo>
                    <a:pt x="72836" y="148474"/>
                    <a:pt x="77802" y="179926"/>
                    <a:pt x="87734" y="209171"/>
                  </a:cubicBezTo>
                  <a:cubicBezTo>
                    <a:pt x="96564" y="233450"/>
                    <a:pt x="119187" y="245589"/>
                    <a:pt x="153949" y="245589"/>
                  </a:cubicBezTo>
                  <a:lnTo>
                    <a:pt x="191049" y="2389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7" name="Forme libre : forme 366">
              <a:extLst>
                <a:ext uri="{FF2B5EF4-FFF2-40B4-BE49-F238E27FC236}">
                  <a16:creationId xmlns:a16="http://schemas.microsoft.com/office/drawing/2014/main" id="{DE83541C-6C64-4EFA-96DA-32677B2F8AB7}"/>
                </a:ext>
              </a:extLst>
            </p:cNvPr>
            <p:cNvSpPr/>
            <p:nvPr/>
          </p:nvSpPr>
          <p:spPr>
            <a:xfrm rot="8716295">
              <a:off x="24761" y="33896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8" name="Forme libre : forme 367">
              <a:extLst>
                <a:ext uri="{FF2B5EF4-FFF2-40B4-BE49-F238E27FC236}">
                  <a16:creationId xmlns:a16="http://schemas.microsoft.com/office/drawing/2014/main" id="{97641E82-A92B-4DDB-9997-4330C2FFFC03}"/>
                </a:ext>
              </a:extLst>
            </p:cNvPr>
            <p:cNvSpPr/>
            <p:nvPr/>
          </p:nvSpPr>
          <p:spPr>
            <a:xfrm rot="8716295">
              <a:off x="-24047" y="3281741"/>
              <a:ext cx="106042" cy="113733"/>
            </a:xfrm>
            <a:custGeom>
              <a:avLst/>
              <a:gdLst>
                <a:gd name="connsiteX0" fmla="*/ 17477 w 106042"/>
                <a:gd name="connsiteY0" fmla="*/ 101182 h 113733"/>
                <a:gd name="connsiteX1" fmla="*/ 0 w 106042"/>
                <a:gd name="connsiteY1" fmla="*/ 59790 h 113733"/>
                <a:gd name="connsiteX2" fmla="*/ 0 w 106042"/>
                <a:gd name="connsiteY2" fmla="*/ 58869 h 113733"/>
                <a:gd name="connsiteX3" fmla="*/ 17477 w 106042"/>
                <a:gd name="connsiteY3" fmla="*/ 17477 h 113733"/>
                <a:gd name="connsiteX4" fmla="*/ 58869 w 106042"/>
                <a:gd name="connsiteY4" fmla="*/ 0 h 113733"/>
                <a:gd name="connsiteX5" fmla="*/ 100262 w 106042"/>
                <a:gd name="connsiteY5" fmla="*/ 17477 h 113733"/>
                <a:gd name="connsiteX6" fmla="*/ 106042 w 106042"/>
                <a:gd name="connsiteY6" fmla="*/ 31234 h 113733"/>
                <a:gd name="connsiteX7" fmla="*/ 48856 w 106042"/>
                <a:gd name="connsiteY7" fmla="*/ 113733 h 11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042" h="113733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cubicBezTo>
                    <a:pt x="74507" y="0"/>
                    <a:pt x="89224" y="6439"/>
                    <a:pt x="100262" y="17477"/>
                  </a:cubicBezTo>
                  <a:lnTo>
                    <a:pt x="106042" y="31234"/>
                  </a:lnTo>
                  <a:lnTo>
                    <a:pt x="48856" y="1137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9" name="Forme libre : forme 368">
              <a:extLst>
                <a:ext uri="{FF2B5EF4-FFF2-40B4-BE49-F238E27FC236}">
                  <a16:creationId xmlns:a16="http://schemas.microsoft.com/office/drawing/2014/main" id="{CA7B7E86-E158-4CCC-9F30-35FD45AC52DC}"/>
                </a:ext>
              </a:extLst>
            </p:cNvPr>
            <p:cNvSpPr/>
            <p:nvPr/>
          </p:nvSpPr>
          <p:spPr>
            <a:xfrm rot="8716295">
              <a:off x="-21924" y="3179872"/>
              <a:ext cx="45776" cy="62656"/>
            </a:xfrm>
            <a:custGeom>
              <a:avLst/>
              <a:gdLst>
                <a:gd name="connsiteX0" fmla="*/ 2345 w 45776"/>
                <a:gd name="connsiteY0" fmla="*/ 62656 h 62656"/>
                <a:gd name="connsiteX1" fmla="*/ 0 w 45776"/>
                <a:gd name="connsiteY1" fmla="*/ 57104 h 62656"/>
                <a:gd name="connsiteX2" fmla="*/ 0 w 45776"/>
                <a:gd name="connsiteY2" fmla="*/ 56183 h 62656"/>
                <a:gd name="connsiteX3" fmla="*/ 17477 w 45776"/>
                <a:gd name="connsiteY3" fmla="*/ 14791 h 62656"/>
                <a:gd name="connsiteX4" fmla="*/ 36449 w 45776"/>
                <a:gd name="connsiteY4" fmla="*/ 1913 h 62656"/>
                <a:gd name="connsiteX5" fmla="*/ 45776 w 45776"/>
                <a:gd name="connsiteY5" fmla="*/ 0 h 62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776" h="62656">
                  <a:moveTo>
                    <a:pt x="2345" y="62656"/>
                  </a:moveTo>
                  <a:lnTo>
                    <a:pt x="0" y="57104"/>
                  </a:lnTo>
                  <a:lnTo>
                    <a:pt x="0" y="56183"/>
                  </a:lnTo>
                  <a:cubicBezTo>
                    <a:pt x="0" y="40547"/>
                    <a:pt x="6439" y="25829"/>
                    <a:pt x="17477" y="14791"/>
                  </a:cubicBezTo>
                  <a:cubicBezTo>
                    <a:pt x="22996" y="9272"/>
                    <a:pt x="29435" y="4903"/>
                    <a:pt x="36449" y="1913"/>
                  </a:cubicBezTo>
                  <a:lnTo>
                    <a:pt x="4577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0" name="Forme libre : forme 369">
              <a:extLst>
                <a:ext uri="{FF2B5EF4-FFF2-40B4-BE49-F238E27FC236}">
                  <a16:creationId xmlns:a16="http://schemas.microsoft.com/office/drawing/2014/main" id="{B95921A2-46DE-49F9-9F14-5364CEEC2044}"/>
                </a:ext>
              </a:extLst>
            </p:cNvPr>
            <p:cNvSpPr/>
            <p:nvPr/>
          </p:nvSpPr>
          <p:spPr>
            <a:xfrm rot="8716295">
              <a:off x="-21324" y="4100649"/>
              <a:ext cx="79113" cy="50123"/>
            </a:xfrm>
            <a:custGeom>
              <a:avLst/>
              <a:gdLst>
                <a:gd name="connsiteX0" fmla="*/ 0 w 79113"/>
                <a:gd name="connsiteY0" fmla="*/ 50123 h 50123"/>
                <a:gd name="connsiteX1" fmla="*/ 0 w 79113"/>
                <a:gd name="connsiteY1" fmla="*/ 0 h 50123"/>
                <a:gd name="connsiteX2" fmla="*/ 79113 w 79113"/>
                <a:gd name="connsiteY2" fmla="*/ 0 h 50123"/>
                <a:gd name="connsiteX3" fmla="*/ 44369 w 79113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113" h="50123">
                  <a:moveTo>
                    <a:pt x="0" y="50123"/>
                  </a:moveTo>
                  <a:lnTo>
                    <a:pt x="0" y="0"/>
                  </a:lnTo>
                  <a:lnTo>
                    <a:pt x="79113" y="0"/>
                  </a:lnTo>
                  <a:lnTo>
                    <a:pt x="44369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1" name="Forme libre : forme 370">
              <a:extLst>
                <a:ext uri="{FF2B5EF4-FFF2-40B4-BE49-F238E27FC236}">
                  <a16:creationId xmlns:a16="http://schemas.microsoft.com/office/drawing/2014/main" id="{84FEE941-A7A7-41F0-870B-FF2E21B132E9}"/>
                </a:ext>
              </a:extLst>
            </p:cNvPr>
            <p:cNvSpPr/>
            <p:nvPr/>
          </p:nvSpPr>
          <p:spPr>
            <a:xfrm rot="8716295">
              <a:off x="-40457" y="398156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2" name="Forme libre : forme 371">
              <a:extLst>
                <a:ext uri="{FF2B5EF4-FFF2-40B4-BE49-F238E27FC236}">
                  <a16:creationId xmlns:a16="http://schemas.microsoft.com/office/drawing/2014/main" id="{ED05E8E5-B04C-426F-A5B3-FDFECB7FA8BB}"/>
                </a:ext>
              </a:extLst>
            </p:cNvPr>
            <p:cNvSpPr/>
            <p:nvPr/>
          </p:nvSpPr>
          <p:spPr>
            <a:xfrm rot="7484129">
              <a:off x="-46974" y="427316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3" name="Forme libre : forme 372">
              <a:extLst>
                <a:ext uri="{FF2B5EF4-FFF2-40B4-BE49-F238E27FC236}">
                  <a16:creationId xmlns:a16="http://schemas.microsoft.com/office/drawing/2014/main" id="{2455BBCE-F26C-4AF6-86DC-09C81861FE56}"/>
                </a:ext>
              </a:extLst>
            </p:cNvPr>
            <p:cNvSpPr/>
            <p:nvPr/>
          </p:nvSpPr>
          <p:spPr>
            <a:xfrm rot="13089394">
              <a:off x="57846" y="423970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4" name="Forme libre : forme 373">
              <a:extLst>
                <a:ext uri="{FF2B5EF4-FFF2-40B4-BE49-F238E27FC236}">
                  <a16:creationId xmlns:a16="http://schemas.microsoft.com/office/drawing/2014/main" id="{51373B92-194C-42B9-B764-40EA297AE7F9}"/>
                </a:ext>
              </a:extLst>
            </p:cNvPr>
            <p:cNvSpPr/>
            <p:nvPr/>
          </p:nvSpPr>
          <p:spPr>
            <a:xfrm rot="8716295">
              <a:off x="243431" y="404801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5" name="Forme libre : forme 374">
              <a:extLst>
                <a:ext uri="{FF2B5EF4-FFF2-40B4-BE49-F238E27FC236}">
                  <a16:creationId xmlns:a16="http://schemas.microsoft.com/office/drawing/2014/main" id="{F38EDEED-C414-448B-8D37-E62E6FF38F3A}"/>
                </a:ext>
              </a:extLst>
            </p:cNvPr>
            <p:cNvSpPr/>
            <p:nvPr/>
          </p:nvSpPr>
          <p:spPr>
            <a:xfrm rot="8716295">
              <a:off x="191626" y="39444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6" name="Forme libre : forme 375">
              <a:extLst>
                <a:ext uri="{FF2B5EF4-FFF2-40B4-BE49-F238E27FC236}">
                  <a16:creationId xmlns:a16="http://schemas.microsoft.com/office/drawing/2014/main" id="{1E970937-55EB-4E1D-94ED-92F0499DC22F}"/>
                </a:ext>
              </a:extLst>
            </p:cNvPr>
            <p:cNvSpPr/>
            <p:nvPr/>
          </p:nvSpPr>
          <p:spPr>
            <a:xfrm rot="8716295">
              <a:off x="125832" y="381540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7" name="Forme libre : forme 376">
              <a:extLst>
                <a:ext uri="{FF2B5EF4-FFF2-40B4-BE49-F238E27FC236}">
                  <a16:creationId xmlns:a16="http://schemas.microsoft.com/office/drawing/2014/main" id="{9890EDE8-10DA-45ED-AA77-40989F9FB014}"/>
                </a:ext>
              </a:extLst>
            </p:cNvPr>
            <p:cNvSpPr/>
            <p:nvPr/>
          </p:nvSpPr>
          <p:spPr>
            <a:xfrm rot="8716295">
              <a:off x="-73048" y="4876828"/>
              <a:ext cx="221382" cy="253349"/>
            </a:xfrm>
            <a:custGeom>
              <a:avLst/>
              <a:gdLst>
                <a:gd name="connsiteX0" fmla="*/ 51490 w 221382"/>
                <a:gd name="connsiteY0" fmla="*/ 253349 h 253349"/>
                <a:gd name="connsiteX1" fmla="*/ 51490 w 221382"/>
                <a:gd name="connsiteY1" fmla="*/ 44199 h 253349"/>
                <a:gd name="connsiteX2" fmla="*/ 0 w 221382"/>
                <a:gd name="connsiteY2" fmla="*/ 44199 h 253349"/>
                <a:gd name="connsiteX3" fmla="*/ 0 w 221382"/>
                <a:gd name="connsiteY3" fmla="*/ 0 h 253349"/>
                <a:gd name="connsiteX4" fmla="*/ 104803 w 221382"/>
                <a:gd name="connsiteY4" fmla="*/ 0 h 253349"/>
                <a:gd name="connsiteX5" fmla="*/ 104802 w 221382"/>
                <a:gd name="connsiteY5" fmla="*/ 73817 h 253349"/>
                <a:gd name="connsiteX6" fmla="*/ 106169 w 221382"/>
                <a:gd name="connsiteY6" fmla="*/ 73817 h 253349"/>
                <a:gd name="connsiteX7" fmla="*/ 154014 w 221382"/>
                <a:gd name="connsiteY7" fmla="*/ 4556 h 253349"/>
                <a:gd name="connsiteX8" fmla="*/ 174650 w 221382"/>
                <a:gd name="connsiteY8" fmla="*/ 668 h 253349"/>
                <a:gd name="connsiteX9" fmla="*/ 214075 w 221382"/>
                <a:gd name="connsiteY9" fmla="*/ 27996 h 253349"/>
                <a:gd name="connsiteX10" fmla="*/ 221382 w 221382"/>
                <a:gd name="connsiteY10" fmla="*/ 33060 h 253349"/>
                <a:gd name="connsiteX11" fmla="*/ 195540 w 221382"/>
                <a:gd name="connsiteY11" fmla="*/ 70341 h 253349"/>
                <a:gd name="connsiteX12" fmla="*/ 189157 w 221382"/>
                <a:gd name="connsiteY12" fmla="*/ 50236 h 253349"/>
                <a:gd name="connsiteX13" fmla="*/ 164950 w 221382"/>
                <a:gd name="connsiteY13" fmla="*/ 38731 h 253349"/>
                <a:gd name="connsiteX14" fmla="*/ 111638 w 221382"/>
                <a:gd name="connsiteY14" fmla="*/ 126218 h 253349"/>
                <a:gd name="connsiteX15" fmla="*/ 111638 w 221382"/>
                <a:gd name="connsiteY15" fmla="*/ 191383 h 253349"/>
                <a:gd name="connsiteX16" fmla="*/ 84096 w 221382"/>
                <a:gd name="connsiteY16" fmla="*/ 231117 h 253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1382" h="253349">
                  <a:moveTo>
                    <a:pt x="51490" y="253349"/>
                  </a:moveTo>
                  <a:lnTo>
                    <a:pt x="51490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104803" y="0"/>
                  </a:lnTo>
                  <a:lnTo>
                    <a:pt x="104802" y="73817"/>
                  </a:lnTo>
                  <a:lnTo>
                    <a:pt x="106169" y="73817"/>
                  </a:lnTo>
                  <a:cubicBezTo>
                    <a:pt x="120751" y="30529"/>
                    <a:pt x="132142" y="13670"/>
                    <a:pt x="154014" y="4556"/>
                  </a:cubicBezTo>
                  <a:lnTo>
                    <a:pt x="174650" y="668"/>
                  </a:lnTo>
                  <a:lnTo>
                    <a:pt x="214075" y="27996"/>
                  </a:lnTo>
                  <a:lnTo>
                    <a:pt x="221382" y="33060"/>
                  </a:lnTo>
                  <a:lnTo>
                    <a:pt x="195540" y="70341"/>
                  </a:lnTo>
                  <a:lnTo>
                    <a:pt x="189157" y="50236"/>
                  </a:lnTo>
                  <a:cubicBezTo>
                    <a:pt x="183177" y="42946"/>
                    <a:pt x="174747" y="38731"/>
                    <a:pt x="164950" y="38731"/>
                  </a:cubicBezTo>
                  <a:cubicBezTo>
                    <a:pt x="135788" y="38731"/>
                    <a:pt x="111638" y="77463"/>
                    <a:pt x="111638" y="126218"/>
                  </a:cubicBezTo>
                  <a:lnTo>
                    <a:pt x="111638" y="191383"/>
                  </a:lnTo>
                  <a:lnTo>
                    <a:pt x="84096" y="2311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8" name="Forme libre : forme 377">
              <a:extLst>
                <a:ext uri="{FF2B5EF4-FFF2-40B4-BE49-F238E27FC236}">
                  <a16:creationId xmlns:a16="http://schemas.microsoft.com/office/drawing/2014/main" id="{D89764C9-6568-42FB-A4A1-D9595395AB12}"/>
                </a:ext>
              </a:extLst>
            </p:cNvPr>
            <p:cNvSpPr/>
            <p:nvPr/>
          </p:nvSpPr>
          <p:spPr>
            <a:xfrm rot="8716295">
              <a:off x="93318" y="46120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9" name="Forme libre : forme 378">
              <a:extLst>
                <a:ext uri="{FF2B5EF4-FFF2-40B4-BE49-F238E27FC236}">
                  <a16:creationId xmlns:a16="http://schemas.microsoft.com/office/drawing/2014/main" id="{B3A51367-1D00-45C2-8806-45DE56D1374A}"/>
                </a:ext>
              </a:extLst>
            </p:cNvPr>
            <p:cNvSpPr/>
            <p:nvPr/>
          </p:nvSpPr>
          <p:spPr>
            <a:xfrm rot="8716295">
              <a:off x="182710" y="46412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0" name="Forme libre : forme 379">
              <a:extLst>
                <a:ext uri="{FF2B5EF4-FFF2-40B4-BE49-F238E27FC236}">
                  <a16:creationId xmlns:a16="http://schemas.microsoft.com/office/drawing/2014/main" id="{5796D538-9FA1-4B69-9ECE-72D45F20B58A}"/>
                </a:ext>
              </a:extLst>
            </p:cNvPr>
            <p:cNvSpPr/>
            <p:nvPr/>
          </p:nvSpPr>
          <p:spPr>
            <a:xfrm rot="8716295">
              <a:off x="-14524" y="4699631"/>
              <a:ext cx="49997" cy="54238"/>
            </a:xfrm>
            <a:custGeom>
              <a:avLst/>
              <a:gdLst>
                <a:gd name="connsiteX0" fmla="*/ 8658 w 49997"/>
                <a:gd name="connsiteY0" fmla="*/ 50123 h 54238"/>
                <a:gd name="connsiteX1" fmla="*/ 0 w 49997"/>
                <a:gd name="connsiteY1" fmla="*/ 29619 h 54238"/>
                <a:gd name="connsiteX2" fmla="*/ 0 w 49997"/>
                <a:gd name="connsiteY2" fmla="*/ 29162 h 54238"/>
                <a:gd name="connsiteX3" fmla="*/ 8658 w 49997"/>
                <a:gd name="connsiteY3" fmla="*/ 8658 h 54238"/>
                <a:gd name="connsiteX4" fmla="*/ 29163 w 49997"/>
                <a:gd name="connsiteY4" fmla="*/ 0 h 54238"/>
                <a:gd name="connsiteX5" fmla="*/ 49668 w 49997"/>
                <a:gd name="connsiteY5" fmla="*/ 8658 h 54238"/>
                <a:gd name="connsiteX6" fmla="*/ 49997 w 49997"/>
                <a:gd name="connsiteY6" fmla="*/ 9441 h 54238"/>
                <a:gd name="connsiteX7" fmla="*/ 18945 w 49997"/>
                <a:gd name="connsiteY7" fmla="*/ 54238 h 54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997" h="54238">
                  <a:moveTo>
                    <a:pt x="8658" y="50123"/>
                  </a:moveTo>
                  <a:cubicBezTo>
                    <a:pt x="3190" y="44655"/>
                    <a:pt x="0" y="37365"/>
                    <a:pt x="0" y="29619"/>
                  </a:cubicBezTo>
                  <a:lnTo>
                    <a:pt x="0" y="29162"/>
                  </a:lnTo>
                  <a:cubicBezTo>
                    <a:pt x="0" y="21417"/>
                    <a:pt x="3190" y="14126"/>
                    <a:pt x="8658" y="8658"/>
                  </a:cubicBezTo>
                  <a:cubicBezTo>
                    <a:pt x="14126" y="3190"/>
                    <a:pt x="21416" y="0"/>
                    <a:pt x="29163" y="0"/>
                  </a:cubicBezTo>
                  <a:cubicBezTo>
                    <a:pt x="36909" y="0"/>
                    <a:pt x="44200" y="3190"/>
                    <a:pt x="49668" y="8658"/>
                  </a:cubicBezTo>
                  <a:lnTo>
                    <a:pt x="49997" y="9441"/>
                  </a:lnTo>
                  <a:lnTo>
                    <a:pt x="18945" y="54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1" name="Forme libre : forme 380">
              <a:extLst>
                <a:ext uri="{FF2B5EF4-FFF2-40B4-BE49-F238E27FC236}">
                  <a16:creationId xmlns:a16="http://schemas.microsoft.com/office/drawing/2014/main" id="{0A8DEA12-3B5F-4B33-B7D9-E32E7E70ED9F}"/>
                </a:ext>
              </a:extLst>
            </p:cNvPr>
            <p:cNvSpPr/>
            <p:nvPr/>
          </p:nvSpPr>
          <p:spPr>
            <a:xfrm rot="8716295">
              <a:off x="-30327" y="4579755"/>
              <a:ext cx="113346" cy="71024"/>
            </a:xfrm>
            <a:custGeom>
              <a:avLst/>
              <a:gdLst>
                <a:gd name="connsiteX0" fmla="*/ 0 w 113346"/>
                <a:gd name="connsiteY0" fmla="*/ 55323 h 71024"/>
                <a:gd name="connsiteX1" fmla="*/ 0 w 113346"/>
                <a:gd name="connsiteY1" fmla="*/ 0 h 71024"/>
                <a:gd name="connsiteX2" fmla="*/ 113346 w 113346"/>
                <a:gd name="connsiteY2" fmla="*/ 0 h 71024"/>
                <a:gd name="connsiteX3" fmla="*/ 64114 w 113346"/>
                <a:gd name="connsiteY3" fmla="*/ 71024 h 71024"/>
                <a:gd name="connsiteX4" fmla="*/ 69777 w 113346"/>
                <a:gd name="connsiteY4" fmla="*/ 55323 h 7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346" h="71024">
                  <a:moveTo>
                    <a:pt x="0" y="55323"/>
                  </a:moveTo>
                  <a:lnTo>
                    <a:pt x="0" y="0"/>
                  </a:lnTo>
                  <a:lnTo>
                    <a:pt x="113346" y="0"/>
                  </a:lnTo>
                  <a:lnTo>
                    <a:pt x="64114" y="71024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2" name="Forme libre : forme 381">
              <a:extLst>
                <a:ext uri="{FF2B5EF4-FFF2-40B4-BE49-F238E27FC236}">
                  <a16:creationId xmlns:a16="http://schemas.microsoft.com/office/drawing/2014/main" id="{B639F843-6BAF-4B67-80B8-3D30C09BF5FB}"/>
                </a:ext>
              </a:extLst>
            </p:cNvPr>
            <p:cNvSpPr/>
            <p:nvPr/>
          </p:nvSpPr>
          <p:spPr>
            <a:xfrm rot="8716295">
              <a:off x="71262" y="47415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3" name="Forme libre : forme 382">
              <a:extLst>
                <a:ext uri="{FF2B5EF4-FFF2-40B4-BE49-F238E27FC236}">
                  <a16:creationId xmlns:a16="http://schemas.microsoft.com/office/drawing/2014/main" id="{D52BFECF-759E-4683-BE94-173DD8657338}"/>
                </a:ext>
              </a:extLst>
            </p:cNvPr>
            <p:cNvSpPr/>
            <p:nvPr/>
          </p:nvSpPr>
          <p:spPr>
            <a:xfrm rot="7484129">
              <a:off x="172059" y="493353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170341 w 203847"/>
                <a:gd name="connsiteY5" fmla="*/ 0 h 195874"/>
                <a:gd name="connsiteX6" fmla="*/ 203847 w 203847"/>
                <a:gd name="connsiteY6" fmla="*/ 48325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170341" y="0"/>
                  </a:lnTo>
                  <a:lnTo>
                    <a:pt x="203847" y="48325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4" name="Forme libre : forme 383">
              <a:extLst>
                <a:ext uri="{FF2B5EF4-FFF2-40B4-BE49-F238E27FC236}">
                  <a16:creationId xmlns:a16="http://schemas.microsoft.com/office/drawing/2014/main" id="{25A08FAE-A75C-4B2E-B0C7-527DE2D9E508}"/>
                </a:ext>
              </a:extLst>
            </p:cNvPr>
            <p:cNvSpPr/>
            <p:nvPr/>
          </p:nvSpPr>
          <p:spPr>
            <a:xfrm rot="13089394">
              <a:off x="313551" y="4906246"/>
              <a:ext cx="221827" cy="205098"/>
            </a:xfrm>
            <a:custGeom>
              <a:avLst/>
              <a:gdLst>
                <a:gd name="connsiteX0" fmla="*/ 24153 w 221827"/>
                <a:gd name="connsiteY0" fmla="*/ 55168 h 205098"/>
                <a:gd name="connsiteX1" fmla="*/ 0 w 221827"/>
                <a:gd name="connsiteY1" fmla="*/ 18385 h 205098"/>
                <a:gd name="connsiteX2" fmla="*/ 23400 w 221827"/>
                <a:gd name="connsiteY2" fmla="*/ 0 h 205098"/>
                <a:gd name="connsiteX3" fmla="*/ 23735 w 221827"/>
                <a:gd name="connsiteY3" fmla="*/ 46640 h 205098"/>
                <a:gd name="connsiteX4" fmla="*/ 221827 w 221827"/>
                <a:gd name="connsiteY4" fmla="*/ 150928 h 205098"/>
                <a:gd name="connsiteX5" fmla="*/ 126574 w 221827"/>
                <a:gd name="connsiteY5" fmla="*/ 204038 h 205098"/>
                <a:gd name="connsiteX6" fmla="*/ 122603 w 221827"/>
                <a:gd name="connsiteY6" fmla="*/ 205098 h 205098"/>
                <a:gd name="connsiteX7" fmla="*/ 102519 w 221827"/>
                <a:gd name="connsiteY7" fmla="*/ 174512 h 205098"/>
                <a:gd name="connsiteX8" fmla="*/ 103192 w 221827"/>
                <a:gd name="connsiteY8" fmla="*/ 174655 h 205098"/>
                <a:gd name="connsiteX9" fmla="*/ 152853 w 221827"/>
                <a:gd name="connsiteY9" fmla="*/ 165826 h 205098"/>
                <a:gd name="connsiteX10" fmla="*/ 220723 w 221827"/>
                <a:gd name="connsiteY10" fmla="*/ 138237 h 205098"/>
                <a:gd name="connsiteX11" fmla="*/ 221827 w 221827"/>
                <a:gd name="connsiteY11" fmla="*/ 145410 h 205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1827" h="205098">
                  <a:moveTo>
                    <a:pt x="24153" y="55168"/>
                  </a:moveTo>
                  <a:lnTo>
                    <a:pt x="0" y="18385"/>
                  </a:lnTo>
                  <a:lnTo>
                    <a:pt x="23400" y="0"/>
                  </a:lnTo>
                  <a:lnTo>
                    <a:pt x="23735" y="46640"/>
                  </a:lnTo>
                  <a:close/>
                  <a:moveTo>
                    <a:pt x="221827" y="150928"/>
                  </a:moveTo>
                  <a:cubicBezTo>
                    <a:pt x="192582" y="176035"/>
                    <a:pt x="158785" y="193002"/>
                    <a:pt x="126574" y="204038"/>
                  </a:cubicBezTo>
                  <a:lnTo>
                    <a:pt x="122603" y="205098"/>
                  </a:lnTo>
                  <a:lnTo>
                    <a:pt x="102519" y="174512"/>
                  </a:lnTo>
                  <a:lnTo>
                    <a:pt x="103192" y="174655"/>
                  </a:lnTo>
                  <a:cubicBezTo>
                    <a:pt x="120298" y="174103"/>
                    <a:pt x="136851" y="170792"/>
                    <a:pt x="152853" y="165826"/>
                  </a:cubicBezTo>
                  <a:cubicBezTo>
                    <a:pt x="176028" y="158653"/>
                    <a:pt x="198652" y="149273"/>
                    <a:pt x="220723" y="138237"/>
                  </a:cubicBezTo>
                  <a:cubicBezTo>
                    <a:pt x="221275" y="140444"/>
                    <a:pt x="221827" y="143203"/>
                    <a:pt x="221827" y="1454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5" name="Forme libre : forme 384">
              <a:extLst>
                <a:ext uri="{FF2B5EF4-FFF2-40B4-BE49-F238E27FC236}">
                  <a16:creationId xmlns:a16="http://schemas.microsoft.com/office/drawing/2014/main" id="{6B1D4FCF-4868-4FA7-803E-D1D00595788E}"/>
                </a:ext>
              </a:extLst>
            </p:cNvPr>
            <p:cNvSpPr/>
            <p:nvPr/>
          </p:nvSpPr>
          <p:spPr>
            <a:xfrm rot="8716295">
              <a:off x="406370" y="4600606"/>
              <a:ext cx="113655" cy="117117"/>
            </a:xfrm>
            <a:custGeom>
              <a:avLst/>
              <a:gdLst>
                <a:gd name="connsiteX0" fmla="*/ 13623 w 113655"/>
                <a:gd name="connsiteY0" fmla="*/ 100559 h 117117"/>
                <a:gd name="connsiteX1" fmla="*/ 0 w 113655"/>
                <a:gd name="connsiteY1" fmla="*/ 68296 h 117117"/>
                <a:gd name="connsiteX2" fmla="*/ 56488 w 113655"/>
                <a:gd name="connsiteY2" fmla="*/ 0 h 117117"/>
                <a:gd name="connsiteX3" fmla="*/ 96408 w 113655"/>
                <a:gd name="connsiteY3" fmla="*/ 16856 h 117117"/>
                <a:gd name="connsiteX4" fmla="*/ 96408 w 113655"/>
                <a:gd name="connsiteY4" fmla="*/ 99640 h 117117"/>
                <a:gd name="connsiteX5" fmla="*/ 55015 w 113655"/>
                <a:gd name="connsiteY5" fmla="*/ 117117 h 117117"/>
                <a:gd name="connsiteX6" fmla="*/ 13623 w 113655"/>
                <a:gd name="connsiteY6" fmla="*/ 100559 h 117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655" h="117117">
                  <a:moveTo>
                    <a:pt x="13623" y="100559"/>
                  </a:moveTo>
                  <a:lnTo>
                    <a:pt x="0" y="68296"/>
                  </a:lnTo>
                  <a:lnTo>
                    <a:pt x="56488" y="0"/>
                  </a:lnTo>
                  <a:lnTo>
                    <a:pt x="96408" y="16856"/>
                  </a:lnTo>
                  <a:cubicBezTo>
                    <a:pt x="119404" y="38931"/>
                    <a:pt x="119404" y="76644"/>
                    <a:pt x="96408" y="99640"/>
                  </a:cubicBezTo>
                  <a:cubicBezTo>
                    <a:pt x="85370" y="110678"/>
                    <a:pt x="70653" y="117116"/>
                    <a:pt x="55015" y="117117"/>
                  </a:cubicBezTo>
                  <a:cubicBezTo>
                    <a:pt x="39378" y="117117"/>
                    <a:pt x="24661" y="111597"/>
                    <a:pt x="13623" y="10055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6" name="Forme libre : forme 385">
              <a:extLst>
                <a:ext uri="{FF2B5EF4-FFF2-40B4-BE49-F238E27FC236}">
                  <a16:creationId xmlns:a16="http://schemas.microsoft.com/office/drawing/2014/main" id="{A521D2F6-3CA4-443B-AE06-E761EA9F7456}"/>
                </a:ext>
              </a:extLst>
            </p:cNvPr>
            <p:cNvSpPr/>
            <p:nvPr/>
          </p:nvSpPr>
          <p:spPr>
            <a:xfrm rot="8716295">
              <a:off x="171547" y="46343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7" name="Forme libre : forme 386">
              <a:extLst>
                <a:ext uri="{FF2B5EF4-FFF2-40B4-BE49-F238E27FC236}">
                  <a16:creationId xmlns:a16="http://schemas.microsoft.com/office/drawing/2014/main" id="{830F38CE-6CA7-4EBA-A5A4-58CB35926CD3}"/>
                </a:ext>
              </a:extLst>
            </p:cNvPr>
            <p:cNvSpPr/>
            <p:nvPr/>
          </p:nvSpPr>
          <p:spPr>
            <a:xfrm rot="8716295">
              <a:off x="348999" y="44751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7208950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&amp; Réseaux sociaux - Fond clair">
    <p:bg>
      <p:bgPr>
        <a:solidFill>
          <a:srgbClr val="3A1B0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Forme libre : forme 139">
            <a:extLst>
              <a:ext uri="{FF2B5EF4-FFF2-40B4-BE49-F238E27FC236}">
                <a16:creationId xmlns:a16="http://schemas.microsoft.com/office/drawing/2014/main" id="{9BAF1841-A5A7-4A72-BE89-09D329878A6E}"/>
              </a:ext>
            </a:extLst>
          </p:cNvPr>
          <p:cNvSpPr/>
          <p:nvPr userDrawn="1"/>
        </p:nvSpPr>
        <p:spPr>
          <a:xfrm>
            <a:off x="448701" y="0"/>
            <a:ext cx="8695299" cy="5143500"/>
          </a:xfrm>
          <a:custGeom>
            <a:avLst/>
            <a:gdLst>
              <a:gd name="connsiteX0" fmla="*/ 0 w 8695299"/>
              <a:gd name="connsiteY0" fmla="*/ 0 h 5143500"/>
              <a:gd name="connsiteX1" fmla="*/ 8695299 w 8695299"/>
              <a:gd name="connsiteY1" fmla="*/ 0 h 5143500"/>
              <a:gd name="connsiteX2" fmla="*/ 8695299 w 8695299"/>
              <a:gd name="connsiteY2" fmla="*/ 5143500 h 5143500"/>
              <a:gd name="connsiteX3" fmla="*/ 444304 w 8695299"/>
              <a:gd name="connsiteY3" fmla="*/ 5143500 h 5143500"/>
              <a:gd name="connsiteX4" fmla="*/ 171091 w 8695299"/>
              <a:gd name="connsiteY4" fmla="*/ 1980633 h 5143500"/>
              <a:gd name="connsiteX5" fmla="*/ 443837 w 8695299"/>
              <a:gd name="connsiteY5" fmla="*/ 1 h 5143500"/>
              <a:gd name="connsiteX6" fmla="*/ 262116 w 8695299"/>
              <a:gd name="connsiteY6" fmla="*/ 1 h 5143500"/>
              <a:gd name="connsiteX7" fmla="*/ 0 w 8695299"/>
              <a:gd name="connsiteY7" fmla="*/ 1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95299" h="5143500">
                <a:moveTo>
                  <a:pt x="0" y="0"/>
                </a:moveTo>
                <a:lnTo>
                  <a:pt x="8695299" y="0"/>
                </a:lnTo>
                <a:lnTo>
                  <a:pt x="8695299" y="5143500"/>
                </a:lnTo>
                <a:lnTo>
                  <a:pt x="444304" y="5143500"/>
                </a:lnTo>
                <a:lnTo>
                  <a:pt x="171091" y="1980633"/>
                </a:lnTo>
                <a:lnTo>
                  <a:pt x="443837" y="1"/>
                </a:lnTo>
                <a:lnTo>
                  <a:pt x="262116" y="1"/>
                </a:lnTo>
                <a:lnTo>
                  <a:pt x="0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grpSp>
        <p:nvGrpSpPr>
          <p:cNvPr id="192" name="Graphique 27">
            <a:extLst>
              <a:ext uri="{FF2B5EF4-FFF2-40B4-BE49-F238E27FC236}">
                <a16:creationId xmlns:a16="http://schemas.microsoft.com/office/drawing/2014/main" id="{B9396CB4-323C-4697-9B57-F626DEC3F247}"/>
              </a:ext>
            </a:extLst>
          </p:cNvPr>
          <p:cNvGrpSpPr/>
          <p:nvPr userDrawn="1"/>
        </p:nvGrpSpPr>
        <p:grpSpPr>
          <a:xfrm>
            <a:off x="3242261" y="3601712"/>
            <a:ext cx="2666014" cy="795600"/>
            <a:chOff x="5898130" y="3867908"/>
            <a:chExt cx="2666014" cy="795600"/>
          </a:xfrm>
        </p:grpSpPr>
        <p:sp>
          <p:nvSpPr>
            <p:cNvPr id="193" name="Forme libre : forme 192">
              <a:extLst>
                <a:ext uri="{FF2B5EF4-FFF2-40B4-BE49-F238E27FC236}">
                  <a16:creationId xmlns:a16="http://schemas.microsoft.com/office/drawing/2014/main" id="{86566BF4-64A3-4C33-AC64-E4183CC9F62F}"/>
                </a:ext>
              </a:extLst>
            </p:cNvPr>
            <p:cNvSpPr/>
            <p:nvPr/>
          </p:nvSpPr>
          <p:spPr>
            <a:xfrm>
              <a:off x="5898130" y="4006913"/>
              <a:ext cx="93070" cy="153115"/>
            </a:xfrm>
            <a:custGeom>
              <a:avLst/>
              <a:gdLst>
                <a:gd name="connsiteX0" fmla="*/ 93671 w 93070"/>
                <a:gd name="connsiteY0" fmla="*/ 33025 h 153115"/>
                <a:gd name="connsiteX1" fmla="*/ 93671 w 93070"/>
                <a:gd name="connsiteY1" fmla="*/ 137203 h 153115"/>
                <a:gd name="connsiteX2" fmla="*/ 53440 w 93070"/>
                <a:gd name="connsiteY2" fmla="*/ 153115 h 153115"/>
                <a:gd name="connsiteX3" fmla="*/ 53440 w 93070"/>
                <a:gd name="connsiteY3" fmla="*/ 45935 h 153115"/>
                <a:gd name="connsiteX4" fmla="*/ 53440 w 93070"/>
                <a:gd name="connsiteY4" fmla="*/ 43233 h 153115"/>
                <a:gd name="connsiteX5" fmla="*/ 39930 w 93070"/>
                <a:gd name="connsiteY5" fmla="*/ 33025 h 153115"/>
                <a:gd name="connsiteX6" fmla="*/ 0 w 93070"/>
                <a:gd name="connsiteY6" fmla="*/ 33025 h 153115"/>
                <a:gd name="connsiteX7" fmla="*/ 0 w 93070"/>
                <a:gd name="connsiteY7" fmla="*/ 0 h 153115"/>
                <a:gd name="connsiteX8" fmla="*/ 56142 w 93070"/>
                <a:gd name="connsiteY8" fmla="*/ 0 h 153115"/>
                <a:gd name="connsiteX9" fmla="*/ 93671 w 93070"/>
                <a:gd name="connsiteY9" fmla="*/ 33025 h 153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3070" h="153115">
                  <a:moveTo>
                    <a:pt x="93671" y="33025"/>
                  </a:moveTo>
                  <a:lnTo>
                    <a:pt x="93671" y="137203"/>
                  </a:lnTo>
                  <a:lnTo>
                    <a:pt x="53440" y="153115"/>
                  </a:lnTo>
                  <a:lnTo>
                    <a:pt x="53440" y="45935"/>
                  </a:lnTo>
                  <a:cubicBezTo>
                    <a:pt x="53440" y="45034"/>
                    <a:pt x="53440" y="44133"/>
                    <a:pt x="53440" y="43233"/>
                  </a:cubicBezTo>
                  <a:cubicBezTo>
                    <a:pt x="52540" y="36628"/>
                    <a:pt x="46535" y="32124"/>
                    <a:pt x="39930" y="33025"/>
                  </a:cubicBezTo>
                  <a:lnTo>
                    <a:pt x="0" y="33025"/>
                  </a:lnTo>
                  <a:lnTo>
                    <a:pt x="0" y="0"/>
                  </a:lnTo>
                  <a:lnTo>
                    <a:pt x="56142" y="0"/>
                  </a:lnTo>
                  <a:cubicBezTo>
                    <a:pt x="80461" y="0"/>
                    <a:pt x="93671" y="10508"/>
                    <a:pt x="93671" y="33025"/>
                  </a:cubicBezTo>
                  <a:close/>
                </a:path>
              </a:pathLst>
            </a:custGeom>
            <a:solidFill>
              <a:srgbClr val="009FE3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194" name="Forme libre : forme 193">
              <a:extLst>
                <a:ext uri="{FF2B5EF4-FFF2-40B4-BE49-F238E27FC236}">
                  <a16:creationId xmlns:a16="http://schemas.microsoft.com/office/drawing/2014/main" id="{FB082CB6-7B26-4E70-967B-98773BCFF4EE}"/>
                </a:ext>
              </a:extLst>
            </p:cNvPr>
            <p:cNvSpPr/>
            <p:nvPr/>
          </p:nvSpPr>
          <p:spPr>
            <a:xfrm>
              <a:off x="7134164" y="4001471"/>
              <a:ext cx="171129" cy="165125"/>
            </a:xfrm>
            <a:custGeom>
              <a:avLst/>
              <a:gdLst>
                <a:gd name="connsiteX0" fmla="*/ 171730 w 171129"/>
                <a:gd name="connsiteY0" fmla="*/ 58282 h 165124"/>
                <a:gd name="connsiteX1" fmla="*/ 171730 w 171129"/>
                <a:gd name="connsiteY1" fmla="*/ 62185 h 165124"/>
                <a:gd name="connsiteX2" fmla="*/ 130899 w 171129"/>
                <a:gd name="connsiteY2" fmla="*/ 64587 h 165124"/>
                <a:gd name="connsiteX3" fmla="*/ 130899 w 171129"/>
                <a:gd name="connsiteY3" fmla="*/ 53778 h 165124"/>
                <a:gd name="connsiteX4" fmla="*/ 108682 w 171129"/>
                <a:gd name="connsiteY4" fmla="*/ 26458 h 165124"/>
                <a:gd name="connsiteX5" fmla="*/ 73556 w 171129"/>
                <a:gd name="connsiteY5" fmla="*/ 84101 h 165124"/>
                <a:gd name="connsiteX6" fmla="*/ 73556 w 171129"/>
                <a:gd name="connsiteY6" fmla="*/ 140844 h 165124"/>
                <a:gd name="connsiteX7" fmla="*/ 33926 w 171129"/>
                <a:gd name="connsiteY7" fmla="*/ 167864 h 165124"/>
                <a:gd name="connsiteX8" fmla="*/ 33926 w 171129"/>
                <a:gd name="connsiteY8" fmla="*/ 30061 h 165124"/>
                <a:gd name="connsiteX9" fmla="*/ 0 w 171129"/>
                <a:gd name="connsiteY9" fmla="*/ 30061 h 165124"/>
                <a:gd name="connsiteX10" fmla="*/ 0 w 171129"/>
                <a:gd name="connsiteY10" fmla="*/ 939 h 165124"/>
                <a:gd name="connsiteX11" fmla="*/ 69052 w 171129"/>
                <a:gd name="connsiteY11" fmla="*/ 939 h 165124"/>
                <a:gd name="connsiteX12" fmla="*/ 69052 w 171129"/>
                <a:gd name="connsiteY12" fmla="*/ 49575 h 165124"/>
                <a:gd name="connsiteX13" fmla="*/ 69953 w 171129"/>
                <a:gd name="connsiteY13" fmla="*/ 49575 h 165124"/>
                <a:gd name="connsiteX14" fmla="*/ 101477 w 171129"/>
                <a:gd name="connsiteY14" fmla="*/ 3941 h 165124"/>
                <a:gd name="connsiteX15" fmla="*/ 122192 w 171129"/>
                <a:gd name="connsiteY15" fmla="*/ 38 h 165124"/>
                <a:gd name="connsiteX16" fmla="*/ 171730 w 171129"/>
                <a:gd name="connsiteY16" fmla="*/ 58282 h 165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71129" h="165124">
                  <a:moveTo>
                    <a:pt x="171730" y="58282"/>
                  </a:moveTo>
                  <a:lnTo>
                    <a:pt x="171730" y="62185"/>
                  </a:lnTo>
                  <a:lnTo>
                    <a:pt x="130899" y="64587"/>
                  </a:lnTo>
                  <a:lnTo>
                    <a:pt x="130899" y="53778"/>
                  </a:lnTo>
                  <a:cubicBezTo>
                    <a:pt x="130899" y="37566"/>
                    <a:pt x="121592" y="26458"/>
                    <a:pt x="108682" y="26458"/>
                  </a:cubicBezTo>
                  <a:cubicBezTo>
                    <a:pt x="89468" y="26458"/>
                    <a:pt x="73556" y="51977"/>
                    <a:pt x="73556" y="84101"/>
                  </a:cubicBezTo>
                  <a:lnTo>
                    <a:pt x="73556" y="140844"/>
                  </a:lnTo>
                  <a:lnTo>
                    <a:pt x="33926" y="167864"/>
                  </a:lnTo>
                  <a:lnTo>
                    <a:pt x="33926" y="30061"/>
                  </a:lnTo>
                  <a:lnTo>
                    <a:pt x="0" y="30061"/>
                  </a:lnTo>
                  <a:lnTo>
                    <a:pt x="0" y="939"/>
                  </a:lnTo>
                  <a:lnTo>
                    <a:pt x="69052" y="939"/>
                  </a:lnTo>
                  <a:lnTo>
                    <a:pt x="69052" y="49575"/>
                  </a:lnTo>
                  <a:lnTo>
                    <a:pt x="69953" y="49575"/>
                  </a:lnTo>
                  <a:cubicBezTo>
                    <a:pt x="79560" y="21054"/>
                    <a:pt x="87066" y="9945"/>
                    <a:pt x="101477" y="3941"/>
                  </a:cubicBezTo>
                  <a:cubicBezTo>
                    <a:pt x="108082" y="1239"/>
                    <a:pt x="114987" y="-262"/>
                    <a:pt x="122192" y="38"/>
                  </a:cubicBezTo>
                  <a:cubicBezTo>
                    <a:pt x="153116" y="-563"/>
                    <a:pt x="171730" y="21054"/>
                    <a:pt x="171730" y="58282"/>
                  </a:cubicBezTo>
                  <a:close/>
                </a:path>
              </a:pathLst>
            </a:custGeom>
            <a:solidFill>
              <a:srgbClr val="009FE3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195" name="Forme libre : forme 194">
              <a:extLst>
                <a:ext uri="{FF2B5EF4-FFF2-40B4-BE49-F238E27FC236}">
                  <a16:creationId xmlns:a16="http://schemas.microsoft.com/office/drawing/2014/main" id="{219ACDB1-34C9-4C32-A093-48E50867E42A}"/>
                </a:ext>
              </a:extLst>
            </p:cNvPr>
            <p:cNvSpPr/>
            <p:nvPr/>
          </p:nvSpPr>
          <p:spPr>
            <a:xfrm>
              <a:off x="7993113" y="3867608"/>
              <a:ext cx="123093" cy="90068"/>
            </a:xfrm>
            <a:custGeom>
              <a:avLst/>
              <a:gdLst>
                <a:gd name="connsiteX0" fmla="*/ 108382 w 123092"/>
                <a:gd name="connsiteY0" fmla="*/ 45634 h 90067"/>
                <a:gd name="connsiteX1" fmla="*/ 108682 w 123092"/>
                <a:gd name="connsiteY1" fmla="*/ 45634 h 90067"/>
                <a:gd name="connsiteX2" fmla="*/ 3903 w 123092"/>
                <a:gd name="connsiteY2" fmla="*/ 90969 h 90067"/>
                <a:gd name="connsiteX3" fmla="*/ 0 w 123092"/>
                <a:gd name="connsiteY3" fmla="*/ 85565 h 90067"/>
                <a:gd name="connsiteX4" fmla="*/ 71154 w 123092"/>
                <a:gd name="connsiteY4" fmla="*/ 18614 h 90067"/>
                <a:gd name="connsiteX5" fmla="*/ 107181 w 123092"/>
                <a:gd name="connsiteY5" fmla="*/ 0 h 90067"/>
                <a:gd name="connsiteX6" fmla="*/ 125795 w 123092"/>
                <a:gd name="connsiteY6" fmla="*/ 22217 h 90067"/>
                <a:gd name="connsiteX7" fmla="*/ 108382 w 123092"/>
                <a:gd name="connsiteY7" fmla="*/ 45634 h 90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3092" h="90067">
                  <a:moveTo>
                    <a:pt x="108382" y="45634"/>
                  </a:moveTo>
                  <a:lnTo>
                    <a:pt x="108682" y="45634"/>
                  </a:lnTo>
                  <a:lnTo>
                    <a:pt x="3903" y="90969"/>
                  </a:lnTo>
                  <a:lnTo>
                    <a:pt x="0" y="85565"/>
                  </a:lnTo>
                  <a:lnTo>
                    <a:pt x="71154" y="18614"/>
                  </a:lnTo>
                  <a:cubicBezTo>
                    <a:pt x="80161" y="8106"/>
                    <a:pt x="93070" y="1501"/>
                    <a:pt x="107181" y="0"/>
                  </a:cubicBezTo>
                  <a:cubicBezTo>
                    <a:pt x="121592" y="0"/>
                    <a:pt x="125795" y="12610"/>
                    <a:pt x="125795" y="22217"/>
                  </a:cubicBezTo>
                  <a:cubicBezTo>
                    <a:pt x="124894" y="32725"/>
                    <a:pt x="117989" y="41431"/>
                    <a:pt x="108382" y="45634"/>
                  </a:cubicBezTo>
                  <a:close/>
                </a:path>
              </a:pathLst>
            </a:custGeom>
            <a:solidFill>
              <a:srgbClr val="009FE3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196" name="Forme libre : forme 195">
              <a:extLst>
                <a:ext uri="{FF2B5EF4-FFF2-40B4-BE49-F238E27FC236}">
                  <a16:creationId xmlns:a16="http://schemas.microsoft.com/office/drawing/2014/main" id="{7A36B1D3-0BC9-43D3-A545-42A2378B84A2}"/>
                </a:ext>
              </a:extLst>
            </p:cNvPr>
            <p:cNvSpPr/>
            <p:nvPr/>
          </p:nvSpPr>
          <p:spPr>
            <a:xfrm>
              <a:off x="6523803" y="3918346"/>
              <a:ext cx="36027" cy="36027"/>
            </a:xfrm>
            <a:custGeom>
              <a:avLst/>
              <a:gdLst>
                <a:gd name="connsiteX0" fmla="*/ 32725 w 36027"/>
                <a:gd name="connsiteY0" fmla="*/ 32725 h 36027"/>
                <a:gd name="connsiteX1" fmla="*/ 19215 w 36027"/>
                <a:gd name="connsiteY1" fmla="*/ 38429 h 36027"/>
                <a:gd name="connsiteX2" fmla="*/ 5704 w 36027"/>
                <a:gd name="connsiteY2" fmla="*/ 33025 h 36027"/>
                <a:gd name="connsiteX3" fmla="*/ 0 w 36027"/>
                <a:gd name="connsiteY3" fmla="*/ 19515 h 36027"/>
                <a:gd name="connsiteX4" fmla="*/ 0 w 36027"/>
                <a:gd name="connsiteY4" fmla="*/ 19214 h 36027"/>
                <a:gd name="connsiteX5" fmla="*/ 5704 w 36027"/>
                <a:gd name="connsiteY5" fmla="*/ 5704 h 36027"/>
                <a:gd name="connsiteX6" fmla="*/ 19215 w 36027"/>
                <a:gd name="connsiteY6" fmla="*/ 0 h 36027"/>
                <a:gd name="connsiteX7" fmla="*/ 32725 w 36027"/>
                <a:gd name="connsiteY7" fmla="*/ 5704 h 36027"/>
                <a:gd name="connsiteX8" fmla="*/ 32725 w 36027"/>
                <a:gd name="connsiteY8" fmla="*/ 32725 h 36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027" h="36027">
                  <a:moveTo>
                    <a:pt x="32725" y="32725"/>
                  </a:moveTo>
                  <a:cubicBezTo>
                    <a:pt x="29122" y="36327"/>
                    <a:pt x="24318" y="38429"/>
                    <a:pt x="19215" y="38429"/>
                  </a:cubicBezTo>
                  <a:cubicBezTo>
                    <a:pt x="14111" y="38429"/>
                    <a:pt x="9307" y="36628"/>
                    <a:pt x="5704" y="33025"/>
                  </a:cubicBezTo>
                  <a:cubicBezTo>
                    <a:pt x="2102" y="29422"/>
                    <a:pt x="0" y="24619"/>
                    <a:pt x="0" y="19515"/>
                  </a:cubicBezTo>
                  <a:lnTo>
                    <a:pt x="0" y="19214"/>
                  </a:lnTo>
                  <a:cubicBezTo>
                    <a:pt x="0" y="14111"/>
                    <a:pt x="2102" y="9307"/>
                    <a:pt x="5704" y="5704"/>
                  </a:cubicBezTo>
                  <a:cubicBezTo>
                    <a:pt x="9307" y="2102"/>
                    <a:pt x="14111" y="0"/>
                    <a:pt x="19215" y="0"/>
                  </a:cubicBezTo>
                  <a:cubicBezTo>
                    <a:pt x="24318" y="0"/>
                    <a:pt x="29122" y="2102"/>
                    <a:pt x="32725" y="5704"/>
                  </a:cubicBezTo>
                  <a:cubicBezTo>
                    <a:pt x="40230" y="12910"/>
                    <a:pt x="40230" y="25219"/>
                    <a:pt x="32725" y="32725"/>
                  </a:cubicBezTo>
                  <a:close/>
                </a:path>
              </a:pathLst>
            </a:custGeom>
            <a:solidFill>
              <a:srgbClr val="009FE3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197" name="Forme libre : forme 196">
              <a:extLst>
                <a:ext uri="{FF2B5EF4-FFF2-40B4-BE49-F238E27FC236}">
                  <a16:creationId xmlns:a16="http://schemas.microsoft.com/office/drawing/2014/main" id="{BA76AE2F-0D7D-44B2-A262-EA419C215EA0}"/>
                </a:ext>
              </a:extLst>
            </p:cNvPr>
            <p:cNvSpPr/>
            <p:nvPr/>
          </p:nvSpPr>
          <p:spPr>
            <a:xfrm>
              <a:off x="6763083" y="4006913"/>
              <a:ext cx="120091" cy="117088"/>
            </a:xfrm>
            <a:custGeom>
              <a:avLst/>
              <a:gdLst>
                <a:gd name="connsiteX0" fmla="*/ 122793 w 120090"/>
                <a:gd name="connsiteY0" fmla="*/ 0 h 117088"/>
                <a:gd name="connsiteX1" fmla="*/ 122793 w 120090"/>
                <a:gd name="connsiteY1" fmla="*/ 33325 h 117088"/>
                <a:gd name="connsiteX2" fmla="*/ 83763 w 120090"/>
                <a:gd name="connsiteY2" fmla="*/ 33325 h 117088"/>
                <a:gd name="connsiteX3" fmla="*/ 54641 w 120090"/>
                <a:gd name="connsiteY3" fmla="*/ 117989 h 117088"/>
                <a:gd name="connsiteX4" fmla="*/ 28822 w 120090"/>
                <a:gd name="connsiteY4" fmla="*/ 69953 h 117088"/>
                <a:gd name="connsiteX5" fmla="*/ 42032 w 120090"/>
                <a:gd name="connsiteY5" fmla="*/ 33325 h 117088"/>
                <a:gd name="connsiteX6" fmla="*/ 0 w 120090"/>
                <a:gd name="connsiteY6" fmla="*/ 33325 h 117088"/>
                <a:gd name="connsiteX7" fmla="*/ 0 w 120090"/>
                <a:gd name="connsiteY7" fmla="*/ 0 h 117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0090" h="117088">
                  <a:moveTo>
                    <a:pt x="122793" y="0"/>
                  </a:moveTo>
                  <a:lnTo>
                    <a:pt x="122793" y="33325"/>
                  </a:lnTo>
                  <a:lnTo>
                    <a:pt x="83763" y="33325"/>
                  </a:lnTo>
                  <a:lnTo>
                    <a:pt x="54641" y="117989"/>
                  </a:lnTo>
                  <a:lnTo>
                    <a:pt x="28822" y="69953"/>
                  </a:lnTo>
                  <a:lnTo>
                    <a:pt x="42032" y="33325"/>
                  </a:lnTo>
                  <a:lnTo>
                    <a:pt x="0" y="333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FE3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198" name="Forme libre : forme 197">
              <a:extLst>
                <a:ext uri="{FF2B5EF4-FFF2-40B4-BE49-F238E27FC236}">
                  <a16:creationId xmlns:a16="http://schemas.microsoft.com/office/drawing/2014/main" id="{DBDE1595-6A35-4309-8304-C024038B286C}"/>
                </a:ext>
              </a:extLst>
            </p:cNvPr>
            <p:cNvSpPr/>
            <p:nvPr/>
          </p:nvSpPr>
          <p:spPr>
            <a:xfrm>
              <a:off x="7314421" y="4184121"/>
              <a:ext cx="120091" cy="114086"/>
            </a:xfrm>
            <a:custGeom>
              <a:avLst/>
              <a:gdLst>
                <a:gd name="connsiteX0" fmla="*/ 121170 w 120090"/>
                <a:gd name="connsiteY0" fmla="*/ 114311 h 114086"/>
                <a:gd name="connsiteX1" fmla="*/ 118168 w 120090"/>
                <a:gd name="connsiteY1" fmla="*/ 114311 h 114086"/>
                <a:gd name="connsiteX2" fmla="*/ 179 w 120090"/>
                <a:gd name="connsiteY2" fmla="*/ 33250 h 114086"/>
                <a:gd name="connsiteX3" fmla="*/ 26899 w 120090"/>
                <a:gd name="connsiteY3" fmla="*/ 225 h 114086"/>
                <a:gd name="connsiteX4" fmla="*/ 32603 w 120090"/>
                <a:gd name="connsiteY4" fmla="*/ 225 h 114086"/>
                <a:gd name="connsiteX5" fmla="*/ 59324 w 120090"/>
                <a:gd name="connsiteY5" fmla="*/ 25144 h 114086"/>
                <a:gd name="connsiteX6" fmla="*/ 39208 w 120090"/>
                <a:gd name="connsiteY6" fmla="*/ 52164 h 114086"/>
                <a:gd name="connsiteX7" fmla="*/ 121170 w 120090"/>
                <a:gd name="connsiteY7" fmla="*/ 114311 h 114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0090" h="114086">
                  <a:moveTo>
                    <a:pt x="121170" y="114311"/>
                  </a:moveTo>
                  <a:lnTo>
                    <a:pt x="118168" y="114311"/>
                  </a:lnTo>
                  <a:cubicBezTo>
                    <a:pt x="46114" y="114311"/>
                    <a:pt x="179" y="65675"/>
                    <a:pt x="179" y="33250"/>
                  </a:cubicBezTo>
                  <a:cubicBezTo>
                    <a:pt x="-1622" y="16738"/>
                    <a:pt x="10387" y="2027"/>
                    <a:pt x="26899" y="225"/>
                  </a:cubicBezTo>
                  <a:cubicBezTo>
                    <a:pt x="28700" y="-75"/>
                    <a:pt x="30802" y="-75"/>
                    <a:pt x="32603" y="225"/>
                  </a:cubicBezTo>
                  <a:cubicBezTo>
                    <a:pt x="46414" y="1426"/>
                    <a:pt x="57222" y="11934"/>
                    <a:pt x="59324" y="25144"/>
                  </a:cubicBezTo>
                  <a:cubicBezTo>
                    <a:pt x="59924" y="37753"/>
                    <a:pt x="51518" y="48862"/>
                    <a:pt x="39208" y="52164"/>
                  </a:cubicBezTo>
                  <a:lnTo>
                    <a:pt x="121170" y="114311"/>
                  </a:lnTo>
                  <a:close/>
                </a:path>
              </a:pathLst>
            </a:custGeom>
            <a:solidFill>
              <a:srgbClr val="009FE3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199" name="Forme libre : forme 198">
              <a:extLst>
                <a:ext uri="{FF2B5EF4-FFF2-40B4-BE49-F238E27FC236}">
                  <a16:creationId xmlns:a16="http://schemas.microsoft.com/office/drawing/2014/main" id="{4F0E7013-B703-4393-B5A7-8BAFE8A06CD7}"/>
                </a:ext>
              </a:extLst>
            </p:cNvPr>
            <p:cNvSpPr/>
            <p:nvPr/>
          </p:nvSpPr>
          <p:spPr>
            <a:xfrm>
              <a:off x="7744225" y="4120699"/>
              <a:ext cx="147111" cy="177134"/>
            </a:xfrm>
            <a:custGeom>
              <a:avLst/>
              <a:gdLst>
                <a:gd name="connsiteX0" fmla="*/ 148312 w 147111"/>
                <a:gd name="connsiteY0" fmla="*/ 137504 h 177133"/>
                <a:gd name="connsiteX1" fmla="*/ 148312 w 147111"/>
                <a:gd name="connsiteY1" fmla="*/ 140506 h 177133"/>
                <a:gd name="connsiteX2" fmla="*/ 49838 w 147111"/>
                <a:gd name="connsiteY2" fmla="*/ 178935 h 177133"/>
                <a:gd name="connsiteX3" fmla="*/ 12910 w 147111"/>
                <a:gd name="connsiteY3" fmla="*/ 163924 h 177133"/>
                <a:gd name="connsiteX4" fmla="*/ 0 w 147111"/>
                <a:gd name="connsiteY4" fmla="*/ 112285 h 177133"/>
                <a:gd name="connsiteX5" fmla="*/ 0 w 147111"/>
                <a:gd name="connsiteY5" fmla="*/ 20716 h 177133"/>
                <a:gd name="connsiteX6" fmla="*/ 39930 w 147111"/>
                <a:gd name="connsiteY6" fmla="*/ 0 h 177133"/>
                <a:gd name="connsiteX7" fmla="*/ 40531 w 147111"/>
                <a:gd name="connsiteY7" fmla="*/ 83763 h 177133"/>
                <a:gd name="connsiteX8" fmla="*/ 47736 w 147111"/>
                <a:gd name="connsiteY8" fmla="*/ 133601 h 177133"/>
                <a:gd name="connsiteX9" fmla="*/ 83763 w 147111"/>
                <a:gd name="connsiteY9" fmla="*/ 153416 h 177133"/>
                <a:gd name="connsiteX10" fmla="*/ 110784 w 147111"/>
                <a:gd name="connsiteY10" fmla="*/ 148612 h 177133"/>
                <a:gd name="connsiteX11" fmla="*/ 147711 w 147111"/>
                <a:gd name="connsiteY11" fmla="*/ 133601 h 177133"/>
                <a:gd name="connsiteX12" fmla="*/ 148312 w 147111"/>
                <a:gd name="connsiteY12" fmla="*/ 137504 h 177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7111" h="177133">
                  <a:moveTo>
                    <a:pt x="148312" y="137504"/>
                  </a:moveTo>
                  <a:lnTo>
                    <a:pt x="148312" y="140506"/>
                  </a:lnTo>
                  <a:cubicBezTo>
                    <a:pt x="116488" y="167827"/>
                    <a:pt x="74756" y="177434"/>
                    <a:pt x="49838" y="178935"/>
                  </a:cubicBezTo>
                  <a:cubicBezTo>
                    <a:pt x="36027" y="179836"/>
                    <a:pt x="22517" y="173831"/>
                    <a:pt x="12910" y="163924"/>
                  </a:cubicBezTo>
                  <a:cubicBezTo>
                    <a:pt x="2702" y="154016"/>
                    <a:pt x="0" y="136903"/>
                    <a:pt x="0" y="112285"/>
                  </a:cubicBezTo>
                  <a:lnTo>
                    <a:pt x="0" y="20716"/>
                  </a:lnTo>
                  <a:lnTo>
                    <a:pt x="39930" y="0"/>
                  </a:lnTo>
                  <a:lnTo>
                    <a:pt x="40531" y="83763"/>
                  </a:lnTo>
                  <a:cubicBezTo>
                    <a:pt x="39630" y="100576"/>
                    <a:pt x="42332" y="117689"/>
                    <a:pt x="47736" y="133601"/>
                  </a:cubicBezTo>
                  <a:cubicBezTo>
                    <a:pt x="52540" y="146811"/>
                    <a:pt x="64849" y="153416"/>
                    <a:pt x="83763" y="153416"/>
                  </a:cubicBezTo>
                  <a:cubicBezTo>
                    <a:pt x="93070" y="153115"/>
                    <a:pt x="102077" y="151314"/>
                    <a:pt x="110784" y="148612"/>
                  </a:cubicBezTo>
                  <a:cubicBezTo>
                    <a:pt x="123393" y="144709"/>
                    <a:pt x="135702" y="139605"/>
                    <a:pt x="147711" y="133601"/>
                  </a:cubicBezTo>
                  <a:cubicBezTo>
                    <a:pt x="148012" y="134802"/>
                    <a:pt x="148312" y="136303"/>
                    <a:pt x="148312" y="137504"/>
                  </a:cubicBezTo>
                  <a:close/>
                </a:path>
              </a:pathLst>
            </a:custGeom>
            <a:solidFill>
              <a:srgbClr val="009FE3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00" name="Forme libre : forme 199">
              <a:extLst>
                <a:ext uri="{FF2B5EF4-FFF2-40B4-BE49-F238E27FC236}">
                  <a16:creationId xmlns:a16="http://schemas.microsoft.com/office/drawing/2014/main" id="{BDC1994B-B6C4-40B0-8835-9B69BC78513D}"/>
                </a:ext>
              </a:extLst>
            </p:cNvPr>
            <p:cNvSpPr/>
            <p:nvPr/>
          </p:nvSpPr>
          <p:spPr>
            <a:xfrm>
              <a:off x="5951546" y="4012317"/>
              <a:ext cx="195147" cy="288217"/>
            </a:xfrm>
            <a:custGeom>
              <a:avLst/>
              <a:gdLst>
                <a:gd name="connsiteX0" fmla="*/ 190368 w 195147"/>
                <a:gd name="connsiteY0" fmla="*/ 0 h 288217"/>
                <a:gd name="connsiteX1" fmla="*/ 161847 w 195147"/>
                <a:gd name="connsiteY1" fmla="*/ 0 h 288217"/>
                <a:gd name="connsiteX2" fmla="*/ 156443 w 195147"/>
                <a:gd name="connsiteY2" fmla="*/ 5404 h 288217"/>
                <a:gd name="connsiteX3" fmla="*/ 156443 w 195147"/>
                <a:gd name="connsiteY3" fmla="*/ 190344 h 288217"/>
                <a:gd name="connsiteX4" fmla="*/ 138729 w 195147"/>
                <a:gd name="connsiteY4" fmla="*/ 231775 h 288217"/>
                <a:gd name="connsiteX5" fmla="*/ 98199 w 195147"/>
                <a:gd name="connsiteY5" fmla="*/ 248888 h 288217"/>
                <a:gd name="connsiteX6" fmla="*/ 57067 w 195147"/>
                <a:gd name="connsiteY6" fmla="*/ 231775 h 288217"/>
                <a:gd name="connsiteX7" fmla="*/ 39955 w 195147"/>
                <a:gd name="connsiteY7" fmla="*/ 190344 h 288217"/>
                <a:gd name="connsiteX8" fmla="*/ 39955 w 195147"/>
                <a:gd name="connsiteY8" fmla="*/ 131499 h 288217"/>
                <a:gd name="connsiteX9" fmla="*/ 24 w 195147"/>
                <a:gd name="connsiteY9" fmla="*/ 147711 h 288217"/>
                <a:gd name="connsiteX10" fmla="*/ 24 w 195147"/>
                <a:gd name="connsiteY10" fmla="*/ 190644 h 288217"/>
                <a:gd name="connsiteX11" fmla="*/ 28546 w 195147"/>
                <a:gd name="connsiteY11" fmla="*/ 260597 h 288217"/>
                <a:gd name="connsiteX12" fmla="*/ 98199 w 195147"/>
                <a:gd name="connsiteY12" fmla="*/ 290019 h 288217"/>
                <a:gd name="connsiteX13" fmla="*/ 167251 w 195147"/>
                <a:gd name="connsiteY13" fmla="*/ 260296 h 288217"/>
                <a:gd name="connsiteX14" fmla="*/ 196373 w 195147"/>
                <a:gd name="connsiteY14" fmla="*/ 190344 h 288217"/>
                <a:gd name="connsiteX15" fmla="*/ 196373 w 195147"/>
                <a:gd name="connsiteY15" fmla="*/ 5404 h 288217"/>
                <a:gd name="connsiteX16" fmla="*/ 190368 w 195147"/>
                <a:gd name="connsiteY16" fmla="*/ 0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147" h="288217">
                  <a:moveTo>
                    <a:pt x="190368" y="0"/>
                  </a:moveTo>
                  <a:lnTo>
                    <a:pt x="161847" y="0"/>
                  </a:lnTo>
                  <a:cubicBezTo>
                    <a:pt x="157944" y="0"/>
                    <a:pt x="156443" y="1501"/>
                    <a:pt x="156443" y="5404"/>
                  </a:cubicBezTo>
                  <a:lnTo>
                    <a:pt x="156443" y="190344"/>
                  </a:lnTo>
                  <a:cubicBezTo>
                    <a:pt x="156443" y="205955"/>
                    <a:pt x="150138" y="220967"/>
                    <a:pt x="138729" y="231775"/>
                  </a:cubicBezTo>
                  <a:cubicBezTo>
                    <a:pt x="128221" y="243183"/>
                    <a:pt x="113510" y="249188"/>
                    <a:pt x="98199" y="248888"/>
                  </a:cubicBezTo>
                  <a:cubicBezTo>
                    <a:pt x="82587" y="249188"/>
                    <a:pt x="67575" y="243183"/>
                    <a:pt x="57067" y="231775"/>
                  </a:cubicBezTo>
                  <a:cubicBezTo>
                    <a:pt x="45959" y="220967"/>
                    <a:pt x="39654" y="205955"/>
                    <a:pt x="39955" y="190344"/>
                  </a:cubicBezTo>
                  <a:lnTo>
                    <a:pt x="39955" y="131499"/>
                  </a:lnTo>
                  <a:lnTo>
                    <a:pt x="24" y="147711"/>
                  </a:lnTo>
                  <a:lnTo>
                    <a:pt x="24" y="190644"/>
                  </a:lnTo>
                  <a:cubicBezTo>
                    <a:pt x="-576" y="216763"/>
                    <a:pt x="9932" y="241982"/>
                    <a:pt x="28546" y="260597"/>
                  </a:cubicBezTo>
                  <a:cubicBezTo>
                    <a:pt x="46860" y="279511"/>
                    <a:pt x="71779" y="290019"/>
                    <a:pt x="98199" y="290019"/>
                  </a:cubicBezTo>
                  <a:cubicBezTo>
                    <a:pt x="124318" y="290019"/>
                    <a:pt x="149237" y="279511"/>
                    <a:pt x="167251" y="260296"/>
                  </a:cubicBezTo>
                  <a:cubicBezTo>
                    <a:pt x="186165" y="241982"/>
                    <a:pt x="196673" y="216763"/>
                    <a:pt x="196373" y="190344"/>
                  </a:cubicBezTo>
                  <a:lnTo>
                    <a:pt x="196373" y="5404"/>
                  </a:lnTo>
                  <a:cubicBezTo>
                    <a:pt x="196073" y="1501"/>
                    <a:pt x="193971" y="0"/>
                    <a:pt x="190368" y="0"/>
                  </a:cubicBez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01" name="Forme libre : forme 200">
              <a:extLst>
                <a:ext uri="{FF2B5EF4-FFF2-40B4-BE49-F238E27FC236}">
                  <a16:creationId xmlns:a16="http://schemas.microsoft.com/office/drawing/2014/main" id="{B4F8EAE4-67FF-448A-AB11-8701CF2DDB42}"/>
                </a:ext>
              </a:extLst>
            </p:cNvPr>
            <p:cNvSpPr/>
            <p:nvPr/>
          </p:nvSpPr>
          <p:spPr>
            <a:xfrm>
              <a:off x="6234678" y="3999143"/>
              <a:ext cx="198150" cy="288217"/>
            </a:xfrm>
            <a:custGeom>
              <a:avLst/>
              <a:gdLst>
                <a:gd name="connsiteX0" fmla="*/ 192452 w 198149"/>
                <a:gd name="connsiteY0" fmla="*/ 289382 h 288217"/>
                <a:gd name="connsiteX1" fmla="*/ 164230 w 198149"/>
                <a:gd name="connsiteY1" fmla="*/ 289382 h 288217"/>
                <a:gd name="connsiteX2" fmla="*/ 158226 w 198149"/>
                <a:gd name="connsiteY2" fmla="*/ 284578 h 288217"/>
                <a:gd name="connsiteX3" fmla="*/ 158226 w 198149"/>
                <a:gd name="connsiteY3" fmla="*/ 283377 h 288217"/>
                <a:gd name="connsiteX4" fmla="*/ 158226 w 198149"/>
                <a:gd name="connsiteY4" fmla="*/ 98438 h 288217"/>
                <a:gd name="connsiteX5" fmla="*/ 140813 w 198149"/>
                <a:gd name="connsiteY5" fmla="*/ 57307 h 288217"/>
                <a:gd name="connsiteX6" fmla="*/ 57950 w 198149"/>
                <a:gd name="connsiteY6" fmla="*/ 57006 h 288217"/>
                <a:gd name="connsiteX7" fmla="*/ 57650 w 198149"/>
                <a:gd name="connsiteY7" fmla="*/ 57307 h 288217"/>
                <a:gd name="connsiteX8" fmla="*/ 41137 w 198149"/>
                <a:gd name="connsiteY8" fmla="*/ 98438 h 288217"/>
                <a:gd name="connsiteX9" fmla="*/ 41137 w 198149"/>
                <a:gd name="connsiteY9" fmla="*/ 283377 h 288217"/>
                <a:gd name="connsiteX10" fmla="*/ 36634 w 198149"/>
                <a:gd name="connsiteY10" fmla="*/ 289382 h 288217"/>
                <a:gd name="connsiteX11" fmla="*/ 34833 w 198149"/>
                <a:gd name="connsiteY11" fmla="*/ 289382 h 288217"/>
                <a:gd name="connsiteX12" fmla="*/ 6011 w 198149"/>
                <a:gd name="connsiteY12" fmla="*/ 289382 h 288217"/>
                <a:gd name="connsiteX13" fmla="*/ 6 w 198149"/>
                <a:gd name="connsiteY13" fmla="*/ 284578 h 288217"/>
                <a:gd name="connsiteX14" fmla="*/ 6 w 198149"/>
                <a:gd name="connsiteY14" fmla="*/ 283377 h 288217"/>
                <a:gd name="connsiteX15" fmla="*/ 6 w 198149"/>
                <a:gd name="connsiteY15" fmla="*/ 98438 h 288217"/>
                <a:gd name="connsiteX16" fmla="*/ 29428 w 198149"/>
                <a:gd name="connsiteY16" fmla="*/ 28785 h 288217"/>
                <a:gd name="connsiteX17" fmla="*/ 168734 w 198149"/>
                <a:gd name="connsiteY17" fmla="*/ 28185 h 288217"/>
                <a:gd name="connsiteX18" fmla="*/ 169334 w 198149"/>
                <a:gd name="connsiteY18" fmla="*/ 28785 h 288217"/>
                <a:gd name="connsiteX19" fmla="*/ 198456 w 198149"/>
                <a:gd name="connsiteY19" fmla="*/ 98438 h 288217"/>
                <a:gd name="connsiteX20" fmla="*/ 198456 w 198149"/>
                <a:gd name="connsiteY20" fmla="*/ 283377 h 288217"/>
                <a:gd name="connsiteX21" fmla="*/ 193352 w 198149"/>
                <a:gd name="connsiteY21" fmla="*/ 289382 h 288217"/>
                <a:gd name="connsiteX22" fmla="*/ 192452 w 198149"/>
                <a:gd name="connsiteY22" fmla="*/ 289382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8149" h="288217">
                  <a:moveTo>
                    <a:pt x="192452" y="289382"/>
                  </a:moveTo>
                  <a:lnTo>
                    <a:pt x="164230" y="289382"/>
                  </a:lnTo>
                  <a:cubicBezTo>
                    <a:pt x="161228" y="289682"/>
                    <a:pt x="158526" y="287580"/>
                    <a:pt x="158226" y="284578"/>
                  </a:cubicBezTo>
                  <a:cubicBezTo>
                    <a:pt x="158226" y="284278"/>
                    <a:pt x="158226" y="283677"/>
                    <a:pt x="158226" y="283377"/>
                  </a:cubicBezTo>
                  <a:lnTo>
                    <a:pt x="158226" y="98438"/>
                  </a:lnTo>
                  <a:cubicBezTo>
                    <a:pt x="158526" y="82826"/>
                    <a:pt x="152221" y="68115"/>
                    <a:pt x="140813" y="57307"/>
                  </a:cubicBezTo>
                  <a:cubicBezTo>
                    <a:pt x="117995" y="34490"/>
                    <a:pt x="80767" y="34490"/>
                    <a:pt x="57950" y="57006"/>
                  </a:cubicBezTo>
                  <a:cubicBezTo>
                    <a:pt x="57950" y="57006"/>
                    <a:pt x="57650" y="57307"/>
                    <a:pt x="57650" y="57307"/>
                  </a:cubicBezTo>
                  <a:cubicBezTo>
                    <a:pt x="46842" y="68115"/>
                    <a:pt x="40837" y="83126"/>
                    <a:pt x="41137" y="98438"/>
                  </a:cubicBezTo>
                  <a:lnTo>
                    <a:pt x="41137" y="283377"/>
                  </a:lnTo>
                  <a:cubicBezTo>
                    <a:pt x="41738" y="286380"/>
                    <a:pt x="39636" y="289082"/>
                    <a:pt x="36634" y="289382"/>
                  </a:cubicBezTo>
                  <a:cubicBezTo>
                    <a:pt x="36033" y="289382"/>
                    <a:pt x="35433" y="289382"/>
                    <a:pt x="34833" y="289382"/>
                  </a:cubicBezTo>
                  <a:lnTo>
                    <a:pt x="6011" y="289382"/>
                  </a:lnTo>
                  <a:cubicBezTo>
                    <a:pt x="3009" y="289682"/>
                    <a:pt x="306" y="287580"/>
                    <a:pt x="6" y="284578"/>
                  </a:cubicBezTo>
                  <a:cubicBezTo>
                    <a:pt x="6" y="284278"/>
                    <a:pt x="6" y="283677"/>
                    <a:pt x="6" y="283377"/>
                  </a:cubicBezTo>
                  <a:lnTo>
                    <a:pt x="6" y="98438"/>
                  </a:lnTo>
                  <a:cubicBezTo>
                    <a:pt x="-294" y="72318"/>
                    <a:pt x="10214" y="47099"/>
                    <a:pt x="29428" y="28785"/>
                  </a:cubicBezTo>
                  <a:cubicBezTo>
                    <a:pt x="67858" y="-9344"/>
                    <a:pt x="130004" y="-9644"/>
                    <a:pt x="168734" y="28185"/>
                  </a:cubicBezTo>
                  <a:cubicBezTo>
                    <a:pt x="169034" y="28485"/>
                    <a:pt x="169034" y="28485"/>
                    <a:pt x="169334" y="28785"/>
                  </a:cubicBezTo>
                  <a:cubicBezTo>
                    <a:pt x="188248" y="47099"/>
                    <a:pt x="198756" y="72318"/>
                    <a:pt x="198456" y="98438"/>
                  </a:cubicBezTo>
                  <a:lnTo>
                    <a:pt x="198456" y="283377"/>
                  </a:lnTo>
                  <a:cubicBezTo>
                    <a:pt x="198756" y="286380"/>
                    <a:pt x="196355" y="289082"/>
                    <a:pt x="193352" y="289382"/>
                  </a:cubicBezTo>
                  <a:cubicBezTo>
                    <a:pt x="193052" y="289382"/>
                    <a:pt x="192752" y="289382"/>
                    <a:pt x="192452" y="289382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02" name="Forme libre : forme 201">
              <a:extLst>
                <a:ext uri="{FF2B5EF4-FFF2-40B4-BE49-F238E27FC236}">
                  <a16:creationId xmlns:a16="http://schemas.microsoft.com/office/drawing/2014/main" id="{A1B3C744-062F-46CB-AC7C-FDEF3C0084B5}"/>
                </a:ext>
              </a:extLst>
            </p:cNvPr>
            <p:cNvSpPr/>
            <p:nvPr/>
          </p:nvSpPr>
          <p:spPr>
            <a:xfrm>
              <a:off x="6523803" y="4111091"/>
              <a:ext cx="39029" cy="177134"/>
            </a:xfrm>
            <a:custGeom>
              <a:avLst/>
              <a:gdLst>
                <a:gd name="connsiteX0" fmla="*/ 39930 w 39029"/>
                <a:gd name="connsiteY0" fmla="*/ 37528 h 177133"/>
                <a:gd name="connsiteX1" fmla="*/ 39930 w 39029"/>
                <a:gd name="connsiteY1" fmla="*/ 173231 h 177133"/>
                <a:gd name="connsiteX2" fmla="*/ 34826 w 39029"/>
                <a:gd name="connsiteY2" fmla="*/ 179235 h 177133"/>
                <a:gd name="connsiteX3" fmla="*/ 33625 w 39029"/>
                <a:gd name="connsiteY3" fmla="*/ 179235 h 177133"/>
                <a:gd name="connsiteX4" fmla="*/ 6005 w 39029"/>
                <a:gd name="connsiteY4" fmla="*/ 179235 h 177133"/>
                <a:gd name="connsiteX5" fmla="*/ 0 w 39029"/>
                <a:gd name="connsiteY5" fmla="*/ 174732 h 177133"/>
                <a:gd name="connsiteX6" fmla="*/ 0 w 39029"/>
                <a:gd name="connsiteY6" fmla="*/ 172930 h 177133"/>
                <a:gd name="connsiteX7" fmla="*/ 0 w 39029"/>
                <a:gd name="connsiteY7" fmla="*/ 0 h 177133"/>
                <a:gd name="connsiteX8" fmla="*/ 39930 w 39029"/>
                <a:gd name="connsiteY8" fmla="*/ 37528 h 177133"/>
                <a:gd name="connsiteX9" fmla="*/ 39930 w 39029"/>
                <a:gd name="connsiteY9" fmla="*/ 37528 h 177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029" h="177133">
                  <a:moveTo>
                    <a:pt x="39930" y="37528"/>
                  </a:moveTo>
                  <a:lnTo>
                    <a:pt x="39930" y="173231"/>
                  </a:lnTo>
                  <a:cubicBezTo>
                    <a:pt x="40230" y="176233"/>
                    <a:pt x="38129" y="178935"/>
                    <a:pt x="34826" y="179235"/>
                  </a:cubicBezTo>
                  <a:cubicBezTo>
                    <a:pt x="34526" y="179235"/>
                    <a:pt x="34226" y="179235"/>
                    <a:pt x="33625" y="179235"/>
                  </a:cubicBezTo>
                  <a:lnTo>
                    <a:pt x="6005" y="179235"/>
                  </a:lnTo>
                  <a:cubicBezTo>
                    <a:pt x="3002" y="179836"/>
                    <a:pt x="300" y="177734"/>
                    <a:pt x="0" y="174732"/>
                  </a:cubicBezTo>
                  <a:cubicBezTo>
                    <a:pt x="0" y="174131"/>
                    <a:pt x="0" y="173531"/>
                    <a:pt x="0" y="172930"/>
                  </a:cubicBezTo>
                  <a:lnTo>
                    <a:pt x="0" y="0"/>
                  </a:lnTo>
                  <a:lnTo>
                    <a:pt x="39930" y="37528"/>
                  </a:lnTo>
                  <a:lnTo>
                    <a:pt x="39930" y="37528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03" name="Forme libre : forme 202">
              <a:extLst>
                <a:ext uri="{FF2B5EF4-FFF2-40B4-BE49-F238E27FC236}">
                  <a16:creationId xmlns:a16="http://schemas.microsoft.com/office/drawing/2014/main" id="{58089071-1C8F-4922-ABDA-D07A5EBBEBB5}"/>
                </a:ext>
              </a:extLst>
            </p:cNvPr>
            <p:cNvSpPr/>
            <p:nvPr/>
          </p:nvSpPr>
          <p:spPr>
            <a:xfrm>
              <a:off x="6624477" y="4006913"/>
              <a:ext cx="192145" cy="282213"/>
            </a:xfrm>
            <a:custGeom>
              <a:avLst/>
              <a:gdLst>
                <a:gd name="connsiteX0" fmla="*/ 193248 w 192145"/>
                <a:gd name="connsiteY0" fmla="*/ 117989 h 282212"/>
                <a:gd name="connsiteX1" fmla="*/ 135004 w 192145"/>
                <a:gd name="connsiteY1" fmla="*/ 277709 h 282212"/>
                <a:gd name="connsiteX2" fmla="*/ 128699 w 192145"/>
                <a:gd name="connsiteY2" fmla="*/ 282813 h 282212"/>
                <a:gd name="connsiteX3" fmla="*/ 105882 w 192145"/>
                <a:gd name="connsiteY3" fmla="*/ 282813 h 282212"/>
                <a:gd name="connsiteX4" fmla="*/ 99577 w 192145"/>
                <a:gd name="connsiteY4" fmla="*/ 277709 h 282212"/>
                <a:gd name="connsiteX5" fmla="*/ 803 w 192145"/>
                <a:gd name="connsiteY5" fmla="*/ 8406 h 282212"/>
                <a:gd name="connsiteX6" fmla="*/ 6207 w 192145"/>
                <a:gd name="connsiteY6" fmla="*/ 0 h 282212"/>
                <a:gd name="connsiteX7" fmla="*/ 36230 w 192145"/>
                <a:gd name="connsiteY7" fmla="*/ 0 h 282212"/>
                <a:gd name="connsiteX8" fmla="*/ 43435 w 192145"/>
                <a:gd name="connsiteY8" fmla="*/ 5704 h 282212"/>
                <a:gd name="connsiteX9" fmla="*/ 112787 w 192145"/>
                <a:gd name="connsiteY9" fmla="*/ 195447 h 282212"/>
                <a:gd name="connsiteX10" fmla="*/ 116690 w 192145"/>
                <a:gd name="connsiteY10" fmla="*/ 198149 h 282212"/>
                <a:gd name="connsiteX11" fmla="*/ 121194 w 192145"/>
                <a:gd name="connsiteY11" fmla="*/ 195447 h 282212"/>
                <a:gd name="connsiteX12" fmla="*/ 167128 w 192145"/>
                <a:gd name="connsiteY12" fmla="*/ 69953 h 282212"/>
                <a:gd name="connsiteX13" fmla="*/ 193248 w 192145"/>
                <a:gd name="connsiteY13" fmla="*/ 117989 h 282212"/>
                <a:gd name="connsiteX14" fmla="*/ 193248 w 192145"/>
                <a:gd name="connsiteY14" fmla="*/ 117989 h 282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2145" h="282212">
                  <a:moveTo>
                    <a:pt x="193248" y="117989"/>
                  </a:moveTo>
                  <a:lnTo>
                    <a:pt x="135004" y="277709"/>
                  </a:lnTo>
                  <a:cubicBezTo>
                    <a:pt x="134404" y="280712"/>
                    <a:pt x="131702" y="282813"/>
                    <a:pt x="128699" y="282813"/>
                  </a:cubicBezTo>
                  <a:lnTo>
                    <a:pt x="105882" y="282813"/>
                  </a:lnTo>
                  <a:cubicBezTo>
                    <a:pt x="102580" y="282813"/>
                    <a:pt x="100778" y="281012"/>
                    <a:pt x="99577" y="277709"/>
                  </a:cubicBezTo>
                  <a:lnTo>
                    <a:pt x="803" y="8406"/>
                  </a:lnTo>
                  <a:cubicBezTo>
                    <a:pt x="-1299" y="3002"/>
                    <a:pt x="803" y="0"/>
                    <a:pt x="6207" y="0"/>
                  </a:cubicBezTo>
                  <a:lnTo>
                    <a:pt x="36230" y="0"/>
                  </a:lnTo>
                  <a:cubicBezTo>
                    <a:pt x="39832" y="0"/>
                    <a:pt x="42835" y="2402"/>
                    <a:pt x="43435" y="5704"/>
                  </a:cubicBezTo>
                  <a:lnTo>
                    <a:pt x="112787" y="195447"/>
                  </a:lnTo>
                  <a:cubicBezTo>
                    <a:pt x="113088" y="197249"/>
                    <a:pt x="114889" y="198450"/>
                    <a:pt x="116690" y="198149"/>
                  </a:cubicBezTo>
                  <a:cubicBezTo>
                    <a:pt x="118792" y="198450"/>
                    <a:pt x="120593" y="197249"/>
                    <a:pt x="121194" y="195447"/>
                  </a:cubicBezTo>
                  <a:lnTo>
                    <a:pt x="167128" y="69953"/>
                  </a:lnTo>
                  <a:lnTo>
                    <a:pt x="193248" y="117989"/>
                  </a:lnTo>
                  <a:lnTo>
                    <a:pt x="193248" y="117989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04" name="Forme libre : forme 203">
              <a:extLst>
                <a:ext uri="{FF2B5EF4-FFF2-40B4-BE49-F238E27FC236}">
                  <a16:creationId xmlns:a16="http://schemas.microsoft.com/office/drawing/2014/main" id="{A0AFE0DB-2EC9-4B2F-A13D-5028AA80C759}"/>
                </a:ext>
              </a:extLst>
            </p:cNvPr>
            <p:cNvSpPr/>
            <p:nvPr/>
          </p:nvSpPr>
          <p:spPr>
            <a:xfrm>
              <a:off x="6902066" y="3999101"/>
              <a:ext cx="201152" cy="297224"/>
            </a:xfrm>
            <a:custGeom>
              <a:avLst/>
              <a:gdLst>
                <a:gd name="connsiteX0" fmla="*/ 197872 w 201151"/>
                <a:gd name="connsiteY0" fmla="*/ 166632 h 297224"/>
                <a:gd name="connsiteX1" fmla="*/ 47158 w 201151"/>
                <a:gd name="connsiteY1" fmla="*/ 166632 h 297224"/>
                <a:gd name="connsiteX2" fmla="*/ 40853 w 201151"/>
                <a:gd name="connsiteY2" fmla="*/ 171736 h 297224"/>
                <a:gd name="connsiteX3" fmla="*/ 40853 w 201151"/>
                <a:gd name="connsiteY3" fmla="*/ 172937 h 297224"/>
                <a:gd name="connsiteX4" fmla="*/ 40853 w 201151"/>
                <a:gd name="connsiteY4" fmla="*/ 190049 h 297224"/>
                <a:gd name="connsiteX5" fmla="*/ 60368 w 201151"/>
                <a:gd name="connsiteY5" fmla="*/ 237185 h 297224"/>
                <a:gd name="connsiteX6" fmla="*/ 106903 w 201151"/>
                <a:gd name="connsiteY6" fmla="*/ 257000 h 297224"/>
                <a:gd name="connsiteX7" fmla="*/ 170251 w 201151"/>
                <a:gd name="connsiteY7" fmla="*/ 237185 h 297224"/>
                <a:gd name="connsiteX8" fmla="*/ 177156 w 201151"/>
                <a:gd name="connsiteY8" fmla="*/ 237185 h 297224"/>
                <a:gd name="connsiteX9" fmla="*/ 178057 w 201151"/>
                <a:gd name="connsiteY9" fmla="*/ 238386 h 297224"/>
                <a:gd name="connsiteX10" fmla="*/ 194570 w 201151"/>
                <a:gd name="connsiteY10" fmla="*/ 262404 h 297224"/>
                <a:gd name="connsiteX11" fmla="*/ 194269 w 201151"/>
                <a:gd name="connsiteY11" fmla="*/ 269609 h 297224"/>
                <a:gd name="connsiteX12" fmla="*/ 193068 w 201151"/>
                <a:gd name="connsiteY12" fmla="*/ 270510 h 297224"/>
                <a:gd name="connsiteX13" fmla="*/ 107204 w 201151"/>
                <a:gd name="connsiteY13" fmla="*/ 298131 h 297224"/>
                <a:gd name="connsiteX14" fmla="*/ 31546 w 201151"/>
                <a:gd name="connsiteY14" fmla="*/ 266607 h 297224"/>
                <a:gd name="connsiteX15" fmla="*/ 23 w 201151"/>
                <a:gd name="connsiteY15" fmla="*/ 190950 h 297224"/>
                <a:gd name="connsiteX16" fmla="*/ 23 w 201151"/>
                <a:gd name="connsiteY16" fmla="*/ 101483 h 297224"/>
                <a:gd name="connsiteX17" fmla="*/ 101499 w 201151"/>
                <a:gd name="connsiteY17" fmla="*/ 6 h 297224"/>
                <a:gd name="connsiteX18" fmla="*/ 173554 w 201151"/>
                <a:gd name="connsiteY18" fmla="*/ 30029 h 297224"/>
                <a:gd name="connsiteX19" fmla="*/ 202976 w 201151"/>
                <a:gd name="connsiteY19" fmla="*/ 101483 h 297224"/>
                <a:gd name="connsiteX20" fmla="*/ 202976 w 201151"/>
                <a:gd name="connsiteY20" fmla="*/ 160627 h 297224"/>
                <a:gd name="connsiteX21" fmla="*/ 197272 w 201151"/>
                <a:gd name="connsiteY21" fmla="*/ 166632 h 297224"/>
                <a:gd name="connsiteX22" fmla="*/ 162445 w 201151"/>
                <a:gd name="connsiteY22" fmla="*/ 101783 h 297224"/>
                <a:gd name="connsiteX23" fmla="*/ 102400 w 201151"/>
                <a:gd name="connsiteY23" fmla="*/ 40837 h 297224"/>
                <a:gd name="connsiteX24" fmla="*/ 101499 w 201151"/>
                <a:gd name="connsiteY24" fmla="*/ 40837 h 297224"/>
                <a:gd name="connsiteX25" fmla="*/ 58867 w 201151"/>
                <a:gd name="connsiteY25" fmla="*/ 58550 h 297224"/>
                <a:gd name="connsiteX26" fmla="*/ 41454 w 201151"/>
                <a:gd name="connsiteY26" fmla="*/ 101483 h 297224"/>
                <a:gd name="connsiteX27" fmla="*/ 41454 w 201151"/>
                <a:gd name="connsiteY27" fmla="*/ 120397 h 297224"/>
                <a:gd name="connsiteX28" fmla="*/ 46558 w 201151"/>
                <a:gd name="connsiteY28" fmla="*/ 126401 h 297224"/>
                <a:gd name="connsiteX29" fmla="*/ 47759 w 201151"/>
                <a:gd name="connsiteY29" fmla="*/ 126401 h 297224"/>
                <a:gd name="connsiteX30" fmla="*/ 157942 w 201151"/>
                <a:gd name="connsiteY30" fmla="*/ 126401 h 297224"/>
                <a:gd name="connsiteX31" fmla="*/ 163346 w 201151"/>
                <a:gd name="connsiteY31" fmla="*/ 120397 h 297224"/>
                <a:gd name="connsiteX32" fmla="*/ 162445 w 201151"/>
                <a:gd name="connsiteY32" fmla="*/ 101783 h 297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1151" h="297224">
                  <a:moveTo>
                    <a:pt x="197872" y="166632"/>
                  </a:moveTo>
                  <a:lnTo>
                    <a:pt x="47158" y="166632"/>
                  </a:lnTo>
                  <a:cubicBezTo>
                    <a:pt x="44156" y="166332"/>
                    <a:pt x="41154" y="168433"/>
                    <a:pt x="40853" y="171736"/>
                  </a:cubicBezTo>
                  <a:cubicBezTo>
                    <a:pt x="40853" y="172036"/>
                    <a:pt x="40853" y="172336"/>
                    <a:pt x="40853" y="172937"/>
                  </a:cubicBezTo>
                  <a:lnTo>
                    <a:pt x="40853" y="190049"/>
                  </a:lnTo>
                  <a:cubicBezTo>
                    <a:pt x="40553" y="207763"/>
                    <a:pt x="47458" y="224876"/>
                    <a:pt x="60368" y="237185"/>
                  </a:cubicBezTo>
                  <a:cubicBezTo>
                    <a:pt x="72377" y="249794"/>
                    <a:pt x="89490" y="257000"/>
                    <a:pt x="106903" y="257000"/>
                  </a:cubicBezTo>
                  <a:cubicBezTo>
                    <a:pt x="129420" y="257300"/>
                    <a:pt x="151637" y="250095"/>
                    <a:pt x="170251" y="237185"/>
                  </a:cubicBezTo>
                  <a:cubicBezTo>
                    <a:pt x="172053" y="235384"/>
                    <a:pt x="175055" y="235384"/>
                    <a:pt x="177156" y="237185"/>
                  </a:cubicBezTo>
                  <a:cubicBezTo>
                    <a:pt x="177457" y="237485"/>
                    <a:pt x="177757" y="237785"/>
                    <a:pt x="178057" y="238386"/>
                  </a:cubicBezTo>
                  <a:lnTo>
                    <a:pt x="194570" y="262404"/>
                  </a:lnTo>
                  <a:cubicBezTo>
                    <a:pt x="196671" y="264506"/>
                    <a:pt x="196371" y="267808"/>
                    <a:pt x="194269" y="269609"/>
                  </a:cubicBezTo>
                  <a:cubicBezTo>
                    <a:pt x="193969" y="269910"/>
                    <a:pt x="193369" y="270210"/>
                    <a:pt x="193068" y="270510"/>
                  </a:cubicBezTo>
                  <a:cubicBezTo>
                    <a:pt x="168150" y="288824"/>
                    <a:pt x="138127" y="298431"/>
                    <a:pt x="107204" y="298131"/>
                  </a:cubicBezTo>
                  <a:cubicBezTo>
                    <a:pt x="78682" y="298431"/>
                    <a:pt x="51361" y="287023"/>
                    <a:pt x="31546" y="266607"/>
                  </a:cubicBezTo>
                  <a:cubicBezTo>
                    <a:pt x="10831" y="246792"/>
                    <a:pt x="-578" y="219171"/>
                    <a:pt x="23" y="190950"/>
                  </a:cubicBezTo>
                  <a:lnTo>
                    <a:pt x="23" y="101483"/>
                  </a:lnTo>
                  <a:cubicBezTo>
                    <a:pt x="-278" y="45641"/>
                    <a:pt x="45357" y="306"/>
                    <a:pt x="101499" y="6"/>
                  </a:cubicBezTo>
                  <a:cubicBezTo>
                    <a:pt x="128820" y="-294"/>
                    <a:pt x="154940" y="10514"/>
                    <a:pt x="173554" y="30029"/>
                  </a:cubicBezTo>
                  <a:cubicBezTo>
                    <a:pt x="193068" y="48643"/>
                    <a:pt x="203576" y="74462"/>
                    <a:pt x="202976" y="101483"/>
                  </a:cubicBezTo>
                  <a:lnTo>
                    <a:pt x="202976" y="160627"/>
                  </a:lnTo>
                  <a:cubicBezTo>
                    <a:pt x="202976" y="164530"/>
                    <a:pt x="201175" y="166632"/>
                    <a:pt x="197272" y="166632"/>
                  </a:cubicBezTo>
                  <a:moveTo>
                    <a:pt x="162445" y="101783"/>
                  </a:moveTo>
                  <a:cubicBezTo>
                    <a:pt x="162746" y="68458"/>
                    <a:pt x="135725" y="41137"/>
                    <a:pt x="102400" y="40837"/>
                  </a:cubicBezTo>
                  <a:cubicBezTo>
                    <a:pt x="102100" y="40837"/>
                    <a:pt x="101799" y="40837"/>
                    <a:pt x="101499" y="40837"/>
                  </a:cubicBezTo>
                  <a:cubicBezTo>
                    <a:pt x="85287" y="40537"/>
                    <a:pt x="69975" y="46841"/>
                    <a:pt x="58867" y="58550"/>
                  </a:cubicBezTo>
                  <a:cubicBezTo>
                    <a:pt x="47458" y="69959"/>
                    <a:pt x="41154" y="85270"/>
                    <a:pt x="41454" y="101483"/>
                  </a:cubicBezTo>
                  <a:lnTo>
                    <a:pt x="41454" y="120397"/>
                  </a:lnTo>
                  <a:cubicBezTo>
                    <a:pt x="41154" y="123399"/>
                    <a:pt x="43555" y="126101"/>
                    <a:pt x="46558" y="126401"/>
                  </a:cubicBezTo>
                  <a:cubicBezTo>
                    <a:pt x="46858" y="126401"/>
                    <a:pt x="47158" y="126401"/>
                    <a:pt x="47759" y="126401"/>
                  </a:cubicBezTo>
                  <a:lnTo>
                    <a:pt x="157942" y="126401"/>
                  </a:lnTo>
                  <a:cubicBezTo>
                    <a:pt x="161845" y="126401"/>
                    <a:pt x="163346" y="124300"/>
                    <a:pt x="163346" y="120397"/>
                  </a:cubicBezTo>
                  <a:lnTo>
                    <a:pt x="162445" y="101783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05" name="Forme libre : forme 204">
              <a:extLst>
                <a:ext uri="{FF2B5EF4-FFF2-40B4-BE49-F238E27FC236}">
                  <a16:creationId xmlns:a16="http://schemas.microsoft.com/office/drawing/2014/main" id="{A1DF73B0-2C05-4133-A9E5-3F81FF2C473A}"/>
                </a:ext>
              </a:extLst>
            </p:cNvPr>
            <p:cNvSpPr/>
            <p:nvPr/>
          </p:nvSpPr>
          <p:spPr>
            <a:xfrm>
              <a:off x="7168089" y="4142015"/>
              <a:ext cx="39029" cy="147111"/>
            </a:xfrm>
            <a:custGeom>
              <a:avLst/>
              <a:gdLst>
                <a:gd name="connsiteX0" fmla="*/ 39630 w 39029"/>
                <a:gd name="connsiteY0" fmla="*/ 0 h 147110"/>
                <a:gd name="connsiteX1" fmla="*/ 39630 w 39029"/>
                <a:gd name="connsiteY1" fmla="*/ 143808 h 147110"/>
                <a:gd name="connsiteX2" fmla="*/ 34826 w 39029"/>
                <a:gd name="connsiteY2" fmla="*/ 149813 h 147110"/>
                <a:gd name="connsiteX3" fmla="*/ 33625 w 39029"/>
                <a:gd name="connsiteY3" fmla="*/ 149813 h 147110"/>
                <a:gd name="connsiteX4" fmla="*/ 6005 w 39029"/>
                <a:gd name="connsiteY4" fmla="*/ 149813 h 147110"/>
                <a:gd name="connsiteX5" fmla="*/ 0 w 39029"/>
                <a:gd name="connsiteY5" fmla="*/ 144709 h 147110"/>
                <a:gd name="connsiteX6" fmla="*/ 0 w 39029"/>
                <a:gd name="connsiteY6" fmla="*/ 143508 h 147110"/>
                <a:gd name="connsiteX7" fmla="*/ 0 w 39029"/>
                <a:gd name="connsiteY7" fmla="*/ 26720 h 147110"/>
                <a:gd name="connsiteX8" fmla="*/ 39630 w 39029"/>
                <a:gd name="connsiteY8" fmla="*/ 0 h 147110"/>
                <a:gd name="connsiteX9" fmla="*/ 39630 w 39029"/>
                <a:gd name="connsiteY9" fmla="*/ 0 h 147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029" h="147110">
                  <a:moveTo>
                    <a:pt x="39630" y="0"/>
                  </a:moveTo>
                  <a:lnTo>
                    <a:pt x="39630" y="143808"/>
                  </a:lnTo>
                  <a:cubicBezTo>
                    <a:pt x="39930" y="146811"/>
                    <a:pt x="37829" y="149513"/>
                    <a:pt x="34826" y="149813"/>
                  </a:cubicBezTo>
                  <a:cubicBezTo>
                    <a:pt x="34526" y="149813"/>
                    <a:pt x="33926" y="149813"/>
                    <a:pt x="33625" y="149813"/>
                  </a:cubicBezTo>
                  <a:lnTo>
                    <a:pt x="6005" y="149813"/>
                  </a:lnTo>
                  <a:cubicBezTo>
                    <a:pt x="3002" y="150113"/>
                    <a:pt x="300" y="148012"/>
                    <a:pt x="0" y="144709"/>
                  </a:cubicBezTo>
                  <a:cubicBezTo>
                    <a:pt x="0" y="144409"/>
                    <a:pt x="0" y="144109"/>
                    <a:pt x="0" y="143508"/>
                  </a:cubicBezTo>
                  <a:lnTo>
                    <a:pt x="0" y="26720"/>
                  </a:lnTo>
                  <a:lnTo>
                    <a:pt x="39630" y="0"/>
                  </a:lnTo>
                  <a:lnTo>
                    <a:pt x="39630" y="0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06" name="Forme libre : forme 205">
              <a:extLst>
                <a:ext uri="{FF2B5EF4-FFF2-40B4-BE49-F238E27FC236}">
                  <a16:creationId xmlns:a16="http://schemas.microsoft.com/office/drawing/2014/main" id="{92CBA666-3616-4119-91AC-4F9C32BE24DB}"/>
                </a:ext>
              </a:extLst>
            </p:cNvPr>
            <p:cNvSpPr/>
            <p:nvPr/>
          </p:nvSpPr>
          <p:spPr>
            <a:xfrm>
              <a:off x="7592289" y="3898809"/>
              <a:ext cx="51039" cy="390294"/>
            </a:xfrm>
            <a:custGeom>
              <a:avLst/>
              <a:gdLst>
                <a:gd name="connsiteX0" fmla="*/ 44454 w 51038"/>
                <a:gd name="connsiteY0" fmla="*/ 46558 h 390294"/>
                <a:gd name="connsiteX1" fmla="*/ 25840 w 51038"/>
                <a:gd name="connsiteY1" fmla="*/ 54964 h 390294"/>
                <a:gd name="connsiteX2" fmla="*/ 7827 w 51038"/>
                <a:gd name="connsiteY2" fmla="*/ 46558 h 390294"/>
                <a:gd name="connsiteX3" fmla="*/ 21 w 51038"/>
                <a:gd name="connsiteY3" fmla="*/ 27343 h 390294"/>
                <a:gd name="connsiteX4" fmla="*/ 7827 w 51038"/>
                <a:gd name="connsiteY4" fmla="*/ 7828 h 390294"/>
                <a:gd name="connsiteX5" fmla="*/ 25840 w 51038"/>
                <a:gd name="connsiteY5" fmla="*/ 23 h 390294"/>
                <a:gd name="connsiteX6" fmla="*/ 44454 w 51038"/>
                <a:gd name="connsiteY6" fmla="*/ 7828 h 390294"/>
                <a:gd name="connsiteX7" fmla="*/ 52560 w 51038"/>
                <a:gd name="connsiteY7" fmla="*/ 27343 h 390294"/>
                <a:gd name="connsiteX8" fmla="*/ 44454 w 51038"/>
                <a:gd name="connsiteY8" fmla="*/ 46558 h 390294"/>
                <a:gd name="connsiteX9" fmla="*/ 39651 w 51038"/>
                <a:gd name="connsiteY9" fmla="*/ 392719 h 390294"/>
                <a:gd name="connsiteX10" fmla="*/ 12630 w 51038"/>
                <a:gd name="connsiteY10" fmla="*/ 392719 h 390294"/>
                <a:gd name="connsiteX11" fmla="*/ 6926 w 51038"/>
                <a:gd name="connsiteY11" fmla="*/ 386714 h 390294"/>
                <a:gd name="connsiteX12" fmla="*/ 6926 w 51038"/>
                <a:gd name="connsiteY12" fmla="*/ 112307 h 390294"/>
                <a:gd name="connsiteX13" fmla="*/ 12630 w 51038"/>
                <a:gd name="connsiteY13" fmla="*/ 106603 h 390294"/>
                <a:gd name="connsiteX14" fmla="*/ 39651 w 51038"/>
                <a:gd name="connsiteY14" fmla="*/ 106603 h 390294"/>
                <a:gd name="connsiteX15" fmla="*/ 45655 w 51038"/>
                <a:gd name="connsiteY15" fmla="*/ 112307 h 390294"/>
                <a:gd name="connsiteX16" fmla="*/ 45655 w 51038"/>
                <a:gd name="connsiteY16" fmla="*/ 386414 h 390294"/>
                <a:gd name="connsiteX17" fmla="*/ 40852 w 51038"/>
                <a:gd name="connsiteY17" fmla="*/ 392418 h 390294"/>
                <a:gd name="connsiteX18" fmla="*/ 39651 w 51038"/>
                <a:gd name="connsiteY18" fmla="*/ 392719 h 390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1038" h="390294">
                  <a:moveTo>
                    <a:pt x="44454" y="46558"/>
                  </a:moveTo>
                  <a:cubicBezTo>
                    <a:pt x="39651" y="51962"/>
                    <a:pt x="33046" y="55264"/>
                    <a:pt x="25840" y="54964"/>
                  </a:cubicBezTo>
                  <a:cubicBezTo>
                    <a:pt x="18935" y="54964"/>
                    <a:pt x="12330" y="51962"/>
                    <a:pt x="7827" y="46558"/>
                  </a:cubicBezTo>
                  <a:cubicBezTo>
                    <a:pt x="2723" y="41754"/>
                    <a:pt x="-280" y="34849"/>
                    <a:pt x="21" y="27343"/>
                  </a:cubicBezTo>
                  <a:cubicBezTo>
                    <a:pt x="-280" y="19837"/>
                    <a:pt x="2723" y="12632"/>
                    <a:pt x="7827" y="7828"/>
                  </a:cubicBezTo>
                  <a:cubicBezTo>
                    <a:pt x="12330" y="2424"/>
                    <a:pt x="18935" y="-278"/>
                    <a:pt x="25840" y="23"/>
                  </a:cubicBezTo>
                  <a:cubicBezTo>
                    <a:pt x="32745" y="-278"/>
                    <a:pt x="39651" y="2424"/>
                    <a:pt x="44454" y="7828"/>
                  </a:cubicBezTo>
                  <a:cubicBezTo>
                    <a:pt x="49858" y="12932"/>
                    <a:pt x="52560" y="20138"/>
                    <a:pt x="52560" y="27343"/>
                  </a:cubicBezTo>
                  <a:cubicBezTo>
                    <a:pt x="52260" y="34849"/>
                    <a:pt x="49558" y="41754"/>
                    <a:pt x="44454" y="46558"/>
                  </a:cubicBezTo>
                  <a:moveTo>
                    <a:pt x="39651" y="392719"/>
                  </a:moveTo>
                  <a:lnTo>
                    <a:pt x="12630" y="392719"/>
                  </a:lnTo>
                  <a:cubicBezTo>
                    <a:pt x="8427" y="392719"/>
                    <a:pt x="6926" y="390617"/>
                    <a:pt x="6926" y="386714"/>
                  </a:cubicBezTo>
                  <a:lnTo>
                    <a:pt x="6926" y="112307"/>
                  </a:lnTo>
                  <a:cubicBezTo>
                    <a:pt x="6926" y="108404"/>
                    <a:pt x="8427" y="106603"/>
                    <a:pt x="12630" y="106603"/>
                  </a:cubicBezTo>
                  <a:lnTo>
                    <a:pt x="39651" y="106603"/>
                  </a:lnTo>
                  <a:cubicBezTo>
                    <a:pt x="43553" y="106603"/>
                    <a:pt x="45655" y="108404"/>
                    <a:pt x="45655" y="112307"/>
                  </a:cubicBezTo>
                  <a:lnTo>
                    <a:pt x="45655" y="386414"/>
                  </a:lnTo>
                  <a:cubicBezTo>
                    <a:pt x="45955" y="389416"/>
                    <a:pt x="43854" y="392118"/>
                    <a:pt x="40852" y="392418"/>
                  </a:cubicBezTo>
                  <a:cubicBezTo>
                    <a:pt x="40551" y="392719"/>
                    <a:pt x="39951" y="392719"/>
                    <a:pt x="39651" y="392719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07" name="Forme libre : forme 206">
              <a:extLst>
                <a:ext uri="{FF2B5EF4-FFF2-40B4-BE49-F238E27FC236}">
                  <a16:creationId xmlns:a16="http://schemas.microsoft.com/office/drawing/2014/main" id="{BB992EE4-2318-4911-A533-A578440EECF0}"/>
                </a:ext>
              </a:extLst>
            </p:cNvPr>
            <p:cNvSpPr/>
            <p:nvPr/>
          </p:nvSpPr>
          <p:spPr>
            <a:xfrm>
              <a:off x="7927941" y="3999084"/>
              <a:ext cx="201152" cy="297224"/>
            </a:xfrm>
            <a:custGeom>
              <a:avLst/>
              <a:gdLst>
                <a:gd name="connsiteX0" fmla="*/ 197872 w 201151"/>
                <a:gd name="connsiteY0" fmla="*/ 166649 h 297224"/>
                <a:gd name="connsiteX1" fmla="*/ 46858 w 201151"/>
                <a:gd name="connsiteY1" fmla="*/ 166649 h 297224"/>
                <a:gd name="connsiteX2" fmla="*/ 40854 w 201151"/>
                <a:gd name="connsiteY2" fmla="*/ 171452 h 297224"/>
                <a:gd name="connsiteX3" fmla="*/ 40854 w 201151"/>
                <a:gd name="connsiteY3" fmla="*/ 172653 h 297224"/>
                <a:gd name="connsiteX4" fmla="*/ 40854 w 201151"/>
                <a:gd name="connsiteY4" fmla="*/ 189766 h 297224"/>
                <a:gd name="connsiteX5" fmla="*/ 60368 w 201151"/>
                <a:gd name="connsiteY5" fmla="*/ 236902 h 297224"/>
                <a:gd name="connsiteX6" fmla="*/ 107504 w 201151"/>
                <a:gd name="connsiteY6" fmla="*/ 256717 h 297224"/>
                <a:gd name="connsiteX7" fmla="*/ 170852 w 201151"/>
                <a:gd name="connsiteY7" fmla="*/ 236902 h 297224"/>
                <a:gd name="connsiteX8" fmla="*/ 177757 w 201151"/>
                <a:gd name="connsiteY8" fmla="*/ 236902 h 297224"/>
                <a:gd name="connsiteX9" fmla="*/ 178357 w 201151"/>
                <a:gd name="connsiteY9" fmla="*/ 237802 h 297224"/>
                <a:gd name="connsiteX10" fmla="*/ 194870 w 201151"/>
                <a:gd name="connsiteY10" fmla="*/ 261821 h 297224"/>
                <a:gd name="connsiteX11" fmla="*/ 194570 w 201151"/>
                <a:gd name="connsiteY11" fmla="*/ 269026 h 297224"/>
                <a:gd name="connsiteX12" fmla="*/ 193369 w 201151"/>
                <a:gd name="connsiteY12" fmla="*/ 269927 h 297224"/>
                <a:gd name="connsiteX13" fmla="*/ 107504 w 201151"/>
                <a:gd name="connsiteY13" fmla="*/ 297247 h 297224"/>
                <a:gd name="connsiteX14" fmla="*/ 31546 w 201151"/>
                <a:gd name="connsiteY14" fmla="*/ 265724 h 297224"/>
                <a:gd name="connsiteX15" fmla="*/ 23 w 201151"/>
                <a:gd name="connsiteY15" fmla="*/ 190066 h 297224"/>
                <a:gd name="connsiteX16" fmla="*/ 23 w 201151"/>
                <a:gd name="connsiteY16" fmla="*/ 101199 h 297224"/>
                <a:gd name="connsiteX17" fmla="*/ 101499 w 201151"/>
                <a:gd name="connsiteY17" fmla="*/ 23 h 297224"/>
                <a:gd name="connsiteX18" fmla="*/ 101499 w 201151"/>
                <a:gd name="connsiteY18" fmla="*/ 23 h 297224"/>
                <a:gd name="connsiteX19" fmla="*/ 173554 w 201151"/>
                <a:gd name="connsiteY19" fmla="*/ 29746 h 297224"/>
                <a:gd name="connsiteX20" fmla="*/ 202976 w 201151"/>
                <a:gd name="connsiteY20" fmla="*/ 101199 h 297224"/>
                <a:gd name="connsiteX21" fmla="*/ 202976 w 201151"/>
                <a:gd name="connsiteY21" fmla="*/ 160344 h 297224"/>
                <a:gd name="connsiteX22" fmla="*/ 197272 w 201151"/>
                <a:gd name="connsiteY22" fmla="*/ 166349 h 297224"/>
                <a:gd name="connsiteX23" fmla="*/ 162445 w 201151"/>
                <a:gd name="connsiteY23" fmla="*/ 101800 h 297224"/>
                <a:gd name="connsiteX24" fmla="*/ 144732 w 201151"/>
                <a:gd name="connsiteY24" fmla="*/ 58567 h 297224"/>
                <a:gd name="connsiteX25" fmla="*/ 101499 w 201151"/>
                <a:gd name="connsiteY25" fmla="*/ 40854 h 297224"/>
                <a:gd name="connsiteX26" fmla="*/ 58867 w 201151"/>
                <a:gd name="connsiteY26" fmla="*/ 58567 h 297224"/>
                <a:gd name="connsiteX27" fmla="*/ 40553 w 201151"/>
                <a:gd name="connsiteY27" fmla="*/ 101800 h 297224"/>
                <a:gd name="connsiteX28" fmla="*/ 40553 w 201151"/>
                <a:gd name="connsiteY28" fmla="*/ 120714 h 297224"/>
                <a:gd name="connsiteX29" fmla="*/ 45357 w 201151"/>
                <a:gd name="connsiteY29" fmla="*/ 126719 h 297224"/>
                <a:gd name="connsiteX30" fmla="*/ 46558 w 201151"/>
                <a:gd name="connsiteY30" fmla="*/ 126719 h 297224"/>
                <a:gd name="connsiteX31" fmla="*/ 157041 w 201151"/>
                <a:gd name="connsiteY31" fmla="*/ 126719 h 297224"/>
                <a:gd name="connsiteX32" fmla="*/ 162746 w 201151"/>
                <a:gd name="connsiteY32" fmla="*/ 120714 h 297224"/>
                <a:gd name="connsiteX33" fmla="*/ 162746 w 201151"/>
                <a:gd name="connsiteY33" fmla="*/ 101800 h 297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01151" h="297224">
                  <a:moveTo>
                    <a:pt x="197872" y="166649"/>
                  </a:moveTo>
                  <a:lnTo>
                    <a:pt x="46858" y="166649"/>
                  </a:lnTo>
                  <a:cubicBezTo>
                    <a:pt x="43856" y="166349"/>
                    <a:pt x="41154" y="168450"/>
                    <a:pt x="40854" y="171452"/>
                  </a:cubicBezTo>
                  <a:cubicBezTo>
                    <a:pt x="40854" y="171753"/>
                    <a:pt x="40854" y="172353"/>
                    <a:pt x="40854" y="172653"/>
                  </a:cubicBezTo>
                  <a:lnTo>
                    <a:pt x="40854" y="189766"/>
                  </a:lnTo>
                  <a:cubicBezTo>
                    <a:pt x="40553" y="207480"/>
                    <a:pt x="47459" y="224593"/>
                    <a:pt x="60368" y="236902"/>
                  </a:cubicBezTo>
                  <a:cubicBezTo>
                    <a:pt x="72677" y="249812"/>
                    <a:pt x="89790" y="257017"/>
                    <a:pt x="107504" y="256717"/>
                  </a:cubicBezTo>
                  <a:cubicBezTo>
                    <a:pt x="130021" y="257017"/>
                    <a:pt x="152238" y="249812"/>
                    <a:pt x="170852" y="236902"/>
                  </a:cubicBezTo>
                  <a:cubicBezTo>
                    <a:pt x="172953" y="235100"/>
                    <a:pt x="175956" y="235100"/>
                    <a:pt x="177757" y="236902"/>
                  </a:cubicBezTo>
                  <a:cubicBezTo>
                    <a:pt x="178057" y="237202"/>
                    <a:pt x="178357" y="237502"/>
                    <a:pt x="178357" y="237802"/>
                  </a:cubicBezTo>
                  <a:lnTo>
                    <a:pt x="194870" y="261821"/>
                  </a:lnTo>
                  <a:cubicBezTo>
                    <a:pt x="196671" y="263922"/>
                    <a:pt x="196671" y="267225"/>
                    <a:pt x="194570" y="269026"/>
                  </a:cubicBezTo>
                  <a:cubicBezTo>
                    <a:pt x="194269" y="269326"/>
                    <a:pt x="193669" y="269626"/>
                    <a:pt x="193369" y="269927"/>
                  </a:cubicBezTo>
                  <a:cubicBezTo>
                    <a:pt x="168450" y="288241"/>
                    <a:pt x="138427" y="297548"/>
                    <a:pt x="107504" y="297247"/>
                  </a:cubicBezTo>
                  <a:cubicBezTo>
                    <a:pt x="78682" y="297848"/>
                    <a:pt x="51061" y="286139"/>
                    <a:pt x="31546" y="265724"/>
                  </a:cubicBezTo>
                  <a:cubicBezTo>
                    <a:pt x="10831" y="245909"/>
                    <a:pt x="-578" y="218288"/>
                    <a:pt x="23" y="190066"/>
                  </a:cubicBezTo>
                  <a:lnTo>
                    <a:pt x="23" y="101199"/>
                  </a:lnTo>
                  <a:cubicBezTo>
                    <a:pt x="-278" y="45357"/>
                    <a:pt x="45357" y="323"/>
                    <a:pt x="101499" y="23"/>
                  </a:cubicBezTo>
                  <a:lnTo>
                    <a:pt x="101499" y="23"/>
                  </a:lnTo>
                  <a:cubicBezTo>
                    <a:pt x="128820" y="-577"/>
                    <a:pt x="154940" y="10531"/>
                    <a:pt x="173554" y="29746"/>
                  </a:cubicBezTo>
                  <a:cubicBezTo>
                    <a:pt x="193069" y="48360"/>
                    <a:pt x="203576" y="74179"/>
                    <a:pt x="202976" y="101199"/>
                  </a:cubicBezTo>
                  <a:lnTo>
                    <a:pt x="202976" y="160344"/>
                  </a:lnTo>
                  <a:cubicBezTo>
                    <a:pt x="202976" y="164247"/>
                    <a:pt x="201175" y="166349"/>
                    <a:pt x="197272" y="166349"/>
                  </a:cubicBezTo>
                  <a:moveTo>
                    <a:pt x="162445" y="101800"/>
                  </a:moveTo>
                  <a:cubicBezTo>
                    <a:pt x="162746" y="85588"/>
                    <a:pt x="156441" y="69976"/>
                    <a:pt x="144732" y="58567"/>
                  </a:cubicBezTo>
                  <a:cubicBezTo>
                    <a:pt x="133323" y="46858"/>
                    <a:pt x="117711" y="40554"/>
                    <a:pt x="101499" y="40854"/>
                  </a:cubicBezTo>
                  <a:cubicBezTo>
                    <a:pt x="85287" y="40554"/>
                    <a:pt x="69976" y="46858"/>
                    <a:pt x="58867" y="58567"/>
                  </a:cubicBezTo>
                  <a:cubicBezTo>
                    <a:pt x="46858" y="69976"/>
                    <a:pt x="40253" y="85588"/>
                    <a:pt x="40553" y="101800"/>
                  </a:cubicBezTo>
                  <a:lnTo>
                    <a:pt x="40553" y="120714"/>
                  </a:lnTo>
                  <a:cubicBezTo>
                    <a:pt x="40253" y="123716"/>
                    <a:pt x="42355" y="126418"/>
                    <a:pt x="45357" y="126719"/>
                  </a:cubicBezTo>
                  <a:cubicBezTo>
                    <a:pt x="45657" y="126719"/>
                    <a:pt x="46258" y="126719"/>
                    <a:pt x="46558" y="126719"/>
                  </a:cubicBezTo>
                  <a:lnTo>
                    <a:pt x="157041" y="126719"/>
                  </a:lnTo>
                  <a:cubicBezTo>
                    <a:pt x="160944" y="126719"/>
                    <a:pt x="162746" y="124617"/>
                    <a:pt x="162746" y="120714"/>
                  </a:cubicBezTo>
                  <a:lnTo>
                    <a:pt x="162746" y="101800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08" name="Forme libre : forme 207">
              <a:extLst>
                <a:ext uri="{FF2B5EF4-FFF2-40B4-BE49-F238E27FC236}">
                  <a16:creationId xmlns:a16="http://schemas.microsoft.com/office/drawing/2014/main" id="{E94D4579-F05D-43F4-A5DA-EFC27D932E05}"/>
                </a:ext>
              </a:extLst>
            </p:cNvPr>
            <p:cNvSpPr/>
            <p:nvPr/>
          </p:nvSpPr>
          <p:spPr>
            <a:xfrm>
              <a:off x="7334113" y="3998799"/>
              <a:ext cx="189143" cy="297224"/>
            </a:xfrm>
            <a:custGeom>
              <a:avLst/>
              <a:gdLst>
                <a:gd name="connsiteX0" fmla="*/ 18016 w 189142"/>
                <a:gd name="connsiteY0" fmla="*/ 238687 h 297224"/>
                <a:gd name="connsiteX1" fmla="*/ 102079 w 189142"/>
                <a:gd name="connsiteY1" fmla="*/ 260003 h 297224"/>
                <a:gd name="connsiteX2" fmla="*/ 135705 w 189142"/>
                <a:gd name="connsiteY2" fmla="*/ 245893 h 297224"/>
                <a:gd name="connsiteX3" fmla="*/ 149815 w 189142"/>
                <a:gd name="connsiteY3" fmla="*/ 212267 h 297224"/>
                <a:gd name="connsiteX4" fmla="*/ 140208 w 189142"/>
                <a:gd name="connsiteY4" fmla="*/ 185847 h 297224"/>
                <a:gd name="connsiteX5" fmla="*/ 116790 w 189142"/>
                <a:gd name="connsiteY5" fmla="*/ 169935 h 297224"/>
                <a:gd name="connsiteX6" fmla="*/ 57646 w 189142"/>
                <a:gd name="connsiteY6" fmla="*/ 153723 h 297224"/>
                <a:gd name="connsiteX7" fmla="*/ 2 w 189142"/>
                <a:gd name="connsiteY7" fmla="*/ 78967 h 297224"/>
                <a:gd name="connsiteX8" fmla="*/ 77761 w 189142"/>
                <a:gd name="connsiteY8" fmla="*/ 7 h 297224"/>
                <a:gd name="connsiteX9" fmla="*/ 79262 w 189142"/>
                <a:gd name="connsiteY9" fmla="*/ 7 h 297224"/>
                <a:gd name="connsiteX10" fmla="*/ 177136 w 189142"/>
                <a:gd name="connsiteY10" fmla="*/ 26427 h 297224"/>
                <a:gd name="connsiteX11" fmla="*/ 179538 w 189142"/>
                <a:gd name="connsiteY11" fmla="*/ 33633 h 297224"/>
                <a:gd name="connsiteX12" fmla="*/ 178637 w 189142"/>
                <a:gd name="connsiteY12" fmla="*/ 34834 h 297224"/>
                <a:gd name="connsiteX13" fmla="*/ 164226 w 189142"/>
                <a:gd name="connsiteY13" fmla="*/ 58852 h 297224"/>
                <a:gd name="connsiteX14" fmla="*/ 156420 w 189142"/>
                <a:gd name="connsiteY14" fmla="*/ 61554 h 297224"/>
                <a:gd name="connsiteX15" fmla="*/ 78361 w 189142"/>
                <a:gd name="connsiteY15" fmla="*/ 39637 h 297224"/>
                <a:gd name="connsiteX16" fmla="*/ 50740 w 189142"/>
                <a:gd name="connsiteY16" fmla="*/ 51046 h 297224"/>
                <a:gd name="connsiteX17" fmla="*/ 40232 w 189142"/>
                <a:gd name="connsiteY17" fmla="*/ 77466 h 297224"/>
                <a:gd name="connsiteX18" fmla="*/ 67553 w 189142"/>
                <a:gd name="connsiteY18" fmla="*/ 112892 h 297224"/>
                <a:gd name="connsiteX19" fmla="*/ 126398 w 189142"/>
                <a:gd name="connsiteY19" fmla="*/ 128504 h 297224"/>
                <a:gd name="connsiteX20" fmla="*/ 172933 w 189142"/>
                <a:gd name="connsiteY20" fmla="*/ 159427 h 297224"/>
                <a:gd name="connsiteX21" fmla="*/ 153418 w 189142"/>
                <a:gd name="connsiteY21" fmla="*/ 282821 h 297224"/>
                <a:gd name="connsiteX22" fmla="*/ 101779 w 189142"/>
                <a:gd name="connsiteY22" fmla="*/ 299633 h 297224"/>
                <a:gd name="connsiteX23" fmla="*/ 101779 w 189142"/>
                <a:gd name="connsiteY23" fmla="*/ 299633 h 297224"/>
                <a:gd name="connsiteX24" fmla="*/ 18016 w 189142"/>
                <a:gd name="connsiteY24" fmla="*/ 238687 h 297224"/>
                <a:gd name="connsiteX25" fmla="*/ 18016 w 189142"/>
                <a:gd name="connsiteY25" fmla="*/ 238687 h 297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9142" h="297224">
                  <a:moveTo>
                    <a:pt x="18016" y="238687"/>
                  </a:moveTo>
                  <a:cubicBezTo>
                    <a:pt x="43835" y="252498"/>
                    <a:pt x="72657" y="259703"/>
                    <a:pt x="102079" y="260003"/>
                  </a:cubicBezTo>
                  <a:cubicBezTo>
                    <a:pt x="114689" y="260304"/>
                    <a:pt x="126998" y="255200"/>
                    <a:pt x="135705" y="245893"/>
                  </a:cubicBezTo>
                  <a:cubicBezTo>
                    <a:pt x="144711" y="237186"/>
                    <a:pt x="149815" y="224877"/>
                    <a:pt x="149815" y="212267"/>
                  </a:cubicBezTo>
                  <a:cubicBezTo>
                    <a:pt x="149515" y="202660"/>
                    <a:pt x="146212" y="193353"/>
                    <a:pt x="140208" y="185847"/>
                  </a:cubicBezTo>
                  <a:cubicBezTo>
                    <a:pt x="134504" y="178042"/>
                    <a:pt x="126097" y="172637"/>
                    <a:pt x="116790" y="169935"/>
                  </a:cubicBezTo>
                  <a:lnTo>
                    <a:pt x="57646" y="153723"/>
                  </a:lnTo>
                  <a:cubicBezTo>
                    <a:pt x="23720" y="144716"/>
                    <a:pt x="2" y="114093"/>
                    <a:pt x="2" y="78967"/>
                  </a:cubicBezTo>
                  <a:cubicBezTo>
                    <a:pt x="-298" y="35734"/>
                    <a:pt x="34228" y="608"/>
                    <a:pt x="77761" y="7"/>
                  </a:cubicBezTo>
                  <a:cubicBezTo>
                    <a:pt x="78361" y="7"/>
                    <a:pt x="78962" y="7"/>
                    <a:pt x="79262" y="7"/>
                  </a:cubicBezTo>
                  <a:cubicBezTo>
                    <a:pt x="113788" y="-293"/>
                    <a:pt x="147413" y="8714"/>
                    <a:pt x="177136" y="26427"/>
                  </a:cubicBezTo>
                  <a:cubicBezTo>
                    <a:pt x="179838" y="27628"/>
                    <a:pt x="181039" y="30931"/>
                    <a:pt x="179538" y="33633"/>
                  </a:cubicBezTo>
                  <a:cubicBezTo>
                    <a:pt x="179237" y="33933"/>
                    <a:pt x="178937" y="34533"/>
                    <a:pt x="178637" y="34834"/>
                  </a:cubicBezTo>
                  <a:lnTo>
                    <a:pt x="164226" y="58852"/>
                  </a:lnTo>
                  <a:cubicBezTo>
                    <a:pt x="162124" y="62755"/>
                    <a:pt x="159122" y="63355"/>
                    <a:pt x="156420" y="61554"/>
                  </a:cubicBezTo>
                  <a:cubicBezTo>
                    <a:pt x="133002" y="47143"/>
                    <a:pt x="105982" y="39637"/>
                    <a:pt x="78361" y="39637"/>
                  </a:cubicBezTo>
                  <a:cubicBezTo>
                    <a:pt x="67853" y="39337"/>
                    <a:pt x="57946" y="43540"/>
                    <a:pt x="50740" y="51046"/>
                  </a:cubicBezTo>
                  <a:cubicBezTo>
                    <a:pt x="43835" y="57951"/>
                    <a:pt x="39932" y="67558"/>
                    <a:pt x="40232" y="77466"/>
                  </a:cubicBezTo>
                  <a:cubicBezTo>
                    <a:pt x="39031" y="94579"/>
                    <a:pt x="50740" y="109890"/>
                    <a:pt x="67553" y="112892"/>
                  </a:cubicBezTo>
                  <a:lnTo>
                    <a:pt x="126398" y="128504"/>
                  </a:lnTo>
                  <a:cubicBezTo>
                    <a:pt x="145011" y="133308"/>
                    <a:pt x="161524" y="144116"/>
                    <a:pt x="172933" y="159427"/>
                  </a:cubicBezTo>
                  <a:cubicBezTo>
                    <a:pt x="201754" y="198757"/>
                    <a:pt x="193048" y="253999"/>
                    <a:pt x="153418" y="282821"/>
                  </a:cubicBezTo>
                  <a:cubicBezTo>
                    <a:pt x="138407" y="293629"/>
                    <a:pt x="120393" y="299633"/>
                    <a:pt x="101779" y="299633"/>
                  </a:cubicBezTo>
                  <a:lnTo>
                    <a:pt x="101779" y="299633"/>
                  </a:lnTo>
                  <a:lnTo>
                    <a:pt x="18016" y="238687"/>
                  </a:lnTo>
                  <a:lnTo>
                    <a:pt x="18016" y="238687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09" name="Forme libre : forme 208">
              <a:extLst>
                <a:ext uri="{FF2B5EF4-FFF2-40B4-BE49-F238E27FC236}">
                  <a16:creationId xmlns:a16="http://schemas.microsoft.com/office/drawing/2014/main" id="{42A87569-3468-487F-B04D-E409BD79854C}"/>
                </a:ext>
              </a:extLst>
            </p:cNvPr>
            <p:cNvSpPr/>
            <p:nvPr/>
          </p:nvSpPr>
          <p:spPr>
            <a:xfrm>
              <a:off x="7700091" y="3921920"/>
              <a:ext cx="180136" cy="219165"/>
            </a:xfrm>
            <a:custGeom>
              <a:avLst/>
              <a:gdLst>
                <a:gd name="connsiteX0" fmla="*/ 44133 w 180136"/>
                <a:gd name="connsiteY0" fmla="*/ 219494 h 219165"/>
                <a:gd name="connsiteX1" fmla="*/ 44133 w 180136"/>
                <a:gd name="connsiteY1" fmla="*/ 132128 h 219165"/>
                <a:gd name="connsiteX2" fmla="*/ 38129 w 180136"/>
                <a:gd name="connsiteY2" fmla="*/ 126424 h 219165"/>
                <a:gd name="connsiteX3" fmla="*/ 6005 w 180136"/>
                <a:gd name="connsiteY3" fmla="*/ 126424 h 219165"/>
                <a:gd name="connsiteX4" fmla="*/ 0 w 180136"/>
                <a:gd name="connsiteY4" fmla="*/ 120419 h 219165"/>
                <a:gd name="connsiteX5" fmla="*/ 0 w 180136"/>
                <a:gd name="connsiteY5" fmla="*/ 91598 h 219165"/>
                <a:gd name="connsiteX6" fmla="*/ 6005 w 180136"/>
                <a:gd name="connsiteY6" fmla="*/ 86193 h 219165"/>
                <a:gd name="connsiteX7" fmla="*/ 37829 w 180136"/>
                <a:gd name="connsiteY7" fmla="*/ 86193 h 219165"/>
                <a:gd name="connsiteX8" fmla="*/ 43833 w 180136"/>
                <a:gd name="connsiteY8" fmla="*/ 81390 h 219165"/>
                <a:gd name="connsiteX9" fmla="*/ 43833 w 180136"/>
                <a:gd name="connsiteY9" fmla="*/ 80189 h 219165"/>
                <a:gd name="connsiteX10" fmla="*/ 43833 w 180136"/>
                <a:gd name="connsiteY10" fmla="*/ 6033 h 219165"/>
                <a:gd name="connsiteX11" fmla="*/ 48937 w 180136"/>
                <a:gd name="connsiteY11" fmla="*/ 28 h 219165"/>
                <a:gd name="connsiteX12" fmla="*/ 50138 w 180136"/>
                <a:gd name="connsiteY12" fmla="*/ 28 h 219165"/>
                <a:gd name="connsiteX13" fmla="*/ 78059 w 180136"/>
                <a:gd name="connsiteY13" fmla="*/ 28 h 219165"/>
                <a:gd name="connsiteX14" fmla="*/ 84064 w 180136"/>
                <a:gd name="connsiteY14" fmla="*/ 5132 h 219165"/>
                <a:gd name="connsiteX15" fmla="*/ 84064 w 180136"/>
                <a:gd name="connsiteY15" fmla="*/ 6333 h 219165"/>
                <a:gd name="connsiteX16" fmla="*/ 84064 w 180136"/>
                <a:gd name="connsiteY16" fmla="*/ 80189 h 219165"/>
                <a:gd name="connsiteX17" fmla="*/ 89167 w 180136"/>
                <a:gd name="connsiteY17" fmla="*/ 86193 h 219165"/>
                <a:gd name="connsiteX18" fmla="*/ 90368 w 180136"/>
                <a:gd name="connsiteY18" fmla="*/ 86193 h 219165"/>
                <a:gd name="connsiteX19" fmla="*/ 174732 w 180136"/>
                <a:gd name="connsiteY19" fmla="*/ 86193 h 219165"/>
                <a:gd name="connsiteX20" fmla="*/ 180737 w 180136"/>
                <a:gd name="connsiteY20" fmla="*/ 91598 h 219165"/>
                <a:gd name="connsiteX21" fmla="*/ 180737 w 180136"/>
                <a:gd name="connsiteY21" fmla="*/ 120419 h 219165"/>
                <a:gd name="connsiteX22" fmla="*/ 174732 w 180136"/>
                <a:gd name="connsiteY22" fmla="*/ 126424 h 219165"/>
                <a:gd name="connsiteX23" fmla="*/ 90068 w 180136"/>
                <a:gd name="connsiteY23" fmla="*/ 126424 h 219165"/>
                <a:gd name="connsiteX24" fmla="*/ 84064 w 180136"/>
                <a:gd name="connsiteY24" fmla="*/ 132128 h 219165"/>
                <a:gd name="connsiteX25" fmla="*/ 84064 w 180136"/>
                <a:gd name="connsiteY25" fmla="*/ 198778 h 219165"/>
                <a:gd name="connsiteX26" fmla="*/ 44133 w 180136"/>
                <a:gd name="connsiteY26" fmla="*/ 219494 h 219165"/>
                <a:gd name="connsiteX27" fmla="*/ 44133 w 180136"/>
                <a:gd name="connsiteY27" fmla="*/ 219494 h 219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80136" h="219165">
                  <a:moveTo>
                    <a:pt x="44133" y="219494"/>
                  </a:moveTo>
                  <a:lnTo>
                    <a:pt x="44133" y="132128"/>
                  </a:lnTo>
                  <a:cubicBezTo>
                    <a:pt x="44133" y="128225"/>
                    <a:pt x="42032" y="126424"/>
                    <a:pt x="38129" y="126424"/>
                  </a:cubicBezTo>
                  <a:lnTo>
                    <a:pt x="6005" y="126424"/>
                  </a:lnTo>
                  <a:cubicBezTo>
                    <a:pt x="1501" y="126424"/>
                    <a:pt x="0" y="124322"/>
                    <a:pt x="0" y="120419"/>
                  </a:cubicBezTo>
                  <a:lnTo>
                    <a:pt x="0" y="91598"/>
                  </a:lnTo>
                  <a:cubicBezTo>
                    <a:pt x="0" y="87695"/>
                    <a:pt x="1501" y="86193"/>
                    <a:pt x="6005" y="86193"/>
                  </a:cubicBezTo>
                  <a:lnTo>
                    <a:pt x="37829" y="86193"/>
                  </a:lnTo>
                  <a:cubicBezTo>
                    <a:pt x="40831" y="86494"/>
                    <a:pt x="43533" y="84392"/>
                    <a:pt x="43833" y="81390"/>
                  </a:cubicBezTo>
                  <a:cubicBezTo>
                    <a:pt x="43833" y="81090"/>
                    <a:pt x="43833" y="80489"/>
                    <a:pt x="43833" y="80189"/>
                  </a:cubicBezTo>
                  <a:lnTo>
                    <a:pt x="43833" y="6033"/>
                  </a:lnTo>
                  <a:cubicBezTo>
                    <a:pt x="43533" y="3031"/>
                    <a:pt x="45935" y="329"/>
                    <a:pt x="48937" y="28"/>
                  </a:cubicBezTo>
                  <a:cubicBezTo>
                    <a:pt x="49237" y="28"/>
                    <a:pt x="49537" y="28"/>
                    <a:pt x="50138" y="28"/>
                  </a:cubicBezTo>
                  <a:lnTo>
                    <a:pt x="78059" y="28"/>
                  </a:lnTo>
                  <a:cubicBezTo>
                    <a:pt x="81061" y="-272"/>
                    <a:pt x="83763" y="1830"/>
                    <a:pt x="84064" y="5132"/>
                  </a:cubicBezTo>
                  <a:cubicBezTo>
                    <a:pt x="84064" y="5433"/>
                    <a:pt x="84064" y="5733"/>
                    <a:pt x="84064" y="6333"/>
                  </a:cubicBezTo>
                  <a:lnTo>
                    <a:pt x="84064" y="80189"/>
                  </a:lnTo>
                  <a:cubicBezTo>
                    <a:pt x="83763" y="83191"/>
                    <a:pt x="86165" y="85893"/>
                    <a:pt x="89167" y="86193"/>
                  </a:cubicBezTo>
                  <a:cubicBezTo>
                    <a:pt x="89468" y="86193"/>
                    <a:pt x="89768" y="86193"/>
                    <a:pt x="90368" y="86193"/>
                  </a:cubicBezTo>
                  <a:lnTo>
                    <a:pt x="174732" y="86193"/>
                  </a:lnTo>
                  <a:cubicBezTo>
                    <a:pt x="179235" y="86193"/>
                    <a:pt x="180737" y="87695"/>
                    <a:pt x="180737" y="91598"/>
                  </a:cubicBezTo>
                  <a:lnTo>
                    <a:pt x="180737" y="120419"/>
                  </a:lnTo>
                  <a:cubicBezTo>
                    <a:pt x="180737" y="124322"/>
                    <a:pt x="179235" y="126424"/>
                    <a:pt x="174732" y="126424"/>
                  </a:cubicBezTo>
                  <a:lnTo>
                    <a:pt x="90068" y="126424"/>
                  </a:lnTo>
                  <a:cubicBezTo>
                    <a:pt x="86165" y="126424"/>
                    <a:pt x="84064" y="128225"/>
                    <a:pt x="84064" y="132128"/>
                  </a:cubicBezTo>
                  <a:lnTo>
                    <a:pt x="84064" y="198778"/>
                  </a:lnTo>
                  <a:lnTo>
                    <a:pt x="44133" y="219494"/>
                  </a:lnTo>
                  <a:lnTo>
                    <a:pt x="44133" y="219494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10" name="Forme libre : forme 209">
              <a:extLst>
                <a:ext uri="{FF2B5EF4-FFF2-40B4-BE49-F238E27FC236}">
                  <a16:creationId xmlns:a16="http://schemas.microsoft.com/office/drawing/2014/main" id="{8A480203-3BAE-4FB3-AFEF-BBBDA1B8A5D3}"/>
                </a:ext>
              </a:extLst>
            </p:cNvPr>
            <p:cNvSpPr/>
            <p:nvPr/>
          </p:nvSpPr>
          <p:spPr>
            <a:xfrm>
              <a:off x="6709034" y="4369579"/>
              <a:ext cx="183138" cy="288217"/>
            </a:xfrm>
            <a:custGeom>
              <a:avLst/>
              <a:gdLst>
                <a:gd name="connsiteX0" fmla="*/ 156127 w 183138"/>
                <a:gd name="connsiteY0" fmla="*/ 130306 h 288217"/>
                <a:gd name="connsiteX1" fmla="*/ 172039 w 183138"/>
                <a:gd name="connsiteY1" fmla="*/ 79568 h 288217"/>
                <a:gd name="connsiteX2" fmla="*/ 149221 w 183138"/>
                <a:gd name="connsiteY2" fmla="*/ 23425 h 288217"/>
                <a:gd name="connsiteX3" fmla="*/ 93980 w 183138"/>
                <a:gd name="connsiteY3" fmla="*/ 8 h 288217"/>
                <a:gd name="connsiteX4" fmla="*/ 17722 w 183138"/>
                <a:gd name="connsiteY4" fmla="*/ 8 h 288217"/>
                <a:gd name="connsiteX5" fmla="*/ 9 w 183138"/>
                <a:gd name="connsiteY5" fmla="*/ 17721 h 288217"/>
                <a:gd name="connsiteX6" fmla="*/ 9 w 183138"/>
                <a:gd name="connsiteY6" fmla="*/ 19222 h 288217"/>
                <a:gd name="connsiteX7" fmla="*/ 9 w 183138"/>
                <a:gd name="connsiteY7" fmla="*/ 271713 h 288217"/>
                <a:gd name="connsiteX8" fmla="*/ 16821 w 183138"/>
                <a:gd name="connsiteY8" fmla="*/ 290327 h 288217"/>
                <a:gd name="connsiteX9" fmla="*/ 18022 w 183138"/>
                <a:gd name="connsiteY9" fmla="*/ 290327 h 288217"/>
                <a:gd name="connsiteX10" fmla="*/ 103587 w 183138"/>
                <a:gd name="connsiteY10" fmla="*/ 290327 h 288217"/>
                <a:gd name="connsiteX11" fmla="*/ 160930 w 183138"/>
                <a:gd name="connsiteY11" fmla="*/ 266008 h 288217"/>
                <a:gd name="connsiteX12" fmla="*/ 185249 w 183138"/>
                <a:gd name="connsiteY12" fmla="*/ 207164 h 288217"/>
                <a:gd name="connsiteX13" fmla="*/ 185249 w 183138"/>
                <a:gd name="connsiteY13" fmla="*/ 195455 h 288217"/>
                <a:gd name="connsiteX14" fmla="*/ 172339 w 183138"/>
                <a:gd name="connsiteY14" fmla="*/ 148920 h 288217"/>
                <a:gd name="connsiteX15" fmla="*/ 157027 w 183138"/>
                <a:gd name="connsiteY15" fmla="*/ 130006 h 288217"/>
                <a:gd name="connsiteX16" fmla="*/ 111093 w 183138"/>
                <a:gd name="connsiteY16" fmla="*/ 100283 h 288217"/>
                <a:gd name="connsiteX17" fmla="*/ 90977 w 183138"/>
                <a:gd name="connsiteY17" fmla="*/ 107789 h 288217"/>
                <a:gd name="connsiteX18" fmla="*/ 53749 w 183138"/>
                <a:gd name="connsiteY18" fmla="*/ 107789 h 288217"/>
                <a:gd name="connsiteX19" fmla="*/ 53749 w 183138"/>
                <a:gd name="connsiteY19" fmla="*/ 55249 h 288217"/>
                <a:gd name="connsiteX20" fmla="*/ 93980 w 183138"/>
                <a:gd name="connsiteY20" fmla="*/ 55249 h 288217"/>
                <a:gd name="connsiteX21" fmla="*/ 110792 w 183138"/>
                <a:gd name="connsiteY21" fmla="*/ 61854 h 288217"/>
                <a:gd name="connsiteX22" fmla="*/ 117698 w 183138"/>
                <a:gd name="connsiteY22" fmla="*/ 78967 h 288217"/>
                <a:gd name="connsiteX23" fmla="*/ 110192 w 183138"/>
                <a:gd name="connsiteY23" fmla="*/ 99683 h 288217"/>
                <a:gd name="connsiteX24" fmla="*/ 53749 w 183138"/>
                <a:gd name="connsiteY24" fmla="*/ 163931 h 288217"/>
                <a:gd name="connsiteX25" fmla="*/ 99384 w 183138"/>
                <a:gd name="connsiteY25" fmla="*/ 163931 h 288217"/>
                <a:gd name="connsiteX26" fmla="*/ 121000 w 183138"/>
                <a:gd name="connsiteY26" fmla="*/ 173238 h 288217"/>
                <a:gd name="connsiteX27" fmla="*/ 130307 w 183138"/>
                <a:gd name="connsiteY27" fmla="*/ 195755 h 288217"/>
                <a:gd name="connsiteX28" fmla="*/ 130307 w 183138"/>
                <a:gd name="connsiteY28" fmla="*/ 206864 h 288217"/>
                <a:gd name="connsiteX29" fmla="*/ 122201 w 183138"/>
                <a:gd name="connsiteY29" fmla="*/ 226078 h 288217"/>
                <a:gd name="connsiteX30" fmla="*/ 102986 w 183138"/>
                <a:gd name="connsiteY30" fmla="*/ 234485 h 288217"/>
                <a:gd name="connsiteX31" fmla="*/ 53749 w 183138"/>
                <a:gd name="connsiteY31" fmla="*/ 234485 h 288217"/>
                <a:gd name="connsiteX32" fmla="*/ 53749 w 183138"/>
                <a:gd name="connsiteY32" fmla="*/ 163931 h 288217"/>
                <a:gd name="connsiteX33" fmla="*/ 53749 w 183138"/>
                <a:gd name="connsiteY33" fmla="*/ 163931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83138" h="288217">
                  <a:moveTo>
                    <a:pt x="156127" y="130306"/>
                  </a:moveTo>
                  <a:cubicBezTo>
                    <a:pt x="166935" y="115595"/>
                    <a:pt x="172639" y="97882"/>
                    <a:pt x="172039" y="79568"/>
                  </a:cubicBezTo>
                  <a:cubicBezTo>
                    <a:pt x="172339" y="58552"/>
                    <a:pt x="163933" y="38137"/>
                    <a:pt x="149221" y="23425"/>
                  </a:cubicBezTo>
                  <a:cubicBezTo>
                    <a:pt x="134811" y="8114"/>
                    <a:pt x="114996" y="-292"/>
                    <a:pt x="93980" y="8"/>
                  </a:cubicBezTo>
                  <a:lnTo>
                    <a:pt x="17722" y="8"/>
                  </a:lnTo>
                  <a:cubicBezTo>
                    <a:pt x="8115" y="8"/>
                    <a:pt x="309" y="7814"/>
                    <a:pt x="9" y="17721"/>
                  </a:cubicBezTo>
                  <a:cubicBezTo>
                    <a:pt x="9" y="18322"/>
                    <a:pt x="9" y="18922"/>
                    <a:pt x="9" y="19222"/>
                  </a:cubicBezTo>
                  <a:lnTo>
                    <a:pt x="9" y="271713"/>
                  </a:lnTo>
                  <a:cubicBezTo>
                    <a:pt x="-292" y="281620"/>
                    <a:pt x="7214" y="290027"/>
                    <a:pt x="16821" y="290327"/>
                  </a:cubicBezTo>
                  <a:cubicBezTo>
                    <a:pt x="17122" y="290327"/>
                    <a:pt x="17722" y="290327"/>
                    <a:pt x="18022" y="290327"/>
                  </a:cubicBezTo>
                  <a:lnTo>
                    <a:pt x="103587" y="290327"/>
                  </a:lnTo>
                  <a:cubicBezTo>
                    <a:pt x="125203" y="290627"/>
                    <a:pt x="145919" y="281920"/>
                    <a:pt x="160930" y="266008"/>
                  </a:cubicBezTo>
                  <a:cubicBezTo>
                    <a:pt x="176542" y="250697"/>
                    <a:pt x="185249" y="229381"/>
                    <a:pt x="185249" y="207164"/>
                  </a:cubicBezTo>
                  <a:lnTo>
                    <a:pt x="185249" y="195455"/>
                  </a:lnTo>
                  <a:cubicBezTo>
                    <a:pt x="185249" y="178943"/>
                    <a:pt x="180745" y="163031"/>
                    <a:pt x="172339" y="148920"/>
                  </a:cubicBezTo>
                  <a:cubicBezTo>
                    <a:pt x="168136" y="142015"/>
                    <a:pt x="163032" y="135410"/>
                    <a:pt x="157027" y="130006"/>
                  </a:cubicBezTo>
                  <a:moveTo>
                    <a:pt x="111093" y="100283"/>
                  </a:moveTo>
                  <a:cubicBezTo>
                    <a:pt x="105688" y="105687"/>
                    <a:pt x="98483" y="108389"/>
                    <a:pt x="90977" y="107789"/>
                  </a:cubicBezTo>
                  <a:lnTo>
                    <a:pt x="53749" y="107789"/>
                  </a:lnTo>
                  <a:lnTo>
                    <a:pt x="53749" y="55249"/>
                  </a:lnTo>
                  <a:lnTo>
                    <a:pt x="93980" y="55249"/>
                  </a:lnTo>
                  <a:cubicBezTo>
                    <a:pt x="100284" y="54949"/>
                    <a:pt x="106289" y="57351"/>
                    <a:pt x="110792" y="61854"/>
                  </a:cubicBezTo>
                  <a:cubicBezTo>
                    <a:pt x="115596" y="66358"/>
                    <a:pt x="117998" y="72663"/>
                    <a:pt x="117698" y="78967"/>
                  </a:cubicBezTo>
                  <a:cubicBezTo>
                    <a:pt x="117998" y="86773"/>
                    <a:pt x="115296" y="94279"/>
                    <a:pt x="110192" y="99683"/>
                  </a:cubicBezTo>
                  <a:moveTo>
                    <a:pt x="53749" y="163931"/>
                  </a:moveTo>
                  <a:lnTo>
                    <a:pt x="99384" y="163931"/>
                  </a:lnTo>
                  <a:cubicBezTo>
                    <a:pt x="107490" y="163931"/>
                    <a:pt x="115596" y="167234"/>
                    <a:pt x="121000" y="173238"/>
                  </a:cubicBezTo>
                  <a:cubicBezTo>
                    <a:pt x="127005" y="179243"/>
                    <a:pt x="130607" y="187349"/>
                    <a:pt x="130307" y="195755"/>
                  </a:cubicBezTo>
                  <a:lnTo>
                    <a:pt x="130307" y="206864"/>
                  </a:lnTo>
                  <a:cubicBezTo>
                    <a:pt x="130307" y="214069"/>
                    <a:pt x="127305" y="221275"/>
                    <a:pt x="122201" y="226078"/>
                  </a:cubicBezTo>
                  <a:cubicBezTo>
                    <a:pt x="117097" y="231482"/>
                    <a:pt x="110192" y="234485"/>
                    <a:pt x="102986" y="234485"/>
                  </a:cubicBezTo>
                  <a:lnTo>
                    <a:pt x="53749" y="234485"/>
                  </a:lnTo>
                  <a:lnTo>
                    <a:pt x="53749" y="163931"/>
                  </a:lnTo>
                  <a:lnTo>
                    <a:pt x="53749" y="163931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11" name="Forme libre : forme 210">
              <a:extLst>
                <a:ext uri="{FF2B5EF4-FFF2-40B4-BE49-F238E27FC236}">
                  <a16:creationId xmlns:a16="http://schemas.microsoft.com/office/drawing/2014/main" id="{2802A1C5-F8B8-472F-BA61-4CA64A6C5347}"/>
                </a:ext>
              </a:extLst>
            </p:cNvPr>
            <p:cNvSpPr/>
            <p:nvPr/>
          </p:nvSpPr>
          <p:spPr>
            <a:xfrm>
              <a:off x="6940511" y="4365677"/>
              <a:ext cx="189143" cy="297224"/>
            </a:xfrm>
            <a:custGeom>
              <a:avLst/>
              <a:gdLst>
                <a:gd name="connsiteX0" fmla="*/ 95479 w 189142"/>
                <a:gd name="connsiteY0" fmla="*/ 6 h 297224"/>
                <a:gd name="connsiteX1" fmla="*/ 27928 w 189142"/>
                <a:gd name="connsiteY1" fmla="*/ 28828 h 297224"/>
                <a:gd name="connsiteX2" fmla="*/ 7 w 189142"/>
                <a:gd name="connsiteY2" fmla="*/ 97880 h 297224"/>
                <a:gd name="connsiteX3" fmla="*/ 7 w 189142"/>
                <a:gd name="connsiteY3" fmla="*/ 200858 h 297224"/>
                <a:gd name="connsiteX4" fmla="*/ 27928 w 189142"/>
                <a:gd name="connsiteY4" fmla="*/ 269910 h 297224"/>
                <a:gd name="connsiteX5" fmla="*/ 162429 w 189142"/>
                <a:gd name="connsiteY5" fmla="*/ 270811 h 297224"/>
                <a:gd name="connsiteX6" fmla="*/ 163330 w 189142"/>
                <a:gd name="connsiteY6" fmla="*/ 269910 h 297224"/>
                <a:gd name="connsiteX7" fmla="*/ 191551 w 189142"/>
                <a:gd name="connsiteY7" fmla="*/ 200858 h 297224"/>
                <a:gd name="connsiteX8" fmla="*/ 191551 w 189142"/>
                <a:gd name="connsiteY8" fmla="*/ 97880 h 297224"/>
                <a:gd name="connsiteX9" fmla="*/ 163330 w 189142"/>
                <a:gd name="connsiteY9" fmla="*/ 28828 h 297224"/>
                <a:gd name="connsiteX10" fmla="*/ 95479 w 189142"/>
                <a:gd name="connsiteY10" fmla="*/ 6 h 297224"/>
                <a:gd name="connsiteX11" fmla="*/ 54348 w 189142"/>
                <a:gd name="connsiteY11" fmla="*/ 97880 h 297224"/>
                <a:gd name="connsiteX12" fmla="*/ 67257 w 189142"/>
                <a:gd name="connsiteY12" fmla="*/ 67858 h 297224"/>
                <a:gd name="connsiteX13" fmla="*/ 125501 w 189142"/>
                <a:gd name="connsiteY13" fmla="*/ 67858 h 297224"/>
                <a:gd name="connsiteX14" fmla="*/ 138411 w 189142"/>
                <a:gd name="connsiteY14" fmla="*/ 97880 h 297224"/>
                <a:gd name="connsiteX15" fmla="*/ 138411 w 189142"/>
                <a:gd name="connsiteY15" fmla="*/ 200858 h 297224"/>
                <a:gd name="connsiteX16" fmla="*/ 125501 w 189142"/>
                <a:gd name="connsiteY16" fmla="*/ 230580 h 297224"/>
                <a:gd name="connsiteX17" fmla="*/ 68458 w 189142"/>
                <a:gd name="connsiteY17" fmla="*/ 232081 h 297224"/>
                <a:gd name="connsiteX18" fmla="*/ 67257 w 189142"/>
                <a:gd name="connsiteY18" fmla="*/ 230580 h 297224"/>
                <a:gd name="connsiteX19" fmla="*/ 54948 w 189142"/>
                <a:gd name="connsiteY19" fmla="*/ 200858 h 297224"/>
                <a:gd name="connsiteX20" fmla="*/ 54348 w 189142"/>
                <a:gd name="connsiteY20" fmla="*/ 97880 h 297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9142" h="297224">
                  <a:moveTo>
                    <a:pt x="95479" y="6"/>
                  </a:moveTo>
                  <a:cubicBezTo>
                    <a:pt x="69959" y="-294"/>
                    <a:pt x="45641" y="9914"/>
                    <a:pt x="27928" y="28828"/>
                  </a:cubicBezTo>
                  <a:cubicBezTo>
                    <a:pt x="9614" y="47142"/>
                    <a:pt x="-294" y="72061"/>
                    <a:pt x="7" y="97880"/>
                  </a:cubicBezTo>
                  <a:lnTo>
                    <a:pt x="7" y="200858"/>
                  </a:lnTo>
                  <a:cubicBezTo>
                    <a:pt x="-294" y="226677"/>
                    <a:pt x="9914" y="251896"/>
                    <a:pt x="27928" y="269910"/>
                  </a:cubicBezTo>
                  <a:cubicBezTo>
                    <a:pt x="64856" y="307738"/>
                    <a:pt x="124901" y="308039"/>
                    <a:pt x="162429" y="270811"/>
                  </a:cubicBezTo>
                  <a:cubicBezTo>
                    <a:pt x="162730" y="270510"/>
                    <a:pt x="163030" y="270210"/>
                    <a:pt x="163330" y="269910"/>
                  </a:cubicBezTo>
                  <a:cubicBezTo>
                    <a:pt x="181644" y="251596"/>
                    <a:pt x="191852" y="226677"/>
                    <a:pt x="191551" y="200858"/>
                  </a:cubicBezTo>
                  <a:lnTo>
                    <a:pt x="191551" y="97880"/>
                  </a:lnTo>
                  <a:cubicBezTo>
                    <a:pt x="191852" y="71761"/>
                    <a:pt x="181644" y="46842"/>
                    <a:pt x="163330" y="28828"/>
                  </a:cubicBezTo>
                  <a:cubicBezTo>
                    <a:pt x="145617" y="9914"/>
                    <a:pt x="120998" y="-294"/>
                    <a:pt x="95479" y="6"/>
                  </a:cubicBezTo>
                  <a:moveTo>
                    <a:pt x="54348" y="97880"/>
                  </a:moveTo>
                  <a:cubicBezTo>
                    <a:pt x="54348" y="86472"/>
                    <a:pt x="58851" y="75363"/>
                    <a:pt x="67257" y="67858"/>
                  </a:cubicBezTo>
                  <a:cubicBezTo>
                    <a:pt x="83470" y="51645"/>
                    <a:pt x="109289" y="51645"/>
                    <a:pt x="125501" y="67858"/>
                  </a:cubicBezTo>
                  <a:cubicBezTo>
                    <a:pt x="133908" y="75663"/>
                    <a:pt x="138411" y="86472"/>
                    <a:pt x="138411" y="97880"/>
                  </a:cubicBezTo>
                  <a:lnTo>
                    <a:pt x="138411" y="200858"/>
                  </a:lnTo>
                  <a:cubicBezTo>
                    <a:pt x="138711" y="212267"/>
                    <a:pt x="133908" y="223075"/>
                    <a:pt x="125501" y="230580"/>
                  </a:cubicBezTo>
                  <a:cubicBezTo>
                    <a:pt x="110190" y="246793"/>
                    <a:pt x="84671" y="247393"/>
                    <a:pt x="68458" y="232081"/>
                  </a:cubicBezTo>
                  <a:cubicBezTo>
                    <a:pt x="67858" y="231781"/>
                    <a:pt x="67558" y="231181"/>
                    <a:pt x="67257" y="230580"/>
                  </a:cubicBezTo>
                  <a:cubicBezTo>
                    <a:pt x="59151" y="222774"/>
                    <a:pt x="54948" y="212267"/>
                    <a:pt x="54948" y="200858"/>
                  </a:cubicBezTo>
                  <a:lnTo>
                    <a:pt x="54348" y="97880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12" name="Forme libre : forme 211">
              <a:extLst>
                <a:ext uri="{FF2B5EF4-FFF2-40B4-BE49-F238E27FC236}">
                  <a16:creationId xmlns:a16="http://schemas.microsoft.com/office/drawing/2014/main" id="{352CA0BD-A178-47B9-AE2F-C156F1943F08}"/>
                </a:ext>
              </a:extLst>
            </p:cNvPr>
            <p:cNvSpPr/>
            <p:nvPr/>
          </p:nvSpPr>
          <p:spPr>
            <a:xfrm>
              <a:off x="7438285" y="4369280"/>
              <a:ext cx="183138" cy="288217"/>
            </a:xfrm>
            <a:custGeom>
              <a:avLst/>
              <a:gdLst>
                <a:gd name="connsiteX0" fmla="*/ 81070 w 183138"/>
                <a:gd name="connsiteY0" fmla="*/ 306 h 288217"/>
                <a:gd name="connsiteX1" fmla="*/ 18923 w 183138"/>
                <a:gd name="connsiteY1" fmla="*/ 306 h 288217"/>
                <a:gd name="connsiteX2" fmla="*/ 8 w 183138"/>
                <a:gd name="connsiteY2" fmla="*/ 16819 h 288217"/>
                <a:gd name="connsiteX3" fmla="*/ 8 w 183138"/>
                <a:gd name="connsiteY3" fmla="*/ 19521 h 288217"/>
                <a:gd name="connsiteX4" fmla="*/ 8 w 183138"/>
                <a:gd name="connsiteY4" fmla="*/ 272011 h 288217"/>
                <a:gd name="connsiteX5" fmla="*/ 17421 w 183138"/>
                <a:gd name="connsiteY5" fmla="*/ 290625 h 288217"/>
                <a:gd name="connsiteX6" fmla="*/ 18622 w 183138"/>
                <a:gd name="connsiteY6" fmla="*/ 290625 h 288217"/>
                <a:gd name="connsiteX7" fmla="*/ 90377 w 183138"/>
                <a:gd name="connsiteY7" fmla="*/ 290625 h 288217"/>
                <a:gd name="connsiteX8" fmla="*/ 157627 w 183138"/>
                <a:gd name="connsiteY8" fmla="*/ 262704 h 288217"/>
                <a:gd name="connsiteX9" fmla="*/ 185248 w 183138"/>
                <a:gd name="connsiteY9" fmla="*/ 194553 h 288217"/>
                <a:gd name="connsiteX10" fmla="*/ 185248 w 183138"/>
                <a:gd name="connsiteY10" fmla="*/ 104485 h 288217"/>
                <a:gd name="connsiteX11" fmla="*/ 154625 w 183138"/>
                <a:gd name="connsiteY11" fmla="*/ 30629 h 288217"/>
                <a:gd name="connsiteX12" fmla="*/ 80769 w 183138"/>
                <a:gd name="connsiteY12" fmla="*/ 6 h 288217"/>
                <a:gd name="connsiteX13" fmla="*/ 89776 w 183138"/>
                <a:gd name="connsiteY13" fmla="*/ 234483 h 288217"/>
                <a:gd name="connsiteX14" fmla="*/ 54950 w 183138"/>
                <a:gd name="connsiteY14" fmla="*/ 234483 h 288217"/>
                <a:gd name="connsiteX15" fmla="*/ 54950 w 183138"/>
                <a:gd name="connsiteY15" fmla="*/ 55848 h 288217"/>
                <a:gd name="connsiteX16" fmla="*/ 80469 w 183138"/>
                <a:gd name="connsiteY16" fmla="*/ 55848 h 288217"/>
                <a:gd name="connsiteX17" fmla="*/ 114995 w 183138"/>
                <a:gd name="connsiteY17" fmla="*/ 70259 h 288217"/>
                <a:gd name="connsiteX18" fmla="*/ 129706 w 183138"/>
                <a:gd name="connsiteY18" fmla="*/ 104485 h 288217"/>
                <a:gd name="connsiteX19" fmla="*/ 129706 w 183138"/>
                <a:gd name="connsiteY19" fmla="*/ 194553 h 288217"/>
                <a:gd name="connsiteX20" fmla="*/ 90076 w 183138"/>
                <a:gd name="connsiteY20" fmla="*/ 233882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3138" h="288217">
                  <a:moveTo>
                    <a:pt x="81070" y="306"/>
                  </a:moveTo>
                  <a:lnTo>
                    <a:pt x="18923" y="306"/>
                  </a:lnTo>
                  <a:cubicBezTo>
                    <a:pt x="9015" y="-294"/>
                    <a:pt x="609" y="7211"/>
                    <a:pt x="8" y="16819"/>
                  </a:cubicBezTo>
                  <a:cubicBezTo>
                    <a:pt x="8" y="17719"/>
                    <a:pt x="8" y="18620"/>
                    <a:pt x="8" y="19521"/>
                  </a:cubicBezTo>
                  <a:lnTo>
                    <a:pt x="8" y="272011"/>
                  </a:lnTo>
                  <a:cubicBezTo>
                    <a:pt x="-292" y="281919"/>
                    <a:pt x="7514" y="290325"/>
                    <a:pt x="17421" y="290625"/>
                  </a:cubicBezTo>
                  <a:cubicBezTo>
                    <a:pt x="17722" y="290625"/>
                    <a:pt x="18322" y="290625"/>
                    <a:pt x="18622" y="290625"/>
                  </a:cubicBezTo>
                  <a:lnTo>
                    <a:pt x="90377" y="290625"/>
                  </a:lnTo>
                  <a:cubicBezTo>
                    <a:pt x="115596" y="290925"/>
                    <a:pt x="139914" y="280718"/>
                    <a:pt x="157627" y="262704"/>
                  </a:cubicBezTo>
                  <a:cubicBezTo>
                    <a:pt x="175941" y="244690"/>
                    <a:pt x="185849" y="220072"/>
                    <a:pt x="185248" y="194553"/>
                  </a:cubicBezTo>
                  <a:lnTo>
                    <a:pt x="185248" y="104485"/>
                  </a:lnTo>
                  <a:cubicBezTo>
                    <a:pt x="185549" y="76864"/>
                    <a:pt x="174440" y="50144"/>
                    <a:pt x="154625" y="30629"/>
                  </a:cubicBezTo>
                  <a:cubicBezTo>
                    <a:pt x="135411" y="10814"/>
                    <a:pt x="108691" y="-294"/>
                    <a:pt x="80769" y="6"/>
                  </a:cubicBezTo>
                  <a:moveTo>
                    <a:pt x="89776" y="234483"/>
                  </a:moveTo>
                  <a:lnTo>
                    <a:pt x="54950" y="234483"/>
                  </a:lnTo>
                  <a:lnTo>
                    <a:pt x="54950" y="55848"/>
                  </a:lnTo>
                  <a:lnTo>
                    <a:pt x="80469" y="55848"/>
                  </a:lnTo>
                  <a:cubicBezTo>
                    <a:pt x="93379" y="55548"/>
                    <a:pt x="105988" y="60952"/>
                    <a:pt x="114995" y="70259"/>
                  </a:cubicBezTo>
                  <a:cubicBezTo>
                    <a:pt x="124603" y="79266"/>
                    <a:pt x="129706" y="91575"/>
                    <a:pt x="129706" y="104485"/>
                  </a:cubicBezTo>
                  <a:lnTo>
                    <a:pt x="129706" y="194553"/>
                  </a:lnTo>
                  <a:cubicBezTo>
                    <a:pt x="129406" y="216169"/>
                    <a:pt x="111693" y="233582"/>
                    <a:pt x="90076" y="233882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13" name="Forme libre : forme 212">
              <a:extLst>
                <a:ext uri="{FF2B5EF4-FFF2-40B4-BE49-F238E27FC236}">
                  <a16:creationId xmlns:a16="http://schemas.microsoft.com/office/drawing/2014/main" id="{DEED5057-310C-4699-BC49-F273FA789151}"/>
                </a:ext>
              </a:extLst>
            </p:cNvPr>
            <p:cNvSpPr/>
            <p:nvPr/>
          </p:nvSpPr>
          <p:spPr>
            <a:xfrm>
              <a:off x="7680868" y="4369878"/>
              <a:ext cx="159120" cy="288217"/>
            </a:xfrm>
            <a:custGeom>
              <a:avLst/>
              <a:gdLst>
                <a:gd name="connsiteX0" fmla="*/ 143517 w 159120"/>
                <a:gd name="connsiteY0" fmla="*/ 233584 h 288217"/>
                <a:gd name="connsiteX1" fmla="*/ 53449 w 159120"/>
                <a:gd name="connsiteY1" fmla="*/ 233584 h 288217"/>
                <a:gd name="connsiteX2" fmla="*/ 53449 w 159120"/>
                <a:gd name="connsiteY2" fmla="*/ 163331 h 288217"/>
                <a:gd name="connsiteX3" fmla="*/ 127905 w 159120"/>
                <a:gd name="connsiteY3" fmla="*/ 163331 h 288217"/>
                <a:gd name="connsiteX4" fmla="*/ 145619 w 159120"/>
                <a:gd name="connsiteY4" fmla="*/ 145318 h 288217"/>
                <a:gd name="connsiteX5" fmla="*/ 145619 w 159120"/>
                <a:gd name="connsiteY5" fmla="*/ 144417 h 288217"/>
                <a:gd name="connsiteX6" fmla="*/ 145619 w 159120"/>
                <a:gd name="connsiteY6" fmla="*/ 125503 h 288217"/>
                <a:gd name="connsiteX7" fmla="*/ 129707 w 159120"/>
                <a:gd name="connsiteY7" fmla="*/ 106889 h 288217"/>
                <a:gd name="connsiteX8" fmla="*/ 127905 w 159120"/>
                <a:gd name="connsiteY8" fmla="*/ 106889 h 288217"/>
                <a:gd name="connsiteX9" fmla="*/ 53449 w 159120"/>
                <a:gd name="connsiteY9" fmla="*/ 106889 h 288217"/>
                <a:gd name="connsiteX10" fmla="*/ 53449 w 159120"/>
                <a:gd name="connsiteY10" fmla="*/ 54349 h 288217"/>
                <a:gd name="connsiteX11" fmla="*/ 140515 w 159120"/>
                <a:gd name="connsiteY11" fmla="*/ 54349 h 288217"/>
                <a:gd name="connsiteX12" fmla="*/ 158528 w 159120"/>
                <a:gd name="connsiteY12" fmla="*/ 36636 h 288217"/>
                <a:gd name="connsiteX13" fmla="*/ 158528 w 159120"/>
                <a:gd name="connsiteY13" fmla="*/ 35735 h 288217"/>
                <a:gd name="connsiteX14" fmla="*/ 158528 w 159120"/>
                <a:gd name="connsiteY14" fmla="*/ 18622 h 288217"/>
                <a:gd name="connsiteX15" fmla="*/ 141716 w 159120"/>
                <a:gd name="connsiteY15" fmla="*/ 8 h 288217"/>
                <a:gd name="connsiteX16" fmla="*/ 140515 w 159120"/>
                <a:gd name="connsiteY16" fmla="*/ 8 h 288217"/>
                <a:gd name="connsiteX17" fmla="*/ 17722 w 159120"/>
                <a:gd name="connsiteY17" fmla="*/ 8 h 288217"/>
                <a:gd name="connsiteX18" fmla="*/ 9 w 159120"/>
                <a:gd name="connsiteY18" fmla="*/ 17421 h 288217"/>
                <a:gd name="connsiteX19" fmla="*/ 9 w 159120"/>
                <a:gd name="connsiteY19" fmla="*/ 18622 h 288217"/>
                <a:gd name="connsiteX20" fmla="*/ 9 w 159120"/>
                <a:gd name="connsiteY20" fmla="*/ 271113 h 288217"/>
                <a:gd name="connsiteX21" fmla="*/ 16822 w 159120"/>
                <a:gd name="connsiteY21" fmla="*/ 289727 h 288217"/>
                <a:gd name="connsiteX22" fmla="*/ 18022 w 159120"/>
                <a:gd name="connsiteY22" fmla="*/ 289727 h 288217"/>
                <a:gd name="connsiteX23" fmla="*/ 143217 w 159120"/>
                <a:gd name="connsiteY23" fmla="*/ 289727 h 288217"/>
                <a:gd name="connsiteX24" fmla="*/ 161231 w 159120"/>
                <a:gd name="connsiteY24" fmla="*/ 272313 h 288217"/>
                <a:gd name="connsiteX25" fmla="*/ 161231 w 159120"/>
                <a:gd name="connsiteY25" fmla="*/ 271113 h 288217"/>
                <a:gd name="connsiteX26" fmla="*/ 161231 w 159120"/>
                <a:gd name="connsiteY26" fmla="*/ 252799 h 288217"/>
                <a:gd name="connsiteX27" fmla="*/ 144418 w 159120"/>
                <a:gd name="connsiteY27" fmla="*/ 234185 h 288217"/>
                <a:gd name="connsiteX28" fmla="*/ 143217 w 159120"/>
                <a:gd name="connsiteY28" fmla="*/ 234185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9120" h="288217">
                  <a:moveTo>
                    <a:pt x="143517" y="233584"/>
                  </a:moveTo>
                  <a:lnTo>
                    <a:pt x="53449" y="233584"/>
                  </a:lnTo>
                  <a:lnTo>
                    <a:pt x="53449" y="163331"/>
                  </a:lnTo>
                  <a:lnTo>
                    <a:pt x="127905" y="163331"/>
                  </a:lnTo>
                  <a:cubicBezTo>
                    <a:pt x="137513" y="163331"/>
                    <a:pt x="145619" y="155525"/>
                    <a:pt x="145619" y="145318"/>
                  </a:cubicBezTo>
                  <a:cubicBezTo>
                    <a:pt x="145619" y="145017"/>
                    <a:pt x="145619" y="144717"/>
                    <a:pt x="145619" y="144417"/>
                  </a:cubicBezTo>
                  <a:lnTo>
                    <a:pt x="145619" y="125503"/>
                  </a:lnTo>
                  <a:cubicBezTo>
                    <a:pt x="146219" y="115895"/>
                    <a:pt x="139014" y="107489"/>
                    <a:pt x="129707" y="106889"/>
                  </a:cubicBezTo>
                  <a:cubicBezTo>
                    <a:pt x="129106" y="106889"/>
                    <a:pt x="128506" y="106889"/>
                    <a:pt x="127905" y="106889"/>
                  </a:cubicBezTo>
                  <a:lnTo>
                    <a:pt x="53449" y="106889"/>
                  </a:lnTo>
                  <a:lnTo>
                    <a:pt x="53449" y="54349"/>
                  </a:lnTo>
                  <a:lnTo>
                    <a:pt x="140515" y="54349"/>
                  </a:lnTo>
                  <a:cubicBezTo>
                    <a:pt x="150422" y="54649"/>
                    <a:pt x="158528" y="46543"/>
                    <a:pt x="158528" y="36636"/>
                  </a:cubicBezTo>
                  <a:cubicBezTo>
                    <a:pt x="158528" y="36335"/>
                    <a:pt x="158528" y="36035"/>
                    <a:pt x="158528" y="35735"/>
                  </a:cubicBezTo>
                  <a:lnTo>
                    <a:pt x="158528" y="18622"/>
                  </a:lnTo>
                  <a:cubicBezTo>
                    <a:pt x="158829" y="8715"/>
                    <a:pt x="151323" y="308"/>
                    <a:pt x="141716" y="8"/>
                  </a:cubicBezTo>
                  <a:cubicBezTo>
                    <a:pt x="141416" y="8"/>
                    <a:pt x="140815" y="8"/>
                    <a:pt x="140515" y="8"/>
                  </a:cubicBezTo>
                  <a:lnTo>
                    <a:pt x="17722" y="8"/>
                  </a:lnTo>
                  <a:cubicBezTo>
                    <a:pt x="8115" y="-292"/>
                    <a:pt x="309" y="7814"/>
                    <a:pt x="9" y="17421"/>
                  </a:cubicBezTo>
                  <a:cubicBezTo>
                    <a:pt x="9" y="17721"/>
                    <a:pt x="9" y="18322"/>
                    <a:pt x="9" y="18622"/>
                  </a:cubicBezTo>
                  <a:lnTo>
                    <a:pt x="9" y="271113"/>
                  </a:lnTo>
                  <a:cubicBezTo>
                    <a:pt x="-291" y="281020"/>
                    <a:pt x="7214" y="289426"/>
                    <a:pt x="16822" y="289727"/>
                  </a:cubicBezTo>
                  <a:cubicBezTo>
                    <a:pt x="17122" y="289727"/>
                    <a:pt x="17722" y="289727"/>
                    <a:pt x="18022" y="289727"/>
                  </a:cubicBezTo>
                  <a:lnTo>
                    <a:pt x="143217" y="289727"/>
                  </a:lnTo>
                  <a:cubicBezTo>
                    <a:pt x="152824" y="290027"/>
                    <a:pt x="160930" y="282221"/>
                    <a:pt x="161231" y="272313"/>
                  </a:cubicBezTo>
                  <a:cubicBezTo>
                    <a:pt x="161231" y="272013"/>
                    <a:pt x="161231" y="271413"/>
                    <a:pt x="161231" y="271113"/>
                  </a:cubicBezTo>
                  <a:lnTo>
                    <a:pt x="161231" y="252799"/>
                  </a:lnTo>
                  <a:cubicBezTo>
                    <a:pt x="161531" y="242891"/>
                    <a:pt x="154025" y="234485"/>
                    <a:pt x="144418" y="234185"/>
                  </a:cubicBezTo>
                  <a:cubicBezTo>
                    <a:pt x="144118" y="234185"/>
                    <a:pt x="143517" y="234185"/>
                    <a:pt x="143217" y="234185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14" name="Forme libre : forme 213">
              <a:extLst>
                <a:ext uri="{FF2B5EF4-FFF2-40B4-BE49-F238E27FC236}">
                  <a16:creationId xmlns:a16="http://schemas.microsoft.com/office/drawing/2014/main" id="{9512A7EE-B270-4EAC-A2BB-03EECA786568}"/>
                </a:ext>
              </a:extLst>
            </p:cNvPr>
            <p:cNvSpPr/>
            <p:nvPr/>
          </p:nvSpPr>
          <p:spPr>
            <a:xfrm>
              <a:off x="7885323" y="4369575"/>
              <a:ext cx="219166" cy="288217"/>
            </a:xfrm>
            <a:custGeom>
              <a:avLst/>
              <a:gdLst>
                <a:gd name="connsiteX0" fmla="*/ 144418 w 219165"/>
                <a:gd name="connsiteY0" fmla="*/ 13221 h 288217"/>
                <a:gd name="connsiteX1" fmla="*/ 127305 w 219165"/>
                <a:gd name="connsiteY1" fmla="*/ 11 h 288217"/>
                <a:gd name="connsiteX2" fmla="*/ 94280 w 219165"/>
                <a:gd name="connsiteY2" fmla="*/ 11 h 288217"/>
                <a:gd name="connsiteX3" fmla="*/ 76867 w 219165"/>
                <a:gd name="connsiteY3" fmla="*/ 13221 h 288217"/>
                <a:gd name="connsiteX4" fmla="*/ 1510 w 219165"/>
                <a:gd name="connsiteY4" fmla="*/ 264211 h 288217"/>
                <a:gd name="connsiteX5" fmla="*/ 9 w 219165"/>
                <a:gd name="connsiteY5" fmla="*/ 271716 h 288217"/>
                <a:gd name="connsiteX6" fmla="*/ 17121 w 219165"/>
                <a:gd name="connsiteY6" fmla="*/ 290330 h 288217"/>
                <a:gd name="connsiteX7" fmla="*/ 18322 w 219165"/>
                <a:gd name="connsiteY7" fmla="*/ 290330 h 288217"/>
                <a:gd name="connsiteX8" fmla="*/ 36636 w 219165"/>
                <a:gd name="connsiteY8" fmla="*/ 290330 h 288217"/>
                <a:gd name="connsiteX9" fmla="*/ 54050 w 219165"/>
                <a:gd name="connsiteY9" fmla="*/ 277120 h 288217"/>
                <a:gd name="connsiteX10" fmla="*/ 76266 w 219165"/>
                <a:gd name="connsiteY10" fmla="*/ 203565 h 288217"/>
                <a:gd name="connsiteX11" fmla="*/ 144118 w 219165"/>
                <a:gd name="connsiteY11" fmla="*/ 203565 h 288217"/>
                <a:gd name="connsiteX12" fmla="*/ 166635 w 219165"/>
                <a:gd name="connsiteY12" fmla="*/ 277721 h 288217"/>
                <a:gd name="connsiteX13" fmla="*/ 166635 w 219165"/>
                <a:gd name="connsiteY13" fmla="*/ 278922 h 288217"/>
                <a:gd name="connsiteX14" fmla="*/ 183747 w 219165"/>
                <a:gd name="connsiteY14" fmla="*/ 290630 h 288217"/>
                <a:gd name="connsiteX15" fmla="*/ 202361 w 219165"/>
                <a:gd name="connsiteY15" fmla="*/ 290630 h 288217"/>
                <a:gd name="connsiteX16" fmla="*/ 220675 w 219165"/>
                <a:gd name="connsiteY16" fmla="*/ 272617 h 288217"/>
                <a:gd name="connsiteX17" fmla="*/ 220675 w 219165"/>
                <a:gd name="connsiteY17" fmla="*/ 272016 h 288217"/>
                <a:gd name="connsiteX18" fmla="*/ 219474 w 219165"/>
                <a:gd name="connsiteY18" fmla="*/ 265111 h 288217"/>
                <a:gd name="connsiteX19" fmla="*/ 144418 w 219165"/>
                <a:gd name="connsiteY19" fmla="*/ 13221 h 288217"/>
                <a:gd name="connsiteX20" fmla="*/ 131208 w 219165"/>
                <a:gd name="connsiteY20" fmla="*/ 147723 h 288217"/>
                <a:gd name="connsiteX21" fmla="*/ 90677 w 219165"/>
                <a:gd name="connsiteY21" fmla="*/ 147723 h 288217"/>
                <a:gd name="connsiteX22" fmla="*/ 110792 w 219165"/>
                <a:gd name="connsiteY22" fmla="*/ 78370 h 288217"/>
                <a:gd name="connsiteX23" fmla="*/ 131208 w 219165"/>
                <a:gd name="connsiteY23" fmla="*/ 147723 h 288217"/>
                <a:gd name="connsiteX24" fmla="*/ 131208 w 219165"/>
                <a:gd name="connsiteY24" fmla="*/ 147723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19165" h="288217">
                  <a:moveTo>
                    <a:pt x="144418" y="13221"/>
                  </a:moveTo>
                  <a:cubicBezTo>
                    <a:pt x="142316" y="5415"/>
                    <a:pt x="135111" y="11"/>
                    <a:pt x="127305" y="11"/>
                  </a:cubicBezTo>
                  <a:lnTo>
                    <a:pt x="94280" y="11"/>
                  </a:lnTo>
                  <a:cubicBezTo>
                    <a:pt x="86174" y="-289"/>
                    <a:pt x="78968" y="5415"/>
                    <a:pt x="76867" y="13221"/>
                  </a:cubicBezTo>
                  <a:lnTo>
                    <a:pt x="1510" y="264211"/>
                  </a:lnTo>
                  <a:cubicBezTo>
                    <a:pt x="309" y="266612"/>
                    <a:pt x="9" y="269014"/>
                    <a:pt x="9" y="271716"/>
                  </a:cubicBezTo>
                  <a:cubicBezTo>
                    <a:pt x="-292" y="281624"/>
                    <a:pt x="7214" y="290030"/>
                    <a:pt x="17121" y="290330"/>
                  </a:cubicBezTo>
                  <a:cubicBezTo>
                    <a:pt x="17422" y="290330"/>
                    <a:pt x="18022" y="290330"/>
                    <a:pt x="18322" y="290330"/>
                  </a:cubicBezTo>
                  <a:lnTo>
                    <a:pt x="36636" y="290330"/>
                  </a:lnTo>
                  <a:cubicBezTo>
                    <a:pt x="44742" y="290630"/>
                    <a:pt x="51948" y="285226"/>
                    <a:pt x="54050" y="277120"/>
                  </a:cubicBezTo>
                  <a:lnTo>
                    <a:pt x="76266" y="203565"/>
                  </a:lnTo>
                  <a:lnTo>
                    <a:pt x="144118" y="203565"/>
                  </a:lnTo>
                  <a:lnTo>
                    <a:pt x="166635" y="277721"/>
                  </a:lnTo>
                  <a:lnTo>
                    <a:pt x="166635" y="278922"/>
                  </a:lnTo>
                  <a:cubicBezTo>
                    <a:pt x="169337" y="286127"/>
                    <a:pt x="176242" y="290931"/>
                    <a:pt x="183747" y="290630"/>
                  </a:cubicBezTo>
                  <a:lnTo>
                    <a:pt x="202361" y="290630"/>
                  </a:lnTo>
                  <a:cubicBezTo>
                    <a:pt x="212269" y="290630"/>
                    <a:pt x="220375" y="282825"/>
                    <a:pt x="220675" y="272617"/>
                  </a:cubicBezTo>
                  <a:cubicBezTo>
                    <a:pt x="220675" y="272317"/>
                    <a:pt x="220675" y="272317"/>
                    <a:pt x="220675" y="272016"/>
                  </a:cubicBezTo>
                  <a:cubicBezTo>
                    <a:pt x="220675" y="269615"/>
                    <a:pt x="220375" y="267213"/>
                    <a:pt x="219474" y="265111"/>
                  </a:cubicBezTo>
                  <a:lnTo>
                    <a:pt x="144418" y="13221"/>
                  </a:lnTo>
                  <a:close/>
                  <a:moveTo>
                    <a:pt x="131208" y="147723"/>
                  </a:moveTo>
                  <a:lnTo>
                    <a:pt x="90677" y="147723"/>
                  </a:lnTo>
                  <a:lnTo>
                    <a:pt x="110792" y="78370"/>
                  </a:lnTo>
                  <a:lnTo>
                    <a:pt x="131208" y="147723"/>
                  </a:lnTo>
                  <a:lnTo>
                    <a:pt x="131208" y="147723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15" name="Forme libre : forme 214">
              <a:extLst>
                <a:ext uri="{FF2B5EF4-FFF2-40B4-BE49-F238E27FC236}">
                  <a16:creationId xmlns:a16="http://schemas.microsoft.com/office/drawing/2014/main" id="{C8657F07-6965-4D50-B54E-9456798336BC}"/>
                </a:ext>
              </a:extLst>
            </p:cNvPr>
            <p:cNvSpPr/>
            <p:nvPr/>
          </p:nvSpPr>
          <p:spPr>
            <a:xfrm>
              <a:off x="8147703" y="4369554"/>
              <a:ext cx="180136" cy="294222"/>
            </a:xfrm>
            <a:custGeom>
              <a:avLst/>
              <a:gdLst>
                <a:gd name="connsiteX0" fmla="*/ 161849 w 180136"/>
                <a:gd name="connsiteY0" fmla="*/ 32 h 294221"/>
                <a:gd name="connsiteX1" fmla="*/ 143835 w 180136"/>
                <a:gd name="connsiteY1" fmla="*/ 32 h 294221"/>
                <a:gd name="connsiteX2" fmla="*/ 125221 w 180136"/>
                <a:gd name="connsiteY2" fmla="*/ 17145 h 294221"/>
                <a:gd name="connsiteX3" fmla="*/ 125221 w 180136"/>
                <a:gd name="connsiteY3" fmla="*/ 19247 h 294221"/>
                <a:gd name="connsiteX4" fmla="*/ 125221 w 180136"/>
                <a:gd name="connsiteY4" fmla="*/ 203286 h 294221"/>
                <a:gd name="connsiteX5" fmla="*/ 115013 w 180136"/>
                <a:gd name="connsiteY5" fmla="*/ 228805 h 294221"/>
                <a:gd name="connsiteX6" fmla="*/ 64575 w 180136"/>
                <a:gd name="connsiteY6" fmla="*/ 227904 h 294221"/>
                <a:gd name="connsiteX7" fmla="*/ 54668 w 180136"/>
                <a:gd name="connsiteY7" fmla="*/ 203286 h 294221"/>
                <a:gd name="connsiteX8" fmla="*/ 54668 w 180136"/>
                <a:gd name="connsiteY8" fmla="*/ 19247 h 294221"/>
                <a:gd name="connsiteX9" fmla="*/ 38155 w 180136"/>
                <a:gd name="connsiteY9" fmla="*/ 633 h 294221"/>
                <a:gd name="connsiteX10" fmla="*/ 36354 w 180136"/>
                <a:gd name="connsiteY10" fmla="*/ 633 h 294221"/>
                <a:gd name="connsiteX11" fmla="*/ 18341 w 180136"/>
                <a:gd name="connsiteY11" fmla="*/ 633 h 294221"/>
                <a:gd name="connsiteX12" fmla="*/ 27 w 180136"/>
                <a:gd name="connsiteY12" fmla="*/ 18046 h 294221"/>
                <a:gd name="connsiteX13" fmla="*/ 27 w 180136"/>
                <a:gd name="connsiteY13" fmla="*/ 19247 h 294221"/>
                <a:gd name="connsiteX14" fmla="*/ 27 w 180136"/>
                <a:gd name="connsiteY14" fmla="*/ 203286 h 294221"/>
                <a:gd name="connsiteX15" fmla="*/ 26146 w 180136"/>
                <a:gd name="connsiteY15" fmla="*/ 268135 h 294221"/>
                <a:gd name="connsiteX16" fmla="*/ 153443 w 180136"/>
                <a:gd name="connsiteY16" fmla="*/ 268735 h 294221"/>
                <a:gd name="connsiteX17" fmla="*/ 154043 w 180136"/>
                <a:gd name="connsiteY17" fmla="*/ 268135 h 294221"/>
                <a:gd name="connsiteX18" fmla="*/ 180163 w 180136"/>
                <a:gd name="connsiteY18" fmla="*/ 203286 h 294221"/>
                <a:gd name="connsiteX19" fmla="*/ 180163 w 180136"/>
                <a:gd name="connsiteY19" fmla="*/ 18947 h 294221"/>
                <a:gd name="connsiteX20" fmla="*/ 163350 w 180136"/>
                <a:gd name="connsiteY20" fmla="*/ 333 h 294221"/>
                <a:gd name="connsiteX21" fmla="*/ 161549 w 180136"/>
                <a:gd name="connsiteY21" fmla="*/ 333 h 294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80136" h="294221">
                  <a:moveTo>
                    <a:pt x="161849" y="32"/>
                  </a:moveTo>
                  <a:lnTo>
                    <a:pt x="143835" y="32"/>
                  </a:lnTo>
                  <a:cubicBezTo>
                    <a:pt x="133928" y="-568"/>
                    <a:pt x="125521" y="7238"/>
                    <a:pt x="125221" y="17145"/>
                  </a:cubicBezTo>
                  <a:cubicBezTo>
                    <a:pt x="125221" y="17746"/>
                    <a:pt x="125221" y="18646"/>
                    <a:pt x="125221" y="19247"/>
                  </a:cubicBezTo>
                  <a:lnTo>
                    <a:pt x="125221" y="203286"/>
                  </a:lnTo>
                  <a:cubicBezTo>
                    <a:pt x="125521" y="212893"/>
                    <a:pt x="121919" y="222200"/>
                    <a:pt x="115013" y="228805"/>
                  </a:cubicBezTo>
                  <a:cubicBezTo>
                    <a:pt x="100903" y="242615"/>
                    <a:pt x="78086" y="242315"/>
                    <a:pt x="64575" y="227904"/>
                  </a:cubicBezTo>
                  <a:cubicBezTo>
                    <a:pt x="58271" y="221299"/>
                    <a:pt x="54668" y="212593"/>
                    <a:pt x="54668" y="203286"/>
                  </a:cubicBezTo>
                  <a:lnTo>
                    <a:pt x="54668" y="19247"/>
                  </a:lnTo>
                  <a:cubicBezTo>
                    <a:pt x="55268" y="9640"/>
                    <a:pt x="48063" y="1233"/>
                    <a:pt x="38155" y="633"/>
                  </a:cubicBezTo>
                  <a:cubicBezTo>
                    <a:pt x="37555" y="633"/>
                    <a:pt x="36954" y="633"/>
                    <a:pt x="36354" y="633"/>
                  </a:cubicBezTo>
                  <a:lnTo>
                    <a:pt x="18341" y="633"/>
                  </a:lnTo>
                  <a:cubicBezTo>
                    <a:pt x="8433" y="333"/>
                    <a:pt x="327" y="8139"/>
                    <a:pt x="27" y="18046"/>
                  </a:cubicBezTo>
                  <a:cubicBezTo>
                    <a:pt x="27" y="18346"/>
                    <a:pt x="27" y="18947"/>
                    <a:pt x="27" y="19247"/>
                  </a:cubicBezTo>
                  <a:lnTo>
                    <a:pt x="27" y="203286"/>
                  </a:lnTo>
                  <a:cubicBezTo>
                    <a:pt x="-574" y="227604"/>
                    <a:pt x="9033" y="251022"/>
                    <a:pt x="26146" y="268135"/>
                  </a:cubicBezTo>
                  <a:cubicBezTo>
                    <a:pt x="60973" y="303862"/>
                    <a:pt x="118016" y="304162"/>
                    <a:pt x="153443" y="268735"/>
                  </a:cubicBezTo>
                  <a:cubicBezTo>
                    <a:pt x="153743" y="268435"/>
                    <a:pt x="154043" y="268135"/>
                    <a:pt x="154043" y="268135"/>
                  </a:cubicBezTo>
                  <a:cubicBezTo>
                    <a:pt x="171156" y="251022"/>
                    <a:pt x="180463" y="227604"/>
                    <a:pt x="180163" y="203286"/>
                  </a:cubicBezTo>
                  <a:lnTo>
                    <a:pt x="180163" y="18947"/>
                  </a:lnTo>
                  <a:cubicBezTo>
                    <a:pt x="180763" y="9039"/>
                    <a:pt x="173257" y="933"/>
                    <a:pt x="163350" y="333"/>
                  </a:cubicBezTo>
                  <a:cubicBezTo>
                    <a:pt x="162750" y="333"/>
                    <a:pt x="162149" y="333"/>
                    <a:pt x="161549" y="333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16" name="Forme libre : forme 215">
              <a:extLst>
                <a:ext uri="{FF2B5EF4-FFF2-40B4-BE49-F238E27FC236}">
                  <a16:creationId xmlns:a16="http://schemas.microsoft.com/office/drawing/2014/main" id="{60216A88-A3CF-47E8-9E0D-9C03722A156E}"/>
                </a:ext>
              </a:extLst>
            </p:cNvPr>
            <p:cNvSpPr/>
            <p:nvPr/>
          </p:nvSpPr>
          <p:spPr>
            <a:xfrm>
              <a:off x="8374774" y="4369858"/>
              <a:ext cx="189143" cy="285215"/>
            </a:xfrm>
            <a:custGeom>
              <a:avLst/>
              <a:gdLst>
                <a:gd name="connsiteX0" fmla="*/ 124821 w 189142"/>
                <a:gd name="connsiteY0" fmla="*/ 143236 h 285215"/>
                <a:gd name="connsiteX1" fmla="*/ 187869 w 189142"/>
                <a:gd name="connsiteY1" fmla="*/ 25848 h 285215"/>
                <a:gd name="connsiteX2" fmla="*/ 189070 w 189142"/>
                <a:gd name="connsiteY2" fmla="*/ 22545 h 285215"/>
                <a:gd name="connsiteX3" fmla="*/ 185767 w 189142"/>
                <a:gd name="connsiteY3" fmla="*/ 6633 h 285215"/>
                <a:gd name="connsiteX4" fmla="*/ 171657 w 189142"/>
                <a:gd name="connsiteY4" fmla="*/ 28 h 285215"/>
                <a:gd name="connsiteX5" fmla="*/ 153343 w 189142"/>
                <a:gd name="connsiteY5" fmla="*/ 28 h 285215"/>
                <a:gd name="connsiteX6" fmla="*/ 137131 w 189142"/>
                <a:gd name="connsiteY6" fmla="*/ 10536 h 285215"/>
                <a:gd name="connsiteX7" fmla="*/ 94799 w 189142"/>
                <a:gd name="connsiteY7" fmla="*/ 88895 h 285215"/>
                <a:gd name="connsiteX8" fmla="*/ 52767 w 189142"/>
                <a:gd name="connsiteY8" fmla="*/ 11137 h 285215"/>
                <a:gd name="connsiteX9" fmla="*/ 36254 w 189142"/>
                <a:gd name="connsiteY9" fmla="*/ 28 h 285215"/>
                <a:gd name="connsiteX10" fmla="*/ 18241 w 189142"/>
                <a:gd name="connsiteY10" fmla="*/ 28 h 285215"/>
                <a:gd name="connsiteX11" fmla="*/ 3830 w 189142"/>
                <a:gd name="connsiteY11" fmla="*/ 6033 h 285215"/>
                <a:gd name="connsiteX12" fmla="*/ 828 w 189142"/>
                <a:gd name="connsiteY12" fmla="*/ 22545 h 285215"/>
                <a:gd name="connsiteX13" fmla="*/ 2028 w 189142"/>
                <a:gd name="connsiteY13" fmla="*/ 25848 h 285215"/>
                <a:gd name="connsiteX14" fmla="*/ 65076 w 189142"/>
                <a:gd name="connsiteY14" fmla="*/ 143236 h 285215"/>
                <a:gd name="connsiteX15" fmla="*/ 2028 w 189142"/>
                <a:gd name="connsiteY15" fmla="*/ 259724 h 285215"/>
                <a:gd name="connsiteX16" fmla="*/ 1128 w 189142"/>
                <a:gd name="connsiteY16" fmla="*/ 262126 h 285215"/>
                <a:gd name="connsiteX17" fmla="*/ 3530 w 189142"/>
                <a:gd name="connsiteY17" fmla="*/ 278939 h 285215"/>
                <a:gd name="connsiteX18" fmla="*/ 18541 w 189142"/>
                <a:gd name="connsiteY18" fmla="*/ 286144 h 285215"/>
                <a:gd name="connsiteX19" fmla="*/ 37155 w 189142"/>
                <a:gd name="connsiteY19" fmla="*/ 286144 h 285215"/>
                <a:gd name="connsiteX20" fmla="*/ 53367 w 189142"/>
                <a:gd name="connsiteY20" fmla="*/ 275036 h 285215"/>
                <a:gd name="connsiteX21" fmla="*/ 94799 w 189142"/>
                <a:gd name="connsiteY21" fmla="*/ 197877 h 285215"/>
                <a:gd name="connsiteX22" fmla="*/ 136230 w 189142"/>
                <a:gd name="connsiteY22" fmla="*/ 274735 h 285215"/>
                <a:gd name="connsiteX23" fmla="*/ 152742 w 189142"/>
                <a:gd name="connsiteY23" fmla="*/ 285844 h 285215"/>
                <a:gd name="connsiteX24" fmla="*/ 171356 w 189142"/>
                <a:gd name="connsiteY24" fmla="*/ 285844 h 285215"/>
                <a:gd name="connsiteX25" fmla="*/ 186068 w 189142"/>
                <a:gd name="connsiteY25" fmla="*/ 278638 h 285215"/>
                <a:gd name="connsiteX26" fmla="*/ 188469 w 189142"/>
                <a:gd name="connsiteY26" fmla="*/ 261225 h 285215"/>
                <a:gd name="connsiteX27" fmla="*/ 124821 w 189142"/>
                <a:gd name="connsiteY27" fmla="*/ 143236 h 285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89142" h="285215">
                  <a:moveTo>
                    <a:pt x="124821" y="143236"/>
                  </a:moveTo>
                  <a:lnTo>
                    <a:pt x="187869" y="25848"/>
                  </a:lnTo>
                  <a:lnTo>
                    <a:pt x="189070" y="22545"/>
                  </a:lnTo>
                  <a:cubicBezTo>
                    <a:pt x="190571" y="16841"/>
                    <a:pt x="189370" y="11137"/>
                    <a:pt x="185767" y="6633"/>
                  </a:cubicBezTo>
                  <a:cubicBezTo>
                    <a:pt x="182465" y="2430"/>
                    <a:pt x="177061" y="-272"/>
                    <a:pt x="171657" y="28"/>
                  </a:cubicBezTo>
                  <a:lnTo>
                    <a:pt x="153343" y="28"/>
                  </a:lnTo>
                  <a:cubicBezTo>
                    <a:pt x="146137" y="-272"/>
                    <a:pt x="139833" y="3931"/>
                    <a:pt x="137131" y="10536"/>
                  </a:cubicBezTo>
                  <a:lnTo>
                    <a:pt x="94799" y="88895"/>
                  </a:lnTo>
                  <a:lnTo>
                    <a:pt x="52767" y="11137"/>
                  </a:lnTo>
                  <a:cubicBezTo>
                    <a:pt x="50065" y="4231"/>
                    <a:pt x="43460" y="28"/>
                    <a:pt x="36254" y="28"/>
                  </a:cubicBezTo>
                  <a:lnTo>
                    <a:pt x="18241" y="28"/>
                  </a:lnTo>
                  <a:cubicBezTo>
                    <a:pt x="12837" y="-272"/>
                    <a:pt x="7433" y="1830"/>
                    <a:pt x="3830" y="6033"/>
                  </a:cubicBezTo>
                  <a:cubicBezTo>
                    <a:pt x="227" y="10836"/>
                    <a:pt x="-974" y="16841"/>
                    <a:pt x="828" y="22545"/>
                  </a:cubicBezTo>
                  <a:lnTo>
                    <a:pt x="2028" y="25848"/>
                  </a:lnTo>
                  <a:lnTo>
                    <a:pt x="65076" y="143236"/>
                  </a:lnTo>
                  <a:lnTo>
                    <a:pt x="2028" y="259724"/>
                  </a:lnTo>
                  <a:lnTo>
                    <a:pt x="1128" y="262126"/>
                  </a:lnTo>
                  <a:cubicBezTo>
                    <a:pt x="-673" y="267830"/>
                    <a:pt x="227" y="274135"/>
                    <a:pt x="3530" y="278939"/>
                  </a:cubicBezTo>
                  <a:cubicBezTo>
                    <a:pt x="7132" y="283742"/>
                    <a:pt x="12536" y="286144"/>
                    <a:pt x="18541" y="286144"/>
                  </a:cubicBezTo>
                  <a:lnTo>
                    <a:pt x="37155" y="286144"/>
                  </a:lnTo>
                  <a:cubicBezTo>
                    <a:pt x="44361" y="286144"/>
                    <a:pt x="50665" y="281941"/>
                    <a:pt x="53367" y="275036"/>
                  </a:cubicBezTo>
                  <a:lnTo>
                    <a:pt x="94799" y="197877"/>
                  </a:lnTo>
                  <a:lnTo>
                    <a:pt x="136230" y="274735"/>
                  </a:lnTo>
                  <a:cubicBezTo>
                    <a:pt x="138932" y="281641"/>
                    <a:pt x="145537" y="285844"/>
                    <a:pt x="152742" y="285844"/>
                  </a:cubicBezTo>
                  <a:lnTo>
                    <a:pt x="171356" y="285844"/>
                  </a:lnTo>
                  <a:cubicBezTo>
                    <a:pt x="177061" y="286144"/>
                    <a:pt x="182765" y="283442"/>
                    <a:pt x="186068" y="278638"/>
                  </a:cubicBezTo>
                  <a:cubicBezTo>
                    <a:pt x="189670" y="273534"/>
                    <a:pt x="190571" y="267230"/>
                    <a:pt x="188469" y="261225"/>
                  </a:cubicBezTo>
                  <a:lnTo>
                    <a:pt x="124821" y="143236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17" name="Forme libre : forme 216">
              <a:extLst>
                <a:ext uri="{FF2B5EF4-FFF2-40B4-BE49-F238E27FC236}">
                  <a16:creationId xmlns:a16="http://schemas.microsoft.com/office/drawing/2014/main" id="{1BBBC77A-F437-4C7C-8E02-4997379CE2FA}"/>
                </a:ext>
              </a:extLst>
            </p:cNvPr>
            <p:cNvSpPr/>
            <p:nvPr/>
          </p:nvSpPr>
          <p:spPr>
            <a:xfrm>
              <a:off x="7191198" y="4369210"/>
              <a:ext cx="186141" cy="288217"/>
            </a:xfrm>
            <a:custGeom>
              <a:avLst/>
              <a:gdLst>
                <a:gd name="connsiteX0" fmla="*/ 186149 w 186140"/>
                <a:gd name="connsiteY0" fmla="*/ 264275 h 288217"/>
                <a:gd name="connsiteX1" fmla="*/ 136612 w 186140"/>
                <a:gd name="connsiteY1" fmla="*/ 167903 h 288217"/>
                <a:gd name="connsiteX2" fmla="*/ 154025 w 186140"/>
                <a:gd name="connsiteY2" fmla="*/ 154693 h 288217"/>
                <a:gd name="connsiteX3" fmla="*/ 177443 w 186140"/>
                <a:gd name="connsiteY3" fmla="*/ 97049 h 288217"/>
                <a:gd name="connsiteX4" fmla="*/ 177443 w 186140"/>
                <a:gd name="connsiteY4" fmla="*/ 82038 h 288217"/>
                <a:gd name="connsiteX5" fmla="*/ 154626 w 186140"/>
                <a:gd name="connsiteY5" fmla="*/ 23794 h 288217"/>
                <a:gd name="connsiteX6" fmla="*/ 98183 w 186140"/>
                <a:gd name="connsiteY6" fmla="*/ 76 h 288217"/>
                <a:gd name="connsiteX7" fmla="*/ 18923 w 186140"/>
                <a:gd name="connsiteY7" fmla="*/ 76 h 288217"/>
                <a:gd name="connsiteX8" fmla="*/ 9 w 186140"/>
                <a:gd name="connsiteY8" fmla="*/ 16288 h 288217"/>
                <a:gd name="connsiteX9" fmla="*/ 9 w 186140"/>
                <a:gd name="connsiteY9" fmla="*/ 19290 h 288217"/>
                <a:gd name="connsiteX10" fmla="*/ 9 w 186140"/>
                <a:gd name="connsiteY10" fmla="*/ 271781 h 288217"/>
                <a:gd name="connsiteX11" fmla="*/ 16821 w 186140"/>
                <a:gd name="connsiteY11" fmla="*/ 290395 h 288217"/>
                <a:gd name="connsiteX12" fmla="*/ 18022 w 186140"/>
                <a:gd name="connsiteY12" fmla="*/ 290395 h 288217"/>
                <a:gd name="connsiteX13" fmla="*/ 36036 w 186140"/>
                <a:gd name="connsiteY13" fmla="*/ 290395 h 288217"/>
                <a:gd name="connsiteX14" fmla="*/ 54050 w 186140"/>
                <a:gd name="connsiteY14" fmla="*/ 272381 h 288217"/>
                <a:gd name="connsiteX15" fmla="*/ 54050 w 186140"/>
                <a:gd name="connsiteY15" fmla="*/ 271781 h 288217"/>
                <a:gd name="connsiteX16" fmla="*/ 54050 w 186140"/>
                <a:gd name="connsiteY16" fmla="*/ 178410 h 288217"/>
                <a:gd name="connsiteX17" fmla="*/ 83171 w 186140"/>
                <a:gd name="connsiteY17" fmla="*/ 178410 h 288217"/>
                <a:gd name="connsiteX18" fmla="*/ 133910 w 186140"/>
                <a:gd name="connsiteY18" fmla="*/ 278086 h 288217"/>
                <a:gd name="connsiteX19" fmla="*/ 150422 w 186140"/>
                <a:gd name="connsiteY19" fmla="*/ 289494 h 288217"/>
                <a:gd name="connsiteX20" fmla="*/ 169036 w 186140"/>
                <a:gd name="connsiteY20" fmla="*/ 289494 h 288217"/>
                <a:gd name="connsiteX21" fmla="*/ 183747 w 186140"/>
                <a:gd name="connsiteY21" fmla="*/ 282289 h 288217"/>
                <a:gd name="connsiteX22" fmla="*/ 186149 w 186140"/>
                <a:gd name="connsiteY22" fmla="*/ 265176 h 288217"/>
                <a:gd name="connsiteX23" fmla="*/ 186149 w 186140"/>
                <a:gd name="connsiteY23" fmla="*/ 265176 h 288217"/>
                <a:gd name="connsiteX24" fmla="*/ 123402 w 186140"/>
                <a:gd name="connsiteY24" fmla="*/ 83539 h 288217"/>
                <a:gd name="connsiteX25" fmla="*/ 123402 w 186140"/>
                <a:gd name="connsiteY25" fmla="*/ 97950 h 288217"/>
                <a:gd name="connsiteX26" fmla="*/ 97582 w 186140"/>
                <a:gd name="connsiteY26" fmla="*/ 124370 h 288217"/>
                <a:gd name="connsiteX27" fmla="*/ 54050 w 186140"/>
                <a:gd name="connsiteY27" fmla="*/ 124370 h 288217"/>
                <a:gd name="connsiteX28" fmla="*/ 54050 w 186140"/>
                <a:gd name="connsiteY28" fmla="*/ 56218 h 288217"/>
                <a:gd name="connsiteX29" fmla="*/ 97582 w 186140"/>
                <a:gd name="connsiteY29" fmla="*/ 56218 h 288217"/>
                <a:gd name="connsiteX30" fmla="*/ 115296 w 186140"/>
                <a:gd name="connsiteY30" fmla="*/ 63424 h 288217"/>
                <a:gd name="connsiteX31" fmla="*/ 123102 w 186140"/>
                <a:gd name="connsiteY31" fmla="*/ 82338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86140" h="288217">
                  <a:moveTo>
                    <a:pt x="186149" y="264275"/>
                  </a:moveTo>
                  <a:lnTo>
                    <a:pt x="136612" y="167903"/>
                  </a:lnTo>
                  <a:cubicBezTo>
                    <a:pt x="142917" y="164300"/>
                    <a:pt x="148621" y="159796"/>
                    <a:pt x="154025" y="154693"/>
                  </a:cubicBezTo>
                  <a:cubicBezTo>
                    <a:pt x="169337" y="139681"/>
                    <a:pt x="177743" y="118665"/>
                    <a:pt x="177443" y="97049"/>
                  </a:cubicBezTo>
                  <a:lnTo>
                    <a:pt x="177443" y="82038"/>
                  </a:lnTo>
                  <a:cubicBezTo>
                    <a:pt x="178043" y="60422"/>
                    <a:pt x="169637" y="39105"/>
                    <a:pt x="154626" y="23794"/>
                  </a:cubicBezTo>
                  <a:cubicBezTo>
                    <a:pt x="139914" y="8182"/>
                    <a:pt x="119499" y="-224"/>
                    <a:pt x="98183" y="76"/>
                  </a:cubicBezTo>
                  <a:lnTo>
                    <a:pt x="18923" y="76"/>
                  </a:lnTo>
                  <a:cubicBezTo>
                    <a:pt x="9316" y="-825"/>
                    <a:pt x="909" y="6381"/>
                    <a:pt x="9" y="16288"/>
                  </a:cubicBezTo>
                  <a:cubicBezTo>
                    <a:pt x="9" y="17189"/>
                    <a:pt x="9" y="18390"/>
                    <a:pt x="9" y="19290"/>
                  </a:cubicBezTo>
                  <a:lnTo>
                    <a:pt x="9" y="271781"/>
                  </a:lnTo>
                  <a:cubicBezTo>
                    <a:pt x="-292" y="281688"/>
                    <a:pt x="7214" y="290095"/>
                    <a:pt x="16821" y="290395"/>
                  </a:cubicBezTo>
                  <a:cubicBezTo>
                    <a:pt x="17122" y="290395"/>
                    <a:pt x="17722" y="290395"/>
                    <a:pt x="18022" y="290395"/>
                  </a:cubicBezTo>
                  <a:lnTo>
                    <a:pt x="36036" y="290395"/>
                  </a:lnTo>
                  <a:cubicBezTo>
                    <a:pt x="45943" y="290395"/>
                    <a:pt x="54050" y="282589"/>
                    <a:pt x="54050" y="272381"/>
                  </a:cubicBezTo>
                  <a:cubicBezTo>
                    <a:pt x="54050" y="272081"/>
                    <a:pt x="54050" y="272081"/>
                    <a:pt x="54050" y="271781"/>
                  </a:cubicBezTo>
                  <a:lnTo>
                    <a:pt x="54050" y="178410"/>
                  </a:lnTo>
                  <a:lnTo>
                    <a:pt x="83171" y="178410"/>
                  </a:lnTo>
                  <a:lnTo>
                    <a:pt x="133910" y="278086"/>
                  </a:lnTo>
                  <a:cubicBezTo>
                    <a:pt x="136612" y="284991"/>
                    <a:pt x="143217" y="289494"/>
                    <a:pt x="150422" y="289494"/>
                  </a:cubicBezTo>
                  <a:lnTo>
                    <a:pt x="169036" y="289494"/>
                  </a:lnTo>
                  <a:cubicBezTo>
                    <a:pt x="174741" y="289795"/>
                    <a:pt x="180445" y="287092"/>
                    <a:pt x="183747" y="282289"/>
                  </a:cubicBezTo>
                  <a:cubicBezTo>
                    <a:pt x="187350" y="277185"/>
                    <a:pt x="188251" y="270880"/>
                    <a:pt x="186149" y="265176"/>
                  </a:cubicBezTo>
                  <a:lnTo>
                    <a:pt x="186149" y="265176"/>
                  </a:lnTo>
                  <a:moveTo>
                    <a:pt x="123402" y="83539"/>
                  </a:moveTo>
                  <a:lnTo>
                    <a:pt x="123402" y="97950"/>
                  </a:lnTo>
                  <a:cubicBezTo>
                    <a:pt x="123402" y="112361"/>
                    <a:pt x="111693" y="124370"/>
                    <a:pt x="97582" y="124370"/>
                  </a:cubicBezTo>
                  <a:lnTo>
                    <a:pt x="54050" y="124370"/>
                  </a:lnTo>
                  <a:lnTo>
                    <a:pt x="54050" y="56218"/>
                  </a:lnTo>
                  <a:lnTo>
                    <a:pt x="97582" y="56218"/>
                  </a:lnTo>
                  <a:cubicBezTo>
                    <a:pt x="104187" y="55918"/>
                    <a:pt x="110492" y="58620"/>
                    <a:pt x="115296" y="63424"/>
                  </a:cubicBezTo>
                  <a:cubicBezTo>
                    <a:pt x="120400" y="68227"/>
                    <a:pt x="123402" y="75133"/>
                    <a:pt x="123102" y="82338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18" name="Forme libre : forme 217">
              <a:extLst>
                <a:ext uri="{FF2B5EF4-FFF2-40B4-BE49-F238E27FC236}">
                  <a16:creationId xmlns:a16="http://schemas.microsoft.com/office/drawing/2014/main" id="{3F1EC6FE-FFB0-464B-9BD6-8962B8DD5036}"/>
                </a:ext>
              </a:extLst>
            </p:cNvPr>
            <p:cNvSpPr/>
            <p:nvPr/>
          </p:nvSpPr>
          <p:spPr>
            <a:xfrm>
              <a:off x="6485374" y="4373489"/>
              <a:ext cx="60045" cy="120091"/>
            </a:xfrm>
            <a:custGeom>
              <a:avLst/>
              <a:gdLst>
                <a:gd name="connsiteX0" fmla="*/ 60045 w 60045"/>
                <a:gd name="connsiteY0" fmla="*/ 120391 h 120090"/>
                <a:gd name="connsiteX1" fmla="*/ 54641 w 60045"/>
                <a:gd name="connsiteY1" fmla="*/ 120391 h 120090"/>
                <a:gd name="connsiteX2" fmla="*/ 52840 w 60045"/>
                <a:gd name="connsiteY2" fmla="*/ 118589 h 120090"/>
                <a:gd name="connsiteX3" fmla="*/ 52840 w 60045"/>
                <a:gd name="connsiteY3" fmla="*/ 117088 h 120090"/>
                <a:gd name="connsiteX4" fmla="*/ 51039 w 60045"/>
                <a:gd name="connsiteY4" fmla="*/ 115287 h 120090"/>
                <a:gd name="connsiteX5" fmla="*/ 50138 w 60045"/>
                <a:gd name="connsiteY5" fmla="*/ 115287 h 120090"/>
                <a:gd name="connsiteX6" fmla="*/ 6605 w 60045"/>
                <a:gd name="connsiteY6" fmla="*/ 109583 h 120090"/>
                <a:gd name="connsiteX7" fmla="*/ 0 w 60045"/>
                <a:gd name="connsiteY7" fmla="*/ 90368 h 120090"/>
                <a:gd name="connsiteX8" fmla="*/ 0 w 60045"/>
                <a:gd name="connsiteY8" fmla="*/ 64549 h 120090"/>
                <a:gd name="connsiteX9" fmla="*/ 9007 w 60045"/>
                <a:gd name="connsiteY9" fmla="*/ 43233 h 120090"/>
                <a:gd name="connsiteX10" fmla="*/ 30923 w 60045"/>
                <a:gd name="connsiteY10" fmla="*/ 33926 h 120090"/>
                <a:gd name="connsiteX11" fmla="*/ 47136 w 60045"/>
                <a:gd name="connsiteY11" fmla="*/ 38729 h 120090"/>
                <a:gd name="connsiteX12" fmla="*/ 48336 w 60045"/>
                <a:gd name="connsiteY12" fmla="*/ 38729 h 120090"/>
                <a:gd name="connsiteX13" fmla="*/ 49838 w 60045"/>
                <a:gd name="connsiteY13" fmla="*/ 37228 h 120090"/>
                <a:gd name="connsiteX14" fmla="*/ 49838 w 60045"/>
                <a:gd name="connsiteY14" fmla="*/ 1801 h 120090"/>
                <a:gd name="connsiteX15" fmla="*/ 51039 w 60045"/>
                <a:gd name="connsiteY15" fmla="*/ 0 h 120090"/>
                <a:gd name="connsiteX16" fmla="*/ 51639 w 60045"/>
                <a:gd name="connsiteY16" fmla="*/ 0 h 120090"/>
                <a:gd name="connsiteX17" fmla="*/ 60045 w 60045"/>
                <a:gd name="connsiteY17" fmla="*/ 0 h 120090"/>
                <a:gd name="connsiteX18" fmla="*/ 61546 w 60045"/>
                <a:gd name="connsiteY18" fmla="*/ 1801 h 120090"/>
                <a:gd name="connsiteX19" fmla="*/ 61546 w 60045"/>
                <a:gd name="connsiteY19" fmla="*/ 118589 h 120090"/>
                <a:gd name="connsiteX20" fmla="*/ 60045 w 60045"/>
                <a:gd name="connsiteY20" fmla="*/ 120391 h 120090"/>
                <a:gd name="connsiteX21" fmla="*/ 49838 w 60045"/>
                <a:gd name="connsiteY21" fmla="*/ 65449 h 120090"/>
                <a:gd name="connsiteX22" fmla="*/ 44133 w 60045"/>
                <a:gd name="connsiteY22" fmla="*/ 51639 h 120090"/>
                <a:gd name="connsiteX23" fmla="*/ 17113 w 60045"/>
                <a:gd name="connsiteY23" fmla="*/ 51639 h 120090"/>
                <a:gd name="connsiteX24" fmla="*/ 11409 w 60045"/>
                <a:gd name="connsiteY24" fmla="*/ 65449 h 120090"/>
                <a:gd name="connsiteX25" fmla="*/ 11409 w 60045"/>
                <a:gd name="connsiteY25" fmla="*/ 91269 h 120090"/>
                <a:gd name="connsiteX26" fmla="*/ 16813 w 60045"/>
                <a:gd name="connsiteY26" fmla="*/ 105379 h 120090"/>
                <a:gd name="connsiteX27" fmla="*/ 30623 w 60045"/>
                <a:gd name="connsiteY27" fmla="*/ 111084 h 120090"/>
                <a:gd name="connsiteX28" fmla="*/ 44133 w 60045"/>
                <a:gd name="connsiteY28" fmla="*/ 105379 h 120090"/>
                <a:gd name="connsiteX29" fmla="*/ 49838 w 60045"/>
                <a:gd name="connsiteY29" fmla="*/ 91269 h 120090"/>
                <a:gd name="connsiteX30" fmla="*/ 49838 w 60045"/>
                <a:gd name="connsiteY30" fmla="*/ 65449 h 120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60045" h="120090">
                  <a:moveTo>
                    <a:pt x="60045" y="120391"/>
                  </a:moveTo>
                  <a:lnTo>
                    <a:pt x="54641" y="120391"/>
                  </a:lnTo>
                  <a:cubicBezTo>
                    <a:pt x="53440" y="120391"/>
                    <a:pt x="52840" y="119490"/>
                    <a:pt x="52840" y="118589"/>
                  </a:cubicBezTo>
                  <a:lnTo>
                    <a:pt x="52840" y="117088"/>
                  </a:lnTo>
                  <a:cubicBezTo>
                    <a:pt x="52840" y="115587"/>
                    <a:pt x="52239" y="115287"/>
                    <a:pt x="51039" y="115287"/>
                  </a:cubicBezTo>
                  <a:cubicBezTo>
                    <a:pt x="49838" y="115287"/>
                    <a:pt x="50138" y="115287"/>
                    <a:pt x="50138" y="115287"/>
                  </a:cubicBezTo>
                  <a:cubicBezTo>
                    <a:pt x="36628" y="126095"/>
                    <a:pt x="17113" y="123693"/>
                    <a:pt x="6605" y="109583"/>
                  </a:cubicBezTo>
                  <a:cubicBezTo>
                    <a:pt x="2402" y="104179"/>
                    <a:pt x="0" y="97273"/>
                    <a:pt x="0" y="90368"/>
                  </a:cubicBezTo>
                  <a:lnTo>
                    <a:pt x="0" y="64549"/>
                  </a:lnTo>
                  <a:cubicBezTo>
                    <a:pt x="0" y="56443"/>
                    <a:pt x="3302" y="48937"/>
                    <a:pt x="9007" y="43233"/>
                  </a:cubicBezTo>
                  <a:cubicBezTo>
                    <a:pt x="14711" y="36928"/>
                    <a:pt x="22517" y="33625"/>
                    <a:pt x="30923" y="33926"/>
                  </a:cubicBezTo>
                  <a:cubicBezTo>
                    <a:pt x="36628" y="33926"/>
                    <a:pt x="42332" y="35427"/>
                    <a:pt x="47136" y="38729"/>
                  </a:cubicBezTo>
                  <a:lnTo>
                    <a:pt x="48336" y="38729"/>
                  </a:lnTo>
                  <a:cubicBezTo>
                    <a:pt x="49537" y="38729"/>
                    <a:pt x="49838" y="38729"/>
                    <a:pt x="49838" y="37228"/>
                  </a:cubicBezTo>
                  <a:lnTo>
                    <a:pt x="49838" y="1801"/>
                  </a:lnTo>
                  <a:cubicBezTo>
                    <a:pt x="49537" y="901"/>
                    <a:pt x="50138" y="300"/>
                    <a:pt x="51039" y="0"/>
                  </a:cubicBezTo>
                  <a:cubicBezTo>
                    <a:pt x="51339" y="0"/>
                    <a:pt x="51339" y="0"/>
                    <a:pt x="51639" y="0"/>
                  </a:cubicBezTo>
                  <a:lnTo>
                    <a:pt x="60045" y="0"/>
                  </a:lnTo>
                  <a:cubicBezTo>
                    <a:pt x="61246" y="0"/>
                    <a:pt x="61546" y="0"/>
                    <a:pt x="61546" y="1801"/>
                  </a:cubicBezTo>
                  <a:lnTo>
                    <a:pt x="61546" y="118589"/>
                  </a:lnTo>
                  <a:cubicBezTo>
                    <a:pt x="61546" y="119790"/>
                    <a:pt x="61546" y="120691"/>
                    <a:pt x="60045" y="120391"/>
                  </a:cubicBezTo>
                  <a:moveTo>
                    <a:pt x="49838" y="65449"/>
                  </a:moveTo>
                  <a:cubicBezTo>
                    <a:pt x="50138" y="60346"/>
                    <a:pt x="48036" y="55242"/>
                    <a:pt x="44133" y="51639"/>
                  </a:cubicBezTo>
                  <a:cubicBezTo>
                    <a:pt x="36628" y="43833"/>
                    <a:pt x="24619" y="44133"/>
                    <a:pt x="17113" y="51639"/>
                  </a:cubicBezTo>
                  <a:cubicBezTo>
                    <a:pt x="13510" y="55242"/>
                    <a:pt x="11409" y="60346"/>
                    <a:pt x="11409" y="65449"/>
                  </a:cubicBezTo>
                  <a:lnTo>
                    <a:pt x="11409" y="91269"/>
                  </a:lnTo>
                  <a:cubicBezTo>
                    <a:pt x="11409" y="96673"/>
                    <a:pt x="13210" y="101777"/>
                    <a:pt x="16813" y="105379"/>
                  </a:cubicBezTo>
                  <a:cubicBezTo>
                    <a:pt x="20415" y="109282"/>
                    <a:pt x="25219" y="111084"/>
                    <a:pt x="30623" y="111084"/>
                  </a:cubicBezTo>
                  <a:cubicBezTo>
                    <a:pt x="35727" y="111084"/>
                    <a:pt x="40531" y="108982"/>
                    <a:pt x="44133" y="105379"/>
                  </a:cubicBezTo>
                  <a:cubicBezTo>
                    <a:pt x="47736" y="101777"/>
                    <a:pt x="49838" y="96673"/>
                    <a:pt x="49838" y="91269"/>
                  </a:cubicBezTo>
                  <a:lnTo>
                    <a:pt x="49838" y="65449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19" name="Forme libre : forme 218">
              <a:extLst>
                <a:ext uri="{FF2B5EF4-FFF2-40B4-BE49-F238E27FC236}">
                  <a16:creationId xmlns:a16="http://schemas.microsoft.com/office/drawing/2014/main" id="{C68CE9AA-6FB7-44DB-BE11-BD8AF474D231}"/>
                </a:ext>
              </a:extLst>
            </p:cNvPr>
            <p:cNvSpPr/>
            <p:nvPr/>
          </p:nvSpPr>
          <p:spPr>
            <a:xfrm>
              <a:off x="6570319" y="4403924"/>
              <a:ext cx="57043" cy="93070"/>
            </a:xfrm>
            <a:custGeom>
              <a:avLst/>
              <a:gdLst>
                <a:gd name="connsiteX0" fmla="*/ 56762 w 57043"/>
                <a:gd name="connsiteY0" fmla="*/ 52728 h 93070"/>
                <a:gd name="connsiteX1" fmla="*/ 12929 w 57043"/>
                <a:gd name="connsiteY1" fmla="*/ 52728 h 93070"/>
                <a:gd name="connsiteX2" fmla="*/ 11127 w 57043"/>
                <a:gd name="connsiteY2" fmla="*/ 54229 h 93070"/>
                <a:gd name="connsiteX3" fmla="*/ 11127 w 57043"/>
                <a:gd name="connsiteY3" fmla="*/ 54529 h 93070"/>
                <a:gd name="connsiteX4" fmla="*/ 11127 w 57043"/>
                <a:gd name="connsiteY4" fmla="*/ 59933 h 93070"/>
                <a:gd name="connsiteX5" fmla="*/ 16832 w 57043"/>
                <a:gd name="connsiteY5" fmla="*/ 74644 h 93070"/>
                <a:gd name="connsiteX6" fmla="*/ 30642 w 57043"/>
                <a:gd name="connsiteY6" fmla="*/ 80949 h 93070"/>
                <a:gd name="connsiteX7" fmla="*/ 48956 w 57043"/>
                <a:gd name="connsiteY7" fmla="*/ 74644 h 93070"/>
                <a:gd name="connsiteX8" fmla="*/ 51057 w 57043"/>
                <a:gd name="connsiteY8" fmla="*/ 74644 h 93070"/>
                <a:gd name="connsiteX9" fmla="*/ 51057 w 57043"/>
                <a:gd name="connsiteY9" fmla="*/ 74644 h 93070"/>
                <a:gd name="connsiteX10" fmla="*/ 55861 w 57043"/>
                <a:gd name="connsiteY10" fmla="*/ 82150 h 93070"/>
                <a:gd name="connsiteX11" fmla="*/ 56161 w 57043"/>
                <a:gd name="connsiteY11" fmla="*/ 84552 h 93070"/>
                <a:gd name="connsiteX12" fmla="*/ 55861 w 57043"/>
                <a:gd name="connsiteY12" fmla="*/ 84852 h 93070"/>
                <a:gd name="connsiteX13" fmla="*/ 30942 w 57043"/>
                <a:gd name="connsiteY13" fmla="*/ 93558 h 93070"/>
                <a:gd name="connsiteX14" fmla="*/ 9026 w 57043"/>
                <a:gd name="connsiteY14" fmla="*/ 83651 h 93070"/>
                <a:gd name="connsiteX15" fmla="*/ 19 w 57043"/>
                <a:gd name="connsiteY15" fmla="*/ 59633 h 93070"/>
                <a:gd name="connsiteX16" fmla="*/ 19 w 57043"/>
                <a:gd name="connsiteY16" fmla="*/ 32012 h 93070"/>
                <a:gd name="connsiteX17" fmla="*/ 8725 w 57043"/>
                <a:gd name="connsiteY17" fmla="*/ 9195 h 93070"/>
                <a:gd name="connsiteX18" fmla="*/ 50457 w 57043"/>
                <a:gd name="connsiteY18" fmla="*/ 9495 h 93070"/>
                <a:gd name="connsiteX19" fmla="*/ 58863 w 57043"/>
                <a:gd name="connsiteY19" fmla="*/ 32012 h 93070"/>
                <a:gd name="connsiteX20" fmla="*/ 58863 w 57043"/>
                <a:gd name="connsiteY20" fmla="*/ 50626 h 93070"/>
                <a:gd name="connsiteX21" fmla="*/ 56762 w 57043"/>
                <a:gd name="connsiteY21" fmla="*/ 52728 h 93070"/>
                <a:gd name="connsiteX22" fmla="*/ 46854 w 57043"/>
                <a:gd name="connsiteY22" fmla="*/ 32312 h 93070"/>
                <a:gd name="connsiteX23" fmla="*/ 41750 w 57043"/>
                <a:gd name="connsiteY23" fmla="*/ 18802 h 93070"/>
                <a:gd name="connsiteX24" fmla="*/ 29141 w 57043"/>
                <a:gd name="connsiteY24" fmla="*/ 13398 h 93070"/>
                <a:gd name="connsiteX25" fmla="*/ 16531 w 57043"/>
                <a:gd name="connsiteY25" fmla="*/ 18802 h 93070"/>
                <a:gd name="connsiteX26" fmla="*/ 11127 w 57043"/>
                <a:gd name="connsiteY26" fmla="*/ 32312 h 93070"/>
                <a:gd name="connsiteX27" fmla="*/ 11127 w 57043"/>
                <a:gd name="connsiteY27" fmla="*/ 38017 h 93070"/>
                <a:gd name="connsiteX28" fmla="*/ 12328 w 57043"/>
                <a:gd name="connsiteY28" fmla="*/ 40118 h 93070"/>
                <a:gd name="connsiteX29" fmla="*/ 12628 w 57043"/>
                <a:gd name="connsiteY29" fmla="*/ 40118 h 93070"/>
                <a:gd name="connsiteX30" fmla="*/ 44452 w 57043"/>
                <a:gd name="connsiteY30" fmla="*/ 40118 h 93070"/>
                <a:gd name="connsiteX31" fmla="*/ 45954 w 57043"/>
                <a:gd name="connsiteY31" fmla="*/ 38017 h 93070"/>
                <a:gd name="connsiteX32" fmla="*/ 46854 w 57043"/>
                <a:gd name="connsiteY32" fmla="*/ 32312 h 93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57043" h="93070">
                  <a:moveTo>
                    <a:pt x="56762" y="52728"/>
                  </a:moveTo>
                  <a:lnTo>
                    <a:pt x="12929" y="52728"/>
                  </a:lnTo>
                  <a:cubicBezTo>
                    <a:pt x="12028" y="52728"/>
                    <a:pt x="11127" y="53328"/>
                    <a:pt x="11127" y="54229"/>
                  </a:cubicBezTo>
                  <a:cubicBezTo>
                    <a:pt x="11127" y="54229"/>
                    <a:pt x="11127" y="54529"/>
                    <a:pt x="11127" y="54529"/>
                  </a:cubicBezTo>
                  <a:lnTo>
                    <a:pt x="11127" y="59933"/>
                  </a:lnTo>
                  <a:cubicBezTo>
                    <a:pt x="11127" y="65637"/>
                    <a:pt x="13229" y="70741"/>
                    <a:pt x="16832" y="74644"/>
                  </a:cubicBezTo>
                  <a:cubicBezTo>
                    <a:pt x="20434" y="78547"/>
                    <a:pt x="25238" y="80949"/>
                    <a:pt x="30642" y="80949"/>
                  </a:cubicBezTo>
                  <a:cubicBezTo>
                    <a:pt x="37247" y="80949"/>
                    <a:pt x="43552" y="78847"/>
                    <a:pt x="48956" y="74644"/>
                  </a:cubicBezTo>
                  <a:cubicBezTo>
                    <a:pt x="49556" y="74044"/>
                    <a:pt x="50457" y="74044"/>
                    <a:pt x="51057" y="74644"/>
                  </a:cubicBezTo>
                  <a:cubicBezTo>
                    <a:pt x="51057" y="74644"/>
                    <a:pt x="51057" y="74644"/>
                    <a:pt x="51057" y="74644"/>
                  </a:cubicBezTo>
                  <a:lnTo>
                    <a:pt x="55861" y="82150"/>
                  </a:lnTo>
                  <a:cubicBezTo>
                    <a:pt x="56461" y="82750"/>
                    <a:pt x="56762" y="83651"/>
                    <a:pt x="56161" y="84552"/>
                  </a:cubicBezTo>
                  <a:cubicBezTo>
                    <a:pt x="56161" y="84552"/>
                    <a:pt x="55861" y="84852"/>
                    <a:pt x="55861" y="84852"/>
                  </a:cubicBezTo>
                  <a:cubicBezTo>
                    <a:pt x="48656" y="90556"/>
                    <a:pt x="39949" y="93558"/>
                    <a:pt x="30942" y="93558"/>
                  </a:cubicBezTo>
                  <a:cubicBezTo>
                    <a:pt x="22836" y="93558"/>
                    <a:pt x="14730" y="89956"/>
                    <a:pt x="9026" y="83651"/>
                  </a:cubicBezTo>
                  <a:cubicBezTo>
                    <a:pt x="3021" y="77346"/>
                    <a:pt x="-281" y="68640"/>
                    <a:pt x="19" y="59633"/>
                  </a:cubicBezTo>
                  <a:lnTo>
                    <a:pt x="19" y="32012"/>
                  </a:lnTo>
                  <a:cubicBezTo>
                    <a:pt x="19" y="23606"/>
                    <a:pt x="3021" y="15199"/>
                    <a:pt x="8725" y="9195"/>
                  </a:cubicBezTo>
                  <a:cubicBezTo>
                    <a:pt x="20434" y="-3115"/>
                    <a:pt x="39048" y="-3115"/>
                    <a:pt x="50457" y="9495"/>
                  </a:cubicBezTo>
                  <a:cubicBezTo>
                    <a:pt x="55861" y="15500"/>
                    <a:pt x="58863" y="23606"/>
                    <a:pt x="58863" y="32012"/>
                  </a:cubicBezTo>
                  <a:lnTo>
                    <a:pt x="58863" y="50626"/>
                  </a:lnTo>
                  <a:cubicBezTo>
                    <a:pt x="58863" y="52127"/>
                    <a:pt x="58863" y="52728"/>
                    <a:pt x="56762" y="52728"/>
                  </a:cubicBezTo>
                  <a:moveTo>
                    <a:pt x="46854" y="32312"/>
                  </a:moveTo>
                  <a:cubicBezTo>
                    <a:pt x="46854" y="27208"/>
                    <a:pt x="45053" y="22405"/>
                    <a:pt x="41750" y="18802"/>
                  </a:cubicBezTo>
                  <a:cubicBezTo>
                    <a:pt x="38448" y="15199"/>
                    <a:pt x="33944" y="13098"/>
                    <a:pt x="29141" y="13398"/>
                  </a:cubicBezTo>
                  <a:cubicBezTo>
                    <a:pt x="24337" y="13098"/>
                    <a:pt x="19834" y="15199"/>
                    <a:pt x="16531" y="18802"/>
                  </a:cubicBezTo>
                  <a:cubicBezTo>
                    <a:pt x="12929" y="22405"/>
                    <a:pt x="11127" y="27208"/>
                    <a:pt x="11127" y="32312"/>
                  </a:cubicBezTo>
                  <a:lnTo>
                    <a:pt x="11127" y="38017"/>
                  </a:lnTo>
                  <a:cubicBezTo>
                    <a:pt x="11127" y="38917"/>
                    <a:pt x="11728" y="39818"/>
                    <a:pt x="12328" y="40118"/>
                  </a:cubicBezTo>
                  <a:cubicBezTo>
                    <a:pt x="12328" y="40118"/>
                    <a:pt x="12628" y="40118"/>
                    <a:pt x="12628" y="40118"/>
                  </a:cubicBezTo>
                  <a:lnTo>
                    <a:pt x="44452" y="40118"/>
                  </a:lnTo>
                  <a:cubicBezTo>
                    <a:pt x="45653" y="40118"/>
                    <a:pt x="45954" y="39217"/>
                    <a:pt x="45954" y="38017"/>
                  </a:cubicBezTo>
                  <a:lnTo>
                    <a:pt x="46854" y="32312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20" name="Forme libre : forme 219">
              <a:extLst>
                <a:ext uri="{FF2B5EF4-FFF2-40B4-BE49-F238E27FC236}">
                  <a16:creationId xmlns:a16="http://schemas.microsoft.com/office/drawing/2014/main" id="{E6D00E63-D41E-4543-A013-A2A8C6E88E13}"/>
                </a:ext>
              </a:extLst>
            </p:cNvPr>
            <p:cNvSpPr/>
            <p:nvPr/>
          </p:nvSpPr>
          <p:spPr>
            <a:xfrm>
              <a:off x="5951546" y="4012317"/>
              <a:ext cx="195147" cy="288217"/>
            </a:xfrm>
            <a:custGeom>
              <a:avLst/>
              <a:gdLst>
                <a:gd name="connsiteX0" fmla="*/ 190368 w 195147"/>
                <a:gd name="connsiteY0" fmla="*/ 0 h 288217"/>
                <a:gd name="connsiteX1" fmla="*/ 161847 w 195147"/>
                <a:gd name="connsiteY1" fmla="*/ 0 h 288217"/>
                <a:gd name="connsiteX2" fmla="*/ 156443 w 195147"/>
                <a:gd name="connsiteY2" fmla="*/ 5404 h 288217"/>
                <a:gd name="connsiteX3" fmla="*/ 156443 w 195147"/>
                <a:gd name="connsiteY3" fmla="*/ 190344 h 288217"/>
                <a:gd name="connsiteX4" fmla="*/ 138729 w 195147"/>
                <a:gd name="connsiteY4" fmla="*/ 231775 h 288217"/>
                <a:gd name="connsiteX5" fmla="*/ 98199 w 195147"/>
                <a:gd name="connsiteY5" fmla="*/ 248888 h 288217"/>
                <a:gd name="connsiteX6" fmla="*/ 57067 w 195147"/>
                <a:gd name="connsiteY6" fmla="*/ 231775 h 288217"/>
                <a:gd name="connsiteX7" fmla="*/ 39955 w 195147"/>
                <a:gd name="connsiteY7" fmla="*/ 190344 h 288217"/>
                <a:gd name="connsiteX8" fmla="*/ 39955 w 195147"/>
                <a:gd name="connsiteY8" fmla="*/ 131499 h 288217"/>
                <a:gd name="connsiteX9" fmla="*/ 24 w 195147"/>
                <a:gd name="connsiteY9" fmla="*/ 147711 h 288217"/>
                <a:gd name="connsiteX10" fmla="*/ 24 w 195147"/>
                <a:gd name="connsiteY10" fmla="*/ 190644 h 288217"/>
                <a:gd name="connsiteX11" fmla="*/ 28546 w 195147"/>
                <a:gd name="connsiteY11" fmla="*/ 260597 h 288217"/>
                <a:gd name="connsiteX12" fmla="*/ 98199 w 195147"/>
                <a:gd name="connsiteY12" fmla="*/ 290019 h 288217"/>
                <a:gd name="connsiteX13" fmla="*/ 167251 w 195147"/>
                <a:gd name="connsiteY13" fmla="*/ 260296 h 288217"/>
                <a:gd name="connsiteX14" fmla="*/ 196373 w 195147"/>
                <a:gd name="connsiteY14" fmla="*/ 190344 h 288217"/>
                <a:gd name="connsiteX15" fmla="*/ 196373 w 195147"/>
                <a:gd name="connsiteY15" fmla="*/ 5404 h 288217"/>
                <a:gd name="connsiteX16" fmla="*/ 190368 w 195147"/>
                <a:gd name="connsiteY16" fmla="*/ 0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147" h="288217">
                  <a:moveTo>
                    <a:pt x="190368" y="0"/>
                  </a:moveTo>
                  <a:lnTo>
                    <a:pt x="161847" y="0"/>
                  </a:lnTo>
                  <a:cubicBezTo>
                    <a:pt x="157944" y="0"/>
                    <a:pt x="156443" y="1501"/>
                    <a:pt x="156443" y="5404"/>
                  </a:cubicBezTo>
                  <a:lnTo>
                    <a:pt x="156443" y="190344"/>
                  </a:lnTo>
                  <a:cubicBezTo>
                    <a:pt x="156443" y="205955"/>
                    <a:pt x="150138" y="220967"/>
                    <a:pt x="138729" y="231775"/>
                  </a:cubicBezTo>
                  <a:cubicBezTo>
                    <a:pt x="128221" y="243183"/>
                    <a:pt x="113510" y="249188"/>
                    <a:pt x="98199" y="248888"/>
                  </a:cubicBezTo>
                  <a:cubicBezTo>
                    <a:pt x="82587" y="249188"/>
                    <a:pt x="67575" y="243183"/>
                    <a:pt x="57067" y="231775"/>
                  </a:cubicBezTo>
                  <a:cubicBezTo>
                    <a:pt x="45959" y="220967"/>
                    <a:pt x="39654" y="205955"/>
                    <a:pt x="39955" y="190344"/>
                  </a:cubicBezTo>
                  <a:lnTo>
                    <a:pt x="39955" y="131499"/>
                  </a:lnTo>
                  <a:lnTo>
                    <a:pt x="24" y="147711"/>
                  </a:lnTo>
                  <a:lnTo>
                    <a:pt x="24" y="190644"/>
                  </a:lnTo>
                  <a:cubicBezTo>
                    <a:pt x="-576" y="216763"/>
                    <a:pt x="9932" y="241982"/>
                    <a:pt x="28546" y="260597"/>
                  </a:cubicBezTo>
                  <a:cubicBezTo>
                    <a:pt x="46860" y="279511"/>
                    <a:pt x="71779" y="290019"/>
                    <a:pt x="98199" y="290019"/>
                  </a:cubicBezTo>
                  <a:cubicBezTo>
                    <a:pt x="124318" y="290019"/>
                    <a:pt x="149237" y="279511"/>
                    <a:pt x="167251" y="260296"/>
                  </a:cubicBezTo>
                  <a:cubicBezTo>
                    <a:pt x="186165" y="241982"/>
                    <a:pt x="196673" y="216763"/>
                    <a:pt x="196373" y="190344"/>
                  </a:cubicBezTo>
                  <a:lnTo>
                    <a:pt x="196373" y="5404"/>
                  </a:lnTo>
                  <a:cubicBezTo>
                    <a:pt x="196073" y="1501"/>
                    <a:pt x="193971" y="0"/>
                    <a:pt x="190368" y="0"/>
                  </a:cubicBez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21" name="Forme libre : forme 220">
              <a:extLst>
                <a:ext uri="{FF2B5EF4-FFF2-40B4-BE49-F238E27FC236}">
                  <a16:creationId xmlns:a16="http://schemas.microsoft.com/office/drawing/2014/main" id="{C2474F43-3D6B-46AC-B182-F0307C87AE93}"/>
                </a:ext>
              </a:extLst>
            </p:cNvPr>
            <p:cNvSpPr/>
            <p:nvPr/>
          </p:nvSpPr>
          <p:spPr>
            <a:xfrm>
              <a:off x="6234678" y="3999143"/>
              <a:ext cx="198150" cy="288217"/>
            </a:xfrm>
            <a:custGeom>
              <a:avLst/>
              <a:gdLst>
                <a:gd name="connsiteX0" fmla="*/ 192452 w 198149"/>
                <a:gd name="connsiteY0" fmla="*/ 289382 h 288217"/>
                <a:gd name="connsiteX1" fmla="*/ 164230 w 198149"/>
                <a:gd name="connsiteY1" fmla="*/ 289382 h 288217"/>
                <a:gd name="connsiteX2" fmla="*/ 158226 w 198149"/>
                <a:gd name="connsiteY2" fmla="*/ 284578 h 288217"/>
                <a:gd name="connsiteX3" fmla="*/ 158226 w 198149"/>
                <a:gd name="connsiteY3" fmla="*/ 283377 h 288217"/>
                <a:gd name="connsiteX4" fmla="*/ 158226 w 198149"/>
                <a:gd name="connsiteY4" fmla="*/ 98438 h 288217"/>
                <a:gd name="connsiteX5" fmla="*/ 140813 w 198149"/>
                <a:gd name="connsiteY5" fmla="*/ 57307 h 288217"/>
                <a:gd name="connsiteX6" fmla="*/ 57950 w 198149"/>
                <a:gd name="connsiteY6" fmla="*/ 57006 h 288217"/>
                <a:gd name="connsiteX7" fmla="*/ 57650 w 198149"/>
                <a:gd name="connsiteY7" fmla="*/ 57307 h 288217"/>
                <a:gd name="connsiteX8" fmla="*/ 41137 w 198149"/>
                <a:gd name="connsiteY8" fmla="*/ 98438 h 288217"/>
                <a:gd name="connsiteX9" fmla="*/ 41137 w 198149"/>
                <a:gd name="connsiteY9" fmla="*/ 283377 h 288217"/>
                <a:gd name="connsiteX10" fmla="*/ 36634 w 198149"/>
                <a:gd name="connsiteY10" fmla="*/ 289382 h 288217"/>
                <a:gd name="connsiteX11" fmla="*/ 34833 w 198149"/>
                <a:gd name="connsiteY11" fmla="*/ 289382 h 288217"/>
                <a:gd name="connsiteX12" fmla="*/ 6011 w 198149"/>
                <a:gd name="connsiteY12" fmla="*/ 289382 h 288217"/>
                <a:gd name="connsiteX13" fmla="*/ 6 w 198149"/>
                <a:gd name="connsiteY13" fmla="*/ 284578 h 288217"/>
                <a:gd name="connsiteX14" fmla="*/ 6 w 198149"/>
                <a:gd name="connsiteY14" fmla="*/ 283377 h 288217"/>
                <a:gd name="connsiteX15" fmla="*/ 6 w 198149"/>
                <a:gd name="connsiteY15" fmla="*/ 98438 h 288217"/>
                <a:gd name="connsiteX16" fmla="*/ 29428 w 198149"/>
                <a:gd name="connsiteY16" fmla="*/ 28785 h 288217"/>
                <a:gd name="connsiteX17" fmla="*/ 168734 w 198149"/>
                <a:gd name="connsiteY17" fmla="*/ 28185 h 288217"/>
                <a:gd name="connsiteX18" fmla="*/ 169334 w 198149"/>
                <a:gd name="connsiteY18" fmla="*/ 28785 h 288217"/>
                <a:gd name="connsiteX19" fmla="*/ 198456 w 198149"/>
                <a:gd name="connsiteY19" fmla="*/ 98438 h 288217"/>
                <a:gd name="connsiteX20" fmla="*/ 198456 w 198149"/>
                <a:gd name="connsiteY20" fmla="*/ 283377 h 288217"/>
                <a:gd name="connsiteX21" fmla="*/ 193352 w 198149"/>
                <a:gd name="connsiteY21" fmla="*/ 289382 h 288217"/>
                <a:gd name="connsiteX22" fmla="*/ 192452 w 198149"/>
                <a:gd name="connsiteY22" fmla="*/ 289382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8149" h="288217">
                  <a:moveTo>
                    <a:pt x="192452" y="289382"/>
                  </a:moveTo>
                  <a:lnTo>
                    <a:pt x="164230" y="289382"/>
                  </a:lnTo>
                  <a:cubicBezTo>
                    <a:pt x="161228" y="289682"/>
                    <a:pt x="158526" y="287580"/>
                    <a:pt x="158226" y="284578"/>
                  </a:cubicBezTo>
                  <a:cubicBezTo>
                    <a:pt x="158226" y="284278"/>
                    <a:pt x="158226" y="283677"/>
                    <a:pt x="158226" y="283377"/>
                  </a:cubicBezTo>
                  <a:lnTo>
                    <a:pt x="158226" y="98438"/>
                  </a:lnTo>
                  <a:cubicBezTo>
                    <a:pt x="158526" y="82826"/>
                    <a:pt x="152221" y="68115"/>
                    <a:pt x="140813" y="57307"/>
                  </a:cubicBezTo>
                  <a:cubicBezTo>
                    <a:pt x="117995" y="34490"/>
                    <a:pt x="80767" y="34490"/>
                    <a:pt x="57950" y="57006"/>
                  </a:cubicBezTo>
                  <a:cubicBezTo>
                    <a:pt x="57950" y="57006"/>
                    <a:pt x="57650" y="57307"/>
                    <a:pt x="57650" y="57307"/>
                  </a:cubicBezTo>
                  <a:cubicBezTo>
                    <a:pt x="46842" y="68115"/>
                    <a:pt x="40837" y="83126"/>
                    <a:pt x="41137" y="98438"/>
                  </a:cubicBezTo>
                  <a:lnTo>
                    <a:pt x="41137" y="283377"/>
                  </a:lnTo>
                  <a:cubicBezTo>
                    <a:pt x="41738" y="286380"/>
                    <a:pt x="39636" y="289082"/>
                    <a:pt x="36634" y="289382"/>
                  </a:cubicBezTo>
                  <a:cubicBezTo>
                    <a:pt x="36033" y="289382"/>
                    <a:pt x="35433" y="289382"/>
                    <a:pt x="34833" y="289382"/>
                  </a:cubicBezTo>
                  <a:lnTo>
                    <a:pt x="6011" y="289382"/>
                  </a:lnTo>
                  <a:cubicBezTo>
                    <a:pt x="3009" y="289682"/>
                    <a:pt x="306" y="287580"/>
                    <a:pt x="6" y="284578"/>
                  </a:cubicBezTo>
                  <a:cubicBezTo>
                    <a:pt x="6" y="284278"/>
                    <a:pt x="6" y="283677"/>
                    <a:pt x="6" y="283377"/>
                  </a:cubicBezTo>
                  <a:lnTo>
                    <a:pt x="6" y="98438"/>
                  </a:lnTo>
                  <a:cubicBezTo>
                    <a:pt x="-294" y="72318"/>
                    <a:pt x="10214" y="47099"/>
                    <a:pt x="29428" y="28785"/>
                  </a:cubicBezTo>
                  <a:cubicBezTo>
                    <a:pt x="67858" y="-9344"/>
                    <a:pt x="130004" y="-9644"/>
                    <a:pt x="168734" y="28185"/>
                  </a:cubicBezTo>
                  <a:cubicBezTo>
                    <a:pt x="169034" y="28485"/>
                    <a:pt x="169034" y="28485"/>
                    <a:pt x="169334" y="28785"/>
                  </a:cubicBezTo>
                  <a:cubicBezTo>
                    <a:pt x="188248" y="47099"/>
                    <a:pt x="198756" y="72318"/>
                    <a:pt x="198456" y="98438"/>
                  </a:cubicBezTo>
                  <a:lnTo>
                    <a:pt x="198456" y="283377"/>
                  </a:lnTo>
                  <a:cubicBezTo>
                    <a:pt x="198756" y="286380"/>
                    <a:pt x="196355" y="289082"/>
                    <a:pt x="193352" y="289382"/>
                  </a:cubicBezTo>
                  <a:cubicBezTo>
                    <a:pt x="193052" y="289382"/>
                    <a:pt x="192752" y="289382"/>
                    <a:pt x="192452" y="289382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22" name="Forme libre : forme 221">
              <a:extLst>
                <a:ext uri="{FF2B5EF4-FFF2-40B4-BE49-F238E27FC236}">
                  <a16:creationId xmlns:a16="http://schemas.microsoft.com/office/drawing/2014/main" id="{14932DF6-990E-43CA-A33B-4AC8AB12DE70}"/>
                </a:ext>
              </a:extLst>
            </p:cNvPr>
            <p:cNvSpPr/>
            <p:nvPr/>
          </p:nvSpPr>
          <p:spPr>
            <a:xfrm>
              <a:off x="6523803" y="4111091"/>
              <a:ext cx="39029" cy="177134"/>
            </a:xfrm>
            <a:custGeom>
              <a:avLst/>
              <a:gdLst>
                <a:gd name="connsiteX0" fmla="*/ 39930 w 39029"/>
                <a:gd name="connsiteY0" fmla="*/ 37528 h 177133"/>
                <a:gd name="connsiteX1" fmla="*/ 39930 w 39029"/>
                <a:gd name="connsiteY1" fmla="*/ 173231 h 177133"/>
                <a:gd name="connsiteX2" fmla="*/ 34826 w 39029"/>
                <a:gd name="connsiteY2" fmla="*/ 179235 h 177133"/>
                <a:gd name="connsiteX3" fmla="*/ 33625 w 39029"/>
                <a:gd name="connsiteY3" fmla="*/ 179235 h 177133"/>
                <a:gd name="connsiteX4" fmla="*/ 6005 w 39029"/>
                <a:gd name="connsiteY4" fmla="*/ 179235 h 177133"/>
                <a:gd name="connsiteX5" fmla="*/ 0 w 39029"/>
                <a:gd name="connsiteY5" fmla="*/ 174732 h 177133"/>
                <a:gd name="connsiteX6" fmla="*/ 0 w 39029"/>
                <a:gd name="connsiteY6" fmla="*/ 172930 h 177133"/>
                <a:gd name="connsiteX7" fmla="*/ 0 w 39029"/>
                <a:gd name="connsiteY7" fmla="*/ 0 h 177133"/>
                <a:gd name="connsiteX8" fmla="*/ 39930 w 39029"/>
                <a:gd name="connsiteY8" fmla="*/ 37528 h 177133"/>
                <a:gd name="connsiteX9" fmla="*/ 39930 w 39029"/>
                <a:gd name="connsiteY9" fmla="*/ 37528 h 177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029" h="177133">
                  <a:moveTo>
                    <a:pt x="39930" y="37528"/>
                  </a:moveTo>
                  <a:lnTo>
                    <a:pt x="39930" y="173231"/>
                  </a:lnTo>
                  <a:cubicBezTo>
                    <a:pt x="40230" y="176233"/>
                    <a:pt x="38129" y="178935"/>
                    <a:pt x="34826" y="179235"/>
                  </a:cubicBezTo>
                  <a:cubicBezTo>
                    <a:pt x="34526" y="179235"/>
                    <a:pt x="34226" y="179235"/>
                    <a:pt x="33625" y="179235"/>
                  </a:cubicBezTo>
                  <a:lnTo>
                    <a:pt x="6005" y="179235"/>
                  </a:lnTo>
                  <a:cubicBezTo>
                    <a:pt x="3002" y="179836"/>
                    <a:pt x="300" y="177734"/>
                    <a:pt x="0" y="174732"/>
                  </a:cubicBezTo>
                  <a:cubicBezTo>
                    <a:pt x="0" y="174131"/>
                    <a:pt x="0" y="173531"/>
                    <a:pt x="0" y="172930"/>
                  </a:cubicBezTo>
                  <a:lnTo>
                    <a:pt x="0" y="0"/>
                  </a:lnTo>
                  <a:lnTo>
                    <a:pt x="39930" y="37528"/>
                  </a:lnTo>
                  <a:lnTo>
                    <a:pt x="39930" y="37528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23" name="Forme libre : forme 222">
              <a:extLst>
                <a:ext uri="{FF2B5EF4-FFF2-40B4-BE49-F238E27FC236}">
                  <a16:creationId xmlns:a16="http://schemas.microsoft.com/office/drawing/2014/main" id="{6CD20DC9-0C34-4C92-8BE4-482DC8087033}"/>
                </a:ext>
              </a:extLst>
            </p:cNvPr>
            <p:cNvSpPr/>
            <p:nvPr/>
          </p:nvSpPr>
          <p:spPr>
            <a:xfrm>
              <a:off x="6624477" y="4006913"/>
              <a:ext cx="192145" cy="282213"/>
            </a:xfrm>
            <a:custGeom>
              <a:avLst/>
              <a:gdLst>
                <a:gd name="connsiteX0" fmla="*/ 193248 w 192145"/>
                <a:gd name="connsiteY0" fmla="*/ 117989 h 282212"/>
                <a:gd name="connsiteX1" fmla="*/ 135004 w 192145"/>
                <a:gd name="connsiteY1" fmla="*/ 277709 h 282212"/>
                <a:gd name="connsiteX2" fmla="*/ 128699 w 192145"/>
                <a:gd name="connsiteY2" fmla="*/ 282813 h 282212"/>
                <a:gd name="connsiteX3" fmla="*/ 105882 w 192145"/>
                <a:gd name="connsiteY3" fmla="*/ 282813 h 282212"/>
                <a:gd name="connsiteX4" fmla="*/ 99577 w 192145"/>
                <a:gd name="connsiteY4" fmla="*/ 277709 h 282212"/>
                <a:gd name="connsiteX5" fmla="*/ 803 w 192145"/>
                <a:gd name="connsiteY5" fmla="*/ 8406 h 282212"/>
                <a:gd name="connsiteX6" fmla="*/ 6207 w 192145"/>
                <a:gd name="connsiteY6" fmla="*/ 0 h 282212"/>
                <a:gd name="connsiteX7" fmla="*/ 36230 w 192145"/>
                <a:gd name="connsiteY7" fmla="*/ 0 h 282212"/>
                <a:gd name="connsiteX8" fmla="*/ 43435 w 192145"/>
                <a:gd name="connsiteY8" fmla="*/ 5704 h 282212"/>
                <a:gd name="connsiteX9" fmla="*/ 112787 w 192145"/>
                <a:gd name="connsiteY9" fmla="*/ 195447 h 282212"/>
                <a:gd name="connsiteX10" fmla="*/ 116690 w 192145"/>
                <a:gd name="connsiteY10" fmla="*/ 198149 h 282212"/>
                <a:gd name="connsiteX11" fmla="*/ 121194 w 192145"/>
                <a:gd name="connsiteY11" fmla="*/ 195447 h 282212"/>
                <a:gd name="connsiteX12" fmla="*/ 167128 w 192145"/>
                <a:gd name="connsiteY12" fmla="*/ 69953 h 282212"/>
                <a:gd name="connsiteX13" fmla="*/ 193248 w 192145"/>
                <a:gd name="connsiteY13" fmla="*/ 117989 h 282212"/>
                <a:gd name="connsiteX14" fmla="*/ 193248 w 192145"/>
                <a:gd name="connsiteY14" fmla="*/ 117989 h 282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2145" h="282212">
                  <a:moveTo>
                    <a:pt x="193248" y="117989"/>
                  </a:moveTo>
                  <a:lnTo>
                    <a:pt x="135004" y="277709"/>
                  </a:lnTo>
                  <a:cubicBezTo>
                    <a:pt x="134404" y="280712"/>
                    <a:pt x="131702" y="282813"/>
                    <a:pt x="128699" y="282813"/>
                  </a:cubicBezTo>
                  <a:lnTo>
                    <a:pt x="105882" y="282813"/>
                  </a:lnTo>
                  <a:cubicBezTo>
                    <a:pt x="102580" y="282813"/>
                    <a:pt x="100778" y="281012"/>
                    <a:pt x="99577" y="277709"/>
                  </a:cubicBezTo>
                  <a:lnTo>
                    <a:pt x="803" y="8406"/>
                  </a:lnTo>
                  <a:cubicBezTo>
                    <a:pt x="-1299" y="3002"/>
                    <a:pt x="803" y="0"/>
                    <a:pt x="6207" y="0"/>
                  </a:cubicBezTo>
                  <a:lnTo>
                    <a:pt x="36230" y="0"/>
                  </a:lnTo>
                  <a:cubicBezTo>
                    <a:pt x="39832" y="0"/>
                    <a:pt x="42835" y="2402"/>
                    <a:pt x="43435" y="5704"/>
                  </a:cubicBezTo>
                  <a:lnTo>
                    <a:pt x="112787" y="195447"/>
                  </a:lnTo>
                  <a:cubicBezTo>
                    <a:pt x="113088" y="197249"/>
                    <a:pt x="114889" y="198450"/>
                    <a:pt x="116690" y="198149"/>
                  </a:cubicBezTo>
                  <a:cubicBezTo>
                    <a:pt x="118792" y="198450"/>
                    <a:pt x="120593" y="197249"/>
                    <a:pt x="121194" y="195447"/>
                  </a:cubicBezTo>
                  <a:lnTo>
                    <a:pt x="167128" y="69953"/>
                  </a:lnTo>
                  <a:lnTo>
                    <a:pt x="193248" y="117989"/>
                  </a:lnTo>
                  <a:lnTo>
                    <a:pt x="193248" y="117989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24" name="Forme libre : forme 223">
              <a:extLst>
                <a:ext uri="{FF2B5EF4-FFF2-40B4-BE49-F238E27FC236}">
                  <a16:creationId xmlns:a16="http://schemas.microsoft.com/office/drawing/2014/main" id="{94C7CC29-813D-4EE1-848B-FE490AB95F14}"/>
                </a:ext>
              </a:extLst>
            </p:cNvPr>
            <p:cNvSpPr/>
            <p:nvPr/>
          </p:nvSpPr>
          <p:spPr>
            <a:xfrm>
              <a:off x="6902066" y="3999101"/>
              <a:ext cx="201152" cy="297224"/>
            </a:xfrm>
            <a:custGeom>
              <a:avLst/>
              <a:gdLst>
                <a:gd name="connsiteX0" fmla="*/ 197872 w 201151"/>
                <a:gd name="connsiteY0" fmla="*/ 166632 h 297224"/>
                <a:gd name="connsiteX1" fmla="*/ 47158 w 201151"/>
                <a:gd name="connsiteY1" fmla="*/ 166632 h 297224"/>
                <a:gd name="connsiteX2" fmla="*/ 40853 w 201151"/>
                <a:gd name="connsiteY2" fmla="*/ 171736 h 297224"/>
                <a:gd name="connsiteX3" fmla="*/ 40853 w 201151"/>
                <a:gd name="connsiteY3" fmla="*/ 172937 h 297224"/>
                <a:gd name="connsiteX4" fmla="*/ 40853 w 201151"/>
                <a:gd name="connsiteY4" fmla="*/ 190049 h 297224"/>
                <a:gd name="connsiteX5" fmla="*/ 60368 w 201151"/>
                <a:gd name="connsiteY5" fmla="*/ 237185 h 297224"/>
                <a:gd name="connsiteX6" fmla="*/ 106903 w 201151"/>
                <a:gd name="connsiteY6" fmla="*/ 257000 h 297224"/>
                <a:gd name="connsiteX7" fmla="*/ 170251 w 201151"/>
                <a:gd name="connsiteY7" fmla="*/ 237185 h 297224"/>
                <a:gd name="connsiteX8" fmla="*/ 177156 w 201151"/>
                <a:gd name="connsiteY8" fmla="*/ 237185 h 297224"/>
                <a:gd name="connsiteX9" fmla="*/ 178057 w 201151"/>
                <a:gd name="connsiteY9" fmla="*/ 238386 h 297224"/>
                <a:gd name="connsiteX10" fmla="*/ 194570 w 201151"/>
                <a:gd name="connsiteY10" fmla="*/ 262404 h 297224"/>
                <a:gd name="connsiteX11" fmla="*/ 194269 w 201151"/>
                <a:gd name="connsiteY11" fmla="*/ 269609 h 297224"/>
                <a:gd name="connsiteX12" fmla="*/ 193068 w 201151"/>
                <a:gd name="connsiteY12" fmla="*/ 270510 h 297224"/>
                <a:gd name="connsiteX13" fmla="*/ 107204 w 201151"/>
                <a:gd name="connsiteY13" fmla="*/ 298131 h 297224"/>
                <a:gd name="connsiteX14" fmla="*/ 31546 w 201151"/>
                <a:gd name="connsiteY14" fmla="*/ 266607 h 297224"/>
                <a:gd name="connsiteX15" fmla="*/ 23 w 201151"/>
                <a:gd name="connsiteY15" fmla="*/ 190950 h 297224"/>
                <a:gd name="connsiteX16" fmla="*/ 23 w 201151"/>
                <a:gd name="connsiteY16" fmla="*/ 101483 h 297224"/>
                <a:gd name="connsiteX17" fmla="*/ 101499 w 201151"/>
                <a:gd name="connsiteY17" fmla="*/ 6 h 297224"/>
                <a:gd name="connsiteX18" fmla="*/ 173554 w 201151"/>
                <a:gd name="connsiteY18" fmla="*/ 30029 h 297224"/>
                <a:gd name="connsiteX19" fmla="*/ 202976 w 201151"/>
                <a:gd name="connsiteY19" fmla="*/ 101483 h 297224"/>
                <a:gd name="connsiteX20" fmla="*/ 202976 w 201151"/>
                <a:gd name="connsiteY20" fmla="*/ 160627 h 297224"/>
                <a:gd name="connsiteX21" fmla="*/ 197272 w 201151"/>
                <a:gd name="connsiteY21" fmla="*/ 166632 h 297224"/>
                <a:gd name="connsiteX22" fmla="*/ 162445 w 201151"/>
                <a:gd name="connsiteY22" fmla="*/ 101783 h 297224"/>
                <a:gd name="connsiteX23" fmla="*/ 102400 w 201151"/>
                <a:gd name="connsiteY23" fmla="*/ 40837 h 297224"/>
                <a:gd name="connsiteX24" fmla="*/ 101499 w 201151"/>
                <a:gd name="connsiteY24" fmla="*/ 40837 h 297224"/>
                <a:gd name="connsiteX25" fmla="*/ 58867 w 201151"/>
                <a:gd name="connsiteY25" fmla="*/ 58550 h 297224"/>
                <a:gd name="connsiteX26" fmla="*/ 41454 w 201151"/>
                <a:gd name="connsiteY26" fmla="*/ 101483 h 297224"/>
                <a:gd name="connsiteX27" fmla="*/ 41454 w 201151"/>
                <a:gd name="connsiteY27" fmla="*/ 120397 h 297224"/>
                <a:gd name="connsiteX28" fmla="*/ 46558 w 201151"/>
                <a:gd name="connsiteY28" fmla="*/ 126401 h 297224"/>
                <a:gd name="connsiteX29" fmla="*/ 47759 w 201151"/>
                <a:gd name="connsiteY29" fmla="*/ 126401 h 297224"/>
                <a:gd name="connsiteX30" fmla="*/ 157942 w 201151"/>
                <a:gd name="connsiteY30" fmla="*/ 126401 h 297224"/>
                <a:gd name="connsiteX31" fmla="*/ 163346 w 201151"/>
                <a:gd name="connsiteY31" fmla="*/ 120397 h 297224"/>
                <a:gd name="connsiteX32" fmla="*/ 162445 w 201151"/>
                <a:gd name="connsiteY32" fmla="*/ 101783 h 297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1151" h="297224">
                  <a:moveTo>
                    <a:pt x="197872" y="166632"/>
                  </a:moveTo>
                  <a:lnTo>
                    <a:pt x="47158" y="166632"/>
                  </a:lnTo>
                  <a:cubicBezTo>
                    <a:pt x="44156" y="166332"/>
                    <a:pt x="41154" y="168433"/>
                    <a:pt x="40853" y="171736"/>
                  </a:cubicBezTo>
                  <a:cubicBezTo>
                    <a:pt x="40853" y="172036"/>
                    <a:pt x="40853" y="172336"/>
                    <a:pt x="40853" y="172937"/>
                  </a:cubicBezTo>
                  <a:lnTo>
                    <a:pt x="40853" y="190049"/>
                  </a:lnTo>
                  <a:cubicBezTo>
                    <a:pt x="40553" y="207763"/>
                    <a:pt x="47458" y="224876"/>
                    <a:pt x="60368" y="237185"/>
                  </a:cubicBezTo>
                  <a:cubicBezTo>
                    <a:pt x="72377" y="249794"/>
                    <a:pt x="89490" y="257000"/>
                    <a:pt x="106903" y="257000"/>
                  </a:cubicBezTo>
                  <a:cubicBezTo>
                    <a:pt x="129420" y="257300"/>
                    <a:pt x="151637" y="250095"/>
                    <a:pt x="170251" y="237185"/>
                  </a:cubicBezTo>
                  <a:cubicBezTo>
                    <a:pt x="172053" y="235384"/>
                    <a:pt x="175055" y="235384"/>
                    <a:pt x="177156" y="237185"/>
                  </a:cubicBezTo>
                  <a:cubicBezTo>
                    <a:pt x="177457" y="237485"/>
                    <a:pt x="177757" y="237785"/>
                    <a:pt x="178057" y="238386"/>
                  </a:cubicBezTo>
                  <a:lnTo>
                    <a:pt x="194570" y="262404"/>
                  </a:lnTo>
                  <a:cubicBezTo>
                    <a:pt x="196671" y="264506"/>
                    <a:pt x="196371" y="267808"/>
                    <a:pt x="194269" y="269609"/>
                  </a:cubicBezTo>
                  <a:cubicBezTo>
                    <a:pt x="193969" y="269910"/>
                    <a:pt x="193369" y="270210"/>
                    <a:pt x="193068" y="270510"/>
                  </a:cubicBezTo>
                  <a:cubicBezTo>
                    <a:pt x="168150" y="288824"/>
                    <a:pt x="138127" y="298431"/>
                    <a:pt x="107204" y="298131"/>
                  </a:cubicBezTo>
                  <a:cubicBezTo>
                    <a:pt x="78682" y="298431"/>
                    <a:pt x="51361" y="287023"/>
                    <a:pt x="31546" y="266607"/>
                  </a:cubicBezTo>
                  <a:cubicBezTo>
                    <a:pt x="10831" y="246792"/>
                    <a:pt x="-578" y="219171"/>
                    <a:pt x="23" y="190950"/>
                  </a:cubicBezTo>
                  <a:lnTo>
                    <a:pt x="23" y="101483"/>
                  </a:lnTo>
                  <a:cubicBezTo>
                    <a:pt x="-278" y="45641"/>
                    <a:pt x="45357" y="306"/>
                    <a:pt x="101499" y="6"/>
                  </a:cubicBezTo>
                  <a:cubicBezTo>
                    <a:pt x="128820" y="-294"/>
                    <a:pt x="154940" y="10514"/>
                    <a:pt x="173554" y="30029"/>
                  </a:cubicBezTo>
                  <a:cubicBezTo>
                    <a:pt x="193068" y="48643"/>
                    <a:pt x="203576" y="74462"/>
                    <a:pt x="202976" y="101483"/>
                  </a:cubicBezTo>
                  <a:lnTo>
                    <a:pt x="202976" y="160627"/>
                  </a:lnTo>
                  <a:cubicBezTo>
                    <a:pt x="202976" y="164530"/>
                    <a:pt x="201175" y="166632"/>
                    <a:pt x="197272" y="166632"/>
                  </a:cubicBezTo>
                  <a:moveTo>
                    <a:pt x="162445" y="101783"/>
                  </a:moveTo>
                  <a:cubicBezTo>
                    <a:pt x="162746" y="68458"/>
                    <a:pt x="135725" y="41137"/>
                    <a:pt x="102400" y="40837"/>
                  </a:cubicBezTo>
                  <a:cubicBezTo>
                    <a:pt x="102100" y="40837"/>
                    <a:pt x="101799" y="40837"/>
                    <a:pt x="101499" y="40837"/>
                  </a:cubicBezTo>
                  <a:cubicBezTo>
                    <a:pt x="85287" y="40537"/>
                    <a:pt x="69975" y="46841"/>
                    <a:pt x="58867" y="58550"/>
                  </a:cubicBezTo>
                  <a:cubicBezTo>
                    <a:pt x="47458" y="69959"/>
                    <a:pt x="41154" y="85270"/>
                    <a:pt x="41454" y="101483"/>
                  </a:cubicBezTo>
                  <a:lnTo>
                    <a:pt x="41454" y="120397"/>
                  </a:lnTo>
                  <a:cubicBezTo>
                    <a:pt x="41154" y="123399"/>
                    <a:pt x="43555" y="126101"/>
                    <a:pt x="46558" y="126401"/>
                  </a:cubicBezTo>
                  <a:cubicBezTo>
                    <a:pt x="46858" y="126401"/>
                    <a:pt x="47158" y="126401"/>
                    <a:pt x="47759" y="126401"/>
                  </a:cubicBezTo>
                  <a:lnTo>
                    <a:pt x="157942" y="126401"/>
                  </a:lnTo>
                  <a:cubicBezTo>
                    <a:pt x="161845" y="126401"/>
                    <a:pt x="163346" y="124300"/>
                    <a:pt x="163346" y="120397"/>
                  </a:cubicBezTo>
                  <a:lnTo>
                    <a:pt x="162445" y="101783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25" name="Forme libre : forme 224">
              <a:extLst>
                <a:ext uri="{FF2B5EF4-FFF2-40B4-BE49-F238E27FC236}">
                  <a16:creationId xmlns:a16="http://schemas.microsoft.com/office/drawing/2014/main" id="{356AA647-C707-493E-97F9-A4C75EC09045}"/>
                </a:ext>
              </a:extLst>
            </p:cNvPr>
            <p:cNvSpPr/>
            <p:nvPr/>
          </p:nvSpPr>
          <p:spPr>
            <a:xfrm>
              <a:off x="7168089" y="4142015"/>
              <a:ext cx="39029" cy="147111"/>
            </a:xfrm>
            <a:custGeom>
              <a:avLst/>
              <a:gdLst>
                <a:gd name="connsiteX0" fmla="*/ 39630 w 39029"/>
                <a:gd name="connsiteY0" fmla="*/ 0 h 147110"/>
                <a:gd name="connsiteX1" fmla="*/ 39630 w 39029"/>
                <a:gd name="connsiteY1" fmla="*/ 143808 h 147110"/>
                <a:gd name="connsiteX2" fmla="*/ 34826 w 39029"/>
                <a:gd name="connsiteY2" fmla="*/ 149813 h 147110"/>
                <a:gd name="connsiteX3" fmla="*/ 33625 w 39029"/>
                <a:gd name="connsiteY3" fmla="*/ 149813 h 147110"/>
                <a:gd name="connsiteX4" fmla="*/ 6005 w 39029"/>
                <a:gd name="connsiteY4" fmla="*/ 149813 h 147110"/>
                <a:gd name="connsiteX5" fmla="*/ 0 w 39029"/>
                <a:gd name="connsiteY5" fmla="*/ 144709 h 147110"/>
                <a:gd name="connsiteX6" fmla="*/ 0 w 39029"/>
                <a:gd name="connsiteY6" fmla="*/ 143508 h 147110"/>
                <a:gd name="connsiteX7" fmla="*/ 0 w 39029"/>
                <a:gd name="connsiteY7" fmla="*/ 26720 h 147110"/>
                <a:gd name="connsiteX8" fmla="*/ 39630 w 39029"/>
                <a:gd name="connsiteY8" fmla="*/ 0 h 147110"/>
                <a:gd name="connsiteX9" fmla="*/ 39630 w 39029"/>
                <a:gd name="connsiteY9" fmla="*/ 0 h 147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029" h="147110">
                  <a:moveTo>
                    <a:pt x="39630" y="0"/>
                  </a:moveTo>
                  <a:lnTo>
                    <a:pt x="39630" y="143808"/>
                  </a:lnTo>
                  <a:cubicBezTo>
                    <a:pt x="39930" y="146811"/>
                    <a:pt x="37829" y="149513"/>
                    <a:pt x="34826" y="149813"/>
                  </a:cubicBezTo>
                  <a:cubicBezTo>
                    <a:pt x="34526" y="149813"/>
                    <a:pt x="33926" y="149813"/>
                    <a:pt x="33625" y="149813"/>
                  </a:cubicBezTo>
                  <a:lnTo>
                    <a:pt x="6005" y="149813"/>
                  </a:lnTo>
                  <a:cubicBezTo>
                    <a:pt x="3002" y="150113"/>
                    <a:pt x="300" y="148012"/>
                    <a:pt x="0" y="144709"/>
                  </a:cubicBezTo>
                  <a:cubicBezTo>
                    <a:pt x="0" y="144409"/>
                    <a:pt x="0" y="144109"/>
                    <a:pt x="0" y="143508"/>
                  </a:cubicBezTo>
                  <a:lnTo>
                    <a:pt x="0" y="26720"/>
                  </a:lnTo>
                  <a:lnTo>
                    <a:pt x="39630" y="0"/>
                  </a:lnTo>
                  <a:lnTo>
                    <a:pt x="39630" y="0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26" name="Forme libre : forme 225">
              <a:extLst>
                <a:ext uri="{FF2B5EF4-FFF2-40B4-BE49-F238E27FC236}">
                  <a16:creationId xmlns:a16="http://schemas.microsoft.com/office/drawing/2014/main" id="{64C7EBFB-4BF0-4855-A0C0-E1B5F1B9A32D}"/>
                </a:ext>
              </a:extLst>
            </p:cNvPr>
            <p:cNvSpPr/>
            <p:nvPr/>
          </p:nvSpPr>
          <p:spPr>
            <a:xfrm>
              <a:off x="7592289" y="3898809"/>
              <a:ext cx="51039" cy="390294"/>
            </a:xfrm>
            <a:custGeom>
              <a:avLst/>
              <a:gdLst>
                <a:gd name="connsiteX0" fmla="*/ 44454 w 51038"/>
                <a:gd name="connsiteY0" fmla="*/ 46558 h 390294"/>
                <a:gd name="connsiteX1" fmla="*/ 25840 w 51038"/>
                <a:gd name="connsiteY1" fmla="*/ 54964 h 390294"/>
                <a:gd name="connsiteX2" fmla="*/ 7827 w 51038"/>
                <a:gd name="connsiteY2" fmla="*/ 46558 h 390294"/>
                <a:gd name="connsiteX3" fmla="*/ 21 w 51038"/>
                <a:gd name="connsiteY3" fmla="*/ 27343 h 390294"/>
                <a:gd name="connsiteX4" fmla="*/ 7827 w 51038"/>
                <a:gd name="connsiteY4" fmla="*/ 7828 h 390294"/>
                <a:gd name="connsiteX5" fmla="*/ 25840 w 51038"/>
                <a:gd name="connsiteY5" fmla="*/ 23 h 390294"/>
                <a:gd name="connsiteX6" fmla="*/ 44454 w 51038"/>
                <a:gd name="connsiteY6" fmla="*/ 7828 h 390294"/>
                <a:gd name="connsiteX7" fmla="*/ 52560 w 51038"/>
                <a:gd name="connsiteY7" fmla="*/ 27343 h 390294"/>
                <a:gd name="connsiteX8" fmla="*/ 44454 w 51038"/>
                <a:gd name="connsiteY8" fmla="*/ 46558 h 390294"/>
                <a:gd name="connsiteX9" fmla="*/ 39651 w 51038"/>
                <a:gd name="connsiteY9" fmla="*/ 392719 h 390294"/>
                <a:gd name="connsiteX10" fmla="*/ 12630 w 51038"/>
                <a:gd name="connsiteY10" fmla="*/ 392719 h 390294"/>
                <a:gd name="connsiteX11" fmla="*/ 6926 w 51038"/>
                <a:gd name="connsiteY11" fmla="*/ 386714 h 390294"/>
                <a:gd name="connsiteX12" fmla="*/ 6926 w 51038"/>
                <a:gd name="connsiteY12" fmla="*/ 112307 h 390294"/>
                <a:gd name="connsiteX13" fmla="*/ 12630 w 51038"/>
                <a:gd name="connsiteY13" fmla="*/ 106603 h 390294"/>
                <a:gd name="connsiteX14" fmla="*/ 39651 w 51038"/>
                <a:gd name="connsiteY14" fmla="*/ 106603 h 390294"/>
                <a:gd name="connsiteX15" fmla="*/ 45655 w 51038"/>
                <a:gd name="connsiteY15" fmla="*/ 112307 h 390294"/>
                <a:gd name="connsiteX16" fmla="*/ 45655 w 51038"/>
                <a:gd name="connsiteY16" fmla="*/ 386414 h 390294"/>
                <a:gd name="connsiteX17" fmla="*/ 40852 w 51038"/>
                <a:gd name="connsiteY17" fmla="*/ 392418 h 390294"/>
                <a:gd name="connsiteX18" fmla="*/ 39651 w 51038"/>
                <a:gd name="connsiteY18" fmla="*/ 392719 h 390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1038" h="390294">
                  <a:moveTo>
                    <a:pt x="44454" y="46558"/>
                  </a:moveTo>
                  <a:cubicBezTo>
                    <a:pt x="39651" y="51962"/>
                    <a:pt x="33046" y="55264"/>
                    <a:pt x="25840" y="54964"/>
                  </a:cubicBezTo>
                  <a:cubicBezTo>
                    <a:pt x="18935" y="54964"/>
                    <a:pt x="12330" y="51962"/>
                    <a:pt x="7827" y="46558"/>
                  </a:cubicBezTo>
                  <a:cubicBezTo>
                    <a:pt x="2723" y="41754"/>
                    <a:pt x="-280" y="34849"/>
                    <a:pt x="21" y="27343"/>
                  </a:cubicBezTo>
                  <a:cubicBezTo>
                    <a:pt x="-280" y="19837"/>
                    <a:pt x="2723" y="12632"/>
                    <a:pt x="7827" y="7828"/>
                  </a:cubicBezTo>
                  <a:cubicBezTo>
                    <a:pt x="12330" y="2424"/>
                    <a:pt x="18935" y="-278"/>
                    <a:pt x="25840" y="23"/>
                  </a:cubicBezTo>
                  <a:cubicBezTo>
                    <a:pt x="32745" y="-278"/>
                    <a:pt x="39651" y="2424"/>
                    <a:pt x="44454" y="7828"/>
                  </a:cubicBezTo>
                  <a:cubicBezTo>
                    <a:pt x="49858" y="12932"/>
                    <a:pt x="52560" y="20138"/>
                    <a:pt x="52560" y="27343"/>
                  </a:cubicBezTo>
                  <a:cubicBezTo>
                    <a:pt x="52260" y="34849"/>
                    <a:pt x="49558" y="41754"/>
                    <a:pt x="44454" y="46558"/>
                  </a:cubicBezTo>
                  <a:moveTo>
                    <a:pt x="39651" y="392719"/>
                  </a:moveTo>
                  <a:lnTo>
                    <a:pt x="12630" y="392719"/>
                  </a:lnTo>
                  <a:cubicBezTo>
                    <a:pt x="8427" y="392719"/>
                    <a:pt x="6926" y="390617"/>
                    <a:pt x="6926" y="386714"/>
                  </a:cubicBezTo>
                  <a:lnTo>
                    <a:pt x="6926" y="112307"/>
                  </a:lnTo>
                  <a:cubicBezTo>
                    <a:pt x="6926" y="108404"/>
                    <a:pt x="8427" y="106603"/>
                    <a:pt x="12630" y="106603"/>
                  </a:cubicBezTo>
                  <a:lnTo>
                    <a:pt x="39651" y="106603"/>
                  </a:lnTo>
                  <a:cubicBezTo>
                    <a:pt x="43553" y="106603"/>
                    <a:pt x="45655" y="108404"/>
                    <a:pt x="45655" y="112307"/>
                  </a:cubicBezTo>
                  <a:lnTo>
                    <a:pt x="45655" y="386414"/>
                  </a:lnTo>
                  <a:cubicBezTo>
                    <a:pt x="45955" y="389416"/>
                    <a:pt x="43854" y="392118"/>
                    <a:pt x="40852" y="392418"/>
                  </a:cubicBezTo>
                  <a:cubicBezTo>
                    <a:pt x="40551" y="392719"/>
                    <a:pt x="39951" y="392719"/>
                    <a:pt x="39651" y="392719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27" name="Forme libre : forme 226">
              <a:extLst>
                <a:ext uri="{FF2B5EF4-FFF2-40B4-BE49-F238E27FC236}">
                  <a16:creationId xmlns:a16="http://schemas.microsoft.com/office/drawing/2014/main" id="{95681AFE-72CC-41F5-82EB-2958FCBCC1CB}"/>
                </a:ext>
              </a:extLst>
            </p:cNvPr>
            <p:cNvSpPr/>
            <p:nvPr/>
          </p:nvSpPr>
          <p:spPr>
            <a:xfrm>
              <a:off x="7927941" y="3999084"/>
              <a:ext cx="201152" cy="297224"/>
            </a:xfrm>
            <a:custGeom>
              <a:avLst/>
              <a:gdLst>
                <a:gd name="connsiteX0" fmla="*/ 197872 w 201151"/>
                <a:gd name="connsiteY0" fmla="*/ 166649 h 297224"/>
                <a:gd name="connsiteX1" fmla="*/ 46858 w 201151"/>
                <a:gd name="connsiteY1" fmla="*/ 166649 h 297224"/>
                <a:gd name="connsiteX2" fmla="*/ 40854 w 201151"/>
                <a:gd name="connsiteY2" fmla="*/ 171452 h 297224"/>
                <a:gd name="connsiteX3" fmla="*/ 40854 w 201151"/>
                <a:gd name="connsiteY3" fmla="*/ 172653 h 297224"/>
                <a:gd name="connsiteX4" fmla="*/ 40854 w 201151"/>
                <a:gd name="connsiteY4" fmla="*/ 189766 h 297224"/>
                <a:gd name="connsiteX5" fmla="*/ 60368 w 201151"/>
                <a:gd name="connsiteY5" fmla="*/ 236902 h 297224"/>
                <a:gd name="connsiteX6" fmla="*/ 107504 w 201151"/>
                <a:gd name="connsiteY6" fmla="*/ 256717 h 297224"/>
                <a:gd name="connsiteX7" fmla="*/ 170852 w 201151"/>
                <a:gd name="connsiteY7" fmla="*/ 236902 h 297224"/>
                <a:gd name="connsiteX8" fmla="*/ 177757 w 201151"/>
                <a:gd name="connsiteY8" fmla="*/ 236902 h 297224"/>
                <a:gd name="connsiteX9" fmla="*/ 178357 w 201151"/>
                <a:gd name="connsiteY9" fmla="*/ 237802 h 297224"/>
                <a:gd name="connsiteX10" fmla="*/ 194870 w 201151"/>
                <a:gd name="connsiteY10" fmla="*/ 261821 h 297224"/>
                <a:gd name="connsiteX11" fmla="*/ 194570 w 201151"/>
                <a:gd name="connsiteY11" fmla="*/ 269026 h 297224"/>
                <a:gd name="connsiteX12" fmla="*/ 193369 w 201151"/>
                <a:gd name="connsiteY12" fmla="*/ 269927 h 297224"/>
                <a:gd name="connsiteX13" fmla="*/ 107504 w 201151"/>
                <a:gd name="connsiteY13" fmla="*/ 297247 h 297224"/>
                <a:gd name="connsiteX14" fmla="*/ 31546 w 201151"/>
                <a:gd name="connsiteY14" fmla="*/ 265724 h 297224"/>
                <a:gd name="connsiteX15" fmla="*/ 23 w 201151"/>
                <a:gd name="connsiteY15" fmla="*/ 190066 h 297224"/>
                <a:gd name="connsiteX16" fmla="*/ 23 w 201151"/>
                <a:gd name="connsiteY16" fmla="*/ 101199 h 297224"/>
                <a:gd name="connsiteX17" fmla="*/ 101499 w 201151"/>
                <a:gd name="connsiteY17" fmla="*/ 23 h 297224"/>
                <a:gd name="connsiteX18" fmla="*/ 101499 w 201151"/>
                <a:gd name="connsiteY18" fmla="*/ 23 h 297224"/>
                <a:gd name="connsiteX19" fmla="*/ 173554 w 201151"/>
                <a:gd name="connsiteY19" fmla="*/ 29746 h 297224"/>
                <a:gd name="connsiteX20" fmla="*/ 202976 w 201151"/>
                <a:gd name="connsiteY20" fmla="*/ 101199 h 297224"/>
                <a:gd name="connsiteX21" fmla="*/ 202976 w 201151"/>
                <a:gd name="connsiteY21" fmla="*/ 160344 h 297224"/>
                <a:gd name="connsiteX22" fmla="*/ 197272 w 201151"/>
                <a:gd name="connsiteY22" fmla="*/ 166349 h 297224"/>
                <a:gd name="connsiteX23" fmla="*/ 162445 w 201151"/>
                <a:gd name="connsiteY23" fmla="*/ 101800 h 297224"/>
                <a:gd name="connsiteX24" fmla="*/ 144732 w 201151"/>
                <a:gd name="connsiteY24" fmla="*/ 58567 h 297224"/>
                <a:gd name="connsiteX25" fmla="*/ 101499 w 201151"/>
                <a:gd name="connsiteY25" fmla="*/ 40854 h 297224"/>
                <a:gd name="connsiteX26" fmla="*/ 58867 w 201151"/>
                <a:gd name="connsiteY26" fmla="*/ 58567 h 297224"/>
                <a:gd name="connsiteX27" fmla="*/ 40553 w 201151"/>
                <a:gd name="connsiteY27" fmla="*/ 101800 h 297224"/>
                <a:gd name="connsiteX28" fmla="*/ 40553 w 201151"/>
                <a:gd name="connsiteY28" fmla="*/ 120714 h 297224"/>
                <a:gd name="connsiteX29" fmla="*/ 45357 w 201151"/>
                <a:gd name="connsiteY29" fmla="*/ 126719 h 297224"/>
                <a:gd name="connsiteX30" fmla="*/ 46558 w 201151"/>
                <a:gd name="connsiteY30" fmla="*/ 126719 h 297224"/>
                <a:gd name="connsiteX31" fmla="*/ 157041 w 201151"/>
                <a:gd name="connsiteY31" fmla="*/ 126719 h 297224"/>
                <a:gd name="connsiteX32" fmla="*/ 162746 w 201151"/>
                <a:gd name="connsiteY32" fmla="*/ 120714 h 297224"/>
                <a:gd name="connsiteX33" fmla="*/ 162746 w 201151"/>
                <a:gd name="connsiteY33" fmla="*/ 101800 h 297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01151" h="297224">
                  <a:moveTo>
                    <a:pt x="197872" y="166649"/>
                  </a:moveTo>
                  <a:lnTo>
                    <a:pt x="46858" y="166649"/>
                  </a:lnTo>
                  <a:cubicBezTo>
                    <a:pt x="43856" y="166349"/>
                    <a:pt x="41154" y="168450"/>
                    <a:pt x="40854" y="171452"/>
                  </a:cubicBezTo>
                  <a:cubicBezTo>
                    <a:pt x="40854" y="171753"/>
                    <a:pt x="40854" y="172353"/>
                    <a:pt x="40854" y="172653"/>
                  </a:cubicBezTo>
                  <a:lnTo>
                    <a:pt x="40854" y="189766"/>
                  </a:lnTo>
                  <a:cubicBezTo>
                    <a:pt x="40553" y="207480"/>
                    <a:pt x="47459" y="224593"/>
                    <a:pt x="60368" y="236902"/>
                  </a:cubicBezTo>
                  <a:cubicBezTo>
                    <a:pt x="72677" y="249812"/>
                    <a:pt x="89790" y="257017"/>
                    <a:pt x="107504" y="256717"/>
                  </a:cubicBezTo>
                  <a:cubicBezTo>
                    <a:pt x="130021" y="257017"/>
                    <a:pt x="152238" y="249812"/>
                    <a:pt x="170852" y="236902"/>
                  </a:cubicBezTo>
                  <a:cubicBezTo>
                    <a:pt x="172953" y="235100"/>
                    <a:pt x="175956" y="235100"/>
                    <a:pt x="177757" y="236902"/>
                  </a:cubicBezTo>
                  <a:cubicBezTo>
                    <a:pt x="178057" y="237202"/>
                    <a:pt x="178357" y="237502"/>
                    <a:pt x="178357" y="237802"/>
                  </a:cubicBezTo>
                  <a:lnTo>
                    <a:pt x="194870" y="261821"/>
                  </a:lnTo>
                  <a:cubicBezTo>
                    <a:pt x="196671" y="263922"/>
                    <a:pt x="196671" y="267225"/>
                    <a:pt x="194570" y="269026"/>
                  </a:cubicBezTo>
                  <a:cubicBezTo>
                    <a:pt x="194269" y="269326"/>
                    <a:pt x="193669" y="269626"/>
                    <a:pt x="193369" y="269927"/>
                  </a:cubicBezTo>
                  <a:cubicBezTo>
                    <a:pt x="168450" y="288241"/>
                    <a:pt x="138427" y="297548"/>
                    <a:pt x="107504" y="297247"/>
                  </a:cubicBezTo>
                  <a:cubicBezTo>
                    <a:pt x="78682" y="297848"/>
                    <a:pt x="51061" y="286139"/>
                    <a:pt x="31546" y="265724"/>
                  </a:cubicBezTo>
                  <a:cubicBezTo>
                    <a:pt x="10831" y="245909"/>
                    <a:pt x="-578" y="218288"/>
                    <a:pt x="23" y="190066"/>
                  </a:cubicBezTo>
                  <a:lnTo>
                    <a:pt x="23" y="101199"/>
                  </a:lnTo>
                  <a:cubicBezTo>
                    <a:pt x="-278" y="45357"/>
                    <a:pt x="45357" y="323"/>
                    <a:pt x="101499" y="23"/>
                  </a:cubicBezTo>
                  <a:lnTo>
                    <a:pt x="101499" y="23"/>
                  </a:lnTo>
                  <a:cubicBezTo>
                    <a:pt x="128820" y="-577"/>
                    <a:pt x="154940" y="10531"/>
                    <a:pt x="173554" y="29746"/>
                  </a:cubicBezTo>
                  <a:cubicBezTo>
                    <a:pt x="193069" y="48360"/>
                    <a:pt x="203576" y="74179"/>
                    <a:pt x="202976" y="101199"/>
                  </a:cubicBezTo>
                  <a:lnTo>
                    <a:pt x="202976" y="160344"/>
                  </a:lnTo>
                  <a:cubicBezTo>
                    <a:pt x="202976" y="164247"/>
                    <a:pt x="201175" y="166349"/>
                    <a:pt x="197272" y="166349"/>
                  </a:cubicBezTo>
                  <a:moveTo>
                    <a:pt x="162445" y="101800"/>
                  </a:moveTo>
                  <a:cubicBezTo>
                    <a:pt x="162746" y="85588"/>
                    <a:pt x="156441" y="69976"/>
                    <a:pt x="144732" y="58567"/>
                  </a:cubicBezTo>
                  <a:cubicBezTo>
                    <a:pt x="133323" y="46858"/>
                    <a:pt x="117711" y="40554"/>
                    <a:pt x="101499" y="40854"/>
                  </a:cubicBezTo>
                  <a:cubicBezTo>
                    <a:pt x="85287" y="40554"/>
                    <a:pt x="69976" y="46858"/>
                    <a:pt x="58867" y="58567"/>
                  </a:cubicBezTo>
                  <a:cubicBezTo>
                    <a:pt x="46858" y="69976"/>
                    <a:pt x="40253" y="85588"/>
                    <a:pt x="40553" y="101800"/>
                  </a:cubicBezTo>
                  <a:lnTo>
                    <a:pt x="40553" y="120714"/>
                  </a:lnTo>
                  <a:cubicBezTo>
                    <a:pt x="40253" y="123716"/>
                    <a:pt x="42355" y="126418"/>
                    <a:pt x="45357" y="126719"/>
                  </a:cubicBezTo>
                  <a:cubicBezTo>
                    <a:pt x="45657" y="126719"/>
                    <a:pt x="46258" y="126719"/>
                    <a:pt x="46558" y="126719"/>
                  </a:cubicBezTo>
                  <a:lnTo>
                    <a:pt x="157041" y="126719"/>
                  </a:lnTo>
                  <a:cubicBezTo>
                    <a:pt x="160944" y="126719"/>
                    <a:pt x="162746" y="124617"/>
                    <a:pt x="162746" y="120714"/>
                  </a:cubicBezTo>
                  <a:lnTo>
                    <a:pt x="162746" y="101800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28" name="Forme libre : forme 227">
              <a:extLst>
                <a:ext uri="{FF2B5EF4-FFF2-40B4-BE49-F238E27FC236}">
                  <a16:creationId xmlns:a16="http://schemas.microsoft.com/office/drawing/2014/main" id="{783B00F1-95A1-4A69-98A5-6B6648439E4A}"/>
                </a:ext>
              </a:extLst>
            </p:cNvPr>
            <p:cNvSpPr/>
            <p:nvPr/>
          </p:nvSpPr>
          <p:spPr>
            <a:xfrm>
              <a:off x="7334113" y="3998799"/>
              <a:ext cx="189143" cy="297224"/>
            </a:xfrm>
            <a:custGeom>
              <a:avLst/>
              <a:gdLst>
                <a:gd name="connsiteX0" fmla="*/ 18016 w 189142"/>
                <a:gd name="connsiteY0" fmla="*/ 238687 h 297224"/>
                <a:gd name="connsiteX1" fmla="*/ 102079 w 189142"/>
                <a:gd name="connsiteY1" fmla="*/ 260003 h 297224"/>
                <a:gd name="connsiteX2" fmla="*/ 135705 w 189142"/>
                <a:gd name="connsiteY2" fmla="*/ 245893 h 297224"/>
                <a:gd name="connsiteX3" fmla="*/ 149815 w 189142"/>
                <a:gd name="connsiteY3" fmla="*/ 212267 h 297224"/>
                <a:gd name="connsiteX4" fmla="*/ 140208 w 189142"/>
                <a:gd name="connsiteY4" fmla="*/ 185847 h 297224"/>
                <a:gd name="connsiteX5" fmla="*/ 116790 w 189142"/>
                <a:gd name="connsiteY5" fmla="*/ 169935 h 297224"/>
                <a:gd name="connsiteX6" fmla="*/ 57646 w 189142"/>
                <a:gd name="connsiteY6" fmla="*/ 153723 h 297224"/>
                <a:gd name="connsiteX7" fmla="*/ 2 w 189142"/>
                <a:gd name="connsiteY7" fmla="*/ 78967 h 297224"/>
                <a:gd name="connsiteX8" fmla="*/ 77761 w 189142"/>
                <a:gd name="connsiteY8" fmla="*/ 7 h 297224"/>
                <a:gd name="connsiteX9" fmla="*/ 79262 w 189142"/>
                <a:gd name="connsiteY9" fmla="*/ 7 h 297224"/>
                <a:gd name="connsiteX10" fmla="*/ 177136 w 189142"/>
                <a:gd name="connsiteY10" fmla="*/ 26427 h 297224"/>
                <a:gd name="connsiteX11" fmla="*/ 179538 w 189142"/>
                <a:gd name="connsiteY11" fmla="*/ 33633 h 297224"/>
                <a:gd name="connsiteX12" fmla="*/ 178637 w 189142"/>
                <a:gd name="connsiteY12" fmla="*/ 34834 h 297224"/>
                <a:gd name="connsiteX13" fmla="*/ 164226 w 189142"/>
                <a:gd name="connsiteY13" fmla="*/ 58852 h 297224"/>
                <a:gd name="connsiteX14" fmla="*/ 156420 w 189142"/>
                <a:gd name="connsiteY14" fmla="*/ 61554 h 297224"/>
                <a:gd name="connsiteX15" fmla="*/ 78361 w 189142"/>
                <a:gd name="connsiteY15" fmla="*/ 39637 h 297224"/>
                <a:gd name="connsiteX16" fmla="*/ 50740 w 189142"/>
                <a:gd name="connsiteY16" fmla="*/ 51046 h 297224"/>
                <a:gd name="connsiteX17" fmla="*/ 40232 w 189142"/>
                <a:gd name="connsiteY17" fmla="*/ 77466 h 297224"/>
                <a:gd name="connsiteX18" fmla="*/ 67553 w 189142"/>
                <a:gd name="connsiteY18" fmla="*/ 112892 h 297224"/>
                <a:gd name="connsiteX19" fmla="*/ 126398 w 189142"/>
                <a:gd name="connsiteY19" fmla="*/ 128504 h 297224"/>
                <a:gd name="connsiteX20" fmla="*/ 172933 w 189142"/>
                <a:gd name="connsiteY20" fmla="*/ 159427 h 297224"/>
                <a:gd name="connsiteX21" fmla="*/ 153418 w 189142"/>
                <a:gd name="connsiteY21" fmla="*/ 282821 h 297224"/>
                <a:gd name="connsiteX22" fmla="*/ 101779 w 189142"/>
                <a:gd name="connsiteY22" fmla="*/ 299633 h 297224"/>
                <a:gd name="connsiteX23" fmla="*/ 101779 w 189142"/>
                <a:gd name="connsiteY23" fmla="*/ 299633 h 297224"/>
                <a:gd name="connsiteX24" fmla="*/ 18016 w 189142"/>
                <a:gd name="connsiteY24" fmla="*/ 238687 h 297224"/>
                <a:gd name="connsiteX25" fmla="*/ 18016 w 189142"/>
                <a:gd name="connsiteY25" fmla="*/ 238687 h 297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9142" h="297224">
                  <a:moveTo>
                    <a:pt x="18016" y="238687"/>
                  </a:moveTo>
                  <a:cubicBezTo>
                    <a:pt x="43835" y="252498"/>
                    <a:pt x="72657" y="259703"/>
                    <a:pt x="102079" y="260003"/>
                  </a:cubicBezTo>
                  <a:cubicBezTo>
                    <a:pt x="114689" y="260304"/>
                    <a:pt x="126998" y="255200"/>
                    <a:pt x="135705" y="245893"/>
                  </a:cubicBezTo>
                  <a:cubicBezTo>
                    <a:pt x="144711" y="237186"/>
                    <a:pt x="149815" y="224877"/>
                    <a:pt x="149815" y="212267"/>
                  </a:cubicBezTo>
                  <a:cubicBezTo>
                    <a:pt x="149515" y="202660"/>
                    <a:pt x="146212" y="193353"/>
                    <a:pt x="140208" y="185847"/>
                  </a:cubicBezTo>
                  <a:cubicBezTo>
                    <a:pt x="134504" y="178042"/>
                    <a:pt x="126097" y="172637"/>
                    <a:pt x="116790" y="169935"/>
                  </a:cubicBezTo>
                  <a:lnTo>
                    <a:pt x="57646" y="153723"/>
                  </a:lnTo>
                  <a:cubicBezTo>
                    <a:pt x="23720" y="144716"/>
                    <a:pt x="2" y="114093"/>
                    <a:pt x="2" y="78967"/>
                  </a:cubicBezTo>
                  <a:cubicBezTo>
                    <a:pt x="-298" y="35734"/>
                    <a:pt x="34228" y="608"/>
                    <a:pt x="77761" y="7"/>
                  </a:cubicBezTo>
                  <a:cubicBezTo>
                    <a:pt x="78361" y="7"/>
                    <a:pt x="78962" y="7"/>
                    <a:pt x="79262" y="7"/>
                  </a:cubicBezTo>
                  <a:cubicBezTo>
                    <a:pt x="113788" y="-293"/>
                    <a:pt x="147413" y="8714"/>
                    <a:pt x="177136" y="26427"/>
                  </a:cubicBezTo>
                  <a:cubicBezTo>
                    <a:pt x="179838" y="27628"/>
                    <a:pt x="181039" y="30931"/>
                    <a:pt x="179538" y="33633"/>
                  </a:cubicBezTo>
                  <a:cubicBezTo>
                    <a:pt x="179237" y="33933"/>
                    <a:pt x="178937" y="34533"/>
                    <a:pt x="178637" y="34834"/>
                  </a:cubicBezTo>
                  <a:lnTo>
                    <a:pt x="164226" y="58852"/>
                  </a:lnTo>
                  <a:cubicBezTo>
                    <a:pt x="162124" y="62755"/>
                    <a:pt x="159122" y="63355"/>
                    <a:pt x="156420" y="61554"/>
                  </a:cubicBezTo>
                  <a:cubicBezTo>
                    <a:pt x="133002" y="47143"/>
                    <a:pt x="105982" y="39637"/>
                    <a:pt x="78361" y="39637"/>
                  </a:cubicBezTo>
                  <a:cubicBezTo>
                    <a:pt x="67853" y="39337"/>
                    <a:pt x="57946" y="43540"/>
                    <a:pt x="50740" y="51046"/>
                  </a:cubicBezTo>
                  <a:cubicBezTo>
                    <a:pt x="43835" y="57951"/>
                    <a:pt x="39932" y="67558"/>
                    <a:pt x="40232" y="77466"/>
                  </a:cubicBezTo>
                  <a:cubicBezTo>
                    <a:pt x="39031" y="94579"/>
                    <a:pt x="50740" y="109890"/>
                    <a:pt x="67553" y="112892"/>
                  </a:cubicBezTo>
                  <a:lnTo>
                    <a:pt x="126398" y="128504"/>
                  </a:lnTo>
                  <a:cubicBezTo>
                    <a:pt x="145011" y="133308"/>
                    <a:pt x="161524" y="144116"/>
                    <a:pt x="172933" y="159427"/>
                  </a:cubicBezTo>
                  <a:cubicBezTo>
                    <a:pt x="201754" y="198757"/>
                    <a:pt x="193048" y="253999"/>
                    <a:pt x="153418" y="282821"/>
                  </a:cubicBezTo>
                  <a:cubicBezTo>
                    <a:pt x="138407" y="293629"/>
                    <a:pt x="120393" y="299633"/>
                    <a:pt x="101779" y="299633"/>
                  </a:cubicBezTo>
                  <a:lnTo>
                    <a:pt x="101779" y="299633"/>
                  </a:lnTo>
                  <a:lnTo>
                    <a:pt x="18016" y="238687"/>
                  </a:lnTo>
                  <a:lnTo>
                    <a:pt x="18016" y="238687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29" name="Forme libre : forme 228">
              <a:extLst>
                <a:ext uri="{FF2B5EF4-FFF2-40B4-BE49-F238E27FC236}">
                  <a16:creationId xmlns:a16="http://schemas.microsoft.com/office/drawing/2014/main" id="{794B9F09-C0B7-401F-8070-8C173E17DB69}"/>
                </a:ext>
              </a:extLst>
            </p:cNvPr>
            <p:cNvSpPr/>
            <p:nvPr/>
          </p:nvSpPr>
          <p:spPr>
            <a:xfrm>
              <a:off x="7700091" y="3921920"/>
              <a:ext cx="180136" cy="219165"/>
            </a:xfrm>
            <a:custGeom>
              <a:avLst/>
              <a:gdLst>
                <a:gd name="connsiteX0" fmla="*/ 44133 w 180136"/>
                <a:gd name="connsiteY0" fmla="*/ 219494 h 219165"/>
                <a:gd name="connsiteX1" fmla="*/ 44133 w 180136"/>
                <a:gd name="connsiteY1" fmla="*/ 132128 h 219165"/>
                <a:gd name="connsiteX2" fmla="*/ 38129 w 180136"/>
                <a:gd name="connsiteY2" fmla="*/ 126424 h 219165"/>
                <a:gd name="connsiteX3" fmla="*/ 6005 w 180136"/>
                <a:gd name="connsiteY3" fmla="*/ 126424 h 219165"/>
                <a:gd name="connsiteX4" fmla="*/ 0 w 180136"/>
                <a:gd name="connsiteY4" fmla="*/ 120419 h 219165"/>
                <a:gd name="connsiteX5" fmla="*/ 0 w 180136"/>
                <a:gd name="connsiteY5" fmla="*/ 91598 h 219165"/>
                <a:gd name="connsiteX6" fmla="*/ 6005 w 180136"/>
                <a:gd name="connsiteY6" fmla="*/ 86193 h 219165"/>
                <a:gd name="connsiteX7" fmla="*/ 37829 w 180136"/>
                <a:gd name="connsiteY7" fmla="*/ 86193 h 219165"/>
                <a:gd name="connsiteX8" fmla="*/ 43833 w 180136"/>
                <a:gd name="connsiteY8" fmla="*/ 81390 h 219165"/>
                <a:gd name="connsiteX9" fmla="*/ 43833 w 180136"/>
                <a:gd name="connsiteY9" fmla="*/ 80189 h 219165"/>
                <a:gd name="connsiteX10" fmla="*/ 43833 w 180136"/>
                <a:gd name="connsiteY10" fmla="*/ 6033 h 219165"/>
                <a:gd name="connsiteX11" fmla="*/ 48937 w 180136"/>
                <a:gd name="connsiteY11" fmla="*/ 28 h 219165"/>
                <a:gd name="connsiteX12" fmla="*/ 50138 w 180136"/>
                <a:gd name="connsiteY12" fmla="*/ 28 h 219165"/>
                <a:gd name="connsiteX13" fmla="*/ 78059 w 180136"/>
                <a:gd name="connsiteY13" fmla="*/ 28 h 219165"/>
                <a:gd name="connsiteX14" fmla="*/ 84064 w 180136"/>
                <a:gd name="connsiteY14" fmla="*/ 5132 h 219165"/>
                <a:gd name="connsiteX15" fmla="*/ 84064 w 180136"/>
                <a:gd name="connsiteY15" fmla="*/ 6333 h 219165"/>
                <a:gd name="connsiteX16" fmla="*/ 84064 w 180136"/>
                <a:gd name="connsiteY16" fmla="*/ 80189 h 219165"/>
                <a:gd name="connsiteX17" fmla="*/ 89167 w 180136"/>
                <a:gd name="connsiteY17" fmla="*/ 86193 h 219165"/>
                <a:gd name="connsiteX18" fmla="*/ 90368 w 180136"/>
                <a:gd name="connsiteY18" fmla="*/ 86193 h 219165"/>
                <a:gd name="connsiteX19" fmla="*/ 174732 w 180136"/>
                <a:gd name="connsiteY19" fmla="*/ 86193 h 219165"/>
                <a:gd name="connsiteX20" fmla="*/ 180737 w 180136"/>
                <a:gd name="connsiteY20" fmla="*/ 91598 h 219165"/>
                <a:gd name="connsiteX21" fmla="*/ 180737 w 180136"/>
                <a:gd name="connsiteY21" fmla="*/ 120419 h 219165"/>
                <a:gd name="connsiteX22" fmla="*/ 174732 w 180136"/>
                <a:gd name="connsiteY22" fmla="*/ 126424 h 219165"/>
                <a:gd name="connsiteX23" fmla="*/ 90068 w 180136"/>
                <a:gd name="connsiteY23" fmla="*/ 126424 h 219165"/>
                <a:gd name="connsiteX24" fmla="*/ 84064 w 180136"/>
                <a:gd name="connsiteY24" fmla="*/ 132128 h 219165"/>
                <a:gd name="connsiteX25" fmla="*/ 84064 w 180136"/>
                <a:gd name="connsiteY25" fmla="*/ 198778 h 219165"/>
                <a:gd name="connsiteX26" fmla="*/ 44133 w 180136"/>
                <a:gd name="connsiteY26" fmla="*/ 219494 h 219165"/>
                <a:gd name="connsiteX27" fmla="*/ 44133 w 180136"/>
                <a:gd name="connsiteY27" fmla="*/ 219494 h 219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80136" h="219165">
                  <a:moveTo>
                    <a:pt x="44133" y="219494"/>
                  </a:moveTo>
                  <a:lnTo>
                    <a:pt x="44133" y="132128"/>
                  </a:lnTo>
                  <a:cubicBezTo>
                    <a:pt x="44133" y="128225"/>
                    <a:pt x="42032" y="126424"/>
                    <a:pt x="38129" y="126424"/>
                  </a:cubicBezTo>
                  <a:lnTo>
                    <a:pt x="6005" y="126424"/>
                  </a:lnTo>
                  <a:cubicBezTo>
                    <a:pt x="1501" y="126424"/>
                    <a:pt x="0" y="124322"/>
                    <a:pt x="0" y="120419"/>
                  </a:cubicBezTo>
                  <a:lnTo>
                    <a:pt x="0" y="91598"/>
                  </a:lnTo>
                  <a:cubicBezTo>
                    <a:pt x="0" y="87695"/>
                    <a:pt x="1501" y="86193"/>
                    <a:pt x="6005" y="86193"/>
                  </a:cubicBezTo>
                  <a:lnTo>
                    <a:pt x="37829" y="86193"/>
                  </a:lnTo>
                  <a:cubicBezTo>
                    <a:pt x="40831" y="86494"/>
                    <a:pt x="43533" y="84392"/>
                    <a:pt x="43833" y="81390"/>
                  </a:cubicBezTo>
                  <a:cubicBezTo>
                    <a:pt x="43833" y="81090"/>
                    <a:pt x="43833" y="80489"/>
                    <a:pt x="43833" y="80189"/>
                  </a:cubicBezTo>
                  <a:lnTo>
                    <a:pt x="43833" y="6033"/>
                  </a:lnTo>
                  <a:cubicBezTo>
                    <a:pt x="43533" y="3031"/>
                    <a:pt x="45935" y="329"/>
                    <a:pt x="48937" y="28"/>
                  </a:cubicBezTo>
                  <a:cubicBezTo>
                    <a:pt x="49237" y="28"/>
                    <a:pt x="49537" y="28"/>
                    <a:pt x="50138" y="28"/>
                  </a:cubicBezTo>
                  <a:lnTo>
                    <a:pt x="78059" y="28"/>
                  </a:lnTo>
                  <a:cubicBezTo>
                    <a:pt x="81061" y="-272"/>
                    <a:pt x="83763" y="1830"/>
                    <a:pt x="84064" y="5132"/>
                  </a:cubicBezTo>
                  <a:cubicBezTo>
                    <a:pt x="84064" y="5433"/>
                    <a:pt x="84064" y="5733"/>
                    <a:pt x="84064" y="6333"/>
                  </a:cubicBezTo>
                  <a:lnTo>
                    <a:pt x="84064" y="80189"/>
                  </a:lnTo>
                  <a:cubicBezTo>
                    <a:pt x="83763" y="83191"/>
                    <a:pt x="86165" y="85893"/>
                    <a:pt x="89167" y="86193"/>
                  </a:cubicBezTo>
                  <a:cubicBezTo>
                    <a:pt x="89468" y="86193"/>
                    <a:pt x="89768" y="86193"/>
                    <a:pt x="90368" y="86193"/>
                  </a:cubicBezTo>
                  <a:lnTo>
                    <a:pt x="174732" y="86193"/>
                  </a:lnTo>
                  <a:cubicBezTo>
                    <a:pt x="179235" y="86193"/>
                    <a:pt x="180737" y="87695"/>
                    <a:pt x="180737" y="91598"/>
                  </a:cubicBezTo>
                  <a:lnTo>
                    <a:pt x="180737" y="120419"/>
                  </a:lnTo>
                  <a:cubicBezTo>
                    <a:pt x="180737" y="124322"/>
                    <a:pt x="179235" y="126424"/>
                    <a:pt x="174732" y="126424"/>
                  </a:cubicBezTo>
                  <a:lnTo>
                    <a:pt x="90068" y="126424"/>
                  </a:lnTo>
                  <a:cubicBezTo>
                    <a:pt x="86165" y="126424"/>
                    <a:pt x="84064" y="128225"/>
                    <a:pt x="84064" y="132128"/>
                  </a:cubicBezTo>
                  <a:lnTo>
                    <a:pt x="84064" y="198778"/>
                  </a:lnTo>
                  <a:lnTo>
                    <a:pt x="44133" y="219494"/>
                  </a:lnTo>
                  <a:lnTo>
                    <a:pt x="44133" y="219494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30" name="Forme libre : forme 229">
              <a:extLst>
                <a:ext uri="{FF2B5EF4-FFF2-40B4-BE49-F238E27FC236}">
                  <a16:creationId xmlns:a16="http://schemas.microsoft.com/office/drawing/2014/main" id="{6D72FB6F-B50E-4304-95C6-AC63A25682B0}"/>
                </a:ext>
              </a:extLst>
            </p:cNvPr>
            <p:cNvSpPr/>
            <p:nvPr/>
          </p:nvSpPr>
          <p:spPr>
            <a:xfrm>
              <a:off x="6709034" y="4369579"/>
              <a:ext cx="183138" cy="288217"/>
            </a:xfrm>
            <a:custGeom>
              <a:avLst/>
              <a:gdLst>
                <a:gd name="connsiteX0" fmla="*/ 156127 w 183138"/>
                <a:gd name="connsiteY0" fmla="*/ 130306 h 288217"/>
                <a:gd name="connsiteX1" fmla="*/ 172039 w 183138"/>
                <a:gd name="connsiteY1" fmla="*/ 79568 h 288217"/>
                <a:gd name="connsiteX2" fmla="*/ 149221 w 183138"/>
                <a:gd name="connsiteY2" fmla="*/ 23425 h 288217"/>
                <a:gd name="connsiteX3" fmla="*/ 93980 w 183138"/>
                <a:gd name="connsiteY3" fmla="*/ 8 h 288217"/>
                <a:gd name="connsiteX4" fmla="*/ 17722 w 183138"/>
                <a:gd name="connsiteY4" fmla="*/ 8 h 288217"/>
                <a:gd name="connsiteX5" fmla="*/ 9 w 183138"/>
                <a:gd name="connsiteY5" fmla="*/ 17721 h 288217"/>
                <a:gd name="connsiteX6" fmla="*/ 9 w 183138"/>
                <a:gd name="connsiteY6" fmla="*/ 19222 h 288217"/>
                <a:gd name="connsiteX7" fmla="*/ 9 w 183138"/>
                <a:gd name="connsiteY7" fmla="*/ 271713 h 288217"/>
                <a:gd name="connsiteX8" fmla="*/ 16821 w 183138"/>
                <a:gd name="connsiteY8" fmla="*/ 290327 h 288217"/>
                <a:gd name="connsiteX9" fmla="*/ 18022 w 183138"/>
                <a:gd name="connsiteY9" fmla="*/ 290327 h 288217"/>
                <a:gd name="connsiteX10" fmla="*/ 103587 w 183138"/>
                <a:gd name="connsiteY10" fmla="*/ 290327 h 288217"/>
                <a:gd name="connsiteX11" fmla="*/ 160930 w 183138"/>
                <a:gd name="connsiteY11" fmla="*/ 266008 h 288217"/>
                <a:gd name="connsiteX12" fmla="*/ 185249 w 183138"/>
                <a:gd name="connsiteY12" fmla="*/ 207164 h 288217"/>
                <a:gd name="connsiteX13" fmla="*/ 185249 w 183138"/>
                <a:gd name="connsiteY13" fmla="*/ 195455 h 288217"/>
                <a:gd name="connsiteX14" fmla="*/ 172339 w 183138"/>
                <a:gd name="connsiteY14" fmla="*/ 148920 h 288217"/>
                <a:gd name="connsiteX15" fmla="*/ 157027 w 183138"/>
                <a:gd name="connsiteY15" fmla="*/ 130006 h 288217"/>
                <a:gd name="connsiteX16" fmla="*/ 111093 w 183138"/>
                <a:gd name="connsiteY16" fmla="*/ 100283 h 288217"/>
                <a:gd name="connsiteX17" fmla="*/ 90977 w 183138"/>
                <a:gd name="connsiteY17" fmla="*/ 107789 h 288217"/>
                <a:gd name="connsiteX18" fmla="*/ 53749 w 183138"/>
                <a:gd name="connsiteY18" fmla="*/ 107789 h 288217"/>
                <a:gd name="connsiteX19" fmla="*/ 53749 w 183138"/>
                <a:gd name="connsiteY19" fmla="*/ 55249 h 288217"/>
                <a:gd name="connsiteX20" fmla="*/ 93980 w 183138"/>
                <a:gd name="connsiteY20" fmla="*/ 55249 h 288217"/>
                <a:gd name="connsiteX21" fmla="*/ 110792 w 183138"/>
                <a:gd name="connsiteY21" fmla="*/ 61854 h 288217"/>
                <a:gd name="connsiteX22" fmla="*/ 117698 w 183138"/>
                <a:gd name="connsiteY22" fmla="*/ 78967 h 288217"/>
                <a:gd name="connsiteX23" fmla="*/ 110192 w 183138"/>
                <a:gd name="connsiteY23" fmla="*/ 99683 h 288217"/>
                <a:gd name="connsiteX24" fmla="*/ 53749 w 183138"/>
                <a:gd name="connsiteY24" fmla="*/ 163931 h 288217"/>
                <a:gd name="connsiteX25" fmla="*/ 99384 w 183138"/>
                <a:gd name="connsiteY25" fmla="*/ 163931 h 288217"/>
                <a:gd name="connsiteX26" fmla="*/ 121000 w 183138"/>
                <a:gd name="connsiteY26" fmla="*/ 173238 h 288217"/>
                <a:gd name="connsiteX27" fmla="*/ 130307 w 183138"/>
                <a:gd name="connsiteY27" fmla="*/ 195755 h 288217"/>
                <a:gd name="connsiteX28" fmla="*/ 130307 w 183138"/>
                <a:gd name="connsiteY28" fmla="*/ 206864 h 288217"/>
                <a:gd name="connsiteX29" fmla="*/ 122201 w 183138"/>
                <a:gd name="connsiteY29" fmla="*/ 226078 h 288217"/>
                <a:gd name="connsiteX30" fmla="*/ 102986 w 183138"/>
                <a:gd name="connsiteY30" fmla="*/ 234485 h 288217"/>
                <a:gd name="connsiteX31" fmla="*/ 53749 w 183138"/>
                <a:gd name="connsiteY31" fmla="*/ 234485 h 288217"/>
                <a:gd name="connsiteX32" fmla="*/ 53749 w 183138"/>
                <a:gd name="connsiteY32" fmla="*/ 163931 h 288217"/>
                <a:gd name="connsiteX33" fmla="*/ 53749 w 183138"/>
                <a:gd name="connsiteY33" fmla="*/ 163931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83138" h="288217">
                  <a:moveTo>
                    <a:pt x="156127" y="130306"/>
                  </a:moveTo>
                  <a:cubicBezTo>
                    <a:pt x="166935" y="115595"/>
                    <a:pt x="172639" y="97882"/>
                    <a:pt x="172039" y="79568"/>
                  </a:cubicBezTo>
                  <a:cubicBezTo>
                    <a:pt x="172339" y="58552"/>
                    <a:pt x="163933" y="38137"/>
                    <a:pt x="149221" y="23425"/>
                  </a:cubicBezTo>
                  <a:cubicBezTo>
                    <a:pt x="134811" y="8114"/>
                    <a:pt x="114996" y="-292"/>
                    <a:pt x="93980" y="8"/>
                  </a:cubicBezTo>
                  <a:lnTo>
                    <a:pt x="17722" y="8"/>
                  </a:lnTo>
                  <a:cubicBezTo>
                    <a:pt x="8115" y="8"/>
                    <a:pt x="309" y="7814"/>
                    <a:pt x="9" y="17721"/>
                  </a:cubicBezTo>
                  <a:cubicBezTo>
                    <a:pt x="9" y="18322"/>
                    <a:pt x="9" y="18922"/>
                    <a:pt x="9" y="19222"/>
                  </a:cubicBezTo>
                  <a:lnTo>
                    <a:pt x="9" y="271713"/>
                  </a:lnTo>
                  <a:cubicBezTo>
                    <a:pt x="-292" y="281620"/>
                    <a:pt x="7214" y="290027"/>
                    <a:pt x="16821" y="290327"/>
                  </a:cubicBezTo>
                  <a:cubicBezTo>
                    <a:pt x="17122" y="290327"/>
                    <a:pt x="17722" y="290327"/>
                    <a:pt x="18022" y="290327"/>
                  </a:cubicBezTo>
                  <a:lnTo>
                    <a:pt x="103587" y="290327"/>
                  </a:lnTo>
                  <a:cubicBezTo>
                    <a:pt x="125203" y="290627"/>
                    <a:pt x="145919" y="281920"/>
                    <a:pt x="160930" y="266008"/>
                  </a:cubicBezTo>
                  <a:cubicBezTo>
                    <a:pt x="176542" y="250697"/>
                    <a:pt x="185249" y="229381"/>
                    <a:pt x="185249" y="207164"/>
                  </a:cubicBezTo>
                  <a:lnTo>
                    <a:pt x="185249" y="195455"/>
                  </a:lnTo>
                  <a:cubicBezTo>
                    <a:pt x="185249" y="178943"/>
                    <a:pt x="180745" y="163031"/>
                    <a:pt x="172339" y="148920"/>
                  </a:cubicBezTo>
                  <a:cubicBezTo>
                    <a:pt x="168136" y="142015"/>
                    <a:pt x="163032" y="135410"/>
                    <a:pt x="157027" y="130006"/>
                  </a:cubicBezTo>
                  <a:moveTo>
                    <a:pt x="111093" y="100283"/>
                  </a:moveTo>
                  <a:cubicBezTo>
                    <a:pt x="105688" y="105687"/>
                    <a:pt x="98483" y="108389"/>
                    <a:pt x="90977" y="107789"/>
                  </a:cubicBezTo>
                  <a:lnTo>
                    <a:pt x="53749" y="107789"/>
                  </a:lnTo>
                  <a:lnTo>
                    <a:pt x="53749" y="55249"/>
                  </a:lnTo>
                  <a:lnTo>
                    <a:pt x="93980" y="55249"/>
                  </a:lnTo>
                  <a:cubicBezTo>
                    <a:pt x="100284" y="54949"/>
                    <a:pt x="106289" y="57351"/>
                    <a:pt x="110792" y="61854"/>
                  </a:cubicBezTo>
                  <a:cubicBezTo>
                    <a:pt x="115596" y="66358"/>
                    <a:pt x="117998" y="72663"/>
                    <a:pt x="117698" y="78967"/>
                  </a:cubicBezTo>
                  <a:cubicBezTo>
                    <a:pt x="117998" y="86773"/>
                    <a:pt x="115296" y="94279"/>
                    <a:pt x="110192" y="99683"/>
                  </a:cubicBezTo>
                  <a:moveTo>
                    <a:pt x="53749" y="163931"/>
                  </a:moveTo>
                  <a:lnTo>
                    <a:pt x="99384" y="163931"/>
                  </a:lnTo>
                  <a:cubicBezTo>
                    <a:pt x="107490" y="163931"/>
                    <a:pt x="115596" y="167234"/>
                    <a:pt x="121000" y="173238"/>
                  </a:cubicBezTo>
                  <a:cubicBezTo>
                    <a:pt x="127005" y="179243"/>
                    <a:pt x="130607" y="187349"/>
                    <a:pt x="130307" y="195755"/>
                  </a:cubicBezTo>
                  <a:lnTo>
                    <a:pt x="130307" y="206864"/>
                  </a:lnTo>
                  <a:cubicBezTo>
                    <a:pt x="130307" y="214069"/>
                    <a:pt x="127305" y="221275"/>
                    <a:pt x="122201" y="226078"/>
                  </a:cubicBezTo>
                  <a:cubicBezTo>
                    <a:pt x="117097" y="231482"/>
                    <a:pt x="110192" y="234485"/>
                    <a:pt x="102986" y="234485"/>
                  </a:cubicBezTo>
                  <a:lnTo>
                    <a:pt x="53749" y="234485"/>
                  </a:lnTo>
                  <a:lnTo>
                    <a:pt x="53749" y="163931"/>
                  </a:lnTo>
                  <a:lnTo>
                    <a:pt x="53749" y="163931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31" name="Forme libre : forme 230">
              <a:extLst>
                <a:ext uri="{FF2B5EF4-FFF2-40B4-BE49-F238E27FC236}">
                  <a16:creationId xmlns:a16="http://schemas.microsoft.com/office/drawing/2014/main" id="{657E3F82-8F6D-4B3C-9CA0-B9A015FFE96A}"/>
                </a:ext>
              </a:extLst>
            </p:cNvPr>
            <p:cNvSpPr/>
            <p:nvPr/>
          </p:nvSpPr>
          <p:spPr>
            <a:xfrm>
              <a:off x="6940511" y="4365677"/>
              <a:ext cx="189143" cy="297224"/>
            </a:xfrm>
            <a:custGeom>
              <a:avLst/>
              <a:gdLst>
                <a:gd name="connsiteX0" fmla="*/ 95479 w 189142"/>
                <a:gd name="connsiteY0" fmla="*/ 6 h 297224"/>
                <a:gd name="connsiteX1" fmla="*/ 27928 w 189142"/>
                <a:gd name="connsiteY1" fmla="*/ 28828 h 297224"/>
                <a:gd name="connsiteX2" fmla="*/ 7 w 189142"/>
                <a:gd name="connsiteY2" fmla="*/ 97880 h 297224"/>
                <a:gd name="connsiteX3" fmla="*/ 7 w 189142"/>
                <a:gd name="connsiteY3" fmla="*/ 200858 h 297224"/>
                <a:gd name="connsiteX4" fmla="*/ 27928 w 189142"/>
                <a:gd name="connsiteY4" fmla="*/ 269910 h 297224"/>
                <a:gd name="connsiteX5" fmla="*/ 162429 w 189142"/>
                <a:gd name="connsiteY5" fmla="*/ 270811 h 297224"/>
                <a:gd name="connsiteX6" fmla="*/ 163330 w 189142"/>
                <a:gd name="connsiteY6" fmla="*/ 269910 h 297224"/>
                <a:gd name="connsiteX7" fmla="*/ 191551 w 189142"/>
                <a:gd name="connsiteY7" fmla="*/ 200858 h 297224"/>
                <a:gd name="connsiteX8" fmla="*/ 191551 w 189142"/>
                <a:gd name="connsiteY8" fmla="*/ 97880 h 297224"/>
                <a:gd name="connsiteX9" fmla="*/ 163330 w 189142"/>
                <a:gd name="connsiteY9" fmla="*/ 28828 h 297224"/>
                <a:gd name="connsiteX10" fmla="*/ 95479 w 189142"/>
                <a:gd name="connsiteY10" fmla="*/ 6 h 297224"/>
                <a:gd name="connsiteX11" fmla="*/ 54348 w 189142"/>
                <a:gd name="connsiteY11" fmla="*/ 97880 h 297224"/>
                <a:gd name="connsiteX12" fmla="*/ 67257 w 189142"/>
                <a:gd name="connsiteY12" fmla="*/ 67858 h 297224"/>
                <a:gd name="connsiteX13" fmla="*/ 125501 w 189142"/>
                <a:gd name="connsiteY13" fmla="*/ 67858 h 297224"/>
                <a:gd name="connsiteX14" fmla="*/ 138411 w 189142"/>
                <a:gd name="connsiteY14" fmla="*/ 97880 h 297224"/>
                <a:gd name="connsiteX15" fmla="*/ 138411 w 189142"/>
                <a:gd name="connsiteY15" fmla="*/ 200858 h 297224"/>
                <a:gd name="connsiteX16" fmla="*/ 125501 w 189142"/>
                <a:gd name="connsiteY16" fmla="*/ 230580 h 297224"/>
                <a:gd name="connsiteX17" fmla="*/ 68458 w 189142"/>
                <a:gd name="connsiteY17" fmla="*/ 232081 h 297224"/>
                <a:gd name="connsiteX18" fmla="*/ 67257 w 189142"/>
                <a:gd name="connsiteY18" fmla="*/ 230580 h 297224"/>
                <a:gd name="connsiteX19" fmla="*/ 54948 w 189142"/>
                <a:gd name="connsiteY19" fmla="*/ 200858 h 297224"/>
                <a:gd name="connsiteX20" fmla="*/ 54348 w 189142"/>
                <a:gd name="connsiteY20" fmla="*/ 97880 h 297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9142" h="297224">
                  <a:moveTo>
                    <a:pt x="95479" y="6"/>
                  </a:moveTo>
                  <a:cubicBezTo>
                    <a:pt x="69959" y="-294"/>
                    <a:pt x="45641" y="9914"/>
                    <a:pt x="27928" y="28828"/>
                  </a:cubicBezTo>
                  <a:cubicBezTo>
                    <a:pt x="9614" y="47142"/>
                    <a:pt x="-294" y="72061"/>
                    <a:pt x="7" y="97880"/>
                  </a:cubicBezTo>
                  <a:lnTo>
                    <a:pt x="7" y="200858"/>
                  </a:lnTo>
                  <a:cubicBezTo>
                    <a:pt x="-294" y="226677"/>
                    <a:pt x="9914" y="251896"/>
                    <a:pt x="27928" y="269910"/>
                  </a:cubicBezTo>
                  <a:cubicBezTo>
                    <a:pt x="64856" y="307738"/>
                    <a:pt x="124901" y="308039"/>
                    <a:pt x="162429" y="270811"/>
                  </a:cubicBezTo>
                  <a:cubicBezTo>
                    <a:pt x="162730" y="270510"/>
                    <a:pt x="163030" y="270210"/>
                    <a:pt x="163330" y="269910"/>
                  </a:cubicBezTo>
                  <a:cubicBezTo>
                    <a:pt x="181644" y="251596"/>
                    <a:pt x="191852" y="226677"/>
                    <a:pt x="191551" y="200858"/>
                  </a:cubicBezTo>
                  <a:lnTo>
                    <a:pt x="191551" y="97880"/>
                  </a:lnTo>
                  <a:cubicBezTo>
                    <a:pt x="191852" y="71761"/>
                    <a:pt x="181644" y="46842"/>
                    <a:pt x="163330" y="28828"/>
                  </a:cubicBezTo>
                  <a:cubicBezTo>
                    <a:pt x="145617" y="9914"/>
                    <a:pt x="120998" y="-294"/>
                    <a:pt x="95479" y="6"/>
                  </a:cubicBezTo>
                  <a:moveTo>
                    <a:pt x="54348" y="97880"/>
                  </a:moveTo>
                  <a:cubicBezTo>
                    <a:pt x="54348" y="86472"/>
                    <a:pt x="58851" y="75363"/>
                    <a:pt x="67257" y="67858"/>
                  </a:cubicBezTo>
                  <a:cubicBezTo>
                    <a:pt x="83470" y="51645"/>
                    <a:pt x="109289" y="51645"/>
                    <a:pt x="125501" y="67858"/>
                  </a:cubicBezTo>
                  <a:cubicBezTo>
                    <a:pt x="133908" y="75663"/>
                    <a:pt x="138411" y="86472"/>
                    <a:pt x="138411" y="97880"/>
                  </a:cubicBezTo>
                  <a:lnTo>
                    <a:pt x="138411" y="200858"/>
                  </a:lnTo>
                  <a:cubicBezTo>
                    <a:pt x="138711" y="212267"/>
                    <a:pt x="133908" y="223075"/>
                    <a:pt x="125501" y="230580"/>
                  </a:cubicBezTo>
                  <a:cubicBezTo>
                    <a:pt x="110190" y="246793"/>
                    <a:pt x="84671" y="247393"/>
                    <a:pt x="68458" y="232081"/>
                  </a:cubicBezTo>
                  <a:cubicBezTo>
                    <a:pt x="67858" y="231781"/>
                    <a:pt x="67558" y="231181"/>
                    <a:pt x="67257" y="230580"/>
                  </a:cubicBezTo>
                  <a:cubicBezTo>
                    <a:pt x="59151" y="222774"/>
                    <a:pt x="54948" y="212267"/>
                    <a:pt x="54948" y="200858"/>
                  </a:cubicBezTo>
                  <a:lnTo>
                    <a:pt x="54348" y="97880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32" name="Forme libre : forme 231">
              <a:extLst>
                <a:ext uri="{FF2B5EF4-FFF2-40B4-BE49-F238E27FC236}">
                  <a16:creationId xmlns:a16="http://schemas.microsoft.com/office/drawing/2014/main" id="{69A7FC27-F494-4135-A2FB-A1B28CFE8C5D}"/>
                </a:ext>
              </a:extLst>
            </p:cNvPr>
            <p:cNvSpPr/>
            <p:nvPr/>
          </p:nvSpPr>
          <p:spPr>
            <a:xfrm>
              <a:off x="7438285" y="4369280"/>
              <a:ext cx="183138" cy="288217"/>
            </a:xfrm>
            <a:custGeom>
              <a:avLst/>
              <a:gdLst>
                <a:gd name="connsiteX0" fmla="*/ 81070 w 183138"/>
                <a:gd name="connsiteY0" fmla="*/ 306 h 288217"/>
                <a:gd name="connsiteX1" fmla="*/ 18923 w 183138"/>
                <a:gd name="connsiteY1" fmla="*/ 306 h 288217"/>
                <a:gd name="connsiteX2" fmla="*/ 8 w 183138"/>
                <a:gd name="connsiteY2" fmla="*/ 16819 h 288217"/>
                <a:gd name="connsiteX3" fmla="*/ 8 w 183138"/>
                <a:gd name="connsiteY3" fmla="*/ 19521 h 288217"/>
                <a:gd name="connsiteX4" fmla="*/ 8 w 183138"/>
                <a:gd name="connsiteY4" fmla="*/ 272011 h 288217"/>
                <a:gd name="connsiteX5" fmla="*/ 17421 w 183138"/>
                <a:gd name="connsiteY5" fmla="*/ 290625 h 288217"/>
                <a:gd name="connsiteX6" fmla="*/ 18622 w 183138"/>
                <a:gd name="connsiteY6" fmla="*/ 290625 h 288217"/>
                <a:gd name="connsiteX7" fmla="*/ 90377 w 183138"/>
                <a:gd name="connsiteY7" fmla="*/ 290625 h 288217"/>
                <a:gd name="connsiteX8" fmla="*/ 157627 w 183138"/>
                <a:gd name="connsiteY8" fmla="*/ 262704 h 288217"/>
                <a:gd name="connsiteX9" fmla="*/ 185248 w 183138"/>
                <a:gd name="connsiteY9" fmla="*/ 194553 h 288217"/>
                <a:gd name="connsiteX10" fmla="*/ 185248 w 183138"/>
                <a:gd name="connsiteY10" fmla="*/ 104485 h 288217"/>
                <a:gd name="connsiteX11" fmla="*/ 154625 w 183138"/>
                <a:gd name="connsiteY11" fmla="*/ 30629 h 288217"/>
                <a:gd name="connsiteX12" fmla="*/ 80769 w 183138"/>
                <a:gd name="connsiteY12" fmla="*/ 6 h 288217"/>
                <a:gd name="connsiteX13" fmla="*/ 89776 w 183138"/>
                <a:gd name="connsiteY13" fmla="*/ 234483 h 288217"/>
                <a:gd name="connsiteX14" fmla="*/ 54950 w 183138"/>
                <a:gd name="connsiteY14" fmla="*/ 234483 h 288217"/>
                <a:gd name="connsiteX15" fmla="*/ 54950 w 183138"/>
                <a:gd name="connsiteY15" fmla="*/ 55848 h 288217"/>
                <a:gd name="connsiteX16" fmla="*/ 80469 w 183138"/>
                <a:gd name="connsiteY16" fmla="*/ 55848 h 288217"/>
                <a:gd name="connsiteX17" fmla="*/ 114995 w 183138"/>
                <a:gd name="connsiteY17" fmla="*/ 70259 h 288217"/>
                <a:gd name="connsiteX18" fmla="*/ 129706 w 183138"/>
                <a:gd name="connsiteY18" fmla="*/ 104485 h 288217"/>
                <a:gd name="connsiteX19" fmla="*/ 129706 w 183138"/>
                <a:gd name="connsiteY19" fmla="*/ 194553 h 288217"/>
                <a:gd name="connsiteX20" fmla="*/ 90076 w 183138"/>
                <a:gd name="connsiteY20" fmla="*/ 233882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3138" h="288217">
                  <a:moveTo>
                    <a:pt x="81070" y="306"/>
                  </a:moveTo>
                  <a:lnTo>
                    <a:pt x="18923" y="306"/>
                  </a:lnTo>
                  <a:cubicBezTo>
                    <a:pt x="9015" y="-294"/>
                    <a:pt x="609" y="7211"/>
                    <a:pt x="8" y="16819"/>
                  </a:cubicBezTo>
                  <a:cubicBezTo>
                    <a:pt x="8" y="17719"/>
                    <a:pt x="8" y="18620"/>
                    <a:pt x="8" y="19521"/>
                  </a:cubicBezTo>
                  <a:lnTo>
                    <a:pt x="8" y="272011"/>
                  </a:lnTo>
                  <a:cubicBezTo>
                    <a:pt x="-292" y="281919"/>
                    <a:pt x="7514" y="290325"/>
                    <a:pt x="17421" y="290625"/>
                  </a:cubicBezTo>
                  <a:cubicBezTo>
                    <a:pt x="17722" y="290625"/>
                    <a:pt x="18322" y="290625"/>
                    <a:pt x="18622" y="290625"/>
                  </a:cubicBezTo>
                  <a:lnTo>
                    <a:pt x="90377" y="290625"/>
                  </a:lnTo>
                  <a:cubicBezTo>
                    <a:pt x="115596" y="290925"/>
                    <a:pt x="139914" y="280718"/>
                    <a:pt x="157627" y="262704"/>
                  </a:cubicBezTo>
                  <a:cubicBezTo>
                    <a:pt x="175941" y="244690"/>
                    <a:pt x="185849" y="220072"/>
                    <a:pt x="185248" y="194553"/>
                  </a:cubicBezTo>
                  <a:lnTo>
                    <a:pt x="185248" y="104485"/>
                  </a:lnTo>
                  <a:cubicBezTo>
                    <a:pt x="185549" y="76864"/>
                    <a:pt x="174440" y="50144"/>
                    <a:pt x="154625" y="30629"/>
                  </a:cubicBezTo>
                  <a:cubicBezTo>
                    <a:pt x="135411" y="10814"/>
                    <a:pt x="108691" y="-294"/>
                    <a:pt x="80769" y="6"/>
                  </a:cubicBezTo>
                  <a:moveTo>
                    <a:pt x="89776" y="234483"/>
                  </a:moveTo>
                  <a:lnTo>
                    <a:pt x="54950" y="234483"/>
                  </a:lnTo>
                  <a:lnTo>
                    <a:pt x="54950" y="55848"/>
                  </a:lnTo>
                  <a:lnTo>
                    <a:pt x="80469" y="55848"/>
                  </a:lnTo>
                  <a:cubicBezTo>
                    <a:pt x="93379" y="55548"/>
                    <a:pt x="105988" y="60952"/>
                    <a:pt x="114995" y="70259"/>
                  </a:cubicBezTo>
                  <a:cubicBezTo>
                    <a:pt x="124603" y="79266"/>
                    <a:pt x="129706" y="91575"/>
                    <a:pt x="129706" y="104485"/>
                  </a:cubicBezTo>
                  <a:lnTo>
                    <a:pt x="129706" y="194553"/>
                  </a:lnTo>
                  <a:cubicBezTo>
                    <a:pt x="129406" y="216169"/>
                    <a:pt x="111693" y="233582"/>
                    <a:pt x="90076" y="233882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33" name="Forme libre : forme 232">
              <a:extLst>
                <a:ext uri="{FF2B5EF4-FFF2-40B4-BE49-F238E27FC236}">
                  <a16:creationId xmlns:a16="http://schemas.microsoft.com/office/drawing/2014/main" id="{AA9F809A-5225-465E-8789-C294D13B4FAC}"/>
                </a:ext>
              </a:extLst>
            </p:cNvPr>
            <p:cNvSpPr/>
            <p:nvPr/>
          </p:nvSpPr>
          <p:spPr>
            <a:xfrm>
              <a:off x="7680868" y="4369878"/>
              <a:ext cx="159120" cy="288217"/>
            </a:xfrm>
            <a:custGeom>
              <a:avLst/>
              <a:gdLst>
                <a:gd name="connsiteX0" fmla="*/ 143517 w 159120"/>
                <a:gd name="connsiteY0" fmla="*/ 233584 h 288217"/>
                <a:gd name="connsiteX1" fmla="*/ 53449 w 159120"/>
                <a:gd name="connsiteY1" fmla="*/ 233584 h 288217"/>
                <a:gd name="connsiteX2" fmla="*/ 53449 w 159120"/>
                <a:gd name="connsiteY2" fmla="*/ 163331 h 288217"/>
                <a:gd name="connsiteX3" fmla="*/ 127905 w 159120"/>
                <a:gd name="connsiteY3" fmla="*/ 163331 h 288217"/>
                <a:gd name="connsiteX4" fmla="*/ 145619 w 159120"/>
                <a:gd name="connsiteY4" fmla="*/ 145318 h 288217"/>
                <a:gd name="connsiteX5" fmla="*/ 145619 w 159120"/>
                <a:gd name="connsiteY5" fmla="*/ 144417 h 288217"/>
                <a:gd name="connsiteX6" fmla="*/ 145619 w 159120"/>
                <a:gd name="connsiteY6" fmla="*/ 125503 h 288217"/>
                <a:gd name="connsiteX7" fmla="*/ 129707 w 159120"/>
                <a:gd name="connsiteY7" fmla="*/ 106889 h 288217"/>
                <a:gd name="connsiteX8" fmla="*/ 127905 w 159120"/>
                <a:gd name="connsiteY8" fmla="*/ 106889 h 288217"/>
                <a:gd name="connsiteX9" fmla="*/ 53449 w 159120"/>
                <a:gd name="connsiteY9" fmla="*/ 106889 h 288217"/>
                <a:gd name="connsiteX10" fmla="*/ 53449 w 159120"/>
                <a:gd name="connsiteY10" fmla="*/ 54349 h 288217"/>
                <a:gd name="connsiteX11" fmla="*/ 140515 w 159120"/>
                <a:gd name="connsiteY11" fmla="*/ 54349 h 288217"/>
                <a:gd name="connsiteX12" fmla="*/ 158528 w 159120"/>
                <a:gd name="connsiteY12" fmla="*/ 36636 h 288217"/>
                <a:gd name="connsiteX13" fmla="*/ 158528 w 159120"/>
                <a:gd name="connsiteY13" fmla="*/ 35735 h 288217"/>
                <a:gd name="connsiteX14" fmla="*/ 158528 w 159120"/>
                <a:gd name="connsiteY14" fmla="*/ 18622 h 288217"/>
                <a:gd name="connsiteX15" fmla="*/ 141716 w 159120"/>
                <a:gd name="connsiteY15" fmla="*/ 8 h 288217"/>
                <a:gd name="connsiteX16" fmla="*/ 140515 w 159120"/>
                <a:gd name="connsiteY16" fmla="*/ 8 h 288217"/>
                <a:gd name="connsiteX17" fmla="*/ 17722 w 159120"/>
                <a:gd name="connsiteY17" fmla="*/ 8 h 288217"/>
                <a:gd name="connsiteX18" fmla="*/ 9 w 159120"/>
                <a:gd name="connsiteY18" fmla="*/ 17421 h 288217"/>
                <a:gd name="connsiteX19" fmla="*/ 9 w 159120"/>
                <a:gd name="connsiteY19" fmla="*/ 18622 h 288217"/>
                <a:gd name="connsiteX20" fmla="*/ 9 w 159120"/>
                <a:gd name="connsiteY20" fmla="*/ 271113 h 288217"/>
                <a:gd name="connsiteX21" fmla="*/ 16822 w 159120"/>
                <a:gd name="connsiteY21" fmla="*/ 289727 h 288217"/>
                <a:gd name="connsiteX22" fmla="*/ 18022 w 159120"/>
                <a:gd name="connsiteY22" fmla="*/ 289727 h 288217"/>
                <a:gd name="connsiteX23" fmla="*/ 143217 w 159120"/>
                <a:gd name="connsiteY23" fmla="*/ 289727 h 288217"/>
                <a:gd name="connsiteX24" fmla="*/ 161231 w 159120"/>
                <a:gd name="connsiteY24" fmla="*/ 272313 h 288217"/>
                <a:gd name="connsiteX25" fmla="*/ 161231 w 159120"/>
                <a:gd name="connsiteY25" fmla="*/ 271113 h 288217"/>
                <a:gd name="connsiteX26" fmla="*/ 161231 w 159120"/>
                <a:gd name="connsiteY26" fmla="*/ 252799 h 288217"/>
                <a:gd name="connsiteX27" fmla="*/ 144418 w 159120"/>
                <a:gd name="connsiteY27" fmla="*/ 234185 h 288217"/>
                <a:gd name="connsiteX28" fmla="*/ 143217 w 159120"/>
                <a:gd name="connsiteY28" fmla="*/ 234185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9120" h="288217">
                  <a:moveTo>
                    <a:pt x="143517" y="233584"/>
                  </a:moveTo>
                  <a:lnTo>
                    <a:pt x="53449" y="233584"/>
                  </a:lnTo>
                  <a:lnTo>
                    <a:pt x="53449" y="163331"/>
                  </a:lnTo>
                  <a:lnTo>
                    <a:pt x="127905" y="163331"/>
                  </a:lnTo>
                  <a:cubicBezTo>
                    <a:pt x="137513" y="163331"/>
                    <a:pt x="145619" y="155525"/>
                    <a:pt x="145619" y="145318"/>
                  </a:cubicBezTo>
                  <a:cubicBezTo>
                    <a:pt x="145619" y="145017"/>
                    <a:pt x="145619" y="144717"/>
                    <a:pt x="145619" y="144417"/>
                  </a:cubicBezTo>
                  <a:lnTo>
                    <a:pt x="145619" y="125503"/>
                  </a:lnTo>
                  <a:cubicBezTo>
                    <a:pt x="146219" y="115895"/>
                    <a:pt x="139014" y="107489"/>
                    <a:pt x="129707" y="106889"/>
                  </a:cubicBezTo>
                  <a:cubicBezTo>
                    <a:pt x="129106" y="106889"/>
                    <a:pt x="128506" y="106889"/>
                    <a:pt x="127905" y="106889"/>
                  </a:cubicBezTo>
                  <a:lnTo>
                    <a:pt x="53449" y="106889"/>
                  </a:lnTo>
                  <a:lnTo>
                    <a:pt x="53449" y="54349"/>
                  </a:lnTo>
                  <a:lnTo>
                    <a:pt x="140515" y="54349"/>
                  </a:lnTo>
                  <a:cubicBezTo>
                    <a:pt x="150422" y="54649"/>
                    <a:pt x="158528" y="46543"/>
                    <a:pt x="158528" y="36636"/>
                  </a:cubicBezTo>
                  <a:cubicBezTo>
                    <a:pt x="158528" y="36335"/>
                    <a:pt x="158528" y="36035"/>
                    <a:pt x="158528" y="35735"/>
                  </a:cubicBezTo>
                  <a:lnTo>
                    <a:pt x="158528" y="18622"/>
                  </a:lnTo>
                  <a:cubicBezTo>
                    <a:pt x="158829" y="8715"/>
                    <a:pt x="151323" y="308"/>
                    <a:pt x="141716" y="8"/>
                  </a:cubicBezTo>
                  <a:cubicBezTo>
                    <a:pt x="141416" y="8"/>
                    <a:pt x="140815" y="8"/>
                    <a:pt x="140515" y="8"/>
                  </a:cubicBezTo>
                  <a:lnTo>
                    <a:pt x="17722" y="8"/>
                  </a:lnTo>
                  <a:cubicBezTo>
                    <a:pt x="8115" y="-292"/>
                    <a:pt x="309" y="7814"/>
                    <a:pt x="9" y="17421"/>
                  </a:cubicBezTo>
                  <a:cubicBezTo>
                    <a:pt x="9" y="17721"/>
                    <a:pt x="9" y="18322"/>
                    <a:pt x="9" y="18622"/>
                  </a:cubicBezTo>
                  <a:lnTo>
                    <a:pt x="9" y="271113"/>
                  </a:lnTo>
                  <a:cubicBezTo>
                    <a:pt x="-291" y="281020"/>
                    <a:pt x="7214" y="289426"/>
                    <a:pt x="16822" y="289727"/>
                  </a:cubicBezTo>
                  <a:cubicBezTo>
                    <a:pt x="17122" y="289727"/>
                    <a:pt x="17722" y="289727"/>
                    <a:pt x="18022" y="289727"/>
                  </a:cubicBezTo>
                  <a:lnTo>
                    <a:pt x="143217" y="289727"/>
                  </a:lnTo>
                  <a:cubicBezTo>
                    <a:pt x="152824" y="290027"/>
                    <a:pt x="160930" y="282221"/>
                    <a:pt x="161231" y="272313"/>
                  </a:cubicBezTo>
                  <a:cubicBezTo>
                    <a:pt x="161231" y="272013"/>
                    <a:pt x="161231" y="271413"/>
                    <a:pt x="161231" y="271113"/>
                  </a:cubicBezTo>
                  <a:lnTo>
                    <a:pt x="161231" y="252799"/>
                  </a:lnTo>
                  <a:cubicBezTo>
                    <a:pt x="161531" y="242891"/>
                    <a:pt x="154025" y="234485"/>
                    <a:pt x="144418" y="234185"/>
                  </a:cubicBezTo>
                  <a:cubicBezTo>
                    <a:pt x="144118" y="234185"/>
                    <a:pt x="143517" y="234185"/>
                    <a:pt x="143217" y="234185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34" name="Forme libre : forme 233">
              <a:extLst>
                <a:ext uri="{FF2B5EF4-FFF2-40B4-BE49-F238E27FC236}">
                  <a16:creationId xmlns:a16="http://schemas.microsoft.com/office/drawing/2014/main" id="{0863FA8E-322B-45F9-9009-6AE9E6FA673B}"/>
                </a:ext>
              </a:extLst>
            </p:cNvPr>
            <p:cNvSpPr/>
            <p:nvPr/>
          </p:nvSpPr>
          <p:spPr>
            <a:xfrm>
              <a:off x="7885323" y="4369575"/>
              <a:ext cx="219166" cy="288217"/>
            </a:xfrm>
            <a:custGeom>
              <a:avLst/>
              <a:gdLst>
                <a:gd name="connsiteX0" fmla="*/ 144418 w 219165"/>
                <a:gd name="connsiteY0" fmla="*/ 13221 h 288217"/>
                <a:gd name="connsiteX1" fmla="*/ 127305 w 219165"/>
                <a:gd name="connsiteY1" fmla="*/ 11 h 288217"/>
                <a:gd name="connsiteX2" fmla="*/ 94280 w 219165"/>
                <a:gd name="connsiteY2" fmla="*/ 11 h 288217"/>
                <a:gd name="connsiteX3" fmla="*/ 76867 w 219165"/>
                <a:gd name="connsiteY3" fmla="*/ 13221 h 288217"/>
                <a:gd name="connsiteX4" fmla="*/ 1510 w 219165"/>
                <a:gd name="connsiteY4" fmla="*/ 264211 h 288217"/>
                <a:gd name="connsiteX5" fmla="*/ 9 w 219165"/>
                <a:gd name="connsiteY5" fmla="*/ 271716 h 288217"/>
                <a:gd name="connsiteX6" fmla="*/ 17121 w 219165"/>
                <a:gd name="connsiteY6" fmla="*/ 290330 h 288217"/>
                <a:gd name="connsiteX7" fmla="*/ 18322 w 219165"/>
                <a:gd name="connsiteY7" fmla="*/ 290330 h 288217"/>
                <a:gd name="connsiteX8" fmla="*/ 36636 w 219165"/>
                <a:gd name="connsiteY8" fmla="*/ 290330 h 288217"/>
                <a:gd name="connsiteX9" fmla="*/ 54050 w 219165"/>
                <a:gd name="connsiteY9" fmla="*/ 277120 h 288217"/>
                <a:gd name="connsiteX10" fmla="*/ 76266 w 219165"/>
                <a:gd name="connsiteY10" fmla="*/ 203565 h 288217"/>
                <a:gd name="connsiteX11" fmla="*/ 144118 w 219165"/>
                <a:gd name="connsiteY11" fmla="*/ 203565 h 288217"/>
                <a:gd name="connsiteX12" fmla="*/ 166635 w 219165"/>
                <a:gd name="connsiteY12" fmla="*/ 277721 h 288217"/>
                <a:gd name="connsiteX13" fmla="*/ 166635 w 219165"/>
                <a:gd name="connsiteY13" fmla="*/ 278922 h 288217"/>
                <a:gd name="connsiteX14" fmla="*/ 183747 w 219165"/>
                <a:gd name="connsiteY14" fmla="*/ 290630 h 288217"/>
                <a:gd name="connsiteX15" fmla="*/ 202361 w 219165"/>
                <a:gd name="connsiteY15" fmla="*/ 290630 h 288217"/>
                <a:gd name="connsiteX16" fmla="*/ 220675 w 219165"/>
                <a:gd name="connsiteY16" fmla="*/ 272617 h 288217"/>
                <a:gd name="connsiteX17" fmla="*/ 220675 w 219165"/>
                <a:gd name="connsiteY17" fmla="*/ 272016 h 288217"/>
                <a:gd name="connsiteX18" fmla="*/ 219474 w 219165"/>
                <a:gd name="connsiteY18" fmla="*/ 265111 h 288217"/>
                <a:gd name="connsiteX19" fmla="*/ 144418 w 219165"/>
                <a:gd name="connsiteY19" fmla="*/ 13221 h 288217"/>
                <a:gd name="connsiteX20" fmla="*/ 131208 w 219165"/>
                <a:gd name="connsiteY20" fmla="*/ 147723 h 288217"/>
                <a:gd name="connsiteX21" fmla="*/ 90677 w 219165"/>
                <a:gd name="connsiteY21" fmla="*/ 147723 h 288217"/>
                <a:gd name="connsiteX22" fmla="*/ 110792 w 219165"/>
                <a:gd name="connsiteY22" fmla="*/ 78370 h 288217"/>
                <a:gd name="connsiteX23" fmla="*/ 131208 w 219165"/>
                <a:gd name="connsiteY23" fmla="*/ 147723 h 288217"/>
                <a:gd name="connsiteX24" fmla="*/ 131208 w 219165"/>
                <a:gd name="connsiteY24" fmla="*/ 147723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19165" h="288217">
                  <a:moveTo>
                    <a:pt x="144418" y="13221"/>
                  </a:moveTo>
                  <a:cubicBezTo>
                    <a:pt x="142316" y="5415"/>
                    <a:pt x="135111" y="11"/>
                    <a:pt x="127305" y="11"/>
                  </a:cubicBezTo>
                  <a:lnTo>
                    <a:pt x="94280" y="11"/>
                  </a:lnTo>
                  <a:cubicBezTo>
                    <a:pt x="86174" y="-289"/>
                    <a:pt x="78968" y="5415"/>
                    <a:pt x="76867" y="13221"/>
                  </a:cubicBezTo>
                  <a:lnTo>
                    <a:pt x="1510" y="264211"/>
                  </a:lnTo>
                  <a:cubicBezTo>
                    <a:pt x="309" y="266612"/>
                    <a:pt x="9" y="269014"/>
                    <a:pt x="9" y="271716"/>
                  </a:cubicBezTo>
                  <a:cubicBezTo>
                    <a:pt x="-292" y="281624"/>
                    <a:pt x="7214" y="290030"/>
                    <a:pt x="17121" y="290330"/>
                  </a:cubicBezTo>
                  <a:cubicBezTo>
                    <a:pt x="17422" y="290330"/>
                    <a:pt x="18022" y="290330"/>
                    <a:pt x="18322" y="290330"/>
                  </a:cubicBezTo>
                  <a:lnTo>
                    <a:pt x="36636" y="290330"/>
                  </a:lnTo>
                  <a:cubicBezTo>
                    <a:pt x="44742" y="290630"/>
                    <a:pt x="51948" y="285226"/>
                    <a:pt x="54050" y="277120"/>
                  </a:cubicBezTo>
                  <a:lnTo>
                    <a:pt x="76266" y="203565"/>
                  </a:lnTo>
                  <a:lnTo>
                    <a:pt x="144118" y="203565"/>
                  </a:lnTo>
                  <a:lnTo>
                    <a:pt x="166635" y="277721"/>
                  </a:lnTo>
                  <a:lnTo>
                    <a:pt x="166635" y="278922"/>
                  </a:lnTo>
                  <a:cubicBezTo>
                    <a:pt x="169337" y="286127"/>
                    <a:pt x="176242" y="290931"/>
                    <a:pt x="183747" y="290630"/>
                  </a:cubicBezTo>
                  <a:lnTo>
                    <a:pt x="202361" y="290630"/>
                  </a:lnTo>
                  <a:cubicBezTo>
                    <a:pt x="212269" y="290630"/>
                    <a:pt x="220375" y="282825"/>
                    <a:pt x="220675" y="272617"/>
                  </a:cubicBezTo>
                  <a:cubicBezTo>
                    <a:pt x="220675" y="272317"/>
                    <a:pt x="220675" y="272317"/>
                    <a:pt x="220675" y="272016"/>
                  </a:cubicBezTo>
                  <a:cubicBezTo>
                    <a:pt x="220675" y="269615"/>
                    <a:pt x="220375" y="267213"/>
                    <a:pt x="219474" y="265111"/>
                  </a:cubicBezTo>
                  <a:lnTo>
                    <a:pt x="144418" y="13221"/>
                  </a:lnTo>
                  <a:close/>
                  <a:moveTo>
                    <a:pt x="131208" y="147723"/>
                  </a:moveTo>
                  <a:lnTo>
                    <a:pt x="90677" y="147723"/>
                  </a:lnTo>
                  <a:lnTo>
                    <a:pt x="110792" y="78370"/>
                  </a:lnTo>
                  <a:lnTo>
                    <a:pt x="131208" y="147723"/>
                  </a:lnTo>
                  <a:lnTo>
                    <a:pt x="131208" y="147723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35" name="Forme libre : forme 234">
              <a:extLst>
                <a:ext uri="{FF2B5EF4-FFF2-40B4-BE49-F238E27FC236}">
                  <a16:creationId xmlns:a16="http://schemas.microsoft.com/office/drawing/2014/main" id="{C227BB27-36AF-449B-A0FB-A7E648520D15}"/>
                </a:ext>
              </a:extLst>
            </p:cNvPr>
            <p:cNvSpPr/>
            <p:nvPr/>
          </p:nvSpPr>
          <p:spPr>
            <a:xfrm>
              <a:off x="8147703" y="4369554"/>
              <a:ext cx="180136" cy="294222"/>
            </a:xfrm>
            <a:custGeom>
              <a:avLst/>
              <a:gdLst>
                <a:gd name="connsiteX0" fmla="*/ 161849 w 180136"/>
                <a:gd name="connsiteY0" fmla="*/ 32 h 294221"/>
                <a:gd name="connsiteX1" fmla="*/ 143835 w 180136"/>
                <a:gd name="connsiteY1" fmla="*/ 32 h 294221"/>
                <a:gd name="connsiteX2" fmla="*/ 125221 w 180136"/>
                <a:gd name="connsiteY2" fmla="*/ 17145 h 294221"/>
                <a:gd name="connsiteX3" fmla="*/ 125221 w 180136"/>
                <a:gd name="connsiteY3" fmla="*/ 19247 h 294221"/>
                <a:gd name="connsiteX4" fmla="*/ 125221 w 180136"/>
                <a:gd name="connsiteY4" fmla="*/ 203286 h 294221"/>
                <a:gd name="connsiteX5" fmla="*/ 115013 w 180136"/>
                <a:gd name="connsiteY5" fmla="*/ 228805 h 294221"/>
                <a:gd name="connsiteX6" fmla="*/ 64575 w 180136"/>
                <a:gd name="connsiteY6" fmla="*/ 227904 h 294221"/>
                <a:gd name="connsiteX7" fmla="*/ 54668 w 180136"/>
                <a:gd name="connsiteY7" fmla="*/ 203286 h 294221"/>
                <a:gd name="connsiteX8" fmla="*/ 54668 w 180136"/>
                <a:gd name="connsiteY8" fmla="*/ 19247 h 294221"/>
                <a:gd name="connsiteX9" fmla="*/ 38155 w 180136"/>
                <a:gd name="connsiteY9" fmla="*/ 633 h 294221"/>
                <a:gd name="connsiteX10" fmla="*/ 36354 w 180136"/>
                <a:gd name="connsiteY10" fmla="*/ 633 h 294221"/>
                <a:gd name="connsiteX11" fmla="*/ 18341 w 180136"/>
                <a:gd name="connsiteY11" fmla="*/ 633 h 294221"/>
                <a:gd name="connsiteX12" fmla="*/ 27 w 180136"/>
                <a:gd name="connsiteY12" fmla="*/ 18046 h 294221"/>
                <a:gd name="connsiteX13" fmla="*/ 27 w 180136"/>
                <a:gd name="connsiteY13" fmla="*/ 19247 h 294221"/>
                <a:gd name="connsiteX14" fmla="*/ 27 w 180136"/>
                <a:gd name="connsiteY14" fmla="*/ 203286 h 294221"/>
                <a:gd name="connsiteX15" fmla="*/ 26146 w 180136"/>
                <a:gd name="connsiteY15" fmla="*/ 268135 h 294221"/>
                <a:gd name="connsiteX16" fmla="*/ 153443 w 180136"/>
                <a:gd name="connsiteY16" fmla="*/ 268735 h 294221"/>
                <a:gd name="connsiteX17" fmla="*/ 154043 w 180136"/>
                <a:gd name="connsiteY17" fmla="*/ 268135 h 294221"/>
                <a:gd name="connsiteX18" fmla="*/ 180163 w 180136"/>
                <a:gd name="connsiteY18" fmla="*/ 203286 h 294221"/>
                <a:gd name="connsiteX19" fmla="*/ 180163 w 180136"/>
                <a:gd name="connsiteY19" fmla="*/ 18947 h 294221"/>
                <a:gd name="connsiteX20" fmla="*/ 163350 w 180136"/>
                <a:gd name="connsiteY20" fmla="*/ 333 h 294221"/>
                <a:gd name="connsiteX21" fmla="*/ 161549 w 180136"/>
                <a:gd name="connsiteY21" fmla="*/ 333 h 294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80136" h="294221">
                  <a:moveTo>
                    <a:pt x="161849" y="32"/>
                  </a:moveTo>
                  <a:lnTo>
                    <a:pt x="143835" y="32"/>
                  </a:lnTo>
                  <a:cubicBezTo>
                    <a:pt x="133928" y="-568"/>
                    <a:pt x="125521" y="7238"/>
                    <a:pt x="125221" y="17145"/>
                  </a:cubicBezTo>
                  <a:cubicBezTo>
                    <a:pt x="125221" y="17746"/>
                    <a:pt x="125221" y="18646"/>
                    <a:pt x="125221" y="19247"/>
                  </a:cubicBezTo>
                  <a:lnTo>
                    <a:pt x="125221" y="203286"/>
                  </a:lnTo>
                  <a:cubicBezTo>
                    <a:pt x="125521" y="212893"/>
                    <a:pt x="121919" y="222200"/>
                    <a:pt x="115013" y="228805"/>
                  </a:cubicBezTo>
                  <a:cubicBezTo>
                    <a:pt x="100903" y="242615"/>
                    <a:pt x="78086" y="242315"/>
                    <a:pt x="64575" y="227904"/>
                  </a:cubicBezTo>
                  <a:cubicBezTo>
                    <a:pt x="58271" y="221299"/>
                    <a:pt x="54668" y="212593"/>
                    <a:pt x="54668" y="203286"/>
                  </a:cubicBezTo>
                  <a:lnTo>
                    <a:pt x="54668" y="19247"/>
                  </a:lnTo>
                  <a:cubicBezTo>
                    <a:pt x="55268" y="9640"/>
                    <a:pt x="48063" y="1233"/>
                    <a:pt x="38155" y="633"/>
                  </a:cubicBezTo>
                  <a:cubicBezTo>
                    <a:pt x="37555" y="633"/>
                    <a:pt x="36954" y="633"/>
                    <a:pt x="36354" y="633"/>
                  </a:cubicBezTo>
                  <a:lnTo>
                    <a:pt x="18341" y="633"/>
                  </a:lnTo>
                  <a:cubicBezTo>
                    <a:pt x="8433" y="333"/>
                    <a:pt x="327" y="8139"/>
                    <a:pt x="27" y="18046"/>
                  </a:cubicBezTo>
                  <a:cubicBezTo>
                    <a:pt x="27" y="18346"/>
                    <a:pt x="27" y="18947"/>
                    <a:pt x="27" y="19247"/>
                  </a:cubicBezTo>
                  <a:lnTo>
                    <a:pt x="27" y="203286"/>
                  </a:lnTo>
                  <a:cubicBezTo>
                    <a:pt x="-574" y="227604"/>
                    <a:pt x="9033" y="251022"/>
                    <a:pt x="26146" y="268135"/>
                  </a:cubicBezTo>
                  <a:cubicBezTo>
                    <a:pt x="60973" y="303862"/>
                    <a:pt x="118016" y="304162"/>
                    <a:pt x="153443" y="268735"/>
                  </a:cubicBezTo>
                  <a:cubicBezTo>
                    <a:pt x="153743" y="268435"/>
                    <a:pt x="154043" y="268135"/>
                    <a:pt x="154043" y="268135"/>
                  </a:cubicBezTo>
                  <a:cubicBezTo>
                    <a:pt x="171156" y="251022"/>
                    <a:pt x="180463" y="227604"/>
                    <a:pt x="180163" y="203286"/>
                  </a:cubicBezTo>
                  <a:lnTo>
                    <a:pt x="180163" y="18947"/>
                  </a:lnTo>
                  <a:cubicBezTo>
                    <a:pt x="180763" y="9039"/>
                    <a:pt x="173257" y="933"/>
                    <a:pt x="163350" y="333"/>
                  </a:cubicBezTo>
                  <a:cubicBezTo>
                    <a:pt x="162750" y="333"/>
                    <a:pt x="162149" y="333"/>
                    <a:pt x="161549" y="333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36" name="Forme libre : forme 235">
              <a:extLst>
                <a:ext uri="{FF2B5EF4-FFF2-40B4-BE49-F238E27FC236}">
                  <a16:creationId xmlns:a16="http://schemas.microsoft.com/office/drawing/2014/main" id="{E6A5DC08-05CA-466A-93F5-CF62315640AF}"/>
                </a:ext>
              </a:extLst>
            </p:cNvPr>
            <p:cNvSpPr/>
            <p:nvPr/>
          </p:nvSpPr>
          <p:spPr>
            <a:xfrm>
              <a:off x="8374774" y="4369858"/>
              <a:ext cx="189143" cy="285215"/>
            </a:xfrm>
            <a:custGeom>
              <a:avLst/>
              <a:gdLst>
                <a:gd name="connsiteX0" fmla="*/ 124821 w 189142"/>
                <a:gd name="connsiteY0" fmla="*/ 143236 h 285215"/>
                <a:gd name="connsiteX1" fmla="*/ 187869 w 189142"/>
                <a:gd name="connsiteY1" fmla="*/ 25848 h 285215"/>
                <a:gd name="connsiteX2" fmla="*/ 189070 w 189142"/>
                <a:gd name="connsiteY2" fmla="*/ 22545 h 285215"/>
                <a:gd name="connsiteX3" fmla="*/ 185767 w 189142"/>
                <a:gd name="connsiteY3" fmla="*/ 6633 h 285215"/>
                <a:gd name="connsiteX4" fmla="*/ 171657 w 189142"/>
                <a:gd name="connsiteY4" fmla="*/ 28 h 285215"/>
                <a:gd name="connsiteX5" fmla="*/ 153343 w 189142"/>
                <a:gd name="connsiteY5" fmla="*/ 28 h 285215"/>
                <a:gd name="connsiteX6" fmla="*/ 137131 w 189142"/>
                <a:gd name="connsiteY6" fmla="*/ 10536 h 285215"/>
                <a:gd name="connsiteX7" fmla="*/ 94799 w 189142"/>
                <a:gd name="connsiteY7" fmla="*/ 88895 h 285215"/>
                <a:gd name="connsiteX8" fmla="*/ 52767 w 189142"/>
                <a:gd name="connsiteY8" fmla="*/ 11137 h 285215"/>
                <a:gd name="connsiteX9" fmla="*/ 36254 w 189142"/>
                <a:gd name="connsiteY9" fmla="*/ 28 h 285215"/>
                <a:gd name="connsiteX10" fmla="*/ 18241 w 189142"/>
                <a:gd name="connsiteY10" fmla="*/ 28 h 285215"/>
                <a:gd name="connsiteX11" fmla="*/ 3830 w 189142"/>
                <a:gd name="connsiteY11" fmla="*/ 6033 h 285215"/>
                <a:gd name="connsiteX12" fmla="*/ 828 w 189142"/>
                <a:gd name="connsiteY12" fmla="*/ 22545 h 285215"/>
                <a:gd name="connsiteX13" fmla="*/ 2028 w 189142"/>
                <a:gd name="connsiteY13" fmla="*/ 25848 h 285215"/>
                <a:gd name="connsiteX14" fmla="*/ 65076 w 189142"/>
                <a:gd name="connsiteY14" fmla="*/ 143236 h 285215"/>
                <a:gd name="connsiteX15" fmla="*/ 2028 w 189142"/>
                <a:gd name="connsiteY15" fmla="*/ 259724 h 285215"/>
                <a:gd name="connsiteX16" fmla="*/ 1128 w 189142"/>
                <a:gd name="connsiteY16" fmla="*/ 262126 h 285215"/>
                <a:gd name="connsiteX17" fmla="*/ 3530 w 189142"/>
                <a:gd name="connsiteY17" fmla="*/ 278939 h 285215"/>
                <a:gd name="connsiteX18" fmla="*/ 18541 w 189142"/>
                <a:gd name="connsiteY18" fmla="*/ 286144 h 285215"/>
                <a:gd name="connsiteX19" fmla="*/ 37155 w 189142"/>
                <a:gd name="connsiteY19" fmla="*/ 286144 h 285215"/>
                <a:gd name="connsiteX20" fmla="*/ 53367 w 189142"/>
                <a:gd name="connsiteY20" fmla="*/ 275036 h 285215"/>
                <a:gd name="connsiteX21" fmla="*/ 94799 w 189142"/>
                <a:gd name="connsiteY21" fmla="*/ 197877 h 285215"/>
                <a:gd name="connsiteX22" fmla="*/ 136230 w 189142"/>
                <a:gd name="connsiteY22" fmla="*/ 274735 h 285215"/>
                <a:gd name="connsiteX23" fmla="*/ 152742 w 189142"/>
                <a:gd name="connsiteY23" fmla="*/ 285844 h 285215"/>
                <a:gd name="connsiteX24" fmla="*/ 171356 w 189142"/>
                <a:gd name="connsiteY24" fmla="*/ 285844 h 285215"/>
                <a:gd name="connsiteX25" fmla="*/ 186068 w 189142"/>
                <a:gd name="connsiteY25" fmla="*/ 278638 h 285215"/>
                <a:gd name="connsiteX26" fmla="*/ 188469 w 189142"/>
                <a:gd name="connsiteY26" fmla="*/ 261225 h 285215"/>
                <a:gd name="connsiteX27" fmla="*/ 124821 w 189142"/>
                <a:gd name="connsiteY27" fmla="*/ 143236 h 285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89142" h="285215">
                  <a:moveTo>
                    <a:pt x="124821" y="143236"/>
                  </a:moveTo>
                  <a:lnTo>
                    <a:pt x="187869" y="25848"/>
                  </a:lnTo>
                  <a:lnTo>
                    <a:pt x="189070" y="22545"/>
                  </a:lnTo>
                  <a:cubicBezTo>
                    <a:pt x="190571" y="16841"/>
                    <a:pt x="189370" y="11137"/>
                    <a:pt x="185767" y="6633"/>
                  </a:cubicBezTo>
                  <a:cubicBezTo>
                    <a:pt x="182465" y="2430"/>
                    <a:pt x="177061" y="-272"/>
                    <a:pt x="171657" y="28"/>
                  </a:cubicBezTo>
                  <a:lnTo>
                    <a:pt x="153343" y="28"/>
                  </a:lnTo>
                  <a:cubicBezTo>
                    <a:pt x="146137" y="-272"/>
                    <a:pt x="139833" y="3931"/>
                    <a:pt x="137131" y="10536"/>
                  </a:cubicBezTo>
                  <a:lnTo>
                    <a:pt x="94799" y="88895"/>
                  </a:lnTo>
                  <a:lnTo>
                    <a:pt x="52767" y="11137"/>
                  </a:lnTo>
                  <a:cubicBezTo>
                    <a:pt x="50065" y="4231"/>
                    <a:pt x="43460" y="28"/>
                    <a:pt x="36254" y="28"/>
                  </a:cubicBezTo>
                  <a:lnTo>
                    <a:pt x="18241" y="28"/>
                  </a:lnTo>
                  <a:cubicBezTo>
                    <a:pt x="12837" y="-272"/>
                    <a:pt x="7433" y="1830"/>
                    <a:pt x="3830" y="6033"/>
                  </a:cubicBezTo>
                  <a:cubicBezTo>
                    <a:pt x="227" y="10836"/>
                    <a:pt x="-974" y="16841"/>
                    <a:pt x="828" y="22545"/>
                  </a:cubicBezTo>
                  <a:lnTo>
                    <a:pt x="2028" y="25848"/>
                  </a:lnTo>
                  <a:lnTo>
                    <a:pt x="65076" y="143236"/>
                  </a:lnTo>
                  <a:lnTo>
                    <a:pt x="2028" y="259724"/>
                  </a:lnTo>
                  <a:lnTo>
                    <a:pt x="1128" y="262126"/>
                  </a:lnTo>
                  <a:cubicBezTo>
                    <a:pt x="-673" y="267830"/>
                    <a:pt x="227" y="274135"/>
                    <a:pt x="3530" y="278939"/>
                  </a:cubicBezTo>
                  <a:cubicBezTo>
                    <a:pt x="7132" y="283742"/>
                    <a:pt x="12536" y="286144"/>
                    <a:pt x="18541" y="286144"/>
                  </a:cubicBezTo>
                  <a:lnTo>
                    <a:pt x="37155" y="286144"/>
                  </a:lnTo>
                  <a:cubicBezTo>
                    <a:pt x="44361" y="286144"/>
                    <a:pt x="50665" y="281941"/>
                    <a:pt x="53367" y="275036"/>
                  </a:cubicBezTo>
                  <a:lnTo>
                    <a:pt x="94799" y="197877"/>
                  </a:lnTo>
                  <a:lnTo>
                    <a:pt x="136230" y="274735"/>
                  </a:lnTo>
                  <a:cubicBezTo>
                    <a:pt x="138932" y="281641"/>
                    <a:pt x="145537" y="285844"/>
                    <a:pt x="152742" y="285844"/>
                  </a:cubicBezTo>
                  <a:lnTo>
                    <a:pt x="171356" y="285844"/>
                  </a:lnTo>
                  <a:cubicBezTo>
                    <a:pt x="177061" y="286144"/>
                    <a:pt x="182765" y="283442"/>
                    <a:pt x="186068" y="278638"/>
                  </a:cubicBezTo>
                  <a:cubicBezTo>
                    <a:pt x="189670" y="273534"/>
                    <a:pt x="190571" y="267230"/>
                    <a:pt x="188469" y="261225"/>
                  </a:cubicBezTo>
                  <a:lnTo>
                    <a:pt x="124821" y="143236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37" name="Forme libre : forme 236">
              <a:extLst>
                <a:ext uri="{FF2B5EF4-FFF2-40B4-BE49-F238E27FC236}">
                  <a16:creationId xmlns:a16="http://schemas.microsoft.com/office/drawing/2014/main" id="{327DF8B0-8D2F-43F4-8A40-25C724D49306}"/>
                </a:ext>
              </a:extLst>
            </p:cNvPr>
            <p:cNvSpPr/>
            <p:nvPr/>
          </p:nvSpPr>
          <p:spPr>
            <a:xfrm>
              <a:off x="7191198" y="4369210"/>
              <a:ext cx="186141" cy="288217"/>
            </a:xfrm>
            <a:custGeom>
              <a:avLst/>
              <a:gdLst>
                <a:gd name="connsiteX0" fmla="*/ 186149 w 186140"/>
                <a:gd name="connsiteY0" fmla="*/ 264275 h 288217"/>
                <a:gd name="connsiteX1" fmla="*/ 136612 w 186140"/>
                <a:gd name="connsiteY1" fmla="*/ 167903 h 288217"/>
                <a:gd name="connsiteX2" fmla="*/ 154025 w 186140"/>
                <a:gd name="connsiteY2" fmla="*/ 154693 h 288217"/>
                <a:gd name="connsiteX3" fmla="*/ 177443 w 186140"/>
                <a:gd name="connsiteY3" fmla="*/ 97049 h 288217"/>
                <a:gd name="connsiteX4" fmla="*/ 177443 w 186140"/>
                <a:gd name="connsiteY4" fmla="*/ 82038 h 288217"/>
                <a:gd name="connsiteX5" fmla="*/ 154626 w 186140"/>
                <a:gd name="connsiteY5" fmla="*/ 23794 h 288217"/>
                <a:gd name="connsiteX6" fmla="*/ 98183 w 186140"/>
                <a:gd name="connsiteY6" fmla="*/ 76 h 288217"/>
                <a:gd name="connsiteX7" fmla="*/ 18923 w 186140"/>
                <a:gd name="connsiteY7" fmla="*/ 76 h 288217"/>
                <a:gd name="connsiteX8" fmla="*/ 9 w 186140"/>
                <a:gd name="connsiteY8" fmla="*/ 16288 h 288217"/>
                <a:gd name="connsiteX9" fmla="*/ 9 w 186140"/>
                <a:gd name="connsiteY9" fmla="*/ 19290 h 288217"/>
                <a:gd name="connsiteX10" fmla="*/ 9 w 186140"/>
                <a:gd name="connsiteY10" fmla="*/ 271781 h 288217"/>
                <a:gd name="connsiteX11" fmla="*/ 16821 w 186140"/>
                <a:gd name="connsiteY11" fmla="*/ 290395 h 288217"/>
                <a:gd name="connsiteX12" fmla="*/ 18022 w 186140"/>
                <a:gd name="connsiteY12" fmla="*/ 290395 h 288217"/>
                <a:gd name="connsiteX13" fmla="*/ 36036 w 186140"/>
                <a:gd name="connsiteY13" fmla="*/ 290395 h 288217"/>
                <a:gd name="connsiteX14" fmla="*/ 54050 w 186140"/>
                <a:gd name="connsiteY14" fmla="*/ 272381 h 288217"/>
                <a:gd name="connsiteX15" fmla="*/ 54050 w 186140"/>
                <a:gd name="connsiteY15" fmla="*/ 271781 h 288217"/>
                <a:gd name="connsiteX16" fmla="*/ 54050 w 186140"/>
                <a:gd name="connsiteY16" fmla="*/ 178410 h 288217"/>
                <a:gd name="connsiteX17" fmla="*/ 83171 w 186140"/>
                <a:gd name="connsiteY17" fmla="*/ 178410 h 288217"/>
                <a:gd name="connsiteX18" fmla="*/ 133910 w 186140"/>
                <a:gd name="connsiteY18" fmla="*/ 278086 h 288217"/>
                <a:gd name="connsiteX19" fmla="*/ 150422 w 186140"/>
                <a:gd name="connsiteY19" fmla="*/ 289494 h 288217"/>
                <a:gd name="connsiteX20" fmla="*/ 169036 w 186140"/>
                <a:gd name="connsiteY20" fmla="*/ 289494 h 288217"/>
                <a:gd name="connsiteX21" fmla="*/ 183747 w 186140"/>
                <a:gd name="connsiteY21" fmla="*/ 282289 h 288217"/>
                <a:gd name="connsiteX22" fmla="*/ 186149 w 186140"/>
                <a:gd name="connsiteY22" fmla="*/ 265176 h 288217"/>
                <a:gd name="connsiteX23" fmla="*/ 186149 w 186140"/>
                <a:gd name="connsiteY23" fmla="*/ 265176 h 288217"/>
                <a:gd name="connsiteX24" fmla="*/ 123402 w 186140"/>
                <a:gd name="connsiteY24" fmla="*/ 83539 h 288217"/>
                <a:gd name="connsiteX25" fmla="*/ 123402 w 186140"/>
                <a:gd name="connsiteY25" fmla="*/ 97950 h 288217"/>
                <a:gd name="connsiteX26" fmla="*/ 97582 w 186140"/>
                <a:gd name="connsiteY26" fmla="*/ 124370 h 288217"/>
                <a:gd name="connsiteX27" fmla="*/ 54050 w 186140"/>
                <a:gd name="connsiteY27" fmla="*/ 124370 h 288217"/>
                <a:gd name="connsiteX28" fmla="*/ 54050 w 186140"/>
                <a:gd name="connsiteY28" fmla="*/ 56218 h 288217"/>
                <a:gd name="connsiteX29" fmla="*/ 97582 w 186140"/>
                <a:gd name="connsiteY29" fmla="*/ 56218 h 288217"/>
                <a:gd name="connsiteX30" fmla="*/ 115296 w 186140"/>
                <a:gd name="connsiteY30" fmla="*/ 63424 h 288217"/>
                <a:gd name="connsiteX31" fmla="*/ 123102 w 186140"/>
                <a:gd name="connsiteY31" fmla="*/ 82338 h 28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86140" h="288217">
                  <a:moveTo>
                    <a:pt x="186149" y="264275"/>
                  </a:moveTo>
                  <a:lnTo>
                    <a:pt x="136612" y="167903"/>
                  </a:lnTo>
                  <a:cubicBezTo>
                    <a:pt x="142917" y="164300"/>
                    <a:pt x="148621" y="159796"/>
                    <a:pt x="154025" y="154693"/>
                  </a:cubicBezTo>
                  <a:cubicBezTo>
                    <a:pt x="169337" y="139681"/>
                    <a:pt x="177743" y="118665"/>
                    <a:pt x="177443" y="97049"/>
                  </a:cubicBezTo>
                  <a:lnTo>
                    <a:pt x="177443" y="82038"/>
                  </a:lnTo>
                  <a:cubicBezTo>
                    <a:pt x="178043" y="60422"/>
                    <a:pt x="169637" y="39105"/>
                    <a:pt x="154626" y="23794"/>
                  </a:cubicBezTo>
                  <a:cubicBezTo>
                    <a:pt x="139914" y="8182"/>
                    <a:pt x="119499" y="-224"/>
                    <a:pt x="98183" y="76"/>
                  </a:cubicBezTo>
                  <a:lnTo>
                    <a:pt x="18923" y="76"/>
                  </a:lnTo>
                  <a:cubicBezTo>
                    <a:pt x="9316" y="-825"/>
                    <a:pt x="909" y="6381"/>
                    <a:pt x="9" y="16288"/>
                  </a:cubicBezTo>
                  <a:cubicBezTo>
                    <a:pt x="9" y="17189"/>
                    <a:pt x="9" y="18390"/>
                    <a:pt x="9" y="19290"/>
                  </a:cubicBezTo>
                  <a:lnTo>
                    <a:pt x="9" y="271781"/>
                  </a:lnTo>
                  <a:cubicBezTo>
                    <a:pt x="-292" y="281688"/>
                    <a:pt x="7214" y="290095"/>
                    <a:pt x="16821" y="290395"/>
                  </a:cubicBezTo>
                  <a:cubicBezTo>
                    <a:pt x="17122" y="290395"/>
                    <a:pt x="17722" y="290395"/>
                    <a:pt x="18022" y="290395"/>
                  </a:cubicBezTo>
                  <a:lnTo>
                    <a:pt x="36036" y="290395"/>
                  </a:lnTo>
                  <a:cubicBezTo>
                    <a:pt x="45943" y="290395"/>
                    <a:pt x="54050" y="282589"/>
                    <a:pt x="54050" y="272381"/>
                  </a:cubicBezTo>
                  <a:cubicBezTo>
                    <a:pt x="54050" y="272081"/>
                    <a:pt x="54050" y="272081"/>
                    <a:pt x="54050" y="271781"/>
                  </a:cubicBezTo>
                  <a:lnTo>
                    <a:pt x="54050" y="178410"/>
                  </a:lnTo>
                  <a:lnTo>
                    <a:pt x="83171" y="178410"/>
                  </a:lnTo>
                  <a:lnTo>
                    <a:pt x="133910" y="278086"/>
                  </a:lnTo>
                  <a:cubicBezTo>
                    <a:pt x="136612" y="284991"/>
                    <a:pt x="143217" y="289494"/>
                    <a:pt x="150422" y="289494"/>
                  </a:cubicBezTo>
                  <a:lnTo>
                    <a:pt x="169036" y="289494"/>
                  </a:lnTo>
                  <a:cubicBezTo>
                    <a:pt x="174741" y="289795"/>
                    <a:pt x="180445" y="287092"/>
                    <a:pt x="183747" y="282289"/>
                  </a:cubicBezTo>
                  <a:cubicBezTo>
                    <a:pt x="187350" y="277185"/>
                    <a:pt x="188251" y="270880"/>
                    <a:pt x="186149" y="265176"/>
                  </a:cubicBezTo>
                  <a:lnTo>
                    <a:pt x="186149" y="265176"/>
                  </a:lnTo>
                  <a:moveTo>
                    <a:pt x="123402" y="83539"/>
                  </a:moveTo>
                  <a:lnTo>
                    <a:pt x="123402" y="97950"/>
                  </a:lnTo>
                  <a:cubicBezTo>
                    <a:pt x="123402" y="112361"/>
                    <a:pt x="111693" y="124370"/>
                    <a:pt x="97582" y="124370"/>
                  </a:cubicBezTo>
                  <a:lnTo>
                    <a:pt x="54050" y="124370"/>
                  </a:lnTo>
                  <a:lnTo>
                    <a:pt x="54050" y="56218"/>
                  </a:lnTo>
                  <a:lnTo>
                    <a:pt x="97582" y="56218"/>
                  </a:lnTo>
                  <a:cubicBezTo>
                    <a:pt x="104187" y="55918"/>
                    <a:pt x="110492" y="58620"/>
                    <a:pt x="115296" y="63424"/>
                  </a:cubicBezTo>
                  <a:cubicBezTo>
                    <a:pt x="120400" y="68227"/>
                    <a:pt x="123402" y="75133"/>
                    <a:pt x="123102" y="82338"/>
                  </a:cubicBezTo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38" name="Forme libre : forme 237">
              <a:extLst>
                <a:ext uri="{FF2B5EF4-FFF2-40B4-BE49-F238E27FC236}">
                  <a16:creationId xmlns:a16="http://schemas.microsoft.com/office/drawing/2014/main" id="{EE1A81AD-847E-4805-B99F-AB281DC9C67A}"/>
                </a:ext>
              </a:extLst>
            </p:cNvPr>
            <p:cNvSpPr/>
            <p:nvPr/>
          </p:nvSpPr>
          <p:spPr>
            <a:xfrm>
              <a:off x="6485374" y="4373489"/>
              <a:ext cx="60045" cy="120091"/>
            </a:xfrm>
            <a:custGeom>
              <a:avLst/>
              <a:gdLst>
                <a:gd name="connsiteX0" fmla="*/ 60045 w 60045"/>
                <a:gd name="connsiteY0" fmla="*/ 120391 h 120090"/>
                <a:gd name="connsiteX1" fmla="*/ 54641 w 60045"/>
                <a:gd name="connsiteY1" fmla="*/ 120391 h 120090"/>
                <a:gd name="connsiteX2" fmla="*/ 52840 w 60045"/>
                <a:gd name="connsiteY2" fmla="*/ 118589 h 120090"/>
                <a:gd name="connsiteX3" fmla="*/ 52840 w 60045"/>
                <a:gd name="connsiteY3" fmla="*/ 117088 h 120090"/>
                <a:gd name="connsiteX4" fmla="*/ 51039 w 60045"/>
                <a:gd name="connsiteY4" fmla="*/ 115287 h 120090"/>
                <a:gd name="connsiteX5" fmla="*/ 50138 w 60045"/>
                <a:gd name="connsiteY5" fmla="*/ 115287 h 120090"/>
                <a:gd name="connsiteX6" fmla="*/ 6605 w 60045"/>
                <a:gd name="connsiteY6" fmla="*/ 109583 h 120090"/>
                <a:gd name="connsiteX7" fmla="*/ 0 w 60045"/>
                <a:gd name="connsiteY7" fmla="*/ 90368 h 120090"/>
                <a:gd name="connsiteX8" fmla="*/ 0 w 60045"/>
                <a:gd name="connsiteY8" fmla="*/ 64549 h 120090"/>
                <a:gd name="connsiteX9" fmla="*/ 9007 w 60045"/>
                <a:gd name="connsiteY9" fmla="*/ 43233 h 120090"/>
                <a:gd name="connsiteX10" fmla="*/ 30923 w 60045"/>
                <a:gd name="connsiteY10" fmla="*/ 33926 h 120090"/>
                <a:gd name="connsiteX11" fmla="*/ 47136 w 60045"/>
                <a:gd name="connsiteY11" fmla="*/ 38729 h 120090"/>
                <a:gd name="connsiteX12" fmla="*/ 48336 w 60045"/>
                <a:gd name="connsiteY12" fmla="*/ 38729 h 120090"/>
                <a:gd name="connsiteX13" fmla="*/ 49838 w 60045"/>
                <a:gd name="connsiteY13" fmla="*/ 37228 h 120090"/>
                <a:gd name="connsiteX14" fmla="*/ 49838 w 60045"/>
                <a:gd name="connsiteY14" fmla="*/ 1801 h 120090"/>
                <a:gd name="connsiteX15" fmla="*/ 51039 w 60045"/>
                <a:gd name="connsiteY15" fmla="*/ 0 h 120090"/>
                <a:gd name="connsiteX16" fmla="*/ 51639 w 60045"/>
                <a:gd name="connsiteY16" fmla="*/ 0 h 120090"/>
                <a:gd name="connsiteX17" fmla="*/ 60045 w 60045"/>
                <a:gd name="connsiteY17" fmla="*/ 0 h 120090"/>
                <a:gd name="connsiteX18" fmla="*/ 61546 w 60045"/>
                <a:gd name="connsiteY18" fmla="*/ 1801 h 120090"/>
                <a:gd name="connsiteX19" fmla="*/ 61546 w 60045"/>
                <a:gd name="connsiteY19" fmla="*/ 118589 h 120090"/>
                <a:gd name="connsiteX20" fmla="*/ 60045 w 60045"/>
                <a:gd name="connsiteY20" fmla="*/ 120391 h 120090"/>
                <a:gd name="connsiteX21" fmla="*/ 49838 w 60045"/>
                <a:gd name="connsiteY21" fmla="*/ 65449 h 120090"/>
                <a:gd name="connsiteX22" fmla="*/ 44133 w 60045"/>
                <a:gd name="connsiteY22" fmla="*/ 51639 h 120090"/>
                <a:gd name="connsiteX23" fmla="*/ 17113 w 60045"/>
                <a:gd name="connsiteY23" fmla="*/ 51639 h 120090"/>
                <a:gd name="connsiteX24" fmla="*/ 11409 w 60045"/>
                <a:gd name="connsiteY24" fmla="*/ 65449 h 120090"/>
                <a:gd name="connsiteX25" fmla="*/ 11409 w 60045"/>
                <a:gd name="connsiteY25" fmla="*/ 91269 h 120090"/>
                <a:gd name="connsiteX26" fmla="*/ 16813 w 60045"/>
                <a:gd name="connsiteY26" fmla="*/ 105379 h 120090"/>
                <a:gd name="connsiteX27" fmla="*/ 30623 w 60045"/>
                <a:gd name="connsiteY27" fmla="*/ 111084 h 120090"/>
                <a:gd name="connsiteX28" fmla="*/ 44133 w 60045"/>
                <a:gd name="connsiteY28" fmla="*/ 105379 h 120090"/>
                <a:gd name="connsiteX29" fmla="*/ 49838 w 60045"/>
                <a:gd name="connsiteY29" fmla="*/ 91269 h 120090"/>
                <a:gd name="connsiteX30" fmla="*/ 49838 w 60045"/>
                <a:gd name="connsiteY30" fmla="*/ 65449 h 120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60045" h="120090">
                  <a:moveTo>
                    <a:pt x="60045" y="120391"/>
                  </a:moveTo>
                  <a:lnTo>
                    <a:pt x="54641" y="120391"/>
                  </a:lnTo>
                  <a:cubicBezTo>
                    <a:pt x="53440" y="120391"/>
                    <a:pt x="52840" y="119490"/>
                    <a:pt x="52840" y="118589"/>
                  </a:cubicBezTo>
                  <a:lnTo>
                    <a:pt x="52840" y="117088"/>
                  </a:lnTo>
                  <a:cubicBezTo>
                    <a:pt x="52840" y="115587"/>
                    <a:pt x="52239" y="115287"/>
                    <a:pt x="51039" y="115287"/>
                  </a:cubicBezTo>
                  <a:cubicBezTo>
                    <a:pt x="49838" y="115287"/>
                    <a:pt x="50138" y="115287"/>
                    <a:pt x="50138" y="115287"/>
                  </a:cubicBezTo>
                  <a:cubicBezTo>
                    <a:pt x="36628" y="126095"/>
                    <a:pt x="17113" y="123693"/>
                    <a:pt x="6605" y="109583"/>
                  </a:cubicBezTo>
                  <a:cubicBezTo>
                    <a:pt x="2402" y="104179"/>
                    <a:pt x="0" y="97273"/>
                    <a:pt x="0" y="90368"/>
                  </a:cubicBezTo>
                  <a:lnTo>
                    <a:pt x="0" y="64549"/>
                  </a:lnTo>
                  <a:cubicBezTo>
                    <a:pt x="0" y="56443"/>
                    <a:pt x="3302" y="48937"/>
                    <a:pt x="9007" y="43233"/>
                  </a:cubicBezTo>
                  <a:cubicBezTo>
                    <a:pt x="14711" y="36928"/>
                    <a:pt x="22517" y="33625"/>
                    <a:pt x="30923" y="33926"/>
                  </a:cubicBezTo>
                  <a:cubicBezTo>
                    <a:pt x="36628" y="33926"/>
                    <a:pt x="42332" y="35427"/>
                    <a:pt x="47136" y="38729"/>
                  </a:cubicBezTo>
                  <a:lnTo>
                    <a:pt x="48336" y="38729"/>
                  </a:lnTo>
                  <a:cubicBezTo>
                    <a:pt x="49537" y="38729"/>
                    <a:pt x="49838" y="38729"/>
                    <a:pt x="49838" y="37228"/>
                  </a:cubicBezTo>
                  <a:lnTo>
                    <a:pt x="49838" y="1801"/>
                  </a:lnTo>
                  <a:cubicBezTo>
                    <a:pt x="49537" y="901"/>
                    <a:pt x="50138" y="300"/>
                    <a:pt x="51039" y="0"/>
                  </a:cubicBezTo>
                  <a:cubicBezTo>
                    <a:pt x="51339" y="0"/>
                    <a:pt x="51339" y="0"/>
                    <a:pt x="51639" y="0"/>
                  </a:cubicBezTo>
                  <a:lnTo>
                    <a:pt x="60045" y="0"/>
                  </a:lnTo>
                  <a:cubicBezTo>
                    <a:pt x="61246" y="0"/>
                    <a:pt x="61546" y="0"/>
                    <a:pt x="61546" y="1801"/>
                  </a:cubicBezTo>
                  <a:lnTo>
                    <a:pt x="61546" y="118589"/>
                  </a:lnTo>
                  <a:cubicBezTo>
                    <a:pt x="61546" y="119790"/>
                    <a:pt x="61546" y="120691"/>
                    <a:pt x="60045" y="120391"/>
                  </a:cubicBezTo>
                  <a:moveTo>
                    <a:pt x="49838" y="65449"/>
                  </a:moveTo>
                  <a:cubicBezTo>
                    <a:pt x="50138" y="60346"/>
                    <a:pt x="48036" y="55242"/>
                    <a:pt x="44133" y="51639"/>
                  </a:cubicBezTo>
                  <a:cubicBezTo>
                    <a:pt x="36628" y="43833"/>
                    <a:pt x="24619" y="44133"/>
                    <a:pt x="17113" y="51639"/>
                  </a:cubicBezTo>
                  <a:cubicBezTo>
                    <a:pt x="13510" y="55242"/>
                    <a:pt x="11409" y="60346"/>
                    <a:pt x="11409" y="65449"/>
                  </a:cubicBezTo>
                  <a:lnTo>
                    <a:pt x="11409" y="91269"/>
                  </a:lnTo>
                  <a:cubicBezTo>
                    <a:pt x="11409" y="96673"/>
                    <a:pt x="13210" y="101777"/>
                    <a:pt x="16813" y="105379"/>
                  </a:cubicBezTo>
                  <a:cubicBezTo>
                    <a:pt x="20415" y="109282"/>
                    <a:pt x="25219" y="111084"/>
                    <a:pt x="30623" y="111084"/>
                  </a:cubicBezTo>
                  <a:cubicBezTo>
                    <a:pt x="35727" y="111084"/>
                    <a:pt x="40531" y="108982"/>
                    <a:pt x="44133" y="105379"/>
                  </a:cubicBezTo>
                  <a:cubicBezTo>
                    <a:pt x="47736" y="101777"/>
                    <a:pt x="49838" y="96673"/>
                    <a:pt x="49838" y="91269"/>
                  </a:cubicBezTo>
                  <a:lnTo>
                    <a:pt x="49838" y="65449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39" name="Forme libre : forme 238">
              <a:extLst>
                <a:ext uri="{FF2B5EF4-FFF2-40B4-BE49-F238E27FC236}">
                  <a16:creationId xmlns:a16="http://schemas.microsoft.com/office/drawing/2014/main" id="{5FEDD632-ED9C-4751-8335-351F78E28A7C}"/>
                </a:ext>
              </a:extLst>
            </p:cNvPr>
            <p:cNvSpPr/>
            <p:nvPr/>
          </p:nvSpPr>
          <p:spPr>
            <a:xfrm>
              <a:off x="6570319" y="4403924"/>
              <a:ext cx="57043" cy="93070"/>
            </a:xfrm>
            <a:custGeom>
              <a:avLst/>
              <a:gdLst>
                <a:gd name="connsiteX0" fmla="*/ 56762 w 57043"/>
                <a:gd name="connsiteY0" fmla="*/ 52728 h 93070"/>
                <a:gd name="connsiteX1" fmla="*/ 12929 w 57043"/>
                <a:gd name="connsiteY1" fmla="*/ 52728 h 93070"/>
                <a:gd name="connsiteX2" fmla="*/ 11127 w 57043"/>
                <a:gd name="connsiteY2" fmla="*/ 54229 h 93070"/>
                <a:gd name="connsiteX3" fmla="*/ 11127 w 57043"/>
                <a:gd name="connsiteY3" fmla="*/ 54529 h 93070"/>
                <a:gd name="connsiteX4" fmla="*/ 11127 w 57043"/>
                <a:gd name="connsiteY4" fmla="*/ 59933 h 93070"/>
                <a:gd name="connsiteX5" fmla="*/ 16832 w 57043"/>
                <a:gd name="connsiteY5" fmla="*/ 74644 h 93070"/>
                <a:gd name="connsiteX6" fmla="*/ 30642 w 57043"/>
                <a:gd name="connsiteY6" fmla="*/ 80949 h 93070"/>
                <a:gd name="connsiteX7" fmla="*/ 48956 w 57043"/>
                <a:gd name="connsiteY7" fmla="*/ 74644 h 93070"/>
                <a:gd name="connsiteX8" fmla="*/ 51057 w 57043"/>
                <a:gd name="connsiteY8" fmla="*/ 74644 h 93070"/>
                <a:gd name="connsiteX9" fmla="*/ 51057 w 57043"/>
                <a:gd name="connsiteY9" fmla="*/ 74644 h 93070"/>
                <a:gd name="connsiteX10" fmla="*/ 55861 w 57043"/>
                <a:gd name="connsiteY10" fmla="*/ 82150 h 93070"/>
                <a:gd name="connsiteX11" fmla="*/ 56161 w 57043"/>
                <a:gd name="connsiteY11" fmla="*/ 84552 h 93070"/>
                <a:gd name="connsiteX12" fmla="*/ 55861 w 57043"/>
                <a:gd name="connsiteY12" fmla="*/ 84852 h 93070"/>
                <a:gd name="connsiteX13" fmla="*/ 30942 w 57043"/>
                <a:gd name="connsiteY13" fmla="*/ 93558 h 93070"/>
                <a:gd name="connsiteX14" fmla="*/ 9026 w 57043"/>
                <a:gd name="connsiteY14" fmla="*/ 83651 h 93070"/>
                <a:gd name="connsiteX15" fmla="*/ 19 w 57043"/>
                <a:gd name="connsiteY15" fmla="*/ 59633 h 93070"/>
                <a:gd name="connsiteX16" fmla="*/ 19 w 57043"/>
                <a:gd name="connsiteY16" fmla="*/ 32012 h 93070"/>
                <a:gd name="connsiteX17" fmla="*/ 8725 w 57043"/>
                <a:gd name="connsiteY17" fmla="*/ 9195 h 93070"/>
                <a:gd name="connsiteX18" fmla="*/ 50457 w 57043"/>
                <a:gd name="connsiteY18" fmla="*/ 9495 h 93070"/>
                <a:gd name="connsiteX19" fmla="*/ 58863 w 57043"/>
                <a:gd name="connsiteY19" fmla="*/ 32012 h 93070"/>
                <a:gd name="connsiteX20" fmla="*/ 58863 w 57043"/>
                <a:gd name="connsiteY20" fmla="*/ 50626 h 93070"/>
                <a:gd name="connsiteX21" fmla="*/ 56762 w 57043"/>
                <a:gd name="connsiteY21" fmla="*/ 52728 h 93070"/>
                <a:gd name="connsiteX22" fmla="*/ 46854 w 57043"/>
                <a:gd name="connsiteY22" fmla="*/ 32312 h 93070"/>
                <a:gd name="connsiteX23" fmla="*/ 41750 w 57043"/>
                <a:gd name="connsiteY23" fmla="*/ 18802 h 93070"/>
                <a:gd name="connsiteX24" fmla="*/ 29141 w 57043"/>
                <a:gd name="connsiteY24" fmla="*/ 13398 h 93070"/>
                <a:gd name="connsiteX25" fmla="*/ 16531 w 57043"/>
                <a:gd name="connsiteY25" fmla="*/ 18802 h 93070"/>
                <a:gd name="connsiteX26" fmla="*/ 11127 w 57043"/>
                <a:gd name="connsiteY26" fmla="*/ 32312 h 93070"/>
                <a:gd name="connsiteX27" fmla="*/ 11127 w 57043"/>
                <a:gd name="connsiteY27" fmla="*/ 38017 h 93070"/>
                <a:gd name="connsiteX28" fmla="*/ 12328 w 57043"/>
                <a:gd name="connsiteY28" fmla="*/ 40118 h 93070"/>
                <a:gd name="connsiteX29" fmla="*/ 12628 w 57043"/>
                <a:gd name="connsiteY29" fmla="*/ 40118 h 93070"/>
                <a:gd name="connsiteX30" fmla="*/ 44452 w 57043"/>
                <a:gd name="connsiteY30" fmla="*/ 40118 h 93070"/>
                <a:gd name="connsiteX31" fmla="*/ 45954 w 57043"/>
                <a:gd name="connsiteY31" fmla="*/ 38017 h 93070"/>
                <a:gd name="connsiteX32" fmla="*/ 46854 w 57043"/>
                <a:gd name="connsiteY32" fmla="*/ 32312 h 93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57043" h="93070">
                  <a:moveTo>
                    <a:pt x="56762" y="52728"/>
                  </a:moveTo>
                  <a:lnTo>
                    <a:pt x="12929" y="52728"/>
                  </a:lnTo>
                  <a:cubicBezTo>
                    <a:pt x="12028" y="52728"/>
                    <a:pt x="11127" y="53328"/>
                    <a:pt x="11127" y="54229"/>
                  </a:cubicBezTo>
                  <a:cubicBezTo>
                    <a:pt x="11127" y="54229"/>
                    <a:pt x="11127" y="54529"/>
                    <a:pt x="11127" y="54529"/>
                  </a:cubicBezTo>
                  <a:lnTo>
                    <a:pt x="11127" y="59933"/>
                  </a:lnTo>
                  <a:cubicBezTo>
                    <a:pt x="11127" y="65637"/>
                    <a:pt x="13229" y="70741"/>
                    <a:pt x="16832" y="74644"/>
                  </a:cubicBezTo>
                  <a:cubicBezTo>
                    <a:pt x="20434" y="78547"/>
                    <a:pt x="25238" y="80949"/>
                    <a:pt x="30642" y="80949"/>
                  </a:cubicBezTo>
                  <a:cubicBezTo>
                    <a:pt x="37247" y="80949"/>
                    <a:pt x="43552" y="78847"/>
                    <a:pt x="48956" y="74644"/>
                  </a:cubicBezTo>
                  <a:cubicBezTo>
                    <a:pt x="49556" y="74044"/>
                    <a:pt x="50457" y="74044"/>
                    <a:pt x="51057" y="74644"/>
                  </a:cubicBezTo>
                  <a:cubicBezTo>
                    <a:pt x="51057" y="74644"/>
                    <a:pt x="51057" y="74644"/>
                    <a:pt x="51057" y="74644"/>
                  </a:cubicBezTo>
                  <a:lnTo>
                    <a:pt x="55861" y="82150"/>
                  </a:lnTo>
                  <a:cubicBezTo>
                    <a:pt x="56461" y="82750"/>
                    <a:pt x="56762" y="83651"/>
                    <a:pt x="56161" y="84552"/>
                  </a:cubicBezTo>
                  <a:cubicBezTo>
                    <a:pt x="56161" y="84552"/>
                    <a:pt x="55861" y="84852"/>
                    <a:pt x="55861" y="84852"/>
                  </a:cubicBezTo>
                  <a:cubicBezTo>
                    <a:pt x="48656" y="90556"/>
                    <a:pt x="39949" y="93558"/>
                    <a:pt x="30942" y="93558"/>
                  </a:cubicBezTo>
                  <a:cubicBezTo>
                    <a:pt x="22836" y="93558"/>
                    <a:pt x="14730" y="89956"/>
                    <a:pt x="9026" y="83651"/>
                  </a:cubicBezTo>
                  <a:cubicBezTo>
                    <a:pt x="3021" y="77346"/>
                    <a:pt x="-281" y="68640"/>
                    <a:pt x="19" y="59633"/>
                  </a:cubicBezTo>
                  <a:lnTo>
                    <a:pt x="19" y="32012"/>
                  </a:lnTo>
                  <a:cubicBezTo>
                    <a:pt x="19" y="23606"/>
                    <a:pt x="3021" y="15199"/>
                    <a:pt x="8725" y="9195"/>
                  </a:cubicBezTo>
                  <a:cubicBezTo>
                    <a:pt x="20434" y="-3115"/>
                    <a:pt x="39048" y="-3115"/>
                    <a:pt x="50457" y="9495"/>
                  </a:cubicBezTo>
                  <a:cubicBezTo>
                    <a:pt x="55861" y="15500"/>
                    <a:pt x="58863" y="23606"/>
                    <a:pt x="58863" y="32012"/>
                  </a:cubicBezTo>
                  <a:lnTo>
                    <a:pt x="58863" y="50626"/>
                  </a:lnTo>
                  <a:cubicBezTo>
                    <a:pt x="58863" y="52127"/>
                    <a:pt x="58863" y="52728"/>
                    <a:pt x="56762" y="52728"/>
                  </a:cubicBezTo>
                  <a:moveTo>
                    <a:pt x="46854" y="32312"/>
                  </a:moveTo>
                  <a:cubicBezTo>
                    <a:pt x="46854" y="27208"/>
                    <a:pt x="45053" y="22405"/>
                    <a:pt x="41750" y="18802"/>
                  </a:cubicBezTo>
                  <a:cubicBezTo>
                    <a:pt x="38448" y="15199"/>
                    <a:pt x="33944" y="13098"/>
                    <a:pt x="29141" y="13398"/>
                  </a:cubicBezTo>
                  <a:cubicBezTo>
                    <a:pt x="24337" y="13098"/>
                    <a:pt x="19834" y="15199"/>
                    <a:pt x="16531" y="18802"/>
                  </a:cubicBezTo>
                  <a:cubicBezTo>
                    <a:pt x="12929" y="22405"/>
                    <a:pt x="11127" y="27208"/>
                    <a:pt x="11127" y="32312"/>
                  </a:cubicBezTo>
                  <a:lnTo>
                    <a:pt x="11127" y="38017"/>
                  </a:lnTo>
                  <a:cubicBezTo>
                    <a:pt x="11127" y="38917"/>
                    <a:pt x="11728" y="39818"/>
                    <a:pt x="12328" y="40118"/>
                  </a:cubicBezTo>
                  <a:cubicBezTo>
                    <a:pt x="12328" y="40118"/>
                    <a:pt x="12628" y="40118"/>
                    <a:pt x="12628" y="40118"/>
                  </a:cubicBezTo>
                  <a:lnTo>
                    <a:pt x="44452" y="40118"/>
                  </a:lnTo>
                  <a:cubicBezTo>
                    <a:pt x="45653" y="40118"/>
                    <a:pt x="45954" y="39217"/>
                    <a:pt x="45954" y="38017"/>
                  </a:cubicBezTo>
                  <a:lnTo>
                    <a:pt x="46854" y="32312"/>
                  </a:lnTo>
                  <a:close/>
                </a:path>
              </a:pathLst>
            </a:custGeom>
            <a:solidFill>
              <a:srgbClr val="391C10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  <p:sp>
          <p:nvSpPr>
            <p:cNvPr id="240" name="Forme libre : forme 239">
              <a:extLst>
                <a:ext uri="{FF2B5EF4-FFF2-40B4-BE49-F238E27FC236}">
                  <a16:creationId xmlns:a16="http://schemas.microsoft.com/office/drawing/2014/main" id="{9F2B949D-579B-4C02-9CB9-20D20ABC55B6}"/>
                </a:ext>
              </a:extLst>
            </p:cNvPr>
            <p:cNvSpPr/>
            <p:nvPr/>
          </p:nvSpPr>
          <p:spPr>
            <a:xfrm>
              <a:off x="6495581" y="4006913"/>
              <a:ext cx="66050" cy="144109"/>
            </a:xfrm>
            <a:custGeom>
              <a:avLst/>
              <a:gdLst>
                <a:gd name="connsiteX0" fmla="*/ 68151 w 66049"/>
                <a:gd name="connsiteY0" fmla="*/ 0 h 144108"/>
                <a:gd name="connsiteX1" fmla="*/ 68151 w 66049"/>
                <a:gd name="connsiteY1" fmla="*/ 144409 h 144108"/>
                <a:gd name="connsiteX2" fmla="*/ 28522 w 66049"/>
                <a:gd name="connsiteY2" fmla="*/ 106280 h 144108"/>
                <a:gd name="connsiteX3" fmla="*/ 28522 w 66049"/>
                <a:gd name="connsiteY3" fmla="*/ 10808 h 144108"/>
                <a:gd name="connsiteX4" fmla="*/ 0 w 66049"/>
                <a:gd name="connsiteY4" fmla="*/ 10808 h 144108"/>
                <a:gd name="connsiteX5" fmla="*/ 0 w 66049"/>
                <a:gd name="connsiteY5" fmla="*/ 1501 h 144108"/>
                <a:gd name="connsiteX6" fmla="*/ 68151 w 66049"/>
                <a:gd name="connsiteY6" fmla="*/ 0 h 144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049" h="144108">
                  <a:moveTo>
                    <a:pt x="68151" y="0"/>
                  </a:moveTo>
                  <a:lnTo>
                    <a:pt x="68151" y="144409"/>
                  </a:lnTo>
                  <a:lnTo>
                    <a:pt x="28522" y="106280"/>
                  </a:lnTo>
                  <a:lnTo>
                    <a:pt x="28522" y="10808"/>
                  </a:lnTo>
                  <a:lnTo>
                    <a:pt x="0" y="10808"/>
                  </a:lnTo>
                  <a:lnTo>
                    <a:pt x="0" y="1501"/>
                  </a:lnTo>
                  <a:cubicBezTo>
                    <a:pt x="21616" y="2402"/>
                    <a:pt x="44133" y="600"/>
                    <a:pt x="68151" y="0"/>
                  </a:cubicBezTo>
                  <a:close/>
                </a:path>
              </a:pathLst>
            </a:custGeom>
            <a:solidFill>
              <a:srgbClr val="009FE3"/>
            </a:solidFill>
            <a:ln w="29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A1B0B"/>
                </a:solidFill>
              </a:endParaRPr>
            </a:p>
          </p:txBody>
        </p:sp>
      </p:grpSp>
      <p:sp>
        <p:nvSpPr>
          <p:cNvPr id="124" name="Rectangle 123">
            <a:hlinkClick r:id="rId2"/>
            <a:extLst>
              <a:ext uri="{FF2B5EF4-FFF2-40B4-BE49-F238E27FC236}">
                <a16:creationId xmlns:a16="http://schemas.microsoft.com/office/drawing/2014/main" id="{35F4AE06-723F-4907-A0C1-25C2A55668EF}"/>
              </a:ext>
            </a:extLst>
          </p:cNvPr>
          <p:cNvSpPr/>
          <p:nvPr userDrawn="1"/>
        </p:nvSpPr>
        <p:spPr>
          <a:xfrm>
            <a:off x="3294590" y="1121624"/>
            <a:ext cx="90922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srgbClr val="3A1B0B"/>
                </a:solidFill>
              </a:rPr>
              <a:t>@</a:t>
            </a:r>
            <a:r>
              <a:rPr lang="fr-FR" sz="800" dirty="0" err="1">
                <a:solidFill>
                  <a:srgbClr val="3A1B0B"/>
                </a:solidFill>
              </a:rPr>
              <a:t>univbordeaux</a:t>
            </a:r>
            <a:endParaRPr lang="fr-FR" sz="800" dirty="0">
              <a:solidFill>
                <a:srgbClr val="3A1B0B"/>
              </a:solidFill>
            </a:endParaRPr>
          </a:p>
        </p:txBody>
      </p:sp>
      <p:pic>
        <p:nvPicPr>
          <p:cNvPr id="125" name="Graphique 124">
            <a:hlinkClick r:id="rId2"/>
            <a:extLst>
              <a:ext uri="{FF2B5EF4-FFF2-40B4-BE49-F238E27FC236}">
                <a16:creationId xmlns:a16="http://schemas.microsoft.com/office/drawing/2014/main" id="{C6FD32D5-7851-419E-B042-2C17E6452CA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69202" y="702273"/>
            <a:ext cx="360000" cy="360000"/>
          </a:xfrm>
          <a:prstGeom prst="rect">
            <a:avLst/>
          </a:prstGeom>
        </p:spPr>
      </p:pic>
      <p:pic>
        <p:nvPicPr>
          <p:cNvPr id="126" name="Graphique 125">
            <a:hlinkClick r:id="rId5"/>
            <a:extLst>
              <a:ext uri="{FF2B5EF4-FFF2-40B4-BE49-F238E27FC236}">
                <a16:creationId xmlns:a16="http://schemas.microsoft.com/office/drawing/2014/main" id="{AC4BA783-078F-4C6E-BE4E-E143E9F636D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894972" y="702273"/>
            <a:ext cx="360000" cy="360000"/>
          </a:xfrm>
          <a:prstGeom prst="rect">
            <a:avLst/>
          </a:prstGeom>
        </p:spPr>
      </p:pic>
      <p:sp>
        <p:nvSpPr>
          <p:cNvPr id="127" name="Rectangle 126">
            <a:hlinkClick r:id="rId5"/>
            <a:extLst>
              <a:ext uri="{FF2B5EF4-FFF2-40B4-BE49-F238E27FC236}">
                <a16:creationId xmlns:a16="http://schemas.microsoft.com/office/drawing/2014/main" id="{0DEFADA8-A00E-42F6-AAA8-08025CB38A01}"/>
              </a:ext>
            </a:extLst>
          </p:cNvPr>
          <p:cNvSpPr/>
          <p:nvPr userDrawn="1"/>
        </p:nvSpPr>
        <p:spPr>
          <a:xfrm>
            <a:off x="6620360" y="1121624"/>
            <a:ext cx="90922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srgbClr val="3A1B0B"/>
                </a:solidFill>
              </a:rPr>
              <a:t>@</a:t>
            </a:r>
            <a:r>
              <a:rPr lang="fr-FR" sz="800" dirty="0" err="1">
                <a:solidFill>
                  <a:srgbClr val="3A1B0B"/>
                </a:solidFill>
              </a:rPr>
              <a:t>univbordeaux</a:t>
            </a:r>
            <a:endParaRPr lang="fr-FR" sz="800" dirty="0">
              <a:solidFill>
                <a:srgbClr val="3A1B0B"/>
              </a:solidFill>
            </a:endParaRPr>
          </a:p>
        </p:txBody>
      </p:sp>
      <p:sp>
        <p:nvSpPr>
          <p:cNvPr id="128" name="Rectangle 127">
            <a:hlinkClick r:id="rId8"/>
            <a:extLst>
              <a:ext uri="{FF2B5EF4-FFF2-40B4-BE49-F238E27FC236}">
                <a16:creationId xmlns:a16="http://schemas.microsoft.com/office/drawing/2014/main" id="{43060483-BA3F-4429-9DB5-CBA75DDBC66C}"/>
              </a:ext>
            </a:extLst>
          </p:cNvPr>
          <p:cNvSpPr/>
          <p:nvPr userDrawn="1"/>
        </p:nvSpPr>
        <p:spPr>
          <a:xfrm>
            <a:off x="2277866" y="2154670"/>
            <a:ext cx="127631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srgbClr val="3A1B0B"/>
                </a:solidFill>
              </a:rPr>
              <a:t>@</a:t>
            </a:r>
            <a:r>
              <a:rPr lang="fr-FR" sz="800" dirty="0" err="1">
                <a:solidFill>
                  <a:srgbClr val="3A1B0B"/>
                </a:solidFill>
              </a:rPr>
              <a:t>universitedebordeaux</a:t>
            </a:r>
            <a:endParaRPr lang="fr-FR" sz="800" dirty="0">
              <a:solidFill>
                <a:srgbClr val="3A1B0B"/>
              </a:solidFill>
            </a:endParaRPr>
          </a:p>
        </p:txBody>
      </p:sp>
      <p:pic>
        <p:nvPicPr>
          <p:cNvPr id="129" name="Graphique 128">
            <a:hlinkClick r:id="rId8"/>
            <a:extLst>
              <a:ext uri="{FF2B5EF4-FFF2-40B4-BE49-F238E27FC236}">
                <a16:creationId xmlns:a16="http://schemas.microsoft.com/office/drawing/2014/main" id="{64F997C0-D043-4AC6-968A-B1C30BBB2282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736022" y="1735319"/>
            <a:ext cx="360000" cy="360000"/>
          </a:xfrm>
          <a:prstGeom prst="rect">
            <a:avLst/>
          </a:prstGeom>
        </p:spPr>
      </p:pic>
      <p:pic>
        <p:nvPicPr>
          <p:cNvPr id="130" name="Graphique 129">
            <a:hlinkClick r:id="rId11"/>
            <a:extLst>
              <a:ext uri="{FF2B5EF4-FFF2-40B4-BE49-F238E27FC236}">
                <a16:creationId xmlns:a16="http://schemas.microsoft.com/office/drawing/2014/main" id="{83FCBC0C-46CD-4319-932E-4A574B930242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232820" y="702273"/>
            <a:ext cx="360000" cy="360000"/>
          </a:xfrm>
          <a:prstGeom prst="rect">
            <a:avLst/>
          </a:prstGeom>
        </p:spPr>
      </p:pic>
      <p:pic>
        <p:nvPicPr>
          <p:cNvPr id="131" name="Graphique 130">
            <a:hlinkClick r:id="rId14"/>
            <a:extLst>
              <a:ext uri="{FF2B5EF4-FFF2-40B4-BE49-F238E27FC236}">
                <a16:creationId xmlns:a16="http://schemas.microsoft.com/office/drawing/2014/main" id="{1819CD89-E770-4FC4-A88B-BD521AE63294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904363" y="702273"/>
            <a:ext cx="360000" cy="360000"/>
          </a:xfrm>
          <a:prstGeom prst="rect">
            <a:avLst/>
          </a:prstGeom>
        </p:spPr>
      </p:pic>
      <p:sp>
        <p:nvSpPr>
          <p:cNvPr id="132" name="Rectangle 131">
            <a:hlinkClick r:id="rId14"/>
            <a:extLst>
              <a:ext uri="{FF2B5EF4-FFF2-40B4-BE49-F238E27FC236}">
                <a16:creationId xmlns:a16="http://schemas.microsoft.com/office/drawing/2014/main" id="{FD3B5232-D5E9-44F0-9C33-33247F54B052}"/>
              </a:ext>
            </a:extLst>
          </p:cNvPr>
          <p:cNvSpPr/>
          <p:nvPr userDrawn="1"/>
        </p:nvSpPr>
        <p:spPr>
          <a:xfrm>
            <a:off x="1560019" y="1121624"/>
            <a:ext cx="104868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srgbClr val="3A1B0B"/>
                </a:solidFill>
              </a:rPr>
              <a:t>www.u-bordeaux.fr</a:t>
            </a:r>
          </a:p>
        </p:txBody>
      </p:sp>
      <p:pic>
        <p:nvPicPr>
          <p:cNvPr id="133" name="Graphique 132">
            <a:hlinkClick r:id="rId17"/>
            <a:extLst>
              <a:ext uri="{FF2B5EF4-FFF2-40B4-BE49-F238E27FC236}">
                <a16:creationId xmlns:a16="http://schemas.microsoft.com/office/drawing/2014/main" id="{5E1444FE-01A7-45A1-BCDA-AF5DE3864777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060942" y="1735319"/>
            <a:ext cx="360000" cy="360000"/>
          </a:xfrm>
          <a:prstGeom prst="rect">
            <a:avLst/>
          </a:prstGeom>
        </p:spPr>
      </p:pic>
      <p:pic>
        <p:nvPicPr>
          <p:cNvPr id="134" name="Graphique 133">
            <a:extLst>
              <a:ext uri="{FF2B5EF4-FFF2-40B4-BE49-F238E27FC236}">
                <a16:creationId xmlns:a16="http://schemas.microsoft.com/office/drawing/2014/main" id="{AE8061E4-BB31-415B-8A63-EE72EEB79D9C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4400221" y="1735319"/>
            <a:ext cx="360000" cy="360000"/>
          </a:xfrm>
          <a:prstGeom prst="rect">
            <a:avLst/>
          </a:prstGeom>
        </p:spPr>
      </p:pic>
      <p:sp>
        <p:nvSpPr>
          <p:cNvPr id="135" name="Rectangle 134">
            <a:extLst>
              <a:ext uri="{FF2B5EF4-FFF2-40B4-BE49-F238E27FC236}">
                <a16:creationId xmlns:a16="http://schemas.microsoft.com/office/drawing/2014/main" id="{C8AD63C4-784A-4776-9B5D-FA8BD25ACF8C}"/>
              </a:ext>
            </a:extLst>
          </p:cNvPr>
          <p:cNvSpPr/>
          <p:nvPr userDrawn="1"/>
        </p:nvSpPr>
        <p:spPr>
          <a:xfrm>
            <a:off x="4029281" y="2154670"/>
            <a:ext cx="108876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srgbClr val="3A1B0B"/>
                </a:solidFill>
              </a:rPr>
              <a:t>Appli mobile </a:t>
            </a:r>
            <a:r>
              <a:rPr lang="fr-FR" sz="800" dirty="0" err="1">
                <a:solidFill>
                  <a:srgbClr val="3A1B0B"/>
                </a:solidFill>
              </a:rPr>
              <a:t>U&amp;me</a:t>
            </a:r>
            <a:endParaRPr lang="fr-FR" sz="800" dirty="0">
              <a:solidFill>
                <a:srgbClr val="3A1B0B"/>
              </a:solidFill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26C582E0-BC44-4452-B431-ACC02FF3B9A7}"/>
              </a:ext>
            </a:extLst>
          </p:cNvPr>
          <p:cNvSpPr/>
          <p:nvPr userDrawn="1"/>
        </p:nvSpPr>
        <p:spPr>
          <a:xfrm>
            <a:off x="5780492" y="2154670"/>
            <a:ext cx="90922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srgbClr val="3A1B0B"/>
                </a:solidFill>
              </a:rPr>
              <a:t>@</a:t>
            </a:r>
            <a:r>
              <a:rPr lang="fr-FR" sz="800" dirty="0" err="1">
                <a:solidFill>
                  <a:srgbClr val="3A1B0B"/>
                </a:solidFill>
              </a:rPr>
              <a:t>univbordeaux</a:t>
            </a:r>
            <a:endParaRPr lang="fr-FR" sz="800" dirty="0">
              <a:solidFill>
                <a:srgbClr val="3A1B0B"/>
              </a:solidFill>
            </a:endParaRPr>
          </a:p>
        </p:txBody>
      </p:sp>
      <p:sp>
        <p:nvSpPr>
          <p:cNvPr id="137" name="Rectangle 136">
            <a:hlinkClick r:id="rId11"/>
            <a:extLst>
              <a:ext uri="{FF2B5EF4-FFF2-40B4-BE49-F238E27FC236}">
                <a16:creationId xmlns:a16="http://schemas.microsoft.com/office/drawing/2014/main" id="{191CC0A6-AEB3-4CFD-B3D3-4BB18C95F655}"/>
              </a:ext>
            </a:extLst>
          </p:cNvPr>
          <p:cNvSpPr/>
          <p:nvPr userDrawn="1"/>
        </p:nvSpPr>
        <p:spPr>
          <a:xfrm>
            <a:off x="4774665" y="1121624"/>
            <a:ext cx="127631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800" dirty="0">
                <a:solidFill>
                  <a:srgbClr val="3A1B0B"/>
                </a:solidFill>
              </a:rPr>
              <a:t>@</a:t>
            </a:r>
            <a:r>
              <a:rPr lang="fr-FR" sz="800" dirty="0" err="1">
                <a:solidFill>
                  <a:srgbClr val="3A1B0B"/>
                </a:solidFill>
              </a:rPr>
              <a:t>universitedebordeaux</a:t>
            </a:r>
            <a:endParaRPr lang="fr-FR" sz="800" dirty="0">
              <a:solidFill>
                <a:srgbClr val="3A1B0B"/>
              </a:solidFill>
            </a:endParaRPr>
          </a:p>
        </p:txBody>
      </p:sp>
      <p:sp>
        <p:nvSpPr>
          <p:cNvPr id="141" name="Espace réservé du texte 140">
            <a:extLst>
              <a:ext uri="{FF2B5EF4-FFF2-40B4-BE49-F238E27FC236}">
                <a16:creationId xmlns:a16="http://schemas.microsoft.com/office/drawing/2014/main" id="{EE880427-05D3-40E0-A2B2-744B3528ADE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4417" y="2973427"/>
            <a:ext cx="5915166" cy="31393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algn="ctr" defTabSz="457200">
              <a:buNone/>
              <a:tabLst>
                <a:tab pos="2066925" algn="l"/>
              </a:tabLst>
              <a:defRPr lang="fr-FR" sz="1600" b="1" dirty="0" smtClean="0">
                <a:solidFill>
                  <a:schemeClr val="tx1"/>
                </a:solidFill>
              </a:defRPr>
            </a:lvl1pPr>
          </a:lstStyle>
          <a:p>
            <a:pPr marL="0" lvl="0" algn="ctr" defTabSz="457200"/>
            <a:r>
              <a:rPr lang="fr-FR" dirty="0"/>
              <a:t>Message / remerciement</a:t>
            </a:r>
          </a:p>
        </p:txBody>
      </p:sp>
      <p:sp>
        <p:nvSpPr>
          <p:cNvPr id="144" name="Espace réservé du texte 143">
            <a:extLst>
              <a:ext uri="{FF2B5EF4-FFF2-40B4-BE49-F238E27FC236}">
                <a16:creationId xmlns:a16="http://schemas.microsoft.com/office/drawing/2014/main" id="{C20905A2-6F02-47AA-AF2E-63158D48679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5689" y="1"/>
            <a:ext cx="457523" cy="2017735"/>
          </a:xfrm>
          <a:custGeom>
            <a:avLst/>
            <a:gdLst>
              <a:gd name="connsiteX0" fmla="*/ 0 w 457523"/>
              <a:gd name="connsiteY0" fmla="*/ 0 h 2017735"/>
              <a:gd name="connsiteX1" fmla="*/ 275802 w 457523"/>
              <a:gd name="connsiteY1" fmla="*/ 0 h 2017735"/>
              <a:gd name="connsiteX2" fmla="*/ 457523 w 457523"/>
              <a:gd name="connsiteY2" fmla="*/ 0 h 2017735"/>
              <a:gd name="connsiteX3" fmla="*/ 179667 w 457523"/>
              <a:gd name="connsiteY3" fmla="*/ 2017735 h 2017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7523" h="2017735">
                <a:moveTo>
                  <a:pt x="0" y="0"/>
                </a:moveTo>
                <a:lnTo>
                  <a:pt x="275802" y="0"/>
                </a:lnTo>
                <a:lnTo>
                  <a:pt x="457523" y="0"/>
                </a:lnTo>
                <a:lnTo>
                  <a:pt x="179667" y="2017735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grpSp>
        <p:nvGrpSpPr>
          <p:cNvPr id="267" name="Groupe 266">
            <a:extLst>
              <a:ext uri="{FF2B5EF4-FFF2-40B4-BE49-F238E27FC236}">
                <a16:creationId xmlns:a16="http://schemas.microsoft.com/office/drawing/2014/main" id="{5E1891F2-FAFB-45B7-ADB0-B4532A71DEC4}"/>
              </a:ext>
            </a:extLst>
          </p:cNvPr>
          <p:cNvGrpSpPr/>
          <p:nvPr userDrawn="1"/>
        </p:nvGrpSpPr>
        <p:grpSpPr>
          <a:xfrm flipV="1">
            <a:off x="-91485" y="12467"/>
            <a:ext cx="1008300" cy="5190499"/>
            <a:chOff x="-91485" y="-57106"/>
            <a:chExt cx="1008300" cy="5190499"/>
          </a:xfrm>
          <a:solidFill>
            <a:schemeClr val="bg2">
              <a:alpha val="10000"/>
            </a:schemeClr>
          </a:solidFill>
        </p:grpSpPr>
        <p:sp>
          <p:nvSpPr>
            <p:cNvPr id="268" name="Forme libre : forme 267">
              <a:extLst>
                <a:ext uri="{FF2B5EF4-FFF2-40B4-BE49-F238E27FC236}">
                  <a16:creationId xmlns:a16="http://schemas.microsoft.com/office/drawing/2014/main" id="{73F747AB-BDD9-4153-8A0F-81B6FADAE149}"/>
                </a:ext>
              </a:extLst>
            </p:cNvPr>
            <p:cNvSpPr/>
            <p:nvPr/>
          </p:nvSpPr>
          <p:spPr>
            <a:xfrm rot="8716295">
              <a:off x="617786" y="1780350"/>
              <a:ext cx="152726" cy="195873"/>
            </a:xfrm>
            <a:custGeom>
              <a:avLst/>
              <a:gdLst>
                <a:gd name="connsiteX0" fmla="*/ 39589 w 152726"/>
                <a:gd name="connsiteY0" fmla="*/ 195873 h 195873"/>
                <a:gd name="connsiteX1" fmla="*/ 0 w 152726"/>
                <a:gd name="connsiteY1" fmla="*/ 122219 h 195873"/>
                <a:gd name="connsiteX2" fmla="*/ 101089 w 152726"/>
                <a:gd name="connsiteY2" fmla="*/ 0 h 195873"/>
                <a:gd name="connsiteX3" fmla="*/ 152726 w 152726"/>
                <a:gd name="connsiteY3" fmla="*/ 0 h 195873"/>
                <a:gd name="connsiteX4" fmla="*/ 152726 w 152726"/>
                <a:gd name="connsiteY4" fmla="*/ 55323 h 195873"/>
                <a:gd name="connsiteX5" fmla="*/ 87934 w 152726"/>
                <a:gd name="connsiteY5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726" h="195873">
                  <a:moveTo>
                    <a:pt x="39589" y="195873"/>
                  </a:moveTo>
                  <a:lnTo>
                    <a:pt x="0" y="122219"/>
                  </a:lnTo>
                  <a:lnTo>
                    <a:pt x="101089" y="0"/>
                  </a:lnTo>
                  <a:lnTo>
                    <a:pt x="152726" y="0"/>
                  </a:lnTo>
                  <a:lnTo>
                    <a:pt x="152726" y="55323"/>
                  </a:lnTo>
                  <a:lnTo>
                    <a:pt x="87934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" name="Forme libre : forme 268">
              <a:extLst>
                <a:ext uri="{FF2B5EF4-FFF2-40B4-BE49-F238E27FC236}">
                  <a16:creationId xmlns:a16="http://schemas.microsoft.com/office/drawing/2014/main" id="{ABB68B3A-64E8-421E-A122-56A45C711E07}"/>
                </a:ext>
              </a:extLst>
            </p:cNvPr>
            <p:cNvSpPr/>
            <p:nvPr/>
          </p:nvSpPr>
          <p:spPr>
            <a:xfrm rot="8716295">
              <a:off x="534441" y="1654353"/>
              <a:ext cx="262864" cy="103234"/>
            </a:xfrm>
            <a:custGeom>
              <a:avLst/>
              <a:gdLst>
                <a:gd name="connsiteX0" fmla="*/ 0 w 262864"/>
                <a:gd name="connsiteY0" fmla="*/ 75341 h 103234"/>
                <a:gd name="connsiteX1" fmla="*/ 62316 w 262864"/>
                <a:gd name="connsiteY1" fmla="*/ 0 h 103234"/>
                <a:gd name="connsiteX2" fmla="*/ 65768 w 262864"/>
                <a:gd name="connsiteY2" fmla="*/ 14220 h 103234"/>
                <a:gd name="connsiteX3" fmla="*/ 136369 w 262864"/>
                <a:gd name="connsiteY3" fmla="*/ 53051 h 103234"/>
                <a:gd name="connsiteX4" fmla="*/ 189321 w 262864"/>
                <a:gd name="connsiteY4" fmla="*/ 43637 h 103234"/>
                <a:gd name="connsiteX5" fmla="*/ 261688 w 262864"/>
                <a:gd name="connsiteY5" fmla="*/ 14220 h 103234"/>
                <a:gd name="connsiteX6" fmla="*/ 262864 w 262864"/>
                <a:gd name="connsiteY6" fmla="*/ 21868 h 103234"/>
                <a:gd name="connsiteX7" fmla="*/ 262864 w 262864"/>
                <a:gd name="connsiteY7" fmla="*/ 27752 h 103234"/>
                <a:gd name="connsiteX8" fmla="*/ 69887 w 262864"/>
                <a:gd name="connsiteY8" fmla="*/ 103060 h 103234"/>
                <a:gd name="connsiteX9" fmla="*/ 30615 w 262864"/>
                <a:gd name="connsiteY9" fmla="*/ 96294 h 103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2864" h="103234">
                  <a:moveTo>
                    <a:pt x="0" y="75341"/>
                  </a:moveTo>
                  <a:lnTo>
                    <a:pt x="62316" y="0"/>
                  </a:lnTo>
                  <a:lnTo>
                    <a:pt x="65768" y="14220"/>
                  </a:lnTo>
                  <a:cubicBezTo>
                    <a:pt x="75182" y="40107"/>
                    <a:pt x="99304" y="53051"/>
                    <a:pt x="136369" y="53051"/>
                  </a:cubicBezTo>
                  <a:cubicBezTo>
                    <a:pt x="154609" y="52462"/>
                    <a:pt x="172259" y="48932"/>
                    <a:pt x="189321" y="43637"/>
                  </a:cubicBezTo>
                  <a:cubicBezTo>
                    <a:pt x="214031" y="35988"/>
                    <a:pt x="238154" y="25987"/>
                    <a:pt x="261688" y="14220"/>
                  </a:cubicBezTo>
                  <a:cubicBezTo>
                    <a:pt x="262276" y="16573"/>
                    <a:pt x="262864" y="19515"/>
                    <a:pt x="262864" y="21868"/>
                  </a:cubicBezTo>
                  <a:lnTo>
                    <a:pt x="262864" y="27752"/>
                  </a:lnTo>
                  <a:cubicBezTo>
                    <a:pt x="200500" y="81291"/>
                    <a:pt x="118719" y="100119"/>
                    <a:pt x="69887" y="103060"/>
                  </a:cubicBezTo>
                  <a:cubicBezTo>
                    <a:pt x="56355" y="103943"/>
                    <a:pt x="42970" y="101442"/>
                    <a:pt x="30615" y="9629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0" name="Forme libre : forme 269">
              <a:extLst>
                <a:ext uri="{FF2B5EF4-FFF2-40B4-BE49-F238E27FC236}">
                  <a16:creationId xmlns:a16="http://schemas.microsoft.com/office/drawing/2014/main" id="{053D4FF2-A9EA-4185-9507-77A0BB17DB0B}"/>
                </a:ext>
              </a:extLst>
            </p:cNvPr>
            <p:cNvSpPr/>
            <p:nvPr/>
          </p:nvSpPr>
          <p:spPr>
            <a:xfrm rot="8716295">
              <a:off x="632719" y="1232432"/>
              <a:ext cx="121558" cy="232388"/>
            </a:xfrm>
            <a:custGeom>
              <a:avLst/>
              <a:gdLst>
                <a:gd name="connsiteX0" fmla="*/ 60499 w 121558"/>
                <a:gd name="connsiteY0" fmla="*/ 232388 h 232388"/>
                <a:gd name="connsiteX1" fmla="*/ 60499 w 121558"/>
                <a:gd name="connsiteY1" fmla="*/ 69717 h 232388"/>
                <a:gd name="connsiteX2" fmla="*/ 60499 w 121558"/>
                <a:gd name="connsiteY2" fmla="*/ 65615 h 232388"/>
                <a:gd name="connsiteX3" fmla="*/ 39995 w 121558"/>
                <a:gd name="connsiteY3" fmla="*/ 50123 h 232388"/>
                <a:gd name="connsiteX4" fmla="*/ 0 w 121558"/>
                <a:gd name="connsiteY4" fmla="*/ 50123 h 232388"/>
                <a:gd name="connsiteX5" fmla="*/ 41457 w 121558"/>
                <a:gd name="connsiteY5" fmla="*/ 0 h 232388"/>
                <a:gd name="connsiteX6" fmla="*/ 64601 w 121558"/>
                <a:gd name="connsiteY6" fmla="*/ 0 h 232388"/>
                <a:gd name="connsiteX7" fmla="*/ 121558 w 121558"/>
                <a:gd name="connsiteY7" fmla="*/ 50123 h 232388"/>
                <a:gd name="connsiteX8" fmla="*/ 121558 w 121558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558" h="232388">
                  <a:moveTo>
                    <a:pt x="60499" y="232388"/>
                  </a:moveTo>
                  <a:lnTo>
                    <a:pt x="60499" y="69717"/>
                  </a:lnTo>
                  <a:cubicBezTo>
                    <a:pt x="60499" y="68349"/>
                    <a:pt x="60499" y="66983"/>
                    <a:pt x="60499" y="65615"/>
                  </a:cubicBezTo>
                  <a:cubicBezTo>
                    <a:pt x="59133" y="55591"/>
                    <a:pt x="50019" y="48756"/>
                    <a:pt x="39995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64601" y="0"/>
                  </a:lnTo>
                  <a:cubicBezTo>
                    <a:pt x="101509" y="0"/>
                    <a:pt x="121558" y="15948"/>
                    <a:pt x="121558" y="50123"/>
                  </a:cubicBezTo>
                  <a:lnTo>
                    <a:pt x="121558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1" name="Forme libre : forme 270">
              <a:extLst>
                <a:ext uri="{FF2B5EF4-FFF2-40B4-BE49-F238E27FC236}">
                  <a16:creationId xmlns:a16="http://schemas.microsoft.com/office/drawing/2014/main" id="{79A1F7C8-13AC-4C12-A1FD-013BA48F78A7}"/>
                </a:ext>
              </a:extLst>
            </p:cNvPr>
            <p:cNvSpPr/>
            <p:nvPr/>
          </p:nvSpPr>
          <p:spPr>
            <a:xfrm rot="8716295">
              <a:off x="763454" y="1474783"/>
              <a:ext cx="14143" cy="14319"/>
            </a:xfrm>
            <a:custGeom>
              <a:avLst/>
              <a:gdLst>
                <a:gd name="connsiteX0" fmla="*/ 0 w 14143"/>
                <a:gd name="connsiteY0" fmla="*/ 14319 h 14319"/>
                <a:gd name="connsiteX1" fmla="*/ 11843 w 14143"/>
                <a:gd name="connsiteY1" fmla="*/ 0 h 14319"/>
                <a:gd name="connsiteX2" fmla="*/ 14143 w 14143"/>
                <a:gd name="connsiteY2" fmla="*/ 7563 h 14319"/>
                <a:gd name="connsiteX3" fmla="*/ 14143 w 14143"/>
                <a:gd name="connsiteY3" fmla="*/ 13487 h 1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43" h="14319">
                  <a:moveTo>
                    <a:pt x="0" y="14319"/>
                  </a:moveTo>
                  <a:lnTo>
                    <a:pt x="11843" y="0"/>
                  </a:lnTo>
                  <a:lnTo>
                    <a:pt x="14143" y="7563"/>
                  </a:lnTo>
                  <a:lnTo>
                    <a:pt x="14143" y="1348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2" name="Forme libre : forme 271">
              <a:extLst>
                <a:ext uri="{FF2B5EF4-FFF2-40B4-BE49-F238E27FC236}">
                  <a16:creationId xmlns:a16="http://schemas.microsoft.com/office/drawing/2014/main" id="{C3E454D8-15B4-4672-8FB0-B86B805165E6}"/>
                </a:ext>
              </a:extLst>
            </p:cNvPr>
            <p:cNvSpPr/>
            <p:nvPr/>
          </p:nvSpPr>
          <p:spPr>
            <a:xfrm rot="8716295">
              <a:off x="672878" y="1171577"/>
              <a:ext cx="183964" cy="137618"/>
            </a:xfrm>
            <a:custGeom>
              <a:avLst/>
              <a:gdLst>
                <a:gd name="connsiteX0" fmla="*/ 0 w 183964"/>
                <a:gd name="connsiteY0" fmla="*/ 137618 h 137618"/>
                <a:gd name="connsiteX1" fmla="*/ 53346 w 183964"/>
                <a:gd name="connsiteY1" fmla="*/ 73121 h 137618"/>
                <a:gd name="connsiteX2" fmla="*/ 101034 w 183964"/>
                <a:gd name="connsiteY2" fmla="*/ 28251 h 137618"/>
                <a:gd name="connsiteX3" fmla="*/ 155713 w 183964"/>
                <a:gd name="connsiteY3" fmla="*/ 0 h 137618"/>
                <a:gd name="connsiteX4" fmla="*/ 183964 w 183964"/>
                <a:gd name="connsiteY4" fmla="*/ 33719 h 137618"/>
                <a:gd name="connsiteX5" fmla="*/ 157536 w 183964"/>
                <a:gd name="connsiteY5" fmla="*/ 69261 h 137618"/>
                <a:gd name="connsiteX6" fmla="*/ 157991 w 183964"/>
                <a:gd name="connsiteY6" fmla="*/ 69261 h 137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3964" h="137618">
                  <a:moveTo>
                    <a:pt x="0" y="137618"/>
                  </a:moveTo>
                  <a:lnTo>
                    <a:pt x="53346" y="73121"/>
                  </a:lnTo>
                  <a:lnTo>
                    <a:pt x="101034" y="28251"/>
                  </a:lnTo>
                  <a:cubicBezTo>
                    <a:pt x="114703" y="12303"/>
                    <a:pt x="134297" y="2278"/>
                    <a:pt x="155713" y="0"/>
                  </a:cubicBezTo>
                  <a:cubicBezTo>
                    <a:pt x="177585" y="0"/>
                    <a:pt x="183964" y="19138"/>
                    <a:pt x="183964" y="33719"/>
                  </a:cubicBezTo>
                  <a:cubicBezTo>
                    <a:pt x="182597" y="49667"/>
                    <a:pt x="172117" y="62881"/>
                    <a:pt x="157536" y="69261"/>
                  </a:cubicBezTo>
                  <a:lnTo>
                    <a:pt x="157991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3" name="Forme libre : forme 272">
              <a:extLst>
                <a:ext uri="{FF2B5EF4-FFF2-40B4-BE49-F238E27FC236}">
                  <a16:creationId xmlns:a16="http://schemas.microsoft.com/office/drawing/2014/main" id="{9C05EADF-BE0D-49AA-B420-B1EB4831C5FE}"/>
                </a:ext>
              </a:extLst>
            </p:cNvPr>
            <p:cNvSpPr/>
            <p:nvPr/>
          </p:nvSpPr>
          <p:spPr>
            <a:xfrm rot="8716295">
              <a:off x="519479" y="13148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4" name="Forme libre : forme 273">
              <a:extLst>
                <a:ext uri="{FF2B5EF4-FFF2-40B4-BE49-F238E27FC236}">
                  <a16:creationId xmlns:a16="http://schemas.microsoft.com/office/drawing/2014/main" id="{AB241E56-80DB-4C03-BDCB-013736737321}"/>
                </a:ext>
              </a:extLst>
            </p:cNvPr>
            <p:cNvSpPr/>
            <p:nvPr/>
          </p:nvSpPr>
          <p:spPr>
            <a:xfrm rot="8716295">
              <a:off x="394576" y="11061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5" name="Forme libre : forme 274">
              <a:extLst>
                <a:ext uri="{FF2B5EF4-FFF2-40B4-BE49-F238E27FC236}">
                  <a16:creationId xmlns:a16="http://schemas.microsoft.com/office/drawing/2014/main" id="{E447AC23-F520-414E-AA97-1E8F359564D9}"/>
                </a:ext>
              </a:extLst>
            </p:cNvPr>
            <p:cNvSpPr/>
            <p:nvPr/>
          </p:nvSpPr>
          <p:spPr>
            <a:xfrm rot="8716295">
              <a:off x="382524" y="96739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6" name="Forme libre : forme 275">
              <a:extLst>
                <a:ext uri="{FF2B5EF4-FFF2-40B4-BE49-F238E27FC236}">
                  <a16:creationId xmlns:a16="http://schemas.microsoft.com/office/drawing/2014/main" id="{64C6C88C-FD82-456D-9665-DF0FCE0E4C47}"/>
                </a:ext>
              </a:extLst>
            </p:cNvPr>
            <p:cNvSpPr/>
            <p:nvPr/>
          </p:nvSpPr>
          <p:spPr>
            <a:xfrm rot="8716295">
              <a:off x="609657" y="135579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7" name="Forme libre : forme 276">
              <a:extLst>
                <a:ext uri="{FF2B5EF4-FFF2-40B4-BE49-F238E27FC236}">
                  <a16:creationId xmlns:a16="http://schemas.microsoft.com/office/drawing/2014/main" id="{0A77A193-F583-4928-97AF-E64E8FF6DEAD}"/>
                </a:ext>
              </a:extLst>
            </p:cNvPr>
            <p:cNvSpPr/>
            <p:nvPr/>
          </p:nvSpPr>
          <p:spPr>
            <a:xfrm rot="8716295">
              <a:off x="683426" y="869567"/>
              <a:ext cx="156000" cy="195873"/>
            </a:xfrm>
            <a:custGeom>
              <a:avLst/>
              <a:gdLst>
                <a:gd name="connsiteX0" fmla="*/ 42863 w 156000"/>
                <a:gd name="connsiteY0" fmla="*/ 195873 h 195873"/>
                <a:gd name="connsiteX1" fmla="*/ 0 w 156000"/>
                <a:gd name="connsiteY1" fmla="*/ 116129 h 195873"/>
                <a:gd name="connsiteX2" fmla="*/ 5100 w 156000"/>
                <a:gd name="connsiteY2" fmla="*/ 101988 h 195873"/>
                <a:gd name="connsiteX3" fmla="*/ 89456 w 156000"/>
                <a:gd name="connsiteY3" fmla="*/ 0 h 195873"/>
                <a:gd name="connsiteX4" fmla="*/ 156000 w 156000"/>
                <a:gd name="connsiteY4" fmla="*/ 0 h 195873"/>
                <a:gd name="connsiteX5" fmla="*/ 156000 w 156000"/>
                <a:gd name="connsiteY5" fmla="*/ 55323 h 195873"/>
                <a:gd name="connsiteX6" fmla="*/ 91208 w 156000"/>
                <a:gd name="connsiteY6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000" h="195873">
                  <a:moveTo>
                    <a:pt x="42863" y="195873"/>
                  </a:moveTo>
                  <a:lnTo>
                    <a:pt x="0" y="116129"/>
                  </a:lnTo>
                  <a:lnTo>
                    <a:pt x="5100" y="101988"/>
                  </a:lnTo>
                  <a:lnTo>
                    <a:pt x="89456" y="0"/>
                  </a:lnTo>
                  <a:lnTo>
                    <a:pt x="156000" y="0"/>
                  </a:lnTo>
                  <a:lnTo>
                    <a:pt x="156000" y="55323"/>
                  </a:lnTo>
                  <a:lnTo>
                    <a:pt x="91208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8" name="Forme libre : forme 277">
              <a:extLst>
                <a:ext uri="{FF2B5EF4-FFF2-40B4-BE49-F238E27FC236}">
                  <a16:creationId xmlns:a16="http://schemas.microsoft.com/office/drawing/2014/main" id="{CF3F0AFD-D31B-4029-B3F3-E13BB8216AB9}"/>
                </a:ext>
              </a:extLst>
            </p:cNvPr>
            <p:cNvSpPr/>
            <p:nvPr/>
          </p:nvSpPr>
          <p:spPr>
            <a:xfrm rot="8716295">
              <a:off x="657305" y="95604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9" name="Forme libre : forme 278">
              <a:extLst>
                <a:ext uri="{FF2B5EF4-FFF2-40B4-BE49-F238E27FC236}">
                  <a16:creationId xmlns:a16="http://schemas.microsoft.com/office/drawing/2014/main" id="{4E0EA875-3BAB-4BDB-A5B0-808C38082217}"/>
                </a:ext>
              </a:extLst>
            </p:cNvPr>
            <p:cNvSpPr/>
            <p:nvPr/>
          </p:nvSpPr>
          <p:spPr>
            <a:xfrm rot="8716295">
              <a:off x="412774" y="56424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0" name="Forme libre : forme 279">
              <a:extLst>
                <a:ext uri="{FF2B5EF4-FFF2-40B4-BE49-F238E27FC236}">
                  <a16:creationId xmlns:a16="http://schemas.microsoft.com/office/drawing/2014/main" id="{842C3D6E-95C4-425C-8B38-D0EBD8DBD5E5}"/>
                </a:ext>
              </a:extLst>
            </p:cNvPr>
            <p:cNvSpPr/>
            <p:nvPr/>
          </p:nvSpPr>
          <p:spPr>
            <a:xfrm rot="8716295">
              <a:off x="502166" y="59348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1" name="Forme libre : forme 280">
              <a:extLst>
                <a:ext uri="{FF2B5EF4-FFF2-40B4-BE49-F238E27FC236}">
                  <a16:creationId xmlns:a16="http://schemas.microsoft.com/office/drawing/2014/main" id="{A75BA1B9-497A-4874-9158-409D833D072A}"/>
                </a:ext>
              </a:extLst>
            </p:cNvPr>
            <p:cNvSpPr/>
            <p:nvPr/>
          </p:nvSpPr>
          <p:spPr>
            <a:xfrm rot="8716295">
              <a:off x="457316" y="50720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2" name="Forme libre : forme 281">
              <a:extLst>
                <a:ext uri="{FF2B5EF4-FFF2-40B4-BE49-F238E27FC236}">
                  <a16:creationId xmlns:a16="http://schemas.microsoft.com/office/drawing/2014/main" id="{205B75CA-6160-44CB-AE0D-8B52A04FF9B7}"/>
                </a:ext>
              </a:extLst>
            </p:cNvPr>
            <p:cNvSpPr/>
            <p:nvPr/>
          </p:nvSpPr>
          <p:spPr>
            <a:xfrm rot="8716295">
              <a:off x="300540" y="65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3" name="Forme libre : forme 282">
              <a:extLst>
                <a:ext uri="{FF2B5EF4-FFF2-40B4-BE49-F238E27FC236}">
                  <a16:creationId xmlns:a16="http://schemas.microsoft.com/office/drawing/2014/main" id="{91186326-55D6-4548-B33F-3511BC925FE8}"/>
                </a:ext>
              </a:extLst>
            </p:cNvPr>
            <p:cNvSpPr/>
            <p:nvPr/>
          </p:nvSpPr>
          <p:spPr>
            <a:xfrm rot="8716295">
              <a:off x="175637" y="44411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4" name="Forme libre : forme 283">
              <a:extLst>
                <a:ext uri="{FF2B5EF4-FFF2-40B4-BE49-F238E27FC236}">
                  <a16:creationId xmlns:a16="http://schemas.microsoft.com/office/drawing/2014/main" id="{A2ED5F31-FCDD-430A-BE16-9B1EA12A7F4F}"/>
                </a:ext>
              </a:extLst>
            </p:cNvPr>
            <p:cNvSpPr/>
            <p:nvPr/>
          </p:nvSpPr>
          <p:spPr>
            <a:xfrm rot="8716295">
              <a:off x="163585" y="30533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5" name="Forme libre : forme 284">
              <a:extLst>
                <a:ext uri="{FF2B5EF4-FFF2-40B4-BE49-F238E27FC236}">
                  <a16:creationId xmlns:a16="http://schemas.microsoft.com/office/drawing/2014/main" id="{FEC22DEA-F709-420C-A439-1AC57EB74539}"/>
                </a:ext>
              </a:extLst>
            </p:cNvPr>
            <p:cNvSpPr/>
            <p:nvPr/>
          </p:nvSpPr>
          <p:spPr>
            <a:xfrm rot="8716295">
              <a:off x="390718" y="69374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6" name="Forme libre : forme 285">
              <a:extLst>
                <a:ext uri="{FF2B5EF4-FFF2-40B4-BE49-F238E27FC236}">
                  <a16:creationId xmlns:a16="http://schemas.microsoft.com/office/drawing/2014/main" id="{4DA790D9-C5B8-43BC-8AB6-4E888B07FAC5}"/>
                </a:ext>
              </a:extLst>
            </p:cNvPr>
            <p:cNvSpPr/>
            <p:nvPr/>
          </p:nvSpPr>
          <p:spPr>
            <a:xfrm rot="8716295">
              <a:off x="702015" y="317459"/>
              <a:ext cx="131260" cy="232388"/>
            </a:xfrm>
            <a:custGeom>
              <a:avLst/>
              <a:gdLst>
                <a:gd name="connsiteX0" fmla="*/ 70201 w 131260"/>
                <a:gd name="connsiteY0" fmla="*/ 232388 h 232388"/>
                <a:gd name="connsiteX1" fmla="*/ 70201 w 131260"/>
                <a:gd name="connsiteY1" fmla="*/ 69717 h 232388"/>
                <a:gd name="connsiteX2" fmla="*/ 70201 w 131260"/>
                <a:gd name="connsiteY2" fmla="*/ 65615 h 232388"/>
                <a:gd name="connsiteX3" fmla="*/ 49697 w 131260"/>
                <a:gd name="connsiteY3" fmla="*/ 50123 h 232388"/>
                <a:gd name="connsiteX4" fmla="*/ 0 w 131260"/>
                <a:gd name="connsiteY4" fmla="*/ 50123 h 232388"/>
                <a:gd name="connsiteX5" fmla="*/ 41457 w 131260"/>
                <a:gd name="connsiteY5" fmla="*/ 0 h 232388"/>
                <a:gd name="connsiteX6" fmla="*/ 74303 w 131260"/>
                <a:gd name="connsiteY6" fmla="*/ 0 h 232388"/>
                <a:gd name="connsiteX7" fmla="*/ 131260 w 131260"/>
                <a:gd name="connsiteY7" fmla="*/ 50123 h 232388"/>
                <a:gd name="connsiteX8" fmla="*/ 131260 w 131260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1260" h="232388">
                  <a:moveTo>
                    <a:pt x="70201" y="232388"/>
                  </a:moveTo>
                  <a:lnTo>
                    <a:pt x="70201" y="69717"/>
                  </a:lnTo>
                  <a:cubicBezTo>
                    <a:pt x="70201" y="68349"/>
                    <a:pt x="70201" y="66983"/>
                    <a:pt x="70201" y="65615"/>
                  </a:cubicBezTo>
                  <a:cubicBezTo>
                    <a:pt x="68835" y="55591"/>
                    <a:pt x="59721" y="48756"/>
                    <a:pt x="49697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74303" y="0"/>
                  </a:lnTo>
                  <a:cubicBezTo>
                    <a:pt x="111211" y="0"/>
                    <a:pt x="131260" y="15948"/>
                    <a:pt x="131260" y="50123"/>
                  </a:cubicBezTo>
                  <a:lnTo>
                    <a:pt x="131260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7" name="Forme libre : forme 286">
              <a:extLst>
                <a:ext uri="{FF2B5EF4-FFF2-40B4-BE49-F238E27FC236}">
                  <a16:creationId xmlns:a16="http://schemas.microsoft.com/office/drawing/2014/main" id="{091E5F9C-73C6-4CAB-93E5-EFA60788C51C}"/>
                </a:ext>
              </a:extLst>
            </p:cNvPr>
            <p:cNvSpPr/>
            <p:nvPr/>
          </p:nvSpPr>
          <p:spPr>
            <a:xfrm rot="8716295">
              <a:off x="834978" y="558357"/>
              <a:ext cx="24341" cy="23495"/>
            </a:xfrm>
            <a:custGeom>
              <a:avLst/>
              <a:gdLst>
                <a:gd name="connsiteX0" fmla="*/ 0 w 24341"/>
                <a:gd name="connsiteY0" fmla="*/ 23495 h 23495"/>
                <a:gd name="connsiteX1" fmla="*/ 19433 w 24341"/>
                <a:gd name="connsiteY1" fmla="*/ 0 h 23495"/>
                <a:gd name="connsiteX2" fmla="*/ 24341 w 24341"/>
                <a:gd name="connsiteY2" fmla="*/ 16139 h 23495"/>
                <a:gd name="connsiteX3" fmla="*/ 24341 w 24341"/>
                <a:gd name="connsiteY3" fmla="*/ 22063 h 23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41" h="23495">
                  <a:moveTo>
                    <a:pt x="0" y="23495"/>
                  </a:moveTo>
                  <a:lnTo>
                    <a:pt x="19433" y="0"/>
                  </a:lnTo>
                  <a:lnTo>
                    <a:pt x="24341" y="16139"/>
                  </a:lnTo>
                  <a:lnTo>
                    <a:pt x="24341" y="220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8" name="Forme libre : forme 287">
              <a:extLst>
                <a:ext uri="{FF2B5EF4-FFF2-40B4-BE49-F238E27FC236}">
                  <a16:creationId xmlns:a16="http://schemas.microsoft.com/office/drawing/2014/main" id="{93F3A654-B74E-499B-8487-8A2B2CC5A0EA}"/>
                </a:ext>
              </a:extLst>
            </p:cNvPr>
            <p:cNvSpPr/>
            <p:nvPr/>
          </p:nvSpPr>
          <p:spPr>
            <a:xfrm rot="8716295">
              <a:off x="589639" y="40263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9" name="Forme libre : forme 288">
              <a:extLst>
                <a:ext uri="{FF2B5EF4-FFF2-40B4-BE49-F238E27FC236}">
                  <a16:creationId xmlns:a16="http://schemas.microsoft.com/office/drawing/2014/main" id="{D0AE4335-4774-4A5C-9D6E-6AA33670DF96}"/>
                </a:ext>
              </a:extLst>
            </p:cNvPr>
            <p:cNvSpPr/>
            <p:nvPr/>
          </p:nvSpPr>
          <p:spPr>
            <a:xfrm rot="8716295">
              <a:off x="464737" y="19396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0" name="Forme libre : forme 289">
              <a:extLst>
                <a:ext uri="{FF2B5EF4-FFF2-40B4-BE49-F238E27FC236}">
                  <a16:creationId xmlns:a16="http://schemas.microsoft.com/office/drawing/2014/main" id="{2305D91E-CF26-4028-92DC-E2D20BB482D6}"/>
                </a:ext>
              </a:extLst>
            </p:cNvPr>
            <p:cNvSpPr/>
            <p:nvPr/>
          </p:nvSpPr>
          <p:spPr>
            <a:xfrm rot="8716295">
              <a:off x="679817" y="44358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1" name="Forme libre : forme 290">
              <a:extLst>
                <a:ext uri="{FF2B5EF4-FFF2-40B4-BE49-F238E27FC236}">
                  <a16:creationId xmlns:a16="http://schemas.microsoft.com/office/drawing/2014/main" id="{DF9C8202-D29B-450E-90FF-E46CAC2E7FA2}"/>
                </a:ext>
              </a:extLst>
            </p:cNvPr>
            <p:cNvSpPr/>
            <p:nvPr/>
          </p:nvSpPr>
          <p:spPr>
            <a:xfrm rot="8716295">
              <a:off x="438366" y="29398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2" name="Forme libre : forme 291">
              <a:extLst>
                <a:ext uri="{FF2B5EF4-FFF2-40B4-BE49-F238E27FC236}">
                  <a16:creationId xmlns:a16="http://schemas.microsoft.com/office/drawing/2014/main" id="{28FFA2F5-C74D-4918-B35E-56FAFD44D7DC}"/>
                </a:ext>
              </a:extLst>
            </p:cNvPr>
            <p:cNvSpPr/>
            <p:nvPr/>
          </p:nvSpPr>
          <p:spPr>
            <a:xfrm rot="7484129">
              <a:off x="811674" y="658874"/>
              <a:ext cx="31078" cy="46141"/>
            </a:xfrm>
            <a:custGeom>
              <a:avLst/>
              <a:gdLst>
                <a:gd name="connsiteX0" fmla="*/ 15207 w 31078"/>
                <a:gd name="connsiteY0" fmla="*/ 46141 h 46141"/>
                <a:gd name="connsiteX1" fmla="*/ 0 w 31078"/>
                <a:gd name="connsiteY1" fmla="*/ 17849 h 46141"/>
                <a:gd name="connsiteX2" fmla="*/ 31078 w 31078"/>
                <a:gd name="connsiteY2" fmla="*/ 0 h 46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078" h="46141">
                  <a:moveTo>
                    <a:pt x="15207" y="46141"/>
                  </a:moveTo>
                  <a:lnTo>
                    <a:pt x="0" y="17849"/>
                  </a:lnTo>
                  <a:lnTo>
                    <a:pt x="3107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3" name="Forme libre : forme 292">
              <a:extLst>
                <a:ext uri="{FF2B5EF4-FFF2-40B4-BE49-F238E27FC236}">
                  <a16:creationId xmlns:a16="http://schemas.microsoft.com/office/drawing/2014/main" id="{F7F1B592-6665-4DA1-B454-1D5C767BA63B}"/>
                </a:ext>
              </a:extLst>
            </p:cNvPr>
            <p:cNvSpPr/>
            <p:nvPr/>
          </p:nvSpPr>
          <p:spPr>
            <a:xfrm rot="8716295">
              <a:off x="780102" y="336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4" name="Forme libre : forme 293">
              <a:extLst>
                <a:ext uri="{FF2B5EF4-FFF2-40B4-BE49-F238E27FC236}">
                  <a16:creationId xmlns:a16="http://schemas.microsoft.com/office/drawing/2014/main" id="{33626504-CACB-4364-8AA4-F28F086A7B6A}"/>
                </a:ext>
              </a:extLst>
            </p:cNvPr>
            <p:cNvSpPr/>
            <p:nvPr/>
          </p:nvSpPr>
          <p:spPr>
            <a:xfrm rot="8716295">
              <a:off x="202348" y="-57106"/>
              <a:ext cx="142167" cy="186494"/>
            </a:xfrm>
            <a:custGeom>
              <a:avLst/>
              <a:gdLst>
                <a:gd name="connsiteX0" fmla="*/ 142167 w 142167"/>
                <a:gd name="connsiteY0" fmla="*/ 186494 h 186494"/>
                <a:gd name="connsiteX1" fmla="*/ 81108 w 142167"/>
                <a:gd name="connsiteY1" fmla="*/ 144170 h 186494"/>
                <a:gd name="connsiteX2" fmla="*/ 81108 w 142167"/>
                <a:gd name="connsiteY2" fmla="*/ 69717 h 186494"/>
                <a:gd name="connsiteX3" fmla="*/ 81108 w 142167"/>
                <a:gd name="connsiteY3" fmla="*/ 65615 h 186494"/>
                <a:gd name="connsiteX4" fmla="*/ 60603 w 142167"/>
                <a:gd name="connsiteY4" fmla="*/ 50123 h 186494"/>
                <a:gd name="connsiteX5" fmla="*/ 0 w 142167"/>
                <a:gd name="connsiteY5" fmla="*/ 50123 h 186494"/>
                <a:gd name="connsiteX6" fmla="*/ 0 w 142167"/>
                <a:gd name="connsiteY6" fmla="*/ 0 h 186494"/>
                <a:gd name="connsiteX7" fmla="*/ 85209 w 142167"/>
                <a:gd name="connsiteY7" fmla="*/ 0 h 186494"/>
                <a:gd name="connsiteX8" fmla="*/ 142167 w 142167"/>
                <a:gd name="connsiteY8" fmla="*/ 50123 h 186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86494">
                  <a:moveTo>
                    <a:pt x="142167" y="186494"/>
                  </a:moveTo>
                  <a:lnTo>
                    <a:pt x="81108" y="144170"/>
                  </a:lnTo>
                  <a:lnTo>
                    <a:pt x="81108" y="69717"/>
                  </a:lnTo>
                  <a:cubicBezTo>
                    <a:pt x="81108" y="68349"/>
                    <a:pt x="81108" y="66983"/>
                    <a:pt x="81108" y="65615"/>
                  </a:cubicBezTo>
                  <a:cubicBezTo>
                    <a:pt x="79741" y="55591"/>
                    <a:pt x="70628" y="48756"/>
                    <a:pt x="60603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5" name="Forme libre : forme 294">
              <a:extLst>
                <a:ext uri="{FF2B5EF4-FFF2-40B4-BE49-F238E27FC236}">
                  <a16:creationId xmlns:a16="http://schemas.microsoft.com/office/drawing/2014/main" id="{8B9EE4C0-9C2E-42BB-B294-381EB8F6C5DA}"/>
                </a:ext>
              </a:extLst>
            </p:cNvPr>
            <p:cNvSpPr/>
            <p:nvPr/>
          </p:nvSpPr>
          <p:spPr>
            <a:xfrm rot="8716295">
              <a:off x="298766" y="-5395"/>
              <a:ext cx="260639" cy="180054"/>
            </a:xfrm>
            <a:custGeom>
              <a:avLst/>
              <a:gdLst>
                <a:gd name="connsiteX0" fmla="*/ 111638 w 260639"/>
                <a:gd name="connsiteY0" fmla="*/ 180054 h 180054"/>
                <a:gd name="connsiteX1" fmla="*/ 51490 w 260639"/>
                <a:gd name="connsiteY1" fmla="*/ 138362 h 180054"/>
                <a:gd name="connsiteX2" fmla="*/ 51490 w 260639"/>
                <a:gd name="connsiteY2" fmla="*/ 45624 h 180054"/>
                <a:gd name="connsiteX3" fmla="*/ 0 w 260639"/>
                <a:gd name="connsiteY3" fmla="*/ 45624 h 180054"/>
                <a:gd name="connsiteX4" fmla="*/ 0 w 260639"/>
                <a:gd name="connsiteY4" fmla="*/ 1425 h 180054"/>
                <a:gd name="connsiteX5" fmla="*/ 104802 w 260639"/>
                <a:gd name="connsiteY5" fmla="*/ 1425 h 180054"/>
                <a:gd name="connsiteX6" fmla="*/ 104802 w 260639"/>
                <a:gd name="connsiteY6" fmla="*/ 75242 h 180054"/>
                <a:gd name="connsiteX7" fmla="*/ 106169 w 260639"/>
                <a:gd name="connsiteY7" fmla="*/ 75242 h 180054"/>
                <a:gd name="connsiteX8" fmla="*/ 154014 w 260639"/>
                <a:gd name="connsiteY8" fmla="*/ 5981 h 180054"/>
                <a:gd name="connsiteX9" fmla="*/ 185455 w 260639"/>
                <a:gd name="connsiteY9" fmla="*/ 57 h 180054"/>
                <a:gd name="connsiteX10" fmla="*/ 260639 w 260639"/>
                <a:gd name="connsiteY10" fmla="*/ 88456 h 180054"/>
                <a:gd name="connsiteX11" fmla="*/ 260639 w 260639"/>
                <a:gd name="connsiteY11" fmla="*/ 94380 h 180054"/>
                <a:gd name="connsiteX12" fmla="*/ 198669 w 260639"/>
                <a:gd name="connsiteY12" fmla="*/ 98025 h 180054"/>
                <a:gd name="connsiteX13" fmla="*/ 198669 w 260639"/>
                <a:gd name="connsiteY13" fmla="*/ 81621 h 180054"/>
                <a:gd name="connsiteX14" fmla="*/ 164950 w 260639"/>
                <a:gd name="connsiteY14" fmla="*/ 40156 h 180054"/>
                <a:gd name="connsiteX15" fmla="*/ 111638 w 260639"/>
                <a:gd name="connsiteY15" fmla="*/ 127643 h 180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0639" h="180054">
                  <a:moveTo>
                    <a:pt x="111638" y="180054"/>
                  </a:moveTo>
                  <a:lnTo>
                    <a:pt x="51490" y="138362"/>
                  </a:ln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6" name="Forme libre : forme 295">
              <a:extLst>
                <a:ext uri="{FF2B5EF4-FFF2-40B4-BE49-F238E27FC236}">
                  <a16:creationId xmlns:a16="http://schemas.microsoft.com/office/drawing/2014/main" id="{426417CD-8FE4-43C3-B84F-A51A46F7C7B1}"/>
                </a:ext>
              </a:extLst>
            </p:cNvPr>
            <p:cNvSpPr/>
            <p:nvPr/>
          </p:nvSpPr>
          <p:spPr>
            <a:xfrm rot="8716295">
              <a:off x="276903" y="-12823"/>
              <a:ext cx="36272" cy="27982"/>
            </a:xfrm>
            <a:custGeom>
              <a:avLst/>
              <a:gdLst>
                <a:gd name="connsiteX0" fmla="*/ 36272 w 36272"/>
                <a:gd name="connsiteY0" fmla="*/ 27982 h 27982"/>
                <a:gd name="connsiteX1" fmla="*/ 0 w 36272"/>
                <a:gd name="connsiteY1" fmla="*/ 2840 h 27982"/>
                <a:gd name="connsiteX2" fmla="*/ 9543 w 36272"/>
                <a:gd name="connsiteY2" fmla="*/ 0 h 27982"/>
                <a:gd name="connsiteX3" fmla="*/ 31871 w 36272"/>
                <a:gd name="connsiteY3" fmla="*/ 11392 h 27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272" h="27982">
                  <a:moveTo>
                    <a:pt x="36272" y="27982"/>
                  </a:moveTo>
                  <a:lnTo>
                    <a:pt x="0" y="2840"/>
                  </a:lnTo>
                  <a:lnTo>
                    <a:pt x="9543" y="0"/>
                  </a:lnTo>
                  <a:cubicBezTo>
                    <a:pt x="20479" y="0"/>
                    <a:pt x="27542" y="4784"/>
                    <a:pt x="31871" y="113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7" name="Forme libre : forme 296">
              <a:extLst>
                <a:ext uri="{FF2B5EF4-FFF2-40B4-BE49-F238E27FC236}">
                  <a16:creationId xmlns:a16="http://schemas.microsoft.com/office/drawing/2014/main" id="{2194BB82-FA83-4BF9-8EBD-D8D0328F9BDF}"/>
                </a:ext>
              </a:extLst>
            </p:cNvPr>
            <p:cNvSpPr/>
            <p:nvPr/>
          </p:nvSpPr>
          <p:spPr>
            <a:xfrm rot="8716295">
              <a:off x="74640" y="-9665"/>
              <a:ext cx="58068" cy="54772"/>
            </a:xfrm>
            <a:custGeom>
              <a:avLst/>
              <a:gdLst>
                <a:gd name="connsiteX0" fmla="*/ 37436 w 58068"/>
                <a:gd name="connsiteY0" fmla="*/ 54772 h 54772"/>
                <a:gd name="connsiteX1" fmla="*/ 0 w 58068"/>
                <a:gd name="connsiteY1" fmla="*/ 28823 h 54772"/>
                <a:gd name="connsiteX2" fmla="*/ 8515 w 58068"/>
                <a:gd name="connsiteY2" fmla="*/ 8658 h 54772"/>
                <a:gd name="connsiteX3" fmla="*/ 29020 w 58068"/>
                <a:gd name="connsiteY3" fmla="*/ 0 h 54772"/>
                <a:gd name="connsiteX4" fmla="*/ 49525 w 58068"/>
                <a:gd name="connsiteY4" fmla="*/ 8658 h 54772"/>
                <a:gd name="connsiteX5" fmla="*/ 49525 w 58068"/>
                <a:gd name="connsiteY5" fmla="*/ 49668 h 5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068" h="54772">
                  <a:moveTo>
                    <a:pt x="37436" y="54772"/>
                  </a:moveTo>
                  <a:lnTo>
                    <a:pt x="0" y="28823"/>
                  </a:lnTo>
                  <a:lnTo>
                    <a:pt x="8515" y="8658"/>
                  </a:lnTo>
                  <a:cubicBezTo>
                    <a:pt x="13983" y="3190"/>
                    <a:pt x="21273" y="0"/>
                    <a:pt x="29020" y="0"/>
                  </a:cubicBezTo>
                  <a:cubicBezTo>
                    <a:pt x="36766" y="0"/>
                    <a:pt x="44057" y="3190"/>
                    <a:pt x="49525" y="8658"/>
                  </a:cubicBezTo>
                  <a:cubicBezTo>
                    <a:pt x="60916" y="19594"/>
                    <a:pt x="60916" y="38276"/>
                    <a:pt x="49525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8" name="Forme libre : forme 297">
              <a:extLst>
                <a:ext uri="{FF2B5EF4-FFF2-40B4-BE49-F238E27FC236}">
                  <a16:creationId xmlns:a16="http://schemas.microsoft.com/office/drawing/2014/main" id="{1E2DA60E-6B88-4273-B8B8-20DC571CA2F9}"/>
                </a:ext>
              </a:extLst>
            </p:cNvPr>
            <p:cNvSpPr/>
            <p:nvPr/>
          </p:nvSpPr>
          <p:spPr>
            <a:xfrm rot="8716295">
              <a:off x="13802" y="-10406"/>
              <a:ext cx="30027" cy="20814"/>
            </a:xfrm>
            <a:custGeom>
              <a:avLst/>
              <a:gdLst>
                <a:gd name="connsiteX0" fmla="*/ 30027 w 30027"/>
                <a:gd name="connsiteY0" fmla="*/ 20814 h 20814"/>
                <a:gd name="connsiteX1" fmla="*/ 0 w 30027"/>
                <a:gd name="connsiteY1" fmla="*/ 0 h 20814"/>
                <a:gd name="connsiteX2" fmla="*/ 30027 w 30027"/>
                <a:gd name="connsiteY2" fmla="*/ 0 h 20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027" h="20814">
                  <a:moveTo>
                    <a:pt x="30027" y="20814"/>
                  </a:moveTo>
                  <a:lnTo>
                    <a:pt x="0" y="0"/>
                  </a:lnTo>
                  <a:lnTo>
                    <a:pt x="3002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9" name="Forme libre : forme 298">
              <a:extLst>
                <a:ext uri="{FF2B5EF4-FFF2-40B4-BE49-F238E27FC236}">
                  <a16:creationId xmlns:a16="http://schemas.microsoft.com/office/drawing/2014/main" id="{0B53881C-9CFA-4C7A-B7BB-D045B9F708A3}"/>
                </a:ext>
              </a:extLst>
            </p:cNvPr>
            <p:cNvSpPr/>
            <p:nvPr/>
          </p:nvSpPr>
          <p:spPr>
            <a:xfrm rot="8716295">
              <a:off x="168048" y="3032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0" name="Forme libre : forme 299">
              <a:extLst>
                <a:ext uri="{FF2B5EF4-FFF2-40B4-BE49-F238E27FC236}">
                  <a16:creationId xmlns:a16="http://schemas.microsoft.com/office/drawing/2014/main" id="{07B92E1C-0CE7-4A26-8278-C39DA02570AC}"/>
                </a:ext>
              </a:extLst>
            </p:cNvPr>
            <p:cNvSpPr/>
            <p:nvPr/>
          </p:nvSpPr>
          <p:spPr>
            <a:xfrm rot="7484129">
              <a:off x="562078" y="-284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1" name="Forme libre : forme 300">
              <a:extLst>
                <a:ext uri="{FF2B5EF4-FFF2-40B4-BE49-F238E27FC236}">
                  <a16:creationId xmlns:a16="http://schemas.microsoft.com/office/drawing/2014/main" id="{CAE7423C-0BBB-4D40-8F55-D1ED03A3FDDA}"/>
                </a:ext>
              </a:extLst>
            </p:cNvPr>
            <p:cNvSpPr/>
            <p:nvPr/>
          </p:nvSpPr>
          <p:spPr>
            <a:xfrm rot="13089394">
              <a:off x="767127" y="-2787"/>
              <a:ext cx="149688" cy="301067"/>
            </a:xfrm>
            <a:custGeom>
              <a:avLst/>
              <a:gdLst>
                <a:gd name="connsiteX0" fmla="*/ 149688 w 149688"/>
                <a:gd name="connsiteY0" fmla="*/ 279622 h 301067"/>
                <a:gd name="connsiteX1" fmla="*/ 122393 w 149688"/>
                <a:gd name="connsiteY1" fmla="*/ 301067 h 301067"/>
                <a:gd name="connsiteX2" fmla="*/ 0 w 149688"/>
                <a:gd name="connsiteY2" fmla="*/ 114672 h 301067"/>
                <a:gd name="connsiteX3" fmla="*/ 0 w 149688"/>
                <a:gd name="connsiteY3" fmla="*/ 38074 h 301067"/>
                <a:gd name="connsiteX4" fmla="*/ 73388 w 149688"/>
                <a:gd name="connsiteY4" fmla="*/ 0 h 301067"/>
                <a:gd name="connsiteX5" fmla="*/ 74492 w 149688"/>
                <a:gd name="connsiteY5" fmla="*/ 153950 h 301067"/>
                <a:gd name="connsiteX6" fmla="*/ 87734 w 149688"/>
                <a:gd name="connsiteY6" fmla="*/ 245547 h 301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9688" h="301067">
                  <a:moveTo>
                    <a:pt x="149688" y="279622"/>
                  </a:moveTo>
                  <a:lnTo>
                    <a:pt x="122393" y="301067"/>
                  </a:lnTo>
                  <a:lnTo>
                    <a:pt x="0" y="114672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2836" y="184850"/>
                    <a:pt x="77802" y="216302"/>
                    <a:pt x="87734" y="2455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2" name="Forme libre : forme 301">
              <a:extLst>
                <a:ext uri="{FF2B5EF4-FFF2-40B4-BE49-F238E27FC236}">
                  <a16:creationId xmlns:a16="http://schemas.microsoft.com/office/drawing/2014/main" id="{DE7F88C3-F95A-48EB-BC5C-94F46E2332ED}"/>
                </a:ext>
              </a:extLst>
            </p:cNvPr>
            <p:cNvSpPr/>
            <p:nvPr/>
          </p:nvSpPr>
          <p:spPr>
            <a:xfrm rot="8716295">
              <a:off x="212141" y="304502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3" name="Forme libre : forme 302">
              <a:extLst>
                <a:ext uri="{FF2B5EF4-FFF2-40B4-BE49-F238E27FC236}">
                  <a16:creationId xmlns:a16="http://schemas.microsoft.com/office/drawing/2014/main" id="{D55BD2D7-C439-4F43-96D6-CC4EB9C9A2CD}"/>
                </a:ext>
              </a:extLst>
            </p:cNvPr>
            <p:cNvSpPr/>
            <p:nvPr/>
          </p:nvSpPr>
          <p:spPr>
            <a:xfrm rot="8716295">
              <a:off x="301533" y="307427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4" name="Forme libre : forme 303">
              <a:extLst>
                <a:ext uri="{FF2B5EF4-FFF2-40B4-BE49-F238E27FC236}">
                  <a16:creationId xmlns:a16="http://schemas.microsoft.com/office/drawing/2014/main" id="{98520A64-DC7D-4391-9310-C02770ED1A94}"/>
                </a:ext>
              </a:extLst>
            </p:cNvPr>
            <p:cNvSpPr/>
            <p:nvPr/>
          </p:nvSpPr>
          <p:spPr>
            <a:xfrm rot="8716295">
              <a:off x="256683" y="298799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5" name="Forme libre : forme 304">
              <a:extLst>
                <a:ext uri="{FF2B5EF4-FFF2-40B4-BE49-F238E27FC236}">
                  <a16:creationId xmlns:a16="http://schemas.microsoft.com/office/drawing/2014/main" id="{F4D8F56B-62F1-42CF-A7A2-650DB4131292}"/>
                </a:ext>
              </a:extLst>
            </p:cNvPr>
            <p:cNvSpPr/>
            <p:nvPr/>
          </p:nvSpPr>
          <p:spPr>
            <a:xfrm rot="8716295">
              <a:off x="99907" y="31335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6" name="Forme libre : forme 305">
              <a:extLst>
                <a:ext uri="{FF2B5EF4-FFF2-40B4-BE49-F238E27FC236}">
                  <a16:creationId xmlns:a16="http://schemas.microsoft.com/office/drawing/2014/main" id="{0D43E076-CB6A-4FEE-A459-C1DE20E99E2F}"/>
                </a:ext>
              </a:extLst>
            </p:cNvPr>
            <p:cNvSpPr/>
            <p:nvPr/>
          </p:nvSpPr>
          <p:spPr>
            <a:xfrm rot="8716295">
              <a:off x="-24996" y="29248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7" name="Forme libre : forme 306">
              <a:extLst>
                <a:ext uri="{FF2B5EF4-FFF2-40B4-BE49-F238E27FC236}">
                  <a16:creationId xmlns:a16="http://schemas.microsoft.com/office/drawing/2014/main" id="{CA2035BC-118E-49FD-BF84-9E105EEC437B}"/>
                </a:ext>
              </a:extLst>
            </p:cNvPr>
            <p:cNvSpPr/>
            <p:nvPr/>
          </p:nvSpPr>
          <p:spPr>
            <a:xfrm rot="8716295">
              <a:off x="51899" y="2754602"/>
              <a:ext cx="189488" cy="350829"/>
            </a:xfrm>
            <a:custGeom>
              <a:avLst/>
              <a:gdLst>
                <a:gd name="connsiteX0" fmla="*/ 25299 w 189488"/>
                <a:gd name="connsiteY0" fmla="*/ 321238 h 350829"/>
                <a:gd name="connsiteX1" fmla="*/ 0 w 189488"/>
                <a:gd name="connsiteY1" fmla="*/ 220042 h 350829"/>
                <a:gd name="connsiteX2" fmla="*/ 0 w 189488"/>
                <a:gd name="connsiteY2" fmla="*/ 40596 h 350829"/>
                <a:gd name="connsiteX3" fmla="*/ 78250 w 189488"/>
                <a:gd name="connsiteY3" fmla="*/ 0 h 350829"/>
                <a:gd name="connsiteX4" fmla="*/ 79427 w 189488"/>
                <a:gd name="connsiteY4" fmla="*/ 164149 h 350829"/>
                <a:gd name="connsiteX5" fmla="*/ 93547 w 189488"/>
                <a:gd name="connsiteY5" fmla="*/ 261815 h 350829"/>
                <a:gd name="connsiteX6" fmla="*/ 164148 w 189488"/>
                <a:gd name="connsiteY6" fmla="*/ 300646 h 350829"/>
                <a:gd name="connsiteX7" fmla="*/ 189488 w 189488"/>
                <a:gd name="connsiteY7" fmla="*/ 296141 h 350829"/>
                <a:gd name="connsiteX8" fmla="*/ 160617 w 189488"/>
                <a:gd name="connsiteY8" fmla="*/ 337791 h 350829"/>
                <a:gd name="connsiteX9" fmla="*/ 97666 w 189488"/>
                <a:gd name="connsiteY9" fmla="*/ 350655 h 350829"/>
                <a:gd name="connsiteX10" fmla="*/ 25299 w 189488"/>
                <a:gd name="connsiteY10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9488" h="350829">
                  <a:moveTo>
                    <a:pt x="25299" y="321238"/>
                  </a:moveTo>
                  <a:cubicBezTo>
                    <a:pt x="5295" y="301823"/>
                    <a:pt x="0" y="268286"/>
                    <a:pt x="0" y="220042"/>
                  </a:cubicBez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8" y="300646"/>
                  </a:cubicBezTo>
                  <a:lnTo>
                    <a:pt x="189488" y="296141"/>
                  </a:lnTo>
                  <a:lnTo>
                    <a:pt x="160617" y="337791"/>
                  </a:lnTo>
                  <a:lnTo>
                    <a:pt x="97666" y="350655"/>
                  </a:ln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8" name="Forme libre : forme 307">
              <a:extLst>
                <a:ext uri="{FF2B5EF4-FFF2-40B4-BE49-F238E27FC236}">
                  <a16:creationId xmlns:a16="http://schemas.microsoft.com/office/drawing/2014/main" id="{E8F898AD-C8B7-4665-871C-0DD08867FE33}"/>
                </a:ext>
              </a:extLst>
            </p:cNvPr>
            <p:cNvSpPr/>
            <p:nvPr/>
          </p:nvSpPr>
          <p:spPr>
            <a:xfrm rot="8716295">
              <a:off x="190085" y="317452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9" name="Forme libre : forme 308">
              <a:extLst>
                <a:ext uri="{FF2B5EF4-FFF2-40B4-BE49-F238E27FC236}">
                  <a16:creationId xmlns:a16="http://schemas.microsoft.com/office/drawing/2014/main" id="{21447FE1-A29B-45A2-85C9-8C8BA929308B}"/>
                </a:ext>
              </a:extLst>
            </p:cNvPr>
            <p:cNvSpPr/>
            <p:nvPr/>
          </p:nvSpPr>
          <p:spPr>
            <a:xfrm rot="8716295">
              <a:off x="502599" y="2802136"/>
              <a:ext cx="117588" cy="232388"/>
            </a:xfrm>
            <a:custGeom>
              <a:avLst/>
              <a:gdLst>
                <a:gd name="connsiteX0" fmla="*/ 56529 w 117588"/>
                <a:gd name="connsiteY0" fmla="*/ 232388 h 232388"/>
                <a:gd name="connsiteX1" fmla="*/ 56529 w 117588"/>
                <a:gd name="connsiteY1" fmla="*/ 69717 h 232388"/>
                <a:gd name="connsiteX2" fmla="*/ 56529 w 117588"/>
                <a:gd name="connsiteY2" fmla="*/ 65615 h 232388"/>
                <a:gd name="connsiteX3" fmla="*/ 36025 w 117588"/>
                <a:gd name="connsiteY3" fmla="*/ 50123 h 232388"/>
                <a:gd name="connsiteX4" fmla="*/ 0 w 117588"/>
                <a:gd name="connsiteY4" fmla="*/ 50123 h 232388"/>
                <a:gd name="connsiteX5" fmla="*/ 41458 w 117588"/>
                <a:gd name="connsiteY5" fmla="*/ 0 h 232388"/>
                <a:gd name="connsiteX6" fmla="*/ 60630 w 117588"/>
                <a:gd name="connsiteY6" fmla="*/ 0 h 232388"/>
                <a:gd name="connsiteX7" fmla="*/ 117588 w 117588"/>
                <a:gd name="connsiteY7" fmla="*/ 50123 h 232388"/>
                <a:gd name="connsiteX8" fmla="*/ 117588 w 117588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7588" h="232388">
                  <a:moveTo>
                    <a:pt x="56529" y="232388"/>
                  </a:moveTo>
                  <a:lnTo>
                    <a:pt x="56529" y="69717"/>
                  </a:lnTo>
                  <a:cubicBezTo>
                    <a:pt x="56529" y="68349"/>
                    <a:pt x="56529" y="66983"/>
                    <a:pt x="56529" y="65615"/>
                  </a:cubicBezTo>
                  <a:cubicBezTo>
                    <a:pt x="55163" y="55591"/>
                    <a:pt x="46049" y="48756"/>
                    <a:pt x="36025" y="50123"/>
                  </a:cubicBezTo>
                  <a:lnTo>
                    <a:pt x="0" y="50123"/>
                  </a:lnTo>
                  <a:lnTo>
                    <a:pt x="41458" y="0"/>
                  </a:lnTo>
                  <a:lnTo>
                    <a:pt x="60630" y="0"/>
                  </a:lnTo>
                  <a:cubicBezTo>
                    <a:pt x="97539" y="0"/>
                    <a:pt x="117588" y="15948"/>
                    <a:pt x="117588" y="50123"/>
                  </a:cubicBezTo>
                  <a:lnTo>
                    <a:pt x="117588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0" name="Forme libre : forme 309">
              <a:extLst>
                <a:ext uri="{FF2B5EF4-FFF2-40B4-BE49-F238E27FC236}">
                  <a16:creationId xmlns:a16="http://schemas.microsoft.com/office/drawing/2014/main" id="{DC5CD014-032B-4188-8129-1BA9EDEB5E1C}"/>
                </a:ext>
              </a:extLst>
            </p:cNvPr>
            <p:cNvSpPr/>
            <p:nvPr/>
          </p:nvSpPr>
          <p:spPr>
            <a:xfrm rot="8716295">
              <a:off x="389006" y="2883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1" name="Forme libre : forme 310">
              <a:extLst>
                <a:ext uri="{FF2B5EF4-FFF2-40B4-BE49-F238E27FC236}">
                  <a16:creationId xmlns:a16="http://schemas.microsoft.com/office/drawing/2014/main" id="{4BFA54F9-8E75-4357-98AE-7842173849BD}"/>
                </a:ext>
              </a:extLst>
            </p:cNvPr>
            <p:cNvSpPr/>
            <p:nvPr/>
          </p:nvSpPr>
          <p:spPr>
            <a:xfrm rot="8716295">
              <a:off x="264104" y="267474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2" name="Forme libre : forme 311">
              <a:extLst>
                <a:ext uri="{FF2B5EF4-FFF2-40B4-BE49-F238E27FC236}">
                  <a16:creationId xmlns:a16="http://schemas.microsoft.com/office/drawing/2014/main" id="{D627B6F1-7278-4938-8513-4523BF111D7A}"/>
                </a:ext>
              </a:extLst>
            </p:cNvPr>
            <p:cNvSpPr/>
            <p:nvPr/>
          </p:nvSpPr>
          <p:spPr>
            <a:xfrm rot="8716295">
              <a:off x="479184" y="292437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3" name="Forme libre : forme 312">
              <a:extLst>
                <a:ext uri="{FF2B5EF4-FFF2-40B4-BE49-F238E27FC236}">
                  <a16:creationId xmlns:a16="http://schemas.microsoft.com/office/drawing/2014/main" id="{44A8C608-76B9-49F0-B8EA-9C07C31A92DA}"/>
                </a:ext>
              </a:extLst>
            </p:cNvPr>
            <p:cNvSpPr/>
            <p:nvPr/>
          </p:nvSpPr>
          <p:spPr>
            <a:xfrm rot="8716295">
              <a:off x="237733" y="277477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4" name="Forme libre : forme 313">
              <a:extLst>
                <a:ext uri="{FF2B5EF4-FFF2-40B4-BE49-F238E27FC236}">
                  <a16:creationId xmlns:a16="http://schemas.microsoft.com/office/drawing/2014/main" id="{31723CE5-0F31-4468-8030-5F9773A83A08}"/>
                </a:ext>
              </a:extLst>
            </p:cNvPr>
            <p:cNvSpPr/>
            <p:nvPr/>
          </p:nvSpPr>
          <p:spPr>
            <a:xfrm rot="7484129">
              <a:off x="609980" y="3142825"/>
              <a:ext cx="20881" cy="31001"/>
            </a:xfrm>
            <a:custGeom>
              <a:avLst/>
              <a:gdLst>
                <a:gd name="connsiteX0" fmla="*/ 10218 w 20881"/>
                <a:gd name="connsiteY0" fmla="*/ 31001 h 31001"/>
                <a:gd name="connsiteX1" fmla="*/ 0 w 20881"/>
                <a:gd name="connsiteY1" fmla="*/ 11992 h 31001"/>
                <a:gd name="connsiteX2" fmla="*/ 20881 w 20881"/>
                <a:gd name="connsiteY2" fmla="*/ 0 h 31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881" h="31001">
                  <a:moveTo>
                    <a:pt x="10218" y="31001"/>
                  </a:moveTo>
                  <a:lnTo>
                    <a:pt x="0" y="11992"/>
                  </a:lnTo>
                  <a:lnTo>
                    <a:pt x="2088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5" name="Forme libre : forme 314">
              <a:extLst>
                <a:ext uri="{FF2B5EF4-FFF2-40B4-BE49-F238E27FC236}">
                  <a16:creationId xmlns:a16="http://schemas.microsoft.com/office/drawing/2014/main" id="{0A1A01CF-9944-4EC3-883D-948C509B42CD}"/>
                </a:ext>
              </a:extLst>
            </p:cNvPr>
            <p:cNvSpPr/>
            <p:nvPr/>
          </p:nvSpPr>
          <p:spPr>
            <a:xfrm rot="8716295">
              <a:off x="579469" y="28172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6" name="Forme libre : forme 315">
              <a:extLst>
                <a:ext uri="{FF2B5EF4-FFF2-40B4-BE49-F238E27FC236}">
                  <a16:creationId xmlns:a16="http://schemas.microsoft.com/office/drawing/2014/main" id="{71717ABE-8C5B-4E08-B642-252D74033C89}"/>
                </a:ext>
              </a:extLst>
            </p:cNvPr>
            <p:cNvSpPr/>
            <p:nvPr/>
          </p:nvSpPr>
          <p:spPr>
            <a:xfrm rot="8716295">
              <a:off x="437995" y="3716235"/>
              <a:ext cx="102679" cy="232388"/>
            </a:xfrm>
            <a:custGeom>
              <a:avLst/>
              <a:gdLst>
                <a:gd name="connsiteX0" fmla="*/ 41620 w 102679"/>
                <a:gd name="connsiteY0" fmla="*/ 232388 h 232388"/>
                <a:gd name="connsiteX1" fmla="*/ 41620 w 102679"/>
                <a:gd name="connsiteY1" fmla="*/ 69717 h 232388"/>
                <a:gd name="connsiteX2" fmla="*/ 41620 w 102679"/>
                <a:gd name="connsiteY2" fmla="*/ 65615 h 232388"/>
                <a:gd name="connsiteX3" fmla="*/ 21116 w 102679"/>
                <a:gd name="connsiteY3" fmla="*/ 50123 h 232388"/>
                <a:gd name="connsiteX4" fmla="*/ 0 w 102679"/>
                <a:gd name="connsiteY4" fmla="*/ 50123 h 232388"/>
                <a:gd name="connsiteX5" fmla="*/ 41457 w 102679"/>
                <a:gd name="connsiteY5" fmla="*/ 0 h 232388"/>
                <a:gd name="connsiteX6" fmla="*/ 45721 w 102679"/>
                <a:gd name="connsiteY6" fmla="*/ 0 h 232388"/>
                <a:gd name="connsiteX7" fmla="*/ 102679 w 102679"/>
                <a:gd name="connsiteY7" fmla="*/ 50123 h 232388"/>
                <a:gd name="connsiteX8" fmla="*/ 102679 w 102679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2679" h="232388">
                  <a:moveTo>
                    <a:pt x="41620" y="232388"/>
                  </a:moveTo>
                  <a:lnTo>
                    <a:pt x="41620" y="69717"/>
                  </a:lnTo>
                  <a:cubicBezTo>
                    <a:pt x="41620" y="68349"/>
                    <a:pt x="41620" y="66983"/>
                    <a:pt x="41620" y="65615"/>
                  </a:cubicBezTo>
                  <a:cubicBezTo>
                    <a:pt x="40254" y="55591"/>
                    <a:pt x="31140" y="48756"/>
                    <a:pt x="21116" y="50123"/>
                  </a:cubicBezTo>
                  <a:lnTo>
                    <a:pt x="0" y="50123"/>
                  </a:lnTo>
                  <a:lnTo>
                    <a:pt x="41457" y="0"/>
                  </a:lnTo>
                  <a:lnTo>
                    <a:pt x="45721" y="0"/>
                  </a:lnTo>
                  <a:cubicBezTo>
                    <a:pt x="82630" y="0"/>
                    <a:pt x="102679" y="15948"/>
                    <a:pt x="102679" y="50123"/>
                  </a:cubicBezTo>
                  <a:lnTo>
                    <a:pt x="102679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7" name="Forme libre : forme 316">
              <a:extLst>
                <a:ext uri="{FF2B5EF4-FFF2-40B4-BE49-F238E27FC236}">
                  <a16:creationId xmlns:a16="http://schemas.microsoft.com/office/drawing/2014/main" id="{57F9E802-91E2-4CB8-8036-748B1071E3AB}"/>
                </a:ext>
              </a:extLst>
            </p:cNvPr>
            <p:cNvSpPr/>
            <p:nvPr/>
          </p:nvSpPr>
          <p:spPr>
            <a:xfrm rot="8716295">
              <a:off x="482715" y="3669965"/>
              <a:ext cx="154563" cy="124897"/>
            </a:xfrm>
            <a:custGeom>
              <a:avLst/>
              <a:gdLst>
                <a:gd name="connsiteX0" fmla="*/ 0 w 154563"/>
                <a:gd name="connsiteY0" fmla="*/ 124897 h 124897"/>
                <a:gd name="connsiteX1" fmla="*/ 95474 w 154563"/>
                <a:gd name="connsiteY1" fmla="*/ 9467 h 124897"/>
                <a:gd name="connsiteX2" fmla="*/ 96067 w 154563"/>
                <a:gd name="connsiteY2" fmla="*/ 9000 h 124897"/>
                <a:gd name="connsiteX3" fmla="*/ 126312 w 154563"/>
                <a:gd name="connsiteY3" fmla="*/ 0 h 124897"/>
                <a:gd name="connsiteX4" fmla="*/ 154563 w 154563"/>
                <a:gd name="connsiteY4" fmla="*/ 33719 h 124897"/>
                <a:gd name="connsiteX5" fmla="*/ 128135 w 154563"/>
                <a:gd name="connsiteY5" fmla="*/ 69261 h 124897"/>
                <a:gd name="connsiteX6" fmla="*/ 128590 w 154563"/>
                <a:gd name="connsiteY6" fmla="*/ 69261 h 12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4563" h="124897">
                  <a:moveTo>
                    <a:pt x="0" y="124897"/>
                  </a:moveTo>
                  <a:lnTo>
                    <a:pt x="95474" y="9467"/>
                  </a:lnTo>
                  <a:lnTo>
                    <a:pt x="96067" y="9000"/>
                  </a:lnTo>
                  <a:cubicBezTo>
                    <a:pt x="105351" y="4215"/>
                    <a:pt x="115604" y="1139"/>
                    <a:pt x="126312" y="0"/>
                  </a:cubicBezTo>
                  <a:cubicBezTo>
                    <a:pt x="148184" y="0"/>
                    <a:pt x="154563" y="19138"/>
                    <a:pt x="154563" y="33719"/>
                  </a:cubicBezTo>
                  <a:cubicBezTo>
                    <a:pt x="153196" y="49668"/>
                    <a:pt x="142715" y="62882"/>
                    <a:pt x="128135" y="69261"/>
                  </a:cubicBezTo>
                  <a:lnTo>
                    <a:pt x="128590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8" name="Forme libre : forme 317">
              <a:extLst>
                <a:ext uri="{FF2B5EF4-FFF2-40B4-BE49-F238E27FC236}">
                  <a16:creationId xmlns:a16="http://schemas.microsoft.com/office/drawing/2014/main" id="{844BD3AC-808C-49B6-9585-45AED27044D8}"/>
                </a:ext>
              </a:extLst>
            </p:cNvPr>
            <p:cNvSpPr/>
            <p:nvPr/>
          </p:nvSpPr>
          <p:spPr>
            <a:xfrm rot="8716295">
              <a:off x="323074" y="379327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9" name="Forme libre : forme 318">
              <a:extLst>
                <a:ext uri="{FF2B5EF4-FFF2-40B4-BE49-F238E27FC236}">
                  <a16:creationId xmlns:a16="http://schemas.microsoft.com/office/drawing/2014/main" id="{6610930E-080F-4669-B332-C11A7EDE2E69}"/>
                </a:ext>
              </a:extLst>
            </p:cNvPr>
            <p:cNvSpPr/>
            <p:nvPr/>
          </p:nvSpPr>
          <p:spPr>
            <a:xfrm rot="8716295">
              <a:off x="198171" y="358459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0" name="Forme libre : forme 319">
              <a:extLst>
                <a:ext uri="{FF2B5EF4-FFF2-40B4-BE49-F238E27FC236}">
                  <a16:creationId xmlns:a16="http://schemas.microsoft.com/office/drawing/2014/main" id="{BB6AE4FF-01F3-4791-9797-82B71A71685F}"/>
                </a:ext>
              </a:extLst>
            </p:cNvPr>
            <p:cNvSpPr/>
            <p:nvPr/>
          </p:nvSpPr>
          <p:spPr>
            <a:xfrm rot="8716295">
              <a:off x="186119" y="344581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1" name="Forme libre : forme 320">
              <a:extLst>
                <a:ext uri="{FF2B5EF4-FFF2-40B4-BE49-F238E27FC236}">
                  <a16:creationId xmlns:a16="http://schemas.microsoft.com/office/drawing/2014/main" id="{B2FBA9B1-476F-454A-86CF-CB8E10185C59}"/>
                </a:ext>
              </a:extLst>
            </p:cNvPr>
            <p:cNvSpPr/>
            <p:nvPr/>
          </p:nvSpPr>
          <p:spPr>
            <a:xfrm rot="8716295">
              <a:off x="410218" y="3834716"/>
              <a:ext cx="103435" cy="219174"/>
            </a:xfrm>
            <a:custGeom>
              <a:avLst/>
              <a:gdLst>
                <a:gd name="connsiteX0" fmla="*/ 103435 w 103435"/>
                <a:gd name="connsiteY0" fmla="*/ 219174 h 219174"/>
                <a:gd name="connsiteX1" fmla="*/ 43288 w 103435"/>
                <a:gd name="connsiteY1" fmla="*/ 161305 h 219174"/>
                <a:gd name="connsiteX2" fmla="*/ 43288 w 103435"/>
                <a:gd name="connsiteY2" fmla="*/ 16404 h 219174"/>
                <a:gd name="connsiteX3" fmla="*/ 0 w 103435"/>
                <a:gd name="connsiteY3" fmla="*/ 16404 h 219174"/>
                <a:gd name="connsiteX4" fmla="*/ 0 w 103435"/>
                <a:gd name="connsiteY4" fmla="*/ 16028 h 219174"/>
                <a:gd name="connsiteX5" fmla="*/ 11583 w 103435"/>
                <a:gd name="connsiteY5" fmla="*/ 2023 h 219174"/>
                <a:gd name="connsiteX6" fmla="*/ 103435 w 103435"/>
                <a:gd name="connsiteY6" fmla="*/ 0 h 219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19174">
                  <a:moveTo>
                    <a:pt x="103435" y="219174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16028"/>
                  </a:lnTo>
                  <a:lnTo>
                    <a:pt x="11583" y="2023"/>
                  </a:lnTo>
                  <a:lnTo>
                    <a:pt x="10343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2" name="Forme libre : forme 321">
              <a:extLst>
                <a:ext uri="{FF2B5EF4-FFF2-40B4-BE49-F238E27FC236}">
                  <a16:creationId xmlns:a16="http://schemas.microsoft.com/office/drawing/2014/main" id="{FC54D21D-2562-49FC-BEBE-B5E2AB5AF4EE}"/>
                </a:ext>
              </a:extLst>
            </p:cNvPr>
            <p:cNvSpPr/>
            <p:nvPr/>
          </p:nvSpPr>
          <p:spPr>
            <a:xfrm rot="8716295">
              <a:off x="487452" y="3349370"/>
              <a:ext cx="151162" cy="195873"/>
            </a:xfrm>
            <a:custGeom>
              <a:avLst/>
              <a:gdLst>
                <a:gd name="connsiteX0" fmla="*/ 38025 w 151162"/>
                <a:gd name="connsiteY0" fmla="*/ 195873 h 195873"/>
                <a:gd name="connsiteX1" fmla="*/ 0 w 151162"/>
                <a:gd name="connsiteY1" fmla="*/ 125130 h 195873"/>
                <a:gd name="connsiteX2" fmla="*/ 103497 w 151162"/>
                <a:gd name="connsiteY2" fmla="*/ 0 h 195873"/>
                <a:gd name="connsiteX3" fmla="*/ 151162 w 151162"/>
                <a:gd name="connsiteY3" fmla="*/ 0 h 195873"/>
                <a:gd name="connsiteX4" fmla="*/ 151162 w 151162"/>
                <a:gd name="connsiteY4" fmla="*/ 55323 h 195873"/>
                <a:gd name="connsiteX5" fmla="*/ 86370 w 151162"/>
                <a:gd name="connsiteY5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1162" h="195873">
                  <a:moveTo>
                    <a:pt x="38025" y="195873"/>
                  </a:moveTo>
                  <a:lnTo>
                    <a:pt x="0" y="125130"/>
                  </a:lnTo>
                  <a:lnTo>
                    <a:pt x="103497" y="0"/>
                  </a:lnTo>
                  <a:lnTo>
                    <a:pt x="151162" y="0"/>
                  </a:lnTo>
                  <a:lnTo>
                    <a:pt x="151162" y="55323"/>
                  </a:lnTo>
                  <a:lnTo>
                    <a:pt x="86370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3" name="Forme libre : forme 322">
              <a:extLst>
                <a:ext uri="{FF2B5EF4-FFF2-40B4-BE49-F238E27FC236}">
                  <a16:creationId xmlns:a16="http://schemas.microsoft.com/office/drawing/2014/main" id="{1800C2CB-54A6-4240-B3ED-11D6043BB03F}"/>
                </a:ext>
              </a:extLst>
            </p:cNvPr>
            <p:cNvSpPr/>
            <p:nvPr/>
          </p:nvSpPr>
          <p:spPr>
            <a:xfrm rot="8716295">
              <a:off x="460900" y="343447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4" name="Forme libre : forme 323">
              <a:extLst>
                <a:ext uri="{FF2B5EF4-FFF2-40B4-BE49-F238E27FC236}">
                  <a16:creationId xmlns:a16="http://schemas.microsoft.com/office/drawing/2014/main" id="{3EBD1C82-1557-40AF-96AD-1C870F5CE8D7}"/>
                </a:ext>
              </a:extLst>
            </p:cNvPr>
            <p:cNvSpPr/>
            <p:nvPr/>
          </p:nvSpPr>
          <p:spPr>
            <a:xfrm rot="8716295">
              <a:off x="417336" y="4258920"/>
              <a:ext cx="147637" cy="195874"/>
            </a:xfrm>
            <a:custGeom>
              <a:avLst/>
              <a:gdLst>
                <a:gd name="connsiteX0" fmla="*/ 34500 w 147637"/>
                <a:gd name="connsiteY0" fmla="*/ 195874 h 195874"/>
                <a:gd name="connsiteX1" fmla="*/ 0 w 147637"/>
                <a:gd name="connsiteY1" fmla="*/ 131688 h 195874"/>
                <a:gd name="connsiteX2" fmla="*/ 108921 w 147637"/>
                <a:gd name="connsiteY2" fmla="*/ 0 h 195874"/>
                <a:gd name="connsiteX3" fmla="*/ 147637 w 147637"/>
                <a:gd name="connsiteY3" fmla="*/ 0 h 195874"/>
                <a:gd name="connsiteX4" fmla="*/ 147637 w 147637"/>
                <a:gd name="connsiteY4" fmla="*/ 55323 h 195874"/>
                <a:gd name="connsiteX5" fmla="*/ 82845 w 147637"/>
                <a:gd name="connsiteY5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7637" h="195874">
                  <a:moveTo>
                    <a:pt x="34500" y="195874"/>
                  </a:moveTo>
                  <a:lnTo>
                    <a:pt x="0" y="131688"/>
                  </a:lnTo>
                  <a:lnTo>
                    <a:pt x="108921" y="0"/>
                  </a:lnTo>
                  <a:lnTo>
                    <a:pt x="147637" y="0"/>
                  </a:lnTo>
                  <a:lnTo>
                    <a:pt x="147637" y="55323"/>
                  </a:lnTo>
                  <a:lnTo>
                    <a:pt x="8284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5" name="Forme libre : forme 324">
              <a:extLst>
                <a:ext uri="{FF2B5EF4-FFF2-40B4-BE49-F238E27FC236}">
                  <a16:creationId xmlns:a16="http://schemas.microsoft.com/office/drawing/2014/main" id="{50FA5920-2CA1-4B57-AFE9-708172C7151C}"/>
                </a:ext>
              </a:extLst>
            </p:cNvPr>
            <p:cNvSpPr/>
            <p:nvPr/>
          </p:nvSpPr>
          <p:spPr>
            <a:xfrm rot="8716295">
              <a:off x="330834" y="4134902"/>
              <a:ext cx="254613" cy="91157"/>
            </a:xfrm>
            <a:custGeom>
              <a:avLst/>
              <a:gdLst>
                <a:gd name="connsiteX0" fmla="*/ 0 w 254613"/>
                <a:gd name="connsiteY0" fmla="*/ 68911 h 91157"/>
                <a:gd name="connsiteX1" fmla="*/ 56997 w 254613"/>
                <a:gd name="connsiteY1" fmla="*/ 0 h 91157"/>
                <a:gd name="connsiteX2" fmla="*/ 57517 w 254613"/>
                <a:gd name="connsiteY2" fmla="*/ 2143 h 91157"/>
                <a:gd name="connsiteX3" fmla="*/ 128118 w 254613"/>
                <a:gd name="connsiteY3" fmla="*/ 40974 h 91157"/>
                <a:gd name="connsiteX4" fmla="*/ 181070 w 254613"/>
                <a:gd name="connsiteY4" fmla="*/ 31560 h 91157"/>
                <a:gd name="connsiteX5" fmla="*/ 253437 w 254613"/>
                <a:gd name="connsiteY5" fmla="*/ 2143 h 91157"/>
                <a:gd name="connsiteX6" fmla="*/ 254613 w 254613"/>
                <a:gd name="connsiteY6" fmla="*/ 9791 h 91157"/>
                <a:gd name="connsiteX7" fmla="*/ 254613 w 254613"/>
                <a:gd name="connsiteY7" fmla="*/ 15674 h 91157"/>
                <a:gd name="connsiteX8" fmla="*/ 61636 w 254613"/>
                <a:gd name="connsiteY8" fmla="*/ 90983 h 91157"/>
                <a:gd name="connsiteX9" fmla="*/ 22363 w 254613"/>
                <a:gd name="connsiteY9" fmla="*/ 84217 h 91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4613" h="91157">
                  <a:moveTo>
                    <a:pt x="0" y="68911"/>
                  </a:moveTo>
                  <a:lnTo>
                    <a:pt x="56997" y="0"/>
                  </a:lnTo>
                  <a:lnTo>
                    <a:pt x="57517" y="2143"/>
                  </a:lnTo>
                  <a:cubicBezTo>
                    <a:pt x="66931" y="28030"/>
                    <a:pt x="91053" y="40974"/>
                    <a:pt x="128118" y="40974"/>
                  </a:cubicBezTo>
                  <a:cubicBezTo>
                    <a:pt x="146357" y="40385"/>
                    <a:pt x="164008" y="36855"/>
                    <a:pt x="181070" y="31560"/>
                  </a:cubicBezTo>
                  <a:cubicBezTo>
                    <a:pt x="205780" y="23912"/>
                    <a:pt x="229903" y="13910"/>
                    <a:pt x="253437" y="2143"/>
                  </a:cubicBezTo>
                  <a:cubicBezTo>
                    <a:pt x="254025" y="4496"/>
                    <a:pt x="254613" y="7438"/>
                    <a:pt x="254613" y="9791"/>
                  </a:cubicBezTo>
                  <a:lnTo>
                    <a:pt x="254613" y="15674"/>
                  </a:lnTo>
                  <a:cubicBezTo>
                    <a:pt x="192249" y="69215"/>
                    <a:pt x="110468" y="88042"/>
                    <a:pt x="61636" y="90983"/>
                  </a:cubicBezTo>
                  <a:cubicBezTo>
                    <a:pt x="48104" y="91866"/>
                    <a:pt x="34719" y="89365"/>
                    <a:pt x="22363" y="842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6" name="Forme libre : forme 325">
              <a:extLst>
                <a:ext uri="{FF2B5EF4-FFF2-40B4-BE49-F238E27FC236}">
                  <a16:creationId xmlns:a16="http://schemas.microsoft.com/office/drawing/2014/main" id="{E3EDD39B-7171-468B-A877-2CE2BD07726B}"/>
                </a:ext>
              </a:extLst>
            </p:cNvPr>
            <p:cNvSpPr/>
            <p:nvPr/>
          </p:nvSpPr>
          <p:spPr>
            <a:xfrm rot="8716295">
              <a:off x="-3428" y="2405990"/>
              <a:ext cx="142167" cy="208592"/>
            </a:xfrm>
            <a:custGeom>
              <a:avLst/>
              <a:gdLst>
                <a:gd name="connsiteX0" fmla="*/ 81108 w 142167"/>
                <a:gd name="connsiteY0" fmla="*/ 208592 h 208592"/>
                <a:gd name="connsiteX1" fmla="*/ 81108 w 142167"/>
                <a:gd name="connsiteY1" fmla="*/ 69717 h 208592"/>
                <a:gd name="connsiteX2" fmla="*/ 81108 w 142167"/>
                <a:gd name="connsiteY2" fmla="*/ 65615 h 208592"/>
                <a:gd name="connsiteX3" fmla="*/ 60604 w 142167"/>
                <a:gd name="connsiteY3" fmla="*/ 50123 h 208592"/>
                <a:gd name="connsiteX4" fmla="*/ 0 w 142167"/>
                <a:gd name="connsiteY4" fmla="*/ 50123 h 208592"/>
                <a:gd name="connsiteX5" fmla="*/ 0 w 142167"/>
                <a:gd name="connsiteY5" fmla="*/ 0 h 208592"/>
                <a:gd name="connsiteX6" fmla="*/ 85210 w 142167"/>
                <a:gd name="connsiteY6" fmla="*/ 0 h 208592"/>
                <a:gd name="connsiteX7" fmla="*/ 142167 w 142167"/>
                <a:gd name="connsiteY7" fmla="*/ 50123 h 208592"/>
                <a:gd name="connsiteX8" fmla="*/ 142167 w 142167"/>
                <a:gd name="connsiteY8" fmla="*/ 120504 h 20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08592">
                  <a:moveTo>
                    <a:pt x="81108" y="208592"/>
                  </a:moveTo>
                  <a:lnTo>
                    <a:pt x="81108" y="69717"/>
                  </a:lnTo>
                  <a:cubicBezTo>
                    <a:pt x="81108" y="68350"/>
                    <a:pt x="81108" y="66983"/>
                    <a:pt x="81108" y="65615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10" y="0"/>
                  </a:lnTo>
                  <a:cubicBezTo>
                    <a:pt x="122118" y="0"/>
                    <a:pt x="142167" y="15948"/>
                    <a:pt x="142167" y="50123"/>
                  </a:cubicBezTo>
                  <a:lnTo>
                    <a:pt x="142167" y="1205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7" name="Forme libre : forme 326">
              <a:extLst>
                <a:ext uri="{FF2B5EF4-FFF2-40B4-BE49-F238E27FC236}">
                  <a16:creationId xmlns:a16="http://schemas.microsoft.com/office/drawing/2014/main" id="{23F7EF39-C8FF-4CA7-9DED-AF0E47CA9C7E}"/>
                </a:ext>
              </a:extLst>
            </p:cNvPr>
            <p:cNvSpPr/>
            <p:nvPr/>
          </p:nvSpPr>
          <p:spPr>
            <a:xfrm rot="8716295">
              <a:off x="80015" y="241329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8" name="Forme libre : forme 327">
              <a:extLst>
                <a:ext uri="{FF2B5EF4-FFF2-40B4-BE49-F238E27FC236}">
                  <a16:creationId xmlns:a16="http://schemas.microsoft.com/office/drawing/2014/main" id="{FBC44AA7-6291-474B-9C67-ED7522250EEB}"/>
                </a:ext>
              </a:extLst>
            </p:cNvPr>
            <p:cNvSpPr/>
            <p:nvPr/>
          </p:nvSpPr>
          <p:spPr>
            <a:xfrm rot="8716295">
              <a:off x="35165" y="232701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9" name="Forme libre : forme 328">
              <a:extLst>
                <a:ext uri="{FF2B5EF4-FFF2-40B4-BE49-F238E27FC236}">
                  <a16:creationId xmlns:a16="http://schemas.microsoft.com/office/drawing/2014/main" id="{5EA7A5E2-9C29-45B6-9267-972B0EFC92AD}"/>
                </a:ext>
              </a:extLst>
            </p:cNvPr>
            <p:cNvSpPr/>
            <p:nvPr/>
          </p:nvSpPr>
          <p:spPr>
            <a:xfrm rot="8716295">
              <a:off x="-20257" y="2217087"/>
              <a:ext cx="78731" cy="180665"/>
            </a:xfrm>
            <a:custGeom>
              <a:avLst/>
              <a:gdLst>
                <a:gd name="connsiteX0" fmla="*/ 0 w 78731"/>
                <a:gd name="connsiteY0" fmla="*/ 180665 h 180665"/>
                <a:gd name="connsiteX1" fmla="*/ 0 w 78731"/>
                <a:gd name="connsiteY1" fmla="*/ 40596 h 180665"/>
                <a:gd name="connsiteX2" fmla="*/ 78250 w 78731"/>
                <a:gd name="connsiteY2" fmla="*/ 0 h 180665"/>
                <a:gd name="connsiteX3" fmla="*/ 78731 w 78731"/>
                <a:gd name="connsiteY3" fmla="*/ 67083 h 180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731" h="180665">
                  <a:moveTo>
                    <a:pt x="0" y="180665"/>
                  </a:moveTo>
                  <a:lnTo>
                    <a:pt x="0" y="40596"/>
                  </a:lnTo>
                  <a:lnTo>
                    <a:pt x="78250" y="0"/>
                  </a:lnTo>
                  <a:lnTo>
                    <a:pt x="78731" y="670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0" name="Forme libre : forme 329">
              <a:extLst>
                <a:ext uri="{FF2B5EF4-FFF2-40B4-BE49-F238E27FC236}">
                  <a16:creationId xmlns:a16="http://schemas.microsoft.com/office/drawing/2014/main" id="{29FF2476-3E2D-4E1C-AC58-09A8EA6AE16D}"/>
                </a:ext>
              </a:extLst>
            </p:cNvPr>
            <p:cNvSpPr/>
            <p:nvPr/>
          </p:nvSpPr>
          <p:spPr>
            <a:xfrm rot="8716295">
              <a:off x="-15341" y="2575209"/>
              <a:ext cx="103435" cy="152027"/>
            </a:xfrm>
            <a:custGeom>
              <a:avLst/>
              <a:gdLst>
                <a:gd name="connsiteX0" fmla="*/ 43288 w 103435"/>
                <a:gd name="connsiteY0" fmla="*/ 152027 h 152027"/>
                <a:gd name="connsiteX1" fmla="*/ 43288 w 103435"/>
                <a:gd name="connsiteY1" fmla="*/ 16404 h 152027"/>
                <a:gd name="connsiteX2" fmla="*/ 0 w 103435"/>
                <a:gd name="connsiteY2" fmla="*/ 16404 h 152027"/>
                <a:gd name="connsiteX3" fmla="*/ 0 w 103435"/>
                <a:gd name="connsiteY3" fmla="*/ 2278 h 152027"/>
                <a:gd name="connsiteX4" fmla="*/ 103435 w 103435"/>
                <a:gd name="connsiteY4" fmla="*/ 0 h 152027"/>
                <a:gd name="connsiteX5" fmla="*/ 103435 w 103435"/>
                <a:gd name="connsiteY5" fmla="*/ 65255 h 152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152027">
                  <a:moveTo>
                    <a:pt x="43288" y="152027"/>
                  </a:move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652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1" name="Forme libre : forme 330">
              <a:extLst>
                <a:ext uri="{FF2B5EF4-FFF2-40B4-BE49-F238E27FC236}">
                  <a16:creationId xmlns:a16="http://schemas.microsoft.com/office/drawing/2014/main" id="{75F88328-D448-4AA5-9E75-FE8115368C6C}"/>
                </a:ext>
              </a:extLst>
            </p:cNvPr>
            <p:cNvSpPr/>
            <p:nvPr/>
          </p:nvSpPr>
          <p:spPr>
            <a:xfrm rot="8716295">
              <a:off x="279722" y="21339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2" name="Forme libre : forme 331">
              <a:extLst>
                <a:ext uri="{FF2B5EF4-FFF2-40B4-BE49-F238E27FC236}">
                  <a16:creationId xmlns:a16="http://schemas.microsoft.com/office/drawing/2014/main" id="{426E2A9F-197F-4F75-8782-ED9A68D4D6C8}"/>
                </a:ext>
              </a:extLst>
            </p:cNvPr>
            <p:cNvSpPr/>
            <p:nvPr/>
          </p:nvSpPr>
          <p:spPr>
            <a:xfrm rot="8716295">
              <a:off x="369114" y="21631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3" name="Forme libre : forme 332">
              <a:extLst>
                <a:ext uri="{FF2B5EF4-FFF2-40B4-BE49-F238E27FC236}">
                  <a16:creationId xmlns:a16="http://schemas.microsoft.com/office/drawing/2014/main" id="{94DB51E7-8EDB-4900-9675-0F9A6F5C490B}"/>
                </a:ext>
              </a:extLst>
            </p:cNvPr>
            <p:cNvSpPr/>
            <p:nvPr/>
          </p:nvSpPr>
          <p:spPr>
            <a:xfrm rot="8716295">
              <a:off x="167488" y="22224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4" name="Forme libre : forme 333">
              <a:extLst>
                <a:ext uri="{FF2B5EF4-FFF2-40B4-BE49-F238E27FC236}">
                  <a16:creationId xmlns:a16="http://schemas.microsoft.com/office/drawing/2014/main" id="{2E5B2022-399F-4450-9579-1B2308763857}"/>
                </a:ext>
              </a:extLst>
            </p:cNvPr>
            <p:cNvSpPr/>
            <p:nvPr/>
          </p:nvSpPr>
          <p:spPr>
            <a:xfrm rot="8716295">
              <a:off x="42586" y="20137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5" name="Forme libre : forme 334">
              <a:extLst>
                <a:ext uri="{FF2B5EF4-FFF2-40B4-BE49-F238E27FC236}">
                  <a16:creationId xmlns:a16="http://schemas.microsoft.com/office/drawing/2014/main" id="{2929CE2C-2256-40A5-A8F3-3829812FC41F}"/>
                </a:ext>
              </a:extLst>
            </p:cNvPr>
            <p:cNvSpPr/>
            <p:nvPr/>
          </p:nvSpPr>
          <p:spPr>
            <a:xfrm rot="8716295">
              <a:off x="257666" y="226339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6" name="Forme libre : forme 335">
              <a:extLst>
                <a:ext uri="{FF2B5EF4-FFF2-40B4-BE49-F238E27FC236}">
                  <a16:creationId xmlns:a16="http://schemas.microsoft.com/office/drawing/2014/main" id="{5B080DE2-EB07-4251-8225-D8F835BCC870}"/>
                </a:ext>
              </a:extLst>
            </p:cNvPr>
            <p:cNvSpPr/>
            <p:nvPr/>
          </p:nvSpPr>
          <p:spPr>
            <a:xfrm rot="8716295">
              <a:off x="16215" y="211379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7" name="Forme libre : forme 336">
              <a:extLst>
                <a:ext uri="{FF2B5EF4-FFF2-40B4-BE49-F238E27FC236}">
                  <a16:creationId xmlns:a16="http://schemas.microsoft.com/office/drawing/2014/main" id="{CE30ADAD-6662-46CB-9F1B-B1109F31D2A1}"/>
                </a:ext>
              </a:extLst>
            </p:cNvPr>
            <p:cNvSpPr/>
            <p:nvPr/>
          </p:nvSpPr>
          <p:spPr>
            <a:xfrm rot="7484129">
              <a:off x="362597" y="245474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8" name="Forme libre : forme 337">
              <a:extLst>
                <a:ext uri="{FF2B5EF4-FFF2-40B4-BE49-F238E27FC236}">
                  <a16:creationId xmlns:a16="http://schemas.microsoft.com/office/drawing/2014/main" id="{E0EC12C4-DE16-425E-A187-948925CA8B78}"/>
                </a:ext>
              </a:extLst>
            </p:cNvPr>
            <p:cNvSpPr/>
            <p:nvPr/>
          </p:nvSpPr>
          <p:spPr>
            <a:xfrm rot="13089394">
              <a:off x="463440" y="2426400"/>
              <a:ext cx="272584" cy="319064"/>
            </a:xfrm>
            <a:custGeom>
              <a:avLst/>
              <a:gdLst>
                <a:gd name="connsiteX0" fmla="*/ 80445 w 272584"/>
                <a:gd name="connsiteY0" fmla="*/ 215518 h 319064"/>
                <a:gd name="connsiteX1" fmla="*/ 0 w 272584"/>
                <a:gd name="connsiteY1" fmla="*/ 93007 h 319064"/>
                <a:gd name="connsiteX2" fmla="*/ 0 w 272584"/>
                <a:gd name="connsiteY2" fmla="*/ 38074 h 319064"/>
                <a:gd name="connsiteX3" fmla="*/ 73388 w 272584"/>
                <a:gd name="connsiteY3" fmla="*/ 0 h 319064"/>
                <a:gd name="connsiteX4" fmla="*/ 74492 w 272584"/>
                <a:gd name="connsiteY4" fmla="*/ 153950 h 319064"/>
                <a:gd name="connsiteX5" fmla="*/ 76768 w 272584"/>
                <a:gd name="connsiteY5" fmla="*/ 200369 h 319064"/>
                <a:gd name="connsiteX6" fmla="*/ 272584 w 272584"/>
                <a:gd name="connsiteY6" fmla="*/ 258238 h 319064"/>
                <a:gd name="connsiteX7" fmla="*/ 177331 w 272584"/>
                <a:gd name="connsiteY7" fmla="*/ 311347 h 319064"/>
                <a:gd name="connsiteX8" fmla="*/ 148437 w 272584"/>
                <a:gd name="connsiteY8" fmla="*/ 319064 h 319064"/>
                <a:gd name="connsiteX9" fmla="*/ 119231 w 272584"/>
                <a:gd name="connsiteY9" fmla="*/ 274585 h 319064"/>
                <a:gd name="connsiteX10" fmla="*/ 153949 w 272584"/>
                <a:gd name="connsiteY10" fmla="*/ 281965 h 319064"/>
                <a:gd name="connsiteX11" fmla="*/ 203610 w 272584"/>
                <a:gd name="connsiteY11" fmla="*/ 273136 h 319064"/>
                <a:gd name="connsiteX12" fmla="*/ 271481 w 272584"/>
                <a:gd name="connsiteY12" fmla="*/ 245547 h 319064"/>
                <a:gd name="connsiteX13" fmla="*/ 272584 w 272584"/>
                <a:gd name="connsiteY13" fmla="*/ 252720 h 319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2584" h="319064">
                  <a:moveTo>
                    <a:pt x="80445" y="215518"/>
                  </a:moveTo>
                  <a:lnTo>
                    <a:pt x="0" y="93007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3664" y="169400"/>
                    <a:pt x="74492" y="184988"/>
                    <a:pt x="76768" y="200369"/>
                  </a:cubicBezTo>
                  <a:close/>
                  <a:moveTo>
                    <a:pt x="272584" y="258238"/>
                  </a:moveTo>
                  <a:cubicBezTo>
                    <a:pt x="243339" y="283344"/>
                    <a:pt x="209542" y="300312"/>
                    <a:pt x="177331" y="311347"/>
                  </a:cubicBezTo>
                  <a:lnTo>
                    <a:pt x="148437" y="319064"/>
                  </a:lnTo>
                  <a:lnTo>
                    <a:pt x="119231" y="274585"/>
                  </a:lnTo>
                  <a:lnTo>
                    <a:pt x="153949" y="281965"/>
                  </a:lnTo>
                  <a:cubicBezTo>
                    <a:pt x="171055" y="281413"/>
                    <a:pt x="187609" y="278102"/>
                    <a:pt x="203610" y="273136"/>
                  </a:cubicBezTo>
                  <a:cubicBezTo>
                    <a:pt x="226785" y="265963"/>
                    <a:pt x="249409" y="256583"/>
                    <a:pt x="271481" y="245547"/>
                  </a:cubicBezTo>
                  <a:cubicBezTo>
                    <a:pt x="272032" y="247754"/>
                    <a:pt x="272584" y="250513"/>
                    <a:pt x="272584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9" name="Forme libre : forme 338">
              <a:extLst>
                <a:ext uri="{FF2B5EF4-FFF2-40B4-BE49-F238E27FC236}">
                  <a16:creationId xmlns:a16="http://schemas.microsoft.com/office/drawing/2014/main" id="{0EBB3BF6-5F1A-4179-B16F-FF1F99B6BEAC}"/>
                </a:ext>
              </a:extLst>
            </p:cNvPr>
            <p:cNvSpPr/>
            <p:nvPr/>
          </p:nvSpPr>
          <p:spPr>
            <a:xfrm rot="8716295">
              <a:off x="675867" y="2357327"/>
              <a:ext cx="38012" cy="45752"/>
            </a:xfrm>
            <a:custGeom>
              <a:avLst/>
              <a:gdLst>
                <a:gd name="connsiteX0" fmla="*/ 0 w 38012"/>
                <a:gd name="connsiteY0" fmla="*/ 45752 h 45752"/>
                <a:gd name="connsiteX1" fmla="*/ 37842 w 38012"/>
                <a:gd name="connsiteY1" fmla="*/ 0 h 45752"/>
                <a:gd name="connsiteX2" fmla="*/ 38012 w 38012"/>
                <a:gd name="connsiteY2" fmla="*/ 641 h 45752"/>
                <a:gd name="connsiteX3" fmla="*/ 6841 w 38012"/>
                <a:gd name="connsiteY3" fmla="*/ 42560 h 45752"/>
                <a:gd name="connsiteX4" fmla="*/ 7378 w 38012"/>
                <a:gd name="connsiteY4" fmla="*/ 42560 h 45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012" h="45752">
                  <a:moveTo>
                    <a:pt x="0" y="45752"/>
                  </a:moveTo>
                  <a:lnTo>
                    <a:pt x="37842" y="0"/>
                  </a:lnTo>
                  <a:lnTo>
                    <a:pt x="38012" y="641"/>
                  </a:lnTo>
                  <a:cubicBezTo>
                    <a:pt x="36400" y="19451"/>
                    <a:pt x="24039" y="35036"/>
                    <a:pt x="6841" y="42560"/>
                  </a:cubicBezTo>
                  <a:lnTo>
                    <a:pt x="7378" y="425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0" name="Forme libre : forme 339">
              <a:extLst>
                <a:ext uri="{FF2B5EF4-FFF2-40B4-BE49-F238E27FC236}">
                  <a16:creationId xmlns:a16="http://schemas.microsoft.com/office/drawing/2014/main" id="{40BD2394-2E6A-43B3-8282-5AF2A68AFB55}"/>
                </a:ext>
              </a:extLst>
            </p:cNvPr>
            <p:cNvSpPr/>
            <p:nvPr/>
          </p:nvSpPr>
          <p:spPr>
            <a:xfrm rot="8716295">
              <a:off x="601197" y="21260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1" name="Forme libre : forme 340">
              <a:extLst>
                <a:ext uri="{FF2B5EF4-FFF2-40B4-BE49-F238E27FC236}">
                  <a16:creationId xmlns:a16="http://schemas.microsoft.com/office/drawing/2014/main" id="{98C4AC75-3010-49F3-9D48-1212A4D988F1}"/>
                </a:ext>
              </a:extLst>
            </p:cNvPr>
            <p:cNvSpPr/>
            <p:nvPr/>
          </p:nvSpPr>
          <p:spPr>
            <a:xfrm rot="8716295">
              <a:off x="357951" y="21562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2" name="Forme libre : forme 341">
              <a:extLst>
                <a:ext uri="{FF2B5EF4-FFF2-40B4-BE49-F238E27FC236}">
                  <a16:creationId xmlns:a16="http://schemas.microsoft.com/office/drawing/2014/main" id="{F44EFD0C-26D8-44AF-B8B7-34925D1881F3}"/>
                </a:ext>
              </a:extLst>
            </p:cNvPr>
            <p:cNvSpPr/>
            <p:nvPr/>
          </p:nvSpPr>
          <p:spPr>
            <a:xfrm rot="8716295">
              <a:off x="535403" y="199698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3" name="Forme libre : forme 342">
              <a:extLst>
                <a:ext uri="{FF2B5EF4-FFF2-40B4-BE49-F238E27FC236}">
                  <a16:creationId xmlns:a16="http://schemas.microsoft.com/office/drawing/2014/main" id="{1A320605-AC28-4E7D-BF63-1E3FD62FB21F}"/>
                </a:ext>
              </a:extLst>
            </p:cNvPr>
            <p:cNvSpPr/>
            <p:nvPr/>
          </p:nvSpPr>
          <p:spPr>
            <a:xfrm rot="8716295">
              <a:off x="-76043" y="1768178"/>
              <a:ext cx="197178" cy="215049"/>
            </a:xfrm>
            <a:custGeom>
              <a:avLst/>
              <a:gdLst>
                <a:gd name="connsiteX0" fmla="*/ 51490 w 197178"/>
                <a:gd name="connsiteY0" fmla="*/ 215049 h 215049"/>
                <a:gd name="connsiteX1" fmla="*/ 51490 w 197178"/>
                <a:gd name="connsiteY1" fmla="*/ 45624 h 215049"/>
                <a:gd name="connsiteX2" fmla="*/ 0 w 197178"/>
                <a:gd name="connsiteY2" fmla="*/ 45624 h 215049"/>
                <a:gd name="connsiteX3" fmla="*/ 0 w 197178"/>
                <a:gd name="connsiteY3" fmla="*/ 1424 h 215049"/>
                <a:gd name="connsiteX4" fmla="*/ 104803 w 197178"/>
                <a:gd name="connsiteY4" fmla="*/ 1425 h 215049"/>
                <a:gd name="connsiteX5" fmla="*/ 104803 w 197178"/>
                <a:gd name="connsiteY5" fmla="*/ 75242 h 215049"/>
                <a:gd name="connsiteX6" fmla="*/ 106169 w 197178"/>
                <a:gd name="connsiteY6" fmla="*/ 75242 h 215049"/>
                <a:gd name="connsiteX7" fmla="*/ 154014 w 197178"/>
                <a:gd name="connsiteY7" fmla="*/ 5981 h 215049"/>
                <a:gd name="connsiteX8" fmla="*/ 185455 w 197178"/>
                <a:gd name="connsiteY8" fmla="*/ 57 h 215049"/>
                <a:gd name="connsiteX9" fmla="*/ 197178 w 197178"/>
                <a:gd name="connsiteY9" fmla="*/ 4872 h 215049"/>
                <a:gd name="connsiteX10" fmla="*/ 170795 w 197178"/>
                <a:gd name="connsiteY10" fmla="*/ 42934 h 215049"/>
                <a:gd name="connsiteX11" fmla="*/ 164950 w 197178"/>
                <a:gd name="connsiteY11" fmla="*/ 40156 h 215049"/>
                <a:gd name="connsiteX12" fmla="*/ 111638 w 197178"/>
                <a:gd name="connsiteY12" fmla="*/ 127643 h 215049"/>
                <a:gd name="connsiteX13" fmla="*/ 111638 w 197178"/>
                <a:gd name="connsiteY13" fmla="*/ 128277 h 21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178" h="215049">
                  <a:moveTo>
                    <a:pt x="51490" y="215049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4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lnTo>
                    <a:pt x="197178" y="4872"/>
                  </a:lnTo>
                  <a:lnTo>
                    <a:pt x="170795" y="42934"/>
                  </a:lnTo>
                  <a:lnTo>
                    <a:pt x="164950" y="40156"/>
                  </a:ln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1282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4" name="Forme libre : forme 343">
              <a:extLst>
                <a:ext uri="{FF2B5EF4-FFF2-40B4-BE49-F238E27FC236}">
                  <a16:creationId xmlns:a16="http://schemas.microsoft.com/office/drawing/2014/main" id="{79B4D19B-E848-47AB-BAFE-59EBF555A6F5}"/>
                </a:ext>
              </a:extLst>
            </p:cNvPr>
            <p:cNvSpPr/>
            <p:nvPr/>
          </p:nvSpPr>
          <p:spPr>
            <a:xfrm rot="8716295">
              <a:off x="56555" y="14742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5" name="Forme libre : forme 344">
              <a:extLst>
                <a:ext uri="{FF2B5EF4-FFF2-40B4-BE49-F238E27FC236}">
                  <a16:creationId xmlns:a16="http://schemas.microsoft.com/office/drawing/2014/main" id="{0496B299-828A-4BBC-966F-5FA47083E3CE}"/>
                </a:ext>
              </a:extLst>
            </p:cNvPr>
            <p:cNvSpPr/>
            <p:nvPr/>
          </p:nvSpPr>
          <p:spPr>
            <a:xfrm rot="8716295">
              <a:off x="145947" y="15034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6" name="Forme libre : forme 345">
              <a:extLst>
                <a:ext uri="{FF2B5EF4-FFF2-40B4-BE49-F238E27FC236}">
                  <a16:creationId xmlns:a16="http://schemas.microsoft.com/office/drawing/2014/main" id="{47AF6C7D-4B3B-4997-9D6C-9505A068BCE6}"/>
                </a:ext>
              </a:extLst>
            </p:cNvPr>
            <p:cNvSpPr/>
            <p:nvPr/>
          </p:nvSpPr>
          <p:spPr>
            <a:xfrm rot="8716295">
              <a:off x="-21870" y="1443501"/>
              <a:ext cx="68614" cy="55323"/>
            </a:xfrm>
            <a:custGeom>
              <a:avLst/>
              <a:gdLst>
                <a:gd name="connsiteX0" fmla="*/ 0 w 68614"/>
                <a:gd name="connsiteY0" fmla="*/ 55323 h 55323"/>
                <a:gd name="connsiteX1" fmla="*/ 0 w 68614"/>
                <a:gd name="connsiteY1" fmla="*/ 0 h 55323"/>
                <a:gd name="connsiteX2" fmla="*/ 68614 w 68614"/>
                <a:gd name="connsiteY2" fmla="*/ 0 h 55323"/>
                <a:gd name="connsiteX3" fmla="*/ 30266 w 68614"/>
                <a:gd name="connsiteY3" fmla="*/ 55323 h 55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614" h="55323">
                  <a:moveTo>
                    <a:pt x="0" y="55323"/>
                  </a:moveTo>
                  <a:lnTo>
                    <a:pt x="0" y="0"/>
                  </a:lnTo>
                  <a:lnTo>
                    <a:pt x="68614" y="0"/>
                  </a:lnTo>
                  <a:lnTo>
                    <a:pt x="30266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7" name="Forme libre : forme 346">
              <a:extLst>
                <a:ext uri="{FF2B5EF4-FFF2-40B4-BE49-F238E27FC236}">
                  <a16:creationId xmlns:a16="http://schemas.microsoft.com/office/drawing/2014/main" id="{6A925E12-2BFF-4625-A0A6-B147409EE83D}"/>
                </a:ext>
              </a:extLst>
            </p:cNvPr>
            <p:cNvSpPr/>
            <p:nvPr/>
          </p:nvSpPr>
          <p:spPr>
            <a:xfrm rot="8716295">
              <a:off x="35817" y="1618109"/>
              <a:ext cx="103435" cy="203897"/>
            </a:xfrm>
            <a:custGeom>
              <a:avLst/>
              <a:gdLst>
                <a:gd name="connsiteX0" fmla="*/ 87556 w 103435"/>
                <a:gd name="connsiteY0" fmla="*/ 203897 h 203897"/>
                <a:gd name="connsiteX1" fmla="*/ 43288 w 103435"/>
                <a:gd name="connsiteY1" fmla="*/ 161305 h 203897"/>
                <a:gd name="connsiteX2" fmla="*/ 43288 w 103435"/>
                <a:gd name="connsiteY2" fmla="*/ 16404 h 203897"/>
                <a:gd name="connsiteX3" fmla="*/ 0 w 103435"/>
                <a:gd name="connsiteY3" fmla="*/ 16404 h 203897"/>
                <a:gd name="connsiteX4" fmla="*/ 0 w 103435"/>
                <a:gd name="connsiteY4" fmla="*/ 2278 h 203897"/>
                <a:gd name="connsiteX5" fmla="*/ 103435 w 103435"/>
                <a:gd name="connsiteY5" fmla="*/ 0 h 203897"/>
                <a:gd name="connsiteX6" fmla="*/ 103435 w 103435"/>
                <a:gd name="connsiteY6" fmla="*/ 180989 h 203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03897">
                  <a:moveTo>
                    <a:pt x="87556" y="203897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1809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8" name="Forme libre : forme 347">
              <a:extLst>
                <a:ext uri="{FF2B5EF4-FFF2-40B4-BE49-F238E27FC236}">
                  <a16:creationId xmlns:a16="http://schemas.microsoft.com/office/drawing/2014/main" id="{8F161AAD-ABF3-4F08-A5E7-178FA67C468C}"/>
                </a:ext>
              </a:extLst>
            </p:cNvPr>
            <p:cNvSpPr/>
            <p:nvPr/>
          </p:nvSpPr>
          <p:spPr>
            <a:xfrm rot="7484129">
              <a:off x="139430" y="17950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9" name="Forme libre : forme 348">
              <a:extLst>
                <a:ext uri="{FF2B5EF4-FFF2-40B4-BE49-F238E27FC236}">
                  <a16:creationId xmlns:a16="http://schemas.microsoft.com/office/drawing/2014/main" id="{2B2677AB-A960-4EDE-895B-90B39923E929}"/>
                </a:ext>
              </a:extLst>
            </p:cNvPr>
            <p:cNvSpPr/>
            <p:nvPr/>
          </p:nvSpPr>
          <p:spPr>
            <a:xfrm rot="13089394">
              <a:off x="244250" y="17615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0" name="Forme libre : forme 349">
              <a:extLst>
                <a:ext uri="{FF2B5EF4-FFF2-40B4-BE49-F238E27FC236}">
                  <a16:creationId xmlns:a16="http://schemas.microsoft.com/office/drawing/2014/main" id="{57CCAF2A-AD40-4587-8C0B-9AD3AA1B47B2}"/>
                </a:ext>
              </a:extLst>
            </p:cNvPr>
            <p:cNvSpPr/>
            <p:nvPr/>
          </p:nvSpPr>
          <p:spPr>
            <a:xfrm rot="8716295">
              <a:off x="429835" y="15699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1" name="Forme libre : forme 350">
              <a:extLst>
                <a:ext uri="{FF2B5EF4-FFF2-40B4-BE49-F238E27FC236}">
                  <a16:creationId xmlns:a16="http://schemas.microsoft.com/office/drawing/2014/main" id="{1CD46395-0105-4DB9-A258-02757ED2970C}"/>
                </a:ext>
              </a:extLst>
            </p:cNvPr>
            <p:cNvSpPr/>
            <p:nvPr/>
          </p:nvSpPr>
          <p:spPr>
            <a:xfrm rot="8716295">
              <a:off x="378030" y="14663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2" name="Forme libre : forme 351">
              <a:extLst>
                <a:ext uri="{FF2B5EF4-FFF2-40B4-BE49-F238E27FC236}">
                  <a16:creationId xmlns:a16="http://schemas.microsoft.com/office/drawing/2014/main" id="{792A22ED-7042-473B-B5F0-A8F38B0EAB40}"/>
                </a:ext>
              </a:extLst>
            </p:cNvPr>
            <p:cNvSpPr/>
            <p:nvPr/>
          </p:nvSpPr>
          <p:spPr>
            <a:xfrm rot="8716295">
              <a:off x="134784" y="14965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3" name="Forme libre : forme 352">
              <a:extLst>
                <a:ext uri="{FF2B5EF4-FFF2-40B4-BE49-F238E27FC236}">
                  <a16:creationId xmlns:a16="http://schemas.microsoft.com/office/drawing/2014/main" id="{F026E106-3ED5-479C-A7E5-1D0CF59276FB}"/>
                </a:ext>
              </a:extLst>
            </p:cNvPr>
            <p:cNvSpPr/>
            <p:nvPr/>
          </p:nvSpPr>
          <p:spPr>
            <a:xfrm rot="8716295">
              <a:off x="312236" y="13372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4" name="Forme libre : forme 353">
              <a:extLst>
                <a:ext uri="{FF2B5EF4-FFF2-40B4-BE49-F238E27FC236}">
                  <a16:creationId xmlns:a16="http://schemas.microsoft.com/office/drawing/2014/main" id="{A652AA44-0788-418A-BCB7-7692D06F9F9C}"/>
                </a:ext>
              </a:extLst>
            </p:cNvPr>
            <p:cNvSpPr/>
            <p:nvPr/>
          </p:nvSpPr>
          <p:spPr>
            <a:xfrm rot="8716295">
              <a:off x="-17798" y="949199"/>
              <a:ext cx="39526" cy="50123"/>
            </a:xfrm>
            <a:custGeom>
              <a:avLst/>
              <a:gdLst>
                <a:gd name="connsiteX0" fmla="*/ 0 w 39526"/>
                <a:gd name="connsiteY0" fmla="*/ 50123 h 50123"/>
                <a:gd name="connsiteX1" fmla="*/ 0 w 39526"/>
                <a:gd name="connsiteY1" fmla="*/ 0 h 50123"/>
                <a:gd name="connsiteX2" fmla="*/ 39526 w 39526"/>
                <a:gd name="connsiteY2" fmla="*/ 0 h 50123"/>
                <a:gd name="connsiteX3" fmla="*/ 4782 w 39526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26" h="50123">
                  <a:moveTo>
                    <a:pt x="0" y="50123"/>
                  </a:moveTo>
                  <a:lnTo>
                    <a:pt x="0" y="0"/>
                  </a:lnTo>
                  <a:lnTo>
                    <a:pt x="39526" y="0"/>
                  </a:lnTo>
                  <a:lnTo>
                    <a:pt x="4782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5" name="Forme libre : forme 354">
              <a:extLst>
                <a:ext uri="{FF2B5EF4-FFF2-40B4-BE49-F238E27FC236}">
                  <a16:creationId xmlns:a16="http://schemas.microsoft.com/office/drawing/2014/main" id="{CC7F2B2F-A9EF-4436-92EE-F187A921B5A2}"/>
                </a:ext>
              </a:extLst>
            </p:cNvPr>
            <p:cNvSpPr/>
            <p:nvPr/>
          </p:nvSpPr>
          <p:spPr>
            <a:xfrm rot="8716295">
              <a:off x="-64996" y="834728"/>
              <a:ext cx="249650" cy="254774"/>
            </a:xfrm>
            <a:custGeom>
              <a:avLst/>
              <a:gdLst>
                <a:gd name="connsiteX0" fmla="*/ 51490 w 249650"/>
                <a:gd name="connsiteY0" fmla="*/ 254774 h 254774"/>
                <a:gd name="connsiteX1" fmla="*/ 51490 w 249650"/>
                <a:gd name="connsiteY1" fmla="*/ 45624 h 254774"/>
                <a:gd name="connsiteX2" fmla="*/ 0 w 249650"/>
                <a:gd name="connsiteY2" fmla="*/ 45624 h 254774"/>
                <a:gd name="connsiteX3" fmla="*/ 0 w 249650"/>
                <a:gd name="connsiteY3" fmla="*/ 1425 h 254774"/>
                <a:gd name="connsiteX4" fmla="*/ 104803 w 249650"/>
                <a:gd name="connsiteY4" fmla="*/ 1425 h 254774"/>
                <a:gd name="connsiteX5" fmla="*/ 104803 w 249650"/>
                <a:gd name="connsiteY5" fmla="*/ 75242 h 254774"/>
                <a:gd name="connsiteX6" fmla="*/ 106169 w 249650"/>
                <a:gd name="connsiteY6" fmla="*/ 75242 h 254774"/>
                <a:gd name="connsiteX7" fmla="*/ 154014 w 249650"/>
                <a:gd name="connsiteY7" fmla="*/ 5981 h 254774"/>
                <a:gd name="connsiteX8" fmla="*/ 185455 w 249650"/>
                <a:gd name="connsiteY8" fmla="*/ 57 h 254774"/>
                <a:gd name="connsiteX9" fmla="*/ 240647 w 249650"/>
                <a:gd name="connsiteY9" fmla="*/ 22727 h 254774"/>
                <a:gd name="connsiteX10" fmla="*/ 249650 w 249650"/>
                <a:gd name="connsiteY10" fmla="*/ 52327 h 254774"/>
                <a:gd name="connsiteX11" fmla="*/ 218795 w 249650"/>
                <a:gd name="connsiteY11" fmla="*/ 96841 h 254774"/>
                <a:gd name="connsiteX12" fmla="*/ 198669 w 249650"/>
                <a:gd name="connsiteY12" fmla="*/ 98025 h 254774"/>
                <a:gd name="connsiteX13" fmla="*/ 198669 w 249650"/>
                <a:gd name="connsiteY13" fmla="*/ 81621 h 254774"/>
                <a:gd name="connsiteX14" fmla="*/ 164950 w 249650"/>
                <a:gd name="connsiteY14" fmla="*/ 40156 h 254774"/>
                <a:gd name="connsiteX15" fmla="*/ 111638 w 249650"/>
                <a:gd name="connsiteY15" fmla="*/ 127643 h 254774"/>
                <a:gd name="connsiteX16" fmla="*/ 111638 w 249650"/>
                <a:gd name="connsiteY16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9650" h="254774">
                  <a:moveTo>
                    <a:pt x="51490" y="254774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08922" y="-398"/>
                    <a:pt x="227718" y="7576"/>
                    <a:pt x="240647" y="22727"/>
                  </a:cubicBezTo>
                  <a:lnTo>
                    <a:pt x="249650" y="52327"/>
                  </a:lnTo>
                  <a:lnTo>
                    <a:pt x="218795" y="96841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6" name="Forme libre : forme 355">
              <a:extLst>
                <a:ext uri="{FF2B5EF4-FFF2-40B4-BE49-F238E27FC236}">
                  <a16:creationId xmlns:a16="http://schemas.microsoft.com/office/drawing/2014/main" id="{B491F0AE-2B60-457D-9F7E-DF3C2D622FF0}"/>
                </a:ext>
              </a:extLst>
            </p:cNvPr>
            <p:cNvSpPr/>
            <p:nvPr/>
          </p:nvSpPr>
          <p:spPr>
            <a:xfrm rot="7484129">
              <a:off x="-63314" y="1172497"/>
              <a:ext cx="203848" cy="146395"/>
            </a:xfrm>
            <a:custGeom>
              <a:avLst/>
              <a:gdLst>
                <a:gd name="connsiteX0" fmla="*/ 0 w 203848"/>
                <a:gd name="connsiteY0" fmla="*/ 55323 h 146395"/>
                <a:gd name="connsiteX1" fmla="*/ 0 w 203848"/>
                <a:gd name="connsiteY1" fmla="*/ 0 h 146395"/>
                <a:gd name="connsiteX2" fmla="*/ 203848 w 203848"/>
                <a:gd name="connsiteY2" fmla="*/ 0 h 146395"/>
                <a:gd name="connsiteX3" fmla="*/ 203847 w 203848"/>
                <a:gd name="connsiteY3" fmla="*/ 49512 h 146395"/>
                <a:gd name="connsiteX4" fmla="*/ 195466 w 203848"/>
                <a:gd name="connsiteY4" fmla="*/ 55323 h 146395"/>
                <a:gd name="connsiteX5" fmla="*/ 139055 w 203848"/>
                <a:gd name="connsiteY5" fmla="*/ 55323 h 146395"/>
                <a:gd name="connsiteX6" fmla="*/ 121388 w 203848"/>
                <a:gd name="connsiteY6" fmla="*/ 106685 h 146395"/>
                <a:gd name="connsiteX7" fmla="*/ 64115 w 203848"/>
                <a:gd name="connsiteY7" fmla="*/ 146395 h 146395"/>
                <a:gd name="connsiteX8" fmla="*/ 47847 w 203848"/>
                <a:gd name="connsiteY8" fmla="*/ 116129 h 146395"/>
                <a:gd name="connsiteX9" fmla="*/ 69777 w 203848"/>
                <a:gd name="connsiteY9" fmla="*/ 55323 h 146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848" h="146395">
                  <a:moveTo>
                    <a:pt x="0" y="55323"/>
                  </a:moveTo>
                  <a:lnTo>
                    <a:pt x="0" y="0"/>
                  </a:lnTo>
                  <a:lnTo>
                    <a:pt x="203848" y="0"/>
                  </a:lnTo>
                  <a:lnTo>
                    <a:pt x="203847" y="49512"/>
                  </a:lnTo>
                  <a:lnTo>
                    <a:pt x="195466" y="55323"/>
                  </a:lnTo>
                  <a:lnTo>
                    <a:pt x="139055" y="55323"/>
                  </a:lnTo>
                  <a:lnTo>
                    <a:pt x="121388" y="106685"/>
                  </a:lnTo>
                  <a:lnTo>
                    <a:pt x="64115" y="146395"/>
                  </a:lnTo>
                  <a:lnTo>
                    <a:pt x="47847" y="116129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7" name="Forme libre : forme 356">
              <a:extLst>
                <a:ext uri="{FF2B5EF4-FFF2-40B4-BE49-F238E27FC236}">
                  <a16:creationId xmlns:a16="http://schemas.microsoft.com/office/drawing/2014/main" id="{566B0F1B-76F2-42A3-83ED-13519BAD8E0C}"/>
                </a:ext>
              </a:extLst>
            </p:cNvPr>
            <p:cNvSpPr/>
            <p:nvPr/>
          </p:nvSpPr>
          <p:spPr>
            <a:xfrm rot="13089394">
              <a:off x="25311" y="109952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8" name="Forme libre : forme 357">
              <a:extLst>
                <a:ext uri="{FF2B5EF4-FFF2-40B4-BE49-F238E27FC236}">
                  <a16:creationId xmlns:a16="http://schemas.microsoft.com/office/drawing/2014/main" id="{6ACA7109-A9A0-4CC8-B8F0-2B22C7DA70BF}"/>
                </a:ext>
              </a:extLst>
            </p:cNvPr>
            <p:cNvSpPr/>
            <p:nvPr/>
          </p:nvSpPr>
          <p:spPr>
            <a:xfrm rot="8716295">
              <a:off x="210896" y="90784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9" name="Forme libre : forme 358">
              <a:extLst>
                <a:ext uri="{FF2B5EF4-FFF2-40B4-BE49-F238E27FC236}">
                  <a16:creationId xmlns:a16="http://schemas.microsoft.com/office/drawing/2014/main" id="{452ADC31-6E2B-47AB-819B-06E9BDE7841B}"/>
                </a:ext>
              </a:extLst>
            </p:cNvPr>
            <p:cNvSpPr/>
            <p:nvPr/>
          </p:nvSpPr>
          <p:spPr>
            <a:xfrm rot="8716295">
              <a:off x="159091" y="80425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0" name="Forme libre : forme 359">
              <a:extLst>
                <a:ext uri="{FF2B5EF4-FFF2-40B4-BE49-F238E27FC236}">
                  <a16:creationId xmlns:a16="http://schemas.microsoft.com/office/drawing/2014/main" id="{BCEE9B8C-AA03-4719-891E-01DB914C78AC}"/>
                </a:ext>
              </a:extLst>
            </p:cNvPr>
            <p:cNvSpPr/>
            <p:nvPr/>
          </p:nvSpPr>
          <p:spPr>
            <a:xfrm rot="8716295">
              <a:off x="93297" y="67523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1" name="Forme libre : forme 360">
              <a:extLst>
                <a:ext uri="{FF2B5EF4-FFF2-40B4-BE49-F238E27FC236}">
                  <a16:creationId xmlns:a16="http://schemas.microsoft.com/office/drawing/2014/main" id="{F9DD0D80-4138-4478-988E-136F3B8038CE}"/>
                </a:ext>
              </a:extLst>
            </p:cNvPr>
            <p:cNvSpPr/>
            <p:nvPr/>
          </p:nvSpPr>
          <p:spPr>
            <a:xfrm rot="8716295">
              <a:off x="-7001" y="316701"/>
              <a:ext cx="14001" cy="20198"/>
            </a:xfrm>
            <a:custGeom>
              <a:avLst/>
              <a:gdLst>
                <a:gd name="connsiteX0" fmla="*/ 0 w 14001"/>
                <a:gd name="connsiteY0" fmla="*/ 20198 h 20198"/>
                <a:gd name="connsiteX1" fmla="*/ 0 w 14001"/>
                <a:gd name="connsiteY1" fmla="*/ 0 h 20198"/>
                <a:gd name="connsiteX2" fmla="*/ 14001 w 14001"/>
                <a:gd name="connsiteY2" fmla="*/ 0 h 2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01" h="20198">
                  <a:moveTo>
                    <a:pt x="0" y="20198"/>
                  </a:moveTo>
                  <a:lnTo>
                    <a:pt x="0" y="0"/>
                  </a:lnTo>
                  <a:lnTo>
                    <a:pt x="1400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2" name="Forme libre : forme 361">
              <a:extLst>
                <a:ext uri="{FF2B5EF4-FFF2-40B4-BE49-F238E27FC236}">
                  <a16:creationId xmlns:a16="http://schemas.microsoft.com/office/drawing/2014/main" id="{DF35AC08-7EAC-4D88-B60D-06D59DB2131D}"/>
                </a:ext>
              </a:extLst>
            </p:cNvPr>
            <p:cNvSpPr/>
            <p:nvPr/>
          </p:nvSpPr>
          <p:spPr>
            <a:xfrm rot="13089394">
              <a:off x="-81658" y="472652"/>
              <a:ext cx="173631" cy="237684"/>
            </a:xfrm>
            <a:custGeom>
              <a:avLst/>
              <a:gdLst>
                <a:gd name="connsiteX0" fmla="*/ 173631 w 173631"/>
                <a:gd name="connsiteY0" fmla="*/ 220990 h 237684"/>
                <a:gd name="connsiteX1" fmla="*/ 130972 w 173631"/>
                <a:gd name="connsiteY1" fmla="*/ 232382 h 237684"/>
                <a:gd name="connsiteX2" fmla="*/ 91597 w 173631"/>
                <a:gd name="connsiteY2" fmla="*/ 237521 h 237684"/>
                <a:gd name="connsiteX3" fmla="*/ 23727 w 173631"/>
                <a:gd name="connsiteY3" fmla="*/ 209931 h 237684"/>
                <a:gd name="connsiteX4" fmla="*/ 0 w 173631"/>
                <a:gd name="connsiteY4" fmla="*/ 115023 h 237684"/>
                <a:gd name="connsiteX5" fmla="*/ 0 w 173631"/>
                <a:gd name="connsiteY5" fmla="*/ 0 h 237684"/>
                <a:gd name="connsiteX6" fmla="*/ 76176 w 173631"/>
                <a:gd name="connsiteY6" fmla="*/ 96953 h 237684"/>
                <a:gd name="connsiteX7" fmla="*/ 76768 w 173631"/>
                <a:gd name="connsiteY7" fmla="*/ 109023 h 237684"/>
                <a:gd name="connsiteX8" fmla="*/ 87734 w 173631"/>
                <a:gd name="connsiteY8" fmla="*/ 154201 h 237684"/>
                <a:gd name="connsiteX9" fmla="*/ 111117 w 173631"/>
                <a:gd name="connsiteY9" fmla="*/ 181514 h 237684"/>
                <a:gd name="connsiteX10" fmla="*/ 148930 w 173631"/>
                <a:gd name="connsiteY10" fmla="*/ 189552 h 237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3631" h="237684">
                  <a:moveTo>
                    <a:pt x="173631" y="220990"/>
                  </a:moveTo>
                  <a:lnTo>
                    <a:pt x="130972" y="232382"/>
                  </a:lnTo>
                  <a:cubicBezTo>
                    <a:pt x="116428" y="235210"/>
                    <a:pt x="103047" y="236831"/>
                    <a:pt x="91597" y="237521"/>
                  </a:cubicBezTo>
                  <a:cubicBezTo>
                    <a:pt x="66215" y="239176"/>
                    <a:pt x="41384" y="228141"/>
                    <a:pt x="23727" y="209931"/>
                  </a:cubicBezTo>
                  <a:cubicBezTo>
                    <a:pt x="4966" y="191722"/>
                    <a:pt x="0" y="160270"/>
                    <a:pt x="0" y="115023"/>
                  </a:cubicBezTo>
                  <a:lnTo>
                    <a:pt x="0" y="0"/>
                  </a:lnTo>
                  <a:lnTo>
                    <a:pt x="76176" y="96953"/>
                  </a:lnTo>
                  <a:lnTo>
                    <a:pt x="76768" y="109023"/>
                  </a:lnTo>
                  <a:cubicBezTo>
                    <a:pt x="79044" y="124404"/>
                    <a:pt x="82768" y="139578"/>
                    <a:pt x="87734" y="154201"/>
                  </a:cubicBezTo>
                  <a:cubicBezTo>
                    <a:pt x="92149" y="166340"/>
                    <a:pt x="100012" y="175445"/>
                    <a:pt x="111117" y="181514"/>
                  </a:cubicBezTo>
                  <a:lnTo>
                    <a:pt x="148930" y="1895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3" name="Forme libre : forme 362">
              <a:extLst>
                <a:ext uri="{FF2B5EF4-FFF2-40B4-BE49-F238E27FC236}">
                  <a16:creationId xmlns:a16="http://schemas.microsoft.com/office/drawing/2014/main" id="{9AFF3E46-2559-4C6F-8BF3-7DBBEBA30E07}"/>
                </a:ext>
              </a:extLst>
            </p:cNvPr>
            <p:cNvSpPr/>
            <p:nvPr/>
          </p:nvSpPr>
          <p:spPr>
            <a:xfrm rot="8716295">
              <a:off x="-11774" y="24443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4" name="Forme libre : forme 363">
              <a:extLst>
                <a:ext uri="{FF2B5EF4-FFF2-40B4-BE49-F238E27FC236}">
                  <a16:creationId xmlns:a16="http://schemas.microsoft.com/office/drawing/2014/main" id="{97E07195-EA95-4E14-9CB9-A69F34AE04C5}"/>
                </a:ext>
              </a:extLst>
            </p:cNvPr>
            <p:cNvSpPr/>
            <p:nvPr/>
          </p:nvSpPr>
          <p:spPr>
            <a:xfrm rot="8716295">
              <a:off x="-30092" y="143486"/>
              <a:ext cx="77721" cy="97260"/>
            </a:xfrm>
            <a:custGeom>
              <a:avLst/>
              <a:gdLst>
                <a:gd name="connsiteX0" fmla="*/ 15821 w 77721"/>
                <a:gd name="connsiteY0" fmla="*/ 97260 h 97260"/>
                <a:gd name="connsiteX1" fmla="*/ 0 w 77721"/>
                <a:gd name="connsiteY1" fmla="*/ 59790 h 97260"/>
                <a:gd name="connsiteX2" fmla="*/ 0 w 77721"/>
                <a:gd name="connsiteY2" fmla="*/ 58869 h 97260"/>
                <a:gd name="connsiteX3" fmla="*/ 17477 w 77721"/>
                <a:gd name="connsiteY3" fmla="*/ 17477 h 97260"/>
                <a:gd name="connsiteX4" fmla="*/ 58869 w 77721"/>
                <a:gd name="connsiteY4" fmla="*/ 0 h 97260"/>
                <a:gd name="connsiteX5" fmla="*/ 77721 w 77721"/>
                <a:gd name="connsiteY5" fmla="*/ 7960 h 97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721" h="97260">
                  <a:moveTo>
                    <a:pt x="15821" y="97260"/>
                  </a:moveTo>
                  <a:lnTo>
                    <a:pt x="0" y="59790"/>
                  </a:ln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lnTo>
                    <a:pt x="77721" y="79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5" name="Forme libre : forme 364">
              <a:extLst>
                <a:ext uri="{FF2B5EF4-FFF2-40B4-BE49-F238E27FC236}">
                  <a16:creationId xmlns:a16="http://schemas.microsoft.com/office/drawing/2014/main" id="{F46DA911-E7B0-4E9F-BFB6-93C98E7208E7}"/>
                </a:ext>
              </a:extLst>
            </p:cNvPr>
            <p:cNvSpPr/>
            <p:nvPr/>
          </p:nvSpPr>
          <p:spPr>
            <a:xfrm rot="8716295">
              <a:off x="-17797" y="3452694"/>
              <a:ext cx="58455" cy="44199"/>
            </a:xfrm>
            <a:custGeom>
              <a:avLst/>
              <a:gdLst>
                <a:gd name="connsiteX0" fmla="*/ 0 w 58455"/>
                <a:gd name="connsiteY0" fmla="*/ 44199 h 44199"/>
                <a:gd name="connsiteX1" fmla="*/ 0 w 58455"/>
                <a:gd name="connsiteY1" fmla="*/ 0 h 44199"/>
                <a:gd name="connsiteX2" fmla="*/ 58455 w 58455"/>
                <a:gd name="connsiteY2" fmla="*/ 0 h 44199"/>
                <a:gd name="connsiteX3" fmla="*/ 27817 w 58455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55" h="44199">
                  <a:moveTo>
                    <a:pt x="0" y="44199"/>
                  </a:moveTo>
                  <a:lnTo>
                    <a:pt x="0" y="0"/>
                  </a:lnTo>
                  <a:lnTo>
                    <a:pt x="58455" y="0"/>
                  </a:lnTo>
                  <a:lnTo>
                    <a:pt x="27817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6" name="Forme libre : forme 365">
              <a:extLst>
                <a:ext uri="{FF2B5EF4-FFF2-40B4-BE49-F238E27FC236}">
                  <a16:creationId xmlns:a16="http://schemas.microsoft.com/office/drawing/2014/main" id="{C1D02749-F8C1-46C8-BEE0-16746055E93D}"/>
                </a:ext>
              </a:extLst>
            </p:cNvPr>
            <p:cNvSpPr/>
            <p:nvPr/>
          </p:nvSpPr>
          <p:spPr>
            <a:xfrm rot="13089394">
              <a:off x="-91485" y="3601812"/>
              <a:ext cx="206527" cy="292654"/>
            </a:xfrm>
            <a:custGeom>
              <a:avLst/>
              <a:gdLst>
                <a:gd name="connsiteX0" fmla="*/ 206527 w 206527"/>
                <a:gd name="connsiteY0" fmla="*/ 258693 h 292654"/>
                <a:gd name="connsiteX1" fmla="*/ 177331 w 206527"/>
                <a:gd name="connsiteY1" fmla="*/ 274971 h 292654"/>
                <a:gd name="connsiteX2" fmla="*/ 91597 w 206527"/>
                <a:gd name="connsiteY2" fmla="*/ 292491 h 292654"/>
                <a:gd name="connsiteX3" fmla="*/ 23727 w 206527"/>
                <a:gd name="connsiteY3" fmla="*/ 264901 h 292654"/>
                <a:gd name="connsiteX4" fmla="*/ 0 w 206527"/>
                <a:gd name="connsiteY4" fmla="*/ 169993 h 292654"/>
                <a:gd name="connsiteX5" fmla="*/ 0 w 206527"/>
                <a:gd name="connsiteY5" fmla="*/ 1698 h 292654"/>
                <a:gd name="connsiteX6" fmla="*/ 3273 w 206527"/>
                <a:gd name="connsiteY6" fmla="*/ 0 h 292654"/>
                <a:gd name="connsiteX7" fmla="*/ 74297 w 206527"/>
                <a:gd name="connsiteY7" fmla="*/ 90396 h 292654"/>
                <a:gd name="connsiteX8" fmla="*/ 74492 w 206527"/>
                <a:gd name="connsiteY8" fmla="*/ 117574 h 292654"/>
                <a:gd name="connsiteX9" fmla="*/ 87734 w 206527"/>
                <a:gd name="connsiteY9" fmla="*/ 209171 h 292654"/>
                <a:gd name="connsiteX10" fmla="*/ 153949 w 206527"/>
                <a:gd name="connsiteY10" fmla="*/ 245589 h 292654"/>
                <a:gd name="connsiteX11" fmla="*/ 191049 w 206527"/>
                <a:gd name="connsiteY11" fmla="*/ 238993 h 292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527" h="292654">
                  <a:moveTo>
                    <a:pt x="206527" y="258693"/>
                  </a:moveTo>
                  <a:lnTo>
                    <a:pt x="177331" y="274971"/>
                  </a:lnTo>
                  <a:cubicBezTo>
                    <a:pt x="145121" y="286007"/>
                    <a:pt x="114496" y="291111"/>
                    <a:pt x="91597" y="292491"/>
                  </a:cubicBezTo>
                  <a:cubicBezTo>
                    <a:pt x="66215" y="294146"/>
                    <a:pt x="41385" y="283111"/>
                    <a:pt x="23727" y="264901"/>
                  </a:cubicBezTo>
                  <a:cubicBezTo>
                    <a:pt x="4966" y="246692"/>
                    <a:pt x="0" y="215240"/>
                    <a:pt x="0" y="169993"/>
                  </a:cubicBezTo>
                  <a:lnTo>
                    <a:pt x="0" y="1698"/>
                  </a:lnTo>
                  <a:lnTo>
                    <a:pt x="3273" y="0"/>
                  </a:lnTo>
                  <a:lnTo>
                    <a:pt x="74297" y="90396"/>
                  </a:lnTo>
                  <a:lnTo>
                    <a:pt x="74492" y="117574"/>
                  </a:lnTo>
                  <a:cubicBezTo>
                    <a:pt x="72836" y="148474"/>
                    <a:pt x="77802" y="179926"/>
                    <a:pt x="87734" y="209171"/>
                  </a:cubicBezTo>
                  <a:cubicBezTo>
                    <a:pt x="96564" y="233450"/>
                    <a:pt x="119187" y="245589"/>
                    <a:pt x="153949" y="245589"/>
                  </a:cubicBezTo>
                  <a:lnTo>
                    <a:pt x="191049" y="2389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7" name="Forme libre : forme 366">
              <a:extLst>
                <a:ext uri="{FF2B5EF4-FFF2-40B4-BE49-F238E27FC236}">
                  <a16:creationId xmlns:a16="http://schemas.microsoft.com/office/drawing/2014/main" id="{DE83541C-6C64-4EFA-96DA-32677B2F8AB7}"/>
                </a:ext>
              </a:extLst>
            </p:cNvPr>
            <p:cNvSpPr/>
            <p:nvPr/>
          </p:nvSpPr>
          <p:spPr>
            <a:xfrm rot="8716295">
              <a:off x="24761" y="33896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8" name="Forme libre : forme 367">
              <a:extLst>
                <a:ext uri="{FF2B5EF4-FFF2-40B4-BE49-F238E27FC236}">
                  <a16:creationId xmlns:a16="http://schemas.microsoft.com/office/drawing/2014/main" id="{97641E82-A92B-4DDB-9997-4330C2FFFC03}"/>
                </a:ext>
              </a:extLst>
            </p:cNvPr>
            <p:cNvSpPr/>
            <p:nvPr/>
          </p:nvSpPr>
          <p:spPr>
            <a:xfrm rot="8716295">
              <a:off x="-24047" y="3281741"/>
              <a:ext cx="106042" cy="113733"/>
            </a:xfrm>
            <a:custGeom>
              <a:avLst/>
              <a:gdLst>
                <a:gd name="connsiteX0" fmla="*/ 17477 w 106042"/>
                <a:gd name="connsiteY0" fmla="*/ 101182 h 113733"/>
                <a:gd name="connsiteX1" fmla="*/ 0 w 106042"/>
                <a:gd name="connsiteY1" fmla="*/ 59790 h 113733"/>
                <a:gd name="connsiteX2" fmla="*/ 0 w 106042"/>
                <a:gd name="connsiteY2" fmla="*/ 58869 h 113733"/>
                <a:gd name="connsiteX3" fmla="*/ 17477 w 106042"/>
                <a:gd name="connsiteY3" fmla="*/ 17477 h 113733"/>
                <a:gd name="connsiteX4" fmla="*/ 58869 w 106042"/>
                <a:gd name="connsiteY4" fmla="*/ 0 h 113733"/>
                <a:gd name="connsiteX5" fmla="*/ 100262 w 106042"/>
                <a:gd name="connsiteY5" fmla="*/ 17477 h 113733"/>
                <a:gd name="connsiteX6" fmla="*/ 106042 w 106042"/>
                <a:gd name="connsiteY6" fmla="*/ 31234 h 113733"/>
                <a:gd name="connsiteX7" fmla="*/ 48856 w 106042"/>
                <a:gd name="connsiteY7" fmla="*/ 113733 h 11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042" h="113733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cubicBezTo>
                    <a:pt x="74507" y="0"/>
                    <a:pt x="89224" y="6439"/>
                    <a:pt x="100262" y="17477"/>
                  </a:cubicBezTo>
                  <a:lnTo>
                    <a:pt x="106042" y="31234"/>
                  </a:lnTo>
                  <a:lnTo>
                    <a:pt x="48856" y="1137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9" name="Forme libre : forme 368">
              <a:extLst>
                <a:ext uri="{FF2B5EF4-FFF2-40B4-BE49-F238E27FC236}">
                  <a16:creationId xmlns:a16="http://schemas.microsoft.com/office/drawing/2014/main" id="{CA7B7E86-E158-4CCC-9F30-35FD45AC52DC}"/>
                </a:ext>
              </a:extLst>
            </p:cNvPr>
            <p:cNvSpPr/>
            <p:nvPr/>
          </p:nvSpPr>
          <p:spPr>
            <a:xfrm rot="8716295">
              <a:off x="-21924" y="3179872"/>
              <a:ext cx="45776" cy="62656"/>
            </a:xfrm>
            <a:custGeom>
              <a:avLst/>
              <a:gdLst>
                <a:gd name="connsiteX0" fmla="*/ 2345 w 45776"/>
                <a:gd name="connsiteY0" fmla="*/ 62656 h 62656"/>
                <a:gd name="connsiteX1" fmla="*/ 0 w 45776"/>
                <a:gd name="connsiteY1" fmla="*/ 57104 h 62656"/>
                <a:gd name="connsiteX2" fmla="*/ 0 w 45776"/>
                <a:gd name="connsiteY2" fmla="*/ 56183 h 62656"/>
                <a:gd name="connsiteX3" fmla="*/ 17477 w 45776"/>
                <a:gd name="connsiteY3" fmla="*/ 14791 h 62656"/>
                <a:gd name="connsiteX4" fmla="*/ 36449 w 45776"/>
                <a:gd name="connsiteY4" fmla="*/ 1913 h 62656"/>
                <a:gd name="connsiteX5" fmla="*/ 45776 w 45776"/>
                <a:gd name="connsiteY5" fmla="*/ 0 h 62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776" h="62656">
                  <a:moveTo>
                    <a:pt x="2345" y="62656"/>
                  </a:moveTo>
                  <a:lnTo>
                    <a:pt x="0" y="57104"/>
                  </a:lnTo>
                  <a:lnTo>
                    <a:pt x="0" y="56183"/>
                  </a:lnTo>
                  <a:cubicBezTo>
                    <a:pt x="0" y="40547"/>
                    <a:pt x="6439" y="25829"/>
                    <a:pt x="17477" y="14791"/>
                  </a:cubicBezTo>
                  <a:cubicBezTo>
                    <a:pt x="22996" y="9272"/>
                    <a:pt x="29435" y="4903"/>
                    <a:pt x="36449" y="1913"/>
                  </a:cubicBezTo>
                  <a:lnTo>
                    <a:pt x="4577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0" name="Forme libre : forme 369">
              <a:extLst>
                <a:ext uri="{FF2B5EF4-FFF2-40B4-BE49-F238E27FC236}">
                  <a16:creationId xmlns:a16="http://schemas.microsoft.com/office/drawing/2014/main" id="{B95921A2-46DE-49F9-9F14-5364CEEC2044}"/>
                </a:ext>
              </a:extLst>
            </p:cNvPr>
            <p:cNvSpPr/>
            <p:nvPr/>
          </p:nvSpPr>
          <p:spPr>
            <a:xfrm rot="8716295">
              <a:off x="-21324" y="4100649"/>
              <a:ext cx="79113" cy="50123"/>
            </a:xfrm>
            <a:custGeom>
              <a:avLst/>
              <a:gdLst>
                <a:gd name="connsiteX0" fmla="*/ 0 w 79113"/>
                <a:gd name="connsiteY0" fmla="*/ 50123 h 50123"/>
                <a:gd name="connsiteX1" fmla="*/ 0 w 79113"/>
                <a:gd name="connsiteY1" fmla="*/ 0 h 50123"/>
                <a:gd name="connsiteX2" fmla="*/ 79113 w 79113"/>
                <a:gd name="connsiteY2" fmla="*/ 0 h 50123"/>
                <a:gd name="connsiteX3" fmla="*/ 44369 w 79113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113" h="50123">
                  <a:moveTo>
                    <a:pt x="0" y="50123"/>
                  </a:moveTo>
                  <a:lnTo>
                    <a:pt x="0" y="0"/>
                  </a:lnTo>
                  <a:lnTo>
                    <a:pt x="79113" y="0"/>
                  </a:lnTo>
                  <a:lnTo>
                    <a:pt x="44369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1" name="Forme libre : forme 370">
              <a:extLst>
                <a:ext uri="{FF2B5EF4-FFF2-40B4-BE49-F238E27FC236}">
                  <a16:creationId xmlns:a16="http://schemas.microsoft.com/office/drawing/2014/main" id="{84FEE941-A7A7-41F0-870B-FF2E21B132E9}"/>
                </a:ext>
              </a:extLst>
            </p:cNvPr>
            <p:cNvSpPr/>
            <p:nvPr/>
          </p:nvSpPr>
          <p:spPr>
            <a:xfrm rot="8716295">
              <a:off x="-40457" y="398156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2" name="Forme libre : forme 371">
              <a:extLst>
                <a:ext uri="{FF2B5EF4-FFF2-40B4-BE49-F238E27FC236}">
                  <a16:creationId xmlns:a16="http://schemas.microsoft.com/office/drawing/2014/main" id="{ED05E8E5-B04C-426F-A5B3-FDFECB7FA8BB}"/>
                </a:ext>
              </a:extLst>
            </p:cNvPr>
            <p:cNvSpPr/>
            <p:nvPr/>
          </p:nvSpPr>
          <p:spPr>
            <a:xfrm rot="7484129">
              <a:off x="-46974" y="427316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3" name="Forme libre : forme 372">
              <a:extLst>
                <a:ext uri="{FF2B5EF4-FFF2-40B4-BE49-F238E27FC236}">
                  <a16:creationId xmlns:a16="http://schemas.microsoft.com/office/drawing/2014/main" id="{2455BBCE-F26C-4AF6-86DC-09C81861FE56}"/>
                </a:ext>
              </a:extLst>
            </p:cNvPr>
            <p:cNvSpPr/>
            <p:nvPr/>
          </p:nvSpPr>
          <p:spPr>
            <a:xfrm rot="13089394">
              <a:off x="57846" y="423970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4" name="Forme libre : forme 373">
              <a:extLst>
                <a:ext uri="{FF2B5EF4-FFF2-40B4-BE49-F238E27FC236}">
                  <a16:creationId xmlns:a16="http://schemas.microsoft.com/office/drawing/2014/main" id="{51373B92-194C-42B9-B764-40EA297AE7F9}"/>
                </a:ext>
              </a:extLst>
            </p:cNvPr>
            <p:cNvSpPr/>
            <p:nvPr/>
          </p:nvSpPr>
          <p:spPr>
            <a:xfrm rot="8716295">
              <a:off x="243431" y="404801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5" name="Forme libre : forme 374">
              <a:extLst>
                <a:ext uri="{FF2B5EF4-FFF2-40B4-BE49-F238E27FC236}">
                  <a16:creationId xmlns:a16="http://schemas.microsoft.com/office/drawing/2014/main" id="{F38EDEED-C414-448B-8D37-E62E6FF38F3A}"/>
                </a:ext>
              </a:extLst>
            </p:cNvPr>
            <p:cNvSpPr/>
            <p:nvPr/>
          </p:nvSpPr>
          <p:spPr>
            <a:xfrm rot="8716295">
              <a:off x="191626" y="39444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6" name="Forme libre : forme 375">
              <a:extLst>
                <a:ext uri="{FF2B5EF4-FFF2-40B4-BE49-F238E27FC236}">
                  <a16:creationId xmlns:a16="http://schemas.microsoft.com/office/drawing/2014/main" id="{1E970937-55EB-4E1D-94ED-92F0499DC22F}"/>
                </a:ext>
              </a:extLst>
            </p:cNvPr>
            <p:cNvSpPr/>
            <p:nvPr/>
          </p:nvSpPr>
          <p:spPr>
            <a:xfrm rot="8716295">
              <a:off x="125832" y="381540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7" name="Forme libre : forme 376">
              <a:extLst>
                <a:ext uri="{FF2B5EF4-FFF2-40B4-BE49-F238E27FC236}">
                  <a16:creationId xmlns:a16="http://schemas.microsoft.com/office/drawing/2014/main" id="{9890EDE8-10DA-45ED-AA77-40989F9FB014}"/>
                </a:ext>
              </a:extLst>
            </p:cNvPr>
            <p:cNvSpPr/>
            <p:nvPr/>
          </p:nvSpPr>
          <p:spPr>
            <a:xfrm rot="8716295">
              <a:off x="-73048" y="4876828"/>
              <a:ext cx="221382" cy="253349"/>
            </a:xfrm>
            <a:custGeom>
              <a:avLst/>
              <a:gdLst>
                <a:gd name="connsiteX0" fmla="*/ 51490 w 221382"/>
                <a:gd name="connsiteY0" fmla="*/ 253349 h 253349"/>
                <a:gd name="connsiteX1" fmla="*/ 51490 w 221382"/>
                <a:gd name="connsiteY1" fmla="*/ 44199 h 253349"/>
                <a:gd name="connsiteX2" fmla="*/ 0 w 221382"/>
                <a:gd name="connsiteY2" fmla="*/ 44199 h 253349"/>
                <a:gd name="connsiteX3" fmla="*/ 0 w 221382"/>
                <a:gd name="connsiteY3" fmla="*/ 0 h 253349"/>
                <a:gd name="connsiteX4" fmla="*/ 104803 w 221382"/>
                <a:gd name="connsiteY4" fmla="*/ 0 h 253349"/>
                <a:gd name="connsiteX5" fmla="*/ 104802 w 221382"/>
                <a:gd name="connsiteY5" fmla="*/ 73817 h 253349"/>
                <a:gd name="connsiteX6" fmla="*/ 106169 w 221382"/>
                <a:gd name="connsiteY6" fmla="*/ 73817 h 253349"/>
                <a:gd name="connsiteX7" fmla="*/ 154014 w 221382"/>
                <a:gd name="connsiteY7" fmla="*/ 4556 h 253349"/>
                <a:gd name="connsiteX8" fmla="*/ 174650 w 221382"/>
                <a:gd name="connsiteY8" fmla="*/ 668 h 253349"/>
                <a:gd name="connsiteX9" fmla="*/ 214075 w 221382"/>
                <a:gd name="connsiteY9" fmla="*/ 27996 h 253349"/>
                <a:gd name="connsiteX10" fmla="*/ 221382 w 221382"/>
                <a:gd name="connsiteY10" fmla="*/ 33060 h 253349"/>
                <a:gd name="connsiteX11" fmla="*/ 195540 w 221382"/>
                <a:gd name="connsiteY11" fmla="*/ 70341 h 253349"/>
                <a:gd name="connsiteX12" fmla="*/ 189157 w 221382"/>
                <a:gd name="connsiteY12" fmla="*/ 50236 h 253349"/>
                <a:gd name="connsiteX13" fmla="*/ 164950 w 221382"/>
                <a:gd name="connsiteY13" fmla="*/ 38731 h 253349"/>
                <a:gd name="connsiteX14" fmla="*/ 111638 w 221382"/>
                <a:gd name="connsiteY14" fmla="*/ 126218 h 253349"/>
                <a:gd name="connsiteX15" fmla="*/ 111638 w 221382"/>
                <a:gd name="connsiteY15" fmla="*/ 191383 h 253349"/>
                <a:gd name="connsiteX16" fmla="*/ 84096 w 221382"/>
                <a:gd name="connsiteY16" fmla="*/ 231117 h 253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1382" h="253349">
                  <a:moveTo>
                    <a:pt x="51490" y="253349"/>
                  </a:moveTo>
                  <a:lnTo>
                    <a:pt x="51490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104803" y="0"/>
                  </a:lnTo>
                  <a:lnTo>
                    <a:pt x="104802" y="73817"/>
                  </a:lnTo>
                  <a:lnTo>
                    <a:pt x="106169" y="73817"/>
                  </a:lnTo>
                  <a:cubicBezTo>
                    <a:pt x="120751" y="30529"/>
                    <a:pt x="132142" y="13670"/>
                    <a:pt x="154014" y="4556"/>
                  </a:cubicBezTo>
                  <a:lnTo>
                    <a:pt x="174650" y="668"/>
                  </a:lnTo>
                  <a:lnTo>
                    <a:pt x="214075" y="27996"/>
                  </a:lnTo>
                  <a:lnTo>
                    <a:pt x="221382" y="33060"/>
                  </a:lnTo>
                  <a:lnTo>
                    <a:pt x="195540" y="70341"/>
                  </a:lnTo>
                  <a:lnTo>
                    <a:pt x="189157" y="50236"/>
                  </a:lnTo>
                  <a:cubicBezTo>
                    <a:pt x="183177" y="42946"/>
                    <a:pt x="174747" y="38731"/>
                    <a:pt x="164950" y="38731"/>
                  </a:cubicBezTo>
                  <a:cubicBezTo>
                    <a:pt x="135788" y="38731"/>
                    <a:pt x="111638" y="77463"/>
                    <a:pt x="111638" y="126218"/>
                  </a:cubicBezTo>
                  <a:lnTo>
                    <a:pt x="111638" y="191383"/>
                  </a:lnTo>
                  <a:lnTo>
                    <a:pt x="84096" y="2311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8" name="Forme libre : forme 377">
              <a:extLst>
                <a:ext uri="{FF2B5EF4-FFF2-40B4-BE49-F238E27FC236}">
                  <a16:creationId xmlns:a16="http://schemas.microsoft.com/office/drawing/2014/main" id="{D89764C9-6568-42FB-A4A1-D9595395AB12}"/>
                </a:ext>
              </a:extLst>
            </p:cNvPr>
            <p:cNvSpPr/>
            <p:nvPr/>
          </p:nvSpPr>
          <p:spPr>
            <a:xfrm rot="8716295">
              <a:off x="93318" y="46120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9" name="Forme libre : forme 378">
              <a:extLst>
                <a:ext uri="{FF2B5EF4-FFF2-40B4-BE49-F238E27FC236}">
                  <a16:creationId xmlns:a16="http://schemas.microsoft.com/office/drawing/2014/main" id="{B3A51367-1D00-45C2-8806-45DE56D1374A}"/>
                </a:ext>
              </a:extLst>
            </p:cNvPr>
            <p:cNvSpPr/>
            <p:nvPr/>
          </p:nvSpPr>
          <p:spPr>
            <a:xfrm rot="8716295">
              <a:off x="182710" y="46412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0" name="Forme libre : forme 379">
              <a:extLst>
                <a:ext uri="{FF2B5EF4-FFF2-40B4-BE49-F238E27FC236}">
                  <a16:creationId xmlns:a16="http://schemas.microsoft.com/office/drawing/2014/main" id="{5796D538-9FA1-4B69-9ECE-72D45F20B58A}"/>
                </a:ext>
              </a:extLst>
            </p:cNvPr>
            <p:cNvSpPr/>
            <p:nvPr/>
          </p:nvSpPr>
          <p:spPr>
            <a:xfrm rot="8716295">
              <a:off x="-14524" y="4699631"/>
              <a:ext cx="49997" cy="54238"/>
            </a:xfrm>
            <a:custGeom>
              <a:avLst/>
              <a:gdLst>
                <a:gd name="connsiteX0" fmla="*/ 8658 w 49997"/>
                <a:gd name="connsiteY0" fmla="*/ 50123 h 54238"/>
                <a:gd name="connsiteX1" fmla="*/ 0 w 49997"/>
                <a:gd name="connsiteY1" fmla="*/ 29619 h 54238"/>
                <a:gd name="connsiteX2" fmla="*/ 0 w 49997"/>
                <a:gd name="connsiteY2" fmla="*/ 29162 h 54238"/>
                <a:gd name="connsiteX3" fmla="*/ 8658 w 49997"/>
                <a:gd name="connsiteY3" fmla="*/ 8658 h 54238"/>
                <a:gd name="connsiteX4" fmla="*/ 29163 w 49997"/>
                <a:gd name="connsiteY4" fmla="*/ 0 h 54238"/>
                <a:gd name="connsiteX5" fmla="*/ 49668 w 49997"/>
                <a:gd name="connsiteY5" fmla="*/ 8658 h 54238"/>
                <a:gd name="connsiteX6" fmla="*/ 49997 w 49997"/>
                <a:gd name="connsiteY6" fmla="*/ 9441 h 54238"/>
                <a:gd name="connsiteX7" fmla="*/ 18945 w 49997"/>
                <a:gd name="connsiteY7" fmla="*/ 54238 h 54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997" h="54238">
                  <a:moveTo>
                    <a:pt x="8658" y="50123"/>
                  </a:moveTo>
                  <a:cubicBezTo>
                    <a:pt x="3190" y="44655"/>
                    <a:pt x="0" y="37365"/>
                    <a:pt x="0" y="29619"/>
                  </a:cubicBezTo>
                  <a:lnTo>
                    <a:pt x="0" y="29162"/>
                  </a:lnTo>
                  <a:cubicBezTo>
                    <a:pt x="0" y="21417"/>
                    <a:pt x="3190" y="14126"/>
                    <a:pt x="8658" y="8658"/>
                  </a:cubicBezTo>
                  <a:cubicBezTo>
                    <a:pt x="14126" y="3190"/>
                    <a:pt x="21416" y="0"/>
                    <a:pt x="29163" y="0"/>
                  </a:cubicBezTo>
                  <a:cubicBezTo>
                    <a:pt x="36909" y="0"/>
                    <a:pt x="44200" y="3190"/>
                    <a:pt x="49668" y="8658"/>
                  </a:cubicBezTo>
                  <a:lnTo>
                    <a:pt x="49997" y="9441"/>
                  </a:lnTo>
                  <a:lnTo>
                    <a:pt x="18945" y="54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1" name="Forme libre : forme 380">
              <a:extLst>
                <a:ext uri="{FF2B5EF4-FFF2-40B4-BE49-F238E27FC236}">
                  <a16:creationId xmlns:a16="http://schemas.microsoft.com/office/drawing/2014/main" id="{0A8DEA12-3B5F-4B33-B7D9-E32E7E70ED9F}"/>
                </a:ext>
              </a:extLst>
            </p:cNvPr>
            <p:cNvSpPr/>
            <p:nvPr/>
          </p:nvSpPr>
          <p:spPr>
            <a:xfrm rot="8716295">
              <a:off x="-30327" y="4579755"/>
              <a:ext cx="113346" cy="71024"/>
            </a:xfrm>
            <a:custGeom>
              <a:avLst/>
              <a:gdLst>
                <a:gd name="connsiteX0" fmla="*/ 0 w 113346"/>
                <a:gd name="connsiteY0" fmla="*/ 55323 h 71024"/>
                <a:gd name="connsiteX1" fmla="*/ 0 w 113346"/>
                <a:gd name="connsiteY1" fmla="*/ 0 h 71024"/>
                <a:gd name="connsiteX2" fmla="*/ 113346 w 113346"/>
                <a:gd name="connsiteY2" fmla="*/ 0 h 71024"/>
                <a:gd name="connsiteX3" fmla="*/ 64114 w 113346"/>
                <a:gd name="connsiteY3" fmla="*/ 71024 h 71024"/>
                <a:gd name="connsiteX4" fmla="*/ 69777 w 113346"/>
                <a:gd name="connsiteY4" fmla="*/ 55323 h 7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346" h="71024">
                  <a:moveTo>
                    <a:pt x="0" y="55323"/>
                  </a:moveTo>
                  <a:lnTo>
                    <a:pt x="0" y="0"/>
                  </a:lnTo>
                  <a:lnTo>
                    <a:pt x="113346" y="0"/>
                  </a:lnTo>
                  <a:lnTo>
                    <a:pt x="64114" y="71024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2" name="Forme libre : forme 381">
              <a:extLst>
                <a:ext uri="{FF2B5EF4-FFF2-40B4-BE49-F238E27FC236}">
                  <a16:creationId xmlns:a16="http://schemas.microsoft.com/office/drawing/2014/main" id="{B639F843-6BAF-4B67-80B8-3D30C09BF5FB}"/>
                </a:ext>
              </a:extLst>
            </p:cNvPr>
            <p:cNvSpPr/>
            <p:nvPr/>
          </p:nvSpPr>
          <p:spPr>
            <a:xfrm rot="8716295">
              <a:off x="71262" y="47415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3" name="Forme libre : forme 382">
              <a:extLst>
                <a:ext uri="{FF2B5EF4-FFF2-40B4-BE49-F238E27FC236}">
                  <a16:creationId xmlns:a16="http://schemas.microsoft.com/office/drawing/2014/main" id="{D52BFECF-759E-4683-BE94-173DD8657338}"/>
                </a:ext>
              </a:extLst>
            </p:cNvPr>
            <p:cNvSpPr/>
            <p:nvPr/>
          </p:nvSpPr>
          <p:spPr>
            <a:xfrm rot="7484129">
              <a:off x="172059" y="493353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170341 w 203847"/>
                <a:gd name="connsiteY5" fmla="*/ 0 h 195874"/>
                <a:gd name="connsiteX6" fmla="*/ 203847 w 203847"/>
                <a:gd name="connsiteY6" fmla="*/ 48325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170341" y="0"/>
                  </a:lnTo>
                  <a:lnTo>
                    <a:pt x="203847" y="48325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4" name="Forme libre : forme 383">
              <a:extLst>
                <a:ext uri="{FF2B5EF4-FFF2-40B4-BE49-F238E27FC236}">
                  <a16:creationId xmlns:a16="http://schemas.microsoft.com/office/drawing/2014/main" id="{25A08FAE-A75C-4B2E-B0C7-527DE2D9E508}"/>
                </a:ext>
              </a:extLst>
            </p:cNvPr>
            <p:cNvSpPr/>
            <p:nvPr/>
          </p:nvSpPr>
          <p:spPr>
            <a:xfrm rot="13089394">
              <a:off x="313551" y="4906246"/>
              <a:ext cx="221827" cy="205098"/>
            </a:xfrm>
            <a:custGeom>
              <a:avLst/>
              <a:gdLst>
                <a:gd name="connsiteX0" fmla="*/ 24153 w 221827"/>
                <a:gd name="connsiteY0" fmla="*/ 55168 h 205098"/>
                <a:gd name="connsiteX1" fmla="*/ 0 w 221827"/>
                <a:gd name="connsiteY1" fmla="*/ 18385 h 205098"/>
                <a:gd name="connsiteX2" fmla="*/ 23400 w 221827"/>
                <a:gd name="connsiteY2" fmla="*/ 0 h 205098"/>
                <a:gd name="connsiteX3" fmla="*/ 23735 w 221827"/>
                <a:gd name="connsiteY3" fmla="*/ 46640 h 205098"/>
                <a:gd name="connsiteX4" fmla="*/ 221827 w 221827"/>
                <a:gd name="connsiteY4" fmla="*/ 150928 h 205098"/>
                <a:gd name="connsiteX5" fmla="*/ 126574 w 221827"/>
                <a:gd name="connsiteY5" fmla="*/ 204038 h 205098"/>
                <a:gd name="connsiteX6" fmla="*/ 122603 w 221827"/>
                <a:gd name="connsiteY6" fmla="*/ 205098 h 205098"/>
                <a:gd name="connsiteX7" fmla="*/ 102519 w 221827"/>
                <a:gd name="connsiteY7" fmla="*/ 174512 h 205098"/>
                <a:gd name="connsiteX8" fmla="*/ 103192 w 221827"/>
                <a:gd name="connsiteY8" fmla="*/ 174655 h 205098"/>
                <a:gd name="connsiteX9" fmla="*/ 152853 w 221827"/>
                <a:gd name="connsiteY9" fmla="*/ 165826 h 205098"/>
                <a:gd name="connsiteX10" fmla="*/ 220723 w 221827"/>
                <a:gd name="connsiteY10" fmla="*/ 138237 h 205098"/>
                <a:gd name="connsiteX11" fmla="*/ 221827 w 221827"/>
                <a:gd name="connsiteY11" fmla="*/ 145410 h 205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1827" h="205098">
                  <a:moveTo>
                    <a:pt x="24153" y="55168"/>
                  </a:moveTo>
                  <a:lnTo>
                    <a:pt x="0" y="18385"/>
                  </a:lnTo>
                  <a:lnTo>
                    <a:pt x="23400" y="0"/>
                  </a:lnTo>
                  <a:lnTo>
                    <a:pt x="23735" y="46640"/>
                  </a:lnTo>
                  <a:close/>
                  <a:moveTo>
                    <a:pt x="221827" y="150928"/>
                  </a:moveTo>
                  <a:cubicBezTo>
                    <a:pt x="192582" y="176035"/>
                    <a:pt x="158785" y="193002"/>
                    <a:pt x="126574" y="204038"/>
                  </a:cubicBezTo>
                  <a:lnTo>
                    <a:pt x="122603" y="205098"/>
                  </a:lnTo>
                  <a:lnTo>
                    <a:pt x="102519" y="174512"/>
                  </a:lnTo>
                  <a:lnTo>
                    <a:pt x="103192" y="174655"/>
                  </a:lnTo>
                  <a:cubicBezTo>
                    <a:pt x="120298" y="174103"/>
                    <a:pt x="136851" y="170792"/>
                    <a:pt x="152853" y="165826"/>
                  </a:cubicBezTo>
                  <a:cubicBezTo>
                    <a:pt x="176028" y="158653"/>
                    <a:pt x="198652" y="149273"/>
                    <a:pt x="220723" y="138237"/>
                  </a:cubicBezTo>
                  <a:cubicBezTo>
                    <a:pt x="221275" y="140444"/>
                    <a:pt x="221827" y="143203"/>
                    <a:pt x="221827" y="1454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5" name="Forme libre : forme 384">
              <a:extLst>
                <a:ext uri="{FF2B5EF4-FFF2-40B4-BE49-F238E27FC236}">
                  <a16:creationId xmlns:a16="http://schemas.microsoft.com/office/drawing/2014/main" id="{6B1D4FCF-4868-4FA7-803E-D1D00595788E}"/>
                </a:ext>
              </a:extLst>
            </p:cNvPr>
            <p:cNvSpPr/>
            <p:nvPr/>
          </p:nvSpPr>
          <p:spPr>
            <a:xfrm rot="8716295">
              <a:off x="406370" y="4600606"/>
              <a:ext cx="113655" cy="117117"/>
            </a:xfrm>
            <a:custGeom>
              <a:avLst/>
              <a:gdLst>
                <a:gd name="connsiteX0" fmla="*/ 13623 w 113655"/>
                <a:gd name="connsiteY0" fmla="*/ 100559 h 117117"/>
                <a:gd name="connsiteX1" fmla="*/ 0 w 113655"/>
                <a:gd name="connsiteY1" fmla="*/ 68296 h 117117"/>
                <a:gd name="connsiteX2" fmla="*/ 56488 w 113655"/>
                <a:gd name="connsiteY2" fmla="*/ 0 h 117117"/>
                <a:gd name="connsiteX3" fmla="*/ 96408 w 113655"/>
                <a:gd name="connsiteY3" fmla="*/ 16856 h 117117"/>
                <a:gd name="connsiteX4" fmla="*/ 96408 w 113655"/>
                <a:gd name="connsiteY4" fmla="*/ 99640 h 117117"/>
                <a:gd name="connsiteX5" fmla="*/ 55015 w 113655"/>
                <a:gd name="connsiteY5" fmla="*/ 117117 h 117117"/>
                <a:gd name="connsiteX6" fmla="*/ 13623 w 113655"/>
                <a:gd name="connsiteY6" fmla="*/ 100559 h 117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655" h="117117">
                  <a:moveTo>
                    <a:pt x="13623" y="100559"/>
                  </a:moveTo>
                  <a:lnTo>
                    <a:pt x="0" y="68296"/>
                  </a:lnTo>
                  <a:lnTo>
                    <a:pt x="56488" y="0"/>
                  </a:lnTo>
                  <a:lnTo>
                    <a:pt x="96408" y="16856"/>
                  </a:lnTo>
                  <a:cubicBezTo>
                    <a:pt x="119404" y="38931"/>
                    <a:pt x="119404" y="76644"/>
                    <a:pt x="96408" y="99640"/>
                  </a:cubicBezTo>
                  <a:cubicBezTo>
                    <a:pt x="85370" y="110678"/>
                    <a:pt x="70653" y="117116"/>
                    <a:pt x="55015" y="117117"/>
                  </a:cubicBezTo>
                  <a:cubicBezTo>
                    <a:pt x="39378" y="117117"/>
                    <a:pt x="24661" y="111597"/>
                    <a:pt x="13623" y="10055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6" name="Forme libre : forme 385">
              <a:extLst>
                <a:ext uri="{FF2B5EF4-FFF2-40B4-BE49-F238E27FC236}">
                  <a16:creationId xmlns:a16="http://schemas.microsoft.com/office/drawing/2014/main" id="{A521D2F6-3CA4-443B-AE06-E761EA9F7456}"/>
                </a:ext>
              </a:extLst>
            </p:cNvPr>
            <p:cNvSpPr/>
            <p:nvPr/>
          </p:nvSpPr>
          <p:spPr>
            <a:xfrm rot="8716295">
              <a:off x="171547" y="46343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7" name="Forme libre : forme 386">
              <a:extLst>
                <a:ext uri="{FF2B5EF4-FFF2-40B4-BE49-F238E27FC236}">
                  <a16:creationId xmlns:a16="http://schemas.microsoft.com/office/drawing/2014/main" id="{830F38CE-6CA7-4EBA-A5A4-58CB35926CD3}"/>
                </a:ext>
              </a:extLst>
            </p:cNvPr>
            <p:cNvSpPr/>
            <p:nvPr/>
          </p:nvSpPr>
          <p:spPr>
            <a:xfrm rot="8716295">
              <a:off x="348999" y="44751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97785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sur motif + Texte">
    <p:bg>
      <p:bgPr>
        <a:solidFill>
          <a:srgbClr val="009F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10" name="Groupe 1809">
            <a:extLst>
              <a:ext uri="{FF2B5EF4-FFF2-40B4-BE49-F238E27FC236}">
                <a16:creationId xmlns:a16="http://schemas.microsoft.com/office/drawing/2014/main" id="{D5E52DBD-0A92-4197-896E-BCC6716DD6DA}"/>
              </a:ext>
            </a:extLst>
          </p:cNvPr>
          <p:cNvGrpSpPr/>
          <p:nvPr userDrawn="1"/>
        </p:nvGrpSpPr>
        <p:grpSpPr>
          <a:xfrm>
            <a:off x="-91485" y="-107301"/>
            <a:ext cx="6241280" cy="5352842"/>
            <a:chOff x="-91485" y="-107301"/>
            <a:chExt cx="6241280" cy="5352842"/>
          </a:xfrm>
          <a:solidFill>
            <a:schemeClr val="bg2">
              <a:alpha val="5000"/>
            </a:schemeClr>
          </a:solidFill>
        </p:grpSpPr>
        <p:sp>
          <p:nvSpPr>
            <p:cNvPr id="1811" name="Forme libre : forme 1810">
              <a:extLst>
                <a:ext uri="{FF2B5EF4-FFF2-40B4-BE49-F238E27FC236}">
                  <a16:creationId xmlns:a16="http://schemas.microsoft.com/office/drawing/2014/main" id="{356DB458-2C6D-4A95-879D-F8AE824F08BD}"/>
                </a:ext>
              </a:extLst>
            </p:cNvPr>
            <p:cNvSpPr/>
            <p:nvPr/>
          </p:nvSpPr>
          <p:spPr>
            <a:xfrm rot="8716295">
              <a:off x="3051469" y="229467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2" name="Forme libre : forme 1811">
              <a:extLst>
                <a:ext uri="{FF2B5EF4-FFF2-40B4-BE49-F238E27FC236}">
                  <a16:creationId xmlns:a16="http://schemas.microsoft.com/office/drawing/2014/main" id="{D0305DE6-6073-4DA8-862F-147A02C05ABF}"/>
                </a:ext>
              </a:extLst>
            </p:cNvPr>
            <p:cNvSpPr/>
            <p:nvPr/>
          </p:nvSpPr>
          <p:spPr>
            <a:xfrm rot="8716295">
              <a:off x="3140861" y="232391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3" name="Forme libre : forme 1812">
              <a:extLst>
                <a:ext uri="{FF2B5EF4-FFF2-40B4-BE49-F238E27FC236}">
                  <a16:creationId xmlns:a16="http://schemas.microsoft.com/office/drawing/2014/main" id="{D227984A-879C-4B8E-95D0-FFA8AD953D5C}"/>
                </a:ext>
              </a:extLst>
            </p:cNvPr>
            <p:cNvSpPr/>
            <p:nvPr/>
          </p:nvSpPr>
          <p:spPr>
            <a:xfrm rot="8716295">
              <a:off x="3096011" y="2237639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4" name="Forme libre : forme 1813">
              <a:extLst>
                <a:ext uri="{FF2B5EF4-FFF2-40B4-BE49-F238E27FC236}">
                  <a16:creationId xmlns:a16="http://schemas.microsoft.com/office/drawing/2014/main" id="{2C608E55-0CAE-4732-A11A-F0F39D2AEFD9}"/>
                </a:ext>
              </a:extLst>
            </p:cNvPr>
            <p:cNvSpPr/>
            <p:nvPr/>
          </p:nvSpPr>
          <p:spPr>
            <a:xfrm rot="8716295">
              <a:off x="2939235" y="238322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5" name="Forme libre : forme 1814">
              <a:extLst>
                <a:ext uri="{FF2B5EF4-FFF2-40B4-BE49-F238E27FC236}">
                  <a16:creationId xmlns:a16="http://schemas.microsoft.com/office/drawing/2014/main" id="{E8BA7359-7258-4AE0-83CA-5DD072306BDB}"/>
                </a:ext>
              </a:extLst>
            </p:cNvPr>
            <p:cNvSpPr/>
            <p:nvPr/>
          </p:nvSpPr>
          <p:spPr>
            <a:xfrm rot="8716295">
              <a:off x="2814332" y="217454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6" name="Forme libre : forme 1815">
              <a:extLst>
                <a:ext uri="{FF2B5EF4-FFF2-40B4-BE49-F238E27FC236}">
                  <a16:creationId xmlns:a16="http://schemas.microsoft.com/office/drawing/2014/main" id="{C4F787ED-8136-4000-BB29-ED55AC1B93E4}"/>
                </a:ext>
              </a:extLst>
            </p:cNvPr>
            <p:cNvSpPr/>
            <p:nvPr/>
          </p:nvSpPr>
          <p:spPr>
            <a:xfrm rot="8716295">
              <a:off x="2802280" y="203576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7" name="Forme libre : forme 1816">
              <a:extLst>
                <a:ext uri="{FF2B5EF4-FFF2-40B4-BE49-F238E27FC236}">
                  <a16:creationId xmlns:a16="http://schemas.microsoft.com/office/drawing/2014/main" id="{7A005167-A9EB-451A-912F-F0D5BCE01993}"/>
                </a:ext>
              </a:extLst>
            </p:cNvPr>
            <p:cNvSpPr/>
            <p:nvPr/>
          </p:nvSpPr>
          <p:spPr>
            <a:xfrm rot="8716295">
              <a:off x="3029413" y="2424173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8" name="Forme libre : forme 1817">
              <a:extLst>
                <a:ext uri="{FF2B5EF4-FFF2-40B4-BE49-F238E27FC236}">
                  <a16:creationId xmlns:a16="http://schemas.microsoft.com/office/drawing/2014/main" id="{1E844DF7-3B47-43F4-A15C-58025D0149C0}"/>
                </a:ext>
              </a:extLst>
            </p:cNvPr>
            <p:cNvSpPr/>
            <p:nvPr/>
          </p:nvSpPr>
          <p:spPr>
            <a:xfrm rot="8716295">
              <a:off x="3340568" y="204452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9" name="Forme libre : forme 1818">
              <a:extLst>
                <a:ext uri="{FF2B5EF4-FFF2-40B4-BE49-F238E27FC236}">
                  <a16:creationId xmlns:a16="http://schemas.microsoft.com/office/drawing/2014/main" id="{B996BBF0-6994-43D3-9BE9-386DA607C947}"/>
                </a:ext>
              </a:extLst>
            </p:cNvPr>
            <p:cNvSpPr/>
            <p:nvPr/>
          </p:nvSpPr>
          <p:spPr>
            <a:xfrm rot="8716295">
              <a:off x="3429960" y="207376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0" name="Forme libre : forme 1819">
              <a:extLst>
                <a:ext uri="{FF2B5EF4-FFF2-40B4-BE49-F238E27FC236}">
                  <a16:creationId xmlns:a16="http://schemas.microsoft.com/office/drawing/2014/main" id="{65E70179-AEDC-493A-B137-D76EB54F2A95}"/>
                </a:ext>
              </a:extLst>
            </p:cNvPr>
            <p:cNvSpPr/>
            <p:nvPr/>
          </p:nvSpPr>
          <p:spPr>
            <a:xfrm rot="8716295">
              <a:off x="3228334" y="213306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1" name="Forme libre : forme 1820">
              <a:extLst>
                <a:ext uri="{FF2B5EF4-FFF2-40B4-BE49-F238E27FC236}">
                  <a16:creationId xmlns:a16="http://schemas.microsoft.com/office/drawing/2014/main" id="{15E43ACE-5A35-4065-8BA0-05B9E4F3E2DD}"/>
                </a:ext>
              </a:extLst>
            </p:cNvPr>
            <p:cNvSpPr/>
            <p:nvPr/>
          </p:nvSpPr>
          <p:spPr>
            <a:xfrm rot="8716295">
              <a:off x="3103432" y="192439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2" name="Forme libre : forme 1821">
              <a:extLst>
                <a:ext uri="{FF2B5EF4-FFF2-40B4-BE49-F238E27FC236}">
                  <a16:creationId xmlns:a16="http://schemas.microsoft.com/office/drawing/2014/main" id="{2A0C81CE-D249-4CA0-8A47-1AAEA8CB9533}"/>
                </a:ext>
              </a:extLst>
            </p:cNvPr>
            <p:cNvSpPr/>
            <p:nvPr/>
          </p:nvSpPr>
          <p:spPr>
            <a:xfrm rot="8716295">
              <a:off x="3318512" y="2174021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3" name="Forme libre : forme 1822">
              <a:extLst>
                <a:ext uri="{FF2B5EF4-FFF2-40B4-BE49-F238E27FC236}">
                  <a16:creationId xmlns:a16="http://schemas.microsoft.com/office/drawing/2014/main" id="{0EEC3B89-6CB0-495F-A11A-4B49BC16C2B1}"/>
                </a:ext>
              </a:extLst>
            </p:cNvPr>
            <p:cNvSpPr/>
            <p:nvPr/>
          </p:nvSpPr>
          <p:spPr>
            <a:xfrm rot="8716295">
              <a:off x="3077061" y="202442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4" name="Forme libre : forme 1823">
              <a:extLst>
                <a:ext uri="{FF2B5EF4-FFF2-40B4-BE49-F238E27FC236}">
                  <a16:creationId xmlns:a16="http://schemas.microsoft.com/office/drawing/2014/main" id="{65DB1D59-7D7C-4965-B3DC-B73DA9D278B7}"/>
                </a:ext>
              </a:extLst>
            </p:cNvPr>
            <p:cNvSpPr/>
            <p:nvPr/>
          </p:nvSpPr>
          <p:spPr>
            <a:xfrm rot="7484129">
              <a:off x="3423443" y="236537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5" name="Forme libre : forme 1824">
              <a:extLst>
                <a:ext uri="{FF2B5EF4-FFF2-40B4-BE49-F238E27FC236}">
                  <a16:creationId xmlns:a16="http://schemas.microsoft.com/office/drawing/2014/main" id="{AC9D40C9-BBC1-4F0D-B0BB-6E893395B20A}"/>
                </a:ext>
              </a:extLst>
            </p:cNvPr>
            <p:cNvSpPr/>
            <p:nvPr/>
          </p:nvSpPr>
          <p:spPr>
            <a:xfrm rot="13089394">
              <a:off x="3528263" y="233190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6" name="Forme libre : forme 1825">
              <a:extLst>
                <a:ext uri="{FF2B5EF4-FFF2-40B4-BE49-F238E27FC236}">
                  <a16:creationId xmlns:a16="http://schemas.microsoft.com/office/drawing/2014/main" id="{66690AAC-D0B3-493E-A085-78B2DC0C4ADB}"/>
                </a:ext>
              </a:extLst>
            </p:cNvPr>
            <p:cNvSpPr/>
            <p:nvPr/>
          </p:nvSpPr>
          <p:spPr>
            <a:xfrm rot="8716295">
              <a:off x="3713848" y="214022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7" name="Forme libre : forme 1826">
              <a:extLst>
                <a:ext uri="{FF2B5EF4-FFF2-40B4-BE49-F238E27FC236}">
                  <a16:creationId xmlns:a16="http://schemas.microsoft.com/office/drawing/2014/main" id="{E1D008C3-7DA7-4156-9341-879792E727A4}"/>
                </a:ext>
              </a:extLst>
            </p:cNvPr>
            <p:cNvSpPr/>
            <p:nvPr/>
          </p:nvSpPr>
          <p:spPr>
            <a:xfrm rot="8716295">
              <a:off x="3662043" y="203663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8" name="Forme libre : forme 1827">
              <a:extLst>
                <a:ext uri="{FF2B5EF4-FFF2-40B4-BE49-F238E27FC236}">
                  <a16:creationId xmlns:a16="http://schemas.microsoft.com/office/drawing/2014/main" id="{B1942048-207E-4193-8388-B1BA4B510158}"/>
                </a:ext>
              </a:extLst>
            </p:cNvPr>
            <p:cNvSpPr/>
            <p:nvPr/>
          </p:nvSpPr>
          <p:spPr>
            <a:xfrm rot="8716295">
              <a:off x="3418797" y="206685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9" name="Forme libre : forme 1828">
              <a:extLst>
                <a:ext uri="{FF2B5EF4-FFF2-40B4-BE49-F238E27FC236}">
                  <a16:creationId xmlns:a16="http://schemas.microsoft.com/office/drawing/2014/main" id="{BA4761C7-6BBA-45FB-B8B6-2CD746953A11}"/>
                </a:ext>
              </a:extLst>
            </p:cNvPr>
            <p:cNvSpPr/>
            <p:nvPr/>
          </p:nvSpPr>
          <p:spPr>
            <a:xfrm rot="8716295">
              <a:off x="3596249" y="190761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0" name="Forme libre : forme 1829">
              <a:extLst>
                <a:ext uri="{FF2B5EF4-FFF2-40B4-BE49-F238E27FC236}">
                  <a16:creationId xmlns:a16="http://schemas.microsoft.com/office/drawing/2014/main" id="{93D0BE11-A1A3-453C-8F4F-F64994477961}"/>
                </a:ext>
              </a:extLst>
            </p:cNvPr>
            <p:cNvSpPr/>
            <p:nvPr/>
          </p:nvSpPr>
          <p:spPr>
            <a:xfrm rot="8716295">
              <a:off x="3274636" y="295437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1" name="Forme libre : forme 1830">
              <a:extLst>
                <a:ext uri="{FF2B5EF4-FFF2-40B4-BE49-F238E27FC236}">
                  <a16:creationId xmlns:a16="http://schemas.microsoft.com/office/drawing/2014/main" id="{BD00B47F-E8C8-4049-8B8C-1F2C9E0DDCF5}"/>
                </a:ext>
              </a:extLst>
            </p:cNvPr>
            <p:cNvSpPr/>
            <p:nvPr/>
          </p:nvSpPr>
          <p:spPr>
            <a:xfrm rot="8716295">
              <a:off x="3364028" y="298361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2" name="Forme libre : forme 1831">
              <a:extLst>
                <a:ext uri="{FF2B5EF4-FFF2-40B4-BE49-F238E27FC236}">
                  <a16:creationId xmlns:a16="http://schemas.microsoft.com/office/drawing/2014/main" id="{6639A803-0A9B-4CA8-84CA-CB6864EB9F13}"/>
                </a:ext>
              </a:extLst>
            </p:cNvPr>
            <p:cNvSpPr/>
            <p:nvPr/>
          </p:nvSpPr>
          <p:spPr>
            <a:xfrm rot="8716295">
              <a:off x="3319178" y="2897338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3" name="Forme libre : forme 1832">
              <a:extLst>
                <a:ext uri="{FF2B5EF4-FFF2-40B4-BE49-F238E27FC236}">
                  <a16:creationId xmlns:a16="http://schemas.microsoft.com/office/drawing/2014/main" id="{468DF1AB-9662-4891-A3B7-DA79E7EBC16D}"/>
                </a:ext>
              </a:extLst>
            </p:cNvPr>
            <p:cNvSpPr/>
            <p:nvPr/>
          </p:nvSpPr>
          <p:spPr>
            <a:xfrm rot="8716295">
              <a:off x="3162402" y="30429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4" name="Forme libre : forme 1833">
              <a:extLst>
                <a:ext uri="{FF2B5EF4-FFF2-40B4-BE49-F238E27FC236}">
                  <a16:creationId xmlns:a16="http://schemas.microsoft.com/office/drawing/2014/main" id="{CF86FB68-15B4-4493-8EE0-3E896CB0C5D8}"/>
                </a:ext>
              </a:extLst>
            </p:cNvPr>
            <p:cNvSpPr/>
            <p:nvPr/>
          </p:nvSpPr>
          <p:spPr>
            <a:xfrm rot="8716295">
              <a:off x="3037499" y="283424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5" name="Forme libre : forme 1834">
              <a:extLst>
                <a:ext uri="{FF2B5EF4-FFF2-40B4-BE49-F238E27FC236}">
                  <a16:creationId xmlns:a16="http://schemas.microsoft.com/office/drawing/2014/main" id="{7CF69A1A-5F78-4F60-B5D6-FD6A138299EC}"/>
                </a:ext>
              </a:extLst>
            </p:cNvPr>
            <p:cNvSpPr/>
            <p:nvPr/>
          </p:nvSpPr>
          <p:spPr>
            <a:xfrm rot="8716295">
              <a:off x="3025447" y="2695467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6" name="Forme libre : forme 1835">
              <a:extLst>
                <a:ext uri="{FF2B5EF4-FFF2-40B4-BE49-F238E27FC236}">
                  <a16:creationId xmlns:a16="http://schemas.microsoft.com/office/drawing/2014/main" id="{3B31C2F5-6F64-4719-BBC9-BBCB1658D3DD}"/>
                </a:ext>
              </a:extLst>
            </p:cNvPr>
            <p:cNvSpPr/>
            <p:nvPr/>
          </p:nvSpPr>
          <p:spPr>
            <a:xfrm rot="8716295">
              <a:off x="3252580" y="3083872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7" name="Forme libre : forme 1836">
              <a:extLst>
                <a:ext uri="{FF2B5EF4-FFF2-40B4-BE49-F238E27FC236}">
                  <a16:creationId xmlns:a16="http://schemas.microsoft.com/office/drawing/2014/main" id="{1C35BBFA-EBF1-47A8-9F9F-F1DAD54084FC}"/>
                </a:ext>
              </a:extLst>
            </p:cNvPr>
            <p:cNvSpPr/>
            <p:nvPr/>
          </p:nvSpPr>
          <p:spPr>
            <a:xfrm rot="8716295">
              <a:off x="3563735" y="270422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8" name="Forme libre : forme 1837">
              <a:extLst>
                <a:ext uri="{FF2B5EF4-FFF2-40B4-BE49-F238E27FC236}">
                  <a16:creationId xmlns:a16="http://schemas.microsoft.com/office/drawing/2014/main" id="{1667D8E4-CA56-4D24-AAA2-647FC814F7B1}"/>
                </a:ext>
              </a:extLst>
            </p:cNvPr>
            <p:cNvSpPr/>
            <p:nvPr/>
          </p:nvSpPr>
          <p:spPr>
            <a:xfrm rot="8716295">
              <a:off x="3653127" y="273346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9" name="Forme libre : forme 1838">
              <a:extLst>
                <a:ext uri="{FF2B5EF4-FFF2-40B4-BE49-F238E27FC236}">
                  <a16:creationId xmlns:a16="http://schemas.microsoft.com/office/drawing/2014/main" id="{2D247664-9D05-4DE9-828A-8EEEB6D62362}"/>
                </a:ext>
              </a:extLst>
            </p:cNvPr>
            <p:cNvSpPr/>
            <p:nvPr/>
          </p:nvSpPr>
          <p:spPr>
            <a:xfrm rot="8716295">
              <a:off x="3451501" y="279276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0" name="Forme libre : forme 1839">
              <a:extLst>
                <a:ext uri="{FF2B5EF4-FFF2-40B4-BE49-F238E27FC236}">
                  <a16:creationId xmlns:a16="http://schemas.microsoft.com/office/drawing/2014/main" id="{25BA7781-6373-48E8-B517-D547E35D3442}"/>
                </a:ext>
              </a:extLst>
            </p:cNvPr>
            <p:cNvSpPr/>
            <p:nvPr/>
          </p:nvSpPr>
          <p:spPr>
            <a:xfrm rot="8716295">
              <a:off x="3326599" y="258409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1" name="Forme libre : forme 1840">
              <a:extLst>
                <a:ext uri="{FF2B5EF4-FFF2-40B4-BE49-F238E27FC236}">
                  <a16:creationId xmlns:a16="http://schemas.microsoft.com/office/drawing/2014/main" id="{23C0E36B-602D-442F-AF28-AF8930D84F3F}"/>
                </a:ext>
              </a:extLst>
            </p:cNvPr>
            <p:cNvSpPr/>
            <p:nvPr/>
          </p:nvSpPr>
          <p:spPr>
            <a:xfrm rot="8716295">
              <a:off x="3541679" y="2833720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2" name="Forme libre : forme 1841">
              <a:extLst>
                <a:ext uri="{FF2B5EF4-FFF2-40B4-BE49-F238E27FC236}">
                  <a16:creationId xmlns:a16="http://schemas.microsoft.com/office/drawing/2014/main" id="{199731DF-620C-4C6A-9AB8-42BC4BA7117A}"/>
                </a:ext>
              </a:extLst>
            </p:cNvPr>
            <p:cNvSpPr/>
            <p:nvPr/>
          </p:nvSpPr>
          <p:spPr>
            <a:xfrm rot="8716295">
              <a:off x="3300228" y="2684120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3" name="Forme libre : forme 1842">
              <a:extLst>
                <a:ext uri="{FF2B5EF4-FFF2-40B4-BE49-F238E27FC236}">
                  <a16:creationId xmlns:a16="http://schemas.microsoft.com/office/drawing/2014/main" id="{1B76A93B-820C-4C9C-8469-1A8F9E93159B}"/>
                </a:ext>
              </a:extLst>
            </p:cNvPr>
            <p:cNvSpPr/>
            <p:nvPr/>
          </p:nvSpPr>
          <p:spPr>
            <a:xfrm rot="7484129">
              <a:off x="3646610" y="302507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4" name="Forme libre : forme 1843">
              <a:extLst>
                <a:ext uri="{FF2B5EF4-FFF2-40B4-BE49-F238E27FC236}">
                  <a16:creationId xmlns:a16="http://schemas.microsoft.com/office/drawing/2014/main" id="{66DC52E6-1456-43FD-A3BE-2B872731E4E9}"/>
                </a:ext>
              </a:extLst>
            </p:cNvPr>
            <p:cNvSpPr/>
            <p:nvPr/>
          </p:nvSpPr>
          <p:spPr>
            <a:xfrm rot="13089394">
              <a:off x="3751430" y="2991605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5" name="Forme libre : forme 1844">
              <a:extLst>
                <a:ext uri="{FF2B5EF4-FFF2-40B4-BE49-F238E27FC236}">
                  <a16:creationId xmlns:a16="http://schemas.microsoft.com/office/drawing/2014/main" id="{DCDD2A3A-9ABC-40A8-BFA8-585EA2B24085}"/>
                </a:ext>
              </a:extLst>
            </p:cNvPr>
            <p:cNvSpPr/>
            <p:nvPr/>
          </p:nvSpPr>
          <p:spPr>
            <a:xfrm rot="8716295">
              <a:off x="3937015" y="2799924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6" name="Forme libre : forme 1845">
              <a:extLst>
                <a:ext uri="{FF2B5EF4-FFF2-40B4-BE49-F238E27FC236}">
                  <a16:creationId xmlns:a16="http://schemas.microsoft.com/office/drawing/2014/main" id="{E6972E8A-A6BD-4AB3-983F-0AB52C36F84A}"/>
                </a:ext>
              </a:extLst>
            </p:cNvPr>
            <p:cNvSpPr/>
            <p:nvPr/>
          </p:nvSpPr>
          <p:spPr>
            <a:xfrm rot="8716295">
              <a:off x="3885210" y="269633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7" name="Forme libre : forme 1846">
              <a:extLst>
                <a:ext uri="{FF2B5EF4-FFF2-40B4-BE49-F238E27FC236}">
                  <a16:creationId xmlns:a16="http://schemas.microsoft.com/office/drawing/2014/main" id="{0AB9B5DA-5EA1-4202-AD13-C56E27F57ED7}"/>
                </a:ext>
              </a:extLst>
            </p:cNvPr>
            <p:cNvSpPr/>
            <p:nvPr/>
          </p:nvSpPr>
          <p:spPr>
            <a:xfrm rot="8716295">
              <a:off x="3641964" y="272655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8" name="Forme libre : forme 1847">
              <a:extLst>
                <a:ext uri="{FF2B5EF4-FFF2-40B4-BE49-F238E27FC236}">
                  <a16:creationId xmlns:a16="http://schemas.microsoft.com/office/drawing/2014/main" id="{B297F0D1-8FCF-41A6-B10A-B9F1B0A91232}"/>
                </a:ext>
              </a:extLst>
            </p:cNvPr>
            <p:cNvSpPr/>
            <p:nvPr/>
          </p:nvSpPr>
          <p:spPr>
            <a:xfrm rot="8716295">
              <a:off x="3819416" y="25673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9" name="Forme libre : forme 1848">
              <a:extLst>
                <a:ext uri="{FF2B5EF4-FFF2-40B4-BE49-F238E27FC236}">
                  <a16:creationId xmlns:a16="http://schemas.microsoft.com/office/drawing/2014/main" id="{CDECF82E-73B3-468F-A90B-A85D37A91C27}"/>
                </a:ext>
              </a:extLst>
            </p:cNvPr>
            <p:cNvSpPr/>
            <p:nvPr/>
          </p:nvSpPr>
          <p:spPr>
            <a:xfrm rot="8716295">
              <a:off x="3937162" y="4933704"/>
              <a:ext cx="142167" cy="232388"/>
            </a:xfrm>
            <a:custGeom>
              <a:avLst/>
              <a:gdLst>
                <a:gd name="connsiteX0" fmla="*/ 81108 w 142167"/>
                <a:gd name="connsiteY0" fmla="*/ 232388 h 232388"/>
                <a:gd name="connsiteX1" fmla="*/ 81108 w 142167"/>
                <a:gd name="connsiteY1" fmla="*/ 69717 h 232388"/>
                <a:gd name="connsiteX2" fmla="*/ 81108 w 142167"/>
                <a:gd name="connsiteY2" fmla="*/ 65615 h 232388"/>
                <a:gd name="connsiteX3" fmla="*/ 60604 w 142167"/>
                <a:gd name="connsiteY3" fmla="*/ 50123 h 232388"/>
                <a:gd name="connsiteX4" fmla="*/ 0 w 142167"/>
                <a:gd name="connsiteY4" fmla="*/ 50123 h 232388"/>
                <a:gd name="connsiteX5" fmla="*/ 0 w 142167"/>
                <a:gd name="connsiteY5" fmla="*/ 0 h 232388"/>
                <a:gd name="connsiteX6" fmla="*/ 67757 w 142167"/>
                <a:gd name="connsiteY6" fmla="*/ 0 h 232388"/>
                <a:gd name="connsiteX7" fmla="*/ 142167 w 142167"/>
                <a:gd name="connsiteY7" fmla="*/ 51579 h 232388"/>
                <a:gd name="connsiteX8" fmla="*/ 142167 w 142167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32388">
                  <a:moveTo>
                    <a:pt x="81108" y="232388"/>
                  </a:moveTo>
                  <a:lnTo>
                    <a:pt x="81108" y="69717"/>
                  </a:lnTo>
                  <a:cubicBezTo>
                    <a:pt x="81108" y="68350"/>
                    <a:pt x="81108" y="66982"/>
                    <a:pt x="81108" y="65615"/>
                  </a:cubicBezTo>
                  <a:cubicBezTo>
                    <a:pt x="79741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67757" y="0"/>
                  </a:lnTo>
                  <a:lnTo>
                    <a:pt x="142167" y="51579"/>
                  </a:lnTo>
                  <a:lnTo>
                    <a:pt x="142167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0" name="Forme libre : forme 1849">
              <a:extLst>
                <a:ext uri="{FF2B5EF4-FFF2-40B4-BE49-F238E27FC236}">
                  <a16:creationId xmlns:a16="http://schemas.microsoft.com/office/drawing/2014/main" id="{2520359B-6D7C-4A10-8B0B-4B8A9E745FD9}"/>
                </a:ext>
              </a:extLst>
            </p:cNvPr>
            <p:cNvSpPr/>
            <p:nvPr/>
          </p:nvSpPr>
          <p:spPr>
            <a:xfrm rot="8716295">
              <a:off x="4141505" y="4922844"/>
              <a:ext cx="132702" cy="253348"/>
            </a:xfrm>
            <a:custGeom>
              <a:avLst/>
              <a:gdLst>
                <a:gd name="connsiteX0" fmla="*/ 51489 w 132702"/>
                <a:gd name="connsiteY0" fmla="*/ 253348 h 253348"/>
                <a:gd name="connsiteX1" fmla="*/ 51490 w 132702"/>
                <a:gd name="connsiteY1" fmla="*/ 44199 h 253348"/>
                <a:gd name="connsiteX2" fmla="*/ 0 w 132702"/>
                <a:gd name="connsiteY2" fmla="*/ 44199 h 253348"/>
                <a:gd name="connsiteX3" fmla="*/ 0 w 132702"/>
                <a:gd name="connsiteY3" fmla="*/ 0 h 253348"/>
                <a:gd name="connsiteX4" fmla="*/ 48574 w 132702"/>
                <a:gd name="connsiteY4" fmla="*/ 0 h 253348"/>
                <a:gd name="connsiteX5" fmla="*/ 104802 w 132702"/>
                <a:gd name="connsiteY5" fmla="*/ 38976 h 253348"/>
                <a:gd name="connsiteX6" fmla="*/ 104803 w 132702"/>
                <a:gd name="connsiteY6" fmla="*/ 73817 h 253348"/>
                <a:gd name="connsiteX7" fmla="*/ 106169 w 132702"/>
                <a:gd name="connsiteY7" fmla="*/ 73817 h 253348"/>
                <a:gd name="connsiteX8" fmla="*/ 116353 w 132702"/>
                <a:gd name="connsiteY8" fmla="*/ 46982 h 253348"/>
                <a:gd name="connsiteX9" fmla="*/ 132702 w 132702"/>
                <a:gd name="connsiteY9" fmla="*/ 58315 h 253348"/>
                <a:gd name="connsiteX10" fmla="*/ 127358 w 132702"/>
                <a:gd name="connsiteY10" fmla="*/ 64191 h 253348"/>
                <a:gd name="connsiteX11" fmla="*/ 111638 w 132702"/>
                <a:gd name="connsiteY11" fmla="*/ 126218 h 253348"/>
                <a:gd name="connsiteX12" fmla="*/ 111638 w 132702"/>
                <a:gd name="connsiteY12" fmla="*/ 212339 h 253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702" h="253348">
                  <a:moveTo>
                    <a:pt x="51489" y="253348"/>
                  </a:moveTo>
                  <a:lnTo>
                    <a:pt x="51490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48574" y="0"/>
                  </a:lnTo>
                  <a:lnTo>
                    <a:pt x="104802" y="38976"/>
                  </a:lnTo>
                  <a:lnTo>
                    <a:pt x="104803" y="73817"/>
                  </a:lnTo>
                  <a:lnTo>
                    <a:pt x="106169" y="73817"/>
                  </a:lnTo>
                  <a:lnTo>
                    <a:pt x="116353" y="46982"/>
                  </a:lnTo>
                  <a:lnTo>
                    <a:pt x="132702" y="58315"/>
                  </a:lnTo>
                  <a:lnTo>
                    <a:pt x="127358" y="64191"/>
                  </a:lnTo>
                  <a:cubicBezTo>
                    <a:pt x="117675" y="79968"/>
                    <a:pt x="111638" y="101840"/>
                    <a:pt x="111638" y="126218"/>
                  </a:cubicBezTo>
                  <a:lnTo>
                    <a:pt x="111638" y="2123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1" name="Forme libre : forme 1850">
              <a:extLst>
                <a:ext uri="{FF2B5EF4-FFF2-40B4-BE49-F238E27FC236}">
                  <a16:creationId xmlns:a16="http://schemas.microsoft.com/office/drawing/2014/main" id="{DBA92024-335D-4ECC-9724-60843B062DA7}"/>
                </a:ext>
              </a:extLst>
            </p:cNvPr>
            <p:cNvSpPr/>
            <p:nvPr/>
          </p:nvSpPr>
          <p:spPr>
            <a:xfrm rot="8716295">
              <a:off x="3982533" y="487640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2" name="Forme libre : forme 1851">
              <a:extLst>
                <a:ext uri="{FF2B5EF4-FFF2-40B4-BE49-F238E27FC236}">
                  <a16:creationId xmlns:a16="http://schemas.microsoft.com/office/drawing/2014/main" id="{8321C7CB-2F29-4F82-9BEA-4F30324C6FCA}"/>
                </a:ext>
              </a:extLst>
            </p:cNvPr>
            <p:cNvSpPr/>
            <p:nvPr/>
          </p:nvSpPr>
          <p:spPr>
            <a:xfrm rot="8716295">
              <a:off x="3825757" y="502198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3" name="Forme libre : forme 1852">
              <a:extLst>
                <a:ext uri="{FF2B5EF4-FFF2-40B4-BE49-F238E27FC236}">
                  <a16:creationId xmlns:a16="http://schemas.microsoft.com/office/drawing/2014/main" id="{982C4E17-FE31-45D0-8ADA-BC82CBF632F8}"/>
                </a:ext>
              </a:extLst>
            </p:cNvPr>
            <p:cNvSpPr/>
            <p:nvPr/>
          </p:nvSpPr>
          <p:spPr>
            <a:xfrm rot="8716295">
              <a:off x="3700854" y="481331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4" name="Forme libre : forme 1853">
              <a:extLst>
                <a:ext uri="{FF2B5EF4-FFF2-40B4-BE49-F238E27FC236}">
                  <a16:creationId xmlns:a16="http://schemas.microsoft.com/office/drawing/2014/main" id="{B5AC4F8C-F097-4771-B364-40F9E5307B62}"/>
                </a:ext>
              </a:extLst>
            </p:cNvPr>
            <p:cNvSpPr/>
            <p:nvPr/>
          </p:nvSpPr>
          <p:spPr>
            <a:xfrm rot="8716295">
              <a:off x="3688802" y="467453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5" name="Forme libre : forme 1854">
              <a:extLst>
                <a:ext uri="{FF2B5EF4-FFF2-40B4-BE49-F238E27FC236}">
                  <a16:creationId xmlns:a16="http://schemas.microsoft.com/office/drawing/2014/main" id="{837371BC-426A-4492-B28F-56A8F67313D2}"/>
                </a:ext>
              </a:extLst>
            </p:cNvPr>
            <p:cNvSpPr/>
            <p:nvPr/>
          </p:nvSpPr>
          <p:spPr>
            <a:xfrm rot="8716295">
              <a:off x="3876973" y="5088204"/>
              <a:ext cx="60147" cy="79509"/>
            </a:xfrm>
            <a:custGeom>
              <a:avLst/>
              <a:gdLst>
                <a:gd name="connsiteX0" fmla="*/ 60147 w 60147"/>
                <a:gd name="connsiteY0" fmla="*/ 79509 h 79509"/>
                <a:gd name="connsiteX1" fmla="*/ 0 w 60147"/>
                <a:gd name="connsiteY1" fmla="*/ 21639 h 79509"/>
                <a:gd name="connsiteX2" fmla="*/ 0 w 60147"/>
                <a:gd name="connsiteY2" fmla="*/ 0 h 79509"/>
                <a:gd name="connsiteX3" fmla="*/ 60147 w 60147"/>
                <a:gd name="connsiteY3" fmla="*/ 41692 h 79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7" h="79509">
                  <a:moveTo>
                    <a:pt x="60147" y="79509"/>
                  </a:moveTo>
                  <a:lnTo>
                    <a:pt x="0" y="21639"/>
                  </a:lnTo>
                  <a:lnTo>
                    <a:pt x="0" y="0"/>
                  </a:lnTo>
                  <a:lnTo>
                    <a:pt x="60147" y="416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6" name="Forme libre : forme 1855">
              <a:extLst>
                <a:ext uri="{FF2B5EF4-FFF2-40B4-BE49-F238E27FC236}">
                  <a16:creationId xmlns:a16="http://schemas.microsoft.com/office/drawing/2014/main" id="{A36E7789-9970-4096-85C1-38733446BEBF}"/>
                </a:ext>
              </a:extLst>
            </p:cNvPr>
            <p:cNvSpPr/>
            <p:nvPr/>
          </p:nvSpPr>
          <p:spPr>
            <a:xfrm rot="8716295">
              <a:off x="4227090" y="468329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7" name="Forme libre : forme 1856">
              <a:extLst>
                <a:ext uri="{FF2B5EF4-FFF2-40B4-BE49-F238E27FC236}">
                  <a16:creationId xmlns:a16="http://schemas.microsoft.com/office/drawing/2014/main" id="{F11CC023-68EC-4D20-9D98-B45CEA43861F}"/>
                </a:ext>
              </a:extLst>
            </p:cNvPr>
            <p:cNvSpPr/>
            <p:nvPr/>
          </p:nvSpPr>
          <p:spPr>
            <a:xfrm rot="8716295">
              <a:off x="4316482" y="471253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8" name="Forme libre : forme 1857">
              <a:extLst>
                <a:ext uri="{FF2B5EF4-FFF2-40B4-BE49-F238E27FC236}">
                  <a16:creationId xmlns:a16="http://schemas.microsoft.com/office/drawing/2014/main" id="{D80DAB58-50D4-4440-9D89-04E62F60DD75}"/>
                </a:ext>
              </a:extLst>
            </p:cNvPr>
            <p:cNvSpPr/>
            <p:nvPr/>
          </p:nvSpPr>
          <p:spPr>
            <a:xfrm rot="8716295">
              <a:off x="4114856" y="477183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9" name="Forme libre : forme 1858">
              <a:extLst>
                <a:ext uri="{FF2B5EF4-FFF2-40B4-BE49-F238E27FC236}">
                  <a16:creationId xmlns:a16="http://schemas.microsoft.com/office/drawing/2014/main" id="{EFB2F06B-FB46-414B-A768-00A51103B9CB}"/>
                </a:ext>
              </a:extLst>
            </p:cNvPr>
            <p:cNvSpPr/>
            <p:nvPr/>
          </p:nvSpPr>
          <p:spPr>
            <a:xfrm rot="8716295">
              <a:off x="3989954" y="456316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0" name="Forme libre : forme 1859">
              <a:extLst>
                <a:ext uri="{FF2B5EF4-FFF2-40B4-BE49-F238E27FC236}">
                  <a16:creationId xmlns:a16="http://schemas.microsoft.com/office/drawing/2014/main" id="{6FFBD477-C0D0-41B1-BEDB-29E08A67B891}"/>
                </a:ext>
              </a:extLst>
            </p:cNvPr>
            <p:cNvSpPr/>
            <p:nvPr/>
          </p:nvSpPr>
          <p:spPr>
            <a:xfrm rot="8716295">
              <a:off x="4205034" y="481278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1" name="Forme libre : forme 1860">
              <a:extLst>
                <a:ext uri="{FF2B5EF4-FFF2-40B4-BE49-F238E27FC236}">
                  <a16:creationId xmlns:a16="http://schemas.microsoft.com/office/drawing/2014/main" id="{C6CF2AAF-5A81-4477-800F-2852F998EC43}"/>
                </a:ext>
              </a:extLst>
            </p:cNvPr>
            <p:cNvSpPr/>
            <p:nvPr/>
          </p:nvSpPr>
          <p:spPr>
            <a:xfrm rot="8716295">
              <a:off x="3963583" y="466318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2" name="Forme libre : forme 1861">
              <a:extLst>
                <a:ext uri="{FF2B5EF4-FFF2-40B4-BE49-F238E27FC236}">
                  <a16:creationId xmlns:a16="http://schemas.microsoft.com/office/drawing/2014/main" id="{30B95C1E-E1F2-447E-B82B-71DEEFEF0B51}"/>
                </a:ext>
              </a:extLst>
            </p:cNvPr>
            <p:cNvSpPr/>
            <p:nvPr/>
          </p:nvSpPr>
          <p:spPr>
            <a:xfrm rot="7484129">
              <a:off x="4361132" y="4975858"/>
              <a:ext cx="133389" cy="195874"/>
            </a:xfrm>
            <a:custGeom>
              <a:avLst/>
              <a:gdLst>
                <a:gd name="connsiteX0" fmla="*/ 90710 w 133389"/>
                <a:gd name="connsiteY0" fmla="*/ 195874 h 195874"/>
                <a:gd name="connsiteX1" fmla="*/ 47847 w 133389"/>
                <a:gd name="connsiteY1" fmla="*/ 116129 h 195874"/>
                <a:gd name="connsiteX2" fmla="*/ 69777 w 133389"/>
                <a:gd name="connsiteY2" fmla="*/ 55323 h 195874"/>
                <a:gd name="connsiteX3" fmla="*/ 0 w 133389"/>
                <a:gd name="connsiteY3" fmla="*/ 55323 h 195874"/>
                <a:gd name="connsiteX4" fmla="*/ 0 w 133389"/>
                <a:gd name="connsiteY4" fmla="*/ 0 h 195874"/>
                <a:gd name="connsiteX5" fmla="*/ 83610 w 133389"/>
                <a:gd name="connsiteY5" fmla="*/ 0 h 195874"/>
                <a:gd name="connsiteX6" fmla="*/ 133389 w 133389"/>
                <a:gd name="connsiteY6" fmla="*/ 71795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3389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83610" y="0"/>
                  </a:lnTo>
                  <a:lnTo>
                    <a:pt x="133389" y="7179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3" name="Forme libre : forme 1862">
              <a:extLst>
                <a:ext uri="{FF2B5EF4-FFF2-40B4-BE49-F238E27FC236}">
                  <a16:creationId xmlns:a16="http://schemas.microsoft.com/office/drawing/2014/main" id="{AAB34FE5-9F09-4958-9EE5-25175A1C7094}"/>
                </a:ext>
              </a:extLst>
            </p:cNvPr>
            <p:cNvSpPr/>
            <p:nvPr/>
          </p:nvSpPr>
          <p:spPr>
            <a:xfrm rot="13089394">
              <a:off x="4473995" y="4986322"/>
              <a:ext cx="268663" cy="135802"/>
            </a:xfrm>
            <a:custGeom>
              <a:avLst/>
              <a:gdLst>
                <a:gd name="connsiteX0" fmla="*/ 268663 w 268663"/>
                <a:gd name="connsiteY0" fmla="*/ 65010 h 135802"/>
                <a:gd name="connsiteX1" fmla="*/ 87676 w 268663"/>
                <a:gd name="connsiteY1" fmla="*/ 135639 h 135802"/>
                <a:gd name="connsiteX2" fmla="*/ 19806 w 268663"/>
                <a:gd name="connsiteY2" fmla="*/ 108049 h 135802"/>
                <a:gd name="connsiteX3" fmla="*/ 907 w 268663"/>
                <a:gd name="connsiteY3" fmla="*/ 70735 h 135802"/>
                <a:gd name="connsiteX4" fmla="*/ 0 w 268663"/>
                <a:gd name="connsiteY4" fmla="*/ 59909 h 135802"/>
                <a:gd name="connsiteX5" fmla="*/ 76250 w 268663"/>
                <a:gd name="connsiteY5" fmla="*/ 0 h 135802"/>
                <a:gd name="connsiteX6" fmla="*/ 83813 w 268663"/>
                <a:gd name="connsiteY6" fmla="*/ 52319 h 135802"/>
                <a:gd name="connsiteX7" fmla="*/ 150028 w 268663"/>
                <a:gd name="connsiteY7" fmla="*/ 88737 h 135802"/>
                <a:gd name="connsiteX8" fmla="*/ 199689 w 268663"/>
                <a:gd name="connsiteY8" fmla="*/ 79908 h 135802"/>
                <a:gd name="connsiteX9" fmla="*/ 267560 w 268663"/>
                <a:gd name="connsiteY9" fmla="*/ 52319 h 135802"/>
                <a:gd name="connsiteX10" fmla="*/ 268663 w 268663"/>
                <a:gd name="connsiteY10" fmla="*/ 59492 h 135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68663" h="135802">
                  <a:moveTo>
                    <a:pt x="268663" y="65010"/>
                  </a:moveTo>
                  <a:cubicBezTo>
                    <a:pt x="210174" y="115223"/>
                    <a:pt x="133474" y="132880"/>
                    <a:pt x="87676" y="135639"/>
                  </a:cubicBezTo>
                  <a:cubicBezTo>
                    <a:pt x="62294" y="137295"/>
                    <a:pt x="37463" y="126258"/>
                    <a:pt x="19806" y="108049"/>
                  </a:cubicBezTo>
                  <a:cubicBezTo>
                    <a:pt x="10425" y="98945"/>
                    <a:pt x="4494" y="86530"/>
                    <a:pt x="907" y="70735"/>
                  </a:cubicBezTo>
                  <a:lnTo>
                    <a:pt x="0" y="59909"/>
                  </a:lnTo>
                  <a:lnTo>
                    <a:pt x="76250" y="0"/>
                  </a:lnTo>
                  <a:lnTo>
                    <a:pt x="83813" y="52319"/>
                  </a:lnTo>
                  <a:cubicBezTo>
                    <a:pt x="92642" y="76597"/>
                    <a:pt x="115265" y="88737"/>
                    <a:pt x="150028" y="88737"/>
                  </a:cubicBezTo>
                  <a:cubicBezTo>
                    <a:pt x="167134" y="88185"/>
                    <a:pt x="183687" y="84874"/>
                    <a:pt x="199689" y="79908"/>
                  </a:cubicBezTo>
                  <a:cubicBezTo>
                    <a:pt x="222864" y="72735"/>
                    <a:pt x="245488" y="63355"/>
                    <a:pt x="267560" y="52319"/>
                  </a:cubicBezTo>
                  <a:cubicBezTo>
                    <a:pt x="268111" y="54526"/>
                    <a:pt x="268663" y="57285"/>
                    <a:pt x="268663" y="594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4" name="Forme libre : forme 1863">
              <a:extLst>
                <a:ext uri="{FF2B5EF4-FFF2-40B4-BE49-F238E27FC236}">
                  <a16:creationId xmlns:a16="http://schemas.microsoft.com/office/drawing/2014/main" id="{BFA338AE-EF63-4AB6-BC1C-378FF001F19F}"/>
                </a:ext>
              </a:extLst>
            </p:cNvPr>
            <p:cNvSpPr/>
            <p:nvPr/>
          </p:nvSpPr>
          <p:spPr>
            <a:xfrm rot="8716295">
              <a:off x="4600370" y="477899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5" name="Forme libre : forme 1864">
              <a:extLst>
                <a:ext uri="{FF2B5EF4-FFF2-40B4-BE49-F238E27FC236}">
                  <a16:creationId xmlns:a16="http://schemas.microsoft.com/office/drawing/2014/main" id="{56C71A74-F098-45BA-8E7C-541E50C5E524}"/>
                </a:ext>
              </a:extLst>
            </p:cNvPr>
            <p:cNvSpPr/>
            <p:nvPr/>
          </p:nvSpPr>
          <p:spPr>
            <a:xfrm rot="8716295">
              <a:off x="4548565" y="467540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6" name="Forme libre : forme 1865">
              <a:extLst>
                <a:ext uri="{FF2B5EF4-FFF2-40B4-BE49-F238E27FC236}">
                  <a16:creationId xmlns:a16="http://schemas.microsoft.com/office/drawing/2014/main" id="{57E68179-DB06-48AC-AB78-29CE460072C9}"/>
                </a:ext>
              </a:extLst>
            </p:cNvPr>
            <p:cNvSpPr/>
            <p:nvPr/>
          </p:nvSpPr>
          <p:spPr>
            <a:xfrm rot="8716295">
              <a:off x="4305319" y="470562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7" name="Forme libre : forme 1866">
              <a:extLst>
                <a:ext uri="{FF2B5EF4-FFF2-40B4-BE49-F238E27FC236}">
                  <a16:creationId xmlns:a16="http://schemas.microsoft.com/office/drawing/2014/main" id="{9687578B-24F6-40EC-9EEA-8E74CB9DE266}"/>
                </a:ext>
              </a:extLst>
            </p:cNvPr>
            <p:cNvSpPr/>
            <p:nvPr/>
          </p:nvSpPr>
          <p:spPr>
            <a:xfrm rot="8716295">
              <a:off x="4482771" y="454637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8" name="Forme libre : forme 1867">
              <a:extLst>
                <a:ext uri="{FF2B5EF4-FFF2-40B4-BE49-F238E27FC236}">
                  <a16:creationId xmlns:a16="http://schemas.microsoft.com/office/drawing/2014/main" id="{852310CF-EB75-42C2-8448-A4B1380C1DD6}"/>
                </a:ext>
              </a:extLst>
            </p:cNvPr>
            <p:cNvSpPr/>
            <p:nvPr/>
          </p:nvSpPr>
          <p:spPr>
            <a:xfrm rot="8716295">
              <a:off x="3493306" y="361277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9" name="Forme libre : forme 1868">
              <a:extLst>
                <a:ext uri="{FF2B5EF4-FFF2-40B4-BE49-F238E27FC236}">
                  <a16:creationId xmlns:a16="http://schemas.microsoft.com/office/drawing/2014/main" id="{C56D3DFB-4ADD-42C5-ADB3-D372BC8CB5D1}"/>
                </a:ext>
              </a:extLst>
            </p:cNvPr>
            <p:cNvSpPr/>
            <p:nvPr/>
          </p:nvSpPr>
          <p:spPr>
            <a:xfrm rot="8716295">
              <a:off x="3582698" y="364201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0" name="Forme libre : forme 1869">
              <a:extLst>
                <a:ext uri="{FF2B5EF4-FFF2-40B4-BE49-F238E27FC236}">
                  <a16:creationId xmlns:a16="http://schemas.microsoft.com/office/drawing/2014/main" id="{7EB9283E-F038-412D-910E-5F6D2CF93911}"/>
                </a:ext>
              </a:extLst>
            </p:cNvPr>
            <p:cNvSpPr/>
            <p:nvPr/>
          </p:nvSpPr>
          <p:spPr>
            <a:xfrm rot="8716295">
              <a:off x="3537848" y="355573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1" name="Forme libre : forme 1870">
              <a:extLst>
                <a:ext uri="{FF2B5EF4-FFF2-40B4-BE49-F238E27FC236}">
                  <a16:creationId xmlns:a16="http://schemas.microsoft.com/office/drawing/2014/main" id="{C7DB5BA1-1045-46F6-9B11-2D2ECC466F8F}"/>
                </a:ext>
              </a:extLst>
            </p:cNvPr>
            <p:cNvSpPr/>
            <p:nvPr/>
          </p:nvSpPr>
          <p:spPr>
            <a:xfrm rot="8716295">
              <a:off x="3381072" y="370131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2" name="Forme libre : forme 1871">
              <a:extLst>
                <a:ext uri="{FF2B5EF4-FFF2-40B4-BE49-F238E27FC236}">
                  <a16:creationId xmlns:a16="http://schemas.microsoft.com/office/drawing/2014/main" id="{785B42B0-8546-46CF-95AC-2265ECC426DA}"/>
                </a:ext>
              </a:extLst>
            </p:cNvPr>
            <p:cNvSpPr/>
            <p:nvPr/>
          </p:nvSpPr>
          <p:spPr>
            <a:xfrm rot="8716295">
              <a:off x="3256169" y="349264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3" name="Forme libre : forme 1872">
              <a:extLst>
                <a:ext uri="{FF2B5EF4-FFF2-40B4-BE49-F238E27FC236}">
                  <a16:creationId xmlns:a16="http://schemas.microsoft.com/office/drawing/2014/main" id="{DB664A17-E39F-486C-9B3A-684F36E1F01E}"/>
                </a:ext>
              </a:extLst>
            </p:cNvPr>
            <p:cNvSpPr/>
            <p:nvPr/>
          </p:nvSpPr>
          <p:spPr>
            <a:xfrm rot="8716295">
              <a:off x="3244117" y="335386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4" name="Forme libre : forme 1873">
              <a:extLst>
                <a:ext uri="{FF2B5EF4-FFF2-40B4-BE49-F238E27FC236}">
                  <a16:creationId xmlns:a16="http://schemas.microsoft.com/office/drawing/2014/main" id="{38162E40-8BC8-4F1D-B61A-45383ED5BD99}"/>
                </a:ext>
              </a:extLst>
            </p:cNvPr>
            <p:cNvSpPr/>
            <p:nvPr/>
          </p:nvSpPr>
          <p:spPr>
            <a:xfrm rot="8716295">
              <a:off x="3471250" y="374226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5" name="Forme libre : forme 1874">
              <a:extLst>
                <a:ext uri="{FF2B5EF4-FFF2-40B4-BE49-F238E27FC236}">
                  <a16:creationId xmlns:a16="http://schemas.microsoft.com/office/drawing/2014/main" id="{9D95EC53-44A9-4A48-9623-E8433EF20024}"/>
                </a:ext>
              </a:extLst>
            </p:cNvPr>
            <p:cNvSpPr/>
            <p:nvPr/>
          </p:nvSpPr>
          <p:spPr>
            <a:xfrm rot="8716295">
              <a:off x="3782405" y="336262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6" name="Forme libre : forme 1875">
              <a:extLst>
                <a:ext uri="{FF2B5EF4-FFF2-40B4-BE49-F238E27FC236}">
                  <a16:creationId xmlns:a16="http://schemas.microsoft.com/office/drawing/2014/main" id="{DE73101B-A287-46DC-B722-1DF973F5378F}"/>
                </a:ext>
              </a:extLst>
            </p:cNvPr>
            <p:cNvSpPr/>
            <p:nvPr/>
          </p:nvSpPr>
          <p:spPr>
            <a:xfrm rot="8716295">
              <a:off x="3871797" y="339186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7" name="Forme libre : forme 1876">
              <a:extLst>
                <a:ext uri="{FF2B5EF4-FFF2-40B4-BE49-F238E27FC236}">
                  <a16:creationId xmlns:a16="http://schemas.microsoft.com/office/drawing/2014/main" id="{403F95A4-D93C-4733-A72E-00929B0412AE}"/>
                </a:ext>
              </a:extLst>
            </p:cNvPr>
            <p:cNvSpPr/>
            <p:nvPr/>
          </p:nvSpPr>
          <p:spPr>
            <a:xfrm rot="8716295">
              <a:off x="3670171" y="345116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8" name="Forme libre : forme 1877">
              <a:extLst>
                <a:ext uri="{FF2B5EF4-FFF2-40B4-BE49-F238E27FC236}">
                  <a16:creationId xmlns:a16="http://schemas.microsoft.com/office/drawing/2014/main" id="{D559D9C1-3D5D-4DBD-BFA3-AAD9D4AFFCCB}"/>
                </a:ext>
              </a:extLst>
            </p:cNvPr>
            <p:cNvSpPr/>
            <p:nvPr/>
          </p:nvSpPr>
          <p:spPr>
            <a:xfrm rot="8716295">
              <a:off x="3545269" y="324249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9" name="Forme libre : forme 1878">
              <a:extLst>
                <a:ext uri="{FF2B5EF4-FFF2-40B4-BE49-F238E27FC236}">
                  <a16:creationId xmlns:a16="http://schemas.microsoft.com/office/drawing/2014/main" id="{8A56FFF9-A364-438B-BFFB-50F55DD2F66A}"/>
                </a:ext>
              </a:extLst>
            </p:cNvPr>
            <p:cNvSpPr/>
            <p:nvPr/>
          </p:nvSpPr>
          <p:spPr>
            <a:xfrm rot="8716295">
              <a:off x="3760349" y="349211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0" name="Forme libre : forme 1879">
              <a:extLst>
                <a:ext uri="{FF2B5EF4-FFF2-40B4-BE49-F238E27FC236}">
                  <a16:creationId xmlns:a16="http://schemas.microsoft.com/office/drawing/2014/main" id="{CB8A82E4-1430-4165-8829-ED95E59C13E3}"/>
                </a:ext>
              </a:extLst>
            </p:cNvPr>
            <p:cNvSpPr/>
            <p:nvPr/>
          </p:nvSpPr>
          <p:spPr>
            <a:xfrm rot="8716295">
              <a:off x="3518898" y="334251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1" name="Forme libre : forme 1880">
              <a:extLst>
                <a:ext uri="{FF2B5EF4-FFF2-40B4-BE49-F238E27FC236}">
                  <a16:creationId xmlns:a16="http://schemas.microsoft.com/office/drawing/2014/main" id="{0F27C68F-724E-46E3-B6BD-E473DC4E02B5}"/>
                </a:ext>
              </a:extLst>
            </p:cNvPr>
            <p:cNvSpPr/>
            <p:nvPr/>
          </p:nvSpPr>
          <p:spPr>
            <a:xfrm rot="7484129">
              <a:off x="3865280" y="368346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2" name="Forme libre : forme 1881">
              <a:extLst>
                <a:ext uri="{FF2B5EF4-FFF2-40B4-BE49-F238E27FC236}">
                  <a16:creationId xmlns:a16="http://schemas.microsoft.com/office/drawing/2014/main" id="{9D6723C5-6F5F-4F89-B9AB-0482F7E87BA5}"/>
                </a:ext>
              </a:extLst>
            </p:cNvPr>
            <p:cNvSpPr/>
            <p:nvPr/>
          </p:nvSpPr>
          <p:spPr>
            <a:xfrm rot="13089394">
              <a:off x="3970100" y="3650001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3" name="Forme libre : forme 1882">
              <a:extLst>
                <a:ext uri="{FF2B5EF4-FFF2-40B4-BE49-F238E27FC236}">
                  <a16:creationId xmlns:a16="http://schemas.microsoft.com/office/drawing/2014/main" id="{5CA64B36-E17C-4D54-A079-BC8C4193970C}"/>
                </a:ext>
              </a:extLst>
            </p:cNvPr>
            <p:cNvSpPr/>
            <p:nvPr/>
          </p:nvSpPr>
          <p:spPr>
            <a:xfrm rot="8716295">
              <a:off x="4155685" y="345832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4" name="Forme libre : forme 1883">
              <a:extLst>
                <a:ext uri="{FF2B5EF4-FFF2-40B4-BE49-F238E27FC236}">
                  <a16:creationId xmlns:a16="http://schemas.microsoft.com/office/drawing/2014/main" id="{A9377FF8-AE27-4510-A065-1305095C5BE9}"/>
                </a:ext>
              </a:extLst>
            </p:cNvPr>
            <p:cNvSpPr/>
            <p:nvPr/>
          </p:nvSpPr>
          <p:spPr>
            <a:xfrm rot="8716295">
              <a:off x="4103880" y="335472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5" name="Forme libre : forme 1884">
              <a:extLst>
                <a:ext uri="{FF2B5EF4-FFF2-40B4-BE49-F238E27FC236}">
                  <a16:creationId xmlns:a16="http://schemas.microsoft.com/office/drawing/2014/main" id="{5048E4A2-C470-4460-BF36-DE7683DD5ECF}"/>
                </a:ext>
              </a:extLst>
            </p:cNvPr>
            <p:cNvSpPr/>
            <p:nvPr/>
          </p:nvSpPr>
          <p:spPr>
            <a:xfrm rot="8716295">
              <a:off x="3860634" y="338494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6" name="Forme libre : forme 1885">
              <a:extLst>
                <a:ext uri="{FF2B5EF4-FFF2-40B4-BE49-F238E27FC236}">
                  <a16:creationId xmlns:a16="http://schemas.microsoft.com/office/drawing/2014/main" id="{5A4E5709-8FAD-4E4D-B5A6-C738DB0B147E}"/>
                </a:ext>
              </a:extLst>
            </p:cNvPr>
            <p:cNvSpPr/>
            <p:nvPr/>
          </p:nvSpPr>
          <p:spPr>
            <a:xfrm rot="8716295">
              <a:off x="4038086" y="322570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7" name="Forme libre : forme 1886">
              <a:extLst>
                <a:ext uri="{FF2B5EF4-FFF2-40B4-BE49-F238E27FC236}">
                  <a16:creationId xmlns:a16="http://schemas.microsoft.com/office/drawing/2014/main" id="{FFCF139E-7AE6-4DB8-9213-9A2CF3DE475A}"/>
                </a:ext>
              </a:extLst>
            </p:cNvPr>
            <p:cNvSpPr/>
            <p:nvPr/>
          </p:nvSpPr>
          <p:spPr>
            <a:xfrm rot="8716295">
              <a:off x="3716473" y="427247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8" name="Forme libre : forme 1887">
              <a:extLst>
                <a:ext uri="{FF2B5EF4-FFF2-40B4-BE49-F238E27FC236}">
                  <a16:creationId xmlns:a16="http://schemas.microsoft.com/office/drawing/2014/main" id="{230DFA0D-667C-4BA9-A9B4-3B9C5608513B}"/>
                </a:ext>
              </a:extLst>
            </p:cNvPr>
            <p:cNvSpPr/>
            <p:nvPr/>
          </p:nvSpPr>
          <p:spPr>
            <a:xfrm rot="8716295">
              <a:off x="3805865" y="430171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9" name="Forme libre : forme 1888">
              <a:extLst>
                <a:ext uri="{FF2B5EF4-FFF2-40B4-BE49-F238E27FC236}">
                  <a16:creationId xmlns:a16="http://schemas.microsoft.com/office/drawing/2014/main" id="{1955ED9A-4577-4156-B67C-D520CAA9BDEE}"/>
                </a:ext>
              </a:extLst>
            </p:cNvPr>
            <p:cNvSpPr/>
            <p:nvPr/>
          </p:nvSpPr>
          <p:spPr>
            <a:xfrm rot="8716295">
              <a:off x="3761015" y="421543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0" name="Forme libre : forme 1889">
              <a:extLst>
                <a:ext uri="{FF2B5EF4-FFF2-40B4-BE49-F238E27FC236}">
                  <a16:creationId xmlns:a16="http://schemas.microsoft.com/office/drawing/2014/main" id="{0CFE087C-15FC-4B0E-8C68-44FA23BE6627}"/>
                </a:ext>
              </a:extLst>
            </p:cNvPr>
            <p:cNvSpPr/>
            <p:nvPr/>
          </p:nvSpPr>
          <p:spPr>
            <a:xfrm rot="8716295">
              <a:off x="3604239" y="436101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1" name="Forme libre : forme 1890">
              <a:extLst>
                <a:ext uri="{FF2B5EF4-FFF2-40B4-BE49-F238E27FC236}">
                  <a16:creationId xmlns:a16="http://schemas.microsoft.com/office/drawing/2014/main" id="{F80539C5-90A6-4C9B-BB82-F1B574372789}"/>
                </a:ext>
              </a:extLst>
            </p:cNvPr>
            <p:cNvSpPr/>
            <p:nvPr/>
          </p:nvSpPr>
          <p:spPr>
            <a:xfrm rot="8716295">
              <a:off x="3479336" y="415234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2" name="Forme libre : forme 1891">
              <a:extLst>
                <a:ext uri="{FF2B5EF4-FFF2-40B4-BE49-F238E27FC236}">
                  <a16:creationId xmlns:a16="http://schemas.microsoft.com/office/drawing/2014/main" id="{DCD13A54-B7CF-4322-96F8-124875408DCF}"/>
                </a:ext>
              </a:extLst>
            </p:cNvPr>
            <p:cNvSpPr/>
            <p:nvPr/>
          </p:nvSpPr>
          <p:spPr>
            <a:xfrm rot="8716295">
              <a:off x="3467284" y="401356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3" name="Forme libre : forme 1892">
              <a:extLst>
                <a:ext uri="{FF2B5EF4-FFF2-40B4-BE49-F238E27FC236}">
                  <a16:creationId xmlns:a16="http://schemas.microsoft.com/office/drawing/2014/main" id="{CC738393-0663-4C9A-8E67-8C5FF5B2E7F4}"/>
                </a:ext>
              </a:extLst>
            </p:cNvPr>
            <p:cNvSpPr/>
            <p:nvPr/>
          </p:nvSpPr>
          <p:spPr>
            <a:xfrm rot="8716295">
              <a:off x="3694417" y="440196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4" name="Forme libre : forme 1893">
              <a:extLst>
                <a:ext uri="{FF2B5EF4-FFF2-40B4-BE49-F238E27FC236}">
                  <a16:creationId xmlns:a16="http://schemas.microsoft.com/office/drawing/2014/main" id="{B72A2B4A-ADAE-4727-B8C5-5E9FA88D437E}"/>
                </a:ext>
              </a:extLst>
            </p:cNvPr>
            <p:cNvSpPr/>
            <p:nvPr/>
          </p:nvSpPr>
          <p:spPr>
            <a:xfrm rot="8716295">
              <a:off x="4005572" y="402231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5" name="Forme libre : forme 1894">
              <a:extLst>
                <a:ext uri="{FF2B5EF4-FFF2-40B4-BE49-F238E27FC236}">
                  <a16:creationId xmlns:a16="http://schemas.microsoft.com/office/drawing/2014/main" id="{6A3D9198-4FC9-4484-8F80-AE0FF47F424A}"/>
                </a:ext>
              </a:extLst>
            </p:cNvPr>
            <p:cNvSpPr/>
            <p:nvPr/>
          </p:nvSpPr>
          <p:spPr>
            <a:xfrm rot="8716295">
              <a:off x="4094964" y="405156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6" name="Forme libre : forme 1895">
              <a:extLst>
                <a:ext uri="{FF2B5EF4-FFF2-40B4-BE49-F238E27FC236}">
                  <a16:creationId xmlns:a16="http://schemas.microsoft.com/office/drawing/2014/main" id="{771BA887-62A8-49EE-AD77-E1907D3D0281}"/>
                </a:ext>
              </a:extLst>
            </p:cNvPr>
            <p:cNvSpPr/>
            <p:nvPr/>
          </p:nvSpPr>
          <p:spPr>
            <a:xfrm rot="8716295">
              <a:off x="3893338" y="411086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7" name="Forme libre : forme 1896">
              <a:extLst>
                <a:ext uri="{FF2B5EF4-FFF2-40B4-BE49-F238E27FC236}">
                  <a16:creationId xmlns:a16="http://schemas.microsoft.com/office/drawing/2014/main" id="{7673BD76-CF77-4492-9C8C-2DB043745962}"/>
                </a:ext>
              </a:extLst>
            </p:cNvPr>
            <p:cNvSpPr/>
            <p:nvPr/>
          </p:nvSpPr>
          <p:spPr>
            <a:xfrm rot="8716295">
              <a:off x="3768436" y="390219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8" name="Forme libre : forme 1897">
              <a:extLst>
                <a:ext uri="{FF2B5EF4-FFF2-40B4-BE49-F238E27FC236}">
                  <a16:creationId xmlns:a16="http://schemas.microsoft.com/office/drawing/2014/main" id="{406877CF-38F4-42B3-8783-66A178259365}"/>
                </a:ext>
              </a:extLst>
            </p:cNvPr>
            <p:cNvSpPr/>
            <p:nvPr/>
          </p:nvSpPr>
          <p:spPr>
            <a:xfrm rot="8716295">
              <a:off x="3983516" y="415181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9" name="Forme libre : forme 1898">
              <a:extLst>
                <a:ext uri="{FF2B5EF4-FFF2-40B4-BE49-F238E27FC236}">
                  <a16:creationId xmlns:a16="http://schemas.microsoft.com/office/drawing/2014/main" id="{BA7D2770-CC88-4E1F-B285-451E2DAAC768}"/>
                </a:ext>
              </a:extLst>
            </p:cNvPr>
            <p:cNvSpPr/>
            <p:nvPr/>
          </p:nvSpPr>
          <p:spPr>
            <a:xfrm rot="8716295">
              <a:off x="3742065" y="400221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0" name="Forme libre : forme 1899">
              <a:extLst>
                <a:ext uri="{FF2B5EF4-FFF2-40B4-BE49-F238E27FC236}">
                  <a16:creationId xmlns:a16="http://schemas.microsoft.com/office/drawing/2014/main" id="{EAC640B6-AF2B-4FEF-A8F3-C6B4513FB3E0}"/>
                </a:ext>
              </a:extLst>
            </p:cNvPr>
            <p:cNvSpPr/>
            <p:nvPr/>
          </p:nvSpPr>
          <p:spPr>
            <a:xfrm rot="7484129">
              <a:off x="4088447" y="434316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1" name="Forme libre : forme 1900">
              <a:extLst>
                <a:ext uri="{FF2B5EF4-FFF2-40B4-BE49-F238E27FC236}">
                  <a16:creationId xmlns:a16="http://schemas.microsoft.com/office/drawing/2014/main" id="{839B2912-6F31-401A-9D54-A922E1F6052E}"/>
                </a:ext>
              </a:extLst>
            </p:cNvPr>
            <p:cNvSpPr/>
            <p:nvPr/>
          </p:nvSpPr>
          <p:spPr>
            <a:xfrm rot="13089394">
              <a:off x="4193267" y="430970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2" name="Forme libre : forme 1901">
              <a:extLst>
                <a:ext uri="{FF2B5EF4-FFF2-40B4-BE49-F238E27FC236}">
                  <a16:creationId xmlns:a16="http://schemas.microsoft.com/office/drawing/2014/main" id="{B855D3C7-2AEB-4AEB-9B99-0A553DF889E3}"/>
                </a:ext>
              </a:extLst>
            </p:cNvPr>
            <p:cNvSpPr/>
            <p:nvPr/>
          </p:nvSpPr>
          <p:spPr>
            <a:xfrm rot="8716295">
              <a:off x="4378852" y="411801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3" name="Forme libre : forme 1902">
              <a:extLst>
                <a:ext uri="{FF2B5EF4-FFF2-40B4-BE49-F238E27FC236}">
                  <a16:creationId xmlns:a16="http://schemas.microsoft.com/office/drawing/2014/main" id="{F8E6C03D-07F9-4499-A5CB-F23EEDC93586}"/>
                </a:ext>
              </a:extLst>
            </p:cNvPr>
            <p:cNvSpPr/>
            <p:nvPr/>
          </p:nvSpPr>
          <p:spPr>
            <a:xfrm rot="8716295">
              <a:off x="4327047" y="40144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4" name="Forme libre : forme 1903">
              <a:extLst>
                <a:ext uri="{FF2B5EF4-FFF2-40B4-BE49-F238E27FC236}">
                  <a16:creationId xmlns:a16="http://schemas.microsoft.com/office/drawing/2014/main" id="{15861924-FD77-4126-B239-3A1808ABEE41}"/>
                </a:ext>
              </a:extLst>
            </p:cNvPr>
            <p:cNvSpPr/>
            <p:nvPr/>
          </p:nvSpPr>
          <p:spPr>
            <a:xfrm rot="8716295">
              <a:off x="4083801" y="404464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5" name="Forme libre : forme 1904">
              <a:extLst>
                <a:ext uri="{FF2B5EF4-FFF2-40B4-BE49-F238E27FC236}">
                  <a16:creationId xmlns:a16="http://schemas.microsoft.com/office/drawing/2014/main" id="{87418738-E3EE-4DAB-8079-A0004EDDF675}"/>
                </a:ext>
              </a:extLst>
            </p:cNvPr>
            <p:cNvSpPr/>
            <p:nvPr/>
          </p:nvSpPr>
          <p:spPr>
            <a:xfrm rot="8716295">
              <a:off x="4261253" y="388540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6" name="Forme libre : forme 1905">
              <a:extLst>
                <a:ext uri="{FF2B5EF4-FFF2-40B4-BE49-F238E27FC236}">
                  <a16:creationId xmlns:a16="http://schemas.microsoft.com/office/drawing/2014/main" id="{C2E68F41-3C22-4FA3-BA7F-F2489DB7BEFB}"/>
                </a:ext>
              </a:extLst>
            </p:cNvPr>
            <p:cNvSpPr/>
            <p:nvPr/>
          </p:nvSpPr>
          <p:spPr>
            <a:xfrm rot="8716295">
              <a:off x="2829951" y="16337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7" name="Forme libre : forme 1906">
              <a:extLst>
                <a:ext uri="{FF2B5EF4-FFF2-40B4-BE49-F238E27FC236}">
                  <a16:creationId xmlns:a16="http://schemas.microsoft.com/office/drawing/2014/main" id="{5610FD5B-1A47-4408-BF18-F5DDA40BC7AD}"/>
                </a:ext>
              </a:extLst>
            </p:cNvPr>
            <p:cNvSpPr/>
            <p:nvPr/>
          </p:nvSpPr>
          <p:spPr>
            <a:xfrm rot="8716295">
              <a:off x="2919343" y="16629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8" name="Forme libre : forme 1907">
              <a:extLst>
                <a:ext uri="{FF2B5EF4-FFF2-40B4-BE49-F238E27FC236}">
                  <a16:creationId xmlns:a16="http://schemas.microsoft.com/office/drawing/2014/main" id="{36BBEE27-EBB3-477B-A0AE-E315B781DD23}"/>
                </a:ext>
              </a:extLst>
            </p:cNvPr>
            <p:cNvSpPr/>
            <p:nvPr/>
          </p:nvSpPr>
          <p:spPr>
            <a:xfrm rot="8716295">
              <a:off x="2874493" y="157666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9" name="Forme libre : forme 1908">
              <a:extLst>
                <a:ext uri="{FF2B5EF4-FFF2-40B4-BE49-F238E27FC236}">
                  <a16:creationId xmlns:a16="http://schemas.microsoft.com/office/drawing/2014/main" id="{44946E61-8E74-4140-AB3F-1CBA55C2D182}"/>
                </a:ext>
              </a:extLst>
            </p:cNvPr>
            <p:cNvSpPr/>
            <p:nvPr/>
          </p:nvSpPr>
          <p:spPr>
            <a:xfrm rot="8716295">
              <a:off x="2717717" y="172224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0" name="Forme libre : forme 1909">
              <a:extLst>
                <a:ext uri="{FF2B5EF4-FFF2-40B4-BE49-F238E27FC236}">
                  <a16:creationId xmlns:a16="http://schemas.microsoft.com/office/drawing/2014/main" id="{AC19D586-AE43-44FB-A485-219AF7044431}"/>
                </a:ext>
              </a:extLst>
            </p:cNvPr>
            <p:cNvSpPr/>
            <p:nvPr/>
          </p:nvSpPr>
          <p:spPr>
            <a:xfrm rot="8716295">
              <a:off x="2592814" y="151357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1" name="Forme libre : forme 1910">
              <a:extLst>
                <a:ext uri="{FF2B5EF4-FFF2-40B4-BE49-F238E27FC236}">
                  <a16:creationId xmlns:a16="http://schemas.microsoft.com/office/drawing/2014/main" id="{F936F991-07FC-4A51-8BFD-AC196B8791FD}"/>
                </a:ext>
              </a:extLst>
            </p:cNvPr>
            <p:cNvSpPr/>
            <p:nvPr/>
          </p:nvSpPr>
          <p:spPr>
            <a:xfrm rot="8716295">
              <a:off x="2580762" y="137479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2" name="Forme libre : forme 1911">
              <a:extLst>
                <a:ext uri="{FF2B5EF4-FFF2-40B4-BE49-F238E27FC236}">
                  <a16:creationId xmlns:a16="http://schemas.microsoft.com/office/drawing/2014/main" id="{0A5508B7-A76E-46D7-AE04-EED0D91559D3}"/>
                </a:ext>
              </a:extLst>
            </p:cNvPr>
            <p:cNvSpPr/>
            <p:nvPr/>
          </p:nvSpPr>
          <p:spPr>
            <a:xfrm rot="8716295">
              <a:off x="2807895" y="176319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3" name="Forme libre : forme 1912">
              <a:extLst>
                <a:ext uri="{FF2B5EF4-FFF2-40B4-BE49-F238E27FC236}">
                  <a16:creationId xmlns:a16="http://schemas.microsoft.com/office/drawing/2014/main" id="{30C37794-B7C5-448D-B623-8258E94CA5D6}"/>
                </a:ext>
              </a:extLst>
            </p:cNvPr>
            <p:cNvSpPr/>
            <p:nvPr/>
          </p:nvSpPr>
          <p:spPr>
            <a:xfrm rot="8716295">
              <a:off x="3119050" y="138355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4" name="Forme libre : forme 1913">
              <a:extLst>
                <a:ext uri="{FF2B5EF4-FFF2-40B4-BE49-F238E27FC236}">
                  <a16:creationId xmlns:a16="http://schemas.microsoft.com/office/drawing/2014/main" id="{E00FB22D-2457-4063-9459-8433540C0A77}"/>
                </a:ext>
              </a:extLst>
            </p:cNvPr>
            <p:cNvSpPr/>
            <p:nvPr/>
          </p:nvSpPr>
          <p:spPr>
            <a:xfrm rot="8716295">
              <a:off x="3208442" y="141279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5" name="Forme libre : forme 1914">
              <a:extLst>
                <a:ext uri="{FF2B5EF4-FFF2-40B4-BE49-F238E27FC236}">
                  <a16:creationId xmlns:a16="http://schemas.microsoft.com/office/drawing/2014/main" id="{40BF3ADC-1D1C-47B2-A5B1-9307F3A8DB5D}"/>
                </a:ext>
              </a:extLst>
            </p:cNvPr>
            <p:cNvSpPr/>
            <p:nvPr/>
          </p:nvSpPr>
          <p:spPr>
            <a:xfrm rot="8716295">
              <a:off x="3006816" y="147209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6" name="Forme libre : forme 1915">
              <a:extLst>
                <a:ext uri="{FF2B5EF4-FFF2-40B4-BE49-F238E27FC236}">
                  <a16:creationId xmlns:a16="http://schemas.microsoft.com/office/drawing/2014/main" id="{DF4ED72B-FC46-44BB-B438-16FEB0943FB2}"/>
                </a:ext>
              </a:extLst>
            </p:cNvPr>
            <p:cNvSpPr/>
            <p:nvPr/>
          </p:nvSpPr>
          <p:spPr>
            <a:xfrm rot="8716295">
              <a:off x="2881914" y="126342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7" name="Forme libre : forme 1916">
              <a:extLst>
                <a:ext uri="{FF2B5EF4-FFF2-40B4-BE49-F238E27FC236}">
                  <a16:creationId xmlns:a16="http://schemas.microsoft.com/office/drawing/2014/main" id="{B676BBE0-B162-4287-9303-C170CDD71537}"/>
                </a:ext>
              </a:extLst>
            </p:cNvPr>
            <p:cNvSpPr/>
            <p:nvPr/>
          </p:nvSpPr>
          <p:spPr>
            <a:xfrm rot="8716295">
              <a:off x="3096994" y="151304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8" name="Forme libre : forme 1917">
              <a:extLst>
                <a:ext uri="{FF2B5EF4-FFF2-40B4-BE49-F238E27FC236}">
                  <a16:creationId xmlns:a16="http://schemas.microsoft.com/office/drawing/2014/main" id="{E7EB3253-D700-49B8-AEB9-BB6E68032A95}"/>
                </a:ext>
              </a:extLst>
            </p:cNvPr>
            <p:cNvSpPr/>
            <p:nvPr/>
          </p:nvSpPr>
          <p:spPr>
            <a:xfrm rot="8716295">
              <a:off x="2855543" y="136344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9" name="Forme libre : forme 1918">
              <a:extLst>
                <a:ext uri="{FF2B5EF4-FFF2-40B4-BE49-F238E27FC236}">
                  <a16:creationId xmlns:a16="http://schemas.microsoft.com/office/drawing/2014/main" id="{56230BF6-AC9B-4902-AEE1-4B728E72D178}"/>
                </a:ext>
              </a:extLst>
            </p:cNvPr>
            <p:cNvSpPr/>
            <p:nvPr/>
          </p:nvSpPr>
          <p:spPr>
            <a:xfrm rot="7484129">
              <a:off x="3201925" y="170439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0" name="Forme libre : forme 1919">
              <a:extLst>
                <a:ext uri="{FF2B5EF4-FFF2-40B4-BE49-F238E27FC236}">
                  <a16:creationId xmlns:a16="http://schemas.microsoft.com/office/drawing/2014/main" id="{4B208DB0-A987-423B-A14C-FCBA1EF67B74}"/>
                </a:ext>
              </a:extLst>
            </p:cNvPr>
            <p:cNvSpPr/>
            <p:nvPr/>
          </p:nvSpPr>
          <p:spPr>
            <a:xfrm rot="13089394">
              <a:off x="3306745" y="167093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1" name="Forme libre : forme 1920">
              <a:extLst>
                <a:ext uri="{FF2B5EF4-FFF2-40B4-BE49-F238E27FC236}">
                  <a16:creationId xmlns:a16="http://schemas.microsoft.com/office/drawing/2014/main" id="{EF8A434D-15D0-4B82-9592-BF92E7D73B50}"/>
                </a:ext>
              </a:extLst>
            </p:cNvPr>
            <p:cNvSpPr/>
            <p:nvPr/>
          </p:nvSpPr>
          <p:spPr>
            <a:xfrm rot="8716295">
              <a:off x="3492330" y="147925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2" name="Forme libre : forme 1921">
              <a:extLst>
                <a:ext uri="{FF2B5EF4-FFF2-40B4-BE49-F238E27FC236}">
                  <a16:creationId xmlns:a16="http://schemas.microsoft.com/office/drawing/2014/main" id="{496643F6-EF29-4934-B60A-8D83073F0AE6}"/>
                </a:ext>
              </a:extLst>
            </p:cNvPr>
            <p:cNvSpPr/>
            <p:nvPr/>
          </p:nvSpPr>
          <p:spPr>
            <a:xfrm rot="8716295">
              <a:off x="3440525" y="137565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3" name="Forme libre : forme 1922">
              <a:extLst>
                <a:ext uri="{FF2B5EF4-FFF2-40B4-BE49-F238E27FC236}">
                  <a16:creationId xmlns:a16="http://schemas.microsoft.com/office/drawing/2014/main" id="{74F44434-50F9-4D75-99AD-08CE7DC14350}"/>
                </a:ext>
              </a:extLst>
            </p:cNvPr>
            <p:cNvSpPr/>
            <p:nvPr/>
          </p:nvSpPr>
          <p:spPr>
            <a:xfrm rot="8716295">
              <a:off x="3197279" y="140587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4" name="Forme libre : forme 1923">
              <a:extLst>
                <a:ext uri="{FF2B5EF4-FFF2-40B4-BE49-F238E27FC236}">
                  <a16:creationId xmlns:a16="http://schemas.microsoft.com/office/drawing/2014/main" id="{605F5CA4-BD4B-45C5-9BA8-28F63A326D37}"/>
                </a:ext>
              </a:extLst>
            </p:cNvPr>
            <p:cNvSpPr/>
            <p:nvPr/>
          </p:nvSpPr>
          <p:spPr>
            <a:xfrm rot="8716295">
              <a:off x="3374731" y="124663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5" name="Forme libre : forme 1924">
              <a:extLst>
                <a:ext uri="{FF2B5EF4-FFF2-40B4-BE49-F238E27FC236}">
                  <a16:creationId xmlns:a16="http://schemas.microsoft.com/office/drawing/2014/main" id="{D508E9B3-20C5-4879-9125-85F01ACBE5CA}"/>
                </a:ext>
              </a:extLst>
            </p:cNvPr>
            <p:cNvSpPr/>
            <p:nvPr/>
          </p:nvSpPr>
          <p:spPr>
            <a:xfrm rot="8716295">
              <a:off x="2606784" y="97400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6" name="Forme libre : forme 1925">
              <a:extLst>
                <a:ext uri="{FF2B5EF4-FFF2-40B4-BE49-F238E27FC236}">
                  <a16:creationId xmlns:a16="http://schemas.microsoft.com/office/drawing/2014/main" id="{01908F6A-77D5-41C0-A094-8B88D20850B5}"/>
                </a:ext>
              </a:extLst>
            </p:cNvPr>
            <p:cNvSpPr/>
            <p:nvPr/>
          </p:nvSpPr>
          <p:spPr>
            <a:xfrm rot="8716295">
              <a:off x="2696176" y="100324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7" name="Forme libre : forme 1926">
              <a:extLst>
                <a:ext uri="{FF2B5EF4-FFF2-40B4-BE49-F238E27FC236}">
                  <a16:creationId xmlns:a16="http://schemas.microsoft.com/office/drawing/2014/main" id="{529064A2-8EBE-4BBB-A56D-AF594A3CAC45}"/>
                </a:ext>
              </a:extLst>
            </p:cNvPr>
            <p:cNvSpPr/>
            <p:nvPr/>
          </p:nvSpPr>
          <p:spPr>
            <a:xfrm rot="8716295">
              <a:off x="2651326" y="91696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8" name="Forme libre : forme 1927">
              <a:extLst>
                <a:ext uri="{FF2B5EF4-FFF2-40B4-BE49-F238E27FC236}">
                  <a16:creationId xmlns:a16="http://schemas.microsoft.com/office/drawing/2014/main" id="{F7D12C08-407F-4632-A96C-CB1D241C9AF9}"/>
                </a:ext>
              </a:extLst>
            </p:cNvPr>
            <p:cNvSpPr/>
            <p:nvPr/>
          </p:nvSpPr>
          <p:spPr>
            <a:xfrm rot="8716295">
              <a:off x="2494550" y="106254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9" name="Forme libre : forme 1928">
              <a:extLst>
                <a:ext uri="{FF2B5EF4-FFF2-40B4-BE49-F238E27FC236}">
                  <a16:creationId xmlns:a16="http://schemas.microsoft.com/office/drawing/2014/main" id="{F9E3718B-9D4E-40C9-996E-B44032CD1443}"/>
                </a:ext>
              </a:extLst>
            </p:cNvPr>
            <p:cNvSpPr/>
            <p:nvPr/>
          </p:nvSpPr>
          <p:spPr>
            <a:xfrm rot="8716295">
              <a:off x="2369647" y="85387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0" name="Forme libre : forme 1929">
              <a:extLst>
                <a:ext uri="{FF2B5EF4-FFF2-40B4-BE49-F238E27FC236}">
                  <a16:creationId xmlns:a16="http://schemas.microsoft.com/office/drawing/2014/main" id="{062FDFA4-05F1-4BC4-841F-FD9779B36394}"/>
                </a:ext>
              </a:extLst>
            </p:cNvPr>
            <p:cNvSpPr/>
            <p:nvPr/>
          </p:nvSpPr>
          <p:spPr>
            <a:xfrm rot="8716295">
              <a:off x="2357595" y="71509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1" name="Forme libre : forme 1930">
              <a:extLst>
                <a:ext uri="{FF2B5EF4-FFF2-40B4-BE49-F238E27FC236}">
                  <a16:creationId xmlns:a16="http://schemas.microsoft.com/office/drawing/2014/main" id="{D98BE722-2724-4873-90DA-3EE10C00B3F9}"/>
                </a:ext>
              </a:extLst>
            </p:cNvPr>
            <p:cNvSpPr/>
            <p:nvPr/>
          </p:nvSpPr>
          <p:spPr>
            <a:xfrm rot="8716295">
              <a:off x="2584728" y="110350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2" name="Forme libre : forme 1931">
              <a:extLst>
                <a:ext uri="{FF2B5EF4-FFF2-40B4-BE49-F238E27FC236}">
                  <a16:creationId xmlns:a16="http://schemas.microsoft.com/office/drawing/2014/main" id="{73A5D009-4136-4E73-AA3F-5CD072165E84}"/>
                </a:ext>
              </a:extLst>
            </p:cNvPr>
            <p:cNvSpPr/>
            <p:nvPr/>
          </p:nvSpPr>
          <p:spPr>
            <a:xfrm rot="8716295">
              <a:off x="2895883" y="72385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3" name="Forme libre : forme 1932">
              <a:extLst>
                <a:ext uri="{FF2B5EF4-FFF2-40B4-BE49-F238E27FC236}">
                  <a16:creationId xmlns:a16="http://schemas.microsoft.com/office/drawing/2014/main" id="{BB1CB211-5C77-4CA8-93CB-FB2E5FEC73EA}"/>
                </a:ext>
              </a:extLst>
            </p:cNvPr>
            <p:cNvSpPr/>
            <p:nvPr/>
          </p:nvSpPr>
          <p:spPr>
            <a:xfrm rot="8716295">
              <a:off x="2985275" y="75309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4" name="Forme libre : forme 1933">
              <a:extLst>
                <a:ext uri="{FF2B5EF4-FFF2-40B4-BE49-F238E27FC236}">
                  <a16:creationId xmlns:a16="http://schemas.microsoft.com/office/drawing/2014/main" id="{39202ABD-E53C-410F-9F80-3647BABB1BE8}"/>
                </a:ext>
              </a:extLst>
            </p:cNvPr>
            <p:cNvSpPr/>
            <p:nvPr/>
          </p:nvSpPr>
          <p:spPr>
            <a:xfrm rot="8716295">
              <a:off x="2783649" y="81239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5" name="Forme libre : forme 1934">
              <a:extLst>
                <a:ext uri="{FF2B5EF4-FFF2-40B4-BE49-F238E27FC236}">
                  <a16:creationId xmlns:a16="http://schemas.microsoft.com/office/drawing/2014/main" id="{DEF0F507-9FA5-4F8E-81F0-A3FF660AD478}"/>
                </a:ext>
              </a:extLst>
            </p:cNvPr>
            <p:cNvSpPr/>
            <p:nvPr/>
          </p:nvSpPr>
          <p:spPr>
            <a:xfrm rot="8716295">
              <a:off x="2658747" y="60372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6" name="Forme libre : forme 1935">
              <a:extLst>
                <a:ext uri="{FF2B5EF4-FFF2-40B4-BE49-F238E27FC236}">
                  <a16:creationId xmlns:a16="http://schemas.microsoft.com/office/drawing/2014/main" id="{3339A037-0390-4725-BCA0-FCB6267328E9}"/>
                </a:ext>
              </a:extLst>
            </p:cNvPr>
            <p:cNvSpPr/>
            <p:nvPr/>
          </p:nvSpPr>
          <p:spPr>
            <a:xfrm rot="8716295">
              <a:off x="2873827" y="85334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7" name="Forme libre : forme 1936">
              <a:extLst>
                <a:ext uri="{FF2B5EF4-FFF2-40B4-BE49-F238E27FC236}">
                  <a16:creationId xmlns:a16="http://schemas.microsoft.com/office/drawing/2014/main" id="{3D48FF6C-A7BD-4D40-8659-3742A120114C}"/>
                </a:ext>
              </a:extLst>
            </p:cNvPr>
            <p:cNvSpPr/>
            <p:nvPr/>
          </p:nvSpPr>
          <p:spPr>
            <a:xfrm rot="8716295">
              <a:off x="2632376" y="70374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8" name="Forme libre : forme 1937">
              <a:extLst>
                <a:ext uri="{FF2B5EF4-FFF2-40B4-BE49-F238E27FC236}">
                  <a16:creationId xmlns:a16="http://schemas.microsoft.com/office/drawing/2014/main" id="{640E20D5-9C65-40F7-88F5-B81FDBFD2525}"/>
                </a:ext>
              </a:extLst>
            </p:cNvPr>
            <p:cNvSpPr/>
            <p:nvPr/>
          </p:nvSpPr>
          <p:spPr>
            <a:xfrm rot="7484129">
              <a:off x="2978758" y="10446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9" name="Forme libre : forme 1938">
              <a:extLst>
                <a:ext uri="{FF2B5EF4-FFF2-40B4-BE49-F238E27FC236}">
                  <a16:creationId xmlns:a16="http://schemas.microsoft.com/office/drawing/2014/main" id="{A664525B-8E8A-4BEC-B691-10AA51B87D5A}"/>
                </a:ext>
              </a:extLst>
            </p:cNvPr>
            <p:cNvSpPr/>
            <p:nvPr/>
          </p:nvSpPr>
          <p:spPr>
            <a:xfrm rot="13089394">
              <a:off x="3083578" y="101123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0" name="Forme libre : forme 1939">
              <a:extLst>
                <a:ext uri="{FF2B5EF4-FFF2-40B4-BE49-F238E27FC236}">
                  <a16:creationId xmlns:a16="http://schemas.microsoft.com/office/drawing/2014/main" id="{5287290B-5120-4CE9-A2E9-80563E2C3748}"/>
                </a:ext>
              </a:extLst>
            </p:cNvPr>
            <p:cNvSpPr/>
            <p:nvPr/>
          </p:nvSpPr>
          <p:spPr>
            <a:xfrm rot="8716295">
              <a:off x="3269163" y="81955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1" name="Forme libre : forme 1940">
              <a:extLst>
                <a:ext uri="{FF2B5EF4-FFF2-40B4-BE49-F238E27FC236}">
                  <a16:creationId xmlns:a16="http://schemas.microsoft.com/office/drawing/2014/main" id="{3C0B667A-18F0-4E79-9549-1CF9F021884A}"/>
                </a:ext>
              </a:extLst>
            </p:cNvPr>
            <p:cNvSpPr/>
            <p:nvPr/>
          </p:nvSpPr>
          <p:spPr>
            <a:xfrm rot="8716295">
              <a:off x="3217358" y="71595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2" name="Forme libre : forme 1941">
              <a:extLst>
                <a:ext uri="{FF2B5EF4-FFF2-40B4-BE49-F238E27FC236}">
                  <a16:creationId xmlns:a16="http://schemas.microsoft.com/office/drawing/2014/main" id="{B0DED242-BC4E-4AF1-BAE0-7624C0344F25}"/>
                </a:ext>
              </a:extLst>
            </p:cNvPr>
            <p:cNvSpPr/>
            <p:nvPr/>
          </p:nvSpPr>
          <p:spPr>
            <a:xfrm rot="8716295">
              <a:off x="2974112" y="74618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3" name="Forme libre : forme 1942">
              <a:extLst>
                <a:ext uri="{FF2B5EF4-FFF2-40B4-BE49-F238E27FC236}">
                  <a16:creationId xmlns:a16="http://schemas.microsoft.com/office/drawing/2014/main" id="{9B427F4D-0061-471B-99D7-9ACBD334EA67}"/>
                </a:ext>
              </a:extLst>
            </p:cNvPr>
            <p:cNvSpPr/>
            <p:nvPr/>
          </p:nvSpPr>
          <p:spPr>
            <a:xfrm rot="8716295">
              <a:off x="3151564" y="58693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4" name="Forme libre : forme 1943">
              <a:extLst>
                <a:ext uri="{FF2B5EF4-FFF2-40B4-BE49-F238E27FC236}">
                  <a16:creationId xmlns:a16="http://schemas.microsoft.com/office/drawing/2014/main" id="{9646A09C-91CC-4D8D-8FCA-9CC186FCDAC2}"/>
                </a:ext>
              </a:extLst>
            </p:cNvPr>
            <p:cNvSpPr/>
            <p:nvPr/>
          </p:nvSpPr>
          <p:spPr>
            <a:xfrm rot="8716295">
              <a:off x="2387845" y="31194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5" name="Forme libre : forme 1944">
              <a:extLst>
                <a:ext uri="{FF2B5EF4-FFF2-40B4-BE49-F238E27FC236}">
                  <a16:creationId xmlns:a16="http://schemas.microsoft.com/office/drawing/2014/main" id="{7EFC061B-413D-4C95-B443-9F3F27FBE816}"/>
                </a:ext>
              </a:extLst>
            </p:cNvPr>
            <p:cNvSpPr/>
            <p:nvPr/>
          </p:nvSpPr>
          <p:spPr>
            <a:xfrm rot="8716295">
              <a:off x="2477237" y="34118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6" name="Forme libre : forme 1945">
              <a:extLst>
                <a:ext uri="{FF2B5EF4-FFF2-40B4-BE49-F238E27FC236}">
                  <a16:creationId xmlns:a16="http://schemas.microsoft.com/office/drawing/2014/main" id="{050B80C6-7110-45B3-B5D3-3D4418DC6D2D}"/>
                </a:ext>
              </a:extLst>
            </p:cNvPr>
            <p:cNvSpPr/>
            <p:nvPr/>
          </p:nvSpPr>
          <p:spPr>
            <a:xfrm rot="8716295">
              <a:off x="2432387" y="254908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7" name="Forme libre : forme 1946">
              <a:extLst>
                <a:ext uri="{FF2B5EF4-FFF2-40B4-BE49-F238E27FC236}">
                  <a16:creationId xmlns:a16="http://schemas.microsoft.com/office/drawing/2014/main" id="{16C54A5F-832E-4682-9A28-7BEEB48EF225}"/>
                </a:ext>
              </a:extLst>
            </p:cNvPr>
            <p:cNvSpPr/>
            <p:nvPr/>
          </p:nvSpPr>
          <p:spPr>
            <a:xfrm rot="8716295">
              <a:off x="2275611" y="40049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8" name="Forme libre : forme 1947">
              <a:extLst>
                <a:ext uri="{FF2B5EF4-FFF2-40B4-BE49-F238E27FC236}">
                  <a16:creationId xmlns:a16="http://schemas.microsoft.com/office/drawing/2014/main" id="{9182BB74-8CDE-456E-9B19-EB6A2BC862BF}"/>
                </a:ext>
              </a:extLst>
            </p:cNvPr>
            <p:cNvSpPr/>
            <p:nvPr/>
          </p:nvSpPr>
          <p:spPr>
            <a:xfrm rot="8716295">
              <a:off x="2150708" y="19181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9" name="Forme libre : forme 1948">
              <a:extLst>
                <a:ext uri="{FF2B5EF4-FFF2-40B4-BE49-F238E27FC236}">
                  <a16:creationId xmlns:a16="http://schemas.microsoft.com/office/drawing/2014/main" id="{8B7E3CE6-4BE3-4C9E-A239-D8D1203FC60A}"/>
                </a:ext>
              </a:extLst>
            </p:cNvPr>
            <p:cNvSpPr/>
            <p:nvPr/>
          </p:nvSpPr>
          <p:spPr>
            <a:xfrm rot="8716295">
              <a:off x="2138656" y="53037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0" name="Forme libre : forme 1949">
              <a:extLst>
                <a:ext uri="{FF2B5EF4-FFF2-40B4-BE49-F238E27FC236}">
                  <a16:creationId xmlns:a16="http://schemas.microsoft.com/office/drawing/2014/main" id="{3F6771EB-9647-44FF-992B-BFDD8921D128}"/>
                </a:ext>
              </a:extLst>
            </p:cNvPr>
            <p:cNvSpPr/>
            <p:nvPr/>
          </p:nvSpPr>
          <p:spPr>
            <a:xfrm rot="8716295">
              <a:off x="2365789" y="441442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1" name="Forme libre : forme 1950">
              <a:extLst>
                <a:ext uri="{FF2B5EF4-FFF2-40B4-BE49-F238E27FC236}">
                  <a16:creationId xmlns:a16="http://schemas.microsoft.com/office/drawing/2014/main" id="{EE97D450-BD29-4CDD-BFC8-817BD4470CBA}"/>
                </a:ext>
              </a:extLst>
            </p:cNvPr>
            <p:cNvSpPr/>
            <p:nvPr/>
          </p:nvSpPr>
          <p:spPr>
            <a:xfrm rot="8716295">
              <a:off x="2676944" y="6179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2" name="Forme libre : forme 1951">
              <a:extLst>
                <a:ext uri="{FF2B5EF4-FFF2-40B4-BE49-F238E27FC236}">
                  <a16:creationId xmlns:a16="http://schemas.microsoft.com/office/drawing/2014/main" id="{8EFD00D1-610B-479F-906F-15BAF79DD95F}"/>
                </a:ext>
              </a:extLst>
            </p:cNvPr>
            <p:cNvSpPr/>
            <p:nvPr/>
          </p:nvSpPr>
          <p:spPr>
            <a:xfrm rot="8716295">
              <a:off x="2766336" y="9103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3" name="Forme libre : forme 1952">
              <a:extLst>
                <a:ext uri="{FF2B5EF4-FFF2-40B4-BE49-F238E27FC236}">
                  <a16:creationId xmlns:a16="http://schemas.microsoft.com/office/drawing/2014/main" id="{61A26481-3D0A-4F35-81C4-E66E5F2DC440}"/>
                </a:ext>
              </a:extLst>
            </p:cNvPr>
            <p:cNvSpPr/>
            <p:nvPr/>
          </p:nvSpPr>
          <p:spPr>
            <a:xfrm rot="8716295">
              <a:off x="2564710" y="15033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4" name="Forme libre : forme 1953">
              <a:extLst>
                <a:ext uri="{FF2B5EF4-FFF2-40B4-BE49-F238E27FC236}">
                  <a16:creationId xmlns:a16="http://schemas.microsoft.com/office/drawing/2014/main" id="{83459BF4-9B6D-4560-BF8C-1B7247F9F85E}"/>
                </a:ext>
              </a:extLst>
            </p:cNvPr>
            <p:cNvSpPr/>
            <p:nvPr/>
          </p:nvSpPr>
          <p:spPr>
            <a:xfrm rot="8716295">
              <a:off x="2448552" y="-16031"/>
              <a:ext cx="203847" cy="149340"/>
            </a:xfrm>
            <a:custGeom>
              <a:avLst/>
              <a:gdLst>
                <a:gd name="connsiteX0" fmla="*/ 106716 w 203847"/>
                <a:gd name="connsiteY0" fmla="*/ 149340 h 149340"/>
                <a:gd name="connsiteX1" fmla="*/ 50038 w 203847"/>
                <a:gd name="connsiteY1" fmla="*/ 110053 h 149340"/>
                <a:gd name="connsiteX2" fmla="*/ 69777 w 203847"/>
                <a:gd name="connsiteY2" fmla="*/ 55323 h 149340"/>
                <a:gd name="connsiteX3" fmla="*/ 0 w 203847"/>
                <a:gd name="connsiteY3" fmla="*/ 55323 h 149340"/>
                <a:gd name="connsiteX4" fmla="*/ 0 w 203847"/>
                <a:gd name="connsiteY4" fmla="*/ 0 h 149340"/>
                <a:gd name="connsiteX5" fmla="*/ 203847 w 203847"/>
                <a:gd name="connsiteY5" fmla="*/ 0 h 149340"/>
                <a:gd name="connsiteX6" fmla="*/ 203847 w 203847"/>
                <a:gd name="connsiteY6" fmla="*/ 55323 h 149340"/>
                <a:gd name="connsiteX7" fmla="*/ 139055 w 203847"/>
                <a:gd name="connsiteY7" fmla="*/ 55323 h 14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49340">
                  <a:moveTo>
                    <a:pt x="106716" y="149340"/>
                  </a:moveTo>
                  <a:lnTo>
                    <a:pt x="50038" y="110053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5" name="Forme libre : forme 1954">
              <a:extLst>
                <a:ext uri="{FF2B5EF4-FFF2-40B4-BE49-F238E27FC236}">
                  <a16:creationId xmlns:a16="http://schemas.microsoft.com/office/drawing/2014/main" id="{08C5FD8C-89B2-49FC-84D0-17F41609A333}"/>
                </a:ext>
              </a:extLst>
            </p:cNvPr>
            <p:cNvSpPr/>
            <p:nvPr/>
          </p:nvSpPr>
          <p:spPr>
            <a:xfrm rot="8716295">
              <a:off x="2654888" y="191290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6" name="Forme libre : forme 1955">
              <a:extLst>
                <a:ext uri="{FF2B5EF4-FFF2-40B4-BE49-F238E27FC236}">
                  <a16:creationId xmlns:a16="http://schemas.microsoft.com/office/drawing/2014/main" id="{6BFD8684-31CE-4791-ABB1-43076B0A7845}"/>
                </a:ext>
              </a:extLst>
            </p:cNvPr>
            <p:cNvSpPr/>
            <p:nvPr/>
          </p:nvSpPr>
          <p:spPr>
            <a:xfrm rot="8716295">
              <a:off x="2413437" y="41690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7" name="Forme libre : forme 1956">
              <a:extLst>
                <a:ext uri="{FF2B5EF4-FFF2-40B4-BE49-F238E27FC236}">
                  <a16:creationId xmlns:a16="http://schemas.microsoft.com/office/drawing/2014/main" id="{C161F571-B0D5-4B28-BE2F-078F2E50988C}"/>
                </a:ext>
              </a:extLst>
            </p:cNvPr>
            <p:cNvSpPr/>
            <p:nvPr/>
          </p:nvSpPr>
          <p:spPr>
            <a:xfrm rot="7484129">
              <a:off x="2759819" y="38264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8" name="Forme libre : forme 1957">
              <a:extLst>
                <a:ext uri="{FF2B5EF4-FFF2-40B4-BE49-F238E27FC236}">
                  <a16:creationId xmlns:a16="http://schemas.microsoft.com/office/drawing/2014/main" id="{B184E69F-BDC0-4CD6-B4AA-C0EA481AE5EE}"/>
                </a:ext>
              </a:extLst>
            </p:cNvPr>
            <p:cNvSpPr/>
            <p:nvPr/>
          </p:nvSpPr>
          <p:spPr>
            <a:xfrm rot="13089394">
              <a:off x="2864639" y="349175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9" name="Forme libre : forme 1958">
              <a:extLst>
                <a:ext uri="{FF2B5EF4-FFF2-40B4-BE49-F238E27FC236}">
                  <a16:creationId xmlns:a16="http://schemas.microsoft.com/office/drawing/2014/main" id="{9B2080A5-8C36-42CE-9405-38C37EFEE848}"/>
                </a:ext>
              </a:extLst>
            </p:cNvPr>
            <p:cNvSpPr/>
            <p:nvPr/>
          </p:nvSpPr>
          <p:spPr>
            <a:xfrm rot="8716295">
              <a:off x="3050224" y="157494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0" name="Forme libre : forme 1959">
              <a:extLst>
                <a:ext uri="{FF2B5EF4-FFF2-40B4-BE49-F238E27FC236}">
                  <a16:creationId xmlns:a16="http://schemas.microsoft.com/office/drawing/2014/main" id="{C29B37FA-C9D3-4881-A9EF-CB70017820D1}"/>
                </a:ext>
              </a:extLst>
            </p:cNvPr>
            <p:cNvSpPr/>
            <p:nvPr/>
          </p:nvSpPr>
          <p:spPr>
            <a:xfrm rot="8716295">
              <a:off x="2998419" y="5390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1" name="Forme libre : forme 1960">
              <a:extLst>
                <a:ext uri="{FF2B5EF4-FFF2-40B4-BE49-F238E27FC236}">
                  <a16:creationId xmlns:a16="http://schemas.microsoft.com/office/drawing/2014/main" id="{CD43208D-F797-4F3A-8F0E-C454996D1C94}"/>
                </a:ext>
              </a:extLst>
            </p:cNvPr>
            <p:cNvSpPr/>
            <p:nvPr/>
          </p:nvSpPr>
          <p:spPr>
            <a:xfrm rot="8716295">
              <a:off x="2755173" y="8412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2" name="Forme libre : forme 1961">
              <a:extLst>
                <a:ext uri="{FF2B5EF4-FFF2-40B4-BE49-F238E27FC236}">
                  <a16:creationId xmlns:a16="http://schemas.microsoft.com/office/drawing/2014/main" id="{54F15BE2-E27F-44E5-B93A-67906E77A622}"/>
                </a:ext>
              </a:extLst>
            </p:cNvPr>
            <p:cNvSpPr/>
            <p:nvPr/>
          </p:nvSpPr>
          <p:spPr>
            <a:xfrm rot="8716295">
              <a:off x="2940014" y="-28690"/>
              <a:ext cx="88664" cy="70660"/>
            </a:xfrm>
            <a:custGeom>
              <a:avLst/>
              <a:gdLst>
                <a:gd name="connsiteX0" fmla="*/ 83649 w 88664"/>
                <a:gd name="connsiteY0" fmla="*/ 70660 h 70660"/>
                <a:gd name="connsiteX1" fmla="*/ 0 w 88664"/>
                <a:gd name="connsiteY1" fmla="*/ 12677 h 70660"/>
                <a:gd name="connsiteX2" fmla="*/ 30024 w 88664"/>
                <a:gd name="connsiteY2" fmla="*/ 0 h 70660"/>
                <a:gd name="connsiteX3" fmla="*/ 71417 w 88664"/>
                <a:gd name="connsiteY3" fmla="*/ 17477 h 70660"/>
                <a:gd name="connsiteX4" fmla="*/ 88664 w 88664"/>
                <a:gd name="connsiteY4" fmla="*/ 58525 h 70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664" h="70660">
                  <a:moveTo>
                    <a:pt x="83649" y="70660"/>
                  </a:moveTo>
                  <a:lnTo>
                    <a:pt x="0" y="12677"/>
                  </a:lnTo>
                  <a:lnTo>
                    <a:pt x="30024" y="0"/>
                  </a:lnTo>
                  <a:cubicBezTo>
                    <a:pt x="45662" y="0"/>
                    <a:pt x="60379" y="6439"/>
                    <a:pt x="71417" y="17477"/>
                  </a:cubicBezTo>
                  <a:cubicBezTo>
                    <a:pt x="82915" y="28515"/>
                    <a:pt x="88664" y="43462"/>
                    <a:pt x="88664" y="58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3" name="Forme libre : forme 1962">
              <a:extLst>
                <a:ext uri="{FF2B5EF4-FFF2-40B4-BE49-F238E27FC236}">
                  <a16:creationId xmlns:a16="http://schemas.microsoft.com/office/drawing/2014/main" id="{A96E0022-A9CF-4F9C-9D74-6AF826262D3D}"/>
                </a:ext>
              </a:extLst>
            </p:cNvPr>
            <p:cNvSpPr/>
            <p:nvPr/>
          </p:nvSpPr>
          <p:spPr>
            <a:xfrm rot="13089394">
              <a:off x="2740820" y="-30870"/>
              <a:ext cx="73521" cy="76374"/>
            </a:xfrm>
            <a:custGeom>
              <a:avLst/>
              <a:gdLst>
                <a:gd name="connsiteX0" fmla="*/ 73521 w 73521"/>
                <a:gd name="connsiteY0" fmla="*/ 18609 h 76374"/>
                <a:gd name="connsiteX1" fmla="*/ 0 w 73521"/>
                <a:gd name="connsiteY1" fmla="*/ 76374 h 76374"/>
                <a:gd name="connsiteX2" fmla="*/ 0 w 73521"/>
                <a:gd name="connsiteY2" fmla="*/ 38074 h 76374"/>
                <a:gd name="connsiteX3" fmla="*/ 73388 w 73521"/>
                <a:gd name="connsiteY3" fmla="*/ 0 h 7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521" h="76374">
                  <a:moveTo>
                    <a:pt x="73521" y="18609"/>
                  </a:moveTo>
                  <a:lnTo>
                    <a:pt x="0" y="76374"/>
                  </a:lnTo>
                  <a:lnTo>
                    <a:pt x="0" y="38074"/>
                  </a:lnTo>
                  <a:lnTo>
                    <a:pt x="7338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4" name="Forme libre : forme 1963">
              <a:extLst>
                <a:ext uri="{FF2B5EF4-FFF2-40B4-BE49-F238E27FC236}">
                  <a16:creationId xmlns:a16="http://schemas.microsoft.com/office/drawing/2014/main" id="{6538AA74-15CD-43BC-8F1C-18881AB7F0C7}"/>
                </a:ext>
              </a:extLst>
            </p:cNvPr>
            <p:cNvSpPr/>
            <p:nvPr/>
          </p:nvSpPr>
          <p:spPr>
            <a:xfrm rot="8716295">
              <a:off x="2166753" y="273158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5" name="Forme libre : forme 1964">
              <a:extLst>
                <a:ext uri="{FF2B5EF4-FFF2-40B4-BE49-F238E27FC236}">
                  <a16:creationId xmlns:a16="http://schemas.microsoft.com/office/drawing/2014/main" id="{CD1BD058-8224-4BD3-B8B9-AEF4E4524A8C}"/>
                </a:ext>
              </a:extLst>
            </p:cNvPr>
            <p:cNvSpPr/>
            <p:nvPr/>
          </p:nvSpPr>
          <p:spPr>
            <a:xfrm rot="8716295">
              <a:off x="2256145" y="276082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6" name="Forme libre : forme 1965">
              <a:extLst>
                <a:ext uri="{FF2B5EF4-FFF2-40B4-BE49-F238E27FC236}">
                  <a16:creationId xmlns:a16="http://schemas.microsoft.com/office/drawing/2014/main" id="{71B92AA0-8C88-4128-864F-918A8A4225F3}"/>
                </a:ext>
              </a:extLst>
            </p:cNvPr>
            <p:cNvSpPr/>
            <p:nvPr/>
          </p:nvSpPr>
          <p:spPr>
            <a:xfrm rot="8716295">
              <a:off x="2211295" y="2674548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7" name="Forme libre : forme 1966">
              <a:extLst>
                <a:ext uri="{FF2B5EF4-FFF2-40B4-BE49-F238E27FC236}">
                  <a16:creationId xmlns:a16="http://schemas.microsoft.com/office/drawing/2014/main" id="{AFBC597A-A976-45D6-A00D-85892928DFA5}"/>
                </a:ext>
              </a:extLst>
            </p:cNvPr>
            <p:cNvSpPr/>
            <p:nvPr/>
          </p:nvSpPr>
          <p:spPr>
            <a:xfrm rot="8716295">
              <a:off x="2054519" y="28201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8" name="Forme libre : forme 1967">
              <a:extLst>
                <a:ext uri="{FF2B5EF4-FFF2-40B4-BE49-F238E27FC236}">
                  <a16:creationId xmlns:a16="http://schemas.microsoft.com/office/drawing/2014/main" id="{4ECD9B70-E8DE-4630-8659-622A12EC3C29}"/>
                </a:ext>
              </a:extLst>
            </p:cNvPr>
            <p:cNvSpPr/>
            <p:nvPr/>
          </p:nvSpPr>
          <p:spPr>
            <a:xfrm rot="8716295">
              <a:off x="1929616" y="261145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9" name="Forme libre : forme 1968">
              <a:extLst>
                <a:ext uri="{FF2B5EF4-FFF2-40B4-BE49-F238E27FC236}">
                  <a16:creationId xmlns:a16="http://schemas.microsoft.com/office/drawing/2014/main" id="{8DC6A858-FC43-49E0-8CDD-7C48F1A15095}"/>
                </a:ext>
              </a:extLst>
            </p:cNvPr>
            <p:cNvSpPr/>
            <p:nvPr/>
          </p:nvSpPr>
          <p:spPr>
            <a:xfrm rot="8716295">
              <a:off x="1917564" y="2472677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0" name="Forme libre : forme 1969">
              <a:extLst>
                <a:ext uri="{FF2B5EF4-FFF2-40B4-BE49-F238E27FC236}">
                  <a16:creationId xmlns:a16="http://schemas.microsoft.com/office/drawing/2014/main" id="{D72AFDB1-B1E3-4297-8283-8D4E9CD1E2D9}"/>
                </a:ext>
              </a:extLst>
            </p:cNvPr>
            <p:cNvSpPr/>
            <p:nvPr/>
          </p:nvSpPr>
          <p:spPr>
            <a:xfrm rot="8716295">
              <a:off x="2144697" y="2861082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1" name="Forme libre : forme 1970">
              <a:extLst>
                <a:ext uri="{FF2B5EF4-FFF2-40B4-BE49-F238E27FC236}">
                  <a16:creationId xmlns:a16="http://schemas.microsoft.com/office/drawing/2014/main" id="{505B528E-46CB-4331-B3F1-621BFE8D2CF5}"/>
                </a:ext>
              </a:extLst>
            </p:cNvPr>
            <p:cNvSpPr/>
            <p:nvPr/>
          </p:nvSpPr>
          <p:spPr>
            <a:xfrm rot="8716295">
              <a:off x="2455852" y="248143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2" name="Forme libre : forme 1971">
              <a:extLst>
                <a:ext uri="{FF2B5EF4-FFF2-40B4-BE49-F238E27FC236}">
                  <a16:creationId xmlns:a16="http://schemas.microsoft.com/office/drawing/2014/main" id="{F6731AFD-9029-4A47-8A04-F3D470338302}"/>
                </a:ext>
              </a:extLst>
            </p:cNvPr>
            <p:cNvSpPr/>
            <p:nvPr/>
          </p:nvSpPr>
          <p:spPr>
            <a:xfrm rot="8716295">
              <a:off x="2545244" y="251067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3" name="Forme libre : forme 1972">
              <a:extLst>
                <a:ext uri="{FF2B5EF4-FFF2-40B4-BE49-F238E27FC236}">
                  <a16:creationId xmlns:a16="http://schemas.microsoft.com/office/drawing/2014/main" id="{3EABB06A-3009-47CC-BE66-961590C5E393}"/>
                </a:ext>
              </a:extLst>
            </p:cNvPr>
            <p:cNvSpPr/>
            <p:nvPr/>
          </p:nvSpPr>
          <p:spPr>
            <a:xfrm rot="8716295">
              <a:off x="2343618" y="256997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4" name="Forme libre : forme 1973">
              <a:extLst>
                <a:ext uri="{FF2B5EF4-FFF2-40B4-BE49-F238E27FC236}">
                  <a16:creationId xmlns:a16="http://schemas.microsoft.com/office/drawing/2014/main" id="{BF54C594-EF8A-46E9-84BB-8BE19279F834}"/>
                </a:ext>
              </a:extLst>
            </p:cNvPr>
            <p:cNvSpPr/>
            <p:nvPr/>
          </p:nvSpPr>
          <p:spPr>
            <a:xfrm rot="8716295">
              <a:off x="2218716" y="236130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5" name="Forme libre : forme 1974">
              <a:extLst>
                <a:ext uri="{FF2B5EF4-FFF2-40B4-BE49-F238E27FC236}">
                  <a16:creationId xmlns:a16="http://schemas.microsoft.com/office/drawing/2014/main" id="{5380C4F6-A63E-4D68-92F1-66B1BF7EBE8E}"/>
                </a:ext>
              </a:extLst>
            </p:cNvPr>
            <p:cNvSpPr/>
            <p:nvPr/>
          </p:nvSpPr>
          <p:spPr>
            <a:xfrm rot="8716295">
              <a:off x="2433796" y="2610930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6" name="Forme libre : forme 1975">
              <a:extLst>
                <a:ext uri="{FF2B5EF4-FFF2-40B4-BE49-F238E27FC236}">
                  <a16:creationId xmlns:a16="http://schemas.microsoft.com/office/drawing/2014/main" id="{49BE900B-BC94-49D1-B693-560BFF27480F}"/>
                </a:ext>
              </a:extLst>
            </p:cNvPr>
            <p:cNvSpPr/>
            <p:nvPr/>
          </p:nvSpPr>
          <p:spPr>
            <a:xfrm rot="8716295">
              <a:off x="2192345" y="2461330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7" name="Forme libre : forme 1976">
              <a:extLst>
                <a:ext uri="{FF2B5EF4-FFF2-40B4-BE49-F238E27FC236}">
                  <a16:creationId xmlns:a16="http://schemas.microsoft.com/office/drawing/2014/main" id="{262BF73E-61CD-473B-BB9A-69825B24DD0D}"/>
                </a:ext>
              </a:extLst>
            </p:cNvPr>
            <p:cNvSpPr/>
            <p:nvPr/>
          </p:nvSpPr>
          <p:spPr>
            <a:xfrm rot="7484129">
              <a:off x="2538727" y="280228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8" name="Forme libre : forme 1977">
              <a:extLst>
                <a:ext uri="{FF2B5EF4-FFF2-40B4-BE49-F238E27FC236}">
                  <a16:creationId xmlns:a16="http://schemas.microsoft.com/office/drawing/2014/main" id="{CCF245C0-F7BF-4D01-8D8F-EAE62FF31873}"/>
                </a:ext>
              </a:extLst>
            </p:cNvPr>
            <p:cNvSpPr/>
            <p:nvPr/>
          </p:nvSpPr>
          <p:spPr>
            <a:xfrm rot="13089394">
              <a:off x="2643547" y="2768815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9" name="Forme libre : forme 1978">
              <a:extLst>
                <a:ext uri="{FF2B5EF4-FFF2-40B4-BE49-F238E27FC236}">
                  <a16:creationId xmlns:a16="http://schemas.microsoft.com/office/drawing/2014/main" id="{4AFE70E3-9BF6-4E6F-AFD4-7B005F059737}"/>
                </a:ext>
              </a:extLst>
            </p:cNvPr>
            <p:cNvSpPr/>
            <p:nvPr/>
          </p:nvSpPr>
          <p:spPr>
            <a:xfrm rot="8716295">
              <a:off x="2829132" y="2577134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0" name="Forme libre : forme 1979">
              <a:extLst>
                <a:ext uri="{FF2B5EF4-FFF2-40B4-BE49-F238E27FC236}">
                  <a16:creationId xmlns:a16="http://schemas.microsoft.com/office/drawing/2014/main" id="{690B1DAA-4E18-495A-9F96-0ECAB197F10A}"/>
                </a:ext>
              </a:extLst>
            </p:cNvPr>
            <p:cNvSpPr/>
            <p:nvPr/>
          </p:nvSpPr>
          <p:spPr>
            <a:xfrm rot="8716295">
              <a:off x="2777327" y="247354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1" name="Forme libre : forme 1980">
              <a:extLst>
                <a:ext uri="{FF2B5EF4-FFF2-40B4-BE49-F238E27FC236}">
                  <a16:creationId xmlns:a16="http://schemas.microsoft.com/office/drawing/2014/main" id="{695EC0C0-C4AF-4594-95DE-46C3AB675826}"/>
                </a:ext>
              </a:extLst>
            </p:cNvPr>
            <p:cNvSpPr/>
            <p:nvPr/>
          </p:nvSpPr>
          <p:spPr>
            <a:xfrm rot="8716295">
              <a:off x="2534081" y="250376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2" name="Forme libre : forme 1981">
              <a:extLst>
                <a:ext uri="{FF2B5EF4-FFF2-40B4-BE49-F238E27FC236}">
                  <a16:creationId xmlns:a16="http://schemas.microsoft.com/office/drawing/2014/main" id="{F97B452C-1EC8-451F-A07D-6DDB8CECEB39}"/>
                </a:ext>
              </a:extLst>
            </p:cNvPr>
            <p:cNvSpPr/>
            <p:nvPr/>
          </p:nvSpPr>
          <p:spPr>
            <a:xfrm rot="8716295">
              <a:off x="2711533" y="234452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3" name="Forme libre : forme 1982">
              <a:extLst>
                <a:ext uri="{FF2B5EF4-FFF2-40B4-BE49-F238E27FC236}">
                  <a16:creationId xmlns:a16="http://schemas.microsoft.com/office/drawing/2014/main" id="{7DE13715-75C0-4A68-AFA3-7EF2AC26078A}"/>
                </a:ext>
              </a:extLst>
            </p:cNvPr>
            <p:cNvSpPr/>
            <p:nvPr/>
          </p:nvSpPr>
          <p:spPr>
            <a:xfrm rot="8716295">
              <a:off x="2389920" y="339128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4" name="Forme libre : forme 1983">
              <a:extLst>
                <a:ext uri="{FF2B5EF4-FFF2-40B4-BE49-F238E27FC236}">
                  <a16:creationId xmlns:a16="http://schemas.microsoft.com/office/drawing/2014/main" id="{BF89118D-2CBC-4115-AC55-B8972D0566E5}"/>
                </a:ext>
              </a:extLst>
            </p:cNvPr>
            <p:cNvSpPr/>
            <p:nvPr/>
          </p:nvSpPr>
          <p:spPr>
            <a:xfrm rot="8716295">
              <a:off x="2479312" y="342052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5" name="Forme libre : forme 1984">
              <a:extLst>
                <a:ext uri="{FF2B5EF4-FFF2-40B4-BE49-F238E27FC236}">
                  <a16:creationId xmlns:a16="http://schemas.microsoft.com/office/drawing/2014/main" id="{1C6B7E42-8529-4CE4-9AD7-D33B3648E154}"/>
                </a:ext>
              </a:extLst>
            </p:cNvPr>
            <p:cNvSpPr/>
            <p:nvPr/>
          </p:nvSpPr>
          <p:spPr>
            <a:xfrm rot="8716295">
              <a:off x="2434462" y="333424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6" name="Forme libre : forme 1985">
              <a:extLst>
                <a:ext uri="{FF2B5EF4-FFF2-40B4-BE49-F238E27FC236}">
                  <a16:creationId xmlns:a16="http://schemas.microsoft.com/office/drawing/2014/main" id="{627E7B88-7C72-442E-8BF5-D4EBDCCB1792}"/>
                </a:ext>
              </a:extLst>
            </p:cNvPr>
            <p:cNvSpPr/>
            <p:nvPr/>
          </p:nvSpPr>
          <p:spPr>
            <a:xfrm rot="8716295">
              <a:off x="2277686" y="347982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7" name="Forme libre : forme 1986">
              <a:extLst>
                <a:ext uri="{FF2B5EF4-FFF2-40B4-BE49-F238E27FC236}">
                  <a16:creationId xmlns:a16="http://schemas.microsoft.com/office/drawing/2014/main" id="{23C30735-EB82-41C0-BEBF-A1C50DE34299}"/>
                </a:ext>
              </a:extLst>
            </p:cNvPr>
            <p:cNvSpPr/>
            <p:nvPr/>
          </p:nvSpPr>
          <p:spPr>
            <a:xfrm rot="8716295">
              <a:off x="2152783" y="327115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8" name="Forme libre : forme 1987">
              <a:extLst>
                <a:ext uri="{FF2B5EF4-FFF2-40B4-BE49-F238E27FC236}">
                  <a16:creationId xmlns:a16="http://schemas.microsoft.com/office/drawing/2014/main" id="{7FF5D6D5-D7D9-4064-AA83-8FB4E8FC29EF}"/>
                </a:ext>
              </a:extLst>
            </p:cNvPr>
            <p:cNvSpPr/>
            <p:nvPr/>
          </p:nvSpPr>
          <p:spPr>
            <a:xfrm rot="8716295">
              <a:off x="2140731" y="313237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9" name="Forme libre : forme 1988">
              <a:extLst>
                <a:ext uri="{FF2B5EF4-FFF2-40B4-BE49-F238E27FC236}">
                  <a16:creationId xmlns:a16="http://schemas.microsoft.com/office/drawing/2014/main" id="{07BB3D21-1AF0-4DC6-9196-AECA69A4B5D6}"/>
                </a:ext>
              </a:extLst>
            </p:cNvPr>
            <p:cNvSpPr/>
            <p:nvPr/>
          </p:nvSpPr>
          <p:spPr>
            <a:xfrm rot="8716295">
              <a:off x="2367864" y="352078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0" name="Forme libre : forme 1989">
              <a:extLst>
                <a:ext uri="{FF2B5EF4-FFF2-40B4-BE49-F238E27FC236}">
                  <a16:creationId xmlns:a16="http://schemas.microsoft.com/office/drawing/2014/main" id="{1C4A8735-C57A-4935-AFC7-2176AF8D4417}"/>
                </a:ext>
              </a:extLst>
            </p:cNvPr>
            <p:cNvSpPr/>
            <p:nvPr/>
          </p:nvSpPr>
          <p:spPr>
            <a:xfrm rot="8716295">
              <a:off x="2679019" y="314113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1" name="Forme libre : forme 1990">
              <a:extLst>
                <a:ext uri="{FF2B5EF4-FFF2-40B4-BE49-F238E27FC236}">
                  <a16:creationId xmlns:a16="http://schemas.microsoft.com/office/drawing/2014/main" id="{D2EFDA7C-C0DA-4517-B39F-8AA29A37F871}"/>
                </a:ext>
              </a:extLst>
            </p:cNvPr>
            <p:cNvSpPr/>
            <p:nvPr/>
          </p:nvSpPr>
          <p:spPr>
            <a:xfrm rot="8716295">
              <a:off x="2768411" y="317037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2" name="Forme libre : forme 1991">
              <a:extLst>
                <a:ext uri="{FF2B5EF4-FFF2-40B4-BE49-F238E27FC236}">
                  <a16:creationId xmlns:a16="http://schemas.microsoft.com/office/drawing/2014/main" id="{9E2A10CA-68B2-4C68-BA6C-C3E1F2D27D89}"/>
                </a:ext>
              </a:extLst>
            </p:cNvPr>
            <p:cNvSpPr/>
            <p:nvPr/>
          </p:nvSpPr>
          <p:spPr>
            <a:xfrm rot="8716295">
              <a:off x="2566785" y="322967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3" name="Forme libre : forme 1992">
              <a:extLst>
                <a:ext uri="{FF2B5EF4-FFF2-40B4-BE49-F238E27FC236}">
                  <a16:creationId xmlns:a16="http://schemas.microsoft.com/office/drawing/2014/main" id="{3F7AB8ED-356B-4D46-8FC5-6AE0991600DC}"/>
                </a:ext>
              </a:extLst>
            </p:cNvPr>
            <p:cNvSpPr/>
            <p:nvPr/>
          </p:nvSpPr>
          <p:spPr>
            <a:xfrm rot="8716295">
              <a:off x="2441883" y="302100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4" name="Forme libre : forme 1993">
              <a:extLst>
                <a:ext uri="{FF2B5EF4-FFF2-40B4-BE49-F238E27FC236}">
                  <a16:creationId xmlns:a16="http://schemas.microsoft.com/office/drawing/2014/main" id="{0667F8A9-A3D6-4CD1-A62C-AB95858D3D97}"/>
                </a:ext>
              </a:extLst>
            </p:cNvPr>
            <p:cNvSpPr/>
            <p:nvPr/>
          </p:nvSpPr>
          <p:spPr>
            <a:xfrm rot="8716295">
              <a:off x="2656963" y="327062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5" name="Forme libre : forme 1994">
              <a:extLst>
                <a:ext uri="{FF2B5EF4-FFF2-40B4-BE49-F238E27FC236}">
                  <a16:creationId xmlns:a16="http://schemas.microsoft.com/office/drawing/2014/main" id="{A540D1F3-372D-4344-A9BE-E8429D9DAC50}"/>
                </a:ext>
              </a:extLst>
            </p:cNvPr>
            <p:cNvSpPr/>
            <p:nvPr/>
          </p:nvSpPr>
          <p:spPr>
            <a:xfrm rot="8716295">
              <a:off x="2415512" y="312102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6" name="Forme libre : forme 1995">
              <a:extLst>
                <a:ext uri="{FF2B5EF4-FFF2-40B4-BE49-F238E27FC236}">
                  <a16:creationId xmlns:a16="http://schemas.microsoft.com/office/drawing/2014/main" id="{F76BD59F-FFC1-4CE1-8C41-23CB9C2F9B51}"/>
                </a:ext>
              </a:extLst>
            </p:cNvPr>
            <p:cNvSpPr/>
            <p:nvPr/>
          </p:nvSpPr>
          <p:spPr>
            <a:xfrm rot="7484129">
              <a:off x="2761894" y="346198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7" name="Forme libre : forme 1996">
              <a:extLst>
                <a:ext uri="{FF2B5EF4-FFF2-40B4-BE49-F238E27FC236}">
                  <a16:creationId xmlns:a16="http://schemas.microsoft.com/office/drawing/2014/main" id="{CFD91B65-FE62-43E9-86AA-168C08A898C5}"/>
                </a:ext>
              </a:extLst>
            </p:cNvPr>
            <p:cNvSpPr/>
            <p:nvPr/>
          </p:nvSpPr>
          <p:spPr>
            <a:xfrm rot="13089394">
              <a:off x="2866714" y="342851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8" name="Forme libre : forme 1997">
              <a:extLst>
                <a:ext uri="{FF2B5EF4-FFF2-40B4-BE49-F238E27FC236}">
                  <a16:creationId xmlns:a16="http://schemas.microsoft.com/office/drawing/2014/main" id="{ABDB9D07-6990-4038-B361-E68047E03370}"/>
                </a:ext>
              </a:extLst>
            </p:cNvPr>
            <p:cNvSpPr/>
            <p:nvPr/>
          </p:nvSpPr>
          <p:spPr>
            <a:xfrm rot="8716295">
              <a:off x="3052299" y="323683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9" name="Forme libre : forme 1998">
              <a:extLst>
                <a:ext uri="{FF2B5EF4-FFF2-40B4-BE49-F238E27FC236}">
                  <a16:creationId xmlns:a16="http://schemas.microsoft.com/office/drawing/2014/main" id="{9E209DF9-C02A-427A-982B-D70411DD7FC6}"/>
                </a:ext>
              </a:extLst>
            </p:cNvPr>
            <p:cNvSpPr/>
            <p:nvPr/>
          </p:nvSpPr>
          <p:spPr>
            <a:xfrm rot="8716295">
              <a:off x="3000494" y="313324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0" name="Forme libre : forme 1999">
              <a:extLst>
                <a:ext uri="{FF2B5EF4-FFF2-40B4-BE49-F238E27FC236}">
                  <a16:creationId xmlns:a16="http://schemas.microsoft.com/office/drawing/2014/main" id="{0816D569-EC61-48BE-ADD6-D76200607819}"/>
                </a:ext>
              </a:extLst>
            </p:cNvPr>
            <p:cNvSpPr/>
            <p:nvPr/>
          </p:nvSpPr>
          <p:spPr>
            <a:xfrm rot="8716295">
              <a:off x="2757248" y="316346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1" name="Forme libre : forme 2000">
              <a:extLst>
                <a:ext uri="{FF2B5EF4-FFF2-40B4-BE49-F238E27FC236}">
                  <a16:creationId xmlns:a16="http://schemas.microsoft.com/office/drawing/2014/main" id="{754B7186-FE18-4821-86FB-CFDCD573AE03}"/>
                </a:ext>
              </a:extLst>
            </p:cNvPr>
            <p:cNvSpPr/>
            <p:nvPr/>
          </p:nvSpPr>
          <p:spPr>
            <a:xfrm rot="8716295">
              <a:off x="2934700" y="300421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2" name="Forme libre : forme 2001">
              <a:extLst>
                <a:ext uri="{FF2B5EF4-FFF2-40B4-BE49-F238E27FC236}">
                  <a16:creationId xmlns:a16="http://schemas.microsoft.com/office/drawing/2014/main" id="{FBC27CB7-DE80-4996-AF2F-0748F399B9D0}"/>
                </a:ext>
              </a:extLst>
            </p:cNvPr>
            <p:cNvSpPr/>
            <p:nvPr/>
          </p:nvSpPr>
          <p:spPr>
            <a:xfrm rot="8716295">
              <a:off x="2865744" y="5089178"/>
              <a:ext cx="140009" cy="103412"/>
            </a:xfrm>
            <a:custGeom>
              <a:avLst/>
              <a:gdLst>
                <a:gd name="connsiteX0" fmla="*/ 23004 w 140009"/>
                <a:gd name="connsiteY0" fmla="*/ 73821 h 103412"/>
                <a:gd name="connsiteX1" fmla="*/ 2853 w 140009"/>
                <a:gd name="connsiteY1" fmla="*/ 34034 h 103412"/>
                <a:gd name="connsiteX2" fmla="*/ 0 w 140009"/>
                <a:gd name="connsiteY2" fmla="*/ 0 h 103412"/>
                <a:gd name="connsiteX3" fmla="*/ 140009 w 140009"/>
                <a:gd name="connsiteY3" fmla="*/ 97050 h 103412"/>
                <a:gd name="connsiteX4" fmla="*/ 137354 w 140009"/>
                <a:gd name="connsiteY4" fmla="*/ 97759 h 103412"/>
                <a:gd name="connsiteX5" fmla="*/ 95370 w 140009"/>
                <a:gd name="connsiteY5" fmla="*/ 103238 h 103412"/>
                <a:gd name="connsiteX6" fmla="*/ 23004 w 140009"/>
                <a:gd name="connsiteY6" fmla="*/ 73821 h 103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0009" h="103412">
                  <a:moveTo>
                    <a:pt x="23004" y="73821"/>
                  </a:moveTo>
                  <a:cubicBezTo>
                    <a:pt x="13002" y="64113"/>
                    <a:pt x="6677" y="50875"/>
                    <a:pt x="2853" y="34034"/>
                  </a:cubicBezTo>
                  <a:lnTo>
                    <a:pt x="0" y="0"/>
                  </a:lnTo>
                  <a:lnTo>
                    <a:pt x="140009" y="97050"/>
                  </a:lnTo>
                  <a:lnTo>
                    <a:pt x="137354" y="97759"/>
                  </a:lnTo>
                  <a:cubicBezTo>
                    <a:pt x="121846" y="100775"/>
                    <a:pt x="107579" y="102502"/>
                    <a:pt x="95370" y="103238"/>
                  </a:cubicBezTo>
                  <a:cubicBezTo>
                    <a:pt x="68307" y="105003"/>
                    <a:pt x="41831" y="93236"/>
                    <a:pt x="23004" y="7382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3" name="Forme libre : forme 2002">
              <a:extLst>
                <a:ext uri="{FF2B5EF4-FFF2-40B4-BE49-F238E27FC236}">
                  <a16:creationId xmlns:a16="http://schemas.microsoft.com/office/drawing/2014/main" id="{FC34D642-1FF4-4BEB-9F05-423F26B37AFF}"/>
                </a:ext>
              </a:extLst>
            </p:cNvPr>
            <p:cNvSpPr/>
            <p:nvPr/>
          </p:nvSpPr>
          <p:spPr>
            <a:xfrm rot="8716295">
              <a:off x="3543190" y="5126545"/>
              <a:ext cx="17522" cy="24091"/>
            </a:xfrm>
            <a:custGeom>
              <a:avLst/>
              <a:gdLst>
                <a:gd name="connsiteX0" fmla="*/ 0 w 17522"/>
                <a:gd name="connsiteY0" fmla="*/ 24091 h 24091"/>
                <a:gd name="connsiteX1" fmla="*/ 1 w 17522"/>
                <a:gd name="connsiteY1" fmla="*/ 0 h 24091"/>
                <a:gd name="connsiteX2" fmla="*/ 17522 w 17522"/>
                <a:gd name="connsiteY2" fmla="*/ 12145 h 24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522" h="24091">
                  <a:moveTo>
                    <a:pt x="0" y="24091"/>
                  </a:moveTo>
                  <a:lnTo>
                    <a:pt x="1" y="0"/>
                  </a:lnTo>
                  <a:lnTo>
                    <a:pt x="17522" y="1214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4" name="Forme libre : forme 2003">
              <a:extLst>
                <a:ext uri="{FF2B5EF4-FFF2-40B4-BE49-F238E27FC236}">
                  <a16:creationId xmlns:a16="http://schemas.microsoft.com/office/drawing/2014/main" id="{D14CA223-64E0-41AF-9A9C-EBE4113F2FFF}"/>
                </a:ext>
              </a:extLst>
            </p:cNvPr>
            <p:cNvSpPr/>
            <p:nvPr/>
          </p:nvSpPr>
          <p:spPr>
            <a:xfrm rot="8716295">
              <a:off x="3163011" y="4980512"/>
              <a:ext cx="135472" cy="195874"/>
            </a:xfrm>
            <a:custGeom>
              <a:avLst/>
              <a:gdLst>
                <a:gd name="connsiteX0" fmla="*/ 90710 w 135472"/>
                <a:gd name="connsiteY0" fmla="*/ 195874 h 195874"/>
                <a:gd name="connsiteX1" fmla="*/ 47847 w 135472"/>
                <a:gd name="connsiteY1" fmla="*/ 116129 h 195874"/>
                <a:gd name="connsiteX2" fmla="*/ 69777 w 135472"/>
                <a:gd name="connsiteY2" fmla="*/ 55323 h 195874"/>
                <a:gd name="connsiteX3" fmla="*/ 0 w 135472"/>
                <a:gd name="connsiteY3" fmla="*/ 55323 h 195874"/>
                <a:gd name="connsiteX4" fmla="*/ 0 w 135472"/>
                <a:gd name="connsiteY4" fmla="*/ 0 h 195874"/>
                <a:gd name="connsiteX5" fmla="*/ 40633 w 135472"/>
                <a:gd name="connsiteY5" fmla="*/ 0 h 195874"/>
                <a:gd name="connsiteX6" fmla="*/ 135472 w 135472"/>
                <a:gd name="connsiteY6" fmla="*/ 65739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472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40633" y="0"/>
                  </a:lnTo>
                  <a:lnTo>
                    <a:pt x="135472" y="657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5" name="Forme libre : forme 2004">
              <a:extLst>
                <a:ext uri="{FF2B5EF4-FFF2-40B4-BE49-F238E27FC236}">
                  <a16:creationId xmlns:a16="http://schemas.microsoft.com/office/drawing/2014/main" id="{513E0836-7C56-4736-B55C-909FB1DE7F5E}"/>
                </a:ext>
              </a:extLst>
            </p:cNvPr>
            <p:cNvSpPr/>
            <p:nvPr/>
          </p:nvSpPr>
          <p:spPr>
            <a:xfrm rot="8716295">
              <a:off x="3075185" y="5096420"/>
              <a:ext cx="71527" cy="66237"/>
            </a:xfrm>
            <a:custGeom>
              <a:avLst/>
              <a:gdLst>
                <a:gd name="connsiteX0" fmla="*/ 11471 w 71527"/>
                <a:gd name="connsiteY0" fmla="*/ 55370 h 66237"/>
                <a:gd name="connsiteX1" fmla="*/ 0 w 71527"/>
                <a:gd name="connsiteY1" fmla="*/ 28202 h 66237"/>
                <a:gd name="connsiteX2" fmla="*/ 0 w 71527"/>
                <a:gd name="connsiteY2" fmla="*/ 27599 h 66237"/>
                <a:gd name="connsiteX3" fmla="*/ 11471 w 71527"/>
                <a:gd name="connsiteY3" fmla="*/ 431 h 66237"/>
                <a:gd name="connsiteX4" fmla="*/ 12491 w 71527"/>
                <a:gd name="connsiteY4" fmla="*/ 0 h 66237"/>
                <a:gd name="connsiteX5" fmla="*/ 71527 w 71527"/>
                <a:gd name="connsiteY5" fmla="*/ 40922 h 66237"/>
                <a:gd name="connsiteX6" fmla="*/ 65806 w 71527"/>
                <a:gd name="connsiteY6" fmla="*/ 54766 h 66237"/>
                <a:gd name="connsiteX7" fmla="*/ 38638 w 71527"/>
                <a:gd name="connsiteY7" fmla="*/ 66237 h 66237"/>
                <a:gd name="connsiteX8" fmla="*/ 11471 w 71527"/>
                <a:gd name="connsiteY8" fmla="*/ 55370 h 66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527" h="66237">
                  <a:moveTo>
                    <a:pt x="11471" y="55370"/>
                  </a:moveTo>
                  <a:cubicBezTo>
                    <a:pt x="4226" y="48125"/>
                    <a:pt x="0" y="38465"/>
                    <a:pt x="0" y="28202"/>
                  </a:cubicBezTo>
                  <a:lnTo>
                    <a:pt x="0" y="27599"/>
                  </a:lnTo>
                  <a:cubicBezTo>
                    <a:pt x="0" y="17335"/>
                    <a:pt x="4226" y="7676"/>
                    <a:pt x="11471" y="431"/>
                  </a:cubicBezTo>
                  <a:lnTo>
                    <a:pt x="12491" y="0"/>
                  </a:lnTo>
                  <a:lnTo>
                    <a:pt x="71527" y="40922"/>
                  </a:lnTo>
                  <a:lnTo>
                    <a:pt x="65806" y="54766"/>
                  </a:lnTo>
                  <a:cubicBezTo>
                    <a:pt x="58561" y="62011"/>
                    <a:pt x="48902" y="66237"/>
                    <a:pt x="38638" y="66237"/>
                  </a:cubicBezTo>
                  <a:cubicBezTo>
                    <a:pt x="28375" y="66237"/>
                    <a:pt x="18716" y="62614"/>
                    <a:pt x="11471" y="55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6" name="Forme libre : forme 2005">
              <a:extLst>
                <a:ext uri="{FF2B5EF4-FFF2-40B4-BE49-F238E27FC236}">
                  <a16:creationId xmlns:a16="http://schemas.microsoft.com/office/drawing/2014/main" id="{1D0766CB-D2AF-47CF-8AD9-42DA34AEC513}"/>
                </a:ext>
              </a:extLst>
            </p:cNvPr>
            <p:cNvSpPr/>
            <p:nvPr/>
          </p:nvSpPr>
          <p:spPr>
            <a:xfrm rot="8716295">
              <a:off x="3669562" y="5103164"/>
              <a:ext cx="86480" cy="68720"/>
            </a:xfrm>
            <a:custGeom>
              <a:avLst/>
              <a:gdLst>
                <a:gd name="connsiteX0" fmla="*/ 17477 w 86480"/>
                <a:gd name="connsiteY0" fmla="*/ 52162 h 68720"/>
                <a:gd name="connsiteX1" fmla="*/ 0 w 86480"/>
                <a:gd name="connsiteY1" fmla="*/ 10771 h 68720"/>
                <a:gd name="connsiteX2" fmla="*/ 0 w 86480"/>
                <a:gd name="connsiteY2" fmla="*/ 9850 h 68720"/>
                <a:gd name="connsiteX3" fmla="*/ 4159 w 86480"/>
                <a:gd name="connsiteY3" fmla="*/ 0 h 68720"/>
                <a:gd name="connsiteX4" fmla="*/ 86480 w 86480"/>
                <a:gd name="connsiteY4" fmla="*/ 57062 h 68720"/>
                <a:gd name="connsiteX5" fmla="*/ 58869 w 86480"/>
                <a:gd name="connsiteY5" fmla="*/ 68720 h 68720"/>
                <a:gd name="connsiteX6" fmla="*/ 17477 w 86480"/>
                <a:gd name="connsiteY6" fmla="*/ 52162 h 68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6480" h="68720">
                  <a:moveTo>
                    <a:pt x="17477" y="52162"/>
                  </a:moveTo>
                  <a:cubicBezTo>
                    <a:pt x="6439" y="41124"/>
                    <a:pt x="0" y="26407"/>
                    <a:pt x="0" y="10771"/>
                  </a:cubicBezTo>
                  <a:lnTo>
                    <a:pt x="0" y="9850"/>
                  </a:lnTo>
                  <a:lnTo>
                    <a:pt x="4159" y="0"/>
                  </a:lnTo>
                  <a:lnTo>
                    <a:pt x="86480" y="57062"/>
                  </a:lnTo>
                  <a:lnTo>
                    <a:pt x="58869" y="68720"/>
                  </a:lnTo>
                  <a:cubicBezTo>
                    <a:pt x="43232" y="68720"/>
                    <a:pt x="28516" y="63201"/>
                    <a:pt x="17477" y="5216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7" name="Forme libre : forme 2006">
              <a:extLst>
                <a:ext uri="{FF2B5EF4-FFF2-40B4-BE49-F238E27FC236}">
                  <a16:creationId xmlns:a16="http://schemas.microsoft.com/office/drawing/2014/main" id="{75D179FB-7542-44F2-B462-1CA040B3A61D}"/>
                </a:ext>
              </a:extLst>
            </p:cNvPr>
            <p:cNvSpPr/>
            <p:nvPr/>
          </p:nvSpPr>
          <p:spPr>
            <a:xfrm rot="8716295">
              <a:off x="3598055" y="498328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8" name="Forme libre : forme 2007">
              <a:extLst>
                <a:ext uri="{FF2B5EF4-FFF2-40B4-BE49-F238E27FC236}">
                  <a16:creationId xmlns:a16="http://schemas.microsoft.com/office/drawing/2014/main" id="{66DEB414-FFEC-4800-B8DC-149EC3D26B06}"/>
                </a:ext>
              </a:extLst>
            </p:cNvPr>
            <p:cNvSpPr/>
            <p:nvPr/>
          </p:nvSpPr>
          <p:spPr>
            <a:xfrm rot="8716295">
              <a:off x="2608590" y="404968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9" name="Forme libre : forme 2008">
              <a:extLst>
                <a:ext uri="{FF2B5EF4-FFF2-40B4-BE49-F238E27FC236}">
                  <a16:creationId xmlns:a16="http://schemas.microsoft.com/office/drawing/2014/main" id="{8BB6B1A3-DAB2-4452-ADE2-A05800A3707A}"/>
                </a:ext>
              </a:extLst>
            </p:cNvPr>
            <p:cNvSpPr/>
            <p:nvPr/>
          </p:nvSpPr>
          <p:spPr>
            <a:xfrm rot="8716295">
              <a:off x="2697982" y="407892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0" name="Forme libre : forme 2009">
              <a:extLst>
                <a:ext uri="{FF2B5EF4-FFF2-40B4-BE49-F238E27FC236}">
                  <a16:creationId xmlns:a16="http://schemas.microsoft.com/office/drawing/2014/main" id="{A805B39B-757C-40B3-9D31-DFFF22EBA5CA}"/>
                </a:ext>
              </a:extLst>
            </p:cNvPr>
            <p:cNvSpPr/>
            <p:nvPr/>
          </p:nvSpPr>
          <p:spPr>
            <a:xfrm rot="8716295">
              <a:off x="2653132" y="399264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1" name="Forme libre : forme 2010">
              <a:extLst>
                <a:ext uri="{FF2B5EF4-FFF2-40B4-BE49-F238E27FC236}">
                  <a16:creationId xmlns:a16="http://schemas.microsoft.com/office/drawing/2014/main" id="{62D6EFC1-7ABC-4CF6-9962-40B0CA7DF8A9}"/>
                </a:ext>
              </a:extLst>
            </p:cNvPr>
            <p:cNvSpPr/>
            <p:nvPr/>
          </p:nvSpPr>
          <p:spPr>
            <a:xfrm rot="8716295">
              <a:off x="2496356" y="413822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2" name="Forme libre : forme 2011">
              <a:extLst>
                <a:ext uri="{FF2B5EF4-FFF2-40B4-BE49-F238E27FC236}">
                  <a16:creationId xmlns:a16="http://schemas.microsoft.com/office/drawing/2014/main" id="{529496F8-2EED-482E-99E3-1BCB5EE5585B}"/>
                </a:ext>
              </a:extLst>
            </p:cNvPr>
            <p:cNvSpPr/>
            <p:nvPr/>
          </p:nvSpPr>
          <p:spPr>
            <a:xfrm rot="8716295">
              <a:off x="2371453" y="392955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3" name="Forme libre : forme 2012">
              <a:extLst>
                <a:ext uri="{FF2B5EF4-FFF2-40B4-BE49-F238E27FC236}">
                  <a16:creationId xmlns:a16="http://schemas.microsoft.com/office/drawing/2014/main" id="{F8D2DD7F-D920-4C6F-BDCE-E0D8665E0076}"/>
                </a:ext>
              </a:extLst>
            </p:cNvPr>
            <p:cNvSpPr/>
            <p:nvPr/>
          </p:nvSpPr>
          <p:spPr>
            <a:xfrm rot="8716295">
              <a:off x="2359401" y="379077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4" name="Forme libre : forme 2013">
              <a:extLst>
                <a:ext uri="{FF2B5EF4-FFF2-40B4-BE49-F238E27FC236}">
                  <a16:creationId xmlns:a16="http://schemas.microsoft.com/office/drawing/2014/main" id="{B1DDFBEC-2422-4F95-B394-0CDEBBB8444C}"/>
                </a:ext>
              </a:extLst>
            </p:cNvPr>
            <p:cNvSpPr/>
            <p:nvPr/>
          </p:nvSpPr>
          <p:spPr>
            <a:xfrm rot="8716295">
              <a:off x="2586534" y="417917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5" name="Forme libre : forme 2014">
              <a:extLst>
                <a:ext uri="{FF2B5EF4-FFF2-40B4-BE49-F238E27FC236}">
                  <a16:creationId xmlns:a16="http://schemas.microsoft.com/office/drawing/2014/main" id="{769AC63A-D399-4F6F-B5A6-18B9EEEAF8DE}"/>
                </a:ext>
              </a:extLst>
            </p:cNvPr>
            <p:cNvSpPr/>
            <p:nvPr/>
          </p:nvSpPr>
          <p:spPr>
            <a:xfrm rot="8716295">
              <a:off x="2897689" y="379952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6" name="Forme libre : forme 2015">
              <a:extLst>
                <a:ext uri="{FF2B5EF4-FFF2-40B4-BE49-F238E27FC236}">
                  <a16:creationId xmlns:a16="http://schemas.microsoft.com/office/drawing/2014/main" id="{FCE508E9-A69E-4853-B8E9-C26E72CDD220}"/>
                </a:ext>
              </a:extLst>
            </p:cNvPr>
            <p:cNvSpPr/>
            <p:nvPr/>
          </p:nvSpPr>
          <p:spPr>
            <a:xfrm rot="8716295">
              <a:off x="2987081" y="382877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7" name="Forme libre : forme 2016">
              <a:extLst>
                <a:ext uri="{FF2B5EF4-FFF2-40B4-BE49-F238E27FC236}">
                  <a16:creationId xmlns:a16="http://schemas.microsoft.com/office/drawing/2014/main" id="{69B0C070-E5DD-4902-8901-32B0B2DF2181}"/>
                </a:ext>
              </a:extLst>
            </p:cNvPr>
            <p:cNvSpPr/>
            <p:nvPr/>
          </p:nvSpPr>
          <p:spPr>
            <a:xfrm rot="8716295">
              <a:off x="2785455" y="388807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8" name="Forme libre : forme 2017">
              <a:extLst>
                <a:ext uri="{FF2B5EF4-FFF2-40B4-BE49-F238E27FC236}">
                  <a16:creationId xmlns:a16="http://schemas.microsoft.com/office/drawing/2014/main" id="{351C262C-137B-4595-9945-0B58E9E9498A}"/>
                </a:ext>
              </a:extLst>
            </p:cNvPr>
            <p:cNvSpPr/>
            <p:nvPr/>
          </p:nvSpPr>
          <p:spPr>
            <a:xfrm rot="8716295">
              <a:off x="2660553" y="367940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9" name="Forme libre : forme 2018">
              <a:extLst>
                <a:ext uri="{FF2B5EF4-FFF2-40B4-BE49-F238E27FC236}">
                  <a16:creationId xmlns:a16="http://schemas.microsoft.com/office/drawing/2014/main" id="{9E27D744-0584-4AC9-A7EF-FEF550ED480C}"/>
                </a:ext>
              </a:extLst>
            </p:cNvPr>
            <p:cNvSpPr/>
            <p:nvPr/>
          </p:nvSpPr>
          <p:spPr>
            <a:xfrm rot="8716295">
              <a:off x="2875633" y="392902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0" name="Forme libre : forme 2019">
              <a:extLst>
                <a:ext uri="{FF2B5EF4-FFF2-40B4-BE49-F238E27FC236}">
                  <a16:creationId xmlns:a16="http://schemas.microsoft.com/office/drawing/2014/main" id="{47FD6DDE-8088-4171-9B74-ED4CB352D0E1}"/>
                </a:ext>
              </a:extLst>
            </p:cNvPr>
            <p:cNvSpPr/>
            <p:nvPr/>
          </p:nvSpPr>
          <p:spPr>
            <a:xfrm rot="8716295">
              <a:off x="2634182" y="377942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1" name="Forme libre : forme 2020">
              <a:extLst>
                <a:ext uri="{FF2B5EF4-FFF2-40B4-BE49-F238E27FC236}">
                  <a16:creationId xmlns:a16="http://schemas.microsoft.com/office/drawing/2014/main" id="{2332725B-11C5-436B-8C7A-C0F3009C3764}"/>
                </a:ext>
              </a:extLst>
            </p:cNvPr>
            <p:cNvSpPr/>
            <p:nvPr/>
          </p:nvSpPr>
          <p:spPr>
            <a:xfrm rot="7484129">
              <a:off x="2980564" y="41203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2" name="Forme libre : forme 2021">
              <a:extLst>
                <a:ext uri="{FF2B5EF4-FFF2-40B4-BE49-F238E27FC236}">
                  <a16:creationId xmlns:a16="http://schemas.microsoft.com/office/drawing/2014/main" id="{2D6DB575-2CD4-46B8-BF50-BF9C03A4A660}"/>
                </a:ext>
              </a:extLst>
            </p:cNvPr>
            <p:cNvSpPr/>
            <p:nvPr/>
          </p:nvSpPr>
          <p:spPr>
            <a:xfrm rot="13089394">
              <a:off x="3085384" y="408691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3" name="Forme libre : forme 2022">
              <a:extLst>
                <a:ext uri="{FF2B5EF4-FFF2-40B4-BE49-F238E27FC236}">
                  <a16:creationId xmlns:a16="http://schemas.microsoft.com/office/drawing/2014/main" id="{8AA469D7-AA06-49C5-A232-2AB138FF0560}"/>
                </a:ext>
              </a:extLst>
            </p:cNvPr>
            <p:cNvSpPr/>
            <p:nvPr/>
          </p:nvSpPr>
          <p:spPr>
            <a:xfrm rot="8716295">
              <a:off x="3270969" y="389522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4" name="Forme libre : forme 2023">
              <a:extLst>
                <a:ext uri="{FF2B5EF4-FFF2-40B4-BE49-F238E27FC236}">
                  <a16:creationId xmlns:a16="http://schemas.microsoft.com/office/drawing/2014/main" id="{DAA290D6-64E1-496C-9C04-F98B1C63180B}"/>
                </a:ext>
              </a:extLst>
            </p:cNvPr>
            <p:cNvSpPr/>
            <p:nvPr/>
          </p:nvSpPr>
          <p:spPr>
            <a:xfrm rot="8716295">
              <a:off x="3219164" y="379163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5" name="Forme libre : forme 2024">
              <a:extLst>
                <a:ext uri="{FF2B5EF4-FFF2-40B4-BE49-F238E27FC236}">
                  <a16:creationId xmlns:a16="http://schemas.microsoft.com/office/drawing/2014/main" id="{3A0674DB-72FD-47E3-AD95-3835522B3982}"/>
                </a:ext>
              </a:extLst>
            </p:cNvPr>
            <p:cNvSpPr/>
            <p:nvPr/>
          </p:nvSpPr>
          <p:spPr>
            <a:xfrm rot="8716295">
              <a:off x="2975918" y="382185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6" name="Forme libre : forme 2025">
              <a:extLst>
                <a:ext uri="{FF2B5EF4-FFF2-40B4-BE49-F238E27FC236}">
                  <a16:creationId xmlns:a16="http://schemas.microsoft.com/office/drawing/2014/main" id="{DD0ABA36-1047-4667-A038-B5E4D3CCFC34}"/>
                </a:ext>
              </a:extLst>
            </p:cNvPr>
            <p:cNvSpPr/>
            <p:nvPr/>
          </p:nvSpPr>
          <p:spPr>
            <a:xfrm rot="8716295">
              <a:off x="3153370" y="366261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7" name="Forme libre : forme 2026">
              <a:extLst>
                <a:ext uri="{FF2B5EF4-FFF2-40B4-BE49-F238E27FC236}">
                  <a16:creationId xmlns:a16="http://schemas.microsoft.com/office/drawing/2014/main" id="{DCA88CB0-996E-4CBF-8E1B-054627A90FA6}"/>
                </a:ext>
              </a:extLst>
            </p:cNvPr>
            <p:cNvSpPr/>
            <p:nvPr/>
          </p:nvSpPr>
          <p:spPr>
            <a:xfrm rot="8716295">
              <a:off x="2831757" y="470938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8" name="Forme libre : forme 2027">
              <a:extLst>
                <a:ext uri="{FF2B5EF4-FFF2-40B4-BE49-F238E27FC236}">
                  <a16:creationId xmlns:a16="http://schemas.microsoft.com/office/drawing/2014/main" id="{2E1B38FC-3E96-4E74-B515-EB0F8E9F66DF}"/>
                </a:ext>
              </a:extLst>
            </p:cNvPr>
            <p:cNvSpPr/>
            <p:nvPr/>
          </p:nvSpPr>
          <p:spPr>
            <a:xfrm rot="8716295">
              <a:off x="2921149" y="473862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9" name="Forme libre : forme 2028">
              <a:extLst>
                <a:ext uri="{FF2B5EF4-FFF2-40B4-BE49-F238E27FC236}">
                  <a16:creationId xmlns:a16="http://schemas.microsoft.com/office/drawing/2014/main" id="{CDF29BC1-CD69-4D64-875F-1792585745C3}"/>
                </a:ext>
              </a:extLst>
            </p:cNvPr>
            <p:cNvSpPr/>
            <p:nvPr/>
          </p:nvSpPr>
          <p:spPr>
            <a:xfrm rot="8716295">
              <a:off x="2876299" y="465234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0" name="Forme libre : forme 2029">
              <a:extLst>
                <a:ext uri="{FF2B5EF4-FFF2-40B4-BE49-F238E27FC236}">
                  <a16:creationId xmlns:a16="http://schemas.microsoft.com/office/drawing/2014/main" id="{19422572-0729-400B-A56A-9BE0F95C2A16}"/>
                </a:ext>
              </a:extLst>
            </p:cNvPr>
            <p:cNvSpPr/>
            <p:nvPr/>
          </p:nvSpPr>
          <p:spPr>
            <a:xfrm rot="8716295">
              <a:off x="2719523" y="479792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1" name="Forme libre : forme 2030">
              <a:extLst>
                <a:ext uri="{FF2B5EF4-FFF2-40B4-BE49-F238E27FC236}">
                  <a16:creationId xmlns:a16="http://schemas.microsoft.com/office/drawing/2014/main" id="{E606445F-5950-4211-A90A-075E8FDA5A46}"/>
                </a:ext>
              </a:extLst>
            </p:cNvPr>
            <p:cNvSpPr/>
            <p:nvPr/>
          </p:nvSpPr>
          <p:spPr>
            <a:xfrm rot="8716295">
              <a:off x="2594620" y="458925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2" name="Forme libre : forme 2031">
              <a:extLst>
                <a:ext uri="{FF2B5EF4-FFF2-40B4-BE49-F238E27FC236}">
                  <a16:creationId xmlns:a16="http://schemas.microsoft.com/office/drawing/2014/main" id="{8CA2BC66-A99C-485B-BFBF-CC740FFCF083}"/>
                </a:ext>
              </a:extLst>
            </p:cNvPr>
            <p:cNvSpPr/>
            <p:nvPr/>
          </p:nvSpPr>
          <p:spPr>
            <a:xfrm rot="8716295">
              <a:off x="2582568" y="4450471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3" name="Forme libre : forme 2032">
              <a:extLst>
                <a:ext uri="{FF2B5EF4-FFF2-40B4-BE49-F238E27FC236}">
                  <a16:creationId xmlns:a16="http://schemas.microsoft.com/office/drawing/2014/main" id="{71C2114D-64EC-4824-A707-E5E2E8D2CEF6}"/>
                </a:ext>
              </a:extLst>
            </p:cNvPr>
            <p:cNvSpPr/>
            <p:nvPr/>
          </p:nvSpPr>
          <p:spPr>
            <a:xfrm rot="8716295">
              <a:off x="2809701" y="483887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4" name="Forme libre : forme 2033">
              <a:extLst>
                <a:ext uri="{FF2B5EF4-FFF2-40B4-BE49-F238E27FC236}">
                  <a16:creationId xmlns:a16="http://schemas.microsoft.com/office/drawing/2014/main" id="{9B7D5F64-A7C5-45A2-B1CB-7832AA424557}"/>
                </a:ext>
              </a:extLst>
            </p:cNvPr>
            <p:cNvSpPr/>
            <p:nvPr/>
          </p:nvSpPr>
          <p:spPr>
            <a:xfrm rot="8716295">
              <a:off x="3120856" y="445922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5" name="Forme libre : forme 2034">
              <a:extLst>
                <a:ext uri="{FF2B5EF4-FFF2-40B4-BE49-F238E27FC236}">
                  <a16:creationId xmlns:a16="http://schemas.microsoft.com/office/drawing/2014/main" id="{418878C1-309F-4F6D-82F6-074894DEFD09}"/>
                </a:ext>
              </a:extLst>
            </p:cNvPr>
            <p:cNvSpPr/>
            <p:nvPr/>
          </p:nvSpPr>
          <p:spPr>
            <a:xfrm rot="8716295">
              <a:off x="3210248" y="448847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6" name="Forme libre : forme 2035">
              <a:extLst>
                <a:ext uri="{FF2B5EF4-FFF2-40B4-BE49-F238E27FC236}">
                  <a16:creationId xmlns:a16="http://schemas.microsoft.com/office/drawing/2014/main" id="{BEDFC6C0-0504-41A7-AFF6-DA58077E2F9E}"/>
                </a:ext>
              </a:extLst>
            </p:cNvPr>
            <p:cNvSpPr/>
            <p:nvPr/>
          </p:nvSpPr>
          <p:spPr>
            <a:xfrm rot="8716295">
              <a:off x="3008622" y="45477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7" name="Forme libre : forme 2036">
              <a:extLst>
                <a:ext uri="{FF2B5EF4-FFF2-40B4-BE49-F238E27FC236}">
                  <a16:creationId xmlns:a16="http://schemas.microsoft.com/office/drawing/2014/main" id="{0901EFA0-9ABF-4779-9CD7-AEF35261A01F}"/>
                </a:ext>
              </a:extLst>
            </p:cNvPr>
            <p:cNvSpPr/>
            <p:nvPr/>
          </p:nvSpPr>
          <p:spPr>
            <a:xfrm rot="8716295">
              <a:off x="2883720" y="43390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8" name="Forme libre : forme 2037">
              <a:extLst>
                <a:ext uri="{FF2B5EF4-FFF2-40B4-BE49-F238E27FC236}">
                  <a16:creationId xmlns:a16="http://schemas.microsoft.com/office/drawing/2014/main" id="{749728BB-B44C-458D-B875-8F2A71694EB4}"/>
                </a:ext>
              </a:extLst>
            </p:cNvPr>
            <p:cNvSpPr/>
            <p:nvPr/>
          </p:nvSpPr>
          <p:spPr>
            <a:xfrm rot="8716295">
              <a:off x="3098800" y="458872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9" name="Forme libre : forme 2038">
              <a:extLst>
                <a:ext uri="{FF2B5EF4-FFF2-40B4-BE49-F238E27FC236}">
                  <a16:creationId xmlns:a16="http://schemas.microsoft.com/office/drawing/2014/main" id="{C380CDA8-7EF5-48C9-B56D-6A7E2C9ACDDB}"/>
                </a:ext>
              </a:extLst>
            </p:cNvPr>
            <p:cNvSpPr/>
            <p:nvPr/>
          </p:nvSpPr>
          <p:spPr>
            <a:xfrm rot="8716295">
              <a:off x="2857349" y="443912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0" name="Forme libre : forme 2039">
              <a:extLst>
                <a:ext uri="{FF2B5EF4-FFF2-40B4-BE49-F238E27FC236}">
                  <a16:creationId xmlns:a16="http://schemas.microsoft.com/office/drawing/2014/main" id="{35D7DC57-1FBD-4D3A-8353-DA49C3779565}"/>
                </a:ext>
              </a:extLst>
            </p:cNvPr>
            <p:cNvSpPr/>
            <p:nvPr/>
          </p:nvSpPr>
          <p:spPr>
            <a:xfrm rot="7484129">
              <a:off x="3203731" y="478007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1" name="Forme libre : forme 2040">
              <a:extLst>
                <a:ext uri="{FF2B5EF4-FFF2-40B4-BE49-F238E27FC236}">
                  <a16:creationId xmlns:a16="http://schemas.microsoft.com/office/drawing/2014/main" id="{528E07C7-AD59-4D90-8BAC-F763B1D94A11}"/>
                </a:ext>
              </a:extLst>
            </p:cNvPr>
            <p:cNvSpPr/>
            <p:nvPr/>
          </p:nvSpPr>
          <p:spPr>
            <a:xfrm rot="13089394">
              <a:off x="3308551" y="4746609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2" name="Forme libre : forme 2041">
              <a:extLst>
                <a:ext uri="{FF2B5EF4-FFF2-40B4-BE49-F238E27FC236}">
                  <a16:creationId xmlns:a16="http://schemas.microsoft.com/office/drawing/2014/main" id="{2B7E1DD1-1118-40B2-B6F0-0CF0593D1F55}"/>
                </a:ext>
              </a:extLst>
            </p:cNvPr>
            <p:cNvSpPr/>
            <p:nvPr/>
          </p:nvSpPr>
          <p:spPr>
            <a:xfrm rot="8716295">
              <a:off x="3494136" y="455492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3" name="Forme libre : forme 2042">
              <a:extLst>
                <a:ext uri="{FF2B5EF4-FFF2-40B4-BE49-F238E27FC236}">
                  <a16:creationId xmlns:a16="http://schemas.microsoft.com/office/drawing/2014/main" id="{81540EA7-F6EC-44BE-816E-4C0E5EB2914E}"/>
                </a:ext>
              </a:extLst>
            </p:cNvPr>
            <p:cNvSpPr/>
            <p:nvPr/>
          </p:nvSpPr>
          <p:spPr>
            <a:xfrm rot="8716295">
              <a:off x="3442331" y="445133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4" name="Forme libre : forme 2043">
              <a:extLst>
                <a:ext uri="{FF2B5EF4-FFF2-40B4-BE49-F238E27FC236}">
                  <a16:creationId xmlns:a16="http://schemas.microsoft.com/office/drawing/2014/main" id="{439225B7-2BD6-4483-BC9B-DC58675BF4C6}"/>
                </a:ext>
              </a:extLst>
            </p:cNvPr>
            <p:cNvSpPr/>
            <p:nvPr/>
          </p:nvSpPr>
          <p:spPr>
            <a:xfrm rot="8716295">
              <a:off x="3199085" y="448155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5" name="Forme libre : forme 2044">
              <a:extLst>
                <a:ext uri="{FF2B5EF4-FFF2-40B4-BE49-F238E27FC236}">
                  <a16:creationId xmlns:a16="http://schemas.microsoft.com/office/drawing/2014/main" id="{B7D7807C-1490-4102-8354-D497932384C9}"/>
                </a:ext>
              </a:extLst>
            </p:cNvPr>
            <p:cNvSpPr/>
            <p:nvPr/>
          </p:nvSpPr>
          <p:spPr>
            <a:xfrm rot="8716295">
              <a:off x="3376537" y="432231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6" name="Forme libre : forme 2045">
              <a:extLst>
                <a:ext uri="{FF2B5EF4-FFF2-40B4-BE49-F238E27FC236}">
                  <a16:creationId xmlns:a16="http://schemas.microsoft.com/office/drawing/2014/main" id="{635AEC85-CF21-4340-9A71-2C3A7522FD09}"/>
                </a:ext>
              </a:extLst>
            </p:cNvPr>
            <p:cNvSpPr/>
            <p:nvPr/>
          </p:nvSpPr>
          <p:spPr>
            <a:xfrm rot="8716295">
              <a:off x="1945235" y="207061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7" name="Forme libre : forme 2046">
              <a:extLst>
                <a:ext uri="{FF2B5EF4-FFF2-40B4-BE49-F238E27FC236}">
                  <a16:creationId xmlns:a16="http://schemas.microsoft.com/office/drawing/2014/main" id="{11A1EB5F-B7DA-47FC-9300-C3618AE6E095}"/>
                </a:ext>
              </a:extLst>
            </p:cNvPr>
            <p:cNvSpPr/>
            <p:nvPr/>
          </p:nvSpPr>
          <p:spPr>
            <a:xfrm rot="8716295">
              <a:off x="2034627" y="209985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8" name="Forme libre : forme 2047">
              <a:extLst>
                <a:ext uri="{FF2B5EF4-FFF2-40B4-BE49-F238E27FC236}">
                  <a16:creationId xmlns:a16="http://schemas.microsoft.com/office/drawing/2014/main" id="{07F7C572-5337-4FAC-82A4-6A85DC071921}"/>
                </a:ext>
              </a:extLst>
            </p:cNvPr>
            <p:cNvSpPr/>
            <p:nvPr/>
          </p:nvSpPr>
          <p:spPr>
            <a:xfrm rot="8716295">
              <a:off x="1989777" y="201357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9" name="Forme libre : forme 2048">
              <a:extLst>
                <a:ext uri="{FF2B5EF4-FFF2-40B4-BE49-F238E27FC236}">
                  <a16:creationId xmlns:a16="http://schemas.microsoft.com/office/drawing/2014/main" id="{A9887220-2A87-47EF-AD47-F90CEE542B56}"/>
                </a:ext>
              </a:extLst>
            </p:cNvPr>
            <p:cNvSpPr/>
            <p:nvPr/>
          </p:nvSpPr>
          <p:spPr>
            <a:xfrm rot="8716295">
              <a:off x="1833001" y="215915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0" name="Forme libre : forme 2049">
              <a:extLst>
                <a:ext uri="{FF2B5EF4-FFF2-40B4-BE49-F238E27FC236}">
                  <a16:creationId xmlns:a16="http://schemas.microsoft.com/office/drawing/2014/main" id="{96F4C848-FCA2-452D-9BF6-EFA171999A6C}"/>
                </a:ext>
              </a:extLst>
            </p:cNvPr>
            <p:cNvSpPr/>
            <p:nvPr/>
          </p:nvSpPr>
          <p:spPr>
            <a:xfrm rot="8716295">
              <a:off x="1708098" y="195048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1" name="Forme libre : forme 2050">
              <a:extLst>
                <a:ext uri="{FF2B5EF4-FFF2-40B4-BE49-F238E27FC236}">
                  <a16:creationId xmlns:a16="http://schemas.microsoft.com/office/drawing/2014/main" id="{71B0A8AF-0B2B-4C16-AFBA-05D3C8218554}"/>
                </a:ext>
              </a:extLst>
            </p:cNvPr>
            <p:cNvSpPr/>
            <p:nvPr/>
          </p:nvSpPr>
          <p:spPr>
            <a:xfrm rot="8716295">
              <a:off x="1696046" y="181170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2" name="Forme libre : forme 2051">
              <a:extLst>
                <a:ext uri="{FF2B5EF4-FFF2-40B4-BE49-F238E27FC236}">
                  <a16:creationId xmlns:a16="http://schemas.microsoft.com/office/drawing/2014/main" id="{A8C901C7-377B-4E53-869C-62FF0103321A}"/>
                </a:ext>
              </a:extLst>
            </p:cNvPr>
            <p:cNvSpPr/>
            <p:nvPr/>
          </p:nvSpPr>
          <p:spPr>
            <a:xfrm rot="8716295">
              <a:off x="1923179" y="220010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3" name="Forme libre : forme 2052">
              <a:extLst>
                <a:ext uri="{FF2B5EF4-FFF2-40B4-BE49-F238E27FC236}">
                  <a16:creationId xmlns:a16="http://schemas.microsoft.com/office/drawing/2014/main" id="{62CC925F-A486-47A4-BC1C-0031447BDBF8}"/>
                </a:ext>
              </a:extLst>
            </p:cNvPr>
            <p:cNvSpPr/>
            <p:nvPr/>
          </p:nvSpPr>
          <p:spPr>
            <a:xfrm rot="8716295">
              <a:off x="2234334" y="182046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4" name="Forme libre : forme 2053">
              <a:extLst>
                <a:ext uri="{FF2B5EF4-FFF2-40B4-BE49-F238E27FC236}">
                  <a16:creationId xmlns:a16="http://schemas.microsoft.com/office/drawing/2014/main" id="{945EF2C5-109C-411B-81B5-BFB1887E75E2}"/>
                </a:ext>
              </a:extLst>
            </p:cNvPr>
            <p:cNvSpPr/>
            <p:nvPr/>
          </p:nvSpPr>
          <p:spPr>
            <a:xfrm rot="8716295">
              <a:off x="2323726" y="184970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5" name="Forme libre : forme 2054">
              <a:extLst>
                <a:ext uri="{FF2B5EF4-FFF2-40B4-BE49-F238E27FC236}">
                  <a16:creationId xmlns:a16="http://schemas.microsoft.com/office/drawing/2014/main" id="{E2FDAFBA-90AF-4DD3-88B7-3D0DB77D26C2}"/>
                </a:ext>
              </a:extLst>
            </p:cNvPr>
            <p:cNvSpPr/>
            <p:nvPr/>
          </p:nvSpPr>
          <p:spPr>
            <a:xfrm rot="8716295">
              <a:off x="2122100" y="19090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6" name="Forme libre : forme 2055">
              <a:extLst>
                <a:ext uri="{FF2B5EF4-FFF2-40B4-BE49-F238E27FC236}">
                  <a16:creationId xmlns:a16="http://schemas.microsoft.com/office/drawing/2014/main" id="{0AF6A2EA-C10E-429A-AA22-3518511DA0A6}"/>
                </a:ext>
              </a:extLst>
            </p:cNvPr>
            <p:cNvSpPr/>
            <p:nvPr/>
          </p:nvSpPr>
          <p:spPr>
            <a:xfrm rot="8716295">
              <a:off x="1997198" y="170033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7" name="Forme libre : forme 2056">
              <a:extLst>
                <a:ext uri="{FF2B5EF4-FFF2-40B4-BE49-F238E27FC236}">
                  <a16:creationId xmlns:a16="http://schemas.microsoft.com/office/drawing/2014/main" id="{600B3F51-A7A8-4209-BCA4-1E31E67B6420}"/>
                </a:ext>
              </a:extLst>
            </p:cNvPr>
            <p:cNvSpPr/>
            <p:nvPr/>
          </p:nvSpPr>
          <p:spPr>
            <a:xfrm rot="8716295">
              <a:off x="2212278" y="194995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8" name="Forme libre : forme 2057">
              <a:extLst>
                <a:ext uri="{FF2B5EF4-FFF2-40B4-BE49-F238E27FC236}">
                  <a16:creationId xmlns:a16="http://schemas.microsoft.com/office/drawing/2014/main" id="{669CFA3F-1269-41F1-AC29-3A52F3487D24}"/>
                </a:ext>
              </a:extLst>
            </p:cNvPr>
            <p:cNvSpPr/>
            <p:nvPr/>
          </p:nvSpPr>
          <p:spPr>
            <a:xfrm rot="8716295">
              <a:off x="1970827" y="180035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9" name="Forme libre : forme 2058">
              <a:extLst>
                <a:ext uri="{FF2B5EF4-FFF2-40B4-BE49-F238E27FC236}">
                  <a16:creationId xmlns:a16="http://schemas.microsoft.com/office/drawing/2014/main" id="{F45F3582-C9CB-48C1-8687-58B7F6AE5003}"/>
                </a:ext>
              </a:extLst>
            </p:cNvPr>
            <p:cNvSpPr/>
            <p:nvPr/>
          </p:nvSpPr>
          <p:spPr>
            <a:xfrm rot="7484129">
              <a:off x="2317209" y="214130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0" name="Forme libre : forme 2059">
              <a:extLst>
                <a:ext uri="{FF2B5EF4-FFF2-40B4-BE49-F238E27FC236}">
                  <a16:creationId xmlns:a16="http://schemas.microsoft.com/office/drawing/2014/main" id="{13A0BF37-B9E9-4770-AC7E-B4F047117F80}"/>
                </a:ext>
              </a:extLst>
            </p:cNvPr>
            <p:cNvSpPr/>
            <p:nvPr/>
          </p:nvSpPr>
          <p:spPr>
            <a:xfrm rot="13089394">
              <a:off x="2422029" y="2107841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1" name="Forme libre : forme 2060">
              <a:extLst>
                <a:ext uri="{FF2B5EF4-FFF2-40B4-BE49-F238E27FC236}">
                  <a16:creationId xmlns:a16="http://schemas.microsoft.com/office/drawing/2014/main" id="{DD6F851E-8648-4D33-8B66-E1A2D791E45B}"/>
                </a:ext>
              </a:extLst>
            </p:cNvPr>
            <p:cNvSpPr/>
            <p:nvPr/>
          </p:nvSpPr>
          <p:spPr>
            <a:xfrm rot="8716295">
              <a:off x="2607614" y="191616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2" name="Forme libre : forme 2061">
              <a:extLst>
                <a:ext uri="{FF2B5EF4-FFF2-40B4-BE49-F238E27FC236}">
                  <a16:creationId xmlns:a16="http://schemas.microsoft.com/office/drawing/2014/main" id="{3EAC65FE-36BD-4259-B307-2A15106E17B7}"/>
                </a:ext>
              </a:extLst>
            </p:cNvPr>
            <p:cNvSpPr/>
            <p:nvPr/>
          </p:nvSpPr>
          <p:spPr>
            <a:xfrm rot="8716295">
              <a:off x="2555809" y="181256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3" name="Forme libre : forme 2062">
              <a:extLst>
                <a:ext uri="{FF2B5EF4-FFF2-40B4-BE49-F238E27FC236}">
                  <a16:creationId xmlns:a16="http://schemas.microsoft.com/office/drawing/2014/main" id="{0EC3A0BB-90CE-43B1-AB94-5264BC6980A0}"/>
                </a:ext>
              </a:extLst>
            </p:cNvPr>
            <p:cNvSpPr/>
            <p:nvPr/>
          </p:nvSpPr>
          <p:spPr>
            <a:xfrm rot="8716295">
              <a:off x="2312563" y="184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4" name="Forme libre : forme 2063">
              <a:extLst>
                <a:ext uri="{FF2B5EF4-FFF2-40B4-BE49-F238E27FC236}">
                  <a16:creationId xmlns:a16="http://schemas.microsoft.com/office/drawing/2014/main" id="{279EC32D-CBDC-4885-A518-E43D58F75913}"/>
                </a:ext>
              </a:extLst>
            </p:cNvPr>
            <p:cNvSpPr/>
            <p:nvPr/>
          </p:nvSpPr>
          <p:spPr>
            <a:xfrm rot="8716295">
              <a:off x="2490015" y="168354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5" name="Forme libre : forme 2064">
              <a:extLst>
                <a:ext uri="{FF2B5EF4-FFF2-40B4-BE49-F238E27FC236}">
                  <a16:creationId xmlns:a16="http://schemas.microsoft.com/office/drawing/2014/main" id="{82B63EF8-70AC-424B-8D0D-1430936AED2B}"/>
                </a:ext>
              </a:extLst>
            </p:cNvPr>
            <p:cNvSpPr/>
            <p:nvPr/>
          </p:nvSpPr>
          <p:spPr>
            <a:xfrm rot="8716295">
              <a:off x="1722068" y="141091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6" name="Forme libre : forme 2065">
              <a:extLst>
                <a:ext uri="{FF2B5EF4-FFF2-40B4-BE49-F238E27FC236}">
                  <a16:creationId xmlns:a16="http://schemas.microsoft.com/office/drawing/2014/main" id="{9639FE86-B706-472C-8B17-F05FFAA6C032}"/>
                </a:ext>
              </a:extLst>
            </p:cNvPr>
            <p:cNvSpPr/>
            <p:nvPr/>
          </p:nvSpPr>
          <p:spPr>
            <a:xfrm rot="8716295">
              <a:off x="1811460" y="144015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7" name="Forme libre : forme 2066">
              <a:extLst>
                <a:ext uri="{FF2B5EF4-FFF2-40B4-BE49-F238E27FC236}">
                  <a16:creationId xmlns:a16="http://schemas.microsoft.com/office/drawing/2014/main" id="{07446619-2E49-4747-ACBE-260C0C2C4C34}"/>
                </a:ext>
              </a:extLst>
            </p:cNvPr>
            <p:cNvSpPr/>
            <p:nvPr/>
          </p:nvSpPr>
          <p:spPr>
            <a:xfrm rot="8716295">
              <a:off x="1766610" y="135387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8" name="Forme libre : forme 2067">
              <a:extLst>
                <a:ext uri="{FF2B5EF4-FFF2-40B4-BE49-F238E27FC236}">
                  <a16:creationId xmlns:a16="http://schemas.microsoft.com/office/drawing/2014/main" id="{78612368-26FB-4711-B283-76B1C1100DD4}"/>
                </a:ext>
              </a:extLst>
            </p:cNvPr>
            <p:cNvSpPr/>
            <p:nvPr/>
          </p:nvSpPr>
          <p:spPr>
            <a:xfrm rot="8716295">
              <a:off x="1609834" y="149945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9" name="Forme libre : forme 2068">
              <a:extLst>
                <a:ext uri="{FF2B5EF4-FFF2-40B4-BE49-F238E27FC236}">
                  <a16:creationId xmlns:a16="http://schemas.microsoft.com/office/drawing/2014/main" id="{1205D449-2819-4B61-B974-818AB8770F91}"/>
                </a:ext>
              </a:extLst>
            </p:cNvPr>
            <p:cNvSpPr/>
            <p:nvPr/>
          </p:nvSpPr>
          <p:spPr>
            <a:xfrm rot="8716295">
              <a:off x="1484931" y="129078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0" name="Forme libre : forme 2069">
              <a:extLst>
                <a:ext uri="{FF2B5EF4-FFF2-40B4-BE49-F238E27FC236}">
                  <a16:creationId xmlns:a16="http://schemas.microsoft.com/office/drawing/2014/main" id="{28759079-BB1E-4FA1-A581-AB007D40486E}"/>
                </a:ext>
              </a:extLst>
            </p:cNvPr>
            <p:cNvSpPr/>
            <p:nvPr/>
          </p:nvSpPr>
          <p:spPr>
            <a:xfrm rot="8716295">
              <a:off x="1472879" y="115200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1" name="Forme libre : forme 2070">
              <a:extLst>
                <a:ext uri="{FF2B5EF4-FFF2-40B4-BE49-F238E27FC236}">
                  <a16:creationId xmlns:a16="http://schemas.microsoft.com/office/drawing/2014/main" id="{FC133296-4D5B-406D-87D4-112911C0532F}"/>
                </a:ext>
              </a:extLst>
            </p:cNvPr>
            <p:cNvSpPr/>
            <p:nvPr/>
          </p:nvSpPr>
          <p:spPr>
            <a:xfrm rot="8716295">
              <a:off x="1700012" y="154040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2" name="Forme libre : forme 2071">
              <a:extLst>
                <a:ext uri="{FF2B5EF4-FFF2-40B4-BE49-F238E27FC236}">
                  <a16:creationId xmlns:a16="http://schemas.microsoft.com/office/drawing/2014/main" id="{0306E902-1DCB-4E80-803F-5BF7940B2AF5}"/>
                </a:ext>
              </a:extLst>
            </p:cNvPr>
            <p:cNvSpPr/>
            <p:nvPr/>
          </p:nvSpPr>
          <p:spPr>
            <a:xfrm rot="8716295">
              <a:off x="2011167" y="116076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3" name="Forme libre : forme 2072">
              <a:extLst>
                <a:ext uri="{FF2B5EF4-FFF2-40B4-BE49-F238E27FC236}">
                  <a16:creationId xmlns:a16="http://schemas.microsoft.com/office/drawing/2014/main" id="{E401BA69-156A-448C-B8AF-22460155FDA8}"/>
                </a:ext>
              </a:extLst>
            </p:cNvPr>
            <p:cNvSpPr/>
            <p:nvPr/>
          </p:nvSpPr>
          <p:spPr>
            <a:xfrm rot="8716295">
              <a:off x="2100559" y="119000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4" name="Forme libre : forme 2073">
              <a:extLst>
                <a:ext uri="{FF2B5EF4-FFF2-40B4-BE49-F238E27FC236}">
                  <a16:creationId xmlns:a16="http://schemas.microsoft.com/office/drawing/2014/main" id="{322BCC2C-AE44-47D4-A086-C2788A0FFD3F}"/>
                </a:ext>
              </a:extLst>
            </p:cNvPr>
            <p:cNvSpPr/>
            <p:nvPr/>
          </p:nvSpPr>
          <p:spPr>
            <a:xfrm rot="8716295">
              <a:off x="1898933" y="124930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5" name="Forme libre : forme 2074">
              <a:extLst>
                <a:ext uri="{FF2B5EF4-FFF2-40B4-BE49-F238E27FC236}">
                  <a16:creationId xmlns:a16="http://schemas.microsoft.com/office/drawing/2014/main" id="{DD5F6BBF-77CE-477E-9678-E08B043518F9}"/>
                </a:ext>
              </a:extLst>
            </p:cNvPr>
            <p:cNvSpPr/>
            <p:nvPr/>
          </p:nvSpPr>
          <p:spPr>
            <a:xfrm rot="8716295">
              <a:off x="1774031" y="104063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6" name="Forme libre : forme 2075">
              <a:extLst>
                <a:ext uri="{FF2B5EF4-FFF2-40B4-BE49-F238E27FC236}">
                  <a16:creationId xmlns:a16="http://schemas.microsoft.com/office/drawing/2014/main" id="{420D59E0-C275-46B1-A399-9E824480E384}"/>
                </a:ext>
              </a:extLst>
            </p:cNvPr>
            <p:cNvSpPr/>
            <p:nvPr/>
          </p:nvSpPr>
          <p:spPr>
            <a:xfrm rot="8716295">
              <a:off x="1989111" y="129025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7" name="Forme libre : forme 2076">
              <a:extLst>
                <a:ext uri="{FF2B5EF4-FFF2-40B4-BE49-F238E27FC236}">
                  <a16:creationId xmlns:a16="http://schemas.microsoft.com/office/drawing/2014/main" id="{21B9C359-7D7E-4839-B2F3-C15EDB6FA631}"/>
                </a:ext>
              </a:extLst>
            </p:cNvPr>
            <p:cNvSpPr/>
            <p:nvPr/>
          </p:nvSpPr>
          <p:spPr>
            <a:xfrm rot="8716295">
              <a:off x="1747660" y="114065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8" name="Forme libre : forme 2077">
              <a:extLst>
                <a:ext uri="{FF2B5EF4-FFF2-40B4-BE49-F238E27FC236}">
                  <a16:creationId xmlns:a16="http://schemas.microsoft.com/office/drawing/2014/main" id="{C5BF12D0-E189-4CA4-8E29-2C56167D5BF6}"/>
                </a:ext>
              </a:extLst>
            </p:cNvPr>
            <p:cNvSpPr/>
            <p:nvPr/>
          </p:nvSpPr>
          <p:spPr>
            <a:xfrm rot="7484129">
              <a:off x="2094042" y="148160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9" name="Forme libre : forme 2078">
              <a:extLst>
                <a:ext uri="{FF2B5EF4-FFF2-40B4-BE49-F238E27FC236}">
                  <a16:creationId xmlns:a16="http://schemas.microsoft.com/office/drawing/2014/main" id="{2EFD84FE-C6E8-4F6C-9BB5-653FA0BF96AE}"/>
                </a:ext>
              </a:extLst>
            </p:cNvPr>
            <p:cNvSpPr/>
            <p:nvPr/>
          </p:nvSpPr>
          <p:spPr>
            <a:xfrm rot="13089394">
              <a:off x="2198862" y="144814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0" name="Forme libre : forme 2079">
              <a:extLst>
                <a:ext uri="{FF2B5EF4-FFF2-40B4-BE49-F238E27FC236}">
                  <a16:creationId xmlns:a16="http://schemas.microsoft.com/office/drawing/2014/main" id="{6A69758E-EB99-4030-A031-2F9349DD4303}"/>
                </a:ext>
              </a:extLst>
            </p:cNvPr>
            <p:cNvSpPr/>
            <p:nvPr/>
          </p:nvSpPr>
          <p:spPr>
            <a:xfrm rot="8716295">
              <a:off x="2384447" y="125646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1" name="Forme libre : forme 2080">
              <a:extLst>
                <a:ext uri="{FF2B5EF4-FFF2-40B4-BE49-F238E27FC236}">
                  <a16:creationId xmlns:a16="http://schemas.microsoft.com/office/drawing/2014/main" id="{022740DA-D518-4F48-ABDE-16E68F591FD2}"/>
                </a:ext>
              </a:extLst>
            </p:cNvPr>
            <p:cNvSpPr/>
            <p:nvPr/>
          </p:nvSpPr>
          <p:spPr>
            <a:xfrm rot="8716295">
              <a:off x="2332642" y="115286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2" name="Forme libre : forme 2081">
              <a:extLst>
                <a:ext uri="{FF2B5EF4-FFF2-40B4-BE49-F238E27FC236}">
                  <a16:creationId xmlns:a16="http://schemas.microsoft.com/office/drawing/2014/main" id="{0313D091-4067-4EFE-BD30-E6503447BAD7}"/>
                </a:ext>
              </a:extLst>
            </p:cNvPr>
            <p:cNvSpPr/>
            <p:nvPr/>
          </p:nvSpPr>
          <p:spPr>
            <a:xfrm rot="8716295">
              <a:off x="2089396" y="118308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3" name="Forme libre : forme 2082">
              <a:extLst>
                <a:ext uri="{FF2B5EF4-FFF2-40B4-BE49-F238E27FC236}">
                  <a16:creationId xmlns:a16="http://schemas.microsoft.com/office/drawing/2014/main" id="{26A9C2FF-58EC-4F7E-9242-E46D4FFD7308}"/>
                </a:ext>
              </a:extLst>
            </p:cNvPr>
            <p:cNvSpPr/>
            <p:nvPr/>
          </p:nvSpPr>
          <p:spPr>
            <a:xfrm rot="8716295">
              <a:off x="2266848" y="102384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4" name="Forme libre : forme 2083">
              <a:extLst>
                <a:ext uri="{FF2B5EF4-FFF2-40B4-BE49-F238E27FC236}">
                  <a16:creationId xmlns:a16="http://schemas.microsoft.com/office/drawing/2014/main" id="{8DBFE747-1F5C-41A3-92C7-458A3B6D5116}"/>
                </a:ext>
              </a:extLst>
            </p:cNvPr>
            <p:cNvSpPr/>
            <p:nvPr/>
          </p:nvSpPr>
          <p:spPr>
            <a:xfrm rot="8716295">
              <a:off x="1503129" y="74885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5" name="Forme libre : forme 2084">
              <a:extLst>
                <a:ext uri="{FF2B5EF4-FFF2-40B4-BE49-F238E27FC236}">
                  <a16:creationId xmlns:a16="http://schemas.microsoft.com/office/drawing/2014/main" id="{6DA92627-FAFA-41E9-AEB5-0B6CF647FB05}"/>
                </a:ext>
              </a:extLst>
            </p:cNvPr>
            <p:cNvSpPr/>
            <p:nvPr/>
          </p:nvSpPr>
          <p:spPr>
            <a:xfrm rot="8716295">
              <a:off x="1592521" y="77809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6" name="Forme libre : forme 2085">
              <a:extLst>
                <a:ext uri="{FF2B5EF4-FFF2-40B4-BE49-F238E27FC236}">
                  <a16:creationId xmlns:a16="http://schemas.microsoft.com/office/drawing/2014/main" id="{E19F09B9-4988-41E7-BAA6-0B828FD03B07}"/>
                </a:ext>
              </a:extLst>
            </p:cNvPr>
            <p:cNvSpPr/>
            <p:nvPr/>
          </p:nvSpPr>
          <p:spPr>
            <a:xfrm rot="8716295">
              <a:off x="1547671" y="69181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7" name="Forme libre : forme 2086">
              <a:extLst>
                <a:ext uri="{FF2B5EF4-FFF2-40B4-BE49-F238E27FC236}">
                  <a16:creationId xmlns:a16="http://schemas.microsoft.com/office/drawing/2014/main" id="{FB7C092D-3593-4D2B-954D-520BBCB70267}"/>
                </a:ext>
              </a:extLst>
            </p:cNvPr>
            <p:cNvSpPr/>
            <p:nvPr/>
          </p:nvSpPr>
          <p:spPr>
            <a:xfrm rot="8716295">
              <a:off x="1390895" y="83739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8" name="Forme libre : forme 2087">
              <a:extLst>
                <a:ext uri="{FF2B5EF4-FFF2-40B4-BE49-F238E27FC236}">
                  <a16:creationId xmlns:a16="http://schemas.microsoft.com/office/drawing/2014/main" id="{00FADB2F-7F2D-4B98-9271-D534A6BFA872}"/>
                </a:ext>
              </a:extLst>
            </p:cNvPr>
            <p:cNvSpPr/>
            <p:nvPr/>
          </p:nvSpPr>
          <p:spPr>
            <a:xfrm rot="8716295">
              <a:off x="1265992" y="62872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9" name="Forme libre : forme 2088">
              <a:extLst>
                <a:ext uri="{FF2B5EF4-FFF2-40B4-BE49-F238E27FC236}">
                  <a16:creationId xmlns:a16="http://schemas.microsoft.com/office/drawing/2014/main" id="{800006B7-3487-4C19-BDD4-3F3EE8F3EDE3}"/>
                </a:ext>
              </a:extLst>
            </p:cNvPr>
            <p:cNvSpPr/>
            <p:nvPr/>
          </p:nvSpPr>
          <p:spPr>
            <a:xfrm rot="8716295">
              <a:off x="1253940" y="48994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0" name="Forme libre : forme 2089">
              <a:extLst>
                <a:ext uri="{FF2B5EF4-FFF2-40B4-BE49-F238E27FC236}">
                  <a16:creationId xmlns:a16="http://schemas.microsoft.com/office/drawing/2014/main" id="{EB3EEFD9-046D-4DF6-B67C-49F4399957FE}"/>
                </a:ext>
              </a:extLst>
            </p:cNvPr>
            <p:cNvSpPr/>
            <p:nvPr/>
          </p:nvSpPr>
          <p:spPr>
            <a:xfrm rot="8716295">
              <a:off x="1481073" y="87835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1" name="Forme libre : forme 2090">
              <a:extLst>
                <a:ext uri="{FF2B5EF4-FFF2-40B4-BE49-F238E27FC236}">
                  <a16:creationId xmlns:a16="http://schemas.microsoft.com/office/drawing/2014/main" id="{02F0F7EE-BE61-484C-A6CE-1B15380B21EA}"/>
                </a:ext>
              </a:extLst>
            </p:cNvPr>
            <p:cNvSpPr/>
            <p:nvPr/>
          </p:nvSpPr>
          <p:spPr>
            <a:xfrm rot="8716295">
              <a:off x="1792228" y="4987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2" name="Forme libre : forme 2091">
              <a:extLst>
                <a:ext uri="{FF2B5EF4-FFF2-40B4-BE49-F238E27FC236}">
                  <a16:creationId xmlns:a16="http://schemas.microsoft.com/office/drawing/2014/main" id="{04EB967F-CD6D-4883-B745-DF5C302A9EEF}"/>
                </a:ext>
              </a:extLst>
            </p:cNvPr>
            <p:cNvSpPr/>
            <p:nvPr/>
          </p:nvSpPr>
          <p:spPr>
            <a:xfrm rot="8716295">
              <a:off x="1881620" y="5279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3" name="Forme libre : forme 2092">
              <a:extLst>
                <a:ext uri="{FF2B5EF4-FFF2-40B4-BE49-F238E27FC236}">
                  <a16:creationId xmlns:a16="http://schemas.microsoft.com/office/drawing/2014/main" id="{4D2C6D5A-0FA7-419F-B901-693A0643042F}"/>
                </a:ext>
              </a:extLst>
            </p:cNvPr>
            <p:cNvSpPr/>
            <p:nvPr/>
          </p:nvSpPr>
          <p:spPr>
            <a:xfrm rot="8716295">
              <a:off x="1679994" y="58724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4" name="Forme libre : forme 2093">
              <a:extLst>
                <a:ext uri="{FF2B5EF4-FFF2-40B4-BE49-F238E27FC236}">
                  <a16:creationId xmlns:a16="http://schemas.microsoft.com/office/drawing/2014/main" id="{23712BD0-82A2-4AF5-8B6D-BB8511641A83}"/>
                </a:ext>
              </a:extLst>
            </p:cNvPr>
            <p:cNvSpPr/>
            <p:nvPr/>
          </p:nvSpPr>
          <p:spPr>
            <a:xfrm rot="8716295">
              <a:off x="1555092" y="37857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5" name="Forme libre : forme 2094">
              <a:extLst>
                <a:ext uri="{FF2B5EF4-FFF2-40B4-BE49-F238E27FC236}">
                  <a16:creationId xmlns:a16="http://schemas.microsoft.com/office/drawing/2014/main" id="{44B373CD-4E19-4D4C-BF54-C82742B561B2}"/>
                </a:ext>
              </a:extLst>
            </p:cNvPr>
            <p:cNvSpPr/>
            <p:nvPr/>
          </p:nvSpPr>
          <p:spPr>
            <a:xfrm rot="8716295">
              <a:off x="1770172" y="62819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6" name="Forme libre : forme 2095">
              <a:extLst>
                <a:ext uri="{FF2B5EF4-FFF2-40B4-BE49-F238E27FC236}">
                  <a16:creationId xmlns:a16="http://schemas.microsoft.com/office/drawing/2014/main" id="{E3E13DED-9A91-4F99-8478-572CA3CC5153}"/>
                </a:ext>
              </a:extLst>
            </p:cNvPr>
            <p:cNvSpPr/>
            <p:nvPr/>
          </p:nvSpPr>
          <p:spPr>
            <a:xfrm rot="8716295">
              <a:off x="1528721" y="47859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7" name="Forme libre : forme 2096">
              <a:extLst>
                <a:ext uri="{FF2B5EF4-FFF2-40B4-BE49-F238E27FC236}">
                  <a16:creationId xmlns:a16="http://schemas.microsoft.com/office/drawing/2014/main" id="{42F07E9E-D9BC-4C4E-9145-14F39EEA65C6}"/>
                </a:ext>
              </a:extLst>
            </p:cNvPr>
            <p:cNvSpPr/>
            <p:nvPr/>
          </p:nvSpPr>
          <p:spPr>
            <a:xfrm rot="7484129">
              <a:off x="1875103" y="8195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8" name="Forme libre : forme 2097">
              <a:extLst>
                <a:ext uri="{FF2B5EF4-FFF2-40B4-BE49-F238E27FC236}">
                  <a16:creationId xmlns:a16="http://schemas.microsoft.com/office/drawing/2014/main" id="{8AE5C53D-B782-4A26-9FAB-5622E2FBCAB9}"/>
                </a:ext>
              </a:extLst>
            </p:cNvPr>
            <p:cNvSpPr/>
            <p:nvPr/>
          </p:nvSpPr>
          <p:spPr>
            <a:xfrm rot="13089394">
              <a:off x="1979923" y="7860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9" name="Forme libre : forme 2098">
              <a:extLst>
                <a:ext uri="{FF2B5EF4-FFF2-40B4-BE49-F238E27FC236}">
                  <a16:creationId xmlns:a16="http://schemas.microsoft.com/office/drawing/2014/main" id="{4A6DE30F-26F9-49C8-B709-E349C3186130}"/>
                </a:ext>
              </a:extLst>
            </p:cNvPr>
            <p:cNvSpPr/>
            <p:nvPr/>
          </p:nvSpPr>
          <p:spPr>
            <a:xfrm rot="8716295">
              <a:off x="2165508" y="5944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0" name="Forme libre : forme 2099">
              <a:extLst>
                <a:ext uri="{FF2B5EF4-FFF2-40B4-BE49-F238E27FC236}">
                  <a16:creationId xmlns:a16="http://schemas.microsoft.com/office/drawing/2014/main" id="{2DDEFD81-8A46-4059-99D7-4B2265487E80}"/>
                </a:ext>
              </a:extLst>
            </p:cNvPr>
            <p:cNvSpPr/>
            <p:nvPr/>
          </p:nvSpPr>
          <p:spPr>
            <a:xfrm rot="8716295">
              <a:off x="2113703" y="4908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1" name="Forme libre : forme 2100">
              <a:extLst>
                <a:ext uri="{FF2B5EF4-FFF2-40B4-BE49-F238E27FC236}">
                  <a16:creationId xmlns:a16="http://schemas.microsoft.com/office/drawing/2014/main" id="{A3EE798C-0AA5-4252-A892-7301ED50370F}"/>
                </a:ext>
              </a:extLst>
            </p:cNvPr>
            <p:cNvSpPr/>
            <p:nvPr/>
          </p:nvSpPr>
          <p:spPr>
            <a:xfrm rot="8716295">
              <a:off x="1870457" y="5210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2" name="Forme libre : forme 2101">
              <a:extLst>
                <a:ext uri="{FF2B5EF4-FFF2-40B4-BE49-F238E27FC236}">
                  <a16:creationId xmlns:a16="http://schemas.microsoft.com/office/drawing/2014/main" id="{149F02FB-1B6D-4EB4-825D-D9F836CD0FC6}"/>
                </a:ext>
              </a:extLst>
            </p:cNvPr>
            <p:cNvSpPr/>
            <p:nvPr/>
          </p:nvSpPr>
          <p:spPr>
            <a:xfrm rot="8716295">
              <a:off x="2047909" y="3617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3" name="Forme libre : forme 2102">
              <a:extLst>
                <a:ext uri="{FF2B5EF4-FFF2-40B4-BE49-F238E27FC236}">
                  <a16:creationId xmlns:a16="http://schemas.microsoft.com/office/drawing/2014/main" id="{5476C925-82E1-422B-99D4-C56F679EC46B}"/>
                </a:ext>
              </a:extLst>
            </p:cNvPr>
            <p:cNvSpPr/>
            <p:nvPr/>
          </p:nvSpPr>
          <p:spPr>
            <a:xfrm rot="8716295">
              <a:off x="1280459" y="8544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4" name="Forme libre : forme 2103">
              <a:extLst>
                <a:ext uri="{FF2B5EF4-FFF2-40B4-BE49-F238E27FC236}">
                  <a16:creationId xmlns:a16="http://schemas.microsoft.com/office/drawing/2014/main" id="{BF329EDF-F1EE-4568-9642-732B3612E081}"/>
                </a:ext>
              </a:extLst>
            </p:cNvPr>
            <p:cNvSpPr/>
            <p:nvPr/>
          </p:nvSpPr>
          <p:spPr>
            <a:xfrm rot="8716295">
              <a:off x="1369851" y="11468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5" name="Forme libre : forme 2104">
              <a:extLst>
                <a:ext uri="{FF2B5EF4-FFF2-40B4-BE49-F238E27FC236}">
                  <a16:creationId xmlns:a16="http://schemas.microsoft.com/office/drawing/2014/main" id="{60755DB7-27FB-456F-8DE6-F358D789D48F}"/>
                </a:ext>
              </a:extLst>
            </p:cNvPr>
            <p:cNvSpPr/>
            <p:nvPr/>
          </p:nvSpPr>
          <p:spPr>
            <a:xfrm rot="8716295">
              <a:off x="1325001" y="2840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6" name="Forme libre : forme 2105">
              <a:extLst>
                <a:ext uri="{FF2B5EF4-FFF2-40B4-BE49-F238E27FC236}">
                  <a16:creationId xmlns:a16="http://schemas.microsoft.com/office/drawing/2014/main" id="{8606756D-A6B7-4495-AF27-29A2389343F7}"/>
                </a:ext>
              </a:extLst>
            </p:cNvPr>
            <p:cNvSpPr/>
            <p:nvPr/>
          </p:nvSpPr>
          <p:spPr>
            <a:xfrm rot="8716295">
              <a:off x="1168225" y="17398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7" name="Forme libre : forme 2106">
              <a:extLst>
                <a:ext uri="{FF2B5EF4-FFF2-40B4-BE49-F238E27FC236}">
                  <a16:creationId xmlns:a16="http://schemas.microsoft.com/office/drawing/2014/main" id="{D39FAC73-C527-4852-8A8F-C2335C9AC7B6}"/>
                </a:ext>
              </a:extLst>
            </p:cNvPr>
            <p:cNvSpPr/>
            <p:nvPr/>
          </p:nvSpPr>
          <p:spPr>
            <a:xfrm rot="8716295">
              <a:off x="1045449" y="-13548"/>
              <a:ext cx="203847" cy="172572"/>
            </a:xfrm>
            <a:custGeom>
              <a:avLst/>
              <a:gdLst>
                <a:gd name="connsiteX0" fmla="*/ 98725 w 203847"/>
                <a:gd name="connsiteY0" fmla="*/ 172572 h 172572"/>
                <a:gd name="connsiteX1" fmla="*/ 65988 w 203847"/>
                <a:gd name="connsiteY1" fmla="*/ 149880 h 172572"/>
                <a:gd name="connsiteX2" fmla="*/ 47847 w 203847"/>
                <a:gd name="connsiteY2" fmla="*/ 116129 h 172572"/>
                <a:gd name="connsiteX3" fmla="*/ 69777 w 203847"/>
                <a:gd name="connsiteY3" fmla="*/ 55323 h 172572"/>
                <a:gd name="connsiteX4" fmla="*/ 0 w 203847"/>
                <a:gd name="connsiteY4" fmla="*/ 55323 h 172572"/>
                <a:gd name="connsiteX5" fmla="*/ 0 w 203847"/>
                <a:gd name="connsiteY5" fmla="*/ 0 h 172572"/>
                <a:gd name="connsiteX6" fmla="*/ 203847 w 203847"/>
                <a:gd name="connsiteY6" fmla="*/ 0 h 172572"/>
                <a:gd name="connsiteX7" fmla="*/ 203847 w 203847"/>
                <a:gd name="connsiteY7" fmla="*/ 55323 h 172572"/>
                <a:gd name="connsiteX8" fmla="*/ 139055 w 203847"/>
                <a:gd name="connsiteY8" fmla="*/ 55323 h 172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72572">
                  <a:moveTo>
                    <a:pt x="98725" y="172572"/>
                  </a:moveTo>
                  <a:lnTo>
                    <a:pt x="65988" y="149880"/>
                  </a:ln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8" name="Forme libre : forme 2107">
              <a:extLst>
                <a:ext uri="{FF2B5EF4-FFF2-40B4-BE49-F238E27FC236}">
                  <a16:creationId xmlns:a16="http://schemas.microsoft.com/office/drawing/2014/main" id="{01DFB6D5-6838-4BAE-A3F7-6EE5905F7587}"/>
                </a:ext>
              </a:extLst>
            </p:cNvPr>
            <p:cNvSpPr/>
            <p:nvPr/>
          </p:nvSpPr>
          <p:spPr>
            <a:xfrm rot="8716295">
              <a:off x="1049608" y="-107301"/>
              <a:ext cx="290643" cy="275223"/>
            </a:xfrm>
            <a:custGeom>
              <a:avLst/>
              <a:gdLst>
                <a:gd name="connsiteX0" fmla="*/ 79172 w 290643"/>
                <a:gd name="connsiteY0" fmla="*/ 128638 h 275223"/>
                <a:gd name="connsiteX1" fmla="*/ 0 w 290643"/>
                <a:gd name="connsiteY1" fmla="*/ 73758 h 275223"/>
                <a:gd name="connsiteX2" fmla="*/ 0 w 290643"/>
                <a:gd name="connsiteY2" fmla="*/ 40596 h 275223"/>
                <a:gd name="connsiteX3" fmla="*/ 78250 w 290643"/>
                <a:gd name="connsiteY3" fmla="*/ 0 h 275223"/>
                <a:gd name="connsiteX4" fmla="*/ 290643 w 290643"/>
                <a:gd name="connsiteY4" fmla="*/ 275223 h 275223"/>
                <a:gd name="connsiteX5" fmla="*/ 278016 w 290643"/>
                <a:gd name="connsiteY5" fmla="*/ 266470 h 275223"/>
                <a:gd name="connsiteX6" fmla="*/ 289467 w 290643"/>
                <a:gd name="connsiteY6" fmla="*/ 261815 h 275223"/>
                <a:gd name="connsiteX7" fmla="*/ 290643 w 290643"/>
                <a:gd name="connsiteY7" fmla="*/ 269463 h 27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0643" h="275223">
                  <a:moveTo>
                    <a:pt x="79172" y="128638"/>
                  </a:moveTo>
                  <a:lnTo>
                    <a:pt x="0" y="73758"/>
                  </a:lnTo>
                  <a:lnTo>
                    <a:pt x="0" y="40596"/>
                  </a:lnTo>
                  <a:lnTo>
                    <a:pt x="78250" y="0"/>
                  </a:lnTo>
                  <a:close/>
                  <a:moveTo>
                    <a:pt x="290643" y="275223"/>
                  </a:moveTo>
                  <a:lnTo>
                    <a:pt x="278016" y="266470"/>
                  </a:lnTo>
                  <a:lnTo>
                    <a:pt x="289467" y="261815"/>
                  </a:lnTo>
                  <a:cubicBezTo>
                    <a:pt x="290055" y="264168"/>
                    <a:pt x="290643" y="267110"/>
                    <a:pt x="290643" y="2694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9" name="Forme libre : forme 2108">
              <a:extLst>
                <a:ext uri="{FF2B5EF4-FFF2-40B4-BE49-F238E27FC236}">
                  <a16:creationId xmlns:a16="http://schemas.microsoft.com/office/drawing/2014/main" id="{40068CFA-826F-4747-847E-A7A0590789FF}"/>
                </a:ext>
              </a:extLst>
            </p:cNvPr>
            <p:cNvSpPr/>
            <p:nvPr/>
          </p:nvSpPr>
          <p:spPr>
            <a:xfrm rot="8716295">
              <a:off x="1258403" y="21493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0" name="Forme libre : forme 2109">
              <a:extLst>
                <a:ext uri="{FF2B5EF4-FFF2-40B4-BE49-F238E27FC236}">
                  <a16:creationId xmlns:a16="http://schemas.microsoft.com/office/drawing/2014/main" id="{186C0547-DD23-448F-B6C3-1554CF0BEABF}"/>
                </a:ext>
              </a:extLst>
            </p:cNvPr>
            <p:cNvSpPr/>
            <p:nvPr/>
          </p:nvSpPr>
          <p:spPr>
            <a:xfrm rot="8716295">
              <a:off x="1604517" y="-50002"/>
              <a:ext cx="142167" cy="106747"/>
            </a:xfrm>
            <a:custGeom>
              <a:avLst/>
              <a:gdLst>
                <a:gd name="connsiteX0" fmla="*/ 142167 w 142167"/>
                <a:gd name="connsiteY0" fmla="*/ 106747 h 106747"/>
                <a:gd name="connsiteX1" fmla="*/ 79942 w 142167"/>
                <a:gd name="connsiteY1" fmla="*/ 63615 h 106747"/>
                <a:gd name="connsiteX2" fmla="*/ 74103 w 142167"/>
                <a:gd name="connsiteY2" fmla="*/ 53597 h 106747"/>
                <a:gd name="connsiteX3" fmla="*/ 60604 w 142167"/>
                <a:gd name="connsiteY3" fmla="*/ 50123 h 106747"/>
                <a:gd name="connsiteX4" fmla="*/ 60478 w 142167"/>
                <a:gd name="connsiteY4" fmla="*/ 50123 h 106747"/>
                <a:gd name="connsiteX5" fmla="*/ 0 w 142167"/>
                <a:gd name="connsiteY5" fmla="*/ 8201 h 106747"/>
                <a:gd name="connsiteX6" fmla="*/ 0 w 142167"/>
                <a:gd name="connsiteY6" fmla="*/ 0 h 106747"/>
                <a:gd name="connsiteX7" fmla="*/ 85209 w 142167"/>
                <a:gd name="connsiteY7" fmla="*/ 0 h 106747"/>
                <a:gd name="connsiteX8" fmla="*/ 142167 w 142167"/>
                <a:gd name="connsiteY8" fmla="*/ 50123 h 10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06747">
                  <a:moveTo>
                    <a:pt x="142167" y="106747"/>
                  </a:moveTo>
                  <a:lnTo>
                    <a:pt x="79942" y="63615"/>
                  </a:lnTo>
                  <a:lnTo>
                    <a:pt x="74103" y="53597"/>
                  </a:lnTo>
                  <a:cubicBezTo>
                    <a:pt x="70400" y="50806"/>
                    <a:pt x="65616" y="49439"/>
                    <a:pt x="60604" y="50123"/>
                  </a:cubicBezTo>
                  <a:lnTo>
                    <a:pt x="60478" y="50123"/>
                  </a:lnTo>
                  <a:lnTo>
                    <a:pt x="0" y="8201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1" name="Forme libre : forme 2110">
              <a:extLst>
                <a:ext uri="{FF2B5EF4-FFF2-40B4-BE49-F238E27FC236}">
                  <a16:creationId xmlns:a16="http://schemas.microsoft.com/office/drawing/2014/main" id="{4E98298E-B55A-44CD-A45A-1C113F4E2341}"/>
                </a:ext>
              </a:extLst>
            </p:cNvPr>
            <p:cNvSpPr/>
            <p:nvPr/>
          </p:nvSpPr>
          <p:spPr>
            <a:xfrm rot="8716295">
              <a:off x="1699771" y="-2013"/>
              <a:ext cx="260639" cy="104392"/>
            </a:xfrm>
            <a:custGeom>
              <a:avLst/>
              <a:gdLst>
                <a:gd name="connsiteX0" fmla="*/ 117530 w 260639"/>
                <a:gd name="connsiteY0" fmla="*/ 104392 h 104392"/>
                <a:gd name="connsiteX1" fmla="*/ 51490 w 260639"/>
                <a:gd name="connsiteY1" fmla="*/ 58614 h 104392"/>
                <a:gd name="connsiteX2" fmla="*/ 51490 w 260639"/>
                <a:gd name="connsiteY2" fmla="*/ 45624 h 104392"/>
                <a:gd name="connsiteX3" fmla="*/ 32748 w 260639"/>
                <a:gd name="connsiteY3" fmla="*/ 45624 h 104392"/>
                <a:gd name="connsiteX4" fmla="*/ 0 w 260639"/>
                <a:gd name="connsiteY4" fmla="*/ 22924 h 104392"/>
                <a:gd name="connsiteX5" fmla="*/ 0 w 260639"/>
                <a:gd name="connsiteY5" fmla="*/ 1425 h 104392"/>
                <a:gd name="connsiteX6" fmla="*/ 104802 w 260639"/>
                <a:gd name="connsiteY6" fmla="*/ 1425 h 104392"/>
                <a:gd name="connsiteX7" fmla="*/ 104802 w 260639"/>
                <a:gd name="connsiteY7" fmla="*/ 75242 h 104392"/>
                <a:gd name="connsiteX8" fmla="*/ 106169 w 260639"/>
                <a:gd name="connsiteY8" fmla="*/ 75242 h 104392"/>
                <a:gd name="connsiteX9" fmla="*/ 154014 w 260639"/>
                <a:gd name="connsiteY9" fmla="*/ 5981 h 104392"/>
                <a:gd name="connsiteX10" fmla="*/ 185455 w 260639"/>
                <a:gd name="connsiteY10" fmla="*/ 57 h 104392"/>
                <a:gd name="connsiteX11" fmla="*/ 260639 w 260639"/>
                <a:gd name="connsiteY11" fmla="*/ 88456 h 104392"/>
                <a:gd name="connsiteX12" fmla="*/ 260639 w 260639"/>
                <a:gd name="connsiteY12" fmla="*/ 94380 h 104392"/>
                <a:gd name="connsiteX13" fmla="*/ 198669 w 260639"/>
                <a:gd name="connsiteY13" fmla="*/ 98025 h 104392"/>
                <a:gd name="connsiteX14" fmla="*/ 198669 w 260639"/>
                <a:gd name="connsiteY14" fmla="*/ 81621 h 104392"/>
                <a:gd name="connsiteX15" fmla="*/ 164950 w 260639"/>
                <a:gd name="connsiteY15" fmla="*/ 40156 h 104392"/>
                <a:gd name="connsiteX16" fmla="*/ 127358 w 260639"/>
                <a:gd name="connsiteY16" fmla="*/ 65616 h 104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60639" h="104392">
                  <a:moveTo>
                    <a:pt x="117530" y="104392"/>
                  </a:moveTo>
                  <a:lnTo>
                    <a:pt x="51490" y="58614"/>
                  </a:lnTo>
                  <a:lnTo>
                    <a:pt x="51490" y="45624"/>
                  </a:lnTo>
                  <a:lnTo>
                    <a:pt x="32748" y="45624"/>
                  </a:lnTo>
                  <a:lnTo>
                    <a:pt x="0" y="229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5"/>
                    <a:pt x="184544" y="40156"/>
                    <a:pt x="164950" y="40156"/>
                  </a:cubicBezTo>
                  <a:cubicBezTo>
                    <a:pt x="150369" y="40156"/>
                    <a:pt x="137041" y="49839"/>
                    <a:pt x="127358" y="656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2" name="Forme libre : forme 2111">
              <a:extLst>
                <a:ext uri="{FF2B5EF4-FFF2-40B4-BE49-F238E27FC236}">
                  <a16:creationId xmlns:a16="http://schemas.microsoft.com/office/drawing/2014/main" id="{1686E0BE-E0BC-4E6B-8FCD-21BC30F2B50B}"/>
                </a:ext>
              </a:extLst>
            </p:cNvPr>
            <p:cNvSpPr/>
            <p:nvPr/>
          </p:nvSpPr>
          <p:spPr>
            <a:xfrm rot="8716295">
              <a:off x="1547502" y="-3521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3" name="Forme libre : forme 2112">
              <a:extLst>
                <a:ext uri="{FF2B5EF4-FFF2-40B4-BE49-F238E27FC236}">
                  <a16:creationId xmlns:a16="http://schemas.microsoft.com/office/drawing/2014/main" id="{EA8402F5-9E14-4C1B-86EF-D60D49059A89}"/>
                </a:ext>
              </a:extLst>
            </p:cNvPr>
            <p:cNvSpPr/>
            <p:nvPr/>
          </p:nvSpPr>
          <p:spPr>
            <a:xfrm rot="7484129">
              <a:off x="1652433" y="15613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4" name="Forme libre : forme 2113">
              <a:extLst>
                <a:ext uri="{FF2B5EF4-FFF2-40B4-BE49-F238E27FC236}">
                  <a16:creationId xmlns:a16="http://schemas.microsoft.com/office/drawing/2014/main" id="{BB19AB13-04E1-44CB-8853-DB1D9B8F2135}"/>
                </a:ext>
              </a:extLst>
            </p:cNvPr>
            <p:cNvSpPr/>
            <p:nvPr/>
          </p:nvSpPr>
          <p:spPr>
            <a:xfrm rot="13089394">
              <a:off x="1757253" y="122669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5" name="Forme libre : forme 2114">
              <a:extLst>
                <a:ext uri="{FF2B5EF4-FFF2-40B4-BE49-F238E27FC236}">
                  <a16:creationId xmlns:a16="http://schemas.microsoft.com/office/drawing/2014/main" id="{6F466DAE-6800-456B-ACC4-2CBB5549AC79}"/>
                </a:ext>
              </a:extLst>
            </p:cNvPr>
            <p:cNvSpPr/>
            <p:nvPr/>
          </p:nvSpPr>
          <p:spPr>
            <a:xfrm rot="8716295">
              <a:off x="1960606" y="3279"/>
              <a:ext cx="142687" cy="109177"/>
            </a:xfrm>
            <a:custGeom>
              <a:avLst/>
              <a:gdLst>
                <a:gd name="connsiteX0" fmla="*/ 48521 w 142687"/>
                <a:gd name="connsiteY0" fmla="*/ 109177 h 109177"/>
                <a:gd name="connsiteX1" fmla="*/ 0 w 142687"/>
                <a:gd name="connsiteY1" fmla="*/ 75545 h 109177"/>
                <a:gd name="connsiteX2" fmla="*/ 44875 w 142687"/>
                <a:gd name="connsiteY2" fmla="*/ 33320 h 109177"/>
                <a:gd name="connsiteX3" fmla="*/ 109367 w 142687"/>
                <a:gd name="connsiteY3" fmla="*/ 0 h 109177"/>
                <a:gd name="connsiteX4" fmla="*/ 142687 w 142687"/>
                <a:gd name="connsiteY4" fmla="*/ 39770 h 109177"/>
                <a:gd name="connsiteX5" fmla="*/ 111516 w 142687"/>
                <a:gd name="connsiteY5" fmla="*/ 81689 h 109177"/>
                <a:gd name="connsiteX6" fmla="*/ 112053 w 142687"/>
                <a:gd name="connsiteY6" fmla="*/ 81689 h 109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687" h="109177">
                  <a:moveTo>
                    <a:pt x="48521" y="109177"/>
                  </a:moveTo>
                  <a:lnTo>
                    <a:pt x="0" y="75545"/>
                  </a:lnTo>
                  <a:lnTo>
                    <a:pt x="44875" y="33320"/>
                  </a:lnTo>
                  <a:cubicBezTo>
                    <a:pt x="60998" y="14511"/>
                    <a:pt x="84107" y="2687"/>
                    <a:pt x="109367" y="0"/>
                  </a:cubicBezTo>
                  <a:cubicBezTo>
                    <a:pt x="135163" y="0"/>
                    <a:pt x="142687" y="22572"/>
                    <a:pt x="142687" y="39770"/>
                  </a:cubicBezTo>
                  <a:cubicBezTo>
                    <a:pt x="141074" y="58580"/>
                    <a:pt x="128713" y="74165"/>
                    <a:pt x="111516" y="81689"/>
                  </a:cubicBezTo>
                  <a:lnTo>
                    <a:pt x="112053" y="816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6" name="Forme libre : forme 2115">
              <a:extLst>
                <a:ext uri="{FF2B5EF4-FFF2-40B4-BE49-F238E27FC236}">
                  <a16:creationId xmlns:a16="http://schemas.microsoft.com/office/drawing/2014/main" id="{9DCB4F7A-3483-4950-AEA2-3FC2A3A37265}"/>
                </a:ext>
              </a:extLst>
            </p:cNvPr>
            <p:cNvSpPr/>
            <p:nvPr/>
          </p:nvSpPr>
          <p:spPr>
            <a:xfrm rot="8716295">
              <a:off x="1076398" y="254697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7" name="Forme libre : forme 2116">
              <a:extLst>
                <a:ext uri="{FF2B5EF4-FFF2-40B4-BE49-F238E27FC236}">
                  <a16:creationId xmlns:a16="http://schemas.microsoft.com/office/drawing/2014/main" id="{414E124C-0029-4898-9792-55D1396F2459}"/>
                </a:ext>
              </a:extLst>
            </p:cNvPr>
            <p:cNvSpPr/>
            <p:nvPr/>
          </p:nvSpPr>
          <p:spPr>
            <a:xfrm rot="8716295">
              <a:off x="1165790" y="257621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8" name="Forme libre : forme 2117">
              <a:extLst>
                <a:ext uri="{FF2B5EF4-FFF2-40B4-BE49-F238E27FC236}">
                  <a16:creationId xmlns:a16="http://schemas.microsoft.com/office/drawing/2014/main" id="{F81BCB93-8702-40B2-9E5E-60A2216BFC6A}"/>
                </a:ext>
              </a:extLst>
            </p:cNvPr>
            <p:cNvSpPr/>
            <p:nvPr/>
          </p:nvSpPr>
          <p:spPr>
            <a:xfrm rot="8716295">
              <a:off x="1120940" y="248993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9" name="Forme libre : forme 2118">
              <a:extLst>
                <a:ext uri="{FF2B5EF4-FFF2-40B4-BE49-F238E27FC236}">
                  <a16:creationId xmlns:a16="http://schemas.microsoft.com/office/drawing/2014/main" id="{90387AAF-8E65-48E6-A7A2-DB1E2DFB9DDB}"/>
                </a:ext>
              </a:extLst>
            </p:cNvPr>
            <p:cNvSpPr/>
            <p:nvPr/>
          </p:nvSpPr>
          <p:spPr>
            <a:xfrm rot="8716295">
              <a:off x="964164" y="263551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0" name="Forme libre : forme 2119">
              <a:extLst>
                <a:ext uri="{FF2B5EF4-FFF2-40B4-BE49-F238E27FC236}">
                  <a16:creationId xmlns:a16="http://schemas.microsoft.com/office/drawing/2014/main" id="{6F5BF8F5-5E17-43C6-8038-8EBDD74B7585}"/>
                </a:ext>
              </a:extLst>
            </p:cNvPr>
            <p:cNvSpPr/>
            <p:nvPr/>
          </p:nvSpPr>
          <p:spPr>
            <a:xfrm rot="8716295">
              <a:off x="839261" y="242684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1" name="Forme libre : forme 2120">
              <a:extLst>
                <a:ext uri="{FF2B5EF4-FFF2-40B4-BE49-F238E27FC236}">
                  <a16:creationId xmlns:a16="http://schemas.microsoft.com/office/drawing/2014/main" id="{8C0ACA57-2A8F-4AAD-A404-075EA92CDFA4}"/>
                </a:ext>
              </a:extLst>
            </p:cNvPr>
            <p:cNvSpPr/>
            <p:nvPr/>
          </p:nvSpPr>
          <p:spPr>
            <a:xfrm rot="8716295">
              <a:off x="827209" y="228806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2" name="Forme libre : forme 2121">
              <a:extLst>
                <a:ext uri="{FF2B5EF4-FFF2-40B4-BE49-F238E27FC236}">
                  <a16:creationId xmlns:a16="http://schemas.microsoft.com/office/drawing/2014/main" id="{C013B905-0051-4D90-A201-5787B7639BF4}"/>
                </a:ext>
              </a:extLst>
            </p:cNvPr>
            <p:cNvSpPr/>
            <p:nvPr/>
          </p:nvSpPr>
          <p:spPr>
            <a:xfrm rot="8716295">
              <a:off x="1054342" y="267647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3" name="Forme libre : forme 2122">
              <a:extLst>
                <a:ext uri="{FF2B5EF4-FFF2-40B4-BE49-F238E27FC236}">
                  <a16:creationId xmlns:a16="http://schemas.microsoft.com/office/drawing/2014/main" id="{8F1BA098-EE89-4D48-A15F-CB3E01C32968}"/>
                </a:ext>
              </a:extLst>
            </p:cNvPr>
            <p:cNvSpPr/>
            <p:nvPr/>
          </p:nvSpPr>
          <p:spPr>
            <a:xfrm rot="8716295">
              <a:off x="1365497" y="229682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4" name="Forme libre : forme 2123">
              <a:extLst>
                <a:ext uri="{FF2B5EF4-FFF2-40B4-BE49-F238E27FC236}">
                  <a16:creationId xmlns:a16="http://schemas.microsoft.com/office/drawing/2014/main" id="{14107977-7495-49D2-8CBC-3985323EDBCB}"/>
                </a:ext>
              </a:extLst>
            </p:cNvPr>
            <p:cNvSpPr/>
            <p:nvPr/>
          </p:nvSpPr>
          <p:spPr>
            <a:xfrm rot="8716295">
              <a:off x="1454889" y="232606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5" name="Forme libre : forme 2124">
              <a:extLst>
                <a:ext uri="{FF2B5EF4-FFF2-40B4-BE49-F238E27FC236}">
                  <a16:creationId xmlns:a16="http://schemas.microsoft.com/office/drawing/2014/main" id="{98C8DCC3-1997-4015-8E64-2DA3E85BA3C9}"/>
                </a:ext>
              </a:extLst>
            </p:cNvPr>
            <p:cNvSpPr/>
            <p:nvPr/>
          </p:nvSpPr>
          <p:spPr>
            <a:xfrm rot="8716295">
              <a:off x="1253263" y="238536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6" name="Forme libre : forme 2125">
              <a:extLst>
                <a:ext uri="{FF2B5EF4-FFF2-40B4-BE49-F238E27FC236}">
                  <a16:creationId xmlns:a16="http://schemas.microsoft.com/office/drawing/2014/main" id="{ED472988-C4F9-49FB-862E-CED2DC1F08EC}"/>
                </a:ext>
              </a:extLst>
            </p:cNvPr>
            <p:cNvSpPr/>
            <p:nvPr/>
          </p:nvSpPr>
          <p:spPr>
            <a:xfrm rot="8716295">
              <a:off x="1128361" y="217669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7" name="Forme libre : forme 2126">
              <a:extLst>
                <a:ext uri="{FF2B5EF4-FFF2-40B4-BE49-F238E27FC236}">
                  <a16:creationId xmlns:a16="http://schemas.microsoft.com/office/drawing/2014/main" id="{97EFC57C-F831-4137-9CEC-BE44BE4717A4}"/>
                </a:ext>
              </a:extLst>
            </p:cNvPr>
            <p:cNvSpPr/>
            <p:nvPr/>
          </p:nvSpPr>
          <p:spPr>
            <a:xfrm rot="8716295">
              <a:off x="1343441" y="242631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8" name="Forme libre : forme 2127">
              <a:extLst>
                <a:ext uri="{FF2B5EF4-FFF2-40B4-BE49-F238E27FC236}">
                  <a16:creationId xmlns:a16="http://schemas.microsoft.com/office/drawing/2014/main" id="{4B620052-605D-48CA-97BF-CFF9CF4DFF66}"/>
                </a:ext>
              </a:extLst>
            </p:cNvPr>
            <p:cNvSpPr/>
            <p:nvPr/>
          </p:nvSpPr>
          <p:spPr>
            <a:xfrm rot="8716295">
              <a:off x="1101990" y="227671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9" name="Forme libre : forme 2128">
              <a:extLst>
                <a:ext uri="{FF2B5EF4-FFF2-40B4-BE49-F238E27FC236}">
                  <a16:creationId xmlns:a16="http://schemas.microsoft.com/office/drawing/2014/main" id="{8C4C7B52-3DF6-47DE-8C0B-9EB4083611A6}"/>
                </a:ext>
              </a:extLst>
            </p:cNvPr>
            <p:cNvSpPr/>
            <p:nvPr/>
          </p:nvSpPr>
          <p:spPr>
            <a:xfrm rot="7484129">
              <a:off x="1448372" y="261767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0" name="Forme libre : forme 2129">
              <a:extLst>
                <a:ext uri="{FF2B5EF4-FFF2-40B4-BE49-F238E27FC236}">
                  <a16:creationId xmlns:a16="http://schemas.microsoft.com/office/drawing/2014/main" id="{2AB34892-B16F-4430-A887-6CE1411F7E19}"/>
                </a:ext>
              </a:extLst>
            </p:cNvPr>
            <p:cNvSpPr/>
            <p:nvPr/>
          </p:nvSpPr>
          <p:spPr>
            <a:xfrm rot="13089394">
              <a:off x="1553192" y="258420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1" name="Forme libre : forme 2130">
              <a:extLst>
                <a:ext uri="{FF2B5EF4-FFF2-40B4-BE49-F238E27FC236}">
                  <a16:creationId xmlns:a16="http://schemas.microsoft.com/office/drawing/2014/main" id="{0F6D3C11-D763-4926-91AB-47832AC0DA05}"/>
                </a:ext>
              </a:extLst>
            </p:cNvPr>
            <p:cNvSpPr/>
            <p:nvPr/>
          </p:nvSpPr>
          <p:spPr>
            <a:xfrm rot="8716295">
              <a:off x="1738777" y="23925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2" name="Forme libre : forme 2131">
              <a:extLst>
                <a:ext uri="{FF2B5EF4-FFF2-40B4-BE49-F238E27FC236}">
                  <a16:creationId xmlns:a16="http://schemas.microsoft.com/office/drawing/2014/main" id="{A93A76E0-518B-4AFD-B8BD-03318ECE2F2F}"/>
                </a:ext>
              </a:extLst>
            </p:cNvPr>
            <p:cNvSpPr/>
            <p:nvPr/>
          </p:nvSpPr>
          <p:spPr>
            <a:xfrm rot="8716295">
              <a:off x="1686972" y="228893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3" name="Forme libre : forme 2132">
              <a:extLst>
                <a:ext uri="{FF2B5EF4-FFF2-40B4-BE49-F238E27FC236}">
                  <a16:creationId xmlns:a16="http://schemas.microsoft.com/office/drawing/2014/main" id="{48F561D4-A24C-46DA-9343-9AE94EDAA695}"/>
                </a:ext>
              </a:extLst>
            </p:cNvPr>
            <p:cNvSpPr/>
            <p:nvPr/>
          </p:nvSpPr>
          <p:spPr>
            <a:xfrm rot="8716295">
              <a:off x="1443726" y="231915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4" name="Forme libre : forme 2133">
              <a:extLst>
                <a:ext uri="{FF2B5EF4-FFF2-40B4-BE49-F238E27FC236}">
                  <a16:creationId xmlns:a16="http://schemas.microsoft.com/office/drawing/2014/main" id="{405DD3A6-28FF-4951-B270-6EC3E4D35ACA}"/>
                </a:ext>
              </a:extLst>
            </p:cNvPr>
            <p:cNvSpPr/>
            <p:nvPr/>
          </p:nvSpPr>
          <p:spPr>
            <a:xfrm rot="8716295">
              <a:off x="1621178" y="21599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5" name="Forme libre : forme 2134">
              <a:extLst>
                <a:ext uri="{FF2B5EF4-FFF2-40B4-BE49-F238E27FC236}">
                  <a16:creationId xmlns:a16="http://schemas.microsoft.com/office/drawing/2014/main" id="{F5308643-F53C-4E01-88E3-C8899D8500A4}"/>
                </a:ext>
              </a:extLst>
            </p:cNvPr>
            <p:cNvSpPr/>
            <p:nvPr/>
          </p:nvSpPr>
          <p:spPr>
            <a:xfrm rot="8716295">
              <a:off x="1299565" y="320667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6" name="Forme libre : forme 2135">
              <a:extLst>
                <a:ext uri="{FF2B5EF4-FFF2-40B4-BE49-F238E27FC236}">
                  <a16:creationId xmlns:a16="http://schemas.microsoft.com/office/drawing/2014/main" id="{D02035B8-4115-4B72-BCBC-2D5DECA663A0}"/>
                </a:ext>
              </a:extLst>
            </p:cNvPr>
            <p:cNvSpPr/>
            <p:nvPr/>
          </p:nvSpPr>
          <p:spPr>
            <a:xfrm rot="8716295">
              <a:off x="1388957" y="323591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7" name="Forme libre : forme 2136">
              <a:extLst>
                <a:ext uri="{FF2B5EF4-FFF2-40B4-BE49-F238E27FC236}">
                  <a16:creationId xmlns:a16="http://schemas.microsoft.com/office/drawing/2014/main" id="{CAB19897-3060-41B2-8A6A-E0541CF22EA7}"/>
                </a:ext>
              </a:extLst>
            </p:cNvPr>
            <p:cNvSpPr/>
            <p:nvPr/>
          </p:nvSpPr>
          <p:spPr>
            <a:xfrm rot="8716295">
              <a:off x="1344107" y="314963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8" name="Forme libre : forme 2137">
              <a:extLst>
                <a:ext uri="{FF2B5EF4-FFF2-40B4-BE49-F238E27FC236}">
                  <a16:creationId xmlns:a16="http://schemas.microsoft.com/office/drawing/2014/main" id="{F64A09B4-7DEB-4702-A647-FF2760487C04}"/>
                </a:ext>
              </a:extLst>
            </p:cNvPr>
            <p:cNvSpPr/>
            <p:nvPr/>
          </p:nvSpPr>
          <p:spPr>
            <a:xfrm rot="8716295">
              <a:off x="1187331" y="329521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9" name="Forme libre : forme 2138">
              <a:extLst>
                <a:ext uri="{FF2B5EF4-FFF2-40B4-BE49-F238E27FC236}">
                  <a16:creationId xmlns:a16="http://schemas.microsoft.com/office/drawing/2014/main" id="{92647C63-BB62-4D18-9ADE-8CD298C1670B}"/>
                </a:ext>
              </a:extLst>
            </p:cNvPr>
            <p:cNvSpPr/>
            <p:nvPr/>
          </p:nvSpPr>
          <p:spPr>
            <a:xfrm rot="8716295">
              <a:off x="1062428" y="308654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0" name="Forme libre : forme 2139">
              <a:extLst>
                <a:ext uri="{FF2B5EF4-FFF2-40B4-BE49-F238E27FC236}">
                  <a16:creationId xmlns:a16="http://schemas.microsoft.com/office/drawing/2014/main" id="{CAB88C70-3A76-4EED-9248-818FE9DD9BFA}"/>
                </a:ext>
              </a:extLst>
            </p:cNvPr>
            <p:cNvSpPr/>
            <p:nvPr/>
          </p:nvSpPr>
          <p:spPr>
            <a:xfrm rot="8716295">
              <a:off x="1050376" y="294776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1" name="Forme libre : forme 2140">
              <a:extLst>
                <a:ext uri="{FF2B5EF4-FFF2-40B4-BE49-F238E27FC236}">
                  <a16:creationId xmlns:a16="http://schemas.microsoft.com/office/drawing/2014/main" id="{757E5A5F-118C-4D2D-A7CB-9D38E498AA18}"/>
                </a:ext>
              </a:extLst>
            </p:cNvPr>
            <p:cNvSpPr/>
            <p:nvPr/>
          </p:nvSpPr>
          <p:spPr>
            <a:xfrm rot="8716295">
              <a:off x="1277509" y="333617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2" name="Forme libre : forme 2141">
              <a:extLst>
                <a:ext uri="{FF2B5EF4-FFF2-40B4-BE49-F238E27FC236}">
                  <a16:creationId xmlns:a16="http://schemas.microsoft.com/office/drawing/2014/main" id="{9CD271A0-DDCA-4CF4-99AF-F1225E7D3CA2}"/>
                </a:ext>
              </a:extLst>
            </p:cNvPr>
            <p:cNvSpPr/>
            <p:nvPr/>
          </p:nvSpPr>
          <p:spPr>
            <a:xfrm rot="8716295">
              <a:off x="1588664" y="295652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3" name="Forme libre : forme 2142">
              <a:extLst>
                <a:ext uri="{FF2B5EF4-FFF2-40B4-BE49-F238E27FC236}">
                  <a16:creationId xmlns:a16="http://schemas.microsoft.com/office/drawing/2014/main" id="{F17E5C04-2914-4166-904F-3412803C328B}"/>
                </a:ext>
              </a:extLst>
            </p:cNvPr>
            <p:cNvSpPr/>
            <p:nvPr/>
          </p:nvSpPr>
          <p:spPr>
            <a:xfrm rot="8716295">
              <a:off x="1678056" y="298576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4" name="Forme libre : forme 2143">
              <a:extLst>
                <a:ext uri="{FF2B5EF4-FFF2-40B4-BE49-F238E27FC236}">
                  <a16:creationId xmlns:a16="http://schemas.microsoft.com/office/drawing/2014/main" id="{06EE81A0-69AF-4FE9-B5FC-828C4F72D8C6}"/>
                </a:ext>
              </a:extLst>
            </p:cNvPr>
            <p:cNvSpPr/>
            <p:nvPr/>
          </p:nvSpPr>
          <p:spPr>
            <a:xfrm rot="8716295">
              <a:off x="1476430" y="304506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5" name="Forme libre : forme 2144">
              <a:extLst>
                <a:ext uri="{FF2B5EF4-FFF2-40B4-BE49-F238E27FC236}">
                  <a16:creationId xmlns:a16="http://schemas.microsoft.com/office/drawing/2014/main" id="{8EAE6F01-A7F9-464C-8EBA-81A188499272}"/>
                </a:ext>
              </a:extLst>
            </p:cNvPr>
            <p:cNvSpPr/>
            <p:nvPr/>
          </p:nvSpPr>
          <p:spPr>
            <a:xfrm rot="8716295">
              <a:off x="1351528" y="283639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6" name="Forme libre : forme 2145">
              <a:extLst>
                <a:ext uri="{FF2B5EF4-FFF2-40B4-BE49-F238E27FC236}">
                  <a16:creationId xmlns:a16="http://schemas.microsoft.com/office/drawing/2014/main" id="{B6351AC7-96AD-47D1-9D79-F320C6E6D6E3}"/>
                </a:ext>
              </a:extLst>
            </p:cNvPr>
            <p:cNvSpPr/>
            <p:nvPr/>
          </p:nvSpPr>
          <p:spPr>
            <a:xfrm rot="8716295">
              <a:off x="1566608" y="308601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7" name="Forme libre : forme 2146">
              <a:extLst>
                <a:ext uri="{FF2B5EF4-FFF2-40B4-BE49-F238E27FC236}">
                  <a16:creationId xmlns:a16="http://schemas.microsoft.com/office/drawing/2014/main" id="{82BC95DB-83FD-4690-8848-41B64D5E034F}"/>
                </a:ext>
              </a:extLst>
            </p:cNvPr>
            <p:cNvSpPr/>
            <p:nvPr/>
          </p:nvSpPr>
          <p:spPr>
            <a:xfrm rot="8716295">
              <a:off x="1325157" y="293641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8" name="Forme libre : forme 2147">
              <a:extLst>
                <a:ext uri="{FF2B5EF4-FFF2-40B4-BE49-F238E27FC236}">
                  <a16:creationId xmlns:a16="http://schemas.microsoft.com/office/drawing/2014/main" id="{19CDF187-E415-4E2D-A559-BA3CE6C90F8E}"/>
                </a:ext>
              </a:extLst>
            </p:cNvPr>
            <p:cNvSpPr/>
            <p:nvPr/>
          </p:nvSpPr>
          <p:spPr>
            <a:xfrm rot="7484129">
              <a:off x="1671539" y="327736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9" name="Forme libre : forme 2148">
              <a:extLst>
                <a:ext uri="{FF2B5EF4-FFF2-40B4-BE49-F238E27FC236}">
                  <a16:creationId xmlns:a16="http://schemas.microsoft.com/office/drawing/2014/main" id="{DDE34510-8FA7-4B53-A035-4965BDBF96B3}"/>
                </a:ext>
              </a:extLst>
            </p:cNvPr>
            <p:cNvSpPr/>
            <p:nvPr/>
          </p:nvSpPr>
          <p:spPr>
            <a:xfrm rot="13089394">
              <a:off x="1776359" y="324390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0" name="Forme libre : forme 2149">
              <a:extLst>
                <a:ext uri="{FF2B5EF4-FFF2-40B4-BE49-F238E27FC236}">
                  <a16:creationId xmlns:a16="http://schemas.microsoft.com/office/drawing/2014/main" id="{4BB6C526-1010-4A1E-9912-BB67A42E4090}"/>
                </a:ext>
              </a:extLst>
            </p:cNvPr>
            <p:cNvSpPr/>
            <p:nvPr/>
          </p:nvSpPr>
          <p:spPr>
            <a:xfrm rot="8716295">
              <a:off x="1961944" y="305222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1" name="Forme libre : forme 2150">
              <a:extLst>
                <a:ext uri="{FF2B5EF4-FFF2-40B4-BE49-F238E27FC236}">
                  <a16:creationId xmlns:a16="http://schemas.microsoft.com/office/drawing/2014/main" id="{F4134A25-BDCE-4B34-AD80-5279EE73B812}"/>
                </a:ext>
              </a:extLst>
            </p:cNvPr>
            <p:cNvSpPr/>
            <p:nvPr/>
          </p:nvSpPr>
          <p:spPr>
            <a:xfrm rot="8716295">
              <a:off x="1910139" y="294862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2" name="Forme libre : forme 2151">
              <a:extLst>
                <a:ext uri="{FF2B5EF4-FFF2-40B4-BE49-F238E27FC236}">
                  <a16:creationId xmlns:a16="http://schemas.microsoft.com/office/drawing/2014/main" id="{B08A59B2-7AD4-4CE7-B6F7-0E9654D5CD55}"/>
                </a:ext>
              </a:extLst>
            </p:cNvPr>
            <p:cNvSpPr/>
            <p:nvPr/>
          </p:nvSpPr>
          <p:spPr>
            <a:xfrm rot="8716295">
              <a:off x="1666893" y="297885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3" name="Forme libre : forme 2152">
              <a:extLst>
                <a:ext uri="{FF2B5EF4-FFF2-40B4-BE49-F238E27FC236}">
                  <a16:creationId xmlns:a16="http://schemas.microsoft.com/office/drawing/2014/main" id="{103CB056-39D3-4816-9465-68CA4D6F7AFD}"/>
                </a:ext>
              </a:extLst>
            </p:cNvPr>
            <p:cNvSpPr/>
            <p:nvPr/>
          </p:nvSpPr>
          <p:spPr>
            <a:xfrm rot="8716295">
              <a:off x="1844345" y="281960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4" name="Forme libre : forme 2153">
              <a:extLst>
                <a:ext uri="{FF2B5EF4-FFF2-40B4-BE49-F238E27FC236}">
                  <a16:creationId xmlns:a16="http://schemas.microsoft.com/office/drawing/2014/main" id="{BB2685A7-9846-429A-B032-E76F8406BAD2}"/>
                </a:ext>
              </a:extLst>
            </p:cNvPr>
            <p:cNvSpPr/>
            <p:nvPr/>
          </p:nvSpPr>
          <p:spPr>
            <a:xfrm rot="8716295">
              <a:off x="2092137" y="5100860"/>
              <a:ext cx="63833" cy="43384"/>
            </a:xfrm>
            <a:custGeom>
              <a:avLst/>
              <a:gdLst>
                <a:gd name="connsiteX0" fmla="*/ 5923 w 63833"/>
                <a:gd name="connsiteY0" fmla="*/ 43384 h 43384"/>
                <a:gd name="connsiteX1" fmla="*/ 0 w 63833"/>
                <a:gd name="connsiteY1" fmla="*/ 35182 h 43384"/>
                <a:gd name="connsiteX2" fmla="*/ 37391 w 63833"/>
                <a:gd name="connsiteY2" fmla="*/ 0 h 43384"/>
                <a:gd name="connsiteX3" fmla="*/ 63833 w 63833"/>
                <a:gd name="connsiteY3" fmla="*/ 18329 h 4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833" h="43384">
                  <a:moveTo>
                    <a:pt x="5923" y="43384"/>
                  </a:moveTo>
                  <a:lnTo>
                    <a:pt x="0" y="35182"/>
                  </a:lnTo>
                  <a:lnTo>
                    <a:pt x="37391" y="0"/>
                  </a:lnTo>
                  <a:lnTo>
                    <a:pt x="63833" y="1832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5" name="Forme libre : forme 2154">
              <a:extLst>
                <a:ext uri="{FF2B5EF4-FFF2-40B4-BE49-F238E27FC236}">
                  <a16:creationId xmlns:a16="http://schemas.microsoft.com/office/drawing/2014/main" id="{1551E1ED-BCFB-4644-83F8-51D351159ECB}"/>
                </a:ext>
              </a:extLst>
            </p:cNvPr>
            <p:cNvSpPr/>
            <p:nvPr/>
          </p:nvSpPr>
          <p:spPr>
            <a:xfrm rot="8716295">
              <a:off x="1789040" y="5044339"/>
              <a:ext cx="113322" cy="144291"/>
            </a:xfrm>
            <a:custGeom>
              <a:avLst/>
              <a:gdLst>
                <a:gd name="connsiteX0" fmla="*/ 0 w 113322"/>
                <a:gd name="connsiteY0" fmla="*/ 3741 h 144291"/>
                <a:gd name="connsiteX1" fmla="*/ 0 w 113322"/>
                <a:gd name="connsiteY1" fmla="*/ 0 h 144291"/>
                <a:gd name="connsiteX2" fmla="*/ 5398 w 113322"/>
                <a:gd name="connsiteY2" fmla="*/ 3741 h 144291"/>
                <a:gd name="connsiteX3" fmla="*/ 90709 w 113322"/>
                <a:gd name="connsiteY3" fmla="*/ 144291 h 144291"/>
                <a:gd name="connsiteX4" fmla="*/ 47847 w 113322"/>
                <a:gd name="connsiteY4" fmla="*/ 64547 h 144291"/>
                <a:gd name="connsiteX5" fmla="*/ 56901 w 113322"/>
                <a:gd name="connsiteY5" fmla="*/ 39441 h 144291"/>
                <a:gd name="connsiteX6" fmla="*/ 113322 w 113322"/>
                <a:gd name="connsiteY6" fmla="*/ 78551 h 144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322" h="144291">
                  <a:moveTo>
                    <a:pt x="0" y="3741"/>
                  </a:moveTo>
                  <a:lnTo>
                    <a:pt x="0" y="0"/>
                  </a:lnTo>
                  <a:lnTo>
                    <a:pt x="5398" y="3741"/>
                  </a:lnTo>
                  <a:close/>
                  <a:moveTo>
                    <a:pt x="90709" y="144291"/>
                  </a:moveTo>
                  <a:lnTo>
                    <a:pt x="47847" y="64547"/>
                  </a:lnTo>
                  <a:lnTo>
                    <a:pt x="56901" y="39441"/>
                  </a:lnTo>
                  <a:lnTo>
                    <a:pt x="113322" y="7855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6" name="Forme libre : forme 2155">
              <a:extLst>
                <a:ext uri="{FF2B5EF4-FFF2-40B4-BE49-F238E27FC236}">
                  <a16:creationId xmlns:a16="http://schemas.microsoft.com/office/drawing/2014/main" id="{225E9856-4565-4211-849D-72975628AB50}"/>
                </a:ext>
              </a:extLst>
            </p:cNvPr>
            <p:cNvSpPr/>
            <p:nvPr/>
          </p:nvSpPr>
          <p:spPr>
            <a:xfrm rot="8716295">
              <a:off x="1701335" y="4927006"/>
              <a:ext cx="290643" cy="318535"/>
            </a:xfrm>
            <a:custGeom>
              <a:avLst/>
              <a:gdLst>
                <a:gd name="connsiteX0" fmla="*/ 25298 w 290643"/>
                <a:gd name="connsiteY0" fmla="*/ 288944 h 318535"/>
                <a:gd name="connsiteX1" fmla="*/ 0 w 290643"/>
                <a:gd name="connsiteY1" fmla="*/ 187748 h 318535"/>
                <a:gd name="connsiteX2" fmla="*/ 0 w 290643"/>
                <a:gd name="connsiteY2" fmla="*/ 8302 h 318535"/>
                <a:gd name="connsiteX3" fmla="*/ 16003 w 290643"/>
                <a:gd name="connsiteY3" fmla="*/ 0 h 318535"/>
                <a:gd name="connsiteX4" fmla="*/ 78793 w 290643"/>
                <a:gd name="connsiteY4" fmla="*/ 43524 h 318535"/>
                <a:gd name="connsiteX5" fmla="*/ 79427 w 290643"/>
                <a:gd name="connsiteY5" fmla="*/ 131855 h 318535"/>
                <a:gd name="connsiteX6" fmla="*/ 93547 w 290643"/>
                <a:gd name="connsiteY6" fmla="*/ 229521 h 318535"/>
                <a:gd name="connsiteX7" fmla="*/ 164149 w 290643"/>
                <a:gd name="connsiteY7" fmla="*/ 268352 h 318535"/>
                <a:gd name="connsiteX8" fmla="*/ 217100 w 290643"/>
                <a:gd name="connsiteY8" fmla="*/ 258938 h 318535"/>
                <a:gd name="connsiteX9" fmla="*/ 289467 w 290643"/>
                <a:gd name="connsiteY9" fmla="*/ 229521 h 318535"/>
                <a:gd name="connsiteX10" fmla="*/ 290643 w 290643"/>
                <a:gd name="connsiteY10" fmla="*/ 237169 h 318535"/>
                <a:gd name="connsiteX11" fmla="*/ 290643 w 290643"/>
                <a:gd name="connsiteY11" fmla="*/ 243052 h 318535"/>
                <a:gd name="connsiteX12" fmla="*/ 97665 w 290643"/>
                <a:gd name="connsiteY12" fmla="*/ 318361 h 318535"/>
                <a:gd name="connsiteX13" fmla="*/ 25298 w 290643"/>
                <a:gd name="connsiteY13" fmla="*/ 288944 h 318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90643" h="318535">
                  <a:moveTo>
                    <a:pt x="25298" y="288944"/>
                  </a:moveTo>
                  <a:cubicBezTo>
                    <a:pt x="5295" y="269528"/>
                    <a:pt x="0" y="235992"/>
                    <a:pt x="0" y="187748"/>
                  </a:cubicBezTo>
                  <a:lnTo>
                    <a:pt x="0" y="8302"/>
                  </a:lnTo>
                  <a:lnTo>
                    <a:pt x="16003" y="0"/>
                  </a:lnTo>
                  <a:lnTo>
                    <a:pt x="78793" y="43524"/>
                  </a:lnTo>
                  <a:lnTo>
                    <a:pt x="79427" y="131855"/>
                  </a:lnTo>
                  <a:cubicBezTo>
                    <a:pt x="77662" y="164803"/>
                    <a:pt x="82957" y="198338"/>
                    <a:pt x="93547" y="229521"/>
                  </a:cubicBezTo>
                  <a:cubicBezTo>
                    <a:pt x="102961" y="255408"/>
                    <a:pt x="127083" y="268352"/>
                    <a:pt x="164149" y="268352"/>
                  </a:cubicBezTo>
                  <a:cubicBezTo>
                    <a:pt x="182387" y="267763"/>
                    <a:pt x="200038" y="264233"/>
                    <a:pt x="217100" y="258938"/>
                  </a:cubicBezTo>
                  <a:cubicBezTo>
                    <a:pt x="241810" y="251290"/>
                    <a:pt x="265933" y="241288"/>
                    <a:pt x="289467" y="229521"/>
                  </a:cubicBezTo>
                  <a:cubicBezTo>
                    <a:pt x="290055" y="231874"/>
                    <a:pt x="290643" y="234816"/>
                    <a:pt x="290643" y="237169"/>
                  </a:cubicBezTo>
                  <a:lnTo>
                    <a:pt x="290643" y="243052"/>
                  </a:lnTo>
                  <a:cubicBezTo>
                    <a:pt x="228278" y="296592"/>
                    <a:pt x="146498" y="315419"/>
                    <a:pt x="97665" y="318361"/>
                  </a:cubicBezTo>
                  <a:cubicBezTo>
                    <a:pt x="70602" y="320126"/>
                    <a:pt x="44126" y="308359"/>
                    <a:pt x="25298" y="28894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7" name="Forme libre : forme 2156">
              <a:extLst>
                <a:ext uri="{FF2B5EF4-FFF2-40B4-BE49-F238E27FC236}">
                  <a16:creationId xmlns:a16="http://schemas.microsoft.com/office/drawing/2014/main" id="{0F4D380E-862F-4707-A19B-1E97A2112DC2}"/>
                </a:ext>
              </a:extLst>
            </p:cNvPr>
            <p:cNvSpPr/>
            <p:nvPr/>
          </p:nvSpPr>
          <p:spPr>
            <a:xfrm rot="8716295">
              <a:off x="2251190" y="4935850"/>
              <a:ext cx="142167" cy="232388"/>
            </a:xfrm>
            <a:custGeom>
              <a:avLst/>
              <a:gdLst>
                <a:gd name="connsiteX0" fmla="*/ 81108 w 142167"/>
                <a:gd name="connsiteY0" fmla="*/ 232388 h 232388"/>
                <a:gd name="connsiteX1" fmla="*/ 81108 w 142167"/>
                <a:gd name="connsiteY1" fmla="*/ 69716 h 232388"/>
                <a:gd name="connsiteX2" fmla="*/ 81108 w 142167"/>
                <a:gd name="connsiteY2" fmla="*/ 65616 h 232388"/>
                <a:gd name="connsiteX3" fmla="*/ 60604 w 142167"/>
                <a:gd name="connsiteY3" fmla="*/ 50123 h 232388"/>
                <a:gd name="connsiteX4" fmla="*/ 0 w 142167"/>
                <a:gd name="connsiteY4" fmla="*/ 50123 h 232388"/>
                <a:gd name="connsiteX5" fmla="*/ 0 w 142167"/>
                <a:gd name="connsiteY5" fmla="*/ 0 h 232388"/>
                <a:gd name="connsiteX6" fmla="*/ 63990 w 142167"/>
                <a:gd name="connsiteY6" fmla="*/ 0 h 232388"/>
                <a:gd name="connsiteX7" fmla="*/ 142167 w 142167"/>
                <a:gd name="connsiteY7" fmla="*/ 54190 h 232388"/>
                <a:gd name="connsiteX8" fmla="*/ 142167 w 142167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32388">
                  <a:moveTo>
                    <a:pt x="81108" y="232388"/>
                  </a:moveTo>
                  <a:lnTo>
                    <a:pt x="81108" y="69716"/>
                  </a:lnTo>
                  <a:cubicBezTo>
                    <a:pt x="81108" y="68350"/>
                    <a:pt x="81108" y="66983"/>
                    <a:pt x="81108" y="65616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63990" y="0"/>
                  </a:lnTo>
                  <a:lnTo>
                    <a:pt x="142167" y="54190"/>
                  </a:lnTo>
                  <a:lnTo>
                    <a:pt x="142167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8" name="Forme libre : forme 2157">
              <a:extLst>
                <a:ext uri="{FF2B5EF4-FFF2-40B4-BE49-F238E27FC236}">
                  <a16:creationId xmlns:a16="http://schemas.microsoft.com/office/drawing/2014/main" id="{87F138DF-A215-4254-ACAA-04DDE52CD8B6}"/>
                </a:ext>
              </a:extLst>
            </p:cNvPr>
            <p:cNvSpPr/>
            <p:nvPr/>
          </p:nvSpPr>
          <p:spPr>
            <a:xfrm rot="8716295">
              <a:off x="2456859" y="4924575"/>
              <a:ext cx="131246" cy="253348"/>
            </a:xfrm>
            <a:custGeom>
              <a:avLst/>
              <a:gdLst>
                <a:gd name="connsiteX0" fmla="*/ 51490 w 131246"/>
                <a:gd name="connsiteY0" fmla="*/ 253348 h 253348"/>
                <a:gd name="connsiteX1" fmla="*/ 51489 w 131246"/>
                <a:gd name="connsiteY1" fmla="*/ 44199 h 253348"/>
                <a:gd name="connsiteX2" fmla="*/ 0 w 131246"/>
                <a:gd name="connsiteY2" fmla="*/ 44199 h 253348"/>
                <a:gd name="connsiteX3" fmla="*/ 0 w 131246"/>
                <a:gd name="connsiteY3" fmla="*/ 0 h 253348"/>
                <a:gd name="connsiteX4" fmla="*/ 44807 w 131246"/>
                <a:gd name="connsiteY4" fmla="*/ 0 h 253348"/>
                <a:gd name="connsiteX5" fmla="*/ 104802 w 131246"/>
                <a:gd name="connsiteY5" fmla="*/ 41587 h 253348"/>
                <a:gd name="connsiteX6" fmla="*/ 104802 w 131246"/>
                <a:gd name="connsiteY6" fmla="*/ 73817 h 253348"/>
                <a:gd name="connsiteX7" fmla="*/ 106169 w 131246"/>
                <a:gd name="connsiteY7" fmla="*/ 73817 h 253348"/>
                <a:gd name="connsiteX8" fmla="*/ 115569 w 131246"/>
                <a:gd name="connsiteY8" fmla="*/ 49050 h 253348"/>
                <a:gd name="connsiteX9" fmla="*/ 131246 w 131246"/>
                <a:gd name="connsiteY9" fmla="*/ 59916 h 253348"/>
                <a:gd name="connsiteX10" fmla="*/ 127358 w 131246"/>
                <a:gd name="connsiteY10" fmla="*/ 64191 h 253348"/>
                <a:gd name="connsiteX11" fmla="*/ 111638 w 131246"/>
                <a:gd name="connsiteY11" fmla="*/ 126218 h 253348"/>
                <a:gd name="connsiteX12" fmla="*/ 111638 w 131246"/>
                <a:gd name="connsiteY12" fmla="*/ 212339 h 253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1246" h="253348">
                  <a:moveTo>
                    <a:pt x="51490" y="253348"/>
                  </a:moveTo>
                  <a:lnTo>
                    <a:pt x="51489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44807" y="0"/>
                  </a:lnTo>
                  <a:lnTo>
                    <a:pt x="104802" y="41587"/>
                  </a:lnTo>
                  <a:lnTo>
                    <a:pt x="104802" y="73817"/>
                  </a:lnTo>
                  <a:lnTo>
                    <a:pt x="106169" y="73817"/>
                  </a:lnTo>
                  <a:lnTo>
                    <a:pt x="115569" y="49050"/>
                  </a:lnTo>
                  <a:lnTo>
                    <a:pt x="131246" y="59916"/>
                  </a:lnTo>
                  <a:lnTo>
                    <a:pt x="127358" y="64191"/>
                  </a:lnTo>
                  <a:cubicBezTo>
                    <a:pt x="117675" y="79968"/>
                    <a:pt x="111638" y="101840"/>
                    <a:pt x="111638" y="126218"/>
                  </a:cubicBezTo>
                  <a:lnTo>
                    <a:pt x="111638" y="2123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9" name="Forme libre : forme 2158">
              <a:extLst>
                <a:ext uri="{FF2B5EF4-FFF2-40B4-BE49-F238E27FC236}">
                  <a16:creationId xmlns:a16="http://schemas.microsoft.com/office/drawing/2014/main" id="{21433117-8AAD-4CA9-9660-FC5A8F69F16F}"/>
                </a:ext>
              </a:extLst>
            </p:cNvPr>
            <p:cNvSpPr/>
            <p:nvPr/>
          </p:nvSpPr>
          <p:spPr>
            <a:xfrm rot="8716295">
              <a:off x="2139785" y="502413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0" name="Forme libre : forme 2159">
              <a:extLst>
                <a:ext uri="{FF2B5EF4-FFF2-40B4-BE49-F238E27FC236}">
                  <a16:creationId xmlns:a16="http://schemas.microsoft.com/office/drawing/2014/main" id="{06B19A57-02F4-4720-99D9-55A2BEE2C0D4}"/>
                </a:ext>
              </a:extLst>
            </p:cNvPr>
            <p:cNvSpPr/>
            <p:nvPr/>
          </p:nvSpPr>
          <p:spPr>
            <a:xfrm rot="8716295">
              <a:off x="2014883" y="481546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1" name="Forme libre : forme 2160">
              <a:extLst>
                <a:ext uri="{FF2B5EF4-FFF2-40B4-BE49-F238E27FC236}">
                  <a16:creationId xmlns:a16="http://schemas.microsoft.com/office/drawing/2014/main" id="{DDDE473C-0945-4D7B-9870-6AD6EC305155}"/>
                </a:ext>
              </a:extLst>
            </p:cNvPr>
            <p:cNvSpPr/>
            <p:nvPr/>
          </p:nvSpPr>
          <p:spPr>
            <a:xfrm rot="8716295">
              <a:off x="2190257" y="5090583"/>
              <a:ext cx="60147" cy="76898"/>
            </a:xfrm>
            <a:custGeom>
              <a:avLst/>
              <a:gdLst>
                <a:gd name="connsiteX0" fmla="*/ 60147 w 60147"/>
                <a:gd name="connsiteY0" fmla="*/ 76898 h 76898"/>
                <a:gd name="connsiteX1" fmla="*/ 0 w 60147"/>
                <a:gd name="connsiteY1" fmla="*/ 19028 h 76898"/>
                <a:gd name="connsiteX2" fmla="*/ 0 w 60147"/>
                <a:gd name="connsiteY2" fmla="*/ 0 h 76898"/>
                <a:gd name="connsiteX3" fmla="*/ 60147 w 60147"/>
                <a:gd name="connsiteY3" fmla="*/ 41692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7" h="76898">
                  <a:moveTo>
                    <a:pt x="60147" y="76898"/>
                  </a:moveTo>
                  <a:lnTo>
                    <a:pt x="0" y="19028"/>
                  </a:lnTo>
                  <a:lnTo>
                    <a:pt x="0" y="0"/>
                  </a:lnTo>
                  <a:lnTo>
                    <a:pt x="60147" y="416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2" name="Forme libre : forme 2161">
              <a:extLst>
                <a:ext uri="{FF2B5EF4-FFF2-40B4-BE49-F238E27FC236}">
                  <a16:creationId xmlns:a16="http://schemas.microsoft.com/office/drawing/2014/main" id="{E08FB812-18F4-4980-B27F-475CA6F734E7}"/>
                </a:ext>
              </a:extLst>
            </p:cNvPr>
            <p:cNvSpPr/>
            <p:nvPr/>
          </p:nvSpPr>
          <p:spPr>
            <a:xfrm rot="8716295">
              <a:off x="1988512" y="491548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3" name="Forme libre : forme 2162">
              <a:extLst>
                <a:ext uri="{FF2B5EF4-FFF2-40B4-BE49-F238E27FC236}">
                  <a16:creationId xmlns:a16="http://schemas.microsoft.com/office/drawing/2014/main" id="{698261C6-8F0A-4C69-96B5-C2C92CFC8151}"/>
                </a:ext>
              </a:extLst>
            </p:cNvPr>
            <p:cNvSpPr/>
            <p:nvPr/>
          </p:nvSpPr>
          <p:spPr>
            <a:xfrm rot="8716295">
              <a:off x="2650789" y="5021708"/>
              <a:ext cx="177699" cy="117559"/>
            </a:xfrm>
            <a:custGeom>
              <a:avLst/>
              <a:gdLst>
                <a:gd name="connsiteX0" fmla="*/ 6986 w 177699"/>
                <a:gd name="connsiteY0" fmla="*/ 117559 h 117559"/>
                <a:gd name="connsiteX1" fmla="*/ 0 w 177699"/>
                <a:gd name="connsiteY1" fmla="*/ 107886 h 117559"/>
                <a:gd name="connsiteX2" fmla="*/ 114658 w 177699"/>
                <a:gd name="connsiteY2" fmla="*/ 0 h 117559"/>
                <a:gd name="connsiteX3" fmla="*/ 177699 w 177699"/>
                <a:gd name="connsiteY3" fmla="*/ 43698 h 117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7699" h="117559">
                  <a:moveTo>
                    <a:pt x="6986" y="117559"/>
                  </a:moveTo>
                  <a:lnTo>
                    <a:pt x="0" y="107886"/>
                  </a:lnTo>
                  <a:lnTo>
                    <a:pt x="114658" y="0"/>
                  </a:lnTo>
                  <a:lnTo>
                    <a:pt x="177699" y="436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4" name="Forme libre : forme 2163">
              <a:extLst>
                <a:ext uri="{FF2B5EF4-FFF2-40B4-BE49-F238E27FC236}">
                  <a16:creationId xmlns:a16="http://schemas.microsoft.com/office/drawing/2014/main" id="{CEFAFB5F-0AC3-4989-96BE-6254D2E906AF}"/>
                </a:ext>
              </a:extLst>
            </p:cNvPr>
            <p:cNvSpPr/>
            <p:nvPr/>
          </p:nvSpPr>
          <p:spPr>
            <a:xfrm rot="8716295">
              <a:off x="2573494" y="492769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5" name="Forme libre : forme 2164">
              <a:extLst>
                <a:ext uri="{FF2B5EF4-FFF2-40B4-BE49-F238E27FC236}">
                  <a16:creationId xmlns:a16="http://schemas.microsoft.com/office/drawing/2014/main" id="{26F6B6DC-9027-450B-92D7-F34A3A491FBF}"/>
                </a:ext>
              </a:extLst>
            </p:cNvPr>
            <p:cNvSpPr/>
            <p:nvPr/>
          </p:nvSpPr>
          <p:spPr>
            <a:xfrm rot="8716295">
              <a:off x="2330248" y="495791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6" name="Forme libre : forme 2165">
              <a:extLst>
                <a:ext uri="{FF2B5EF4-FFF2-40B4-BE49-F238E27FC236}">
                  <a16:creationId xmlns:a16="http://schemas.microsoft.com/office/drawing/2014/main" id="{0F4E3D83-A89E-4A3D-8DFA-0B99A9944664}"/>
                </a:ext>
              </a:extLst>
            </p:cNvPr>
            <p:cNvSpPr/>
            <p:nvPr/>
          </p:nvSpPr>
          <p:spPr>
            <a:xfrm rot="8716295">
              <a:off x="2507700" y="479867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7" name="Forme libre : forme 2166">
              <a:extLst>
                <a:ext uri="{FF2B5EF4-FFF2-40B4-BE49-F238E27FC236}">
                  <a16:creationId xmlns:a16="http://schemas.microsoft.com/office/drawing/2014/main" id="{E36A73C5-A750-41BE-8891-686B78AEED60}"/>
                </a:ext>
              </a:extLst>
            </p:cNvPr>
            <p:cNvSpPr/>
            <p:nvPr/>
          </p:nvSpPr>
          <p:spPr>
            <a:xfrm rot="8716295">
              <a:off x="1518235" y="386507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8" name="Forme libre : forme 2167">
              <a:extLst>
                <a:ext uri="{FF2B5EF4-FFF2-40B4-BE49-F238E27FC236}">
                  <a16:creationId xmlns:a16="http://schemas.microsoft.com/office/drawing/2014/main" id="{1E259F04-3FF0-484F-936A-BF05D81BA7F9}"/>
                </a:ext>
              </a:extLst>
            </p:cNvPr>
            <p:cNvSpPr/>
            <p:nvPr/>
          </p:nvSpPr>
          <p:spPr>
            <a:xfrm rot="8716295">
              <a:off x="1607627" y="389431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9" name="Forme libre : forme 2168">
              <a:extLst>
                <a:ext uri="{FF2B5EF4-FFF2-40B4-BE49-F238E27FC236}">
                  <a16:creationId xmlns:a16="http://schemas.microsoft.com/office/drawing/2014/main" id="{F7188107-3596-40BA-A19D-D4C36F703AA3}"/>
                </a:ext>
              </a:extLst>
            </p:cNvPr>
            <p:cNvSpPr/>
            <p:nvPr/>
          </p:nvSpPr>
          <p:spPr>
            <a:xfrm rot="8716295">
              <a:off x="1562777" y="380803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0" name="Forme libre : forme 2169">
              <a:extLst>
                <a:ext uri="{FF2B5EF4-FFF2-40B4-BE49-F238E27FC236}">
                  <a16:creationId xmlns:a16="http://schemas.microsoft.com/office/drawing/2014/main" id="{F0B5B849-6A09-4CB1-94BD-59AAAA00B41D}"/>
                </a:ext>
              </a:extLst>
            </p:cNvPr>
            <p:cNvSpPr/>
            <p:nvPr/>
          </p:nvSpPr>
          <p:spPr>
            <a:xfrm rot="8716295">
              <a:off x="1406001" y="395361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1" name="Forme libre : forme 2170">
              <a:extLst>
                <a:ext uri="{FF2B5EF4-FFF2-40B4-BE49-F238E27FC236}">
                  <a16:creationId xmlns:a16="http://schemas.microsoft.com/office/drawing/2014/main" id="{310927B8-5E88-4650-8C8B-F5EEB8CBF984}"/>
                </a:ext>
              </a:extLst>
            </p:cNvPr>
            <p:cNvSpPr/>
            <p:nvPr/>
          </p:nvSpPr>
          <p:spPr>
            <a:xfrm rot="8716295">
              <a:off x="1281098" y="374494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2" name="Forme libre : forme 2171">
              <a:extLst>
                <a:ext uri="{FF2B5EF4-FFF2-40B4-BE49-F238E27FC236}">
                  <a16:creationId xmlns:a16="http://schemas.microsoft.com/office/drawing/2014/main" id="{0077CC8A-BF45-4BE4-8C2F-92F79577CBE1}"/>
                </a:ext>
              </a:extLst>
            </p:cNvPr>
            <p:cNvSpPr/>
            <p:nvPr/>
          </p:nvSpPr>
          <p:spPr>
            <a:xfrm rot="8716295">
              <a:off x="1269046" y="3606161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3" name="Forme libre : forme 2172">
              <a:extLst>
                <a:ext uri="{FF2B5EF4-FFF2-40B4-BE49-F238E27FC236}">
                  <a16:creationId xmlns:a16="http://schemas.microsoft.com/office/drawing/2014/main" id="{4B1B0D55-FB5B-4C21-B16D-8B7A58AA2F48}"/>
                </a:ext>
              </a:extLst>
            </p:cNvPr>
            <p:cNvSpPr/>
            <p:nvPr/>
          </p:nvSpPr>
          <p:spPr>
            <a:xfrm rot="8716295">
              <a:off x="1496179" y="399456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4" name="Forme libre : forme 2173">
              <a:extLst>
                <a:ext uri="{FF2B5EF4-FFF2-40B4-BE49-F238E27FC236}">
                  <a16:creationId xmlns:a16="http://schemas.microsoft.com/office/drawing/2014/main" id="{6AFD4B44-0013-46C7-89C1-7C63AAB4D987}"/>
                </a:ext>
              </a:extLst>
            </p:cNvPr>
            <p:cNvSpPr/>
            <p:nvPr/>
          </p:nvSpPr>
          <p:spPr>
            <a:xfrm rot="8716295">
              <a:off x="1807334" y="36149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5" name="Forme libre : forme 2174">
              <a:extLst>
                <a:ext uri="{FF2B5EF4-FFF2-40B4-BE49-F238E27FC236}">
                  <a16:creationId xmlns:a16="http://schemas.microsoft.com/office/drawing/2014/main" id="{B061716B-E619-4B2C-A2CB-AB4D2606E002}"/>
                </a:ext>
              </a:extLst>
            </p:cNvPr>
            <p:cNvSpPr/>
            <p:nvPr/>
          </p:nvSpPr>
          <p:spPr>
            <a:xfrm rot="8716295">
              <a:off x="1896726" y="36441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6" name="Forme libre : forme 2175">
              <a:extLst>
                <a:ext uri="{FF2B5EF4-FFF2-40B4-BE49-F238E27FC236}">
                  <a16:creationId xmlns:a16="http://schemas.microsoft.com/office/drawing/2014/main" id="{80D807FA-1A3A-4ABF-AF3B-F275183E0A00}"/>
                </a:ext>
              </a:extLst>
            </p:cNvPr>
            <p:cNvSpPr/>
            <p:nvPr/>
          </p:nvSpPr>
          <p:spPr>
            <a:xfrm rot="8716295">
              <a:off x="1695100" y="370346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7" name="Forme libre : forme 2176">
              <a:extLst>
                <a:ext uri="{FF2B5EF4-FFF2-40B4-BE49-F238E27FC236}">
                  <a16:creationId xmlns:a16="http://schemas.microsoft.com/office/drawing/2014/main" id="{032DF9FF-0CD8-4491-9035-5269ADB59100}"/>
                </a:ext>
              </a:extLst>
            </p:cNvPr>
            <p:cNvSpPr/>
            <p:nvPr/>
          </p:nvSpPr>
          <p:spPr>
            <a:xfrm rot="8716295">
              <a:off x="1570198" y="349478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8" name="Forme libre : forme 2177">
              <a:extLst>
                <a:ext uri="{FF2B5EF4-FFF2-40B4-BE49-F238E27FC236}">
                  <a16:creationId xmlns:a16="http://schemas.microsoft.com/office/drawing/2014/main" id="{5F6C4221-EAB2-436F-B193-7A3F5601B69D}"/>
                </a:ext>
              </a:extLst>
            </p:cNvPr>
            <p:cNvSpPr/>
            <p:nvPr/>
          </p:nvSpPr>
          <p:spPr>
            <a:xfrm rot="8716295">
              <a:off x="1785278" y="37444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9" name="Forme libre : forme 2178">
              <a:extLst>
                <a:ext uri="{FF2B5EF4-FFF2-40B4-BE49-F238E27FC236}">
                  <a16:creationId xmlns:a16="http://schemas.microsoft.com/office/drawing/2014/main" id="{2C3899F1-7908-415E-AC18-381FF5AACA99}"/>
                </a:ext>
              </a:extLst>
            </p:cNvPr>
            <p:cNvSpPr/>
            <p:nvPr/>
          </p:nvSpPr>
          <p:spPr>
            <a:xfrm rot="8716295">
              <a:off x="1543827" y="359481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0" name="Forme libre : forme 2179">
              <a:extLst>
                <a:ext uri="{FF2B5EF4-FFF2-40B4-BE49-F238E27FC236}">
                  <a16:creationId xmlns:a16="http://schemas.microsoft.com/office/drawing/2014/main" id="{A25A3A19-36CC-4BEB-89D4-7074BE692A4E}"/>
                </a:ext>
              </a:extLst>
            </p:cNvPr>
            <p:cNvSpPr/>
            <p:nvPr/>
          </p:nvSpPr>
          <p:spPr>
            <a:xfrm rot="7484129">
              <a:off x="1890209" y="393576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1" name="Forme libre : forme 2180">
              <a:extLst>
                <a:ext uri="{FF2B5EF4-FFF2-40B4-BE49-F238E27FC236}">
                  <a16:creationId xmlns:a16="http://schemas.microsoft.com/office/drawing/2014/main" id="{4AF8F556-7C68-44A7-A9D4-1E80B8EE1F70}"/>
                </a:ext>
              </a:extLst>
            </p:cNvPr>
            <p:cNvSpPr/>
            <p:nvPr/>
          </p:nvSpPr>
          <p:spPr>
            <a:xfrm rot="13089394">
              <a:off x="1995029" y="3902299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2" name="Forme libre : forme 2181">
              <a:extLst>
                <a:ext uri="{FF2B5EF4-FFF2-40B4-BE49-F238E27FC236}">
                  <a16:creationId xmlns:a16="http://schemas.microsoft.com/office/drawing/2014/main" id="{474B8F0A-192E-4408-976E-CFE766B0E660}"/>
                </a:ext>
              </a:extLst>
            </p:cNvPr>
            <p:cNvSpPr/>
            <p:nvPr/>
          </p:nvSpPr>
          <p:spPr>
            <a:xfrm rot="8716295">
              <a:off x="2180614" y="371061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3" name="Forme libre : forme 2182">
              <a:extLst>
                <a:ext uri="{FF2B5EF4-FFF2-40B4-BE49-F238E27FC236}">
                  <a16:creationId xmlns:a16="http://schemas.microsoft.com/office/drawing/2014/main" id="{08147D7D-246F-4267-9328-9CD9D53CB053}"/>
                </a:ext>
              </a:extLst>
            </p:cNvPr>
            <p:cNvSpPr/>
            <p:nvPr/>
          </p:nvSpPr>
          <p:spPr>
            <a:xfrm rot="8716295">
              <a:off x="2128809" y="360702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4" name="Forme libre : forme 2183">
              <a:extLst>
                <a:ext uri="{FF2B5EF4-FFF2-40B4-BE49-F238E27FC236}">
                  <a16:creationId xmlns:a16="http://schemas.microsoft.com/office/drawing/2014/main" id="{BFD4EEA9-74F4-491C-BCB2-C3F42835DD07}"/>
                </a:ext>
              </a:extLst>
            </p:cNvPr>
            <p:cNvSpPr/>
            <p:nvPr/>
          </p:nvSpPr>
          <p:spPr>
            <a:xfrm rot="8716295">
              <a:off x="1885563" y="36372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5" name="Forme libre : forme 2184">
              <a:extLst>
                <a:ext uri="{FF2B5EF4-FFF2-40B4-BE49-F238E27FC236}">
                  <a16:creationId xmlns:a16="http://schemas.microsoft.com/office/drawing/2014/main" id="{913E5A75-2F0F-4FF8-AF12-57EBAAC870EA}"/>
                </a:ext>
              </a:extLst>
            </p:cNvPr>
            <p:cNvSpPr/>
            <p:nvPr/>
          </p:nvSpPr>
          <p:spPr>
            <a:xfrm rot="8716295">
              <a:off x="2063015" y="34780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6" name="Forme libre : forme 2185">
              <a:extLst>
                <a:ext uri="{FF2B5EF4-FFF2-40B4-BE49-F238E27FC236}">
                  <a16:creationId xmlns:a16="http://schemas.microsoft.com/office/drawing/2014/main" id="{4571DC5F-CE18-47DF-9FDC-F2290176BF72}"/>
                </a:ext>
              </a:extLst>
            </p:cNvPr>
            <p:cNvSpPr/>
            <p:nvPr/>
          </p:nvSpPr>
          <p:spPr>
            <a:xfrm rot="8716295">
              <a:off x="1741402" y="452476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7" name="Forme libre : forme 2186">
              <a:extLst>
                <a:ext uri="{FF2B5EF4-FFF2-40B4-BE49-F238E27FC236}">
                  <a16:creationId xmlns:a16="http://schemas.microsoft.com/office/drawing/2014/main" id="{E598998C-D00A-4D75-A58B-A8274CB4E8AC}"/>
                </a:ext>
              </a:extLst>
            </p:cNvPr>
            <p:cNvSpPr/>
            <p:nvPr/>
          </p:nvSpPr>
          <p:spPr>
            <a:xfrm rot="8716295">
              <a:off x="1830794" y="455401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8" name="Forme libre : forme 2187">
              <a:extLst>
                <a:ext uri="{FF2B5EF4-FFF2-40B4-BE49-F238E27FC236}">
                  <a16:creationId xmlns:a16="http://schemas.microsoft.com/office/drawing/2014/main" id="{68EAF022-443D-40AB-977F-80ED0FBBA39F}"/>
                </a:ext>
              </a:extLst>
            </p:cNvPr>
            <p:cNvSpPr/>
            <p:nvPr/>
          </p:nvSpPr>
          <p:spPr>
            <a:xfrm rot="8716295">
              <a:off x="1785944" y="4467731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9" name="Forme libre : forme 2188">
              <a:extLst>
                <a:ext uri="{FF2B5EF4-FFF2-40B4-BE49-F238E27FC236}">
                  <a16:creationId xmlns:a16="http://schemas.microsoft.com/office/drawing/2014/main" id="{9832FD02-47CA-43A0-9ECC-73C95B196066}"/>
                </a:ext>
              </a:extLst>
            </p:cNvPr>
            <p:cNvSpPr/>
            <p:nvPr/>
          </p:nvSpPr>
          <p:spPr>
            <a:xfrm rot="8716295">
              <a:off x="1629168" y="461331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0" name="Forme libre : forme 2189">
              <a:extLst>
                <a:ext uri="{FF2B5EF4-FFF2-40B4-BE49-F238E27FC236}">
                  <a16:creationId xmlns:a16="http://schemas.microsoft.com/office/drawing/2014/main" id="{E4050B9D-DB6D-469C-8D0D-3927E506DFDB}"/>
                </a:ext>
              </a:extLst>
            </p:cNvPr>
            <p:cNvSpPr/>
            <p:nvPr/>
          </p:nvSpPr>
          <p:spPr>
            <a:xfrm rot="8716295">
              <a:off x="1504265" y="440464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1" name="Forme libre : forme 2190">
              <a:extLst>
                <a:ext uri="{FF2B5EF4-FFF2-40B4-BE49-F238E27FC236}">
                  <a16:creationId xmlns:a16="http://schemas.microsoft.com/office/drawing/2014/main" id="{08EA550C-613A-4866-AACF-C27F8E9C22E0}"/>
                </a:ext>
              </a:extLst>
            </p:cNvPr>
            <p:cNvSpPr/>
            <p:nvPr/>
          </p:nvSpPr>
          <p:spPr>
            <a:xfrm rot="8716295">
              <a:off x="1492213" y="4265860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2" name="Forme libre : forme 2191">
              <a:extLst>
                <a:ext uri="{FF2B5EF4-FFF2-40B4-BE49-F238E27FC236}">
                  <a16:creationId xmlns:a16="http://schemas.microsoft.com/office/drawing/2014/main" id="{1CF034C4-4CE9-457C-B36A-A3F9D058C124}"/>
                </a:ext>
              </a:extLst>
            </p:cNvPr>
            <p:cNvSpPr/>
            <p:nvPr/>
          </p:nvSpPr>
          <p:spPr>
            <a:xfrm rot="8716295">
              <a:off x="1719346" y="465426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3" name="Forme libre : forme 2192">
              <a:extLst>
                <a:ext uri="{FF2B5EF4-FFF2-40B4-BE49-F238E27FC236}">
                  <a16:creationId xmlns:a16="http://schemas.microsoft.com/office/drawing/2014/main" id="{D08F0A84-4DD7-4772-AC15-083524AA4A1D}"/>
                </a:ext>
              </a:extLst>
            </p:cNvPr>
            <p:cNvSpPr/>
            <p:nvPr/>
          </p:nvSpPr>
          <p:spPr>
            <a:xfrm rot="8716295">
              <a:off x="2030501" y="427461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4" name="Forme libre : forme 2193">
              <a:extLst>
                <a:ext uri="{FF2B5EF4-FFF2-40B4-BE49-F238E27FC236}">
                  <a16:creationId xmlns:a16="http://schemas.microsoft.com/office/drawing/2014/main" id="{61D16ADF-5C6E-4CB0-822E-F18C019391FD}"/>
                </a:ext>
              </a:extLst>
            </p:cNvPr>
            <p:cNvSpPr/>
            <p:nvPr/>
          </p:nvSpPr>
          <p:spPr>
            <a:xfrm rot="8716295">
              <a:off x="2119893" y="430385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5" name="Forme libre : forme 2194">
              <a:extLst>
                <a:ext uri="{FF2B5EF4-FFF2-40B4-BE49-F238E27FC236}">
                  <a16:creationId xmlns:a16="http://schemas.microsoft.com/office/drawing/2014/main" id="{7755C47E-CA44-4F59-A584-382B602B7277}"/>
                </a:ext>
              </a:extLst>
            </p:cNvPr>
            <p:cNvSpPr/>
            <p:nvPr/>
          </p:nvSpPr>
          <p:spPr>
            <a:xfrm rot="8716295">
              <a:off x="1918267" y="436316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6" name="Forme libre : forme 2195">
              <a:extLst>
                <a:ext uri="{FF2B5EF4-FFF2-40B4-BE49-F238E27FC236}">
                  <a16:creationId xmlns:a16="http://schemas.microsoft.com/office/drawing/2014/main" id="{7477CD6A-0BC6-4B29-9F1F-C0FBF04DE899}"/>
                </a:ext>
              </a:extLst>
            </p:cNvPr>
            <p:cNvSpPr/>
            <p:nvPr/>
          </p:nvSpPr>
          <p:spPr>
            <a:xfrm rot="8716295">
              <a:off x="1793365" y="415448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7" name="Forme libre : forme 2196">
              <a:extLst>
                <a:ext uri="{FF2B5EF4-FFF2-40B4-BE49-F238E27FC236}">
                  <a16:creationId xmlns:a16="http://schemas.microsoft.com/office/drawing/2014/main" id="{EE329923-C3A4-4046-B152-3FD94C6B8328}"/>
                </a:ext>
              </a:extLst>
            </p:cNvPr>
            <p:cNvSpPr/>
            <p:nvPr/>
          </p:nvSpPr>
          <p:spPr>
            <a:xfrm rot="8716295">
              <a:off x="2008445" y="4404113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8" name="Forme libre : forme 2197">
              <a:extLst>
                <a:ext uri="{FF2B5EF4-FFF2-40B4-BE49-F238E27FC236}">
                  <a16:creationId xmlns:a16="http://schemas.microsoft.com/office/drawing/2014/main" id="{9B7F0F6B-ADD6-4F5F-8A57-9C18A5D11901}"/>
                </a:ext>
              </a:extLst>
            </p:cNvPr>
            <p:cNvSpPr/>
            <p:nvPr/>
          </p:nvSpPr>
          <p:spPr>
            <a:xfrm rot="8716295">
              <a:off x="1766994" y="4254513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9" name="Forme libre : forme 2198">
              <a:extLst>
                <a:ext uri="{FF2B5EF4-FFF2-40B4-BE49-F238E27FC236}">
                  <a16:creationId xmlns:a16="http://schemas.microsoft.com/office/drawing/2014/main" id="{27B19DC8-7CA7-46F0-BBD1-FED4197C21C5}"/>
                </a:ext>
              </a:extLst>
            </p:cNvPr>
            <p:cNvSpPr/>
            <p:nvPr/>
          </p:nvSpPr>
          <p:spPr>
            <a:xfrm rot="7484129">
              <a:off x="2113376" y="459546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0" name="Forme libre : forme 2199">
              <a:extLst>
                <a:ext uri="{FF2B5EF4-FFF2-40B4-BE49-F238E27FC236}">
                  <a16:creationId xmlns:a16="http://schemas.microsoft.com/office/drawing/2014/main" id="{6A2BAEE3-A8C6-4D0E-B41D-3EB43C80CD43}"/>
                </a:ext>
              </a:extLst>
            </p:cNvPr>
            <p:cNvSpPr/>
            <p:nvPr/>
          </p:nvSpPr>
          <p:spPr>
            <a:xfrm rot="13089394">
              <a:off x="2218196" y="4561998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1" name="Forme libre : forme 2200">
              <a:extLst>
                <a:ext uri="{FF2B5EF4-FFF2-40B4-BE49-F238E27FC236}">
                  <a16:creationId xmlns:a16="http://schemas.microsoft.com/office/drawing/2014/main" id="{B33494DC-160D-4471-B761-44392F450F15}"/>
                </a:ext>
              </a:extLst>
            </p:cNvPr>
            <p:cNvSpPr/>
            <p:nvPr/>
          </p:nvSpPr>
          <p:spPr>
            <a:xfrm rot="8716295">
              <a:off x="2403781" y="4370317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2" name="Forme libre : forme 2201">
              <a:extLst>
                <a:ext uri="{FF2B5EF4-FFF2-40B4-BE49-F238E27FC236}">
                  <a16:creationId xmlns:a16="http://schemas.microsoft.com/office/drawing/2014/main" id="{A0536B5D-C1D1-4CC2-A67B-69C04D5E7BF1}"/>
                </a:ext>
              </a:extLst>
            </p:cNvPr>
            <p:cNvSpPr/>
            <p:nvPr/>
          </p:nvSpPr>
          <p:spPr>
            <a:xfrm rot="8716295">
              <a:off x="2351976" y="426672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3" name="Forme libre : forme 2202">
              <a:extLst>
                <a:ext uri="{FF2B5EF4-FFF2-40B4-BE49-F238E27FC236}">
                  <a16:creationId xmlns:a16="http://schemas.microsoft.com/office/drawing/2014/main" id="{0EC7D0F9-54FF-4910-BE51-E44A931994E2}"/>
                </a:ext>
              </a:extLst>
            </p:cNvPr>
            <p:cNvSpPr/>
            <p:nvPr/>
          </p:nvSpPr>
          <p:spPr>
            <a:xfrm rot="8716295">
              <a:off x="2108730" y="429694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4" name="Forme libre : forme 2203">
              <a:extLst>
                <a:ext uri="{FF2B5EF4-FFF2-40B4-BE49-F238E27FC236}">
                  <a16:creationId xmlns:a16="http://schemas.microsoft.com/office/drawing/2014/main" id="{581ECD7C-3ECD-4795-A962-336D27880F7D}"/>
                </a:ext>
              </a:extLst>
            </p:cNvPr>
            <p:cNvSpPr/>
            <p:nvPr/>
          </p:nvSpPr>
          <p:spPr>
            <a:xfrm rot="8716295">
              <a:off x="2286182" y="413770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5" name="Forme libre : forme 2204">
              <a:extLst>
                <a:ext uri="{FF2B5EF4-FFF2-40B4-BE49-F238E27FC236}">
                  <a16:creationId xmlns:a16="http://schemas.microsoft.com/office/drawing/2014/main" id="{61351529-FB96-4EA9-BD0D-13DB591690B1}"/>
                </a:ext>
              </a:extLst>
            </p:cNvPr>
            <p:cNvSpPr/>
            <p:nvPr/>
          </p:nvSpPr>
          <p:spPr>
            <a:xfrm rot="8716295">
              <a:off x="854880" y="188600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6" name="Forme libre : forme 2205">
              <a:extLst>
                <a:ext uri="{FF2B5EF4-FFF2-40B4-BE49-F238E27FC236}">
                  <a16:creationId xmlns:a16="http://schemas.microsoft.com/office/drawing/2014/main" id="{7B671EAD-22E7-49A1-AAF9-AFD4BDF270FF}"/>
                </a:ext>
              </a:extLst>
            </p:cNvPr>
            <p:cNvSpPr/>
            <p:nvPr/>
          </p:nvSpPr>
          <p:spPr>
            <a:xfrm rot="8716295">
              <a:off x="944272" y="191524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7" name="Forme libre : forme 2206">
              <a:extLst>
                <a:ext uri="{FF2B5EF4-FFF2-40B4-BE49-F238E27FC236}">
                  <a16:creationId xmlns:a16="http://schemas.microsoft.com/office/drawing/2014/main" id="{60C9EA0E-9422-461A-8A03-18C34E381FE6}"/>
                </a:ext>
              </a:extLst>
            </p:cNvPr>
            <p:cNvSpPr/>
            <p:nvPr/>
          </p:nvSpPr>
          <p:spPr>
            <a:xfrm rot="8716295">
              <a:off x="899422" y="182896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8" name="Forme libre : forme 2207">
              <a:extLst>
                <a:ext uri="{FF2B5EF4-FFF2-40B4-BE49-F238E27FC236}">
                  <a16:creationId xmlns:a16="http://schemas.microsoft.com/office/drawing/2014/main" id="{BA75D214-5F17-45EC-88F6-87E7086E00EC}"/>
                </a:ext>
              </a:extLst>
            </p:cNvPr>
            <p:cNvSpPr/>
            <p:nvPr/>
          </p:nvSpPr>
          <p:spPr>
            <a:xfrm rot="8716295">
              <a:off x="742646" y="197454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9" name="Forme libre : forme 2208">
              <a:extLst>
                <a:ext uri="{FF2B5EF4-FFF2-40B4-BE49-F238E27FC236}">
                  <a16:creationId xmlns:a16="http://schemas.microsoft.com/office/drawing/2014/main" id="{E48EAD6E-3EAF-4F3D-8B05-DC60D246CC5C}"/>
                </a:ext>
              </a:extLst>
            </p:cNvPr>
            <p:cNvSpPr/>
            <p:nvPr/>
          </p:nvSpPr>
          <p:spPr>
            <a:xfrm rot="8716295">
              <a:off x="617743" y="176587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0" name="Forme libre : forme 2209">
              <a:extLst>
                <a:ext uri="{FF2B5EF4-FFF2-40B4-BE49-F238E27FC236}">
                  <a16:creationId xmlns:a16="http://schemas.microsoft.com/office/drawing/2014/main" id="{60DC192A-6712-4E80-B33F-A868EA1F00C7}"/>
                </a:ext>
              </a:extLst>
            </p:cNvPr>
            <p:cNvSpPr/>
            <p:nvPr/>
          </p:nvSpPr>
          <p:spPr>
            <a:xfrm rot="8716295">
              <a:off x="605691" y="162709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1" name="Forme libre : forme 2210">
              <a:extLst>
                <a:ext uri="{FF2B5EF4-FFF2-40B4-BE49-F238E27FC236}">
                  <a16:creationId xmlns:a16="http://schemas.microsoft.com/office/drawing/2014/main" id="{5F7656EC-B89E-42FF-BC16-A8DDF1B2D92F}"/>
                </a:ext>
              </a:extLst>
            </p:cNvPr>
            <p:cNvSpPr/>
            <p:nvPr/>
          </p:nvSpPr>
          <p:spPr>
            <a:xfrm rot="8716295">
              <a:off x="832824" y="201549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2" name="Forme libre : forme 2211">
              <a:extLst>
                <a:ext uri="{FF2B5EF4-FFF2-40B4-BE49-F238E27FC236}">
                  <a16:creationId xmlns:a16="http://schemas.microsoft.com/office/drawing/2014/main" id="{E08CB140-902C-4737-8277-A98EB5E4EFE4}"/>
                </a:ext>
              </a:extLst>
            </p:cNvPr>
            <p:cNvSpPr/>
            <p:nvPr/>
          </p:nvSpPr>
          <p:spPr>
            <a:xfrm rot="8716295">
              <a:off x="1143979" y="163584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3" name="Forme libre : forme 2212">
              <a:extLst>
                <a:ext uri="{FF2B5EF4-FFF2-40B4-BE49-F238E27FC236}">
                  <a16:creationId xmlns:a16="http://schemas.microsoft.com/office/drawing/2014/main" id="{6E90F74B-F705-42A3-BD1F-6FA4B5FAA019}"/>
                </a:ext>
              </a:extLst>
            </p:cNvPr>
            <p:cNvSpPr/>
            <p:nvPr/>
          </p:nvSpPr>
          <p:spPr>
            <a:xfrm rot="8716295">
              <a:off x="1233371" y="166509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4" name="Forme libre : forme 2213">
              <a:extLst>
                <a:ext uri="{FF2B5EF4-FFF2-40B4-BE49-F238E27FC236}">
                  <a16:creationId xmlns:a16="http://schemas.microsoft.com/office/drawing/2014/main" id="{465358ED-843D-4586-B8A7-8F476C2F6DDB}"/>
                </a:ext>
              </a:extLst>
            </p:cNvPr>
            <p:cNvSpPr/>
            <p:nvPr/>
          </p:nvSpPr>
          <p:spPr>
            <a:xfrm rot="8716295">
              <a:off x="1031745" y="172439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5" name="Forme libre : forme 2214">
              <a:extLst>
                <a:ext uri="{FF2B5EF4-FFF2-40B4-BE49-F238E27FC236}">
                  <a16:creationId xmlns:a16="http://schemas.microsoft.com/office/drawing/2014/main" id="{1FF0FB25-B8F5-4ADE-800A-47430E68573C}"/>
                </a:ext>
              </a:extLst>
            </p:cNvPr>
            <p:cNvSpPr/>
            <p:nvPr/>
          </p:nvSpPr>
          <p:spPr>
            <a:xfrm rot="8716295">
              <a:off x="906843" y="151572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6" name="Forme libre : forme 2215">
              <a:extLst>
                <a:ext uri="{FF2B5EF4-FFF2-40B4-BE49-F238E27FC236}">
                  <a16:creationId xmlns:a16="http://schemas.microsoft.com/office/drawing/2014/main" id="{776C37F0-ED81-4F1F-A328-887B05D06837}"/>
                </a:ext>
              </a:extLst>
            </p:cNvPr>
            <p:cNvSpPr/>
            <p:nvPr/>
          </p:nvSpPr>
          <p:spPr>
            <a:xfrm rot="8716295">
              <a:off x="1121923" y="176534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7" name="Forme libre : forme 2216">
              <a:extLst>
                <a:ext uri="{FF2B5EF4-FFF2-40B4-BE49-F238E27FC236}">
                  <a16:creationId xmlns:a16="http://schemas.microsoft.com/office/drawing/2014/main" id="{3495DB9A-4541-4398-B98F-3D014F3FA02F}"/>
                </a:ext>
              </a:extLst>
            </p:cNvPr>
            <p:cNvSpPr/>
            <p:nvPr/>
          </p:nvSpPr>
          <p:spPr>
            <a:xfrm rot="8716295">
              <a:off x="880472" y="161574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8" name="Forme libre : forme 2217">
              <a:extLst>
                <a:ext uri="{FF2B5EF4-FFF2-40B4-BE49-F238E27FC236}">
                  <a16:creationId xmlns:a16="http://schemas.microsoft.com/office/drawing/2014/main" id="{6174E958-9841-4450-A3B4-4010E7B5DEF3}"/>
                </a:ext>
              </a:extLst>
            </p:cNvPr>
            <p:cNvSpPr/>
            <p:nvPr/>
          </p:nvSpPr>
          <p:spPr>
            <a:xfrm rot="7484129">
              <a:off x="1226854" y="195669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9" name="Forme libre : forme 2218">
              <a:extLst>
                <a:ext uri="{FF2B5EF4-FFF2-40B4-BE49-F238E27FC236}">
                  <a16:creationId xmlns:a16="http://schemas.microsoft.com/office/drawing/2014/main" id="{AEB0FE66-FF50-46B8-A527-A44B045C51F6}"/>
                </a:ext>
              </a:extLst>
            </p:cNvPr>
            <p:cNvSpPr/>
            <p:nvPr/>
          </p:nvSpPr>
          <p:spPr>
            <a:xfrm rot="13089394">
              <a:off x="1331674" y="192323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0" name="Forme libre : forme 2219">
              <a:extLst>
                <a:ext uri="{FF2B5EF4-FFF2-40B4-BE49-F238E27FC236}">
                  <a16:creationId xmlns:a16="http://schemas.microsoft.com/office/drawing/2014/main" id="{71365084-09F0-4177-8899-9AEDD9C836FB}"/>
                </a:ext>
              </a:extLst>
            </p:cNvPr>
            <p:cNvSpPr/>
            <p:nvPr/>
          </p:nvSpPr>
          <p:spPr>
            <a:xfrm rot="8716295">
              <a:off x="1517259" y="173154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1" name="Forme libre : forme 2220">
              <a:extLst>
                <a:ext uri="{FF2B5EF4-FFF2-40B4-BE49-F238E27FC236}">
                  <a16:creationId xmlns:a16="http://schemas.microsoft.com/office/drawing/2014/main" id="{93A16290-1383-4913-A805-FEC6CD68B3A1}"/>
                </a:ext>
              </a:extLst>
            </p:cNvPr>
            <p:cNvSpPr/>
            <p:nvPr/>
          </p:nvSpPr>
          <p:spPr>
            <a:xfrm rot="8716295">
              <a:off x="1465454" y="162795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2" name="Forme libre : forme 2221">
              <a:extLst>
                <a:ext uri="{FF2B5EF4-FFF2-40B4-BE49-F238E27FC236}">
                  <a16:creationId xmlns:a16="http://schemas.microsoft.com/office/drawing/2014/main" id="{89EDCAB4-2647-402D-8A97-2D89ED05C33C}"/>
                </a:ext>
              </a:extLst>
            </p:cNvPr>
            <p:cNvSpPr/>
            <p:nvPr/>
          </p:nvSpPr>
          <p:spPr>
            <a:xfrm rot="8716295">
              <a:off x="1222208" y="165817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3" name="Forme libre : forme 2222">
              <a:extLst>
                <a:ext uri="{FF2B5EF4-FFF2-40B4-BE49-F238E27FC236}">
                  <a16:creationId xmlns:a16="http://schemas.microsoft.com/office/drawing/2014/main" id="{62660570-9841-4140-8539-11BB8C728044}"/>
                </a:ext>
              </a:extLst>
            </p:cNvPr>
            <p:cNvSpPr/>
            <p:nvPr/>
          </p:nvSpPr>
          <p:spPr>
            <a:xfrm rot="8716295">
              <a:off x="1399660" y="149893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4" name="Forme libre : forme 2223">
              <a:extLst>
                <a:ext uri="{FF2B5EF4-FFF2-40B4-BE49-F238E27FC236}">
                  <a16:creationId xmlns:a16="http://schemas.microsoft.com/office/drawing/2014/main" id="{94D3AEEA-4130-43BE-BF5D-CC6BCC5331C3}"/>
                </a:ext>
              </a:extLst>
            </p:cNvPr>
            <p:cNvSpPr/>
            <p:nvPr/>
          </p:nvSpPr>
          <p:spPr>
            <a:xfrm rot="8716295">
              <a:off x="631713" y="12263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5" name="Forme libre : forme 2224">
              <a:extLst>
                <a:ext uri="{FF2B5EF4-FFF2-40B4-BE49-F238E27FC236}">
                  <a16:creationId xmlns:a16="http://schemas.microsoft.com/office/drawing/2014/main" id="{B4B77E9D-EEED-412C-89B0-478E464DFE8E}"/>
                </a:ext>
              </a:extLst>
            </p:cNvPr>
            <p:cNvSpPr/>
            <p:nvPr/>
          </p:nvSpPr>
          <p:spPr>
            <a:xfrm rot="8716295">
              <a:off x="721105" y="12555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6" name="Forme libre : forme 2225">
              <a:extLst>
                <a:ext uri="{FF2B5EF4-FFF2-40B4-BE49-F238E27FC236}">
                  <a16:creationId xmlns:a16="http://schemas.microsoft.com/office/drawing/2014/main" id="{8807D4A1-E0A9-4E7E-A2E7-F2E039C53560}"/>
                </a:ext>
              </a:extLst>
            </p:cNvPr>
            <p:cNvSpPr/>
            <p:nvPr/>
          </p:nvSpPr>
          <p:spPr>
            <a:xfrm rot="8716295">
              <a:off x="676255" y="116926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7" name="Forme libre : forme 2226">
              <a:extLst>
                <a:ext uri="{FF2B5EF4-FFF2-40B4-BE49-F238E27FC236}">
                  <a16:creationId xmlns:a16="http://schemas.microsoft.com/office/drawing/2014/main" id="{E1BBD9BF-9DEF-4962-8461-FCC580DDB3D3}"/>
                </a:ext>
              </a:extLst>
            </p:cNvPr>
            <p:cNvSpPr/>
            <p:nvPr/>
          </p:nvSpPr>
          <p:spPr>
            <a:xfrm rot="8716295">
              <a:off x="519479" y="13148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8" name="Forme libre : forme 2227">
              <a:extLst>
                <a:ext uri="{FF2B5EF4-FFF2-40B4-BE49-F238E27FC236}">
                  <a16:creationId xmlns:a16="http://schemas.microsoft.com/office/drawing/2014/main" id="{372EDAC8-341E-47F1-BA76-59AEE44BA6E9}"/>
                </a:ext>
              </a:extLst>
            </p:cNvPr>
            <p:cNvSpPr/>
            <p:nvPr/>
          </p:nvSpPr>
          <p:spPr>
            <a:xfrm rot="8716295">
              <a:off x="394576" y="11061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9" name="Forme libre : forme 2228">
              <a:extLst>
                <a:ext uri="{FF2B5EF4-FFF2-40B4-BE49-F238E27FC236}">
                  <a16:creationId xmlns:a16="http://schemas.microsoft.com/office/drawing/2014/main" id="{20061EF0-57F1-44A9-B030-EA17BF31A311}"/>
                </a:ext>
              </a:extLst>
            </p:cNvPr>
            <p:cNvSpPr/>
            <p:nvPr/>
          </p:nvSpPr>
          <p:spPr>
            <a:xfrm rot="8716295">
              <a:off x="382524" y="96739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0" name="Forme libre : forme 2229">
              <a:extLst>
                <a:ext uri="{FF2B5EF4-FFF2-40B4-BE49-F238E27FC236}">
                  <a16:creationId xmlns:a16="http://schemas.microsoft.com/office/drawing/2014/main" id="{E38221DF-66A1-4197-AEB7-CCFD55E0085E}"/>
                </a:ext>
              </a:extLst>
            </p:cNvPr>
            <p:cNvSpPr/>
            <p:nvPr/>
          </p:nvSpPr>
          <p:spPr>
            <a:xfrm rot="8716295">
              <a:off x="609657" y="135579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1" name="Forme libre : forme 2230">
              <a:extLst>
                <a:ext uri="{FF2B5EF4-FFF2-40B4-BE49-F238E27FC236}">
                  <a16:creationId xmlns:a16="http://schemas.microsoft.com/office/drawing/2014/main" id="{0E7B4474-3652-4F5C-8982-D11AF746B26A}"/>
                </a:ext>
              </a:extLst>
            </p:cNvPr>
            <p:cNvSpPr/>
            <p:nvPr/>
          </p:nvSpPr>
          <p:spPr>
            <a:xfrm rot="8716295">
              <a:off x="920812" y="97615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2" name="Forme libre : forme 2231">
              <a:extLst>
                <a:ext uri="{FF2B5EF4-FFF2-40B4-BE49-F238E27FC236}">
                  <a16:creationId xmlns:a16="http://schemas.microsoft.com/office/drawing/2014/main" id="{5C3F77C6-9DBA-4DC2-9C2B-8FF32F9AAA66}"/>
                </a:ext>
              </a:extLst>
            </p:cNvPr>
            <p:cNvSpPr/>
            <p:nvPr/>
          </p:nvSpPr>
          <p:spPr>
            <a:xfrm rot="8716295">
              <a:off x="1010204" y="100539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3" name="Forme libre : forme 2232">
              <a:extLst>
                <a:ext uri="{FF2B5EF4-FFF2-40B4-BE49-F238E27FC236}">
                  <a16:creationId xmlns:a16="http://schemas.microsoft.com/office/drawing/2014/main" id="{01433F1B-9E94-4344-95B9-E1384B85B79C}"/>
                </a:ext>
              </a:extLst>
            </p:cNvPr>
            <p:cNvSpPr/>
            <p:nvPr/>
          </p:nvSpPr>
          <p:spPr>
            <a:xfrm rot="8716295">
              <a:off x="808578" y="106469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4" name="Forme libre : forme 2233">
              <a:extLst>
                <a:ext uri="{FF2B5EF4-FFF2-40B4-BE49-F238E27FC236}">
                  <a16:creationId xmlns:a16="http://schemas.microsoft.com/office/drawing/2014/main" id="{6BC6E0A2-64E4-40E2-8DCE-26CE66D5E02C}"/>
                </a:ext>
              </a:extLst>
            </p:cNvPr>
            <p:cNvSpPr/>
            <p:nvPr/>
          </p:nvSpPr>
          <p:spPr>
            <a:xfrm rot="8716295">
              <a:off x="683676" y="85602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5" name="Forme libre : forme 2234">
              <a:extLst>
                <a:ext uri="{FF2B5EF4-FFF2-40B4-BE49-F238E27FC236}">
                  <a16:creationId xmlns:a16="http://schemas.microsoft.com/office/drawing/2014/main" id="{0ECCD552-19E9-4E97-A420-5BD98BF6782E}"/>
                </a:ext>
              </a:extLst>
            </p:cNvPr>
            <p:cNvSpPr/>
            <p:nvPr/>
          </p:nvSpPr>
          <p:spPr>
            <a:xfrm rot="8716295">
              <a:off x="898756" y="110564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6" name="Forme libre : forme 2235">
              <a:extLst>
                <a:ext uri="{FF2B5EF4-FFF2-40B4-BE49-F238E27FC236}">
                  <a16:creationId xmlns:a16="http://schemas.microsoft.com/office/drawing/2014/main" id="{116D78C7-5BD3-483D-8FD7-87DA20AE4194}"/>
                </a:ext>
              </a:extLst>
            </p:cNvPr>
            <p:cNvSpPr/>
            <p:nvPr/>
          </p:nvSpPr>
          <p:spPr>
            <a:xfrm rot="8716295">
              <a:off x="657305" y="95604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7" name="Forme libre : forme 2236">
              <a:extLst>
                <a:ext uri="{FF2B5EF4-FFF2-40B4-BE49-F238E27FC236}">
                  <a16:creationId xmlns:a16="http://schemas.microsoft.com/office/drawing/2014/main" id="{29F6D281-88E6-45CB-99A2-FB067D9F3B98}"/>
                </a:ext>
              </a:extLst>
            </p:cNvPr>
            <p:cNvSpPr/>
            <p:nvPr/>
          </p:nvSpPr>
          <p:spPr>
            <a:xfrm rot="7484129">
              <a:off x="1003687" y="129699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8" name="Forme libre : forme 2237">
              <a:extLst>
                <a:ext uri="{FF2B5EF4-FFF2-40B4-BE49-F238E27FC236}">
                  <a16:creationId xmlns:a16="http://schemas.microsoft.com/office/drawing/2014/main" id="{5FC8B8C2-4930-4090-BC67-DB393B97500E}"/>
                </a:ext>
              </a:extLst>
            </p:cNvPr>
            <p:cNvSpPr/>
            <p:nvPr/>
          </p:nvSpPr>
          <p:spPr>
            <a:xfrm rot="13089394">
              <a:off x="1108507" y="1263531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9" name="Forme libre : forme 2238">
              <a:extLst>
                <a:ext uri="{FF2B5EF4-FFF2-40B4-BE49-F238E27FC236}">
                  <a16:creationId xmlns:a16="http://schemas.microsoft.com/office/drawing/2014/main" id="{7FFA110A-60E0-4270-A16A-59427B4BD564}"/>
                </a:ext>
              </a:extLst>
            </p:cNvPr>
            <p:cNvSpPr/>
            <p:nvPr/>
          </p:nvSpPr>
          <p:spPr>
            <a:xfrm rot="8716295">
              <a:off x="1294092" y="107185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0" name="Forme libre : forme 2239">
              <a:extLst>
                <a:ext uri="{FF2B5EF4-FFF2-40B4-BE49-F238E27FC236}">
                  <a16:creationId xmlns:a16="http://schemas.microsoft.com/office/drawing/2014/main" id="{43E7722F-9E69-4C35-8403-9712C43A657D}"/>
                </a:ext>
              </a:extLst>
            </p:cNvPr>
            <p:cNvSpPr/>
            <p:nvPr/>
          </p:nvSpPr>
          <p:spPr>
            <a:xfrm rot="8716295">
              <a:off x="1242287" y="96825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1" name="Forme libre : forme 2240">
              <a:extLst>
                <a:ext uri="{FF2B5EF4-FFF2-40B4-BE49-F238E27FC236}">
                  <a16:creationId xmlns:a16="http://schemas.microsoft.com/office/drawing/2014/main" id="{41B2DF52-EC40-447D-B212-F5BA125B74F3}"/>
                </a:ext>
              </a:extLst>
            </p:cNvPr>
            <p:cNvSpPr/>
            <p:nvPr/>
          </p:nvSpPr>
          <p:spPr>
            <a:xfrm rot="8716295">
              <a:off x="999041" y="99847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2" name="Forme libre : forme 2241">
              <a:extLst>
                <a:ext uri="{FF2B5EF4-FFF2-40B4-BE49-F238E27FC236}">
                  <a16:creationId xmlns:a16="http://schemas.microsoft.com/office/drawing/2014/main" id="{7EFBB9C6-AA43-4417-B52E-28BAAA544FB3}"/>
                </a:ext>
              </a:extLst>
            </p:cNvPr>
            <p:cNvSpPr/>
            <p:nvPr/>
          </p:nvSpPr>
          <p:spPr>
            <a:xfrm rot="8716295">
              <a:off x="1176493" y="83923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3" name="Forme libre : forme 2242">
              <a:extLst>
                <a:ext uri="{FF2B5EF4-FFF2-40B4-BE49-F238E27FC236}">
                  <a16:creationId xmlns:a16="http://schemas.microsoft.com/office/drawing/2014/main" id="{4FD368D5-7016-4447-A279-0D553702CEF5}"/>
                </a:ext>
              </a:extLst>
            </p:cNvPr>
            <p:cNvSpPr/>
            <p:nvPr/>
          </p:nvSpPr>
          <p:spPr>
            <a:xfrm rot="8716295">
              <a:off x="412774" y="56424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4" name="Forme libre : forme 2243">
              <a:extLst>
                <a:ext uri="{FF2B5EF4-FFF2-40B4-BE49-F238E27FC236}">
                  <a16:creationId xmlns:a16="http://schemas.microsoft.com/office/drawing/2014/main" id="{B1F12F38-F29C-4A98-BB49-D042691F19E4}"/>
                </a:ext>
              </a:extLst>
            </p:cNvPr>
            <p:cNvSpPr/>
            <p:nvPr/>
          </p:nvSpPr>
          <p:spPr>
            <a:xfrm rot="8716295">
              <a:off x="502166" y="59348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5" name="Forme libre : forme 2244">
              <a:extLst>
                <a:ext uri="{FF2B5EF4-FFF2-40B4-BE49-F238E27FC236}">
                  <a16:creationId xmlns:a16="http://schemas.microsoft.com/office/drawing/2014/main" id="{6BA48DFB-361A-47A4-8798-4F12336B216B}"/>
                </a:ext>
              </a:extLst>
            </p:cNvPr>
            <p:cNvSpPr/>
            <p:nvPr/>
          </p:nvSpPr>
          <p:spPr>
            <a:xfrm rot="8716295">
              <a:off x="457316" y="50720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6" name="Forme libre : forme 2245">
              <a:extLst>
                <a:ext uri="{FF2B5EF4-FFF2-40B4-BE49-F238E27FC236}">
                  <a16:creationId xmlns:a16="http://schemas.microsoft.com/office/drawing/2014/main" id="{6FD8FBAD-C985-48A6-A25A-FE4C6FB98699}"/>
                </a:ext>
              </a:extLst>
            </p:cNvPr>
            <p:cNvSpPr/>
            <p:nvPr/>
          </p:nvSpPr>
          <p:spPr>
            <a:xfrm rot="8716295">
              <a:off x="300540" y="65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7" name="Forme libre : forme 2246">
              <a:extLst>
                <a:ext uri="{FF2B5EF4-FFF2-40B4-BE49-F238E27FC236}">
                  <a16:creationId xmlns:a16="http://schemas.microsoft.com/office/drawing/2014/main" id="{33EF0CB4-1296-44AE-9C21-198FBCD6E1E5}"/>
                </a:ext>
              </a:extLst>
            </p:cNvPr>
            <p:cNvSpPr/>
            <p:nvPr/>
          </p:nvSpPr>
          <p:spPr>
            <a:xfrm rot="8716295">
              <a:off x="175637" y="44411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8" name="Forme libre : forme 2247">
              <a:extLst>
                <a:ext uri="{FF2B5EF4-FFF2-40B4-BE49-F238E27FC236}">
                  <a16:creationId xmlns:a16="http://schemas.microsoft.com/office/drawing/2014/main" id="{6A2221EE-902A-4C54-9104-C294E2D36C2C}"/>
                </a:ext>
              </a:extLst>
            </p:cNvPr>
            <p:cNvSpPr/>
            <p:nvPr/>
          </p:nvSpPr>
          <p:spPr>
            <a:xfrm rot="8716295">
              <a:off x="163585" y="30533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9" name="Forme libre : forme 2248">
              <a:extLst>
                <a:ext uri="{FF2B5EF4-FFF2-40B4-BE49-F238E27FC236}">
                  <a16:creationId xmlns:a16="http://schemas.microsoft.com/office/drawing/2014/main" id="{6C6A641B-B2B7-4694-9375-AF850DEFB133}"/>
                </a:ext>
              </a:extLst>
            </p:cNvPr>
            <p:cNvSpPr/>
            <p:nvPr/>
          </p:nvSpPr>
          <p:spPr>
            <a:xfrm rot="8716295">
              <a:off x="390718" y="69374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0" name="Forme libre : forme 2249">
              <a:extLst>
                <a:ext uri="{FF2B5EF4-FFF2-40B4-BE49-F238E27FC236}">
                  <a16:creationId xmlns:a16="http://schemas.microsoft.com/office/drawing/2014/main" id="{399BD360-2FD0-4499-9E83-6E3D562F1E0B}"/>
                </a:ext>
              </a:extLst>
            </p:cNvPr>
            <p:cNvSpPr/>
            <p:nvPr/>
          </p:nvSpPr>
          <p:spPr>
            <a:xfrm rot="8716295">
              <a:off x="701873" y="31409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1" name="Forme libre : forme 2250">
              <a:extLst>
                <a:ext uri="{FF2B5EF4-FFF2-40B4-BE49-F238E27FC236}">
                  <a16:creationId xmlns:a16="http://schemas.microsoft.com/office/drawing/2014/main" id="{A6673CC7-5199-4DDD-870A-3B185B6CBD7D}"/>
                </a:ext>
              </a:extLst>
            </p:cNvPr>
            <p:cNvSpPr/>
            <p:nvPr/>
          </p:nvSpPr>
          <p:spPr>
            <a:xfrm rot="8716295">
              <a:off x="791265" y="34333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2" name="Forme libre : forme 2251">
              <a:extLst>
                <a:ext uri="{FF2B5EF4-FFF2-40B4-BE49-F238E27FC236}">
                  <a16:creationId xmlns:a16="http://schemas.microsoft.com/office/drawing/2014/main" id="{E23031FA-7B57-47D5-98AF-D9423F5F30EE}"/>
                </a:ext>
              </a:extLst>
            </p:cNvPr>
            <p:cNvSpPr/>
            <p:nvPr/>
          </p:nvSpPr>
          <p:spPr>
            <a:xfrm rot="8716295">
              <a:off x="589639" y="40263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" name="Forme libre : forme 2252">
              <a:extLst>
                <a:ext uri="{FF2B5EF4-FFF2-40B4-BE49-F238E27FC236}">
                  <a16:creationId xmlns:a16="http://schemas.microsoft.com/office/drawing/2014/main" id="{18D159E9-838E-47A3-AE83-A4990238B07C}"/>
                </a:ext>
              </a:extLst>
            </p:cNvPr>
            <p:cNvSpPr/>
            <p:nvPr/>
          </p:nvSpPr>
          <p:spPr>
            <a:xfrm rot="8716295">
              <a:off x="464737" y="19396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" name="Forme libre : forme 2253">
              <a:extLst>
                <a:ext uri="{FF2B5EF4-FFF2-40B4-BE49-F238E27FC236}">
                  <a16:creationId xmlns:a16="http://schemas.microsoft.com/office/drawing/2014/main" id="{45FFA073-EC3B-4660-8F03-6BA94AD6386B}"/>
                </a:ext>
              </a:extLst>
            </p:cNvPr>
            <p:cNvSpPr/>
            <p:nvPr/>
          </p:nvSpPr>
          <p:spPr>
            <a:xfrm rot="8716295">
              <a:off x="679817" y="44358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" name="Forme libre : forme 2254">
              <a:extLst>
                <a:ext uri="{FF2B5EF4-FFF2-40B4-BE49-F238E27FC236}">
                  <a16:creationId xmlns:a16="http://schemas.microsoft.com/office/drawing/2014/main" id="{DC04F724-6125-4E5E-BCC5-96720655541A}"/>
                </a:ext>
              </a:extLst>
            </p:cNvPr>
            <p:cNvSpPr/>
            <p:nvPr/>
          </p:nvSpPr>
          <p:spPr>
            <a:xfrm rot="8716295">
              <a:off x="438366" y="29398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6" name="Forme libre : forme 2255">
              <a:extLst>
                <a:ext uri="{FF2B5EF4-FFF2-40B4-BE49-F238E27FC236}">
                  <a16:creationId xmlns:a16="http://schemas.microsoft.com/office/drawing/2014/main" id="{4E07974B-5D4E-45AC-8AC5-4CEC077D2D4A}"/>
                </a:ext>
              </a:extLst>
            </p:cNvPr>
            <p:cNvSpPr/>
            <p:nvPr/>
          </p:nvSpPr>
          <p:spPr>
            <a:xfrm rot="7484129">
              <a:off x="784748" y="63493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7" name="Forme libre : forme 2256">
              <a:extLst>
                <a:ext uri="{FF2B5EF4-FFF2-40B4-BE49-F238E27FC236}">
                  <a16:creationId xmlns:a16="http://schemas.microsoft.com/office/drawing/2014/main" id="{803ECC03-3567-472A-8050-72BD0AD2D44D}"/>
                </a:ext>
              </a:extLst>
            </p:cNvPr>
            <p:cNvSpPr/>
            <p:nvPr/>
          </p:nvSpPr>
          <p:spPr>
            <a:xfrm rot="13089394">
              <a:off x="889568" y="60147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8" name="Forme libre : forme 2257">
              <a:extLst>
                <a:ext uri="{FF2B5EF4-FFF2-40B4-BE49-F238E27FC236}">
                  <a16:creationId xmlns:a16="http://schemas.microsoft.com/office/drawing/2014/main" id="{B771EDEB-2CF0-4352-878D-B2990D9B9504}"/>
                </a:ext>
              </a:extLst>
            </p:cNvPr>
            <p:cNvSpPr/>
            <p:nvPr/>
          </p:nvSpPr>
          <p:spPr>
            <a:xfrm rot="8716295">
              <a:off x="1075153" y="40979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9" name="Forme libre : forme 2258">
              <a:extLst>
                <a:ext uri="{FF2B5EF4-FFF2-40B4-BE49-F238E27FC236}">
                  <a16:creationId xmlns:a16="http://schemas.microsoft.com/office/drawing/2014/main" id="{5143866B-E59F-41E8-AA95-A590D76AAA7E}"/>
                </a:ext>
              </a:extLst>
            </p:cNvPr>
            <p:cNvSpPr/>
            <p:nvPr/>
          </p:nvSpPr>
          <p:spPr>
            <a:xfrm rot="8716295">
              <a:off x="1023348" y="30619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0" name="Forme libre : forme 2259">
              <a:extLst>
                <a:ext uri="{FF2B5EF4-FFF2-40B4-BE49-F238E27FC236}">
                  <a16:creationId xmlns:a16="http://schemas.microsoft.com/office/drawing/2014/main" id="{0E94EEA0-8274-432D-BB6F-9286004332CA}"/>
                </a:ext>
              </a:extLst>
            </p:cNvPr>
            <p:cNvSpPr/>
            <p:nvPr/>
          </p:nvSpPr>
          <p:spPr>
            <a:xfrm rot="8716295">
              <a:off x="780102" y="336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1" name="Forme libre : forme 2260">
              <a:extLst>
                <a:ext uri="{FF2B5EF4-FFF2-40B4-BE49-F238E27FC236}">
                  <a16:creationId xmlns:a16="http://schemas.microsoft.com/office/drawing/2014/main" id="{A6D5A634-8C59-40B1-8D8F-9E7C17280A50}"/>
                </a:ext>
              </a:extLst>
            </p:cNvPr>
            <p:cNvSpPr/>
            <p:nvPr/>
          </p:nvSpPr>
          <p:spPr>
            <a:xfrm rot="8716295">
              <a:off x="957554" y="17717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2" name="Forme libre : forme 2261">
              <a:extLst>
                <a:ext uri="{FF2B5EF4-FFF2-40B4-BE49-F238E27FC236}">
                  <a16:creationId xmlns:a16="http://schemas.microsoft.com/office/drawing/2014/main" id="{AEA08EC4-CD84-4A24-ACC9-A6661B311E57}"/>
                </a:ext>
              </a:extLst>
            </p:cNvPr>
            <p:cNvSpPr/>
            <p:nvPr/>
          </p:nvSpPr>
          <p:spPr>
            <a:xfrm rot="8716295">
              <a:off x="202348" y="-57106"/>
              <a:ext cx="142167" cy="186494"/>
            </a:xfrm>
            <a:custGeom>
              <a:avLst/>
              <a:gdLst>
                <a:gd name="connsiteX0" fmla="*/ 142167 w 142167"/>
                <a:gd name="connsiteY0" fmla="*/ 186494 h 186494"/>
                <a:gd name="connsiteX1" fmla="*/ 81108 w 142167"/>
                <a:gd name="connsiteY1" fmla="*/ 144170 h 186494"/>
                <a:gd name="connsiteX2" fmla="*/ 81108 w 142167"/>
                <a:gd name="connsiteY2" fmla="*/ 69717 h 186494"/>
                <a:gd name="connsiteX3" fmla="*/ 81108 w 142167"/>
                <a:gd name="connsiteY3" fmla="*/ 65615 h 186494"/>
                <a:gd name="connsiteX4" fmla="*/ 60603 w 142167"/>
                <a:gd name="connsiteY4" fmla="*/ 50123 h 186494"/>
                <a:gd name="connsiteX5" fmla="*/ 0 w 142167"/>
                <a:gd name="connsiteY5" fmla="*/ 50123 h 186494"/>
                <a:gd name="connsiteX6" fmla="*/ 0 w 142167"/>
                <a:gd name="connsiteY6" fmla="*/ 0 h 186494"/>
                <a:gd name="connsiteX7" fmla="*/ 85209 w 142167"/>
                <a:gd name="connsiteY7" fmla="*/ 0 h 186494"/>
                <a:gd name="connsiteX8" fmla="*/ 142167 w 142167"/>
                <a:gd name="connsiteY8" fmla="*/ 50123 h 186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86494">
                  <a:moveTo>
                    <a:pt x="142167" y="186494"/>
                  </a:moveTo>
                  <a:lnTo>
                    <a:pt x="81108" y="144170"/>
                  </a:lnTo>
                  <a:lnTo>
                    <a:pt x="81108" y="69717"/>
                  </a:lnTo>
                  <a:cubicBezTo>
                    <a:pt x="81108" y="68349"/>
                    <a:pt x="81108" y="66983"/>
                    <a:pt x="81108" y="65615"/>
                  </a:cubicBezTo>
                  <a:cubicBezTo>
                    <a:pt x="79741" y="55591"/>
                    <a:pt x="70628" y="48756"/>
                    <a:pt x="60603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3" name="Forme libre : forme 2262">
              <a:extLst>
                <a:ext uri="{FF2B5EF4-FFF2-40B4-BE49-F238E27FC236}">
                  <a16:creationId xmlns:a16="http://schemas.microsoft.com/office/drawing/2014/main" id="{60AFC6E6-CF38-4DF0-A5E2-CF7B4BD947CC}"/>
                </a:ext>
              </a:extLst>
            </p:cNvPr>
            <p:cNvSpPr/>
            <p:nvPr/>
          </p:nvSpPr>
          <p:spPr>
            <a:xfrm rot="8716295">
              <a:off x="298766" y="-5395"/>
              <a:ext cx="260639" cy="180054"/>
            </a:xfrm>
            <a:custGeom>
              <a:avLst/>
              <a:gdLst>
                <a:gd name="connsiteX0" fmla="*/ 111638 w 260639"/>
                <a:gd name="connsiteY0" fmla="*/ 180054 h 180054"/>
                <a:gd name="connsiteX1" fmla="*/ 51490 w 260639"/>
                <a:gd name="connsiteY1" fmla="*/ 138362 h 180054"/>
                <a:gd name="connsiteX2" fmla="*/ 51490 w 260639"/>
                <a:gd name="connsiteY2" fmla="*/ 45624 h 180054"/>
                <a:gd name="connsiteX3" fmla="*/ 0 w 260639"/>
                <a:gd name="connsiteY3" fmla="*/ 45624 h 180054"/>
                <a:gd name="connsiteX4" fmla="*/ 0 w 260639"/>
                <a:gd name="connsiteY4" fmla="*/ 1425 h 180054"/>
                <a:gd name="connsiteX5" fmla="*/ 104802 w 260639"/>
                <a:gd name="connsiteY5" fmla="*/ 1425 h 180054"/>
                <a:gd name="connsiteX6" fmla="*/ 104802 w 260639"/>
                <a:gd name="connsiteY6" fmla="*/ 75242 h 180054"/>
                <a:gd name="connsiteX7" fmla="*/ 106169 w 260639"/>
                <a:gd name="connsiteY7" fmla="*/ 75242 h 180054"/>
                <a:gd name="connsiteX8" fmla="*/ 154014 w 260639"/>
                <a:gd name="connsiteY8" fmla="*/ 5981 h 180054"/>
                <a:gd name="connsiteX9" fmla="*/ 185455 w 260639"/>
                <a:gd name="connsiteY9" fmla="*/ 57 h 180054"/>
                <a:gd name="connsiteX10" fmla="*/ 260639 w 260639"/>
                <a:gd name="connsiteY10" fmla="*/ 88456 h 180054"/>
                <a:gd name="connsiteX11" fmla="*/ 260639 w 260639"/>
                <a:gd name="connsiteY11" fmla="*/ 94380 h 180054"/>
                <a:gd name="connsiteX12" fmla="*/ 198669 w 260639"/>
                <a:gd name="connsiteY12" fmla="*/ 98025 h 180054"/>
                <a:gd name="connsiteX13" fmla="*/ 198669 w 260639"/>
                <a:gd name="connsiteY13" fmla="*/ 81621 h 180054"/>
                <a:gd name="connsiteX14" fmla="*/ 164950 w 260639"/>
                <a:gd name="connsiteY14" fmla="*/ 40156 h 180054"/>
                <a:gd name="connsiteX15" fmla="*/ 111638 w 260639"/>
                <a:gd name="connsiteY15" fmla="*/ 127643 h 180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0639" h="180054">
                  <a:moveTo>
                    <a:pt x="111638" y="180054"/>
                  </a:moveTo>
                  <a:lnTo>
                    <a:pt x="51490" y="138362"/>
                  </a:ln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4" name="Forme libre : forme 2263">
              <a:extLst>
                <a:ext uri="{FF2B5EF4-FFF2-40B4-BE49-F238E27FC236}">
                  <a16:creationId xmlns:a16="http://schemas.microsoft.com/office/drawing/2014/main" id="{F99E11F1-879E-43C0-A1F2-522A2B520054}"/>
                </a:ext>
              </a:extLst>
            </p:cNvPr>
            <p:cNvSpPr/>
            <p:nvPr/>
          </p:nvSpPr>
          <p:spPr>
            <a:xfrm rot="8716295">
              <a:off x="276903" y="-12823"/>
              <a:ext cx="36272" cy="27982"/>
            </a:xfrm>
            <a:custGeom>
              <a:avLst/>
              <a:gdLst>
                <a:gd name="connsiteX0" fmla="*/ 36272 w 36272"/>
                <a:gd name="connsiteY0" fmla="*/ 27982 h 27982"/>
                <a:gd name="connsiteX1" fmla="*/ 0 w 36272"/>
                <a:gd name="connsiteY1" fmla="*/ 2840 h 27982"/>
                <a:gd name="connsiteX2" fmla="*/ 9543 w 36272"/>
                <a:gd name="connsiteY2" fmla="*/ 0 h 27982"/>
                <a:gd name="connsiteX3" fmla="*/ 31871 w 36272"/>
                <a:gd name="connsiteY3" fmla="*/ 11392 h 27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272" h="27982">
                  <a:moveTo>
                    <a:pt x="36272" y="27982"/>
                  </a:moveTo>
                  <a:lnTo>
                    <a:pt x="0" y="2840"/>
                  </a:lnTo>
                  <a:lnTo>
                    <a:pt x="9543" y="0"/>
                  </a:lnTo>
                  <a:cubicBezTo>
                    <a:pt x="20479" y="0"/>
                    <a:pt x="27542" y="4784"/>
                    <a:pt x="31871" y="113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5" name="Forme libre : forme 2264">
              <a:extLst>
                <a:ext uri="{FF2B5EF4-FFF2-40B4-BE49-F238E27FC236}">
                  <a16:creationId xmlns:a16="http://schemas.microsoft.com/office/drawing/2014/main" id="{2E8D6347-E8C4-45B5-8A1B-45E97581E04C}"/>
                </a:ext>
              </a:extLst>
            </p:cNvPr>
            <p:cNvSpPr/>
            <p:nvPr/>
          </p:nvSpPr>
          <p:spPr>
            <a:xfrm rot="8716295">
              <a:off x="74640" y="-9665"/>
              <a:ext cx="58068" cy="54772"/>
            </a:xfrm>
            <a:custGeom>
              <a:avLst/>
              <a:gdLst>
                <a:gd name="connsiteX0" fmla="*/ 37436 w 58068"/>
                <a:gd name="connsiteY0" fmla="*/ 54772 h 54772"/>
                <a:gd name="connsiteX1" fmla="*/ 0 w 58068"/>
                <a:gd name="connsiteY1" fmla="*/ 28823 h 54772"/>
                <a:gd name="connsiteX2" fmla="*/ 8515 w 58068"/>
                <a:gd name="connsiteY2" fmla="*/ 8658 h 54772"/>
                <a:gd name="connsiteX3" fmla="*/ 29020 w 58068"/>
                <a:gd name="connsiteY3" fmla="*/ 0 h 54772"/>
                <a:gd name="connsiteX4" fmla="*/ 49525 w 58068"/>
                <a:gd name="connsiteY4" fmla="*/ 8658 h 54772"/>
                <a:gd name="connsiteX5" fmla="*/ 49525 w 58068"/>
                <a:gd name="connsiteY5" fmla="*/ 49668 h 5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068" h="54772">
                  <a:moveTo>
                    <a:pt x="37436" y="54772"/>
                  </a:moveTo>
                  <a:lnTo>
                    <a:pt x="0" y="28823"/>
                  </a:lnTo>
                  <a:lnTo>
                    <a:pt x="8515" y="8658"/>
                  </a:lnTo>
                  <a:cubicBezTo>
                    <a:pt x="13983" y="3190"/>
                    <a:pt x="21273" y="0"/>
                    <a:pt x="29020" y="0"/>
                  </a:cubicBezTo>
                  <a:cubicBezTo>
                    <a:pt x="36766" y="0"/>
                    <a:pt x="44057" y="3190"/>
                    <a:pt x="49525" y="8658"/>
                  </a:cubicBezTo>
                  <a:cubicBezTo>
                    <a:pt x="60916" y="19594"/>
                    <a:pt x="60916" y="38276"/>
                    <a:pt x="49525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6" name="Forme libre : forme 2265">
              <a:extLst>
                <a:ext uri="{FF2B5EF4-FFF2-40B4-BE49-F238E27FC236}">
                  <a16:creationId xmlns:a16="http://schemas.microsoft.com/office/drawing/2014/main" id="{BCA89D21-0065-4D16-A3A0-E2C378DC3A92}"/>
                </a:ext>
              </a:extLst>
            </p:cNvPr>
            <p:cNvSpPr/>
            <p:nvPr/>
          </p:nvSpPr>
          <p:spPr>
            <a:xfrm rot="8716295">
              <a:off x="13802" y="-10406"/>
              <a:ext cx="30027" cy="20814"/>
            </a:xfrm>
            <a:custGeom>
              <a:avLst/>
              <a:gdLst>
                <a:gd name="connsiteX0" fmla="*/ 30027 w 30027"/>
                <a:gd name="connsiteY0" fmla="*/ 20814 h 20814"/>
                <a:gd name="connsiteX1" fmla="*/ 0 w 30027"/>
                <a:gd name="connsiteY1" fmla="*/ 0 h 20814"/>
                <a:gd name="connsiteX2" fmla="*/ 30027 w 30027"/>
                <a:gd name="connsiteY2" fmla="*/ 0 h 20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027" h="20814">
                  <a:moveTo>
                    <a:pt x="30027" y="20814"/>
                  </a:moveTo>
                  <a:lnTo>
                    <a:pt x="0" y="0"/>
                  </a:lnTo>
                  <a:lnTo>
                    <a:pt x="3002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7" name="Forme libre : forme 2266">
              <a:extLst>
                <a:ext uri="{FF2B5EF4-FFF2-40B4-BE49-F238E27FC236}">
                  <a16:creationId xmlns:a16="http://schemas.microsoft.com/office/drawing/2014/main" id="{F71B2498-3B3D-45FC-A329-91E00C9C5967}"/>
                </a:ext>
              </a:extLst>
            </p:cNvPr>
            <p:cNvSpPr/>
            <p:nvPr/>
          </p:nvSpPr>
          <p:spPr>
            <a:xfrm rot="8716295">
              <a:off x="168048" y="3032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8" name="Forme libre : forme 2267">
              <a:extLst>
                <a:ext uri="{FF2B5EF4-FFF2-40B4-BE49-F238E27FC236}">
                  <a16:creationId xmlns:a16="http://schemas.microsoft.com/office/drawing/2014/main" id="{3CF8E69B-B55C-41E9-B911-1981925CCEB5}"/>
                </a:ext>
              </a:extLst>
            </p:cNvPr>
            <p:cNvSpPr/>
            <p:nvPr/>
          </p:nvSpPr>
          <p:spPr>
            <a:xfrm rot="7484129">
              <a:off x="562078" y="-284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9" name="Forme libre : forme 2268">
              <a:extLst>
                <a:ext uri="{FF2B5EF4-FFF2-40B4-BE49-F238E27FC236}">
                  <a16:creationId xmlns:a16="http://schemas.microsoft.com/office/drawing/2014/main" id="{4C71276B-40A5-4E8A-A73A-B1F9AA0F0D51}"/>
                </a:ext>
              </a:extLst>
            </p:cNvPr>
            <p:cNvSpPr/>
            <p:nvPr/>
          </p:nvSpPr>
          <p:spPr>
            <a:xfrm rot="13089394">
              <a:off x="775514" y="-27038"/>
              <a:ext cx="149688" cy="328219"/>
            </a:xfrm>
            <a:custGeom>
              <a:avLst/>
              <a:gdLst>
                <a:gd name="connsiteX0" fmla="*/ 149688 w 149688"/>
                <a:gd name="connsiteY0" fmla="*/ 279622 h 328219"/>
                <a:gd name="connsiteX1" fmla="*/ 87835 w 149688"/>
                <a:gd name="connsiteY1" fmla="*/ 328219 h 328219"/>
                <a:gd name="connsiteX2" fmla="*/ 54765 w 149688"/>
                <a:gd name="connsiteY2" fmla="*/ 322521 h 328219"/>
                <a:gd name="connsiteX3" fmla="*/ 23727 w 149688"/>
                <a:gd name="connsiteY3" fmla="*/ 301277 h 328219"/>
                <a:gd name="connsiteX4" fmla="*/ 0 w 149688"/>
                <a:gd name="connsiteY4" fmla="*/ 206369 h 328219"/>
                <a:gd name="connsiteX5" fmla="*/ 0 w 149688"/>
                <a:gd name="connsiteY5" fmla="*/ 38074 h 328219"/>
                <a:gd name="connsiteX6" fmla="*/ 73388 w 149688"/>
                <a:gd name="connsiteY6" fmla="*/ 0 h 328219"/>
                <a:gd name="connsiteX7" fmla="*/ 74492 w 149688"/>
                <a:gd name="connsiteY7" fmla="*/ 153950 h 328219"/>
                <a:gd name="connsiteX8" fmla="*/ 87734 w 149688"/>
                <a:gd name="connsiteY8" fmla="*/ 245547 h 328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9688" h="328219">
                  <a:moveTo>
                    <a:pt x="149688" y="279622"/>
                  </a:moveTo>
                  <a:lnTo>
                    <a:pt x="87835" y="328219"/>
                  </a:lnTo>
                  <a:lnTo>
                    <a:pt x="54765" y="322521"/>
                  </a:lnTo>
                  <a:cubicBezTo>
                    <a:pt x="43178" y="317693"/>
                    <a:pt x="32555" y="310382"/>
                    <a:pt x="23727" y="301277"/>
                  </a:cubicBezTo>
                  <a:cubicBezTo>
                    <a:pt x="4966" y="283069"/>
                    <a:pt x="0" y="251616"/>
                    <a:pt x="0" y="206369"/>
                  </a:cubicBez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2836" y="184850"/>
                    <a:pt x="77802" y="216302"/>
                    <a:pt x="87734" y="2455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0" name="Forme libre : forme 2269">
              <a:extLst>
                <a:ext uri="{FF2B5EF4-FFF2-40B4-BE49-F238E27FC236}">
                  <a16:creationId xmlns:a16="http://schemas.microsoft.com/office/drawing/2014/main" id="{989F33F8-2CEA-46E0-977C-BF10A5F6EC24}"/>
                </a:ext>
              </a:extLst>
            </p:cNvPr>
            <p:cNvSpPr/>
            <p:nvPr/>
          </p:nvSpPr>
          <p:spPr>
            <a:xfrm rot="8716295">
              <a:off x="5027149" y="202701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1" name="Forme libre : forme 2270">
              <a:extLst>
                <a:ext uri="{FF2B5EF4-FFF2-40B4-BE49-F238E27FC236}">
                  <a16:creationId xmlns:a16="http://schemas.microsoft.com/office/drawing/2014/main" id="{9811A813-1EE2-49DA-9483-7786C91105E8}"/>
                </a:ext>
              </a:extLst>
            </p:cNvPr>
            <p:cNvSpPr/>
            <p:nvPr/>
          </p:nvSpPr>
          <p:spPr>
            <a:xfrm rot="8716295">
              <a:off x="5116541" y="205625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2" name="Forme libre : forme 2271">
              <a:extLst>
                <a:ext uri="{FF2B5EF4-FFF2-40B4-BE49-F238E27FC236}">
                  <a16:creationId xmlns:a16="http://schemas.microsoft.com/office/drawing/2014/main" id="{8FC8FB61-C549-4F81-9375-A1D7E59B1E17}"/>
                </a:ext>
              </a:extLst>
            </p:cNvPr>
            <p:cNvSpPr/>
            <p:nvPr/>
          </p:nvSpPr>
          <p:spPr>
            <a:xfrm rot="8716295">
              <a:off x="5071691" y="196997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3" name="Forme libre : forme 2272">
              <a:extLst>
                <a:ext uri="{FF2B5EF4-FFF2-40B4-BE49-F238E27FC236}">
                  <a16:creationId xmlns:a16="http://schemas.microsoft.com/office/drawing/2014/main" id="{0CFFA3A9-B086-4D44-B5C2-B82670FF13BF}"/>
                </a:ext>
              </a:extLst>
            </p:cNvPr>
            <p:cNvSpPr/>
            <p:nvPr/>
          </p:nvSpPr>
          <p:spPr>
            <a:xfrm rot="8716295">
              <a:off x="4914915" y="211555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4" name="Forme libre : forme 2273">
              <a:extLst>
                <a:ext uri="{FF2B5EF4-FFF2-40B4-BE49-F238E27FC236}">
                  <a16:creationId xmlns:a16="http://schemas.microsoft.com/office/drawing/2014/main" id="{233AD9D8-2DDF-4DFC-A97A-554BCD15069B}"/>
                </a:ext>
              </a:extLst>
            </p:cNvPr>
            <p:cNvSpPr/>
            <p:nvPr/>
          </p:nvSpPr>
          <p:spPr>
            <a:xfrm rot="8716295">
              <a:off x="4790012" y="190688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5" name="Forme libre : forme 2274">
              <a:extLst>
                <a:ext uri="{FF2B5EF4-FFF2-40B4-BE49-F238E27FC236}">
                  <a16:creationId xmlns:a16="http://schemas.microsoft.com/office/drawing/2014/main" id="{F30C5186-83A8-436D-A1B1-82D8B26F890D}"/>
                </a:ext>
              </a:extLst>
            </p:cNvPr>
            <p:cNvSpPr/>
            <p:nvPr/>
          </p:nvSpPr>
          <p:spPr>
            <a:xfrm rot="8716295">
              <a:off x="4777960" y="176810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6" name="Forme libre : forme 2275">
              <a:extLst>
                <a:ext uri="{FF2B5EF4-FFF2-40B4-BE49-F238E27FC236}">
                  <a16:creationId xmlns:a16="http://schemas.microsoft.com/office/drawing/2014/main" id="{A0377747-04B1-4283-950B-CD843F97EFB6}"/>
                </a:ext>
              </a:extLst>
            </p:cNvPr>
            <p:cNvSpPr/>
            <p:nvPr/>
          </p:nvSpPr>
          <p:spPr>
            <a:xfrm rot="8716295">
              <a:off x="5005093" y="215651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7" name="Forme libre : forme 2276">
              <a:extLst>
                <a:ext uri="{FF2B5EF4-FFF2-40B4-BE49-F238E27FC236}">
                  <a16:creationId xmlns:a16="http://schemas.microsoft.com/office/drawing/2014/main" id="{3571DCD9-8E3F-48D7-BBF0-29E0A04E1105}"/>
                </a:ext>
              </a:extLst>
            </p:cNvPr>
            <p:cNvSpPr/>
            <p:nvPr/>
          </p:nvSpPr>
          <p:spPr>
            <a:xfrm rot="8716295">
              <a:off x="5316248" y="177686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8" name="Forme libre : forme 2277">
              <a:extLst>
                <a:ext uri="{FF2B5EF4-FFF2-40B4-BE49-F238E27FC236}">
                  <a16:creationId xmlns:a16="http://schemas.microsoft.com/office/drawing/2014/main" id="{B5194E53-4203-440A-97AE-D778552CB387}"/>
                </a:ext>
              </a:extLst>
            </p:cNvPr>
            <p:cNvSpPr/>
            <p:nvPr/>
          </p:nvSpPr>
          <p:spPr>
            <a:xfrm rot="8716295">
              <a:off x="5405640" y="180610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9" name="Forme libre : forme 2278">
              <a:extLst>
                <a:ext uri="{FF2B5EF4-FFF2-40B4-BE49-F238E27FC236}">
                  <a16:creationId xmlns:a16="http://schemas.microsoft.com/office/drawing/2014/main" id="{DAF19CC7-74AA-4704-A1D2-062102FB21F8}"/>
                </a:ext>
              </a:extLst>
            </p:cNvPr>
            <p:cNvSpPr/>
            <p:nvPr/>
          </p:nvSpPr>
          <p:spPr>
            <a:xfrm rot="8716295">
              <a:off x="5204014" y="186540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0" name="Forme libre : forme 2279">
              <a:extLst>
                <a:ext uri="{FF2B5EF4-FFF2-40B4-BE49-F238E27FC236}">
                  <a16:creationId xmlns:a16="http://schemas.microsoft.com/office/drawing/2014/main" id="{25EC3E6E-10D1-4116-AA5A-C57DF5107B67}"/>
                </a:ext>
              </a:extLst>
            </p:cNvPr>
            <p:cNvSpPr/>
            <p:nvPr/>
          </p:nvSpPr>
          <p:spPr>
            <a:xfrm rot="8716295">
              <a:off x="5079112" y="165673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1" name="Forme libre : forme 2280">
              <a:extLst>
                <a:ext uri="{FF2B5EF4-FFF2-40B4-BE49-F238E27FC236}">
                  <a16:creationId xmlns:a16="http://schemas.microsoft.com/office/drawing/2014/main" id="{C9FA81BF-DE28-4428-8ED6-97559BBCCD8C}"/>
                </a:ext>
              </a:extLst>
            </p:cNvPr>
            <p:cNvSpPr/>
            <p:nvPr/>
          </p:nvSpPr>
          <p:spPr>
            <a:xfrm rot="8716295">
              <a:off x="5294192" y="190635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2" name="Forme libre : forme 2281">
              <a:extLst>
                <a:ext uri="{FF2B5EF4-FFF2-40B4-BE49-F238E27FC236}">
                  <a16:creationId xmlns:a16="http://schemas.microsoft.com/office/drawing/2014/main" id="{7CBE3143-36E0-46F6-A7F9-68442F5449A1}"/>
                </a:ext>
              </a:extLst>
            </p:cNvPr>
            <p:cNvSpPr/>
            <p:nvPr/>
          </p:nvSpPr>
          <p:spPr>
            <a:xfrm rot="8716295">
              <a:off x="5052741" y="175675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3" name="Forme libre : forme 2282">
              <a:extLst>
                <a:ext uri="{FF2B5EF4-FFF2-40B4-BE49-F238E27FC236}">
                  <a16:creationId xmlns:a16="http://schemas.microsoft.com/office/drawing/2014/main" id="{6D272255-56C7-4DCB-8E2D-FCB1C2CD9031}"/>
                </a:ext>
              </a:extLst>
            </p:cNvPr>
            <p:cNvSpPr/>
            <p:nvPr/>
          </p:nvSpPr>
          <p:spPr>
            <a:xfrm rot="7484129">
              <a:off x="5399123" y="209771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4" name="Forme libre : forme 2283">
              <a:extLst>
                <a:ext uri="{FF2B5EF4-FFF2-40B4-BE49-F238E27FC236}">
                  <a16:creationId xmlns:a16="http://schemas.microsoft.com/office/drawing/2014/main" id="{4FB405A8-78D2-42A0-AA73-3F8891BBCD16}"/>
                </a:ext>
              </a:extLst>
            </p:cNvPr>
            <p:cNvSpPr/>
            <p:nvPr/>
          </p:nvSpPr>
          <p:spPr>
            <a:xfrm rot="13089394">
              <a:off x="5503943" y="206424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5" name="Forme libre : forme 2284">
              <a:extLst>
                <a:ext uri="{FF2B5EF4-FFF2-40B4-BE49-F238E27FC236}">
                  <a16:creationId xmlns:a16="http://schemas.microsoft.com/office/drawing/2014/main" id="{5D1227F4-9CCA-498B-B4A8-3FC0F584569C}"/>
                </a:ext>
              </a:extLst>
            </p:cNvPr>
            <p:cNvSpPr/>
            <p:nvPr/>
          </p:nvSpPr>
          <p:spPr>
            <a:xfrm rot="8716295">
              <a:off x="5689528" y="187256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6" name="Forme libre : forme 2285">
              <a:extLst>
                <a:ext uri="{FF2B5EF4-FFF2-40B4-BE49-F238E27FC236}">
                  <a16:creationId xmlns:a16="http://schemas.microsoft.com/office/drawing/2014/main" id="{C59C685B-27AB-40A0-A906-985CA6213EBC}"/>
                </a:ext>
              </a:extLst>
            </p:cNvPr>
            <p:cNvSpPr/>
            <p:nvPr/>
          </p:nvSpPr>
          <p:spPr>
            <a:xfrm rot="8716295">
              <a:off x="5637723" y="176897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7" name="Forme libre : forme 2286">
              <a:extLst>
                <a:ext uri="{FF2B5EF4-FFF2-40B4-BE49-F238E27FC236}">
                  <a16:creationId xmlns:a16="http://schemas.microsoft.com/office/drawing/2014/main" id="{8DB70848-D82B-4310-9BBA-A9459B171C10}"/>
                </a:ext>
              </a:extLst>
            </p:cNvPr>
            <p:cNvSpPr/>
            <p:nvPr/>
          </p:nvSpPr>
          <p:spPr>
            <a:xfrm rot="8716295">
              <a:off x="5394477" y="179919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8" name="Forme libre : forme 2287">
              <a:extLst>
                <a:ext uri="{FF2B5EF4-FFF2-40B4-BE49-F238E27FC236}">
                  <a16:creationId xmlns:a16="http://schemas.microsoft.com/office/drawing/2014/main" id="{C5272E14-DCC6-4573-8D08-FD212965F221}"/>
                </a:ext>
              </a:extLst>
            </p:cNvPr>
            <p:cNvSpPr/>
            <p:nvPr/>
          </p:nvSpPr>
          <p:spPr>
            <a:xfrm rot="8716295">
              <a:off x="5571929" y="163994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9" name="Forme libre : forme 2288">
              <a:extLst>
                <a:ext uri="{FF2B5EF4-FFF2-40B4-BE49-F238E27FC236}">
                  <a16:creationId xmlns:a16="http://schemas.microsoft.com/office/drawing/2014/main" id="{A350DCBD-0FDA-496A-BBBE-BB7098DAD44D}"/>
                </a:ext>
              </a:extLst>
            </p:cNvPr>
            <p:cNvSpPr/>
            <p:nvPr/>
          </p:nvSpPr>
          <p:spPr>
            <a:xfrm rot="8716295">
              <a:off x="5250316" y="268671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0" name="Forme libre : forme 2289">
              <a:extLst>
                <a:ext uri="{FF2B5EF4-FFF2-40B4-BE49-F238E27FC236}">
                  <a16:creationId xmlns:a16="http://schemas.microsoft.com/office/drawing/2014/main" id="{424249A1-386F-413D-A213-ACEDD63BDA25}"/>
                </a:ext>
              </a:extLst>
            </p:cNvPr>
            <p:cNvSpPr/>
            <p:nvPr/>
          </p:nvSpPr>
          <p:spPr>
            <a:xfrm rot="8716295">
              <a:off x="5339708" y="271595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1" name="Forme libre : forme 2290">
              <a:extLst>
                <a:ext uri="{FF2B5EF4-FFF2-40B4-BE49-F238E27FC236}">
                  <a16:creationId xmlns:a16="http://schemas.microsoft.com/office/drawing/2014/main" id="{ECDCBBB4-5207-4603-B3A2-EE99E034021A}"/>
                </a:ext>
              </a:extLst>
            </p:cNvPr>
            <p:cNvSpPr/>
            <p:nvPr/>
          </p:nvSpPr>
          <p:spPr>
            <a:xfrm rot="8716295">
              <a:off x="5294858" y="262967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2" name="Forme libre : forme 2291">
              <a:extLst>
                <a:ext uri="{FF2B5EF4-FFF2-40B4-BE49-F238E27FC236}">
                  <a16:creationId xmlns:a16="http://schemas.microsoft.com/office/drawing/2014/main" id="{586B3E24-B064-4091-9B72-D089A71B8329}"/>
                </a:ext>
              </a:extLst>
            </p:cNvPr>
            <p:cNvSpPr/>
            <p:nvPr/>
          </p:nvSpPr>
          <p:spPr>
            <a:xfrm rot="8716295">
              <a:off x="5138082" y="277525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3" name="Forme libre : forme 2292">
              <a:extLst>
                <a:ext uri="{FF2B5EF4-FFF2-40B4-BE49-F238E27FC236}">
                  <a16:creationId xmlns:a16="http://schemas.microsoft.com/office/drawing/2014/main" id="{0B8199E1-B2FB-471F-BB74-205302CD4EEC}"/>
                </a:ext>
              </a:extLst>
            </p:cNvPr>
            <p:cNvSpPr/>
            <p:nvPr/>
          </p:nvSpPr>
          <p:spPr>
            <a:xfrm rot="8716295">
              <a:off x="5013179" y="256658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4" name="Forme libre : forme 2293">
              <a:extLst>
                <a:ext uri="{FF2B5EF4-FFF2-40B4-BE49-F238E27FC236}">
                  <a16:creationId xmlns:a16="http://schemas.microsoft.com/office/drawing/2014/main" id="{2FB2D688-FEA9-44F3-ABA3-DB1429B0A2C4}"/>
                </a:ext>
              </a:extLst>
            </p:cNvPr>
            <p:cNvSpPr/>
            <p:nvPr/>
          </p:nvSpPr>
          <p:spPr>
            <a:xfrm rot="8716295">
              <a:off x="5001127" y="242780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5" name="Forme libre : forme 2294">
              <a:extLst>
                <a:ext uri="{FF2B5EF4-FFF2-40B4-BE49-F238E27FC236}">
                  <a16:creationId xmlns:a16="http://schemas.microsoft.com/office/drawing/2014/main" id="{CD81BB45-7980-4C73-85FE-6BB2DBE766EF}"/>
                </a:ext>
              </a:extLst>
            </p:cNvPr>
            <p:cNvSpPr/>
            <p:nvPr/>
          </p:nvSpPr>
          <p:spPr>
            <a:xfrm rot="8716295">
              <a:off x="5228260" y="281621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6" name="Forme libre : forme 2295">
              <a:extLst>
                <a:ext uri="{FF2B5EF4-FFF2-40B4-BE49-F238E27FC236}">
                  <a16:creationId xmlns:a16="http://schemas.microsoft.com/office/drawing/2014/main" id="{45A188F4-BDAA-4C8F-BC77-E18E0A410657}"/>
                </a:ext>
              </a:extLst>
            </p:cNvPr>
            <p:cNvSpPr/>
            <p:nvPr/>
          </p:nvSpPr>
          <p:spPr>
            <a:xfrm rot="8716295">
              <a:off x="5539415" y="243656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7" name="Forme libre : forme 2296">
              <a:extLst>
                <a:ext uri="{FF2B5EF4-FFF2-40B4-BE49-F238E27FC236}">
                  <a16:creationId xmlns:a16="http://schemas.microsoft.com/office/drawing/2014/main" id="{6F38191A-A16B-4F12-A551-5C44F7C985EE}"/>
                </a:ext>
              </a:extLst>
            </p:cNvPr>
            <p:cNvSpPr/>
            <p:nvPr/>
          </p:nvSpPr>
          <p:spPr>
            <a:xfrm rot="8716295">
              <a:off x="5628807" y="246580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8" name="Forme libre : forme 2297">
              <a:extLst>
                <a:ext uri="{FF2B5EF4-FFF2-40B4-BE49-F238E27FC236}">
                  <a16:creationId xmlns:a16="http://schemas.microsoft.com/office/drawing/2014/main" id="{D3CC80E9-1D47-429F-ACDE-A621C24CBE44}"/>
                </a:ext>
              </a:extLst>
            </p:cNvPr>
            <p:cNvSpPr/>
            <p:nvPr/>
          </p:nvSpPr>
          <p:spPr>
            <a:xfrm rot="8716295">
              <a:off x="5427181" y="252510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9" name="Forme libre : forme 2298">
              <a:extLst>
                <a:ext uri="{FF2B5EF4-FFF2-40B4-BE49-F238E27FC236}">
                  <a16:creationId xmlns:a16="http://schemas.microsoft.com/office/drawing/2014/main" id="{A24688B2-0199-4274-9FD6-B44932C06770}"/>
                </a:ext>
              </a:extLst>
            </p:cNvPr>
            <p:cNvSpPr/>
            <p:nvPr/>
          </p:nvSpPr>
          <p:spPr>
            <a:xfrm rot="8716295">
              <a:off x="5302279" y="231643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0" name="Forme libre : forme 2299">
              <a:extLst>
                <a:ext uri="{FF2B5EF4-FFF2-40B4-BE49-F238E27FC236}">
                  <a16:creationId xmlns:a16="http://schemas.microsoft.com/office/drawing/2014/main" id="{8CACAF0B-4223-489E-8142-FE6C0E2ABE02}"/>
                </a:ext>
              </a:extLst>
            </p:cNvPr>
            <p:cNvSpPr/>
            <p:nvPr/>
          </p:nvSpPr>
          <p:spPr>
            <a:xfrm rot="8716295">
              <a:off x="5517359" y="256605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1" name="Forme libre : forme 2300">
              <a:extLst>
                <a:ext uri="{FF2B5EF4-FFF2-40B4-BE49-F238E27FC236}">
                  <a16:creationId xmlns:a16="http://schemas.microsoft.com/office/drawing/2014/main" id="{1DE11DE1-1806-43C0-806D-86BA3E33BB9E}"/>
                </a:ext>
              </a:extLst>
            </p:cNvPr>
            <p:cNvSpPr/>
            <p:nvPr/>
          </p:nvSpPr>
          <p:spPr>
            <a:xfrm rot="8716295">
              <a:off x="5275908" y="241645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2" name="Forme libre : forme 2301">
              <a:extLst>
                <a:ext uri="{FF2B5EF4-FFF2-40B4-BE49-F238E27FC236}">
                  <a16:creationId xmlns:a16="http://schemas.microsoft.com/office/drawing/2014/main" id="{CEF4E15F-06D3-4C85-B288-4FE5B46D9A79}"/>
                </a:ext>
              </a:extLst>
            </p:cNvPr>
            <p:cNvSpPr/>
            <p:nvPr/>
          </p:nvSpPr>
          <p:spPr>
            <a:xfrm rot="7484129">
              <a:off x="5622290" y="275740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3" name="Forme libre : forme 2302">
              <a:extLst>
                <a:ext uri="{FF2B5EF4-FFF2-40B4-BE49-F238E27FC236}">
                  <a16:creationId xmlns:a16="http://schemas.microsoft.com/office/drawing/2014/main" id="{99463D07-3957-4F25-99F6-6382826CCF9D}"/>
                </a:ext>
              </a:extLst>
            </p:cNvPr>
            <p:cNvSpPr/>
            <p:nvPr/>
          </p:nvSpPr>
          <p:spPr>
            <a:xfrm rot="13089394">
              <a:off x="5718537" y="2742349"/>
              <a:ext cx="222098" cy="286724"/>
            </a:xfrm>
            <a:custGeom>
              <a:avLst/>
              <a:gdLst>
                <a:gd name="connsiteX0" fmla="*/ 23241 w 222098"/>
                <a:gd name="connsiteY0" fmla="*/ 47275 h 286724"/>
                <a:gd name="connsiteX1" fmla="*/ 0 w 222098"/>
                <a:gd name="connsiteY1" fmla="*/ 11882 h 286724"/>
                <a:gd name="connsiteX2" fmla="*/ 22902 w 222098"/>
                <a:gd name="connsiteY2" fmla="*/ 0 h 286724"/>
                <a:gd name="connsiteX3" fmla="*/ 222098 w 222098"/>
                <a:gd name="connsiteY3" fmla="*/ 258238 h 286724"/>
                <a:gd name="connsiteX4" fmla="*/ 180472 w 222098"/>
                <a:gd name="connsiteY4" fmla="*/ 286724 h 286724"/>
                <a:gd name="connsiteX5" fmla="*/ 167667 w 222098"/>
                <a:gd name="connsiteY5" fmla="*/ 267224 h 286724"/>
                <a:gd name="connsiteX6" fmla="*/ 220995 w 222098"/>
                <a:gd name="connsiteY6" fmla="*/ 245547 h 286724"/>
                <a:gd name="connsiteX7" fmla="*/ 222098 w 222098"/>
                <a:gd name="connsiteY7" fmla="*/ 252720 h 286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2098" h="286724">
                  <a:moveTo>
                    <a:pt x="23241" y="47275"/>
                  </a:moveTo>
                  <a:lnTo>
                    <a:pt x="0" y="11882"/>
                  </a:lnTo>
                  <a:lnTo>
                    <a:pt x="22902" y="0"/>
                  </a:lnTo>
                  <a:close/>
                  <a:moveTo>
                    <a:pt x="222098" y="258238"/>
                  </a:moveTo>
                  <a:lnTo>
                    <a:pt x="180472" y="286724"/>
                  </a:lnTo>
                  <a:lnTo>
                    <a:pt x="167667" y="267224"/>
                  </a:lnTo>
                  <a:lnTo>
                    <a:pt x="220995" y="245547"/>
                  </a:lnTo>
                  <a:cubicBezTo>
                    <a:pt x="221546" y="247754"/>
                    <a:pt x="222098" y="250513"/>
                    <a:pt x="222098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4" name="Forme libre : forme 2303">
              <a:extLst>
                <a:ext uri="{FF2B5EF4-FFF2-40B4-BE49-F238E27FC236}">
                  <a16:creationId xmlns:a16="http://schemas.microsoft.com/office/drawing/2014/main" id="{595B531E-AE51-4EB8-A220-EECB43E78A0A}"/>
                </a:ext>
              </a:extLst>
            </p:cNvPr>
            <p:cNvSpPr/>
            <p:nvPr/>
          </p:nvSpPr>
          <p:spPr>
            <a:xfrm rot="8716295">
              <a:off x="5845439" y="2441114"/>
              <a:ext cx="69626" cy="78683"/>
            </a:xfrm>
            <a:custGeom>
              <a:avLst/>
              <a:gdLst>
                <a:gd name="connsiteX0" fmla="*/ 0 w 69626"/>
                <a:gd name="connsiteY0" fmla="*/ 74288 h 78683"/>
                <a:gd name="connsiteX1" fmla="*/ 61446 w 69626"/>
                <a:gd name="connsiteY1" fmla="*/ 0 h 78683"/>
                <a:gd name="connsiteX2" fmla="*/ 69626 w 69626"/>
                <a:gd name="connsiteY2" fmla="*/ 19468 h 78683"/>
                <a:gd name="connsiteX3" fmla="*/ 52380 w 69626"/>
                <a:gd name="connsiteY3" fmla="*/ 61206 h 78683"/>
                <a:gd name="connsiteX4" fmla="*/ 10986 w 69626"/>
                <a:gd name="connsiteY4" fmla="*/ 78683 h 78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626" h="78683">
                  <a:moveTo>
                    <a:pt x="0" y="74288"/>
                  </a:moveTo>
                  <a:lnTo>
                    <a:pt x="61446" y="0"/>
                  </a:lnTo>
                  <a:lnTo>
                    <a:pt x="69626" y="19468"/>
                  </a:lnTo>
                  <a:cubicBezTo>
                    <a:pt x="69626" y="34531"/>
                    <a:pt x="63877" y="49708"/>
                    <a:pt x="52380" y="61206"/>
                  </a:cubicBezTo>
                  <a:cubicBezTo>
                    <a:pt x="41341" y="72244"/>
                    <a:pt x="26624" y="78683"/>
                    <a:pt x="10986" y="786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5" name="Forme libre : forme 2304">
              <a:extLst>
                <a:ext uri="{FF2B5EF4-FFF2-40B4-BE49-F238E27FC236}">
                  <a16:creationId xmlns:a16="http://schemas.microsoft.com/office/drawing/2014/main" id="{56DB83FE-66AC-4319-B8BC-7D9AE2504E48}"/>
                </a:ext>
              </a:extLst>
            </p:cNvPr>
            <p:cNvSpPr/>
            <p:nvPr/>
          </p:nvSpPr>
          <p:spPr>
            <a:xfrm rot="8716295">
              <a:off x="5617644" y="245889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6" name="Forme libre : forme 2305">
              <a:extLst>
                <a:ext uri="{FF2B5EF4-FFF2-40B4-BE49-F238E27FC236}">
                  <a16:creationId xmlns:a16="http://schemas.microsoft.com/office/drawing/2014/main" id="{059CCF50-6F3B-445A-81D2-1722B84AB898}"/>
                </a:ext>
              </a:extLst>
            </p:cNvPr>
            <p:cNvSpPr/>
            <p:nvPr/>
          </p:nvSpPr>
          <p:spPr>
            <a:xfrm rot="8716295">
              <a:off x="5786507" y="2294976"/>
              <a:ext cx="117509" cy="117739"/>
            </a:xfrm>
            <a:custGeom>
              <a:avLst/>
              <a:gdLst>
                <a:gd name="connsiteX0" fmla="*/ 17477 w 117509"/>
                <a:gd name="connsiteY0" fmla="*/ 101182 h 117739"/>
                <a:gd name="connsiteX1" fmla="*/ 0 w 117509"/>
                <a:gd name="connsiteY1" fmla="*/ 59790 h 117739"/>
                <a:gd name="connsiteX2" fmla="*/ 0 w 117509"/>
                <a:gd name="connsiteY2" fmla="*/ 58869 h 117739"/>
                <a:gd name="connsiteX3" fmla="*/ 2091 w 117509"/>
                <a:gd name="connsiteY3" fmla="*/ 48678 h 117739"/>
                <a:gd name="connsiteX4" fmla="*/ 38978 w 117509"/>
                <a:gd name="connsiteY4" fmla="*/ 4080 h 117739"/>
                <a:gd name="connsiteX5" fmla="*/ 58869 w 117509"/>
                <a:gd name="connsiteY5" fmla="*/ 0 h 117739"/>
                <a:gd name="connsiteX6" fmla="*/ 100263 w 117509"/>
                <a:gd name="connsiteY6" fmla="*/ 17477 h 117739"/>
                <a:gd name="connsiteX7" fmla="*/ 100263 w 117509"/>
                <a:gd name="connsiteY7" fmla="*/ 100262 h 117739"/>
                <a:gd name="connsiteX8" fmla="*/ 58869 w 117509"/>
                <a:gd name="connsiteY8" fmla="*/ 117739 h 117739"/>
                <a:gd name="connsiteX9" fmla="*/ 17477 w 117509"/>
                <a:gd name="connsiteY9" fmla="*/ 101182 h 117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09" h="117739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lnTo>
                    <a:pt x="2091" y="48678"/>
                  </a:lnTo>
                  <a:lnTo>
                    <a:pt x="38978" y="4080"/>
                  </a:lnTo>
                  <a:lnTo>
                    <a:pt x="58869" y="0"/>
                  </a:lnTo>
                  <a:cubicBezTo>
                    <a:pt x="74507" y="0"/>
                    <a:pt x="89224" y="6439"/>
                    <a:pt x="100263" y="17477"/>
                  </a:cubicBezTo>
                  <a:cubicBezTo>
                    <a:pt x="123258" y="39553"/>
                    <a:pt x="123258" y="77266"/>
                    <a:pt x="100263" y="100262"/>
                  </a:cubicBezTo>
                  <a:cubicBezTo>
                    <a:pt x="89224" y="111300"/>
                    <a:pt x="74507" y="117739"/>
                    <a:pt x="58869" y="117739"/>
                  </a:cubicBezTo>
                  <a:cubicBezTo>
                    <a:pt x="43233" y="117739"/>
                    <a:pt x="28515" y="112220"/>
                    <a:pt x="17477" y="10118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7" name="Forme libre : forme 2306">
              <a:extLst>
                <a:ext uri="{FF2B5EF4-FFF2-40B4-BE49-F238E27FC236}">
                  <a16:creationId xmlns:a16="http://schemas.microsoft.com/office/drawing/2014/main" id="{11555900-AB76-4DA6-98BE-C28A5682E542}"/>
                </a:ext>
              </a:extLst>
            </p:cNvPr>
            <p:cNvSpPr/>
            <p:nvPr/>
          </p:nvSpPr>
          <p:spPr>
            <a:xfrm rot="8716295">
              <a:off x="5600077" y="4470249"/>
              <a:ext cx="156365" cy="84062"/>
            </a:xfrm>
            <a:custGeom>
              <a:avLst/>
              <a:gdLst>
                <a:gd name="connsiteX0" fmla="*/ 0 w 156365"/>
                <a:gd name="connsiteY0" fmla="*/ 84062 h 84062"/>
                <a:gd name="connsiteX1" fmla="*/ 38711 w 156365"/>
                <a:gd name="connsiteY1" fmla="*/ 37259 h 84062"/>
                <a:gd name="connsiteX2" fmla="*/ 82822 w 156365"/>
                <a:gd name="connsiteY2" fmla="*/ 29417 h 84062"/>
                <a:gd name="connsiteX3" fmla="*/ 155189 w 156365"/>
                <a:gd name="connsiteY3" fmla="*/ 0 h 84062"/>
                <a:gd name="connsiteX4" fmla="*/ 156365 w 156365"/>
                <a:gd name="connsiteY4" fmla="*/ 7648 h 84062"/>
                <a:gd name="connsiteX5" fmla="*/ 156365 w 156365"/>
                <a:gd name="connsiteY5" fmla="*/ 13531 h 84062"/>
                <a:gd name="connsiteX6" fmla="*/ 5371 w 156365"/>
                <a:gd name="connsiteY6" fmla="*/ 83361 h 84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365" h="84062">
                  <a:moveTo>
                    <a:pt x="0" y="84062"/>
                  </a:moveTo>
                  <a:lnTo>
                    <a:pt x="38711" y="37259"/>
                  </a:lnTo>
                  <a:lnTo>
                    <a:pt x="82822" y="29417"/>
                  </a:lnTo>
                  <a:cubicBezTo>
                    <a:pt x="107532" y="21769"/>
                    <a:pt x="131655" y="11767"/>
                    <a:pt x="155189" y="0"/>
                  </a:cubicBezTo>
                  <a:cubicBezTo>
                    <a:pt x="155777" y="2353"/>
                    <a:pt x="156365" y="5295"/>
                    <a:pt x="156365" y="7648"/>
                  </a:cubicBezTo>
                  <a:lnTo>
                    <a:pt x="156365" y="13531"/>
                  </a:lnTo>
                  <a:cubicBezTo>
                    <a:pt x="109592" y="53687"/>
                    <a:pt x="51897" y="74315"/>
                    <a:pt x="5371" y="833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8" name="Forme libre : forme 2307">
              <a:extLst>
                <a:ext uri="{FF2B5EF4-FFF2-40B4-BE49-F238E27FC236}">
                  <a16:creationId xmlns:a16="http://schemas.microsoft.com/office/drawing/2014/main" id="{CADAEF2B-CBE9-4306-A616-01A968315F71}"/>
                </a:ext>
              </a:extLst>
            </p:cNvPr>
            <p:cNvSpPr/>
            <p:nvPr/>
          </p:nvSpPr>
          <p:spPr>
            <a:xfrm rot="8716295">
              <a:off x="5468986" y="334511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9" name="Forme libre : forme 2308">
              <a:extLst>
                <a:ext uri="{FF2B5EF4-FFF2-40B4-BE49-F238E27FC236}">
                  <a16:creationId xmlns:a16="http://schemas.microsoft.com/office/drawing/2014/main" id="{BC783BF6-C0F2-4416-AE0C-3CB188BCA1EB}"/>
                </a:ext>
              </a:extLst>
            </p:cNvPr>
            <p:cNvSpPr/>
            <p:nvPr/>
          </p:nvSpPr>
          <p:spPr>
            <a:xfrm rot="8716295">
              <a:off x="5560950" y="3385490"/>
              <a:ext cx="209149" cy="254774"/>
            </a:xfrm>
            <a:custGeom>
              <a:avLst/>
              <a:gdLst>
                <a:gd name="connsiteX0" fmla="*/ 0 w 209149"/>
                <a:gd name="connsiteY0" fmla="*/ 254774 h 254774"/>
                <a:gd name="connsiteX1" fmla="*/ 0 w 209149"/>
                <a:gd name="connsiteY1" fmla="*/ 48397 h 254774"/>
                <a:gd name="connsiteX2" fmla="*/ 38851 w 209149"/>
                <a:gd name="connsiteY2" fmla="*/ 1425 h 254774"/>
                <a:gd name="connsiteX3" fmla="*/ 53312 w 209149"/>
                <a:gd name="connsiteY3" fmla="*/ 1425 h 254774"/>
                <a:gd name="connsiteX4" fmla="*/ 53313 w 209149"/>
                <a:gd name="connsiteY4" fmla="*/ 75242 h 254774"/>
                <a:gd name="connsiteX5" fmla="*/ 54679 w 209149"/>
                <a:gd name="connsiteY5" fmla="*/ 75242 h 254774"/>
                <a:gd name="connsiteX6" fmla="*/ 102524 w 209149"/>
                <a:gd name="connsiteY6" fmla="*/ 5981 h 254774"/>
                <a:gd name="connsiteX7" fmla="*/ 133965 w 209149"/>
                <a:gd name="connsiteY7" fmla="*/ 57 h 254774"/>
                <a:gd name="connsiteX8" fmla="*/ 209149 w 209149"/>
                <a:gd name="connsiteY8" fmla="*/ 88456 h 254774"/>
                <a:gd name="connsiteX9" fmla="*/ 209149 w 209149"/>
                <a:gd name="connsiteY9" fmla="*/ 94380 h 254774"/>
                <a:gd name="connsiteX10" fmla="*/ 147179 w 209149"/>
                <a:gd name="connsiteY10" fmla="*/ 98025 h 254774"/>
                <a:gd name="connsiteX11" fmla="*/ 147179 w 209149"/>
                <a:gd name="connsiteY11" fmla="*/ 81622 h 254774"/>
                <a:gd name="connsiteX12" fmla="*/ 113460 w 209149"/>
                <a:gd name="connsiteY12" fmla="*/ 40156 h 254774"/>
                <a:gd name="connsiteX13" fmla="*/ 60148 w 209149"/>
                <a:gd name="connsiteY13" fmla="*/ 127643 h 254774"/>
                <a:gd name="connsiteX14" fmla="*/ 60148 w 209149"/>
                <a:gd name="connsiteY14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9149" h="254774">
                  <a:moveTo>
                    <a:pt x="0" y="254774"/>
                  </a:moveTo>
                  <a:lnTo>
                    <a:pt x="0" y="48397"/>
                  </a:lnTo>
                  <a:lnTo>
                    <a:pt x="38851" y="1425"/>
                  </a:lnTo>
                  <a:lnTo>
                    <a:pt x="53312" y="1425"/>
                  </a:lnTo>
                  <a:lnTo>
                    <a:pt x="53313" y="75242"/>
                  </a:lnTo>
                  <a:lnTo>
                    <a:pt x="54679" y="75242"/>
                  </a:lnTo>
                  <a:cubicBezTo>
                    <a:pt x="69261" y="31954"/>
                    <a:pt x="80652" y="15094"/>
                    <a:pt x="102524" y="5981"/>
                  </a:cubicBezTo>
                  <a:cubicBezTo>
                    <a:pt x="112549" y="1880"/>
                    <a:pt x="123029" y="-398"/>
                    <a:pt x="133965" y="57"/>
                  </a:cubicBezTo>
                  <a:cubicBezTo>
                    <a:pt x="180898" y="-854"/>
                    <a:pt x="209149" y="31954"/>
                    <a:pt x="209149" y="88456"/>
                  </a:cubicBezTo>
                  <a:lnTo>
                    <a:pt x="209149" y="94380"/>
                  </a:lnTo>
                  <a:lnTo>
                    <a:pt x="147179" y="98025"/>
                  </a:lnTo>
                  <a:lnTo>
                    <a:pt x="147179" y="81622"/>
                  </a:lnTo>
                  <a:cubicBezTo>
                    <a:pt x="147179" y="57016"/>
                    <a:pt x="133054" y="40156"/>
                    <a:pt x="113460" y="40156"/>
                  </a:cubicBezTo>
                  <a:cubicBezTo>
                    <a:pt x="84298" y="40156"/>
                    <a:pt x="60148" y="78887"/>
                    <a:pt x="60148" y="127643"/>
                  </a:cubicBezTo>
                  <a:lnTo>
                    <a:pt x="60148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0" name="Forme libre : forme 2309">
              <a:extLst>
                <a:ext uri="{FF2B5EF4-FFF2-40B4-BE49-F238E27FC236}">
                  <a16:creationId xmlns:a16="http://schemas.microsoft.com/office/drawing/2014/main" id="{07E04FBC-CAFE-40F5-8FBE-26480DF56E42}"/>
                </a:ext>
              </a:extLst>
            </p:cNvPr>
            <p:cNvSpPr/>
            <p:nvPr/>
          </p:nvSpPr>
          <p:spPr>
            <a:xfrm rot="8716295">
              <a:off x="5513528" y="328807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1" name="Forme libre : forme 2310">
              <a:extLst>
                <a:ext uri="{FF2B5EF4-FFF2-40B4-BE49-F238E27FC236}">
                  <a16:creationId xmlns:a16="http://schemas.microsoft.com/office/drawing/2014/main" id="{A7E5DB17-0229-4F6E-BA1B-BA2A73903FCF}"/>
                </a:ext>
              </a:extLst>
            </p:cNvPr>
            <p:cNvSpPr/>
            <p:nvPr/>
          </p:nvSpPr>
          <p:spPr>
            <a:xfrm rot="8716295">
              <a:off x="5356752" y="343365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2" name="Forme libre : forme 2311">
              <a:extLst>
                <a:ext uri="{FF2B5EF4-FFF2-40B4-BE49-F238E27FC236}">
                  <a16:creationId xmlns:a16="http://schemas.microsoft.com/office/drawing/2014/main" id="{B2FA02F1-5E71-4F7C-B2CA-BA7F43C9E0B6}"/>
                </a:ext>
              </a:extLst>
            </p:cNvPr>
            <p:cNvSpPr/>
            <p:nvPr/>
          </p:nvSpPr>
          <p:spPr>
            <a:xfrm rot="8716295">
              <a:off x="5231849" y="322498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3" name="Forme libre : forme 2312">
              <a:extLst>
                <a:ext uri="{FF2B5EF4-FFF2-40B4-BE49-F238E27FC236}">
                  <a16:creationId xmlns:a16="http://schemas.microsoft.com/office/drawing/2014/main" id="{59750E71-AE6E-46C2-9298-CD50416AF89E}"/>
                </a:ext>
              </a:extLst>
            </p:cNvPr>
            <p:cNvSpPr/>
            <p:nvPr/>
          </p:nvSpPr>
          <p:spPr>
            <a:xfrm rot="8716295">
              <a:off x="5219797" y="3086201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4" name="Forme libre : forme 2313">
              <a:extLst>
                <a:ext uri="{FF2B5EF4-FFF2-40B4-BE49-F238E27FC236}">
                  <a16:creationId xmlns:a16="http://schemas.microsoft.com/office/drawing/2014/main" id="{D4E7AFF8-F784-45C0-8EE7-2B6A86EC8737}"/>
                </a:ext>
              </a:extLst>
            </p:cNvPr>
            <p:cNvSpPr/>
            <p:nvPr/>
          </p:nvSpPr>
          <p:spPr>
            <a:xfrm rot="8716295">
              <a:off x="5446930" y="347460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5" name="Forme libre : forme 2314">
              <a:extLst>
                <a:ext uri="{FF2B5EF4-FFF2-40B4-BE49-F238E27FC236}">
                  <a16:creationId xmlns:a16="http://schemas.microsoft.com/office/drawing/2014/main" id="{3853C0A0-1616-48FA-8479-65AC97F7CC85}"/>
                </a:ext>
              </a:extLst>
            </p:cNvPr>
            <p:cNvSpPr/>
            <p:nvPr/>
          </p:nvSpPr>
          <p:spPr>
            <a:xfrm rot="8716295">
              <a:off x="5752315" y="3122125"/>
              <a:ext cx="61059" cy="189683"/>
            </a:xfrm>
            <a:custGeom>
              <a:avLst/>
              <a:gdLst>
                <a:gd name="connsiteX0" fmla="*/ 0 w 61059"/>
                <a:gd name="connsiteY0" fmla="*/ 189683 h 189683"/>
                <a:gd name="connsiteX1" fmla="*/ 1 w 61059"/>
                <a:gd name="connsiteY1" fmla="*/ 70355 h 189683"/>
                <a:gd name="connsiteX2" fmla="*/ 58192 w 61059"/>
                <a:gd name="connsiteY2" fmla="*/ 0 h 189683"/>
                <a:gd name="connsiteX3" fmla="*/ 61059 w 61059"/>
                <a:gd name="connsiteY3" fmla="*/ 7418 h 189683"/>
                <a:gd name="connsiteX4" fmla="*/ 61059 w 61059"/>
                <a:gd name="connsiteY4" fmla="*/ 165533 h 189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59" h="189683">
                  <a:moveTo>
                    <a:pt x="0" y="189683"/>
                  </a:moveTo>
                  <a:lnTo>
                    <a:pt x="1" y="70355"/>
                  </a:lnTo>
                  <a:lnTo>
                    <a:pt x="58192" y="0"/>
                  </a:lnTo>
                  <a:lnTo>
                    <a:pt x="61059" y="7418"/>
                  </a:lnTo>
                  <a:lnTo>
                    <a:pt x="61059" y="1655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6" name="Forme libre : forme 2315">
              <a:extLst>
                <a:ext uri="{FF2B5EF4-FFF2-40B4-BE49-F238E27FC236}">
                  <a16:creationId xmlns:a16="http://schemas.microsoft.com/office/drawing/2014/main" id="{2BC49D98-658F-409C-B3BF-5C8CEE84FD55}"/>
                </a:ext>
              </a:extLst>
            </p:cNvPr>
            <p:cNvSpPr/>
            <p:nvPr/>
          </p:nvSpPr>
          <p:spPr>
            <a:xfrm rot="8716295">
              <a:off x="5645851" y="318350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7" name="Forme libre : forme 2316">
              <a:extLst>
                <a:ext uri="{FF2B5EF4-FFF2-40B4-BE49-F238E27FC236}">
                  <a16:creationId xmlns:a16="http://schemas.microsoft.com/office/drawing/2014/main" id="{9788828B-73AD-4731-893D-8DFB9066F7A9}"/>
                </a:ext>
              </a:extLst>
            </p:cNvPr>
            <p:cNvSpPr/>
            <p:nvPr/>
          </p:nvSpPr>
          <p:spPr>
            <a:xfrm rot="8716295">
              <a:off x="5520949" y="297482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8" name="Forme libre : forme 2317">
              <a:extLst>
                <a:ext uri="{FF2B5EF4-FFF2-40B4-BE49-F238E27FC236}">
                  <a16:creationId xmlns:a16="http://schemas.microsoft.com/office/drawing/2014/main" id="{8B664DFB-701C-4BF3-A4AD-0E33F3753604}"/>
                </a:ext>
              </a:extLst>
            </p:cNvPr>
            <p:cNvSpPr/>
            <p:nvPr/>
          </p:nvSpPr>
          <p:spPr>
            <a:xfrm rot="8716295">
              <a:off x="5735645" y="3237654"/>
              <a:ext cx="60147" cy="214945"/>
            </a:xfrm>
            <a:custGeom>
              <a:avLst/>
              <a:gdLst>
                <a:gd name="connsiteX0" fmla="*/ 60147 w 60147"/>
                <a:gd name="connsiteY0" fmla="*/ 214945 h 214945"/>
                <a:gd name="connsiteX1" fmla="*/ 0 w 60147"/>
                <a:gd name="connsiteY1" fmla="*/ 157075 h 214945"/>
                <a:gd name="connsiteX2" fmla="*/ 0 w 60147"/>
                <a:gd name="connsiteY2" fmla="*/ 72719 h 214945"/>
                <a:gd name="connsiteX3" fmla="*/ 60147 w 60147"/>
                <a:gd name="connsiteY3" fmla="*/ 0 h 214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7" h="214945">
                  <a:moveTo>
                    <a:pt x="60147" y="214945"/>
                  </a:moveTo>
                  <a:lnTo>
                    <a:pt x="0" y="157075"/>
                  </a:lnTo>
                  <a:lnTo>
                    <a:pt x="0" y="72719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9" name="Forme libre : forme 2318">
              <a:extLst>
                <a:ext uri="{FF2B5EF4-FFF2-40B4-BE49-F238E27FC236}">
                  <a16:creationId xmlns:a16="http://schemas.microsoft.com/office/drawing/2014/main" id="{DE32D065-C837-4616-93A8-C221E6C262EC}"/>
                </a:ext>
              </a:extLst>
            </p:cNvPr>
            <p:cNvSpPr/>
            <p:nvPr/>
          </p:nvSpPr>
          <p:spPr>
            <a:xfrm rot="8716295">
              <a:off x="5494578" y="307485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0" name="Forme libre : forme 2319">
              <a:extLst>
                <a:ext uri="{FF2B5EF4-FFF2-40B4-BE49-F238E27FC236}">
                  <a16:creationId xmlns:a16="http://schemas.microsoft.com/office/drawing/2014/main" id="{A951AC29-4AE5-482E-A279-E37CA0854B05}"/>
                </a:ext>
              </a:extLst>
            </p:cNvPr>
            <p:cNvSpPr/>
            <p:nvPr/>
          </p:nvSpPr>
          <p:spPr>
            <a:xfrm rot="8716295">
              <a:off x="5682235" y="4033272"/>
              <a:ext cx="61060" cy="175124"/>
            </a:xfrm>
            <a:custGeom>
              <a:avLst/>
              <a:gdLst>
                <a:gd name="connsiteX0" fmla="*/ 0 w 61060"/>
                <a:gd name="connsiteY0" fmla="*/ 175124 h 175124"/>
                <a:gd name="connsiteX1" fmla="*/ 0 w 61060"/>
                <a:gd name="connsiteY1" fmla="*/ 73822 h 175124"/>
                <a:gd name="connsiteX2" fmla="*/ 61060 w 61060"/>
                <a:gd name="connsiteY2" fmla="*/ 0 h 175124"/>
                <a:gd name="connsiteX3" fmla="*/ 61059 w 61060"/>
                <a:gd name="connsiteY3" fmla="*/ 150974 h 175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060" h="175124">
                  <a:moveTo>
                    <a:pt x="0" y="175124"/>
                  </a:moveTo>
                  <a:lnTo>
                    <a:pt x="0" y="73822"/>
                  </a:lnTo>
                  <a:lnTo>
                    <a:pt x="61060" y="0"/>
                  </a:lnTo>
                  <a:lnTo>
                    <a:pt x="61059" y="1509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1" name="Forme libre : forme 2320">
              <a:extLst>
                <a:ext uri="{FF2B5EF4-FFF2-40B4-BE49-F238E27FC236}">
                  <a16:creationId xmlns:a16="http://schemas.microsoft.com/office/drawing/2014/main" id="{AC1B54AD-4305-4886-A104-0CFC0322DC86}"/>
                </a:ext>
              </a:extLst>
            </p:cNvPr>
            <p:cNvSpPr/>
            <p:nvPr/>
          </p:nvSpPr>
          <p:spPr>
            <a:xfrm rot="8716295">
              <a:off x="5579919" y="409335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2" name="Forme libre : forme 2321">
              <a:extLst>
                <a:ext uri="{FF2B5EF4-FFF2-40B4-BE49-F238E27FC236}">
                  <a16:creationId xmlns:a16="http://schemas.microsoft.com/office/drawing/2014/main" id="{8167323E-FC94-42DF-AE9E-1E6CCB009393}"/>
                </a:ext>
              </a:extLst>
            </p:cNvPr>
            <p:cNvSpPr/>
            <p:nvPr/>
          </p:nvSpPr>
          <p:spPr>
            <a:xfrm rot="8716295">
              <a:off x="5455016" y="388468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3" name="Forme libre : forme 2322">
              <a:extLst>
                <a:ext uri="{FF2B5EF4-FFF2-40B4-BE49-F238E27FC236}">
                  <a16:creationId xmlns:a16="http://schemas.microsoft.com/office/drawing/2014/main" id="{4BE64CC5-A3FF-4E14-92F1-A92ABB79BE76}"/>
                </a:ext>
              </a:extLst>
            </p:cNvPr>
            <p:cNvSpPr/>
            <p:nvPr/>
          </p:nvSpPr>
          <p:spPr>
            <a:xfrm rot="8716295">
              <a:off x="5439766" y="3743196"/>
              <a:ext cx="290643" cy="350829"/>
            </a:xfrm>
            <a:custGeom>
              <a:avLst/>
              <a:gdLst>
                <a:gd name="connsiteX0" fmla="*/ 25299 w 290643"/>
                <a:gd name="connsiteY0" fmla="*/ 321238 h 350829"/>
                <a:gd name="connsiteX1" fmla="*/ 0 w 290643"/>
                <a:gd name="connsiteY1" fmla="*/ 220042 h 350829"/>
                <a:gd name="connsiteX2" fmla="*/ 0 w 290643"/>
                <a:gd name="connsiteY2" fmla="*/ 73941 h 350829"/>
                <a:gd name="connsiteX3" fmla="*/ 48310 w 290643"/>
                <a:gd name="connsiteY3" fmla="*/ 15533 h 350829"/>
                <a:gd name="connsiteX4" fmla="*/ 78250 w 290643"/>
                <a:gd name="connsiteY4" fmla="*/ 0 h 350829"/>
                <a:gd name="connsiteX5" fmla="*/ 79427 w 290643"/>
                <a:gd name="connsiteY5" fmla="*/ 164149 h 350829"/>
                <a:gd name="connsiteX6" fmla="*/ 93547 w 290643"/>
                <a:gd name="connsiteY6" fmla="*/ 261815 h 350829"/>
                <a:gd name="connsiteX7" fmla="*/ 164149 w 290643"/>
                <a:gd name="connsiteY7" fmla="*/ 300646 h 350829"/>
                <a:gd name="connsiteX8" fmla="*/ 217100 w 290643"/>
                <a:gd name="connsiteY8" fmla="*/ 291232 h 350829"/>
                <a:gd name="connsiteX9" fmla="*/ 289467 w 290643"/>
                <a:gd name="connsiteY9" fmla="*/ 261815 h 350829"/>
                <a:gd name="connsiteX10" fmla="*/ 290643 w 290643"/>
                <a:gd name="connsiteY10" fmla="*/ 269463 h 350829"/>
                <a:gd name="connsiteX11" fmla="*/ 290643 w 290643"/>
                <a:gd name="connsiteY11" fmla="*/ 275347 h 350829"/>
                <a:gd name="connsiteX12" fmla="*/ 97665 w 290643"/>
                <a:gd name="connsiteY12" fmla="*/ 350655 h 350829"/>
                <a:gd name="connsiteX13" fmla="*/ 25299 w 290643"/>
                <a:gd name="connsiteY13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90643" h="350829">
                  <a:moveTo>
                    <a:pt x="25299" y="321238"/>
                  </a:moveTo>
                  <a:cubicBezTo>
                    <a:pt x="5295" y="301823"/>
                    <a:pt x="0" y="268287"/>
                    <a:pt x="0" y="220042"/>
                  </a:cubicBezTo>
                  <a:lnTo>
                    <a:pt x="0" y="73941"/>
                  </a:lnTo>
                  <a:lnTo>
                    <a:pt x="48310" y="15533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9" y="300646"/>
                  </a:cubicBezTo>
                  <a:cubicBezTo>
                    <a:pt x="182388" y="300057"/>
                    <a:pt x="200038" y="296527"/>
                    <a:pt x="217100" y="291232"/>
                  </a:cubicBezTo>
                  <a:cubicBezTo>
                    <a:pt x="241810" y="283583"/>
                    <a:pt x="265933" y="273582"/>
                    <a:pt x="289467" y="261815"/>
                  </a:cubicBezTo>
                  <a:cubicBezTo>
                    <a:pt x="290055" y="264168"/>
                    <a:pt x="290643" y="267110"/>
                    <a:pt x="290643" y="269463"/>
                  </a:cubicBezTo>
                  <a:lnTo>
                    <a:pt x="290643" y="275347"/>
                  </a:lnTo>
                  <a:cubicBezTo>
                    <a:pt x="228279" y="328887"/>
                    <a:pt x="146498" y="347714"/>
                    <a:pt x="97665" y="350655"/>
                  </a:cubicBez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4" name="Forme libre : forme 2323">
              <a:extLst>
                <a:ext uri="{FF2B5EF4-FFF2-40B4-BE49-F238E27FC236}">
                  <a16:creationId xmlns:a16="http://schemas.microsoft.com/office/drawing/2014/main" id="{3D5EAB82-A653-44FF-ABBA-52007BFC744C}"/>
                </a:ext>
              </a:extLst>
            </p:cNvPr>
            <p:cNvSpPr/>
            <p:nvPr/>
          </p:nvSpPr>
          <p:spPr>
            <a:xfrm rot="8716295">
              <a:off x="5664579" y="4149111"/>
              <a:ext cx="60147" cy="196919"/>
            </a:xfrm>
            <a:custGeom>
              <a:avLst/>
              <a:gdLst>
                <a:gd name="connsiteX0" fmla="*/ 60147 w 60147"/>
                <a:gd name="connsiteY0" fmla="*/ 196919 h 196919"/>
                <a:gd name="connsiteX1" fmla="*/ 0 w 60147"/>
                <a:gd name="connsiteY1" fmla="*/ 139049 h 196919"/>
                <a:gd name="connsiteX2" fmla="*/ 0 w 60147"/>
                <a:gd name="connsiteY2" fmla="*/ 72719 h 196919"/>
                <a:gd name="connsiteX3" fmla="*/ 60147 w 60147"/>
                <a:gd name="connsiteY3" fmla="*/ 0 h 196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7" h="196919">
                  <a:moveTo>
                    <a:pt x="60147" y="196919"/>
                  </a:moveTo>
                  <a:lnTo>
                    <a:pt x="0" y="139049"/>
                  </a:lnTo>
                  <a:lnTo>
                    <a:pt x="0" y="72719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5" name="Forme libre : forme 2324">
              <a:extLst>
                <a:ext uri="{FF2B5EF4-FFF2-40B4-BE49-F238E27FC236}">
                  <a16:creationId xmlns:a16="http://schemas.microsoft.com/office/drawing/2014/main" id="{43B619A3-E625-40F8-8DEC-2B79517C56B8}"/>
                </a:ext>
              </a:extLst>
            </p:cNvPr>
            <p:cNvSpPr/>
            <p:nvPr/>
          </p:nvSpPr>
          <p:spPr>
            <a:xfrm rot="8716295">
              <a:off x="5712271" y="3732130"/>
              <a:ext cx="74903" cy="77154"/>
            </a:xfrm>
            <a:custGeom>
              <a:avLst/>
              <a:gdLst>
                <a:gd name="connsiteX0" fmla="*/ 9249 w 74903"/>
                <a:gd name="connsiteY0" fmla="*/ 66287 h 77154"/>
                <a:gd name="connsiteX1" fmla="*/ 0 w 74903"/>
                <a:gd name="connsiteY1" fmla="*/ 44381 h 77154"/>
                <a:gd name="connsiteX2" fmla="*/ 36708 w 74903"/>
                <a:gd name="connsiteY2" fmla="*/ 0 h 77154"/>
                <a:gd name="connsiteX3" fmla="*/ 63584 w 74903"/>
                <a:gd name="connsiteY3" fmla="*/ 11348 h 77154"/>
                <a:gd name="connsiteX4" fmla="*/ 63584 w 74903"/>
                <a:gd name="connsiteY4" fmla="*/ 65683 h 77154"/>
                <a:gd name="connsiteX5" fmla="*/ 36417 w 74903"/>
                <a:gd name="connsiteY5" fmla="*/ 77154 h 77154"/>
                <a:gd name="connsiteX6" fmla="*/ 9249 w 74903"/>
                <a:gd name="connsiteY6" fmla="*/ 66287 h 77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4903" h="77154">
                  <a:moveTo>
                    <a:pt x="9249" y="66287"/>
                  </a:moveTo>
                  <a:lnTo>
                    <a:pt x="0" y="44381"/>
                  </a:lnTo>
                  <a:lnTo>
                    <a:pt x="36708" y="0"/>
                  </a:lnTo>
                  <a:lnTo>
                    <a:pt x="63584" y="11348"/>
                  </a:lnTo>
                  <a:cubicBezTo>
                    <a:pt x="78677" y="25837"/>
                    <a:pt x="78677" y="50590"/>
                    <a:pt x="63584" y="65683"/>
                  </a:cubicBezTo>
                  <a:cubicBezTo>
                    <a:pt x="56340" y="72928"/>
                    <a:pt x="46680" y="77154"/>
                    <a:pt x="36417" y="77154"/>
                  </a:cubicBezTo>
                  <a:cubicBezTo>
                    <a:pt x="26153" y="77154"/>
                    <a:pt x="16494" y="73531"/>
                    <a:pt x="9249" y="6628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6" name="Forme libre : forme 2325">
              <a:extLst>
                <a:ext uri="{FF2B5EF4-FFF2-40B4-BE49-F238E27FC236}">
                  <a16:creationId xmlns:a16="http://schemas.microsoft.com/office/drawing/2014/main" id="{47FAC0D7-5111-4F6B-A349-552D64575C5F}"/>
                </a:ext>
              </a:extLst>
            </p:cNvPr>
            <p:cNvSpPr/>
            <p:nvPr/>
          </p:nvSpPr>
          <p:spPr>
            <a:xfrm rot="8716295">
              <a:off x="4805631" y="136604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7" name="Forme libre : forme 2326">
              <a:extLst>
                <a:ext uri="{FF2B5EF4-FFF2-40B4-BE49-F238E27FC236}">
                  <a16:creationId xmlns:a16="http://schemas.microsoft.com/office/drawing/2014/main" id="{FD4A7DE9-1679-4176-BBF7-B68B6314BD8C}"/>
                </a:ext>
              </a:extLst>
            </p:cNvPr>
            <p:cNvSpPr/>
            <p:nvPr/>
          </p:nvSpPr>
          <p:spPr>
            <a:xfrm rot="8716295">
              <a:off x="4895023" y="139528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8" name="Forme libre : forme 2327">
              <a:extLst>
                <a:ext uri="{FF2B5EF4-FFF2-40B4-BE49-F238E27FC236}">
                  <a16:creationId xmlns:a16="http://schemas.microsoft.com/office/drawing/2014/main" id="{0EEB057B-FFD0-4D41-9792-2DA753A19DB7}"/>
                </a:ext>
              </a:extLst>
            </p:cNvPr>
            <p:cNvSpPr/>
            <p:nvPr/>
          </p:nvSpPr>
          <p:spPr>
            <a:xfrm rot="8716295">
              <a:off x="4850173" y="130900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9" name="Forme libre : forme 2328">
              <a:extLst>
                <a:ext uri="{FF2B5EF4-FFF2-40B4-BE49-F238E27FC236}">
                  <a16:creationId xmlns:a16="http://schemas.microsoft.com/office/drawing/2014/main" id="{1879F6B3-40C0-4116-A81C-5BD7CA855163}"/>
                </a:ext>
              </a:extLst>
            </p:cNvPr>
            <p:cNvSpPr/>
            <p:nvPr/>
          </p:nvSpPr>
          <p:spPr>
            <a:xfrm rot="8716295">
              <a:off x="4693397" y="145458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0" name="Forme libre : forme 2329">
              <a:extLst>
                <a:ext uri="{FF2B5EF4-FFF2-40B4-BE49-F238E27FC236}">
                  <a16:creationId xmlns:a16="http://schemas.microsoft.com/office/drawing/2014/main" id="{49761E51-D80E-42FA-8099-F02853B256C7}"/>
                </a:ext>
              </a:extLst>
            </p:cNvPr>
            <p:cNvSpPr/>
            <p:nvPr/>
          </p:nvSpPr>
          <p:spPr>
            <a:xfrm rot="8716295">
              <a:off x="4568494" y="124591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1" name="Forme libre : forme 2330">
              <a:extLst>
                <a:ext uri="{FF2B5EF4-FFF2-40B4-BE49-F238E27FC236}">
                  <a16:creationId xmlns:a16="http://schemas.microsoft.com/office/drawing/2014/main" id="{E310C1A7-1622-4636-9F8F-00357321DCCD}"/>
                </a:ext>
              </a:extLst>
            </p:cNvPr>
            <p:cNvSpPr/>
            <p:nvPr/>
          </p:nvSpPr>
          <p:spPr>
            <a:xfrm rot="8716295">
              <a:off x="4556442" y="110713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2" name="Forme libre : forme 2331">
              <a:extLst>
                <a:ext uri="{FF2B5EF4-FFF2-40B4-BE49-F238E27FC236}">
                  <a16:creationId xmlns:a16="http://schemas.microsoft.com/office/drawing/2014/main" id="{E093D22D-87CF-4179-B856-856B8816CDDB}"/>
                </a:ext>
              </a:extLst>
            </p:cNvPr>
            <p:cNvSpPr/>
            <p:nvPr/>
          </p:nvSpPr>
          <p:spPr>
            <a:xfrm rot="8716295">
              <a:off x="4783575" y="149553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3" name="Forme libre : forme 2332">
              <a:extLst>
                <a:ext uri="{FF2B5EF4-FFF2-40B4-BE49-F238E27FC236}">
                  <a16:creationId xmlns:a16="http://schemas.microsoft.com/office/drawing/2014/main" id="{CA21BE4E-2CE3-44D7-B01E-A11EA3CF044C}"/>
                </a:ext>
              </a:extLst>
            </p:cNvPr>
            <p:cNvSpPr/>
            <p:nvPr/>
          </p:nvSpPr>
          <p:spPr>
            <a:xfrm rot="8716295">
              <a:off x="5094730" y="111588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4" name="Forme libre : forme 2333">
              <a:extLst>
                <a:ext uri="{FF2B5EF4-FFF2-40B4-BE49-F238E27FC236}">
                  <a16:creationId xmlns:a16="http://schemas.microsoft.com/office/drawing/2014/main" id="{73711CED-A7FD-4350-9BA7-26ABC33C9D94}"/>
                </a:ext>
              </a:extLst>
            </p:cNvPr>
            <p:cNvSpPr/>
            <p:nvPr/>
          </p:nvSpPr>
          <p:spPr>
            <a:xfrm rot="8716295">
              <a:off x="5184122" y="114513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5" name="Forme libre : forme 2334">
              <a:extLst>
                <a:ext uri="{FF2B5EF4-FFF2-40B4-BE49-F238E27FC236}">
                  <a16:creationId xmlns:a16="http://schemas.microsoft.com/office/drawing/2014/main" id="{ED8382FF-15B6-482C-B3FB-8E9D5BD3A367}"/>
                </a:ext>
              </a:extLst>
            </p:cNvPr>
            <p:cNvSpPr/>
            <p:nvPr/>
          </p:nvSpPr>
          <p:spPr>
            <a:xfrm rot="8716295">
              <a:off x="4982496" y="120443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6" name="Forme libre : forme 2335">
              <a:extLst>
                <a:ext uri="{FF2B5EF4-FFF2-40B4-BE49-F238E27FC236}">
                  <a16:creationId xmlns:a16="http://schemas.microsoft.com/office/drawing/2014/main" id="{CEB92DCD-B29B-4D83-8F6D-528A8F3F48AC}"/>
                </a:ext>
              </a:extLst>
            </p:cNvPr>
            <p:cNvSpPr/>
            <p:nvPr/>
          </p:nvSpPr>
          <p:spPr>
            <a:xfrm rot="8716295">
              <a:off x="4857594" y="99576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7" name="Forme libre : forme 2336">
              <a:extLst>
                <a:ext uri="{FF2B5EF4-FFF2-40B4-BE49-F238E27FC236}">
                  <a16:creationId xmlns:a16="http://schemas.microsoft.com/office/drawing/2014/main" id="{4D04373C-38A5-4453-98D9-6668F8BAEF6F}"/>
                </a:ext>
              </a:extLst>
            </p:cNvPr>
            <p:cNvSpPr/>
            <p:nvPr/>
          </p:nvSpPr>
          <p:spPr>
            <a:xfrm rot="8716295">
              <a:off x="5072674" y="124538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8" name="Forme libre : forme 2337">
              <a:extLst>
                <a:ext uri="{FF2B5EF4-FFF2-40B4-BE49-F238E27FC236}">
                  <a16:creationId xmlns:a16="http://schemas.microsoft.com/office/drawing/2014/main" id="{7AD448C6-BEA7-45DD-8AA2-CB2184786226}"/>
                </a:ext>
              </a:extLst>
            </p:cNvPr>
            <p:cNvSpPr/>
            <p:nvPr/>
          </p:nvSpPr>
          <p:spPr>
            <a:xfrm rot="8716295">
              <a:off x="4831223" y="109578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9" name="Forme libre : forme 2338">
              <a:extLst>
                <a:ext uri="{FF2B5EF4-FFF2-40B4-BE49-F238E27FC236}">
                  <a16:creationId xmlns:a16="http://schemas.microsoft.com/office/drawing/2014/main" id="{35EF6799-E484-4435-9DC6-7D0DE006E027}"/>
                </a:ext>
              </a:extLst>
            </p:cNvPr>
            <p:cNvSpPr/>
            <p:nvPr/>
          </p:nvSpPr>
          <p:spPr>
            <a:xfrm rot="7484129">
              <a:off x="5177605" y="143673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0" name="Forme libre : forme 2339">
              <a:extLst>
                <a:ext uri="{FF2B5EF4-FFF2-40B4-BE49-F238E27FC236}">
                  <a16:creationId xmlns:a16="http://schemas.microsoft.com/office/drawing/2014/main" id="{21C69156-F46C-4928-B70D-009460F75B9F}"/>
                </a:ext>
              </a:extLst>
            </p:cNvPr>
            <p:cNvSpPr/>
            <p:nvPr/>
          </p:nvSpPr>
          <p:spPr>
            <a:xfrm rot="13089394">
              <a:off x="5282425" y="140327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1" name="Forme libre : forme 2340">
              <a:extLst>
                <a:ext uri="{FF2B5EF4-FFF2-40B4-BE49-F238E27FC236}">
                  <a16:creationId xmlns:a16="http://schemas.microsoft.com/office/drawing/2014/main" id="{1798CEF4-84B3-4FCD-A779-F1E83B6AD50D}"/>
                </a:ext>
              </a:extLst>
            </p:cNvPr>
            <p:cNvSpPr/>
            <p:nvPr/>
          </p:nvSpPr>
          <p:spPr>
            <a:xfrm rot="8716295">
              <a:off x="5468010" y="121158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2" name="Forme libre : forme 2341">
              <a:extLst>
                <a:ext uri="{FF2B5EF4-FFF2-40B4-BE49-F238E27FC236}">
                  <a16:creationId xmlns:a16="http://schemas.microsoft.com/office/drawing/2014/main" id="{3EC2D62C-CF18-46C7-B24E-7DDD8382F5CE}"/>
                </a:ext>
              </a:extLst>
            </p:cNvPr>
            <p:cNvSpPr/>
            <p:nvPr/>
          </p:nvSpPr>
          <p:spPr>
            <a:xfrm rot="8716295">
              <a:off x="5416205" y="110799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3" name="Forme libre : forme 2342">
              <a:extLst>
                <a:ext uri="{FF2B5EF4-FFF2-40B4-BE49-F238E27FC236}">
                  <a16:creationId xmlns:a16="http://schemas.microsoft.com/office/drawing/2014/main" id="{B05F2E20-58A5-4922-8600-DD820E78EE4E}"/>
                </a:ext>
              </a:extLst>
            </p:cNvPr>
            <p:cNvSpPr/>
            <p:nvPr/>
          </p:nvSpPr>
          <p:spPr>
            <a:xfrm rot="8716295">
              <a:off x="5172959" y="113821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4" name="Forme libre : forme 2343">
              <a:extLst>
                <a:ext uri="{FF2B5EF4-FFF2-40B4-BE49-F238E27FC236}">
                  <a16:creationId xmlns:a16="http://schemas.microsoft.com/office/drawing/2014/main" id="{B54ADC56-D20D-4C1D-BBA8-5BF0D1D5989C}"/>
                </a:ext>
              </a:extLst>
            </p:cNvPr>
            <p:cNvSpPr/>
            <p:nvPr/>
          </p:nvSpPr>
          <p:spPr>
            <a:xfrm rot="8716295">
              <a:off x="5350411" y="97897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5" name="Forme libre : forme 2344">
              <a:extLst>
                <a:ext uri="{FF2B5EF4-FFF2-40B4-BE49-F238E27FC236}">
                  <a16:creationId xmlns:a16="http://schemas.microsoft.com/office/drawing/2014/main" id="{6F7A1710-4C02-4DCC-B78B-511BDFFD55F4}"/>
                </a:ext>
              </a:extLst>
            </p:cNvPr>
            <p:cNvSpPr/>
            <p:nvPr/>
          </p:nvSpPr>
          <p:spPr>
            <a:xfrm rot="8716295">
              <a:off x="4582464" y="70634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6" name="Forme libre : forme 2345">
              <a:extLst>
                <a:ext uri="{FF2B5EF4-FFF2-40B4-BE49-F238E27FC236}">
                  <a16:creationId xmlns:a16="http://schemas.microsoft.com/office/drawing/2014/main" id="{D536F172-354E-4C75-A2CF-32C24FBDD45C}"/>
                </a:ext>
              </a:extLst>
            </p:cNvPr>
            <p:cNvSpPr/>
            <p:nvPr/>
          </p:nvSpPr>
          <p:spPr>
            <a:xfrm rot="8716295">
              <a:off x="4671856" y="73558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7" name="Forme libre : forme 2346">
              <a:extLst>
                <a:ext uri="{FF2B5EF4-FFF2-40B4-BE49-F238E27FC236}">
                  <a16:creationId xmlns:a16="http://schemas.microsoft.com/office/drawing/2014/main" id="{E02EE465-AAEF-4A1C-9A7C-9D1D91F4D60A}"/>
                </a:ext>
              </a:extLst>
            </p:cNvPr>
            <p:cNvSpPr/>
            <p:nvPr/>
          </p:nvSpPr>
          <p:spPr>
            <a:xfrm rot="8716295">
              <a:off x="4627006" y="64930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8" name="Forme libre : forme 2347">
              <a:extLst>
                <a:ext uri="{FF2B5EF4-FFF2-40B4-BE49-F238E27FC236}">
                  <a16:creationId xmlns:a16="http://schemas.microsoft.com/office/drawing/2014/main" id="{0D825FEE-DBE8-4D57-B9F7-C97353B9827C}"/>
                </a:ext>
              </a:extLst>
            </p:cNvPr>
            <p:cNvSpPr/>
            <p:nvPr/>
          </p:nvSpPr>
          <p:spPr>
            <a:xfrm rot="8716295">
              <a:off x="4470230" y="79488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9" name="Forme libre : forme 2348">
              <a:extLst>
                <a:ext uri="{FF2B5EF4-FFF2-40B4-BE49-F238E27FC236}">
                  <a16:creationId xmlns:a16="http://schemas.microsoft.com/office/drawing/2014/main" id="{78F83AD2-75B7-4595-9386-952F6FD22400}"/>
                </a:ext>
              </a:extLst>
            </p:cNvPr>
            <p:cNvSpPr/>
            <p:nvPr/>
          </p:nvSpPr>
          <p:spPr>
            <a:xfrm rot="8716295">
              <a:off x="4345327" y="58621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0" name="Forme libre : forme 2349">
              <a:extLst>
                <a:ext uri="{FF2B5EF4-FFF2-40B4-BE49-F238E27FC236}">
                  <a16:creationId xmlns:a16="http://schemas.microsoft.com/office/drawing/2014/main" id="{BA220240-D69B-4B6C-A6FC-E65389644BCE}"/>
                </a:ext>
              </a:extLst>
            </p:cNvPr>
            <p:cNvSpPr/>
            <p:nvPr/>
          </p:nvSpPr>
          <p:spPr>
            <a:xfrm rot="8716295">
              <a:off x="4333275" y="44743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1" name="Forme libre : forme 2350">
              <a:extLst>
                <a:ext uri="{FF2B5EF4-FFF2-40B4-BE49-F238E27FC236}">
                  <a16:creationId xmlns:a16="http://schemas.microsoft.com/office/drawing/2014/main" id="{B0074431-ABFA-4C3E-95DE-330C2C35B482}"/>
                </a:ext>
              </a:extLst>
            </p:cNvPr>
            <p:cNvSpPr/>
            <p:nvPr/>
          </p:nvSpPr>
          <p:spPr>
            <a:xfrm rot="8716295">
              <a:off x="4560408" y="83583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2" name="Forme libre : forme 2351">
              <a:extLst>
                <a:ext uri="{FF2B5EF4-FFF2-40B4-BE49-F238E27FC236}">
                  <a16:creationId xmlns:a16="http://schemas.microsoft.com/office/drawing/2014/main" id="{6A1A478E-7B4F-4A07-B728-A4383F55F532}"/>
                </a:ext>
              </a:extLst>
            </p:cNvPr>
            <p:cNvSpPr/>
            <p:nvPr/>
          </p:nvSpPr>
          <p:spPr>
            <a:xfrm rot="8716295">
              <a:off x="4871563" y="45619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3" name="Forme libre : forme 2352">
              <a:extLst>
                <a:ext uri="{FF2B5EF4-FFF2-40B4-BE49-F238E27FC236}">
                  <a16:creationId xmlns:a16="http://schemas.microsoft.com/office/drawing/2014/main" id="{FF3D4263-7FF6-40B4-B16E-F0F9B7A6D208}"/>
                </a:ext>
              </a:extLst>
            </p:cNvPr>
            <p:cNvSpPr/>
            <p:nvPr/>
          </p:nvSpPr>
          <p:spPr>
            <a:xfrm rot="8716295">
              <a:off x="4960955" y="48543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4" name="Forme libre : forme 2353">
              <a:extLst>
                <a:ext uri="{FF2B5EF4-FFF2-40B4-BE49-F238E27FC236}">
                  <a16:creationId xmlns:a16="http://schemas.microsoft.com/office/drawing/2014/main" id="{83EFFBE3-A8A8-4DEE-AEC9-4D3EA9760312}"/>
                </a:ext>
              </a:extLst>
            </p:cNvPr>
            <p:cNvSpPr/>
            <p:nvPr/>
          </p:nvSpPr>
          <p:spPr>
            <a:xfrm rot="8716295">
              <a:off x="4759329" y="54473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5" name="Forme libre : forme 2354">
              <a:extLst>
                <a:ext uri="{FF2B5EF4-FFF2-40B4-BE49-F238E27FC236}">
                  <a16:creationId xmlns:a16="http://schemas.microsoft.com/office/drawing/2014/main" id="{2CB1E6B8-6C1B-4CFB-9BB4-204CCAECF5EF}"/>
                </a:ext>
              </a:extLst>
            </p:cNvPr>
            <p:cNvSpPr/>
            <p:nvPr/>
          </p:nvSpPr>
          <p:spPr>
            <a:xfrm rot="8716295">
              <a:off x="4634427" y="33606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6" name="Forme libre : forme 2355">
              <a:extLst>
                <a:ext uri="{FF2B5EF4-FFF2-40B4-BE49-F238E27FC236}">
                  <a16:creationId xmlns:a16="http://schemas.microsoft.com/office/drawing/2014/main" id="{C87D3796-A862-4777-A308-4706FE535F62}"/>
                </a:ext>
              </a:extLst>
            </p:cNvPr>
            <p:cNvSpPr/>
            <p:nvPr/>
          </p:nvSpPr>
          <p:spPr>
            <a:xfrm rot="8716295">
              <a:off x="4849507" y="58568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7" name="Forme libre : forme 2356">
              <a:extLst>
                <a:ext uri="{FF2B5EF4-FFF2-40B4-BE49-F238E27FC236}">
                  <a16:creationId xmlns:a16="http://schemas.microsoft.com/office/drawing/2014/main" id="{1ACC11AE-8F0F-4403-A846-2BBA1B5FB06A}"/>
                </a:ext>
              </a:extLst>
            </p:cNvPr>
            <p:cNvSpPr/>
            <p:nvPr/>
          </p:nvSpPr>
          <p:spPr>
            <a:xfrm rot="8716295">
              <a:off x="4608056" y="43608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8" name="Forme libre : forme 2357">
              <a:extLst>
                <a:ext uri="{FF2B5EF4-FFF2-40B4-BE49-F238E27FC236}">
                  <a16:creationId xmlns:a16="http://schemas.microsoft.com/office/drawing/2014/main" id="{6BBCBD03-EC40-4B6A-94A0-044ACDD5545A}"/>
                </a:ext>
              </a:extLst>
            </p:cNvPr>
            <p:cNvSpPr/>
            <p:nvPr/>
          </p:nvSpPr>
          <p:spPr>
            <a:xfrm rot="7484129">
              <a:off x="4954438" y="77703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9" name="Forme libre : forme 2358">
              <a:extLst>
                <a:ext uri="{FF2B5EF4-FFF2-40B4-BE49-F238E27FC236}">
                  <a16:creationId xmlns:a16="http://schemas.microsoft.com/office/drawing/2014/main" id="{A0436840-05C9-42F3-8F79-A951B2C27E5B}"/>
                </a:ext>
              </a:extLst>
            </p:cNvPr>
            <p:cNvSpPr/>
            <p:nvPr/>
          </p:nvSpPr>
          <p:spPr>
            <a:xfrm rot="13089394">
              <a:off x="5059258" y="743571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0" name="Forme libre : forme 2359">
              <a:extLst>
                <a:ext uri="{FF2B5EF4-FFF2-40B4-BE49-F238E27FC236}">
                  <a16:creationId xmlns:a16="http://schemas.microsoft.com/office/drawing/2014/main" id="{18E5CE87-13E3-4167-9392-FE5C76C94FDF}"/>
                </a:ext>
              </a:extLst>
            </p:cNvPr>
            <p:cNvSpPr/>
            <p:nvPr/>
          </p:nvSpPr>
          <p:spPr>
            <a:xfrm rot="8716295">
              <a:off x="5244843" y="55189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1" name="Forme libre : forme 2360">
              <a:extLst>
                <a:ext uri="{FF2B5EF4-FFF2-40B4-BE49-F238E27FC236}">
                  <a16:creationId xmlns:a16="http://schemas.microsoft.com/office/drawing/2014/main" id="{79B867E9-B21B-4950-B984-31FB698EA685}"/>
                </a:ext>
              </a:extLst>
            </p:cNvPr>
            <p:cNvSpPr/>
            <p:nvPr/>
          </p:nvSpPr>
          <p:spPr>
            <a:xfrm rot="8716295">
              <a:off x="5193038" y="44829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2" name="Forme libre : forme 2361">
              <a:extLst>
                <a:ext uri="{FF2B5EF4-FFF2-40B4-BE49-F238E27FC236}">
                  <a16:creationId xmlns:a16="http://schemas.microsoft.com/office/drawing/2014/main" id="{36B5DFC7-1584-496B-98BD-B274803CFC03}"/>
                </a:ext>
              </a:extLst>
            </p:cNvPr>
            <p:cNvSpPr/>
            <p:nvPr/>
          </p:nvSpPr>
          <p:spPr>
            <a:xfrm rot="8716295">
              <a:off x="4949792" y="47851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3" name="Forme libre : forme 2362">
              <a:extLst>
                <a:ext uri="{FF2B5EF4-FFF2-40B4-BE49-F238E27FC236}">
                  <a16:creationId xmlns:a16="http://schemas.microsoft.com/office/drawing/2014/main" id="{173D4F02-9301-448C-BEBF-368C505DFEF7}"/>
                </a:ext>
              </a:extLst>
            </p:cNvPr>
            <p:cNvSpPr/>
            <p:nvPr/>
          </p:nvSpPr>
          <p:spPr>
            <a:xfrm rot="8716295">
              <a:off x="5127244" y="31927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4" name="Forme libre : forme 2363">
              <a:extLst>
                <a:ext uri="{FF2B5EF4-FFF2-40B4-BE49-F238E27FC236}">
                  <a16:creationId xmlns:a16="http://schemas.microsoft.com/office/drawing/2014/main" id="{ED7BE141-A682-458B-B00E-8C240AAEF92B}"/>
                </a:ext>
              </a:extLst>
            </p:cNvPr>
            <p:cNvSpPr/>
            <p:nvPr/>
          </p:nvSpPr>
          <p:spPr>
            <a:xfrm rot="8716295">
              <a:off x="4363525" y="4428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5" name="Forme libre : forme 2364">
              <a:extLst>
                <a:ext uri="{FF2B5EF4-FFF2-40B4-BE49-F238E27FC236}">
                  <a16:creationId xmlns:a16="http://schemas.microsoft.com/office/drawing/2014/main" id="{5D5D6D8D-B4BF-42B6-B50D-A71215211BA8}"/>
                </a:ext>
              </a:extLst>
            </p:cNvPr>
            <p:cNvSpPr/>
            <p:nvPr/>
          </p:nvSpPr>
          <p:spPr>
            <a:xfrm rot="8716295">
              <a:off x="4452917" y="7352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6" name="Forme libre : forme 2365">
              <a:extLst>
                <a:ext uri="{FF2B5EF4-FFF2-40B4-BE49-F238E27FC236}">
                  <a16:creationId xmlns:a16="http://schemas.microsoft.com/office/drawing/2014/main" id="{92D0CC5C-A64F-4456-AD2B-2B2768047B43}"/>
                </a:ext>
              </a:extLst>
            </p:cNvPr>
            <p:cNvSpPr/>
            <p:nvPr/>
          </p:nvSpPr>
          <p:spPr>
            <a:xfrm rot="8716295">
              <a:off x="4414002" y="19341"/>
              <a:ext cx="155050" cy="113964"/>
            </a:xfrm>
            <a:custGeom>
              <a:avLst/>
              <a:gdLst>
                <a:gd name="connsiteX0" fmla="*/ 25756 w 155050"/>
                <a:gd name="connsiteY0" fmla="*/ 113964 h 113964"/>
                <a:gd name="connsiteX1" fmla="*/ 0 w 155050"/>
                <a:gd name="connsiteY1" fmla="*/ 96110 h 113964"/>
                <a:gd name="connsiteX2" fmla="*/ 72120 w 155050"/>
                <a:gd name="connsiteY2" fmla="*/ 28251 h 113964"/>
                <a:gd name="connsiteX3" fmla="*/ 126799 w 155050"/>
                <a:gd name="connsiteY3" fmla="*/ 0 h 113964"/>
                <a:gd name="connsiteX4" fmla="*/ 155050 w 155050"/>
                <a:gd name="connsiteY4" fmla="*/ 33719 h 113964"/>
                <a:gd name="connsiteX5" fmla="*/ 128622 w 155050"/>
                <a:gd name="connsiteY5" fmla="*/ 69261 h 113964"/>
                <a:gd name="connsiteX6" fmla="*/ 129077 w 155050"/>
                <a:gd name="connsiteY6" fmla="*/ 69261 h 113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5050" h="113964">
                  <a:moveTo>
                    <a:pt x="25756" y="113964"/>
                  </a:moveTo>
                  <a:lnTo>
                    <a:pt x="0" y="96110"/>
                  </a:lnTo>
                  <a:lnTo>
                    <a:pt x="72120" y="28251"/>
                  </a:lnTo>
                  <a:cubicBezTo>
                    <a:pt x="85790" y="12303"/>
                    <a:pt x="105383" y="2279"/>
                    <a:pt x="126799" y="0"/>
                  </a:cubicBezTo>
                  <a:cubicBezTo>
                    <a:pt x="148671" y="0"/>
                    <a:pt x="155050" y="19138"/>
                    <a:pt x="155050" y="33719"/>
                  </a:cubicBezTo>
                  <a:cubicBezTo>
                    <a:pt x="153683" y="49668"/>
                    <a:pt x="143203" y="62882"/>
                    <a:pt x="128622" y="69261"/>
                  </a:cubicBezTo>
                  <a:lnTo>
                    <a:pt x="129077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7" name="Forme libre : forme 2366">
              <a:extLst>
                <a:ext uri="{FF2B5EF4-FFF2-40B4-BE49-F238E27FC236}">
                  <a16:creationId xmlns:a16="http://schemas.microsoft.com/office/drawing/2014/main" id="{3D7F33EE-E953-4F70-8F6D-B7AB877234D1}"/>
                </a:ext>
              </a:extLst>
            </p:cNvPr>
            <p:cNvSpPr/>
            <p:nvPr/>
          </p:nvSpPr>
          <p:spPr>
            <a:xfrm rot="8716295">
              <a:off x="4251291" y="13282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8" name="Forme libre : forme 2367">
              <a:extLst>
                <a:ext uri="{FF2B5EF4-FFF2-40B4-BE49-F238E27FC236}">
                  <a16:creationId xmlns:a16="http://schemas.microsoft.com/office/drawing/2014/main" id="{D6111605-705A-468C-9B0C-336BD1C692B5}"/>
                </a:ext>
              </a:extLst>
            </p:cNvPr>
            <p:cNvSpPr/>
            <p:nvPr/>
          </p:nvSpPr>
          <p:spPr>
            <a:xfrm rot="8716295">
              <a:off x="4140033" y="-17870"/>
              <a:ext cx="203847" cy="132136"/>
            </a:xfrm>
            <a:custGeom>
              <a:avLst/>
              <a:gdLst>
                <a:gd name="connsiteX0" fmla="*/ 112633 w 203847"/>
                <a:gd name="connsiteY0" fmla="*/ 132136 h 132136"/>
                <a:gd name="connsiteX1" fmla="*/ 56185 w 203847"/>
                <a:gd name="connsiteY1" fmla="*/ 93008 h 132136"/>
                <a:gd name="connsiteX2" fmla="*/ 69777 w 203847"/>
                <a:gd name="connsiteY2" fmla="*/ 55323 h 132136"/>
                <a:gd name="connsiteX3" fmla="*/ 1818 w 203847"/>
                <a:gd name="connsiteY3" fmla="*/ 55323 h 132136"/>
                <a:gd name="connsiteX4" fmla="*/ 0 w 203847"/>
                <a:gd name="connsiteY4" fmla="*/ 54062 h 132136"/>
                <a:gd name="connsiteX5" fmla="*/ 0 w 203847"/>
                <a:gd name="connsiteY5" fmla="*/ 0 h 132136"/>
                <a:gd name="connsiteX6" fmla="*/ 203847 w 203847"/>
                <a:gd name="connsiteY6" fmla="*/ 0 h 132136"/>
                <a:gd name="connsiteX7" fmla="*/ 203847 w 203847"/>
                <a:gd name="connsiteY7" fmla="*/ 55323 h 132136"/>
                <a:gd name="connsiteX8" fmla="*/ 139055 w 203847"/>
                <a:gd name="connsiteY8" fmla="*/ 55323 h 132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32136">
                  <a:moveTo>
                    <a:pt x="112633" y="132136"/>
                  </a:moveTo>
                  <a:lnTo>
                    <a:pt x="56185" y="93008"/>
                  </a:lnTo>
                  <a:lnTo>
                    <a:pt x="69777" y="55323"/>
                  </a:lnTo>
                  <a:lnTo>
                    <a:pt x="1818" y="55323"/>
                  </a:lnTo>
                  <a:lnTo>
                    <a:pt x="0" y="54062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9" name="Forme libre : forme 2368">
              <a:extLst>
                <a:ext uri="{FF2B5EF4-FFF2-40B4-BE49-F238E27FC236}">
                  <a16:creationId xmlns:a16="http://schemas.microsoft.com/office/drawing/2014/main" id="{60D6361D-5926-494E-85F4-B15D013F850E}"/>
                </a:ext>
              </a:extLst>
            </p:cNvPr>
            <p:cNvSpPr/>
            <p:nvPr/>
          </p:nvSpPr>
          <p:spPr>
            <a:xfrm rot="8716295">
              <a:off x="4382970" y="-25447"/>
              <a:ext cx="64855" cy="78311"/>
            </a:xfrm>
            <a:custGeom>
              <a:avLst/>
              <a:gdLst>
                <a:gd name="connsiteX0" fmla="*/ 64855 w 64855"/>
                <a:gd name="connsiteY0" fmla="*/ 78311 h 78311"/>
                <a:gd name="connsiteX1" fmla="*/ 0 w 64855"/>
                <a:gd name="connsiteY1" fmla="*/ 33356 h 78311"/>
                <a:gd name="connsiteX2" fmla="*/ 64294 w 64855"/>
                <a:gd name="connsiteY2" fmla="*/ 0 h 78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855" h="78311">
                  <a:moveTo>
                    <a:pt x="64855" y="78311"/>
                  </a:moveTo>
                  <a:lnTo>
                    <a:pt x="0" y="33356"/>
                  </a:lnTo>
                  <a:lnTo>
                    <a:pt x="64294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0" name="Forme libre : forme 2369">
              <a:extLst>
                <a:ext uri="{FF2B5EF4-FFF2-40B4-BE49-F238E27FC236}">
                  <a16:creationId xmlns:a16="http://schemas.microsoft.com/office/drawing/2014/main" id="{FC82A592-4B0B-4A64-A63D-8ACF6D9AAB23}"/>
                </a:ext>
              </a:extLst>
            </p:cNvPr>
            <p:cNvSpPr/>
            <p:nvPr/>
          </p:nvSpPr>
          <p:spPr>
            <a:xfrm rot="8716295">
              <a:off x="4341469" y="17378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1" name="Forme libre : forme 2370">
              <a:extLst>
                <a:ext uri="{FF2B5EF4-FFF2-40B4-BE49-F238E27FC236}">
                  <a16:creationId xmlns:a16="http://schemas.microsoft.com/office/drawing/2014/main" id="{6A20E7DD-05E5-4FA0-8F57-2B55062F7CD1}"/>
                </a:ext>
              </a:extLst>
            </p:cNvPr>
            <p:cNvSpPr/>
            <p:nvPr/>
          </p:nvSpPr>
          <p:spPr>
            <a:xfrm rot="8716295">
              <a:off x="4707227" y="-28335"/>
              <a:ext cx="81756" cy="56671"/>
            </a:xfrm>
            <a:custGeom>
              <a:avLst/>
              <a:gdLst>
                <a:gd name="connsiteX0" fmla="*/ 81756 w 81756"/>
                <a:gd name="connsiteY0" fmla="*/ 56671 h 56671"/>
                <a:gd name="connsiteX1" fmla="*/ 0 w 81756"/>
                <a:gd name="connsiteY1" fmla="*/ 0 h 56671"/>
                <a:gd name="connsiteX2" fmla="*/ 24798 w 81756"/>
                <a:gd name="connsiteY2" fmla="*/ 0 h 56671"/>
                <a:gd name="connsiteX3" fmla="*/ 81756 w 81756"/>
                <a:gd name="connsiteY3" fmla="*/ 50123 h 56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1756" h="56671">
                  <a:moveTo>
                    <a:pt x="81756" y="56671"/>
                  </a:moveTo>
                  <a:lnTo>
                    <a:pt x="0" y="0"/>
                  </a:lnTo>
                  <a:lnTo>
                    <a:pt x="24798" y="0"/>
                  </a:lnTo>
                  <a:cubicBezTo>
                    <a:pt x="61707" y="0"/>
                    <a:pt x="81756" y="15949"/>
                    <a:pt x="81756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2" name="Forme libre : forme 2371">
              <a:extLst>
                <a:ext uri="{FF2B5EF4-FFF2-40B4-BE49-F238E27FC236}">
                  <a16:creationId xmlns:a16="http://schemas.microsoft.com/office/drawing/2014/main" id="{2490B76E-46EB-4272-924E-6D995CAFB965}"/>
                </a:ext>
              </a:extLst>
            </p:cNvPr>
            <p:cNvSpPr/>
            <p:nvPr/>
          </p:nvSpPr>
          <p:spPr>
            <a:xfrm rot="8716295">
              <a:off x="4788322" y="-25624"/>
              <a:ext cx="219411" cy="98025"/>
            </a:xfrm>
            <a:custGeom>
              <a:avLst/>
              <a:gdLst>
                <a:gd name="connsiteX0" fmla="*/ 63575 w 219411"/>
                <a:gd name="connsiteY0" fmla="*/ 45493 h 98025"/>
                <a:gd name="connsiteX1" fmla="*/ 0 w 219411"/>
                <a:gd name="connsiteY1" fmla="*/ 1425 h 98025"/>
                <a:gd name="connsiteX2" fmla="*/ 63575 w 219411"/>
                <a:gd name="connsiteY2" fmla="*/ 1425 h 98025"/>
                <a:gd name="connsiteX3" fmla="*/ 88634 w 219411"/>
                <a:gd name="connsiteY3" fmla="*/ 62863 h 98025"/>
                <a:gd name="connsiteX4" fmla="*/ 73596 w 219411"/>
                <a:gd name="connsiteY4" fmla="*/ 52439 h 98025"/>
                <a:gd name="connsiteX5" fmla="*/ 75493 w 219411"/>
                <a:gd name="connsiteY5" fmla="*/ 47439 h 98025"/>
                <a:gd name="connsiteX6" fmla="*/ 112786 w 219411"/>
                <a:gd name="connsiteY6" fmla="*/ 5981 h 98025"/>
                <a:gd name="connsiteX7" fmla="*/ 144227 w 219411"/>
                <a:gd name="connsiteY7" fmla="*/ 57 h 98025"/>
                <a:gd name="connsiteX8" fmla="*/ 219411 w 219411"/>
                <a:gd name="connsiteY8" fmla="*/ 88456 h 98025"/>
                <a:gd name="connsiteX9" fmla="*/ 219411 w 219411"/>
                <a:gd name="connsiteY9" fmla="*/ 94380 h 98025"/>
                <a:gd name="connsiteX10" fmla="*/ 157441 w 219411"/>
                <a:gd name="connsiteY10" fmla="*/ 98025 h 98025"/>
                <a:gd name="connsiteX11" fmla="*/ 157441 w 219411"/>
                <a:gd name="connsiteY11" fmla="*/ 81621 h 98025"/>
                <a:gd name="connsiteX12" fmla="*/ 123722 w 219411"/>
                <a:gd name="connsiteY12" fmla="*/ 40156 h 98025"/>
                <a:gd name="connsiteX13" fmla="*/ 103089 w 219411"/>
                <a:gd name="connsiteY13" fmla="*/ 46969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9411" h="98025">
                  <a:moveTo>
                    <a:pt x="63575" y="45493"/>
                  </a:moveTo>
                  <a:lnTo>
                    <a:pt x="0" y="1425"/>
                  </a:lnTo>
                  <a:lnTo>
                    <a:pt x="63575" y="1425"/>
                  </a:lnTo>
                  <a:close/>
                  <a:moveTo>
                    <a:pt x="88634" y="62863"/>
                  </a:moveTo>
                  <a:lnTo>
                    <a:pt x="73596" y="52439"/>
                  </a:lnTo>
                  <a:lnTo>
                    <a:pt x="75493" y="47439"/>
                  </a:lnTo>
                  <a:cubicBezTo>
                    <a:pt x="85874" y="24008"/>
                    <a:pt x="96382" y="12816"/>
                    <a:pt x="112786" y="5981"/>
                  </a:cubicBezTo>
                  <a:cubicBezTo>
                    <a:pt x="122811" y="1880"/>
                    <a:pt x="133291" y="-398"/>
                    <a:pt x="144227" y="57"/>
                  </a:cubicBezTo>
                  <a:cubicBezTo>
                    <a:pt x="191160" y="-854"/>
                    <a:pt x="219411" y="31954"/>
                    <a:pt x="219411" y="88456"/>
                  </a:cubicBezTo>
                  <a:lnTo>
                    <a:pt x="219411" y="94380"/>
                  </a:lnTo>
                  <a:lnTo>
                    <a:pt x="157441" y="98025"/>
                  </a:lnTo>
                  <a:lnTo>
                    <a:pt x="157441" y="81621"/>
                  </a:lnTo>
                  <a:cubicBezTo>
                    <a:pt x="157441" y="57016"/>
                    <a:pt x="143316" y="40156"/>
                    <a:pt x="123722" y="40156"/>
                  </a:cubicBezTo>
                  <a:cubicBezTo>
                    <a:pt x="116431" y="40156"/>
                    <a:pt x="109454" y="42577"/>
                    <a:pt x="103089" y="4696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3" name="Forme libre : forme 2372">
              <a:extLst>
                <a:ext uri="{FF2B5EF4-FFF2-40B4-BE49-F238E27FC236}">
                  <a16:creationId xmlns:a16="http://schemas.microsoft.com/office/drawing/2014/main" id="{8E267C66-2E07-4F73-9340-012E8A048A8A}"/>
                </a:ext>
              </a:extLst>
            </p:cNvPr>
            <p:cNvSpPr/>
            <p:nvPr/>
          </p:nvSpPr>
          <p:spPr>
            <a:xfrm rot="8716295">
              <a:off x="4630568" y="-7637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4" name="Forme libre : forme 2373">
              <a:extLst>
                <a:ext uri="{FF2B5EF4-FFF2-40B4-BE49-F238E27FC236}">
                  <a16:creationId xmlns:a16="http://schemas.microsoft.com/office/drawing/2014/main" id="{78F0F09F-9A5B-4F4A-9DBF-86D570560CEC}"/>
                </a:ext>
              </a:extLst>
            </p:cNvPr>
            <p:cNvSpPr/>
            <p:nvPr/>
          </p:nvSpPr>
          <p:spPr>
            <a:xfrm rot="7484129">
              <a:off x="4735499" y="11497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5" name="Forme libre : forme 2374">
              <a:extLst>
                <a:ext uri="{FF2B5EF4-FFF2-40B4-BE49-F238E27FC236}">
                  <a16:creationId xmlns:a16="http://schemas.microsoft.com/office/drawing/2014/main" id="{78184C10-D416-4CB8-BB4E-B2E159FC9497}"/>
                </a:ext>
              </a:extLst>
            </p:cNvPr>
            <p:cNvSpPr/>
            <p:nvPr/>
          </p:nvSpPr>
          <p:spPr>
            <a:xfrm rot="13089394">
              <a:off x="4840319" y="8151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6" name="Forme libre : forme 2375">
              <a:extLst>
                <a:ext uri="{FF2B5EF4-FFF2-40B4-BE49-F238E27FC236}">
                  <a16:creationId xmlns:a16="http://schemas.microsoft.com/office/drawing/2014/main" id="{BF43E5AD-AF64-4DBC-99B6-CB8CB0A23CDF}"/>
                </a:ext>
              </a:extLst>
            </p:cNvPr>
            <p:cNvSpPr/>
            <p:nvPr/>
          </p:nvSpPr>
          <p:spPr>
            <a:xfrm rot="8716295">
              <a:off x="5051883" y="-11617"/>
              <a:ext cx="112042" cy="89932"/>
            </a:xfrm>
            <a:custGeom>
              <a:avLst/>
              <a:gdLst>
                <a:gd name="connsiteX0" fmla="*/ 62355 w 112042"/>
                <a:gd name="connsiteY0" fmla="*/ 89932 h 89932"/>
                <a:gd name="connsiteX1" fmla="*/ 0 w 112042"/>
                <a:gd name="connsiteY1" fmla="*/ 46710 h 89932"/>
                <a:gd name="connsiteX2" fmla="*/ 14231 w 112042"/>
                <a:gd name="connsiteY2" fmla="*/ 33321 h 89932"/>
                <a:gd name="connsiteX3" fmla="*/ 78722 w 112042"/>
                <a:gd name="connsiteY3" fmla="*/ 0 h 89932"/>
                <a:gd name="connsiteX4" fmla="*/ 112042 w 112042"/>
                <a:gd name="connsiteY4" fmla="*/ 39770 h 89932"/>
                <a:gd name="connsiteX5" fmla="*/ 80872 w 112042"/>
                <a:gd name="connsiteY5" fmla="*/ 81689 h 89932"/>
                <a:gd name="connsiteX6" fmla="*/ 81408 w 112042"/>
                <a:gd name="connsiteY6" fmla="*/ 81689 h 89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2042" h="89932">
                  <a:moveTo>
                    <a:pt x="62355" y="89932"/>
                  </a:moveTo>
                  <a:lnTo>
                    <a:pt x="0" y="46710"/>
                  </a:lnTo>
                  <a:lnTo>
                    <a:pt x="14231" y="33321"/>
                  </a:lnTo>
                  <a:cubicBezTo>
                    <a:pt x="30353" y="14511"/>
                    <a:pt x="53462" y="2687"/>
                    <a:pt x="78722" y="0"/>
                  </a:cubicBezTo>
                  <a:cubicBezTo>
                    <a:pt x="104518" y="0"/>
                    <a:pt x="112042" y="22572"/>
                    <a:pt x="112042" y="39770"/>
                  </a:cubicBezTo>
                  <a:cubicBezTo>
                    <a:pt x="110429" y="58580"/>
                    <a:pt x="98068" y="74165"/>
                    <a:pt x="80872" y="81689"/>
                  </a:cubicBezTo>
                  <a:lnTo>
                    <a:pt x="81408" y="816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7" name="Forme libre : forme 2376">
              <a:extLst>
                <a:ext uri="{FF2B5EF4-FFF2-40B4-BE49-F238E27FC236}">
                  <a16:creationId xmlns:a16="http://schemas.microsoft.com/office/drawing/2014/main" id="{26D2FA4F-18E7-494F-86E7-D42024EE660E}"/>
                </a:ext>
              </a:extLst>
            </p:cNvPr>
            <p:cNvSpPr/>
            <p:nvPr/>
          </p:nvSpPr>
          <p:spPr>
            <a:xfrm rot="8716295">
              <a:off x="4142433" y="246392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8" name="Forme libre : forme 2377">
              <a:extLst>
                <a:ext uri="{FF2B5EF4-FFF2-40B4-BE49-F238E27FC236}">
                  <a16:creationId xmlns:a16="http://schemas.microsoft.com/office/drawing/2014/main" id="{8944C994-EC14-42D7-8113-E4AD6478A149}"/>
                </a:ext>
              </a:extLst>
            </p:cNvPr>
            <p:cNvSpPr/>
            <p:nvPr/>
          </p:nvSpPr>
          <p:spPr>
            <a:xfrm rot="8716295">
              <a:off x="4231825" y="249316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9" name="Forme libre : forme 2378">
              <a:extLst>
                <a:ext uri="{FF2B5EF4-FFF2-40B4-BE49-F238E27FC236}">
                  <a16:creationId xmlns:a16="http://schemas.microsoft.com/office/drawing/2014/main" id="{58192FC9-A1C8-4708-8225-509EE82E999A}"/>
                </a:ext>
              </a:extLst>
            </p:cNvPr>
            <p:cNvSpPr/>
            <p:nvPr/>
          </p:nvSpPr>
          <p:spPr>
            <a:xfrm rot="8716295">
              <a:off x="4186975" y="240688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0" name="Forme libre : forme 2379">
              <a:extLst>
                <a:ext uri="{FF2B5EF4-FFF2-40B4-BE49-F238E27FC236}">
                  <a16:creationId xmlns:a16="http://schemas.microsoft.com/office/drawing/2014/main" id="{C486D111-D4F8-4846-BF95-F7163EE73BEE}"/>
                </a:ext>
              </a:extLst>
            </p:cNvPr>
            <p:cNvSpPr/>
            <p:nvPr/>
          </p:nvSpPr>
          <p:spPr>
            <a:xfrm rot="8716295">
              <a:off x="4030199" y="255246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1" name="Forme libre : forme 2380">
              <a:extLst>
                <a:ext uri="{FF2B5EF4-FFF2-40B4-BE49-F238E27FC236}">
                  <a16:creationId xmlns:a16="http://schemas.microsoft.com/office/drawing/2014/main" id="{A056C44E-4EEE-45C1-B42B-67B9971F1D6B}"/>
                </a:ext>
              </a:extLst>
            </p:cNvPr>
            <p:cNvSpPr/>
            <p:nvPr/>
          </p:nvSpPr>
          <p:spPr>
            <a:xfrm rot="8716295">
              <a:off x="3905296" y="234379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2" name="Forme libre : forme 2381">
              <a:extLst>
                <a:ext uri="{FF2B5EF4-FFF2-40B4-BE49-F238E27FC236}">
                  <a16:creationId xmlns:a16="http://schemas.microsoft.com/office/drawing/2014/main" id="{1595D241-3B9E-492F-B5E8-BEF6BBA7E0C4}"/>
                </a:ext>
              </a:extLst>
            </p:cNvPr>
            <p:cNvSpPr/>
            <p:nvPr/>
          </p:nvSpPr>
          <p:spPr>
            <a:xfrm rot="8716295">
              <a:off x="3893244" y="220501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3" name="Forme libre : forme 2382">
              <a:extLst>
                <a:ext uri="{FF2B5EF4-FFF2-40B4-BE49-F238E27FC236}">
                  <a16:creationId xmlns:a16="http://schemas.microsoft.com/office/drawing/2014/main" id="{D50BF1A5-3883-4503-8AB0-39544967FCA2}"/>
                </a:ext>
              </a:extLst>
            </p:cNvPr>
            <p:cNvSpPr/>
            <p:nvPr/>
          </p:nvSpPr>
          <p:spPr>
            <a:xfrm rot="8716295">
              <a:off x="4120377" y="259342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4" name="Forme libre : forme 2383">
              <a:extLst>
                <a:ext uri="{FF2B5EF4-FFF2-40B4-BE49-F238E27FC236}">
                  <a16:creationId xmlns:a16="http://schemas.microsoft.com/office/drawing/2014/main" id="{0B8BE066-0168-4B85-9FA8-76371BFEBC23}"/>
                </a:ext>
              </a:extLst>
            </p:cNvPr>
            <p:cNvSpPr/>
            <p:nvPr/>
          </p:nvSpPr>
          <p:spPr>
            <a:xfrm rot="8716295">
              <a:off x="4431532" y="221377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5" name="Forme libre : forme 2384">
              <a:extLst>
                <a:ext uri="{FF2B5EF4-FFF2-40B4-BE49-F238E27FC236}">
                  <a16:creationId xmlns:a16="http://schemas.microsoft.com/office/drawing/2014/main" id="{35AEC013-8A96-4F7B-8121-5A77C7B85C89}"/>
                </a:ext>
              </a:extLst>
            </p:cNvPr>
            <p:cNvSpPr/>
            <p:nvPr/>
          </p:nvSpPr>
          <p:spPr>
            <a:xfrm rot="8716295">
              <a:off x="4520924" y="224301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6" name="Forme libre : forme 2385">
              <a:extLst>
                <a:ext uri="{FF2B5EF4-FFF2-40B4-BE49-F238E27FC236}">
                  <a16:creationId xmlns:a16="http://schemas.microsoft.com/office/drawing/2014/main" id="{134B4DCA-0087-4CBF-B7E2-1B6EFFD18866}"/>
                </a:ext>
              </a:extLst>
            </p:cNvPr>
            <p:cNvSpPr/>
            <p:nvPr/>
          </p:nvSpPr>
          <p:spPr>
            <a:xfrm rot="8716295">
              <a:off x="4319298" y="230231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7" name="Forme libre : forme 2386">
              <a:extLst>
                <a:ext uri="{FF2B5EF4-FFF2-40B4-BE49-F238E27FC236}">
                  <a16:creationId xmlns:a16="http://schemas.microsoft.com/office/drawing/2014/main" id="{163757B9-6FA5-43B3-BF05-4633A60F3C8C}"/>
                </a:ext>
              </a:extLst>
            </p:cNvPr>
            <p:cNvSpPr/>
            <p:nvPr/>
          </p:nvSpPr>
          <p:spPr>
            <a:xfrm rot="8716295">
              <a:off x="4194396" y="209364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8" name="Forme libre : forme 2387">
              <a:extLst>
                <a:ext uri="{FF2B5EF4-FFF2-40B4-BE49-F238E27FC236}">
                  <a16:creationId xmlns:a16="http://schemas.microsoft.com/office/drawing/2014/main" id="{E98B9827-653C-450A-90CC-AB24A5748561}"/>
                </a:ext>
              </a:extLst>
            </p:cNvPr>
            <p:cNvSpPr/>
            <p:nvPr/>
          </p:nvSpPr>
          <p:spPr>
            <a:xfrm rot="8716295">
              <a:off x="4409476" y="234326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9" name="Forme libre : forme 2388">
              <a:extLst>
                <a:ext uri="{FF2B5EF4-FFF2-40B4-BE49-F238E27FC236}">
                  <a16:creationId xmlns:a16="http://schemas.microsoft.com/office/drawing/2014/main" id="{FDDF805D-5240-4677-A207-30BF9FB2B531}"/>
                </a:ext>
              </a:extLst>
            </p:cNvPr>
            <p:cNvSpPr/>
            <p:nvPr/>
          </p:nvSpPr>
          <p:spPr>
            <a:xfrm rot="8716295">
              <a:off x="4168025" y="219366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0" name="Forme libre : forme 2389">
              <a:extLst>
                <a:ext uri="{FF2B5EF4-FFF2-40B4-BE49-F238E27FC236}">
                  <a16:creationId xmlns:a16="http://schemas.microsoft.com/office/drawing/2014/main" id="{C69C5DEB-0024-4F6B-9D95-227D595E9C83}"/>
                </a:ext>
              </a:extLst>
            </p:cNvPr>
            <p:cNvSpPr/>
            <p:nvPr/>
          </p:nvSpPr>
          <p:spPr>
            <a:xfrm rot="7484129">
              <a:off x="4514407" y="253461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1" name="Forme libre : forme 2390">
              <a:extLst>
                <a:ext uri="{FF2B5EF4-FFF2-40B4-BE49-F238E27FC236}">
                  <a16:creationId xmlns:a16="http://schemas.microsoft.com/office/drawing/2014/main" id="{0FB7443C-A618-4557-B32F-BF8D10D1B0F0}"/>
                </a:ext>
              </a:extLst>
            </p:cNvPr>
            <p:cNvSpPr/>
            <p:nvPr/>
          </p:nvSpPr>
          <p:spPr>
            <a:xfrm rot="13089394">
              <a:off x="4619227" y="250115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2" name="Forme libre : forme 2391">
              <a:extLst>
                <a:ext uri="{FF2B5EF4-FFF2-40B4-BE49-F238E27FC236}">
                  <a16:creationId xmlns:a16="http://schemas.microsoft.com/office/drawing/2014/main" id="{4C9C1422-C0E5-4066-8236-95853DBC40C6}"/>
                </a:ext>
              </a:extLst>
            </p:cNvPr>
            <p:cNvSpPr/>
            <p:nvPr/>
          </p:nvSpPr>
          <p:spPr>
            <a:xfrm rot="8716295">
              <a:off x="4804812" y="230947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3" name="Forme libre : forme 2392">
              <a:extLst>
                <a:ext uri="{FF2B5EF4-FFF2-40B4-BE49-F238E27FC236}">
                  <a16:creationId xmlns:a16="http://schemas.microsoft.com/office/drawing/2014/main" id="{51D166AF-4976-4D8C-853D-6904E98B922E}"/>
                </a:ext>
              </a:extLst>
            </p:cNvPr>
            <p:cNvSpPr/>
            <p:nvPr/>
          </p:nvSpPr>
          <p:spPr>
            <a:xfrm rot="8716295">
              <a:off x="4753007" y="220587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4" name="Forme libre : forme 2393">
              <a:extLst>
                <a:ext uri="{FF2B5EF4-FFF2-40B4-BE49-F238E27FC236}">
                  <a16:creationId xmlns:a16="http://schemas.microsoft.com/office/drawing/2014/main" id="{BA326BA3-E1FE-4A3E-AE3D-4E61F745D645}"/>
                </a:ext>
              </a:extLst>
            </p:cNvPr>
            <p:cNvSpPr/>
            <p:nvPr/>
          </p:nvSpPr>
          <p:spPr>
            <a:xfrm rot="8716295">
              <a:off x="4509761" y="223610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5" name="Forme libre : forme 2394">
              <a:extLst>
                <a:ext uri="{FF2B5EF4-FFF2-40B4-BE49-F238E27FC236}">
                  <a16:creationId xmlns:a16="http://schemas.microsoft.com/office/drawing/2014/main" id="{8A46B46F-F0B1-417E-8C7A-6962AE3F21E6}"/>
                </a:ext>
              </a:extLst>
            </p:cNvPr>
            <p:cNvSpPr/>
            <p:nvPr/>
          </p:nvSpPr>
          <p:spPr>
            <a:xfrm rot="8716295">
              <a:off x="4687213" y="207685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6" name="Forme libre : forme 2395">
              <a:extLst>
                <a:ext uri="{FF2B5EF4-FFF2-40B4-BE49-F238E27FC236}">
                  <a16:creationId xmlns:a16="http://schemas.microsoft.com/office/drawing/2014/main" id="{C9994092-3035-4DD9-9E09-3BAFE682BCD7}"/>
                </a:ext>
              </a:extLst>
            </p:cNvPr>
            <p:cNvSpPr/>
            <p:nvPr/>
          </p:nvSpPr>
          <p:spPr>
            <a:xfrm rot="8716295">
              <a:off x="4365600" y="312362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7" name="Forme libre : forme 2396">
              <a:extLst>
                <a:ext uri="{FF2B5EF4-FFF2-40B4-BE49-F238E27FC236}">
                  <a16:creationId xmlns:a16="http://schemas.microsoft.com/office/drawing/2014/main" id="{AE33B394-B806-4A40-8CAA-93B4FF185583}"/>
                </a:ext>
              </a:extLst>
            </p:cNvPr>
            <p:cNvSpPr/>
            <p:nvPr/>
          </p:nvSpPr>
          <p:spPr>
            <a:xfrm rot="8716295">
              <a:off x="4454992" y="315286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8" name="Forme libre : forme 2397">
              <a:extLst>
                <a:ext uri="{FF2B5EF4-FFF2-40B4-BE49-F238E27FC236}">
                  <a16:creationId xmlns:a16="http://schemas.microsoft.com/office/drawing/2014/main" id="{E2E1CE7D-7E21-4BD0-BBC2-789A64762168}"/>
                </a:ext>
              </a:extLst>
            </p:cNvPr>
            <p:cNvSpPr/>
            <p:nvPr/>
          </p:nvSpPr>
          <p:spPr>
            <a:xfrm rot="8716295">
              <a:off x="4410142" y="306658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9" name="Forme libre : forme 2398">
              <a:extLst>
                <a:ext uri="{FF2B5EF4-FFF2-40B4-BE49-F238E27FC236}">
                  <a16:creationId xmlns:a16="http://schemas.microsoft.com/office/drawing/2014/main" id="{D750BA49-1FAF-4289-9C9E-5D6FD1245959}"/>
                </a:ext>
              </a:extLst>
            </p:cNvPr>
            <p:cNvSpPr/>
            <p:nvPr/>
          </p:nvSpPr>
          <p:spPr>
            <a:xfrm rot="8716295">
              <a:off x="4253366" y="321216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0" name="Forme libre : forme 2399">
              <a:extLst>
                <a:ext uri="{FF2B5EF4-FFF2-40B4-BE49-F238E27FC236}">
                  <a16:creationId xmlns:a16="http://schemas.microsoft.com/office/drawing/2014/main" id="{DE694502-8787-4DE5-AFA1-0F3754EC84F2}"/>
                </a:ext>
              </a:extLst>
            </p:cNvPr>
            <p:cNvSpPr/>
            <p:nvPr/>
          </p:nvSpPr>
          <p:spPr>
            <a:xfrm rot="8716295">
              <a:off x="4128463" y="300349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1" name="Forme libre : forme 2400">
              <a:extLst>
                <a:ext uri="{FF2B5EF4-FFF2-40B4-BE49-F238E27FC236}">
                  <a16:creationId xmlns:a16="http://schemas.microsoft.com/office/drawing/2014/main" id="{FDAB4DC0-8BEB-4DD5-9B59-3390B09A63B4}"/>
                </a:ext>
              </a:extLst>
            </p:cNvPr>
            <p:cNvSpPr/>
            <p:nvPr/>
          </p:nvSpPr>
          <p:spPr>
            <a:xfrm rot="8716295">
              <a:off x="4116411" y="286471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2" name="Forme libre : forme 2401">
              <a:extLst>
                <a:ext uri="{FF2B5EF4-FFF2-40B4-BE49-F238E27FC236}">
                  <a16:creationId xmlns:a16="http://schemas.microsoft.com/office/drawing/2014/main" id="{B005B092-A2D6-4E32-9BFF-715AB97C0245}"/>
                </a:ext>
              </a:extLst>
            </p:cNvPr>
            <p:cNvSpPr/>
            <p:nvPr/>
          </p:nvSpPr>
          <p:spPr>
            <a:xfrm rot="8716295">
              <a:off x="4343544" y="325311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3" name="Forme libre : forme 2402">
              <a:extLst>
                <a:ext uri="{FF2B5EF4-FFF2-40B4-BE49-F238E27FC236}">
                  <a16:creationId xmlns:a16="http://schemas.microsoft.com/office/drawing/2014/main" id="{045312D5-1496-48E9-BE7A-E83846AC9783}"/>
                </a:ext>
              </a:extLst>
            </p:cNvPr>
            <p:cNvSpPr/>
            <p:nvPr/>
          </p:nvSpPr>
          <p:spPr>
            <a:xfrm rot="8716295">
              <a:off x="4654699" y="287347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4" name="Forme libre : forme 2403">
              <a:extLst>
                <a:ext uri="{FF2B5EF4-FFF2-40B4-BE49-F238E27FC236}">
                  <a16:creationId xmlns:a16="http://schemas.microsoft.com/office/drawing/2014/main" id="{F44F3FDE-EE75-48FF-90E8-43EFECEA6BFA}"/>
                </a:ext>
              </a:extLst>
            </p:cNvPr>
            <p:cNvSpPr/>
            <p:nvPr/>
          </p:nvSpPr>
          <p:spPr>
            <a:xfrm rot="8716295">
              <a:off x="4744091" y="290271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5" name="Forme libre : forme 2404">
              <a:extLst>
                <a:ext uri="{FF2B5EF4-FFF2-40B4-BE49-F238E27FC236}">
                  <a16:creationId xmlns:a16="http://schemas.microsoft.com/office/drawing/2014/main" id="{183E0100-AB2A-459F-8CD6-B918AF817720}"/>
                </a:ext>
              </a:extLst>
            </p:cNvPr>
            <p:cNvSpPr/>
            <p:nvPr/>
          </p:nvSpPr>
          <p:spPr>
            <a:xfrm rot="8716295">
              <a:off x="4542465" y="296201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6" name="Forme libre : forme 2405">
              <a:extLst>
                <a:ext uri="{FF2B5EF4-FFF2-40B4-BE49-F238E27FC236}">
                  <a16:creationId xmlns:a16="http://schemas.microsoft.com/office/drawing/2014/main" id="{5AC6947B-430C-4683-99FD-17BA671C7FAF}"/>
                </a:ext>
              </a:extLst>
            </p:cNvPr>
            <p:cNvSpPr/>
            <p:nvPr/>
          </p:nvSpPr>
          <p:spPr>
            <a:xfrm rot="8716295">
              <a:off x="4417563" y="275334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7" name="Forme libre : forme 2406">
              <a:extLst>
                <a:ext uri="{FF2B5EF4-FFF2-40B4-BE49-F238E27FC236}">
                  <a16:creationId xmlns:a16="http://schemas.microsoft.com/office/drawing/2014/main" id="{23371782-A91B-45D7-9243-4F5347843B7B}"/>
                </a:ext>
              </a:extLst>
            </p:cNvPr>
            <p:cNvSpPr/>
            <p:nvPr/>
          </p:nvSpPr>
          <p:spPr>
            <a:xfrm rot="8716295">
              <a:off x="4632643" y="300296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8" name="Forme libre : forme 2407">
              <a:extLst>
                <a:ext uri="{FF2B5EF4-FFF2-40B4-BE49-F238E27FC236}">
                  <a16:creationId xmlns:a16="http://schemas.microsoft.com/office/drawing/2014/main" id="{9755E835-965C-456F-87FE-92F81A3E4A63}"/>
                </a:ext>
              </a:extLst>
            </p:cNvPr>
            <p:cNvSpPr/>
            <p:nvPr/>
          </p:nvSpPr>
          <p:spPr>
            <a:xfrm rot="8716295">
              <a:off x="4391192" y="285336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9" name="Forme libre : forme 2408">
              <a:extLst>
                <a:ext uri="{FF2B5EF4-FFF2-40B4-BE49-F238E27FC236}">
                  <a16:creationId xmlns:a16="http://schemas.microsoft.com/office/drawing/2014/main" id="{C97A8178-02BF-4D6E-B4BD-592A2261203E}"/>
                </a:ext>
              </a:extLst>
            </p:cNvPr>
            <p:cNvSpPr/>
            <p:nvPr/>
          </p:nvSpPr>
          <p:spPr>
            <a:xfrm rot="7484129">
              <a:off x="4737574" y="319431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0" name="Forme libre : forme 2409">
              <a:extLst>
                <a:ext uri="{FF2B5EF4-FFF2-40B4-BE49-F238E27FC236}">
                  <a16:creationId xmlns:a16="http://schemas.microsoft.com/office/drawing/2014/main" id="{75E989AC-861F-445B-8523-87947D58BA59}"/>
                </a:ext>
              </a:extLst>
            </p:cNvPr>
            <p:cNvSpPr/>
            <p:nvPr/>
          </p:nvSpPr>
          <p:spPr>
            <a:xfrm rot="13089394">
              <a:off x="4842394" y="316085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1" name="Forme libre : forme 2410">
              <a:extLst>
                <a:ext uri="{FF2B5EF4-FFF2-40B4-BE49-F238E27FC236}">
                  <a16:creationId xmlns:a16="http://schemas.microsoft.com/office/drawing/2014/main" id="{8D82D2F1-5E32-4A31-B12C-8D7D976DCEFE}"/>
                </a:ext>
              </a:extLst>
            </p:cNvPr>
            <p:cNvSpPr/>
            <p:nvPr/>
          </p:nvSpPr>
          <p:spPr>
            <a:xfrm rot="8716295">
              <a:off x="5027979" y="296917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2" name="Forme libre : forme 2411">
              <a:extLst>
                <a:ext uri="{FF2B5EF4-FFF2-40B4-BE49-F238E27FC236}">
                  <a16:creationId xmlns:a16="http://schemas.microsoft.com/office/drawing/2014/main" id="{B13D46FD-93AC-45F4-9A10-E97DA44D8E6F}"/>
                </a:ext>
              </a:extLst>
            </p:cNvPr>
            <p:cNvSpPr/>
            <p:nvPr/>
          </p:nvSpPr>
          <p:spPr>
            <a:xfrm rot="8716295">
              <a:off x="4976174" y="286557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3" name="Forme libre : forme 2412">
              <a:extLst>
                <a:ext uri="{FF2B5EF4-FFF2-40B4-BE49-F238E27FC236}">
                  <a16:creationId xmlns:a16="http://schemas.microsoft.com/office/drawing/2014/main" id="{60E925F5-AA66-479A-8E63-2C1F069A7D43}"/>
                </a:ext>
              </a:extLst>
            </p:cNvPr>
            <p:cNvSpPr/>
            <p:nvPr/>
          </p:nvSpPr>
          <p:spPr>
            <a:xfrm rot="8716295">
              <a:off x="4732928" y="289579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4" name="Forme libre : forme 2413">
              <a:extLst>
                <a:ext uri="{FF2B5EF4-FFF2-40B4-BE49-F238E27FC236}">
                  <a16:creationId xmlns:a16="http://schemas.microsoft.com/office/drawing/2014/main" id="{080B48A7-A1B1-41BD-94B6-9C452E91624E}"/>
                </a:ext>
              </a:extLst>
            </p:cNvPr>
            <p:cNvSpPr/>
            <p:nvPr/>
          </p:nvSpPr>
          <p:spPr>
            <a:xfrm rot="8716295">
              <a:off x="4910380" y="273655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5" name="Forme libre : forme 2414">
              <a:extLst>
                <a:ext uri="{FF2B5EF4-FFF2-40B4-BE49-F238E27FC236}">
                  <a16:creationId xmlns:a16="http://schemas.microsoft.com/office/drawing/2014/main" id="{0674948B-A68F-42F0-B732-9AA4AFE7D76F}"/>
                </a:ext>
              </a:extLst>
            </p:cNvPr>
            <p:cNvSpPr/>
            <p:nvPr/>
          </p:nvSpPr>
          <p:spPr>
            <a:xfrm rot="8716295">
              <a:off x="5092983" y="5038194"/>
              <a:ext cx="153591" cy="101571"/>
            </a:xfrm>
            <a:custGeom>
              <a:avLst/>
              <a:gdLst>
                <a:gd name="connsiteX0" fmla="*/ 5923 w 153591"/>
                <a:gd name="connsiteY0" fmla="*/ 101571 h 101571"/>
                <a:gd name="connsiteX1" fmla="*/ 0 w 153591"/>
                <a:gd name="connsiteY1" fmla="*/ 93369 h 101571"/>
                <a:gd name="connsiteX2" fmla="*/ 99231 w 153591"/>
                <a:gd name="connsiteY2" fmla="*/ 0 h 101571"/>
                <a:gd name="connsiteX3" fmla="*/ 153591 w 153591"/>
                <a:gd name="connsiteY3" fmla="*/ 37681 h 101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3591" h="101571">
                  <a:moveTo>
                    <a:pt x="5923" y="101571"/>
                  </a:moveTo>
                  <a:lnTo>
                    <a:pt x="0" y="93369"/>
                  </a:lnTo>
                  <a:lnTo>
                    <a:pt x="99231" y="0"/>
                  </a:lnTo>
                  <a:lnTo>
                    <a:pt x="153591" y="3768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6" name="Forme libre : forme 2415">
              <a:extLst>
                <a:ext uri="{FF2B5EF4-FFF2-40B4-BE49-F238E27FC236}">
                  <a16:creationId xmlns:a16="http://schemas.microsoft.com/office/drawing/2014/main" id="{12A1F00F-33E4-4350-8E47-D86011A73F70}"/>
                </a:ext>
              </a:extLst>
            </p:cNvPr>
            <p:cNvSpPr/>
            <p:nvPr/>
          </p:nvSpPr>
          <p:spPr>
            <a:xfrm rot="8716295">
              <a:off x="4835281" y="4967476"/>
              <a:ext cx="151182" cy="195874"/>
            </a:xfrm>
            <a:custGeom>
              <a:avLst/>
              <a:gdLst>
                <a:gd name="connsiteX0" fmla="*/ 90709 w 151182"/>
                <a:gd name="connsiteY0" fmla="*/ 195874 h 195874"/>
                <a:gd name="connsiteX1" fmla="*/ 47847 w 151182"/>
                <a:gd name="connsiteY1" fmla="*/ 116129 h 195874"/>
                <a:gd name="connsiteX2" fmla="*/ 69777 w 151182"/>
                <a:gd name="connsiteY2" fmla="*/ 55323 h 195874"/>
                <a:gd name="connsiteX3" fmla="*/ 0 w 151182"/>
                <a:gd name="connsiteY3" fmla="*/ 55323 h 195874"/>
                <a:gd name="connsiteX4" fmla="*/ 0 w 151182"/>
                <a:gd name="connsiteY4" fmla="*/ 0 h 195874"/>
                <a:gd name="connsiteX5" fmla="*/ 71369 w 151182"/>
                <a:gd name="connsiteY5" fmla="*/ 0 h 195874"/>
                <a:gd name="connsiteX6" fmla="*/ 151182 w 151182"/>
                <a:gd name="connsiteY6" fmla="*/ 55323 h 195874"/>
                <a:gd name="connsiteX7" fmla="*/ 139055 w 151182"/>
                <a:gd name="connsiteY7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1182" h="195874">
                  <a:moveTo>
                    <a:pt x="90709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71369" y="0"/>
                  </a:lnTo>
                  <a:lnTo>
                    <a:pt x="151182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7" name="Forme libre : forme 2416">
              <a:extLst>
                <a:ext uri="{FF2B5EF4-FFF2-40B4-BE49-F238E27FC236}">
                  <a16:creationId xmlns:a16="http://schemas.microsoft.com/office/drawing/2014/main" id="{DC1C692C-2D66-4299-8775-AC821C8B995E}"/>
                </a:ext>
              </a:extLst>
            </p:cNvPr>
            <p:cNvSpPr/>
            <p:nvPr/>
          </p:nvSpPr>
          <p:spPr>
            <a:xfrm rot="8716295">
              <a:off x="4779766" y="484378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8" name="Forme libre : forme 2417">
              <a:extLst>
                <a:ext uri="{FF2B5EF4-FFF2-40B4-BE49-F238E27FC236}">
                  <a16:creationId xmlns:a16="http://schemas.microsoft.com/office/drawing/2014/main" id="{E6D77D73-3B42-4B2B-93BD-3B3DC93A2BC2}"/>
                </a:ext>
              </a:extLst>
            </p:cNvPr>
            <p:cNvSpPr/>
            <p:nvPr/>
          </p:nvSpPr>
          <p:spPr>
            <a:xfrm rot="8716295">
              <a:off x="5318054" y="485254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9" name="Forme libre : forme 2418">
              <a:extLst>
                <a:ext uri="{FF2B5EF4-FFF2-40B4-BE49-F238E27FC236}">
                  <a16:creationId xmlns:a16="http://schemas.microsoft.com/office/drawing/2014/main" id="{8B7FAF70-1022-4D25-AC9C-9716E663F64F}"/>
                </a:ext>
              </a:extLst>
            </p:cNvPr>
            <p:cNvSpPr/>
            <p:nvPr/>
          </p:nvSpPr>
          <p:spPr>
            <a:xfrm rot="8716295">
              <a:off x="5407622" y="4885251"/>
              <a:ext cx="236069" cy="254774"/>
            </a:xfrm>
            <a:custGeom>
              <a:avLst/>
              <a:gdLst>
                <a:gd name="connsiteX0" fmla="*/ 26920 w 236069"/>
                <a:gd name="connsiteY0" fmla="*/ 254774 h 254774"/>
                <a:gd name="connsiteX1" fmla="*/ 26920 w 236069"/>
                <a:gd name="connsiteY1" fmla="*/ 45624 h 254774"/>
                <a:gd name="connsiteX2" fmla="*/ 0 w 236069"/>
                <a:gd name="connsiteY2" fmla="*/ 45624 h 254774"/>
                <a:gd name="connsiteX3" fmla="*/ 36558 w 236069"/>
                <a:gd name="connsiteY3" fmla="*/ 1425 h 254774"/>
                <a:gd name="connsiteX4" fmla="*/ 80233 w 236069"/>
                <a:gd name="connsiteY4" fmla="*/ 1425 h 254774"/>
                <a:gd name="connsiteX5" fmla="*/ 80233 w 236069"/>
                <a:gd name="connsiteY5" fmla="*/ 75242 h 254774"/>
                <a:gd name="connsiteX6" fmla="*/ 81599 w 236069"/>
                <a:gd name="connsiteY6" fmla="*/ 75242 h 254774"/>
                <a:gd name="connsiteX7" fmla="*/ 129444 w 236069"/>
                <a:gd name="connsiteY7" fmla="*/ 5981 h 254774"/>
                <a:gd name="connsiteX8" fmla="*/ 160885 w 236069"/>
                <a:gd name="connsiteY8" fmla="*/ 57 h 254774"/>
                <a:gd name="connsiteX9" fmla="*/ 165106 w 236069"/>
                <a:gd name="connsiteY9" fmla="*/ 791 h 254774"/>
                <a:gd name="connsiteX10" fmla="*/ 227336 w 236069"/>
                <a:gd name="connsiteY10" fmla="*/ 43927 h 254774"/>
                <a:gd name="connsiteX11" fmla="*/ 230922 w 236069"/>
                <a:gd name="connsiteY11" fmla="*/ 50679 h 254774"/>
                <a:gd name="connsiteX12" fmla="*/ 236069 w 236069"/>
                <a:gd name="connsiteY12" fmla="*/ 88456 h 254774"/>
                <a:gd name="connsiteX13" fmla="*/ 236069 w 236069"/>
                <a:gd name="connsiteY13" fmla="*/ 94380 h 254774"/>
                <a:gd name="connsiteX14" fmla="*/ 174099 w 236069"/>
                <a:gd name="connsiteY14" fmla="*/ 98025 h 254774"/>
                <a:gd name="connsiteX15" fmla="*/ 174099 w 236069"/>
                <a:gd name="connsiteY15" fmla="*/ 81621 h 254774"/>
                <a:gd name="connsiteX16" fmla="*/ 140380 w 236069"/>
                <a:gd name="connsiteY16" fmla="*/ 40156 h 254774"/>
                <a:gd name="connsiteX17" fmla="*/ 87068 w 236069"/>
                <a:gd name="connsiteY17" fmla="*/ 127643 h 254774"/>
                <a:gd name="connsiteX18" fmla="*/ 87068 w 236069"/>
                <a:gd name="connsiteY18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36069" h="254774">
                  <a:moveTo>
                    <a:pt x="26920" y="254774"/>
                  </a:moveTo>
                  <a:lnTo>
                    <a:pt x="26920" y="45624"/>
                  </a:lnTo>
                  <a:lnTo>
                    <a:pt x="0" y="45624"/>
                  </a:lnTo>
                  <a:lnTo>
                    <a:pt x="36558" y="1425"/>
                  </a:lnTo>
                  <a:lnTo>
                    <a:pt x="80233" y="1425"/>
                  </a:lnTo>
                  <a:lnTo>
                    <a:pt x="80233" y="75242"/>
                  </a:lnTo>
                  <a:lnTo>
                    <a:pt x="81599" y="75242"/>
                  </a:lnTo>
                  <a:cubicBezTo>
                    <a:pt x="96181" y="31954"/>
                    <a:pt x="107572" y="15095"/>
                    <a:pt x="129444" y="5981"/>
                  </a:cubicBezTo>
                  <a:cubicBezTo>
                    <a:pt x="139469" y="1880"/>
                    <a:pt x="149949" y="-398"/>
                    <a:pt x="160885" y="57"/>
                  </a:cubicBezTo>
                  <a:lnTo>
                    <a:pt x="165106" y="791"/>
                  </a:lnTo>
                  <a:lnTo>
                    <a:pt x="227336" y="43927"/>
                  </a:lnTo>
                  <a:lnTo>
                    <a:pt x="230922" y="50679"/>
                  </a:lnTo>
                  <a:cubicBezTo>
                    <a:pt x="234303" y="61686"/>
                    <a:pt x="236069" y="74331"/>
                    <a:pt x="236069" y="88456"/>
                  </a:cubicBezTo>
                  <a:lnTo>
                    <a:pt x="236069" y="94380"/>
                  </a:lnTo>
                  <a:lnTo>
                    <a:pt x="174099" y="98025"/>
                  </a:lnTo>
                  <a:lnTo>
                    <a:pt x="174099" y="81621"/>
                  </a:lnTo>
                  <a:cubicBezTo>
                    <a:pt x="174099" y="57016"/>
                    <a:pt x="159974" y="40156"/>
                    <a:pt x="140380" y="40156"/>
                  </a:cubicBezTo>
                  <a:cubicBezTo>
                    <a:pt x="111218" y="40156"/>
                    <a:pt x="87068" y="78887"/>
                    <a:pt x="87068" y="127643"/>
                  </a:cubicBezTo>
                  <a:lnTo>
                    <a:pt x="87068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0" name="Forme libre : forme 2419">
              <a:extLst>
                <a:ext uri="{FF2B5EF4-FFF2-40B4-BE49-F238E27FC236}">
                  <a16:creationId xmlns:a16="http://schemas.microsoft.com/office/drawing/2014/main" id="{27602E58-FD35-4CD6-BDF7-ECF90C52F91B}"/>
                </a:ext>
              </a:extLst>
            </p:cNvPr>
            <p:cNvSpPr/>
            <p:nvPr/>
          </p:nvSpPr>
          <p:spPr>
            <a:xfrm rot="8716295">
              <a:off x="5205820" y="494108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1" name="Forme libre : forme 2420">
              <a:extLst>
                <a:ext uri="{FF2B5EF4-FFF2-40B4-BE49-F238E27FC236}">
                  <a16:creationId xmlns:a16="http://schemas.microsoft.com/office/drawing/2014/main" id="{CBCC54CA-829A-46B5-B9CA-D3D424638857}"/>
                </a:ext>
              </a:extLst>
            </p:cNvPr>
            <p:cNvSpPr/>
            <p:nvPr/>
          </p:nvSpPr>
          <p:spPr>
            <a:xfrm rot="8716295">
              <a:off x="5080918" y="473241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2" name="Forme libre : forme 2421">
              <a:extLst>
                <a:ext uri="{FF2B5EF4-FFF2-40B4-BE49-F238E27FC236}">
                  <a16:creationId xmlns:a16="http://schemas.microsoft.com/office/drawing/2014/main" id="{9CF4BAC4-4A9A-4E71-B1AD-94CDB63497C4}"/>
                </a:ext>
              </a:extLst>
            </p:cNvPr>
            <p:cNvSpPr/>
            <p:nvPr/>
          </p:nvSpPr>
          <p:spPr>
            <a:xfrm rot="8716295">
              <a:off x="5289767" y="4983528"/>
              <a:ext cx="103436" cy="207956"/>
            </a:xfrm>
            <a:custGeom>
              <a:avLst/>
              <a:gdLst>
                <a:gd name="connsiteX0" fmla="*/ 0 w 103436"/>
                <a:gd name="connsiteY0" fmla="*/ 5185 h 207956"/>
                <a:gd name="connsiteX1" fmla="*/ 0 w 103436"/>
                <a:gd name="connsiteY1" fmla="*/ 0 h 207956"/>
                <a:gd name="connsiteX2" fmla="*/ 7480 w 103436"/>
                <a:gd name="connsiteY2" fmla="*/ 5185 h 207956"/>
                <a:gd name="connsiteX3" fmla="*/ 103436 w 103436"/>
                <a:gd name="connsiteY3" fmla="*/ 207956 h 207956"/>
                <a:gd name="connsiteX4" fmla="*/ 43288 w 103436"/>
                <a:gd name="connsiteY4" fmla="*/ 150086 h 207956"/>
                <a:gd name="connsiteX5" fmla="*/ 43288 w 103436"/>
                <a:gd name="connsiteY5" fmla="*/ 30006 h 207956"/>
                <a:gd name="connsiteX6" fmla="*/ 103435 w 103436"/>
                <a:gd name="connsiteY6" fmla="*/ 71698 h 207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6" h="207956">
                  <a:moveTo>
                    <a:pt x="0" y="5185"/>
                  </a:moveTo>
                  <a:lnTo>
                    <a:pt x="0" y="0"/>
                  </a:lnTo>
                  <a:lnTo>
                    <a:pt x="7480" y="5185"/>
                  </a:lnTo>
                  <a:close/>
                  <a:moveTo>
                    <a:pt x="103436" y="207956"/>
                  </a:moveTo>
                  <a:lnTo>
                    <a:pt x="43288" y="150086"/>
                  </a:lnTo>
                  <a:lnTo>
                    <a:pt x="43288" y="30006"/>
                  </a:lnTo>
                  <a:lnTo>
                    <a:pt x="103435" y="716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3" name="Forme libre : forme 2422">
              <a:extLst>
                <a:ext uri="{FF2B5EF4-FFF2-40B4-BE49-F238E27FC236}">
                  <a16:creationId xmlns:a16="http://schemas.microsoft.com/office/drawing/2014/main" id="{58B97AE7-4DDA-4D02-8FCA-6E107A3309C6}"/>
                </a:ext>
              </a:extLst>
            </p:cNvPr>
            <p:cNvSpPr/>
            <p:nvPr/>
          </p:nvSpPr>
          <p:spPr>
            <a:xfrm rot="8716295">
              <a:off x="5054547" y="483243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4" name="Forme libre : forme 2423">
              <a:extLst>
                <a:ext uri="{FF2B5EF4-FFF2-40B4-BE49-F238E27FC236}">
                  <a16:creationId xmlns:a16="http://schemas.microsoft.com/office/drawing/2014/main" id="{FE870BF4-A4A5-4432-957C-57DF976F1501}"/>
                </a:ext>
              </a:extLst>
            </p:cNvPr>
            <p:cNvSpPr/>
            <p:nvPr/>
          </p:nvSpPr>
          <p:spPr>
            <a:xfrm rot="8716295">
              <a:off x="5627351" y="4851308"/>
              <a:ext cx="84852" cy="94931"/>
            </a:xfrm>
            <a:custGeom>
              <a:avLst/>
              <a:gdLst>
                <a:gd name="connsiteX0" fmla="*/ 0 w 84852"/>
                <a:gd name="connsiteY0" fmla="*/ 84445 h 94931"/>
                <a:gd name="connsiteX1" fmla="*/ 69845 w 84852"/>
                <a:gd name="connsiteY1" fmla="*/ 0 h 94931"/>
                <a:gd name="connsiteX2" fmla="*/ 84852 w 84852"/>
                <a:gd name="connsiteY2" fmla="*/ 35717 h 94931"/>
                <a:gd name="connsiteX3" fmla="*/ 67606 w 84852"/>
                <a:gd name="connsiteY3" fmla="*/ 77454 h 94931"/>
                <a:gd name="connsiteX4" fmla="*/ 26212 w 84852"/>
                <a:gd name="connsiteY4" fmla="*/ 94931 h 9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852" h="94931">
                  <a:moveTo>
                    <a:pt x="0" y="84445"/>
                  </a:moveTo>
                  <a:lnTo>
                    <a:pt x="69845" y="0"/>
                  </a:lnTo>
                  <a:lnTo>
                    <a:pt x="84852" y="35717"/>
                  </a:lnTo>
                  <a:cubicBezTo>
                    <a:pt x="84852" y="50779"/>
                    <a:pt x="79103" y="65956"/>
                    <a:pt x="67606" y="77454"/>
                  </a:cubicBezTo>
                  <a:cubicBezTo>
                    <a:pt x="56567" y="88492"/>
                    <a:pt x="41850" y="94930"/>
                    <a:pt x="26212" y="9493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5" name="Forme libre : forme 2424">
              <a:extLst>
                <a:ext uri="{FF2B5EF4-FFF2-40B4-BE49-F238E27FC236}">
                  <a16:creationId xmlns:a16="http://schemas.microsoft.com/office/drawing/2014/main" id="{D607EAB3-59AD-4F41-8791-D545B48F2ACD}"/>
                </a:ext>
              </a:extLst>
            </p:cNvPr>
            <p:cNvSpPr/>
            <p:nvPr/>
          </p:nvSpPr>
          <p:spPr>
            <a:xfrm rot="8716295">
              <a:off x="5396283" y="487486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6" name="Forme libre : forme 2425">
              <a:extLst>
                <a:ext uri="{FF2B5EF4-FFF2-40B4-BE49-F238E27FC236}">
                  <a16:creationId xmlns:a16="http://schemas.microsoft.com/office/drawing/2014/main" id="{3495DB46-32FD-4610-BD6C-D77CD1DF61F5}"/>
                </a:ext>
              </a:extLst>
            </p:cNvPr>
            <p:cNvSpPr/>
            <p:nvPr/>
          </p:nvSpPr>
          <p:spPr>
            <a:xfrm rot="8716295">
              <a:off x="5573735" y="47156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7" name="Forme libre : forme 2426">
              <a:extLst>
                <a:ext uri="{FF2B5EF4-FFF2-40B4-BE49-F238E27FC236}">
                  <a16:creationId xmlns:a16="http://schemas.microsoft.com/office/drawing/2014/main" id="{01864176-04A7-44D1-983B-1731250E407D}"/>
                </a:ext>
              </a:extLst>
            </p:cNvPr>
            <p:cNvSpPr/>
            <p:nvPr/>
          </p:nvSpPr>
          <p:spPr>
            <a:xfrm rot="8716295">
              <a:off x="4584270" y="378201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8" name="Forme libre : forme 2427">
              <a:extLst>
                <a:ext uri="{FF2B5EF4-FFF2-40B4-BE49-F238E27FC236}">
                  <a16:creationId xmlns:a16="http://schemas.microsoft.com/office/drawing/2014/main" id="{EED535F0-5180-4A4A-8891-7B62A3620DCB}"/>
                </a:ext>
              </a:extLst>
            </p:cNvPr>
            <p:cNvSpPr/>
            <p:nvPr/>
          </p:nvSpPr>
          <p:spPr>
            <a:xfrm rot="8716295">
              <a:off x="4673662" y="381126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9" name="Forme libre : forme 2428">
              <a:extLst>
                <a:ext uri="{FF2B5EF4-FFF2-40B4-BE49-F238E27FC236}">
                  <a16:creationId xmlns:a16="http://schemas.microsoft.com/office/drawing/2014/main" id="{57308AA9-0745-47A5-BC96-5FDF43BB9731}"/>
                </a:ext>
              </a:extLst>
            </p:cNvPr>
            <p:cNvSpPr/>
            <p:nvPr/>
          </p:nvSpPr>
          <p:spPr>
            <a:xfrm rot="8716295">
              <a:off x="4628812" y="3724981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0" name="Forme libre : forme 2429">
              <a:extLst>
                <a:ext uri="{FF2B5EF4-FFF2-40B4-BE49-F238E27FC236}">
                  <a16:creationId xmlns:a16="http://schemas.microsoft.com/office/drawing/2014/main" id="{920DA668-7019-4B80-96A3-4CE3AC64C7BE}"/>
                </a:ext>
              </a:extLst>
            </p:cNvPr>
            <p:cNvSpPr/>
            <p:nvPr/>
          </p:nvSpPr>
          <p:spPr>
            <a:xfrm rot="8716295">
              <a:off x="4472036" y="387056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1" name="Forme libre : forme 2430">
              <a:extLst>
                <a:ext uri="{FF2B5EF4-FFF2-40B4-BE49-F238E27FC236}">
                  <a16:creationId xmlns:a16="http://schemas.microsoft.com/office/drawing/2014/main" id="{031F0637-BE20-4832-B0CA-C99FB5A3149A}"/>
                </a:ext>
              </a:extLst>
            </p:cNvPr>
            <p:cNvSpPr/>
            <p:nvPr/>
          </p:nvSpPr>
          <p:spPr>
            <a:xfrm rot="8716295">
              <a:off x="4347133" y="366189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2" name="Forme libre : forme 2431">
              <a:extLst>
                <a:ext uri="{FF2B5EF4-FFF2-40B4-BE49-F238E27FC236}">
                  <a16:creationId xmlns:a16="http://schemas.microsoft.com/office/drawing/2014/main" id="{84ECF88F-D69F-4F47-ABE5-CFC7EA46DECA}"/>
                </a:ext>
              </a:extLst>
            </p:cNvPr>
            <p:cNvSpPr/>
            <p:nvPr/>
          </p:nvSpPr>
          <p:spPr>
            <a:xfrm rot="8716295">
              <a:off x="4335081" y="3523110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3" name="Forme libre : forme 2432">
              <a:extLst>
                <a:ext uri="{FF2B5EF4-FFF2-40B4-BE49-F238E27FC236}">
                  <a16:creationId xmlns:a16="http://schemas.microsoft.com/office/drawing/2014/main" id="{6CB6C353-AD91-46A6-A469-888E29AF2E49}"/>
                </a:ext>
              </a:extLst>
            </p:cNvPr>
            <p:cNvSpPr/>
            <p:nvPr/>
          </p:nvSpPr>
          <p:spPr>
            <a:xfrm rot="8716295">
              <a:off x="4562214" y="391151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4" name="Forme libre : forme 2433">
              <a:extLst>
                <a:ext uri="{FF2B5EF4-FFF2-40B4-BE49-F238E27FC236}">
                  <a16:creationId xmlns:a16="http://schemas.microsoft.com/office/drawing/2014/main" id="{086DBEB9-E578-4638-AD75-34C69245EF71}"/>
                </a:ext>
              </a:extLst>
            </p:cNvPr>
            <p:cNvSpPr/>
            <p:nvPr/>
          </p:nvSpPr>
          <p:spPr>
            <a:xfrm rot="8716295">
              <a:off x="4873369" y="353186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5" name="Forme libre : forme 2434">
              <a:extLst>
                <a:ext uri="{FF2B5EF4-FFF2-40B4-BE49-F238E27FC236}">
                  <a16:creationId xmlns:a16="http://schemas.microsoft.com/office/drawing/2014/main" id="{7B21A58F-E2F0-4215-B832-76E40C5DF8E5}"/>
                </a:ext>
              </a:extLst>
            </p:cNvPr>
            <p:cNvSpPr/>
            <p:nvPr/>
          </p:nvSpPr>
          <p:spPr>
            <a:xfrm rot="8716295">
              <a:off x="4962761" y="356110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6" name="Forme libre : forme 2435">
              <a:extLst>
                <a:ext uri="{FF2B5EF4-FFF2-40B4-BE49-F238E27FC236}">
                  <a16:creationId xmlns:a16="http://schemas.microsoft.com/office/drawing/2014/main" id="{45DD574A-1455-493E-80D8-5C0865892844}"/>
                </a:ext>
              </a:extLst>
            </p:cNvPr>
            <p:cNvSpPr/>
            <p:nvPr/>
          </p:nvSpPr>
          <p:spPr>
            <a:xfrm rot="8716295">
              <a:off x="4761135" y="362041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7" name="Forme libre : forme 2436">
              <a:extLst>
                <a:ext uri="{FF2B5EF4-FFF2-40B4-BE49-F238E27FC236}">
                  <a16:creationId xmlns:a16="http://schemas.microsoft.com/office/drawing/2014/main" id="{9402EDF4-6162-47B1-856E-512271BA1E2D}"/>
                </a:ext>
              </a:extLst>
            </p:cNvPr>
            <p:cNvSpPr/>
            <p:nvPr/>
          </p:nvSpPr>
          <p:spPr>
            <a:xfrm rot="8716295">
              <a:off x="4636233" y="341173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8" name="Forme libre : forme 2437">
              <a:extLst>
                <a:ext uri="{FF2B5EF4-FFF2-40B4-BE49-F238E27FC236}">
                  <a16:creationId xmlns:a16="http://schemas.microsoft.com/office/drawing/2014/main" id="{92FD67F1-1911-46B7-864C-A8340E98AEB9}"/>
                </a:ext>
              </a:extLst>
            </p:cNvPr>
            <p:cNvSpPr/>
            <p:nvPr/>
          </p:nvSpPr>
          <p:spPr>
            <a:xfrm rot="8716295">
              <a:off x="4851313" y="3661363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9" name="Forme libre : forme 2438">
              <a:extLst>
                <a:ext uri="{FF2B5EF4-FFF2-40B4-BE49-F238E27FC236}">
                  <a16:creationId xmlns:a16="http://schemas.microsoft.com/office/drawing/2014/main" id="{C0A8B3AB-0A14-466D-B633-33FF584D9D1A}"/>
                </a:ext>
              </a:extLst>
            </p:cNvPr>
            <p:cNvSpPr/>
            <p:nvPr/>
          </p:nvSpPr>
          <p:spPr>
            <a:xfrm rot="8716295">
              <a:off x="4609862" y="3511763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0" name="Forme libre : forme 2439">
              <a:extLst>
                <a:ext uri="{FF2B5EF4-FFF2-40B4-BE49-F238E27FC236}">
                  <a16:creationId xmlns:a16="http://schemas.microsoft.com/office/drawing/2014/main" id="{8537EA03-2CBB-4A82-BFA6-AA68754EFED7}"/>
                </a:ext>
              </a:extLst>
            </p:cNvPr>
            <p:cNvSpPr/>
            <p:nvPr/>
          </p:nvSpPr>
          <p:spPr>
            <a:xfrm rot="7484129">
              <a:off x="4956244" y="385271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1" name="Forme libre : forme 2440">
              <a:extLst>
                <a:ext uri="{FF2B5EF4-FFF2-40B4-BE49-F238E27FC236}">
                  <a16:creationId xmlns:a16="http://schemas.microsoft.com/office/drawing/2014/main" id="{9FFC3DC7-61CE-4979-B4C8-8711407C365B}"/>
                </a:ext>
              </a:extLst>
            </p:cNvPr>
            <p:cNvSpPr/>
            <p:nvPr/>
          </p:nvSpPr>
          <p:spPr>
            <a:xfrm rot="13089394">
              <a:off x="5061064" y="3819248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2" name="Forme libre : forme 2441">
              <a:extLst>
                <a:ext uri="{FF2B5EF4-FFF2-40B4-BE49-F238E27FC236}">
                  <a16:creationId xmlns:a16="http://schemas.microsoft.com/office/drawing/2014/main" id="{F52A3804-13E8-47E1-A267-8A4C6268610A}"/>
                </a:ext>
              </a:extLst>
            </p:cNvPr>
            <p:cNvSpPr/>
            <p:nvPr/>
          </p:nvSpPr>
          <p:spPr>
            <a:xfrm rot="8716295">
              <a:off x="5246649" y="3627567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3" name="Forme libre : forme 2442">
              <a:extLst>
                <a:ext uri="{FF2B5EF4-FFF2-40B4-BE49-F238E27FC236}">
                  <a16:creationId xmlns:a16="http://schemas.microsoft.com/office/drawing/2014/main" id="{DDD8FF0F-2CB2-46E4-B8C1-EC42199A0229}"/>
                </a:ext>
              </a:extLst>
            </p:cNvPr>
            <p:cNvSpPr/>
            <p:nvPr/>
          </p:nvSpPr>
          <p:spPr>
            <a:xfrm rot="8716295">
              <a:off x="5194844" y="352397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4" name="Forme libre : forme 2443">
              <a:extLst>
                <a:ext uri="{FF2B5EF4-FFF2-40B4-BE49-F238E27FC236}">
                  <a16:creationId xmlns:a16="http://schemas.microsoft.com/office/drawing/2014/main" id="{D8E94A73-AA06-4842-9947-539561E205B2}"/>
                </a:ext>
              </a:extLst>
            </p:cNvPr>
            <p:cNvSpPr/>
            <p:nvPr/>
          </p:nvSpPr>
          <p:spPr>
            <a:xfrm rot="8716295">
              <a:off x="4951598" y="355419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5" name="Forme libre : forme 2444">
              <a:extLst>
                <a:ext uri="{FF2B5EF4-FFF2-40B4-BE49-F238E27FC236}">
                  <a16:creationId xmlns:a16="http://schemas.microsoft.com/office/drawing/2014/main" id="{EDBB5EF8-DA90-40F3-98D1-1E640FBD7E9A}"/>
                </a:ext>
              </a:extLst>
            </p:cNvPr>
            <p:cNvSpPr/>
            <p:nvPr/>
          </p:nvSpPr>
          <p:spPr>
            <a:xfrm rot="8716295">
              <a:off x="5129050" y="339495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6" name="Forme libre : forme 2445">
              <a:extLst>
                <a:ext uri="{FF2B5EF4-FFF2-40B4-BE49-F238E27FC236}">
                  <a16:creationId xmlns:a16="http://schemas.microsoft.com/office/drawing/2014/main" id="{D8A526B0-68DE-481E-985D-671F87C10402}"/>
                </a:ext>
              </a:extLst>
            </p:cNvPr>
            <p:cNvSpPr/>
            <p:nvPr/>
          </p:nvSpPr>
          <p:spPr>
            <a:xfrm rot="8716295">
              <a:off x="4807437" y="44417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7" name="Forme libre : forme 2446">
              <a:extLst>
                <a:ext uri="{FF2B5EF4-FFF2-40B4-BE49-F238E27FC236}">
                  <a16:creationId xmlns:a16="http://schemas.microsoft.com/office/drawing/2014/main" id="{DB9E94CC-D6D4-4918-9EB1-055582451735}"/>
                </a:ext>
              </a:extLst>
            </p:cNvPr>
            <p:cNvSpPr/>
            <p:nvPr/>
          </p:nvSpPr>
          <p:spPr>
            <a:xfrm rot="8716295">
              <a:off x="4896829" y="44709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8" name="Forme libre : forme 2447">
              <a:extLst>
                <a:ext uri="{FF2B5EF4-FFF2-40B4-BE49-F238E27FC236}">
                  <a16:creationId xmlns:a16="http://schemas.microsoft.com/office/drawing/2014/main" id="{EC9EC492-D2DC-4705-B9B5-2FDDE3722E25}"/>
                </a:ext>
              </a:extLst>
            </p:cNvPr>
            <p:cNvSpPr/>
            <p:nvPr/>
          </p:nvSpPr>
          <p:spPr>
            <a:xfrm rot="8716295">
              <a:off x="4851979" y="438468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9" name="Forme libre : forme 2448">
              <a:extLst>
                <a:ext uri="{FF2B5EF4-FFF2-40B4-BE49-F238E27FC236}">
                  <a16:creationId xmlns:a16="http://schemas.microsoft.com/office/drawing/2014/main" id="{D5A473EB-0A13-41A3-B50C-E84513EDE777}"/>
                </a:ext>
              </a:extLst>
            </p:cNvPr>
            <p:cNvSpPr/>
            <p:nvPr/>
          </p:nvSpPr>
          <p:spPr>
            <a:xfrm rot="8716295">
              <a:off x="4695203" y="453026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0" name="Forme libre : forme 2449">
              <a:extLst>
                <a:ext uri="{FF2B5EF4-FFF2-40B4-BE49-F238E27FC236}">
                  <a16:creationId xmlns:a16="http://schemas.microsoft.com/office/drawing/2014/main" id="{28534207-0B01-4D67-8256-639FD0A19A07}"/>
                </a:ext>
              </a:extLst>
            </p:cNvPr>
            <p:cNvSpPr/>
            <p:nvPr/>
          </p:nvSpPr>
          <p:spPr>
            <a:xfrm rot="8716295">
              <a:off x="4570300" y="432158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1" name="Forme libre : forme 2450">
              <a:extLst>
                <a:ext uri="{FF2B5EF4-FFF2-40B4-BE49-F238E27FC236}">
                  <a16:creationId xmlns:a16="http://schemas.microsoft.com/office/drawing/2014/main" id="{42E0A2DC-6B50-4104-9147-7FDF1ECA641A}"/>
                </a:ext>
              </a:extLst>
            </p:cNvPr>
            <p:cNvSpPr/>
            <p:nvPr/>
          </p:nvSpPr>
          <p:spPr>
            <a:xfrm rot="8716295">
              <a:off x="4558248" y="4182809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2" name="Forme libre : forme 2451">
              <a:extLst>
                <a:ext uri="{FF2B5EF4-FFF2-40B4-BE49-F238E27FC236}">
                  <a16:creationId xmlns:a16="http://schemas.microsoft.com/office/drawing/2014/main" id="{C48C5EB2-44EB-4793-A40E-83D610E25EAF}"/>
                </a:ext>
              </a:extLst>
            </p:cNvPr>
            <p:cNvSpPr/>
            <p:nvPr/>
          </p:nvSpPr>
          <p:spPr>
            <a:xfrm rot="8716295">
              <a:off x="4785381" y="457121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3" name="Forme libre : forme 2452">
              <a:extLst>
                <a:ext uri="{FF2B5EF4-FFF2-40B4-BE49-F238E27FC236}">
                  <a16:creationId xmlns:a16="http://schemas.microsoft.com/office/drawing/2014/main" id="{53427E3B-CAF6-4BE5-89BB-EA97CC7D5720}"/>
                </a:ext>
              </a:extLst>
            </p:cNvPr>
            <p:cNvSpPr/>
            <p:nvPr/>
          </p:nvSpPr>
          <p:spPr>
            <a:xfrm rot="8716295">
              <a:off x="5096536" y="419156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4" name="Forme libre : forme 2453">
              <a:extLst>
                <a:ext uri="{FF2B5EF4-FFF2-40B4-BE49-F238E27FC236}">
                  <a16:creationId xmlns:a16="http://schemas.microsoft.com/office/drawing/2014/main" id="{8AEC789D-3D32-45E4-BAE9-3572BFC115CC}"/>
                </a:ext>
              </a:extLst>
            </p:cNvPr>
            <p:cNvSpPr/>
            <p:nvPr/>
          </p:nvSpPr>
          <p:spPr>
            <a:xfrm rot="8716295">
              <a:off x="5185928" y="422080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5" name="Forme libre : forme 2454">
              <a:extLst>
                <a:ext uri="{FF2B5EF4-FFF2-40B4-BE49-F238E27FC236}">
                  <a16:creationId xmlns:a16="http://schemas.microsoft.com/office/drawing/2014/main" id="{592ACBFB-A830-4F99-823F-B3C94B334AC4}"/>
                </a:ext>
              </a:extLst>
            </p:cNvPr>
            <p:cNvSpPr/>
            <p:nvPr/>
          </p:nvSpPr>
          <p:spPr>
            <a:xfrm rot="8716295">
              <a:off x="4984302" y="428011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6" name="Forme libre : forme 2455">
              <a:extLst>
                <a:ext uri="{FF2B5EF4-FFF2-40B4-BE49-F238E27FC236}">
                  <a16:creationId xmlns:a16="http://schemas.microsoft.com/office/drawing/2014/main" id="{3CD4BB51-622B-49CC-951B-C526F16097D1}"/>
                </a:ext>
              </a:extLst>
            </p:cNvPr>
            <p:cNvSpPr/>
            <p:nvPr/>
          </p:nvSpPr>
          <p:spPr>
            <a:xfrm rot="8716295">
              <a:off x="4859400" y="407143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7" name="Forme libre : forme 2456">
              <a:extLst>
                <a:ext uri="{FF2B5EF4-FFF2-40B4-BE49-F238E27FC236}">
                  <a16:creationId xmlns:a16="http://schemas.microsoft.com/office/drawing/2014/main" id="{4696620C-FBDE-4684-997F-DB4BCE7B2C8D}"/>
                </a:ext>
              </a:extLst>
            </p:cNvPr>
            <p:cNvSpPr/>
            <p:nvPr/>
          </p:nvSpPr>
          <p:spPr>
            <a:xfrm rot="8716295">
              <a:off x="5074480" y="432106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8" name="Forme libre : forme 2457">
              <a:extLst>
                <a:ext uri="{FF2B5EF4-FFF2-40B4-BE49-F238E27FC236}">
                  <a16:creationId xmlns:a16="http://schemas.microsoft.com/office/drawing/2014/main" id="{4E0A6A49-7396-4F13-A488-756A374C6DCD}"/>
                </a:ext>
              </a:extLst>
            </p:cNvPr>
            <p:cNvSpPr/>
            <p:nvPr/>
          </p:nvSpPr>
          <p:spPr>
            <a:xfrm rot="8716295">
              <a:off x="4833029" y="417146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9" name="Forme libre : forme 2458">
              <a:extLst>
                <a:ext uri="{FF2B5EF4-FFF2-40B4-BE49-F238E27FC236}">
                  <a16:creationId xmlns:a16="http://schemas.microsoft.com/office/drawing/2014/main" id="{931FED33-2848-493C-ADD2-B2912BEC30BE}"/>
                </a:ext>
              </a:extLst>
            </p:cNvPr>
            <p:cNvSpPr/>
            <p:nvPr/>
          </p:nvSpPr>
          <p:spPr>
            <a:xfrm rot="7484129">
              <a:off x="5179411" y="451241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0" name="Forme libre : forme 2459">
              <a:extLst>
                <a:ext uri="{FF2B5EF4-FFF2-40B4-BE49-F238E27FC236}">
                  <a16:creationId xmlns:a16="http://schemas.microsoft.com/office/drawing/2014/main" id="{D65E5AE8-9C98-4BB9-AF28-AFE5AF6633F3}"/>
                </a:ext>
              </a:extLst>
            </p:cNvPr>
            <p:cNvSpPr/>
            <p:nvPr/>
          </p:nvSpPr>
          <p:spPr>
            <a:xfrm rot="13089394">
              <a:off x="5284231" y="4478947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1" name="Forme libre : forme 2460">
              <a:extLst>
                <a:ext uri="{FF2B5EF4-FFF2-40B4-BE49-F238E27FC236}">
                  <a16:creationId xmlns:a16="http://schemas.microsoft.com/office/drawing/2014/main" id="{08897DFC-AD6E-449C-BB97-57B3220AEAF6}"/>
                </a:ext>
              </a:extLst>
            </p:cNvPr>
            <p:cNvSpPr/>
            <p:nvPr/>
          </p:nvSpPr>
          <p:spPr>
            <a:xfrm rot="8716295">
              <a:off x="5469816" y="4287266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2" name="Forme libre : forme 2461">
              <a:extLst>
                <a:ext uri="{FF2B5EF4-FFF2-40B4-BE49-F238E27FC236}">
                  <a16:creationId xmlns:a16="http://schemas.microsoft.com/office/drawing/2014/main" id="{0F22532E-1CE8-4736-88F7-603BA9637076}"/>
                </a:ext>
              </a:extLst>
            </p:cNvPr>
            <p:cNvSpPr/>
            <p:nvPr/>
          </p:nvSpPr>
          <p:spPr>
            <a:xfrm rot="8716295">
              <a:off x="5418011" y="418367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3" name="Forme libre : forme 2462">
              <a:extLst>
                <a:ext uri="{FF2B5EF4-FFF2-40B4-BE49-F238E27FC236}">
                  <a16:creationId xmlns:a16="http://schemas.microsoft.com/office/drawing/2014/main" id="{27FD49AF-531F-4E93-BDF6-7246B96C58D6}"/>
                </a:ext>
              </a:extLst>
            </p:cNvPr>
            <p:cNvSpPr/>
            <p:nvPr/>
          </p:nvSpPr>
          <p:spPr>
            <a:xfrm rot="8716295">
              <a:off x="5174765" y="421389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4" name="Forme libre : forme 2463">
              <a:extLst>
                <a:ext uri="{FF2B5EF4-FFF2-40B4-BE49-F238E27FC236}">
                  <a16:creationId xmlns:a16="http://schemas.microsoft.com/office/drawing/2014/main" id="{90925CD6-FB2D-4337-85BE-A4EB1C9E502F}"/>
                </a:ext>
              </a:extLst>
            </p:cNvPr>
            <p:cNvSpPr/>
            <p:nvPr/>
          </p:nvSpPr>
          <p:spPr>
            <a:xfrm rot="8716295">
              <a:off x="5352217" y="405465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5" name="Forme libre : forme 2464">
              <a:extLst>
                <a:ext uri="{FF2B5EF4-FFF2-40B4-BE49-F238E27FC236}">
                  <a16:creationId xmlns:a16="http://schemas.microsoft.com/office/drawing/2014/main" id="{32FBC2AF-39C6-436F-9E0E-B007DA33E003}"/>
                </a:ext>
              </a:extLst>
            </p:cNvPr>
            <p:cNvSpPr/>
            <p:nvPr/>
          </p:nvSpPr>
          <p:spPr>
            <a:xfrm rot="8716295">
              <a:off x="3920915" y="180295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6" name="Forme libre : forme 2465">
              <a:extLst>
                <a:ext uri="{FF2B5EF4-FFF2-40B4-BE49-F238E27FC236}">
                  <a16:creationId xmlns:a16="http://schemas.microsoft.com/office/drawing/2014/main" id="{643B8C13-9586-4A61-A35D-D9C0BCC8F291}"/>
                </a:ext>
              </a:extLst>
            </p:cNvPr>
            <p:cNvSpPr/>
            <p:nvPr/>
          </p:nvSpPr>
          <p:spPr>
            <a:xfrm rot="8716295">
              <a:off x="4010307" y="183219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7" name="Forme libre : forme 2466">
              <a:extLst>
                <a:ext uri="{FF2B5EF4-FFF2-40B4-BE49-F238E27FC236}">
                  <a16:creationId xmlns:a16="http://schemas.microsoft.com/office/drawing/2014/main" id="{D8623CC6-4FFF-4F4B-A41A-5741A26CA67C}"/>
                </a:ext>
              </a:extLst>
            </p:cNvPr>
            <p:cNvSpPr/>
            <p:nvPr/>
          </p:nvSpPr>
          <p:spPr>
            <a:xfrm rot="8716295">
              <a:off x="3965457" y="174591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8" name="Forme libre : forme 2467">
              <a:extLst>
                <a:ext uri="{FF2B5EF4-FFF2-40B4-BE49-F238E27FC236}">
                  <a16:creationId xmlns:a16="http://schemas.microsoft.com/office/drawing/2014/main" id="{A20E20F7-9952-4E3F-B0AB-212B773351F9}"/>
                </a:ext>
              </a:extLst>
            </p:cNvPr>
            <p:cNvSpPr/>
            <p:nvPr/>
          </p:nvSpPr>
          <p:spPr>
            <a:xfrm rot="8716295">
              <a:off x="3808681" y="189149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9" name="Forme libre : forme 2468">
              <a:extLst>
                <a:ext uri="{FF2B5EF4-FFF2-40B4-BE49-F238E27FC236}">
                  <a16:creationId xmlns:a16="http://schemas.microsoft.com/office/drawing/2014/main" id="{2AFD6358-3EC5-4230-924D-E1FEA2966D71}"/>
                </a:ext>
              </a:extLst>
            </p:cNvPr>
            <p:cNvSpPr/>
            <p:nvPr/>
          </p:nvSpPr>
          <p:spPr>
            <a:xfrm rot="8716295">
              <a:off x="3683778" y="168282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0" name="Forme libre : forme 2469">
              <a:extLst>
                <a:ext uri="{FF2B5EF4-FFF2-40B4-BE49-F238E27FC236}">
                  <a16:creationId xmlns:a16="http://schemas.microsoft.com/office/drawing/2014/main" id="{84C26A7D-16EF-401A-811B-AFBADF98607B}"/>
                </a:ext>
              </a:extLst>
            </p:cNvPr>
            <p:cNvSpPr/>
            <p:nvPr/>
          </p:nvSpPr>
          <p:spPr>
            <a:xfrm rot="8716295">
              <a:off x="3671726" y="1544041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1" name="Forme libre : forme 2470">
              <a:extLst>
                <a:ext uri="{FF2B5EF4-FFF2-40B4-BE49-F238E27FC236}">
                  <a16:creationId xmlns:a16="http://schemas.microsoft.com/office/drawing/2014/main" id="{E31DF341-C027-4798-8A24-45DA22FA4656}"/>
                </a:ext>
              </a:extLst>
            </p:cNvPr>
            <p:cNvSpPr/>
            <p:nvPr/>
          </p:nvSpPr>
          <p:spPr>
            <a:xfrm rot="8716295">
              <a:off x="3898859" y="193244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2" name="Forme libre : forme 2471">
              <a:extLst>
                <a:ext uri="{FF2B5EF4-FFF2-40B4-BE49-F238E27FC236}">
                  <a16:creationId xmlns:a16="http://schemas.microsoft.com/office/drawing/2014/main" id="{C07CF4E5-734D-4A47-8B2E-E99783FFFE58}"/>
                </a:ext>
              </a:extLst>
            </p:cNvPr>
            <p:cNvSpPr/>
            <p:nvPr/>
          </p:nvSpPr>
          <p:spPr>
            <a:xfrm rot="8716295">
              <a:off x="4210014" y="155279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3" name="Forme libre : forme 2472">
              <a:extLst>
                <a:ext uri="{FF2B5EF4-FFF2-40B4-BE49-F238E27FC236}">
                  <a16:creationId xmlns:a16="http://schemas.microsoft.com/office/drawing/2014/main" id="{E9E79472-5318-462A-9222-305605A9A4D4}"/>
                </a:ext>
              </a:extLst>
            </p:cNvPr>
            <p:cNvSpPr/>
            <p:nvPr/>
          </p:nvSpPr>
          <p:spPr>
            <a:xfrm rot="8716295">
              <a:off x="4299406" y="158204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4" name="Forme libre : forme 2473">
              <a:extLst>
                <a:ext uri="{FF2B5EF4-FFF2-40B4-BE49-F238E27FC236}">
                  <a16:creationId xmlns:a16="http://schemas.microsoft.com/office/drawing/2014/main" id="{5AFC5930-3BA6-40B9-BEDC-9757294DA873}"/>
                </a:ext>
              </a:extLst>
            </p:cNvPr>
            <p:cNvSpPr/>
            <p:nvPr/>
          </p:nvSpPr>
          <p:spPr>
            <a:xfrm rot="8716295">
              <a:off x="4097780" y="164134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5" name="Forme libre : forme 2474">
              <a:extLst>
                <a:ext uri="{FF2B5EF4-FFF2-40B4-BE49-F238E27FC236}">
                  <a16:creationId xmlns:a16="http://schemas.microsoft.com/office/drawing/2014/main" id="{7CE20D75-657E-4BF6-A3D6-C548A8B5AD4E}"/>
                </a:ext>
              </a:extLst>
            </p:cNvPr>
            <p:cNvSpPr/>
            <p:nvPr/>
          </p:nvSpPr>
          <p:spPr>
            <a:xfrm rot="8716295">
              <a:off x="3972878" y="143266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6" name="Forme libre : forme 2475">
              <a:extLst>
                <a:ext uri="{FF2B5EF4-FFF2-40B4-BE49-F238E27FC236}">
                  <a16:creationId xmlns:a16="http://schemas.microsoft.com/office/drawing/2014/main" id="{22F97EED-1D2F-4FE7-903C-845B9C0787F0}"/>
                </a:ext>
              </a:extLst>
            </p:cNvPr>
            <p:cNvSpPr/>
            <p:nvPr/>
          </p:nvSpPr>
          <p:spPr>
            <a:xfrm rot="8716295">
              <a:off x="4187958" y="168229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7" name="Forme libre : forme 2476">
              <a:extLst>
                <a:ext uri="{FF2B5EF4-FFF2-40B4-BE49-F238E27FC236}">
                  <a16:creationId xmlns:a16="http://schemas.microsoft.com/office/drawing/2014/main" id="{E84B3060-A813-44DB-B1F9-DF9C67A5CF00}"/>
                </a:ext>
              </a:extLst>
            </p:cNvPr>
            <p:cNvSpPr/>
            <p:nvPr/>
          </p:nvSpPr>
          <p:spPr>
            <a:xfrm rot="8716295">
              <a:off x="3946507" y="153269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8" name="Forme libre : forme 2477">
              <a:extLst>
                <a:ext uri="{FF2B5EF4-FFF2-40B4-BE49-F238E27FC236}">
                  <a16:creationId xmlns:a16="http://schemas.microsoft.com/office/drawing/2014/main" id="{C3852D69-4D29-4A5D-9D92-98A241B0E6D7}"/>
                </a:ext>
              </a:extLst>
            </p:cNvPr>
            <p:cNvSpPr/>
            <p:nvPr/>
          </p:nvSpPr>
          <p:spPr>
            <a:xfrm rot="7484129">
              <a:off x="4292889" y="187364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9" name="Forme libre : forme 2478">
              <a:extLst>
                <a:ext uri="{FF2B5EF4-FFF2-40B4-BE49-F238E27FC236}">
                  <a16:creationId xmlns:a16="http://schemas.microsoft.com/office/drawing/2014/main" id="{3CC45FA5-0E1F-4C45-97A6-41B7652569D0}"/>
                </a:ext>
              </a:extLst>
            </p:cNvPr>
            <p:cNvSpPr/>
            <p:nvPr/>
          </p:nvSpPr>
          <p:spPr>
            <a:xfrm rot="13089394">
              <a:off x="4397709" y="1840179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0" name="Forme libre : forme 2479">
              <a:extLst>
                <a:ext uri="{FF2B5EF4-FFF2-40B4-BE49-F238E27FC236}">
                  <a16:creationId xmlns:a16="http://schemas.microsoft.com/office/drawing/2014/main" id="{BBCDC532-309F-4C5E-BFF5-D7919C8CB1C0}"/>
                </a:ext>
              </a:extLst>
            </p:cNvPr>
            <p:cNvSpPr/>
            <p:nvPr/>
          </p:nvSpPr>
          <p:spPr>
            <a:xfrm rot="8716295">
              <a:off x="4583294" y="164849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1" name="Forme libre : forme 2480">
              <a:extLst>
                <a:ext uri="{FF2B5EF4-FFF2-40B4-BE49-F238E27FC236}">
                  <a16:creationId xmlns:a16="http://schemas.microsoft.com/office/drawing/2014/main" id="{18BE7348-0DDE-4529-8EFC-B0259B20E686}"/>
                </a:ext>
              </a:extLst>
            </p:cNvPr>
            <p:cNvSpPr/>
            <p:nvPr/>
          </p:nvSpPr>
          <p:spPr>
            <a:xfrm rot="8716295">
              <a:off x="4531489" y="154490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2" name="Forme libre : forme 2481">
              <a:extLst>
                <a:ext uri="{FF2B5EF4-FFF2-40B4-BE49-F238E27FC236}">
                  <a16:creationId xmlns:a16="http://schemas.microsoft.com/office/drawing/2014/main" id="{AC55D592-C696-401F-86AE-1F112E213A16}"/>
                </a:ext>
              </a:extLst>
            </p:cNvPr>
            <p:cNvSpPr/>
            <p:nvPr/>
          </p:nvSpPr>
          <p:spPr>
            <a:xfrm rot="8716295">
              <a:off x="4288243" y="157512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3" name="Forme libre : forme 2482">
              <a:extLst>
                <a:ext uri="{FF2B5EF4-FFF2-40B4-BE49-F238E27FC236}">
                  <a16:creationId xmlns:a16="http://schemas.microsoft.com/office/drawing/2014/main" id="{DED9BFFF-B254-42A0-B39E-0F305AD53521}"/>
                </a:ext>
              </a:extLst>
            </p:cNvPr>
            <p:cNvSpPr/>
            <p:nvPr/>
          </p:nvSpPr>
          <p:spPr>
            <a:xfrm rot="8716295">
              <a:off x="4465695" y="141588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4" name="Forme libre : forme 2483">
              <a:extLst>
                <a:ext uri="{FF2B5EF4-FFF2-40B4-BE49-F238E27FC236}">
                  <a16:creationId xmlns:a16="http://schemas.microsoft.com/office/drawing/2014/main" id="{A05B2376-5DD9-4691-A3A2-2B9A6CE6A543}"/>
                </a:ext>
              </a:extLst>
            </p:cNvPr>
            <p:cNvSpPr/>
            <p:nvPr/>
          </p:nvSpPr>
          <p:spPr>
            <a:xfrm rot="8716295">
              <a:off x="3697748" y="114325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5" name="Forme libre : forme 2484">
              <a:extLst>
                <a:ext uri="{FF2B5EF4-FFF2-40B4-BE49-F238E27FC236}">
                  <a16:creationId xmlns:a16="http://schemas.microsoft.com/office/drawing/2014/main" id="{D68DE097-F6FC-4E58-8F02-96B920A7DAAD}"/>
                </a:ext>
              </a:extLst>
            </p:cNvPr>
            <p:cNvSpPr/>
            <p:nvPr/>
          </p:nvSpPr>
          <p:spPr>
            <a:xfrm rot="8716295">
              <a:off x="3787140" y="117249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6" name="Forme libre : forme 2485">
              <a:extLst>
                <a:ext uri="{FF2B5EF4-FFF2-40B4-BE49-F238E27FC236}">
                  <a16:creationId xmlns:a16="http://schemas.microsoft.com/office/drawing/2014/main" id="{3326496F-3251-4001-8C18-B51CE14773DE}"/>
                </a:ext>
              </a:extLst>
            </p:cNvPr>
            <p:cNvSpPr/>
            <p:nvPr/>
          </p:nvSpPr>
          <p:spPr>
            <a:xfrm rot="8716295">
              <a:off x="3742290" y="108621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7" name="Forme libre : forme 2486">
              <a:extLst>
                <a:ext uri="{FF2B5EF4-FFF2-40B4-BE49-F238E27FC236}">
                  <a16:creationId xmlns:a16="http://schemas.microsoft.com/office/drawing/2014/main" id="{7F487E66-40A4-4F91-A574-0C01F31C9534}"/>
                </a:ext>
              </a:extLst>
            </p:cNvPr>
            <p:cNvSpPr/>
            <p:nvPr/>
          </p:nvSpPr>
          <p:spPr>
            <a:xfrm rot="8716295">
              <a:off x="3585514" y="123179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8" name="Forme libre : forme 2487">
              <a:extLst>
                <a:ext uri="{FF2B5EF4-FFF2-40B4-BE49-F238E27FC236}">
                  <a16:creationId xmlns:a16="http://schemas.microsoft.com/office/drawing/2014/main" id="{BF410579-E92D-43D8-957B-88DC03F8AFDC}"/>
                </a:ext>
              </a:extLst>
            </p:cNvPr>
            <p:cNvSpPr/>
            <p:nvPr/>
          </p:nvSpPr>
          <p:spPr>
            <a:xfrm rot="8716295">
              <a:off x="3460611" y="102312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9" name="Forme libre : forme 2488">
              <a:extLst>
                <a:ext uri="{FF2B5EF4-FFF2-40B4-BE49-F238E27FC236}">
                  <a16:creationId xmlns:a16="http://schemas.microsoft.com/office/drawing/2014/main" id="{DE1E32FD-5331-4C1C-9F88-9CC7D2B58F5E}"/>
                </a:ext>
              </a:extLst>
            </p:cNvPr>
            <p:cNvSpPr/>
            <p:nvPr/>
          </p:nvSpPr>
          <p:spPr>
            <a:xfrm rot="8716295">
              <a:off x="3448559" y="88434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0" name="Forme libre : forme 2489">
              <a:extLst>
                <a:ext uri="{FF2B5EF4-FFF2-40B4-BE49-F238E27FC236}">
                  <a16:creationId xmlns:a16="http://schemas.microsoft.com/office/drawing/2014/main" id="{DD459ADD-F84C-47F8-B574-F04ECFFEE719}"/>
                </a:ext>
              </a:extLst>
            </p:cNvPr>
            <p:cNvSpPr/>
            <p:nvPr/>
          </p:nvSpPr>
          <p:spPr>
            <a:xfrm rot="8716295">
              <a:off x="3675692" y="127274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1" name="Forme libre : forme 2490">
              <a:extLst>
                <a:ext uri="{FF2B5EF4-FFF2-40B4-BE49-F238E27FC236}">
                  <a16:creationId xmlns:a16="http://schemas.microsoft.com/office/drawing/2014/main" id="{BA820114-5CD1-4426-8381-FF5B658B7D54}"/>
                </a:ext>
              </a:extLst>
            </p:cNvPr>
            <p:cNvSpPr/>
            <p:nvPr/>
          </p:nvSpPr>
          <p:spPr>
            <a:xfrm rot="8716295">
              <a:off x="3986847" y="89309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2" name="Forme libre : forme 2491">
              <a:extLst>
                <a:ext uri="{FF2B5EF4-FFF2-40B4-BE49-F238E27FC236}">
                  <a16:creationId xmlns:a16="http://schemas.microsoft.com/office/drawing/2014/main" id="{B4B19ED1-A1E0-4F10-910E-E0EB470FCCF2}"/>
                </a:ext>
              </a:extLst>
            </p:cNvPr>
            <p:cNvSpPr/>
            <p:nvPr/>
          </p:nvSpPr>
          <p:spPr>
            <a:xfrm rot="8716295">
              <a:off x="4076239" y="92234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3" name="Forme libre : forme 2492">
              <a:extLst>
                <a:ext uri="{FF2B5EF4-FFF2-40B4-BE49-F238E27FC236}">
                  <a16:creationId xmlns:a16="http://schemas.microsoft.com/office/drawing/2014/main" id="{41CB6FB8-70A5-402D-A8D9-CA772A72066C}"/>
                </a:ext>
              </a:extLst>
            </p:cNvPr>
            <p:cNvSpPr/>
            <p:nvPr/>
          </p:nvSpPr>
          <p:spPr>
            <a:xfrm rot="8716295">
              <a:off x="3874613" y="98164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4" name="Forme libre : forme 2493">
              <a:extLst>
                <a:ext uri="{FF2B5EF4-FFF2-40B4-BE49-F238E27FC236}">
                  <a16:creationId xmlns:a16="http://schemas.microsoft.com/office/drawing/2014/main" id="{0743CC93-1EF5-43EA-846D-CC40A84D5D0A}"/>
                </a:ext>
              </a:extLst>
            </p:cNvPr>
            <p:cNvSpPr/>
            <p:nvPr/>
          </p:nvSpPr>
          <p:spPr>
            <a:xfrm rot="8716295">
              <a:off x="3749711" y="77297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5" name="Forme libre : forme 2494">
              <a:extLst>
                <a:ext uri="{FF2B5EF4-FFF2-40B4-BE49-F238E27FC236}">
                  <a16:creationId xmlns:a16="http://schemas.microsoft.com/office/drawing/2014/main" id="{453E78DE-215E-4FDE-854E-98B3522D8476}"/>
                </a:ext>
              </a:extLst>
            </p:cNvPr>
            <p:cNvSpPr/>
            <p:nvPr/>
          </p:nvSpPr>
          <p:spPr>
            <a:xfrm rot="8716295">
              <a:off x="3964791" y="102259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6" name="Forme libre : forme 2495">
              <a:extLst>
                <a:ext uri="{FF2B5EF4-FFF2-40B4-BE49-F238E27FC236}">
                  <a16:creationId xmlns:a16="http://schemas.microsoft.com/office/drawing/2014/main" id="{903C8E49-403C-45B6-B0A2-C71A3BCFB23E}"/>
                </a:ext>
              </a:extLst>
            </p:cNvPr>
            <p:cNvSpPr/>
            <p:nvPr/>
          </p:nvSpPr>
          <p:spPr>
            <a:xfrm rot="8716295">
              <a:off x="3723340" y="87299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7" name="Forme libre : forme 2496">
              <a:extLst>
                <a:ext uri="{FF2B5EF4-FFF2-40B4-BE49-F238E27FC236}">
                  <a16:creationId xmlns:a16="http://schemas.microsoft.com/office/drawing/2014/main" id="{DA428150-38DA-423B-B597-BE4C3B36B8ED}"/>
                </a:ext>
              </a:extLst>
            </p:cNvPr>
            <p:cNvSpPr/>
            <p:nvPr/>
          </p:nvSpPr>
          <p:spPr>
            <a:xfrm rot="7484129">
              <a:off x="4069722" y="121394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8" name="Forme libre : forme 2497">
              <a:extLst>
                <a:ext uri="{FF2B5EF4-FFF2-40B4-BE49-F238E27FC236}">
                  <a16:creationId xmlns:a16="http://schemas.microsoft.com/office/drawing/2014/main" id="{43E73B67-7353-4638-8D7E-85BE3E803185}"/>
                </a:ext>
              </a:extLst>
            </p:cNvPr>
            <p:cNvSpPr/>
            <p:nvPr/>
          </p:nvSpPr>
          <p:spPr>
            <a:xfrm rot="13089394">
              <a:off x="4174542" y="118048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9" name="Forme libre : forme 2498">
              <a:extLst>
                <a:ext uri="{FF2B5EF4-FFF2-40B4-BE49-F238E27FC236}">
                  <a16:creationId xmlns:a16="http://schemas.microsoft.com/office/drawing/2014/main" id="{4606F1ED-4668-4010-ABAF-1D2A4E2BCE67}"/>
                </a:ext>
              </a:extLst>
            </p:cNvPr>
            <p:cNvSpPr/>
            <p:nvPr/>
          </p:nvSpPr>
          <p:spPr>
            <a:xfrm rot="8716295">
              <a:off x="4360127" y="98879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0" name="Forme libre : forme 2499">
              <a:extLst>
                <a:ext uri="{FF2B5EF4-FFF2-40B4-BE49-F238E27FC236}">
                  <a16:creationId xmlns:a16="http://schemas.microsoft.com/office/drawing/2014/main" id="{8053BC89-A237-4743-AE1F-94011A88DB5F}"/>
                </a:ext>
              </a:extLst>
            </p:cNvPr>
            <p:cNvSpPr/>
            <p:nvPr/>
          </p:nvSpPr>
          <p:spPr>
            <a:xfrm rot="8716295">
              <a:off x="4308322" y="88520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1" name="Forme libre : forme 2500">
              <a:extLst>
                <a:ext uri="{FF2B5EF4-FFF2-40B4-BE49-F238E27FC236}">
                  <a16:creationId xmlns:a16="http://schemas.microsoft.com/office/drawing/2014/main" id="{1BE91312-A210-4744-AFAA-57545498B120}"/>
                </a:ext>
              </a:extLst>
            </p:cNvPr>
            <p:cNvSpPr/>
            <p:nvPr/>
          </p:nvSpPr>
          <p:spPr>
            <a:xfrm rot="8716295">
              <a:off x="4065076" y="91542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2" name="Forme libre : forme 2501">
              <a:extLst>
                <a:ext uri="{FF2B5EF4-FFF2-40B4-BE49-F238E27FC236}">
                  <a16:creationId xmlns:a16="http://schemas.microsoft.com/office/drawing/2014/main" id="{461CD8D7-9872-4A47-8F16-75614AF09DF8}"/>
                </a:ext>
              </a:extLst>
            </p:cNvPr>
            <p:cNvSpPr/>
            <p:nvPr/>
          </p:nvSpPr>
          <p:spPr>
            <a:xfrm rot="8716295">
              <a:off x="4242528" y="75618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3" name="Forme libre : forme 2502">
              <a:extLst>
                <a:ext uri="{FF2B5EF4-FFF2-40B4-BE49-F238E27FC236}">
                  <a16:creationId xmlns:a16="http://schemas.microsoft.com/office/drawing/2014/main" id="{C555A7E1-A287-4B80-9292-3BF85FFF88D7}"/>
                </a:ext>
              </a:extLst>
            </p:cNvPr>
            <p:cNvSpPr/>
            <p:nvPr/>
          </p:nvSpPr>
          <p:spPr>
            <a:xfrm rot="8716295">
              <a:off x="3478809" y="48119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4" name="Forme libre : forme 2503">
              <a:extLst>
                <a:ext uri="{FF2B5EF4-FFF2-40B4-BE49-F238E27FC236}">
                  <a16:creationId xmlns:a16="http://schemas.microsoft.com/office/drawing/2014/main" id="{0940EDF8-F1CB-4BEF-B48A-396B5431ABAD}"/>
                </a:ext>
              </a:extLst>
            </p:cNvPr>
            <p:cNvSpPr/>
            <p:nvPr/>
          </p:nvSpPr>
          <p:spPr>
            <a:xfrm rot="8716295">
              <a:off x="3568201" y="51043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5" name="Forme libre : forme 2504">
              <a:extLst>
                <a:ext uri="{FF2B5EF4-FFF2-40B4-BE49-F238E27FC236}">
                  <a16:creationId xmlns:a16="http://schemas.microsoft.com/office/drawing/2014/main" id="{22A88BBD-C725-49B9-BC83-492EC3CB89E6}"/>
                </a:ext>
              </a:extLst>
            </p:cNvPr>
            <p:cNvSpPr/>
            <p:nvPr/>
          </p:nvSpPr>
          <p:spPr>
            <a:xfrm rot="8716295">
              <a:off x="3523351" y="42415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6" name="Forme libre : forme 2505">
              <a:extLst>
                <a:ext uri="{FF2B5EF4-FFF2-40B4-BE49-F238E27FC236}">
                  <a16:creationId xmlns:a16="http://schemas.microsoft.com/office/drawing/2014/main" id="{4DA445B3-8E0C-4D22-8025-4E5653F0655E}"/>
                </a:ext>
              </a:extLst>
            </p:cNvPr>
            <p:cNvSpPr/>
            <p:nvPr/>
          </p:nvSpPr>
          <p:spPr>
            <a:xfrm rot="8716295">
              <a:off x="3366575" y="56973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7" name="Forme libre : forme 2506">
              <a:extLst>
                <a:ext uri="{FF2B5EF4-FFF2-40B4-BE49-F238E27FC236}">
                  <a16:creationId xmlns:a16="http://schemas.microsoft.com/office/drawing/2014/main" id="{6DEEAB7D-D4C8-4DDC-B7BF-F77A8BB80F8C}"/>
                </a:ext>
              </a:extLst>
            </p:cNvPr>
            <p:cNvSpPr/>
            <p:nvPr/>
          </p:nvSpPr>
          <p:spPr>
            <a:xfrm rot="8716295">
              <a:off x="3241672" y="36106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8" name="Forme libre : forme 2507">
              <a:extLst>
                <a:ext uri="{FF2B5EF4-FFF2-40B4-BE49-F238E27FC236}">
                  <a16:creationId xmlns:a16="http://schemas.microsoft.com/office/drawing/2014/main" id="{199DE347-17F6-461F-B90C-B69AAFA2F910}"/>
                </a:ext>
              </a:extLst>
            </p:cNvPr>
            <p:cNvSpPr/>
            <p:nvPr/>
          </p:nvSpPr>
          <p:spPr>
            <a:xfrm rot="8716295">
              <a:off x="3229620" y="22228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9" name="Forme libre : forme 2508">
              <a:extLst>
                <a:ext uri="{FF2B5EF4-FFF2-40B4-BE49-F238E27FC236}">
                  <a16:creationId xmlns:a16="http://schemas.microsoft.com/office/drawing/2014/main" id="{A01BDA60-4E43-4FBD-82A0-95C77C097A9E}"/>
                </a:ext>
              </a:extLst>
            </p:cNvPr>
            <p:cNvSpPr/>
            <p:nvPr/>
          </p:nvSpPr>
          <p:spPr>
            <a:xfrm rot="8716295">
              <a:off x="3456753" y="61068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0" name="Forme libre : forme 2509">
              <a:extLst>
                <a:ext uri="{FF2B5EF4-FFF2-40B4-BE49-F238E27FC236}">
                  <a16:creationId xmlns:a16="http://schemas.microsoft.com/office/drawing/2014/main" id="{84B2FBB5-B856-485C-83D9-69D2B6498A18}"/>
                </a:ext>
              </a:extLst>
            </p:cNvPr>
            <p:cNvSpPr/>
            <p:nvPr/>
          </p:nvSpPr>
          <p:spPr>
            <a:xfrm rot="8716295">
              <a:off x="3767908" y="23104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1" name="Forme libre : forme 2510">
              <a:extLst>
                <a:ext uri="{FF2B5EF4-FFF2-40B4-BE49-F238E27FC236}">
                  <a16:creationId xmlns:a16="http://schemas.microsoft.com/office/drawing/2014/main" id="{3D0C3739-8DA5-460B-B377-BF5789078C10}"/>
                </a:ext>
              </a:extLst>
            </p:cNvPr>
            <p:cNvSpPr/>
            <p:nvPr/>
          </p:nvSpPr>
          <p:spPr>
            <a:xfrm rot="8716295">
              <a:off x="3857300" y="26028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2" name="Forme libre : forme 2511">
              <a:extLst>
                <a:ext uri="{FF2B5EF4-FFF2-40B4-BE49-F238E27FC236}">
                  <a16:creationId xmlns:a16="http://schemas.microsoft.com/office/drawing/2014/main" id="{971F324A-C797-4A5A-9D42-0FA8C2BA8DAD}"/>
                </a:ext>
              </a:extLst>
            </p:cNvPr>
            <p:cNvSpPr/>
            <p:nvPr/>
          </p:nvSpPr>
          <p:spPr>
            <a:xfrm rot="8716295">
              <a:off x="3655674" y="31958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3" name="Forme libre : forme 2512">
              <a:extLst>
                <a:ext uri="{FF2B5EF4-FFF2-40B4-BE49-F238E27FC236}">
                  <a16:creationId xmlns:a16="http://schemas.microsoft.com/office/drawing/2014/main" id="{8EC218C7-06A4-4CA2-8080-F703AD883CED}"/>
                </a:ext>
              </a:extLst>
            </p:cNvPr>
            <p:cNvSpPr/>
            <p:nvPr/>
          </p:nvSpPr>
          <p:spPr>
            <a:xfrm rot="8716295">
              <a:off x="3530772" y="11091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4" name="Forme libre : forme 2513">
              <a:extLst>
                <a:ext uri="{FF2B5EF4-FFF2-40B4-BE49-F238E27FC236}">
                  <a16:creationId xmlns:a16="http://schemas.microsoft.com/office/drawing/2014/main" id="{65059EE1-7F5D-48ED-B85D-A46423F78D76}"/>
                </a:ext>
              </a:extLst>
            </p:cNvPr>
            <p:cNvSpPr/>
            <p:nvPr/>
          </p:nvSpPr>
          <p:spPr>
            <a:xfrm rot="8716295">
              <a:off x="3745852" y="36053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5" name="Forme libre : forme 2514">
              <a:extLst>
                <a:ext uri="{FF2B5EF4-FFF2-40B4-BE49-F238E27FC236}">
                  <a16:creationId xmlns:a16="http://schemas.microsoft.com/office/drawing/2014/main" id="{512AA149-007C-42E5-90DD-CC3331EEDCF7}"/>
                </a:ext>
              </a:extLst>
            </p:cNvPr>
            <p:cNvSpPr/>
            <p:nvPr/>
          </p:nvSpPr>
          <p:spPr>
            <a:xfrm rot="8716295">
              <a:off x="3504401" y="21093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6" name="Forme libre : forme 2515">
              <a:extLst>
                <a:ext uri="{FF2B5EF4-FFF2-40B4-BE49-F238E27FC236}">
                  <a16:creationId xmlns:a16="http://schemas.microsoft.com/office/drawing/2014/main" id="{23613C77-E0E1-44C1-8EC6-64AC0EEA97B7}"/>
                </a:ext>
              </a:extLst>
            </p:cNvPr>
            <p:cNvSpPr/>
            <p:nvPr/>
          </p:nvSpPr>
          <p:spPr>
            <a:xfrm rot="7484129">
              <a:off x="3850783" y="55188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7" name="Forme libre : forme 2516">
              <a:extLst>
                <a:ext uri="{FF2B5EF4-FFF2-40B4-BE49-F238E27FC236}">
                  <a16:creationId xmlns:a16="http://schemas.microsoft.com/office/drawing/2014/main" id="{AD9CF096-470A-4FB5-8989-86875B5B759F}"/>
                </a:ext>
              </a:extLst>
            </p:cNvPr>
            <p:cNvSpPr/>
            <p:nvPr/>
          </p:nvSpPr>
          <p:spPr>
            <a:xfrm rot="13089394">
              <a:off x="3955603" y="51842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8" name="Forme libre : forme 2517">
              <a:extLst>
                <a:ext uri="{FF2B5EF4-FFF2-40B4-BE49-F238E27FC236}">
                  <a16:creationId xmlns:a16="http://schemas.microsoft.com/office/drawing/2014/main" id="{EDD58B14-9EE6-43DE-AB53-02CE1EFD4AEF}"/>
                </a:ext>
              </a:extLst>
            </p:cNvPr>
            <p:cNvSpPr/>
            <p:nvPr/>
          </p:nvSpPr>
          <p:spPr>
            <a:xfrm rot="8716295">
              <a:off x="4141188" y="32674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9" name="Forme libre : forme 2518">
              <a:extLst>
                <a:ext uri="{FF2B5EF4-FFF2-40B4-BE49-F238E27FC236}">
                  <a16:creationId xmlns:a16="http://schemas.microsoft.com/office/drawing/2014/main" id="{B0126B85-3847-48C1-A04C-7973E77D1EDB}"/>
                </a:ext>
              </a:extLst>
            </p:cNvPr>
            <p:cNvSpPr/>
            <p:nvPr/>
          </p:nvSpPr>
          <p:spPr>
            <a:xfrm rot="8716295">
              <a:off x="4089383" y="22314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0" name="Forme libre : forme 2519">
              <a:extLst>
                <a:ext uri="{FF2B5EF4-FFF2-40B4-BE49-F238E27FC236}">
                  <a16:creationId xmlns:a16="http://schemas.microsoft.com/office/drawing/2014/main" id="{B39FA797-0108-450C-A9FF-E77B30368C8A}"/>
                </a:ext>
              </a:extLst>
            </p:cNvPr>
            <p:cNvSpPr/>
            <p:nvPr/>
          </p:nvSpPr>
          <p:spPr>
            <a:xfrm rot="8716295">
              <a:off x="3846137" y="25336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1" name="Forme libre : forme 2520">
              <a:extLst>
                <a:ext uri="{FF2B5EF4-FFF2-40B4-BE49-F238E27FC236}">
                  <a16:creationId xmlns:a16="http://schemas.microsoft.com/office/drawing/2014/main" id="{E59A0A69-0B8F-4075-9B80-4638F9047ACF}"/>
                </a:ext>
              </a:extLst>
            </p:cNvPr>
            <p:cNvSpPr/>
            <p:nvPr/>
          </p:nvSpPr>
          <p:spPr>
            <a:xfrm rot="8716295">
              <a:off x="4023589" y="9412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2" name="Forme libre : forme 2521">
              <a:extLst>
                <a:ext uri="{FF2B5EF4-FFF2-40B4-BE49-F238E27FC236}">
                  <a16:creationId xmlns:a16="http://schemas.microsoft.com/office/drawing/2014/main" id="{2EFF07EC-89C0-4663-BD43-B2A9421F76C1}"/>
                </a:ext>
              </a:extLst>
            </p:cNvPr>
            <p:cNvSpPr/>
            <p:nvPr/>
          </p:nvSpPr>
          <p:spPr>
            <a:xfrm rot="8716295">
              <a:off x="3298850" y="-42720"/>
              <a:ext cx="123263" cy="85442"/>
            </a:xfrm>
            <a:custGeom>
              <a:avLst/>
              <a:gdLst>
                <a:gd name="connsiteX0" fmla="*/ 123263 w 123263"/>
                <a:gd name="connsiteY0" fmla="*/ 85442 h 85442"/>
                <a:gd name="connsiteX1" fmla="*/ 0 w 123263"/>
                <a:gd name="connsiteY1" fmla="*/ 0 h 85442"/>
                <a:gd name="connsiteX2" fmla="*/ 66305 w 123263"/>
                <a:gd name="connsiteY2" fmla="*/ 0 h 85442"/>
                <a:gd name="connsiteX3" fmla="*/ 123263 w 123263"/>
                <a:gd name="connsiteY3" fmla="*/ 50123 h 85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63" h="85442">
                  <a:moveTo>
                    <a:pt x="123263" y="85442"/>
                  </a:moveTo>
                  <a:lnTo>
                    <a:pt x="0" y="0"/>
                  </a:lnTo>
                  <a:lnTo>
                    <a:pt x="66305" y="0"/>
                  </a:lnTo>
                  <a:cubicBezTo>
                    <a:pt x="103214" y="0"/>
                    <a:pt x="123263" y="15948"/>
                    <a:pt x="123263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3" name="Forme libre : forme 2522">
              <a:extLst>
                <a:ext uri="{FF2B5EF4-FFF2-40B4-BE49-F238E27FC236}">
                  <a16:creationId xmlns:a16="http://schemas.microsoft.com/office/drawing/2014/main" id="{FD4B967E-157B-4EC0-8E14-C729CCFF7879}"/>
                </a:ext>
              </a:extLst>
            </p:cNvPr>
            <p:cNvSpPr/>
            <p:nvPr/>
          </p:nvSpPr>
          <p:spPr>
            <a:xfrm rot="8716295">
              <a:off x="3388166" y="-13722"/>
              <a:ext cx="260639" cy="98025"/>
            </a:xfrm>
            <a:custGeom>
              <a:avLst/>
              <a:gdLst>
                <a:gd name="connsiteX0" fmla="*/ 104802 w 260639"/>
                <a:gd name="connsiteY0" fmla="*/ 74264 h 98025"/>
                <a:gd name="connsiteX1" fmla="*/ 0 w 260639"/>
                <a:gd name="connsiteY1" fmla="*/ 1618 h 98025"/>
                <a:gd name="connsiteX2" fmla="*/ 0 w 260639"/>
                <a:gd name="connsiteY2" fmla="*/ 1425 h 98025"/>
                <a:gd name="connsiteX3" fmla="*/ 104803 w 260639"/>
                <a:gd name="connsiteY3" fmla="*/ 1425 h 98025"/>
                <a:gd name="connsiteX4" fmla="*/ 122123 w 260639"/>
                <a:gd name="connsiteY4" fmla="*/ 86270 h 98025"/>
                <a:gd name="connsiteX5" fmla="*/ 106178 w 260639"/>
                <a:gd name="connsiteY5" fmla="*/ 75218 h 98025"/>
                <a:gd name="connsiteX6" fmla="*/ 116721 w 260639"/>
                <a:gd name="connsiteY6" fmla="*/ 47439 h 98025"/>
                <a:gd name="connsiteX7" fmla="*/ 154014 w 260639"/>
                <a:gd name="connsiteY7" fmla="*/ 5981 h 98025"/>
                <a:gd name="connsiteX8" fmla="*/ 185455 w 260639"/>
                <a:gd name="connsiteY8" fmla="*/ 57 h 98025"/>
                <a:gd name="connsiteX9" fmla="*/ 260639 w 260639"/>
                <a:gd name="connsiteY9" fmla="*/ 88456 h 98025"/>
                <a:gd name="connsiteX10" fmla="*/ 260639 w 260639"/>
                <a:gd name="connsiteY10" fmla="*/ 94380 h 98025"/>
                <a:gd name="connsiteX11" fmla="*/ 198669 w 260639"/>
                <a:gd name="connsiteY11" fmla="*/ 98025 h 98025"/>
                <a:gd name="connsiteX12" fmla="*/ 198669 w 260639"/>
                <a:gd name="connsiteY12" fmla="*/ 81621 h 98025"/>
                <a:gd name="connsiteX13" fmla="*/ 164950 w 260639"/>
                <a:gd name="connsiteY13" fmla="*/ 40156 h 98025"/>
                <a:gd name="connsiteX14" fmla="*/ 127358 w 260639"/>
                <a:gd name="connsiteY14" fmla="*/ 65616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60639" h="98025">
                  <a:moveTo>
                    <a:pt x="104802" y="74264"/>
                  </a:moveTo>
                  <a:lnTo>
                    <a:pt x="0" y="1618"/>
                  </a:lnTo>
                  <a:lnTo>
                    <a:pt x="0" y="1425"/>
                  </a:lnTo>
                  <a:lnTo>
                    <a:pt x="104803" y="1425"/>
                  </a:lnTo>
                  <a:close/>
                  <a:moveTo>
                    <a:pt x="122123" y="86270"/>
                  </a:moveTo>
                  <a:lnTo>
                    <a:pt x="106178" y="75218"/>
                  </a:lnTo>
                  <a:lnTo>
                    <a:pt x="116721" y="47439"/>
                  </a:lnTo>
                  <a:cubicBezTo>
                    <a:pt x="127102" y="24008"/>
                    <a:pt x="137610" y="12816"/>
                    <a:pt x="154014" y="5981"/>
                  </a:cubicBezTo>
                  <a:cubicBezTo>
                    <a:pt x="164038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50369" y="40156"/>
                    <a:pt x="137041" y="49839"/>
                    <a:pt x="127358" y="656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4" name="Forme libre : forme 2523">
              <a:extLst>
                <a:ext uri="{FF2B5EF4-FFF2-40B4-BE49-F238E27FC236}">
                  <a16:creationId xmlns:a16="http://schemas.microsoft.com/office/drawing/2014/main" id="{26F60FD7-190A-4D8F-9670-046678F59C56}"/>
                </a:ext>
              </a:extLst>
            </p:cNvPr>
            <p:cNvSpPr/>
            <p:nvPr/>
          </p:nvSpPr>
          <p:spPr>
            <a:xfrm rot="8716295">
              <a:off x="3234083" y="-5272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5" name="Forme libre : forme 2524">
              <a:extLst>
                <a:ext uri="{FF2B5EF4-FFF2-40B4-BE49-F238E27FC236}">
                  <a16:creationId xmlns:a16="http://schemas.microsoft.com/office/drawing/2014/main" id="{085654F2-7869-4845-81C8-ECDCFADD1D48}"/>
                </a:ext>
              </a:extLst>
            </p:cNvPr>
            <p:cNvSpPr/>
            <p:nvPr/>
          </p:nvSpPr>
          <p:spPr>
            <a:xfrm rot="7484129">
              <a:off x="3672246" y="-18656"/>
              <a:ext cx="154104" cy="104443"/>
            </a:xfrm>
            <a:custGeom>
              <a:avLst/>
              <a:gdLst>
                <a:gd name="connsiteX0" fmla="*/ 72416 w 154104"/>
                <a:gd name="connsiteY0" fmla="*/ 104443 h 104443"/>
                <a:gd name="connsiteX1" fmla="*/ 0 w 154104"/>
                <a:gd name="connsiteY1" fmla="*/ 0 h 104443"/>
                <a:gd name="connsiteX2" fmla="*/ 154104 w 154104"/>
                <a:gd name="connsiteY2" fmla="*/ 0 h 104443"/>
                <a:gd name="connsiteX3" fmla="*/ 154104 w 154104"/>
                <a:gd name="connsiteY3" fmla="*/ 55323 h 104443"/>
                <a:gd name="connsiteX4" fmla="*/ 89312 w 154104"/>
                <a:gd name="connsiteY4" fmla="*/ 55323 h 104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4104" h="104443">
                  <a:moveTo>
                    <a:pt x="72416" y="104443"/>
                  </a:moveTo>
                  <a:lnTo>
                    <a:pt x="0" y="0"/>
                  </a:lnTo>
                  <a:lnTo>
                    <a:pt x="154104" y="0"/>
                  </a:lnTo>
                  <a:lnTo>
                    <a:pt x="154104" y="55323"/>
                  </a:lnTo>
                  <a:lnTo>
                    <a:pt x="89312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6" name="Forme libre : forme 2525">
              <a:extLst>
                <a:ext uri="{FF2B5EF4-FFF2-40B4-BE49-F238E27FC236}">
                  <a16:creationId xmlns:a16="http://schemas.microsoft.com/office/drawing/2014/main" id="{7E176583-6C1C-4FE3-A612-16C14B2CEFC6}"/>
                </a:ext>
              </a:extLst>
            </p:cNvPr>
            <p:cNvSpPr/>
            <p:nvPr/>
          </p:nvSpPr>
          <p:spPr>
            <a:xfrm rot="13089394">
              <a:off x="3884960" y="-47886"/>
              <a:ext cx="84765" cy="281028"/>
            </a:xfrm>
            <a:custGeom>
              <a:avLst/>
              <a:gdLst>
                <a:gd name="connsiteX0" fmla="*/ 84765 w 84765"/>
                <a:gd name="connsiteY0" fmla="*/ 225012 h 281028"/>
                <a:gd name="connsiteX1" fmla="*/ 13471 w 84765"/>
                <a:gd name="connsiteY1" fmla="*/ 281028 h 281028"/>
                <a:gd name="connsiteX2" fmla="*/ 4828 w 84765"/>
                <a:gd name="connsiteY2" fmla="*/ 263963 h 281028"/>
                <a:gd name="connsiteX3" fmla="*/ 0 w 84765"/>
                <a:gd name="connsiteY3" fmla="*/ 206370 h 281028"/>
                <a:gd name="connsiteX4" fmla="*/ 0 w 84765"/>
                <a:gd name="connsiteY4" fmla="*/ 38074 h 281028"/>
                <a:gd name="connsiteX5" fmla="*/ 73388 w 84765"/>
                <a:gd name="connsiteY5" fmla="*/ 0 h 281028"/>
                <a:gd name="connsiteX6" fmla="*/ 74492 w 84765"/>
                <a:gd name="connsiteY6" fmla="*/ 153950 h 281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4765" h="281028">
                  <a:moveTo>
                    <a:pt x="84765" y="225012"/>
                  </a:moveTo>
                  <a:lnTo>
                    <a:pt x="13471" y="281028"/>
                  </a:lnTo>
                  <a:lnTo>
                    <a:pt x="4828" y="263963"/>
                  </a:lnTo>
                  <a:cubicBezTo>
                    <a:pt x="1241" y="248168"/>
                    <a:pt x="0" y="228993"/>
                    <a:pt x="0" y="206370"/>
                  </a:cubicBez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7" name="Forme libre : forme 2526">
              <a:extLst>
                <a:ext uri="{FF2B5EF4-FFF2-40B4-BE49-F238E27FC236}">
                  <a16:creationId xmlns:a16="http://schemas.microsoft.com/office/drawing/2014/main" id="{6411FD51-776E-4AA6-866C-86AC7DDE6B1E}"/>
                </a:ext>
              </a:extLst>
            </p:cNvPr>
            <p:cNvSpPr/>
            <p:nvPr/>
          </p:nvSpPr>
          <p:spPr>
            <a:xfrm rot="8716295">
              <a:off x="5789699" y="1993578"/>
              <a:ext cx="181333" cy="87320"/>
            </a:xfrm>
            <a:custGeom>
              <a:avLst/>
              <a:gdLst>
                <a:gd name="connsiteX0" fmla="*/ 0 w 181333"/>
                <a:gd name="connsiteY0" fmla="*/ 87320 h 87320"/>
                <a:gd name="connsiteX1" fmla="*/ 42309 w 181333"/>
                <a:gd name="connsiteY1" fmla="*/ 36168 h 87320"/>
                <a:gd name="connsiteX2" fmla="*/ 54839 w 181333"/>
                <a:gd name="connsiteY2" fmla="*/ 38831 h 87320"/>
                <a:gd name="connsiteX3" fmla="*/ 107790 w 181333"/>
                <a:gd name="connsiteY3" fmla="*/ 29417 h 87320"/>
                <a:gd name="connsiteX4" fmla="*/ 180157 w 181333"/>
                <a:gd name="connsiteY4" fmla="*/ 0 h 87320"/>
                <a:gd name="connsiteX5" fmla="*/ 181333 w 181333"/>
                <a:gd name="connsiteY5" fmla="*/ 7648 h 87320"/>
                <a:gd name="connsiteX6" fmla="*/ 181333 w 181333"/>
                <a:gd name="connsiteY6" fmla="*/ 13532 h 87320"/>
                <a:gd name="connsiteX7" fmla="*/ 30340 w 181333"/>
                <a:gd name="connsiteY7" fmla="*/ 83361 h 87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333" h="87320">
                  <a:moveTo>
                    <a:pt x="0" y="87320"/>
                  </a:moveTo>
                  <a:lnTo>
                    <a:pt x="42309" y="36168"/>
                  </a:lnTo>
                  <a:lnTo>
                    <a:pt x="54839" y="38831"/>
                  </a:lnTo>
                  <a:cubicBezTo>
                    <a:pt x="73078" y="38242"/>
                    <a:pt x="90728" y="34712"/>
                    <a:pt x="107790" y="29417"/>
                  </a:cubicBezTo>
                  <a:cubicBezTo>
                    <a:pt x="132500" y="21768"/>
                    <a:pt x="156623" y="11767"/>
                    <a:pt x="180157" y="0"/>
                  </a:cubicBezTo>
                  <a:cubicBezTo>
                    <a:pt x="180745" y="2353"/>
                    <a:pt x="181333" y="5295"/>
                    <a:pt x="181333" y="7648"/>
                  </a:cubicBezTo>
                  <a:lnTo>
                    <a:pt x="181333" y="13532"/>
                  </a:lnTo>
                  <a:cubicBezTo>
                    <a:pt x="134560" y="53687"/>
                    <a:pt x="76865" y="74315"/>
                    <a:pt x="30340" y="833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8" name="Forme libre : forme 2527">
              <a:extLst>
                <a:ext uri="{FF2B5EF4-FFF2-40B4-BE49-F238E27FC236}">
                  <a16:creationId xmlns:a16="http://schemas.microsoft.com/office/drawing/2014/main" id="{4016D6BF-E72B-479D-8087-47A81BBF417D}"/>
                </a:ext>
              </a:extLst>
            </p:cNvPr>
            <p:cNvSpPr/>
            <p:nvPr/>
          </p:nvSpPr>
          <p:spPr>
            <a:xfrm rot="8716295">
              <a:off x="5880884" y="1564845"/>
              <a:ext cx="61060" cy="195751"/>
            </a:xfrm>
            <a:custGeom>
              <a:avLst/>
              <a:gdLst>
                <a:gd name="connsiteX0" fmla="*/ 0 w 61060"/>
                <a:gd name="connsiteY0" fmla="*/ 195751 h 195751"/>
                <a:gd name="connsiteX1" fmla="*/ 0 w 61060"/>
                <a:gd name="connsiteY1" fmla="*/ 67520 h 195751"/>
                <a:gd name="connsiteX2" fmla="*/ 55847 w 61060"/>
                <a:gd name="connsiteY2" fmla="*/ 0 h 195751"/>
                <a:gd name="connsiteX3" fmla="*/ 61059 w 61060"/>
                <a:gd name="connsiteY3" fmla="*/ 13486 h 195751"/>
                <a:gd name="connsiteX4" fmla="*/ 61060 w 61060"/>
                <a:gd name="connsiteY4" fmla="*/ 171601 h 195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60" h="195751">
                  <a:moveTo>
                    <a:pt x="0" y="195751"/>
                  </a:moveTo>
                  <a:lnTo>
                    <a:pt x="0" y="67520"/>
                  </a:lnTo>
                  <a:lnTo>
                    <a:pt x="55847" y="0"/>
                  </a:lnTo>
                  <a:lnTo>
                    <a:pt x="61059" y="13486"/>
                  </a:lnTo>
                  <a:lnTo>
                    <a:pt x="61060" y="17160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9" name="Forme libre : forme 2528">
              <a:extLst>
                <a:ext uri="{FF2B5EF4-FFF2-40B4-BE49-F238E27FC236}">
                  <a16:creationId xmlns:a16="http://schemas.microsoft.com/office/drawing/2014/main" id="{C9150DCD-F0A2-40C0-9C18-4806DAE4299B}"/>
                </a:ext>
              </a:extLst>
            </p:cNvPr>
            <p:cNvSpPr/>
            <p:nvPr/>
          </p:nvSpPr>
          <p:spPr>
            <a:xfrm rot="8716295">
              <a:off x="5772692" y="162676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0" name="Forme libre : forme 2529">
              <a:extLst>
                <a:ext uri="{FF2B5EF4-FFF2-40B4-BE49-F238E27FC236}">
                  <a16:creationId xmlns:a16="http://schemas.microsoft.com/office/drawing/2014/main" id="{31E25632-0B2D-4088-97A3-B015DDAB706E}"/>
                </a:ext>
              </a:extLst>
            </p:cNvPr>
            <p:cNvSpPr/>
            <p:nvPr/>
          </p:nvSpPr>
          <p:spPr>
            <a:xfrm rot="8716295">
              <a:off x="5647789" y="141808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1" name="Forme libre : forme 2530">
              <a:extLst>
                <a:ext uri="{FF2B5EF4-FFF2-40B4-BE49-F238E27FC236}">
                  <a16:creationId xmlns:a16="http://schemas.microsoft.com/office/drawing/2014/main" id="{B3255F7B-0F97-465E-93D7-7FA94259C6BD}"/>
                </a:ext>
              </a:extLst>
            </p:cNvPr>
            <p:cNvSpPr/>
            <p:nvPr/>
          </p:nvSpPr>
          <p:spPr>
            <a:xfrm rot="8716295">
              <a:off x="5635737" y="1279309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2" name="Forme libre : forme 2531">
              <a:extLst>
                <a:ext uri="{FF2B5EF4-FFF2-40B4-BE49-F238E27FC236}">
                  <a16:creationId xmlns:a16="http://schemas.microsoft.com/office/drawing/2014/main" id="{DDCFE949-9F0B-4027-A955-7581B115547F}"/>
                </a:ext>
              </a:extLst>
            </p:cNvPr>
            <p:cNvSpPr/>
            <p:nvPr/>
          </p:nvSpPr>
          <p:spPr>
            <a:xfrm rot="8716295">
              <a:off x="5863691" y="1680538"/>
              <a:ext cx="60147" cy="219174"/>
            </a:xfrm>
            <a:custGeom>
              <a:avLst/>
              <a:gdLst>
                <a:gd name="connsiteX0" fmla="*/ 60147 w 60147"/>
                <a:gd name="connsiteY0" fmla="*/ 219174 h 219174"/>
                <a:gd name="connsiteX1" fmla="*/ 0 w 60147"/>
                <a:gd name="connsiteY1" fmla="*/ 161304 h 219174"/>
                <a:gd name="connsiteX2" fmla="*/ 0 w 60147"/>
                <a:gd name="connsiteY2" fmla="*/ 68045 h 219174"/>
                <a:gd name="connsiteX3" fmla="*/ 56210 w 60147"/>
                <a:gd name="connsiteY3" fmla="*/ 87 h 219174"/>
                <a:gd name="connsiteX4" fmla="*/ 60147 w 60147"/>
                <a:gd name="connsiteY4" fmla="*/ 0 h 219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47" h="219174">
                  <a:moveTo>
                    <a:pt x="60147" y="219174"/>
                  </a:moveTo>
                  <a:lnTo>
                    <a:pt x="0" y="161304"/>
                  </a:lnTo>
                  <a:lnTo>
                    <a:pt x="0" y="68045"/>
                  </a:lnTo>
                  <a:lnTo>
                    <a:pt x="56210" y="87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3" name="Forme libre : forme 2532">
              <a:extLst>
                <a:ext uri="{FF2B5EF4-FFF2-40B4-BE49-F238E27FC236}">
                  <a16:creationId xmlns:a16="http://schemas.microsoft.com/office/drawing/2014/main" id="{65DD55AE-558A-4E5E-92F3-6D26BC8FC5C0}"/>
                </a:ext>
              </a:extLst>
            </p:cNvPr>
            <p:cNvSpPr/>
            <p:nvPr/>
          </p:nvSpPr>
          <p:spPr>
            <a:xfrm rot="8716295">
              <a:off x="5910518" y="126796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4" name="Forme libre : forme 2533">
              <a:extLst>
                <a:ext uri="{FF2B5EF4-FFF2-40B4-BE49-F238E27FC236}">
                  <a16:creationId xmlns:a16="http://schemas.microsoft.com/office/drawing/2014/main" id="{0EC05458-5106-4134-90D2-715C795E2923}"/>
                </a:ext>
              </a:extLst>
            </p:cNvPr>
            <p:cNvSpPr/>
            <p:nvPr/>
          </p:nvSpPr>
          <p:spPr>
            <a:xfrm rot="8716295">
              <a:off x="5661759" y="87851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5" name="Forme libre : forme 2534">
              <a:extLst>
                <a:ext uri="{FF2B5EF4-FFF2-40B4-BE49-F238E27FC236}">
                  <a16:creationId xmlns:a16="http://schemas.microsoft.com/office/drawing/2014/main" id="{D057AB63-8011-4BAF-B87B-EAA1065401D7}"/>
                </a:ext>
              </a:extLst>
            </p:cNvPr>
            <p:cNvSpPr/>
            <p:nvPr/>
          </p:nvSpPr>
          <p:spPr>
            <a:xfrm rot="8716295">
              <a:off x="5751943" y="913207"/>
              <a:ext cx="229128" cy="254774"/>
            </a:xfrm>
            <a:custGeom>
              <a:avLst/>
              <a:gdLst>
                <a:gd name="connsiteX0" fmla="*/ 19979 w 229128"/>
                <a:gd name="connsiteY0" fmla="*/ 254774 h 254774"/>
                <a:gd name="connsiteX1" fmla="*/ 19979 w 229128"/>
                <a:gd name="connsiteY1" fmla="*/ 45624 h 254774"/>
                <a:gd name="connsiteX2" fmla="*/ 0 w 229128"/>
                <a:gd name="connsiteY2" fmla="*/ 45624 h 254774"/>
                <a:gd name="connsiteX3" fmla="*/ 36558 w 229128"/>
                <a:gd name="connsiteY3" fmla="*/ 1425 h 254774"/>
                <a:gd name="connsiteX4" fmla="*/ 73292 w 229128"/>
                <a:gd name="connsiteY4" fmla="*/ 1425 h 254774"/>
                <a:gd name="connsiteX5" fmla="*/ 73292 w 229128"/>
                <a:gd name="connsiteY5" fmla="*/ 75242 h 254774"/>
                <a:gd name="connsiteX6" fmla="*/ 74658 w 229128"/>
                <a:gd name="connsiteY6" fmla="*/ 75242 h 254774"/>
                <a:gd name="connsiteX7" fmla="*/ 122503 w 229128"/>
                <a:gd name="connsiteY7" fmla="*/ 5981 h 254774"/>
                <a:gd name="connsiteX8" fmla="*/ 153944 w 229128"/>
                <a:gd name="connsiteY8" fmla="*/ 57 h 254774"/>
                <a:gd name="connsiteX9" fmla="*/ 229128 w 229128"/>
                <a:gd name="connsiteY9" fmla="*/ 88456 h 254774"/>
                <a:gd name="connsiteX10" fmla="*/ 229128 w 229128"/>
                <a:gd name="connsiteY10" fmla="*/ 94380 h 254774"/>
                <a:gd name="connsiteX11" fmla="*/ 167158 w 229128"/>
                <a:gd name="connsiteY11" fmla="*/ 98025 h 254774"/>
                <a:gd name="connsiteX12" fmla="*/ 167158 w 229128"/>
                <a:gd name="connsiteY12" fmla="*/ 81621 h 254774"/>
                <a:gd name="connsiteX13" fmla="*/ 133439 w 229128"/>
                <a:gd name="connsiteY13" fmla="*/ 40156 h 254774"/>
                <a:gd name="connsiteX14" fmla="*/ 80127 w 229128"/>
                <a:gd name="connsiteY14" fmla="*/ 127643 h 254774"/>
                <a:gd name="connsiteX15" fmla="*/ 80127 w 229128"/>
                <a:gd name="connsiteY15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29128" h="254774">
                  <a:moveTo>
                    <a:pt x="19979" y="254774"/>
                  </a:moveTo>
                  <a:lnTo>
                    <a:pt x="19979" y="45624"/>
                  </a:lnTo>
                  <a:lnTo>
                    <a:pt x="0" y="45624"/>
                  </a:lnTo>
                  <a:lnTo>
                    <a:pt x="36558" y="1425"/>
                  </a:lnTo>
                  <a:lnTo>
                    <a:pt x="73292" y="1425"/>
                  </a:lnTo>
                  <a:lnTo>
                    <a:pt x="73292" y="75242"/>
                  </a:lnTo>
                  <a:lnTo>
                    <a:pt x="74658" y="75242"/>
                  </a:lnTo>
                  <a:cubicBezTo>
                    <a:pt x="89240" y="31954"/>
                    <a:pt x="100631" y="15094"/>
                    <a:pt x="122503" y="5981"/>
                  </a:cubicBezTo>
                  <a:cubicBezTo>
                    <a:pt x="132528" y="1880"/>
                    <a:pt x="143008" y="-398"/>
                    <a:pt x="153944" y="57"/>
                  </a:cubicBezTo>
                  <a:cubicBezTo>
                    <a:pt x="200877" y="-854"/>
                    <a:pt x="229128" y="31954"/>
                    <a:pt x="229128" y="88456"/>
                  </a:cubicBezTo>
                  <a:lnTo>
                    <a:pt x="229128" y="94380"/>
                  </a:lnTo>
                  <a:lnTo>
                    <a:pt x="167158" y="98025"/>
                  </a:lnTo>
                  <a:lnTo>
                    <a:pt x="167158" y="81621"/>
                  </a:lnTo>
                  <a:cubicBezTo>
                    <a:pt x="167158" y="57016"/>
                    <a:pt x="153033" y="40156"/>
                    <a:pt x="133439" y="40156"/>
                  </a:cubicBezTo>
                  <a:cubicBezTo>
                    <a:pt x="104277" y="40156"/>
                    <a:pt x="80127" y="78887"/>
                    <a:pt x="80127" y="127643"/>
                  </a:cubicBezTo>
                  <a:lnTo>
                    <a:pt x="80127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6" name="Forme libre : forme 2535">
              <a:extLst>
                <a:ext uri="{FF2B5EF4-FFF2-40B4-BE49-F238E27FC236}">
                  <a16:creationId xmlns:a16="http://schemas.microsoft.com/office/drawing/2014/main" id="{2835F711-6457-4567-BFF6-A0B784C09FC4}"/>
                </a:ext>
              </a:extLst>
            </p:cNvPr>
            <p:cNvSpPr/>
            <p:nvPr/>
          </p:nvSpPr>
          <p:spPr>
            <a:xfrm rot="8716295">
              <a:off x="5706301" y="821481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7" name="Forme libre : forme 2536">
              <a:extLst>
                <a:ext uri="{FF2B5EF4-FFF2-40B4-BE49-F238E27FC236}">
                  <a16:creationId xmlns:a16="http://schemas.microsoft.com/office/drawing/2014/main" id="{09671646-B442-4067-9AA2-DA2D5180E659}"/>
                </a:ext>
              </a:extLst>
            </p:cNvPr>
            <p:cNvSpPr/>
            <p:nvPr/>
          </p:nvSpPr>
          <p:spPr>
            <a:xfrm rot="8716295">
              <a:off x="5549525" y="96706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8" name="Forme libre : forme 2537">
              <a:extLst>
                <a:ext uri="{FF2B5EF4-FFF2-40B4-BE49-F238E27FC236}">
                  <a16:creationId xmlns:a16="http://schemas.microsoft.com/office/drawing/2014/main" id="{A36AF7BA-D17B-4A0F-86BD-D2B1CBD1C700}"/>
                </a:ext>
              </a:extLst>
            </p:cNvPr>
            <p:cNvSpPr/>
            <p:nvPr/>
          </p:nvSpPr>
          <p:spPr>
            <a:xfrm rot="8716295">
              <a:off x="5424622" y="75839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9" name="Forme libre : forme 2538">
              <a:extLst>
                <a:ext uri="{FF2B5EF4-FFF2-40B4-BE49-F238E27FC236}">
                  <a16:creationId xmlns:a16="http://schemas.microsoft.com/office/drawing/2014/main" id="{AF5CCE06-D137-4C0F-9245-A218B9F04135}"/>
                </a:ext>
              </a:extLst>
            </p:cNvPr>
            <p:cNvSpPr/>
            <p:nvPr/>
          </p:nvSpPr>
          <p:spPr>
            <a:xfrm rot="8716295">
              <a:off x="5412570" y="619610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0" name="Forme libre : forme 2539">
              <a:extLst>
                <a:ext uri="{FF2B5EF4-FFF2-40B4-BE49-F238E27FC236}">
                  <a16:creationId xmlns:a16="http://schemas.microsoft.com/office/drawing/2014/main" id="{ED460E8C-C78B-44EF-9945-8FB1024E7269}"/>
                </a:ext>
              </a:extLst>
            </p:cNvPr>
            <p:cNvSpPr/>
            <p:nvPr/>
          </p:nvSpPr>
          <p:spPr>
            <a:xfrm rot="8716295">
              <a:off x="5639703" y="100801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1" name="Forme libre : forme 2540">
              <a:extLst>
                <a:ext uri="{FF2B5EF4-FFF2-40B4-BE49-F238E27FC236}">
                  <a16:creationId xmlns:a16="http://schemas.microsoft.com/office/drawing/2014/main" id="{44797871-BF4A-4658-8B0F-C75DE4AC12D4}"/>
                </a:ext>
              </a:extLst>
            </p:cNvPr>
            <p:cNvSpPr/>
            <p:nvPr/>
          </p:nvSpPr>
          <p:spPr>
            <a:xfrm rot="8716295">
              <a:off x="5950315" y="653899"/>
              <a:ext cx="61060" cy="208036"/>
            </a:xfrm>
            <a:custGeom>
              <a:avLst/>
              <a:gdLst>
                <a:gd name="connsiteX0" fmla="*/ 0 w 61060"/>
                <a:gd name="connsiteY0" fmla="*/ 208036 h 208036"/>
                <a:gd name="connsiteX1" fmla="*/ 1 w 61060"/>
                <a:gd name="connsiteY1" fmla="*/ 61780 h 208036"/>
                <a:gd name="connsiteX2" fmla="*/ 51100 w 61060"/>
                <a:gd name="connsiteY2" fmla="*/ 0 h 208036"/>
                <a:gd name="connsiteX3" fmla="*/ 61059 w 61060"/>
                <a:gd name="connsiteY3" fmla="*/ 25771 h 208036"/>
                <a:gd name="connsiteX4" fmla="*/ 61060 w 61060"/>
                <a:gd name="connsiteY4" fmla="*/ 183886 h 208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60" h="208036">
                  <a:moveTo>
                    <a:pt x="0" y="208036"/>
                  </a:moveTo>
                  <a:lnTo>
                    <a:pt x="1" y="61780"/>
                  </a:lnTo>
                  <a:lnTo>
                    <a:pt x="51100" y="0"/>
                  </a:lnTo>
                  <a:lnTo>
                    <a:pt x="61059" y="25771"/>
                  </a:lnTo>
                  <a:lnTo>
                    <a:pt x="61060" y="18388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2" name="Forme libre : forme 2541">
              <a:extLst>
                <a:ext uri="{FF2B5EF4-FFF2-40B4-BE49-F238E27FC236}">
                  <a16:creationId xmlns:a16="http://schemas.microsoft.com/office/drawing/2014/main" id="{1F8AF864-43AC-4DF3-8966-C8908B7A01D3}"/>
                </a:ext>
              </a:extLst>
            </p:cNvPr>
            <p:cNvSpPr/>
            <p:nvPr/>
          </p:nvSpPr>
          <p:spPr>
            <a:xfrm rot="8716295">
              <a:off x="5838624" y="71691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3" name="Forme libre : forme 2542">
              <a:extLst>
                <a:ext uri="{FF2B5EF4-FFF2-40B4-BE49-F238E27FC236}">
                  <a16:creationId xmlns:a16="http://schemas.microsoft.com/office/drawing/2014/main" id="{A5452EDF-F2D0-4EB5-B794-A8063E26BBF7}"/>
                </a:ext>
              </a:extLst>
            </p:cNvPr>
            <p:cNvSpPr/>
            <p:nvPr/>
          </p:nvSpPr>
          <p:spPr>
            <a:xfrm rot="8716295">
              <a:off x="5713722" y="50823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4" name="Forme libre : forme 2543">
              <a:extLst>
                <a:ext uri="{FF2B5EF4-FFF2-40B4-BE49-F238E27FC236}">
                  <a16:creationId xmlns:a16="http://schemas.microsoft.com/office/drawing/2014/main" id="{1AC7FCE0-D551-4D48-B54B-39B8C83CD6FF}"/>
                </a:ext>
              </a:extLst>
            </p:cNvPr>
            <p:cNvSpPr/>
            <p:nvPr/>
          </p:nvSpPr>
          <p:spPr>
            <a:xfrm rot="8716295">
              <a:off x="5929622" y="770687"/>
              <a:ext cx="60148" cy="219175"/>
            </a:xfrm>
            <a:custGeom>
              <a:avLst/>
              <a:gdLst>
                <a:gd name="connsiteX0" fmla="*/ 60148 w 60148"/>
                <a:gd name="connsiteY0" fmla="*/ 219175 h 219175"/>
                <a:gd name="connsiteX1" fmla="*/ 0 w 60148"/>
                <a:gd name="connsiteY1" fmla="*/ 161305 h 219175"/>
                <a:gd name="connsiteX2" fmla="*/ 0 w 60148"/>
                <a:gd name="connsiteY2" fmla="*/ 50021 h 219175"/>
                <a:gd name="connsiteX3" fmla="*/ 41025 w 60148"/>
                <a:gd name="connsiteY3" fmla="*/ 421 h 219175"/>
                <a:gd name="connsiteX4" fmla="*/ 60147 w 60148"/>
                <a:gd name="connsiteY4" fmla="*/ 0 h 219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48" h="219175">
                  <a:moveTo>
                    <a:pt x="60148" y="219175"/>
                  </a:moveTo>
                  <a:lnTo>
                    <a:pt x="0" y="161305"/>
                  </a:lnTo>
                  <a:lnTo>
                    <a:pt x="0" y="50021"/>
                  </a:lnTo>
                  <a:lnTo>
                    <a:pt x="41025" y="421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5" name="Forme libre : forme 2544">
              <a:extLst>
                <a:ext uri="{FF2B5EF4-FFF2-40B4-BE49-F238E27FC236}">
                  <a16:creationId xmlns:a16="http://schemas.microsoft.com/office/drawing/2014/main" id="{528E3663-F822-4A22-A3E4-0940AC0A021C}"/>
                </a:ext>
              </a:extLst>
            </p:cNvPr>
            <p:cNvSpPr/>
            <p:nvPr/>
          </p:nvSpPr>
          <p:spPr>
            <a:xfrm rot="8716295">
              <a:off x="5687351" y="608263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6" name="Forme libre : forme 2545">
              <a:extLst>
                <a:ext uri="{FF2B5EF4-FFF2-40B4-BE49-F238E27FC236}">
                  <a16:creationId xmlns:a16="http://schemas.microsoft.com/office/drawing/2014/main" id="{1D9FE5D3-D3BA-4384-A368-415E7F501305}"/>
                </a:ext>
              </a:extLst>
            </p:cNvPr>
            <p:cNvSpPr/>
            <p:nvPr/>
          </p:nvSpPr>
          <p:spPr>
            <a:xfrm rot="8716295">
              <a:off x="6020907" y="657792"/>
              <a:ext cx="32038" cy="36361"/>
            </a:xfrm>
            <a:custGeom>
              <a:avLst/>
              <a:gdLst>
                <a:gd name="connsiteX0" fmla="*/ 0 w 32038"/>
                <a:gd name="connsiteY0" fmla="*/ 35166 h 36361"/>
                <a:gd name="connsiteX1" fmla="*/ 29086 w 32038"/>
                <a:gd name="connsiteY1" fmla="*/ 0 h 36361"/>
                <a:gd name="connsiteX2" fmla="*/ 32038 w 32038"/>
                <a:gd name="connsiteY2" fmla="*/ 7028 h 36361"/>
                <a:gd name="connsiteX3" fmla="*/ 23495 w 32038"/>
                <a:gd name="connsiteY3" fmla="*/ 27704 h 36361"/>
                <a:gd name="connsiteX4" fmla="*/ 2990 w 32038"/>
                <a:gd name="connsiteY4" fmla="*/ 36361 h 36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038" h="36361">
                  <a:moveTo>
                    <a:pt x="0" y="35166"/>
                  </a:moveTo>
                  <a:lnTo>
                    <a:pt x="29086" y="0"/>
                  </a:lnTo>
                  <a:lnTo>
                    <a:pt x="32038" y="7028"/>
                  </a:lnTo>
                  <a:cubicBezTo>
                    <a:pt x="32039" y="14489"/>
                    <a:pt x="29191" y="22008"/>
                    <a:pt x="23495" y="27704"/>
                  </a:cubicBezTo>
                  <a:cubicBezTo>
                    <a:pt x="18027" y="33172"/>
                    <a:pt x="10736" y="36361"/>
                    <a:pt x="2990" y="363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7" name="Forme libre : forme 2546">
              <a:extLst>
                <a:ext uri="{FF2B5EF4-FFF2-40B4-BE49-F238E27FC236}">
                  <a16:creationId xmlns:a16="http://schemas.microsoft.com/office/drawing/2014/main" id="{74B385B7-490F-4B64-8CDD-005D25D28D6D}"/>
                </a:ext>
              </a:extLst>
            </p:cNvPr>
            <p:cNvSpPr/>
            <p:nvPr/>
          </p:nvSpPr>
          <p:spPr>
            <a:xfrm rot="8716295">
              <a:off x="5442820" y="21646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8" name="Forme libre : forme 2547">
              <a:extLst>
                <a:ext uri="{FF2B5EF4-FFF2-40B4-BE49-F238E27FC236}">
                  <a16:creationId xmlns:a16="http://schemas.microsoft.com/office/drawing/2014/main" id="{00A5BEA9-8E4C-4D3C-A9D9-E06E091E430D}"/>
                </a:ext>
              </a:extLst>
            </p:cNvPr>
            <p:cNvSpPr/>
            <p:nvPr/>
          </p:nvSpPr>
          <p:spPr>
            <a:xfrm rot="8716295">
              <a:off x="5532212" y="24570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9" name="Forme libre : forme 2548">
              <a:extLst>
                <a:ext uri="{FF2B5EF4-FFF2-40B4-BE49-F238E27FC236}">
                  <a16:creationId xmlns:a16="http://schemas.microsoft.com/office/drawing/2014/main" id="{51F90AEB-3E6A-4371-81D7-8624D42EAD0B}"/>
                </a:ext>
              </a:extLst>
            </p:cNvPr>
            <p:cNvSpPr/>
            <p:nvPr/>
          </p:nvSpPr>
          <p:spPr>
            <a:xfrm rot="8716295">
              <a:off x="5487362" y="15942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0" name="Forme libre : forme 2549">
              <a:extLst>
                <a:ext uri="{FF2B5EF4-FFF2-40B4-BE49-F238E27FC236}">
                  <a16:creationId xmlns:a16="http://schemas.microsoft.com/office/drawing/2014/main" id="{66DEF209-BFB8-4520-8F33-CA20A27BB5A9}"/>
                </a:ext>
              </a:extLst>
            </p:cNvPr>
            <p:cNvSpPr/>
            <p:nvPr/>
          </p:nvSpPr>
          <p:spPr>
            <a:xfrm rot="8716295">
              <a:off x="5330586" y="30500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1" name="Forme libre : forme 2550">
              <a:extLst>
                <a:ext uri="{FF2B5EF4-FFF2-40B4-BE49-F238E27FC236}">
                  <a16:creationId xmlns:a16="http://schemas.microsoft.com/office/drawing/2014/main" id="{02E582F8-1DAD-41CD-B82A-472A28D81DC3}"/>
                </a:ext>
              </a:extLst>
            </p:cNvPr>
            <p:cNvSpPr/>
            <p:nvPr/>
          </p:nvSpPr>
          <p:spPr>
            <a:xfrm rot="8716295">
              <a:off x="5205683" y="9633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2" name="Forme libre : forme 2551">
              <a:extLst>
                <a:ext uri="{FF2B5EF4-FFF2-40B4-BE49-F238E27FC236}">
                  <a16:creationId xmlns:a16="http://schemas.microsoft.com/office/drawing/2014/main" id="{2D7C4CFF-E9C9-4017-8965-B23AA1CAC9F5}"/>
                </a:ext>
              </a:extLst>
            </p:cNvPr>
            <p:cNvSpPr/>
            <p:nvPr/>
          </p:nvSpPr>
          <p:spPr>
            <a:xfrm rot="8716295">
              <a:off x="5193248" y="-36152"/>
              <a:ext cx="290643" cy="340949"/>
            </a:xfrm>
            <a:custGeom>
              <a:avLst/>
              <a:gdLst>
                <a:gd name="connsiteX0" fmla="*/ 155476 w 290643"/>
                <a:gd name="connsiteY0" fmla="*/ 340949 h 340949"/>
                <a:gd name="connsiteX1" fmla="*/ 1169 w 290643"/>
                <a:gd name="connsiteY1" fmla="*/ 233989 h 340949"/>
                <a:gd name="connsiteX2" fmla="*/ 0 w 290643"/>
                <a:gd name="connsiteY2" fmla="*/ 220042 h 340949"/>
                <a:gd name="connsiteX3" fmla="*/ 0 w 290643"/>
                <a:gd name="connsiteY3" fmla="*/ 40596 h 340949"/>
                <a:gd name="connsiteX4" fmla="*/ 78250 w 290643"/>
                <a:gd name="connsiteY4" fmla="*/ 0 h 340949"/>
                <a:gd name="connsiteX5" fmla="*/ 79427 w 290643"/>
                <a:gd name="connsiteY5" fmla="*/ 164149 h 340949"/>
                <a:gd name="connsiteX6" fmla="*/ 93547 w 290643"/>
                <a:gd name="connsiteY6" fmla="*/ 261815 h 340949"/>
                <a:gd name="connsiteX7" fmla="*/ 164149 w 290643"/>
                <a:gd name="connsiteY7" fmla="*/ 300646 h 340949"/>
                <a:gd name="connsiteX8" fmla="*/ 217100 w 290643"/>
                <a:gd name="connsiteY8" fmla="*/ 291232 h 340949"/>
                <a:gd name="connsiteX9" fmla="*/ 289467 w 290643"/>
                <a:gd name="connsiteY9" fmla="*/ 261815 h 340949"/>
                <a:gd name="connsiteX10" fmla="*/ 290643 w 290643"/>
                <a:gd name="connsiteY10" fmla="*/ 269463 h 340949"/>
                <a:gd name="connsiteX11" fmla="*/ 290643 w 290643"/>
                <a:gd name="connsiteY11" fmla="*/ 275347 h 340949"/>
                <a:gd name="connsiteX12" fmla="*/ 189080 w 290643"/>
                <a:gd name="connsiteY12" fmla="*/ 331975 h 340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0643" h="340949">
                  <a:moveTo>
                    <a:pt x="155476" y="340949"/>
                  </a:moveTo>
                  <a:lnTo>
                    <a:pt x="1169" y="233989"/>
                  </a:lnTo>
                  <a:lnTo>
                    <a:pt x="0" y="220042"/>
                  </a:ln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9" y="300646"/>
                  </a:cubicBezTo>
                  <a:cubicBezTo>
                    <a:pt x="182388" y="300057"/>
                    <a:pt x="200038" y="296527"/>
                    <a:pt x="217100" y="291232"/>
                  </a:cubicBezTo>
                  <a:cubicBezTo>
                    <a:pt x="241810" y="283584"/>
                    <a:pt x="265933" y="273582"/>
                    <a:pt x="289467" y="261815"/>
                  </a:cubicBezTo>
                  <a:cubicBezTo>
                    <a:pt x="290055" y="264168"/>
                    <a:pt x="290643" y="267110"/>
                    <a:pt x="290643" y="269463"/>
                  </a:cubicBezTo>
                  <a:lnTo>
                    <a:pt x="290643" y="275347"/>
                  </a:lnTo>
                  <a:cubicBezTo>
                    <a:pt x="259461" y="302117"/>
                    <a:pt x="223425" y="320208"/>
                    <a:pt x="189080" y="3319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3" name="Forme libre : forme 2552">
              <a:extLst>
                <a:ext uri="{FF2B5EF4-FFF2-40B4-BE49-F238E27FC236}">
                  <a16:creationId xmlns:a16="http://schemas.microsoft.com/office/drawing/2014/main" id="{1B6E6328-9E6C-4820-97FC-4F7E1744304C}"/>
                </a:ext>
              </a:extLst>
            </p:cNvPr>
            <p:cNvSpPr/>
            <p:nvPr/>
          </p:nvSpPr>
          <p:spPr>
            <a:xfrm rot="8716295">
              <a:off x="5420764" y="34595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4" name="Forme libre : forme 2553">
              <a:extLst>
                <a:ext uri="{FF2B5EF4-FFF2-40B4-BE49-F238E27FC236}">
                  <a16:creationId xmlns:a16="http://schemas.microsoft.com/office/drawing/2014/main" id="{4F045B04-F6BC-4D60-B07A-B22F29BDB27C}"/>
                </a:ext>
              </a:extLst>
            </p:cNvPr>
            <p:cNvSpPr/>
            <p:nvPr/>
          </p:nvSpPr>
          <p:spPr>
            <a:xfrm rot="8716295">
              <a:off x="5731919" y="-3369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5" name="Forme libre : forme 2554">
              <a:extLst>
                <a:ext uri="{FF2B5EF4-FFF2-40B4-BE49-F238E27FC236}">
                  <a16:creationId xmlns:a16="http://schemas.microsoft.com/office/drawing/2014/main" id="{D50AC866-595F-4850-87C8-A4B5DFADD698}"/>
                </a:ext>
              </a:extLst>
            </p:cNvPr>
            <p:cNvSpPr/>
            <p:nvPr/>
          </p:nvSpPr>
          <p:spPr>
            <a:xfrm rot="8716295">
              <a:off x="5826428" y="14828"/>
              <a:ext cx="238830" cy="236556"/>
            </a:xfrm>
            <a:custGeom>
              <a:avLst/>
              <a:gdLst>
                <a:gd name="connsiteX0" fmla="*/ 56401 w 238830"/>
                <a:gd name="connsiteY0" fmla="*/ 236556 h 236556"/>
                <a:gd name="connsiteX1" fmla="*/ 29681 w 238830"/>
                <a:gd name="connsiteY1" fmla="*/ 218034 h 236556"/>
                <a:gd name="connsiteX2" fmla="*/ 29681 w 238830"/>
                <a:gd name="connsiteY2" fmla="*/ 45624 h 236556"/>
                <a:gd name="connsiteX3" fmla="*/ 0 w 238830"/>
                <a:gd name="connsiteY3" fmla="*/ 45624 h 236556"/>
                <a:gd name="connsiteX4" fmla="*/ 36558 w 238830"/>
                <a:gd name="connsiteY4" fmla="*/ 1425 h 236556"/>
                <a:gd name="connsiteX5" fmla="*/ 82994 w 238830"/>
                <a:gd name="connsiteY5" fmla="*/ 1425 h 236556"/>
                <a:gd name="connsiteX6" fmla="*/ 82994 w 238830"/>
                <a:gd name="connsiteY6" fmla="*/ 75242 h 236556"/>
                <a:gd name="connsiteX7" fmla="*/ 84360 w 238830"/>
                <a:gd name="connsiteY7" fmla="*/ 75242 h 236556"/>
                <a:gd name="connsiteX8" fmla="*/ 132205 w 238830"/>
                <a:gd name="connsiteY8" fmla="*/ 5981 h 236556"/>
                <a:gd name="connsiteX9" fmla="*/ 163646 w 238830"/>
                <a:gd name="connsiteY9" fmla="*/ 57 h 236556"/>
                <a:gd name="connsiteX10" fmla="*/ 238830 w 238830"/>
                <a:gd name="connsiteY10" fmla="*/ 88456 h 236556"/>
                <a:gd name="connsiteX11" fmla="*/ 238830 w 238830"/>
                <a:gd name="connsiteY11" fmla="*/ 94380 h 236556"/>
                <a:gd name="connsiteX12" fmla="*/ 176860 w 238830"/>
                <a:gd name="connsiteY12" fmla="*/ 98025 h 236556"/>
                <a:gd name="connsiteX13" fmla="*/ 176860 w 238830"/>
                <a:gd name="connsiteY13" fmla="*/ 81621 h 236556"/>
                <a:gd name="connsiteX14" fmla="*/ 143141 w 238830"/>
                <a:gd name="connsiteY14" fmla="*/ 40156 h 236556"/>
                <a:gd name="connsiteX15" fmla="*/ 89829 w 238830"/>
                <a:gd name="connsiteY15" fmla="*/ 127643 h 236556"/>
                <a:gd name="connsiteX16" fmla="*/ 89829 w 238830"/>
                <a:gd name="connsiteY16" fmla="*/ 213764 h 236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8830" h="236556">
                  <a:moveTo>
                    <a:pt x="56401" y="236556"/>
                  </a:moveTo>
                  <a:lnTo>
                    <a:pt x="29681" y="218034"/>
                  </a:lnTo>
                  <a:lnTo>
                    <a:pt x="29681" y="45624"/>
                  </a:lnTo>
                  <a:lnTo>
                    <a:pt x="0" y="45624"/>
                  </a:lnTo>
                  <a:lnTo>
                    <a:pt x="36558" y="1425"/>
                  </a:lnTo>
                  <a:lnTo>
                    <a:pt x="82994" y="1425"/>
                  </a:lnTo>
                  <a:lnTo>
                    <a:pt x="82994" y="75242"/>
                  </a:lnTo>
                  <a:lnTo>
                    <a:pt x="84360" y="75242"/>
                  </a:lnTo>
                  <a:cubicBezTo>
                    <a:pt x="98942" y="31954"/>
                    <a:pt x="110333" y="15095"/>
                    <a:pt x="132205" y="5981"/>
                  </a:cubicBezTo>
                  <a:cubicBezTo>
                    <a:pt x="142230" y="1880"/>
                    <a:pt x="152710" y="-398"/>
                    <a:pt x="163646" y="57"/>
                  </a:cubicBezTo>
                  <a:cubicBezTo>
                    <a:pt x="210579" y="-854"/>
                    <a:pt x="238830" y="31954"/>
                    <a:pt x="238830" y="88456"/>
                  </a:cubicBezTo>
                  <a:lnTo>
                    <a:pt x="238830" y="94380"/>
                  </a:lnTo>
                  <a:lnTo>
                    <a:pt x="176860" y="98025"/>
                  </a:lnTo>
                  <a:lnTo>
                    <a:pt x="176860" y="81621"/>
                  </a:lnTo>
                  <a:cubicBezTo>
                    <a:pt x="176860" y="57016"/>
                    <a:pt x="162735" y="40156"/>
                    <a:pt x="143141" y="40156"/>
                  </a:cubicBezTo>
                  <a:cubicBezTo>
                    <a:pt x="113979" y="40156"/>
                    <a:pt x="89829" y="78887"/>
                    <a:pt x="89829" y="127643"/>
                  </a:cubicBezTo>
                  <a:lnTo>
                    <a:pt x="89829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6" name="Forme libre : forme 2555">
              <a:extLst>
                <a:ext uri="{FF2B5EF4-FFF2-40B4-BE49-F238E27FC236}">
                  <a16:creationId xmlns:a16="http://schemas.microsoft.com/office/drawing/2014/main" id="{DC4B3E83-7005-4BBD-BBB0-A761AD405952}"/>
                </a:ext>
              </a:extLst>
            </p:cNvPr>
            <p:cNvSpPr/>
            <p:nvPr/>
          </p:nvSpPr>
          <p:spPr>
            <a:xfrm rot="8716295">
              <a:off x="5619685" y="5485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7" name="Forme libre : forme 2556">
              <a:extLst>
                <a:ext uri="{FF2B5EF4-FFF2-40B4-BE49-F238E27FC236}">
                  <a16:creationId xmlns:a16="http://schemas.microsoft.com/office/drawing/2014/main" id="{5C3D8184-C240-45BB-8949-CA444973BFCB}"/>
                </a:ext>
              </a:extLst>
            </p:cNvPr>
            <p:cNvSpPr/>
            <p:nvPr/>
          </p:nvSpPr>
          <p:spPr>
            <a:xfrm rot="8716295">
              <a:off x="5535493" y="-9286"/>
              <a:ext cx="144967" cy="55526"/>
            </a:xfrm>
            <a:custGeom>
              <a:avLst/>
              <a:gdLst>
                <a:gd name="connsiteX0" fmla="*/ 80105 w 144967"/>
                <a:gd name="connsiteY0" fmla="*/ 55526 h 55526"/>
                <a:gd name="connsiteX1" fmla="*/ 0 w 144967"/>
                <a:gd name="connsiteY1" fmla="*/ 0 h 55526"/>
                <a:gd name="connsiteX2" fmla="*/ 144967 w 144967"/>
                <a:gd name="connsiteY2" fmla="*/ 0 h 55526"/>
                <a:gd name="connsiteX3" fmla="*/ 144967 w 144967"/>
                <a:gd name="connsiteY3" fmla="*/ 55323 h 55526"/>
                <a:gd name="connsiteX4" fmla="*/ 80175 w 144967"/>
                <a:gd name="connsiteY4" fmla="*/ 55323 h 55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967" h="55526">
                  <a:moveTo>
                    <a:pt x="80105" y="55526"/>
                  </a:moveTo>
                  <a:lnTo>
                    <a:pt x="0" y="0"/>
                  </a:lnTo>
                  <a:lnTo>
                    <a:pt x="144967" y="0"/>
                  </a:lnTo>
                  <a:lnTo>
                    <a:pt x="144967" y="55323"/>
                  </a:lnTo>
                  <a:lnTo>
                    <a:pt x="8017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8" name="Forme libre : forme 2557">
              <a:extLst>
                <a:ext uri="{FF2B5EF4-FFF2-40B4-BE49-F238E27FC236}">
                  <a16:creationId xmlns:a16="http://schemas.microsoft.com/office/drawing/2014/main" id="{9211EEC6-BD80-4E39-BC94-F406797D4C14}"/>
                </a:ext>
              </a:extLst>
            </p:cNvPr>
            <p:cNvSpPr/>
            <p:nvPr/>
          </p:nvSpPr>
          <p:spPr>
            <a:xfrm rot="8716295">
              <a:off x="5709863" y="9580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9" name="Forme libre : forme 2558">
              <a:extLst>
                <a:ext uri="{FF2B5EF4-FFF2-40B4-BE49-F238E27FC236}">
                  <a16:creationId xmlns:a16="http://schemas.microsoft.com/office/drawing/2014/main" id="{787ACCBC-136A-4496-81B6-93B81D466D2B}"/>
                </a:ext>
              </a:extLst>
            </p:cNvPr>
            <p:cNvSpPr/>
            <p:nvPr/>
          </p:nvSpPr>
          <p:spPr>
            <a:xfrm rot="8716295">
              <a:off x="5474907" y="-18059"/>
              <a:ext cx="53295" cy="42130"/>
            </a:xfrm>
            <a:custGeom>
              <a:avLst/>
              <a:gdLst>
                <a:gd name="connsiteX0" fmla="*/ 51759 w 53295"/>
                <a:gd name="connsiteY0" fmla="*/ 42130 h 42130"/>
                <a:gd name="connsiteX1" fmla="*/ 0 w 53295"/>
                <a:gd name="connsiteY1" fmla="*/ 6252 h 42130"/>
                <a:gd name="connsiteX2" fmla="*/ 14807 w 53295"/>
                <a:gd name="connsiteY2" fmla="*/ 0 h 42130"/>
                <a:gd name="connsiteX3" fmla="*/ 41975 w 53295"/>
                <a:gd name="connsiteY3" fmla="*/ 11471 h 42130"/>
                <a:gd name="connsiteX4" fmla="*/ 53295 w 53295"/>
                <a:gd name="connsiteY4" fmla="*/ 38412 h 42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295" h="42130">
                  <a:moveTo>
                    <a:pt x="51759" y="42130"/>
                  </a:moveTo>
                  <a:lnTo>
                    <a:pt x="0" y="6252"/>
                  </a:lnTo>
                  <a:lnTo>
                    <a:pt x="14807" y="0"/>
                  </a:lnTo>
                  <a:cubicBezTo>
                    <a:pt x="25071" y="0"/>
                    <a:pt x="34731" y="4226"/>
                    <a:pt x="41975" y="11471"/>
                  </a:cubicBezTo>
                  <a:cubicBezTo>
                    <a:pt x="49522" y="18716"/>
                    <a:pt x="53295" y="28526"/>
                    <a:pt x="53295" y="3841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0" name="Forme libre : forme 2559">
              <a:extLst>
                <a:ext uri="{FF2B5EF4-FFF2-40B4-BE49-F238E27FC236}">
                  <a16:creationId xmlns:a16="http://schemas.microsoft.com/office/drawing/2014/main" id="{237D6F67-B176-4659-9C51-9A7BD34F0CA8}"/>
                </a:ext>
              </a:extLst>
            </p:cNvPr>
            <p:cNvSpPr/>
            <p:nvPr/>
          </p:nvSpPr>
          <p:spPr>
            <a:xfrm rot="7484129">
              <a:off x="5814794" y="28715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1" name="Forme libre : forme 2560">
              <a:extLst>
                <a:ext uri="{FF2B5EF4-FFF2-40B4-BE49-F238E27FC236}">
                  <a16:creationId xmlns:a16="http://schemas.microsoft.com/office/drawing/2014/main" id="{0A9A3C01-292B-4D95-942D-9306CC87D815}"/>
                </a:ext>
              </a:extLst>
            </p:cNvPr>
            <p:cNvSpPr/>
            <p:nvPr/>
          </p:nvSpPr>
          <p:spPr>
            <a:xfrm rot="13089394">
              <a:off x="5911866" y="269714"/>
              <a:ext cx="237929" cy="294867"/>
            </a:xfrm>
            <a:custGeom>
              <a:avLst/>
              <a:gdLst>
                <a:gd name="connsiteX0" fmla="*/ 39306 w 237929"/>
                <a:gd name="connsiteY0" fmla="*/ 79955 h 294867"/>
                <a:gd name="connsiteX1" fmla="*/ 0 w 237929"/>
                <a:gd name="connsiteY1" fmla="*/ 20095 h 294867"/>
                <a:gd name="connsiteX2" fmla="*/ 38733 w 237929"/>
                <a:gd name="connsiteY2" fmla="*/ 0 h 294867"/>
                <a:gd name="connsiteX3" fmla="*/ 237929 w 237929"/>
                <a:gd name="connsiteY3" fmla="*/ 258238 h 294867"/>
                <a:gd name="connsiteX4" fmla="*/ 191415 w 237929"/>
                <a:gd name="connsiteY4" fmla="*/ 290069 h 294867"/>
                <a:gd name="connsiteX5" fmla="*/ 180425 w 237929"/>
                <a:gd name="connsiteY5" fmla="*/ 294867 h 294867"/>
                <a:gd name="connsiteX6" fmla="*/ 166448 w 237929"/>
                <a:gd name="connsiteY6" fmla="*/ 273582 h 294867"/>
                <a:gd name="connsiteX7" fmla="*/ 168955 w 237929"/>
                <a:gd name="connsiteY7" fmla="*/ 273136 h 294867"/>
                <a:gd name="connsiteX8" fmla="*/ 236826 w 237929"/>
                <a:gd name="connsiteY8" fmla="*/ 245547 h 294867"/>
                <a:gd name="connsiteX9" fmla="*/ 237929 w 237929"/>
                <a:gd name="connsiteY9" fmla="*/ 252720 h 294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7929" h="294867">
                  <a:moveTo>
                    <a:pt x="39306" y="79955"/>
                  </a:moveTo>
                  <a:lnTo>
                    <a:pt x="0" y="20095"/>
                  </a:lnTo>
                  <a:lnTo>
                    <a:pt x="38733" y="0"/>
                  </a:lnTo>
                  <a:close/>
                  <a:moveTo>
                    <a:pt x="237929" y="258238"/>
                  </a:moveTo>
                  <a:cubicBezTo>
                    <a:pt x="223307" y="270791"/>
                    <a:pt x="207546" y="281309"/>
                    <a:pt x="191415" y="290069"/>
                  </a:cubicBezTo>
                  <a:lnTo>
                    <a:pt x="180425" y="294867"/>
                  </a:lnTo>
                  <a:lnTo>
                    <a:pt x="166448" y="273582"/>
                  </a:lnTo>
                  <a:lnTo>
                    <a:pt x="168955" y="273136"/>
                  </a:lnTo>
                  <a:cubicBezTo>
                    <a:pt x="192130" y="265963"/>
                    <a:pt x="214754" y="256582"/>
                    <a:pt x="236826" y="245547"/>
                  </a:cubicBezTo>
                  <a:cubicBezTo>
                    <a:pt x="237377" y="247754"/>
                    <a:pt x="237929" y="250513"/>
                    <a:pt x="237929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2" name="Forme libre : forme 2561">
              <a:extLst>
                <a:ext uri="{FF2B5EF4-FFF2-40B4-BE49-F238E27FC236}">
                  <a16:creationId xmlns:a16="http://schemas.microsoft.com/office/drawing/2014/main" id="{2A17DA33-A0C3-41F9-AE84-BDC6C53CFE7E}"/>
                </a:ext>
              </a:extLst>
            </p:cNvPr>
            <p:cNvSpPr/>
            <p:nvPr/>
          </p:nvSpPr>
          <p:spPr>
            <a:xfrm rot="8716295">
              <a:off x="6048768" y="-12983"/>
              <a:ext cx="59727" cy="80698"/>
            </a:xfrm>
            <a:custGeom>
              <a:avLst/>
              <a:gdLst>
                <a:gd name="connsiteX0" fmla="*/ 0 w 59727"/>
                <a:gd name="connsiteY0" fmla="*/ 52945 h 80698"/>
                <a:gd name="connsiteX1" fmla="*/ 43791 w 59727"/>
                <a:gd name="connsiteY1" fmla="*/ 0 h 80698"/>
                <a:gd name="connsiteX2" fmla="*/ 59727 w 59727"/>
                <a:gd name="connsiteY2" fmla="*/ 37928 h 80698"/>
                <a:gd name="connsiteX3" fmla="*/ 42480 w 59727"/>
                <a:gd name="connsiteY3" fmla="*/ 79666 h 80698"/>
                <a:gd name="connsiteX4" fmla="*/ 40038 w 59727"/>
                <a:gd name="connsiteY4" fmla="*/ 80698 h 80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727" h="80698">
                  <a:moveTo>
                    <a:pt x="0" y="52945"/>
                  </a:moveTo>
                  <a:lnTo>
                    <a:pt x="43791" y="0"/>
                  </a:lnTo>
                  <a:lnTo>
                    <a:pt x="59727" y="37928"/>
                  </a:lnTo>
                  <a:cubicBezTo>
                    <a:pt x="59727" y="52991"/>
                    <a:pt x="53978" y="68168"/>
                    <a:pt x="42480" y="79666"/>
                  </a:cubicBezTo>
                  <a:lnTo>
                    <a:pt x="40038" y="806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3" name="Forme libre : forme 2562">
              <a:extLst>
                <a:ext uri="{FF2B5EF4-FFF2-40B4-BE49-F238E27FC236}">
                  <a16:creationId xmlns:a16="http://schemas.microsoft.com/office/drawing/2014/main" id="{2353FF35-000A-436A-A845-6D57020C764E}"/>
                </a:ext>
              </a:extLst>
            </p:cNvPr>
            <p:cNvSpPr/>
            <p:nvPr/>
          </p:nvSpPr>
          <p:spPr>
            <a:xfrm rot="8716295">
              <a:off x="5807042" y="-10009"/>
              <a:ext cx="57775" cy="54433"/>
            </a:xfrm>
            <a:custGeom>
              <a:avLst/>
              <a:gdLst>
                <a:gd name="connsiteX0" fmla="*/ 37946 w 57775"/>
                <a:gd name="connsiteY0" fmla="*/ 54433 h 54433"/>
                <a:gd name="connsiteX1" fmla="*/ 0 w 57775"/>
                <a:gd name="connsiteY1" fmla="*/ 28130 h 54433"/>
                <a:gd name="connsiteX2" fmla="*/ 8222 w 57775"/>
                <a:gd name="connsiteY2" fmla="*/ 8658 h 54433"/>
                <a:gd name="connsiteX3" fmla="*/ 28726 w 57775"/>
                <a:gd name="connsiteY3" fmla="*/ 0 h 54433"/>
                <a:gd name="connsiteX4" fmla="*/ 49232 w 57775"/>
                <a:gd name="connsiteY4" fmla="*/ 8658 h 54433"/>
                <a:gd name="connsiteX5" fmla="*/ 49232 w 57775"/>
                <a:gd name="connsiteY5" fmla="*/ 49668 h 54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775" h="54433">
                  <a:moveTo>
                    <a:pt x="37946" y="54433"/>
                  </a:moveTo>
                  <a:lnTo>
                    <a:pt x="0" y="28130"/>
                  </a:lnTo>
                  <a:lnTo>
                    <a:pt x="8222" y="8658"/>
                  </a:lnTo>
                  <a:cubicBezTo>
                    <a:pt x="13690" y="3190"/>
                    <a:pt x="20981" y="0"/>
                    <a:pt x="28726" y="0"/>
                  </a:cubicBezTo>
                  <a:cubicBezTo>
                    <a:pt x="36473" y="0"/>
                    <a:pt x="43764" y="3190"/>
                    <a:pt x="49232" y="8658"/>
                  </a:cubicBezTo>
                  <a:cubicBezTo>
                    <a:pt x="60624" y="19594"/>
                    <a:pt x="60623" y="38276"/>
                    <a:pt x="49232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4" name="Forme libre : forme 2563">
              <a:extLst>
                <a:ext uri="{FF2B5EF4-FFF2-40B4-BE49-F238E27FC236}">
                  <a16:creationId xmlns:a16="http://schemas.microsoft.com/office/drawing/2014/main" id="{D553155B-6380-4B51-8419-ECFF292B83F9}"/>
                </a:ext>
              </a:extLst>
            </p:cNvPr>
            <p:cNvSpPr/>
            <p:nvPr/>
          </p:nvSpPr>
          <p:spPr>
            <a:xfrm rot="8716295">
              <a:off x="212141" y="304502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5" name="Forme libre : forme 2564">
              <a:extLst>
                <a:ext uri="{FF2B5EF4-FFF2-40B4-BE49-F238E27FC236}">
                  <a16:creationId xmlns:a16="http://schemas.microsoft.com/office/drawing/2014/main" id="{67BA1FC2-F36C-4A5C-929D-EFEA62216900}"/>
                </a:ext>
              </a:extLst>
            </p:cNvPr>
            <p:cNvSpPr/>
            <p:nvPr/>
          </p:nvSpPr>
          <p:spPr>
            <a:xfrm rot="8716295">
              <a:off x="301533" y="307427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6" name="Forme libre : forme 2565">
              <a:extLst>
                <a:ext uri="{FF2B5EF4-FFF2-40B4-BE49-F238E27FC236}">
                  <a16:creationId xmlns:a16="http://schemas.microsoft.com/office/drawing/2014/main" id="{511D384B-98C0-4C29-A1F9-D1BCF7610AEC}"/>
                </a:ext>
              </a:extLst>
            </p:cNvPr>
            <p:cNvSpPr/>
            <p:nvPr/>
          </p:nvSpPr>
          <p:spPr>
            <a:xfrm rot="8716295">
              <a:off x="256683" y="298799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7" name="Forme libre : forme 2566">
              <a:extLst>
                <a:ext uri="{FF2B5EF4-FFF2-40B4-BE49-F238E27FC236}">
                  <a16:creationId xmlns:a16="http://schemas.microsoft.com/office/drawing/2014/main" id="{B52ED1B2-C905-44CA-8DB7-D96A1D529045}"/>
                </a:ext>
              </a:extLst>
            </p:cNvPr>
            <p:cNvSpPr/>
            <p:nvPr/>
          </p:nvSpPr>
          <p:spPr>
            <a:xfrm rot="8716295">
              <a:off x="99907" y="31335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8" name="Forme libre : forme 2567">
              <a:extLst>
                <a:ext uri="{FF2B5EF4-FFF2-40B4-BE49-F238E27FC236}">
                  <a16:creationId xmlns:a16="http://schemas.microsoft.com/office/drawing/2014/main" id="{A5A1E363-60C9-4C33-A0CE-7C8397DEAC0C}"/>
                </a:ext>
              </a:extLst>
            </p:cNvPr>
            <p:cNvSpPr/>
            <p:nvPr/>
          </p:nvSpPr>
          <p:spPr>
            <a:xfrm rot="8716295">
              <a:off x="-24996" y="29248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9" name="Forme libre : forme 2568">
              <a:extLst>
                <a:ext uri="{FF2B5EF4-FFF2-40B4-BE49-F238E27FC236}">
                  <a16:creationId xmlns:a16="http://schemas.microsoft.com/office/drawing/2014/main" id="{8C120843-D6BE-458A-B9F4-0279F834C3ED}"/>
                </a:ext>
              </a:extLst>
            </p:cNvPr>
            <p:cNvSpPr/>
            <p:nvPr/>
          </p:nvSpPr>
          <p:spPr>
            <a:xfrm rot="8716295">
              <a:off x="51899" y="2754602"/>
              <a:ext cx="189488" cy="350829"/>
            </a:xfrm>
            <a:custGeom>
              <a:avLst/>
              <a:gdLst>
                <a:gd name="connsiteX0" fmla="*/ 25299 w 189488"/>
                <a:gd name="connsiteY0" fmla="*/ 321238 h 350829"/>
                <a:gd name="connsiteX1" fmla="*/ 0 w 189488"/>
                <a:gd name="connsiteY1" fmla="*/ 220042 h 350829"/>
                <a:gd name="connsiteX2" fmla="*/ 0 w 189488"/>
                <a:gd name="connsiteY2" fmla="*/ 40596 h 350829"/>
                <a:gd name="connsiteX3" fmla="*/ 78250 w 189488"/>
                <a:gd name="connsiteY3" fmla="*/ 0 h 350829"/>
                <a:gd name="connsiteX4" fmla="*/ 79427 w 189488"/>
                <a:gd name="connsiteY4" fmla="*/ 164149 h 350829"/>
                <a:gd name="connsiteX5" fmla="*/ 93547 w 189488"/>
                <a:gd name="connsiteY5" fmla="*/ 261815 h 350829"/>
                <a:gd name="connsiteX6" fmla="*/ 164148 w 189488"/>
                <a:gd name="connsiteY6" fmla="*/ 300646 h 350829"/>
                <a:gd name="connsiteX7" fmla="*/ 189488 w 189488"/>
                <a:gd name="connsiteY7" fmla="*/ 296141 h 350829"/>
                <a:gd name="connsiteX8" fmla="*/ 160617 w 189488"/>
                <a:gd name="connsiteY8" fmla="*/ 337791 h 350829"/>
                <a:gd name="connsiteX9" fmla="*/ 97666 w 189488"/>
                <a:gd name="connsiteY9" fmla="*/ 350655 h 350829"/>
                <a:gd name="connsiteX10" fmla="*/ 25299 w 189488"/>
                <a:gd name="connsiteY10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9488" h="350829">
                  <a:moveTo>
                    <a:pt x="25299" y="321238"/>
                  </a:moveTo>
                  <a:cubicBezTo>
                    <a:pt x="5295" y="301823"/>
                    <a:pt x="0" y="268286"/>
                    <a:pt x="0" y="220042"/>
                  </a:cubicBez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8" y="300646"/>
                  </a:cubicBezTo>
                  <a:lnTo>
                    <a:pt x="189488" y="296141"/>
                  </a:lnTo>
                  <a:lnTo>
                    <a:pt x="160617" y="337791"/>
                  </a:lnTo>
                  <a:lnTo>
                    <a:pt x="97666" y="350655"/>
                  </a:ln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0" name="Forme libre : forme 2569">
              <a:extLst>
                <a:ext uri="{FF2B5EF4-FFF2-40B4-BE49-F238E27FC236}">
                  <a16:creationId xmlns:a16="http://schemas.microsoft.com/office/drawing/2014/main" id="{8BAB5B23-705E-4A16-8C44-8327B4FD6CCC}"/>
                </a:ext>
              </a:extLst>
            </p:cNvPr>
            <p:cNvSpPr/>
            <p:nvPr/>
          </p:nvSpPr>
          <p:spPr>
            <a:xfrm rot="8716295">
              <a:off x="190085" y="317452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1" name="Forme libre : forme 2570">
              <a:extLst>
                <a:ext uri="{FF2B5EF4-FFF2-40B4-BE49-F238E27FC236}">
                  <a16:creationId xmlns:a16="http://schemas.microsoft.com/office/drawing/2014/main" id="{D9337EE8-67E6-49B9-9D08-B8E3597E2BD9}"/>
                </a:ext>
              </a:extLst>
            </p:cNvPr>
            <p:cNvSpPr/>
            <p:nvPr/>
          </p:nvSpPr>
          <p:spPr>
            <a:xfrm rot="8716295">
              <a:off x="501240" y="279487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2" name="Forme libre : forme 2571">
              <a:extLst>
                <a:ext uri="{FF2B5EF4-FFF2-40B4-BE49-F238E27FC236}">
                  <a16:creationId xmlns:a16="http://schemas.microsoft.com/office/drawing/2014/main" id="{383A3F11-DF41-44C2-9C23-687BDA5000E4}"/>
                </a:ext>
              </a:extLst>
            </p:cNvPr>
            <p:cNvSpPr/>
            <p:nvPr/>
          </p:nvSpPr>
          <p:spPr>
            <a:xfrm rot="8716295">
              <a:off x="590632" y="282411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3" name="Forme libre : forme 2572">
              <a:extLst>
                <a:ext uri="{FF2B5EF4-FFF2-40B4-BE49-F238E27FC236}">
                  <a16:creationId xmlns:a16="http://schemas.microsoft.com/office/drawing/2014/main" id="{55344225-1E1A-4BD5-AF05-BEDD630E150A}"/>
                </a:ext>
              </a:extLst>
            </p:cNvPr>
            <p:cNvSpPr/>
            <p:nvPr/>
          </p:nvSpPr>
          <p:spPr>
            <a:xfrm rot="8716295">
              <a:off x="389006" y="2883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4" name="Forme libre : forme 2573">
              <a:extLst>
                <a:ext uri="{FF2B5EF4-FFF2-40B4-BE49-F238E27FC236}">
                  <a16:creationId xmlns:a16="http://schemas.microsoft.com/office/drawing/2014/main" id="{85976604-818D-4F72-A8AF-F6A0827261B7}"/>
                </a:ext>
              </a:extLst>
            </p:cNvPr>
            <p:cNvSpPr/>
            <p:nvPr/>
          </p:nvSpPr>
          <p:spPr>
            <a:xfrm rot="8716295">
              <a:off x="264104" y="267474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5" name="Forme libre : forme 2574">
              <a:extLst>
                <a:ext uri="{FF2B5EF4-FFF2-40B4-BE49-F238E27FC236}">
                  <a16:creationId xmlns:a16="http://schemas.microsoft.com/office/drawing/2014/main" id="{A24AD263-F244-4E1D-862B-19F7259C99AB}"/>
                </a:ext>
              </a:extLst>
            </p:cNvPr>
            <p:cNvSpPr/>
            <p:nvPr/>
          </p:nvSpPr>
          <p:spPr>
            <a:xfrm rot="8716295">
              <a:off x="479184" y="292437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6" name="Forme libre : forme 2575">
              <a:extLst>
                <a:ext uri="{FF2B5EF4-FFF2-40B4-BE49-F238E27FC236}">
                  <a16:creationId xmlns:a16="http://schemas.microsoft.com/office/drawing/2014/main" id="{9C7315BF-5178-441E-B131-40E9768C1474}"/>
                </a:ext>
              </a:extLst>
            </p:cNvPr>
            <p:cNvSpPr/>
            <p:nvPr/>
          </p:nvSpPr>
          <p:spPr>
            <a:xfrm rot="8716295">
              <a:off x="237733" y="277477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7" name="Forme libre : forme 2576">
              <a:extLst>
                <a:ext uri="{FF2B5EF4-FFF2-40B4-BE49-F238E27FC236}">
                  <a16:creationId xmlns:a16="http://schemas.microsoft.com/office/drawing/2014/main" id="{349DA2D3-448B-490C-8DB7-4751B7D9038F}"/>
                </a:ext>
              </a:extLst>
            </p:cNvPr>
            <p:cNvSpPr/>
            <p:nvPr/>
          </p:nvSpPr>
          <p:spPr>
            <a:xfrm rot="7484129">
              <a:off x="584115" y="311572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8" name="Forme libre : forme 2577">
              <a:extLst>
                <a:ext uri="{FF2B5EF4-FFF2-40B4-BE49-F238E27FC236}">
                  <a16:creationId xmlns:a16="http://schemas.microsoft.com/office/drawing/2014/main" id="{9AA64EB5-5BC8-403B-AB82-04D81C133255}"/>
                </a:ext>
              </a:extLst>
            </p:cNvPr>
            <p:cNvSpPr/>
            <p:nvPr/>
          </p:nvSpPr>
          <p:spPr>
            <a:xfrm rot="13089394">
              <a:off x="688935" y="3082257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9" name="Forme libre : forme 2578">
              <a:extLst>
                <a:ext uri="{FF2B5EF4-FFF2-40B4-BE49-F238E27FC236}">
                  <a16:creationId xmlns:a16="http://schemas.microsoft.com/office/drawing/2014/main" id="{110BE40B-E2DA-4AFB-B27B-B3411BDC52CC}"/>
                </a:ext>
              </a:extLst>
            </p:cNvPr>
            <p:cNvSpPr/>
            <p:nvPr/>
          </p:nvSpPr>
          <p:spPr>
            <a:xfrm rot="8716295">
              <a:off x="874520" y="2890576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0" name="Forme libre : forme 2579">
              <a:extLst>
                <a:ext uri="{FF2B5EF4-FFF2-40B4-BE49-F238E27FC236}">
                  <a16:creationId xmlns:a16="http://schemas.microsoft.com/office/drawing/2014/main" id="{F835BCFD-B829-4BDD-8C2F-E93572759B49}"/>
                </a:ext>
              </a:extLst>
            </p:cNvPr>
            <p:cNvSpPr/>
            <p:nvPr/>
          </p:nvSpPr>
          <p:spPr>
            <a:xfrm rot="8716295">
              <a:off x="822715" y="278698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1" name="Forme libre : forme 2580">
              <a:extLst>
                <a:ext uri="{FF2B5EF4-FFF2-40B4-BE49-F238E27FC236}">
                  <a16:creationId xmlns:a16="http://schemas.microsoft.com/office/drawing/2014/main" id="{4C10496A-AC84-46A0-B11B-FC58DD24DFB9}"/>
                </a:ext>
              </a:extLst>
            </p:cNvPr>
            <p:cNvSpPr/>
            <p:nvPr/>
          </p:nvSpPr>
          <p:spPr>
            <a:xfrm rot="8716295">
              <a:off x="579469" y="28172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2" name="Forme libre : forme 2581">
              <a:extLst>
                <a:ext uri="{FF2B5EF4-FFF2-40B4-BE49-F238E27FC236}">
                  <a16:creationId xmlns:a16="http://schemas.microsoft.com/office/drawing/2014/main" id="{4AA264E2-3912-4F32-A3B9-9EF25D1D901D}"/>
                </a:ext>
              </a:extLst>
            </p:cNvPr>
            <p:cNvSpPr/>
            <p:nvPr/>
          </p:nvSpPr>
          <p:spPr>
            <a:xfrm rot="8716295">
              <a:off x="756921" y="265796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3" name="Forme libre : forme 2582">
              <a:extLst>
                <a:ext uri="{FF2B5EF4-FFF2-40B4-BE49-F238E27FC236}">
                  <a16:creationId xmlns:a16="http://schemas.microsoft.com/office/drawing/2014/main" id="{AA017B42-43C6-488B-8364-7F6BD3840C9C}"/>
                </a:ext>
              </a:extLst>
            </p:cNvPr>
            <p:cNvSpPr/>
            <p:nvPr/>
          </p:nvSpPr>
          <p:spPr>
            <a:xfrm rot="8716295">
              <a:off x="435308" y="370472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4" name="Forme libre : forme 2583">
              <a:extLst>
                <a:ext uri="{FF2B5EF4-FFF2-40B4-BE49-F238E27FC236}">
                  <a16:creationId xmlns:a16="http://schemas.microsoft.com/office/drawing/2014/main" id="{9757EFE7-39F8-43EA-9F4B-67F36396014B}"/>
                </a:ext>
              </a:extLst>
            </p:cNvPr>
            <p:cNvSpPr/>
            <p:nvPr/>
          </p:nvSpPr>
          <p:spPr>
            <a:xfrm rot="8716295">
              <a:off x="524700" y="373396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5" name="Forme libre : forme 2584">
              <a:extLst>
                <a:ext uri="{FF2B5EF4-FFF2-40B4-BE49-F238E27FC236}">
                  <a16:creationId xmlns:a16="http://schemas.microsoft.com/office/drawing/2014/main" id="{C8B0FFE9-5876-4A75-9F9D-7572BD2EA600}"/>
                </a:ext>
              </a:extLst>
            </p:cNvPr>
            <p:cNvSpPr/>
            <p:nvPr/>
          </p:nvSpPr>
          <p:spPr>
            <a:xfrm rot="8716295">
              <a:off x="479850" y="3647689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6" name="Forme libre : forme 2585">
              <a:extLst>
                <a:ext uri="{FF2B5EF4-FFF2-40B4-BE49-F238E27FC236}">
                  <a16:creationId xmlns:a16="http://schemas.microsoft.com/office/drawing/2014/main" id="{12E703CA-24C4-41EF-85F5-B38E93728456}"/>
                </a:ext>
              </a:extLst>
            </p:cNvPr>
            <p:cNvSpPr/>
            <p:nvPr/>
          </p:nvSpPr>
          <p:spPr>
            <a:xfrm rot="8716295">
              <a:off x="323074" y="379327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7" name="Forme libre : forme 2586">
              <a:extLst>
                <a:ext uri="{FF2B5EF4-FFF2-40B4-BE49-F238E27FC236}">
                  <a16:creationId xmlns:a16="http://schemas.microsoft.com/office/drawing/2014/main" id="{02E77907-D7EE-4230-A30B-47434E4968C2}"/>
                </a:ext>
              </a:extLst>
            </p:cNvPr>
            <p:cNvSpPr/>
            <p:nvPr/>
          </p:nvSpPr>
          <p:spPr>
            <a:xfrm rot="8716295">
              <a:off x="198171" y="358459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8" name="Forme libre : forme 2587">
              <a:extLst>
                <a:ext uri="{FF2B5EF4-FFF2-40B4-BE49-F238E27FC236}">
                  <a16:creationId xmlns:a16="http://schemas.microsoft.com/office/drawing/2014/main" id="{AB97544A-09D9-4A69-BC58-374B026F7202}"/>
                </a:ext>
              </a:extLst>
            </p:cNvPr>
            <p:cNvSpPr/>
            <p:nvPr/>
          </p:nvSpPr>
          <p:spPr>
            <a:xfrm rot="8716295">
              <a:off x="186119" y="344581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9" name="Forme libre : forme 2588">
              <a:extLst>
                <a:ext uri="{FF2B5EF4-FFF2-40B4-BE49-F238E27FC236}">
                  <a16:creationId xmlns:a16="http://schemas.microsoft.com/office/drawing/2014/main" id="{34C5510E-41C9-47D0-BA02-373BE24443F0}"/>
                </a:ext>
              </a:extLst>
            </p:cNvPr>
            <p:cNvSpPr/>
            <p:nvPr/>
          </p:nvSpPr>
          <p:spPr>
            <a:xfrm rot="8716295">
              <a:off x="413252" y="3834223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0" name="Forme libre : forme 2589">
              <a:extLst>
                <a:ext uri="{FF2B5EF4-FFF2-40B4-BE49-F238E27FC236}">
                  <a16:creationId xmlns:a16="http://schemas.microsoft.com/office/drawing/2014/main" id="{DC985ECF-E700-420E-BE15-8A41B5493ADF}"/>
                </a:ext>
              </a:extLst>
            </p:cNvPr>
            <p:cNvSpPr/>
            <p:nvPr/>
          </p:nvSpPr>
          <p:spPr>
            <a:xfrm rot="8716295">
              <a:off x="724407" y="345457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1" name="Forme libre : forme 2590">
              <a:extLst>
                <a:ext uri="{FF2B5EF4-FFF2-40B4-BE49-F238E27FC236}">
                  <a16:creationId xmlns:a16="http://schemas.microsoft.com/office/drawing/2014/main" id="{1E0CC155-5EA9-483B-9C01-9A8547393CE9}"/>
                </a:ext>
              </a:extLst>
            </p:cNvPr>
            <p:cNvSpPr/>
            <p:nvPr/>
          </p:nvSpPr>
          <p:spPr>
            <a:xfrm rot="8716295">
              <a:off x="813799" y="348381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2" name="Forme libre : forme 2591">
              <a:extLst>
                <a:ext uri="{FF2B5EF4-FFF2-40B4-BE49-F238E27FC236}">
                  <a16:creationId xmlns:a16="http://schemas.microsoft.com/office/drawing/2014/main" id="{C928522C-0918-4B4D-98AC-FEB2728E3112}"/>
                </a:ext>
              </a:extLst>
            </p:cNvPr>
            <p:cNvSpPr/>
            <p:nvPr/>
          </p:nvSpPr>
          <p:spPr>
            <a:xfrm rot="8716295">
              <a:off x="612173" y="354311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3" name="Forme libre : forme 2592">
              <a:extLst>
                <a:ext uri="{FF2B5EF4-FFF2-40B4-BE49-F238E27FC236}">
                  <a16:creationId xmlns:a16="http://schemas.microsoft.com/office/drawing/2014/main" id="{DC803AC2-4D03-45B3-B9A0-52BF6118175A}"/>
                </a:ext>
              </a:extLst>
            </p:cNvPr>
            <p:cNvSpPr/>
            <p:nvPr/>
          </p:nvSpPr>
          <p:spPr>
            <a:xfrm rot="8716295">
              <a:off x="487271" y="333444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4" name="Forme libre : forme 2593">
              <a:extLst>
                <a:ext uri="{FF2B5EF4-FFF2-40B4-BE49-F238E27FC236}">
                  <a16:creationId xmlns:a16="http://schemas.microsoft.com/office/drawing/2014/main" id="{A6BB2734-0B6A-4FD6-B566-A73E3DB68FC9}"/>
                </a:ext>
              </a:extLst>
            </p:cNvPr>
            <p:cNvSpPr/>
            <p:nvPr/>
          </p:nvSpPr>
          <p:spPr>
            <a:xfrm rot="8716295">
              <a:off x="702351" y="3584071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5" name="Forme libre : forme 2594">
              <a:extLst>
                <a:ext uri="{FF2B5EF4-FFF2-40B4-BE49-F238E27FC236}">
                  <a16:creationId xmlns:a16="http://schemas.microsoft.com/office/drawing/2014/main" id="{D74825A4-174B-4E11-B9F6-139E451B842F}"/>
                </a:ext>
              </a:extLst>
            </p:cNvPr>
            <p:cNvSpPr/>
            <p:nvPr/>
          </p:nvSpPr>
          <p:spPr>
            <a:xfrm rot="8716295">
              <a:off x="460900" y="343447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6" name="Forme libre : forme 2595">
              <a:extLst>
                <a:ext uri="{FF2B5EF4-FFF2-40B4-BE49-F238E27FC236}">
                  <a16:creationId xmlns:a16="http://schemas.microsoft.com/office/drawing/2014/main" id="{B39A9789-18FB-4A83-8AB0-8EE94A39D245}"/>
                </a:ext>
              </a:extLst>
            </p:cNvPr>
            <p:cNvSpPr/>
            <p:nvPr/>
          </p:nvSpPr>
          <p:spPr>
            <a:xfrm rot="7484129">
              <a:off x="807282" y="377542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7" name="Forme libre : forme 2596">
              <a:extLst>
                <a:ext uri="{FF2B5EF4-FFF2-40B4-BE49-F238E27FC236}">
                  <a16:creationId xmlns:a16="http://schemas.microsoft.com/office/drawing/2014/main" id="{AA0538E3-ADD4-4948-A138-F37F8A9A2A82}"/>
                </a:ext>
              </a:extLst>
            </p:cNvPr>
            <p:cNvSpPr/>
            <p:nvPr/>
          </p:nvSpPr>
          <p:spPr>
            <a:xfrm rot="13089394">
              <a:off x="912102" y="374195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8" name="Forme libre : forme 2597">
              <a:extLst>
                <a:ext uri="{FF2B5EF4-FFF2-40B4-BE49-F238E27FC236}">
                  <a16:creationId xmlns:a16="http://schemas.microsoft.com/office/drawing/2014/main" id="{CF8DE766-ABD4-4BFE-A9EE-39A1E5F1ADDE}"/>
                </a:ext>
              </a:extLst>
            </p:cNvPr>
            <p:cNvSpPr/>
            <p:nvPr/>
          </p:nvSpPr>
          <p:spPr>
            <a:xfrm rot="8716295">
              <a:off x="1097687" y="355027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9" name="Forme libre : forme 2598">
              <a:extLst>
                <a:ext uri="{FF2B5EF4-FFF2-40B4-BE49-F238E27FC236}">
                  <a16:creationId xmlns:a16="http://schemas.microsoft.com/office/drawing/2014/main" id="{BB03C112-DBC5-4C26-B8A2-9B16ED5B8438}"/>
                </a:ext>
              </a:extLst>
            </p:cNvPr>
            <p:cNvSpPr/>
            <p:nvPr/>
          </p:nvSpPr>
          <p:spPr>
            <a:xfrm rot="8716295">
              <a:off x="1045882" y="344668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0" name="Forme libre : forme 2599">
              <a:extLst>
                <a:ext uri="{FF2B5EF4-FFF2-40B4-BE49-F238E27FC236}">
                  <a16:creationId xmlns:a16="http://schemas.microsoft.com/office/drawing/2014/main" id="{8A6E9B1C-F5E3-4869-9D37-53881A1E0D30}"/>
                </a:ext>
              </a:extLst>
            </p:cNvPr>
            <p:cNvSpPr/>
            <p:nvPr/>
          </p:nvSpPr>
          <p:spPr>
            <a:xfrm rot="8716295">
              <a:off x="802636" y="347690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1" name="Forme libre : forme 2600">
              <a:extLst>
                <a:ext uri="{FF2B5EF4-FFF2-40B4-BE49-F238E27FC236}">
                  <a16:creationId xmlns:a16="http://schemas.microsoft.com/office/drawing/2014/main" id="{9334980A-BAFA-4A40-881F-47BA45E71C45}"/>
                </a:ext>
              </a:extLst>
            </p:cNvPr>
            <p:cNvSpPr/>
            <p:nvPr/>
          </p:nvSpPr>
          <p:spPr>
            <a:xfrm rot="8716295">
              <a:off x="980088" y="331766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2" name="Forme libre : forme 2601">
              <a:extLst>
                <a:ext uri="{FF2B5EF4-FFF2-40B4-BE49-F238E27FC236}">
                  <a16:creationId xmlns:a16="http://schemas.microsoft.com/office/drawing/2014/main" id="{CB8DEDF2-3B2E-45C9-B615-DEF954E19F5C}"/>
                </a:ext>
              </a:extLst>
            </p:cNvPr>
            <p:cNvSpPr/>
            <p:nvPr/>
          </p:nvSpPr>
          <p:spPr>
            <a:xfrm rot="8716295">
              <a:off x="653978" y="436312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3" name="Forme libre : forme 2602">
              <a:extLst>
                <a:ext uri="{FF2B5EF4-FFF2-40B4-BE49-F238E27FC236}">
                  <a16:creationId xmlns:a16="http://schemas.microsoft.com/office/drawing/2014/main" id="{A0F4E462-72BE-4E95-8052-DC09F97FD920}"/>
                </a:ext>
              </a:extLst>
            </p:cNvPr>
            <p:cNvSpPr/>
            <p:nvPr/>
          </p:nvSpPr>
          <p:spPr>
            <a:xfrm rot="8716295">
              <a:off x="743370" y="439236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4" name="Forme libre : forme 2603">
              <a:extLst>
                <a:ext uri="{FF2B5EF4-FFF2-40B4-BE49-F238E27FC236}">
                  <a16:creationId xmlns:a16="http://schemas.microsoft.com/office/drawing/2014/main" id="{B5E4A9EC-F9DB-4374-B71B-DBB47B736D39}"/>
                </a:ext>
              </a:extLst>
            </p:cNvPr>
            <p:cNvSpPr/>
            <p:nvPr/>
          </p:nvSpPr>
          <p:spPr>
            <a:xfrm rot="8716295">
              <a:off x="698520" y="430608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5" name="Forme libre : forme 2604">
              <a:extLst>
                <a:ext uri="{FF2B5EF4-FFF2-40B4-BE49-F238E27FC236}">
                  <a16:creationId xmlns:a16="http://schemas.microsoft.com/office/drawing/2014/main" id="{9327144A-57D0-46D2-94EE-E0EDBB5CBE6B}"/>
                </a:ext>
              </a:extLst>
            </p:cNvPr>
            <p:cNvSpPr/>
            <p:nvPr/>
          </p:nvSpPr>
          <p:spPr>
            <a:xfrm rot="8716295">
              <a:off x="541744" y="445166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6" name="Forme libre : forme 2605">
              <a:extLst>
                <a:ext uri="{FF2B5EF4-FFF2-40B4-BE49-F238E27FC236}">
                  <a16:creationId xmlns:a16="http://schemas.microsoft.com/office/drawing/2014/main" id="{CF6C36D8-54CF-4C2D-805A-C0939EA3F7FF}"/>
                </a:ext>
              </a:extLst>
            </p:cNvPr>
            <p:cNvSpPr/>
            <p:nvPr/>
          </p:nvSpPr>
          <p:spPr>
            <a:xfrm rot="8716295">
              <a:off x="416841" y="424299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7" name="Forme libre : forme 2606">
              <a:extLst>
                <a:ext uri="{FF2B5EF4-FFF2-40B4-BE49-F238E27FC236}">
                  <a16:creationId xmlns:a16="http://schemas.microsoft.com/office/drawing/2014/main" id="{C0525EEA-9ECF-45A3-94B2-985EBCFF2BE0}"/>
                </a:ext>
              </a:extLst>
            </p:cNvPr>
            <p:cNvSpPr/>
            <p:nvPr/>
          </p:nvSpPr>
          <p:spPr>
            <a:xfrm rot="8716295">
              <a:off x="404789" y="410421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8" name="Forme libre : forme 2607">
              <a:extLst>
                <a:ext uri="{FF2B5EF4-FFF2-40B4-BE49-F238E27FC236}">
                  <a16:creationId xmlns:a16="http://schemas.microsoft.com/office/drawing/2014/main" id="{A3C12029-0ED3-40B9-BF57-1173D18F4F7E}"/>
                </a:ext>
              </a:extLst>
            </p:cNvPr>
            <p:cNvSpPr/>
            <p:nvPr/>
          </p:nvSpPr>
          <p:spPr>
            <a:xfrm rot="8716295">
              <a:off x="631922" y="449261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9" name="Forme libre : forme 2608">
              <a:extLst>
                <a:ext uri="{FF2B5EF4-FFF2-40B4-BE49-F238E27FC236}">
                  <a16:creationId xmlns:a16="http://schemas.microsoft.com/office/drawing/2014/main" id="{C60E6EB0-4431-4352-A520-775C9B1D20EB}"/>
                </a:ext>
              </a:extLst>
            </p:cNvPr>
            <p:cNvSpPr/>
            <p:nvPr/>
          </p:nvSpPr>
          <p:spPr>
            <a:xfrm rot="8716295">
              <a:off x="943077" y="411297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0" name="Forme libre : forme 2609">
              <a:extLst>
                <a:ext uri="{FF2B5EF4-FFF2-40B4-BE49-F238E27FC236}">
                  <a16:creationId xmlns:a16="http://schemas.microsoft.com/office/drawing/2014/main" id="{B066E095-E974-4F34-ACE3-A24B4391CB1F}"/>
                </a:ext>
              </a:extLst>
            </p:cNvPr>
            <p:cNvSpPr/>
            <p:nvPr/>
          </p:nvSpPr>
          <p:spPr>
            <a:xfrm rot="8716295">
              <a:off x="1032469" y="414221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1" name="Forme libre : forme 2610">
              <a:extLst>
                <a:ext uri="{FF2B5EF4-FFF2-40B4-BE49-F238E27FC236}">
                  <a16:creationId xmlns:a16="http://schemas.microsoft.com/office/drawing/2014/main" id="{CBDAA4A6-CE8D-49EC-958E-CCED7DECB58D}"/>
                </a:ext>
              </a:extLst>
            </p:cNvPr>
            <p:cNvSpPr/>
            <p:nvPr/>
          </p:nvSpPr>
          <p:spPr>
            <a:xfrm rot="8716295">
              <a:off x="830843" y="420151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2" name="Forme libre : forme 2611">
              <a:extLst>
                <a:ext uri="{FF2B5EF4-FFF2-40B4-BE49-F238E27FC236}">
                  <a16:creationId xmlns:a16="http://schemas.microsoft.com/office/drawing/2014/main" id="{288DAD6F-B380-40EA-8AAF-2306A1EC474F}"/>
                </a:ext>
              </a:extLst>
            </p:cNvPr>
            <p:cNvSpPr/>
            <p:nvPr/>
          </p:nvSpPr>
          <p:spPr>
            <a:xfrm rot="8716295">
              <a:off x="705941" y="399284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3" name="Forme libre : forme 2612">
              <a:extLst>
                <a:ext uri="{FF2B5EF4-FFF2-40B4-BE49-F238E27FC236}">
                  <a16:creationId xmlns:a16="http://schemas.microsoft.com/office/drawing/2014/main" id="{4A24F38C-B025-479B-BFB4-01CC9653C749}"/>
                </a:ext>
              </a:extLst>
            </p:cNvPr>
            <p:cNvSpPr/>
            <p:nvPr/>
          </p:nvSpPr>
          <p:spPr>
            <a:xfrm rot="8716295">
              <a:off x="921021" y="424246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4" name="Forme libre : forme 2613">
              <a:extLst>
                <a:ext uri="{FF2B5EF4-FFF2-40B4-BE49-F238E27FC236}">
                  <a16:creationId xmlns:a16="http://schemas.microsoft.com/office/drawing/2014/main" id="{1223FB49-E601-4769-85A8-CFA4FAB7D70B}"/>
                </a:ext>
              </a:extLst>
            </p:cNvPr>
            <p:cNvSpPr/>
            <p:nvPr/>
          </p:nvSpPr>
          <p:spPr>
            <a:xfrm rot="8716295">
              <a:off x="679570" y="409286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5" name="Forme libre : forme 2614">
              <a:extLst>
                <a:ext uri="{FF2B5EF4-FFF2-40B4-BE49-F238E27FC236}">
                  <a16:creationId xmlns:a16="http://schemas.microsoft.com/office/drawing/2014/main" id="{BA639576-6474-4C0A-8D54-5559B761F42F}"/>
                </a:ext>
              </a:extLst>
            </p:cNvPr>
            <p:cNvSpPr/>
            <p:nvPr/>
          </p:nvSpPr>
          <p:spPr>
            <a:xfrm rot="7484129">
              <a:off x="1025952" y="443381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6" name="Forme libre : forme 2615">
              <a:extLst>
                <a:ext uri="{FF2B5EF4-FFF2-40B4-BE49-F238E27FC236}">
                  <a16:creationId xmlns:a16="http://schemas.microsoft.com/office/drawing/2014/main" id="{D1BF3875-F476-48EB-80B5-AB6552F18672}"/>
                </a:ext>
              </a:extLst>
            </p:cNvPr>
            <p:cNvSpPr/>
            <p:nvPr/>
          </p:nvSpPr>
          <p:spPr>
            <a:xfrm rot="13089394">
              <a:off x="1130772" y="440035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7" name="Forme libre : forme 2616">
              <a:extLst>
                <a:ext uri="{FF2B5EF4-FFF2-40B4-BE49-F238E27FC236}">
                  <a16:creationId xmlns:a16="http://schemas.microsoft.com/office/drawing/2014/main" id="{365A6B56-59C5-4058-A50F-5C3B4137CD35}"/>
                </a:ext>
              </a:extLst>
            </p:cNvPr>
            <p:cNvSpPr/>
            <p:nvPr/>
          </p:nvSpPr>
          <p:spPr>
            <a:xfrm rot="8716295">
              <a:off x="1316357" y="420867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8" name="Forme libre : forme 2617">
              <a:extLst>
                <a:ext uri="{FF2B5EF4-FFF2-40B4-BE49-F238E27FC236}">
                  <a16:creationId xmlns:a16="http://schemas.microsoft.com/office/drawing/2014/main" id="{8C5BA123-C7D6-44D6-AA16-D21269FAA986}"/>
                </a:ext>
              </a:extLst>
            </p:cNvPr>
            <p:cNvSpPr/>
            <p:nvPr/>
          </p:nvSpPr>
          <p:spPr>
            <a:xfrm rot="8716295">
              <a:off x="1264552" y="410507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9" name="Forme libre : forme 2618">
              <a:extLst>
                <a:ext uri="{FF2B5EF4-FFF2-40B4-BE49-F238E27FC236}">
                  <a16:creationId xmlns:a16="http://schemas.microsoft.com/office/drawing/2014/main" id="{70BEA0E6-BA45-474E-9DCD-1EA76AE64104}"/>
                </a:ext>
              </a:extLst>
            </p:cNvPr>
            <p:cNvSpPr/>
            <p:nvPr/>
          </p:nvSpPr>
          <p:spPr>
            <a:xfrm rot="8716295">
              <a:off x="1021306" y="413529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0" name="Forme libre : forme 2619">
              <a:extLst>
                <a:ext uri="{FF2B5EF4-FFF2-40B4-BE49-F238E27FC236}">
                  <a16:creationId xmlns:a16="http://schemas.microsoft.com/office/drawing/2014/main" id="{C149CD7C-7D92-4AED-9D1C-37BD7242EF23}"/>
                </a:ext>
              </a:extLst>
            </p:cNvPr>
            <p:cNvSpPr/>
            <p:nvPr/>
          </p:nvSpPr>
          <p:spPr>
            <a:xfrm rot="8716295">
              <a:off x="1198758" y="397605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1" name="Forme libre : forme 2620">
              <a:extLst>
                <a:ext uri="{FF2B5EF4-FFF2-40B4-BE49-F238E27FC236}">
                  <a16:creationId xmlns:a16="http://schemas.microsoft.com/office/drawing/2014/main" id="{80F0E45F-313A-4E3C-BD45-F7FCACCBFE55}"/>
                </a:ext>
              </a:extLst>
            </p:cNvPr>
            <p:cNvSpPr/>
            <p:nvPr/>
          </p:nvSpPr>
          <p:spPr>
            <a:xfrm rot="8716295">
              <a:off x="849927" y="5056695"/>
              <a:ext cx="61059" cy="114384"/>
            </a:xfrm>
            <a:custGeom>
              <a:avLst/>
              <a:gdLst>
                <a:gd name="connsiteX0" fmla="*/ 0 w 61059"/>
                <a:gd name="connsiteY0" fmla="*/ 114384 h 114384"/>
                <a:gd name="connsiteX1" fmla="*/ 0 w 61059"/>
                <a:gd name="connsiteY1" fmla="*/ 0 h 114384"/>
                <a:gd name="connsiteX2" fmla="*/ 61059 w 61059"/>
                <a:gd name="connsiteY2" fmla="*/ 42324 h 114384"/>
                <a:gd name="connsiteX3" fmla="*/ 61059 w 61059"/>
                <a:gd name="connsiteY3" fmla="*/ 90234 h 114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059" h="114384">
                  <a:moveTo>
                    <a:pt x="0" y="114384"/>
                  </a:moveTo>
                  <a:lnTo>
                    <a:pt x="0" y="0"/>
                  </a:lnTo>
                  <a:lnTo>
                    <a:pt x="61059" y="42324"/>
                  </a:lnTo>
                  <a:lnTo>
                    <a:pt x="61059" y="902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2" name="Forme libre : forme 2621">
              <a:extLst>
                <a:ext uri="{FF2B5EF4-FFF2-40B4-BE49-F238E27FC236}">
                  <a16:creationId xmlns:a16="http://schemas.microsoft.com/office/drawing/2014/main" id="{7529EC4C-3BE3-428A-99A6-A49001A03C8A}"/>
                </a:ext>
              </a:extLst>
            </p:cNvPr>
            <p:cNvSpPr/>
            <p:nvPr/>
          </p:nvSpPr>
          <p:spPr>
            <a:xfrm rot="8716295">
              <a:off x="1072880" y="5030752"/>
              <a:ext cx="60148" cy="142578"/>
            </a:xfrm>
            <a:custGeom>
              <a:avLst/>
              <a:gdLst>
                <a:gd name="connsiteX0" fmla="*/ 0 w 60148"/>
                <a:gd name="connsiteY0" fmla="*/ 142578 h 142578"/>
                <a:gd name="connsiteX1" fmla="*/ 0 w 60148"/>
                <a:gd name="connsiteY1" fmla="*/ 0 h 142578"/>
                <a:gd name="connsiteX2" fmla="*/ 60148 w 60148"/>
                <a:gd name="connsiteY2" fmla="*/ 41693 h 142578"/>
                <a:gd name="connsiteX3" fmla="*/ 60148 w 60148"/>
                <a:gd name="connsiteY3" fmla="*/ 101569 h 142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8" h="142578">
                  <a:moveTo>
                    <a:pt x="0" y="142578"/>
                  </a:moveTo>
                  <a:lnTo>
                    <a:pt x="0" y="0"/>
                  </a:lnTo>
                  <a:lnTo>
                    <a:pt x="60148" y="41693"/>
                  </a:lnTo>
                  <a:lnTo>
                    <a:pt x="60148" y="1015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3" name="Forme libre : forme 2622">
              <a:extLst>
                <a:ext uri="{FF2B5EF4-FFF2-40B4-BE49-F238E27FC236}">
                  <a16:creationId xmlns:a16="http://schemas.microsoft.com/office/drawing/2014/main" id="{236BE908-FD47-4165-8DE7-ECD8DAF2AAAA}"/>
                </a:ext>
              </a:extLst>
            </p:cNvPr>
            <p:cNvSpPr/>
            <p:nvPr/>
          </p:nvSpPr>
          <p:spPr>
            <a:xfrm rot="8716295">
              <a:off x="921687" y="496578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4" name="Forme libre : forme 2623">
              <a:extLst>
                <a:ext uri="{FF2B5EF4-FFF2-40B4-BE49-F238E27FC236}">
                  <a16:creationId xmlns:a16="http://schemas.microsoft.com/office/drawing/2014/main" id="{9D0A88D9-251D-4CDC-8AD5-7088F4C7446F}"/>
                </a:ext>
              </a:extLst>
            </p:cNvPr>
            <p:cNvSpPr/>
            <p:nvPr/>
          </p:nvSpPr>
          <p:spPr>
            <a:xfrm rot="8716295">
              <a:off x="762271" y="5108547"/>
              <a:ext cx="53742" cy="49705"/>
            </a:xfrm>
            <a:custGeom>
              <a:avLst/>
              <a:gdLst>
                <a:gd name="connsiteX0" fmla="*/ 8658 w 53742"/>
                <a:gd name="connsiteY0" fmla="*/ 41503 h 49705"/>
                <a:gd name="connsiteX1" fmla="*/ 0 w 53742"/>
                <a:gd name="connsiteY1" fmla="*/ 20999 h 49705"/>
                <a:gd name="connsiteX2" fmla="*/ 0 w 53742"/>
                <a:gd name="connsiteY2" fmla="*/ 20542 h 49705"/>
                <a:gd name="connsiteX3" fmla="*/ 8658 w 53742"/>
                <a:gd name="connsiteY3" fmla="*/ 38 h 49705"/>
                <a:gd name="connsiteX4" fmla="*/ 8747 w 53742"/>
                <a:gd name="connsiteY4" fmla="*/ 0 h 49705"/>
                <a:gd name="connsiteX5" fmla="*/ 53742 w 53742"/>
                <a:gd name="connsiteY5" fmla="*/ 31189 h 49705"/>
                <a:gd name="connsiteX6" fmla="*/ 49668 w 53742"/>
                <a:gd name="connsiteY6" fmla="*/ 41048 h 49705"/>
                <a:gd name="connsiteX7" fmla="*/ 29162 w 53742"/>
                <a:gd name="connsiteY7" fmla="*/ 49705 h 49705"/>
                <a:gd name="connsiteX8" fmla="*/ 8658 w 53742"/>
                <a:gd name="connsiteY8" fmla="*/ 41503 h 49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2" h="49705">
                  <a:moveTo>
                    <a:pt x="8658" y="41503"/>
                  </a:moveTo>
                  <a:cubicBezTo>
                    <a:pt x="3190" y="36035"/>
                    <a:pt x="0" y="28744"/>
                    <a:pt x="0" y="20999"/>
                  </a:cubicBezTo>
                  <a:lnTo>
                    <a:pt x="0" y="20542"/>
                  </a:lnTo>
                  <a:cubicBezTo>
                    <a:pt x="0" y="12796"/>
                    <a:pt x="3190" y="5506"/>
                    <a:pt x="8658" y="38"/>
                  </a:cubicBezTo>
                  <a:lnTo>
                    <a:pt x="8747" y="0"/>
                  </a:lnTo>
                  <a:lnTo>
                    <a:pt x="53742" y="31189"/>
                  </a:lnTo>
                  <a:lnTo>
                    <a:pt x="49668" y="41048"/>
                  </a:lnTo>
                  <a:cubicBezTo>
                    <a:pt x="44200" y="46516"/>
                    <a:pt x="36909" y="49705"/>
                    <a:pt x="29162" y="49705"/>
                  </a:cubicBezTo>
                  <a:cubicBezTo>
                    <a:pt x="21416" y="49705"/>
                    <a:pt x="14126" y="46971"/>
                    <a:pt x="8658" y="415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5" name="Forme libre : forme 2624">
              <a:extLst>
                <a:ext uri="{FF2B5EF4-FFF2-40B4-BE49-F238E27FC236}">
                  <a16:creationId xmlns:a16="http://schemas.microsoft.com/office/drawing/2014/main" id="{24CE2296-47DA-4E73-B690-5BD981A20099}"/>
                </a:ext>
              </a:extLst>
            </p:cNvPr>
            <p:cNvSpPr/>
            <p:nvPr/>
          </p:nvSpPr>
          <p:spPr>
            <a:xfrm rot="8716295">
              <a:off x="635497" y="4902607"/>
              <a:ext cx="203847" cy="195874"/>
            </a:xfrm>
            <a:custGeom>
              <a:avLst/>
              <a:gdLst>
                <a:gd name="connsiteX0" fmla="*/ 90709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203847 w 203847"/>
                <a:gd name="connsiteY5" fmla="*/ 0 h 195874"/>
                <a:gd name="connsiteX6" fmla="*/ 203847 w 203847"/>
                <a:gd name="connsiteY6" fmla="*/ 55323 h 195874"/>
                <a:gd name="connsiteX7" fmla="*/ 139055 w 203847"/>
                <a:gd name="connsiteY7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95874">
                  <a:moveTo>
                    <a:pt x="90709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6" name="Forme libre : forme 2625">
              <a:extLst>
                <a:ext uri="{FF2B5EF4-FFF2-40B4-BE49-F238E27FC236}">
                  <a16:creationId xmlns:a16="http://schemas.microsoft.com/office/drawing/2014/main" id="{69ED9B1C-460E-49D7-9814-5E873DD38909}"/>
                </a:ext>
              </a:extLst>
            </p:cNvPr>
            <p:cNvSpPr/>
            <p:nvPr/>
          </p:nvSpPr>
          <p:spPr>
            <a:xfrm rot="8716295">
              <a:off x="627956" y="476391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7" name="Forme libre : forme 2626">
              <a:extLst>
                <a:ext uri="{FF2B5EF4-FFF2-40B4-BE49-F238E27FC236}">
                  <a16:creationId xmlns:a16="http://schemas.microsoft.com/office/drawing/2014/main" id="{79D260F9-94B8-41AD-A161-808B1C0A7D15}"/>
                </a:ext>
              </a:extLst>
            </p:cNvPr>
            <p:cNvSpPr/>
            <p:nvPr/>
          </p:nvSpPr>
          <p:spPr>
            <a:xfrm rot="8716295">
              <a:off x="1166244" y="477267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8" name="Forme libre : forme 2627">
              <a:extLst>
                <a:ext uri="{FF2B5EF4-FFF2-40B4-BE49-F238E27FC236}">
                  <a16:creationId xmlns:a16="http://schemas.microsoft.com/office/drawing/2014/main" id="{F05AB143-FB53-4FDC-BA57-6D2DC99C98E2}"/>
                </a:ext>
              </a:extLst>
            </p:cNvPr>
            <p:cNvSpPr/>
            <p:nvPr/>
          </p:nvSpPr>
          <p:spPr>
            <a:xfrm rot="8716295">
              <a:off x="1255636" y="480191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9" name="Forme libre : forme 2628">
              <a:extLst>
                <a:ext uri="{FF2B5EF4-FFF2-40B4-BE49-F238E27FC236}">
                  <a16:creationId xmlns:a16="http://schemas.microsoft.com/office/drawing/2014/main" id="{7DCFE830-90FF-4B60-9B6B-E08B672D854F}"/>
                </a:ext>
              </a:extLst>
            </p:cNvPr>
            <p:cNvSpPr/>
            <p:nvPr/>
          </p:nvSpPr>
          <p:spPr>
            <a:xfrm rot="8716295">
              <a:off x="1054010" y="486121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0" name="Forme libre : forme 2629">
              <a:extLst>
                <a:ext uri="{FF2B5EF4-FFF2-40B4-BE49-F238E27FC236}">
                  <a16:creationId xmlns:a16="http://schemas.microsoft.com/office/drawing/2014/main" id="{B4B54539-14CC-41BD-B75A-325D1E42B0DE}"/>
                </a:ext>
              </a:extLst>
            </p:cNvPr>
            <p:cNvSpPr/>
            <p:nvPr/>
          </p:nvSpPr>
          <p:spPr>
            <a:xfrm rot="8716295">
              <a:off x="929108" y="465254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1" name="Forme libre : forme 2630">
              <a:extLst>
                <a:ext uri="{FF2B5EF4-FFF2-40B4-BE49-F238E27FC236}">
                  <a16:creationId xmlns:a16="http://schemas.microsoft.com/office/drawing/2014/main" id="{DEBFD6B9-903B-4010-BD7C-FE85EFE6B331}"/>
                </a:ext>
              </a:extLst>
            </p:cNvPr>
            <p:cNvSpPr/>
            <p:nvPr/>
          </p:nvSpPr>
          <p:spPr>
            <a:xfrm rot="8716295">
              <a:off x="1144188" y="490216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2" name="Forme libre : forme 2631">
              <a:extLst>
                <a:ext uri="{FF2B5EF4-FFF2-40B4-BE49-F238E27FC236}">
                  <a16:creationId xmlns:a16="http://schemas.microsoft.com/office/drawing/2014/main" id="{A82EDDD3-D641-4773-AD0E-A0BEBC26D35C}"/>
                </a:ext>
              </a:extLst>
            </p:cNvPr>
            <p:cNvSpPr/>
            <p:nvPr/>
          </p:nvSpPr>
          <p:spPr>
            <a:xfrm rot="8716295">
              <a:off x="902737" y="475256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3" name="Forme libre : forme 2632">
              <a:extLst>
                <a:ext uri="{FF2B5EF4-FFF2-40B4-BE49-F238E27FC236}">
                  <a16:creationId xmlns:a16="http://schemas.microsoft.com/office/drawing/2014/main" id="{47B99FED-FE43-4D3F-823F-416C658CC0FD}"/>
                </a:ext>
              </a:extLst>
            </p:cNvPr>
            <p:cNvSpPr/>
            <p:nvPr/>
          </p:nvSpPr>
          <p:spPr>
            <a:xfrm rot="7484129">
              <a:off x="1313689" y="5058219"/>
              <a:ext cx="97325" cy="159603"/>
            </a:xfrm>
            <a:custGeom>
              <a:avLst/>
              <a:gdLst>
                <a:gd name="connsiteX0" fmla="*/ 0 w 97325"/>
                <a:gd name="connsiteY0" fmla="*/ 19052 h 159603"/>
                <a:gd name="connsiteX1" fmla="*/ 0 w 97325"/>
                <a:gd name="connsiteY1" fmla="*/ 0 h 159603"/>
                <a:gd name="connsiteX2" fmla="*/ 13209 w 97325"/>
                <a:gd name="connsiteY2" fmla="*/ 19052 h 159603"/>
                <a:gd name="connsiteX3" fmla="*/ 90710 w 97325"/>
                <a:gd name="connsiteY3" fmla="*/ 159603 h 159603"/>
                <a:gd name="connsiteX4" fmla="*/ 47847 w 97325"/>
                <a:gd name="connsiteY4" fmla="*/ 79858 h 159603"/>
                <a:gd name="connsiteX5" fmla="*/ 50421 w 97325"/>
                <a:gd name="connsiteY5" fmla="*/ 72721 h 159603"/>
                <a:gd name="connsiteX6" fmla="*/ 97325 w 97325"/>
                <a:gd name="connsiteY6" fmla="*/ 140370 h 159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7325" h="159603">
                  <a:moveTo>
                    <a:pt x="0" y="19052"/>
                  </a:moveTo>
                  <a:lnTo>
                    <a:pt x="0" y="0"/>
                  </a:lnTo>
                  <a:lnTo>
                    <a:pt x="13209" y="19052"/>
                  </a:lnTo>
                  <a:close/>
                  <a:moveTo>
                    <a:pt x="90710" y="159603"/>
                  </a:moveTo>
                  <a:lnTo>
                    <a:pt x="47847" y="79858"/>
                  </a:lnTo>
                  <a:lnTo>
                    <a:pt x="50421" y="72721"/>
                  </a:lnTo>
                  <a:lnTo>
                    <a:pt x="97325" y="14037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4" name="Forme libre : forme 2633">
              <a:extLst>
                <a:ext uri="{FF2B5EF4-FFF2-40B4-BE49-F238E27FC236}">
                  <a16:creationId xmlns:a16="http://schemas.microsoft.com/office/drawing/2014/main" id="{CD995AAD-128C-467F-9BB7-36623FE9AF9C}"/>
                </a:ext>
              </a:extLst>
            </p:cNvPr>
            <p:cNvSpPr/>
            <p:nvPr/>
          </p:nvSpPr>
          <p:spPr>
            <a:xfrm rot="13089394">
              <a:off x="1435176" y="5064332"/>
              <a:ext cx="213297" cy="83320"/>
            </a:xfrm>
            <a:custGeom>
              <a:avLst/>
              <a:gdLst>
                <a:gd name="connsiteX0" fmla="*/ 213297 w 213297"/>
                <a:gd name="connsiteY0" fmla="*/ 12691 h 83320"/>
                <a:gd name="connsiteX1" fmla="*/ 32310 w 213297"/>
                <a:gd name="connsiteY1" fmla="*/ 83320 h 83320"/>
                <a:gd name="connsiteX2" fmla="*/ 0 w 213297"/>
                <a:gd name="connsiteY2" fmla="*/ 77753 h 83320"/>
                <a:gd name="connsiteX3" fmla="*/ 69926 w 213297"/>
                <a:gd name="connsiteY3" fmla="*/ 22813 h 83320"/>
                <a:gd name="connsiteX4" fmla="*/ 94662 w 213297"/>
                <a:gd name="connsiteY4" fmla="*/ 36418 h 83320"/>
                <a:gd name="connsiteX5" fmla="*/ 144323 w 213297"/>
                <a:gd name="connsiteY5" fmla="*/ 27589 h 83320"/>
                <a:gd name="connsiteX6" fmla="*/ 212193 w 213297"/>
                <a:gd name="connsiteY6" fmla="*/ 0 h 83320"/>
                <a:gd name="connsiteX7" fmla="*/ 213297 w 213297"/>
                <a:gd name="connsiteY7" fmla="*/ 7173 h 83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3297" h="83320">
                  <a:moveTo>
                    <a:pt x="213297" y="12691"/>
                  </a:moveTo>
                  <a:cubicBezTo>
                    <a:pt x="154807" y="62904"/>
                    <a:pt x="78108" y="80561"/>
                    <a:pt x="32310" y="83320"/>
                  </a:cubicBezTo>
                  <a:lnTo>
                    <a:pt x="0" y="77753"/>
                  </a:lnTo>
                  <a:lnTo>
                    <a:pt x="69926" y="22813"/>
                  </a:lnTo>
                  <a:lnTo>
                    <a:pt x="94662" y="36418"/>
                  </a:lnTo>
                  <a:cubicBezTo>
                    <a:pt x="111768" y="35866"/>
                    <a:pt x="128321" y="32555"/>
                    <a:pt x="144323" y="27589"/>
                  </a:cubicBezTo>
                  <a:cubicBezTo>
                    <a:pt x="167498" y="20416"/>
                    <a:pt x="190122" y="11036"/>
                    <a:pt x="212193" y="0"/>
                  </a:cubicBezTo>
                  <a:cubicBezTo>
                    <a:pt x="212745" y="2207"/>
                    <a:pt x="213297" y="4966"/>
                    <a:pt x="213297" y="71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5" name="Forme libre : forme 2634">
              <a:extLst>
                <a:ext uri="{FF2B5EF4-FFF2-40B4-BE49-F238E27FC236}">
                  <a16:creationId xmlns:a16="http://schemas.microsoft.com/office/drawing/2014/main" id="{49D90B24-A800-4AB4-8BC6-20F8B1C7CC95}"/>
                </a:ext>
              </a:extLst>
            </p:cNvPr>
            <p:cNvSpPr/>
            <p:nvPr/>
          </p:nvSpPr>
          <p:spPr>
            <a:xfrm rot="8716295">
              <a:off x="1539524" y="486837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6" name="Forme libre : forme 2635">
              <a:extLst>
                <a:ext uri="{FF2B5EF4-FFF2-40B4-BE49-F238E27FC236}">
                  <a16:creationId xmlns:a16="http://schemas.microsoft.com/office/drawing/2014/main" id="{E7BFA9FF-1546-4389-8A4F-CB28F2368F69}"/>
                </a:ext>
              </a:extLst>
            </p:cNvPr>
            <p:cNvSpPr/>
            <p:nvPr/>
          </p:nvSpPr>
          <p:spPr>
            <a:xfrm rot="8716295">
              <a:off x="1487719" y="476477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7" name="Forme libre : forme 2636">
              <a:extLst>
                <a:ext uri="{FF2B5EF4-FFF2-40B4-BE49-F238E27FC236}">
                  <a16:creationId xmlns:a16="http://schemas.microsoft.com/office/drawing/2014/main" id="{FCAD725F-8F6F-478A-87B0-EEC32F9F919D}"/>
                </a:ext>
              </a:extLst>
            </p:cNvPr>
            <p:cNvSpPr/>
            <p:nvPr/>
          </p:nvSpPr>
          <p:spPr>
            <a:xfrm rot="8716295">
              <a:off x="1244473" y="479499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8" name="Forme libre : forme 2637">
              <a:extLst>
                <a:ext uri="{FF2B5EF4-FFF2-40B4-BE49-F238E27FC236}">
                  <a16:creationId xmlns:a16="http://schemas.microsoft.com/office/drawing/2014/main" id="{8D93731B-9FC7-4DB3-B5BD-48812BA1AC03}"/>
                </a:ext>
              </a:extLst>
            </p:cNvPr>
            <p:cNvSpPr/>
            <p:nvPr/>
          </p:nvSpPr>
          <p:spPr>
            <a:xfrm rot="8716295">
              <a:off x="1421925" y="463575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9" name="Forme libre : forme 2638">
              <a:extLst>
                <a:ext uri="{FF2B5EF4-FFF2-40B4-BE49-F238E27FC236}">
                  <a16:creationId xmlns:a16="http://schemas.microsoft.com/office/drawing/2014/main" id="{FBF4D361-9AA8-4A88-8218-D320BCC61A2A}"/>
                </a:ext>
              </a:extLst>
            </p:cNvPr>
            <p:cNvSpPr/>
            <p:nvPr/>
          </p:nvSpPr>
          <p:spPr>
            <a:xfrm rot="8716295">
              <a:off x="-3428" y="2405990"/>
              <a:ext cx="142167" cy="208592"/>
            </a:xfrm>
            <a:custGeom>
              <a:avLst/>
              <a:gdLst>
                <a:gd name="connsiteX0" fmla="*/ 81108 w 142167"/>
                <a:gd name="connsiteY0" fmla="*/ 208592 h 208592"/>
                <a:gd name="connsiteX1" fmla="*/ 81108 w 142167"/>
                <a:gd name="connsiteY1" fmla="*/ 69717 h 208592"/>
                <a:gd name="connsiteX2" fmla="*/ 81108 w 142167"/>
                <a:gd name="connsiteY2" fmla="*/ 65615 h 208592"/>
                <a:gd name="connsiteX3" fmla="*/ 60604 w 142167"/>
                <a:gd name="connsiteY3" fmla="*/ 50123 h 208592"/>
                <a:gd name="connsiteX4" fmla="*/ 0 w 142167"/>
                <a:gd name="connsiteY4" fmla="*/ 50123 h 208592"/>
                <a:gd name="connsiteX5" fmla="*/ 0 w 142167"/>
                <a:gd name="connsiteY5" fmla="*/ 0 h 208592"/>
                <a:gd name="connsiteX6" fmla="*/ 85210 w 142167"/>
                <a:gd name="connsiteY6" fmla="*/ 0 h 208592"/>
                <a:gd name="connsiteX7" fmla="*/ 142167 w 142167"/>
                <a:gd name="connsiteY7" fmla="*/ 50123 h 208592"/>
                <a:gd name="connsiteX8" fmla="*/ 142167 w 142167"/>
                <a:gd name="connsiteY8" fmla="*/ 120504 h 20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08592">
                  <a:moveTo>
                    <a:pt x="81108" y="208592"/>
                  </a:moveTo>
                  <a:lnTo>
                    <a:pt x="81108" y="69717"/>
                  </a:lnTo>
                  <a:cubicBezTo>
                    <a:pt x="81108" y="68350"/>
                    <a:pt x="81108" y="66983"/>
                    <a:pt x="81108" y="65615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10" y="0"/>
                  </a:lnTo>
                  <a:cubicBezTo>
                    <a:pt x="122118" y="0"/>
                    <a:pt x="142167" y="15948"/>
                    <a:pt x="142167" y="50123"/>
                  </a:cubicBezTo>
                  <a:lnTo>
                    <a:pt x="142167" y="1205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0" name="Forme libre : forme 2639">
              <a:extLst>
                <a:ext uri="{FF2B5EF4-FFF2-40B4-BE49-F238E27FC236}">
                  <a16:creationId xmlns:a16="http://schemas.microsoft.com/office/drawing/2014/main" id="{F59F7285-A490-40D9-B60E-0C3A9BE2B431}"/>
                </a:ext>
              </a:extLst>
            </p:cNvPr>
            <p:cNvSpPr/>
            <p:nvPr/>
          </p:nvSpPr>
          <p:spPr>
            <a:xfrm rot="8716295">
              <a:off x="80015" y="241329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1" name="Forme libre : forme 2640">
              <a:extLst>
                <a:ext uri="{FF2B5EF4-FFF2-40B4-BE49-F238E27FC236}">
                  <a16:creationId xmlns:a16="http://schemas.microsoft.com/office/drawing/2014/main" id="{20B54E2C-EE11-45C1-BA49-4E36F75318A1}"/>
                </a:ext>
              </a:extLst>
            </p:cNvPr>
            <p:cNvSpPr/>
            <p:nvPr/>
          </p:nvSpPr>
          <p:spPr>
            <a:xfrm rot="8716295">
              <a:off x="35165" y="232701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2" name="Forme libre : forme 2641">
              <a:extLst>
                <a:ext uri="{FF2B5EF4-FFF2-40B4-BE49-F238E27FC236}">
                  <a16:creationId xmlns:a16="http://schemas.microsoft.com/office/drawing/2014/main" id="{8AE2099A-B385-47DA-B590-BD7DDE6B6A71}"/>
                </a:ext>
              </a:extLst>
            </p:cNvPr>
            <p:cNvSpPr/>
            <p:nvPr/>
          </p:nvSpPr>
          <p:spPr>
            <a:xfrm rot="8716295">
              <a:off x="-20257" y="2217087"/>
              <a:ext cx="78731" cy="180665"/>
            </a:xfrm>
            <a:custGeom>
              <a:avLst/>
              <a:gdLst>
                <a:gd name="connsiteX0" fmla="*/ 0 w 78731"/>
                <a:gd name="connsiteY0" fmla="*/ 180665 h 180665"/>
                <a:gd name="connsiteX1" fmla="*/ 0 w 78731"/>
                <a:gd name="connsiteY1" fmla="*/ 40596 h 180665"/>
                <a:gd name="connsiteX2" fmla="*/ 78250 w 78731"/>
                <a:gd name="connsiteY2" fmla="*/ 0 h 180665"/>
                <a:gd name="connsiteX3" fmla="*/ 78731 w 78731"/>
                <a:gd name="connsiteY3" fmla="*/ 67083 h 180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731" h="180665">
                  <a:moveTo>
                    <a:pt x="0" y="180665"/>
                  </a:moveTo>
                  <a:lnTo>
                    <a:pt x="0" y="40596"/>
                  </a:lnTo>
                  <a:lnTo>
                    <a:pt x="78250" y="0"/>
                  </a:lnTo>
                  <a:lnTo>
                    <a:pt x="78731" y="670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3" name="Forme libre : forme 2642">
              <a:extLst>
                <a:ext uri="{FF2B5EF4-FFF2-40B4-BE49-F238E27FC236}">
                  <a16:creationId xmlns:a16="http://schemas.microsoft.com/office/drawing/2014/main" id="{D39E2648-E7A5-42E0-AD61-95E487ECB3DA}"/>
                </a:ext>
              </a:extLst>
            </p:cNvPr>
            <p:cNvSpPr/>
            <p:nvPr/>
          </p:nvSpPr>
          <p:spPr>
            <a:xfrm rot="8716295">
              <a:off x="-15341" y="2575209"/>
              <a:ext cx="103435" cy="152027"/>
            </a:xfrm>
            <a:custGeom>
              <a:avLst/>
              <a:gdLst>
                <a:gd name="connsiteX0" fmla="*/ 43288 w 103435"/>
                <a:gd name="connsiteY0" fmla="*/ 152027 h 152027"/>
                <a:gd name="connsiteX1" fmla="*/ 43288 w 103435"/>
                <a:gd name="connsiteY1" fmla="*/ 16404 h 152027"/>
                <a:gd name="connsiteX2" fmla="*/ 0 w 103435"/>
                <a:gd name="connsiteY2" fmla="*/ 16404 h 152027"/>
                <a:gd name="connsiteX3" fmla="*/ 0 w 103435"/>
                <a:gd name="connsiteY3" fmla="*/ 2278 h 152027"/>
                <a:gd name="connsiteX4" fmla="*/ 103435 w 103435"/>
                <a:gd name="connsiteY4" fmla="*/ 0 h 152027"/>
                <a:gd name="connsiteX5" fmla="*/ 103435 w 103435"/>
                <a:gd name="connsiteY5" fmla="*/ 65255 h 152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152027">
                  <a:moveTo>
                    <a:pt x="43288" y="152027"/>
                  </a:move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652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4" name="Forme libre : forme 2643">
              <a:extLst>
                <a:ext uri="{FF2B5EF4-FFF2-40B4-BE49-F238E27FC236}">
                  <a16:creationId xmlns:a16="http://schemas.microsoft.com/office/drawing/2014/main" id="{F9F90177-1768-4A55-9562-0BA26D7DB1AB}"/>
                </a:ext>
              </a:extLst>
            </p:cNvPr>
            <p:cNvSpPr/>
            <p:nvPr/>
          </p:nvSpPr>
          <p:spPr>
            <a:xfrm rot="8716295">
              <a:off x="279722" y="21339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5" name="Forme libre : forme 2644">
              <a:extLst>
                <a:ext uri="{FF2B5EF4-FFF2-40B4-BE49-F238E27FC236}">
                  <a16:creationId xmlns:a16="http://schemas.microsoft.com/office/drawing/2014/main" id="{C30F908C-2E6C-43EB-AF00-6AFB653DDDA9}"/>
                </a:ext>
              </a:extLst>
            </p:cNvPr>
            <p:cNvSpPr/>
            <p:nvPr/>
          </p:nvSpPr>
          <p:spPr>
            <a:xfrm rot="8716295">
              <a:off x="369114" y="21631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6" name="Forme libre : forme 2645">
              <a:extLst>
                <a:ext uri="{FF2B5EF4-FFF2-40B4-BE49-F238E27FC236}">
                  <a16:creationId xmlns:a16="http://schemas.microsoft.com/office/drawing/2014/main" id="{8A6E38A5-6A60-4A98-B0EA-F6F171396D5F}"/>
                </a:ext>
              </a:extLst>
            </p:cNvPr>
            <p:cNvSpPr/>
            <p:nvPr/>
          </p:nvSpPr>
          <p:spPr>
            <a:xfrm rot="8716295">
              <a:off x="167488" y="22224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7" name="Forme libre : forme 2646">
              <a:extLst>
                <a:ext uri="{FF2B5EF4-FFF2-40B4-BE49-F238E27FC236}">
                  <a16:creationId xmlns:a16="http://schemas.microsoft.com/office/drawing/2014/main" id="{F376FCED-9E56-4DE0-987C-6F4AE8F3F648}"/>
                </a:ext>
              </a:extLst>
            </p:cNvPr>
            <p:cNvSpPr/>
            <p:nvPr/>
          </p:nvSpPr>
          <p:spPr>
            <a:xfrm rot="8716295">
              <a:off x="42586" y="20137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8" name="Forme libre : forme 2647">
              <a:extLst>
                <a:ext uri="{FF2B5EF4-FFF2-40B4-BE49-F238E27FC236}">
                  <a16:creationId xmlns:a16="http://schemas.microsoft.com/office/drawing/2014/main" id="{FA68D9A1-7BE5-4865-B886-AE208170A038}"/>
                </a:ext>
              </a:extLst>
            </p:cNvPr>
            <p:cNvSpPr/>
            <p:nvPr/>
          </p:nvSpPr>
          <p:spPr>
            <a:xfrm rot="8716295">
              <a:off x="257666" y="226339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9" name="Forme libre : forme 2648">
              <a:extLst>
                <a:ext uri="{FF2B5EF4-FFF2-40B4-BE49-F238E27FC236}">
                  <a16:creationId xmlns:a16="http://schemas.microsoft.com/office/drawing/2014/main" id="{B16001C4-728E-4992-B46E-35C9C985501E}"/>
                </a:ext>
              </a:extLst>
            </p:cNvPr>
            <p:cNvSpPr/>
            <p:nvPr/>
          </p:nvSpPr>
          <p:spPr>
            <a:xfrm rot="8716295">
              <a:off x="16215" y="211379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0" name="Forme libre : forme 2649">
              <a:extLst>
                <a:ext uri="{FF2B5EF4-FFF2-40B4-BE49-F238E27FC236}">
                  <a16:creationId xmlns:a16="http://schemas.microsoft.com/office/drawing/2014/main" id="{7AF63A54-0A52-4D3C-947E-4870E0D9AE3D}"/>
                </a:ext>
              </a:extLst>
            </p:cNvPr>
            <p:cNvSpPr/>
            <p:nvPr/>
          </p:nvSpPr>
          <p:spPr>
            <a:xfrm rot="7484129">
              <a:off x="362597" y="245474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1" name="Forme libre : forme 2650">
              <a:extLst>
                <a:ext uri="{FF2B5EF4-FFF2-40B4-BE49-F238E27FC236}">
                  <a16:creationId xmlns:a16="http://schemas.microsoft.com/office/drawing/2014/main" id="{19CD0BE1-F9A9-42E6-8860-34AFCCE1A6B8}"/>
                </a:ext>
              </a:extLst>
            </p:cNvPr>
            <p:cNvSpPr/>
            <p:nvPr/>
          </p:nvSpPr>
          <p:spPr>
            <a:xfrm rot="13089394">
              <a:off x="467417" y="242128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2" name="Forme libre : forme 2651">
              <a:extLst>
                <a:ext uri="{FF2B5EF4-FFF2-40B4-BE49-F238E27FC236}">
                  <a16:creationId xmlns:a16="http://schemas.microsoft.com/office/drawing/2014/main" id="{6BBE7DF2-3DA5-42A5-B37A-FA0BE876F37A}"/>
                </a:ext>
              </a:extLst>
            </p:cNvPr>
            <p:cNvSpPr/>
            <p:nvPr/>
          </p:nvSpPr>
          <p:spPr>
            <a:xfrm rot="8716295">
              <a:off x="653002" y="222960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3" name="Forme libre : forme 2652">
              <a:extLst>
                <a:ext uri="{FF2B5EF4-FFF2-40B4-BE49-F238E27FC236}">
                  <a16:creationId xmlns:a16="http://schemas.microsoft.com/office/drawing/2014/main" id="{59B7756E-7BCC-43E3-9597-FAD798A603DC}"/>
                </a:ext>
              </a:extLst>
            </p:cNvPr>
            <p:cNvSpPr/>
            <p:nvPr/>
          </p:nvSpPr>
          <p:spPr>
            <a:xfrm rot="8716295">
              <a:off x="601197" y="21260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4" name="Forme libre : forme 2653">
              <a:extLst>
                <a:ext uri="{FF2B5EF4-FFF2-40B4-BE49-F238E27FC236}">
                  <a16:creationId xmlns:a16="http://schemas.microsoft.com/office/drawing/2014/main" id="{D4FA18E5-B043-4ABB-ABB9-0D25921F91B2}"/>
                </a:ext>
              </a:extLst>
            </p:cNvPr>
            <p:cNvSpPr/>
            <p:nvPr/>
          </p:nvSpPr>
          <p:spPr>
            <a:xfrm rot="8716295">
              <a:off x="357951" y="21562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5" name="Forme libre : forme 2654">
              <a:extLst>
                <a:ext uri="{FF2B5EF4-FFF2-40B4-BE49-F238E27FC236}">
                  <a16:creationId xmlns:a16="http://schemas.microsoft.com/office/drawing/2014/main" id="{72361D6A-CAD4-4B23-97BF-CCD29A718F6D}"/>
                </a:ext>
              </a:extLst>
            </p:cNvPr>
            <p:cNvSpPr/>
            <p:nvPr/>
          </p:nvSpPr>
          <p:spPr>
            <a:xfrm rot="8716295">
              <a:off x="535403" y="199698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6" name="Forme libre : forme 2655">
              <a:extLst>
                <a:ext uri="{FF2B5EF4-FFF2-40B4-BE49-F238E27FC236}">
                  <a16:creationId xmlns:a16="http://schemas.microsoft.com/office/drawing/2014/main" id="{9E172F83-E73C-4A49-AAFF-F950F2FDECFE}"/>
                </a:ext>
              </a:extLst>
            </p:cNvPr>
            <p:cNvSpPr/>
            <p:nvPr/>
          </p:nvSpPr>
          <p:spPr>
            <a:xfrm rot="8716295">
              <a:off x="-76043" y="1768178"/>
              <a:ext cx="197178" cy="215049"/>
            </a:xfrm>
            <a:custGeom>
              <a:avLst/>
              <a:gdLst>
                <a:gd name="connsiteX0" fmla="*/ 51490 w 197178"/>
                <a:gd name="connsiteY0" fmla="*/ 215049 h 215049"/>
                <a:gd name="connsiteX1" fmla="*/ 51490 w 197178"/>
                <a:gd name="connsiteY1" fmla="*/ 45624 h 215049"/>
                <a:gd name="connsiteX2" fmla="*/ 0 w 197178"/>
                <a:gd name="connsiteY2" fmla="*/ 45624 h 215049"/>
                <a:gd name="connsiteX3" fmla="*/ 0 w 197178"/>
                <a:gd name="connsiteY3" fmla="*/ 1424 h 215049"/>
                <a:gd name="connsiteX4" fmla="*/ 104803 w 197178"/>
                <a:gd name="connsiteY4" fmla="*/ 1425 h 215049"/>
                <a:gd name="connsiteX5" fmla="*/ 104803 w 197178"/>
                <a:gd name="connsiteY5" fmla="*/ 75242 h 215049"/>
                <a:gd name="connsiteX6" fmla="*/ 106169 w 197178"/>
                <a:gd name="connsiteY6" fmla="*/ 75242 h 215049"/>
                <a:gd name="connsiteX7" fmla="*/ 154014 w 197178"/>
                <a:gd name="connsiteY7" fmla="*/ 5981 h 215049"/>
                <a:gd name="connsiteX8" fmla="*/ 185455 w 197178"/>
                <a:gd name="connsiteY8" fmla="*/ 57 h 215049"/>
                <a:gd name="connsiteX9" fmla="*/ 197178 w 197178"/>
                <a:gd name="connsiteY9" fmla="*/ 4872 h 215049"/>
                <a:gd name="connsiteX10" fmla="*/ 170795 w 197178"/>
                <a:gd name="connsiteY10" fmla="*/ 42934 h 215049"/>
                <a:gd name="connsiteX11" fmla="*/ 164950 w 197178"/>
                <a:gd name="connsiteY11" fmla="*/ 40156 h 215049"/>
                <a:gd name="connsiteX12" fmla="*/ 111638 w 197178"/>
                <a:gd name="connsiteY12" fmla="*/ 127643 h 215049"/>
                <a:gd name="connsiteX13" fmla="*/ 111638 w 197178"/>
                <a:gd name="connsiteY13" fmla="*/ 128277 h 21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178" h="215049">
                  <a:moveTo>
                    <a:pt x="51490" y="215049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4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lnTo>
                    <a:pt x="197178" y="4872"/>
                  </a:lnTo>
                  <a:lnTo>
                    <a:pt x="170795" y="42934"/>
                  </a:lnTo>
                  <a:lnTo>
                    <a:pt x="164950" y="40156"/>
                  </a:ln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1282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7" name="Forme libre : forme 2656">
              <a:extLst>
                <a:ext uri="{FF2B5EF4-FFF2-40B4-BE49-F238E27FC236}">
                  <a16:creationId xmlns:a16="http://schemas.microsoft.com/office/drawing/2014/main" id="{95638BCB-CAFD-4919-B8B3-7142385EAB97}"/>
                </a:ext>
              </a:extLst>
            </p:cNvPr>
            <p:cNvSpPr/>
            <p:nvPr/>
          </p:nvSpPr>
          <p:spPr>
            <a:xfrm rot="8716295">
              <a:off x="56555" y="14742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8" name="Forme libre : forme 2657">
              <a:extLst>
                <a:ext uri="{FF2B5EF4-FFF2-40B4-BE49-F238E27FC236}">
                  <a16:creationId xmlns:a16="http://schemas.microsoft.com/office/drawing/2014/main" id="{D25EC0C0-1452-4F89-A828-C9FC7DDD0CFA}"/>
                </a:ext>
              </a:extLst>
            </p:cNvPr>
            <p:cNvSpPr/>
            <p:nvPr/>
          </p:nvSpPr>
          <p:spPr>
            <a:xfrm rot="8716295">
              <a:off x="145947" y="15034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9" name="Forme libre : forme 2658">
              <a:extLst>
                <a:ext uri="{FF2B5EF4-FFF2-40B4-BE49-F238E27FC236}">
                  <a16:creationId xmlns:a16="http://schemas.microsoft.com/office/drawing/2014/main" id="{1519431B-42BD-4AC6-AD54-662969F8A726}"/>
                </a:ext>
              </a:extLst>
            </p:cNvPr>
            <p:cNvSpPr/>
            <p:nvPr/>
          </p:nvSpPr>
          <p:spPr>
            <a:xfrm rot="8716295">
              <a:off x="-21870" y="1443501"/>
              <a:ext cx="68614" cy="55323"/>
            </a:xfrm>
            <a:custGeom>
              <a:avLst/>
              <a:gdLst>
                <a:gd name="connsiteX0" fmla="*/ 0 w 68614"/>
                <a:gd name="connsiteY0" fmla="*/ 55323 h 55323"/>
                <a:gd name="connsiteX1" fmla="*/ 0 w 68614"/>
                <a:gd name="connsiteY1" fmla="*/ 0 h 55323"/>
                <a:gd name="connsiteX2" fmla="*/ 68614 w 68614"/>
                <a:gd name="connsiteY2" fmla="*/ 0 h 55323"/>
                <a:gd name="connsiteX3" fmla="*/ 30266 w 68614"/>
                <a:gd name="connsiteY3" fmla="*/ 55323 h 55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614" h="55323">
                  <a:moveTo>
                    <a:pt x="0" y="55323"/>
                  </a:moveTo>
                  <a:lnTo>
                    <a:pt x="0" y="0"/>
                  </a:lnTo>
                  <a:lnTo>
                    <a:pt x="68614" y="0"/>
                  </a:lnTo>
                  <a:lnTo>
                    <a:pt x="30266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0" name="Forme libre : forme 2659">
              <a:extLst>
                <a:ext uri="{FF2B5EF4-FFF2-40B4-BE49-F238E27FC236}">
                  <a16:creationId xmlns:a16="http://schemas.microsoft.com/office/drawing/2014/main" id="{60238100-8A0A-4F63-804A-4A98015B47BC}"/>
                </a:ext>
              </a:extLst>
            </p:cNvPr>
            <p:cNvSpPr/>
            <p:nvPr/>
          </p:nvSpPr>
          <p:spPr>
            <a:xfrm rot="8716295">
              <a:off x="35817" y="1618109"/>
              <a:ext cx="103435" cy="203897"/>
            </a:xfrm>
            <a:custGeom>
              <a:avLst/>
              <a:gdLst>
                <a:gd name="connsiteX0" fmla="*/ 87556 w 103435"/>
                <a:gd name="connsiteY0" fmla="*/ 203897 h 203897"/>
                <a:gd name="connsiteX1" fmla="*/ 43288 w 103435"/>
                <a:gd name="connsiteY1" fmla="*/ 161305 h 203897"/>
                <a:gd name="connsiteX2" fmla="*/ 43288 w 103435"/>
                <a:gd name="connsiteY2" fmla="*/ 16404 h 203897"/>
                <a:gd name="connsiteX3" fmla="*/ 0 w 103435"/>
                <a:gd name="connsiteY3" fmla="*/ 16404 h 203897"/>
                <a:gd name="connsiteX4" fmla="*/ 0 w 103435"/>
                <a:gd name="connsiteY4" fmla="*/ 2278 h 203897"/>
                <a:gd name="connsiteX5" fmla="*/ 103435 w 103435"/>
                <a:gd name="connsiteY5" fmla="*/ 0 h 203897"/>
                <a:gd name="connsiteX6" fmla="*/ 103435 w 103435"/>
                <a:gd name="connsiteY6" fmla="*/ 180989 h 203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03897">
                  <a:moveTo>
                    <a:pt x="87556" y="203897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1809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1" name="Forme libre : forme 2660">
              <a:extLst>
                <a:ext uri="{FF2B5EF4-FFF2-40B4-BE49-F238E27FC236}">
                  <a16:creationId xmlns:a16="http://schemas.microsoft.com/office/drawing/2014/main" id="{4E2C8EF5-C37E-433B-B4E7-F8D646EC6B2E}"/>
                </a:ext>
              </a:extLst>
            </p:cNvPr>
            <p:cNvSpPr/>
            <p:nvPr/>
          </p:nvSpPr>
          <p:spPr>
            <a:xfrm rot="7484129">
              <a:off x="139430" y="17950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2" name="Forme libre : forme 2661">
              <a:extLst>
                <a:ext uri="{FF2B5EF4-FFF2-40B4-BE49-F238E27FC236}">
                  <a16:creationId xmlns:a16="http://schemas.microsoft.com/office/drawing/2014/main" id="{EE3D8E88-95F9-4175-9223-3BA0971001EC}"/>
                </a:ext>
              </a:extLst>
            </p:cNvPr>
            <p:cNvSpPr/>
            <p:nvPr/>
          </p:nvSpPr>
          <p:spPr>
            <a:xfrm rot="13089394">
              <a:off x="244250" y="17615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3" name="Forme libre : forme 2662">
              <a:extLst>
                <a:ext uri="{FF2B5EF4-FFF2-40B4-BE49-F238E27FC236}">
                  <a16:creationId xmlns:a16="http://schemas.microsoft.com/office/drawing/2014/main" id="{F3C9AC87-A1FE-4D6A-AD7E-10654735E8A7}"/>
                </a:ext>
              </a:extLst>
            </p:cNvPr>
            <p:cNvSpPr/>
            <p:nvPr/>
          </p:nvSpPr>
          <p:spPr>
            <a:xfrm rot="8716295">
              <a:off x="429835" y="15699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4" name="Forme libre : forme 2663">
              <a:extLst>
                <a:ext uri="{FF2B5EF4-FFF2-40B4-BE49-F238E27FC236}">
                  <a16:creationId xmlns:a16="http://schemas.microsoft.com/office/drawing/2014/main" id="{5FFA192D-7DB1-4385-9CFD-89494EA18B76}"/>
                </a:ext>
              </a:extLst>
            </p:cNvPr>
            <p:cNvSpPr/>
            <p:nvPr/>
          </p:nvSpPr>
          <p:spPr>
            <a:xfrm rot="8716295">
              <a:off x="378030" y="14663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5" name="Forme libre : forme 2664">
              <a:extLst>
                <a:ext uri="{FF2B5EF4-FFF2-40B4-BE49-F238E27FC236}">
                  <a16:creationId xmlns:a16="http://schemas.microsoft.com/office/drawing/2014/main" id="{0F34417F-18EE-4E84-A289-EA164ECB3D71}"/>
                </a:ext>
              </a:extLst>
            </p:cNvPr>
            <p:cNvSpPr/>
            <p:nvPr/>
          </p:nvSpPr>
          <p:spPr>
            <a:xfrm rot="8716295">
              <a:off x="134784" y="14965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6" name="Forme libre : forme 2665">
              <a:extLst>
                <a:ext uri="{FF2B5EF4-FFF2-40B4-BE49-F238E27FC236}">
                  <a16:creationId xmlns:a16="http://schemas.microsoft.com/office/drawing/2014/main" id="{271203A9-03F5-485A-B145-792A15A69059}"/>
                </a:ext>
              </a:extLst>
            </p:cNvPr>
            <p:cNvSpPr/>
            <p:nvPr/>
          </p:nvSpPr>
          <p:spPr>
            <a:xfrm rot="8716295">
              <a:off x="312236" y="13372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7" name="Forme libre : forme 2666">
              <a:extLst>
                <a:ext uri="{FF2B5EF4-FFF2-40B4-BE49-F238E27FC236}">
                  <a16:creationId xmlns:a16="http://schemas.microsoft.com/office/drawing/2014/main" id="{405C0C8D-A9F9-4FDA-8710-B9B42D099BFD}"/>
                </a:ext>
              </a:extLst>
            </p:cNvPr>
            <p:cNvSpPr/>
            <p:nvPr/>
          </p:nvSpPr>
          <p:spPr>
            <a:xfrm rot="8716295">
              <a:off x="-17798" y="949199"/>
              <a:ext cx="39526" cy="50123"/>
            </a:xfrm>
            <a:custGeom>
              <a:avLst/>
              <a:gdLst>
                <a:gd name="connsiteX0" fmla="*/ 0 w 39526"/>
                <a:gd name="connsiteY0" fmla="*/ 50123 h 50123"/>
                <a:gd name="connsiteX1" fmla="*/ 0 w 39526"/>
                <a:gd name="connsiteY1" fmla="*/ 0 h 50123"/>
                <a:gd name="connsiteX2" fmla="*/ 39526 w 39526"/>
                <a:gd name="connsiteY2" fmla="*/ 0 h 50123"/>
                <a:gd name="connsiteX3" fmla="*/ 4782 w 39526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26" h="50123">
                  <a:moveTo>
                    <a:pt x="0" y="50123"/>
                  </a:moveTo>
                  <a:lnTo>
                    <a:pt x="0" y="0"/>
                  </a:lnTo>
                  <a:lnTo>
                    <a:pt x="39526" y="0"/>
                  </a:lnTo>
                  <a:lnTo>
                    <a:pt x="4782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8" name="Forme libre : forme 2667">
              <a:extLst>
                <a:ext uri="{FF2B5EF4-FFF2-40B4-BE49-F238E27FC236}">
                  <a16:creationId xmlns:a16="http://schemas.microsoft.com/office/drawing/2014/main" id="{D9E66FBE-87D5-42D6-912A-DFE2839C4FB5}"/>
                </a:ext>
              </a:extLst>
            </p:cNvPr>
            <p:cNvSpPr/>
            <p:nvPr/>
          </p:nvSpPr>
          <p:spPr>
            <a:xfrm rot="8716295">
              <a:off x="-64996" y="834728"/>
              <a:ext cx="249650" cy="254774"/>
            </a:xfrm>
            <a:custGeom>
              <a:avLst/>
              <a:gdLst>
                <a:gd name="connsiteX0" fmla="*/ 51490 w 249650"/>
                <a:gd name="connsiteY0" fmla="*/ 254774 h 254774"/>
                <a:gd name="connsiteX1" fmla="*/ 51490 w 249650"/>
                <a:gd name="connsiteY1" fmla="*/ 45624 h 254774"/>
                <a:gd name="connsiteX2" fmla="*/ 0 w 249650"/>
                <a:gd name="connsiteY2" fmla="*/ 45624 h 254774"/>
                <a:gd name="connsiteX3" fmla="*/ 0 w 249650"/>
                <a:gd name="connsiteY3" fmla="*/ 1425 h 254774"/>
                <a:gd name="connsiteX4" fmla="*/ 104803 w 249650"/>
                <a:gd name="connsiteY4" fmla="*/ 1425 h 254774"/>
                <a:gd name="connsiteX5" fmla="*/ 104803 w 249650"/>
                <a:gd name="connsiteY5" fmla="*/ 75242 h 254774"/>
                <a:gd name="connsiteX6" fmla="*/ 106169 w 249650"/>
                <a:gd name="connsiteY6" fmla="*/ 75242 h 254774"/>
                <a:gd name="connsiteX7" fmla="*/ 154014 w 249650"/>
                <a:gd name="connsiteY7" fmla="*/ 5981 h 254774"/>
                <a:gd name="connsiteX8" fmla="*/ 185455 w 249650"/>
                <a:gd name="connsiteY8" fmla="*/ 57 h 254774"/>
                <a:gd name="connsiteX9" fmla="*/ 240647 w 249650"/>
                <a:gd name="connsiteY9" fmla="*/ 22727 h 254774"/>
                <a:gd name="connsiteX10" fmla="*/ 249650 w 249650"/>
                <a:gd name="connsiteY10" fmla="*/ 52327 h 254774"/>
                <a:gd name="connsiteX11" fmla="*/ 218795 w 249650"/>
                <a:gd name="connsiteY11" fmla="*/ 96841 h 254774"/>
                <a:gd name="connsiteX12" fmla="*/ 198669 w 249650"/>
                <a:gd name="connsiteY12" fmla="*/ 98025 h 254774"/>
                <a:gd name="connsiteX13" fmla="*/ 198669 w 249650"/>
                <a:gd name="connsiteY13" fmla="*/ 81621 h 254774"/>
                <a:gd name="connsiteX14" fmla="*/ 164950 w 249650"/>
                <a:gd name="connsiteY14" fmla="*/ 40156 h 254774"/>
                <a:gd name="connsiteX15" fmla="*/ 111638 w 249650"/>
                <a:gd name="connsiteY15" fmla="*/ 127643 h 254774"/>
                <a:gd name="connsiteX16" fmla="*/ 111638 w 249650"/>
                <a:gd name="connsiteY16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9650" h="254774">
                  <a:moveTo>
                    <a:pt x="51490" y="254774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08922" y="-398"/>
                    <a:pt x="227718" y="7576"/>
                    <a:pt x="240647" y="22727"/>
                  </a:cubicBezTo>
                  <a:lnTo>
                    <a:pt x="249650" y="52327"/>
                  </a:lnTo>
                  <a:lnTo>
                    <a:pt x="218795" y="96841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9" name="Forme libre : forme 2668">
              <a:extLst>
                <a:ext uri="{FF2B5EF4-FFF2-40B4-BE49-F238E27FC236}">
                  <a16:creationId xmlns:a16="http://schemas.microsoft.com/office/drawing/2014/main" id="{9509EEFE-28EA-4695-B516-F79E29B945F9}"/>
                </a:ext>
              </a:extLst>
            </p:cNvPr>
            <p:cNvSpPr/>
            <p:nvPr/>
          </p:nvSpPr>
          <p:spPr>
            <a:xfrm rot="7484129">
              <a:off x="-63314" y="1172497"/>
              <a:ext cx="203848" cy="146395"/>
            </a:xfrm>
            <a:custGeom>
              <a:avLst/>
              <a:gdLst>
                <a:gd name="connsiteX0" fmla="*/ 0 w 203848"/>
                <a:gd name="connsiteY0" fmla="*/ 55323 h 146395"/>
                <a:gd name="connsiteX1" fmla="*/ 0 w 203848"/>
                <a:gd name="connsiteY1" fmla="*/ 0 h 146395"/>
                <a:gd name="connsiteX2" fmla="*/ 203848 w 203848"/>
                <a:gd name="connsiteY2" fmla="*/ 0 h 146395"/>
                <a:gd name="connsiteX3" fmla="*/ 203847 w 203848"/>
                <a:gd name="connsiteY3" fmla="*/ 49512 h 146395"/>
                <a:gd name="connsiteX4" fmla="*/ 195466 w 203848"/>
                <a:gd name="connsiteY4" fmla="*/ 55323 h 146395"/>
                <a:gd name="connsiteX5" fmla="*/ 139055 w 203848"/>
                <a:gd name="connsiteY5" fmla="*/ 55323 h 146395"/>
                <a:gd name="connsiteX6" fmla="*/ 121388 w 203848"/>
                <a:gd name="connsiteY6" fmla="*/ 106685 h 146395"/>
                <a:gd name="connsiteX7" fmla="*/ 64115 w 203848"/>
                <a:gd name="connsiteY7" fmla="*/ 146395 h 146395"/>
                <a:gd name="connsiteX8" fmla="*/ 47847 w 203848"/>
                <a:gd name="connsiteY8" fmla="*/ 116129 h 146395"/>
                <a:gd name="connsiteX9" fmla="*/ 69777 w 203848"/>
                <a:gd name="connsiteY9" fmla="*/ 55323 h 146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848" h="146395">
                  <a:moveTo>
                    <a:pt x="0" y="55323"/>
                  </a:moveTo>
                  <a:lnTo>
                    <a:pt x="0" y="0"/>
                  </a:lnTo>
                  <a:lnTo>
                    <a:pt x="203848" y="0"/>
                  </a:lnTo>
                  <a:lnTo>
                    <a:pt x="203847" y="49512"/>
                  </a:lnTo>
                  <a:lnTo>
                    <a:pt x="195466" y="55323"/>
                  </a:lnTo>
                  <a:lnTo>
                    <a:pt x="139055" y="55323"/>
                  </a:lnTo>
                  <a:lnTo>
                    <a:pt x="121388" y="106685"/>
                  </a:lnTo>
                  <a:lnTo>
                    <a:pt x="64115" y="146395"/>
                  </a:lnTo>
                  <a:lnTo>
                    <a:pt x="47847" y="116129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0" name="Forme libre : forme 2669">
              <a:extLst>
                <a:ext uri="{FF2B5EF4-FFF2-40B4-BE49-F238E27FC236}">
                  <a16:creationId xmlns:a16="http://schemas.microsoft.com/office/drawing/2014/main" id="{71678257-6DF2-4EFF-B737-FA3D02FA5594}"/>
                </a:ext>
              </a:extLst>
            </p:cNvPr>
            <p:cNvSpPr/>
            <p:nvPr/>
          </p:nvSpPr>
          <p:spPr>
            <a:xfrm rot="13089394">
              <a:off x="25311" y="109952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1" name="Forme libre : forme 2670">
              <a:extLst>
                <a:ext uri="{FF2B5EF4-FFF2-40B4-BE49-F238E27FC236}">
                  <a16:creationId xmlns:a16="http://schemas.microsoft.com/office/drawing/2014/main" id="{A59D46CE-4426-40A3-8095-61819C0C7AE0}"/>
                </a:ext>
              </a:extLst>
            </p:cNvPr>
            <p:cNvSpPr/>
            <p:nvPr/>
          </p:nvSpPr>
          <p:spPr>
            <a:xfrm rot="8716295">
              <a:off x="210896" y="90784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2" name="Forme libre : forme 2671">
              <a:extLst>
                <a:ext uri="{FF2B5EF4-FFF2-40B4-BE49-F238E27FC236}">
                  <a16:creationId xmlns:a16="http://schemas.microsoft.com/office/drawing/2014/main" id="{7825CA42-276D-46E9-845F-1C3B3FD7B764}"/>
                </a:ext>
              </a:extLst>
            </p:cNvPr>
            <p:cNvSpPr/>
            <p:nvPr/>
          </p:nvSpPr>
          <p:spPr>
            <a:xfrm rot="8716295">
              <a:off x="159091" y="80425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3" name="Forme libre : forme 2672">
              <a:extLst>
                <a:ext uri="{FF2B5EF4-FFF2-40B4-BE49-F238E27FC236}">
                  <a16:creationId xmlns:a16="http://schemas.microsoft.com/office/drawing/2014/main" id="{2CF0D109-F01E-48EA-B846-7F271B9FCCEE}"/>
                </a:ext>
              </a:extLst>
            </p:cNvPr>
            <p:cNvSpPr/>
            <p:nvPr/>
          </p:nvSpPr>
          <p:spPr>
            <a:xfrm rot="8716295">
              <a:off x="93297" y="67523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4" name="Forme libre : forme 2673">
              <a:extLst>
                <a:ext uri="{FF2B5EF4-FFF2-40B4-BE49-F238E27FC236}">
                  <a16:creationId xmlns:a16="http://schemas.microsoft.com/office/drawing/2014/main" id="{15A67A1B-0593-4E21-A1BB-485D6912B395}"/>
                </a:ext>
              </a:extLst>
            </p:cNvPr>
            <p:cNvSpPr/>
            <p:nvPr/>
          </p:nvSpPr>
          <p:spPr>
            <a:xfrm rot="8716295">
              <a:off x="-7001" y="316701"/>
              <a:ext cx="14001" cy="20198"/>
            </a:xfrm>
            <a:custGeom>
              <a:avLst/>
              <a:gdLst>
                <a:gd name="connsiteX0" fmla="*/ 0 w 14001"/>
                <a:gd name="connsiteY0" fmla="*/ 20198 h 20198"/>
                <a:gd name="connsiteX1" fmla="*/ 0 w 14001"/>
                <a:gd name="connsiteY1" fmla="*/ 0 h 20198"/>
                <a:gd name="connsiteX2" fmla="*/ 14001 w 14001"/>
                <a:gd name="connsiteY2" fmla="*/ 0 h 2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01" h="20198">
                  <a:moveTo>
                    <a:pt x="0" y="20198"/>
                  </a:moveTo>
                  <a:lnTo>
                    <a:pt x="0" y="0"/>
                  </a:lnTo>
                  <a:lnTo>
                    <a:pt x="1400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5" name="Forme libre : forme 2674">
              <a:extLst>
                <a:ext uri="{FF2B5EF4-FFF2-40B4-BE49-F238E27FC236}">
                  <a16:creationId xmlns:a16="http://schemas.microsoft.com/office/drawing/2014/main" id="{F5C0AF50-10E7-4E14-B910-0C705A16AAC3}"/>
                </a:ext>
              </a:extLst>
            </p:cNvPr>
            <p:cNvSpPr/>
            <p:nvPr/>
          </p:nvSpPr>
          <p:spPr>
            <a:xfrm rot="13089394">
              <a:off x="-81658" y="472652"/>
              <a:ext cx="173631" cy="237684"/>
            </a:xfrm>
            <a:custGeom>
              <a:avLst/>
              <a:gdLst>
                <a:gd name="connsiteX0" fmla="*/ 173631 w 173631"/>
                <a:gd name="connsiteY0" fmla="*/ 220990 h 237684"/>
                <a:gd name="connsiteX1" fmla="*/ 130972 w 173631"/>
                <a:gd name="connsiteY1" fmla="*/ 232382 h 237684"/>
                <a:gd name="connsiteX2" fmla="*/ 91597 w 173631"/>
                <a:gd name="connsiteY2" fmla="*/ 237521 h 237684"/>
                <a:gd name="connsiteX3" fmla="*/ 23727 w 173631"/>
                <a:gd name="connsiteY3" fmla="*/ 209931 h 237684"/>
                <a:gd name="connsiteX4" fmla="*/ 0 w 173631"/>
                <a:gd name="connsiteY4" fmla="*/ 115023 h 237684"/>
                <a:gd name="connsiteX5" fmla="*/ 0 w 173631"/>
                <a:gd name="connsiteY5" fmla="*/ 0 h 237684"/>
                <a:gd name="connsiteX6" fmla="*/ 76176 w 173631"/>
                <a:gd name="connsiteY6" fmla="*/ 96953 h 237684"/>
                <a:gd name="connsiteX7" fmla="*/ 76768 w 173631"/>
                <a:gd name="connsiteY7" fmla="*/ 109023 h 237684"/>
                <a:gd name="connsiteX8" fmla="*/ 87734 w 173631"/>
                <a:gd name="connsiteY8" fmla="*/ 154201 h 237684"/>
                <a:gd name="connsiteX9" fmla="*/ 111117 w 173631"/>
                <a:gd name="connsiteY9" fmla="*/ 181514 h 237684"/>
                <a:gd name="connsiteX10" fmla="*/ 148930 w 173631"/>
                <a:gd name="connsiteY10" fmla="*/ 189552 h 237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3631" h="237684">
                  <a:moveTo>
                    <a:pt x="173631" y="220990"/>
                  </a:moveTo>
                  <a:lnTo>
                    <a:pt x="130972" y="232382"/>
                  </a:lnTo>
                  <a:cubicBezTo>
                    <a:pt x="116428" y="235210"/>
                    <a:pt x="103047" y="236831"/>
                    <a:pt x="91597" y="237521"/>
                  </a:cubicBezTo>
                  <a:cubicBezTo>
                    <a:pt x="66215" y="239176"/>
                    <a:pt x="41384" y="228141"/>
                    <a:pt x="23727" y="209931"/>
                  </a:cubicBezTo>
                  <a:cubicBezTo>
                    <a:pt x="4966" y="191722"/>
                    <a:pt x="0" y="160270"/>
                    <a:pt x="0" y="115023"/>
                  </a:cubicBezTo>
                  <a:lnTo>
                    <a:pt x="0" y="0"/>
                  </a:lnTo>
                  <a:lnTo>
                    <a:pt x="76176" y="96953"/>
                  </a:lnTo>
                  <a:lnTo>
                    <a:pt x="76768" y="109023"/>
                  </a:lnTo>
                  <a:cubicBezTo>
                    <a:pt x="79044" y="124404"/>
                    <a:pt x="82768" y="139578"/>
                    <a:pt x="87734" y="154201"/>
                  </a:cubicBezTo>
                  <a:cubicBezTo>
                    <a:pt x="92149" y="166340"/>
                    <a:pt x="100012" y="175445"/>
                    <a:pt x="111117" y="181514"/>
                  </a:cubicBezTo>
                  <a:lnTo>
                    <a:pt x="148930" y="1895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6" name="Forme libre : forme 2675">
              <a:extLst>
                <a:ext uri="{FF2B5EF4-FFF2-40B4-BE49-F238E27FC236}">
                  <a16:creationId xmlns:a16="http://schemas.microsoft.com/office/drawing/2014/main" id="{0D59FB1F-A28C-4E8B-B4BC-0A3A54031E65}"/>
                </a:ext>
              </a:extLst>
            </p:cNvPr>
            <p:cNvSpPr/>
            <p:nvPr/>
          </p:nvSpPr>
          <p:spPr>
            <a:xfrm rot="8716295">
              <a:off x="-11774" y="24443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7" name="Forme libre : forme 2676">
              <a:extLst>
                <a:ext uri="{FF2B5EF4-FFF2-40B4-BE49-F238E27FC236}">
                  <a16:creationId xmlns:a16="http://schemas.microsoft.com/office/drawing/2014/main" id="{6DA8E402-AB6F-4D42-B3D8-FD882D72E6EE}"/>
                </a:ext>
              </a:extLst>
            </p:cNvPr>
            <p:cNvSpPr/>
            <p:nvPr/>
          </p:nvSpPr>
          <p:spPr>
            <a:xfrm rot="8716295">
              <a:off x="-30092" y="143486"/>
              <a:ext cx="77721" cy="97260"/>
            </a:xfrm>
            <a:custGeom>
              <a:avLst/>
              <a:gdLst>
                <a:gd name="connsiteX0" fmla="*/ 15821 w 77721"/>
                <a:gd name="connsiteY0" fmla="*/ 97260 h 97260"/>
                <a:gd name="connsiteX1" fmla="*/ 0 w 77721"/>
                <a:gd name="connsiteY1" fmla="*/ 59790 h 97260"/>
                <a:gd name="connsiteX2" fmla="*/ 0 w 77721"/>
                <a:gd name="connsiteY2" fmla="*/ 58869 h 97260"/>
                <a:gd name="connsiteX3" fmla="*/ 17477 w 77721"/>
                <a:gd name="connsiteY3" fmla="*/ 17477 h 97260"/>
                <a:gd name="connsiteX4" fmla="*/ 58869 w 77721"/>
                <a:gd name="connsiteY4" fmla="*/ 0 h 97260"/>
                <a:gd name="connsiteX5" fmla="*/ 77721 w 77721"/>
                <a:gd name="connsiteY5" fmla="*/ 7960 h 97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721" h="97260">
                  <a:moveTo>
                    <a:pt x="15821" y="97260"/>
                  </a:moveTo>
                  <a:lnTo>
                    <a:pt x="0" y="59790"/>
                  </a:ln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lnTo>
                    <a:pt x="77721" y="79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8" name="Forme libre : forme 2677">
              <a:extLst>
                <a:ext uri="{FF2B5EF4-FFF2-40B4-BE49-F238E27FC236}">
                  <a16:creationId xmlns:a16="http://schemas.microsoft.com/office/drawing/2014/main" id="{FF96202D-5615-4C5C-B860-27779277BA03}"/>
                </a:ext>
              </a:extLst>
            </p:cNvPr>
            <p:cNvSpPr/>
            <p:nvPr/>
          </p:nvSpPr>
          <p:spPr>
            <a:xfrm rot="8716295">
              <a:off x="-17797" y="3452694"/>
              <a:ext cx="58455" cy="44199"/>
            </a:xfrm>
            <a:custGeom>
              <a:avLst/>
              <a:gdLst>
                <a:gd name="connsiteX0" fmla="*/ 0 w 58455"/>
                <a:gd name="connsiteY0" fmla="*/ 44199 h 44199"/>
                <a:gd name="connsiteX1" fmla="*/ 0 w 58455"/>
                <a:gd name="connsiteY1" fmla="*/ 0 h 44199"/>
                <a:gd name="connsiteX2" fmla="*/ 58455 w 58455"/>
                <a:gd name="connsiteY2" fmla="*/ 0 h 44199"/>
                <a:gd name="connsiteX3" fmla="*/ 27817 w 58455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55" h="44199">
                  <a:moveTo>
                    <a:pt x="0" y="44199"/>
                  </a:moveTo>
                  <a:lnTo>
                    <a:pt x="0" y="0"/>
                  </a:lnTo>
                  <a:lnTo>
                    <a:pt x="58455" y="0"/>
                  </a:lnTo>
                  <a:lnTo>
                    <a:pt x="27817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9" name="Forme libre : forme 2678">
              <a:extLst>
                <a:ext uri="{FF2B5EF4-FFF2-40B4-BE49-F238E27FC236}">
                  <a16:creationId xmlns:a16="http://schemas.microsoft.com/office/drawing/2014/main" id="{EFE05903-A2C3-4EA4-B6E8-4BC424605688}"/>
                </a:ext>
              </a:extLst>
            </p:cNvPr>
            <p:cNvSpPr/>
            <p:nvPr/>
          </p:nvSpPr>
          <p:spPr>
            <a:xfrm rot="13089394">
              <a:off x="-91485" y="3601812"/>
              <a:ext cx="206527" cy="292654"/>
            </a:xfrm>
            <a:custGeom>
              <a:avLst/>
              <a:gdLst>
                <a:gd name="connsiteX0" fmla="*/ 206527 w 206527"/>
                <a:gd name="connsiteY0" fmla="*/ 258693 h 292654"/>
                <a:gd name="connsiteX1" fmla="*/ 177331 w 206527"/>
                <a:gd name="connsiteY1" fmla="*/ 274971 h 292654"/>
                <a:gd name="connsiteX2" fmla="*/ 91597 w 206527"/>
                <a:gd name="connsiteY2" fmla="*/ 292491 h 292654"/>
                <a:gd name="connsiteX3" fmla="*/ 23727 w 206527"/>
                <a:gd name="connsiteY3" fmla="*/ 264901 h 292654"/>
                <a:gd name="connsiteX4" fmla="*/ 0 w 206527"/>
                <a:gd name="connsiteY4" fmla="*/ 169993 h 292654"/>
                <a:gd name="connsiteX5" fmla="*/ 0 w 206527"/>
                <a:gd name="connsiteY5" fmla="*/ 1698 h 292654"/>
                <a:gd name="connsiteX6" fmla="*/ 3273 w 206527"/>
                <a:gd name="connsiteY6" fmla="*/ 0 h 292654"/>
                <a:gd name="connsiteX7" fmla="*/ 74297 w 206527"/>
                <a:gd name="connsiteY7" fmla="*/ 90396 h 292654"/>
                <a:gd name="connsiteX8" fmla="*/ 74492 w 206527"/>
                <a:gd name="connsiteY8" fmla="*/ 117574 h 292654"/>
                <a:gd name="connsiteX9" fmla="*/ 87734 w 206527"/>
                <a:gd name="connsiteY9" fmla="*/ 209171 h 292654"/>
                <a:gd name="connsiteX10" fmla="*/ 153949 w 206527"/>
                <a:gd name="connsiteY10" fmla="*/ 245589 h 292654"/>
                <a:gd name="connsiteX11" fmla="*/ 191049 w 206527"/>
                <a:gd name="connsiteY11" fmla="*/ 238993 h 292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527" h="292654">
                  <a:moveTo>
                    <a:pt x="206527" y="258693"/>
                  </a:moveTo>
                  <a:lnTo>
                    <a:pt x="177331" y="274971"/>
                  </a:lnTo>
                  <a:cubicBezTo>
                    <a:pt x="145121" y="286007"/>
                    <a:pt x="114496" y="291111"/>
                    <a:pt x="91597" y="292491"/>
                  </a:cubicBezTo>
                  <a:cubicBezTo>
                    <a:pt x="66215" y="294146"/>
                    <a:pt x="41385" y="283111"/>
                    <a:pt x="23727" y="264901"/>
                  </a:cubicBezTo>
                  <a:cubicBezTo>
                    <a:pt x="4966" y="246692"/>
                    <a:pt x="0" y="215240"/>
                    <a:pt x="0" y="169993"/>
                  </a:cubicBezTo>
                  <a:lnTo>
                    <a:pt x="0" y="1698"/>
                  </a:lnTo>
                  <a:lnTo>
                    <a:pt x="3273" y="0"/>
                  </a:lnTo>
                  <a:lnTo>
                    <a:pt x="74297" y="90396"/>
                  </a:lnTo>
                  <a:lnTo>
                    <a:pt x="74492" y="117574"/>
                  </a:lnTo>
                  <a:cubicBezTo>
                    <a:pt x="72836" y="148474"/>
                    <a:pt x="77802" y="179926"/>
                    <a:pt x="87734" y="209171"/>
                  </a:cubicBezTo>
                  <a:cubicBezTo>
                    <a:pt x="96564" y="233450"/>
                    <a:pt x="119187" y="245589"/>
                    <a:pt x="153949" y="245589"/>
                  </a:cubicBezTo>
                  <a:lnTo>
                    <a:pt x="191049" y="2389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0" name="Forme libre : forme 2679">
              <a:extLst>
                <a:ext uri="{FF2B5EF4-FFF2-40B4-BE49-F238E27FC236}">
                  <a16:creationId xmlns:a16="http://schemas.microsoft.com/office/drawing/2014/main" id="{A958F052-274A-4809-9A7E-706B6FDA97DB}"/>
                </a:ext>
              </a:extLst>
            </p:cNvPr>
            <p:cNvSpPr/>
            <p:nvPr/>
          </p:nvSpPr>
          <p:spPr>
            <a:xfrm rot="8716295">
              <a:off x="24761" y="33896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1" name="Forme libre : forme 2680">
              <a:extLst>
                <a:ext uri="{FF2B5EF4-FFF2-40B4-BE49-F238E27FC236}">
                  <a16:creationId xmlns:a16="http://schemas.microsoft.com/office/drawing/2014/main" id="{3D25082F-4B73-45B2-BAAB-9D638EEF2592}"/>
                </a:ext>
              </a:extLst>
            </p:cNvPr>
            <p:cNvSpPr/>
            <p:nvPr/>
          </p:nvSpPr>
          <p:spPr>
            <a:xfrm rot="8716295">
              <a:off x="-24047" y="3281741"/>
              <a:ext cx="106042" cy="113733"/>
            </a:xfrm>
            <a:custGeom>
              <a:avLst/>
              <a:gdLst>
                <a:gd name="connsiteX0" fmla="*/ 17477 w 106042"/>
                <a:gd name="connsiteY0" fmla="*/ 101182 h 113733"/>
                <a:gd name="connsiteX1" fmla="*/ 0 w 106042"/>
                <a:gd name="connsiteY1" fmla="*/ 59790 h 113733"/>
                <a:gd name="connsiteX2" fmla="*/ 0 w 106042"/>
                <a:gd name="connsiteY2" fmla="*/ 58869 h 113733"/>
                <a:gd name="connsiteX3" fmla="*/ 17477 w 106042"/>
                <a:gd name="connsiteY3" fmla="*/ 17477 h 113733"/>
                <a:gd name="connsiteX4" fmla="*/ 58869 w 106042"/>
                <a:gd name="connsiteY4" fmla="*/ 0 h 113733"/>
                <a:gd name="connsiteX5" fmla="*/ 100262 w 106042"/>
                <a:gd name="connsiteY5" fmla="*/ 17477 h 113733"/>
                <a:gd name="connsiteX6" fmla="*/ 106042 w 106042"/>
                <a:gd name="connsiteY6" fmla="*/ 31234 h 113733"/>
                <a:gd name="connsiteX7" fmla="*/ 48856 w 106042"/>
                <a:gd name="connsiteY7" fmla="*/ 113733 h 11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042" h="113733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cubicBezTo>
                    <a:pt x="74507" y="0"/>
                    <a:pt x="89224" y="6439"/>
                    <a:pt x="100262" y="17477"/>
                  </a:cubicBezTo>
                  <a:lnTo>
                    <a:pt x="106042" y="31234"/>
                  </a:lnTo>
                  <a:lnTo>
                    <a:pt x="48856" y="1137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2" name="Forme libre : forme 2681">
              <a:extLst>
                <a:ext uri="{FF2B5EF4-FFF2-40B4-BE49-F238E27FC236}">
                  <a16:creationId xmlns:a16="http://schemas.microsoft.com/office/drawing/2014/main" id="{9B3439DB-66BB-4F10-AE1A-D801C021A556}"/>
                </a:ext>
              </a:extLst>
            </p:cNvPr>
            <p:cNvSpPr/>
            <p:nvPr/>
          </p:nvSpPr>
          <p:spPr>
            <a:xfrm rot="8716295">
              <a:off x="-21924" y="3179872"/>
              <a:ext cx="45776" cy="62656"/>
            </a:xfrm>
            <a:custGeom>
              <a:avLst/>
              <a:gdLst>
                <a:gd name="connsiteX0" fmla="*/ 2345 w 45776"/>
                <a:gd name="connsiteY0" fmla="*/ 62656 h 62656"/>
                <a:gd name="connsiteX1" fmla="*/ 0 w 45776"/>
                <a:gd name="connsiteY1" fmla="*/ 57104 h 62656"/>
                <a:gd name="connsiteX2" fmla="*/ 0 w 45776"/>
                <a:gd name="connsiteY2" fmla="*/ 56183 h 62656"/>
                <a:gd name="connsiteX3" fmla="*/ 17477 w 45776"/>
                <a:gd name="connsiteY3" fmla="*/ 14791 h 62656"/>
                <a:gd name="connsiteX4" fmla="*/ 36449 w 45776"/>
                <a:gd name="connsiteY4" fmla="*/ 1913 h 62656"/>
                <a:gd name="connsiteX5" fmla="*/ 45776 w 45776"/>
                <a:gd name="connsiteY5" fmla="*/ 0 h 62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776" h="62656">
                  <a:moveTo>
                    <a:pt x="2345" y="62656"/>
                  </a:moveTo>
                  <a:lnTo>
                    <a:pt x="0" y="57104"/>
                  </a:lnTo>
                  <a:lnTo>
                    <a:pt x="0" y="56183"/>
                  </a:lnTo>
                  <a:cubicBezTo>
                    <a:pt x="0" y="40547"/>
                    <a:pt x="6439" y="25829"/>
                    <a:pt x="17477" y="14791"/>
                  </a:cubicBezTo>
                  <a:cubicBezTo>
                    <a:pt x="22996" y="9272"/>
                    <a:pt x="29435" y="4903"/>
                    <a:pt x="36449" y="1913"/>
                  </a:cubicBezTo>
                  <a:lnTo>
                    <a:pt x="4577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3" name="Forme libre : forme 2682">
              <a:extLst>
                <a:ext uri="{FF2B5EF4-FFF2-40B4-BE49-F238E27FC236}">
                  <a16:creationId xmlns:a16="http://schemas.microsoft.com/office/drawing/2014/main" id="{BE051C75-2EC0-4A07-8D42-5B1B5C7740A7}"/>
                </a:ext>
              </a:extLst>
            </p:cNvPr>
            <p:cNvSpPr/>
            <p:nvPr/>
          </p:nvSpPr>
          <p:spPr>
            <a:xfrm rot="8716295">
              <a:off x="592036" y="5123131"/>
              <a:ext cx="56900" cy="40151"/>
            </a:xfrm>
            <a:custGeom>
              <a:avLst/>
              <a:gdLst>
                <a:gd name="connsiteX0" fmla="*/ 13826 w 56900"/>
                <a:gd name="connsiteY0" fmla="*/ 23593 h 40151"/>
                <a:gd name="connsiteX1" fmla="*/ 948 w 56900"/>
                <a:gd name="connsiteY1" fmla="*/ 4622 h 40151"/>
                <a:gd name="connsiteX2" fmla="*/ 0 w 56900"/>
                <a:gd name="connsiteY2" fmla="*/ 0 h 40151"/>
                <a:gd name="connsiteX3" fmla="*/ 56900 w 56900"/>
                <a:gd name="connsiteY3" fmla="*/ 39441 h 40151"/>
                <a:gd name="connsiteX4" fmla="*/ 55218 w 56900"/>
                <a:gd name="connsiteY4" fmla="*/ 40151 h 40151"/>
                <a:gd name="connsiteX5" fmla="*/ 13826 w 56900"/>
                <a:gd name="connsiteY5" fmla="*/ 23593 h 40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900" h="40151">
                  <a:moveTo>
                    <a:pt x="13826" y="23593"/>
                  </a:moveTo>
                  <a:cubicBezTo>
                    <a:pt x="8307" y="18074"/>
                    <a:pt x="3938" y="11636"/>
                    <a:pt x="948" y="4622"/>
                  </a:cubicBezTo>
                  <a:lnTo>
                    <a:pt x="0" y="0"/>
                  </a:lnTo>
                  <a:lnTo>
                    <a:pt x="56900" y="39441"/>
                  </a:lnTo>
                  <a:lnTo>
                    <a:pt x="55218" y="40151"/>
                  </a:lnTo>
                  <a:cubicBezTo>
                    <a:pt x="39581" y="40151"/>
                    <a:pt x="24864" y="34631"/>
                    <a:pt x="13826" y="2359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4" name="Forme libre : forme 2683">
              <a:extLst>
                <a:ext uri="{FF2B5EF4-FFF2-40B4-BE49-F238E27FC236}">
                  <a16:creationId xmlns:a16="http://schemas.microsoft.com/office/drawing/2014/main" id="{A2DDC211-7D18-475F-9BDE-7390FC50600F}"/>
                </a:ext>
              </a:extLst>
            </p:cNvPr>
            <p:cNvSpPr/>
            <p:nvPr/>
          </p:nvSpPr>
          <p:spPr>
            <a:xfrm rot="8716295">
              <a:off x="-21324" y="4100649"/>
              <a:ext cx="79113" cy="50123"/>
            </a:xfrm>
            <a:custGeom>
              <a:avLst/>
              <a:gdLst>
                <a:gd name="connsiteX0" fmla="*/ 0 w 79113"/>
                <a:gd name="connsiteY0" fmla="*/ 50123 h 50123"/>
                <a:gd name="connsiteX1" fmla="*/ 0 w 79113"/>
                <a:gd name="connsiteY1" fmla="*/ 0 h 50123"/>
                <a:gd name="connsiteX2" fmla="*/ 79113 w 79113"/>
                <a:gd name="connsiteY2" fmla="*/ 0 h 50123"/>
                <a:gd name="connsiteX3" fmla="*/ 44369 w 79113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113" h="50123">
                  <a:moveTo>
                    <a:pt x="0" y="50123"/>
                  </a:moveTo>
                  <a:lnTo>
                    <a:pt x="0" y="0"/>
                  </a:lnTo>
                  <a:lnTo>
                    <a:pt x="79113" y="0"/>
                  </a:lnTo>
                  <a:lnTo>
                    <a:pt x="44369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5" name="Forme libre : forme 2684">
              <a:extLst>
                <a:ext uri="{FF2B5EF4-FFF2-40B4-BE49-F238E27FC236}">
                  <a16:creationId xmlns:a16="http://schemas.microsoft.com/office/drawing/2014/main" id="{4A594CAD-D127-4A61-B2C8-0DE44CCFCB9E}"/>
                </a:ext>
              </a:extLst>
            </p:cNvPr>
            <p:cNvSpPr/>
            <p:nvPr/>
          </p:nvSpPr>
          <p:spPr>
            <a:xfrm rot="8716295">
              <a:off x="-40457" y="398156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6" name="Forme libre : forme 2685">
              <a:extLst>
                <a:ext uri="{FF2B5EF4-FFF2-40B4-BE49-F238E27FC236}">
                  <a16:creationId xmlns:a16="http://schemas.microsoft.com/office/drawing/2014/main" id="{C35F84B9-08F3-41F8-AB3B-A49B6847CE98}"/>
                </a:ext>
              </a:extLst>
            </p:cNvPr>
            <p:cNvSpPr/>
            <p:nvPr/>
          </p:nvSpPr>
          <p:spPr>
            <a:xfrm rot="7484129">
              <a:off x="-46974" y="427316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7" name="Forme libre : forme 2686">
              <a:extLst>
                <a:ext uri="{FF2B5EF4-FFF2-40B4-BE49-F238E27FC236}">
                  <a16:creationId xmlns:a16="http://schemas.microsoft.com/office/drawing/2014/main" id="{3D0897FF-826A-48CF-8574-888120D65678}"/>
                </a:ext>
              </a:extLst>
            </p:cNvPr>
            <p:cNvSpPr/>
            <p:nvPr/>
          </p:nvSpPr>
          <p:spPr>
            <a:xfrm rot="13089394">
              <a:off x="57846" y="423970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8" name="Forme libre : forme 2687">
              <a:extLst>
                <a:ext uri="{FF2B5EF4-FFF2-40B4-BE49-F238E27FC236}">
                  <a16:creationId xmlns:a16="http://schemas.microsoft.com/office/drawing/2014/main" id="{2F8D07DA-1D87-463F-B4DC-27CBA56DED7E}"/>
                </a:ext>
              </a:extLst>
            </p:cNvPr>
            <p:cNvSpPr/>
            <p:nvPr/>
          </p:nvSpPr>
          <p:spPr>
            <a:xfrm rot="8716295">
              <a:off x="243431" y="404801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9" name="Forme libre : forme 2688">
              <a:extLst>
                <a:ext uri="{FF2B5EF4-FFF2-40B4-BE49-F238E27FC236}">
                  <a16:creationId xmlns:a16="http://schemas.microsoft.com/office/drawing/2014/main" id="{BADA5750-C783-4D69-B30C-EF6BBA7037F4}"/>
                </a:ext>
              </a:extLst>
            </p:cNvPr>
            <p:cNvSpPr/>
            <p:nvPr/>
          </p:nvSpPr>
          <p:spPr>
            <a:xfrm rot="8716295">
              <a:off x="191626" y="39444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0" name="Forme libre : forme 2689">
              <a:extLst>
                <a:ext uri="{FF2B5EF4-FFF2-40B4-BE49-F238E27FC236}">
                  <a16:creationId xmlns:a16="http://schemas.microsoft.com/office/drawing/2014/main" id="{7176F547-28C8-4730-A116-BF57B49F4638}"/>
                </a:ext>
              </a:extLst>
            </p:cNvPr>
            <p:cNvSpPr/>
            <p:nvPr/>
          </p:nvSpPr>
          <p:spPr>
            <a:xfrm rot="8716295">
              <a:off x="125832" y="381540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1" name="Forme libre : forme 2690">
              <a:extLst>
                <a:ext uri="{FF2B5EF4-FFF2-40B4-BE49-F238E27FC236}">
                  <a16:creationId xmlns:a16="http://schemas.microsoft.com/office/drawing/2014/main" id="{1C963D98-5E90-4FBD-9A58-C704191F7207}"/>
                </a:ext>
              </a:extLst>
            </p:cNvPr>
            <p:cNvSpPr/>
            <p:nvPr/>
          </p:nvSpPr>
          <p:spPr>
            <a:xfrm rot="8716295">
              <a:off x="-73048" y="4876828"/>
              <a:ext cx="221382" cy="253349"/>
            </a:xfrm>
            <a:custGeom>
              <a:avLst/>
              <a:gdLst>
                <a:gd name="connsiteX0" fmla="*/ 51490 w 221382"/>
                <a:gd name="connsiteY0" fmla="*/ 253349 h 253349"/>
                <a:gd name="connsiteX1" fmla="*/ 51490 w 221382"/>
                <a:gd name="connsiteY1" fmla="*/ 44199 h 253349"/>
                <a:gd name="connsiteX2" fmla="*/ 0 w 221382"/>
                <a:gd name="connsiteY2" fmla="*/ 44199 h 253349"/>
                <a:gd name="connsiteX3" fmla="*/ 0 w 221382"/>
                <a:gd name="connsiteY3" fmla="*/ 0 h 253349"/>
                <a:gd name="connsiteX4" fmla="*/ 104803 w 221382"/>
                <a:gd name="connsiteY4" fmla="*/ 0 h 253349"/>
                <a:gd name="connsiteX5" fmla="*/ 104802 w 221382"/>
                <a:gd name="connsiteY5" fmla="*/ 73817 h 253349"/>
                <a:gd name="connsiteX6" fmla="*/ 106169 w 221382"/>
                <a:gd name="connsiteY6" fmla="*/ 73817 h 253349"/>
                <a:gd name="connsiteX7" fmla="*/ 154014 w 221382"/>
                <a:gd name="connsiteY7" fmla="*/ 4556 h 253349"/>
                <a:gd name="connsiteX8" fmla="*/ 174650 w 221382"/>
                <a:gd name="connsiteY8" fmla="*/ 668 h 253349"/>
                <a:gd name="connsiteX9" fmla="*/ 214075 w 221382"/>
                <a:gd name="connsiteY9" fmla="*/ 27996 h 253349"/>
                <a:gd name="connsiteX10" fmla="*/ 221382 w 221382"/>
                <a:gd name="connsiteY10" fmla="*/ 33060 h 253349"/>
                <a:gd name="connsiteX11" fmla="*/ 195540 w 221382"/>
                <a:gd name="connsiteY11" fmla="*/ 70341 h 253349"/>
                <a:gd name="connsiteX12" fmla="*/ 189157 w 221382"/>
                <a:gd name="connsiteY12" fmla="*/ 50236 h 253349"/>
                <a:gd name="connsiteX13" fmla="*/ 164950 w 221382"/>
                <a:gd name="connsiteY13" fmla="*/ 38731 h 253349"/>
                <a:gd name="connsiteX14" fmla="*/ 111638 w 221382"/>
                <a:gd name="connsiteY14" fmla="*/ 126218 h 253349"/>
                <a:gd name="connsiteX15" fmla="*/ 111638 w 221382"/>
                <a:gd name="connsiteY15" fmla="*/ 191383 h 253349"/>
                <a:gd name="connsiteX16" fmla="*/ 84096 w 221382"/>
                <a:gd name="connsiteY16" fmla="*/ 231117 h 253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1382" h="253349">
                  <a:moveTo>
                    <a:pt x="51490" y="253349"/>
                  </a:moveTo>
                  <a:lnTo>
                    <a:pt x="51490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104803" y="0"/>
                  </a:lnTo>
                  <a:lnTo>
                    <a:pt x="104802" y="73817"/>
                  </a:lnTo>
                  <a:lnTo>
                    <a:pt x="106169" y="73817"/>
                  </a:lnTo>
                  <a:cubicBezTo>
                    <a:pt x="120751" y="30529"/>
                    <a:pt x="132142" y="13670"/>
                    <a:pt x="154014" y="4556"/>
                  </a:cubicBezTo>
                  <a:lnTo>
                    <a:pt x="174650" y="668"/>
                  </a:lnTo>
                  <a:lnTo>
                    <a:pt x="214075" y="27996"/>
                  </a:lnTo>
                  <a:lnTo>
                    <a:pt x="221382" y="33060"/>
                  </a:lnTo>
                  <a:lnTo>
                    <a:pt x="195540" y="70341"/>
                  </a:lnTo>
                  <a:lnTo>
                    <a:pt x="189157" y="50236"/>
                  </a:lnTo>
                  <a:cubicBezTo>
                    <a:pt x="183177" y="42946"/>
                    <a:pt x="174747" y="38731"/>
                    <a:pt x="164950" y="38731"/>
                  </a:cubicBezTo>
                  <a:cubicBezTo>
                    <a:pt x="135788" y="38731"/>
                    <a:pt x="111638" y="77463"/>
                    <a:pt x="111638" y="126218"/>
                  </a:cubicBezTo>
                  <a:lnTo>
                    <a:pt x="111638" y="191383"/>
                  </a:lnTo>
                  <a:lnTo>
                    <a:pt x="84096" y="2311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2" name="Forme libre : forme 2691">
              <a:extLst>
                <a:ext uri="{FF2B5EF4-FFF2-40B4-BE49-F238E27FC236}">
                  <a16:creationId xmlns:a16="http://schemas.microsoft.com/office/drawing/2014/main" id="{8E8AC4EC-3332-4FDC-A396-BF01CCE8866D}"/>
                </a:ext>
              </a:extLst>
            </p:cNvPr>
            <p:cNvSpPr/>
            <p:nvPr/>
          </p:nvSpPr>
          <p:spPr>
            <a:xfrm rot="8716295">
              <a:off x="93318" y="46120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3" name="Forme libre : forme 2692">
              <a:extLst>
                <a:ext uri="{FF2B5EF4-FFF2-40B4-BE49-F238E27FC236}">
                  <a16:creationId xmlns:a16="http://schemas.microsoft.com/office/drawing/2014/main" id="{C4232B1B-4805-4D83-80AE-47B7546367B0}"/>
                </a:ext>
              </a:extLst>
            </p:cNvPr>
            <p:cNvSpPr/>
            <p:nvPr/>
          </p:nvSpPr>
          <p:spPr>
            <a:xfrm rot="8716295">
              <a:off x="182710" y="46412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4" name="Forme libre : forme 2693">
              <a:extLst>
                <a:ext uri="{FF2B5EF4-FFF2-40B4-BE49-F238E27FC236}">
                  <a16:creationId xmlns:a16="http://schemas.microsoft.com/office/drawing/2014/main" id="{952CFAFD-A1C3-49BC-88A4-2A9560CFFDDC}"/>
                </a:ext>
              </a:extLst>
            </p:cNvPr>
            <p:cNvSpPr/>
            <p:nvPr/>
          </p:nvSpPr>
          <p:spPr>
            <a:xfrm rot="8716295">
              <a:off x="-14524" y="4699631"/>
              <a:ext cx="49997" cy="54238"/>
            </a:xfrm>
            <a:custGeom>
              <a:avLst/>
              <a:gdLst>
                <a:gd name="connsiteX0" fmla="*/ 8658 w 49997"/>
                <a:gd name="connsiteY0" fmla="*/ 50123 h 54238"/>
                <a:gd name="connsiteX1" fmla="*/ 0 w 49997"/>
                <a:gd name="connsiteY1" fmla="*/ 29619 h 54238"/>
                <a:gd name="connsiteX2" fmla="*/ 0 w 49997"/>
                <a:gd name="connsiteY2" fmla="*/ 29162 h 54238"/>
                <a:gd name="connsiteX3" fmla="*/ 8658 w 49997"/>
                <a:gd name="connsiteY3" fmla="*/ 8658 h 54238"/>
                <a:gd name="connsiteX4" fmla="*/ 29163 w 49997"/>
                <a:gd name="connsiteY4" fmla="*/ 0 h 54238"/>
                <a:gd name="connsiteX5" fmla="*/ 49668 w 49997"/>
                <a:gd name="connsiteY5" fmla="*/ 8658 h 54238"/>
                <a:gd name="connsiteX6" fmla="*/ 49997 w 49997"/>
                <a:gd name="connsiteY6" fmla="*/ 9441 h 54238"/>
                <a:gd name="connsiteX7" fmla="*/ 18945 w 49997"/>
                <a:gd name="connsiteY7" fmla="*/ 54238 h 54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997" h="54238">
                  <a:moveTo>
                    <a:pt x="8658" y="50123"/>
                  </a:moveTo>
                  <a:cubicBezTo>
                    <a:pt x="3190" y="44655"/>
                    <a:pt x="0" y="37365"/>
                    <a:pt x="0" y="29619"/>
                  </a:cubicBezTo>
                  <a:lnTo>
                    <a:pt x="0" y="29162"/>
                  </a:lnTo>
                  <a:cubicBezTo>
                    <a:pt x="0" y="21417"/>
                    <a:pt x="3190" y="14126"/>
                    <a:pt x="8658" y="8658"/>
                  </a:cubicBezTo>
                  <a:cubicBezTo>
                    <a:pt x="14126" y="3190"/>
                    <a:pt x="21416" y="0"/>
                    <a:pt x="29163" y="0"/>
                  </a:cubicBezTo>
                  <a:cubicBezTo>
                    <a:pt x="36909" y="0"/>
                    <a:pt x="44200" y="3190"/>
                    <a:pt x="49668" y="8658"/>
                  </a:cubicBezTo>
                  <a:lnTo>
                    <a:pt x="49997" y="9441"/>
                  </a:lnTo>
                  <a:lnTo>
                    <a:pt x="18945" y="54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5" name="Forme libre : forme 2694">
              <a:extLst>
                <a:ext uri="{FF2B5EF4-FFF2-40B4-BE49-F238E27FC236}">
                  <a16:creationId xmlns:a16="http://schemas.microsoft.com/office/drawing/2014/main" id="{3FE0366B-AD9E-4FF0-B101-FF640F463910}"/>
                </a:ext>
              </a:extLst>
            </p:cNvPr>
            <p:cNvSpPr/>
            <p:nvPr/>
          </p:nvSpPr>
          <p:spPr>
            <a:xfrm rot="8716295">
              <a:off x="-30327" y="4579755"/>
              <a:ext cx="113346" cy="71024"/>
            </a:xfrm>
            <a:custGeom>
              <a:avLst/>
              <a:gdLst>
                <a:gd name="connsiteX0" fmla="*/ 0 w 113346"/>
                <a:gd name="connsiteY0" fmla="*/ 55323 h 71024"/>
                <a:gd name="connsiteX1" fmla="*/ 0 w 113346"/>
                <a:gd name="connsiteY1" fmla="*/ 0 h 71024"/>
                <a:gd name="connsiteX2" fmla="*/ 113346 w 113346"/>
                <a:gd name="connsiteY2" fmla="*/ 0 h 71024"/>
                <a:gd name="connsiteX3" fmla="*/ 64114 w 113346"/>
                <a:gd name="connsiteY3" fmla="*/ 71024 h 71024"/>
                <a:gd name="connsiteX4" fmla="*/ 69777 w 113346"/>
                <a:gd name="connsiteY4" fmla="*/ 55323 h 7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346" h="71024">
                  <a:moveTo>
                    <a:pt x="0" y="55323"/>
                  </a:moveTo>
                  <a:lnTo>
                    <a:pt x="0" y="0"/>
                  </a:lnTo>
                  <a:lnTo>
                    <a:pt x="113346" y="0"/>
                  </a:lnTo>
                  <a:lnTo>
                    <a:pt x="64114" y="71024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6" name="Forme libre : forme 2695">
              <a:extLst>
                <a:ext uri="{FF2B5EF4-FFF2-40B4-BE49-F238E27FC236}">
                  <a16:creationId xmlns:a16="http://schemas.microsoft.com/office/drawing/2014/main" id="{462792DD-6AEC-43AE-AA23-31A7407E7186}"/>
                </a:ext>
              </a:extLst>
            </p:cNvPr>
            <p:cNvSpPr/>
            <p:nvPr/>
          </p:nvSpPr>
          <p:spPr>
            <a:xfrm rot="8716295">
              <a:off x="71262" y="47415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7" name="Forme libre : forme 2696">
              <a:extLst>
                <a:ext uri="{FF2B5EF4-FFF2-40B4-BE49-F238E27FC236}">
                  <a16:creationId xmlns:a16="http://schemas.microsoft.com/office/drawing/2014/main" id="{C223BB14-96CC-4B4E-BEF2-7DC15D49AC68}"/>
                </a:ext>
              </a:extLst>
            </p:cNvPr>
            <p:cNvSpPr/>
            <p:nvPr/>
          </p:nvSpPr>
          <p:spPr>
            <a:xfrm rot="7484129">
              <a:off x="172059" y="493353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170341 w 203847"/>
                <a:gd name="connsiteY5" fmla="*/ 0 h 195874"/>
                <a:gd name="connsiteX6" fmla="*/ 203847 w 203847"/>
                <a:gd name="connsiteY6" fmla="*/ 48325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170341" y="0"/>
                  </a:lnTo>
                  <a:lnTo>
                    <a:pt x="203847" y="48325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8" name="Forme libre : forme 2697">
              <a:extLst>
                <a:ext uri="{FF2B5EF4-FFF2-40B4-BE49-F238E27FC236}">
                  <a16:creationId xmlns:a16="http://schemas.microsoft.com/office/drawing/2014/main" id="{9105CD85-AB3C-4846-B6A4-83422B072A6F}"/>
                </a:ext>
              </a:extLst>
            </p:cNvPr>
            <p:cNvSpPr/>
            <p:nvPr/>
          </p:nvSpPr>
          <p:spPr>
            <a:xfrm rot="13089394">
              <a:off x="313263" y="4907079"/>
              <a:ext cx="272584" cy="221720"/>
            </a:xfrm>
            <a:custGeom>
              <a:avLst/>
              <a:gdLst>
                <a:gd name="connsiteX0" fmla="*/ 272584 w 272584"/>
                <a:gd name="connsiteY0" fmla="*/ 150928 h 221720"/>
                <a:gd name="connsiteX1" fmla="*/ 91597 w 272584"/>
                <a:gd name="connsiteY1" fmla="*/ 221557 h 221720"/>
                <a:gd name="connsiteX2" fmla="*/ 23727 w 272584"/>
                <a:gd name="connsiteY2" fmla="*/ 193967 h 221720"/>
                <a:gd name="connsiteX3" fmla="*/ 0 w 272584"/>
                <a:gd name="connsiteY3" fmla="*/ 99060 h 221720"/>
                <a:gd name="connsiteX4" fmla="*/ 0 w 272584"/>
                <a:gd name="connsiteY4" fmla="*/ 58265 h 221720"/>
                <a:gd name="connsiteX5" fmla="*/ 74157 w 272584"/>
                <a:gd name="connsiteY5" fmla="*/ 0 h 221720"/>
                <a:gd name="connsiteX6" fmla="*/ 74492 w 272584"/>
                <a:gd name="connsiteY6" fmla="*/ 46640 h 221720"/>
                <a:gd name="connsiteX7" fmla="*/ 87734 w 272584"/>
                <a:gd name="connsiteY7" fmla="*/ 138237 h 221720"/>
                <a:gd name="connsiteX8" fmla="*/ 153949 w 272584"/>
                <a:gd name="connsiteY8" fmla="*/ 174655 h 221720"/>
                <a:gd name="connsiteX9" fmla="*/ 203610 w 272584"/>
                <a:gd name="connsiteY9" fmla="*/ 165826 h 221720"/>
                <a:gd name="connsiteX10" fmla="*/ 271480 w 272584"/>
                <a:gd name="connsiteY10" fmla="*/ 138237 h 221720"/>
                <a:gd name="connsiteX11" fmla="*/ 272584 w 272584"/>
                <a:gd name="connsiteY11" fmla="*/ 145410 h 22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2584" h="221720">
                  <a:moveTo>
                    <a:pt x="272584" y="150928"/>
                  </a:moveTo>
                  <a:cubicBezTo>
                    <a:pt x="214094" y="201141"/>
                    <a:pt x="137395" y="218798"/>
                    <a:pt x="91597" y="221557"/>
                  </a:cubicBezTo>
                  <a:cubicBezTo>
                    <a:pt x="66215" y="223213"/>
                    <a:pt x="41384" y="212177"/>
                    <a:pt x="23727" y="193967"/>
                  </a:cubicBezTo>
                  <a:cubicBezTo>
                    <a:pt x="4966" y="175759"/>
                    <a:pt x="0" y="144306"/>
                    <a:pt x="0" y="99060"/>
                  </a:cubicBezTo>
                  <a:lnTo>
                    <a:pt x="0" y="58265"/>
                  </a:lnTo>
                  <a:lnTo>
                    <a:pt x="74157" y="0"/>
                  </a:lnTo>
                  <a:lnTo>
                    <a:pt x="74492" y="46640"/>
                  </a:lnTo>
                  <a:cubicBezTo>
                    <a:pt x="72836" y="77540"/>
                    <a:pt x="77802" y="108992"/>
                    <a:pt x="87734" y="138237"/>
                  </a:cubicBezTo>
                  <a:cubicBezTo>
                    <a:pt x="96563" y="162515"/>
                    <a:pt x="119186" y="174655"/>
                    <a:pt x="153949" y="174655"/>
                  </a:cubicBezTo>
                  <a:cubicBezTo>
                    <a:pt x="171055" y="174103"/>
                    <a:pt x="187608" y="170792"/>
                    <a:pt x="203610" y="165826"/>
                  </a:cubicBezTo>
                  <a:cubicBezTo>
                    <a:pt x="226785" y="158653"/>
                    <a:pt x="249409" y="149273"/>
                    <a:pt x="271480" y="138237"/>
                  </a:cubicBezTo>
                  <a:cubicBezTo>
                    <a:pt x="272032" y="140444"/>
                    <a:pt x="272584" y="143203"/>
                    <a:pt x="272584" y="1454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9" name="Forme libre : forme 2698">
              <a:extLst>
                <a:ext uri="{FF2B5EF4-FFF2-40B4-BE49-F238E27FC236}">
                  <a16:creationId xmlns:a16="http://schemas.microsoft.com/office/drawing/2014/main" id="{04F7B0B6-4F3C-463B-AFC6-7617C958C986}"/>
                </a:ext>
              </a:extLst>
            </p:cNvPr>
            <p:cNvSpPr/>
            <p:nvPr/>
          </p:nvSpPr>
          <p:spPr>
            <a:xfrm rot="8716295">
              <a:off x="466598" y="470771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00" name="Forme libre : forme 2699">
              <a:extLst>
                <a:ext uri="{FF2B5EF4-FFF2-40B4-BE49-F238E27FC236}">
                  <a16:creationId xmlns:a16="http://schemas.microsoft.com/office/drawing/2014/main" id="{9EAECEBF-102E-44C3-A49C-9E40F5D97CD7}"/>
                </a:ext>
              </a:extLst>
            </p:cNvPr>
            <p:cNvSpPr/>
            <p:nvPr/>
          </p:nvSpPr>
          <p:spPr>
            <a:xfrm rot="8716295">
              <a:off x="414793" y="460412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01" name="Forme libre : forme 2700">
              <a:extLst>
                <a:ext uri="{FF2B5EF4-FFF2-40B4-BE49-F238E27FC236}">
                  <a16:creationId xmlns:a16="http://schemas.microsoft.com/office/drawing/2014/main" id="{D86C9B04-A48F-43C5-818F-0682D918E935}"/>
                </a:ext>
              </a:extLst>
            </p:cNvPr>
            <p:cNvSpPr/>
            <p:nvPr/>
          </p:nvSpPr>
          <p:spPr>
            <a:xfrm rot="8716295">
              <a:off x="171547" y="46343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02" name="Forme libre : forme 2701">
              <a:extLst>
                <a:ext uri="{FF2B5EF4-FFF2-40B4-BE49-F238E27FC236}">
                  <a16:creationId xmlns:a16="http://schemas.microsoft.com/office/drawing/2014/main" id="{B50A5EA0-94C0-49DF-B3B3-0598110E9D36}"/>
                </a:ext>
              </a:extLst>
            </p:cNvPr>
            <p:cNvSpPr/>
            <p:nvPr/>
          </p:nvSpPr>
          <p:spPr>
            <a:xfrm rot="8716295">
              <a:off x="348999" y="44751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2703" name="Forme libre : forme 2702">
            <a:extLst>
              <a:ext uri="{FF2B5EF4-FFF2-40B4-BE49-F238E27FC236}">
                <a16:creationId xmlns:a16="http://schemas.microsoft.com/office/drawing/2014/main" id="{E408E4A5-CB62-44EA-BFB2-5C8080ABA866}"/>
              </a:ext>
            </a:extLst>
          </p:cNvPr>
          <p:cNvSpPr/>
          <p:nvPr userDrawn="1"/>
        </p:nvSpPr>
        <p:spPr>
          <a:xfrm>
            <a:off x="5658098" y="0"/>
            <a:ext cx="3485902" cy="5143500"/>
          </a:xfrm>
          <a:custGeom>
            <a:avLst/>
            <a:gdLst>
              <a:gd name="connsiteX0" fmla="*/ 437902 w 3485902"/>
              <a:gd name="connsiteY0" fmla="*/ 0 h 5143500"/>
              <a:gd name="connsiteX1" fmla="*/ 3485902 w 3485902"/>
              <a:gd name="connsiteY1" fmla="*/ 0 h 5143500"/>
              <a:gd name="connsiteX2" fmla="*/ 3485902 w 3485902"/>
              <a:gd name="connsiteY2" fmla="*/ 5143500 h 5143500"/>
              <a:gd name="connsiteX3" fmla="*/ 437902 w 3485902"/>
              <a:gd name="connsiteY3" fmla="*/ 5143500 h 5143500"/>
              <a:gd name="connsiteX4" fmla="*/ 0 w 3485902"/>
              <a:gd name="connsiteY4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85902" h="5143500">
                <a:moveTo>
                  <a:pt x="437902" y="0"/>
                </a:moveTo>
                <a:lnTo>
                  <a:pt x="3485902" y="0"/>
                </a:lnTo>
                <a:lnTo>
                  <a:pt x="3485902" y="5143500"/>
                </a:lnTo>
                <a:lnTo>
                  <a:pt x="437902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1416" name="Triangle isocèle 1415">
            <a:extLst>
              <a:ext uri="{FF2B5EF4-FFF2-40B4-BE49-F238E27FC236}">
                <a16:creationId xmlns:a16="http://schemas.microsoft.com/office/drawing/2014/main" id="{AD7C94CF-E2EE-4D3E-8ABC-2B739EE56084}"/>
              </a:ext>
            </a:extLst>
          </p:cNvPr>
          <p:cNvSpPr/>
          <p:nvPr userDrawn="1"/>
        </p:nvSpPr>
        <p:spPr>
          <a:xfrm flipH="1" flipV="1">
            <a:off x="5860799" y="-4"/>
            <a:ext cx="697074" cy="2733677"/>
          </a:xfrm>
          <a:prstGeom prst="triangle">
            <a:avLst>
              <a:gd name="adj" fmla="val 98181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12" name="Espace réservé du texte 1411">
            <a:extLst>
              <a:ext uri="{FF2B5EF4-FFF2-40B4-BE49-F238E27FC236}">
                <a16:creationId xmlns:a16="http://schemas.microsoft.com/office/drawing/2014/main" id="{B975A26C-84FD-4C11-BF53-E602FA68DDC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9920" y="812296"/>
            <a:ext cx="36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1413" name="Espace réservé du texte 1412">
            <a:extLst>
              <a:ext uri="{FF2B5EF4-FFF2-40B4-BE49-F238E27FC236}">
                <a16:creationId xmlns:a16="http://schemas.microsoft.com/office/drawing/2014/main" id="{1F3E6244-BF30-44B9-B6F9-BF4959AA80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29920" y="812296"/>
            <a:ext cx="36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1414" name="Titre 1413">
            <a:extLst>
              <a:ext uri="{FF2B5EF4-FFF2-40B4-BE49-F238E27FC236}">
                <a16:creationId xmlns:a16="http://schemas.microsoft.com/office/drawing/2014/main" id="{7B15E4E4-6E7E-48BC-92A9-631F532CE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5123" y="333575"/>
            <a:ext cx="4278481" cy="4247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Titre de la slide</a:t>
            </a:r>
          </a:p>
        </p:txBody>
      </p:sp>
      <p:sp>
        <p:nvSpPr>
          <p:cNvPr id="2704" name="Espace réservé du texte 527">
            <a:extLst>
              <a:ext uri="{FF2B5EF4-FFF2-40B4-BE49-F238E27FC236}">
                <a16:creationId xmlns:a16="http://schemas.microsoft.com/office/drawing/2014/main" id="{CC11CCEC-9F44-4765-82D5-95394B68963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57797" y="4265959"/>
            <a:ext cx="972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2705" name="Espace réservé du texte 528">
            <a:extLst>
              <a:ext uri="{FF2B5EF4-FFF2-40B4-BE49-F238E27FC236}">
                <a16:creationId xmlns:a16="http://schemas.microsoft.com/office/drawing/2014/main" id="{7747CF4E-5B84-4DE3-88F9-EC35BF6D450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527881" y="4265959"/>
            <a:ext cx="972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rgbClr val="3A1B0B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2706" name="Espace réservé du texte 530">
            <a:extLst>
              <a:ext uri="{FF2B5EF4-FFF2-40B4-BE49-F238E27FC236}">
                <a16:creationId xmlns:a16="http://schemas.microsoft.com/office/drawing/2014/main" id="{CCE21332-A8BF-4D34-9256-DD4FFF00788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44353" y="491319"/>
            <a:ext cx="2190214" cy="3455711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100" b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Niveau 2</a:t>
            </a:r>
          </a:p>
        </p:txBody>
      </p:sp>
      <p:sp>
        <p:nvSpPr>
          <p:cNvPr id="905" name="Espace réservé du numéro de diapositive 904">
            <a:extLst>
              <a:ext uri="{FF2B5EF4-FFF2-40B4-BE49-F238E27FC236}">
                <a16:creationId xmlns:a16="http://schemas.microsoft.com/office/drawing/2014/main" id="{8E169AA1-F9FA-4AA9-8089-1E02EB58967C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5500800" y="2"/>
            <a:ext cx="594090" cy="2665951"/>
          </a:xfrm>
          <a:custGeom>
            <a:avLst/>
            <a:gdLst>
              <a:gd name="connsiteX0" fmla="*/ 0 w 594090"/>
              <a:gd name="connsiteY0" fmla="*/ 0 h 2665951"/>
              <a:gd name="connsiteX1" fmla="*/ 594090 w 594090"/>
              <a:gd name="connsiteY1" fmla="*/ 0 h 2665951"/>
              <a:gd name="connsiteX2" fmla="*/ 367119 w 594090"/>
              <a:gd name="connsiteY2" fmla="*/ 2665951 h 2665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94090" h="2665951">
                <a:moveTo>
                  <a:pt x="0" y="0"/>
                </a:moveTo>
                <a:lnTo>
                  <a:pt x="594090" y="0"/>
                </a:lnTo>
                <a:lnTo>
                  <a:pt x="367119" y="2665951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180000" rIns="0" bIns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5341688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uverture 1 - Foncé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que 2">
            <a:extLst>
              <a:ext uri="{FF2B5EF4-FFF2-40B4-BE49-F238E27FC236}">
                <a16:creationId xmlns:a16="http://schemas.microsoft.com/office/drawing/2014/main" id="{BCA76D0D-BBB6-4E20-BDA2-AF79702AE4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04432" y="2054979"/>
            <a:ext cx="3470194" cy="1035588"/>
          </a:xfrm>
          <a:prstGeom prst="rect">
            <a:avLst/>
          </a:prstGeom>
        </p:spPr>
      </p:pic>
      <p:sp>
        <p:nvSpPr>
          <p:cNvPr id="5" name="Forme libre : forme 4">
            <a:extLst>
              <a:ext uri="{FF2B5EF4-FFF2-40B4-BE49-F238E27FC236}">
                <a16:creationId xmlns:a16="http://schemas.microsoft.com/office/drawing/2014/main" id="{AEFD991A-ABBA-4F4C-98CF-1084947DFB28}"/>
              </a:ext>
            </a:extLst>
          </p:cNvPr>
          <p:cNvSpPr/>
          <p:nvPr userDrawn="1"/>
        </p:nvSpPr>
        <p:spPr>
          <a:xfrm>
            <a:off x="0" y="0"/>
            <a:ext cx="2476252" cy="5143500"/>
          </a:xfrm>
          <a:custGeom>
            <a:avLst/>
            <a:gdLst>
              <a:gd name="connsiteX0" fmla="*/ 0 w 2476252"/>
              <a:gd name="connsiteY0" fmla="*/ 0 h 5143500"/>
              <a:gd name="connsiteX1" fmla="*/ 2038350 w 2476252"/>
              <a:gd name="connsiteY1" fmla="*/ 0 h 5143500"/>
              <a:gd name="connsiteX2" fmla="*/ 2476252 w 2476252"/>
              <a:gd name="connsiteY2" fmla="*/ 0 h 5143500"/>
              <a:gd name="connsiteX3" fmla="*/ 2038350 w 2476252"/>
              <a:gd name="connsiteY3" fmla="*/ 5143500 h 5143500"/>
              <a:gd name="connsiteX4" fmla="*/ 0 w 2476252"/>
              <a:gd name="connsiteY4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76252" h="5143500">
                <a:moveTo>
                  <a:pt x="0" y="0"/>
                </a:moveTo>
                <a:lnTo>
                  <a:pt x="2038350" y="0"/>
                </a:lnTo>
                <a:lnTo>
                  <a:pt x="2476252" y="0"/>
                </a:lnTo>
                <a:lnTo>
                  <a:pt x="2038350" y="5143500"/>
                </a:lnTo>
                <a:lnTo>
                  <a:pt x="0" y="5143500"/>
                </a:lnTo>
                <a:close/>
              </a:path>
            </a:pathLst>
          </a:custGeom>
          <a:solidFill>
            <a:srgbClr val="3A1B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6" name="Forme libre : forme 5">
            <a:extLst>
              <a:ext uri="{FF2B5EF4-FFF2-40B4-BE49-F238E27FC236}">
                <a16:creationId xmlns:a16="http://schemas.microsoft.com/office/drawing/2014/main" id="{864821C3-7BAD-4585-9F8D-C119AC850133}"/>
              </a:ext>
            </a:extLst>
          </p:cNvPr>
          <p:cNvSpPr/>
          <p:nvPr userDrawn="1"/>
        </p:nvSpPr>
        <p:spPr>
          <a:xfrm flipH="1">
            <a:off x="2029641" y="2387470"/>
            <a:ext cx="614164" cy="2756031"/>
          </a:xfrm>
          <a:custGeom>
            <a:avLst/>
            <a:gdLst>
              <a:gd name="connsiteX0" fmla="*/ 379524 w 614164"/>
              <a:gd name="connsiteY0" fmla="*/ 0 h 2756031"/>
              <a:gd name="connsiteX1" fmla="*/ 0 w 614164"/>
              <a:gd name="connsiteY1" fmla="*/ 2756031 h 2756031"/>
              <a:gd name="connsiteX2" fmla="*/ 614164 w 614164"/>
              <a:gd name="connsiteY2" fmla="*/ 2756031 h 2756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14164" h="2756031">
                <a:moveTo>
                  <a:pt x="379524" y="0"/>
                </a:moveTo>
                <a:lnTo>
                  <a:pt x="0" y="2756031"/>
                </a:lnTo>
                <a:lnTo>
                  <a:pt x="614164" y="2756031"/>
                </a:lnTo>
                <a:close/>
              </a:path>
            </a:pathLst>
          </a:custGeom>
          <a:solidFill>
            <a:srgbClr val="009F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DA8CA9DB-B794-428D-9ECF-D4872FBA5C4C}"/>
              </a:ext>
            </a:extLst>
          </p:cNvPr>
          <p:cNvGrpSpPr/>
          <p:nvPr userDrawn="1"/>
        </p:nvGrpSpPr>
        <p:grpSpPr>
          <a:xfrm>
            <a:off x="-134707" y="-72828"/>
            <a:ext cx="2658992" cy="5335244"/>
            <a:chOff x="-134707" y="-72828"/>
            <a:chExt cx="2658992" cy="5335244"/>
          </a:xfrm>
          <a:solidFill>
            <a:schemeClr val="bg2">
              <a:alpha val="10000"/>
            </a:schemeClr>
          </a:solidFill>
        </p:grpSpPr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81E41836-E956-4188-9AAC-A83AE8900453}"/>
                </a:ext>
              </a:extLst>
            </p:cNvPr>
            <p:cNvSpPr/>
            <p:nvPr/>
          </p:nvSpPr>
          <p:spPr>
            <a:xfrm rot="8716295">
              <a:off x="1460344" y="348006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6217F1CC-5E84-40FC-88E7-C42A2398F84B}"/>
                </a:ext>
              </a:extLst>
            </p:cNvPr>
            <p:cNvSpPr/>
            <p:nvPr/>
          </p:nvSpPr>
          <p:spPr>
            <a:xfrm rot="8716295">
              <a:off x="1595642" y="352432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B80A1B59-7F4C-4E95-8CB7-0AACC6C05627}"/>
                </a:ext>
              </a:extLst>
            </p:cNvPr>
            <p:cNvSpPr/>
            <p:nvPr/>
          </p:nvSpPr>
          <p:spPr>
            <a:xfrm rot="8716295">
              <a:off x="1527760" y="339373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8728A690-34B9-4DFF-8734-9F6EBD35EBC5}"/>
                </a:ext>
              </a:extLst>
            </p:cNvPr>
            <p:cNvSpPr/>
            <p:nvPr/>
          </p:nvSpPr>
          <p:spPr>
            <a:xfrm rot="8716295">
              <a:off x="1290473" y="361408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2927191B-5C8D-4149-8DBA-718546C29906}"/>
                </a:ext>
              </a:extLst>
            </p:cNvPr>
            <p:cNvSpPr/>
            <p:nvPr/>
          </p:nvSpPr>
          <p:spPr>
            <a:xfrm rot="8716295">
              <a:off x="1101427" y="329824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375566C6-9E02-4DD8-8C3B-267A6C61A667}"/>
                </a:ext>
              </a:extLst>
            </p:cNvPr>
            <p:cNvSpPr/>
            <p:nvPr/>
          </p:nvSpPr>
          <p:spPr>
            <a:xfrm rot="8716295">
              <a:off x="1083185" y="3088198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1A3C2C2D-7CBE-4F9B-8B8B-959B1D778E3E}"/>
                </a:ext>
              </a:extLst>
            </p:cNvPr>
            <p:cNvSpPr/>
            <p:nvPr/>
          </p:nvSpPr>
          <p:spPr>
            <a:xfrm rot="8716295">
              <a:off x="1426961" y="367606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8EB673A3-36B5-4724-AE91-A9B8454C1396}"/>
                </a:ext>
              </a:extLst>
            </p:cNvPr>
            <p:cNvSpPr/>
            <p:nvPr/>
          </p:nvSpPr>
          <p:spPr>
            <a:xfrm rot="8716295">
              <a:off x="1897908" y="310145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F8EEA06C-B620-4C52-ACA9-B6AC8852992A}"/>
                </a:ext>
              </a:extLst>
            </p:cNvPr>
            <p:cNvSpPr/>
            <p:nvPr/>
          </p:nvSpPr>
          <p:spPr>
            <a:xfrm rot="8716295">
              <a:off x="2028620" y="3176625"/>
              <a:ext cx="305088" cy="336622"/>
            </a:xfrm>
            <a:custGeom>
              <a:avLst/>
              <a:gdLst>
                <a:gd name="connsiteX0" fmla="*/ 211294 w 305088"/>
                <a:gd name="connsiteY0" fmla="*/ 107197 h 336622"/>
                <a:gd name="connsiteX1" fmla="*/ 211294 w 305088"/>
                <a:gd name="connsiteY1" fmla="*/ 82369 h 336622"/>
                <a:gd name="connsiteX2" fmla="*/ 211017 w 305088"/>
                <a:gd name="connsiteY2" fmla="*/ 81498 h 336622"/>
                <a:gd name="connsiteX3" fmla="*/ 278425 w 305088"/>
                <a:gd name="connsiteY3" fmla="*/ 0 h 336622"/>
                <a:gd name="connsiteX4" fmla="*/ 297297 w 305088"/>
                <a:gd name="connsiteY4" fmla="*/ 35535 h 336622"/>
                <a:gd name="connsiteX5" fmla="*/ 305088 w 305088"/>
                <a:gd name="connsiteY5" fmla="*/ 92713 h 336622"/>
                <a:gd name="connsiteX6" fmla="*/ 305088 w 305088"/>
                <a:gd name="connsiteY6" fmla="*/ 101679 h 336622"/>
                <a:gd name="connsiteX7" fmla="*/ 0 w 305088"/>
                <a:gd name="connsiteY7" fmla="*/ 336622 h 336622"/>
                <a:gd name="connsiteX8" fmla="*/ 79568 w 305088"/>
                <a:gd name="connsiteY8" fmla="*/ 240423 h 336622"/>
                <a:gd name="connsiteX9" fmla="*/ 79568 w 305088"/>
                <a:gd name="connsiteY9" fmla="*/ 282372 h 33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5088" h="336622">
                  <a:moveTo>
                    <a:pt x="211294" y="107197"/>
                  </a:moveTo>
                  <a:lnTo>
                    <a:pt x="211294" y="82369"/>
                  </a:lnTo>
                  <a:lnTo>
                    <a:pt x="211017" y="81498"/>
                  </a:lnTo>
                  <a:lnTo>
                    <a:pt x="278425" y="0"/>
                  </a:lnTo>
                  <a:lnTo>
                    <a:pt x="297297" y="35535"/>
                  </a:lnTo>
                  <a:cubicBezTo>
                    <a:pt x="302416" y="52195"/>
                    <a:pt x="305088" y="71334"/>
                    <a:pt x="305088" y="92713"/>
                  </a:cubicBezTo>
                  <a:lnTo>
                    <a:pt x="305088" y="101679"/>
                  </a:lnTo>
                  <a:close/>
                  <a:moveTo>
                    <a:pt x="0" y="336622"/>
                  </a:moveTo>
                  <a:lnTo>
                    <a:pt x="79568" y="240423"/>
                  </a:lnTo>
                  <a:lnTo>
                    <a:pt x="79568" y="28237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84C08685-C991-44FD-898B-8BF95960C6B9}"/>
                </a:ext>
              </a:extLst>
            </p:cNvPr>
            <p:cNvSpPr/>
            <p:nvPr/>
          </p:nvSpPr>
          <p:spPr>
            <a:xfrm rot="8716295">
              <a:off x="1728037" y="323546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75F06F9A-B5F6-494A-BA46-78E41263CC81}"/>
                </a:ext>
              </a:extLst>
            </p:cNvPr>
            <p:cNvSpPr/>
            <p:nvPr/>
          </p:nvSpPr>
          <p:spPr>
            <a:xfrm rot="8716295">
              <a:off x="1538992" y="291963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CE3913D0-3ECC-49C2-BFCE-2E22945EB24B}"/>
                </a:ext>
              </a:extLst>
            </p:cNvPr>
            <p:cNvSpPr/>
            <p:nvPr/>
          </p:nvSpPr>
          <p:spPr>
            <a:xfrm rot="8716295">
              <a:off x="1864525" y="329745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ACF63173-E092-4F8A-A29A-250C09066948}"/>
                </a:ext>
              </a:extLst>
            </p:cNvPr>
            <p:cNvSpPr/>
            <p:nvPr/>
          </p:nvSpPr>
          <p:spPr>
            <a:xfrm rot="8716295">
              <a:off x="1499078" y="307102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7EFA26CA-A39B-4E8B-847D-F85F8518030F}"/>
                </a:ext>
              </a:extLst>
            </p:cNvPr>
            <p:cNvSpPr/>
            <p:nvPr/>
          </p:nvSpPr>
          <p:spPr>
            <a:xfrm rot="7484129">
              <a:off x="2004987" y="3639772"/>
              <a:ext cx="221889" cy="221665"/>
            </a:xfrm>
            <a:custGeom>
              <a:avLst/>
              <a:gdLst>
                <a:gd name="connsiteX0" fmla="*/ 206330 w 221889"/>
                <a:gd name="connsiteY0" fmla="*/ 8936 h 221665"/>
                <a:gd name="connsiteX1" fmla="*/ 221889 w 221889"/>
                <a:gd name="connsiteY1" fmla="*/ 0 h 221665"/>
                <a:gd name="connsiteX2" fmla="*/ 221889 w 221889"/>
                <a:gd name="connsiteY2" fmla="*/ 8936 h 221665"/>
                <a:gd name="connsiteX3" fmla="*/ 50650 w 221889"/>
                <a:gd name="connsiteY3" fmla="*/ 221665 h 221665"/>
                <a:gd name="connsiteX4" fmla="*/ 0 w 221889"/>
                <a:gd name="connsiteY4" fmla="*/ 127433 h 221665"/>
                <a:gd name="connsiteX5" fmla="*/ 103511 w 221889"/>
                <a:gd name="connsiteY5" fmla="*/ 67986 h 221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1889" h="221665">
                  <a:moveTo>
                    <a:pt x="206330" y="8936"/>
                  </a:moveTo>
                  <a:lnTo>
                    <a:pt x="221889" y="0"/>
                  </a:lnTo>
                  <a:lnTo>
                    <a:pt x="221889" y="8936"/>
                  </a:lnTo>
                  <a:close/>
                  <a:moveTo>
                    <a:pt x="50650" y="221665"/>
                  </a:moveTo>
                  <a:lnTo>
                    <a:pt x="0" y="127433"/>
                  </a:lnTo>
                  <a:lnTo>
                    <a:pt x="103511" y="6798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54CB42FE-32B8-4C2C-A4AB-C4F8B84705EC}"/>
                </a:ext>
              </a:extLst>
            </p:cNvPr>
            <p:cNvSpPr/>
            <p:nvPr/>
          </p:nvSpPr>
          <p:spPr>
            <a:xfrm rot="8716295">
              <a:off x="2016311" y="313524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B97467BE-761E-4E11-AD12-792548131E9F}"/>
                </a:ext>
              </a:extLst>
            </p:cNvPr>
            <p:cNvSpPr/>
            <p:nvPr/>
          </p:nvSpPr>
          <p:spPr>
            <a:xfrm rot="8716295">
              <a:off x="1796861" y="4478944"/>
              <a:ext cx="215176" cy="351729"/>
            </a:xfrm>
            <a:custGeom>
              <a:avLst/>
              <a:gdLst>
                <a:gd name="connsiteX0" fmla="*/ 122761 w 215176"/>
                <a:gd name="connsiteY0" fmla="*/ 351729 h 351729"/>
                <a:gd name="connsiteX1" fmla="*/ 122761 w 215176"/>
                <a:gd name="connsiteY1" fmla="*/ 105519 h 351729"/>
                <a:gd name="connsiteX2" fmla="*/ 122761 w 215176"/>
                <a:gd name="connsiteY2" fmla="*/ 99312 h 351729"/>
                <a:gd name="connsiteX3" fmla="*/ 91726 w 215176"/>
                <a:gd name="connsiteY3" fmla="*/ 75863 h 351729"/>
                <a:gd name="connsiteX4" fmla="*/ 0 w 215176"/>
                <a:gd name="connsiteY4" fmla="*/ 75863 h 351729"/>
                <a:gd name="connsiteX5" fmla="*/ 0 w 215176"/>
                <a:gd name="connsiteY5" fmla="*/ 31564 h 351729"/>
                <a:gd name="connsiteX6" fmla="*/ 26107 w 215176"/>
                <a:gd name="connsiteY6" fmla="*/ 0 h 351729"/>
                <a:gd name="connsiteX7" fmla="*/ 128968 w 215176"/>
                <a:gd name="connsiteY7" fmla="*/ 0 h 351729"/>
                <a:gd name="connsiteX8" fmla="*/ 215176 w 215176"/>
                <a:gd name="connsiteY8" fmla="*/ 75863 h 351729"/>
                <a:gd name="connsiteX9" fmla="*/ 215176 w 215176"/>
                <a:gd name="connsiteY9" fmla="*/ 315177 h 351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5176" h="351729">
                  <a:moveTo>
                    <a:pt x="122761" y="35172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31564"/>
                  </a:lnTo>
                  <a:lnTo>
                    <a:pt x="26107" y="0"/>
                  </a:lnTo>
                  <a:lnTo>
                    <a:pt x="128968" y="0"/>
                  </a:lnTo>
                  <a:cubicBezTo>
                    <a:pt x="184831" y="0"/>
                    <a:pt x="215176" y="24139"/>
                    <a:pt x="215176" y="75863"/>
                  </a:cubicBezTo>
                  <a:lnTo>
                    <a:pt x="215176" y="3151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8C358B06-CFB8-4D7E-B58B-64076A590B10}"/>
                </a:ext>
              </a:extLst>
            </p:cNvPr>
            <p:cNvSpPr/>
            <p:nvPr/>
          </p:nvSpPr>
          <p:spPr>
            <a:xfrm rot="8716295">
              <a:off x="1938756" y="4602084"/>
              <a:ext cx="253340" cy="284725"/>
            </a:xfrm>
            <a:custGeom>
              <a:avLst/>
              <a:gdLst>
                <a:gd name="connsiteX0" fmla="*/ 160632 w 253340"/>
                <a:gd name="connsiteY0" fmla="*/ 90518 h 284725"/>
                <a:gd name="connsiteX1" fmla="*/ 235501 w 253340"/>
                <a:gd name="connsiteY1" fmla="*/ 0 h 284725"/>
                <a:gd name="connsiteX2" fmla="*/ 245549 w 253340"/>
                <a:gd name="connsiteY2" fmla="*/ 18921 h 284725"/>
                <a:gd name="connsiteX3" fmla="*/ 253340 w 253340"/>
                <a:gd name="connsiteY3" fmla="*/ 76098 h 284725"/>
                <a:gd name="connsiteX4" fmla="*/ 253340 w 253340"/>
                <a:gd name="connsiteY4" fmla="*/ 85064 h 284725"/>
                <a:gd name="connsiteX5" fmla="*/ 0 w 253340"/>
                <a:gd name="connsiteY5" fmla="*/ 284725 h 284725"/>
                <a:gd name="connsiteX6" fmla="*/ 27820 w 253340"/>
                <a:gd name="connsiteY6" fmla="*/ 251090 h 284725"/>
                <a:gd name="connsiteX7" fmla="*/ 27820 w 253340"/>
                <a:gd name="connsiteY7" fmla="*/ 265757 h 28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3340" h="284725">
                  <a:moveTo>
                    <a:pt x="160632" y="90518"/>
                  </a:moveTo>
                  <a:lnTo>
                    <a:pt x="235501" y="0"/>
                  </a:lnTo>
                  <a:lnTo>
                    <a:pt x="245549" y="18921"/>
                  </a:lnTo>
                  <a:cubicBezTo>
                    <a:pt x="250668" y="35581"/>
                    <a:pt x="253340" y="54719"/>
                    <a:pt x="253340" y="76098"/>
                  </a:cubicBezTo>
                  <a:lnTo>
                    <a:pt x="253340" y="85064"/>
                  </a:lnTo>
                  <a:close/>
                  <a:moveTo>
                    <a:pt x="0" y="284725"/>
                  </a:moveTo>
                  <a:lnTo>
                    <a:pt x="27820" y="251090"/>
                  </a:lnTo>
                  <a:lnTo>
                    <a:pt x="27820" y="26575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55465226-9705-450D-9333-C6F18EA9DA5B}"/>
                </a:ext>
              </a:extLst>
            </p:cNvPr>
            <p:cNvSpPr/>
            <p:nvPr/>
          </p:nvSpPr>
          <p:spPr>
            <a:xfrm rot="8716295">
              <a:off x="1865533" y="439222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14393A34-234C-4F82-B937-651BE2C2EB26}"/>
                </a:ext>
              </a:extLst>
            </p:cNvPr>
            <p:cNvSpPr/>
            <p:nvPr/>
          </p:nvSpPr>
          <p:spPr>
            <a:xfrm rot="8716295">
              <a:off x="1628246" y="461256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C8A075BE-A4F2-4F84-B522-C6E43EFD2240}"/>
                </a:ext>
              </a:extLst>
            </p:cNvPr>
            <p:cNvSpPr/>
            <p:nvPr/>
          </p:nvSpPr>
          <p:spPr>
            <a:xfrm rot="8716295">
              <a:off x="1439200" y="42967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56AB483C-9DB6-4B2C-B13B-6356C19C1FBB}"/>
                </a:ext>
              </a:extLst>
            </p:cNvPr>
            <p:cNvSpPr/>
            <p:nvPr/>
          </p:nvSpPr>
          <p:spPr>
            <a:xfrm rot="8716295">
              <a:off x="1420958" y="408668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AFF52EFA-F302-42BC-851E-3ECAD5E2BCCE}"/>
                </a:ext>
              </a:extLst>
            </p:cNvPr>
            <p:cNvSpPr/>
            <p:nvPr/>
          </p:nvSpPr>
          <p:spPr>
            <a:xfrm rot="8716295">
              <a:off x="1764734" y="467454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DD8C6387-B92F-4AE3-84AA-9699909C3151}"/>
                </a:ext>
              </a:extLst>
            </p:cNvPr>
            <p:cNvSpPr/>
            <p:nvPr/>
          </p:nvSpPr>
          <p:spPr>
            <a:xfrm rot="8716295">
              <a:off x="2058111" y="4234218"/>
              <a:ext cx="77302" cy="80483"/>
            </a:xfrm>
            <a:custGeom>
              <a:avLst/>
              <a:gdLst>
                <a:gd name="connsiteX0" fmla="*/ 2300 w 77302"/>
                <a:gd name="connsiteY0" fmla="*/ 68069 h 80483"/>
                <a:gd name="connsiteX1" fmla="*/ 0 w 77302"/>
                <a:gd name="connsiteY1" fmla="*/ 62622 h 80483"/>
                <a:gd name="connsiteX2" fmla="*/ 51796 w 77302"/>
                <a:gd name="connsiteY2" fmla="*/ 0 h 80483"/>
                <a:gd name="connsiteX3" fmla="*/ 64371 w 77302"/>
                <a:gd name="connsiteY3" fmla="*/ 5309 h 80483"/>
                <a:gd name="connsiteX4" fmla="*/ 64371 w 77302"/>
                <a:gd name="connsiteY4" fmla="*/ 67380 h 80483"/>
                <a:gd name="connsiteX5" fmla="*/ 33335 w 77302"/>
                <a:gd name="connsiteY5" fmla="*/ 80483 h 80483"/>
                <a:gd name="connsiteX6" fmla="*/ 2300 w 77302"/>
                <a:gd name="connsiteY6" fmla="*/ 68069 h 80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7302" h="80483">
                  <a:moveTo>
                    <a:pt x="2300" y="68069"/>
                  </a:moveTo>
                  <a:lnTo>
                    <a:pt x="0" y="62622"/>
                  </a:lnTo>
                  <a:lnTo>
                    <a:pt x="51796" y="0"/>
                  </a:lnTo>
                  <a:lnTo>
                    <a:pt x="64371" y="5309"/>
                  </a:lnTo>
                  <a:cubicBezTo>
                    <a:pt x="81612" y="21861"/>
                    <a:pt x="81613" y="50138"/>
                    <a:pt x="64371" y="67380"/>
                  </a:cubicBezTo>
                  <a:cubicBezTo>
                    <a:pt x="56095" y="75656"/>
                    <a:pt x="45060" y="80483"/>
                    <a:pt x="33335" y="80483"/>
                  </a:cubicBezTo>
                  <a:cubicBezTo>
                    <a:pt x="21611" y="80483"/>
                    <a:pt x="10576" y="76345"/>
                    <a:pt x="2300" y="6806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7D76A85F-9EC7-4610-8B93-DADD647681CA}"/>
                </a:ext>
              </a:extLst>
            </p:cNvPr>
            <p:cNvSpPr/>
            <p:nvPr/>
          </p:nvSpPr>
          <p:spPr>
            <a:xfrm rot="8716295">
              <a:off x="1876235" y="3938134"/>
              <a:ext cx="237808" cy="296463"/>
            </a:xfrm>
            <a:custGeom>
              <a:avLst/>
              <a:gdLst>
                <a:gd name="connsiteX0" fmla="*/ 66569 w 237808"/>
                <a:gd name="connsiteY0" fmla="*/ 296463 h 296463"/>
                <a:gd name="connsiteX1" fmla="*/ 1694 w 237808"/>
                <a:gd name="connsiteY1" fmla="*/ 175766 h 296463"/>
                <a:gd name="connsiteX2" fmla="*/ 34886 w 237808"/>
                <a:gd name="connsiteY2" fmla="*/ 83734 h 296463"/>
                <a:gd name="connsiteX3" fmla="*/ 0 w 237808"/>
                <a:gd name="connsiteY3" fmla="*/ 83734 h 296463"/>
                <a:gd name="connsiteX4" fmla="*/ 69258 w 237808"/>
                <a:gd name="connsiteY4" fmla="*/ 0 h 296463"/>
                <a:gd name="connsiteX5" fmla="*/ 237808 w 237808"/>
                <a:gd name="connsiteY5" fmla="*/ 0 h 296463"/>
                <a:gd name="connsiteX6" fmla="*/ 237808 w 237808"/>
                <a:gd name="connsiteY6" fmla="*/ 83734 h 296463"/>
                <a:gd name="connsiteX7" fmla="*/ 139741 w 237808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7808" h="296463">
                  <a:moveTo>
                    <a:pt x="66569" y="296463"/>
                  </a:moveTo>
                  <a:lnTo>
                    <a:pt x="1694" y="175766"/>
                  </a:lnTo>
                  <a:lnTo>
                    <a:pt x="34886" y="83734"/>
                  </a:lnTo>
                  <a:lnTo>
                    <a:pt x="0" y="83734"/>
                  </a:lnTo>
                  <a:lnTo>
                    <a:pt x="69258" y="0"/>
                  </a:lnTo>
                  <a:lnTo>
                    <a:pt x="237808" y="0"/>
                  </a:lnTo>
                  <a:lnTo>
                    <a:pt x="237808" y="83734"/>
                  </a:lnTo>
                  <a:lnTo>
                    <a:pt x="139741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1D9CF1AF-A09A-459A-A4AB-D88D1905EA6F}"/>
                </a:ext>
              </a:extLst>
            </p:cNvPr>
            <p:cNvSpPr/>
            <p:nvPr/>
          </p:nvSpPr>
          <p:spPr>
            <a:xfrm rot="8716295">
              <a:off x="1836851" y="406950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33B04AAC-330F-42F9-9C1F-3BB73DEAD114}"/>
                </a:ext>
              </a:extLst>
            </p:cNvPr>
            <p:cNvSpPr/>
            <p:nvPr/>
          </p:nvSpPr>
          <p:spPr>
            <a:xfrm rot="8716295">
              <a:off x="1827832" y="5057264"/>
              <a:ext cx="219410" cy="140851"/>
            </a:xfrm>
            <a:custGeom>
              <a:avLst/>
              <a:gdLst>
                <a:gd name="connsiteX0" fmla="*/ 27373 w 219410"/>
                <a:gd name="connsiteY0" fmla="*/ 96063 h 140851"/>
                <a:gd name="connsiteX1" fmla="*/ 1953 w 219410"/>
                <a:gd name="connsiteY1" fmla="*/ 53941 h 140851"/>
                <a:gd name="connsiteX2" fmla="*/ 0 w 219410"/>
                <a:gd name="connsiteY2" fmla="*/ 43352 h 140851"/>
                <a:gd name="connsiteX3" fmla="*/ 35858 w 219410"/>
                <a:gd name="connsiteY3" fmla="*/ 0 h 140851"/>
                <a:gd name="connsiteX4" fmla="*/ 219410 w 219410"/>
                <a:gd name="connsiteY4" fmla="*/ 127232 h 140851"/>
                <a:gd name="connsiteX5" fmla="*/ 200448 w 219410"/>
                <a:gd name="connsiteY5" fmla="*/ 132296 h 140851"/>
                <a:gd name="connsiteX6" fmla="*/ 136904 w 219410"/>
                <a:gd name="connsiteY6" fmla="*/ 140588 h 140851"/>
                <a:gd name="connsiteX7" fmla="*/ 27373 w 219410"/>
                <a:gd name="connsiteY7" fmla="*/ 96063 h 140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9410" h="140851">
                  <a:moveTo>
                    <a:pt x="27373" y="96063"/>
                  </a:moveTo>
                  <a:cubicBezTo>
                    <a:pt x="16020" y="85043"/>
                    <a:pt x="7797" y="71018"/>
                    <a:pt x="1953" y="53941"/>
                  </a:cubicBezTo>
                  <a:lnTo>
                    <a:pt x="0" y="43352"/>
                  </a:lnTo>
                  <a:lnTo>
                    <a:pt x="35858" y="0"/>
                  </a:lnTo>
                  <a:lnTo>
                    <a:pt x="219410" y="127232"/>
                  </a:lnTo>
                  <a:lnTo>
                    <a:pt x="200448" y="132296"/>
                  </a:lnTo>
                  <a:cubicBezTo>
                    <a:pt x="176976" y="136859"/>
                    <a:pt x="155381" y="139475"/>
                    <a:pt x="136904" y="140588"/>
                  </a:cubicBezTo>
                  <a:cubicBezTo>
                    <a:pt x="95942" y="143260"/>
                    <a:pt x="55870" y="125450"/>
                    <a:pt x="27373" y="960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24E0BB53-945A-402E-838B-93267E59D513}"/>
                </a:ext>
              </a:extLst>
            </p:cNvPr>
            <p:cNvSpPr/>
            <p:nvPr/>
          </p:nvSpPr>
          <p:spPr>
            <a:xfrm rot="8716295">
              <a:off x="1125067" y="247965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6C251D8C-A5D9-4ECA-AD3B-1A05AB92D036}"/>
                </a:ext>
              </a:extLst>
            </p:cNvPr>
            <p:cNvSpPr/>
            <p:nvPr/>
          </p:nvSpPr>
          <p:spPr>
            <a:xfrm rot="8716295">
              <a:off x="1260365" y="252391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8B96FE87-2D5C-4688-844D-4E74C72A4B6C}"/>
                </a:ext>
              </a:extLst>
            </p:cNvPr>
            <p:cNvSpPr/>
            <p:nvPr/>
          </p:nvSpPr>
          <p:spPr>
            <a:xfrm rot="8716295">
              <a:off x="1192483" y="2393326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582D3CFC-4736-4E25-B369-A4CE70A870B5}"/>
                </a:ext>
              </a:extLst>
            </p:cNvPr>
            <p:cNvSpPr/>
            <p:nvPr/>
          </p:nvSpPr>
          <p:spPr>
            <a:xfrm rot="8716295">
              <a:off x="955196" y="261367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005E4ED8-B75C-4EF1-8BE9-2F684ADC8702}"/>
                </a:ext>
              </a:extLst>
            </p:cNvPr>
            <p:cNvSpPr/>
            <p:nvPr/>
          </p:nvSpPr>
          <p:spPr>
            <a:xfrm rot="8716295">
              <a:off x="766149" y="229783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AFABF28F-6E8A-4957-B94B-921C1E69A440}"/>
                </a:ext>
              </a:extLst>
            </p:cNvPr>
            <p:cNvSpPr/>
            <p:nvPr/>
          </p:nvSpPr>
          <p:spPr>
            <a:xfrm rot="8716295">
              <a:off x="747908" y="2087785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A9A47BF0-B3E6-4CA8-B1F1-FEC766FA52E5}"/>
                </a:ext>
              </a:extLst>
            </p:cNvPr>
            <p:cNvSpPr/>
            <p:nvPr/>
          </p:nvSpPr>
          <p:spPr>
            <a:xfrm rot="8716295">
              <a:off x="1091684" y="2675653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E9996FB1-6163-4708-89D3-37E7BECE1764}"/>
                </a:ext>
              </a:extLst>
            </p:cNvPr>
            <p:cNvSpPr/>
            <p:nvPr/>
          </p:nvSpPr>
          <p:spPr>
            <a:xfrm rot="8716295">
              <a:off x="1562630" y="210103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A1CE2F3B-6619-4775-85F0-1C1F8C974630}"/>
                </a:ext>
              </a:extLst>
            </p:cNvPr>
            <p:cNvSpPr/>
            <p:nvPr/>
          </p:nvSpPr>
          <p:spPr>
            <a:xfrm rot="8716295">
              <a:off x="1697929" y="214529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8284C668-CF6A-429F-A20E-B2542F51FB46}"/>
                </a:ext>
              </a:extLst>
            </p:cNvPr>
            <p:cNvSpPr/>
            <p:nvPr/>
          </p:nvSpPr>
          <p:spPr>
            <a:xfrm rot="8716295">
              <a:off x="1392759" y="223505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AA01786E-CED8-47C1-98FC-809C875C8CD9}"/>
                </a:ext>
              </a:extLst>
            </p:cNvPr>
            <p:cNvSpPr/>
            <p:nvPr/>
          </p:nvSpPr>
          <p:spPr>
            <a:xfrm rot="8716295">
              <a:off x="1203715" y="191921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2425A90E-FE44-45AD-B145-151A84FF9C22}"/>
                </a:ext>
              </a:extLst>
            </p:cNvPr>
            <p:cNvSpPr/>
            <p:nvPr/>
          </p:nvSpPr>
          <p:spPr>
            <a:xfrm rot="8716295">
              <a:off x="1529248" y="2297037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C0E93116-88EE-4D50-8215-854EE6AEF62E}"/>
                </a:ext>
              </a:extLst>
            </p:cNvPr>
            <p:cNvSpPr/>
            <p:nvPr/>
          </p:nvSpPr>
          <p:spPr>
            <a:xfrm rot="8716295">
              <a:off x="1163801" y="2070611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97447593-0A4C-444A-8AD1-F14699136B1C}"/>
                </a:ext>
              </a:extLst>
            </p:cNvPr>
            <p:cNvSpPr/>
            <p:nvPr/>
          </p:nvSpPr>
          <p:spPr>
            <a:xfrm rot="7484129">
              <a:off x="1688065" y="258665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E8FA1E58-23E1-4418-9B7C-2F5C67C32BDC}"/>
                </a:ext>
              </a:extLst>
            </p:cNvPr>
            <p:cNvSpPr/>
            <p:nvPr/>
          </p:nvSpPr>
          <p:spPr>
            <a:xfrm rot="13089394">
              <a:off x="1845023" y="2531236"/>
              <a:ext cx="412568" cy="496925"/>
            </a:xfrm>
            <a:custGeom>
              <a:avLst/>
              <a:gdLst>
                <a:gd name="connsiteX0" fmla="*/ 412568 w 412568"/>
                <a:gd name="connsiteY0" fmla="*/ 390854 h 496925"/>
                <a:gd name="connsiteX1" fmla="*/ 198232 w 412568"/>
                <a:gd name="connsiteY1" fmla="*/ 489977 h 496925"/>
                <a:gd name="connsiteX2" fmla="*/ 144991 w 412568"/>
                <a:gd name="connsiteY2" fmla="*/ 496925 h 496925"/>
                <a:gd name="connsiteX3" fmla="*/ 0 w 412568"/>
                <a:gd name="connsiteY3" fmla="*/ 276116 h 496925"/>
                <a:gd name="connsiteX4" fmla="*/ 0 w 412568"/>
                <a:gd name="connsiteY4" fmla="*/ 57626 h 496925"/>
                <a:gd name="connsiteX5" fmla="*/ 111075 w 412568"/>
                <a:gd name="connsiteY5" fmla="*/ 0 h 496925"/>
                <a:gd name="connsiteX6" fmla="*/ 112747 w 412568"/>
                <a:gd name="connsiteY6" fmla="*/ 233009 h 496925"/>
                <a:gd name="connsiteX7" fmla="*/ 132789 w 412568"/>
                <a:gd name="connsiteY7" fmla="*/ 371646 h 496925"/>
                <a:gd name="connsiteX8" fmla="*/ 233008 w 412568"/>
                <a:gd name="connsiteY8" fmla="*/ 426766 h 496925"/>
                <a:gd name="connsiteX9" fmla="*/ 308173 w 412568"/>
                <a:gd name="connsiteY9" fmla="*/ 413403 h 496925"/>
                <a:gd name="connsiteX10" fmla="*/ 410897 w 412568"/>
                <a:gd name="connsiteY10" fmla="*/ 371646 h 496925"/>
                <a:gd name="connsiteX11" fmla="*/ 412568 w 412568"/>
                <a:gd name="connsiteY11" fmla="*/ 382502 h 496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2568" h="496925">
                  <a:moveTo>
                    <a:pt x="412568" y="390854"/>
                  </a:moveTo>
                  <a:cubicBezTo>
                    <a:pt x="346173" y="447854"/>
                    <a:pt x="264275" y="477136"/>
                    <a:pt x="198232" y="489977"/>
                  </a:cubicBezTo>
                  <a:lnTo>
                    <a:pt x="144991" y="496925"/>
                  </a:lnTo>
                  <a:lnTo>
                    <a:pt x="0" y="276116"/>
                  </a:lnTo>
                  <a:lnTo>
                    <a:pt x="0" y="57626"/>
                  </a:lnTo>
                  <a:lnTo>
                    <a:pt x="111075" y="0"/>
                  </a:lnTo>
                  <a:lnTo>
                    <a:pt x="112747" y="233009"/>
                  </a:lnTo>
                  <a:cubicBezTo>
                    <a:pt x="110241" y="279778"/>
                    <a:pt x="117757" y="327382"/>
                    <a:pt x="132789" y="371646"/>
                  </a:cubicBezTo>
                  <a:cubicBezTo>
                    <a:pt x="146153" y="408393"/>
                    <a:pt x="180394" y="426766"/>
                    <a:pt x="233008" y="426766"/>
                  </a:cubicBezTo>
                  <a:cubicBezTo>
                    <a:pt x="258899" y="425930"/>
                    <a:pt x="283953" y="420919"/>
                    <a:pt x="308173" y="413403"/>
                  </a:cubicBezTo>
                  <a:cubicBezTo>
                    <a:pt x="343249" y="402546"/>
                    <a:pt x="377491" y="388349"/>
                    <a:pt x="410897" y="371646"/>
                  </a:cubicBezTo>
                  <a:cubicBezTo>
                    <a:pt x="411732" y="374986"/>
                    <a:pt x="412568" y="379161"/>
                    <a:pt x="412568" y="38250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18E16AF5-15DE-4CED-B67B-CF099D4DD885}"/>
                </a:ext>
              </a:extLst>
            </p:cNvPr>
            <p:cNvSpPr/>
            <p:nvPr/>
          </p:nvSpPr>
          <p:spPr>
            <a:xfrm rot="8716295">
              <a:off x="2147054" y="2332037"/>
              <a:ext cx="207668" cy="192886"/>
            </a:xfrm>
            <a:custGeom>
              <a:avLst/>
              <a:gdLst>
                <a:gd name="connsiteX0" fmla="*/ 0 w 207668"/>
                <a:gd name="connsiteY0" fmla="*/ 192886 h 192886"/>
                <a:gd name="connsiteX1" fmla="*/ 159539 w 207668"/>
                <a:gd name="connsiteY1" fmla="*/ 0 h 192886"/>
                <a:gd name="connsiteX2" fmla="*/ 181588 w 207668"/>
                <a:gd name="connsiteY2" fmla="*/ 5201 h 192886"/>
                <a:gd name="connsiteX3" fmla="*/ 207668 w 207668"/>
                <a:gd name="connsiteY3" fmla="*/ 59649 h 192886"/>
                <a:gd name="connsiteX4" fmla="*/ 160490 w 207668"/>
                <a:gd name="connsiteY4" fmla="*/ 123096 h 192886"/>
                <a:gd name="connsiteX5" fmla="*/ 161303 w 207668"/>
                <a:gd name="connsiteY5" fmla="*/ 123096 h 192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668" h="192886">
                  <a:moveTo>
                    <a:pt x="0" y="192886"/>
                  </a:moveTo>
                  <a:lnTo>
                    <a:pt x="159539" y="0"/>
                  </a:lnTo>
                  <a:lnTo>
                    <a:pt x="181588" y="5201"/>
                  </a:lnTo>
                  <a:cubicBezTo>
                    <a:pt x="201262" y="16029"/>
                    <a:pt x="207668" y="40127"/>
                    <a:pt x="207668" y="59649"/>
                  </a:cubicBezTo>
                  <a:cubicBezTo>
                    <a:pt x="205228" y="88119"/>
                    <a:pt x="186518" y="111708"/>
                    <a:pt x="160490" y="123096"/>
                  </a:cubicBezTo>
                  <a:lnTo>
                    <a:pt x="161303" y="1230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EE7EA580-766E-4570-A7DD-55A7181E9140}"/>
                </a:ext>
              </a:extLst>
            </p:cNvPr>
            <p:cNvSpPr/>
            <p:nvPr/>
          </p:nvSpPr>
          <p:spPr>
            <a:xfrm rot="8716295">
              <a:off x="2049197" y="208909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89C54D82-6DB7-45E9-8646-AF058AAE6AFE}"/>
                </a:ext>
              </a:extLst>
            </p:cNvPr>
            <p:cNvSpPr/>
            <p:nvPr/>
          </p:nvSpPr>
          <p:spPr>
            <a:xfrm rot="8716295">
              <a:off x="1681033" y="21348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350EA871-183D-437B-B28B-EF893E9A4930}"/>
                </a:ext>
              </a:extLst>
            </p:cNvPr>
            <p:cNvSpPr/>
            <p:nvPr/>
          </p:nvSpPr>
          <p:spPr>
            <a:xfrm rot="8716295">
              <a:off x="1949615" y="189381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7625BF35-EB3E-4083-8310-66A6ABEEBE81}"/>
                </a:ext>
              </a:extLst>
            </p:cNvPr>
            <p:cNvSpPr/>
            <p:nvPr/>
          </p:nvSpPr>
          <p:spPr>
            <a:xfrm rot="8716295">
              <a:off x="787294" y="148117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4A278F8F-FAFA-4D7A-877C-29D91BF541D4}"/>
                </a:ext>
              </a:extLst>
            </p:cNvPr>
            <p:cNvSpPr/>
            <p:nvPr/>
          </p:nvSpPr>
          <p:spPr>
            <a:xfrm rot="8716295">
              <a:off x="922592" y="152543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DB2610A3-31CF-45EF-B184-4657FD23CA44}"/>
                </a:ext>
              </a:extLst>
            </p:cNvPr>
            <p:cNvSpPr/>
            <p:nvPr/>
          </p:nvSpPr>
          <p:spPr>
            <a:xfrm rot="8716295">
              <a:off x="854710" y="1394843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2721DD24-E32D-474A-8AE8-CB1F5FEA63CC}"/>
                </a:ext>
              </a:extLst>
            </p:cNvPr>
            <p:cNvSpPr/>
            <p:nvPr/>
          </p:nvSpPr>
          <p:spPr>
            <a:xfrm rot="8716295">
              <a:off x="617423" y="161518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271ACC1B-5BC1-4C90-8744-187E477874EA}"/>
                </a:ext>
              </a:extLst>
            </p:cNvPr>
            <p:cNvSpPr/>
            <p:nvPr/>
          </p:nvSpPr>
          <p:spPr>
            <a:xfrm rot="8716295">
              <a:off x="428376" y="129935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09A9FE1D-6CB8-4187-8C52-59F1BA866B08}"/>
                </a:ext>
              </a:extLst>
            </p:cNvPr>
            <p:cNvSpPr/>
            <p:nvPr/>
          </p:nvSpPr>
          <p:spPr>
            <a:xfrm rot="8716295">
              <a:off x="410135" y="1089302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orme libre : forme 58">
              <a:extLst>
                <a:ext uri="{FF2B5EF4-FFF2-40B4-BE49-F238E27FC236}">
                  <a16:creationId xmlns:a16="http://schemas.microsoft.com/office/drawing/2014/main" id="{536CBB26-493E-4AF3-B817-10984C95D957}"/>
                </a:ext>
              </a:extLst>
            </p:cNvPr>
            <p:cNvSpPr/>
            <p:nvPr/>
          </p:nvSpPr>
          <p:spPr>
            <a:xfrm rot="8716295">
              <a:off x="753911" y="1677170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orme libre : forme 59">
              <a:extLst>
                <a:ext uri="{FF2B5EF4-FFF2-40B4-BE49-F238E27FC236}">
                  <a16:creationId xmlns:a16="http://schemas.microsoft.com/office/drawing/2014/main" id="{945CA62F-9E79-459F-9A9E-98D352B7F4FC}"/>
                </a:ext>
              </a:extLst>
            </p:cNvPr>
            <p:cNvSpPr/>
            <p:nvPr/>
          </p:nvSpPr>
          <p:spPr>
            <a:xfrm rot="8716295">
              <a:off x="1224858" y="1102556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orme libre : forme 60">
              <a:extLst>
                <a:ext uri="{FF2B5EF4-FFF2-40B4-BE49-F238E27FC236}">
                  <a16:creationId xmlns:a16="http://schemas.microsoft.com/office/drawing/2014/main" id="{369C3DB8-F103-4448-B156-2B184240310A}"/>
                </a:ext>
              </a:extLst>
            </p:cNvPr>
            <p:cNvSpPr/>
            <p:nvPr/>
          </p:nvSpPr>
          <p:spPr>
            <a:xfrm rot="8716295">
              <a:off x="1360156" y="1146815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orme libre : forme 61">
              <a:extLst>
                <a:ext uri="{FF2B5EF4-FFF2-40B4-BE49-F238E27FC236}">
                  <a16:creationId xmlns:a16="http://schemas.microsoft.com/office/drawing/2014/main" id="{18E1EF68-3C34-4AED-A042-F974F305FFA4}"/>
                </a:ext>
              </a:extLst>
            </p:cNvPr>
            <p:cNvSpPr/>
            <p:nvPr/>
          </p:nvSpPr>
          <p:spPr>
            <a:xfrm rot="8716295">
              <a:off x="1054986" y="123657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orme libre : forme 62">
              <a:extLst>
                <a:ext uri="{FF2B5EF4-FFF2-40B4-BE49-F238E27FC236}">
                  <a16:creationId xmlns:a16="http://schemas.microsoft.com/office/drawing/2014/main" id="{E6940BAB-7063-447D-9788-7A9EFB3FD540}"/>
                </a:ext>
              </a:extLst>
            </p:cNvPr>
            <p:cNvSpPr/>
            <p:nvPr/>
          </p:nvSpPr>
          <p:spPr>
            <a:xfrm rot="8716295">
              <a:off x="865942" y="92073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orme libre : forme 63">
              <a:extLst>
                <a:ext uri="{FF2B5EF4-FFF2-40B4-BE49-F238E27FC236}">
                  <a16:creationId xmlns:a16="http://schemas.microsoft.com/office/drawing/2014/main" id="{ACE5BF6F-DB4B-42E3-B1BA-145CDB9C3DF9}"/>
                </a:ext>
              </a:extLst>
            </p:cNvPr>
            <p:cNvSpPr/>
            <p:nvPr/>
          </p:nvSpPr>
          <p:spPr>
            <a:xfrm rot="8716295">
              <a:off x="1191475" y="1298554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orme libre : forme 64">
              <a:extLst>
                <a:ext uri="{FF2B5EF4-FFF2-40B4-BE49-F238E27FC236}">
                  <a16:creationId xmlns:a16="http://schemas.microsoft.com/office/drawing/2014/main" id="{652E743A-00B8-433E-B55D-34BA48EAC5CE}"/>
                </a:ext>
              </a:extLst>
            </p:cNvPr>
            <p:cNvSpPr/>
            <p:nvPr/>
          </p:nvSpPr>
          <p:spPr>
            <a:xfrm rot="8716295">
              <a:off x="826028" y="1072128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orme libre : forme 65">
              <a:extLst>
                <a:ext uri="{FF2B5EF4-FFF2-40B4-BE49-F238E27FC236}">
                  <a16:creationId xmlns:a16="http://schemas.microsoft.com/office/drawing/2014/main" id="{BACD1396-4989-4CCD-AB4F-6277B1FA025D}"/>
                </a:ext>
              </a:extLst>
            </p:cNvPr>
            <p:cNvSpPr/>
            <p:nvPr/>
          </p:nvSpPr>
          <p:spPr>
            <a:xfrm rot="7484129">
              <a:off x="1350292" y="158817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orme libre : forme 66">
              <a:extLst>
                <a:ext uri="{FF2B5EF4-FFF2-40B4-BE49-F238E27FC236}">
                  <a16:creationId xmlns:a16="http://schemas.microsoft.com/office/drawing/2014/main" id="{F1575DA2-DE7C-4BAF-AFB3-D8ACAD3FE8BB}"/>
                </a:ext>
              </a:extLst>
            </p:cNvPr>
            <p:cNvSpPr/>
            <p:nvPr/>
          </p:nvSpPr>
          <p:spPr>
            <a:xfrm rot="13089394">
              <a:off x="1508942" y="1537520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3D5C7C03-0DD7-4CE0-B323-2DBC8A33D724}"/>
                </a:ext>
              </a:extLst>
            </p:cNvPr>
            <p:cNvSpPr/>
            <p:nvPr/>
          </p:nvSpPr>
          <p:spPr>
            <a:xfrm rot="8716295">
              <a:off x="1789833" y="1247402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orme libre : forme 68">
              <a:extLst>
                <a:ext uri="{FF2B5EF4-FFF2-40B4-BE49-F238E27FC236}">
                  <a16:creationId xmlns:a16="http://schemas.microsoft.com/office/drawing/2014/main" id="{2A0940B5-3257-4C64-A206-488AFE286994}"/>
                </a:ext>
              </a:extLst>
            </p:cNvPr>
            <p:cNvSpPr/>
            <p:nvPr/>
          </p:nvSpPr>
          <p:spPr>
            <a:xfrm rot="8716295">
              <a:off x="1711424" y="109061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orme libre : forme 69">
              <a:extLst>
                <a:ext uri="{FF2B5EF4-FFF2-40B4-BE49-F238E27FC236}">
                  <a16:creationId xmlns:a16="http://schemas.microsoft.com/office/drawing/2014/main" id="{3166A607-68F9-4F3F-A5ED-4FA937BEECD1}"/>
                </a:ext>
              </a:extLst>
            </p:cNvPr>
            <p:cNvSpPr/>
            <p:nvPr/>
          </p:nvSpPr>
          <p:spPr>
            <a:xfrm rot="8716295">
              <a:off x="1343261" y="113635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orme libre : forme 70">
              <a:extLst>
                <a:ext uri="{FF2B5EF4-FFF2-40B4-BE49-F238E27FC236}">
                  <a16:creationId xmlns:a16="http://schemas.microsoft.com/office/drawing/2014/main" id="{E3E45D07-7F2E-45AC-8607-5306F45B7B5E}"/>
                </a:ext>
              </a:extLst>
            </p:cNvPr>
            <p:cNvSpPr/>
            <p:nvPr/>
          </p:nvSpPr>
          <p:spPr>
            <a:xfrm rot="8716295">
              <a:off x="1611842" y="89533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orme libre : forme 71">
              <a:extLst>
                <a:ext uri="{FF2B5EF4-FFF2-40B4-BE49-F238E27FC236}">
                  <a16:creationId xmlns:a16="http://schemas.microsoft.com/office/drawing/2014/main" id="{F61F2692-40B7-4A40-AE32-B2180297905C}"/>
                </a:ext>
              </a:extLst>
            </p:cNvPr>
            <p:cNvSpPr/>
            <p:nvPr/>
          </p:nvSpPr>
          <p:spPr>
            <a:xfrm rot="8716295">
              <a:off x="455920" y="47911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orme libre : forme 72">
              <a:extLst>
                <a:ext uri="{FF2B5EF4-FFF2-40B4-BE49-F238E27FC236}">
                  <a16:creationId xmlns:a16="http://schemas.microsoft.com/office/drawing/2014/main" id="{8D510AFD-E0B6-4C04-A231-06F0DA5461FE}"/>
                </a:ext>
              </a:extLst>
            </p:cNvPr>
            <p:cNvSpPr/>
            <p:nvPr/>
          </p:nvSpPr>
          <p:spPr>
            <a:xfrm rot="8716295">
              <a:off x="591219" y="52337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" name="Forme libre : forme 73">
              <a:extLst>
                <a:ext uri="{FF2B5EF4-FFF2-40B4-BE49-F238E27FC236}">
                  <a16:creationId xmlns:a16="http://schemas.microsoft.com/office/drawing/2014/main" id="{6B88DB4B-6413-485F-AD39-EF4AC1850A75}"/>
                </a:ext>
              </a:extLst>
            </p:cNvPr>
            <p:cNvSpPr/>
            <p:nvPr/>
          </p:nvSpPr>
          <p:spPr>
            <a:xfrm rot="8716295">
              <a:off x="523336" y="39278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" name="Forme libre : forme 74">
              <a:extLst>
                <a:ext uri="{FF2B5EF4-FFF2-40B4-BE49-F238E27FC236}">
                  <a16:creationId xmlns:a16="http://schemas.microsoft.com/office/drawing/2014/main" id="{985A4035-A707-4F38-A0C9-2533BF637BC9}"/>
                </a:ext>
              </a:extLst>
            </p:cNvPr>
            <p:cNvSpPr/>
            <p:nvPr/>
          </p:nvSpPr>
          <p:spPr>
            <a:xfrm rot="8716295">
              <a:off x="286049" y="6131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" name="Forme libre : forme 75">
              <a:extLst>
                <a:ext uri="{FF2B5EF4-FFF2-40B4-BE49-F238E27FC236}">
                  <a16:creationId xmlns:a16="http://schemas.microsoft.com/office/drawing/2014/main" id="{F8A46B91-F44C-4F7E-94A8-64349465DA46}"/>
                </a:ext>
              </a:extLst>
            </p:cNvPr>
            <p:cNvSpPr/>
            <p:nvPr/>
          </p:nvSpPr>
          <p:spPr>
            <a:xfrm rot="8716295">
              <a:off x="97003" y="2972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" name="Forme libre : forme 76">
              <a:extLst>
                <a:ext uri="{FF2B5EF4-FFF2-40B4-BE49-F238E27FC236}">
                  <a16:creationId xmlns:a16="http://schemas.microsoft.com/office/drawing/2014/main" id="{D98B2AD3-F200-4E21-B245-12CF6B31E044}"/>
                </a:ext>
              </a:extLst>
            </p:cNvPr>
            <p:cNvSpPr/>
            <p:nvPr/>
          </p:nvSpPr>
          <p:spPr>
            <a:xfrm rot="8716295">
              <a:off x="78761" y="87249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" name="Forme libre : forme 77">
              <a:extLst>
                <a:ext uri="{FF2B5EF4-FFF2-40B4-BE49-F238E27FC236}">
                  <a16:creationId xmlns:a16="http://schemas.microsoft.com/office/drawing/2014/main" id="{31F62124-299F-4960-8825-F200F77E89B1}"/>
                </a:ext>
              </a:extLst>
            </p:cNvPr>
            <p:cNvSpPr/>
            <p:nvPr/>
          </p:nvSpPr>
          <p:spPr>
            <a:xfrm rot="8716295">
              <a:off x="422537" y="67511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orme libre : forme 78">
              <a:extLst>
                <a:ext uri="{FF2B5EF4-FFF2-40B4-BE49-F238E27FC236}">
                  <a16:creationId xmlns:a16="http://schemas.microsoft.com/office/drawing/2014/main" id="{EE39F313-B670-444A-981C-E127C24D857F}"/>
                </a:ext>
              </a:extLst>
            </p:cNvPr>
            <p:cNvSpPr/>
            <p:nvPr/>
          </p:nvSpPr>
          <p:spPr>
            <a:xfrm rot="8716295">
              <a:off x="893484" y="10050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Forme libre : forme 79">
              <a:extLst>
                <a:ext uri="{FF2B5EF4-FFF2-40B4-BE49-F238E27FC236}">
                  <a16:creationId xmlns:a16="http://schemas.microsoft.com/office/drawing/2014/main" id="{9BFFA7AA-3FAD-4A4D-BF99-76B00FB2C288}"/>
                </a:ext>
              </a:extLst>
            </p:cNvPr>
            <p:cNvSpPr/>
            <p:nvPr/>
          </p:nvSpPr>
          <p:spPr>
            <a:xfrm rot="8716295">
              <a:off x="1028783" y="14476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" name="Forme libre : forme 80">
              <a:extLst>
                <a:ext uri="{FF2B5EF4-FFF2-40B4-BE49-F238E27FC236}">
                  <a16:creationId xmlns:a16="http://schemas.microsoft.com/office/drawing/2014/main" id="{1433DBAF-4AFA-4A86-A99F-428DB317C17F}"/>
                </a:ext>
              </a:extLst>
            </p:cNvPr>
            <p:cNvSpPr/>
            <p:nvPr/>
          </p:nvSpPr>
          <p:spPr>
            <a:xfrm rot="8716295">
              <a:off x="723613" y="23451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orme libre : forme 81">
              <a:extLst>
                <a:ext uri="{FF2B5EF4-FFF2-40B4-BE49-F238E27FC236}">
                  <a16:creationId xmlns:a16="http://schemas.microsoft.com/office/drawing/2014/main" id="{AF029D07-5D40-4341-9548-A67032BB1C77}"/>
                </a:ext>
              </a:extLst>
            </p:cNvPr>
            <p:cNvSpPr/>
            <p:nvPr/>
          </p:nvSpPr>
          <p:spPr>
            <a:xfrm rot="8716295">
              <a:off x="547803" y="-17289"/>
              <a:ext cx="308531" cy="226033"/>
            </a:xfrm>
            <a:custGeom>
              <a:avLst/>
              <a:gdLst>
                <a:gd name="connsiteX0" fmla="*/ 106716 w 203847"/>
                <a:gd name="connsiteY0" fmla="*/ 149340 h 149340"/>
                <a:gd name="connsiteX1" fmla="*/ 50038 w 203847"/>
                <a:gd name="connsiteY1" fmla="*/ 110053 h 149340"/>
                <a:gd name="connsiteX2" fmla="*/ 69777 w 203847"/>
                <a:gd name="connsiteY2" fmla="*/ 55323 h 149340"/>
                <a:gd name="connsiteX3" fmla="*/ 0 w 203847"/>
                <a:gd name="connsiteY3" fmla="*/ 55323 h 149340"/>
                <a:gd name="connsiteX4" fmla="*/ 0 w 203847"/>
                <a:gd name="connsiteY4" fmla="*/ 0 h 149340"/>
                <a:gd name="connsiteX5" fmla="*/ 203847 w 203847"/>
                <a:gd name="connsiteY5" fmla="*/ 0 h 149340"/>
                <a:gd name="connsiteX6" fmla="*/ 203847 w 203847"/>
                <a:gd name="connsiteY6" fmla="*/ 55323 h 149340"/>
                <a:gd name="connsiteX7" fmla="*/ 139055 w 203847"/>
                <a:gd name="connsiteY7" fmla="*/ 55323 h 14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49340">
                  <a:moveTo>
                    <a:pt x="106716" y="149340"/>
                  </a:moveTo>
                  <a:lnTo>
                    <a:pt x="50038" y="110053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Forme libre : forme 82">
              <a:extLst>
                <a:ext uri="{FF2B5EF4-FFF2-40B4-BE49-F238E27FC236}">
                  <a16:creationId xmlns:a16="http://schemas.microsoft.com/office/drawing/2014/main" id="{2932702E-E8E3-46BA-A87E-0ED0BC303BF9}"/>
                </a:ext>
              </a:extLst>
            </p:cNvPr>
            <p:cNvSpPr/>
            <p:nvPr/>
          </p:nvSpPr>
          <p:spPr>
            <a:xfrm rot="8716295">
              <a:off x="860101" y="29650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4" name="Forme libre : forme 83">
              <a:extLst>
                <a:ext uri="{FF2B5EF4-FFF2-40B4-BE49-F238E27FC236}">
                  <a16:creationId xmlns:a16="http://schemas.microsoft.com/office/drawing/2014/main" id="{69A563A2-99F0-4626-A5AF-E9AD22DC8484}"/>
                </a:ext>
              </a:extLst>
            </p:cNvPr>
            <p:cNvSpPr/>
            <p:nvPr/>
          </p:nvSpPr>
          <p:spPr>
            <a:xfrm rot="8716295">
              <a:off x="494655" y="7007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5" name="Forme libre : forme 84">
              <a:extLst>
                <a:ext uri="{FF2B5EF4-FFF2-40B4-BE49-F238E27FC236}">
                  <a16:creationId xmlns:a16="http://schemas.microsoft.com/office/drawing/2014/main" id="{B18A375D-EEA2-4D9B-96D1-D4924AE08EC7}"/>
                </a:ext>
              </a:extLst>
            </p:cNvPr>
            <p:cNvSpPr/>
            <p:nvPr/>
          </p:nvSpPr>
          <p:spPr>
            <a:xfrm rot="7484129">
              <a:off x="1018919" y="58611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6" name="Forme libre : forme 85">
              <a:extLst>
                <a:ext uri="{FF2B5EF4-FFF2-40B4-BE49-F238E27FC236}">
                  <a16:creationId xmlns:a16="http://schemas.microsoft.com/office/drawing/2014/main" id="{7717CD41-705F-4F28-B88E-73D27DF645C8}"/>
                </a:ext>
              </a:extLst>
            </p:cNvPr>
            <p:cNvSpPr/>
            <p:nvPr/>
          </p:nvSpPr>
          <p:spPr>
            <a:xfrm rot="13089394">
              <a:off x="1177568" y="53546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7" name="Forme libre : forme 86">
              <a:extLst>
                <a:ext uri="{FF2B5EF4-FFF2-40B4-BE49-F238E27FC236}">
                  <a16:creationId xmlns:a16="http://schemas.microsoft.com/office/drawing/2014/main" id="{285D68BE-9E3D-4F4C-AC96-578345571AC5}"/>
                </a:ext>
              </a:extLst>
            </p:cNvPr>
            <p:cNvSpPr/>
            <p:nvPr/>
          </p:nvSpPr>
          <p:spPr>
            <a:xfrm rot="8716295">
              <a:off x="1458459" y="24534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8" name="Forme libre : forme 87">
              <a:extLst>
                <a:ext uri="{FF2B5EF4-FFF2-40B4-BE49-F238E27FC236}">
                  <a16:creationId xmlns:a16="http://schemas.microsoft.com/office/drawing/2014/main" id="{83EDC7AF-2352-4CD0-B767-0567B99FAECC}"/>
                </a:ext>
              </a:extLst>
            </p:cNvPr>
            <p:cNvSpPr/>
            <p:nvPr/>
          </p:nvSpPr>
          <p:spPr>
            <a:xfrm rot="8716295">
              <a:off x="1380050" y="8855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9" name="Forme libre : forme 88">
              <a:extLst>
                <a:ext uri="{FF2B5EF4-FFF2-40B4-BE49-F238E27FC236}">
                  <a16:creationId xmlns:a16="http://schemas.microsoft.com/office/drawing/2014/main" id="{E853F8BE-90D5-4EB8-BCC9-E92102CA6DFE}"/>
                </a:ext>
              </a:extLst>
            </p:cNvPr>
            <p:cNvSpPr/>
            <p:nvPr/>
          </p:nvSpPr>
          <p:spPr>
            <a:xfrm rot="8716295">
              <a:off x="1011887" y="13429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" name="Forme libre : forme 89">
              <a:extLst>
                <a:ext uri="{FF2B5EF4-FFF2-40B4-BE49-F238E27FC236}">
                  <a16:creationId xmlns:a16="http://schemas.microsoft.com/office/drawing/2014/main" id="{42758375-22F2-40F5-8D40-436514F398B4}"/>
                </a:ext>
              </a:extLst>
            </p:cNvPr>
            <p:cNvSpPr/>
            <p:nvPr/>
          </p:nvSpPr>
          <p:spPr>
            <a:xfrm rot="8716295">
              <a:off x="1291652" y="-36449"/>
              <a:ext cx="134197" cy="106947"/>
            </a:xfrm>
            <a:custGeom>
              <a:avLst/>
              <a:gdLst>
                <a:gd name="connsiteX0" fmla="*/ 83649 w 88664"/>
                <a:gd name="connsiteY0" fmla="*/ 70660 h 70660"/>
                <a:gd name="connsiteX1" fmla="*/ 0 w 88664"/>
                <a:gd name="connsiteY1" fmla="*/ 12677 h 70660"/>
                <a:gd name="connsiteX2" fmla="*/ 30024 w 88664"/>
                <a:gd name="connsiteY2" fmla="*/ 0 h 70660"/>
                <a:gd name="connsiteX3" fmla="*/ 71417 w 88664"/>
                <a:gd name="connsiteY3" fmla="*/ 17477 h 70660"/>
                <a:gd name="connsiteX4" fmla="*/ 88664 w 88664"/>
                <a:gd name="connsiteY4" fmla="*/ 58525 h 70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664" h="70660">
                  <a:moveTo>
                    <a:pt x="83649" y="70660"/>
                  </a:moveTo>
                  <a:lnTo>
                    <a:pt x="0" y="12677"/>
                  </a:lnTo>
                  <a:lnTo>
                    <a:pt x="30024" y="0"/>
                  </a:lnTo>
                  <a:cubicBezTo>
                    <a:pt x="45662" y="0"/>
                    <a:pt x="60379" y="6439"/>
                    <a:pt x="71417" y="17477"/>
                  </a:cubicBezTo>
                  <a:cubicBezTo>
                    <a:pt x="82915" y="28515"/>
                    <a:pt x="88664" y="43462"/>
                    <a:pt x="88664" y="58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" name="Forme libre : forme 90">
              <a:extLst>
                <a:ext uri="{FF2B5EF4-FFF2-40B4-BE49-F238E27FC236}">
                  <a16:creationId xmlns:a16="http://schemas.microsoft.com/office/drawing/2014/main" id="{39402522-16DA-4E11-927D-0744A887E931}"/>
                </a:ext>
              </a:extLst>
            </p:cNvPr>
            <p:cNvSpPr/>
            <p:nvPr/>
          </p:nvSpPr>
          <p:spPr>
            <a:xfrm rot="13089394">
              <a:off x="990163" y="-39748"/>
              <a:ext cx="111277" cy="115595"/>
            </a:xfrm>
            <a:custGeom>
              <a:avLst/>
              <a:gdLst>
                <a:gd name="connsiteX0" fmla="*/ 73521 w 73521"/>
                <a:gd name="connsiteY0" fmla="*/ 18609 h 76374"/>
                <a:gd name="connsiteX1" fmla="*/ 0 w 73521"/>
                <a:gd name="connsiteY1" fmla="*/ 76374 h 76374"/>
                <a:gd name="connsiteX2" fmla="*/ 0 w 73521"/>
                <a:gd name="connsiteY2" fmla="*/ 38074 h 76374"/>
                <a:gd name="connsiteX3" fmla="*/ 73388 w 73521"/>
                <a:gd name="connsiteY3" fmla="*/ 0 h 7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521" h="76374">
                  <a:moveTo>
                    <a:pt x="73521" y="18609"/>
                  </a:moveTo>
                  <a:lnTo>
                    <a:pt x="0" y="76374"/>
                  </a:lnTo>
                  <a:lnTo>
                    <a:pt x="0" y="38074"/>
                  </a:lnTo>
                  <a:lnTo>
                    <a:pt x="7338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" name="Forme libre : forme 91">
              <a:extLst>
                <a:ext uri="{FF2B5EF4-FFF2-40B4-BE49-F238E27FC236}">
                  <a16:creationId xmlns:a16="http://schemas.microsoft.com/office/drawing/2014/main" id="{BA0CCCD1-A43A-4EDA-9AE2-2B760A750CB8}"/>
                </a:ext>
              </a:extLst>
            </p:cNvPr>
            <p:cNvSpPr/>
            <p:nvPr/>
          </p:nvSpPr>
          <p:spPr>
            <a:xfrm rot="8716295">
              <a:off x="121288" y="414134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" name="Forme libre : forme 92">
              <a:extLst>
                <a:ext uri="{FF2B5EF4-FFF2-40B4-BE49-F238E27FC236}">
                  <a16:creationId xmlns:a16="http://schemas.microsoft.com/office/drawing/2014/main" id="{B00F8218-3F51-4CFB-9D4D-4142207B942F}"/>
                </a:ext>
              </a:extLst>
            </p:cNvPr>
            <p:cNvSpPr/>
            <p:nvPr/>
          </p:nvSpPr>
          <p:spPr>
            <a:xfrm rot="8716295">
              <a:off x="256586" y="418560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" name="Forme libre : forme 93">
              <a:extLst>
                <a:ext uri="{FF2B5EF4-FFF2-40B4-BE49-F238E27FC236}">
                  <a16:creationId xmlns:a16="http://schemas.microsoft.com/office/drawing/2014/main" id="{59A33452-85A5-44B9-85E4-34DB64857691}"/>
                </a:ext>
              </a:extLst>
            </p:cNvPr>
            <p:cNvSpPr/>
            <p:nvPr/>
          </p:nvSpPr>
          <p:spPr>
            <a:xfrm rot="8716295">
              <a:off x="188704" y="405501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orme libre : forme 94">
              <a:extLst>
                <a:ext uri="{FF2B5EF4-FFF2-40B4-BE49-F238E27FC236}">
                  <a16:creationId xmlns:a16="http://schemas.microsoft.com/office/drawing/2014/main" id="{6EB29E53-18CD-42F3-9B37-2ECC6883F84C}"/>
                </a:ext>
              </a:extLst>
            </p:cNvPr>
            <p:cNvSpPr/>
            <p:nvPr/>
          </p:nvSpPr>
          <p:spPr>
            <a:xfrm rot="8716295">
              <a:off x="-22408" y="4278013"/>
              <a:ext cx="57413" cy="71926"/>
            </a:xfrm>
            <a:custGeom>
              <a:avLst/>
              <a:gdLst>
                <a:gd name="connsiteX0" fmla="*/ 11441 w 57413"/>
                <a:gd name="connsiteY0" fmla="*/ 71926 h 71926"/>
                <a:gd name="connsiteX1" fmla="*/ 0 w 57413"/>
                <a:gd name="connsiteY1" fmla="*/ 44829 h 71926"/>
                <a:gd name="connsiteX2" fmla="*/ 0 w 57413"/>
                <a:gd name="connsiteY2" fmla="*/ 44139 h 71926"/>
                <a:gd name="connsiteX3" fmla="*/ 13104 w 57413"/>
                <a:gd name="connsiteY3" fmla="*/ 13104 h 71926"/>
                <a:gd name="connsiteX4" fmla="*/ 44139 w 57413"/>
                <a:gd name="connsiteY4" fmla="*/ 0 h 71926"/>
                <a:gd name="connsiteX5" fmla="*/ 57413 w 57413"/>
                <a:gd name="connsiteY5" fmla="*/ 5605 h 71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413" h="71926">
                  <a:moveTo>
                    <a:pt x="11441" y="71926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lnTo>
                    <a:pt x="57413" y="5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Forme libre : forme 95">
              <a:extLst>
                <a:ext uri="{FF2B5EF4-FFF2-40B4-BE49-F238E27FC236}">
                  <a16:creationId xmlns:a16="http://schemas.microsoft.com/office/drawing/2014/main" id="{5DEA4AC8-B4A8-4210-932F-E61308CFB12D}"/>
                </a:ext>
              </a:extLst>
            </p:cNvPr>
            <p:cNvSpPr/>
            <p:nvPr/>
          </p:nvSpPr>
          <p:spPr>
            <a:xfrm rot="8716295">
              <a:off x="-36969" y="4107248"/>
              <a:ext cx="147272" cy="83734"/>
            </a:xfrm>
            <a:custGeom>
              <a:avLst/>
              <a:gdLst>
                <a:gd name="connsiteX0" fmla="*/ 0 w 147272"/>
                <a:gd name="connsiteY0" fmla="*/ 83734 h 83734"/>
                <a:gd name="connsiteX1" fmla="*/ 0 w 147272"/>
                <a:gd name="connsiteY1" fmla="*/ 0 h 83734"/>
                <a:gd name="connsiteX2" fmla="*/ 147272 w 147272"/>
                <a:gd name="connsiteY2" fmla="*/ 0 h 83734"/>
                <a:gd name="connsiteX3" fmla="*/ 89230 w 147272"/>
                <a:gd name="connsiteY3" fmla="*/ 83734 h 83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272" h="83734">
                  <a:moveTo>
                    <a:pt x="0" y="83734"/>
                  </a:moveTo>
                  <a:lnTo>
                    <a:pt x="0" y="0"/>
                  </a:lnTo>
                  <a:lnTo>
                    <a:pt x="147272" y="0"/>
                  </a:lnTo>
                  <a:lnTo>
                    <a:pt x="89230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" name="Forme libre : forme 96">
              <a:extLst>
                <a:ext uri="{FF2B5EF4-FFF2-40B4-BE49-F238E27FC236}">
                  <a16:creationId xmlns:a16="http://schemas.microsoft.com/office/drawing/2014/main" id="{B218914A-7EA1-40E4-B44A-2A3DBC972AF7}"/>
                </a:ext>
              </a:extLst>
            </p:cNvPr>
            <p:cNvSpPr/>
            <p:nvPr/>
          </p:nvSpPr>
          <p:spPr>
            <a:xfrm rot="8716295">
              <a:off x="43378" y="3712531"/>
              <a:ext cx="125537" cy="468763"/>
            </a:xfrm>
            <a:custGeom>
              <a:avLst/>
              <a:gdLst>
                <a:gd name="connsiteX0" fmla="*/ 29455 w 125537"/>
                <a:gd name="connsiteY0" fmla="*/ 468763 h 468763"/>
                <a:gd name="connsiteX1" fmla="*/ 7792 w 125537"/>
                <a:gd name="connsiteY1" fmla="*/ 425988 h 468763"/>
                <a:gd name="connsiteX2" fmla="*/ 0 w 125537"/>
                <a:gd name="connsiteY2" fmla="*/ 333043 h 468763"/>
                <a:gd name="connsiteX3" fmla="*/ 0 w 125537"/>
                <a:gd name="connsiteY3" fmla="*/ 61444 h 468763"/>
                <a:gd name="connsiteX4" fmla="*/ 118434 w 125537"/>
                <a:gd name="connsiteY4" fmla="*/ 0 h 468763"/>
                <a:gd name="connsiteX5" fmla="*/ 120216 w 125537"/>
                <a:gd name="connsiteY5" fmla="*/ 248447 h 468763"/>
                <a:gd name="connsiteX6" fmla="*/ 123889 w 125537"/>
                <a:gd name="connsiteY6" fmla="*/ 323359 h 468763"/>
                <a:gd name="connsiteX7" fmla="*/ 125537 w 125537"/>
                <a:gd name="connsiteY7" fmla="*/ 330150 h 468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537" h="468763">
                  <a:moveTo>
                    <a:pt x="29455" y="468763"/>
                  </a:moveTo>
                  <a:lnTo>
                    <a:pt x="7792" y="425988"/>
                  </a:lnTo>
                  <a:cubicBezTo>
                    <a:pt x="2003" y="400498"/>
                    <a:pt x="0" y="369553"/>
                    <a:pt x="0" y="333043"/>
                  </a:cubicBezTo>
                  <a:lnTo>
                    <a:pt x="0" y="61444"/>
                  </a:lnTo>
                  <a:lnTo>
                    <a:pt x="118434" y="0"/>
                  </a:lnTo>
                  <a:lnTo>
                    <a:pt x="120216" y="248447"/>
                  </a:lnTo>
                  <a:cubicBezTo>
                    <a:pt x="118880" y="273381"/>
                    <a:pt x="120216" y="298537"/>
                    <a:pt x="123889" y="323359"/>
                  </a:cubicBezTo>
                  <a:lnTo>
                    <a:pt x="125537" y="3301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" name="Forme libre : forme 97">
              <a:extLst>
                <a:ext uri="{FF2B5EF4-FFF2-40B4-BE49-F238E27FC236}">
                  <a16:creationId xmlns:a16="http://schemas.microsoft.com/office/drawing/2014/main" id="{B6F2924E-906C-4ED1-BF2D-C834372E14EF}"/>
                </a:ext>
              </a:extLst>
            </p:cNvPr>
            <p:cNvSpPr/>
            <p:nvPr/>
          </p:nvSpPr>
          <p:spPr>
            <a:xfrm rot="8716295">
              <a:off x="87905" y="4337347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" name="Forme libre : forme 98">
              <a:extLst>
                <a:ext uri="{FF2B5EF4-FFF2-40B4-BE49-F238E27FC236}">
                  <a16:creationId xmlns:a16="http://schemas.microsoft.com/office/drawing/2014/main" id="{0D75C9D9-5C3D-47E0-90AD-938F1B8E2F44}"/>
                </a:ext>
              </a:extLst>
            </p:cNvPr>
            <p:cNvSpPr/>
            <p:nvPr/>
          </p:nvSpPr>
          <p:spPr>
            <a:xfrm rot="8716295">
              <a:off x="558851" y="376273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orme libre : forme 99">
              <a:extLst>
                <a:ext uri="{FF2B5EF4-FFF2-40B4-BE49-F238E27FC236}">
                  <a16:creationId xmlns:a16="http://schemas.microsoft.com/office/drawing/2014/main" id="{FB753F16-18A9-4EF7-8A5C-AFE5FF2AAE20}"/>
                </a:ext>
              </a:extLst>
            </p:cNvPr>
            <p:cNvSpPr/>
            <p:nvPr/>
          </p:nvSpPr>
          <p:spPr>
            <a:xfrm rot="8716295">
              <a:off x="694150" y="380699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Forme libre : forme 100">
              <a:extLst>
                <a:ext uri="{FF2B5EF4-FFF2-40B4-BE49-F238E27FC236}">
                  <a16:creationId xmlns:a16="http://schemas.microsoft.com/office/drawing/2014/main" id="{3BF96335-BBEB-4DB5-9C46-1C3097EF0D59}"/>
                </a:ext>
              </a:extLst>
            </p:cNvPr>
            <p:cNvSpPr/>
            <p:nvPr/>
          </p:nvSpPr>
          <p:spPr>
            <a:xfrm rot="8716295">
              <a:off x="388980" y="389674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" name="Forme libre : forme 101">
              <a:extLst>
                <a:ext uri="{FF2B5EF4-FFF2-40B4-BE49-F238E27FC236}">
                  <a16:creationId xmlns:a16="http://schemas.microsoft.com/office/drawing/2014/main" id="{5E31C792-E11F-4ADA-B2CB-57C48077CBA4}"/>
                </a:ext>
              </a:extLst>
            </p:cNvPr>
            <p:cNvSpPr/>
            <p:nvPr/>
          </p:nvSpPr>
          <p:spPr>
            <a:xfrm rot="8716295">
              <a:off x="199936" y="358091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" name="Forme libre : forme 102">
              <a:extLst>
                <a:ext uri="{FF2B5EF4-FFF2-40B4-BE49-F238E27FC236}">
                  <a16:creationId xmlns:a16="http://schemas.microsoft.com/office/drawing/2014/main" id="{94FED6A4-8569-4EA9-A306-CB876E36FB03}"/>
                </a:ext>
              </a:extLst>
            </p:cNvPr>
            <p:cNvSpPr/>
            <p:nvPr/>
          </p:nvSpPr>
          <p:spPr>
            <a:xfrm rot="8716295">
              <a:off x="525469" y="3958731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" name="Forme libre : forme 103">
              <a:extLst>
                <a:ext uri="{FF2B5EF4-FFF2-40B4-BE49-F238E27FC236}">
                  <a16:creationId xmlns:a16="http://schemas.microsoft.com/office/drawing/2014/main" id="{980A1AA3-B52B-4C80-9AC4-D47CC78A5A3B}"/>
                </a:ext>
              </a:extLst>
            </p:cNvPr>
            <p:cNvSpPr/>
            <p:nvPr/>
          </p:nvSpPr>
          <p:spPr>
            <a:xfrm rot="8716295">
              <a:off x="160022" y="3732305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" name="Forme libre : forme 104">
              <a:extLst>
                <a:ext uri="{FF2B5EF4-FFF2-40B4-BE49-F238E27FC236}">
                  <a16:creationId xmlns:a16="http://schemas.microsoft.com/office/drawing/2014/main" id="{C66003E5-2553-46E6-8D65-9CD33FAF8398}"/>
                </a:ext>
              </a:extLst>
            </p:cNvPr>
            <p:cNvSpPr/>
            <p:nvPr/>
          </p:nvSpPr>
          <p:spPr>
            <a:xfrm rot="7484129">
              <a:off x="684286" y="424834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" name="Forme libre : forme 105">
              <a:extLst>
                <a:ext uri="{FF2B5EF4-FFF2-40B4-BE49-F238E27FC236}">
                  <a16:creationId xmlns:a16="http://schemas.microsoft.com/office/drawing/2014/main" id="{A5156F8D-1CAA-4650-BC6D-5AD5CAA0A30F}"/>
                </a:ext>
              </a:extLst>
            </p:cNvPr>
            <p:cNvSpPr/>
            <p:nvPr/>
          </p:nvSpPr>
          <p:spPr>
            <a:xfrm rot="13089394">
              <a:off x="842936" y="4197697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" name="Forme libre : forme 106">
              <a:extLst>
                <a:ext uri="{FF2B5EF4-FFF2-40B4-BE49-F238E27FC236}">
                  <a16:creationId xmlns:a16="http://schemas.microsoft.com/office/drawing/2014/main" id="{7A0FA012-A668-45E7-9A04-80DC4066A5EA}"/>
                </a:ext>
              </a:extLst>
            </p:cNvPr>
            <p:cNvSpPr/>
            <p:nvPr/>
          </p:nvSpPr>
          <p:spPr>
            <a:xfrm rot="8716295">
              <a:off x="1123827" y="390757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" name="Forme libre : forme 107">
              <a:extLst>
                <a:ext uri="{FF2B5EF4-FFF2-40B4-BE49-F238E27FC236}">
                  <a16:creationId xmlns:a16="http://schemas.microsoft.com/office/drawing/2014/main" id="{DE4CA035-6173-48AD-BD1D-D7ED5F77A322}"/>
                </a:ext>
              </a:extLst>
            </p:cNvPr>
            <p:cNvSpPr/>
            <p:nvPr/>
          </p:nvSpPr>
          <p:spPr>
            <a:xfrm rot="8716295">
              <a:off x="1045418" y="375078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" name="Forme libre : forme 108">
              <a:extLst>
                <a:ext uri="{FF2B5EF4-FFF2-40B4-BE49-F238E27FC236}">
                  <a16:creationId xmlns:a16="http://schemas.microsoft.com/office/drawing/2014/main" id="{40E22C8F-9A2F-4D96-8E60-B4FAE9625F7E}"/>
                </a:ext>
              </a:extLst>
            </p:cNvPr>
            <p:cNvSpPr/>
            <p:nvPr/>
          </p:nvSpPr>
          <p:spPr>
            <a:xfrm rot="8716295">
              <a:off x="677254" y="379652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" name="Forme libre : forme 109">
              <a:extLst>
                <a:ext uri="{FF2B5EF4-FFF2-40B4-BE49-F238E27FC236}">
                  <a16:creationId xmlns:a16="http://schemas.microsoft.com/office/drawing/2014/main" id="{0FB9706E-9855-492B-8609-A2F256591A28}"/>
                </a:ext>
              </a:extLst>
            </p:cNvPr>
            <p:cNvSpPr/>
            <p:nvPr/>
          </p:nvSpPr>
          <p:spPr>
            <a:xfrm rot="8716295">
              <a:off x="945836" y="355550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" name="Forme libre : forme 110">
              <a:extLst>
                <a:ext uri="{FF2B5EF4-FFF2-40B4-BE49-F238E27FC236}">
                  <a16:creationId xmlns:a16="http://schemas.microsoft.com/office/drawing/2014/main" id="{ADF55B74-AC60-4155-92FA-4565710C9BFA}"/>
                </a:ext>
              </a:extLst>
            </p:cNvPr>
            <p:cNvSpPr/>
            <p:nvPr/>
          </p:nvSpPr>
          <p:spPr>
            <a:xfrm rot="8716295">
              <a:off x="601570" y="5027951"/>
              <a:ext cx="169680" cy="113030"/>
            </a:xfrm>
            <a:custGeom>
              <a:avLst/>
              <a:gdLst>
                <a:gd name="connsiteX0" fmla="*/ 8965 w 169680"/>
                <a:gd name="connsiteY0" fmla="*/ 113030 h 113030"/>
                <a:gd name="connsiteX1" fmla="*/ 0 w 169680"/>
                <a:gd name="connsiteY1" fmla="*/ 100616 h 113030"/>
                <a:gd name="connsiteX2" fmla="*/ 106933 w 169680"/>
                <a:gd name="connsiteY2" fmla="*/ 0 h 113030"/>
                <a:gd name="connsiteX3" fmla="*/ 169680 w 169680"/>
                <a:gd name="connsiteY3" fmla="*/ 43494 h 113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680" h="113030">
                  <a:moveTo>
                    <a:pt x="8965" y="113030"/>
                  </a:moveTo>
                  <a:lnTo>
                    <a:pt x="0" y="100616"/>
                  </a:lnTo>
                  <a:lnTo>
                    <a:pt x="106933" y="0"/>
                  </a:lnTo>
                  <a:lnTo>
                    <a:pt x="169680" y="434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" name="Forme libre : forme 111">
              <a:extLst>
                <a:ext uri="{FF2B5EF4-FFF2-40B4-BE49-F238E27FC236}">
                  <a16:creationId xmlns:a16="http://schemas.microsoft.com/office/drawing/2014/main" id="{DDFE2301-223D-4F62-87C3-BBD61CFA4AE0}"/>
                </a:ext>
              </a:extLst>
            </p:cNvPr>
            <p:cNvSpPr/>
            <p:nvPr/>
          </p:nvSpPr>
          <p:spPr>
            <a:xfrm rot="8716295">
              <a:off x="197311" y="4925365"/>
              <a:ext cx="194366" cy="296463"/>
            </a:xfrm>
            <a:custGeom>
              <a:avLst/>
              <a:gdLst>
                <a:gd name="connsiteX0" fmla="*/ 137293 w 194366"/>
                <a:gd name="connsiteY0" fmla="*/ 296463 h 296463"/>
                <a:gd name="connsiteX1" fmla="*/ 72418 w 194366"/>
                <a:gd name="connsiteY1" fmla="*/ 175766 h 296463"/>
                <a:gd name="connsiteX2" fmla="*/ 105610 w 194366"/>
                <a:gd name="connsiteY2" fmla="*/ 83734 h 296463"/>
                <a:gd name="connsiteX3" fmla="*/ 0 w 194366"/>
                <a:gd name="connsiteY3" fmla="*/ 83734 h 296463"/>
                <a:gd name="connsiteX4" fmla="*/ 0 w 194366"/>
                <a:gd name="connsiteY4" fmla="*/ 0 h 296463"/>
                <a:gd name="connsiteX5" fmla="*/ 6043 w 194366"/>
                <a:gd name="connsiteY5" fmla="*/ 0 h 296463"/>
                <a:gd name="connsiteX6" fmla="*/ 194366 w 194366"/>
                <a:gd name="connsiteY6" fmla="*/ 130539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4366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6043" y="0"/>
                  </a:lnTo>
                  <a:lnTo>
                    <a:pt x="194366" y="1305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" name="Forme libre : forme 112">
              <a:extLst>
                <a:ext uri="{FF2B5EF4-FFF2-40B4-BE49-F238E27FC236}">
                  <a16:creationId xmlns:a16="http://schemas.microsoft.com/office/drawing/2014/main" id="{3377FDF7-2BED-4403-9821-41A8059D732F}"/>
                </a:ext>
              </a:extLst>
            </p:cNvPr>
            <p:cNvSpPr/>
            <p:nvPr/>
          </p:nvSpPr>
          <p:spPr>
            <a:xfrm rot="8716295">
              <a:off x="73168" y="4745087"/>
              <a:ext cx="439901" cy="517329"/>
            </a:xfrm>
            <a:custGeom>
              <a:avLst/>
              <a:gdLst>
                <a:gd name="connsiteX0" fmla="*/ 38290 w 439901"/>
                <a:gd name="connsiteY0" fmla="*/ 472541 h 517329"/>
                <a:gd name="connsiteX1" fmla="*/ 0 w 439901"/>
                <a:gd name="connsiteY1" fmla="*/ 319377 h 517329"/>
                <a:gd name="connsiteX2" fmla="*/ 0 w 439901"/>
                <a:gd name="connsiteY2" fmla="*/ 47778 h 517329"/>
                <a:gd name="connsiteX3" fmla="*/ 92094 w 439901"/>
                <a:gd name="connsiteY3" fmla="*/ 0 h 517329"/>
                <a:gd name="connsiteX4" fmla="*/ 118664 w 439901"/>
                <a:gd name="connsiteY4" fmla="*/ 18418 h 517329"/>
                <a:gd name="connsiteX5" fmla="*/ 120216 w 439901"/>
                <a:gd name="connsiteY5" fmla="*/ 234781 h 517329"/>
                <a:gd name="connsiteX6" fmla="*/ 141587 w 439901"/>
                <a:gd name="connsiteY6" fmla="*/ 382603 h 517329"/>
                <a:gd name="connsiteX7" fmla="*/ 248446 w 439901"/>
                <a:gd name="connsiteY7" fmla="*/ 441375 h 517329"/>
                <a:gd name="connsiteX8" fmla="*/ 328589 w 439901"/>
                <a:gd name="connsiteY8" fmla="*/ 427127 h 517329"/>
                <a:gd name="connsiteX9" fmla="*/ 438120 w 439901"/>
                <a:gd name="connsiteY9" fmla="*/ 382603 h 517329"/>
                <a:gd name="connsiteX10" fmla="*/ 439901 w 439901"/>
                <a:gd name="connsiteY10" fmla="*/ 394178 h 517329"/>
                <a:gd name="connsiteX11" fmla="*/ 439901 w 439901"/>
                <a:gd name="connsiteY11" fmla="*/ 403083 h 517329"/>
                <a:gd name="connsiteX12" fmla="*/ 147821 w 439901"/>
                <a:gd name="connsiteY12" fmla="*/ 517066 h 517329"/>
                <a:gd name="connsiteX13" fmla="*/ 38290 w 439901"/>
                <a:gd name="connsiteY13" fmla="*/ 472541 h 517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9901" h="517329">
                  <a:moveTo>
                    <a:pt x="38290" y="472541"/>
                  </a:moveTo>
                  <a:cubicBezTo>
                    <a:pt x="8014" y="443156"/>
                    <a:pt x="0" y="392397"/>
                    <a:pt x="0" y="319377"/>
                  </a:cubicBezTo>
                  <a:lnTo>
                    <a:pt x="0" y="47778"/>
                  </a:lnTo>
                  <a:lnTo>
                    <a:pt x="92094" y="0"/>
                  </a:lnTo>
                  <a:lnTo>
                    <a:pt x="118664" y="18418"/>
                  </a:lnTo>
                  <a:lnTo>
                    <a:pt x="120216" y="234781"/>
                  </a:lnTo>
                  <a:cubicBezTo>
                    <a:pt x="117544" y="284648"/>
                    <a:pt x="125558" y="335406"/>
                    <a:pt x="141587" y="382603"/>
                  </a:cubicBezTo>
                  <a:cubicBezTo>
                    <a:pt x="155836" y="421784"/>
                    <a:pt x="192345" y="441375"/>
                    <a:pt x="248446" y="441375"/>
                  </a:cubicBezTo>
                  <a:cubicBezTo>
                    <a:pt x="276051" y="440484"/>
                    <a:pt x="302766" y="435141"/>
                    <a:pt x="328589" y="427127"/>
                  </a:cubicBezTo>
                  <a:cubicBezTo>
                    <a:pt x="365990" y="415550"/>
                    <a:pt x="402500" y="400412"/>
                    <a:pt x="438120" y="382603"/>
                  </a:cubicBezTo>
                  <a:cubicBezTo>
                    <a:pt x="439010" y="386164"/>
                    <a:pt x="439901" y="390616"/>
                    <a:pt x="439901" y="394178"/>
                  </a:cubicBezTo>
                  <a:lnTo>
                    <a:pt x="439901" y="403083"/>
                  </a:lnTo>
                  <a:cubicBezTo>
                    <a:pt x="345509" y="484118"/>
                    <a:pt x="221731" y="512614"/>
                    <a:pt x="147821" y="517066"/>
                  </a:cubicBezTo>
                  <a:cubicBezTo>
                    <a:pt x="106859" y="519738"/>
                    <a:pt x="66787" y="501928"/>
                    <a:pt x="38290" y="47254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" name="Forme libre : forme 113">
              <a:extLst>
                <a:ext uri="{FF2B5EF4-FFF2-40B4-BE49-F238E27FC236}">
                  <a16:creationId xmlns:a16="http://schemas.microsoft.com/office/drawing/2014/main" id="{B93DC94C-820F-4572-BF0C-6383E8E9C877}"/>
                </a:ext>
              </a:extLst>
            </p:cNvPr>
            <p:cNvSpPr/>
            <p:nvPr/>
          </p:nvSpPr>
          <p:spPr>
            <a:xfrm rot="8716295">
              <a:off x="896624" y="4761216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" name="Forme libre : forme 114">
              <a:extLst>
                <a:ext uri="{FF2B5EF4-FFF2-40B4-BE49-F238E27FC236}">
                  <a16:creationId xmlns:a16="http://schemas.microsoft.com/office/drawing/2014/main" id="{46905971-2CA6-4786-88F6-6625CD1AC045}"/>
                </a:ext>
              </a:extLst>
            </p:cNvPr>
            <p:cNvSpPr/>
            <p:nvPr/>
          </p:nvSpPr>
          <p:spPr>
            <a:xfrm rot="8716295">
              <a:off x="1032483" y="4799006"/>
              <a:ext cx="389853" cy="383455"/>
            </a:xfrm>
            <a:custGeom>
              <a:avLst/>
              <a:gdLst>
                <a:gd name="connsiteX0" fmla="*/ 77932 w 389853"/>
                <a:gd name="connsiteY0" fmla="*/ 383455 h 383455"/>
                <a:gd name="connsiteX1" fmla="*/ 77932 w 389853"/>
                <a:gd name="connsiteY1" fmla="*/ 66898 h 383455"/>
                <a:gd name="connsiteX2" fmla="*/ 0 w 389853"/>
                <a:gd name="connsiteY2" fmla="*/ 66898 h 383455"/>
                <a:gd name="connsiteX3" fmla="*/ 0 w 389853"/>
                <a:gd name="connsiteY3" fmla="*/ 0 h 383455"/>
                <a:gd name="connsiteX4" fmla="*/ 158623 w 389853"/>
                <a:gd name="connsiteY4" fmla="*/ 0 h 383455"/>
                <a:gd name="connsiteX5" fmla="*/ 158623 w 389853"/>
                <a:gd name="connsiteY5" fmla="*/ 111726 h 383455"/>
                <a:gd name="connsiteX6" fmla="*/ 160692 w 389853"/>
                <a:gd name="connsiteY6" fmla="*/ 111726 h 383455"/>
                <a:gd name="connsiteX7" fmla="*/ 192762 w 389853"/>
                <a:gd name="connsiteY7" fmla="*/ 39914 h 383455"/>
                <a:gd name="connsiteX8" fmla="*/ 216292 w 389853"/>
                <a:gd name="connsiteY8" fmla="*/ 20658 h 383455"/>
                <a:gd name="connsiteX9" fmla="*/ 389853 w 389853"/>
                <a:gd name="connsiteY9" fmla="*/ 140965 h 383455"/>
                <a:gd name="connsiteX10" fmla="*/ 300695 w 389853"/>
                <a:gd name="connsiteY10" fmla="*/ 146210 h 383455"/>
                <a:gd name="connsiteX11" fmla="*/ 300694 w 389853"/>
                <a:gd name="connsiteY11" fmla="*/ 121382 h 383455"/>
                <a:gd name="connsiteX12" fmla="*/ 249659 w 389853"/>
                <a:gd name="connsiteY12" fmla="*/ 58622 h 383455"/>
                <a:gd name="connsiteX13" fmla="*/ 168969 w 389853"/>
                <a:gd name="connsiteY13" fmla="*/ 191038 h 383455"/>
                <a:gd name="connsiteX14" fmla="*/ 168969 w 389853"/>
                <a:gd name="connsiteY14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9853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71727" y="78967"/>
                    <a:pt x="181555" y="56208"/>
                    <a:pt x="192762" y="39914"/>
                  </a:cubicBezTo>
                  <a:lnTo>
                    <a:pt x="216292" y="20658"/>
                  </a:lnTo>
                  <a:lnTo>
                    <a:pt x="389853" y="140965"/>
                  </a:lnTo>
                  <a:lnTo>
                    <a:pt x="300695" y="146210"/>
                  </a:lnTo>
                  <a:lnTo>
                    <a:pt x="300694" y="121382"/>
                  </a:lnTo>
                  <a:cubicBezTo>
                    <a:pt x="300695" y="84140"/>
                    <a:pt x="279315" y="58621"/>
                    <a:pt x="249659" y="58622"/>
                  </a:cubicBezTo>
                  <a:cubicBezTo>
                    <a:pt x="205521" y="58621"/>
                    <a:pt x="168969" y="117244"/>
                    <a:pt x="168969" y="191038"/>
                  </a:cubicBez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" name="Forme libre : forme 115">
              <a:extLst>
                <a:ext uri="{FF2B5EF4-FFF2-40B4-BE49-F238E27FC236}">
                  <a16:creationId xmlns:a16="http://schemas.microsoft.com/office/drawing/2014/main" id="{8E2B23B6-FA24-4ECF-865C-D4B85991FB2B}"/>
                </a:ext>
              </a:extLst>
            </p:cNvPr>
            <p:cNvSpPr/>
            <p:nvPr/>
          </p:nvSpPr>
          <p:spPr>
            <a:xfrm rot="8716295">
              <a:off x="726753" y="489523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" name="Forme libre : forme 116">
              <a:extLst>
                <a:ext uri="{FF2B5EF4-FFF2-40B4-BE49-F238E27FC236}">
                  <a16:creationId xmlns:a16="http://schemas.microsoft.com/office/drawing/2014/main" id="{068C5BF4-ACAC-42CE-AE54-FD21152507C1}"/>
                </a:ext>
              </a:extLst>
            </p:cNvPr>
            <p:cNvSpPr/>
            <p:nvPr/>
          </p:nvSpPr>
          <p:spPr>
            <a:xfrm rot="8716295">
              <a:off x="537709" y="457939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" name="Forme libre : forme 117">
              <a:extLst>
                <a:ext uri="{FF2B5EF4-FFF2-40B4-BE49-F238E27FC236}">
                  <a16:creationId xmlns:a16="http://schemas.microsoft.com/office/drawing/2014/main" id="{0ACBCA4F-4DCF-49D0-8A3E-C12DE7B45BF0}"/>
                </a:ext>
              </a:extLst>
            </p:cNvPr>
            <p:cNvSpPr/>
            <p:nvPr/>
          </p:nvSpPr>
          <p:spPr>
            <a:xfrm rot="8716295">
              <a:off x="826576" y="4988476"/>
              <a:ext cx="91035" cy="198648"/>
            </a:xfrm>
            <a:custGeom>
              <a:avLst/>
              <a:gdLst>
                <a:gd name="connsiteX0" fmla="*/ 91035 w 91035"/>
                <a:gd name="connsiteY0" fmla="*/ 198648 h 198648"/>
                <a:gd name="connsiteX1" fmla="*/ 0 w 91035"/>
                <a:gd name="connsiteY1" fmla="*/ 111060 h 198648"/>
                <a:gd name="connsiteX2" fmla="*/ 0 w 91035"/>
                <a:gd name="connsiteY2" fmla="*/ 0 h 198648"/>
                <a:gd name="connsiteX3" fmla="*/ 91035 w 91035"/>
                <a:gd name="connsiteY3" fmla="*/ 63103 h 198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198648">
                  <a:moveTo>
                    <a:pt x="91035" y="198648"/>
                  </a:moveTo>
                  <a:lnTo>
                    <a:pt x="0" y="111060"/>
                  </a:lnTo>
                  <a:lnTo>
                    <a:pt x="0" y="0"/>
                  </a:lnTo>
                  <a:lnTo>
                    <a:pt x="91035" y="631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" name="Forme libre : forme 118">
              <a:extLst>
                <a:ext uri="{FF2B5EF4-FFF2-40B4-BE49-F238E27FC236}">
                  <a16:creationId xmlns:a16="http://schemas.microsoft.com/office/drawing/2014/main" id="{CF5DC784-7D69-46EA-A75B-D2ED877AA625}"/>
                </a:ext>
              </a:extLst>
            </p:cNvPr>
            <p:cNvSpPr/>
            <p:nvPr/>
          </p:nvSpPr>
          <p:spPr>
            <a:xfrm rot="8716295">
              <a:off x="497795" y="4730788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" name="Forme libre : forme 119">
              <a:extLst>
                <a:ext uri="{FF2B5EF4-FFF2-40B4-BE49-F238E27FC236}">
                  <a16:creationId xmlns:a16="http://schemas.microsoft.com/office/drawing/2014/main" id="{283C5FE9-EF8F-4940-9D13-7BC399536967}"/>
                </a:ext>
              </a:extLst>
            </p:cNvPr>
            <p:cNvSpPr/>
            <p:nvPr/>
          </p:nvSpPr>
          <p:spPr>
            <a:xfrm rot="8716295">
              <a:off x="1459248" y="4904357"/>
              <a:ext cx="328004" cy="223069"/>
            </a:xfrm>
            <a:custGeom>
              <a:avLst/>
              <a:gdLst>
                <a:gd name="connsiteX0" fmla="*/ 10574 w 328004"/>
                <a:gd name="connsiteY0" fmla="*/ 223069 h 223069"/>
                <a:gd name="connsiteX1" fmla="*/ 0 w 328004"/>
                <a:gd name="connsiteY1" fmla="*/ 208428 h 223069"/>
                <a:gd name="connsiteX2" fmla="*/ 192781 w 328004"/>
                <a:gd name="connsiteY2" fmla="*/ 27035 h 223069"/>
                <a:gd name="connsiteX3" fmla="*/ 227094 w 328004"/>
                <a:gd name="connsiteY3" fmla="*/ 0 h 223069"/>
                <a:gd name="connsiteX4" fmla="*/ 328004 w 328004"/>
                <a:gd name="connsiteY4" fmla="*/ 69948 h 223069"/>
                <a:gd name="connsiteX5" fmla="*/ 326080 w 328004"/>
                <a:gd name="connsiteY5" fmla="*/ 74925 h 223069"/>
                <a:gd name="connsiteX6" fmla="*/ 293645 w 328004"/>
                <a:gd name="connsiteY6" fmla="*/ 100243 h 223069"/>
                <a:gd name="connsiteX7" fmla="*/ 294458 w 328004"/>
                <a:gd name="connsiteY7" fmla="*/ 100243 h 223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8004" h="223069">
                  <a:moveTo>
                    <a:pt x="10574" y="223069"/>
                  </a:moveTo>
                  <a:lnTo>
                    <a:pt x="0" y="208428"/>
                  </a:lnTo>
                  <a:lnTo>
                    <a:pt x="192781" y="27035"/>
                  </a:lnTo>
                  <a:lnTo>
                    <a:pt x="227094" y="0"/>
                  </a:lnTo>
                  <a:lnTo>
                    <a:pt x="328004" y="69948"/>
                  </a:lnTo>
                  <a:lnTo>
                    <a:pt x="326080" y="74925"/>
                  </a:lnTo>
                  <a:cubicBezTo>
                    <a:pt x="317843" y="85805"/>
                    <a:pt x="306659" y="94549"/>
                    <a:pt x="293645" y="100243"/>
                  </a:cubicBezTo>
                  <a:lnTo>
                    <a:pt x="294458" y="10024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" name="Forme libre : forme 120">
              <a:extLst>
                <a:ext uri="{FF2B5EF4-FFF2-40B4-BE49-F238E27FC236}">
                  <a16:creationId xmlns:a16="http://schemas.microsoft.com/office/drawing/2014/main" id="{0B28DAC7-E1B5-4397-8312-3939C6181805}"/>
                </a:ext>
              </a:extLst>
            </p:cNvPr>
            <p:cNvSpPr/>
            <p:nvPr/>
          </p:nvSpPr>
          <p:spPr>
            <a:xfrm rot="8716295">
              <a:off x="1383191" y="474927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" name="Forme libre : forme 121">
              <a:extLst>
                <a:ext uri="{FF2B5EF4-FFF2-40B4-BE49-F238E27FC236}">
                  <a16:creationId xmlns:a16="http://schemas.microsoft.com/office/drawing/2014/main" id="{9B5900D5-EF58-45B1-849A-84D4EFAA76C9}"/>
                </a:ext>
              </a:extLst>
            </p:cNvPr>
            <p:cNvSpPr/>
            <p:nvPr/>
          </p:nvSpPr>
          <p:spPr>
            <a:xfrm rot="8716295">
              <a:off x="1015027" y="479501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" name="Forme libre : forme 122">
              <a:extLst>
                <a:ext uri="{FF2B5EF4-FFF2-40B4-BE49-F238E27FC236}">
                  <a16:creationId xmlns:a16="http://schemas.microsoft.com/office/drawing/2014/main" id="{31771F28-8680-4E6C-A8C1-BC66F7BF0BA9}"/>
                </a:ext>
              </a:extLst>
            </p:cNvPr>
            <p:cNvSpPr/>
            <p:nvPr/>
          </p:nvSpPr>
          <p:spPr>
            <a:xfrm rot="8716295">
              <a:off x="1283609" y="455399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" name="Forme libre : forme 123">
              <a:extLst>
                <a:ext uri="{FF2B5EF4-FFF2-40B4-BE49-F238E27FC236}">
                  <a16:creationId xmlns:a16="http://schemas.microsoft.com/office/drawing/2014/main" id="{AC2CE701-4BE3-4F79-917E-19B3C750B982}"/>
                </a:ext>
              </a:extLst>
            </p:cNvPr>
            <p:cNvSpPr/>
            <p:nvPr/>
          </p:nvSpPr>
          <p:spPr>
            <a:xfrm rot="8716295">
              <a:off x="-30381" y="3359388"/>
              <a:ext cx="98497" cy="75863"/>
            </a:xfrm>
            <a:custGeom>
              <a:avLst/>
              <a:gdLst>
                <a:gd name="connsiteX0" fmla="*/ 0 w 98497"/>
                <a:gd name="connsiteY0" fmla="*/ 75863 h 75863"/>
                <a:gd name="connsiteX1" fmla="*/ 0 w 98497"/>
                <a:gd name="connsiteY1" fmla="*/ 0 h 75863"/>
                <a:gd name="connsiteX2" fmla="*/ 98497 w 98497"/>
                <a:gd name="connsiteY2" fmla="*/ 0 h 75863"/>
                <a:gd name="connsiteX3" fmla="*/ 45911 w 98497"/>
                <a:gd name="connsiteY3" fmla="*/ 75863 h 75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497" h="75863">
                  <a:moveTo>
                    <a:pt x="0" y="75863"/>
                  </a:moveTo>
                  <a:lnTo>
                    <a:pt x="0" y="0"/>
                  </a:lnTo>
                  <a:lnTo>
                    <a:pt x="98497" y="0"/>
                  </a:lnTo>
                  <a:lnTo>
                    <a:pt x="45911" y="758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" name="Forme libre : forme 124">
              <a:extLst>
                <a:ext uri="{FF2B5EF4-FFF2-40B4-BE49-F238E27FC236}">
                  <a16:creationId xmlns:a16="http://schemas.microsoft.com/office/drawing/2014/main" id="{F4F0C1BC-FBE5-45A4-A80E-BAB3E52DE367}"/>
                </a:ext>
              </a:extLst>
            </p:cNvPr>
            <p:cNvSpPr/>
            <p:nvPr/>
          </p:nvSpPr>
          <p:spPr>
            <a:xfrm rot="8716295">
              <a:off x="-77334" y="3178477"/>
              <a:ext cx="389652" cy="385611"/>
            </a:xfrm>
            <a:custGeom>
              <a:avLst/>
              <a:gdLst>
                <a:gd name="connsiteX0" fmla="*/ 77932 w 389652"/>
                <a:gd name="connsiteY0" fmla="*/ 385611 h 385611"/>
                <a:gd name="connsiteX1" fmla="*/ 77932 w 389652"/>
                <a:gd name="connsiteY1" fmla="*/ 69054 h 385611"/>
                <a:gd name="connsiteX2" fmla="*/ 0 w 389652"/>
                <a:gd name="connsiteY2" fmla="*/ 69054 h 385611"/>
                <a:gd name="connsiteX3" fmla="*/ 0 w 389652"/>
                <a:gd name="connsiteY3" fmla="*/ 2156 h 385611"/>
                <a:gd name="connsiteX4" fmla="*/ 158623 w 389652"/>
                <a:gd name="connsiteY4" fmla="*/ 2156 h 385611"/>
                <a:gd name="connsiteX5" fmla="*/ 158623 w 389652"/>
                <a:gd name="connsiteY5" fmla="*/ 113882 h 385611"/>
                <a:gd name="connsiteX6" fmla="*/ 160692 w 389652"/>
                <a:gd name="connsiteY6" fmla="*/ 113882 h 385611"/>
                <a:gd name="connsiteX7" fmla="*/ 233107 w 389652"/>
                <a:gd name="connsiteY7" fmla="*/ 9053 h 385611"/>
                <a:gd name="connsiteX8" fmla="*/ 280694 w 389652"/>
                <a:gd name="connsiteY8" fmla="*/ 87 h 385611"/>
                <a:gd name="connsiteX9" fmla="*/ 364230 w 389652"/>
                <a:gd name="connsiteY9" fmla="*/ 34398 h 385611"/>
                <a:gd name="connsiteX10" fmla="*/ 389652 w 389652"/>
                <a:gd name="connsiteY10" fmla="*/ 117977 h 385611"/>
                <a:gd name="connsiteX11" fmla="*/ 371473 w 389652"/>
                <a:gd name="connsiteY11" fmla="*/ 144202 h 385611"/>
                <a:gd name="connsiteX12" fmla="*/ 300695 w 389652"/>
                <a:gd name="connsiteY12" fmla="*/ 148366 h 385611"/>
                <a:gd name="connsiteX13" fmla="*/ 300695 w 389652"/>
                <a:gd name="connsiteY13" fmla="*/ 123538 h 385611"/>
                <a:gd name="connsiteX14" fmla="*/ 249659 w 389652"/>
                <a:gd name="connsiteY14" fmla="*/ 60778 h 385611"/>
                <a:gd name="connsiteX15" fmla="*/ 168969 w 389652"/>
                <a:gd name="connsiteY15" fmla="*/ 193194 h 385611"/>
                <a:gd name="connsiteX16" fmla="*/ 168969 w 389652"/>
                <a:gd name="connsiteY16" fmla="*/ 323541 h 385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89652" h="385611">
                  <a:moveTo>
                    <a:pt x="77932" y="385611"/>
                  </a:moveTo>
                  <a:lnTo>
                    <a:pt x="77932" y="69054"/>
                  </a:lnTo>
                  <a:lnTo>
                    <a:pt x="0" y="69054"/>
                  </a:lnTo>
                  <a:lnTo>
                    <a:pt x="0" y="2156"/>
                  </a:lnTo>
                  <a:lnTo>
                    <a:pt x="158623" y="2156"/>
                  </a:lnTo>
                  <a:lnTo>
                    <a:pt x="158623" y="113882"/>
                  </a:lnTo>
                  <a:lnTo>
                    <a:pt x="160692" y="113882"/>
                  </a:lnTo>
                  <a:cubicBezTo>
                    <a:pt x="182762" y="48364"/>
                    <a:pt x="200003" y="22846"/>
                    <a:pt x="233107" y="9053"/>
                  </a:cubicBezTo>
                  <a:cubicBezTo>
                    <a:pt x="248280" y="2846"/>
                    <a:pt x="264142" y="-602"/>
                    <a:pt x="280694" y="87"/>
                  </a:cubicBezTo>
                  <a:cubicBezTo>
                    <a:pt x="316212" y="-603"/>
                    <a:pt x="344661" y="11466"/>
                    <a:pt x="364230" y="34398"/>
                  </a:cubicBezTo>
                  <a:lnTo>
                    <a:pt x="389652" y="117977"/>
                  </a:lnTo>
                  <a:lnTo>
                    <a:pt x="371473" y="144202"/>
                  </a:lnTo>
                  <a:lnTo>
                    <a:pt x="300695" y="148366"/>
                  </a:lnTo>
                  <a:lnTo>
                    <a:pt x="300695" y="123538"/>
                  </a:lnTo>
                  <a:cubicBezTo>
                    <a:pt x="300695" y="86296"/>
                    <a:pt x="279315" y="60778"/>
                    <a:pt x="249659" y="60778"/>
                  </a:cubicBezTo>
                  <a:cubicBezTo>
                    <a:pt x="205521" y="60778"/>
                    <a:pt x="168969" y="119400"/>
                    <a:pt x="168969" y="193194"/>
                  </a:cubicBezTo>
                  <a:lnTo>
                    <a:pt x="168969" y="3235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" name="Forme libre : forme 125">
              <a:extLst>
                <a:ext uri="{FF2B5EF4-FFF2-40B4-BE49-F238E27FC236}">
                  <a16:creationId xmlns:a16="http://schemas.microsoft.com/office/drawing/2014/main" id="{DD7E27D6-EDC4-4410-A8FD-B0AB28C9E1C2}"/>
                </a:ext>
              </a:extLst>
            </p:cNvPr>
            <p:cNvSpPr/>
            <p:nvPr/>
          </p:nvSpPr>
          <p:spPr>
            <a:xfrm rot="8716295">
              <a:off x="-71352" y="3029015"/>
              <a:ext cx="193594" cy="189959"/>
            </a:xfrm>
            <a:custGeom>
              <a:avLst/>
              <a:gdLst>
                <a:gd name="connsiteX0" fmla="*/ 8965 w 193594"/>
                <a:gd name="connsiteY0" fmla="*/ 189959 h 189959"/>
                <a:gd name="connsiteX1" fmla="*/ 0 w 193594"/>
                <a:gd name="connsiteY1" fmla="*/ 177545 h 189959"/>
                <a:gd name="connsiteX2" fmla="*/ 163451 w 193594"/>
                <a:gd name="connsiteY2" fmla="*/ 23749 h 189959"/>
                <a:gd name="connsiteX3" fmla="*/ 193594 w 193594"/>
                <a:gd name="connsiteY3" fmla="*/ 0 h 189959"/>
                <a:gd name="connsiteX4" fmla="*/ 84606 w 193594"/>
                <a:gd name="connsiteY4" fmla="*/ 157232 h 189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594" h="189959">
                  <a:moveTo>
                    <a:pt x="8965" y="189959"/>
                  </a:moveTo>
                  <a:lnTo>
                    <a:pt x="0" y="177545"/>
                  </a:lnTo>
                  <a:lnTo>
                    <a:pt x="163451" y="23749"/>
                  </a:lnTo>
                  <a:lnTo>
                    <a:pt x="193594" y="0"/>
                  </a:lnTo>
                  <a:lnTo>
                    <a:pt x="84606" y="15723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" name="Forme libre : forme 126">
              <a:extLst>
                <a:ext uri="{FF2B5EF4-FFF2-40B4-BE49-F238E27FC236}">
                  <a16:creationId xmlns:a16="http://schemas.microsoft.com/office/drawing/2014/main" id="{9053D84D-7FDB-4998-A81C-E5ABAA6EDE5E}"/>
                </a:ext>
              </a:extLst>
            </p:cNvPr>
            <p:cNvSpPr/>
            <p:nvPr/>
          </p:nvSpPr>
          <p:spPr>
            <a:xfrm rot="8716295">
              <a:off x="223574" y="276232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" name="Forme libre : forme 127">
              <a:extLst>
                <a:ext uri="{FF2B5EF4-FFF2-40B4-BE49-F238E27FC236}">
                  <a16:creationId xmlns:a16="http://schemas.microsoft.com/office/drawing/2014/main" id="{87AB580E-8F4B-47CD-9028-D46526078CE4}"/>
                </a:ext>
              </a:extLst>
            </p:cNvPr>
            <p:cNvSpPr/>
            <p:nvPr/>
          </p:nvSpPr>
          <p:spPr>
            <a:xfrm rot="8716295">
              <a:off x="358873" y="2806579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" name="Forme libre : forme 128">
              <a:extLst>
                <a:ext uri="{FF2B5EF4-FFF2-40B4-BE49-F238E27FC236}">
                  <a16:creationId xmlns:a16="http://schemas.microsoft.com/office/drawing/2014/main" id="{E19792CF-DDD1-4F4B-9682-435BC6CB8DED}"/>
                </a:ext>
              </a:extLst>
            </p:cNvPr>
            <p:cNvSpPr/>
            <p:nvPr/>
          </p:nvSpPr>
          <p:spPr>
            <a:xfrm rot="8716295">
              <a:off x="53703" y="2896335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" name="Forme libre : forme 129">
              <a:extLst>
                <a:ext uri="{FF2B5EF4-FFF2-40B4-BE49-F238E27FC236}">
                  <a16:creationId xmlns:a16="http://schemas.microsoft.com/office/drawing/2014/main" id="{BD0B65CA-A3C5-4B2A-8016-3FA0B6B241F4}"/>
                </a:ext>
              </a:extLst>
            </p:cNvPr>
            <p:cNvSpPr/>
            <p:nvPr/>
          </p:nvSpPr>
          <p:spPr>
            <a:xfrm rot="8716295">
              <a:off x="-92201" y="2622488"/>
              <a:ext cx="271732" cy="238722"/>
            </a:xfrm>
            <a:custGeom>
              <a:avLst/>
              <a:gdLst>
                <a:gd name="connsiteX0" fmla="*/ 106257 w 271732"/>
                <a:gd name="connsiteY0" fmla="*/ 238722 h 238722"/>
                <a:gd name="connsiteX1" fmla="*/ 72418 w 271732"/>
                <a:gd name="connsiteY1" fmla="*/ 175766 h 238722"/>
                <a:gd name="connsiteX2" fmla="*/ 105610 w 271732"/>
                <a:gd name="connsiteY2" fmla="*/ 83734 h 238722"/>
                <a:gd name="connsiteX3" fmla="*/ 0 w 271732"/>
                <a:gd name="connsiteY3" fmla="*/ 83734 h 238722"/>
                <a:gd name="connsiteX4" fmla="*/ 0 w 271732"/>
                <a:gd name="connsiteY4" fmla="*/ 0 h 238722"/>
                <a:gd name="connsiteX5" fmla="*/ 271732 w 271732"/>
                <a:gd name="connsiteY5" fmla="*/ 0 h 238722"/>
                <a:gd name="connsiteX6" fmla="*/ 213690 w 271732"/>
                <a:gd name="connsiteY6" fmla="*/ 83734 h 238722"/>
                <a:gd name="connsiteX7" fmla="*/ 210465 w 271732"/>
                <a:gd name="connsiteY7" fmla="*/ 83734 h 238722"/>
                <a:gd name="connsiteX8" fmla="*/ 207289 w 271732"/>
                <a:gd name="connsiteY8" fmla="*/ 92969 h 238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1732" h="238722">
                  <a:moveTo>
                    <a:pt x="106257" y="238722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71732" y="0"/>
                  </a:lnTo>
                  <a:lnTo>
                    <a:pt x="213690" y="83734"/>
                  </a:lnTo>
                  <a:lnTo>
                    <a:pt x="210465" y="83734"/>
                  </a:lnTo>
                  <a:lnTo>
                    <a:pt x="207289" y="929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" name="Forme libre : forme 130">
              <a:extLst>
                <a:ext uri="{FF2B5EF4-FFF2-40B4-BE49-F238E27FC236}">
                  <a16:creationId xmlns:a16="http://schemas.microsoft.com/office/drawing/2014/main" id="{A401047D-B75D-4F40-878E-D1BF52EA2F0E}"/>
                </a:ext>
              </a:extLst>
            </p:cNvPr>
            <p:cNvSpPr/>
            <p:nvPr/>
          </p:nvSpPr>
          <p:spPr>
            <a:xfrm rot="8716295">
              <a:off x="190192" y="2958318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" name="Forme libre : forme 131">
              <a:extLst>
                <a:ext uri="{FF2B5EF4-FFF2-40B4-BE49-F238E27FC236}">
                  <a16:creationId xmlns:a16="http://schemas.microsoft.com/office/drawing/2014/main" id="{0A764231-DFA5-45AC-9649-96FE00947629}"/>
                </a:ext>
              </a:extLst>
            </p:cNvPr>
            <p:cNvSpPr/>
            <p:nvPr/>
          </p:nvSpPr>
          <p:spPr>
            <a:xfrm rot="7484129">
              <a:off x="349009" y="324793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" name="Forme libre : forme 132">
              <a:extLst>
                <a:ext uri="{FF2B5EF4-FFF2-40B4-BE49-F238E27FC236}">
                  <a16:creationId xmlns:a16="http://schemas.microsoft.com/office/drawing/2014/main" id="{08367284-C420-422D-A59E-EC2B0D5CAF81}"/>
                </a:ext>
              </a:extLst>
            </p:cNvPr>
            <p:cNvSpPr/>
            <p:nvPr/>
          </p:nvSpPr>
          <p:spPr>
            <a:xfrm rot="13089394">
              <a:off x="507659" y="3197284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" name="Forme libre : forme 133">
              <a:extLst>
                <a:ext uri="{FF2B5EF4-FFF2-40B4-BE49-F238E27FC236}">
                  <a16:creationId xmlns:a16="http://schemas.microsoft.com/office/drawing/2014/main" id="{6E0CAE80-C507-4A7F-B64E-2B2322B07A4F}"/>
                </a:ext>
              </a:extLst>
            </p:cNvPr>
            <p:cNvSpPr/>
            <p:nvPr/>
          </p:nvSpPr>
          <p:spPr>
            <a:xfrm rot="8716295">
              <a:off x="788550" y="2907166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" name="Forme libre : forme 134">
              <a:extLst>
                <a:ext uri="{FF2B5EF4-FFF2-40B4-BE49-F238E27FC236}">
                  <a16:creationId xmlns:a16="http://schemas.microsoft.com/office/drawing/2014/main" id="{4935918E-F29D-4E02-AE1D-44610A8EABE6}"/>
                </a:ext>
              </a:extLst>
            </p:cNvPr>
            <p:cNvSpPr/>
            <p:nvPr/>
          </p:nvSpPr>
          <p:spPr>
            <a:xfrm rot="8716295">
              <a:off x="710141" y="275037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" name="Forme libre : forme 135">
              <a:extLst>
                <a:ext uri="{FF2B5EF4-FFF2-40B4-BE49-F238E27FC236}">
                  <a16:creationId xmlns:a16="http://schemas.microsoft.com/office/drawing/2014/main" id="{0186616C-3255-4138-99FF-17ACDEE12423}"/>
                </a:ext>
              </a:extLst>
            </p:cNvPr>
            <p:cNvSpPr/>
            <p:nvPr/>
          </p:nvSpPr>
          <p:spPr>
            <a:xfrm rot="8716295">
              <a:off x="341977" y="279611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" name="Forme libre : forme 136">
              <a:extLst>
                <a:ext uri="{FF2B5EF4-FFF2-40B4-BE49-F238E27FC236}">
                  <a16:creationId xmlns:a16="http://schemas.microsoft.com/office/drawing/2014/main" id="{00B7B22E-16FD-44D5-9219-31608DDFCC39}"/>
                </a:ext>
              </a:extLst>
            </p:cNvPr>
            <p:cNvSpPr/>
            <p:nvPr/>
          </p:nvSpPr>
          <p:spPr>
            <a:xfrm rot="8716295">
              <a:off x="610559" y="2555095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" name="Forme libre : forme 137">
              <a:extLst>
                <a:ext uri="{FF2B5EF4-FFF2-40B4-BE49-F238E27FC236}">
                  <a16:creationId xmlns:a16="http://schemas.microsoft.com/office/drawing/2014/main" id="{A6953B6D-6364-4054-88C6-74B273B65431}"/>
                </a:ext>
              </a:extLst>
            </p:cNvPr>
            <p:cNvSpPr/>
            <p:nvPr/>
          </p:nvSpPr>
          <p:spPr>
            <a:xfrm rot="8716295">
              <a:off x="-24305" y="2374348"/>
              <a:ext cx="58950" cy="66898"/>
            </a:xfrm>
            <a:custGeom>
              <a:avLst/>
              <a:gdLst>
                <a:gd name="connsiteX0" fmla="*/ 0 w 58950"/>
                <a:gd name="connsiteY0" fmla="*/ 66898 h 66898"/>
                <a:gd name="connsiteX1" fmla="*/ 0 w 58950"/>
                <a:gd name="connsiteY1" fmla="*/ 0 h 66898"/>
                <a:gd name="connsiteX2" fmla="*/ 58950 w 58950"/>
                <a:gd name="connsiteY2" fmla="*/ 0 h 66898"/>
                <a:gd name="connsiteX3" fmla="*/ 12579 w 58950"/>
                <a:gd name="connsiteY3" fmla="*/ 66898 h 6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950" h="66898">
                  <a:moveTo>
                    <a:pt x="0" y="66898"/>
                  </a:moveTo>
                  <a:lnTo>
                    <a:pt x="0" y="0"/>
                  </a:lnTo>
                  <a:lnTo>
                    <a:pt x="58950" y="0"/>
                  </a:lnTo>
                  <a:lnTo>
                    <a:pt x="12579" y="668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" name="Forme libre : forme 138">
              <a:extLst>
                <a:ext uri="{FF2B5EF4-FFF2-40B4-BE49-F238E27FC236}">
                  <a16:creationId xmlns:a16="http://schemas.microsoft.com/office/drawing/2014/main" id="{41AD4D21-E927-44C5-8A83-B759FDFF6D06}"/>
                </a:ext>
              </a:extLst>
            </p:cNvPr>
            <p:cNvSpPr/>
            <p:nvPr/>
          </p:nvSpPr>
          <p:spPr>
            <a:xfrm rot="8716295">
              <a:off x="-39593" y="1952072"/>
              <a:ext cx="198050" cy="140164"/>
            </a:xfrm>
            <a:custGeom>
              <a:avLst/>
              <a:gdLst>
                <a:gd name="connsiteX0" fmla="*/ 0 w 198050"/>
                <a:gd name="connsiteY0" fmla="*/ 75863 h 140164"/>
                <a:gd name="connsiteX1" fmla="*/ 0 w 198050"/>
                <a:gd name="connsiteY1" fmla="*/ 0 h 140164"/>
                <a:gd name="connsiteX2" fmla="*/ 128968 w 198050"/>
                <a:gd name="connsiteY2" fmla="*/ 0 h 140164"/>
                <a:gd name="connsiteX3" fmla="*/ 193021 w 198050"/>
                <a:gd name="connsiteY3" fmla="*/ 18535 h 140164"/>
                <a:gd name="connsiteX4" fmla="*/ 198050 w 198050"/>
                <a:gd name="connsiteY4" fmla="*/ 31548 h 140164"/>
                <a:gd name="connsiteX5" fmla="*/ 122761 w 198050"/>
                <a:gd name="connsiteY5" fmla="*/ 140164 h 140164"/>
                <a:gd name="connsiteX6" fmla="*/ 122761 w 198050"/>
                <a:gd name="connsiteY6" fmla="*/ 105519 h 140164"/>
                <a:gd name="connsiteX7" fmla="*/ 122761 w 198050"/>
                <a:gd name="connsiteY7" fmla="*/ 99312 h 140164"/>
                <a:gd name="connsiteX8" fmla="*/ 91726 w 198050"/>
                <a:gd name="connsiteY8" fmla="*/ 75863 h 140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8050" h="140164">
                  <a:moveTo>
                    <a:pt x="0" y="75863"/>
                  </a:moveTo>
                  <a:lnTo>
                    <a:pt x="0" y="0"/>
                  </a:lnTo>
                  <a:lnTo>
                    <a:pt x="128968" y="0"/>
                  </a:lnTo>
                  <a:cubicBezTo>
                    <a:pt x="156900" y="0"/>
                    <a:pt x="178452" y="6034"/>
                    <a:pt x="193021" y="18535"/>
                  </a:cubicBezTo>
                  <a:lnTo>
                    <a:pt x="198050" y="31548"/>
                  </a:lnTo>
                  <a:lnTo>
                    <a:pt x="122761" y="140164"/>
                  </a:ln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4"/>
                    <a:pt x="91726" y="758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" name="Forme libre : forme 139">
              <a:extLst>
                <a:ext uri="{FF2B5EF4-FFF2-40B4-BE49-F238E27FC236}">
                  <a16:creationId xmlns:a16="http://schemas.microsoft.com/office/drawing/2014/main" id="{B82C4F59-A689-41F2-8DD0-9745004AE675}"/>
                </a:ext>
              </a:extLst>
            </p:cNvPr>
            <p:cNvSpPr/>
            <p:nvPr/>
          </p:nvSpPr>
          <p:spPr>
            <a:xfrm rot="8716295">
              <a:off x="21100" y="1808096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" name="Forme libre : forme 140">
              <a:extLst>
                <a:ext uri="{FF2B5EF4-FFF2-40B4-BE49-F238E27FC236}">
                  <a16:creationId xmlns:a16="http://schemas.microsoft.com/office/drawing/2014/main" id="{FA2478B0-E5E2-4F32-8061-87C7FA11FBE0}"/>
                </a:ext>
              </a:extLst>
            </p:cNvPr>
            <p:cNvSpPr/>
            <p:nvPr/>
          </p:nvSpPr>
          <p:spPr>
            <a:xfrm rot="8716295">
              <a:off x="-24330" y="2197782"/>
              <a:ext cx="102508" cy="53362"/>
            </a:xfrm>
            <a:custGeom>
              <a:avLst/>
              <a:gdLst>
                <a:gd name="connsiteX0" fmla="*/ 0 w 102508"/>
                <a:gd name="connsiteY0" fmla="*/ 23637 h 53362"/>
                <a:gd name="connsiteX1" fmla="*/ 0 w 102508"/>
                <a:gd name="connsiteY1" fmla="*/ 2258 h 53362"/>
                <a:gd name="connsiteX2" fmla="*/ 102508 w 102508"/>
                <a:gd name="connsiteY2" fmla="*/ 0 h 53362"/>
                <a:gd name="connsiteX3" fmla="*/ 65519 w 102508"/>
                <a:gd name="connsiteY3" fmla="*/ 53362 h 53362"/>
                <a:gd name="connsiteX4" fmla="*/ 65519 w 102508"/>
                <a:gd name="connsiteY4" fmla="*/ 23637 h 5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508" h="53362">
                  <a:moveTo>
                    <a:pt x="0" y="23637"/>
                  </a:moveTo>
                  <a:lnTo>
                    <a:pt x="0" y="2258"/>
                  </a:lnTo>
                  <a:lnTo>
                    <a:pt x="102508" y="0"/>
                  </a:lnTo>
                  <a:lnTo>
                    <a:pt x="65519" y="53362"/>
                  </a:lnTo>
                  <a:lnTo>
                    <a:pt x="65519" y="2363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" name="Forme libre : forme 141">
              <a:extLst>
                <a:ext uri="{FF2B5EF4-FFF2-40B4-BE49-F238E27FC236}">
                  <a16:creationId xmlns:a16="http://schemas.microsoft.com/office/drawing/2014/main" id="{949053A5-7216-4B32-8AE1-A37ED2B2705A}"/>
                </a:ext>
              </a:extLst>
            </p:cNvPr>
            <p:cNvSpPr/>
            <p:nvPr/>
          </p:nvSpPr>
          <p:spPr>
            <a:xfrm rot="7484129">
              <a:off x="11236" y="224945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" name="Forme libre : forme 142">
              <a:extLst>
                <a:ext uri="{FF2B5EF4-FFF2-40B4-BE49-F238E27FC236}">
                  <a16:creationId xmlns:a16="http://schemas.microsoft.com/office/drawing/2014/main" id="{028B569C-B0FE-4A67-B111-B99F3950BB2A}"/>
                </a:ext>
              </a:extLst>
            </p:cNvPr>
            <p:cNvSpPr/>
            <p:nvPr/>
          </p:nvSpPr>
          <p:spPr>
            <a:xfrm rot="13089394">
              <a:off x="169886" y="2198801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4" name="Forme libre : forme 143">
              <a:extLst>
                <a:ext uri="{FF2B5EF4-FFF2-40B4-BE49-F238E27FC236}">
                  <a16:creationId xmlns:a16="http://schemas.microsoft.com/office/drawing/2014/main" id="{DDDAF86D-35C8-42A2-A70C-525D2D5475FD}"/>
                </a:ext>
              </a:extLst>
            </p:cNvPr>
            <p:cNvSpPr/>
            <p:nvPr/>
          </p:nvSpPr>
          <p:spPr>
            <a:xfrm rot="8716295">
              <a:off x="450777" y="1908683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5" name="Forme libre : forme 144">
              <a:extLst>
                <a:ext uri="{FF2B5EF4-FFF2-40B4-BE49-F238E27FC236}">
                  <a16:creationId xmlns:a16="http://schemas.microsoft.com/office/drawing/2014/main" id="{0456C75C-046A-4449-8D19-7B887B7670B6}"/>
                </a:ext>
              </a:extLst>
            </p:cNvPr>
            <p:cNvSpPr/>
            <p:nvPr/>
          </p:nvSpPr>
          <p:spPr>
            <a:xfrm rot="8716295">
              <a:off x="372368" y="175189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6" name="Forme libre : forme 145">
              <a:extLst>
                <a:ext uri="{FF2B5EF4-FFF2-40B4-BE49-F238E27FC236}">
                  <a16:creationId xmlns:a16="http://schemas.microsoft.com/office/drawing/2014/main" id="{9071FCAB-0728-4659-9A50-F1E4D3A34FCA}"/>
                </a:ext>
              </a:extLst>
            </p:cNvPr>
            <p:cNvSpPr/>
            <p:nvPr/>
          </p:nvSpPr>
          <p:spPr>
            <a:xfrm rot="8716295">
              <a:off x="4204" y="179763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7" name="Forme libre : forme 146">
              <a:extLst>
                <a:ext uri="{FF2B5EF4-FFF2-40B4-BE49-F238E27FC236}">
                  <a16:creationId xmlns:a16="http://schemas.microsoft.com/office/drawing/2014/main" id="{74F9CC45-BF7F-4E25-8F71-1BD6DA2F0E29}"/>
                </a:ext>
              </a:extLst>
            </p:cNvPr>
            <p:cNvSpPr/>
            <p:nvPr/>
          </p:nvSpPr>
          <p:spPr>
            <a:xfrm rot="8716295">
              <a:off x="272786" y="155661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8" name="Forme libre : forme 147">
              <a:extLst>
                <a:ext uri="{FF2B5EF4-FFF2-40B4-BE49-F238E27FC236}">
                  <a16:creationId xmlns:a16="http://schemas.microsoft.com/office/drawing/2014/main" id="{9BA7D72C-89C5-4ADB-A9D6-05B170E731F6}"/>
                </a:ext>
              </a:extLst>
            </p:cNvPr>
            <p:cNvSpPr/>
            <p:nvPr/>
          </p:nvSpPr>
          <p:spPr>
            <a:xfrm rot="8716295">
              <a:off x="-35149" y="938156"/>
              <a:ext cx="158623" cy="159016"/>
            </a:xfrm>
            <a:custGeom>
              <a:avLst/>
              <a:gdLst>
                <a:gd name="connsiteX0" fmla="*/ 77932 w 158623"/>
                <a:gd name="connsiteY0" fmla="*/ 159016 h 159016"/>
                <a:gd name="connsiteX1" fmla="*/ 77932 w 158623"/>
                <a:gd name="connsiteY1" fmla="*/ 66898 h 159016"/>
                <a:gd name="connsiteX2" fmla="*/ 0 w 158623"/>
                <a:gd name="connsiteY2" fmla="*/ 66898 h 159016"/>
                <a:gd name="connsiteX3" fmla="*/ 0 w 158623"/>
                <a:gd name="connsiteY3" fmla="*/ 0 h 159016"/>
                <a:gd name="connsiteX4" fmla="*/ 158623 w 158623"/>
                <a:gd name="connsiteY4" fmla="*/ 0 h 159016"/>
                <a:gd name="connsiteX5" fmla="*/ 158623 w 158623"/>
                <a:gd name="connsiteY5" fmla="*/ 42606 h 15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8623" h="159016">
                  <a:moveTo>
                    <a:pt x="77932" y="159016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4260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9" name="Forme libre : forme 148">
              <a:extLst>
                <a:ext uri="{FF2B5EF4-FFF2-40B4-BE49-F238E27FC236}">
                  <a16:creationId xmlns:a16="http://schemas.microsoft.com/office/drawing/2014/main" id="{049A796E-46A8-44F5-A685-EFE861D38A62}"/>
                </a:ext>
              </a:extLst>
            </p:cNvPr>
            <p:cNvSpPr/>
            <p:nvPr/>
          </p:nvSpPr>
          <p:spPr>
            <a:xfrm rot="7484129">
              <a:off x="-32979" y="1345537"/>
              <a:ext cx="65961" cy="45734"/>
            </a:xfrm>
            <a:custGeom>
              <a:avLst/>
              <a:gdLst>
                <a:gd name="connsiteX0" fmla="*/ 0 w 65961"/>
                <a:gd name="connsiteY0" fmla="*/ 45734 h 45734"/>
                <a:gd name="connsiteX1" fmla="*/ 0 w 65961"/>
                <a:gd name="connsiteY1" fmla="*/ 0 h 45734"/>
                <a:gd name="connsiteX2" fmla="*/ 65961 w 65961"/>
                <a:gd name="connsiteY2" fmla="*/ 0 h 45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5961" h="45734">
                  <a:moveTo>
                    <a:pt x="0" y="45734"/>
                  </a:moveTo>
                  <a:lnTo>
                    <a:pt x="0" y="0"/>
                  </a:lnTo>
                  <a:lnTo>
                    <a:pt x="6596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0" name="Forme libre : forme 149">
              <a:extLst>
                <a:ext uri="{FF2B5EF4-FFF2-40B4-BE49-F238E27FC236}">
                  <a16:creationId xmlns:a16="http://schemas.microsoft.com/office/drawing/2014/main" id="{5C3088F6-9CC3-48D3-A8B8-D590346DDC75}"/>
                </a:ext>
              </a:extLst>
            </p:cNvPr>
            <p:cNvSpPr/>
            <p:nvPr/>
          </p:nvSpPr>
          <p:spPr>
            <a:xfrm rot="13089394">
              <a:off x="-134707" y="1200752"/>
              <a:ext cx="386820" cy="481345"/>
            </a:xfrm>
            <a:custGeom>
              <a:avLst/>
              <a:gdLst>
                <a:gd name="connsiteX0" fmla="*/ 386820 w 386820"/>
                <a:gd name="connsiteY0" fmla="*/ 391818 h 481345"/>
                <a:gd name="connsiteX1" fmla="*/ 342166 w 386820"/>
                <a:gd name="connsiteY1" fmla="*/ 422376 h 481345"/>
                <a:gd name="connsiteX2" fmla="*/ 138636 w 386820"/>
                <a:gd name="connsiteY2" fmla="*/ 481098 h 481345"/>
                <a:gd name="connsiteX3" fmla="*/ 35911 w 386820"/>
                <a:gd name="connsiteY3" fmla="*/ 439340 h 481345"/>
                <a:gd name="connsiteX4" fmla="*/ 0 w 386820"/>
                <a:gd name="connsiteY4" fmla="*/ 295693 h 481345"/>
                <a:gd name="connsiteX5" fmla="*/ 0 w 386820"/>
                <a:gd name="connsiteY5" fmla="*/ 40970 h 481345"/>
                <a:gd name="connsiteX6" fmla="*/ 78970 w 386820"/>
                <a:gd name="connsiteY6" fmla="*/ 0 h 481345"/>
                <a:gd name="connsiteX7" fmla="*/ 111492 w 386820"/>
                <a:gd name="connsiteY7" fmla="*/ 41392 h 481345"/>
                <a:gd name="connsiteX8" fmla="*/ 112747 w 386820"/>
                <a:gd name="connsiteY8" fmla="*/ 216353 h 481345"/>
                <a:gd name="connsiteX9" fmla="*/ 132789 w 386820"/>
                <a:gd name="connsiteY9" fmla="*/ 354990 h 481345"/>
                <a:gd name="connsiteX10" fmla="*/ 233008 w 386820"/>
                <a:gd name="connsiteY10" fmla="*/ 410110 h 481345"/>
                <a:gd name="connsiteX11" fmla="*/ 308173 w 386820"/>
                <a:gd name="connsiteY11" fmla="*/ 396747 h 481345"/>
                <a:gd name="connsiteX12" fmla="*/ 370717 w 386820"/>
                <a:gd name="connsiteY12" fmla="*/ 371323 h 481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6820" h="481345">
                  <a:moveTo>
                    <a:pt x="386820" y="391818"/>
                  </a:moveTo>
                  <a:lnTo>
                    <a:pt x="342166" y="422376"/>
                  </a:lnTo>
                  <a:cubicBezTo>
                    <a:pt x="268920" y="462151"/>
                    <a:pt x="190624" y="477966"/>
                    <a:pt x="138636" y="481098"/>
                  </a:cubicBezTo>
                  <a:cubicBezTo>
                    <a:pt x="100219" y="483604"/>
                    <a:pt x="62637" y="466901"/>
                    <a:pt x="35911" y="439340"/>
                  </a:cubicBezTo>
                  <a:cubicBezTo>
                    <a:pt x="7516" y="411780"/>
                    <a:pt x="0" y="364176"/>
                    <a:pt x="0" y="295693"/>
                  </a:cubicBezTo>
                  <a:lnTo>
                    <a:pt x="0" y="40970"/>
                  </a:lnTo>
                  <a:lnTo>
                    <a:pt x="78970" y="0"/>
                  </a:lnTo>
                  <a:lnTo>
                    <a:pt x="111492" y="41392"/>
                  </a:lnTo>
                  <a:lnTo>
                    <a:pt x="112747" y="216353"/>
                  </a:lnTo>
                  <a:cubicBezTo>
                    <a:pt x="110241" y="263122"/>
                    <a:pt x="117757" y="310726"/>
                    <a:pt x="132789" y="354990"/>
                  </a:cubicBezTo>
                  <a:cubicBezTo>
                    <a:pt x="146153" y="391736"/>
                    <a:pt x="180394" y="410110"/>
                    <a:pt x="233008" y="410110"/>
                  </a:cubicBezTo>
                  <a:cubicBezTo>
                    <a:pt x="258899" y="409274"/>
                    <a:pt x="283953" y="404263"/>
                    <a:pt x="308173" y="396747"/>
                  </a:cubicBezTo>
                  <a:lnTo>
                    <a:pt x="370717" y="371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1" name="Forme libre : forme 150">
              <a:extLst>
                <a:ext uri="{FF2B5EF4-FFF2-40B4-BE49-F238E27FC236}">
                  <a16:creationId xmlns:a16="http://schemas.microsoft.com/office/drawing/2014/main" id="{45A3690F-0557-4DB0-94E4-7427021CEC86}"/>
                </a:ext>
              </a:extLst>
            </p:cNvPr>
            <p:cNvSpPr/>
            <p:nvPr/>
          </p:nvSpPr>
          <p:spPr>
            <a:xfrm rot="8716295">
              <a:off x="119403" y="90662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2" name="Forme libre : forme 151">
              <a:extLst>
                <a:ext uri="{FF2B5EF4-FFF2-40B4-BE49-F238E27FC236}">
                  <a16:creationId xmlns:a16="http://schemas.microsoft.com/office/drawing/2014/main" id="{1C3938EF-FACF-4118-88DE-3CA52114B602}"/>
                </a:ext>
              </a:extLst>
            </p:cNvPr>
            <p:cNvSpPr/>
            <p:nvPr/>
          </p:nvSpPr>
          <p:spPr>
            <a:xfrm rot="8716295">
              <a:off x="40994" y="74983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3" name="Forme libre : forme 152">
              <a:extLst>
                <a:ext uri="{FF2B5EF4-FFF2-40B4-BE49-F238E27FC236}">
                  <a16:creationId xmlns:a16="http://schemas.microsoft.com/office/drawing/2014/main" id="{DFC0458A-EB47-48D9-8C11-B6676E2C5CAE}"/>
                </a:ext>
              </a:extLst>
            </p:cNvPr>
            <p:cNvSpPr/>
            <p:nvPr/>
          </p:nvSpPr>
          <p:spPr>
            <a:xfrm rot="8716295">
              <a:off x="-44934" y="551941"/>
              <a:ext cx="152592" cy="165412"/>
            </a:xfrm>
            <a:custGeom>
              <a:avLst/>
              <a:gdLst>
                <a:gd name="connsiteX0" fmla="*/ 26453 w 152592"/>
                <a:gd name="connsiteY0" fmla="*/ 153143 h 165412"/>
                <a:gd name="connsiteX1" fmla="*/ 0 w 152592"/>
                <a:gd name="connsiteY1" fmla="*/ 90494 h 165412"/>
                <a:gd name="connsiteX2" fmla="*/ 0 w 152592"/>
                <a:gd name="connsiteY2" fmla="*/ 89101 h 165412"/>
                <a:gd name="connsiteX3" fmla="*/ 26453 w 152592"/>
                <a:gd name="connsiteY3" fmla="*/ 26453 h 165412"/>
                <a:gd name="connsiteX4" fmla="*/ 89101 w 152592"/>
                <a:gd name="connsiteY4" fmla="*/ 0 h 165412"/>
                <a:gd name="connsiteX5" fmla="*/ 151752 w 152592"/>
                <a:gd name="connsiteY5" fmla="*/ 26453 h 165412"/>
                <a:gd name="connsiteX6" fmla="*/ 152592 w 152592"/>
                <a:gd name="connsiteY6" fmla="*/ 27688 h 165412"/>
                <a:gd name="connsiteX7" fmla="*/ 57126 w 152592"/>
                <a:gd name="connsiteY7" fmla="*/ 165412 h 165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592" h="165412">
                  <a:moveTo>
                    <a:pt x="26453" y="153143"/>
                  </a:moveTo>
                  <a:cubicBezTo>
                    <a:pt x="9746" y="136436"/>
                    <a:pt x="0" y="114161"/>
                    <a:pt x="0" y="90494"/>
                  </a:cubicBezTo>
                  <a:lnTo>
                    <a:pt x="0" y="89101"/>
                  </a:lnTo>
                  <a:cubicBezTo>
                    <a:pt x="0" y="65434"/>
                    <a:pt x="9746" y="43159"/>
                    <a:pt x="26453" y="26453"/>
                  </a:cubicBezTo>
                  <a:cubicBezTo>
                    <a:pt x="43159" y="9746"/>
                    <a:pt x="65435" y="0"/>
                    <a:pt x="89101" y="0"/>
                  </a:cubicBezTo>
                  <a:cubicBezTo>
                    <a:pt x="112770" y="0"/>
                    <a:pt x="135045" y="9746"/>
                    <a:pt x="151752" y="26453"/>
                  </a:cubicBezTo>
                  <a:lnTo>
                    <a:pt x="152592" y="27688"/>
                  </a:lnTo>
                  <a:lnTo>
                    <a:pt x="57126" y="1654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4" name="Forme libre : forme 153">
              <a:extLst>
                <a:ext uri="{FF2B5EF4-FFF2-40B4-BE49-F238E27FC236}">
                  <a16:creationId xmlns:a16="http://schemas.microsoft.com/office/drawing/2014/main" id="{51206894-A2FA-4091-8709-9038ECFC9F62}"/>
                </a:ext>
              </a:extLst>
            </p:cNvPr>
            <p:cNvSpPr/>
            <p:nvPr/>
          </p:nvSpPr>
          <p:spPr>
            <a:xfrm rot="8716295">
              <a:off x="-69806" y="4587027"/>
              <a:ext cx="183810" cy="187594"/>
            </a:xfrm>
            <a:custGeom>
              <a:avLst/>
              <a:gdLst>
                <a:gd name="connsiteX0" fmla="*/ 10574 w 183810"/>
                <a:gd name="connsiteY0" fmla="*/ 187594 h 187594"/>
                <a:gd name="connsiteX1" fmla="*/ 0 w 183810"/>
                <a:gd name="connsiteY1" fmla="*/ 172952 h 187594"/>
                <a:gd name="connsiteX2" fmla="*/ 183810 w 183810"/>
                <a:gd name="connsiteY2" fmla="*/ 0 h 187594"/>
                <a:gd name="connsiteX3" fmla="*/ 72284 w 183810"/>
                <a:gd name="connsiteY3" fmla="*/ 160894 h 187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810" h="187594">
                  <a:moveTo>
                    <a:pt x="10574" y="187594"/>
                  </a:moveTo>
                  <a:lnTo>
                    <a:pt x="0" y="172952"/>
                  </a:lnTo>
                  <a:lnTo>
                    <a:pt x="183810" y="0"/>
                  </a:lnTo>
                  <a:lnTo>
                    <a:pt x="72284" y="1608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5" name="Forme libre : forme 154">
              <a:extLst>
                <a:ext uri="{FF2B5EF4-FFF2-40B4-BE49-F238E27FC236}">
                  <a16:creationId xmlns:a16="http://schemas.microsoft.com/office/drawing/2014/main" id="{75F36939-0C1D-4F35-A6F3-978C7845A7FE}"/>
                </a:ext>
              </a:extLst>
            </p:cNvPr>
            <p:cNvSpPr/>
            <p:nvPr/>
          </p:nvSpPr>
          <p:spPr>
            <a:xfrm rot="8716295">
              <a:off x="2260816" y="1871889"/>
              <a:ext cx="76563" cy="79800"/>
            </a:xfrm>
            <a:custGeom>
              <a:avLst/>
              <a:gdLst>
                <a:gd name="connsiteX0" fmla="*/ 1561 w 76563"/>
                <a:gd name="connsiteY0" fmla="*/ 67386 h 79800"/>
                <a:gd name="connsiteX1" fmla="*/ 0 w 76563"/>
                <a:gd name="connsiteY1" fmla="*/ 63688 h 79800"/>
                <a:gd name="connsiteX2" fmla="*/ 52676 w 76563"/>
                <a:gd name="connsiteY2" fmla="*/ 0 h 79800"/>
                <a:gd name="connsiteX3" fmla="*/ 63632 w 76563"/>
                <a:gd name="connsiteY3" fmla="*/ 4626 h 79800"/>
                <a:gd name="connsiteX4" fmla="*/ 63632 w 76563"/>
                <a:gd name="connsiteY4" fmla="*/ 66697 h 79800"/>
                <a:gd name="connsiteX5" fmla="*/ 32596 w 76563"/>
                <a:gd name="connsiteY5" fmla="*/ 79800 h 79800"/>
                <a:gd name="connsiteX6" fmla="*/ 1561 w 76563"/>
                <a:gd name="connsiteY6" fmla="*/ 67386 h 79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563" h="79800">
                  <a:moveTo>
                    <a:pt x="1561" y="67386"/>
                  </a:moveTo>
                  <a:lnTo>
                    <a:pt x="0" y="63688"/>
                  </a:lnTo>
                  <a:lnTo>
                    <a:pt x="52676" y="0"/>
                  </a:lnTo>
                  <a:lnTo>
                    <a:pt x="63632" y="4626"/>
                  </a:lnTo>
                  <a:cubicBezTo>
                    <a:pt x="80874" y="21178"/>
                    <a:pt x="80873" y="49455"/>
                    <a:pt x="63632" y="66697"/>
                  </a:cubicBezTo>
                  <a:cubicBezTo>
                    <a:pt x="55356" y="74973"/>
                    <a:pt x="44321" y="79800"/>
                    <a:pt x="32596" y="79800"/>
                  </a:cubicBezTo>
                  <a:cubicBezTo>
                    <a:pt x="20872" y="79800"/>
                    <a:pt x="9837" y="75662"/>
                    <a:pt x="1561" y="6738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6" name="Forme libre : forme 155">
              <a:extLst>
                <a:ext uri="{FF2B5EF4-FFF2-40B4-BE49-F238E27FC236}">
                  <a16:creationId xmlns:a16="http://schemas.microsoft.com/office/drawing/2014/main" id="{BD296649-E6F7-43B4-A921-2D9F25E09891}"/>
                </a:ext>
              </a:extLst>
            </p:cNvPr>
            <p:cNvSpPr/>
            <p:nvPr/>
          </p:nvSpPr>
          <p:spPr>
            <a:xfrm rot="8716295">
              <a:off x="2079218" y="1576016"/>
              <a:ext cx="236114" cy="296463"/>
            </a:xfrm>
            <a:custGeom>
              <a:avLst/>
              <a:gdLst>
                <a:gd name="connsiteX0" fmla="*/ 64875 w 236114"/>
                <a:gd name="connsiteY0" fmla="*/ 296463 h 296463"/>
                <a:gd name="connsiteX1" fmla="*/ 0 w 236114"/>
                <a:gd name="connsiteY1" fmla="*/ 175766 h 296463"/>
                <a:gd name="connsiteX2" fmla="*/ 33192 w 236114"/>
                <a:gd name="connsiteY2" fmla="*/ 83734 h 296463"/>
                <a:gd name="connsiteX3" fmla="*/ 489 w 236114"/>
                <a:gd name="connsiteY3" fmla="*/ 83734 h 296463"/>
                <a:gd name="connsiteX4" fmla="*/ 69747 w 236114"/>
                <a:gd name="connsiteY4" fmla="*/ 0 h 296463"/>
                <a:gd name="connsiteX5" fmla="*/ 236114 w 236114"/>
                <a:gd name="connsiteY5" fmla="*/ 0 h 296463"/>
                <a:gd name="connsiteX6" fmla="*/ 236114 w 236114"/>
                <a:gd name="connsiteY6" fmla="*/ 83734 h 296463"/>
                <a:gd name="connsiteX7" fmla="*/ 138047 w 236114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6114" h="296463">
                  <a:moveTo>
                    <a:pt x="64875" y="296463"/>
                  </a:moveTo>
                  <a:lnTo>
                    <a:pt x="0" y="175766"/>
                  </a:lnTo>
                  <a:lnTo>
                    <a:pt x="33192" y="83734"/>
                  </a:lnTo>
                  <a:lnTo>
                    <a:pt x="489" y="83734"/>
                  </a:lnTo>
                  <a:lnTo>
                    <a:pt x="69747" y="0"/>
                  </a:lnTo>
                  <a:lnTo>
                    <a:pt x="236114" y="0"/>
                  </a:lnTo>
                  <a:lnTo>
                    <a:pt x="236114" y="83734"/>
                  </a:lnTo>
                  <a:lnTo>
                    <a:pt x="138047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7" name="Forme libre : forme 156">
              <a:extLst>
                <a:ext uri="{FF2B5EF4-FFF2-40B4-BE49-F238E27FC236}">
                  <a16:creationId xmlns:a16="http://schemas.microsoft.com/office/drawing/2014/main" id="{6CA34F6D-826D-4D6C-B9D3-13816F14A2D6}"/>
                </a:ext>
              </a:extLst>
            </p:cNvPr>
            <p:cNvSpPr/>
            <p:nvPr/>
          </p:nvSpPr>
          <p:spPr>
            <a:xfrm rot="8716295">
              <a:off x="1975890" y="1368961"/>
              <a:ext cx="432296" cy="245571"/>
            </a:xfrm>
            <a:custGeom>
              <a:avLst/>
              <a:gdLst>
                <a:gd name="connsiteX0" fmla="*/ 30685 w 432296"/>
                <a:gd name="connsiteY0" fmla="*/ 200783 h 245571"/>
                <a:gd name="connsiteX1" fmla="*/ 187 w 432296"/>
                <a:gd name="connsiteY1" fmla="*/ 140564 h 245571"/>
                <a:gd name="connsiteX2" fmla="*/ 0 w 432296"/>
                <a:gd name="connsiteY2" fmla="*/ 138341 h 245571"/>
                <a:gd name="connsiteX3" fmla="*/ 114424 w 432296"/>
                <a:gd name="connsiteY3" fmla="*/ 0 h 245571"/>
                <a:gd name="connsiteX4" fmla="*/ 116284 w 432296"/>
                <a:gd name="connsiteY4" fmla="*/ 37935 h 245571"/>
                <a:gd name="connsiteX5" fmla="*/ 133982 w 432296"/>
                <a:gd name="connsiteY5" fmla="*/ 110844 h 245571"/>
                <a:gd name="connsiteX6" fmla="*/ 240841 w 432296"/>
                <a:gd name="connsiteY6" fmla="*/ 169617 h 245571"/>
                <a:gd name="connsiteX7" fmla="*/ 320985 w 432296"/>
                <a:gd name="connsiteY7" fmla="*/ 155369 h 245571"/>
                <a:gd name="connsiteX8" fmla="*/ 430515 w 432296"/>
                <a:gd name="connsiteY8" fmla="*/ 110844 h 245571"/>
                <a:gd name="connsiteX9" fmla="*/ 432296 w 432296"/>
                <a:gd name="connsiteY9" fmla="*/ 122420 h 245571"/>
                <a:gd name="connsiteX10" fmla="*/ 432296 w 432296"/>
                <a:gd name="connsiteY10" fmla="*/ 131325 h 245571"/>
                <a:gd name="connsiteX11" fmla="*/ 140216 w 432296"/>
                <a:gd name="connsiteY11" fmla="*/ 245308 h 245571"/>
                <a:gd name="connsiteX12" fmla="*/ 30685 w 432296"/>
                <a:gd name="connsiteY12" fmla="*/ 200783 h 245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32296" h="245571">
                  <a:moveTo>
                    <a:pt x="30685" y="200783"/>
                  </a:moveTo>
                  <a:cubicBezTo>
                    <a:pt x="15547" y="186091"/>
                    <a:pt x="5975" y="166054"/>
                    <a:pt x="187" y="140564"/>
                  </a:cubicBezTo>
                  <a:lnTo>
                    <a:pt x="0" y="138341"/>
                  </a:lnTo>
                  <a:lnTo>
                    <a:pt x="114424" y="0"/>
                  </a:lnTo>
                  <a:lnTo>
                    <a:pt x="116284" y="37935"/>
                  </a:lnTo>
                  <a:cubicBezTo>
                    <a:pt x="119957" y="62758"/>
                    <a:pt x="125968" y="87246"/>
                    <a:pt x="133982" y="110844"/>
                  </a:cubicBezTo>
                  <a:cubicBezTo>
                    <a:pt x="148231" y="150026"/>
                    <a:pt x="184740" y="169617"/>
                    <a:pt x="240841" y="169617"/>
                  </a:cubicBezTo>
                  <a:cubicBezTo>
                    <a:pt x="268446" y="168726"/>
                    <a:pt x="295161" y="163383"/>
                    <a:pt x="320985" y="155369"/>
                  </a:cubicBezTo>
                  <a:cubicBezTo>
                    <a:pt x="358385" y="143792"/>
                    <a:pt x="394895" y="128654"/>
                    <a:pt x="430515" y="110844"/>
                  </a:cubicBezTo>
                  <a:cubicBezTo>
                    <a:pt x="431405" y="114406"/>
                    <a:pt x="432296" y="118858"/>
                    <a:pt x="432296" y="122420"/>
                  </a:cubicBezTo>
                  <a:lnTo>
                    <a:pt x="432296" y="131325"/>
                  </a:lnTo>
                  <a:cubicBezTo>
                    <a:pt x="337904" y="212360"/>
                    <a:pt x="214126" y="240856"/>
                    <a:pt x="140216" y="245308"/>
                  </a:cubicBezTo>
                  <a:cubicBezTo>
                    <a:pt x="99254" y="247980"/>
                    <a:pt x="59182" y="230170"/>
                    <a:pt x="30685" y="2007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8" name="Forme libre : forme 157">
              <a:extLst>
                <a:ext uri="{FF2B5EF4-FFF2-40B4-BE49-F238E27FC236}">
                  <a16:creationId xmlns:a16="http://schemas.microsoft.com/office/drawing/2014/main" id="{1B5AAC38-2C08-40E5-95BE-5338A8CAC415}"/>
                </a:ext>
              </a:extLst>
            </p:cNvPr>
            <p:cNvSpPr/>
            <p:nvPr/>
          </p:nvSpPr>
          <p:spPr>
            <a:xfrm rot="8716295">
              <a:off x="2107141" y="73528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9" name="Forme libre : forme 158">
              <a:extLst>
                <a:ext uri="{FF2B5EF4-FFF2-40B4-BE49-F238E27FC236}">
                  <a16:creationId xmlns:a16="http://schemas.microsoft.com/office/drawing/2014/main" id="{A4125EC0-3011-4C53-83B6-DD287160F4E7}"/>
                </a:ext>
              </a:extLst>
            </p:cNvPr>
            <p:cNvSpPr/>
            <p:nvPr/>
          </p:nvSpPr>
          <p:spPr>
            <a:xfrm rot="8716295">
              <a:off x="2242282" y="832029"/>
              <a:ext cx="282003" cy="313470"/>
            </a:xfrm>
            <a:custGeom>
              <a:avLst/>
              <a:gdLst>
                <a:gd name="connsiteX0" fmla="*/ 188208 w 282003"/>
                <a:gd name="connsiteY0" fmla="*/ 99785 h 313470"/>
                <a:gd name="connsiteX1" fmla="*/ 188208 w 282003"/>
                <a:gd name="connsiteY1" fmla="*/ 85923 h 313470"/>
                <a:gd name="connsiteX2" fmla="*/ 259276 w 282003"/>
                <a:gd name="connsiteY2" fmla="*/ 0 h 313470"/>
                <a:gd name="connsiteX3" fmla="*/ 274211 w 282003"/>
                <a:gd name="connsiteY3" fmla="*/ 28123 h 313470"/>
                <a:gd name="connsiteX4" fmla="*/ 282003 w 282003"/>
                <a:gd name="connsiteY4" fmla="*/ 85301 h 313470"/>
                <a:gd name="connsiteX5" fmla="*/ 282002 w 282003"/>
                <a:gd name="connsiteY5" fmla="*/ 94267 h 313470"/>
                <a:gd name="connsiteX6" fmla="*/ 0 w 282003"/>
                <a:gd name="connsiteY6" fmla="*/ 313470 h 313470"/>
                <a:gd name="connsiteX7" fmla="*/ 56482 w 282003"/>
                <a:gd name="connsiteY7" fmla="*/ 245183 h 313470"/>
                <a:gd name="connsiteX8" fmla="*/ 56482 w 282003"/>
                <a:gd name="connsiteY8" fmla="*/ 274960 h 313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2003" h="313470">
                  <a:moveTo>
                    <a:pt x="188208" y="99785"/>
                  </a:moveTo>
                  <a:lnTo>
                    <a:pt x="188208" y="85923"/>
                  </a:lnTo>
                  <a:lnTo>
                    <a:pt x="259276" y="0"/>
                  </a:lnTo>
                  <a:lnTo>
                    <a:pt x="274211" y="28123"/>
                  </a:lnTo>
                  <a:cubicBezTo>
                    <a:pt x="279330" y="44783"/>
                    <a:pt x="282002" y="63922"/>
                    <a:pt x="282003" y="85301"/>
                  </a:cubicBezTo>
                  <a:lnTo>
                    <a:pt x="282002" y="94267"/>
                  </a:lnTo>
                  <a:close/>
                  <a:moveTo>
                    <a:pt x="0" y="313470"/>
                  </a:moveTo>
                  <a:lnTo>
                    <a:pt x="56482" y="245183"/>
                  </a:lnTo>
                  <a:lnTo>
                    <a:pt x="56482" y="2749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0" name="Forme libre : forme 159">
              <a:extLst>
                <a:ext uri="{FF2B5EF4-FFF2-40B4-BE49-F238E27FC236}">
                  <a16:creationId xmlns:a16="http://schemas.microsoft.com/office/drawing/2014/main" id="{FF9B0781-A82C-47AF-AC1C-21015974FDE2}"/>
                </a:ext>
              </a:extLst>
            </p:cNvPr>
            <p:cNvSpPr/>
            <p:nvPr/>
          </p:nvSpPr>
          <p:spPr>
            <a:xfrm rot="8716295">
              <a:off x="2174558" y="64895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1" name="Forme libre : forme 160">
              <a:extLst>
                <a:ext uri="{FF2B5EF4-FFF2-40B4-BE49-F238E27FC236}">
                  <a16:creationId xmlns:a16="http://schemas.microsoft.com/office/drawing/2014/main" id="{E647964A-EFA4-4875-8CBA-E79FD37F80FD}"/>
                </a:ext>
              </a:extLst>
            </p:cNvPr>
            <p:cNvSpPr/>
            <p:nvPr/>
          </p:nvSpPr>
          <p:spPr>
            <a:xfrm rot="8716295">
              <a:off x="1937270" y="86929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2" name="Forme libre : forme 161">
              <a:extLst>
                <a:ext uri="{FF2B5EF4-FFF2-40B4-BE49-F238E27FC236}">
                  <a16:creationId xmlns:a16="http://schemas.microsoft.com/office/drawing/2014/main" id="{92A84223-E9E1-4AA2-A477-395EEFC832F2}"/>
                </a:ext>
              </a:extLst>
            </p:cNvPr>
            <p:cNvSpPr/>
            <p:nvPr/>
          </p:nvSpPr>
          <p:spPr>
            <a:xfrm rot="8716295">
              <a:off x="1748224" y="55346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3" name="Forme libre : forme 162">
              <a:extLst>
                <a:ext uri="{FF2B5EF4-FFF2-40B4-BE49-F238E27FC236}">
                  <a16:creationId xmlns:a16="http://schemas.microsoft.com/office/drawing/2014/main" id="{25B16338-FDD7-4AA6-9D09-5C2DE296D9CE}"/>
                </a:ext>
              </a:extLst>
            </p:cNvPr>
            <p:cNvSpPr/>
            <p:nvPr/>
          </p:nvSpPr>
          <p:spPr>
            <a:xfrm rot="8716295">
              <a:off x="1729983" y="34341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4" name="Forme libre : forme 163">
              <a:extLst>
                <a:ext uri="{FF2B5EF4-FFF2-40B4-BE49-F238E27FC236}">
                  <a16:creationId xmlns:a16="http://schemas.microsoft.com/office/drawing/2014/main" id="{FD37B6C0-63BE-47FD-9D48-08E0F916E511}"/>
                </a:ext>
              </a:extLst>
            </p:cNvPr>
            <p:cNvSpPr/>
            <p:nvPr/>
          </p:nvSpPr>
          <p:spPr>
            <a:xfrm rot="8716295">
              <a:off x="2073759" y="93127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5" name="Forme libre : forme 164">
              <a:extLst>
                <a:ext uri="{FF2B5EF4-FFF2-40B4-BE49-F238E27FC236}">
                  <a16:creationId xmlns:a16="http://schemas.microsoft.com/office/drawing/2014/main" id="{93F06371-0361-4141-BEE3-CC9849B020E6}"/>
                </a:ext>
              </a:extLst>
            </p:cNvPr>
            <p:cNvSpPr/>
            <p:nvPr/>
          </p:nvSpPr>
          <p:spPr>
            <a:xfrm rot="8716295">
              <a:off x="2367873" y="489398"/>
              <a:ext cx="81526" cy="84395"/>
            </a:xfrm>
            <a:custGeom>
              <a:avLst/>
              <a:gdLst>
                <a:gd name="connsiteX0" fmla="*/ 6524 w 81526"/>
                <a:gd name="connsiteY0" fmla="*/ 71981 h 84395"/>
                <a:gd name="connsiteX1" fmla="*/ 0 w 81526"/>
                <a:gd name="connsiteY1" fmla="*/ 56529 h 84395"/>
                <a:gd name="connsiteX2" fmla="*/ 46756 w 81526"/>
                <a:gd name="connsiteY2" fmla="*/ 0 h 84395"/>
                <a:gd name="connsiteX3" fmla="*/ 68595 w 81526"/>
                <a:gd name="connsiteY3" fmla="*/ 9221 h 84395"/>
                <a:gd name="connsiteX4" fmla="*/ 68595 w 81526"/>
                <a:gd name="connsiteY4" fmla="*/ 71292 h 84395"/>
                <a:gd name="connsiteX5" fmla="*/ 37559 w 81526"/>
                <a:gd name="connsiteY5" fmla="*/ 84395 h 84395"/>
                <a:gd name="connsiteX6" fmla="*/ 6524 w 81526"/>
                <a:gd name="connsiteY6" fmla="*/ 71981 h 84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526" h="84395">
                  <a:moveTo>
                    <a:pt x="6524" y="71981"/>
                  </a:moveTo>
                  <a:lnTo>
                    <a:pt x="0" y="56529"/>
                  </a:lnTo>
                  <a:lnTo>
                    <a:pt x="46756" y="0"/>
                  </a:lnTo>
                  <a:lnTo>
                    <a:pt x="68595" y="9221"/>
                  </a:lnTo>
                  <a:cubicBezTo>
                    <a:pt x="85837" y="25773"/>
                    <a:pt x="85836" y="54050"/>
                    <a:pt x="68595" y="71292"/>
                  </a:cubicBezTo>
                  <a:cubicBezTo>
                    <a:pt x="60319" y="79568"/>
                    <a:pt x="49284" y="84395"/>
                    <a:pt x="37559" y="84395"/>
                  </a:cubicBezTo>
                  <a:cubicBezTo>
                    <a:pt x="25835" y="84395"/>
                    <a:pt x="14800" y="80257"/>
                    <a:pt x="6524" y="7198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6" name="Forme libre : forme 165">
              <a:extLst>
                <a:ext uri="{FF2B5EF4-FFF2-40B4-BE49-F238E27FC236}">
                  <a16:creationId xmlns:a16="http://schemas.microsoft.com/office/drawing/2014/main" id="{5196C23A-E9EE-4BB5-B0E6-FCA193386C5B}"/>
                </a:ext>
              </a:extLst>
            </p:cNvPr>
            <p:cNvSpPr/>
            <p:nvPr/>
          </p:nvSpPr>
          <p:spPr>
            <a:xfrm rot="8716295">
              <a:off x="2184146" y="191304"/>
              <a:ext cx="250306" cy="296463"/>
            </a:xfrm>
            <a:custGeom>
              <a:avLst/>
              <a:gdLst>
                <a:gd name="connsiteX0" fmla="*/ 79067 w 250306"/>
                <a:gd name="connsiteY0" fmla="*/ 296463 h 296463"/>
                <a:gd name="connsiteX1" fmla="*/ 14192 w 250306"/>
                <a:gd name="connsiteY1" fmla="*/ 175766 h 296463"/>
                <a:gd name="connsiteX2" fmla="*/ 47384 w 250306"/>
                <a:gd name="connsiteY2" fmla="*/ 83734 h 296463"/>
                <a:gd name="connsiteX3" fmla="*/ 0 w 250306"/>
                <a:gd name="connsiteY3" fmla="*/ 83734 h 296463"/>
                <a:gd name="connsiteX4" fmla="*/ 69257 w 250306"/>
                <a:gd name="connsiteY4" fmla="*/ 0 h 296463"/>
                <a:gd name="connsiteX5" fmla="*/ 250306 w 250306"/>
                <a:gd name="connsiteY5" fmla="*/ 0 h 296463"/>
                <a:gd name="connsiteX6" fmla="*/ 250306 w 250306"/>
                <a:gd name="connsiteY6" fmla="*/ 83734 h 296463"/>
                <a:gd name="connsiteX7" fmla="*/ 152239 w 250306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0306" h="296463">
                  <a:moveTo>
                    <a:pt x="79067" y="296463"/>
                  </a:moveTo>
                  <a:lnTo>
                    <a:pt x="14192" y="175766"/>
                  </a:lnTo>
                  <a:lnTo>
                    <a:pt x="47384" y="83734"/>
                  </a:lnTo>
                  <a:lnTo>
                    <a:pt x="0" y="83734"/>
                  </a:lnTo>
                  <a:lnTo>
                    <a:pt x="69257" y="0"/>
                  </a:lnTo>
                  <a:lnTo>
                    <a:pt x="250306" y="0"/>
                  </a:lnTo>
                  <a:lnTo>
                    <a:pt x="250306" y="83734"/>
                  </a:lnTo>
                  <a:lnTo>
                    <a:pt x="152239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7" name="Forme libre : forme 166">
              <a:extLst>
                <a:ext uri="{FF2B5EF4-FFF2-40B4-BE49-F238E27FC236}">
                  <a16:creationId xmlns:a16="http://schemas.microsoft.com/office/drawing/2014/main" id="{AF8BB132-EA68-41A8-B3E5-2FCCBDEB7D5A}"/>
                </a:ext>
              </a:extLst>
            </p:cNvPr>
            <p:cNvSpPr/>
            <p:nvPr/>
          </p:nvSpPr>
          <p:spPr>
            <a:xfrm rot="8716295">
              <a:off x="2145876" y="32623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8" name="Forme libre : forme 167">
              <a:extLst>
                <a:ext uri="{FF2B5EF4-FFF2-40B4-BE49-F238E27FC236}">
                  <a16:creationId xmlns:a16="http://schemas.microsoft.com/office/drawing/2014/main" id="{0C891817-7BA1-4E19-A5B6-7030FDA5B7F1}"/>
                </a:ext>
              </a:extLst>
            </p:cNvPr>
            <p:cNvSpPr/>
            <p:nvPr/>
          </p:nvSpPr>
          <p:spPr>
            <a:xfrm rot="8716295">
              <a:off x="1834766" y="-57684"/>
              <a:ext cx="186564" cy="129320"/>
            </a:xfrm>
            <a:custGeom>
              <a:avLst/>
              <a:gdLst>
                <a:gd name="connsiteX0" fmla="*/ 123263 w 123263"/>
                <a:gd name="connsiteY0" fmla="*/ 85442 h 85442"/>
                <a:gd name="connsiteX1" fmla="*/ 0 w 123263"/>
                <a:gd name="connsiteY1" fmla="*/ 0 h 85442"/>
                <a:gd name="connsiteX2" fmla="*/ 66305 w 123263"/>
                <a:gd name="connsiteY2" fmla="*/ 0 h 85442"/>
                <a:gd name="connsiteX3" fmla="*/ 123263 w 123263"/>
                <a:gd name="connsiteY3" fmla="*/ 50123 h 85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63" h="85442">
                  <a:moveTo>
                    <a:pt x="123263" y="85442"/>
                  </a:moveTo>
                  <a:lnTo>
                    <a:pt x="0" y="0"/>
                  </a:lnTo>
                  <a:lnTo>
                    <a:pt x="66305" y="0"/>
                  </a:lnTo>
                  <a:cubicBezTo>
                    <a:pt x="103214" y="0"/>
                    <a:pt x="123263" y="15948"/>
                    <a:pt x="123263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9" name="Forme libre : forme 168">
              <a:extLst>
                <a:ext uri="{FF2B5EF4-FFF2-40B4-BE49-F238E27FC236}">
                  <a16:creationId xmlns:a16="http://schemas.microsoft.com/office/drawing/2014/main" id="{4406013B-1E43-4380-98C9-594C282D12B3}"/>
                </a:ext>
              </a:extLst>
            </p:cNvPr>
            <p:cNvSpPr/>
            <p:nvPr/>
          </p:nvSpPr>
          <p:spPr>
            <a:xfrm rot="8716295">
              <a:off x="1969949" y="-13794"/>
              <a:ext cx="394488" cy="148365"/>
            </a:xfrm>
            <a:custGeom>
              <a:avLst/>
              <a:gdLst>
                <a:gd name="connsiteX0" fmla="*/ 104802 w 260639"/>
                <a:gd name="connsiteY0" fmla="*/ 74264 h 98025"/>
                <a:gd name="connsiteX1" fmla="*/ 0 w 260639"/>
                <a:gd name="connsiteY1" fmla="*/ 1618 h 98025"/>
                <a:gd name="connsiteX2" fmla="*/ 0 w 260639"/>
                <a:gd name="connsiteY2" fmla="*/ 1425 h 98025"/>
                <a:gd name="connsiteX3" fmla="*/ 104803 w 260639"/>
                <a:gd name="connsiteY3" fmla="*/ 1425 h 98025"/>
                <a:gd name="connsiteX4" fmla="*/ 122123 w 260639"/>
                <a:gd name="connsiteY4" fmla="*/ 86270 h 98025"/>
                <a:gd name="connsiteX5" fmla="*/ 106178 w 260639"/>
                <a:gd name="connsiteY5" fmla="*/ 75218 h 98025"/>
                <a:gd name="connsiteX6" fmla="*/ 116721 w 260639"/>
                <a:gd name="connsiteY6" fmla="*/ 47439 h 98025"/>
                <a:gd name="connsiteX7" fmla="*/ 154014 w 260639"/>
                <a:gd name="connsiteY7" fmla="*/ 5981 h 98025"/>
                <a:gd name="connsiteX8" fmla="*/ 185455 w 260639"/>
                <a:gd name="connsiteY8" fmla="*/ 57 h 98025"/>
                <a:gd name="connsiteX9" fmla="*/ 260639 w 260639"/>
                <a:gd name="connsiteY9" fmla="*/ 88456 h 98025"/>
                <a:gd name="connsiteX10" fmla="*/ 260639 w 260639"/>
                <a:gd name="connsiteY10" fmla="*/ 94380 h 98025"/>
                <a:gd name="connsiteX11" fmla="*/ 198669 w 260639"/>
                <a:gd name="connsiteY11" fmla="*/ 98025 h 98025"/>
                <a:gd name="connsiteX12" fmla="*/ 198669 w 260639"/>
                <a:gd name="connsiteY12" fmla="*/ 81621 h 98025"/>
                <a:gd name="connsiteX13" fmla="*/ 164950 w 260639"/>
                <a:gd name="connsiteY13" fmla="*/ 40156 h 98025"/>
                <a:gd name="connsiteX14" fmla="*/ 127358 w 260639"/>
                <a:gd name="connsiteY14" fmla="*/ 65616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60639" h="98025">
                  <a:moveTo>
                    <a:pt x="104802" y="74264"/>
                  </a:moveTo>
                  <a:lnTo>
                    <a:pt x="0" y="1618"/>
                  </a:lnTo>
                  <a:lnTo>
                    <a:pt x="0" y="1425"/>
                  </a:lnTo>
                  <a:lnTo>
                    <a:pt x="104803" y="1425"/>
                  </a:lnTo>
                  <a:close/>
                  <a:moveTo>
                    <a:pt x="122123" y="86270"/>
                  </a:moveTo>
                  <a:lnTo>
                    <a:pt x="106178" y="75218"/>
                  </a:lnTo>
                  <a:lnTo>
                    <a:pt x="116721" y="47439"/>
                  </a:lnTo>
                  <a:cubicBezTo>
                    <a:pt x="127102" y="24008"/>
                    <a:pt x="137610" y="12816"/>
                    <a:pt x="154014" y="5981"/>
                  </a:cubicBezTo>
                  <a:cubicBezTo>
                    <a:pt x="164038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50369" y="40156"/>
                    <a:pt x="137041" y="49839"/>
                    <a:pt x="127358" y="656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0" name="Forme libre : forme 169">
              <a:extLst>
                <a:ext uri="{FF2B5EF4-FFF2-40B4-BE49-F238E27FC236}">
                  <a16:creationId xmlns:a16="http://schemas.microsoft.com/office/drawing/2014/main" id="{697ACF89-8E3E-4CA4-96AD-ED3067ABB920}"/>
                </a:ext>
              </a:extLst>
            </p:cNvPr>
            <p:cNvSpPr/>
            <p:nvPr/>
          </p:nvSpPr>
          <p:spPr>
            <a:xfrm rot="8716295">
              <a:off x="1736738" y="-7282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1" name="Forme libre : forme 170">
              <a:extLst>
                <a:ext uri="{FF2B5EF4-FFF2-40B4-BE49-F238E27FC236}">
                  <a16:creationId xmlns:a16="http://schemas.microsoft.com/office/drawing/2014/main" id="{914F8714-5CD4-41D2-92D2-73A622448BB2}"/>
                </a:ext>
              </a:extLst>
            </p:cNvPr>
            <p:cNvSpPr/>
            <p:nvPr/>
          </p:nvSpPr>
          <p:spPr>
            <a:xfrm rot="7484129">
              <a:off x="2394733" y="32841"/>
              <a:ext cx="135077" cy="94074"/>
            </a:xfrm>
            <a:custGeom>
              <a:avLst/>
              <a:gdLst>
                <a:gd name="connsiteX0" fmla="*/ 100725 w 135077"/>
                <a:gd name="connsiteY0" fmla="*/ 19729 h 94074"/>
                <a:gd name="connsiteX1" fmla="*/ 135077 w 135077"/>
                <a:gd name="connsiteY1" fmla="*/ 0 h 94074"/>
                <a:gd name="connsiteX2" fmla="*/ 135077 w 135077"/>
                <a:gd name="connsiteY2" fmla="*/ 19729 h 94074"/>
                <a:gd name="connsiteX3" fmla="*/ 0 w 135077"/>
                <a:gd name="connsiteY3" fmla="*/ 77576 h 94074"/>
                <a:gd name="connsiteX4" fmla="*/ 21327 w 135077"/>
                <a:gd name="connsiteY4" fmla="*/ 65328 h 94074"/>
                <a:gd name="connsiteX5" fmla="*/ 11439 w 135077"/>
                <a:gd name="connsiteY5" fmla="*/ 94074 h 94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5077" h="94074">
                  <a:moveTo>
                    <a:pt x="100725" y="19729"/>
                  </a:moveTo>
                  <a:lnTo>
                    <a:pt x="135077" y="0"/>
                  </a:lnTo>
                  <a:lnTo>
                    <a:pt x="135077" y="19729"/>
                  </a:lnTo>
                  <a:close/>
                  <a:moveTo>
                    <a:pt x="0" y="77576"/>
                  </a:moveTo>
                  <a:lnTo>
                    <a:pt x="21327" y="65328"/>
                  </a:lnTo>
                  <a:lnTo>
                    <a:pt x="11439" y="940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3286529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uverture 1 - C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e libre : forme 4">
            <a:extLst>
              <a:ext uri="{FF2B5EF4-FFF2-40B4-BE49-F238E27FC236}">
                <a16:creationId xmlns:a16="http://schemas.microsoft.com/office/drawing/2014/main" id="{AEFD991A-ABBA-4F4C-98CF-1084947DFB28}"/>
              </a:ext>
            </a:extLst>
          </p:cNvPr>
          <p:cNvSpPr/>
          <p:nvPr userDrawn="1"/>
        </p:nvSpPr>
        <p:spPr>
          <a:xfrm>
            <a:off x="0" y="0"/>
            <a:ext cx="2476252" cy="5143500"/>
          </a:xfrm>
          <a:custGeom>
            <a:avLst/>
            <a:gdLst>
              <a:gd name="connsiteX0" fmla="*/ 0 w 2476252"/>
              <a:gd name="connsiteY0" fmla="*/ 0 h 5143500"/>
              <a:gd name="connsiteX1" fmla="*/ 2038350 w 2476252"/>
              <a:gd name="connsiteY1" fmla="*/ 0 h 5143500"/>
              <a:gd name="connsiteX2" fmla="*/ 2476252 w 2476252"/>
              <a:gd name="connsiteY2" fmla="*/ 0 h 5143500"/>
              <a:gd name="connsiteX3" fmla="*/ 2038350 w 2476252"/>
              <a:gd name="connsiteY3" fmla="*/ 5143500 h 5143500"/>
              <a:gd name="connsiteX4" fmla="*/ 0 w 2476252"/>
              <a:gd name="connsiteY4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76252" h="5143500">
                <a:moveTo>
                  <a:pt x="0" y="0"/>
                </a:moveTo>
                <a:lnTo>
                  <a:pt x="2038350" y="0"/>
                </a:lnTo>
                <a:lnTo>
                  <a:pt x="2476252" y="0"/>
                </a:lnTo>
                <a:lnTo>
                  <a:pt x="2038350" y="5143500"/>
                </a:lnTo>
                <a:lnTo>
                  <a:pt x="0" y="5143500"/>
                </a:lnTo>
                <a:close/>
              </a:path>
            </a:pathLst>
          </a:custGeom>
          <a:solidFill>
            <a:srgbClr val="3A1B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6" name="Forme libre : forme 5">
            <a:extLst>
              <a:ext uri="{FF2B5EF4-FFF2-40B4-BE49-F238E27FC236}">
                <a16:creationId xmlns:a16="http://schemas.microsoft.com/office/drawing/2014/main" id="{864821C3-7BAD-4585-9F8D-C119AC850133}"/>
              </a:ext>
            </a:extLst>
          </p:cNvPr>
          <p:cNvSpPr/>
          <p:nvPr userDrawn="1"/>
        </p:nvSpPr>
        <p:spPr>
          <a:xfrm flipH="1">
            <a:off x="2029641" y="2387470"/>
            <a:ext cx="614164" cy="2756031"/>
          </a:xfrm>
          <a:custGeom>
            <a:avLst/>
            <a:gdLst>
              <a:gd name="connsiteX0" fmla="*/ 379524 w 614164"/>
              <a:gd name="connsiteY0" fmla="*/ 0 h 2756031"/>
              <a:gd name="connsiteX1" fmla="*/ 0 w 614164"/>
              <a:gd name="connsiteY1" fmla="*/ 2756031 h 2756031"/>
              <a:gd name="connsiteX2" fmla="*/ 614164 w 614164"/>
              <a:gd name="connsiteY2" fmla="*/ 2756031 h 2756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14164" h="2756031">
                <a:moveTo>
                  <a:pt x="379524" y="0"/>
                </a:moveTo>
                <a:lnTo>
                  <a:pt x="0" y="2756031"/>
                </a:lnTo>
                <a:lnTo>
                  <a:pt x="614164" y="2756031"/>
                </a:lnTo>
                <a:close/>
              </a:path>
            </a:pathLst>
          </a:custGeom>
          <a:solidFill>
            <a:srgbClr val="009F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DA8CA9DB-B794-428D-9ECF-D4872FBA5C4C}"/>
              </a:ext>
            </a:extLst>
          </p:cNvPr>
          <p:cNvGrpSpPr/>
          <p:nvPr userDrawn="1"/>
        </p:nvGrpSpPr>
        <p:grpSpPr>
          <a:xfrm>
            <a:off x="-134707" y="-72828"/>
            <a:ext cx="2658992" cy="5335244"/>
            <a:chOff x="-134707" y="-72828"/>
            <a:chExt cx="2658992" cy="5335244"/>
          </a:xfrm>
          <a:solidFill>
            <a:schemeClr val="bg2">
              <a:alpha val="10000"/>
            </a:schemeClr>
          </a:solidFill>
        </p:grpSpPr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81E41836-E956-4188-9AAC-A83AE8900453}"/>
                </a:ext>
              </a:extLst>
            </p:cNvPr>
            <p:cNvSpPr/>
            <p:nvPr/>
          </p:nvSpPr>
          <p:spPr>
            <a:xfrm rot="8716295">
              <a:off x="1460344" y="348006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6217F1CC-5E84-40FC-88E7-C42A2398F84B}"/>
                </a:ext>
              </a:extLst>
            </p:cNvPr>
            <p:cNvSpPr/>
            <p:nvPr/>
          </p:nvSpPr>
          <p:spPr>
            <a:xfrm rot="8716295">
              <a:off x="1595642" y="352432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B80A1B59-7F4C-4E95-8CB7-0AACC6C05627}"/>
                </a:ext>
              </a:extLst>
            </p:cNvPr>
            <p:cNvSpPr/>
            <p:nvPr/>
          </p:nvSpPr>
          <p:spPr>
            <a:xfrm rot="8716295">
              <a:off x="1527760" y="339373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8728A690-34B9-4DFF-8734-9F6EBD35EBC5}"/>
                </a:ext>
              </a:extLst>
            </p:cNvPr>
            <p:cNvSpPr/>
            <p:nvPr/>
          </p:nvSpPr>
          <p:spPr>
            <a:xfrm rot="8716295">
              <a:off x="1290473" y="361408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2927191B-5C8D-4149-8DBA-718546C29906}"/>
                </a:ext>
              </a:extLst>
            </p:cNvPr>
            <p:cNvSpPr/>
            <p:nvPr/>
          </p:nvSpPr>
          <p:spPr>
            <a:xfrm rot="8716295">
              <a:off x="1101427" y="329824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375566C6-9E02-4DD8-8C3B-267A6C61A667}"/>
                </a:ext>
              </a:extLst>
            </p:cNvPr>
            <p:cNvSpPr/>
            <p:nvPr/>
          </p:nvSpPr>
          <p:spPr>
            <a:xfrm rot="8716295">
              <a:off x="1083185" y="3088198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1A3C2C2D-7CBE-4F9B-8B8B-959B1D778E3E}"/>
                </a:ext>
              </a:extLst>
            </p:cNvPr>
            <p:cNvSpPr/>
            <p:nvPr/>
          </p:nvSpPr>
          <p:spPr>
            <a:xfrm rot="8716295">
              <a:off x="1426961" y="367606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8EB673A3-36B5-4724-AE91-A9B8454C1396}"/>
                </a:ext>
              </a:extLst>
            </p:cNvPr>
            <p:cNvSpPr/>
            <p:nvPr/>
          </p:nvSpPr>
          <p:spPr>
            <a:xfrm rot="8716295">
              <a:off x="1897908" y="310145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F8EEA06C-B620-4C52-ACA9-B6AC8852992A}"/>
                </a:ext>
              </a:extLst>
            </p:cNvPr>
            <p:cNvSpPr/>
            <p:nvPr/>
          </p:nvSpPr>
          <p:spPr>
            <a:xfrm rot="8716295">
              <a:off x="2028620" y="3176625"/>
              <a:ext cx="305088" cy="336622"/>
            </a:xfrm>
            <a:custGeom>
              <a:avLst/>
              <a:gdLst>
                <a:gd name="connsiteX0" fmla="*/ 211294 w 305088"/>
                <a:gd name="connsiteY0" fmla="*/ 107197 h 336622"/>
                <a:gd name="connsiteX1" fmla="*/ 211294 w 305088"/>
                <a:gd name="connsiteY1" fmla="*/ 82369 h 336622"/>
                <a:gd name="connsiteX2" fmla="*/ 211017 w 305088"/>
                <a:gd name="connsiteY2" fmla="*/ 81498 h 336622"/>
                <a:gd name="connsiteX3" fmla="*/ 278425 w 305088"/>
                <a:gd name="connsiteY3" fmla="*/ 0 h 336622"/>
                <a:gd name="connsiteX4" fmla="*/ 297297 w 305088"/>
                <a:gd name="connsiteY4" fmla="*/ 35535 h 336622"/>
                <a:gd name="connsiteX5" fmla="*/ 305088 w 305088"/>
                <a:gd name="connsiteY5" fmla="*/ 92713 h 336622"/>
                <a:gd name="connsiteX6" fmla="*/ 305088 w 305088"/>
                <a:gd name="connsiteY6" fmla="*/ 101679 h 336622"/>
                <a:gd name="connsiteX7" fmla="*/ 0 w 305088"/>
                <a:gd name="connsiteY7" fmla="*/ 336622 h 336622"/>
                <a:gd name="connsiteX8" fmla="*/ 79568 w 305088"/>
                <a:gd name="connsiteY8" fmla="*/ 240423 h 336622"/>
                <a:gd name="connsiteX9" fmla="*/ 79568 w 305088"/>
                <a:gd name="connsiteY9" fmla="*/ 282372 h 33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5088" h="336622">
                  <a:moveTo>
                    <a:pt x="211294" y="107197"/>
                  </a:moveTo>
                  <a:lnTo>
                    <a:pt x="211294" y="82369"/>
                  </a:lnTo>
                  <a:lnTo>
                    <a:pt x="211017" y="81498"/>
                  </a:lnTo>
                  <a:lnTo>
                    <a:pt x="278425" y="0"/>
                  </a:lnTo>
                  <a:lnTo>
                    <a:pt x="297297" y="35535"/>
                  </a:lnTo>
                  <a:cubicBezTo>
                    <a:pt x="302416" y="52195"/>
                    <a:pt x="305088" y="71334"/>
                    <a:pt x="305088" y="92713"/>
                  </a:cubicBezTo>
                  <a:lnTo>
                    <a:pt x="305088" y="101679"/>
                  </a:lnTo>
                  <a:close/>
                  <a:moveTo>
                    <a:pt x="0" y="336622"/>
                  </a:moveTo>
                  <a:lnTo>
                    <a:pt x="79568" y="240423"/>
                  </a:lnTo>
                  <a:lnTo>
                    <a:pt x="79568" y="28237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84C08685-C991-44FD-898B-8BF95960C6B9}"/>
                </a:ext>
              </a:extLst>
            </p:cNvPr>
            <p:cNvSpPr/>
            <p:nvPr/>
          </p:nvSpPr>
          <p:spPr>
            <a:xfrm rot="8716295">
              <a:off x="1728037" y="323546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75F06F9A-B5F6-494A-BA46-78E41263CC81}"/>
                </a:ext>
              </a:extLst>
            </p:cNvPr>
            <p:cNvSpPr/>
            <p:nvPr/>
          </p:nvSpPr>
          <p:spPr>
            <a:xfrm rot="8716295">
              <a:off x="1538992" y="291963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CE3913D0-3ECC-49C2-BFCE-2E22945EB24B}"/>
                </a:ext>
              </a:extLst>
            </p:cNvPr>
            <p:cNvSpPr/>
            <p:nvPr/>
          </p:nvSpPr>
          <p:spPr>
            <a:xfrm rot="8716295">
              <a:off x="1864525" y="329745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ACF63173-E092-4F8A-A29A-250C09066948}"/>
                </a:ext>
              </a:extLst>
            </p:cNvPr>
            <p:cNvSpPr/>
            <p:nvPr/>
          </p:nvSpPr>
          <p:spPr>
            <a:xfrm rot="8716295">
              <a:off x="1499078" y="307102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7EFA26CA-A39B-4E8B-847D-F85F8518030F}"/>
                </a:ext>
              </a:extLst>
            </p:cNvPr>
            <p:cNvSpPr/>
            <p:nvPr/>
          </p:nvSpPr>
          <p:spPr>
            <a:xfrm rot="7484129">
              <a:off x="2004987" y="3639772"/>
              <a:ext cx="221889" cy="221665"/>
            </a:xfrm>
            <a:custGeom>
              <a:avLst/>
              <a:gdLst>
                <a:gd name="connsiteX0" fmla="*/ 206330 w 221889"/>
                <a:gd name="connsiteY0" fmla="*/ 8936 h 221665"/>
                <a:gd name="connsiteX1" fmla="*/ 221889 w 221889"/>
                <a:gd name="connsiteY1" fmla="*/ 0 h 221665"/>
                <a:gd name="connsiteX2" fmla="*/ 221889 w 221889"/>
                <a:gd name="connsiteY2" fmla="*/ 8936 h 221665"/>
                <a:gd name="connsiteX3" fmla="*/ 50650 w 221889"/>
                <a:gd name="connsiteY3" fmla="*/ 221665 h 221665"/>
                <a:gd name="connsiteX4" fmla="*/ 0 w 221889"/>
                <a:gd name="connsiteY4" fmla="*/ 127433 h 221665"/>
                <a:gd name="connsiteX5" fmla="*/ 103511 w 221889"/>
                <a:gd name="connsiteY5" fmla="*/ 67986 h 221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1889" h="221665">
                  <a:moveTo>
                    <a:pt x="206330" y="8936"/>
                  </a:moveTo>
                  <a:lnTo>
                    <a:pt x="221889" y="0"/>
                  </a:lnTo>
                  <a:lnTo>
                    <a:pt x="221889" y="8936"/>
                  </a:lnTo>
                  <a:close/>
                  <a:moveTo>
                    <a:pt x="50650" y="221665"/>
                  </a:moveTo>
                  <a:lnTo>
                    <a:pt x="0" y="127433"/>
                  </a:lnTo>
                  <a:lnTo>
                    <a:pt x="103511" y="6798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54CB42FE-32B8-4C2C-A4AB-C4F8B84705EC}"/>
                </a:ext>
              </a:extLst>
            </p:cNvPr>
            <p:cNvSpPr/>
            <p:nvPr/>
          </p:nvSpPr>
          <p:spPr>
            <a:xfrm rot="8716295">
              <a:off x="2016311" y="313524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B97467BE-761E-4E11-AD12-792548131E9F}"/>
                </a:ext>
              </a:extLst>
            </p:cNvPr>
            <p:cNvSpPr/>
            <p:nvPr/>
          </p:nvSpPr>
          <p:spPr>
            <a:xfrm rot="8716295">
              <a:off x="1796861" y="4478944"/>
              <a:ext cx="215176" cy="351729"/>
            </a:xfrm>
            <a:custGeom>
              <a:avLst/>
              <a:gdLst>
                <a:gd name="connsiteX0" fmla="*/ 122761 w 215176"/>
                <a:gd name="connsiteY0" fmla="*/ 351729 h 351729"/>
                <a:gd name="connsiteX1" fmla="*/ 122761 w 215176"/>
                <a:gd name="connsiteY1" fmla="*/ 105519 h 351729"/>
                <a:gd name="connsiteX2" fmla="*/ 122761 w 215176"/>
                <a:gd name="connsiteY2" fmla="*/ 99312 h 351729"/>
                <a:gd name="connsiteX3" fmla="*/ 91726 w 215176"/>
                <a:gd name="connsiteY3" fmla="*/ 75863 h 351729"/>
                <a:gd name="connsiteX4" fmla="*/ 0 w 215176"/>
                <a:gd name="connsiteY4" fmla="*/ 75863 h 351729"/>
                <a:gd name="connsiteX5" fmla="*/ 0 w 215176"/>
                <a:gd name="connsiteY5" fmla="*/ 31564 h 351729"/>
                <a:gd name="connsiteX6" fmla="*/ 26107 w 215176"/>
                <a:gd name="connsiteY6" fmla="*/ 0 h 351729"/>
                <a:gd name="connsiteX7" fmla="*/ 128968 w 215176"/>
                <a:gd name="connsiteY7" fmla="*/ 0 h 351729"/>
                <a:gd name="connsiteX8" fmla="*/ 215176 w 215176"/>
                <a:gd name="connsiteY8" fmla="*/ 75863 h 351729"/>
                <a:gd name="connsiteX9" fmla="*/ 215176 w 215176"/>
                <a:gd name="connsiteY9" fmla="*/ 315177 h 351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5176" h="351729">
                  <a:moveTo>
                    <a:pt x="122761" y="35172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31564"/>
                  </a:lnTo>
                  <a:lnTo>
                    <a:pt x="26107" y="0"/>
                  </a:lnTo>
                  <a:lnTo>
                    <a:pt x="128968" y="0"/>
                  </a:lnTo>
                  <a:cubicBezTo>
                    <a:pt x="184831" y="0"/>
                    <a:pt x="215176" y="24139"/>
                    <a:pt x="215176" y="75863"/>
                  </a:cubicBezTo>
                  <a:lnTo>
                    <a:pt x="215176" y="3151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8C358B06-CFB8-4D7E-B58B-64076A590B10}"/>
                </a:ext>
              </a:extLst>
            </p:cNvPr>
            <p:cNvSpPr/>
            <p:nvPr/>
          </p:nvSpPr>
          <p:spPr>
            <a:xfrm rot="8716295">
              <a:off x="1938756" y="4602084"/>
              <a:ext cx="253340" cy="284725"/>
            </a:xfrm>
            <a:custGeom>
              <a:avLst/>
              <a:gdLst>
                <a:gd name="connsiteX0" fmla="*/ 160632 w 253340"/>
                <a:gd name="connsiteY0" fmla="*/ 90518 h 284725"/>
                <a:gd name="connsiteX1" fmla="*/ 235501 w 253340"/>
                <a:gd name="connsiteY1" fmla="*/ 0 h 284725"/>
                <a:gd name="connsiteX2" fmla="*/ 245549 w 253340"/>
                <a:gd name="connsiteY2" fmla="*/ 18921 h 284725"/>
                <a:gd name="connsiteX3" fmla="*/ 253340 w 253340"/>
                <a:gd name="connsiteY3" fmla="*/ 76098 h 284725"/>
                <a:gd name="connsiteX4" fmla="*/ 253340 w 253340"/>
                <a:gd name="connsiteY4" fmla="*/ 85064 h 284725"/>
                <a:gd name="connsiteX5" fmla="*/ 0 w 253340"/>
                <a:gd name="connsiteY5" fmla="*/ 284725 h 284725"/>
                <a:gd name="connsiteX6" fmla="*/ 27820 w 253340"/>
                <a:gd name="connsiteY6" fmla="*/ 251090 h 284725"/>
                <a:gd name="connsiteX7" fmla="*/ 27820 w 253340"/>
                <a:gd name="connsiteY7" fmla="*/ 265757 h 28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3340" h="284725">
                  <a:moveTo>
                    <a:pt x="160632" y="90518"/>
                  </a:moveTo>
                  <a:lnTo>
                    <a:pt x="235501" y="0"/>
                  </a:lnTo>
                  <a:lnTo>
                    <a:pt x="245549" y="18921"/>
                  </a:lnTo>
                  <a:cubicBezTo>
                    <a:pt x="250668" y="35581"/>
                    <a:pt x="253340" y="54719"/>
                    <a:pt x="253340" y="76098"/>
                  </a:cubicBezTo>
                  <a:lnTo>
                    <a:pt x="253340" y="85064"/>
                  </a:lnTo>
                  <a:close/>
                  <a:moveTo>
                    <a:pt x="0" y="284725"/>
                  </a:moveTo>
                  <a:lnTo>
                    <a:pt x="27820" y="251090"/>
                  </a:lnTo>
                  <a:lnTo>
                    <a:pt x="27820" y="26575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55465226-9705-450D-9333-C6F18EA9DA5B}"/>
                </a:ext>
              </a:extLst>
            </p:cNvPr>
            <p:cNvSpPr/>
            <p:nvPr/>
          </p:nvSpPr>
          <p:spPr>
            <a:xfrm rot="8716295">
              <a:off x="1865533" y="439222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14393A34-234C-4F82-B937-651BE2C2EB26}"/>
                </a:ext>
              </a:extLst>
            </p:cNvPr>
            <p:cNvSpPr/>
            <p:nvPr/>
          </p:nvSpPr>
          <p:spPr>
            <a:xfrm rot="8716295">
              <a:off x="1628246" y="461256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C8A075BE-A4F2-4F84-B522-C6E43EFD2240}"/>
                </a:ext>
              </a:extLst>
            </p:cNvPr>
            <p:cNvSpPr/>
            <p:nvPr/>
          </p:nvSpPr>
          <p:spPr>
            <a:xfrm rot="8716295">
              <a:off x="1439200" y="42967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56AB483C-9DB6-4B2C-B13B-6356C19C1FBB}"/>
                </a:ext>
              </a:extLst>
            </p:cNvPr>
            <p:cNvSpPr/>
            <p:nvPr/>
          </p:nvSpPr>
          <p:spPr>
            <a:xfrm rot="8716295">
              <a:off x="1420958" y="408668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AFF52EFA-F302-42BC-851E-3ECAD5E2BCCE}"/>
                </a:ext>
              </a:extLst>
            </p:cNvPr>
            <p:cNvSpPr/>
            <p:nvPr/>
          </p:nvSpPr>
          <p:spPr>
            <a:xfrm rot="8716295">
              <a:off x="1764734" y="467454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DD8C6387-B92F-4AE3-84AA-9699909C3151}"/>
                </a:ext>
              </a:extLst>
            </p:cNvPr>
            <p:cNvSpPr/>
            <p:nvPr/>
          </p:nvSpPr>
          <p:spPr>
            <a:xfrm rot="8716295">
              <a:off x="2058111" y="4234218"/>
              <a:ext cx="77302" cy="80483"/>
            </a:xfrm>
            <a:custGeom>
              <a:avLst/>
              <a:gdLst>
                <a:gd name="connsiteX0" fmla="*/ 2300 w 77302"/>
                <a:gd name="connsiteY0" fmla="*/ 68069 h 80483"/>
                <a:gd name="connsiteX1" fmla="*/ 0 w 77302"/>
                <a:gd name="connsiteY1" fmla="*/ 62622 h 80483"/>
                <a:gd name="connsiteX2" fmla="*/ 51796 w 77302"/>
                <a:gd name="connsiteY2" fmla="*/ 0 h 80483"/>
                <a:gd name="connsiteX3" fmla="*/ 64371 w 77302"/>
                <a:gd name="connsiteY3" fmla="*/ 5309 h 80483"/>
                <a:gd name="connsiteX4" fmla="*/ 64371 w 77302"/>
                <a:gd name="connsiteY4" fmla="*/ 67380 h 80483"/>
                <a:gd name="connsiteX5" fmla="*/ 33335 w 77302"/>
                <a:gd name="connsiteY5" fmla="*/ 80483 h 80483"/>
                <a:gd name="connsiteX6" fmla="*/ 2300 w 77302"/>
                <a:gd name="connsiteY6" fmla="*/ 68069 h 80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7302" h="80483">
                  <a:moveTo>
                    <a:pt x="2300" y="68069"/>
                  </a:moveTo>
                  <a:lnTo>
                    <a:pt x="0" y="62622"/>
                  </a:lnTo>
                  <a:lnTo>
                    <a:pt x="51796" y="0"/>
                  </a:lnTo>
                  <a:lnTo>
                    <a:pt x="64371" y="5309"/>
                  </a:lnTo>
                  <a:cubicBezTo>
                    <a:pt x="81612" y="21861"/>
                    <a:pt x="81613" y="50138"/>
                    <a:pt x="64371" y="67380"/>
                  </a:cubicBezTo>
                  <a:cubicBezTo>
                    <a:pt x="56095" y="75656"/>
                    <a:pt x="45060" y="80483"/>
                    <a:pt x="33335" y="80483"/>
                  </a:cubicBezTo>
                  <a:cubicBezTo>
                    <a:pt x="21611" y="80483"/>
                    <a:pt x="10576" y="76345"/>
                    <a:pt x="2300" y="6806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7D76A85F-9EC7-4610-8B93-DADD647681CA}"/>
                </a:ext>
              </a:extLst>
            </p:cNvPr>
            <p:cNvSpPr/>
            <p:nvPr/>
          </p:nvSpPr>
          <p:spPr>
            <a:xfrm rot="8716295">
              <a:off x="1876235" y="3938134"/>
              <a:ext cx="237808" cy="296463"/>
            </a:xfrm>
            <a:custGeom>
              <a:avLst/>
              <a:gdLst>
                <a:gd name="connsiteX0" fmla="*/ 66569 w 237808"/>
                <a:gd name="connsiteY0" fmla="*/ 296463 h 296463"/>
                <a:gd name="connsiteX1" fmla="*/ 1694 w 237808"/>
                <a:gd name="connsiteY1" fmla="*/ 175766 h 296463"/>
                <a:gd name="connsiteX2" fmla="*/ 34886 w 237808"/>
                <a:gd name="connsiteY2" fmla="*/ 83734 h 296463"/>
                <a:gd name="connsiteX3" fmla="*/ 0 w 237808"/>
                <a:gd name="connsiteY3" fmla="*/ 83734 h 296463"/>
                <a:gd name="connsiteX4" fmla="*/ 69258 w 237808"/>
                <a:gd name="connsiteY4" fmla="*/ 0 h 296463"/>
                <a:gd name="connsiteX5" fmla="*/ 237808 w 237808"/>
                <a:gd name="connsiteY5" fmla="*/ 0 h 296463"/>
                <a:gd name="connsiteX6" fmla="*/ 237808 w 237808"/>
                <a:gd name="connsiteY6" fmla="*/ 83734 h 296463"/>
                <a:gd name="connsiteX7" fmla="*/ 139741 w 237808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7808" h="296463">
                  <a:moveTo>
                    <a:pt x="66569" y="296463"/>
                  </a:moveTo>
                  <a:lnTo>
                    <a:pt x="1694" y="175766"/>
                  </a:lnTo>
                  <a:lnTo>
                    <a:pt x="34886" y="83734"/>
                  </a:lnTo>
                  <a:lnTo>
                    <a:pt x="0" y="83734"/>
                  </a:lnTo>
                  <a:lnTo>
                    <a:pt x="69258" y="0"/>
                  </a:lnTo>
                  <a:lnTo>
                    <a:pt x="237808" y="0"/>
                  </a:lnTo>
                  <a:lnTo>
                    <a:pt x="237808" y="83734"/>
                  </a:lnTo>
                  <a:lnTo>
                    <a:pt x="139741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1D9CF1AF-A09A-459A-A4AB-D88D1905EA6F}"/>
                </a:ext>
              </a:extLst>
            </p:cNvPr>
            <p:cNvSpPr/>
            <p:nvPr/>
          </p:nvSpPr>
          <p:spPr>
            <a:xfrm rot="8716295">
              <a:off x="1836851" y="406950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33B04AAC-330F-42F9-9C1F-3BB73DEAD114}"/>
                </a:ext>
              </a:extLst>
            </p:cNvPr>
            <p:cNvSpPr/>
            <p:nvPr/>
          </p:nvSpPr>
          <p:spPr>
            <a:xfrm rot="8716295">
              <a:off x="1827832" y="5057264"/>
              <a:ext cx="219410" cy="140851"/>
            </a:xfrm>
            <a:custGeom>
              <a:avLst/>
              <a:gdLst>
                <a:gd name="connsiteX0" fmla="*/ 27373 w 219410"/>
                <a:gd name="connsiteY0" fmla="*/ 96063 h 140851"/>
                <a:gd name="connsiteX1" fmla="*/ 1953 w 219410"/>
                <a:gd name="connsiteY1" fmla="*/ 53941 h 140851"/>
                <a:gd name="connsiteX2" fmla="*/ 0 w 219410"/>
                <a:gd name="connsiteY2" fmla="*/ 43352 h 140851"/>
                <a:gd name="connsiteX3" fmla="*/ 35858 w 219410"/>
                <a:gd name="connsiteY3" fmla="*/ 0 h 140851"/>
                <a:gd name="connsiteX4" fmla="*/ 219410 w 219410"/>
                <a:gd name="connsiteY4" fmla="*/ 127232 h 140851"/>
                <a:gd name="connsiteX5" fmla="*/ 200448 w 219410"/>
                <a:gd name="connsiteY5" fmla="*/ 132296 h 140851"/>
                <a:gd name="connsiteX6" fmla="*/ 136904 w 219410"/>
                <a:gd name="connsiteY6" fmla="*/ 140588 h 140851"/>
                <a:gd name="connsiteX7" fmla="*/ 27373 w 219410"/>
                <a:gd name="connsiteY7" fmla="*/ 96063 h 140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9410" h="140851">
                  <a:moveTo>
                    <a:pt x="27373" y="96063"/>
                  </a:moveTo>
                  <a:cubicBezTo>
                    <a:pt x="16020" y="85043"/>
                    <a:pt x="7797" y="71018"/>
                    <a:pt x="1953" y="53941"/>
                  </a:cubicBezTo>
                  <a:lnTo>
                    <a:pt x="0" y="43352"/>
                  </a:lnTo>
                  <a:lnTo>
                    <a:pt x="35858" y="0"/>
                  </a:lnTo>
                  <a:lnTo>
                    <a:pt x="219410" y="127232"/>
                  </a:lnTo>
                  <a:lnTo>
                    <a:pt x="200448" y="132296"/>
                  </a:lnTo>
                  <a:cubicBezTo>
                    <a:pt x="176976" y="136859"/>
                    <a:pt x="155381" y="139475"/>
                    <a:pt x="136904" y="140588"/>
                  </a:cubicBezTo>
                  <a:cubicBezTo>
                    <a:pt x="95942" y="143260"/>
                    <a:pt x="55870" y="125450"/>
                    <a:pt x="27373" y="960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24E0BB53-945A-402E-838B-93267E59D513}"/>
                </a:ext>
              </a:extLst>
            </p:cNvPr>
            <p:cNvSpPr/>
            <p:nvPr/>
          </p:nvSpPr>
          <p:spPr>
            <a:xfrm rot="8716295">
              <a:off x="1125067" y="247965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6C251D8C-A5D9-4ECA-AD3B-1A05AB92D036}"/>
                </a:ext>
              </a:extLst>
            </p:cNvPr>
            <p:cNvSpPr/>
            <p:nvPr/>
          </p:nvSpPr>
          <p:spPr>
            <a:xfrm rot="8716295">
              <a:off x="1260365" y="252391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8B96FE87-2D5C-4688-844D-4E74C72A4B6C}"/>
                </a:ext>
              </a:extLst>
            </p:cNvPr>
            <p:cNvSpPr/>
            <p:nvPr/>
          </p:nvSpPr>
          <p:spPr>
            <a:xfrm rot="8716295">
              <a:off x="1192483" y="2393326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582D3CFC-4736-4E25-B369-A4CE70A870B5}"/>
                </a:ext>
              </a:extLst>
            </p:cNvPr>
            <p:cNvSpPr/>
            <p:nvPr/>
          </p:nvSpPr>
          <p:spPr>
            <a:xfrm rot="8716295">
              <a:off x="955196" y="261367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005E4ED8-B75C-4EF1-8BE9-2F684ADC8702}"/>
                </a:ext>
              </a:extLst>
            </p:cNvPr>
            <p:cNvSpPr/>
            <p:nvPr/>
          </p:nvSpPr>
          <p:spPr>
            <a:xfrm rot="8716295">
              <a:off x="766149" y="229783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AFABF28F-6E8A-4957-B94B-921C1E69A440}"/>
                </a:ext>
              </a:extLst>
            </p:cNvPr>
            <p:cNvSpPr/>
            <p:nvPr/>
          </p:nvSpPr>
          <p:spPr>
            <a:xfrm rot="8716295">
              <a:off x="747908" y="2087785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A9A47BF0-B3E6-4CA8-B1F1-FEC766FA52E5}"/>
                </a:ext>
              </a:extLst>
            </p:cNvPr>
            <p:cNvSpPr/>
            <p:nvPr/>
          </p:nvSpPr>
          <p:spPr>
            <a:xfrm rot="8716295">
              <a:off x="1091684" y="2675653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E9996FB1-6163-4708-89D3-37E7BECE1764}"/>
                </a:ext>
              </a:extLst>
            </p:cNvPr>
            <p:cNvSpPr/>
            <p:nvPr/>
          </p:nvSpPr>
          <p:spPr>
            <a:xfrm rot="8716295">
              <a:off x="1562630" y="210103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A1CE2F3B-6619-4775-85F0-1C1F8C974630}"/>
                </a:ext>
              </a:extLst>
            </p:cNvPr>
            <p:cNvSpPr/>
            <p:nvPr/>
          </p:nvSpPr>
          <p:spPr>
            <a:xfrm rot="8716295">
              <a:off x="1697929" y="214529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8284C668-CF6A-429F-A20E-B2542F51FB46}"/>
                </a:ext>
              </a:extLst>
            </p:cNvPr>
            <p:cNvSpPr/>
            <p:nvPr/>
          </p:nvSpPr>
          <p:spPr>
            <a:xfrm rot="8716295">
              <a:off x="1392759" y="223505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AA01786E-CED8-47C1-98FC-809C875C8CD9}"/>
                </a:ext>
              </a:extLst>
            </p:cNvPr>
            <p:cNvSpPr/>
            <p:nvPr/>
          </p:nvSpPr>
          <p:spPr>
            <a:xfrm rot="8716295">
              <a:off x="1203715" y="191921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2425A90E-FE44-45AD-B145-151A84FF9C22}"/>
                </a:ext>
              </a:extLst>
            </p:cNvPr>
            <p:cNvSpPr/>
            <p:nvPr/>
          </p:nvSpPr>
          <p:spPr>
            <a:xfrm rot="8716295">
              <a:off x="1529248" y="2297037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C0E93116-88EE-4D50-8215-854EE6AEF62E}"/>
                </a:ext>
              </a:extLst>
            </p:cNvPr>
            <p:cNvSpPr/>
            <p:nvPr/>
          </p:nvSpPr>
          <p:spPr>
            <a:xfrm rot="8716295">
              <a:off x="1163801" y="2070611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97447593-0A4C-444A-8AD1-F14699136B1C}"/>
                </a:ext>
              </a:extLst>
            </p:cNvPr>
            <p:cNvSpPr/>
            <p:nvPr/>
          </p:nvSpPr>
          <p:spPr>
            <a:xfrm rot="7484129">
              <a:off x="1688065" y="258665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E8FA1E58-23E1-4418-9B7C-2F5C67C32BDC}"/>
                </a:ext>
              </a:extLst>
            </p:cNvPr>
            <p:cNvSpPr/>
            <p:nvPr/>
          </p:nvSpPr>
          <p:spPr>
            <a:xfrm rot="13089394">
              <a:off x="1845023" y="2531236"/>
              <a:ext cx="412568" cy="496925"/>
            </a:xfrm>
            <a:custGeom>
              <a:avLst/>
              <a:gdLst>
                <a:gd name="connsiteX0" fmla="*/ 412568 w 412568"/>
                <a:gd name="connsiteY0" fmla="*/ 390854 h 496925"/>
                <a:gd name="connsiteX1" fmla="*/ 198232 w 412568"/>
                <a:gd name="connsiteY1" fmla="*/ 489977 h 496925"/>
                <a:gd name="connsiteX2" fmla="*/ 144991 w 412568"/>
                <a:gd name="connsiteY2" fmla="*/ 496925 h 496925"/>
                <a:gd name="connsiteX3" fmla="*/ 0 w 412568"/>
                <a:gd name="connsiteY3" fmla="*/ 276116 h 496925"/>
                <a:gd name="connsiteX4" fmla="*/ 0 w 412568"/>
                <a:gd name="connsiteY4" fmla="*/ 57626 h 496925"/>
                <a:gd name="connsiteX5" fmla="*/ 111075 w 412568"/>
                <a:gd name="connsiteY5" fmla="*/ 0 h 496925"/>
                <a:gd name="connsiteX6" fmla="*/ 112747 w 412568"/>
                <a:gd name="connsiteY6" fmla="*/ 233009 h 496925"/>
                <a:gd name="connsiteX7" fmla="*/ 132789 w 412568"/>
                <a:gd name="connsiteY7" fmla="*/ 371646 h 496925"/>
                <a:gd name="connsiteX8" fmla="*/ 233008 w 412568"/>
                <a:gd name="connsiteY8" fmla="*/ 426766 h 496925"/>
                <a:gd name="connsiteX9" fmla="*/ 308173 w 412568"/>
                <a:gd name="connsiteY9" fmla="*/ 413403 h 496925"/>
                <a:gd name="connsiteX10" fmla="*/ 410897 w 412568"/>
                <a:gd name="connsiteY10" fmla="*/ 371646 h 496925"/>
                <a:gd name="connsiteX11" fmla="*/ 412568 w 412568"/>
                <a:gd name="connsiteY11" fmla="*/ 382502 h 496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2568" h="496925">
                  <a:moveTo>
                    <a:pt x="412568" y="390854"/>
                  </a:moveTo>
                  <a:cubicBezTo>
                    <a:pt x="346173" y="447854"/>
                    <a:pt x="264275" y="477136"/>
                    <a:pt x="198232" y="489977"/>
                  </a:cubicBezTo>
                  <a:lnTo>
                    <a:pt x="144991" y="496925"/>
                  </a:lnTo>
                  <a:lnTo>
                    <a:pt x="0" y="276116"/>
                  </a:lnTo>
                  <a:lnTo>
                    <a:pt x="0" y="57626"/>
                  </a:lnTo>
                  <a:lnTo>
                    <a:pt x="111075" y="0"/>
                  </a:lnTo>
                  <a:lnTo>
                    <a:pt x="112747" y="233009"/>
                  </a:lnTo>
                  <a:cubicBezTo>
                    <a:pt x="110241" y="279778"/>
                    <a:pt x="117757" y="327382"/>
                    <a:pt x="132789" y="371646"/>
                  </a:cubicBezTo>
                  <a:cubicBezTo>
                    <a:pt x="146153" y="408393"/>
                    <a:pt x="180394" y="426766"/>
                    <a:pt x="233008" y="426766"/>
                  </a:cubicBezTo>
                  <a:cubicBezTo>
                    <a:pt x="258899" y="425930"/>
                    <a:pt x="283953" y="420919"/>
                    <a:pt x="308173" y="413403"/>
                  </a:cubicBezTo>
                  <a:cubicBezTo>
                    <a:pt x="343249" y="402546"/>
                    <a:pt x="377491" y="388349"/>
                    <a:pt x="410897" y="371646"/>
                  </a:cubicBezTo>
                  <a:cubicBezTo>
                    <a:pt x="411732" y="374986"/>
                    <a:pt x="412568" y="379161"/>
                    <a:pt x="412568" y="38250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18E16AF5-15DE-4CED-B67B-CF099D4DD885}"/>
                </a:ext>
              </a:extLst>
            </p:cNvPr>
            <p:cNvSpPr/>
            <p:nvPr/>
          </p:nvSpPr>
          <p:spPr>
            <a:xfrm rot="8716295">
              <a:off x="2147054" y="2332037"/>
              <a:ext cx="207668" cy="192886"/>
            </a:xfrm>
            <a:custGeom>
              <a:avLst/>
              <a:gdLst>
                <a:gd name="connsiteX0" fmla="*/ 0 w 207668"/>
                <a:gd name="connsiteY0" fmla="*/ 192886 h 192886"/>
                <a:gd name="connsiteX1" fmla="*/ 159539 w 207668"/>
                <a:gd name="connsiteY1" fmla="*/ 0 h 192886"/>
                <a:gd name="connsiteX2" fmla="*/ 181588 w 207668"/>
                <a:gd name="connsiteY2" fmla="*/ 5201 h 192886"/>
                <a:gd name="connsiteX3" fmla="*/ 207668 w 207668"/>
                <a:gd name="connsiteY3" fmla="*/ 59649 h 192886"/>
                <a:gd name="connsiteX4" fmla="*/ 160490 w 207668"/>
                <a:gd name="connsiteY4" fmla="*/ 123096 h 192886"/>
                <a:gd name="connsiteX5" fmla="*/ 161303 w 207668"/>
                <a:gd name="connsiteY5" fmla="*/ 123096 h 192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668" h="192886">
                  <a:moveTo>
                    <a:pt x="0" y="192886"/>
                  </a:moveTo>
                  <a:lnTo>
                    <a:pt x="159539" y="0"/>
                  </a:lnTo>
                  <a:lnTo>
                    <a:pt x="181588" y="5201"/>
                  </a:lnTo>
                  <a:cubicBezTo>
                    <a:pt x="201262" y="16029"/>
                    <a:pt x="207668" y="40127"/>
                    <a:pt x="207668" y="59649"/>
                  </a:cubicBezTo>
                  <a:cubicBezTo>
                    <a:pt x="205228" y="88119"/>
                    <a:pt x="186518" y="111708"/>
                    <a:pt x="160490" y="123096"/>
                  </a:cubicBezTo>
                  <a:lnTo>
                    <a:pt x="161303" y="1230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EE7EA580-766E-4570-A7DD-55A7181E9140}"/>
                </a:ext>
              </a:extLst>
            </p:cNvPr>
            <p:cNvSpPr/>
            <p:nvPr/>
          </p:nvSpPr>
          <p:spPr>
            <a:xfrm rot="8716295">
              <a:off x="2049197" y="208909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89C54D82-6DB7-45E9-8646-AF058AAE6AFE}"/>
                </a:ext>
              </a:extLst>
            </p:cNvPr>
            <p:cNvSpPr/>
            <p:nvPr/>
          </p:nvSpPr>
          <p:spPr>
            <a:xfrm rot="8716295">
              <a:off x="1681033" y="21348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350EA871-183D-437B-B28B-EF893E9A4930}"/>
                </a:ext>
              </a:extLst>
            </p:cNvPr>
            <p:cNvSpPr/>
            <p:nvPr/>
          </p:nvSpPr>
          <p:spPr>
            <a:xfrm rot="8716295">
              <a:off x="1949615" y="189381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7625BF35-EB3E-4083-8310-66A6ABEEBE81}"/>
                </a:ext>
              </a:extLst>
            </p:cNvPr>
            <p:cNvSpPr/>
            <p:nvPr/>
          </p:nvSpPr>
          <p:spPr>
            <a:xfrm rot="8716295">
              <a:off x="787294" y="148117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4A278F8F-FAFA-4D7A-877C-29D91BF541D4}"/>
                </a:ext>
              </a:extLst>
            </p:cNvPr>
            <p:cNvSpPr/>
            <p:nvPr/>
          </p:nvSpPr>
          <p:spPr>
            <a:xfrm rot="8716295">
              <a:off x="922592" y="152543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DB2610A3-31CF-45EF-B184-4657FD23CA44}"/>
                </a:ext>
              </a:extLst>
            </p:cNvPr>
            <p:cNvSpPr/>
            <p:nvPr/>
          </p:nvSpPr>
          <p:spPr>
            <a:xfrm rot="8716295">
              <a:off x="854710" y="1394843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2721DD24-E32D-474A-8AE8-CB1F5FEA63CC}"/>
                </a:ext>
              </a:extLst>
            </p:cNvPr>
            <p:cNvSpPr/>
            <p:nvPr/>
          </p:nvSpPr>
          <p:spPr>
            <a:xfrm rot="8716295">
              <a:off x="617423" y="161518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271ACC1B-5BC1-4C90-8744-187E477874EA}"/>
                </a:ext>
              </a:extLst>
            </p:cNvPr>
            <p:cNvSpPr/>
            <p:nvPr/>
          </p:nvSpPr>
          <p:spPr>
            <a:xfrm rot="8716295">
              <a:off x="428376" y="129935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09A9FE1D-6CB8-4187-8C52-59F1BA866B08}"/>
                </a:ext>
              </a:extLst>
            </p:cNvPr>
            <p:cNvSpPr/>
            <p:nvPr/>
          </p:nvSpPr>
          <p:spPr>
            <a:xfrm rot="8716295">
              <a:off x="410135" y="1089302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orme libre : forme 58">
              <a:extLst>
                <a:ext uri="{FF2B5EF4-FFF2-40B4-BE49-F238E27FC236}">
                  <a16:creationId xmlns:a16="http://schemas.microsoft.com/office/drawing/2014/main" id="{536CBB26-493E-4AF3-B817-10984C95D957}"/>
                </a:ext>
              </a:extLst>
            </p:cNvPr>
            <p:cNvSpPr/>
            <p:nvPr/>
          </p:nvSpPr>
          <p:spPr>
            <a:xfrm rot="8716295">
              <a:off x="753911" y="1677170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orme libre : forme 59">
              <a:extLst>
                <a:ext uri="{FF2B5EF4-FFF2-40B4-BE49-F238E27FC236}">
                  <a16:creationId xmlns:a16="http://schemas.microsoft.com/office/drawing/2014/main" id="{945CA62F-9E79-459F-9A9E-98D352B7F4FC}"/>
                </a:ext>
              </a:extLst>
            </p:cNvPr>
            <p:cNvSpPr/>
            <p:nvPr/>
          </p:nvSpPr>
          <p:spPr>
            <a:xfrm rot="8716295">
              <a:off x="1224858" y="1102556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orme libre : forme 60">
              <a:extLst>
                <a:ext uri="{FF2B5EF4-FFF2-40B4-BE49-F238E27FC236}">
                  <a16:creationId xmlns:a16="http://schemas.microsoft.com/office/drawing/2014/main" id="{369C3DB8-F103-4448-B156-2B184240310A}"/>
                </a:ext>
              </a:extLst>
            </p:cNvPr>
            <p:cNvSpPr/>
            <p:nvPr/>
          </p:nvSpPr>
          <p:spPr>
            <a:xfrm rot="8716295">
              <a:off x="1360156" y="1146815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orme libre : forme 61">
              <a:extLst>
                <a:ext uri="{FF2B5EF4-FFF2-40B4-BE49-F238E27FC236}">
                  <a16:creationId xmlns:a16="http://schemas.microsoft.com/office/drawing/2014/main" id="{18E1EF68-3C34-4AED-A042-F974F305FFA4}"/>
                </a:ext>
              </a:extLst>
            </p:cNvPr>
            <p:cNvSpPr/>
            <p:nvPr/>
          </p:nvSpPr>
          <p:spPr>
            <a:xfrm rot="8716295">
              <a:off x="1054986" y="123657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orme libre : forme 62">
              <a:extLst>
                <a:ext uri="{FF2B5EF4-FFF2-40B4-BE49-F238E27FC236}">
                  <a16:creationId xmlns:a16="http://schemas.microsoft.com/office/drawing/2014/main" id="{E6940BAB-7063-447D-9788-7A9EFB3FD540}"/>
                </a:ext>
              </a:extLst>
            </p:cNvPr>
            <p:cNvSpPr/>
            <p:nvPr/>
          </p:nvSpPr>
          <p:spPr>
            <a:xfrm rot="8716295">
              <a:off x="865942" y="92073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orme libre : forme 63">
              <a:extLst>
                <a:ext uri="{FF2B5EF4-FFF2-40B4-BE49-F238E27FC236}">
                  <a16:creationId xmlns:a16="http://schemas.microsoft.com/office/drawing/2014/main" id="{ACE5BF6F-DB4B-42E3-B1BA-145CDB9C3DF9}"/>
                </a:ext>
              </a:extLst>
            </p:cNvPr>
            <p:cNvSpPr/>
            <p:nvPr/>
          </p:nvSpPr>
          <p:spPr>
            <a:xfrm rot="8716295">
              <a:off x="1191475" y="1298554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orme libre : forme 64">
              <a:extLst>
                <a:ext uri="{FF2B5EF4-FFF2-40B4-BE49-F238E27FC236}">
                  <a16:creationId xmlns:a16="http://schemas.microsoft.com/office/drawing/2014/main" id="{652E743A-00B8-433E-B55D-34BA48EAC5CE}"/>
                </a:ext>
              </a:extLst>
            </p:cNvPr>
            <p:cNvSpPr/>
            <p:nvPr/>
          </p:nvSpPr>
          <p:spPr>
            <a:xfrm rot="8716295">
              <a:off x="826028" y="1072128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orme libre : forme 65">
              <a:extLst>
                <a:ext uri="{FF2B5EF4-FFF2-40B4-BE49-F238E27FC236}">
                  <a16:creationId xmlns:a16="http://schemas.microsoft.com/office/drawing/2014/main" id="{BACD1396-4989-4CCD-AB4F-6277B1FA025D}"/>
                </a:ext>
              </a:extLst>
            </p:cNvPr>
            <p:cNvSpPr/>
            <p:nvPr/>
          </p:nvSpPr>
          <p:spPr>
            <a:xfrm rot="7484129">
              <a:off x="1350292" y="158817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orme libre : forme 66">
              <a:extLst>
                <a:ext uri="{FF2B5EF4-FFF2-40B4-BE49-F238E27FC236}">
                  <a16:creationId xmlns:a16="http://schemas.microsoft.com/office/drawing/2014/main" id="{F1575DA2-DE7C-4BAF-AFB3-D8ACAD3FE8BB}"/>
                </a:ext>
              </a:extLst>
            </p:cNvPr>
            <p:cNvSpPr/>
            <p:nvPr/>
          </p:nvSpPr>
          <p:spPr>
            <a:xfrm rot="13089394">
              <a:off x="1508942" y="1537520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3D5C7C03-0DD7-4CE0-B323-2DBC8A33D724}"/>
                </a:ext>
              </a:extLst>
            </p:cNvPr>
            <p:cNvSpPr/>
            <p:nvPr/>
          </p:nvSpPr>
          <p:spPr>
            <a:xfrm rot="8716295">
              <a:off x="1789833" y="1247402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orme libre : forme 68">
              <a:extLst>
                <a:ext uri="{FF2B5EF4-FFF2-40B4-BE49-F238E27FC236}">
                  <a16:creationId xmlns:a16="http://schemas.microsoft.com/office/drawing/2014/main" id="{2A0940B5-3257-4C64-A206-488AFE286994}"/>
                </a:ext>
              </a:extLst>
            </p:cNvPr>
            <p:cNvSpPr/>
            <p:nvPr/>
          </p:nvSpPr>
          <p:spPr>
            <a:xfrm rot="8716295">
              <a:off x="1711424" y="109061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orme libre : forme 69">
              <a:extLst>
                <a:ext uri="{FF2B5EF4-FFF2-40B4-BE49-F238E27FC236}">
                  <a16:creationId xmlns:a16="http://schemas.microsoft.com/office/drawing/2014/main" id="{3166A607-68F9-4F3F-A5ED-4FA937BEECD1}"/>
                </a:ext>
              </a:extLst>
            </p:cNvPr>
            <p:cNvSpPr/>
            <p:nvPr/>
          </p:nvSpPr>
          <p:spPr>
            <a:xfrm rot="8716295">
              <a:off x="1343261" y="113635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orme libre : forme 70">
              <a:extLst>
                <a:ext uri="{FF2B5EF4-FFF2-40B4-BE49-F238E27FC236}">
                  <a16:creationId xmlns:a16="http://schemas.microsoft.com/office/drawing/2014/main" id="{E3E45D07-7F2E-45AC-8607-5306F45B7B5E}"/>
                </a:ext>
              </a:extLst>
            </p:cNvPr>
            <p:cNvSpPr/>
            <p:nvPr/>
          </p:nvSpPr>
          <p:spPr>
            <a:xfrm rot="8716295">
              <a:off x="1611842" y="89533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orme libre : forme 71">
              <a:extLst>
                <a:ext uri="{FF2B5EF4-FFF2-40B4-BE49-F238E27FC236}">
                  <a16:creationId xmlns:a16="http://schemas.microsoft.com/office/drawing/2014/main" id="{F61F2692-40B7-4A40-AE32-B2180297905C}"/>
                </a:ext>
              </a:extLst>
            </p:cNvPr>
            <p:cNvSpPr/>
            <p:nvPr/>
          </p:nvSpPr>
          <p:spPr>
            <a:xfrm rot="8716295">
              <a:off x="455920" y="47911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orme libre : forme 72">
              <a:extLst>
                <a:ext uri="{FF2B5EF4-FFF2-40B4-BE49-F238E27FC236}">
                  <a16:creationId xmlns:a16="http://schemas.microsoft.com/office/drawing/2014/main" id="{8D510AFD-E0B6-4C04-A231-06F0DA5461FE}"/>
                </a:ext>
              </a:extLst>
            </p:cNvPr>
            <p:cNvSpPr/>
            <p:nvPr/>
          </p:nvSpPr>
          <p:spPr>
            <a:xfrm rot="8716295">
              <a:off x="591219" y="52337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" name="Forme libre : forme 73">
              <a:extLst>
                <a:ext uri="{FF2B5EF4-FFF2-40B4-BE49-F238E27FC236}">
                  <a16:creationId xmlns:a16="http://schemas.microsoft.com/office/drawing/2014/main" id="{6B88DB4B-6413-485F-AD39-EF4AC1850A75}"/>
                </a:ext>
              </a:extLst>
            </p:cNvPr>
            <p:cNvSpPr/>
            <p:nvPr/>
          </p:nvSpPr>
          <p:spPr>
            <a:xfrm rot="8716295">
              <a:off x="523336" y="39278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" name="Forme libre : forme 74">
              <a:extLst>
                <a:ext uri="{FF2B5EF4-FFF2-40B4-BE49-F238E27FC236}">
                  <a16:creationId xmlns:a16="http://schemas.microsoft.com/office/drawing/2014/main" id="{985A4035-A707-4F38-A0C9-2533BF637BC9}"/>
                </a:ext>
              </a:extLst>
            </p:cNvPr>
            <p:cNvSpPr/>
            <p:nvPr/>
          </p:nvSpPr>
          <p:spPr>
            <a:xfrm rot="8716295">
              <a:off x="286049" y="6131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" name="Forme libre : forme 75">
              <a:extLst>
                <a:ext uri="{FF2B5EF4-FFF2-40B4-BE49-F238E27FC236}">
                  <a16:creationId xmlns:a16="http://schemas.microsoft.com/office/drawing/2014/main" id="{F8A46B91-F44C-4F7E-94A8-64349465DA46}"/>
                </a:ext>
              </a:extLst>
            </p:cNvPr>
            <p:cNvSpPr/>
            <p:nvPr/>
          </p:nvSpPr>
          <p:spPr>
            <a:xfrm rot="8716295">
              <a:off x="97003" y="2972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" name="Forme libre : forme 76">
              <a:extLst>
                <a:ext uri="{FF2B5EF4-FFF2-40B4-BE49-F238E27FC236}">
                  <a16:creationId xmlns:a16="http://schemas.microsoft.com/office/drawing/2014/main" id="{D98B2AD3-F200-4E21-B245-12CF6B31E044}"/>
                </a:ext>
              </a:extLst>
            </p:cNvPr>
            <p:cNvSpPr/>
            <p:nvPr/>
          </p:nvSpPr>
          <p:spPr>
            <a:xfrm rot="8716295">
              <a:off x="78761" y="87249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" name="Forme libre : forme 77">
              <a:extLst>
                <a:ext uri="{FF2B5EF4-FFF2-40B4-BE49-F238E27FC236}">
                  <a16:creationId xmlns:a16="http://schemas.microsoft.com/office/drawing/2014/main" id="{31F62124-299F-4960-8825-F200F77E89B1}"/>
                </a:ext>
              </a:extLst>
            </p:cNvPr>
            <p:cNvSpPr/>
            <p:nvPr/>
          </p:nvSpPr>
          <p:spPr>
            <a:xfrm rot="8716295">
              <a:off x="422537" y="67511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orme libre : forme 78">
              <a:extLst>
                <a:ext uri="{FF2B5EF4-FFF2-40B4-BE49-F238E27FC236}">
                  <a16:creationId xmlns:a16="http://schemas.microsoft.com/office/drawing/2014/main" id="{EE39F313-B670-444A-981C-E127C24D857F}"/>
                </a:ext>
              </a:extLst>
            </p:cNvPr>
            <p:cNvSpPr/>
            <p:nvPr/>
          </p:nvSpPr>
          <p:spPr>
            <a:xfrm rot="8716295">
              <a:off x="893484" y="10050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Forme libre : forme 79">
              <a:extLst>
                <a:ext uri="{FF2B5EF4-FFF2-40B4-BE49-F238E27FC236}">
                  <a16:creationId xmlns:a16="http://schemas.microsoft.com/office/drawing/2014/main" id="{9BFFA7AA-3FAD-4A4D-BF99-76B00FB2C288}"/>
                </a:ext>
              </a:extLst>
            </p:cNvPr>
            <p:cNvSpPr/>
            <p:nvPr/>
          </p:nvSpPr>
          <p:spPr>
            <a:xfrm rot="8716295">
              <a:off x="1028783" y="14476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" name="Forme libre : forme 80">
              <a:extLst>
                <a:ext uri="{FF2B5EF4-FFF2-40B4-BE49-F238E27FC236}">
                  <a16:creationId xmlns:a16="http://schemas.microsoft.com/office/drawing/2014/main" id="{1433DBAF-4AFA-4A86-A99F-428DB317C17F}"/>
                </a:ext>
              </a:extLst>
            </p:cNvPr>
            <p:cNvSpPr/>
            <p:nvPr/>
          </p:nvSpPr>
          <p:spPr>
            <a:xfrm rot="8716295">
              <a:off x="723613" y="23451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orme libre : forme 81">
              <a:extLst>
                <a:ext uri="{FF2B5EF4-FFF2-40B4-BE49-F238E27FC236}">
                  <a16:creationId xmlns:a16="http://schemas.microsoft.com/office/drawing/2014/main" id="{AF029D07-5D40-4341-9548-A67032BB1C77}"/>
                </a:ext>
              </a:extLst>
            </p:cNvPr>
            <p:cNvSpPr/>
            <p:nvPr/>
          </p:nvSpPr>
          <p:spPr>
            <a:xfrm rot="8716295">
              <a:off x="547803" y="-17289"/>
              <a:ext cx="308531" cy="226033"/>
            </a:xfrm>
            <a:custGeom>
              <a:avLst/>
              <a:gdLst>
                <a:gd name="connsiteX0" fmla="*/ 106716 w 203847"/>
                <a:gd name="connsiteY0" fmla="*/ 149340 h 149340"/>
                <a:gd name="connsiteX1" fmla="*/ 50038 w 203847"/>
                <a:gd name="connsiteY1" fmla="*/ 110053 h 149340"/>
                <a:gd name="connsiteX2" fmla="*/ 69777 w 203847"/>
                <a:gd name="connsiteY2" fmla="*/ 55323 h 149340"/>
                <a:gd name="connsiteX3" fmla="*/ 0 w 203847"/>
                <a:gd name="connsiteY3" fmla="*/ 55323 h 149340"/>
                <a:gd name="connsiteX4" fmla="*/ 0 w 203847"/>
                <a:gd name="connsiteY4" fmla="*/ 0 h 149340"/>
                <a:gd name="connsiteX5" fmla="*/ 203847 w 203847"/>
                <a:gd name="connsiteY5" fmla="*/ 0 h 149340"/>
                <a:gd name="connsiteX6" fmla="*/ 203847 w 203847"/>
                <a:gd name="connsiteY6" fmla="*/ 55323 h 149340"/>
                <a:gd name="connsiteX7" fmla="*/ 139055 w 203847"/>
                <a:gd name="connsiteY7" fmla="*/ 55323 h 14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49340">
                  <a:moveTo>
                    <a:pt x="106716" y="149340"/>
                  </a:moveTo>
                  <a:lnTo>
                    <a:pt x="50038" y="110053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Forme libre : forme 82">
              <a:extLst>
                <a:ext uri="{FF2B5EF4-FFF2-40B4-BE49-F238E27FC236}">
                  <a16:creationId xmlns:a16="http://schemas.microsoft.com/office/drawing/2014/main" id="{2932702E-E8E3-46BA-A87E-0ED0BC303BF9}"/>
                </a:ext>
              </a:extLst>
            </p:cNvPr>
            <p:cNvSpPr/>
            <p:nvPr/>
          </p:nvSpPr>
          <p:spPr>
            <a:xfrm rot="8716295">
              <a:off x="860101" y="29650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4" name="Forme libre : forme 83">
              <a:extLst>
                <a:ext uri="{FF2B5EF4-FFF2-40B4-BE49-F238E27FC236}">
                  <a16:creationId xmlns:a16="http://schemas.microsoft.com/office/drawing/2014/main" id="{69A563A2-99F0-4626-A5AF-E9AD22DC8484}"/>
                </a:ext>
              </a:extLst>
            </p:cNvPr>
            <p:cNvSpPr/>
            <p:nvPr/>
          </p:nvSpPr>
          <p:spPr>
            <a:xfrm rot="8716295">
              <a:off x="494655" y="7007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5" name="Forme libre : forme 84">
              <a:extLst>
                <a:ext uri="{FF2B5EF4-FFF2-40B4-BE49-F238E27FC236}">
                  <a16:creationId xmlns:a16="http://schemas.microsoft.com/office/drawing/2014/main" id="{B18A375D-EEA2-4D9B-96D1-D4924AE08EC7}"/>
                </a:ext>
              </a:extLst>
            </p:cNvPr>
            <p:cNvSpPr/>
            <p:nvPr/>
          </p:nvSpPr>
          <p:spPr>
            <a:xfrm rot="7484129">
              <a:off x="1018919" y="58611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6" name="Forme libre : forme 85">
              <a:extLst>
                <a:ext uri="{FF2B5EF4-FFF2-40B4-BE49-F238E27FC236}">
                  <a16:creationId xmlns:a16="http://schemas.microsoft.com/office/drawing/2014/main" id="{7717CD41-705F-4F28-B88E-73D27DF645C8}"/>
                </a:ext>
              </a:extLst>
            </p:cNvPr>
            <p:cNvSpPr/>
            <p:nvPr/>
          </p:nvSpPr>
          <p:spPr>
            <a:xfrm rot="13089394">
              <a:off x="1177568" y="53546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7" name="Forme libre : forme 86">
              <a:extLst>
                <a:ext uri="{FF2B5EF4-FFF2-40B4-BE49-F238E27FC236}">
                  <a16:creationId xmlns:a16="http://schemas.microsoft.com/office/drawing/2014/main" id="{285D68BE-9E3D-4F4C-AC96-578345571AC5}"/>
                </a:ext>
              </a:extLst>
            </p:cNvPr>
            <p:cNvSpPr/>
            <p:nvPr/>
          </p:nvSpPr>
          <p:spPr>
            <a:xfrm rot="8716295">
              <a:off x="1458459" y="24534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8" name="Forme libre : forme 87">
              <a:extLst>
                <a:ext uri="{FF2B5EF4-FFF2-40B4-BE49-F238E27FC236}">
                  <a16:creationId xmlns:a16="http://schemas.microsoft.com/office/drawing/2014/main" id="{83EDC7AF-2352-4CD0-B767-0567B99FAECC}"/>
                </a:ext>
              </a:extLst>
            </p:cNvPr>
            <p:cNvSpPr/>
            <p:nvPr/>
          </p:nvSpPr>
          <p:spPr>
            <a:xfrm rot="8716295">
              <a:off x="1380050" y="8855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9" name="Forme libre : forme 88">
              <a:extLst>
                <a:ext uri="{FF2B5EF4-FFF2-40B4-BE49-F238E27FC236}">
                  <a16:creationId xmlns:a16="http://schemas.microsoft.com/office/drawing/2014/main" id="{E853F8BE-90D5-4EB8-BCC9-E92102CA6DFE}"/>
                </a:ext>
              </a:extLst>
            </p:cNvPr>
            <p:cNvSpPr/>
            <p:nvPr/>
          </p:nvSpPr>
          <p:spPr>
            <a:xfrm rot="8716295">
              <a:off x="1011887" y="13429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" name="Forme libre : forme 89">
              <a:extLst>
                <a:ext uri="{FF2B5EF4-FFF2-40B4-BE49-F238E27FC236}">
                  <a16:creationId xmlns:a16="http://schemas.microsoft.com/office/drawing/2014/main" id="{42758375-22F2-40F5-8D40-436514F398B4}"/>
                </a:ext>
              </a:extLst>
            </p:cNvPr>
            <p:cNvSpPr/>
            <p:nvPr/>
          </p:nvSpPr>
          <p:spPr>
            <a:xfrm rot="8716295">
              <a:off x="1291652" y="-36449"/>
              <a:ext cx="134197" cy="106947"/>
            </a:xfrm>
            <a:custGeom>
              <a:avLst/>
              <a:gdLst>
                <a:gd name="connsiteX0" fmla="*/ 83649 w 88664"/>
                <a:gd name="connsiteY0" fmla="*/ 70660 h 70660"/>
                <a:gd name="connsiteX1" fmla="*/ 0 w 88664"/>
                <a:gd name="connsiteY1" fmla="*/ 12677 h 70660"/>
                <a:gd name="connsiteX2" fmla="*/ 30024 w 88664"/>
                <a:gd name="connsiteY2" fmla="*/ 0 h 70660"/>
                <a:gd name="connsiteX3" fmla="*/ 71417 w 88664"/>
                <a:gd name="connsiteY3" fmla="*/ 17477 h 70660"/>
                <a:gd name="connsiteX4" fmla="*/ 88664 w 88664"/>
                <a:gd name="connsiteY4" fmla="*/ 58525 h 70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664" h="70660">
                  <a:moveTo>
                    <a:pt x="83649" y="70660"/>
                  </a:moveTo>
                  <a:lnTo>
                    <a:pt x="0" y="12677"/>
                  </a:lnTo>
                  <a:lnTo>
                    <a:pt x="30024" y="0"/>
                  </a:lnTo>
                  <a:cubicBezTo>
                    <a:pt x="45662" y="0"/>
                    <a:pt x="60379" y="6439"/>
                    <a:pt x="71417" y="17477"/>
                  </a:cubicBezTo>
                  <a:cubicBezTo>
                    <a:pt x="82915" y="28515"/>
                    <a:pt x="88664" y="43462"/>
                    <a:pt x="88664" y="58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" name="Forme libre : forme 90">
              <a:extLst>
                <a:ext uri="{FF2B5EF4-FFF2-40B4-BE49-F238E27FC236}">
                  <a16:creationId xmlns:a16="http://schemas.microsoft.com/office/drawing/2014/main" id="{39402522-16DA-4E11-927D-0744A887E931}"/>
                </a:ext>
              </a:extLst>
            </p:cNvPr>
            <p:cNvSpPr/>
            <p:nvPr/>
          </p:nvSpPr>
          <p:spPr>
            <a:xfrm rot="13089394">
              <a:off x="990163" y="-39748"/>
              <a:ext cx="111277" cy="115595"/>
            </a:xfrm>
            <a:custGeom>
              <a:avLst/>
              <a:gdLst>
                <a:gd name="connsiteX0" fmla="*/ 73521 w 73521"/>
                <a:gd name="connsiteY0" fmla="*/ 18609 h 76374"/>
                <a:gd name="connsiteX1" fmla="*/ 0 w 73521"/>
                <a:gd name="connsiteY1" fmla="*/ 76374 h 76374"/>
                <a:gd name="connsiteX2" fmla="*/ 0 w 73521"/>
                <a:gd name="connsiteY2" fmla="*/ 38074 h 76374"/>
                <a:gd name="connsiteX3" fmla="*/ 73388 w 73521"/>
                <a:gd name="connsiteY3" fmla="*/ 0 h 7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521" h="76374">
                  <a:moveTo>
                    <a:pt x="73521" y="18609"/>
                  </a:moveTo>
                  <a:lnTo>
                    <a:pt x="0" y="76374"/>
                  </a:lnTo>
                  <a:lnTo>
                    <a:pt x="0" y="38074"/>
                  </a:lnTo>
                  <a:lnTo>
                    <a:pt x="7338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" name="Forme libre : forme 91">
              <a:extLst>
                <a:ext uri="{FF2B5EF4-FFF2-40B4-BE49-F238E27FC236}">
                  <a16:creationId xmlns:a16="http://schemas.microsoft.com/office/drawing/2014/main" id="{BA0CCCD1-A43A-4EDA-9AE2-2B760A750CB8}"/>
                </a:ext>
              </a:extLst>
            </p:cNvPr>
            <p:cNvSpPr/>
            <p:nvPr/>
          </p:nvSpPr>
          <p:spPr>
            <a:xfrm rot="8716295">
              <a:off x="121288" y="414134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" name="Forme libre : forme 92">
              <a:extLst>
                <a:ext uri="{FF2B5EF4-FFF2-40B4-BE49-F238E27FC236}">
                  <a16:creationId xmlns:a16="http://schemas.microsoft.com/office/drawing/2014/main" id="{B00F8218-3F51-4CFB-9D4D-4142207B942F}"/>
                </a:ext>
              </a:extLst>
            </p:cNvPr>
            <p:cNvSpPr/>
            <p:nvPr/>
          </p:nvSpPr>
          <p:spPr>
            <a:xfrm rot="8716295">
              <a:off x="256586" y="418560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" name="Forme libre : forme 93">
              <a:extLst>
                <a:ext uri="{FF2B5EF4-FFF2-40B4-BE49-F238E27FC236}">
                  <a16:creationId xmlns:a16="http://schemas.microsoft.com/office/drawing/2014/main" id="{59A33452-85A5-44B9-85E4-34DB64857691}"/>
                </a:ext>
              </a:extLst>
            </p:cNvPr>
            <p:cNvSpPr/>
            <p:nvPr/>
          </p:nvSpPr>
          <p:spPr>
            <a:xfrm rot="8716295">
              <a:off x="188704" y="405501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orme libre : forme 94">
              <a:extLst>
                <a:ext uri="{FF2B5EF4-FFF2-40B4-BE49-F238E27FC236}">
                  <a16:creationId xmlns:a16="http://schemas.microsoft.com/office/drawing/2014/main" id="{6EB29E53-18CD-42F3-9B37-2ECC6883F84C}"/>
                </a:ext>
              </a:extLst>
            </p:cNvPr>
            <p:cNvSpPr/>
            <p:nvPr/>
          </p:nvSpPr>
          <p:spPr>
            <a:xfrm rot="8716295">
              <a:off x="-22408" y="4278013"/>
              <a:ext cx="57413" cy="71926"/>
            </a:xfrm>
            <a:custGeom>
              <a:avLst/>
              <a:gdLst>
                <a:gd name="connsiteX0" fmla="*/ 11441 w 57413"/>
                <a:gd name="connsiteY0" fmla="*/ 71926 h 71926"/>
                <a:gd name="connsiteX1" fmla="*/ 0 w 57413"/>
                <a:gd name="connsiteY1" fmla="*/ 44829 h 71926"/>
                <a:gd name="connsiteX2" fmla="*/ 0 w 57413"/>
                <a:gd name="connsiteY2" fmla="*/ 44139 h 71926"/>
                <a:gd name="connsiteX3" fmla="*/ 13104 w 57413"/>
                <a:gd name="connsiteY3" fmla="*/ 13104 h 71926"/>
                <a:gd name="connsiteX4" fmla="*/ 44139 w 57413"/>
                <a:gd name="connsiteY4" fmla="*/ 0 h 71926"/>
                <a:gd name="connsiteX5" fmla="*/ 57413 w 57413"/>
                <a:gd name="connsiteY5" fmla="*/ 5605 h 71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413" h="71926">
                  <a:moveTo>
                    <a:pt x="11441" y="71926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lnTo>
                    <a:pt x="57413" y="5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Forme libre : forme 95">
              <a:extLst>
                <a:ext uri="{FF2B5EF4-FFF2-40B4-BE49-F238E27FC236}">
                  <a16:creationId xmlns:a16="http://schemas.microsoft.com/office/drawing/2014/main" id="{5DEA4AC8-B4A8-4210-932F-E61308CFB12D}"/>
                </a:ext>
              </a:extLst>
            </p:cNvPr>
            <p:cNvSpPr/>
            <p:nvPr/>
          </p:nvSpPr>
          <p:spPr>
            <a:xfrm rot="8716295">
              <a:off x="-36969" y="4107248"/>
              <a:ext cx="147272" cy="83734"/>
            </a:xfrm>
            <a:custGeom>
              <a:avLst/>
              <a:gdLst>
                <a:gd name="connsiteX0" fmla="*/ 0 w 147272"/>
                <a:gd name="connsiteY0" fmla="*/ 83734 h 83734"/>
                <a:gd name="connsiteX1" fmla="*/ 0 w 147272"/>
                <a:gd name="connsiteY1" fmla="*/ 0 h 83734"/>
                <a:gd name="connsiteX2" fmla="*/ 147272 w 147272"/>
                <a:gd name="connsiteY2" fmla="*/ 0 h 83734"/>
                <a:gd name="connsiteX3" fmla="*/ 89230 w 147272"/>
                <a:gd name="connsiteY3" fmla="*/ 83734 h 83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272" h="83734">
                  <a:moveTo>
                    <a:pt x="0" y="83734"/>
                  </a:moveTo>
                  <a:lnTo>
                    <a:pt x="0" y="0"/>
                  </a:lnTo>
                  <a:lnTo>
                    <a:pt x="147272" y="0"/>
                  </a:lnTo>
                  <a:lnTo>
                    <a:pt x="89230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" name="Forme libre : forme 96">
              <a:extLst>
                <a:ext uri="{FF2B5EF4-FFF2-40B4-BE49-F238E27FC236}">
                  <a16:creationId xmlns:a16="http://schemas.microsoft.com/office/drawing/2014/main" id="{B218914A-7EA1-40E4-B44A-2A3DBC972AF7}"/>
                </a:ext>
              </a:extLst>
            </p:cNvPr>
            <p:cNvSpPr/>
            <p:nvPr/>
          </p:nvSpPr>
          <p:spPr>
            <a:xfrm rot="8716295">
              <a:off x="43378" y="3712531"/>
              <a:ext cx="125537" cy="468763"/>
            </a:xfrm>
            <a:custGeom>
              <a:avLst/>
              <a:gdLst>
                <a:gd name="connsiteX0" fmla="*/ 29455 w 125537"/>
                <a:gd name="connsiteY0" fmla="*/ 468763 h 468763"/>
                <a:gd name="connsiteX1" fmla="*/ 7792 w 125537"/>
                <a:gd name="connsiteY1" fmla="*/ 425988 h 468763"/>
                <a:gd name="connsiteX2" fmla="*/ 0 w 125537"/>
                <a:gd name="connsiteY2" fmla="*/ 333043 h 468763"/>
                <a:gd name="connsiteX3" fmla="*/ 0 w 125537"/>
                <a:gd name="connsiteY3" fmla="*/ 61444 h 468763"/>
                <a:gd name="connsiteX4" fmla="*/ 118434 w 125537"/>
                <a:gd name="connsiteY4" fmla="*/ 0 h 468763"/>
                <a:gd name="connsiteX5" fmla="*/ 120216 w 125537"/>
                <a:gd name="connsiteY5" fmla="*/ 248447 h 468763"/>
                <a:gd name="connsiteX6" fmla="*/ 123889 w 125537"/>
                <a:gd name="connsiteY6" fmla="*/ 323359 h 468763"/>
                <a:gd name="connsiteX7" fmla="*/ 125537 w 125537"/>
                <a:gd name="connsiteY7" fmla="*/ 330150 h 468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537" h="468763">
                  <a:moveTo>
                    <a:pt x="29455" y="468763"/>
                  </a:moveTo>
                  <a:lnTo>
                    <a:pt x="7792" y="425988"/>
                  </a:lnTo>
                  <a:cubicBezTo>
                    <a:pt x="2003" y="400498"/>
                    <a:pt x="0" y="369553"/>
                    <a:pt x="0" y="333043"/>
                  </a:cubicBezTo>
                  <a:lnTo>
                    <a:pt x="0" y="61444"/>
                  </a:lnTo>
                  <a:lnTo>
                    <a:pt x="118434" y="0"/>
                  </a:lnTo>
                  <a:lnTo>
                    <a:pt x="120216" y="248447"/>
                  </a:lnTo>
                  <a:cubicBezTo>
                    <a:pt x="118880" y="273381"/>
                    <a:pt x="120216" y="298537"/>
                    <a:pt x="123889" y="323359"/>
                  </a:cubicBezTo>
                  <a:lnTo>
                    <a:pt x="125537" y="3301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" name="Forme libre : forme 97">
              <a:extLst>
                <a:ext uri="{FF2B5EF4-FFF2-40B4-BE49-F238E27FC236}">
                  <a16:creationId xmlns:a16="http://schemas.microsoft.com/office/drawing/2014/main" id="{B6F2924E-906C-4ED1-BF2D-C834372E14EF}"/>
                </a:ext>
              </a:extLst>
            </p:cNvPr>
            <p:cNvSpPr/>
            <p:nvPr/>
          </p:nvSpPr>
          <p:spPr>
            <a:xfrm rot="8716295">
              <a:off x="87905" y="4337347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" name="Forme libre : forme 98">
              <a:extLst>
                <a:ext uri="{FF2B5EF4-FFF2-40B4-BE49-F238E27FC236}">
                  <a16:creationId xmlns:a16="http://schemas.microsoft.com/office/drawing/2014/main" id="{0D75C9D9-5C3D-47E0-90AD-938F1B8E2F44}"/>
                </a:ext>
              </a:extLst>
            </p:cNvPr>
            <p:cNvSpPr/>
            <p:nvPr/>
          </p:nvSpPr>
          <p:spPr>
            <a:xfrm rot="8716295">
              <a:off x="558851" y="376273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orme libre : forme 99">
              <a:extLst>
                <a:ext uri="{FF2B5EF4-FFF2-40B4-BE49-F238E27FC236}">
                  <a16:creationId xmlns:a16="http://schemas.microsoft.com/office/drawing/2014/main" id="{FB753F16-18A9-4EF7-8A5C-AFE5FF2AAE20}"/>
                </a:ext>
              </a:extLst>
            </p:cNvPr>
            <p:cNvSpPr/>
            <p:nvPr/>
          </p:nvSpPr>
          <p:spPr>
            <a:xfrm rot="8716295">
              <a:off x="694150" y="380699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Forme libre : forme 100">
              <a:extLst>
                <a:ext uri="{FF2B5EF4-FFF2-40B4-BE49-F238E27FC236}">
                  <a16:creationId xmlns:a16="http://schemas.microsoft.com/office/drawing/2014/main" id="{3BF96335-BBEB-4DB5-9C46-1C3097EF0D59}"/>
                </a:ext>
              </a:extLst>
            </p:cNvPr>
            <p:cNvSpPr/>
            <p:nvPr/>
          </p:nvSpPr>
          <p:spPr>
            <a:xfrm rot="8716295">
              <a:off x="388980" y="389674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" name="Forme libre : forme 101">
              <a:extLst>
                <a:ext uri="{FF2B5EF4-FFF2-40B4-BE49-F238E27FC236}">
                  <a16:creationId xmlns:a16="http://schemas.microsoft.com/office/drawing/2014/main" id="{5E31C792-E11F-4ADA-B2CB-57C48077CBA4}"/>
                </a:ext>
              </a:extLst>
            </p:cNvPr>
            <p:cNvSpPr/>
            <p:nvPr/>
          </p:nvSpPr>
          <p:spPr>
            <a:xfrm rot="8716295">
              <a:off x="199936" y="358091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" name="Forme libre : forme 102">
              <a:extLst>
                <a:ext uri="{FF2B5EF4-FFF2-40B4-BE49-F238E27FC236}">
                  <a16:creationId xmlns:a16="http://schemas.microsoft.com/office/drawing/2014/main" id="{94FED6A4-8569-4EA9-A306-CB876E36FB03}"/>
                </a:ext>
              </a:extLst>
            </p:cNvPr>
            <p:cNvSpPr/>
            <p:nvPr/>
          </p:nvSpPr>
          <p:spPr>
            <a:xfrm rot="8716295">
              <a:off x="525469" y="3958731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" name="Forme libre : forme 103">
              <a:extLst>
                <a:ext uri="{FF2B5EF4-FFF2-40B4-BE49-F238E27FC236}">
                  <a16:creationId xmlns:a16="http://schemas.microsoft.com/office/drawing/2014/main" id="{980A1AA3-B52B-4C80-9AC4-D47CC78A5A3B}"/>
                </a:ext>
              </a:extLst>
            </p:cNvPr>
            <p:cNvSpPr/>
            <p:nvPr/>
          </p:nvSpPr>
          <p:spPr>
            <a:xfrm rot="8716295">
              <a:off x="160022" y="3732305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" name="Forme libre : forme 104">
              <a:extLst>
                <a:ext uri="{FF2B5EF4-FFF2-40B4-BE49-F238E27FC236}">
                  <a16:creationId xmlns:a16="http://schemas.microsoft.com/office/drawing/2014/main" id="{C66003E5-2553-46E6-8D65-9CD33FAF8398}"/>
                </a:ext>
              </a:extLst>
            </p:cNvPr>
            <p:cNvSpPr/>
            <p:nvPr/>
          </p:nvSpPr>
          <p:spPr>
            <a:xfrm rot="7484129">
              <a:off x="684286" y="424834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" name="Forme libre : forme 105">
              <a:extLst>
                <a:ext uri="{FF2B5EF4-FFF2-40B4-BE49-F238E27FC236}">
                  <a16:creationId xmlns:a16="http://schemas.microsoft.com/office/drawing/2014/main" id="{A5156F8D-1CAA-4650-BC6D-5AD5CAA0A30F}"/>
                </a:ext>
              </a:extLst>
            </p:cNvPr>
            <p:cNvSpPr/>
            <p:nvPr/>
          </p:nvSpPr>
          <p:spPr>
            <a:xfrm rot="13089394">
              <a:off x="842936" y="4197697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" name="Forme libre : forme 106">
              <a:extLst>
                <a:ext uri="{FF2B5EF4-FFF2-40B4-BE49-F238E27FC236}">
                  <a16:creationId xmlns:a16="http://schemas.microsoft.com/office/drawing/2014/main" id="{7A0FA012-A668-45E7-9A04-80DC4066A5EA}"/>
                </a:ext>
              </a:extLst>
            </p:cNvPr>
            <p:cNvSpPr/>
            <p:nvPr/>
          </p:nvSpPr>
          <p:spPr>
            <a:xfrm rot="8716295">
              <a:off x="1123827" y="390757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" name="Forme libre : forme 107">
              <a:extLst>
                <a:ext uri="{FF2B5EF4-FFF2-40B4-BE49-F238E27FC236}">
                  <a16:creationId xmlns:a16="http://schemas.microsoft.com/office/drawing/2014/main" id="{DE4CA035-6173-48AD-BD1D-D7ED5F77A322}"/>
                </a:ext>
              </a:extLst>
            </p:cNvPr>
            <p:cNvSpPr/>
            <p:nvPr/>
          </p:nvSpPr>
          <p:spPr>
            <a:xfrm rot="8716295">
              <a:off x="1045418" y="375078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" name="Forme libre : forme 108">
              <a:extLst>
                <a:ext uri="{FF2B5EF4-FFF2-40B4-BE49-F238E27FC236}">
                  <a16:creationId xmlns:a16="http://schemas.microsoft.com/office/drawing/2014/main" id="{40E22C8F-9A2F-4D96-8E60-B4FAE9625F7E}"/>
                </a:ext>
              </a:extLst>
            </p:cNvPr>
            <p:cNvSpPr/>
            <p:nvPr/>
          </p:nvSpPr>
          <p:spPr>
            <a:xfrm rot="8716295">
              <a:off x="677254" y="379652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" name="Forme libre : forme 109">
              <a:extLst>
                <a:ext uri="{FF2B5EF4-FFF2-40B4-BE49-F238E27FC236}">
                  <a16:creationId xmlns:a16="http://schemas.microsoft.com/office/drawing/2014/main" id="{0FB9706E-9855-492B-8609-A2F256591A28}"/>
                </a:ext>
              </a:extLst>
            </p:cNvPr>
            <p:cNvSpPr/>
            <p:nvPr/>
          </p:nvSpPr>
          <p:spPr>
            <a:xfrm rot="8716295">
              <a:off x="945836" y="355550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" name="Forme libre : forme 110">
              <a:extLst>
                <a:ext uri="{FF2B5EF4-FFF2-40B4-BE49-F238E27FC236}">
                  <a16:creationId xmlns:a16="http://schemas.microsoft.com/office/drawing/2014/main" id="{ADF55B74-AC60-4155-92FA-4565710C9BFA}"/>
                </a:ext>
              </a:extLst>
            </p:cNvPr>
            <p:cNvSpPr/>
            <p:nvPr/>
          </p:nvSpPr>
          <p:spPr>
            <a:xfrm rot="8716295">
              <a:off x="601570" y="5027951"/>
              <a:ext cx="169680" cy="113030"/>
            </a:xfrm>
            <a:custGeom>
              <a:avLst/>
              <a:gdLst>
                <a:gd name="connsiteX0" fmla="*/ 8965 w 169680"/>
                <a:gd name="connsiteY0" fmla="*/ 113030 h 113030"/>
                <a:gd name="connsiteX1" fmla="*/ 0 w 169680"/>
                <a:gd name="connsiteY1" fmla="*/ 100616 h 113030"/>
                <a:gd name="connsiteX2" fmla="*/ 106933 w 169680"/>
                <a:gd name="connsiteY2" fmla="*/ 0 h 113030"/>
                <a:gd name="connsiteX3" fmla="*/ 169680 w 169680"/>
                <a:gd name="connsiteY3" fmla="*/ 43494 h 113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680" h="113030">
                  <a:moveTo>
                    <a:pt x="8965" y="113030"/>
                  </a:moveTo>
                  <a:lnTo>
                    <a:pt x="0" y="100616"/>
                  </a:lnTo>
                  <a:lnTo>
                    <a:pt x="106933" y="0"/>
                  </a:lnTo>
                  <a:lnTo>
                    <a:pt x="169680" y="434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" name="Forme libre : forme 111">
              <a:extLst>
                <a:ext uri="{FF2B5EF4-FFF2-40B4-BE49-F238E27FC236}">
                  <a16:creationId xmlns:a16="http://schemas.microsoft.com/office/drawing/2014/main" id="{DDFE2301-223D-4F62-87C3-BBD61CFA4AE0}"/>
                </a:ext>
              </a:extLst>
            </p:cNvPr>
            <p:cNvSpPr/>
            <p:nvPr/>
          </p:nvSpPr>
          <p:spPr>
            <a:xfrm rot="8716295">
              <a:off x="197311" y="4925365"/>
              <a:ext cx="194366" cy="296463"/>
            </a:xfrm>
            <a:custGeom>
              <a:avLst/>
              <a:gdLst>
                <a:gd name="connsiteX0" fmla="*/ 137293 w 194366"/>
                <a:gd name="connsiteY0" fmla="*/ 296463 h 296463"/>
                <a:gd name="connsiteX1" fmla="*/ 72418 w 194366"/>
                <a:gd name="connsiteY1" fmla="*/ 175766 h 296463"/>
                <a:gd name="connsiteX2" fmla="*/ 105610 w 194366"/>
                <a:gd name="connsiteY2" fmla="*/ 83734 h 296463"/>
                <a:gd name="connsiteX3" fmla="*/ 0 w 194366"/>
                <a:gd name="connsiteY3" fmla="*/ 83734 h 296463"/>
                <a:gd name="connsiteX4" fmla="*/ 0 w 194366"/>
                <a:gd name="connsiteY4" fmla="*/ 0 h 296463"/>
                <a:gd name="connsiteX5" fmla="*/ 6043 w 194366"/>
                <a:gd name="connsiteY5" fmla="*/ 0 h 296463"/>
                <a:gd name="connsiteX6" fmla="*/ 194366 w 194366"/>
                <a:gd name="connsiteY6" fmla="*/ 130539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4366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6043" y="0"/>
                  </a:lnTo>
                  <a:lnTo>
                    <a:pt x="194366" y="1305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" name="Forme libre : forme 112">
              <a:extLst>
                <a:ext uri="{FF2B5EF4-FFF2-40B4-BE49-F238E27FC236}">
                  <a16:creationId xmlns:a16="http://schemas.microsoft.com/office/drawing/2014/main" id="{3377FDF7-2BED-4403-9821-41A8059D732F}"/>
                </a:ext>
              </a:extLst>
            </p:cNvPr>
            <p:cNvSpPr/>
            <p:nvPr/>
          </p:nvSpPr>
          <p:spPr>
            <a:xfrm rot="8716295">
              <a:off x="73168" y="4745087"/>
              <a:ext cx="439901" cy="517329"/>
            </a:xfrm>
            <a:custGeom>
              <a:avLst/>
              <a:gdLst>
                <a:gd name="connsiteX0" fmla="*/ 38290 w 439901"/>
                <a:gd name="connsiteY0" fmla="*/ 472541 h 517329"/>
                <a:gd name="connsiteX1" fmla="*/ 0 w 439901"/>
                <a:gd name="connsiteY1" fmla="*/ 319377 h 517329"/>
                <a:gd name="connsiteX2" fmla="*/ 0 w 439901"/>
                <a:gd name="connsiteY2" fmla="*/ 47778 h 517329"/>
                <a:gd name="connsiteX3" fmla="*/ 92094 w 439901"/>
                <a:gd name="connsiteY3" fmla="*/ 0 h 517329"/>
                <a:gd name="connsiteX4" fmla="*/ 118664 w 439901"/>
                <a:gd name="connsiteY4" fmla="*/ 18418 h 517329"/>
                <a:gd name="connsiteX5" fmla="*/ 120216 w 439901"/>
                <a:gd name="connsiteY5" fmla="*/ 234781 h 517329"/>
                <a:gd name="connsiteX6" fmla="*/ 141587 w 439901"/>
                <a:gd name="connsiteY6" fmla="*/ 382603 h 517329"/>
                <a:gd name="connsiteX7" fmla="*/ 248446 w 439901"/>
                <a:gd name="connsiteY7" fmla="*/ 441375 h 517329"/>
                <a:gd name="connsiteX8" fmla="*/ 328589 w 439901"/>
                <a:gd name="connsiteY8" fmla="*/ 427127 h 517329"/>
                <a:gd name="connsiteX9" fmla="*/ 438120 w 439901"/>
                <a:gd name="connsiteY9" fmla="*/ 382603 h 517329"/>
                <a:gd name="connsiteX10" fmla="*/ 439901 w 439901"/>
                <a:gd name="connsiteY10" fmla="*/ 394178 h 517329"/>
                <a:gd name="connsiteX11" fmla="*/ 439901 w 439901"/>
                <a:gd name="connsiteY11" fmla="*/ 403083 h 517329"/>
                <a:gd name="connsiteX12" fmla="*/ 147821 w 439901"/>
                <a:gd name="connsiteY12" fmla="*/ 517066 h 517329"/>
                <a:gd name="connsiteX13" fmla="*/ 38290 w 439901"/>
                <a:gd name="connsiteY13" fmla="*/ 472541 h 517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9901" h="517329">
                  <a:moveTo>
                    <a:pt x="38290" y="472541"/>
                  </a:moveTo>
                  <a:cubicBezTo>
                    <a:pt x="8014" y="443156"/>
                    <a:pt x="0" y="392397"/>
                    <a:pt x="0" y="319377"/>
                  </a:cubicBezTo>
                  <a:lnTo>
                    <a:pt x="0" y="47778"/>
                  </a:lnTo>
                  <a:lnTo>
                    <a:pt x="92094" y="0"/>
                  </a:lnTo>
                  <a:lnTo>
                    <a:pt x="118664" y="18418"/>
                  </a:lnTo>
                  <a:lnTo>
                    <a:pt x="120216" y="234781"/>
                  </a:lnTo>
                  <a:cubicBezTo>
                    <a:pt x="117544" y="284648"/>
                    <a:pt x="125558" y="335406"/>
                    <a:pt x="141587" y="382603"/>
                  </a:cubicBezTo>
                  <a:cubicBezTo>
                    <a:pt x="155836" y="421784"/>
                    <a:pt x="192345" y="441375"/>
                    <a:pt x="248446" y="441375"/>
                  </a:cubicBezTo>
                  <a:cubicBezTo>
                    <a:pt x="276051" y="440484"/>
                    <a:pt x="302766" y="435141"/>
                    <a:pt x="328589" y="427127"/>
                  </a:cubicBezTo>
                  <a:cubicBezTo>
                    <a:pt x="365990" y="415550"/>
                    <a:pt x="402500" y="400412"/>
                    <a:pt x="438120" y="382603"/>
                  </a:cubicBezTo>
                  <a:cubicBezTo>
                    <a:pt x="439010" y="386164"/>
                    <a:pt x="439901" y="390616"/>
                    <a:pt x="439901" y="394178"/>
                  </a:cubicBezTo>
                  <a:lnTo>
                    <a:pt x="439901" y="403083"/>
                  </a:lnTo>
                  <a:cubicBezTo>
                    <a:pt x="345509" y="484118"/>
                    <a:pt x="221731" y="512614"/>
                    <a:pt x="147821" y="517066"/>
                  </a:cubicBezTo>
                  <a:cubicBezTo>
                    <a:pt x="106859" y="519738"/>
                    <a:pt x="66787" y="501928"/>
                    <a:pt x="38290" y="47254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" name="Forme libre : forme 113">
              <a:extLst>
                <a:ext uri="{FF2B5EF4-FFF2-40B4-BE49-F238E27FC236}">
                  <a16:creationId xmlns:a16="http://schemas.microsoft.com/office/drawing/2014/main" id="{B93DC94C-820F-4572-BF0C-6383E8E9C877}"/>
                </a:ext>
              </a:extLst>
            </p:cNvPr>
            <p:cNvSpPr/>
            <p:nvPr/>
          </p:nvSpPr>
          <p:spPr>
            <a:xfrm rot="8716295">
              <a:off x="896624" y="4761216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" name="Forme libre : forme 114">
              <a:extLst>
                <a:ext uri="{FF2B5EF4-FFF2-40B4-BE49-F238E27FC236}">
                  <a16:creationId xmlns:a16="http://schemas.microsoft.com/office/drawing/2014/main" id="{46905971-2CA6-4786-88F6-6625CD1AC045}"/>
                </a:ext>
              </a:extLst>
            </p:cNvPr>
            <p:cNvSpPr/>
            <p:nvPr/>
          </p:nvSpPr>
          <p:spPr>
            <a:xfrm rot="8716295">
              <a:off x="1032483" y="4799006"/>
              <a:ext cx="389853" cy="383455"/>
            </a:xfrm>
            <a:custGeom>
              <a:avLst/>
              <a:gdLst>
                <a:gd name="connsiteX0" fmla="*/ 77932 w 389853"/>
                <a:gd name="connsiteY0" fmla="*/ 383455 h 383455"/>
                <a:gd name="connsiteX1" fmla="*/ 77932 w 389853"/>
                <a:gd name="connsiteY1" fmla="*/ 66898 h 383455"/>
                <a:gd name="connsiteX2" fmla="*/ 0 w 389853"/>
                <a:gd name="connsiteY2" fmla="*/ 66898 h 383455"/>
                <a:gd name="connsiteX3" fmla="*/ 0 w 389853"/>
                <a:gd name="connsiteY3" fmla="*/ 0 h 383455"/>
                <a:gd name="connsiteX4" fmla="*/ 158623 w 389853"/>
                <a:gd name="connsiteY4" fmla="*/ 0 h 383455"/>
                <a:gd name="connsiteX5" fmla="*/ 158623 w 389853"/>
                <a:gd name="connsiteY5" fmla="*/ 111726 h 383455"/>
                <a:gd name="connsiteX6" fmla="*/ 160692 w 389853"/>
                <a:gd name="connsiteY6" fmla="*/ 111726 h 383455"/>
                <a:gd name="connsiteX7" fmla="*/ 192762 w 389853"/>
                <a:gd name="connsiteY7" fmla="*/ 39914 h 383455"/>
                <a:gd name="connsiteX8" fmla="*/ 216292 w 389853"/>
                <a:gd name="connsiteY8" fmla="*/ 20658 h 383455"/>
                <a:gd name="connsiteX9" fmla="*/ 389853 w 389853"/>
                <a:gd name="connsiteY9" fmla="*/ 140965 h 383455"/>
                <a:gd name="connsiteX10" fmla="*/ 300695 w 389853"/>
                <a:gd name="connsiteY10" fmla="*/ 146210 h 383455"/>
                <a:gd name="connsiteX11" fmla="*/ 300694 w 389853"/>
                <a:gd name="connsiteY11" fmla="*/ 121382 h 383455"/>
                <a:gd name="connsiteX12" fmla="*/ 249659 w 389853"/>
                <a:gd name="connsiteY12" fmla="*/ 58622 h 383455"/>
                <a:gd name="connsiteX13" fmla="*/ 168969 w 389853"/>
                <a:gd name="connsiteY13" fmla="*/ 191038 h 383455"/>
                <a:gd name="connsiteX14" fmla="*/ 168969 w 389853"/>
                <a:gd name="connsiteY14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9853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71727" y="78967"/>
                    <a:pt x="181555" y="56208"/>
                    <a:pt x="192762" y="39914"/>
                  </a:cubicBezTo>
                  <a:lnTo>
                    <a:pt x="216292" y="20658"/>
                  </a:lnTo>
                  <a:lnTo>
                    <a:pt x="389853" y="140965"/>
                  </a:lnTo>
                  <a:lnTo>
                    <a:pt x="300695" y="146210"/>
                  </a:lnTo>
                  <a:lnTo>
                    <a:pt x="300694" y="121382"/>
                  </a:lnTo>
                  <a:cubicBezTo>
                    <a:pt x="300695" y="84140"/>
                    <a:pt x="279315" y="58621"/>
                    <a:pt x="249659" y="58622"/>
                  </a:cubicBezTo>
                  <a:cubicBezTo>
                    <a:pt x="205521" y="58621"/>
                    <a:pt x="168969" y="117244"/>
                    <a:pt x="168969" y="191038"/>
                  </a:cubicBez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" name="Forme libre : forme 115">
              <a:extLst>
                <a:ext uri="{FF2B5EF4-FFF2-40B4-BE49-F238E27FC236}">
                  <a16:creationId xmlns:a16="http://schemas.microsoft.com/office/drawing/2014/main" id="{8E2B23B6-FA24-4ECF-865C-D4B85991FB2B}"/>
                </a:ext>
              </a:extLst>
            </p:cNvPr>
            <p:cNvSpPr/>
            <p:nvPr/>
          </p:nvSpPr>
          <p:spPr>
            <a:xfrm rot="8716295">
              <a:off x="726753" y="489523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" name="Forme libre : forme 116">
              <a:extLst>
                <a:ext uri="{FF2B5EF4-FFF2-40B4-BE49-F238E27FC236}">
                  <a16:creationId xmlns:a16="http://schemas.microsoft.com/office/drawing/2014/main" id="{068C5BF4-ACAC-42CE-AE54-FD21152507C1}"/>
                </a:ext>
              </a:extLst>
            </p:cNvPr>
            <p:cNvSpPr/>
            <p:nvPr/>
          </p:nvSpPr>
          <p:spPr>
            <a:xfrm rot="8716295">
              <a:off x="537709" y="457939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" name="Forme libre : forme 117">
              <a:extLst>
                <a:ext uri="{FF2B5EF4-FFF2-40B4-BE49-F238E27FC236}">
                  <a16:creationId xmlns:a16="http://schemas.microsoft.com/office/drawing/2014/main" id="{0ACBCA4F-4DCF-49D0-8A3E-C12DE7B45BF0}"/>
                </a:ext>
              </a:extLst>
            </p:cNvPr>
            <p:cNvSpPr/>
            <p:nvPr/>
          </p:nvSpPr>
          <p:spPr>
            <a:xfrm rot="8716295">
              <a:off x="826576" y="4988476"/>
              <a:ext cx="91035" cy="198648"/>
            </a:xfrm>
            <a:custGeom>
              <a:avLst/>
              <a:gdLst>
                <a:gd name="connsiteX0" fmla="*/ 91035 w 91035"/>
                <a:gd name="connsiteY0" fmla="*/ 198648 h 198648"/>
                <a:gd name="connsiteX1" fmla="*/ 0 w 91035"/>
                <a:gd name="connsiteY1" fmla="*/ 111060 h 198648"/>
                <a:gd name="connsiteX2" fmla="*/ 0 w 91035"/>
                <a:gd name="connsiteY2" fmla="*/ 0 h 198648"/>
                <a:gd name="connsiteX3" fmla="*/ 91035 w 91035"/>
                <a:gd name="connsiteY3" fmla="*/ 63103 h 198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198648">
                  <a:moveTo>
                    <a:pt x="91035" y="198648"/>
                  </a:moveTo>
                  <a:lnTo>
                    <a:pt x="0" y="111060"/>
                  </a:lnTo>
                  <a:lnTo>
                    <a:pt x="0" y="0"/>
                  </a:lnTo>
                  <a:lnTo>
                    <a:pt x="91035" y="631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" name="Forme libre : forme 118">
              <a:extLst>
                <a:ext uri="{FF2B5EF4-FFF2-40B4-BE49-F238E27FC236}">
                  <a16:creationId xmlns:a16="http://schemas.microsoft.com/office/drawing/2014/main" id="{CF5DC784-7D69-46EA-A75B-D2ED877AA625}"/>
                </a:ext>
              </a:extLst>
            </p:cNvPr>
            <p:cNvSpPr/>
            <p:nvPr/>
          </p:nvSpPr>
          <p:spPr>
            <a:xfrm rot="8716295">
              <a:off x="497795" y="4730788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" name="Forme libre : forme 119">
              <a:extLst>
                <a:ext uri="{FF2B5EF4-FFF2-40B4-BE49-F238E27FC236}">
                  <a16:creationId xmlns:a16="http://schemas.microsoft.com/office/drawing/2014/main" id="{283C5FE9-EF8F-4940-9D13-7BC399536967}"/>
                </a:ext>
              </a:extLst>
            </p:cNvPr>
            <p:cNvSpPr/>
            <p:nvPr/>
          </p:nvSpPr>
          <p:spPr>
            <a:xfrm rot="8716295">
              <a:off x="1459248" y="4904357"/>
              <a:ext cx="328004" cy="223069"/>
            </a:xfrm>
            <a:custGeom>
              <a:avLst/>
              <a:gdLst>
                <a:gd name="connsiteX0" fmla="*/ 10574 w 328004"/>
                <a:gd name="connsiteY0" fmla="*/ 223069 h 223069"/>
                <a:gd name="connsiteX1" fmla="*/ 0 w 328004"/>
                <a:gd name="connsiteY1" fmla="*/ 208428 h 223069"/>
                <a:gd name="connsiteX2" fmla="*/ 192781 w 328004"/>
                <a:gd name="connsiteY2" fmla="*/ 27035 h 223069"/>
                <a:gd name="connsiteX3" fmla="*/ 227094 w 328004"/>
                <a:gd name="connsiteY3" fmla="*/ 0 h 223069"/>
                <a:gd name="connsiteX4" fmla="*/ 328004 w 328004"/>
                <a:gd name="connsiteY4" fmla="*/ 69948 h 223069"/>
                <a:gd name="connsiteX5" fmla="*/ 326080 w 328004"/>
                <a:gd name="connsiteY5" fmla="*/ 74925 h 223069"/>
                <a:gd name="connsiteX6" fmla="*/ 293645 w 328004"/>
                <a:gd name="connsiteY6" fmla="*/ 100243 h 223069"/>
                <a:gd name="connsiteX7" fmla="*/ 294458 w 328004"/>
                <a:gd name="connsiteY7" fmla="*/ 100243 h 223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8004" h="223069">
                  <a:moveTo>
                    <a:pt x="10574" y="223069"/>
                  </a:moveTo>
                  <a:lnTo>
                    <a:pt x="0" y="208428"/>
                  </a:lnTo>
                  <a:lnTo>
                    <a:pt x="192781" y="27035"/>
                  </a:lnTo>
                  <a:lnTo>
                    <a:pt x="227094" y="0"/>
                  </a:lnTo>
                  <a:lnTo>
                    <a:pt x="328004" y="69948"/>
                  </a:lnTo>
                  <a:lnTo>
                    <a:pt x="326080" y="74925"/>
                  </a:lnTo>
                  <a:cubicBezTo>
                    <a:pt x="317843" y="85805"/>
                    <a:pt x="306659" y="94549"/>
                    <a:pt x="293645" y="100243"/>
                  </a:cubicBezTo>
                  <a:lnTo>
                    <a:pt x="294458" y="10024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" name="Forme libre : forme 120">
              <a:extLst>
                <a:ext uri="{FF2B5EF4-FFF2-40B4-BE49-F238E27FC236}">
                  <a16:creationId xmlns:a16="http://schemas.microsoft.com/office/drawing/2014/main" id="{0B28DAC7-E1B5-4397-8312-3939C6181805}"/>
                </a:ext>
              </a:extLst>
            </p:cNvPr>
            <p:cNvSpPr/>
            <p:nvPr/>
          </p:nvSpPr>
          <p:spPr>
            <a:xfrm rot="8716295">
              <a:off x="1383191" y="474927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" name="Forme libre : forme 121">
              <a:extLst>
                <a:ext uri="{FF2B5EF4-FFF2-40B4-BE49-F238E27FC236}">
                  <a16:creationId xmlns:a16="http://schemas.microsoft.com/office/drawing/2014/main" id="{9B5900D5-EF58-45B1-849A-84D4EFAA76C9}"/>
                </a:ext>
              </a:extLst>
            </p:cNvPr>
            <p:cNvSpPr/>
            <p:nvPr/>
          </p:nvSpPr>
          <p:spPr>
            <a:xfrm rot="8716295">
              <a:off x="1015027" y="479501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" name="Forme libre : forme 122">
              <a:extLst>
                <a:ext uri="{FF2B5EF4-FFF2-40B4-BE49-F238E27FC236}">
                  <a16:creationId xmlns:a16="http://schemas.microsoft.com/office/drawing/2014/main" id="{31771F28-8680-4E6C-A8C1-BC66F7BF0BA9}"/>
                </a:ext>
              </a:extLst>
            </p:cNvPr>
            <p:cNvSpPr/>
            <p:nvPr/>
          </p:nvSpPr>
          <p:spPr>
            <a:xfrm rot="8716295">
              <a:off x="1283609" y="455399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" name="Forme libre : forme 123">
              <a:extLst>
                <a:ext uri="{FF2B5EF4-FFF2-40B4-BE49-F238E27FC236}">
                  <a16:creationId xmlns:a16="http://schemas.microsoft.com/office/drawing/2014/main" id="{AC2CE701-4BE3-4F79-917E-19B3C750B982}"/>
                </a:ext>
              </a:extLst>
            </p:cNvPr>
            <p:cNvSpPr/>
            <p:nvPr/>
          </p:nvSpPr>
          <p:spPr>
            <a:xfrm rot="8716295">
              <a:off x="-30381" y="3359388"/>
              <a:ext cx="98497" cy="75863"/>
            </a:xfrm>
            <a:custGeom>
              <a:avLst/>
              <a:gdLst>
                <a:gd name="connsiteX0" fmla="*/ 0 w 98497"/>
                <a:gd name="connsiteY0" fmla="*/ 75863 h 75863"/>
                <a:gd name="connsiteX1" fmla="*/ 0 w 98497"/>
                <a:gd name="connsiteY1" fmla="*/ 0 h 75863"/>
                <a:gd name="connsiteX2" fmla="*/ 98497 w 98497"/>
                <a:gd name="connsiteY2" fmla="*/ 0 h 75863"/>
                <a:gd name="connsiteX3" fmla="*/ 45911 w 98497"/>
                <a:gd name="connsiteY3" fmla="*/ 75863 h 75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497" h="75863">
                  <a:moveTo>
                    <a:pt x="0" y="75863"/>
                  </a:moveTo>
                  <a:lnTo>
                    <a:pt x="0" y="0"/>
                  </a:lnTo>
                  <a:lnTo>
                    <a:pt x="98497" y="0"/>
                  </a:lnTo>
                  <a:lnTo>
                    <a:pt x="45911" y="758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" name="Forme libre : forme 124">
              <a:extLst>
                <a:ext uri="{FF2B5EF4-FFF2-40B4-BE49-F238E27FC236}">
                  <a16:creationId xmlns:a16="http://schemas.microsoft.com/office/drawing/2014/main" id="{F4F0C1BC-FBE5-45A4-A80E-BAB3E52DE367}"/>
                </a:ext>
              </a:extLst>
            </p:cNvPr>
            <p:cNvSpPr/>
            <p:nvPr/>
          </p:nvSpPr>
          <p:spPr>
            <a:xfrm rot="8716295">
              <a:off x="-77334" y="3178477"/>
              <a:ext cx="389652" cy="385611"/>
            </a:xfrm>
            <a:custGeom>
              <a:avLst/>
              <a:gdLst>
                <a:gd name="connsiteX0" fmla="*/ 77932 w 389652"/>
                <a:gd name="connsiteY0" fmla="*/ 385611 h 385611"/>
                <a:gd name="connsiteX1" fmla="*/ 77932 w 389652"/>
                <a:gd name="connsiteY1" fmla="*/ 69054 h 385611"/>
                <a:gd name="connsiteX2" fmla="*/ 0 w 389652"/>
                <a:gd name="connsiteY2" fmla="*/ 69054 h 385611"/>
                <a:gd name="connsiteX3" fmla="*/ 0 w 389652"/>
                <a:gd name="connsiteY3" fmla="*/ 2156 h 385611"/>
                <a:gd name="connsiteX4" fmla="*/ 158623 w 389652"/>
                <a:gd name="connsiteY4" fmla="*/ 2156 h 385611"/>
                <a:gd name="connsiteX5" fmla="*/ 158623 w 389652"/>
                <a:gd name="connsiteY5" fmla="*/ 113882 h 385611"/>
                <a:gd name="connsiteX6" fmla="*/ 160692 w 389652"/>
                <a:gd name="connsiteY6" fmla="*/ 113882 h 385611"/>
                <a:gd name="connsiteX7" fmla="*/ 233107 w 389652"/>
                <a:gd name="connsiteY7" fmla="*/ 9053 h 385611"/>
                <a:gd name="connsiteX8" fmla="*/ 280694 w 389652"/>
                <a:gd name="connsiteY8" fmla="*/ 87 h 385611"/>
                <a:gd name="connsiteX9" fmla="*/ 364230 w 389652"/>
                <a:gd name="connsiteY9" fmla="*/ 34398 h 385611"/>
                <a:gd name="connsiteX10" fmla="*/ 389652 w 389652"/>
                <a:gd name="connsiteY10" fmla="*/ 117977 h 385611"/>
                <a:gd name="connsiteX11" fmla="*/ 371473 w 389652"/>
                <a:gd name="connsiteY11" fmla="*/ 144202 h 385611"/>
                <a:gd name="connsiteX12" fmla="*/ 300695 w 389652"/>
                <a:gd name="connsiteY12" fmla="*/ 148366 h 385611"/>
                <a:gd name="connsiteX13" fmla="*/ 300695 w 389652"/>
                <a:gd name="connsiteY13" fmla="*/ 123538 h 385611"/>
                <a:gd name="connsiteX14" fmla="*/ 249659 w 389652"/>
                <a:gd name="connsiteY14" fmla="*/ 60778 h 385611"/>
                <a:gd name="connsiteX15" fmla="*/ 168969 w 389652"/>
                <a:gd name="connsiteY15" fmla="*/ 193194 h 385611"/>
                <a:gd name="connsiteX16" fmla="*/ 168969 w 389652"/>
                <a:gd name="connsiteY16" fmla="*/ 323541 h 385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89652" h="385611">
                  <a:moveTo>
                    <a:pt x="77932" y="385611"/>
                  </a:moveTo>
                  <a:lnTo>
                    <a:pt x="77932" y="69054"/>
                  </a:lnTo>
                  <a:lnTo>
                    <a:pt x="0" y="69054"/>
                  </a:lnTo>
                  <a:lnTo>
                    <a:pt x="0" y="2156"/>
                  </a:lnTo>
                  <a:lnTo>
                    <a:pt x="158623" y="2156"/>
                  </a:lnTo>
                  <a:lnTo>
                    <a:pt x="158623" y="113882"/>
                  </a:lnTo>
                  <a:lnTo>
                    <a:pt x="160692" y="113882"/>
                  </a:lnTo>
                  <a:cubicBezTo>
                    <a:pt x="182762" y="48364"/>
                    <a:pt x="200003" y="22846"/>
                    <a:pt x="233107" y="9053"/>
                  </a:cubicBezTo>
                  <a:cubicBezTo>
                    <a:pt x="248280" y="2846"/>
                    <a:pt x="264142" y="-602"/>
                    <a:pt x="280694" y="87"/>
                  </a:cubicBezTo>
                  <a:cubicBezTo>
                    <a:pt x="316212" y="-603"/>
                    <a:pt x="344661" y="11466"/>
                    <a:pt x="364230" y="34398"/>
                  </a:cubicBezTo>
                  <a:lnTo>
                    <a:pt x="389652" y="117977"/>
                  </a:lnTo>
                  <a:lnTo>
                    <a:pt x="371473" y="144202"/>
                  </a:lnTo>
                  <a:lnTo>
                    <a:pt x="300695" y="148366"/>
                  </a:lnTo>
                  <a:lnTo>
                    <a:pt x="300695" y="123538"/>
                  </a:lnTo>
                  <a:cubicBezTo>
                    <a:pt x="300695" y="86296"/>
                    <a:pt x="279315" y="60778"/>
                    <a:pt x="249659" y="60778"/>
                  </a:cubicBezTo>
                  <a:cubicBezTo>
                    <a:pt x="205521" y="60778"/>
                    <a:pt x="168969" y="119400"/>
                    <a:pt x="168969" y="193194"/>
                  </a:cubicBezTo>
                  <a:lnTo>
                    <a:pt x="168969" y="3235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" name="Forme libre : forme 125">
              <a:extLst>
                <a:ext uri="{FF2B5EF4-FFF2-40B4-BE49-F238E27FC236}">
                  <a16:creationId xmlns:a16="http://schemas.microsoft.com/office/drawing/2014/main" id="{DD7E27D6-EDC4-4410-A8FD-B0AB28C9E1C2}"/>
                </a:ext>
              </a:extLst>
            </p:cNvPr>
            <p:cNvSpPr/>
            <p:nvPr/>
          </p:nvSpPr>
          <p:spPr>
            <a:xfrm rot="8716295">
              <a:off x="-71352" y="3029015"/>
              <a:ext cx="193594" cy="189959"/>
            </a:xfrm>
            <a:custGeom>
              <a:avLst/>
              <a:gdLst>
                <a:gd name="connsiteX0" fmla="*/ 8965 w 193594"/>
                <a:gd name="connsiteY0" fmla="*/ 189959 h 189959"/>
                <a:gd name="connsiteX1" fmla="*/ 0 w 193594"/>
                <a:gd name="connsiteY1" fmla="*/ 177545 h 189959"/>
                <a:gd name="connsiteX2" fmla="*/ 163451 w 193594"/>
                <a:gd name="connsiteY2" fmla="*/ 23749 h 189959"/>
                <a:gd name="connsiteX3" fmla="*/ 193594 w 193594"/>
                <a:gd name="connsiteY3" fmla="*/ 0 h 189959"/>
                <a:gd name="connsiteX4" fmla="*/ 84606 w 193594"/>
                <a:gd name="connsiteY4" fmla="*/ 157232 h 189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594" h="189959">
                  <a:moveTo>
                    <a:pt x="8965" y="189959"/>
                  </a:moveTo>
                  <a:lnTo>
                    <a:pt x="0" y="177545"/>
                  </a:lnTo>
                  <a:lnTo>
                    <a:pt x="163451" y="23749"/>
                  </a:lnTo>
                  <a:lnTo>
                    <a:pt x="193594" y="0"/>
                  </a:lnTo>
                  <a:lnTo>
                    <a:pt x="84606" y="15723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" name="Forme libre : forme 126">
              <a:extLst>
                <a:ext uri="{FF2B5EF4-FFF2-40B4-BE49-F238E27FC236}">
                  <a16:creationId xmlns:a16="http://schemas.microsoft.com/office/drawing/2014/main" id="{9053D84D-7FDB-4998-A81C-E5ABAA6EDE5E}"/>
                </a:ext>
              </a:extLst>
            </p:cNvPr>
            <p:cNvSpPr/>
            <p:nvPr/>
          </p:nvSpPr>
          <p:spPr>
            <a:xfrm rot="8716295">
              <a:off x="223574" y="276232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" name="Forme libre : forme 127">
              <a:extLst>
                <a:ext uri="{FF2B5EF4-FFF2-40B4-BE49-F238E27FC236}">
                  <a16:creationId xmlns:a16="http://schemas.microsoft.com/office/drawing/2014/main" id="{87AB580E-8F4B-47CD-9028-D46526078CE4}"/>
                </a:ext>
              </a:extLst>
            </p:cNvPr>
            <p:cNvSpPr/>
            <p:nvPr/>
          </p:nvSpPr>
          <p:spPr>
            <a:xfrm rot="8716295">
              <a:off x="358873" y="2806579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" name="Forme libre : forme 128">
              <a:extLst>
                <a:ext uri="{FF2B5EF4-FFF2-40B4-BE49-F238E27FC236}">
                  <a16:creationId xmlns:a16="http://schemas.microsoft.com/office/drawing/2014/main" id="{E19792CF-DDD1-4F4B-9682-435BC6CB8DED}"/>
                </a:ext>
              </a:extLst>
            </p:cNvPr>
            <p:cNvSpPr/>
            <p:nvPr/>
          </p:nvSpPr>
          <p:spPr>
            <a:xfrm rot="8716295">
              <a:off x="53703" y="2896335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" name="Forme libre : forme 129">
              <a:extLst>
                <a:ext uri="{FF2B5EF4-FFF2-40B4-BE49-F238E27FC236}">
                  <a16:creationId xmlns:a16="http://schemas.microsoft.com/office/drawing/2014/main" id="{BD0B65CA-A3C5-4B2A-8016-3FA0B6B241F4}"/>
                </a:ext>
              </a:extLst>
            </p:cNvPr>
            <p:cNvSpPr/>
            <p:nvPr/>
          </p:nvSpPr>
          <p:spPr>
            <a:xfrm rot="8716295">
              <a:off x="-92201" y="2622488"/>
              <a:ext cx="271732" cy="238722"/>
            </a:xfrm>
            <a:custGeom>
              <a:avLst/>
              <a:gdLst>
                <a:gd name="connsiteX0" fmla="*/ 106257 w 271732"/>
                <a:gd name="connsiteY0" fmla="*/ 238722 h 238722"/>
                <a:gd name="connsiteX1" fmla="*/ 72418 w 271732"/>
                <a:gd name="connsiteY1" fmla="*/ 175766 h 238722"/>
                <a:gd name="connsiteX2" fmla="*/ 105610 w 271732"/>
                <a:gd name="connsiteY2" fmla="*/ 83734 h 238722"/>
                <a:gd name="connsiteX3" fmla="*/ 0 w 271732"/>
                <a:gd name="connsiteY3" fmla="*/ 83734 h 238722"/>
                <a:gd name="connsiteX4" fmla="*/ 0 w 271732"/>
                <a:gd name="connsiteY4" fmla="*/ 0 h 238722"/>
                <a:gd name="connsiteX5" fmla="*/ 271732 w 271732"/>
                <a:gd name="connsiteY5" fmla="*/ 0 h 238722"/>
                <a:gd name="connsiteX6" fmla="*/ 213690 w 271732"/>
                <a:gd name="connsiteY6" fmla="*/ 83734 h 238722"/>
                <a:gd name="connsiteX7" fmla="*/ 210465 w 271732"/>
                <a:gd name="connsiteY7" fmla="*/ 83734 h 238722"/>
                <a:gd name="connsiteX8" fmla="*/ 207289 w 271732"/>
                <a:gd name="connsiteY8" fmla="*/ 92969 h 238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1732" h="238722">
                  <a:moveTo>
                    <a:pt x="106257" y="238722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71732" y="0"/>
                  </a:lnTo>
                  <a:lnTo>
                    <a:pt x="213690" y="83734"/>
                  </a:lnTo>
                  <a:lnTo>
                    <a:pt x="210465" y="83734"/>
                  </a:lnTo>
                  <a:lnTo>
                    <a:pt x="207289" y="929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" name="Forme libre : forme 130">
              <a:extLst>
                <a:ext uri="{FF2B5EF4-FFF2-40B4-BE49-F238E27FC236}">
                  <a16:creationId xmlns:a16="http://schemas.microsoft.com/office/drawing/2014/main" id="{A401047D-B75D-4F40-878E-D1BF52EA2F0E}"/>
                </a:ext>
              </a:extLst>
            </p:cNvPr>
            <p:cNvSpPr/>
            <p:nvPr/>
          </p:nvSpPr>
          <p:spPr>
            <a:xfrm rot="8716295">
              <a:off x="190192" y="2958318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" name="Forme libre : forme 131">
              <a:extLst>
                <a:ext uri="{FF2B5EF4-FFF2-40B4-BE49-F238E27FC236}">
                  <a16:creationId xmlns:a16="http://schemas.microsoft.com/office/drawing/2014/main" id="{0A764231-DFA5-45AC-9649-96FE00947629}"/>
                </a:ext>
              </a:extLst>
            </p:cNvPr>
            <p:cNvSpPr/>
            <p:nvPr/>
          </p:nvSpPr>
          <p:spPr>
            <a:xfrm rot="7484129">
              <a:off x="349009" y="324793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" name="Forme libre : forme 132">
              <a:extLst>
                <a:ext uri="{FF2B5EF4-FFF2-40B4-BE49-F238E27FC236}">
                  <a16:creationId xmlns:a16="http://schemas.microsoft.com/office/drawing/2014/main" id="{08367284-C420-422D-A59E-EC2B0D5CAF81}"/>
                </a:ext>
              </a:extLst>
            </p:cNvPr>
            <p:cNvSpPr/>
            <p:nvPr/>
          </p:nvSpPr>
          <p:spPr>
            <a:xfrm rot="13089394">
              <a:off x="507659" y="3197284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" name="Forme libre : forme 133">
              <a:extLst>
                <a:ext uri="{FF2B5EF4-FFF2-40B4-BE49-F238E27FC236}">
                  <a16:creationId xmlns:a16="http://schemas.microsoft.com/office/drawing/2014/main" id="{6E0CAE80-C507-4A7F-B64E-2B2322B07A4F}"/>
                </a:ext>
              </a:extLst>
            </p:cNvPr>
            <p:cNvSpPr/>
            <p:nvPr/>
          </p:nvSpPr>
          <p:spPr>
            <a:xfrm rot="8716295">
              <a:off x="788550" y="2907166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" name="Forme libre : forme 134">
              <a:extLst>
                <a:ext uri="{FF2B5EF4-FFF2-40B4-BE49-F238E27FC236}">
                  <a16:creationId xmlns:a16="http://schemas.microsoft.com/office/drawing/2014/main" id="{4935918E-F29D-4E02-AE1D-44610A8EABE6}"/>
                </a:ext>
              </a:extLst>
            </p:cNvPr>
            <p:cNvSpPr/>
            <p:nvPr/>
          </p:nvSpPr>
          <p:spPr>
            <a:xfrm rot="8716295">
              <a:off x="710141" y="275037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" name="Forme libre : forme 135">
              <a:extLst>
                <a:ext uri="{FF2B5EF4-FFF2-40B4-BE49-F238E27FC236}">
                  <a16:creationId xmlns:a16="http://schemas.microsoft.com/office/drawing/2014/main" id="{0186616C-3255-4138-99FF-17ACDEE12423}"/>
                </a:ext>
              </a:extLst>
            </p:cNvPr>
            <p:cNvSpPr/>
            <p:nvPr/>
          </p:nvSpPr>
          <p:spPr>
            <a:xfrm rot="8716295">
              <a:off x="341977" y="279611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" name="Forme libre : forme 136">
              <a:extLst>
                <a:ext uri="{FF2B5EF4-FFF2-40B4-BE49-F238E27FC236}">
                  <a16:creationId xmlns:a16="http://schemas.microsoft.com/office/drawing/2014/main" id="{00B7B22E-16FD-44D5-9219-31608DDFCC39}"/>
                </a:ext>
              </a:extLst>
            </p:cNvPr>
            <p:cNvSpPr/>
            <p:nvPr/>
          </p:nvSpPr>
          <p:spPr>
            <a:xfrm rot="8716295">
              <a:off x="610559" y="2555095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" name="Forme libre : forme 137">
              <a:extLst>
                <a:ext uri="{FF2B5EF4-FFF2-40B4-BE49-F238E27FC236}">
                  <a16:creationId xmlns:a16="http://schemas.microsoft.com/office/drawing/2014/main" id="{A6953B6D-6364-4054-88C6-74B273B65431}"/>
                </a:ext>
              </a:extLst>
            </p:cNvPr>
            <p:cNvSpPr/>
            <p:nvPr/>
          </p:nvSpPr>
          <p:spPr>
            <a:xfrm rot="8716295">
              <a:off x="-24305" y="2374348"/>
              <a:ext cx="58950" cy="66898"/>
            </a:xfrm>
            <a:custGeom>
              <a:avLst/>
              <a:gdLst>
                <a:gd name="connsiteX0" fmla="*/ 0 w 58950"/>
                <a:gd name="connsiteY0" fmla="*/ 66898 h 66898"/>
                <a:gd name="connsiteX1" fmla="*/ 0 w 58950"/>
                <a:gd name="connsiteY1" fmla="*/ 0 h 66898"/>
                <a:gd name="connsiteX2" fmla="*/ 58950 w 58950"/>
                <a:gd name="connsiteY2" fmla="*/ 0 h 66898"/>
                <a:gd name="connsiteX3" fmla="*/ 12579 w 58950"/>
                <a:gd name="connsiteY3" fmla="*/ 66898 h 6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950" h="66898">
                  <a:moveTo>
                    <a:pt x="0" y="66898"/>
                  </a:moveTo>
                  <a:lnTo>
                    <a:pt x="0" y="0"/>
                  </a:lnTo>
                  <a:lnTo>
                    <a:pt x="58950" y="0"/>
                  </a:lnTo>
                  <a:lnTo>
                    <a:pt x="12579" y="668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" name="Forme libre : forme 138">
              <a:extLst>
                <a:ext uri="{FF2B5EF4-FFF2-40B4-BE49-F238E27FC236}">
                  <a16:creationId xmlns:a16="http://schemas.microsoft.com/office/drawing/2014/main" id="{41AD4D21-E927-44C5-8A83-B759FDFF6D06}"/>
                </a:ext>
              </a:extLst>
            </p:cNvPr>
            <p:cNvSpPr/>
            <p:nvPr/>
          </p:nvSpPr>
          <p:spPr>
            <a:xfrm rot="8716295">
              <a:off x="-39593" y="1952072"/>
              <a:ext cx="198050" cy="140164"/>
            </a:xfrm>
            <a:custGeom>
              <a:avLst/>
              <a:gdLst>
                <a:gd name="connsiteX0" fmla="*/ 0 w 198050"/>
                <a:gd name="connsiteY0" fmla="*/ 75863 h 140164"/>
                <a:gd name="connsiteX1" fmla="*/ 0 w 198050"/>
                <a:gd name="connsiteY1" fmla="*/ 0 h 140164"/>
                <a:gd name="connsiteX2" fmla="*/ 128968 w 198050"/>
                <a:gd name="connsiteY2" fmla="*/ 0 h 140164"/>
                <a:gd name="connsiteX3" fmla="*/ 193021 w 198050"/>
                <a:gd name="connsiteY3" fmla="*/ 18535 h 140164"/>
                <a:gd name="connsiteX4" fmla="*/ 198050 w 198050"/>
                <a:gd name="connsiteY4" fmla="*/ 31548 h 140164"/>
                <a:gd name="connsiteX5" fmla="*/ 122761 w 198050"/>
                <a:gd name="connsiteY5" fmla="*/ 140164 h 140164"/>
                <a:gd name="connsiteX6" fmla="*/ 122761 w 198050"/>
                <a:gd name="connsiteY6" fmla="*/ 105519 h 140164"/>
                <a:gd name="connsiteX7" fmla="*/ 122761 w 198050"/>
                <a:gd name="connsiteY7" fmla="*/ 99312 h 140164"/>
                <a:gd name="connsiteX8" fmla="*/ 91726 w 198050"/>
                <a:gd name="connsiteY8" fmla="*/ 75863 h 140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8050" h="140164">
                  <a:moveTo>
                    <a:pt x="0" y="75863"/>
                  </a:moveTo>
                  <a:lnTo>
                    <a:pt x="0" y="0"/>
                  </a:lnTo>
                  <a:lnTo>
                    <a:pt x="128968" y="0"/>
                  </a:lnTo>
                  <a:cubicBezTo>
                    <a:pt x="156900" y="0"/>
                    <a:pt x="178452" y="6034"/>
                    <a:pt x="193021" y="18535"/>
                  </a:cubicBezTo>
                  <a:lnTo>
                    <a:pt x="198050" y="31548"/>
                  </a:lnTo>
                  <a:lnTo>
                    <a:pt x="122761" y="140164"/>
                  </a:ln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4"/>
                    <a:pt x="91726" y="758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" name="Forme libre : forme 139">
              <a:extLst>
                <a:ext uri="{FF2B5EF4-FFF2-40B4-BE49-F238E27FC236}">
                  <a16:creationId xmlns:a16="http://schemas.microsoft.com/office/drawing/2014/main" id="{B82C4F59-A689-41F2-8DD0-9745004AE675}"/>
                </a:ext>
              </a:extLst>
            </p:cNvPr>
            <p:cNvSpPr/>
            <p:nvPr/>
          </p:nvSpPr>
          <p:spPr>
            <a:xfrm rot="8716295">
              <a:off x="21100" y="1808096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" name="Forme libre : forme 140">
              <a:extLst>
                <a:ext uri="{FF2B5EF4-FFF2-40B4-BE49-F238E27FC236}">
                  <a16:creationId xmlns:a16="http://schemas.microsoft.com/office/drawing/2014/main" id="{FA2478B0-E5E2-4F32-8061-87C7FA11FBE0}"/>
                </a:ext>
              </a:extLst>
            </p:cNvPr>
            <p:cNvSpPr/>
            <p:nvPr/>
          </p:nvSpPr>
          <p:spPr>
            <a:xfrm rot="8716295">
              <a:off x="-24330" y="2197782"/>
              <a:ext cx="102508" cy="53362"/>
            </a:xfrm>
            <a:custGeom>
              <a:avLst/>
              <a:gdLst>
                <a:gd name="connsiteX0" fmla="*/ 0 w 102508"/>
                <a:gd name="connsiteY0" fmla="*/ 23637 h 53362"/>
                <a:gd name="connsiteX1" fmla="*/ 0 w 102508"/>
                <a:gd name="connsiteY1" fmla="*/ 2258 h 53362"/>
                <a:gd name="connsiteX2" fmla="*/ 102508 w 102508"/>
                <a:gd name="connsiteY2" fmla="*/ 0 h 53362"/>
                <a:gd name="connsiteX3" fmla="*/ 65519 w 102508"/>
                <a:gd name="connsiteY3" fmla="*/ 53362 h 53362"/>
                <a:gd name="connsiteX4" fmla="*/ 65519 w 102508"/>
                <a:gd name="connsiteY4" fmla="*/ 23637 h 5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508" h="53362">
                  <a:moveTo>
                    <a:pt x="0" y="23637"/>
                  </a:moveTo>
                  <a:lnTo>
                    <a:pt x="0" y="2258"/>
                  </a:lnTo>
                  <a:lnTo>
                    <a:pt x="102508" y="0"/>
                  </a:lnTo>
                  <a:lnTo>
                    <a:pt x="65519" y="53362"/>
                  </a:lnTo>
                  <a:lnTo>
                    <a:pt x="65519" y="2363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" name="Forme libre : forme 141">
              <a:extLst>
                <a:ext uri="{FF2B5EF4-FFF2-40B4-BE49-F238E27FC236}">
                  <a16:creationId xmlns:a16="http://schemas.microsoft.com/office/drawing/2014/main" id="{949053A5-7216-4B32-8AE1-A37ED2B2705A}"/>
                </a:ext>
              </a:extLst>
            </p:cNvPr>
            <p:cNvSpPr/>
            <p:nvPr/>
          </p:nvSpPr>
          <p:spPr>
            <a:xfrm rot="7484129">
              <a:off x="11236" y="224945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" name="Forme libre : forme 142">
              <a:extLst>
                <a:ext uri="{FF2B5EF4-FFF2-40B4-BE49-F238E27FC236}">
                  <a16:creationId xmlns:a16="http://schemas.microsoft.com/office/drawing/2014/main" id="{028B569C-B0FE-4A67-B111-B99F3950BB2A}"/>
                </a:ext>
              </a:extLst>
            </p:cNvPr>
            <p:cNvSpPr/>
            <p:nvPr/>
          </p:nvSpPr>
          <p:spPr>
            <a:xfrm rot="13089394">
              <a:off x="169886" y="2198801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4" name="Forme libre : forme 143">
              <a:extLst>
                <a:ext uri="{FF2B5EF4-FFF2-40B4-BE49-F238E27FC236}">
                  <a16:creationId xmlns:a16="http://schemas.microsoft.com/office/drawing/2014/main" id="{DDDAF86D-35C8-42A2-A70C-525D2D5475FD}"/>
                </a:ext>
              </a:extLst>
            </p:cNvPr>
            <p:cNvSpPr/>
            <p:nvPr/>
          </p:nvSpPr>
          <p:spPr>
            <a:xfrm rot="8716295">
              <a:off x="450777" y="1908683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5" name="Forme libre : forme 144">
              <a:extLst>
                <a:ext uri="{FF2B5EF4-FFF2-40B4-BE49-F238E27FC236}">
                  <a16:creationId xmlns:a16="http://schemas.microsoft.com/office/drawing/2014/main" id="{0456C75C-046A-4449-8D19-7B887B7670B6}"/>
                </a:ext>
              </a:extLst>
            </p:cNvPr>
            <p:cNvSpPr/>
            <p:nvPr/>
          </p:nvSpPr>
          <p:spPr>
            <a:xfrm rot="8716295">
              <a:off x="372368" y="175189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6" name="Forme libre : forme 145">
              <a:extLst>
                <a:ext uri="{FF2B5EF4-FFF2-40B4-BE49-F238E27FC236}">
                  <a16:creationId xmlns:a16="http://schemas.microsoft.com/office/drawing/2014/main" id="{9071FCAB-0728-4659-9A50-F1E4D3A34FCA}"/>
                </a:ext>
              </a:extLst>
            </p:cNvPr>
            <p:cNvSpPr/>
            <p:nvPr/>
          </p:nvSpPr>
          <p:spPr>
            <a:xfrm rot="8716295">
              <a:off x="4204" y="179763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7" name="Forme libre : forme 146">
              <a:extLst>
                <a:ext uri="{FF2B5EF4-FFF2-40B4-BE49-F238E27FC236}">
                  <a16:creationId xmlns:a16="http://schemas.microsoft.com/office/drawing/2014/main" id="{74F9CC45-BF7F-4E25-8F71-1BD6DA2F0E29}"/>
                </a:ext>
              </a:extLst>
            </p:cNvPr>
            <p:cNvSpPr/>
            <p:nvPr/>
          </p:nvSpPr>
          <p:spPr>
            <a:xfrm rot="8716295">
              <a:off x="272786" y="155661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8" name="Forme libre : forme 147">
              <a:extLst>
                <a:ext uri="{FF2B5EF4-FFF2-40B4-BE49-F238E27FC236}">
                  <a16:creationId xmlns:a16="http://schemas.microsoft.com/office/drawing/2014/main" id="{9BA7D72C-89C5-4ADB-A9D6-05B170E731F6}"/>
                </a:ext>
              </a:extLst>
            </p:cNvPr>
            <p:cNvSpPr/>
            <p:nvPr/>
          </p:nvSpPr>
          <p:spPr>
            <a:xfrm rot="8716295">
              <a:off x="-35149" y="938156"/>
              <a:ext cx="158623" cy="159016"/>
            </a:xfrm>
            <a:custGeom>
              <a:avLst/>
              <a:gdLst>
                <a:gd name="connsiteX0" fmla="*/ 77932 w 158623"/>
                <a:gd name="connsiteY0" fmla="*/ 159016 h 159016"/>
                <a:gd name="connsiteX1" fmla="*/ 77932 w 158623"/>
                <a:gd name="connsiteY1" fmla="*/ 66898 h 159016"/>
                <a:gd name="connsiteX2" fmla="*/ 0 w 158623"/>
                <a:gd name="connsiteY2" fmla="*/ 66898 h 159016"/>
                <a:gd name="connsiteX3" fmla="*/ 0 w 158623"/>
                <a:gd name="connsiteY3" fmla="*/ 0 h 159016"/>
                <a:gd name="connsiteX4" fmla="*/ 158623 w 158623"/>
                <a:gd name="connsiteY4" fmla="*/ 0 h 159016"/>
                <a:gd name="connsiteX5" fmla="*/ 158623 w 158623"/>
                <a:gd name="connsiteY5" fmla="*/ 42606 h 15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8623" h="159016">
                  <a:moveTo>
                    <a:pt x="77932" y="159016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4260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9" name="Forme libre : forme 148">
              <a:extLst>
                <a:ext uri="{FF2B5EF4-FFF2-40B4-BE49-F238E27FC236}">
                  <a16:creationId xmlns:a16="http://schemas.microsoft.com/office/drawing/2014/main" id="{049A796E-46A8-44F5-A685-EFE861D38A62}"/>
                </a:ext>
              </a:extLst>
            </p:cNvPr>
            <p:cNvSpPr/>
            <p:nvPr/>
          </p:nvSpPr>
          <p:spPr>
            <a:xfrm rot="7484129">
              <a:off x="-32979" y="1345537"/>
              <a:ext cx="65961" cy="45734"/>
            </a:xfrm>
            <a:custGeom>
              <a:avLst/>
              <a:gdLst>
                <a:gd name="connsiteX0" fmla="*/ 0 w 65961"/>
                <a:gd name="connsiteY0" fmla="*/ 45734 h 45734"/>
                <a:gd name="connsiteX1" fmla="*/ 0 w 65961"/>
                <a:gd name="connsiteY1" fmla="*/ 0 h 45734"/>
                <a:gd name="connsiteX2" fmla="*/ 65961 w 65961"/>
                <a:gd name="connsiteY2" fmla="*/ 0 h 45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5961" h="45734">
                  <a:moveTo>
                    <a:pt x="0" y="45734"/>
                  </a:moveTo>
                  <a:lnTo>
                    <a:pt x="0" y="0"/>
                  </a:lnTo>
                  <a:lnTo>
                    <a:pt x="6596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0" name="Forme libre : forme 149">
              <a:extLst>
                <a:ext uri="{FF2B5EF4-FFF2-40B4-BE49-F238E27FC236}">
                  <a16:creationId xmlns:a16="http://schemas.microsoft.com/office/drawing/2014/main" id="{5C3088F6-9CC3-48D3-A8B8-D590346DDC75}"/>
                </a:ext>
              </a:extLst>
            </p:cNvPr>
            <p:cNvSpPr/>
            <p:nvPr/>
          </p:nvSpPr>
          <p:spPr>
            <a:xfrm rot="13089394">
              <a:off x="-134707" y="1200752"/>
              <a:ext cx="386820" cy="481345"/>
            </a:xfrm>
            <a:custGeom>
              <a:avLst/>
              <a:gdLst>
                <a:gd name="connsiteX0" fmla="*/ 386820 w 386820"/>
                <a:gd name="connsiteY0" fmla="*/ 391818 h 481345"/>
                <a:gd name="connsiteX1" fmla="*/ 342166 w 386820"/>
                <a:gd name="connsiteY1" fmla="*/ 422376 h 481345"/>
                <a:gd name="connsiteX2" fmla="*/ 138636 w 386820"/>
                <a:gd name="connsiteY2" fmla="*/ 481098 h 481345"/>
                <a:gd name="connsiteX3" fmla="*/ 35911 w 386820"/>
                <a:gd name="connsiteY3" fmla="*/ 439340 h 481345"/>
                <a:gd name="connsiteX4" fmla="*/ 0 w 386820"/>
                <a:gd name="connsiteY4" fmla="*/ 295693 h 481345"/>
                <a:gd name="connsiteX5" fmla="*/ 0 w 386820"/>
                <a:gd name="connsiteY5" fmla="*/ 40970 h 481345"/>
                <a:gd name="connsiteX6" fmla="*/ 78970 w 386820"/>
                <a:gd name="connsiteY6" fmla="*/ 0 h 481345"/>
                <a:gd name="connsiteX7" fmla="*/ 111492 w 386820"/>
                <a:gd name="connsiteY7" fmla="*/ 41392 h 481345"/>
                <a:gd name="connsiteX8" fmla="*/ 112747 w 386820"/>
                <a:gd name="connsiteY8" fmla="*/ 216353 h 481345"/>
                <a:gd name="connsiteX9" fmla="*/ 132789 w 386820"/>
                <a:gd name="connsiteY9" fmla="*/ 354990 h 481345"/>
                <a:gd name="connsiteX10" fmla="*/ 233008 w 386820"/>
                <a:gd name="connsiteY10" fmla="*/ 410110 h 481345"/>
                <a:gd name="connsiteX11" fmla="*/ 308173 w 386820"/>
                <a:gd name="connsiteY11" fmla="*/ 396747 h 481345"/>
                <a:gd name="connsiteX12" fmla="*/ 370717 w 386820"/>
                <a:gd name="connsiteY12" fmla="*/ 371323 h 481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6820" h="481345">
                  <a:moveTo>
                    <a:pt x="386820" y="391818"/>
                  </a:moveTo>
                  <a:lnTo>
                    <a:pt x="342166" y="422376"/>
                  </a:lnTo>
                  <a:cubicBezTo>
                    <a:pt x="268920" y="462151"/>
                    <a:pt x="190624" y="477966"/>
                    <a:pt x="138636" y="481098"/>
                  </a:cubicBezTo>
                  <a:cubicBezTo>
                    <a:pt x="100219" y="483604"/>
                    <a:pt x="62637" y="466901"/>
                    <a:pt x="35911" y="439340"/>
                  </a:cubicBezTo>
                  <a:cubicBezTo>
                    <a:pt x="7516" y="411780"/>
                    <a:pt x="0" y="364176"/>
                    <a:pt x="0" y="295693"/>
                  </a:cubicBezTo>
                  <a:lnTo>
                    <a:pt x="0" y="40970"/>
                  </a:lnTo>
                  <a:lnTo>
                    <a:pt x="78970" y="0"/>
                  </a:lnTo>
                  <a:lnTo>
                    <a:pt x="111492" y="41392"/>
                  </a:lnTo>
                  <a:lnTo>
                    <a:pt x="112747" y="216353"/>
                  </a:lnTo>
                  <a:cubicBezTo>
                    <a:pt x="110241" y="263122"/>
                    <a:pt x="117757" y="310726"/>
                    <a:pt x="132789" y="354990"/>
                  </a:cubicBezTo>
                  <a:cubicBezTo>
                    <a:pt x="146153" y="391736"/>
                    <a:pt x="180394" y="410110"/>
                    <a:pt x="233008" y="410110"/>
                  </a:cubicBezTo>
                  <a:cubicBezTo>
                    <a:pt x="258899" y="409274"/>
                    <a:pt x="283953" y="404263"/>
                    <a:pt x="308173" y="396747"/>
                  </a:cubicBezTo>
                  <a:lnTo>
                    <a:pt x="370717" y="371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1" name="Forme libre : forme 150">
              <a:extLst>
                <a:ext uri="{FF2B5EF4-FFF2-40B4-BE49-F238E27FC236}">
                  <a16:creationId xmlns:a16="http://schemas.microsoft.com/office/drawing/2014/main" id="{45A3690F-0557-4DB0-94E4-7427021CEC86}"/>
                </a:ext>
              </a:extLst>
            </p:cNvPr>
            <p:cNvSpPr/>
            <p:nvPr/>
          </p:nvSpPr>
          <p:spPr>
            <a:xfrm rot="8716295">
              <a:off x="119403" y="90662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2" name="Forme libre : forme 151">
              <a:extLst>
                <a:ext uri="{FF2B5EF4-FFF2-40B4-BE49-F238E27FC236}">
                  <a16:creationId xmlns:a16="http://schemas.microsoft.com/office/drawing/2014/main" id="{1C3938EF-FACF-4118-88DE-3CA52114B602}"/>
                </a:ext>
              </a:extLst>
            </p:cNvPr>
            <p:cNvSpPr/>
            <p:nvPr/>
          </p:nvSpPr>
          <p:spPr>
            <a:xfrm rot="8716295">
              <a:off x="40994" y="74983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3" name="Forme libre : forme 152">
              <a:extLst>
                <a:ext uri="{FF2B5EF4-FFF2-40B4-BE49-F238E27FC236}">
                  <a16:creationId xmlns:a16="http://schemas.microsoft.com/office/drawing/2014/main" id="{DFC0458A-EB47-48D9-8C11-B6676E2C5CAE}"/>
                </a:ext>
              </a:extLst>
            </p:cNvPr>
            <p:cNvSpPr/>
            <p:nvPr/>
          </p:nvSpPr>
          <p:spPr>
            <a:xfrm rot="8716295">
              <a:off x="-44934" y="551941"/>
              <a:ext cx="152592" cy="165412"/>
            </a:xfrm>
            <a:custGeom>
              <a:avLst/>
              <a:gdLst>
                <a:gd name="connsiteX0" fmla="*/ 26453 w 152592"/>
                <a:gd name="connsiteY0" fmla="*/ 153143 h 165412"/>
                <a:gd name="connsiteX1" fmla="*/ 0 w 152592"/>
                <a:gd name="connsiteY1" fmla="*/ 90494 h 165412"/>
                <a:gd name="connsiteX2" fmla="*/ 0 w 152592"/>
                <a:gd name="connsiteY2" fmla="*/ 89101 h 165412"/>
                <a:gd name="connsiteX3" fmla="*/ 26453 w 152592"/>
                <a:gd name="connsiteY3" fmla="*/ 26453 h 165412"/>
                <a:gd name="connsiteX4" fmla="*/ 89101 w 152592"/>
                <a:gd name="connsiteY4" fmla="*/ 0 h 165412"/>
                <a:gd name="connsiteX5" fmla="*/ 151752 w 152592"/>
                <a:gd name="connsiteY5" fmla="*/ 26453 h 165412"/>
                <a:gd name="connsiteX6" fmla="*/ 152592 w 152592"/>
                <a:gd name="connsiteY6" fmla="*/ 27688 h 165412"/>
                <a:gd name="connsiteX7" fmla="*/ 57126 w 152592"/>
                <a:gd name="connsiteY7" fmla="*/ 165412 h 165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592" h="165412">
                  <a:moveTo>
                    <a:pt x="26453" y="153143"/>
                  </a:moveTo>
                  <a:cubicBezTo>
                    <a:pt x="9746" y="136436"/>
                    <a:pt x="0" y="114161"/>
                    <a:pt x="0" y="90494"/>
                  </a:cubicBezTo>
                  <a:lnTo>
                    <a:pt x="0" y="89101"/>
                  </a:lnTo>
                  <a:cubicBezTo>
                    <a:pt x="0" y="65434"/>
                    <a:pt x="9746" y="43159"/>
                    <a:pt x="26453" y="26453"/>
                  </a:cubicBezTo>
                  <a:cubicBezTo>
                    <a:pt x="43159" y="9746"/>
                    <a:pt x="65435" y="0"/>
                    <a:pt x="89101" y="0"/>
                  </a:cubicBezTo>
                  <a:cubicBezTo>
                    <a:pt x="112770" y="0"/>
                    <a:pt x="135045" y="9746"/>
                    <a:pt x="151752" y="26453"/>
                  </a:cubicBezTo>
                  <a:lnTo>
                    <a:pt x="152592" y="27688"/>
                  </a:lnTo>
                  <a:lnTo>
                    <a:pt x="57126" y="1654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4" name="Forme libre : forme 153">
              <a:extLst>
                <a:ext uri="{FF2B5EF4-FFF2-40B4-BE49-F238E27FC236}">
                  <a16:creationId xmlns:a16="http://schemas.microsoft.com/office/drawing/2014/main" id="{51206894-A2FA-4091-8709-9038ECFC9F62}"/>
                </a:ext>
              </a:extLst>
            </p:cNvPr>
            <p:cNvSpPr/>
            <p:nvPr/>
          </p:nvSpPr>
          <p:spPr>
            <a:xfrm rot="8716295">
              <a:off x="-69806" y="4587027"/>
              <a:ext cx="183810" cy="187594"/>
            </a:xfrm>
            <a:custGeom>
              <a:avLst/>
              <a:gdLst>
                <a:gd name="connsiteX0" fmla="*/ 10574 w 183810"/>
                <a:gd name="connsiteY0" fmla="*/ 187594 h 187594"/>
                <a:gd name="connsiteX1" fmla="*/ 0 w 183810"/>
                <a:gd name="connsiteY1" fmla="*/ 172952 h 187594"/>
                <a:gd name="connsiteX2" fmla="*/ 183810 w 183810"/>
                <a:gd name="connsiteY2" fmla="*/ 0 h 187594"/>
                <a:gd name="connsiteX3" fmla="*/ 72284 w 183810"/>
                <a:gd name="connsiteY3" fmla="*/ 160894 h 187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810" h="187594">
                  <a:moveTo>
                    <a:pt x="10574" y="187594"/>
                  </a:moveTo>
                  <a:lnTo>
                    <a:pt x="0" y="172952"/>
                  </a:lnTo>
                  <a:lnTo>
                    <a:pt x="183810" y="0"/>
                  </a:lnTo>
                  <a:lnTo>
                    <a:pt x="72284" y="1608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5" name="Forme libre : forme 154">
              <a:extLst>
                <a:ext uri="{FF2B5EF4-FFF2-40B4-BE49-F238E27FC236}">
                  <a16:creationId xmlns:a16="http://schemas.microsoft.com/office/drawing/2014/main" id="{75F36939-0C1D-4F35-A6F3-978C7845A7FE}"/>
                </a:ext>
              </a:extLst>
            </p:cNvPr>
            <p:cNvSpPr/>
            <p:nvPr/>
          </p:nvSpPr>
          <p:spPr>
            <a:xfrm rot="8716295">
              <a:off x="2260816" y="1871889"/>
              <a:ext cx="76563" cy="79800"/>
            </a:xfrm>
            <a:custGeom>
              <a:avLst/>
              <a:gdLst>
                <a:gd name="connsiteX0" fmla="*/ 1561 w 76563"/>
                <a:gd name="connsiteY0" fmla="*/ 67386 h 79800"/>
                <a:gd name="connsiteX1" fmla="*/ 0 w 76563"/>
                <a:gd name="connsiteY1" fmla="*/ 63688 h 79800"/>
                <a:gd name="connsiteX2" fmla="*/ 52676 w 76563"/>
                <a:gd name="connsiteY2" fmla="*/ 0 h 79800"/>
                <a:gd name="connsiteX3" fmla="*/ 63632 w 76563"/>
                <a:gd name="connsiteY3" fmla="*/ 4626 h 79800"/>
                <a:gd name="connsiteX4" fmla="*/ 63632 w 76563"/>
                <a:gd name="connsiteY4" fmla="*/ 66697 h 79800"/>
                <a:gd name="connsiteX5" fmla="*/ 32596 w 76563"/>
                <a:gd name="connsiteY5" fmla="*/ 79800 h 79800"/>
                <a:gd name="connsiteX6" fmla="*/ 1561 w 76563"/>
                <a:gd name="connsiteY6" fmla="*/ 67386 h 79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563" h="79800">
                  <a:moveTo>
                    <a:pt x="1561" y="67386"/>
                  </a:moveTo>
                  <a:lnTo>
                    <a:pt x="0" y="63688"/>
                  </a:lnTo>
                  <a:lnTo>
                    <a:pt x="52676" y="0"/>
                  </a:lnTo>
                  <a:lnTo>
                    <a:pt x="63632" y="4626"/>
                  </a:lnTo>
                  <a:cubicBezTo>
                    <a:pt x="80874" y="21178"/>
                    <a:pt x="80873" y="49455"/>
                    <a:pt x="63632" y="66697"/>
                  </a:cubicBezTo>
                  <a:cubicBezTo>
                    <a:pt x="55356" y="74973"/>
                    <a:pt x="44321" y="79800"/>
                    <a:pt x="32596" y="79800"/>
                  </a:cubicBezTo>
                  <a:cubicBezTo>
                    <a:pt x="20872" y="79800"/>
                    <a:pt x="9837" y="75662"/>
                    <a:pt x="1561" y="6738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6" name="Forme libre : forme 155">
              <a:extLst>
                <a:ext uri="{FF2B5EF4-FFF2-40B4-BE49-F238E27FC236}">
                  <a16:creationId xmlns:a16="http://schemas.microsoft.com/office/drawing/2014/main" id="{BD296649-E6F7-43B4-A921-2D9F25E09891}"/>
                </a:ext>
              </a:extLst>
            </p:cNvPr>
            <p:cNvSpPr/>
            <p:nvPr/>
          </p:nvSpPr>
          <p:spPr>
            <a:xfrm rot="8716295">
              <a:off x="2079218" y="1576016"/>
              <a:ext cx="236114" cy="296463"/>
            </a:xfrm>
            <a:custGeom>
              <a:avLst/>
              <a:gdLst>
                <a:gd name="connsiteX0" fmla="*/ 64875 w 236114"/>
                <a:gd name="connsiteY0" fmla="*/ 296463 h 296463"/>
                <a:gd name="connsiteX1" fmla="*/ 0 w 236114"/>
                <a:gd name="connsiteY1" fmla="*/ 175766 h 296463"/>
                <a:gd name="connsiteX2" fmla="*/ 33192 w 236114"/>
                <a:gd name="connsiteY2" fmla="*/ 83734 h 296463"/>
                <a:gd name="connsiteX3" fmla="*/ 489 w 236114"/>
                <a:gd name="connsiteY3" fmla="*/ 83734 h 296463"/>
                <a:gd name="connsiteX4" fmla="*/ 69747 w 236114"/>
                <a:gd name="connsiteY4" fmla="*/ 0 h 296463"/>
                <a:gd name="connsiteX5" fmla="*/ 236114 w 236114"/>
                <a:gd name="connsiteY5" fmla="*/ 0 h 296463"/>
                <a:gd name="connsiteX6" fmla="*/ 236114 w 236114"/>
                <a:gd name="connsiteY6" fmla="*/ 83734 h 296463"/>
                <a:gd name="connsiteX7" fmla="*/ 138047 w 236114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6114" h="296463">
                  <a:moveTo>
                    <a:pt x="64875" y="296463"/>
                  </a:moveTo>
                  <a:lnTo>
                    <a:pt x="0" y="175766"/>
                  </a:lnTo>
                  <a:lnTo>
                    <a:pt x="33192" y="83734"/>
                  </a:lnTo>
                  <a:lnTo>
                    <a:pt x="489" y="83734"/>
                  </a:lnTo>
                  <a:lnTo>
                    <a:pt x="69747" y="0"/>
                  </a:lnTo>
                  <a:lnTo>
                    <a:pt x="236114" y="0"/>
                  </a:lnTo>
                  <a:lnTo>
                    <a:pt x="236114" y="83734"/>
                  </a:lnTo>
                  <a:lnTo>
                    <a:pt x="138047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7" name="Forme libre : forme 156">
              <a:extLst>
                <a:ext uri="{FF2B5EF4-FFF2-40B4-BE49-F238E27FC236}">
                  <a16:creationId xmlns:a16="http://schemas.microsoft.com/office/drawing/2014/main" id="{6CA34F6D-826D-4D6C-B9D3-13816F14A2D6}"/>
                </a:ext>
              </a:extLst>
            </p:cNvPr>
            <p:cNvSpPr/>
            <p:nvPr/>
          </p:nvSpPr>
          <p:spPr>
            <a:xfrm rot="8716295">
              <a:off x="1975890" y="1368961"/>
              <a:ext cx="432296" cy="245571"/>
            </a:xfrm>
            <a:custGeom>
              <a:avLst/>
              <a:gdLst>
                <a:gd name="connsiteX0" fmla="*/ 30685 w 432296"/>
                <a:gd name="connsiteY0" fmla="*/ 200783 h 245571"/>
                <a:gd name="connsiteX1" fmla="*/ 187 w 432296"/>
                <a:gd name="connsiteY1" fmla="*/ 140564 h 245571"/>
                <a:gd name="connsiteX2" fmla="*/ 0 w 432296"/>
                <a:gd name="connsiteY2" fmla="*/ 138341 h 245571"/>
                <a:gd name="connsiteX3" fmla="*/ 114424 w 432296"/>
                <a:gd name="connsiteY3" fmla="*/ 0 h 245571"/>
                <a:gd name="connsiteX4" fmla="*/ 116284 w 432296"/>
                <a:gd name="connsiteY4" fmla="*/ 37935 h 245571"/>
                <a:gd name="connsiteX5" fmla="*/ 133982 w 432296"/>
                <a:gd name="connsiteY5" fmla="*/ 110844 h 245571"/>
                <a:gd name="connsiteX6" fmla="*/ 240841 w 432296"/>
                <a:gd name="connsiteY6" fmla="*/ 169617 h 245571"/>
                <a:gd name="connsiteX7" fmla="*/ 320985 w 432296"/>
                <a:gd name="connsiteY7" fmla="*/ 155369 h 245571"/>
                <a:gd name="connsiteX8" fmla="*/ 430515 w 432296"/>
                <a:gd name="connsiteY8" fmla="*/ 110844 h 245571"/>
                <a:gd name="connsiteX9" fmla="*/ 432296 w 432296"/>
                <a:gd name="connsiteY9" fmla="*/ 122420 h 245571"/>
                <a:gd name="connsiteX10" fmla="*/ 432296 w 432296"/>
                <a:gd name="connsiteY10" fmla="*/ 131325 h 245571"/>
                <a:gd name="connsiteX11" fmla="*/ 140216 w 432296"/>
                <a:gd name="connsiteY11" fmla="*/ 245308 h 245571"/>
                <a:gd name="connsiteX12" fmla="*/ 30685 w 432296"/>
                <a:gd name="connsiteY12" fmla="*/ 200783 h 245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32296" h="245571">
                  <a:moveTo>
                    <a:pt x="30685" y="200783"/>
                  </a:moveTo>
                  <a:cubicBezTo>
                    <a:pt x="15547" y="186091"/>
                    <a:pt x="5975" y="166054"/>
                    <a:pt x="187" y="140564"/>
                  </a:cubicBezTo>
                  <a:lnTo>
                    <a:pt x="0" y="138341"/>
                  </a:lnTo>
                  <a:lnTo>
                    <a:pt x="114424" y="0"/>
                  </a:lnTo>
                  <a:lnTo>
                    <a:pt x="116284" y="37935"/>
                  </a:lnTo>
                  <a:cubicBezTo>
                    <a:pt x="119957" y="62758"/>
                    <a:pt x="125968" y="87246"/>
                    <a:pt x="133982" y="110844"/>
                  </a:cubicBezTo>
                  <a:cubicBezTo>
                    <a:pt x="148231" y="150026"/>
                    <a:pt x="184740" y="169617"/>
                    <a:pt x="240841" y="169617"/>
                  </a:cubicBezTo>
                  <a:cubicBezTo>
                    <a:pt x="268446" y="168726"/>
                    <a:pt x="295161" y="163383"/>
                    <a:pt x="320985" y="155369"/>
                  </a:cubicBezTo>
                  <a:cubicBezTo>
                    <a:pt x="358385" y="143792"/>
                    <a:pt x="394895" y="128654"/>
                    <a:pt x="430515" y="110844"/>
                  </a:cubicBezTo>
                  <a:cubicBezTo>
                    <a:pt x="431405" y="114406"/>
                    <a:pt x="432296" y="118858"/>
                    <a:pt x="432296" y="122420"/>
                  </a:cubicBezTo>
                  <a:lnTo>
                    <a:pt x="432296" y="131325"/>
                  </a:lnTo>
                  <a:cubicBezTo>
                    <a:pt x="337904" y="212360"/>
                    <a:pt x="214126" y="240856"/>
                    <a:pt x="140216" y="245308"/>
                  </a:cubicBezTo>
                  <a:cubicBezTo>
                    <a:pt x="99254" y="247980"/>
                    <a:pt x="59182" y="230170"/>
                    <a:pt x="30685" y="2007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8" name="Forme libre : forme 157">
              <a:extLst>
                <a:ext uri="{FF2B5EF4-FFF2-40B4-BE49-F238E27FC236}">
                  <a16:creationId xmlns:a16="http://schemas.microsoft.com/office/drawing/2014/main" id="{1B5AAC38-2C08-40E5-95BE-5338A8CAC415}"/>
                </a:ext>
              </a:extLst>
            </p:cNvPr>
            <p:cNvSpPr/>
            <p:nvPr/>
          </p:nvSpPr>
          <p:spPr>
            <a:xfrm rot="8716295">
              <a:off x="2107141" y="73528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9" name="Forme libre : forme 158">
              <a:extLst>
                <a:ext uri="{FF2B5EF4-FFF2-40B4-BE49-F238E27FC236}">
                  <a16:creationId xmlns:a16="http://schemas.microsoft.com/office/drawing/2014/main" id="{A4125EC0-3011-4C53-83B6-DD287160F4E7}"/>
                </a:ext>
              </a:extLst>
            </p:cNvPr>
            <p:cNvSpPr/>
            <p:nvPr/>
          </p:nvSpPr>
          <p:spPr>
            <a:xfrm rot="8716295">
              <a:off x="2242282" y="832029"/>
              <a:ext cx="282003" cy="313470"/>
            </a:xfrm>
            <a:custGeom>
              <a:avLst/>
              <a:gdLst>
                <a:gd name="connsiteX0" fmla="*/ 188208 w 282003"/>
                <a:gd name="connsiteY0" fmla="*/ 99785 h 313470"/>
                <a:gd name="connsiteX1" fmla="*/ 188208 w 282003"/>
                <a:gd name="connsiteY1" fmla="*/ 85923 h 313470"/>
                <a:gd name="connsiteX2" fmla="*/ 259276 w 282003"/>
                <a:gd name="connsiteY2" fmla="*/ 0 h 313470"/>
                <a:gd name="connsiteX3" fmla="*/ 274211 w 282003"/>
                <a:gd name="connsiteY3" fmla="*/ 28123 h 313470"/>
                <a:gd name="connsiteX4" fmla="*/ 282003 w 282003"/>
                <a:gd name="connsiteY4" fmla="*/ 85301 h 313470"/>
                <a:gd name="connsiteX5" fmla="*/ 282002 w 282003"/>
                <a:gd name="connsiteY5" fmla="*/ 94267 h 313470"/>
                <a:gd name="connsiteX6" fmla="*/ 0 w 282003"/>
                <a:gd name="connsiteY6" fmla="*/ 313470 h 313470"/>
                <a:gd name="connsiteX7" fmla="*/ 56482 w 282003"/>
                <a:gd name="connsiteY7" fmla="*/ 245183 h 313470"/>
                <a:gd name="connsiteX8" fmla="*/ 56482 w 282003"/>
                <a:gd name="connsiteY8" fmla="*/ 274960 h 313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2003" h="313470">
                  <a:moveTo>
                    <a:pt x="188208" y="99785"/>
                  </a:moveTo>
                  <a:lnTo>
                    <a:pt x="188208" y="85923"/>
                  </a:lnTo>
                  <a:lnTo>
                    <a:pt x="259276" y="0"/>
                  </a:lnTo>
                  <a:lnTo>
                    <a:pt x="274211" y="28123"/>
                  </a:lnTo>
                  <a:cubicBezTo>
                    <a:pt x="279330" y="44783"/>
                    <a:pt x="282002" y="63922"/>
                    <a:pt x="282003" y="85301"/>
                  </a:cubicBezTo>
                  <a:lnTo>
                    <a:pt x="282002" y="94267"/>
                  </a:lnTo>
                  <a:close/>
                  <a:moveTo>
                    <a:pt x="0" y="313470"/>
                  </a:moveTo>
                  <a:lnTo>
                    <a:pt x="56482" y="245183"/>
                  </a:lnTo>
                  <a:lnTo>
                    <a:pt x="56482" y="2749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0" name="Forme libre : forme 159">
              <a:extLst>
                <a:ext uri="{FF2B5EF4-FFF2-40B4-BE49-F238E27FC236}">
                  <a16:creationId xmlns:a16="http://schemas.microsoft.com/office/drawing/2014/main" id="{FF9B0781-A82C-47AF-AC1C-21015974FDE2}"/>
                </a:ext>
              </a:extLst>
            </p:cNvPr>
            <p:cNvSpPr/>
            <p:nvPr/>
          </p:nvSpPr>
          <p:spPr>
            <a:xfrm rot="8716295">
              <a:off x="2174558" y="64895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1" name="Forme libre : forme 160">
              <a:extLst>
                <a:ext uri="{FF2B5EF4-FFF2-40B4-BE49-F238E27FC236}">
                  <a16:creationId xmlns:a16="http://schemas.microsoft.com/office/drawing/2014/main" id="{E647964A-EFA4-4875-8CBA-E79FD37F80FD}"/>
                </a:ext>
              </a:extLst>
            </p:cNvPr>
            <p:cNvSpPr/>
            <p:nvPr/>
          </p:nvSpPr>
          <p:spPr>
            <a:xfrm rot="8716295">
              <a:off x="1937270" y="86929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2" name="Forme libre : forme 161">
              <a:extLst>
                <a:ext uri="{FF2B5EF4-FFF2-40B4-BE49-F238E27FC236}">
                  <a16:creationId xmlns:a16="http://schemas.microsoft.com/office/drawing/2014/main" id="{92A84223-E9E1-4AA2-A477-395EEFC832F2}"/>
                </a:ext>
              </a:extLst>
            </p:cNvPr>
            <p:cNvSpPr/>
            <p:nvPr/>
          </p:nvSpPr>
          <p:spPr>
            <a:xfrm rot="8716295">
              <a:off x="1748224" y="55346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3" name="Forme libre : forme 162">
              <a:extLst>
                <a:ext uri="{FF2B5EF4-FFF2-40B4-BE49-F238E27FC236}">
                  <a16:creationId xmlns:a16="http://schemas.microsoft.com/office/drawing/2014/main" id="{25B16338-FDD7-4AA6-9D09-5C2DE296D9CE}"/>
                </a:ext>
              </a:extLst>
            </p:cNvPr>
            <p:cNvSpPr/>
            <p:nvPr/>
          </p:nvSpPr>
          <p:spPr>
            <a:xfrm rot="8716295">
              <a:off x="1729983" y="34341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4" name="Forme libre : forme 163">
              <a:extLst>
                <a:ext uri="{FF2B5EF4-FFF2-40B4-BE49-F238E27FC236}">
                  <a16:creationId xmlns:a16="http://schemas.microsoft.com/office/drawing/2014/main" id="{FD37B6C0-63BE-47FD-9D48-08E0F916E511}"/>
                </a:ext>
              </a:extLst>
            </p:cNvPr>
            <p:cNvSpPr/>
            <p:nvPr/>
          </p:nvSpPr>
          <p:spPr>
            <a:xfrm rot="8716295">
              <a:off x="2073759" y="93127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5" name="Forme libre : forme 164">
              <a:extLst>
                <a:ext uri="{FF2B5EF4-FFF2-40B4-BE49-F238E27FC236}">
                  <a16:creationId xmlns:a16="http://schemas.microsoft.com/office/drawing/2014/main" id="{93F06371-0361-4141-BEE3-CC9849B020E6}"/>
                </a:ext>
              </a:extLst>
            </p:cNvPr>
            <p:cNvSpPr/>
            <p:nvPr/>
          </p:nvSpPr>
          <p:spPr>
            <a:xfrm rot="8716295">
              <a:off x="2367873" y="489398"/>
              <a:ext cx="81526" cy="84395"/>
            </a:xfrm>
            <a:custGeom>
              <a:avLst/>
              <a:gdLst>
                <a:gd name="connsiteX0" fmla="*/ 6524 w 81526"/>
                <a:gd name="connsiteY0" fmla="*/ 71981 h 84395"/>
                <a:gd name="connsiteX1" fmla="*/ 0 w 81526"/>
                <a:gd name="connsiteY1" fmla="*/ 56529 h 84395"/>
                <a:gd name="connsiteX2" fmla="*/ 46756 w 81526"/>
                <a:gd name="connsiteY2" fmla="*/ 0 h 84395"/>
                <a:gd name="connsiteX3" fmla="*/ 68595 w 81526"/>
                <a:gd name="connsiteY3" fmla="*/ 9221 h 84395"/>
                <a:gd name="connsiteX4" fmla="*/ 68595 w 81526"/>
                <a:gd name="connsiteY4" fmla="*/ 71292 h 84395"/>
                <a:gd name="connsiteX5" fmla="*/ 37559 w 81526"/>
                <a:gd name="connsiteY5" fmla="*/ 84395 h 84395"/>
                <a:gd name="connsiteX6" fmla="*/ 6524 w 81526"/>
                <a:gd name="connsiteY6" fmla="*/ 71981 h 84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526" h="84395">
                  <a:moveTo>
                    <a:pt x="6524" y="71981"/>
                  </a:moveTo>
                  <a:lnTo>
                    <a:pt x="0" y="56529"/>
                  </a:lnTo>
                  <a:lnTo>
                    <a:pt x="46756" y="0"/>
                  </a:lnTo>
                  <a:lnTo>
                    <a:pt x="68595" y="9221"/>
                  </a:lnTo>
                  <a:cubicBezTo>
                    <a:pt x="85837" y="25773"/>
                    <a:pt x="85836" y="54050"/>
                    <a:pt x="68595" y="71292"/>
                  </a:cubicBezTo>
                  <a:cubicBezTo>
                    <a:pt x="60319" y="79568"/>
                    <a:pt x="49284" y="84395"/>
                    <a:pt x="37559" y="84395"/>
                  </a:cubicBezTo>
                  <a:cubicBezTo>
                    <a:pt x="25835" y="84395"/>
                    <a:pt x="14800" y="80257"/>
                    <a:pt x="6524" y="7198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6" name="Forme libre : forme 165">
              <a:extLst>
                <a:ext uri="{FF2B5EF4-FFF2-40B4-BE49-F238E27FC236}">
                  <a16:creationId xmlns:a16="http://schemas.microsoft.com/office/drawing/2014/main" id="{5196C23A-E9EE-4BB5-B0E6-FCA193386C5B}"/>
                </a:ext>
              </a:extLst>
            </p:cNvPr>
            <p:cNvSpPr/>
            <p:nvPr/>
          </p:nvSpPr>
          <p:spPr>
            <a:xfrm rot="8716295">
              <a:off x="2184146" y="191304"/>
              <a:ext cx="250306" cy="296463"/>
            </a:xfrm>
            <a:custGeom>
              <a:avLst/>
              <a:gdLst>
                <a:gd name="connsiteX0" fmla="*/ 79067 w 250306"/>
                <a:gd name="connsiteY0" fmla="*/ 296463 h 296463"/>
                <a:gd name="connsiteX1" fmla="*/ 14192 w 250306"/>
                <a:gd name="connsiteY1" fmla="*/ 175766 h 296463"/>
                <a:gd name="connsiteX2" fmla="*/ 47384 w 250306"/>
                <a:gd name="connsiteY2" fmla="*/ 83734 h 296463"/>
                <a:gd name="connsiteX3" fmla="*/ 0 w 250306"/>
                <a:gd name="connsiteY3" fmla="*/ 83734 h 296463"/>
                <a:gd name="connsiteX4" fmla="*/ 69257 w 250306"/>
                <a:gd name="connsiteY4" fmla="*/ 0 h 296463"/>
                <a:gd name="connsiteX5" fmla="*/ 250306 w 250306"/>
                <a:gd name="connsiteY5" fmla="*/ 0 h 296463"/>
                <a:gd name="connsiteX6" fmla="*/ 250306 w 250306"/>
                <a:gd name="connsiteY6" fmla="*/ 83734 h 296463"/>
                <a:gd name="connsiteX7" fmla="*/ 152239 w 250306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0306" h="296463">
                  <a:moveTo>
                    <a:pt x="79067" y="296463"/>
                  </a:moveTo>
                  <a:lnTo>
                    <a:pt x="14192" y="175766"/>
                  </a:lnTo>
                  <a:lnTo>
                    <a:pt x="47384" y="83734"/>
                  </a:lnTo>
                  <a:lnTo>
                    <a:pt x="0" y="83734"/>
                  </a:lnTo>
                  <a:lnTo>
                    <a:pt x="69257" y="0"/>
                  </a:lnTo>
                  <a:lnTo>
                    <a:pt x="250306" y="0"/>
                  </a:lnTo>
                  <a:lnTo>
                    <a:pt x="250306" y="83734"/>
                  </a:lnTo>
                  <a:lnTo>
                    <a:pt x="152239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7" name="Forme libre : forme 166">
              <a:extLst>
                <a:ext uri="{FF2B5EF4-FFF2-40B4-BE49-F238E27FC236}">
                  <a16:creationId xmlns:a16="http://schemas.microsoft.com/office/drawing/2014/main" id="{AF8BB132-EA68-41A8-B3E5-2FCCBDEB7D5A}"/>
                </a:ext>
              </a:extLst>
            </p:cNvPr>
            <p:cNvSpPr/>
            <p:nvPr/>
          </p:nvSpPr>
          <p:spPr>
            <a:xfrm rot="8716295">
              <a:off x="2145876" y="32623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8" name="Forme libre : forme 167">
              <a:extLst>
                <a:ext uri="{FF2B5EF4-FFF2-40B4-BE49-F238E27FC236}">
                  <a16:creationId xmlns:a16="http://schemas.microsoft.com/office/drawing/2014/main" id="{0C891817-7BA1-4E19-A5B6-7030FDA5B7F1}"/>
                </a:ext>
              </a:extLst>
            </p:cNvPr>
            <p:cNvSpPr/>
            <p:nvPr/>
          </p:nvSpPr>
          <p:spPr>
            <a:xfrm rot="8716295">
              <a:off x="1834766" y="-57684"/>
              <a:ext cx="186564" cy="129320"/>
            </a:xfrm>
            <a:custGeom>
              <a:avLst/>
              <a:gdLst>
                <a:gd name="connsiteX0" fmla="*/ 123263 w 123263"/>
                <a:gd name="connsiteY0" fmla="*/ 85442 h 85442"/>
                <a:gd name="connsiteX1" fmla="*/ 0 w 123263"/>
                <a:gd name="connsiteY1" fmla="*/ 0 h 85442"/>
                <a:gd name="connsiteX2" fmla="*/ 66305 w 123263"/>
                <a:gd name="connsiteY2" fmla="*/ 0 h 85442"/>
                <a:gd name="connsiteX3" fmla="*/ 123263 w 123263"/>
                <a:gd name="connsiteY3" fmla="*/ 50123 h 85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63" h="85442">
                  <a:moveTo>
                    <a:pt x="123263" y="85442"/>
                  </a:moveTo>
                  <a:lnTo>
                    <a:pt x="0" y="0"/>
                  </a:lnTo>
                  <a:lnTo>
                    <a:pt x="66305" y="0"/>
                  </a:lnTo>
                  <a:cubicBezTo>
                    <a:pt x="103214" y="0"/>
                    <a:pt x="123263" y="15948"/>
                    <a:pt x="123263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9" name="Forme libre : forme 168">
              <a:extLst>
                <a:ext uri="{FF2B5EF4-FFF2-40B4-BE49-F238E27FC236}">
                  <a16:creationId xmlns:a16="http://schemas.microsoft.com/office/drawing/2014/main" id="{4406013B-1E43-4380-98C9-594C282D12B3}"/>
                </a:ext>
              </a:extLst>
            </p:cNvPr>
            <p:cNvSpPr/>
            <p:nvPr/>
          </p:nvSpPr>
          <p:spPr>
            <a:xfrm rot="8716295">
              <a:off x="1969949" y="-13794"/>
              <a:ext cx="394488" cy="148365"/>
            </a:xfrm>
            <a:custGeom>
              <a:avLst/>
              <a:gdLst>
                <a:gd name="connsiteX0" fmla="*/ 104802 w 260639"/>
                <a:gd name="connsiteY0" fmla="*/ 74264 h 98025"/>
                <a:gd name="connsiteX1" fmla="*/ 0 w 260639"/>
                <a:gd name="connsiteY1" fmla="*/ 1618 h 98025"/>
                <a:gd name="connsiteX2" fmla="*/ 0 w 260639"/>
                <a:gd name="connsiteY2" fmla="*/ 1425 h 98025"/>
                <a:gd name="connsiteX3" fmla="*/ 104803 w 260639"/>
                <a:gd name="connsiteY3" fmla="*/ 1425 h 98025"/>
                <a:gd name="connsiteX4" fmla="*/ 122123 w 260639"/>
                <a:gd name="connsiteY4" fmla="*/ 86270 h 98025"/>
                <a:gd name="connsiteX5" fmla="*/ 106178 w 260639"/>
                <a:gd name="connsiteY5" fmla="*/ 75218 h 98025"/>
                <a:gd name="connsiteX6" fmla="*/ 116721 w 260639"/>
                <a:gd name="connsiteY6" fmla="*/ 47439 h 98025"/>
                <a:gd name="connsiteX7" fmla="*/ 154014 w 260639"/>
                <a:gd name="connsiteY7" fmla="*/ 5981 h 98025"/>
                <a:gd name="connsiteX8" fmla="*/ 185455 w 260639"/>
                <a:gd name="connsiteY8" fmla="*/ 57 h 98025"/>
                <a:gd name="connsiteX9" fmla="*/ 260639 w 260639"/>
                <a:gd name="connsiteY9" fmla="*/ 88456 h 98025"/>
                <a:gd name="connsiteX10" fmla="*/ 260639 w 260639"/>
                <a:gd name="connsiteY10" fmla="*/ 94380 h 98025"/>
                <a:gd name="connsiteX11" fmla="*/ 198669 w 260639"/>
                <a:gd name="connsiteY11" fmla="*/ 98025 h 98025"/>
                <a:gd name="connsiteX12" fmla="*/ 198669 w 260639"/>
                <a:gd name="connsiteY12" fmla="*/ 81621 h 98025"/>
                <a:gd name="connsiteX13" fmla="*/ 164950 w 260639"/>
                <a:gd name="connsiteY13" fmla="*/ 40156 h 98025"/>
                <a:gd name="connsiteX14" fmla="*/ 127358 w 260639"/>
                <a:gd name="connsiteY14" fmla="*/ 65616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60639" h="98025">
                  <a:moveTo>
                    <a:pt x="104802" y="74264"/>
                  </a:moveTo>
                  <a:lnTo>
                    <a:pt x="0" y="1618"/>
                  </a:lnTo>
                  <a:lnTo>
                    <a:pt x="0" y="1425"/>
                  </a:lnTo>
                  <a:lnTo>
                    <a:pt x="104803" y="1425"/>
                  </a:lnTo>
                  <a:close/>
                  <a:moveTo>
                    <a:pt x="122123" y="86270"/>
                  </a:moveTo>
                  <a:lnTo>
                    <a:pt x="106178" y="75218"/>
                  </a:lnTo>
                  <a:lnTo>
                    <a:pt x="116721" y="47439"/>
                  </a:lnTo>
                  <a:cubicBezTo>
                    <a:pt x="127102" y="24008"/>
                    <a:pt x="137610" y="12816"/>
                    <a:pt x="154014" y="5981"/>
                  </a:cubicBezTo>
                  <a:cubicBezTo>
                    <a:pt x="164038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50369" y="40156"/>
                    <a:pt x="137041" y="49839"/>
                    <a:pt x="127358" y="656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0" name="Forme libre : forme 169">
              <a:extLst>
                <a:ext uri="{FF2B5EF4-FFF2-40B4-BE49-F238E27FC236}">
                  <a16:creationId xmlns:a16="http://schemas.microsoft.com/office/drawing/2014/main" id="{697ACF89-8E3E-4CA4-96AD-ED3067ABB920}"/>
                </a:ext>
              </a:extLst>
            </p:cNvPr>
            <p:cNvSpPr/>
            <p:nvPr/>
          </p:nvSpPr>
          <p:spPr>
            <a:xfrm rot="8716295">
              <a:off x="1736738" y="-7282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1" name="Forme libre : forme 170">
              <a:extLst>
                <a:ext uri="{FF2B5EF4-FFF2-40B4-BE49-F238E27FC236}">
                  <a16:creationId xmlns:a16="http://schemas.microsoft.com/office/drawing/2014/main" id="{914F8714-5CD4-41D2-92D2-73A622448BB2}"/>
                </a:ext>
              </a:extLst>
            </p:cNvPr>
            <p:cNvSpPr/>
            <p:nvPr/>
          </p:nvSpPr>
          <p:spPr>
            <a:xfrm rot="7484129">
              <a:off x="2394733" y="32841"/>
              <a:ext cx="135077" cy="94074"/>
            </a:xfrm>
            <a:custGeom>
              <a:avLst/>
              <a:gdLst>
                <a:gd name="connsiteX0" fmla="*/ 100725 w 135077"/>
                <a:gd name="connsiteY0" fmla="*/ 19729 h 94074"/>
                <a:gd name="connsiteX1" fmla="*/ 135077 w 135077"/>
                <a:gd name="connsiteY1" fmla="*/ 0 h 94074"/>
                <a:gd name="connsiteX2" fmla="*/ 135077 w 135077"/>
                <a:gd name="connsiteY2" fmla="*/ 19729 h 94074"/>
                <a:gd name="connsiteX3" fmla="*/ 0 w 135077"/>
                <a:gd name="connsiteY3" fmla="*/ 77576 h 94074"/>
                <a:gd name="connsiteX4" fmla="*/ 21327 w 135077"/>
                <a:gd name="connsiteY4" fmla="*/ 65328 h 94074"/>
                <a:gd name="connsiteX5" fmla="*/ 11439 w 135077"/>
                <a:gd name="connsiteY5" fmla="*/ 94074 h 94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5077" h="94074">
                  <a:moveTo>
                    <a:pt x="100725" y="19729"/>
                  </a:moveTo>
                  <a:lnTo>
                    <a:pt x="135077" y="0"/>
                  </a:lnTo>
                  <a:lnTo>
                    <a:pt x="135077" y="19729"/>
                  </a:lnTo>
                  <a:close/>
                  <a:moveTo>
                    <a:pt x="0" y="77576"/>
                  </a:moveTo>
                  <a:lnTo>
                    <a:pt x="21327" y="65328"/>
                  </a:lnTo>
                  <a:lnTo>
                    <a:pt x="11439" y="940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pic>
        <p:nvPicPr>
          <p:cNvPr id="172" name="Graphique 171">
            <a:extLst>
              <a:ext uri="{FF2B5EF4-FFF2-40B4-BE49-F238E27FC236}">
                <a16:creationId xmlns:a16="http://schemas.microsoft.com/office/drawing/2014/main" id="{EEB7B645-2A8D-4396-ACBA-9D90A74761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9935" y="2052251"/>
            <a:ext cx="3474258" cy="103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040414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uverture 2 - Foncé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que 2">
            <a:extLst>
              <a:ext uri="{FF2B5EF4-FFF2-40B4-BE49-F238E27FC236}">
                <a16:creationId xmlns:a16="http://schemas.microsoft.com/office/drawing/2014/main" id="{E7008A4A-56ED-4B79-8C76-07B31083E9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36903" y="2053956"/>
            <a:ext cx="3470194" cy="1035588"/>
          </a:xfrm>
          <a:prstGeom prst="rect">
            <a:avLst/>
          </a:prstGeom>
        </p:spPr>
      </p:pic>
      <p:sp>
        <p:nvSpPr>
          <p:cNvPr id="5" name="Forme libre : forme 4">
            <a:extLst>
              <a:ext uri="{FF2B5EF4-FFF2-40B4-BE49-F238E27FC236}">
                <a16:creationId xmlns:a16="http://schemas.microsoft.com/office/drawing/2014/main" id="{6BBA7953-6320-4985-B304-CAEF45B84CC1}"/>
              </a:ext>
            </a:extLst>
          </p:cNvPr>
          <p:cNvSpPr/>
          <p:nvPr userDrawn="1"/>
        </p:nvSpPr>
        <p:spPr>
          <a:xfrm rot="16200000">
            <a:off x="6276217" y="2274933"/>
            <a:ext cx="1037443" cy="4698124"/>
          </a:xfrm>
          <a:custGeom>
            <a:avLst/>
            <a:gdLst>
              <a:gd name="connsiteX0" fmla="*/ 1037443 w 1037443"/>
              <a:gd name="connsiteY0" fmla="*/ 4698124 h 4698124"/>
              <a:gd name="connsiteX1" fmla="*/ 0 w 1037443"/>
              <a:gd name="connsiteY1" fmla="*/ 4698124 h 4698124"/>
              <a:gd name="connsiteX2" fmla="*/ 386215 w 1037443"/>
              <a:gd name="connsiteY2" fmla="*/ 0 h 4698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37443" h="4698124">
                <a:moveTo>
                  <a:pt x="1037443" y="4698124"/>
                </a:moveTo>
                <a:lnTo>
                  <a:pt x="0" y="4698124"/>
                </a:lnTo>
                <a:lnTo>
                  <a:pt x="386215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48FA6A4C-949D-4D78-851A-5D85C0ACA219}"/>
              </a:ext>
            </a:extLst>
          </p:cNvPr>
          <p:cNvGrpSpPr/>
          <p:nvPr userDrawn="1"/>
        </p:nvGrpSpPr>
        <p:grpSpPr>
          <a:xfrm>
            <a:off x="4782105" y="4078441"/>
            <a:ext cx="4416497" cy="1125022"/>
            <a:chOff x="4782105" y="4078441"/>
            <a:chExt cx="4416497" cy="1125022"/>
          </a:xfrm>
          <a:solidFill>
            <a:schemeClr val="bg2">
              <a:alpha val="10000"/>
            </a:schemeClr>
          </a:solidFill>
        </p:grpSpPr>
        <p:sp>
          <p:nvSpPr>
            <p:cNvPr id="7" name="Forme libre : forme 6">
              <a:extLst>
                <a:ext uri="{FF2B5EF4-FFF2-40B4-BE49-F238E27FC236}">
                  <a16:creationId xmlns:a16="http://schemas.microsoft.com/office/drawing/2014/main" id="{791FB8C9-9221-4E4C-A4AC-2AAD9F08AE59}"/>
                </a:ext>
              </a:extLst>
            </p:cNvPr>
            <p:cNvSpPr/>
            <p:nvPr/>
          </p:nvSpPr>
          <p:spPr>
            <a:xfrm rot="8716295">
              <a:off x="8490768" y="467807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CAEA067D-BF83-4ED3-87B4-BB06FFFF2B66}"/>
                </a:ext>
              </a:extLst>
            </p:cNvPr>
            <p:cNvSpPr/>
            <p:nvPr/>
          </p:nvSpPr>
          <p:spPr>
            <a:xfrm rot="8716295">
              <a:off x="5559260" y="4523190"/>
              <a:ext cx="215177" cy="303156"/>
            </a:xfrm>
            <a:custGeom>
              <a:avLst/>
              <a:gdLst>
                <a:gd name="connsiteX0" fmla="*/ 122761 w 215177"/>
                <a:gd name="connsiteY0" fmla="*/ 256399 h 303156"/>
                <a:gd name="connsiteX1" fmla="*/ 122761 w 215177"/>
                <a:gd name="connsiteY1" fmla="*/ 105519 h 303156"/>
                <a:gd name="connsiteX2" fmla="*/ 122761 w 215177"/>
                <a:gd name="connsiteY2" fmla="*/ 99312 h 303156"/>
                <a:gd name="connsiteX3" fmla="*/ 91726 w 215177"/>
                <a:gd name="connsiteY3" fmla="*/ 75863 h 303156"/>
                <a:gd name="connsiteX4" fmla="*/ 0 w 215177"/>
                <a:gd name="connsiteY4" fmla="*/ 75863 h 303156"/>
                <a:gd name="connsiteX5" fmla="*/ 0 w 215177"/>
                <a:gd name="connsiteY5" fmla="*/ 0 h 303156"/>
                <a:gd name="connsiteX6" fmla="*/ 128968 w 215177"/>
                <a:gd name="connsiteY6" fmla="*/ 0 h 303156"/>
                <a:gd name="connsiteX7" fmla="*/ 215177 w 215177"/>
                <a:gd name="connsiteY7" fmla="*/ 75863 h 303156"/>
                <a:gd name="connsiteX8" fmla="*/ 215176 w 215177"/>
                <a:gd name="connsiteY8" fmla="*/ 303156 h 303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5177" h="303156">
                  <a:moveTo>
                    <a:pt x="122761" y="25639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0"/>
                  </a:lnTo>
                  <a:lnTo>
                    <a:pt x="128968" y="0"/>
                  </a:lnTo>
                  <a:cubicBezTo>
                    <a:pt x="184831" y="0"/>
                    <a:pt x="215176" y="24139"/>
                    <a:pt x="215177" y="75863"/>
                  </a:cubicBezTo>
                  <a:lnTo>
                    <a:pt x="215176" y="30315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ADF38186-185D-41F8-A6B1-FB10366A4CEE}"/>
                </a:ext>
              </a:extLst>
            </p:cNvPr>
            <p:cNvSpPr/>
            <p:nvPr/>
          </p:nvSpPr>
          <p:spPr>
            <a:xfrm rot="8716295">
              <a:off x="5692925" y="4561542"/>
              <a:ext cx="393603" cy="335006"/>
            </a:xfrm>
            <a:custGeom>
              <a:avLst/>
              <a:gdLst>
                <a:gd name="connsiteX0" fmla="*/ 77932 w 393603"/>
                <a:gd name="connsiteY0" fmla="*/ 299055 h 335006"/>
                <a:gd name="connsiteX1" fmla="*/ 77932 w 393603"/>
                <a:gd name="connsiteY1" fmla="*/ 66897 h 335006"/>
                <a:gd name="connsiteX2" fmla="*/ 0 w 393603"/>
                <a:gd name="connsiteY2" fmla="*/ 66898 h 335006"/>
                <a:gd name="connsiteX3" fmla="*/ 0 w 393603"/>
                <a:gd name="connsiteY3" fmla="*/ 0 h 335006"/>
                <a:gd name="connsiteX4" fmla="*/ 158623 w 393603"/>
                <a:gd name="connsiteY4" fmla="*/ 1 h 335006"/>
                <a:gd name="connsiteX5" fmla="*/ 158623 w 393603"/>
                <a:gd name="connsiteY5" fmla="*/ 111726 h 335006"/>
                <a:gd name="connsiteX6" fmla="*/ 160692 w 393603"/>
                <a:gd name="connsiteY6" fmla="*/ 111726 h 335006"/>
                <a:gd name="connsiteX7" fmla="*/ 192762 w 393603"/>
                <a:gd name="connsiteY7" fmla="*/ 39915 h 335006"/>
                <a:gd name="connsiteX8" fmla="*/ 231959 w 393603"/>
                <a:gd name="connsiteY8" fmla="*/ 7837 h 335006"/>
                <a:gd name="connsiteX9" fmla="*/ 393603 w 393603"/>
                <a:gd name="connsiteY9" fmla="*/ 140745 h 335006"/>
                <a:gd name="connsiteX10" fmla="*/ 300695 w 393603"/>
                <a:gd name="connsiteY10" fmla="*/ 146210 h 335006"/>
                <a:gd name="connsiteX11" fmla="*/ 300694 w 393603"/>
                <a:gd name="connsiteY11" fmla="*/ 121382 h 335006"/>
                <a:gd name="connsiteX12" fmla="*/ 249659 w 393603"/>
                <a:gd name="connsiteY12" fmla="*/ 58622 h 335006"/>
                <a:gd name="connsiteX13" fmla="*/ 168969 w 393603"/>
                <a:gd name="connsiteY13" fmla="*/ 191038 h 335006"/>
                <a:gd name="connsiteX14" fmla="*/ 168969 w 393603"/>
                <a:gd name="connsiteY14" fmla="*/ 321385 h 335006"/>
                <a:gd name="connsiteX15" fmla="*/ 148991 w 393603"/>
                <a:gd name="connsiteY15" fmla="*/ 335006 h 335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93603" h="335006">
                  <a:moveTo>
                    <a:pt x="77932" y="299055"/>
                  </a:moveTo>
                  <a:lnTo>
                    <a:pt x="77932" y="66897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1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71727" y="78967"/>
                    <a:pt x="181555" y="56208"/>
                    <a:pt x="192762" y="39915"/>
                  </a:cubicBezTo>
                  <a:lnTo>
                    <a:pt x="231959" y="7837"/>
                  </a:lnTo>
                  <a:lnTo>
                    <a:pt x="393603" y="140745"/>
                  </a:lnTo>
                  <a:lnTo>
                    <a:pt x="300695" y="146210"/>
                  </a:lnTo>
                  <a:lnTo>
                    <a:pt x="300694" y="121382"/>
                  </a:lnTo>
                  <a:cubicBezTo>
                    <a:pt x="300695" y="84140"/>
                    <a:pt x="279316" y="58622"/>
                    <a:pt x="249659" y="58622"/>
                  </a:cubicBezTo>
                  <a:cubicBezTo>
                    <a:pt x="205521" y="58621"/>
                    <a:pt x="168969" y="117244"/>
                    <a:pt x="168969" y="191038"/>
                  </a:cubicBezTo>
                  <a:lnTo>
                    <a:pt x="168969" y="321385"/>
                  </a:lnTo>
                  <a:lnTo>
                    <a:pt x="148991" y="33500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4B724F9D-95FF-4F02-B59A-7E5AC8B98AC8}"/>
                </a:ext>
              </a:extLst>
            </p:cNvPr>
            <p:cNvSpPr/>
            <p:nvPr/>
          </p:nvSpPr>
          <p:spPr>
            <a:xfrm rot="8716295">
              <a:off x="5659234" y="4556420"/>
              <a:ext cx="113018" cy="83608"/>
            </a:xfrm>
            <a:custGeom>
              <a:avLst/>
              <a:gdLst>
                <a:gd name="connsiteX0" fmla="*/ 0 w 113018"/>
                <a:gd name="connsiteY0" fmla="*/ 32910 h 83608"/>
                <a:gd name="connsiteX1" fmla="*/ 24482 w 113018"/>
                <a:gd name="connsiteY1" fmla="*/ 13621 h 83608"/>
                <a:gd name="connsiteX2" fmla="*/ 70259 w 113018"/>
                <a:gd name="connsiteY2" fmla="*/ 0 h 83608"/>
                <a:gd name="connsiteX3" fmla="*/ 113018 w 113018"/>
                <a:gd name="connsiteY3" fmla="*/ 51035 h 83608"/>
                <a:gd name="connsiteX4" fmla="*/ 100518 w 113018"/>
                <a:gd name="connsiteY4" fmla="*/ 83363 h 83608"/>
                <a:gd name="connsiteX5" fmla="*/ 100204 w 113018"/>
                <a:gd name="connsiteY5" fmla="*/ 83608 h 83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018" h="83608">
                  <a:moveTo>
                    <a:pt x="0" y="32910"/>
                  </a:moveTo>
                  <a:lnTo>
                    <a:pt x="24482" y="13621"/>
                  </a:lnTo>
                  <a:cubicBezTo>
                    <a:pt x="38534" y="6380"/>
                    <a:pt x="54052" y="1725"/>
                    <a:pt x="70259" y="0"/>
                  </a:cubicBezTo>
                  <a:cubicBezTo>
                    <a:pt x="103363" y="0"/>
                    <a:pt x="113018" y="28966"/>
                    <a:pt x="113018" y="51035"/>
                  </a:cubicBezTo>
                  <a:cubicBezTo>
                    <a:pt x="111984" y="63105"/>
                    <a:pt x="107501" y="74139"/>
                    <a:pt x="100518" y="83363"/>
                  </a:cubicBezTo>
                  <a:lnTo>
                    <a:pt x="100204" y="8360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D01436B5-D8EB-44DF-8B51-633BF4E9FB42}"/>
                </a:ext>
              </a:extLst>
            </p:cNvPr>
            <p:cNvSpPr/>
            <p:nvPr/>
          </p:nvSpPr>
          <p:spPr>
            <a:xfrm rot="8716295">
              <a:off x="5371633" y="4613095"/>
              <a:ext cx="88105" cy="83851"/>
            </a:xfrm>
            <a:custGeom>
              <a:avLst/>
              <a:gdLst>
                <a:gd name="connsiteX0" fmla="*/ 6112 w 88105"/>
                <a:gd name="connsiteY0" fmla="*/ 59305 h 83851"/>
                <a:gd name="connsiteX1" fmla="*/ 0 w 88105"/>
                <a:gd name="connsiteY1" fmla="*/ 44829 h 83851"/>
                <a:gd name="connsiteX2" fmla="*/ 0 w 88105"/>
                <a:gd name="connsiteY2" fmla="*/ 44139 h 83851"/>
                <a:gd name="connsiteX3" fmla="*/ 13104 w 88105"/>
                <a:gd name="connsiteY3" fmla="*/ 13104 h 83851"/>
                <a:gd name="connsiteX4" fmla="*/ 44139 w 88105"/>
                <a:gd name="connsiteY4" fmla="*/ 0 h 83851"/>
                <a:gd name="connsiteX5" fmla="*/ 75175 w 88105"/>
                <a:gd name="connsiteY5" fmla="*/ 13104 h 83851"/>
                <a:gd name="connsiteX6" fmla="*/ 75175 w 88105"/>
                <a:gd name="connsiteY6" fmla="*/ 75175 h 83851"/>
                <a:gd name="connsiteX7" fmla="*/ 54626 w 88105"/>
                <a:gd name="connsiteY7" fmla="*/ 83851 h 83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105" h="83851">
                  <a:moveTo>
                    <a:pt x="6112" y="59305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cubicBezTo>
                    <a:pt x="55864" y="0"/>
                    <a:pt x="66899" y="4828"/>
                    <a:pt x="75175" y="13104"/>
                  </a:cubicBezTo>
                  <a:cubicBezTo>
                    <a:pt x="92416" y="29657"/>
                    <a:pt x="92416" y="57933"/>
                    <a:pt x="75175" y="75175"/>
                  </a:cubicBezTo>
                  <a:lnTo>
                    <a:pt x="54626" y="8385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6F3BF20E-F037-4374-BB41-095B54D26F08}"/>
                </a:ext>
              </a:extLst>
            </p:cNvPr>
            <p:cNvSpPr/>
            <p:nvPr/>
          </p:nvSpPr>
          <p:spPr>
            <a:xfrm rot="8716295">
              <a:off x="5473646" y="4706746"/>
              <a:ext cx="91035" cy="188159"/>
            </a:xfrm>
            <a:custGeom>
              <a:avLst/>
              <a:gdLst>
                <a:gd name="connsiteX0" fmla="*/ 91035 w 91035"/>
                <a:gd name="connsiteY0" fmla="*/ 188159 h 188159"/>
                <a:gd name="connsiteX1" fmla="*/ 0 w 91035"/>
                <a:gd name="connsiteY1" fmla="*/ 100571 h 188159"/>
                <a:gd name="connsiteX2" fmla="*/ 0 w 91035"/>
                <a:gd name="connsiteY2" fmla="*/ 0 h 188159"/>
                <a:gd name="connsiteX3" fmla="*/ 91035 w 91035"/>
                <a:gd name="connsiteY3" fmla="*/ 74852 h 188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188159">
                  <a:moveTo>
                    <a:pt x="91035" y="188159"/>
                  </a:moveTo>
                  <a:lnTo>
                    <a:pt x="0" y="100571"/>
                  </a:lnTo>
                  <a:lnTo>
                    <a:pt x="0" y="0"/>
                  </a:lnTo>
                  <a:lnTo>
                    <a:pt x="91035" y="748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BBB1D061-FD31-402D-BCCB-6813149262F1}"/>
                </a:ext>
              </a:extLst>
            </p:cNvPr>
            <p:cNvSpPr/>
            <p:nvPr/>
          </p:nvSpPr>
          <p:spPr>
            <a:xfrm rot="8716295">
              <a:off x="6218962" y="4454620"/>
              <a:ext cx="171018" cy="106515"/>
            </a:xfrm>
            <a:custGeom>
              <a:avLst/>
              <a:gdLst>
                <a:gd name="connsiteX0" fmla="*/ 0 w 171018"/>
                <a:gd name="connsiteY0" fmla="*/ 19991 h 106515"/>
                <a:gd name="connsiteX1" fmla="*/ 13365 w 171018"/>
                <a:gd name="connsiteY1" fmla="*/ 9053 h 106515"/>
                <a:gd name="connsiteX2" fmla="*/ 60952 w 171018"/>
                <a:gd name="connsiteY2" fmla="*/ 87 h 106515"/>
                <a:gd name="connsiteX3" fmla="*/ 166956 w 171018"/>
                <a:gd name="connsiteY3" fmla="*/ 76705 h 106515"/>
                <a:gd name="connsiteX4" fmla="*/ 171018 w 171018"/>
                <a:gd name="connsiteY4" fmla="*/ 106515 h 106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018" h="106515">
                  <a:moveTo>
                    <a:pt x="0" y="19991"/>
                  </a:moveTo>
                  <a:lnTo>
                    <a:pt x="13365" y="9053"/>
                  </a:lnTo>
                  <a:cubicBezTo>
                    <a:pt x="28538" y="2846"/>
                    <a:pt x="44400" y="-602"/>
                    <a:pt x="60952" y="87"/>
                  </a:cubicBezTo>
                  <a:cubicBezTo>
                    <a:pt x="114229" y="-948"/>
                    <a:pt x="151600" y="26725"/>
                    <a:pt x="166956" y="76705"/>
                  </a:cubicBezTo>
                  <a:lnTo>
                    <a:pt x="171018" y="10651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B49834EB-4686-4A9A-AFBE-353B0A4BB9CC}"/>
                </a:ext>
              </a:extLst>
            </p:cNvPr>
            <p:cNvSpPr/>
            <p:nvPr/>
          </p:nvSpPr>
          <p:spPr>
            <a:xfrm rot="8716295">
              <a:off x="6005990" y="4487669"/>
              <a:ext cx="156555" cy="122067"/>
            </a:xfrm>
            <a:custGeom>
              <a:avLst/>
              <a:gdLst>
                <a:gd name="connsiteX0" fmla="*/ 65519 w 156555"/>
                <a:gd name="connsiteY0" fmla="*/ 76009 h 122067"/>
                <a:gd name="connsiteX1" fmla="*/ 65519 w 156555"/>
                <a:gd name="connsiteY1" fmla="*/ 24828 h 122067"/>
                <a:gd name="connsiteX2" fmla="*/ 0 w 156555"/>
                <a:gd name="connsiteY2" fmla="*/ 24828 h 122067"/>
                <a:gd name="connsiteX3" fmla="*/ 0 w 156555"/>
                <a:gd name="connsiteY3" fmla="*/ 3449 h 122067"/>
                <a:gd name="connsiteX4" fmla="*/ 156555 w 156555"/>
                <a:gd name="connsiteY4" fmla="*/ 0 h 122067"/>
                <a:gd name="connsiteX5" fmla="*/ 156554 w 156555"/>
                <a:gd name="connsiteY5" fmla="*/ 122067 h 122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6555" h="122067">
                  <a:moveTo>
                    <a:pt x="65519" y="76009"/>
                  </a:moveTo>
                  <a:lnTo>
                    <a:pt x="65519" y="24828"/>
                  </a:lnTo>
                  <a:lnTo>
                    <a:pt x="0" y="24828"/>
                  </a:lnTo>
                  <a:lnTo>
                    <a:pt x="0" y="3449"/>
                  </a:lnTo>
                  <a:cubicBezTo>
                    <a:pt x="49656" y="5517"/>
                    <a:pt x="101381" y="1379"/>
                    <a:pt x="156555" y="0"/>
                  </a:cubicBezTo>
                  <a:lnTo>
                    <a:pt x="156554" y="1220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676F5558-2730-4CE0-B993-EAC478371730}"/>
                </a:ext>
              </a:extLst>
            </p:cNvPr>
            <p:cNvSpPr/>
            <p:nvPr/>
          </p:nvSpPr>
          <p:spPr>
            <a:xfrm rot="7484129">
              <a:off x="6103422" y="4586563"/>
              <a:ext cx="308532" cy="296464"/>
            </a:xfrm>
            <a:custGeom>
              <a:avLst/>
              <a:gdLst>
                <a:gd name="connsiteX0" fmla="*/ 137293 w 308532"/>
                <a:gd name="connsiteY0" fmla="*/ 296464 h 296464"/>
                <a:gd name="connsiteX1" fmla="*/ 72419 w 308532"/>
                <a:gd name="connsiteY1" fmla="*/ 175766 h 296464"/>
                <a:gd name="connsiteX2" fmla="*/ 105610 w 308532"/>
                <a:gd name="connsiteY2" fmla="*/ 83734 h 296464"/>
                <a:gd name="connsiteX3" fmla="*/ 0 w 308532"/>
                <a:gd name="connsiteY3" fmla="*/ 83734 h 296464"/>
                <a:gd name="connsiteX4" fmla="*/ 0 w 308532"/>
                <a:gd name="connsiteY4" fmla="*/ 0 h 296464"/>
                <a:gd name="connsiteX5" fmla="*/ 265017 w 308532"/>
                <a:gd name="connsiteY5" fmla="*/ 0 h 296464"/>
                <a:gd name="connsiteX6" fmla="*/ 308532 w 308532"/>
                <a:gd name="connsiteY6" fmla="*/ 75260 h 296464"/>
                <a:gd name="connsiteX7" fmla="*/ 308532 w 308532"/>
                <a:gd name="connsiteY7" fmla="*/ 83734 h 296464"/>
                <a:gd name="connsiteX8" fmla="*/ 210466 w 308532"/>
                <a:gd name="connsiteY8" fmla="*/ 83734 h 296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532" h="296464">
                  <a:moveTo>
                    <a:pt x="137293" y="296464"/>
                  </a:moveTo>
                  <a:lnTo>
                    <a:pt x="72419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65017" y="0"/>
                  </a:lnTo>
                  <a:lnTo>
                    <a:pt x="308532" y="75260"/>
                  </a:lnTo>
                  <a:lnTo>
                    <a:pt x="308532" y="83734"/>
                  </a:lnTo>
                  <a:lnTo>
                    <a:pt x="210466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6446F284-DF3B-4BD3-84E9-63513197872A}"/>
                </a:ext>
              </a:extLst>
            </p:cNvPr>
            <p:cNvSpPr/>
            <p:nvPr/>
          </p:nvSpPr>
          <p:spPr>
            <a:xfrm rot="13089394">
              <a:off x="6309616" y="4543919"/>
              <a:ext cx="412568" cy="359948"/>
            </a:xfrm>
            <a:custGeom>
              <a:avLst/>
              <a:gdLst>
                <a:gd name="connsiteX0" fmla="*/ 412568 w 412568"/>
                <a:gd name="connsiteY0" fmla="*/ 252801 h 359948"/>
                <a:gd name="connsiteX1" fmla="*/ 138636 w 412568"/>
                <a:gd name="connsiteY1" fmla="*/ 359701 h 359948"/>
                <a:gd name="connsiteX2" fmla="*/ 35911 w 412568"/>
                <a:gd name="connsiteY2" fmla="*/ 317943 h 359948"/>
                <a:gd name="connsiteX3" fmla="*/ 0 w 412568"/>
                <a:gd name="connsiteY3" fmla="*/ 174296 h 359948"/>
                <a:gd name="connsiteX4" fmla="*/ 0 w 412568"/>
                <a:gd name="connsiteY4" fmla="*/ 74054 h 359948"/>
                <a:gd name="connsiteX5" fmla="*/ 112066 w 412568"/>
                <a:gd name="connsiteY5" fmla="*/ 0 h 359948"/>
                <a:gd name="connsiteX6" fmla="*/ 112747 w 412568"/>
                <a:gd name="connsiteY6" fmla="*/ 94956 h 359948"/>
                <a:gd name="connsiteX7" fmla="*/ 132789 w 412568"/>
                <a:gd name="connsiteY7" fmla="*/ 233593 h 359948"/>
                <a:gd name="connsiteX8" fmla="*/ 233008 w 412568"/>
                <a:gd name="connsiteY8" fmla="*/ 288713 h 359948"/>
                <a:gd name="connsiteX9" fmla="*/ 308172 w 412568"/>
                <a:gd name="connsiteY9" fmla="*/ 275351 h 359948"/>
                <a:gd name="connsiteX10" fmla="*/ 410898 w 412568"/>
                <a:gd name="connsiteY10" fmla="*/ 233593 h 359948"/>
                <a:gd name="connsiteX11" fmla="*/ 412568 w 412568"/>
                <a:gd name="connsiteY11" fmla="*/ 244449 h 359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2568" h="359948">
                  <a:moveTo>
                    <a:pt x="412568" y="252801"/>
                  </a:moveTo>
                  <a:cubicBezTo>
                    <a:pt x="324041" y="328800"/>
                    <a:pt x="207954" y="355526"/>
                    <a:pt x="138636" y="359701"/>
                  </a:cubicBezTo>
                  <a:cubicBezTo>
                    <a:pt x="100219" y="362207"/>
                    <a:pt x="62637" y="345504"/>
                    <a:pt x="35911" y="317943"/>
                  </a:cubicBezTo>
                  <a:cubicBezTo>
                    <a:pt x="7516" y="290383"/>
                    <a:pt x="0" y="242779"/>
                    <a:pt x="0" y="174296"/>
                  </a:cubicBezTo>
                  <a:lnTo>
                    <a:pt x="0" y="74054"/>
                  </a:lnTo>
                  <a:lnTo>
                    <a:pt x="112066" y="0"/>
                  </a:lnTo>
                  <a:lnTo>
                    <a:pt x="112747" y="94956"/>
                  </a:lnTo>
                  <a:cubicBezTo>
                    <a:pt x="110241" y="141725"/>
                    <a:pt x="117756" y="189329"/>
                    <a:pt x="132789" y="233593"/>
                  </a:cubicBezTo>
                  <a:cubicBezTo>
                    <a:pt x="146153" y="270339"/>
                    <a:pt x="180394" y="288713"/>
                    <a:pt x="233008" y="288713"/>
                  </a:cubicBezTo>
                  <a:cubicBezTo>
                    <a:pt x="258899" y="287878"/>
                    <a:pt x="283953" y="282866"/>
                    <a:pt x="308172" y="275351"/>
                  </a:cubicBezTo>
                  <a:cubicBezTo>
                    <a:pt x="343249" y="264493"/>
                    <a:pt x="377491" y="250296"/>
                    <a:pt x="410898" y="233593"/>
                  </a:cubicBezTo>
                  <a:cubicBezTo>
                    <a:pt x="411732" y="236933"/>
                    <a:pt x="412568" y="241109"/>
                    <a:pt x="412568" y="24444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88875692-D947-4058-8206-44233A06BFD3}"/>
                </a:ext>
              </a:extLst>
            </p:cNvPr>
            <p:cNvSpPr/>
            <p:nvPr/>
          </p:nvSpPr>
          <p:spPr>
            <a:xfrm rot="8716295">
              <a:off x="6597507" y="4422612"/>
              <a:ext cx="149044" cy="111064"/>
            </a:xfrm>
            <a:custGeom>
              <a:avLst/>
              <a:gdLst>
                <a:gd name="connsiteX0" fmla="*/ 0 w 149044"/>
                <a:gd name="connsiteY0" fmla="*/ 51375 h 111064"/>
                <a:gd name="connsiteX1" fmla="*/ 1002 w 149044"/>
                <a:gd name="connsiteY1" fmla="*/ 50432 h 111064"/>
                <a:gd name="connsiteX2" fmla="*/ 98612 w 149044"/>
                <a:gd name="connsiteY2" fmla="*/ 0 h 111064"/>
                <a:gd name="connsiteX3" fmla="*/ 149044 w 149044"/>
                <a:gd name="connsiteY3" fmla="*/ 60193 h 111064"/>
                <a:gd name="connsiteX4" fmla="*/ 134300 w 149044"/>
                <a:gd name="connsiteY4" fmla="*/ 98322 h 111064"/>
                <a:gd name="connsiteX5" fmla="*/ 117977 w 149044"/>
                <a:gd name="connsiteY5" fmla="*/ 111064 h 111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044" h="111064">
                  <a:moveTo>
                    <a:pt x="0" y="51375"/>
                  </a:moveTo>
                  <a:lnTo>
                    <a:pt x="1002" y="50432"/>
                  </a:lnTo>
                  <a:cubicBezTo>
                    <a:pt x="25404" y="21963"/>
                    <a:pt x="60381" y="4067"/>
                    <a:pt x="98612" y="0"/>
                  </a:cubicBezTo>
                  <a:cubicBezTo>
                    <a:pt x="137657" y="0"/>
                    <a:pt x="149044" y="34164"/>
                    <a:pt x="149044" y="60193"/>
                  </a:cubicBezTo>
                  <a:cubicBezTo>
                    <a:pt x="147824" y="74428"/>
                    <a:pt x="142536" y="87443"/>
                    <a:pt x="134300" y="98322"/>
                  </a:cubicBezTo>
                  <a:lnTo>
                    <a:pt x="117977" y="1110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371804DA-D0A5-4840-894B-07AAE1064663}"/>
                </a:ext>
              </a:extLst>
            </p:cNvPr>
            <p:cNvSpPr/>
            <p:nvPr/>
          </p:nvSpPr>
          <p:spPr>
            <a:xfrm rot="8716295">
              <a:off x="6708126" y="4876229"/>
              <a:ext cx="139286" cy="121327"/>
            </a:xfrm>
            <a:custGeom>
              <a:avLst/>
              <a:gdLst>
                <a:gd name="connsiteX0" fmla="*/ 26453 w 139286"/>
                <a:gd name="connsiteY0" fmla="*/ 96267 h 121327"/>
                <a:gd name="connsiteX1" fmla="*/ 0 w 139286"/>
                <a:gd name="connsiteY1" fmla="*/ 33618 h 121327"/>
                <a:gd name="connsiteX2" fmla="*/ 0 w 139286"/>
                <a:gd name="connsiteY2" fmla="*/ 32225 h 121327"/>
                <a:gd name="connsiteX3" fmla="*/ 13607 w 139286"/>
                <a:gd name="connsiteY3" fmla="*/ 0 h 121327"/>
                <a:gd name="connsiteX4" fmla="*/ 139286 w 139286"/>
                <a:gd name="connsiteY4" fmla="*/ 103337 h 121327"/>
                <a:gd name="connsiteX5" fmla="*/ 123037 w 139286"/>
                <a:gd name="connsiteY5" fmla="*/ 114366 h 121327"/>
                <a:gd name="connsiteX6" fmla="*/ 89101 w 139286"/>
                <a:gd name="connsiteY6" fmla="*/ 121327 h 121327"/>
                <a:gd name="connsiteX7" fmla="*/ 26453 w 139286"/>
                <a:gd name="connsiteY7" fmla="*/ 96267 h 121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9286" h="121327">
                  <a:moveTo>
                    <a:pt x="26453" y="96267"/>
                  </a:moveTo>
                  <a:cubicBezTo>
                    <a:pt x="9746" y="79561"/>
                    <a:pt x="0" y="57285"/>
                    <a:pt x="0" y="33618"/>
                  </a:cubicBezTo>
                  <a:lnTo>
                    <a:pt x="0" y="32225"/>
                  </a:lnTo>
                  <a:lnTo>
                    <a:pt x="13607" y="0"/>
                  </a:lnTo>
                  <a:lnTo>
                    <a:pt x="139286" y="103337"/>
                  </a:lnTo>
                  <a:lnTo>
                    <a:pt x="123037" y="114366"/>
                  </a:lnTo>
                  <a:cubicBezTo>
                    <a:pt x="112421" y="118890"/>
                    <a:pt x="100935" y="121327"/>
                    <a:pt x="89101" y="121327"/>
                  </a:cubicBezTo>
                  <a:cubicBezTo>
                    <a:pt x="65435" y="121327"/>
                    <a:pt x="43159" y="112973"/>
                    <a:pt x="26453" y="9626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6EEBC52A-3D14-419B-8366-97197098C604}"/>
                </a:ext>
              </a:extLst>
            </p:cNvPr>
            <p:cNvSpPr/>
            <p:nvPr/>
          </p:nvSpPr>
          <p:spPr>
            <a:xfrm rot="8716295">
              <a:off x="4782105" y="4823045"/>
              <a:ext cx="311921" cy="362797"/>
            </a:xfrm>
            <a:custGeom>
              <a:avLst/>
              <a:gdLst>
                <a:gd name="connsiteX0" fmla="*/ 311920 w 311921"/>
                <a:gd name="connsiteY0" fmla="*/ 120307 h 362797"/>
                <a:gd name="connsiteX1" fmla="*/ 138360 w 311921"/>
                <a:gd name="connsiteY1" fmla="*/ 1 h 362797"/>
                <a:gd name="connsiteX2" fmla="*/ 138360 w 311921"/>
                <a:gd name="connsiteY2" fmla="*/ 0 h 362797"/>
                <a:gd name="connsiteX3" fmla="*/ 311921 w 311921"/>
                <a:gd name="connsiteY3" fmla="*/ 120307 h 362797"/>
                <a:gd name="connsiteX4" fmla="*/ 0 w 311921"/>
                <a:gd name="connsiteY4" fmla="*/ 362797 h 362797"/>
                <a:gd name="connsiteX5" fmla="*/ 0 w 311921"/>
                <a:gd name="connsiteY5" fmla="*/ 320869 h 362797"/>
                <a:gd name="connsiteX6" fmla="*/ 27877 w 311921"/>
                <a:gd name="connsiteY6" fmla="*/ 343790 h 362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1921" h="362797">
                  <a:moveTo>
                    <a:pt x="311920" y="120307"/>
                  </a:moveTo>
                  <a:lnTo>
                    <a:pt x="138360" y="1"/>
                  </a:lnTo>
                  <a:lnTo>
                    <a:pt x="138360" y="0"/>
                  </a:lnTo>
                  <a:lnTo>
                    <a:pt x="311921" y="120307"/>
                  </a:lnTo>
                  <a:close/>
                  <a:moveTo>
                    <a:pt x="0" y="362797"/>
                  </a:moveTo>
                  <a:lnTo>
                    <a:pt x="0" y="320869"/>
                  </a:lnTo>
                  <a:lnTo>
                    <a:pt x="27877" y="34379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53F2D732-A25A-4CEE-B98E-E5DC8CC54158}"/>
                </a:ext>
              </a:extLst>
            </p:cNvPr>
            <p:cNvSpPr/>
            <p:nvPr/>
          </p:nvSpPr>
          <p:spPr>
            <a:xfrm rot="8716295">
              <a:off x="5132149" y="4738008"/>
              <a:ext cx="148614" cy="131720"/>
            </a:xfrm>
            <a:custGeom>
              <a:avLst/>
              <a:gdLst>
                <a:gd name="connsiteX0" fmla="*/ 26453 w 148614"/>
                <a:gd name="connsiteY0" fmla="*/ 106660 h 131720"/>
                <a:gd name="connsiteX1" fmla="*/ 0 w 148614"/>
                <a:gd name="connsiteY1" fmla="*/ 44011 h 131720"/>
                <a:gd name="connsiteX2" fmla="*/ 0 w 148614"/>
                <a:gd name="connsiteY2" fmla="*/ 42618 h 131720"/>
                <a:gd name="connsiteX3" fmla="*/ 17995 w 148614"/>
                <a:gd name="connsiteY3" fmla="*/ 0 h 131720"/>
                <a:gd name="connsiteX4" fmla="*/ 148614 w 148614"/>
                <a:gd name="connsiteY4" fmla="*/ 107398 h 131720"/>
                <a:gd name="connsiteX5" fmla="*/ 123037 w 148614"/>
                <a:gd name="connsiteY5" fmla="*/ 124759 h 131720"/>
                <a:gd name="connsiteX6" fmla="*/ 89101 w 148614"/>
                <a:gd name="connsiteY6" fmla="*/ 131720 h 131720"/>
                <a:gd name="connsiteX7" fmla="*/ 26453 w 148614"/>
                <a:gd name="connsiteY7" fmla="*/ 106660 h 13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8614" h="131720">
                  <a:moveTo>
                    <a:pt x="26453" y="106660"/>
                  </a:moveTo>
                  <a:cubicBezTo>
                    <a:pt x="9746" y="89954"/>
                    <a:pt x="0" y="67678"/>
                    <a:pt x="0" y="44011"/>
                  </a:cubicBezTo>
                  <a:lnTo>
                    <a:pt x="0" y="42618"/>
                  </a:lnTo>
                  <a:lnTo>
                    <a:pt x="17995" y="0"/>
                  </a:lnTo>
                  <a:lnTo>
                    <a:pt x="148614" y="107398"/>
                  </a:lnTo>
                  <a:lnTo>
                    <a:pt x="123037" y="124759"/>
                  </a:lnTo>
                  <a:cubicBezTo>
                    <a:pt x="112421" y="129283"/>
                    <a:pt x="100935" y="131720"/>
                    <a:pt x="89101" y="131720"/>
                  </a:cubicBezTo>
                  <a:cubicBezTo>
                    <a:pt x="65435" y="131720"/>
                    <a:pt x="43159" y="123366"/>
                    <a:pt x="26453" y="10666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937A52BD-510B-4C03-9C16-CD9D234ABB7D}"/>
                </a:ext>
              </a:extLst>
            </p:cNvPr>
            <p:cNvSpPr/>
            <p:nvPr/>
          </p:nvSpPr>
          <p:spPr>
            <a:xfrm rot="8716295">
              <a:off x="5043572" y="4624951"/>
              <a:ext cx="150722" cy="101024"/>
            </a:xfrm>
            <a:custGeom>
              <a:avLst/>
              <a:gdLst>
                <a:gd name="connsiteX0" fmla="*/ 0 w 150722"/>
                <a:gd name="connsiteY0" fmla="*/ 25991 h 101024"/>
                <a:gd name="connsiteX1" fmla="*/ 28034 w 150722"/>
                <a:gd name="connsiteY1" fmla="*/ 6961 h 101024"/>
                <a:gd name="connsiteX2" fmla="*/ 61968 w 150722"/>
                <a:gd name="connsiteY2" fmla="*/ 0 h 101024"/>
                <a:gd name="connsiteX3" fmla="*/ 124618 w 150722"/>
                <a:gd name="connsiteY3" fmla="*/ 26453 h 101024"/>
                <a:gd name="connsiteX4" fmla="*/ 150722 w 150722"/>
                <a:gd name="connsiteY4" fmla="*/ 88580 h 101024"/>
                <a:gd name="connsiteX5" fmla="*/ 148306 w 150722"/>
                <a:gd name="connsiteY5" fmla="*/ 101024 h 10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0722" h="101024">
                  <a:moveTo>
                    <a:pt x="0" y="25991"/>
                  </a:moveTo>
                  <a:lnTo>
                    <a:pt x="28034" y="6961"/>
                  </a:lnTo>
                  <a:cubicBezTo>
                    <a:pt x="38649" y="2437"/>
                    <a:pt x="50135" y="0"/>
                    <a:pt x="61968" y="0"/>
                  </a:cubicBezTo>
                  <a:cubicBezTo>
                    <a:pt x="85637" y="0"/>
                    <a:pt x="107912" y="9746"/>
                    <a:pt x="124618" y="26453"/>
                  </a:cubicBezTo>
                  <a:cubicBezTo>
                    <a:pt x="142021" y="43159"/>
                    <a:pt x="150722" y="65782"/>
                    <a:pt x="150722" y="88580"/>
                  </a:cubicBezTo>
                  <a:lnTo>
                    <a:pt x="148306" y="1010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C719F00E-5A8E-45CC-8F56-B823EE2F6BB7}"/>
                </a:ext>
              </a:extLst>
            </p:cNvPr>
            <p:cNvSpPr/>
            <p:nvPr/>
          </p:nvSpPr>
          <p:spPr>
            <a:xfrm rot="8716295">
              <a:off x="8546573" y="4108588"/>
              <a:ext cx="215176" cy="313567"/>
            </a:xfrm>
            <a:custGeom>
              <a:avLst/>
              <a:gdLst>
                <a:gd name="connsiteX0" fmla="*/ 122760 w 215176"/>
                <a:gd name="connsiteY0" fmla="*/ 266809 h 313567"/>
                <a:gd name="connsiteX1" fmla="*/ 122761 w 215176"/>
                <a:gd name="connsiteY1" fmla="*/ 105519 h 313567"/>
                <a:gd name="connsiteX2" fmla="*/ 122761 w 215176"/>
                <a:gd name="connsiteY2" fmla="*/ 99312 h 313567"/>
                <a:gd name="connsiteX3" fmla="*/ 91726 w 215176"/>
                <a:gd name="connsiteY3" fmla="*/ 75863 h 313567"/>
                <a:gd name="connsiteX4" fmla="*/ 0 w 215176"/>
                <a:gd name="connsiteY4" fmla="*/ 75863 h 313567"/>
                <a:gd name="connsiteX5" fmla="*/ 0 w 215176"/>
                <a:gd name="connsiteY5" fmla="*/ 0 h 313567"/>
                <a:gd name="connsiteX6" fmla="*/ 128968 w 215176"/>
                <a:gd name="connsiteY6" fmla="*/ 0 h 313567"/>
                <a:gd name="connsiteX7" fmla="*/ 215176 w 215176"/>
                <a:gd name="connsiteY7" fmla="*/ 75863 h 313567"/>
                <a:gd name="connsiteX8" fmla="*/ 215176 w 215176"/>
                <a:gd name="connsiteY8" fmla="*/ 313567 h 31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5176" h="313567">
                  <a:moveTo>
                    <a:pt x="122760" y="26680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0"/>
                  </a:lnTo>
                  <a:lnTo>
                    <a:pt x="128968" y="0"/>
                  </a:lnTo>
                  <a:cubicBezTo>
                    <a:pt x="184831" y="0"/>
                    <a:pt x="215177" y="24139"/>
                    <a:pt x="215176" y="75863"/>
                  </a:cubicBezTo>
                  <a:lnTo>
                    <a:pt x="215176" y="3135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25DD9CA0-AFE3-4B5F-B15D-E7FBAF734592}"/>
                </a:ext>
              </a:extLst>
            </p:cNvPr>
            <p:cNvSpPr/>
            <p:nvPr/>
          </p:nvSpPr>
          <p:spPr>
            <a:xfrm rot="8716295">
              <a:off x="8681306" y="4151041"/>
              <a:ext cx="394490" cy="343138"/>
            </a:xfrm>
            <a:custGeom>
              <a:avLst/>
              <a:gdLst>
                <a:gd name="connsiteX0" fmla="*/ 77932 w 394490"/>
                <a:gd name="connsiteY0" fmla="*/ 311621 h 343138"/>
                <a:gd name="connsiteX1" fmla="*/ 77932 w 394490"/>
                <a:gd name="connsiteY1" fmla="*/ 69053 h 343138"/>
                <a:gd name="connsiteX2" fmla="*/ 0 w 394490"/>
                <a:gd name="connsiteY2" fmla="*/ 69054 h 343138"/>
                <a:gd name="connsiteX3" fmla="*/ 0 w 394490"/>
                <a:gd name="connsiteY3" fmla="*/ 2156 h 343138"/>
                <a:gd name="connsiteX4" fmla="*/ 158623 w 394490"/>
                <a:gd name="connsiteY4" fmla="*/ 2157 h 343138"/>
                <a:gd name="connsiteX5" fmla="*/ 158624 w 394490"/>
                <a:gd name="connsiteY5" fmla="*/ 113882 h 343138"/>
                <a:gd name="connsiteX6" fmla="*/ 160692 w 394490"/>
                <a:gd name="connsiteY6" fmla="*/ 113882 h 343138"/>
                <a:gd name="connsiteX7" fmla="*/ 233107 w 394490"/>
                <a:gd name="connsiteY7" fmla="*/ 9053 h 343138"/>
                <a:gd name="connsiteX8" fmla="*/ 280694 w 394490"/>
                <a:gd name="connsiteY8" fmla="*/ 87 h 343138"/>
                <a:gd name="connsiteX9" fmla="*/ 394490 w 394490"/>
                <a:gd name="connsiteY9" fmla="*/ 133882 h 343138"/>
                <a:gd name="connsiteX10" fmla="*/ 394490 w 394490"/>
                <a:gd name="connsiteY10" fmla="*/ 142849 h 343138"/>
                <a:gd name="connsiteX11" fmla="*/ 300694 w 394490"/>
                <a:gd name="connsiteY11" fmla="*/ 148365 h 343138"/>
                <a:gd name="connsiteX12" fmla="*/ 300694 w 394490"/>
                <a:gd name="connsiteY12" fmla="*/ 123538 h 343138"/>
                <a:gd name="connsiteX13" fmla="*/ 249660 w 394490"/>
                <a:gd name="connsiteY13" fmla="*/ 60778 h 343138"/>
                <a:gd name="connsiteX14" fmla="*/ 168969 w 394490"/>
                <a:gd name="connsiteY14" fmla="*/ 193194 h 343138"/>
                <a:gd name="connsiteX15" fmla="*/ 168969 w 394490"/>
                <a:gd name="connsiteY15" fmla="*/ 323541 h 343138"/>
                <a:gd name="connsiteX16" fmla="*/ 140226 w 394490"/>
                <a:gd name="connsiteY16" fmla="*/ 343138 h 343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4490" h="343138">
                  <a:moveTo>
                    <a:pt x="77932" y="311621"/>
                  </a:moveTo>
                  <a:lnTo>
                    <a:pt x="77932" y="69053"/>
                  </a:lnTo>
                  <a:lnTo>
                    <a:pt x="0" y="69054"/>
                  </a:lnTo>
                  <a:lnTo>
                    <a:pt x="0" y="2156"/>
                  </a:lnTo>
                  <a:lnTo>
                    <a:pt x="158623" y="2157"/>
                  </a:lnTo>
                  <a:lnTo>
                    <a:pt x="158624" y="113882"/>
                  </a:lnTo>
                  <a:lnTo>
                    <a:pt x="160692" y="113882"/>
                  </a:lnTo>
                  <a:cubicBezTo>
                    <a:pt x="182762" y="48364"/>
                    <a:pt x="200003" y="22846"/>
                    <a:pt x="233107" y="9053"/>
                  </a:cubicBezTo>
                  <a:cubicBezTo>
                    <a:pt x="248280" y="2846"/>
                    <a:pt x="264142" y="-602"/>
                    <a:pt x="280694" y="87"/>
                  </a:cubicBezTo>
                  <a:cubicBezTo>
                    <a:pt x="351730" y="-1293"/>
                    <a:pt x="394490" y="48364"/>
                    <a:pt x="394490" y="133882"/>
                  </a:cubicBezTo>
                  <a:lnTo>
                    <a:pt x="394490" y="142849"/>
                  </a:lnTo>
                  <a:lnTo>
                    <a:pt x="300694" y="148365"/>
                  </a:lnTo>
                  <a:lnTo>
                    <a:pt x="300694" y="123538"/>
                  </a:lnTo>
                  <a:cubicBezTo>
                    <a:pt x="300695" y="86296"/>
                    <a:pt x="279316" y="60778"/>
                    <a:pt x="249660" y="60778"/>
                  </a:cubicBezTo>
                  <a:cubicBezTo>
                    <a:pt x="205521" y="60778"/>
                    <a:pt x="168968" y="119399"/>
                    <a:pt x="168969" y="193194"/>
                  </a:cubicBezTo>
                  <a:lnTo>
                    <a:pt x="168969" y="323541"/>
                  </a:lnTo>
                  <a:lnTo>
                    <a:pt x="140226" y="3431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24323A32-7D51-45A5-8D91-2223C2D14BC5}"/>
                </a:ext>
              </a:extLst>
            </p:cNvPr>
            <p:cNvSpPr/>
            <p:nvPr/>
          </p:nvSpPr>
          <p:spPr>
            <a:xfrm rot="8716295">
              <a:off x="8646997" y="4143256"/>
              <a:ext cx="121064" cy="89924"/>
            </a:xfrm>
            <a:custGeom>
              <a:avLst/>
              <a:gdLst>
                <a:gd name="connsiteX0" fmla="*/ 0 w 121064"/>
                <a:gd name="connsiteY0" fmla="*/ 39250 h 89924"/>
                <a:gd name="connsiteX1" fmla="*/ 32528 w 121064"/>
                <a:gd name="connsiteY1" fmla="*/ 13621 h 89924"/>
                <a:gd name="connsiteX2" fmla="*/ 78305 w 121064"/>
                <a:gd name="connsiteY2" fmla="*/ 0 h 89924"/>
                <a:gd name="connsiteX3" fmla="*/ 121064 w 121064"/>
                <a:gd name="connsiteY3" fmla="*/ 51035 h 89924"/>
                <a:gd name="connsiteX4" fmla="*/ 108563 w 121064"/>
                <a:gd name="connsiteY4" fmla="*/ 83363 h 89924"/>
                <a:gd name="connsiteX5" fmla="*/ 100159 w 121064"/>
                <a:gd name="connsiteY5" fmla="*/ 89924 h 89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1064" h="89924">
                  <a:moveTo>
                    <a:pt x="0" y="39250"/>
                  </a:moveTo>
                  <a:lnTo>
                    <a:pt x="32528" y="13621"/>
                  </a:lnTo>
                  <a:cubicBezTo>
                    <a:pt x="46580" y="6380"/>
                    <a:pt x="62098" y="1724"/>
                    <a:pt x="78305" y="0"/>
                  </a:cubicBezTo>
                  <a:cubicBezTo>
                    <a:pt x="111409" y="0"/>
                    <a:pt x="121065" y="28966"/>
                    <a:pt x="121064" y="51035"/>
                  </a:cubicBezTo>
                  <a:cubicBezTo>
                    <a:pt x="120030" y="63105"/>
                    <a:pt x="115546" y="74139"/>
                    <a:pt x="108563" y="83363"/>
                  </a:cubicBezTo>
                  <a:lnTo>
                    <a:pt x="100159" y="899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CF24F6A6-E56B-4B69-A6B4-F595B4AECDB5}"/>
                </a:ext>
              </a:extLst>
            </p:cNvPr>
            <p:cNvSpPr/>
            <p:nvPr/>
          </p:nvSpPr>
          <p:spPr>
            <a:xfrm rot="8716295">
              <a:off x="8360649" y="4203945"/>
              <a:ext cx="88105" cy="88278"/>
            </a:xfrm>
            <a:custGeom>
              <a:avLst/>
              <a:gdLst>
                <a:gd name="connsiteX0" fmla="*/ 11702 w 88105"/>
                <a:gd name="connsiteY0" fmla="*/ 72544 h 88278"/>
                <a:gd name="connsiteX1" fmla="*/ 0 w 88105"/>
                <a:gd name="connsiteY1" fmla="*/ 44829 h 88278"/>
                <a:gd name="connsiteX2" fmla="*/ 0 w 88105"/>
                <a:gd name="connsiteY2" fmla="*/ 44139 h 88278"/>
                <a:gd name="connsiteX3" fmla="*/ 13104 w 88105"/>
                <a:gd name="connsiteY3" fmla="*/ 13104 h 88278"/>
                <a:gd name="connsiteX4" fmla="*/ 44139 w 88105"/>
                <a:gd name="connsiteY4" fmla="*/ 0 h 88278"/>
                <a:gd name="connsiteX5" fmla="*/ 75175 w 88105"/>
                <a:gd name="connsiteY5" fmla="*/ 13104 h 88278"/>
                <a:gd name="connsiteX6" fmla="*/ 75175 w 88105"/>
                <a:gd name="connsiteY6" fmla="*/ 75175 h 88278"/>
                <a:gd name="connsiteX7" fmla="*/ 44139 w 88105"/>
                <a:gd name="connsiteY7" fmla="*/ 88278 h 88278"/>
                <a:gd name="connsiteX8" fmla="*/ 37752 w 88105"/>
                <a:gd name="connsiteY8" fmla="*/ 85724 h 88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8105" h="88278">
                  <a:moveTo>
                    <a:pt x="11702" y="72544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cubicBezTo>
                    <a:pt x="55864" y="0"/>
                    <a:pt x="66899" y="4828"/>
                    <a:pt x="75175" y="13104"/>
                  </a:cubicBezTo>
                  <a:cubicBezTo>
                    <a:pt x="92416" y="29657"/>
                    <a:pt x="92416" y="57933"/>
                    <a:pt x="75175" y="75175"/>
                  </a:cubicBezTo>
                  <a:cubicBezTo>
                    <a:pt x="66899" y="83451"/>
                    <a:pt x="55864" y="88278"/>
                    <a:pt x="44139" y="88278"/>
                  </a:cubicBezTo>
                  <a:lnTo>
                    <a:pt x="37752" y="857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823BDB41-A1E6-41AA-847A-64C2D14D0B20}"/>
                </a:ext>
              </a:extLst>
            </p:cNvPr>
            <p:cNvSpPr/>
            <p:nvPr/>
          </p:nvSpPr>
          <p:spPr>
            <a:xfrm rot="8716295">
              <a:off x="8270439" y="4208809"/>
              <a:ext cx="54467" cy="27557"/>
            </a:xfrm>
            <a:custGeom>
              <a:avLst/>
              <a:gdLst>
                <a:gd name="connsiteX0" fmla="*/ 0 w 54467"/>
                <a:gd name="connsiteY0" fmla="*/ 0 h 27557"/>
                <a:gd name="connsiteX1" fmla="*/ 54467 w 54467"/>
                <a:gd name="connsiteY1" fmla="*/ 0 h 27557"/>
                <a:gd name="connsiteX2" fmla="*/ 54467 w 54467"/>
                <a:gd name="connsiteY2" fmla="*/ 27557 h 27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467" h="27557">
                  <a:moveTo>
                    <a:pt x="0" y="0"/>
                  </a:moveTo>
                  <a:lnTo>
                    <a:pt x="54467" y="0"/>
                  </a:lnTo>
                  <a:lnTo>
                    <a:pt x="54467" y="2755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C4D7300C-5B1D-4389-9C36-32D5B08AA75A}"/>
                </a:ext>
              </a:extLst>
            </p:cNvPr>
            <p:cNvSpPr/>
            <p:nvPr/>
          </p:nvSpPr>
          <p:spPr>
            <a:xfrm rot="8716295">
              <a:off x="8503577" y="4269431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A57703A1-63B4-443D-A8D6-A43C23AB9B28}"/>
                </a:ext>
              </a:extLst>
            </p:cNvPr>
            <p:cNvSpPr/>
            <p:nvPr/>
          </p:nvSpPr>
          <p:spPr>
            <a:xfrm rot="8716295">
              <a:off x="8994983" y="4078441"/>
              <a:ext cx="137688" cy="132478"/>
            </a:xfrm>
            <a:custGeom>
              <a:avLst/>
              <a:gdLst>
                <a:gd name="connsiteX0" fmla="*/ 46653 w 137688"/>
                <a:gd name="connsiteY0" fmla="*/ 86420 h 132478"/>
                <a:gd name="connsiteX1" fmla="*/ 46653 w 137688"/>
                <a:gd name="connsiteY1" fmla="*/ 24828 h 132478"/>
                <a:gd name="connsiteX2" fmla="*/ 0 w 137688"/>
                <a:gd name="connsiteY2" fmla="*/ 24828 h 132478"/>
                <a:gd name="connsiteX3" fmla="*/ 15342 w 137688"/>
                <a:gd name="connsiteY3" fmla="*/ 2695 h 132478"/>
                <a:gd name="connsiteX4" fmla="*/ 137688 w 137688"/>
                <a:gd name="connsiteY4" fmla="*/ 0 h 132478"/>
                <a:gd name="connsiteX5" fmla="*/ 137688 w 137688"/>
                <a:gd name="connsiteY5" fmla="*/ 132478 h 132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7688" h="132478">
                  <a:moveTo>
                    <a:pt x="46653" y="86420"/>
                  </a:moveTo>
                  <a:lnTo>
                    <a:pt x="46653" y="24828"/>
                  </a:lnTo>
                  <a:lnTo>
                    <a:pt x="0" y="24828"/>
                  </a:lnTo>
                  <a:lnTo>
                    <a:pt x="15342" y="2695"/>
                  </a:lnTo>
                  <a:lnTo>
                    <a:pt x="137688" y="0"/>
                  </a:lnTo>
                  <a:lnTo>
                    <a:pt x="137688" y="13247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46727CBF-18BC-4939-8F2B-40813E13A972}"/>
                </a:ext>
              </a:extLst>
            </p:cNvPr>
            <p:cNvSpPr/>
            <p:nvPr/>
          </p:nvSpPr>
          <p:spPr>
            <a:xfrm rot="7484129">
              <a:off x="9136824" y="4228704"/>
              <a:ext cx="8392" cy="13068"/>
            </a:xfrm>
            <a:custGeom>
              <a:avLst/>
              <a:gdLst>
                <a:gd name="connsiteX0" fmla="*/ 3897 w 8392"/>
                <a:gd name="connsiteY0" fmla="*/ 13068 h 13068"/>
                <a:gd name="connsiteX1" fmla="*/ 0 w 8392"/>
                <a:gd name="connsiteY1" fmla="*/ 5818 h 13068"/>
                <a:gd name="connsiteX2" fmla="*/ 8392 w 8392"/>
                <a:gd name="connsiteY2" fmla="*/ 0 h 13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2" h="13068">
                  <a:moveTo>
                    <a:pt x="3897" y="13068"/>
                  </a:moveTo>
                  <a:lnTo>
                    <a:pt x="0" y="5818"/>
                  </a:lnTo>
                  <a:lnTo>
                    <a:pt x="839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D9037FA7-ED1D-4D57-8F2C-1298751D415A}"/>
                </a:ext>
              </a:extLst>
            </p:cNvPr>
            <p:cNvSpPr/>
            <p:nvPr/>
          </p:nvSpPr>
          <p:spPr>
            <a:xfrm rot="8716295">
              <a:off x="8839311" y="5117279"/>
              <a:ext cx="37096" cy="40385"/>
            </a:xfrm>
            <a:custGeom>
              <a:avLst/>
              <a:gdLst>
                <a:gd name="connsiteX0" fmla="*/ 37095 w 37096"/>
                <a:gd name="connsiteY0" fmla="*/ 25713 h 40385"/>
                <a:gd name="connsiteX1" fmla="*/ 0 w 37096"/>
                <a:gd name="connsiteY1" fmla="*/ 0 h 40385"/>
                <a:gd name="connsiteX2" fmla="*/ 0 w 37096"/>
                <a:gd name="connsiteY2" fmla="*/ 0 h 40385"/>
                <a:gd name="connsiteX3" fmla="*/ 37096 w 37096"/>
                <a:gd name="connsiteY3" fmla="*/ 25713 h 40385"/>
                <a:gd name="connsiteX4" fmla="*/ 0 w 37096"/>
                <a:gd name="connsiteY4" fmla="*/ 40385 h 40385"/>
                <a:gd name="connsiteX5" fmla="*/ 0 w 37096"/>
                <a:gd name="connsiteY5" fmla="*/ 28525 h 40385"/>
                <a:gd name="connsiteX6" fmla="*/ 9740 w 37096"/>
                <a:gd name="connsiteY6" fmla="*/ 36533 h 40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096" h="40385">
                  <a:moveTo>
                    <a:pt x="37095" y="25713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37096" y="25713"/>
                  </a:lnTo>
                  <a:close/>
                  <a:moveTo>
                    <a:pt x="0" y="40385"/>
                  </a:moveTo>
                  <a:lnTo>
                    <a:pt x="0" y="28525"/>
                  </a:lnTo>
                  <a:lnTo>
                    <a:pt x="9740" y="365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7762AEC2-4809-4723-B4B8-AD709205FF29}"/>
                </a:ext>
              </a:extLst>
            </p:cNvPr>
            <p:cNvSpPr/>
            <p:nvPr/>
          </p:nvSpPr>
          <p:spPr>
            <a:xfrm rot="8716295">
              <a:off x="8967255" y="4971567"/>
              <a:ext cx="231347" cy="158649"/>
            </a:xfrm>
            <a:custGeom>
              <a:avLst/>
              <a:gdLst>
                <a:gd name="connsiteX0" fmla="*/ 8965 w 231347"/>
                <a:gd name="connsiteY0" fmla="*/ 158649 h 158649"/>
                <a:gd name="connsiteX1" fmla="*/ 0 w 231347"/>
                <a:gd name="connsiteY1" fmla="*/ 146235 h 158649"/>
                <a:gd name="connsiteX2" fmla="*/ 155416 w 231347"/>
                <a:gd name="connsiteY2" fmla="*/ 0 h 158649"/>
                <a:gd name="connsiteX3" fmla="*/ 231347 w 231347"/>
                <a:gd name="connsiteY3" fmla="*/ 62433 h 158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347" h="158649">
                  <a:moveTo>
                    <a:pt x="8965" y="158649"/>
                  </a:moveTo>
                  <a:lnTo>
                    <a:pt x="0" y="146235"/>
                  </a:lnTo>
                  <a:lnTo>
                    <a:pt x="155416" y="0"/>
                  </a:lnTo>
                  <a:lnTo>
                    <a:pt x="231347" y="624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45E00815-1C71-4483-8D7E-4D817A5C21EF}"/>
                </a:ext>
              </a:extLst>
            </p:cNvPr>
            <p:cNvSpPr/>
            <p:nvPr/>
          </p:nvSpPr>
          <p:spPr>
            <a:xfrm rot="8716295">
              <a:off x="8555937" y="4871188"/>
              <a:ext cx="249519" cy="296463"/>
            </a:xfrm>
            <a:custGeom>
              <a:avLst/>
              <a:gdLst>
                <a:gd name="connsiteX0" fmla="*/ 249516 w 249519"/>
                <a:gd name="connsiteY0" fmla="*/ 83734 h 296463"/>
                <a:gd name="connsiteX1" fmla="*/ 128718 w 249519"/>
                <a:gd name="connsiteY1" fmla="*/ 0 h 296463"/>
                <a:gd name="connsiteX2" fmla="*/ 128719 w 249519"/>
                <a:gd name="connsiteY2" fmla="*/ 0 h 296463"/>
                <a:gd name="connsiteX3" fmla="*/ 249519 w 249519"/>
                <a:gd name="connsiteY3" fmla="*/ 83734 h 296463"/>
                <a:gd name="connsiteX4" fmla="*/ 137293 w 249519"/>
                <a:gd name="connsiteY4" fmla="*/ 296463 h 296463"/>
                <a:gd name="connsiteX5" fmla="*/ 72418 w 249519"/>
                <a:gd name="connsiteY5" fmla="*/ 175766 h 296463"/>
                <a:gd name="connsiteX6" fmla="*/ 105610 w 249519"/>
                <a:gd name="connsiteY6" fmla="*/ 83734 h 296463"/>
                <a:gd name="connsiteX7" fmla="*/ 0 w 249519"/>
                <a:gd name="connsiteY7" fmla="*/ 83734 h 296463"/>
                <a:gd name="connsiteX8" fmla="*/ 0 w 249519"/>
                <a:gd name="connsiteY8" fmla="*/ 0 h 296463"/>
                <a:gd name="connsiteX9" fmla="*/ 78196 w 249519"/>
                <a:gd name="connsiteY9" fmla="*/ 0 h 296463"/>
                <a:gd name="connsiteX10" fmla="*/ 203756 w 249519"/>
                <a:gd name="connsiteY10" fmla="*/ 103239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519" h="296463">
                  <a:moveTo>
                    <a:pt x="249516" y="83734"/>
                  </a:moveTo>
                  <a:lnTo>
                    <a:pt x="128718" y="0"/>
                  </a:lnTo>
                  <a:lnTo>
                    <a:pt x="128719" y="0"/>
                  </a:lnTo>
                  <a:lnTo>
                    <a:pt x="249519" y="83734"/>
                  </a:lnTo>
                  <a:close/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78196" y="0"/>
                  </a:lnTo>
                  <a:lnTo>
                    <a:pt x="203756" y="1032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58E38A6F-A61D-44CF-B900-AC3229C6053D}"/>
                </a:ext>
              </a:extLst>
            </p:cNvPr>
            <p:cNvSpPr/>
            <p:nvPr/>
          </p:nvSpPr>
          <p:spPr>
            <a:xfrm rot="8716295">
              <a:off x="9124182" y="4842281"/>
              <a:ext cx="37059" cy="48941"/>
            </a:xfrm>
            <a:custGeom>
              <a:avLst/>
              <a:gdLst>
                <a:gd name="connsiteX0" fmla="*/ 0 w 37059"/>
                <a:gd name="connsiteY0" fmla="*/ 48941 h 48941"/>
                <a:gd name="connsiteX1" fmla="*/ 33925 w 37059"/>
                <a:gd name="connsiteY1" fmla="*/ 0 h 48941"/>
                <a:gd name="connsiteX2" fmla="*/ 37059 w 37059"/>
                <a:gd name="connsiteY2" fmla="*/ 7460 h 48941"/>
                <a:gd name="connsiteX3" fmla="*/ 24128 w 37059"/>
                <a:gd name="connsiteY3" fmla="*/ 38754 h 48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059" h="48941">
                  <a:moveTo>
                    <a:pt x="0" y="48941"/>
                  </a:moveTo>
                  <a:lnTo>
                    <a:pt x="33925" y="0"/>
                  </a:lnTo>
                  <a:lnTo>
                    <a:pt x="37059" y="7460"/>
                  </a:lnTo>
                  <a:cubicBezTo>
                    <a:pt x="37059" y="18753"/>
                    <a:pt x="32749" y="30133"/>
                    <a:pt x="24128" y="3875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0438BEFE-52E9-475C-AF5B-D887CDB606B3}"/>
                </a:ext>
              </a:extLst>
            </p:cNvPr>
            <p:cNvSpPr/>
            <p:nvPr/>
          </p:nvSpPr>
          <p:spPr>
            <a:xfrm rot="8716295">
              <a:off x="8946271" y="4530250"/>
              <a:ext cx="235267" cy="296463"/>
            </a:xfrm>
            <a:custGeom>
              <a:avLst/>
              <a:gdLst>
                <a:gd name="connsiteX0" fmla="*/ 64028 w 235267"/>
                <a:gd name="connsiteY0" fmla="*/ 296463 h 296463"/>
                <a:gd name="connsiteX1" fmla="*/ 0 w 235267"/>
                <a:gd name="connsiteY1" fmla="*/ 177341 h 296463"/>
                <a:gd name="connsiteX2" fmla="*/ 122928 w 235267"/>
                <a:gd name="connsiteY2" fmla="*/ 0 h 296463"/>
                <a:gd name="connsiteX3" fmla="*/ 235266 w 235267"/>
                <a:gd name="connsiteY3" fmla="*/ 0 h 296463"/>
                <a:gd name="connsiteX4" fmla="*/ 235267 w 235267"/>
                <a:gd name="connsiteY4" fmla="*/ 83734 h 296463"/>
                <a:gd name="connsiteX5" fmla="*/ 137200 w 235267"/>
                <a:gd name="connsiteY5" fmla="*/ 83735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5267" h="296463">
                  <a:moveTo>
                    <a:pt x="64028" y="296463"/>
                  </a:moveTo>
                  <a:lnTo>
                    <a:pt x="0" y="177341"/>
                  </a:lnTo>
                  <a:lnTo>
                    <a:pt x="122928" y="0"/>
                  </a:lnTo>
                  <a:lnTo>
                    <a:pt x="235266" y="0"/>
                  </a:lnTo>
                  <a:lnTo>
                    <a:pt x="235267" y="83734"/>
                  </a:lnTo>
                  <a:lnTo>
                    <a:pt x="137200" y="837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D3F9B5D8-06D4-4B43-BC6C-7C19EABDD1C4}"/>
                </a:ext>
              </a:extLst>
            </p:cNvPr>
            <p:cNvSpPr/>
            <p:nvPr/>
          </p:nvSpPr>
          <p:spPr>
            <a:xfrm rot="8716295">
              <a:off x="8906661" y="466090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71905357-F1DF-411B-B59B-0F032583384E}"/>
                </a:ext>
              </a:extLst>
            </p:cNvPr>
            <p:cNvSpPr/>
            <p:nvPr/>
          </p:nvSpPr>
          <p:spPr>
            <a:xfrm rot="13089394">
              <a:off x="7765620" y="4253518"/>
              <a:ext cx="72828" cy="75543"/>
            </a:xfrm>
            <a:custGeom>
              <a:avLst/>
              <a:gdLst>
                <a:gd name="connsiteX0" fmla="*/ 0 w 72828"/>
                <a:gd name="connsiteY0" fmla="*/ 75543 h 75543"/>
                <a:gd name="connsiteX1" fmla="*/ 0 w 72828"/>
                <a:gd name="connsiteY1" fmla="*/ 37783 h 75543"/>
                <a:gd name="connsiteX2" fmla="*/ 72828 w 72828"/>
                <a:gd name="connsiteY2" fmla="*/ 0 h 7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828" h="75543">
                  <a:moveTo>
                    <a:pt x="0" y="75543"/>
                  </a:moveTo>
                  <a:lnTo>
                    <a:pt x="0" y="37783"/>
                  </a:lnTo>
                  <a:lnTo>
                    <a:pt x="7282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9CC70003-388A-4ED2-9C78-B5584C3B43A2}"/>
                </a:ext>
              </a:extLst>
            </p:cNvPr>
            <p:cNvSpPr/>
            <p:nvPr/>
          </p:nvSpPr>
          <p:spPr>
            <a:xfrm rot="8716295">
              <a:off x="7196646" y="4735107"/>
              <a:ext cx="215177" cy="351729"/>
            </a:xfrm>
            <a:custGeom>
              <a:avLst/>
              <a:gdLst>
                <a:gd name="connsiteX0" fmla="*/ 122761 w 215177"/>
                <a:gd name="connsiteY0" fmla="*/ 351729 h 351729"/>
                <a:gd name="connsiteX1" fmla="*/ 122761 w 215177"/>
                <a:gd name="connsiteY1" fmla="*/ 105519 h 351729"/>
                <a:gd name="connsiteX2" fmla="*/ 122761 w 215177"/>
                <a:gd name="connsiteY2" fmla="*/ 99312 h 351729"/>
                <a:gd name="connsiteX3" fmla="*/ 91726 w 215177"/>
                <a:gd name="connsiteY3" fmla="*/ 75863 h 351729"/>
                <a:gd name="connsiteX4" fmla="*/ 0 w 215177"/>
                <a:gd name="connsiteY4" fmla="*/ 75863 h 351729"/>
                <a:gd name="connsiteX5" fmla="*/ 0 w 215177"/>
                <a:gd name="connsiteY5" fmla="*/ 0 h 351729"/>
                <a:gd name="connsiteX6" fmla="*/ 20033 w 215177"/>
                <a:gd name="connsiteY6" fmla="*/ 0 h 351729"/>
                <a:gd name="connsiteX7" fmla="*/ 215177 w 215177"/>
                <a:gd name="connsiteY7" fmla="*/ 160452 h 351729"/>
                <a:gd name="connsiteX8" fmla="*/ 215176 w 215177"/>
                <a:gd name="connsiteY8" fmla="*/ 315177 h 351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5177" h="351729">
                  <a:moveTo>
                    <a:pt x="122761" y="35172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0"/>
                  </a:lnTo>
                  <a:lnTo>
                    <a:pt x="20033" y="0"/>
                  </a:lnTo>
                  <a:lnTo>
                    <a:pt x="215177" y="160452"/>
                  </a:lnTo>
                  <a:lnTo>
                    <a:pt x="215176" y="3151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E46A29A2-07B5-4D69-A57A-B7E84F78585B}"/>
                </a:ext>
              </a:extLst>
            </p:cNvPr>
            <p:cNvSpPr/>
            <p:nvPr/>
          </p:nvSpPr>
          <p:spPr>
            <a:xfrm rot="8716295">
              <a:off x="7519762" y="4714342"/>
              <a:ext cx="185667" cy="383455"/>
            </a:xfrm>
            <a:custGeom>
              <a:avLst/>
              <a:gdLst>
                <a:gd name="connsiteX0" fmla="*/ 77932 w 185667"/>
                <a:gd name="connsiteY0" fmla="*/ 383455 h 383455"/>
                <a:gd name="connsiteX1" fmla="*/ 77932 w 185667"/>
                <a:gd name="connsiteY1" fmla="*/ 66898 h 383455"/>
                <a:gd name="connsiteX2" fmla="*/ 0 w 185667"/>
                <a:gd name="connsiteY2" fmla="*/ 66898 h 383455"/>
                <a:gd name="connsiteX3" fmla="*/ 0 w 185667"/>
                <a:gd name="connsiteY3" fmla="*/ 0 h 383455"/>
                <a:gd name="connsiteX4" fmla="*/ 33456 w 185667"/>
                <a:gd name="connsiteY4" fmla="*/ 0 h 383455"/>
                <a:gd name="connsiteX5" fmla="*/ 158623 w 185667"/>
                <a:gd name="connsiteY5" fmla="*/ 102916 h 383455"/>
                <a:gd name="connsiteX6" fmla="*/ 158623 w 185667"/>
                <a:gd name="connsiteY6" fmla="*/ 111726 h 383455"/>
                <a:gd name="connsiteX7" fmla="*/ 160692 w 185667"/>
                <a:gd name="connsiteY7" fmla="*/ 111726 h 383455"/>
                <a:gd name="connsiteX8" fmla="*/ 162749 w 185667"/>
                <a:gd name="connsiteY8" fmla="*/ 106308 h 383455"/>
                <a:gd name="connsiteX9" fmla="*/ 185667 w 185667"/>
                <a:gd name="connsiteY9" fmla="*/ 125152 h 383455"/>
                <a:gd name="connsiteX10" fmla="*/ 168969 w 185667"/>
                <a:gd name="connsiteY10" fmla="*/ 191038 h 383455"/>
                <a:gd name="connsiteX11" fmla="*/ 168969 w 185667"/>
                <a:gd name="connsiteY11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5667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33456" y="0"/>
                  </a:lnTo>
                  <a:lnTo>
                    <a:pt x="158623" y="102916"/>
                  </a:lnTo>
                  <a:lnTo>
                    <a:pt x="158623" y="111726"/>
                  </a:lnTo>
                  <a:lnTo>
                    <a:pt x="160692" y="111726"/>
                  </a:lnTo>
                  <a:lnTo>
                    <a:pt x="162749" y="106308"/>
                  </a:lnTo>
                  <a:lnTo>
                    <a:pt x="185667" y="125152"/>
                  </a:lnTo>
                  <a:lnTo>
                    <a:pt x="168969" y="191038"/>
                  </a:ln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BB2B590A-BBED-49DF-BE0A-D7CDB8C7EA53}"/>
                </a:ext>
              </a:extLst>
            </p:cNvPr>
            <p:cNvSpPr/>
            <p:nvPr/>
          </p:nvSpPr>
          <p:spPr>
            <a:xfrm rot="8716295">
              <a:off x="7265319" y="4648384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7838B053-EE23-465E-B80C-0FDB953D8E9F}"/>
                </a:ext>
              </a:extLst>
            </p:cNvPr>
            <p:cNvSpPr/>
            <p:nvPr/>
          </p:nvSpPr>
          <p:spPr>
            <a:xfrm rot="8716295">
              <a:off x="7028032" y="486872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46F2EA92-FAA0-4CBD-8D20-0B7AF9B36906}"/>
                </a:ext>
              </a:extLst>
            </p:cNvPr>
            <p:cNvSpPr/>
            <p:nvPr/>
          </p:nvSpPr>
          <p:spPr>
            <a:xfrm rot="8716295">
              <a:off x="6838986" y="455289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C33E7506-2F8D-4DC7-82BD-DA6D9CD10C11}"/>
                </a:ext>
              </a:extLst>
            </p:cNvPr>
            <p:cNvSpPr/>
            <p:nvPr/>
          </p:nvSpPr>
          <p:spPr>
            <a:xfrm rot="8716295">
              <a:off x="6821466" y="4356542"/>
              <a:ext cx="439901" cy="511464"/>
            </a:xfrm>
            <a:custGeom>
              <a:avLst/>
              <a:gdLst>
                <a:gd name="connsiteX0" fmla="*/ 1873 w 439901"/>
                <a:gd name="connsiteY0" fmla="*/ 384681 h 511464"/>
                <a:gd name="connsiteX1" fmla="*/ 1725 w 439901"/>
                <a:gd name="connsiteY1" fmla="*/ 383648 h 511464"/>
                <a:gd name="connsiteX2" fmla="*/ 0 w 439901"/>
                <a:gd name="connsiteY2" fmla="*/ 333043 h 511464"/>
                <a:gd name="connsiteX3" fmla="*/ 0 w 439901"/>
                <a:gd name="connsiteY3" fmla="*/ 61444 h 511464"/>
                <a:gd name="connsiteX4" fmla="*/ 118434 w 439901"/>
                <a:gd name="connsiteY4" fmla="*/ 0 h 511464"/>
                <a:gd name="connsiteX5" fmla="*/ 120216 w 439901"/>
                <a:gd name="connsiteY5" fmla="*/ 248447 h 511464"/>
                <a:gd name="connsiteX6" fmla="*/ 141587 w 439901"/>
                <a:gd name="connsiteY6" fmla="*/ 396268 h 511464"/>
                <a:gd name="connsiteX7" fmla="*/ 248446 w 439901"/>
                <a:gd name="connsiteY7" fmla="*/ 455041 h 511464"/>
                <a:gd name="connsiteX8" fmla="*/ 328590 w 439901"/>
                <a:gd name="connsiteY8" fmla="*/ 440793 h 511464"/>
                <a:gd name="connsiteX9" fmla="*/ 438120 w 439901"/>
                <a:gd name="connsiteY9" fmla="*/ 396268 h 511464"/>
                <a:gd name="connsiteX10" fmla="*/ 439901 w 439901"/>
                <a:gd name="connsiteY10" fmla="*/ 407844 h 511464"/>
                <a:gd name="connsiteX11" fmla="*/ 439901 w 439901"/>
                <a:gd name="connsiteY11" fmla="*/ 416749 h 511464"/>
                <a:gd name="connsiteX12" fmla="*/ 286180 w 439901"/>
                <a:gd name="connsiteY12" fmla="*/ 502459 h 511464"/>
                <a:gd name="connsiteX13" fmla="*/ 252462 w 439901"/>
                <a:gd name="connsiteY13" fmla="*/ 511464 h 511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9901" h="511464">
                  <a:moveTo>
                    <a:pt x="1873" y="384681"/>
                  </a:moveTo>
                  <a:lnTo>
                    <a:pt x="1725" y="383648"/>
                  </a:lnTo>
                  <a:cubicBezTo>
                    <a:pt x="501" y="368162"/>
                    <a:pt x="0" y="351298"/>
                    <a:pt x="0" y="333043"/>
                  </a:cubicBezTo>
                  <a:lnTo>
                    <a:pt x="0" y="61444"/>
                  </a:lnTo>
                  <a:lnTo>
                    <a:pt x="118434" y="0"/>
                  </a:lnTo>
                  <a:lnTo>
                    <a:pt x="120216" y="248447"/>
                  </a:lnTo>
                  <a:cubicBezTo>
                    <a:pt x="117545" y="298315"/>
                    <a:pt x="125558" y="349072"/>
                    <a:pt x="141587" y="396268"/>
                  </a:cubicBezTo>
                  <a:cubicBezTo>
                    <a:pt x="155836" y="435450"/>
                    <a:pt x="192346" y="455041"/>
                    <a:pt x="248446" y="455041"/>
                  </a:cubicBezTo>
                  <a:cubicBezTo>
                    <a:pt x="276051" y="454150"/>
                    <a:pt x="302766" y="448807"/>
                    <a:pt x="328590" y="440793"/>
                  </a:cubicBezTo>
                  <a:cubicBezTo>
                    <a:pt x="365990" y="429216"/>
                    <a:pt x="402501" y="414078"/>
                    <a:pt x="438120" y="396268"/>
                  </a:cubicBezTo>
                  <a:cubicBezTo>
                    <a:pt x="439010" y="399830"/>
                    <a:pt x="439901" y="404282"/>
                    <a:pt x="439901" y="407844"/>
                  </a:cubicBezTo>
                  <a:lnTo>
                    <a:pt x="439901" y="416749"/>
                  </a:lnTo>
                  <a:cubicBezTo>
                    <a:pt x="392705" y="457267"/>
                    <a:pt x="338163" y="484649"/>
                    <a:pt x="286180" y="502459"/>
                  </a:cubicBezTo>
                  <a:lnTo>
                    <a:pt x="252462" y="5114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F0039EE6-19E5-4457-84A9-3D50560FF71B}"/>
                </a:ext>
              </a:extLst>
            </p:cNvPr>
            <p:cNvSpPr/>
            <p:nvPr/>
          </p:nvSpPr>
          <p:spPr>
            <a:xfrm rot="8716295">
              <a:off x="7635467" y="435609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62946C15-BE3C-45DF-BB3D-128249E4D1A5}"/>
                </a:ext>
              </a:extLst>
            </p:cNvPr>
            <p:cNvSpPr/>
            <p:nvPr/>
          </p:nvSpPr>
          <p:spPr>
            <a:xfrm rot="8716295">
              <a:off x="7770766" y="440035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3C27B629-4EE2-46C6-9535-F5382300825F}"/>
                </a:ext>
              </a:extLst>
            </p:cNvPr>
            <p:cNvSpPr/>
            <p:nvPr/>
          </p:nvSpPr>
          <p:spPr>
            <a:xfrm rot="8716295">
              <a:off x="7465596" y="44901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6592736C-E2B7-4AAA-9132-CE6867AFB7E6}"/>
                </a:ext>
              </a:extLst>
            </p:cNvPr>
            <p:cNvSpPr/>
            <p:nvPr/>
          </p:nvSpPr>
          <p:spPr>
            <a:xfrm rot="8716295">
              <a:off x="7313509" y="4314181"/>
              <a:ext cx="308532" cy="142740"/>
            </a:xfrm>
            <a:custGeom>
              <a:avLst/>
              <a:gdLst>
                <a:gd name="connsiteX0" fmla="*/ 0 w 308532"/>
                <a:gd name="connsiteY0" fmla="*/ 46525 h 142740"/>
                <a:gd name="connsiteX1" fmla="*/ 0 w 308532"/>
                <a:gd name="connsiteY1" fmla="*/ 0 h 142740"/>
                <a:gd name="connsiteX2" fmla="*/ 308532 w 308532"/>
                <a:gd name="connsiteY2" fmla="*/ 0 h 142740"/>
                <a:gd name="connsiteX3" fmla="*/ 308532 w 308532"/>
                <a:gd name="connsiteY3" fmla="*/ 83734 h 142740"/>
                <a:gd name="connsiteX4" fmla="*/ 210465 w 308532"/>
                <a:gd name="connsiteY4" fmla="*/ 83734 h 142740"/>
                <a:gd name="connsiteX5" fmla="*/ 190169 w 308532"/>
                <a:gd name="connsiteY5" fmla="*/ 142740 h 142740"/>
                <a:gd name="connsiteX6" fmla="*/ 100662 w 308532"/>
                <a:gd name="connsiteY6" fmla="*/ 97454 h 142740"/>
                <a:gd name="connsiteX7" fmla="*/ 105610 w 308532"/>
                <a:gd name="connsiteY7" fmla="*/ 83734 h 142740"/>
                <a:gd name="connsiteX8" fmla="*/ 73544 w 308532"/>
                <a:gd name="connsiteY8" fmla="*/ 83734 h 142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532" h="142740">
                  <a:moveTo>
                    <a:pt x="0" y="46525"/>
                  </a:moveTo>
                  <a:lnTo>
                    <a:pt x="0" y="0"/>
                  </a:lnTo>
                  <a:lnTo>
                    <a:pt x="308532" y="0"/>
                  </a:lnTo>
                  <a:lnTo>
                    <a:pt x="308532" y="83734"/>
                  </a:lnTo>
                  <a:lnTo>
                    <a:pt x="210465" y="83734"/>
                  </a:lnTo>
                  <a:lnTo>
                    <a:pt x="190169" y="142740"/>
                  </a:lnTo>
                  <a:lnTo>
                    <a:pt x="100662" y="97454"/>
                  </a:lnTo>
                  <a:lnTo>
                    <a:pt x="105610" y="83734"/>
                  </a:lnTo>
                  <a:lnTo>
                    <a:pt x="73544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39B2926A-51C6-4DDF-86D8-072C96B838B0}"/>
                </a:ext>
              </a:extLst>
            </p:cNvPr>
            <p:cNvSpPr/>
            <p:nvPr/>
          </p:nvSpPr>
          <p:spPr>
            <a:xfrm rot="8716295">
              <a:off x="7602084" y="4552096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A5226D1B-39C8-4DB7-A39D-DE8AE96085BA}"/>
                </a:ext>
              </a:extLst>
            </p:cNvPr>
            <p:cNvSpPr/>
            <p:nvPr/>
          </p:nvSpPr>
          <p:spPr>
            <a:xfrm rot="8716295">
              <a:off x="7233779" y="4339176"/>
              <a:ext cx="112931" cy="98229"/>
            </a:xfrm>
            <a:custGeom>
              <a:avLst/>
              <a:gdLst>
                <a:gd name="connsiteX0" fmla="*/ 0 w 112931"/>
                <a:gd name="connsiteY0" fmla="*/ 49475 h 98229"/>
                <a:gd name="connsiteX1" fmla="*/ 13559 w 112931"/>
                <a:gd name="connsiteY1" fmla="*/ 17362 h 98229"/>
                <a:gd name="connsiteX2" fmla="*/ 54678 w 112931"/>
                <a:gd name="connsiteY2" fmla="*/ 0 h 98229"/>
                <a:gd name="connsiteX3" fmla="*/ 95798 w 112931"/>
                <a:gd name="connsiteY3" fmla="*/ 17362 h 98229"/>
                <a:gd name="connsiteX4" fmla="*/ 112931 w 112931"/>
                <a:gd name="connsiteY4" fmla="*/ 58139 h 98229"/>
                <a:gd name="connsiteX5" fmla="*/ 96365 w 112931"/>
                <a:gd name="connsiteY5" fmla="*/ 98229 h 98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931" h="98229">
                  <a:moveTo>
                    <a:pt x="0" y="49475"/>
                  </a:moveTo>
                  <a:lnTo>
                    <a:pt x="13559" y="17362"/>
                  </a:lnTo>
                  <a:cubicBezTo>
                    <a:pt x="24524" y="6397"/>
                    <a:pt x="39145" y="0"/>
                    <a:pt x="54678" y="0"/>
                  </a:cubicBezTo>
                  <a:cubicBezTo>
                    <a:pt x="70213" y="0"/>
                    <a:pt x="84833" y="6397"/>
                    <a:pt x="95798" y="17362"/>
                  </a:cubicBezTo>
                  <a:cubicBezTo>
                    <a:pt x="107220" y="28327"/>
                    <a:pt x="112931" y="43176"/>
                    <a:pt x="112931" y="58139"/>
                  </a:cubicBezTo>
                  <a:lnTo>
                    <a:pt x="96365" y="9822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B8D891A1-7C58-4828-B849-358D4D72EA90}"/>
                </a:ext>
              </a:extLst>
            </p:cNvPr>
            <p:cNvSpPr/>
            <p:nvPr/>
          </p:nvSpPr>
          <p:spPr>
            <a:xfrm rot="7484129">
              <a:off x="7765134" y="4837237"/>
              <a:ext cx="295167" cy="296463"/>
            </a:xfrm>
            <a:custGeom>
              <a:avLst/>
              <a:gdLst>
                <a:gd name="connsiteX0" fmla="*/ 295165 w 295167"/>
                <a:gd name="connsiteY0" fmla="*/ 83734 h 296463"/>
                <a:gd name="connsiteX1" fmla="*/ 237109 w 295167"/>
                <a:gd name="connsiteY1" fmla="*/ 0 h 296463"/>
                <a:gd name="connsiteX2" fmla="*/ 237110 w 295167"/>
                <a:gd name="connsiteY2" fmla="*/ 0 h 296463"/>
                <a:gd name="connsiteX3" fmla="*/ 295167 w 295167"/>
                <a:gd name="connsiteY3" fmla="*/ 83734 h 296463"/>
                <a:gd name="connsiteX4" fmla="*/ 137293 w 295167"/>
                <a:gd name="connsiteY4" fmla="*/ 296463 h 296463"/>
                <a:gd name="connsiteX5" fmla="*/ 72418 w 295167"/>
                <a:gd name="connsiteY5" fmla="*/ 175766 h 296463"/>
                <a:gd name="connsiteX6" fmla="*/ 105610 w 295167"/>
                <a:gd name="connsiteY6" fmla="*/ 83734 h 296463"/>
                <a:gd name="connsiteX7" fmla="*/ 0 w 295167"/>
                <a:gd name="connsiteY7" fmla="*/ 83734 h 296463"/>
                <a:gd name="connsiteX8" fmla="*/ 0 w 295167"/>
                <a:gd name="connsiteY8" fmla="*/ 0 h 296463"/>
                <a:gd name="connsiteX9" fmla="*/ 126381 w 295167"/>
                <a:gd name="connsiteY9" fmla="*/ 0 h 296463"/>
                <a:gd name="connsiteX10" fmla="*/ 197160 w 295167"/>
                <a:gd name="connsiteY10" fmla="*/ 122416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5167" h="296463">
                  <a:moveTo>
                    <a:pt x="295165" y="83734"/>
                  </a:moveTo>
                  <a:lnTo>
                    <a:pt x="237109" y="0"/>
                  </a:lnTo>
                  <a:lnTo>
                    <a:pt x="237110" y="0"/>
                  </a:lnTo>
                  <a:lnTo>
                    <a:pt x="295167" y="83734"/>
                  </a:lnTo>
                  <a:close/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126381" y="0"/>
                  </a:lnTo>
                  <a:lnTo>
                    <a:pt x="197160" y="1224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527B4309-024C-4B07-A449-12F7536748C5}"/>
                </a:ext>
              </a:extLst>
            </p:cNvPr>
            <p:cNvSpPr/>
            <p:nvPr/>
          </p:nvSpPr>
          <p:spPr>
            <a:xfrm rot="13089394">
              <a:off x="8005038" y="4814171"/>
              <a:ext cx="409104" cy="218063"/>
            </a:xfrm>
            <a:custGeom>
              <a:avLst/>
              <a:gdLst>
                <a:gd name="connsiteX0" fmla="*/ 409104 w 409104"/>
                <a:gd name="connsiteY0" fmla="*/ 110916 h 218063"/>
                <a:gd name="connsiteX1" fmla="*/ 135172 w 409104"/>
                <a:gd name="connsiteY1" fmla="*/ 217816 h 218063"/>
                <a:gd name="connsiteX2" fmla="*/ 32447 w 409104"/>
                <a:gd name="connsiteY2" fmla="*/ 176058 h 218063"/>
                <a:gd name="connsiteX3" fmla="*/ 3843 w 409104"/>
                <a:gd name="connsiteY3" fmla="*/ 119581 h 218063"/>
                <a:gd name="connsiteX4" fmla="*/ 0 w 409104"/>
                <a:gd name="connsiteY4" fmla="*/ 73735 h 218063"/>
                <a:gd name="connsiteX5" fmla="*/ 111583 w 409104"/>
                <a:gd name="connsiteY5" fmla="*/ 0 h 218063"/>
                <a:gd name="connsiteX6" fmla="*/ 112727 w 409104"/>
                <a:gd name="connsiteY6" fmla="*/ 23329 h 218063"/>
                <a:gd name="connsiteX7" fmla="*/ 129325 w 409104"/>
                <a:gd name="connsiteY7" fmla="*/ 91708 h 218063"/>
                <a:gd name="connsiteX8" fmla="*/ 229544 w 409104"/>
                <a:gd name="connsiteY8" fmla="*/ 146828 h 218063"/>
                <a:gd name="connsiteX9" fmla="*/ 304708 w 409104"/>
                <a:gd name="connsiteY9" fmla="*/ 133466 h 218063"/>
                <a:gd name="connsiteX10" fmla="*/ 407434 w 409104"/>
                <a:gd name="connsiteY10" fmla="*/ 91708 h 218063"/>
                <a:gd name="connsiteX11" fmla="*/ 409104 w 409104"/>
                <a:gd name="connsiteY11" fmla="*/ 102564 h 218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9104" h="218063">
                  <a:moveTo>
                    <a:pt x="409104" y="110916"/>
                  </a:moveTo>
                  <a:cubicBezTo>
                    <a:pt x="320577" y="186915"/>
                    <a:pt x="204490" y="213641"/>
                    <a:pt x="135172" y="217816"/>
                  </a:cubicBezTo>
                  <a:cubicBezTo>
                    <a:pt x="96755" y="220322"/>
                    <a:pt x="59173" y="203619"/>
                    <a:pt x="32447" y="176058"/>
                  </a:cubicBezTo>
                  <a:cubicBezTo>
                    <a:pt x="18249" y="162278"/>
                    <a:pt x="9272" y="143487"/>
                    <a:pt x="3843" y="119581"/>
                  </a:cubicBezTo>
                  <a:lnTo>
                    <a:pt x="0" y="73735"/>
                  </a:lnTo>
                  <a:lnTo>
                    <a:pt x="111583" y="0"/>
                  </a:lnTo>
                  <a:lnTo>
                    <a:pt x="112727" y="23329"/>
                  </a:lnTo>
                  <a:cubicBezTo>
                    <a:pt x="116171" y="46609"/>
                    <a:pt x="121808" y="69576"/>
                    <a:pt x="129325" y="91708"/>
                  </a:cubicBezTo>
                  <a:cubicBezTo>
                    <a:pt x="142689" y="128454"/>
                    <a:pt x="176930" y="146828"/>
                    <a:pt x="229544" y="146828"/>
                  </a:cubicBezTo>
                  <a:cubicBezTo>
                    <a:pt x="255435" y="145993"/>
                    <a:pt x="280489" y="140981"/>
                    <a:pt x="304708" y="133466"/>
                  </a:cubicBezTo>
                  <a:cubicBezTo>
                    <a:pt x="339785" y="122608"/>
                    <a:pt x="374027" y="108411"/>
                    <a:pt x="407434" y="91708"/>
                  </a:cubicBezTo>
                  <a:cubicBezTo>
                    <a:pt x="408268" y="95048"/>
                    <a:pt x="409104" y="99224"/>
                    <a:pt x="409104" y="10256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A6665952-BEBA-4083-8857-192589F92F66}"/>
                </a:ext>
              </a:extLst>
            </p:cNvPr>
            <p:cNvSpPr/>
            <p:nvPr/>
          </p:nvSpPr>
          <p:spPr>
            <a:xfrm rot="8716295">
              <a:off x="8200443" y="4500944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48E8912F-96AC-4641-B68F-1FAC8423EE44}"/>
                </a:ext>
              </a:extLst>
            </p:cNvPr>
            <p:cNvSpPr/>
            <p:nvPr/>
          </p:nvSpPr>
          <p:spPr>
            <a:xfrm rot="8716295">
              <a:off x="8122034" y="434415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53758D6F-45BC-4683-9BA4-5F935E950CCD}"/>
                </a:ext>
              </a:extLst>
            </p:cNvPr>
            <p:cNvSpPr/>
            <p:nvPr/>
          </p:nvSpPr>
          <p:spPr>
            <a:xfrm rot="8716295">
              <a:off x="7753870" y="438989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3D33FD22-12AD-4D1A-88D7-5F0D534CAA44}"/>
                </a:ext>
              </a:extLst>
            </p:cNvPr>
            <p:cNvSpPr/>
            <p:nvPr/>
          </p:nvSpPr>
          <p:spPr>
            <a:xfrm rot="8716295">
              <a:off x="8030791" y="4210054"/>
              <a:ext cx="154744" cy="110503"/>
            </a:xfrm>
            <a:custGeom>
              <a:avLst/>
              <a:gdLst>
                <a:gd name="connsiteX0" fmla="*/ 0 w 154744"/>
                <a:gd name="connsiteY0" fmla="*/ 34366 h 110503"/>
                <a:gd name="connsiteX1" fmla="*/ 3342 w 154744"/>
                <a:gd name="connsiteY1" fmla="*/ 26453 h 110503"/>
                <a:gd name="connsiteX2" fmla="*/ 65990 w 154744"/>
                <a:gd name="connsiteY2" fmla="*/ 0 h 110503"/>
                <a:gd name="connsiteX3" fmla="*/ 128640 w 154744"/>
                <a:gd name="connsiteY3" fmla="*/ 26453 h 110503"/>
                <a:gd name="connsiteX4" fmla="*/ 154744 w 154744"/>
                <a:gd name="connsiteY4" fmla="*/ 88580 h 110503"/>
                <a:gd name="connsiteX5" fmla="*/ 150487 w 154744"/>
                <a:gd name="connsiteY5" fmla="*/ 110503 h 110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4744" h="110503">
                  <a:moveTo>
                    <a:pt x="0" y="34366"/>
                  </a:moveTo>
                  <a:lnTo>
                    <a:pt x="3342" y="26453"/>
                  </a:lnTo>
                  <a:cubicBezTo>
                    <a:pt x="20048" y="9746"/>
                    <a:pt x="42323" y="0"/>
                    <a:pt x="65990" y="0"/>
                  </a:cubicBezTo>
                  <a:cubicBezTo>
                    <a:pt x="89659" y="0"/>
                    <a:pt x="111934" y="9746"/>
                    <a:pt x="128640" y="26453"/>
                  </a:cubicBezTo>
                  <a:cubicBezTo>
                    <a:pt x="146043" y="43159"/>
                    <a:pt x="154744" y="65782"/>
                    <a:pt x="154744" y="88580"/>
                  </a:cubicBezTo>
                  <a:lnTo>
                    <a:pt x="150487" y="1105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55" name="Rectangle 7">
            <a:extLst>
              <a:ext uri="{FF2B5EF4-FFF2-40B4-BE49-F238E27FC236}">
                <a16:creationId xmlns:a16="http://schemas.microsoft.com/office/drawing/2014/main" id="{88941299-7323-4585-91C3-38C1B71800C4}"/>
              </a:ext>
            </a:extLst>
          </p:cNvPr>
          <p:cNvSpPr/>
          <p:nvPr userDrawn="1"/>
        </p:nvSpPr>
        <p:spPr>
          <a:xfrm>
            <a:off x="0" y="4391025"/>
            <a:ext cx="9153528" cy="752475"/>
          </a:xfrm>
          <a:custGeom>
            <a:avLst/>
            <a:gdLst>
              <a:gd name="connsiteX0" fmla="*/ 0 w 9153528"/>
              <a:gd name="connsiteY0" fmla="*/ 0 h 752475"/>
              <a:gd name="connsiteX1" fmla="*/ 9153528 w 9153528"/>
              <a:gd name="connsiteY1" fmla="*/ 0 h 752475"/>
              <a:gd name="connsiteX2" fmla="*/ 9153528 w 9153528"/>
              <a:gd name="connsiteY2" fmla="*/ 752475 h 752475"/>
              <a:gd name="connsiteX3" fmla="*/ 0 w 9153528"/>
              <a:gd name="connsiteY3" fmla="*/ 752475 h 752475"/>
              <a:gd name="connsiteX4" fmla="*/ 0 w 9153528"/>
              <a:gd name="connsiteY4" fmla="*/ 0 h 752475"/>
              <a:gd name="connsiteX0" fmla="*/ 0 w 9153528"/>
              <a:gd name="connsiteY0" fmla="*/ 0 h 752475"/>
              <a:gd name="connsiteX1" fmla="*/ 9153528 w 9153528"/>
              <a:gd name="connsiteY1" fmla="*/ 752475 h 752475"/>
              <a:gd name="connsiteX2" fmla="*/ 0 w 9153528"/>
              <a:gd name="connsiteY2" fmla="*/ 752475 h 752475"/>
              <a:gd name="connsiteX3" fmla="*/ 0 w 9153528"/>
              <a:gd name="connsiteY3" fmla="*/ 0 h 752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53528" h="752475">
                <a:moveTo>
                  <a:pt x="0" y="0"/>
                </a:moveTo>
                <a:lnTo>
                  <a:pt x="9153528" y="752475"/>
                </a:lnTo>
                <a:lnTo>
                  <a:pt x="0" y="752475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096706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 2 avec image - Foncé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Forme libre : forme 69">
            <a:extLst>
              <a:ext uri="{FF2B5EF4-FFF2-40B4-BE49-F238E27FC236}">
                <a16:creationId xmlns:a16="http://schemas.microsoft.com/office/drawing/2014/main" id="{7A9D45F7-F6EE-4110-A350-96F73BCE90D1}"/>
              </a:ext>
            </a:extLst>
          </p:cNvPr>
          <p:cNvSpPr/>
          <p:nvPr userDrawn="1"/>
        </p:nvSpPr>
        <p:spPr>
          <a:xfrm>
            <a:off x="0" y="3708637"/>
            <a:ext cx="9153528" cy="1434863"/>
          </a:xfrm>
          <a:custGeom>
            <a:avLst/>
            <a:gdLst>
              <a:gd name="connsiteX0" fmla="*/ 0 w 9153528"/>
              <a:gd name="connsiteY0" fmla="*/ 0 h 1434863"/>
              <a:gd name="connsiteX1" fmla="*/ 9097717 w 9153528"/>
              <a:gd name="connsiteY1" fmla="*/ 747887 h 1434863"/>
              <a:gd name="connsiteX2" fmla="*/ 9153528 w 9153528"/>
              <a:gd name="connsiteY2" fmla="*/ 747887 h 1434863"/>
              <a:gd name="connsiteX3" fmla="*/ 9153528 w 9153528"/>
              <a:gd name="connsiteY3" fmla="*/ 752475 h 1434863"/>
              <a:gd name="connsiteX4" fmla="*/ 9153528 w 9153528"/>
              <a:gd name="connsiteY4" fmla="*/ 1434863 h 1434863"/>
              <a:gd name="connsiteX5" fmla="*/ 0 w 9153528"/>
              <a:gd name="connsiteY5" fmla="*/ 1434863 h 1434863"/>
              <a:gd name="connsiteX6" fmla="*/ 0 w 9153528"/>
              <a:gd name="connsiteY6" fmla="*/ 752475 h 1434863"/>
              <a:gd name="connsiteX7" fmla="*/ 0 w 9153528"/>
              <a:gd name="connsiteY7" fmla="*/ 747887 h 1434863"/>
              <a:gd name="connsiteX0" fmla="*/ 0 w 9153528"/>
              <a:gd name="connsiteY0" fmla="*/ 0 h 1434863"/>
              <a:gd name="connsiteX1" fmla="*/ 9097717 w 9153528"/>
              <a:gd name="connsiteY1" fmla="*/ 747887 h 1434863"/>
              <a:gd name="connsiteX2" fmla="*/ 9153528 w 9153528"/>
              <a:gd name="connsiteY2" fmla="*/ 752475 h 1434863"/>
              <a:gd name="connsiteX3" fmla="*/ 9153528 w 9153528"/>
              <a:gd name="connsiteY3" fmla="*/ 1434863 h 1434863"/>
              <a:gd name="connsiteX4" fmla="*/ 0 w 9153528"/>
              <a:gd name="connsiteY4" fmla="*/ 1434863 h 1434863"/>
              <a:gd name="connsiteX5" fmla="*/ 0 w 9153528"/>
              <a:gd name="connsiteY5" fmla="*/ 752475 h 1434863"/>
              <a:gd name="connsiteX6" fmla="*/ 0 w 9153528"/>
              <a:gd name="connsiteY6" fmla="*/ 747887 h 1434863"/>
              <a:gd name="connsiteX7" fmla="*/ 0 w 9153528"/>
              <a:gd name="connsiteY7" fmla="*/ 0 h 1434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53528" h="1434863">
                <a:moveTo>
                  <a:pt x="0" y="0"/>
                </a:moveTo>
                <a:lnTo>
                  <a:pt x="9097717" y="747887"/>
                </a:lnTo>
                <a:lnTo>
                  <a:pt x="9153528" y="752475"/>
                </a:lnTo>
                <a:lnTo>
                  <a:pt x="9153528" y="1434863"/>
                </a:lnTo>
                <a:lnTo>
                  <a:pt x="0" y="1434863"/>
                </a:lnTo>
                <a:lnTo>
                  <a:pt x="0" y="752475"/>
                </a:lnTo>
                <a:lnTo>
                  <a:pt x="0" y="747887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48FA6A4C-949D-4D78-851A-5D85C0ACA219}"/>
              </a:ext>
            </a:extLst>
          </p:cNvPr>
          <p:cNvGrpSpPr/>
          <p:nvPr userDrawn="1"/>
        </p:nvGrpSpPr>
        <p:grpSpPr>
          <a:xfrm>
            <a:off x="4782105" y="3396053"/>
            <a:ext cx="4416497" cy="1125022"/>
            <a:chOff x="4782105" y="4078441"/>
            <a:chExt cx="4416497" cy="1125022"/>
          </a:xfrm>
          <a:solidFill>
            <a:schemeClr val="bg2">
              <a:alpha val="10000"/>
            </a:schemeClr>
          </a:solidFill>
        </p:grpSpPr>
        <p:sp>
          <p:nvSpPr>
            <p:cNvPr id="7" name="Forme libre : forme 6">
              <a:extLst>
                <a:ext uri="{FF2B5EF4-FFF2-40B4-BE49-F238E27FC236}">
                  <a16:creationId xmlns:a16="http://schemas.microsoft.com/office/drawing/2014/main" id="{791FB8C9-9221-4E4C-A4AC-2AAD9F08AE59}"/>
                </a:ext>
              </a:extLst>
            </p:cNvPr>
            <p:cNvSpPr/>
            <p:nvPr/>
          </p:nvSpPr>
          <p:spPr>
            <a:xfrm rot="8716295">
              <a:off x="8490768" y="467807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CAEA067D-BF83-4ED3-87B4-BB06FFFF2B66}"/>
                </a:ext>
              </a:extLst>
            </p:cNvPr>
            <p:cNvSpPr/>
            <p:nvPr/>
          </p:nvSpPr>
          <p:spPr>
            <a:xfrm rot="8716295">
              <a:off x="5559260" y="4523190"/>
              <a:ext cx="215177" cy="303156"/>
            </a:xfrm>
            <a:custGeom>
              <a:avLst/>
              <a:gdLst>
                <a:gd name="connsiteX0" fmla="*/ 122761 w 215177"/>
                <a:gd name="connsiteY0" fmla="*/ 256399 h 303156"/>
                <a:gd name="connsiteX1" fmla="*/ 122761 w 215177"/>
                <a:gd name="connsiteY1" fmla="*/ 105519 h 303156"/>
                <a:gd name="connsiteX2" fmla="*/ 122761 w 215177"/>
                <a:gd name="connsiteY2" fmla="*/ 99312 h 303156"/>
                <a:gd name="connsiteX3" fmla="*/ 91726 w 215177"/>
                <a:gd name="connsiteY3" fmla="*/ 75863 h 303156"/>
                <a:gd name="connsiteX4" fmla="*/ 0 w 215177"/>
                <a:gd name="connsiteY4" fmla="*/ 75863 h 303156"/>
                <a:gd name="connsiteX5" fmla="*/ 0 w 215177"/>
                <a:gd name="connsiteY5" fmla="*/ 0 h 303156"/>
                <a:gd name="connsiteX6" fmla="*/ 128968 w 215177"/>
                <a:gd name="connsiteY6" fmla="*/ 0 h 303156"/>
                <a:gd name="connsiteX7" fmla="*/ 215177 w 215177"/>
                <a:gd name="connsiteY7" fmla="*/ 75863 h 303156"/>
                <a:gd name="connsiteX8" fmla="*/ 215176 w 215177"/>
                <a:gd name="connsiteY8" fmla="*/ 303156 h 303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5177" h="303156">
                  <a:moveTo>
                    <a:pt x="122761" y="25639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0"/>
                  </a:lnTo>
                  <a:lnTo>
                    <a:pt x="128968" y="0"/>
                  </a:lnTo>
                  <a:cubicBezTo>
                    <a:pt x="184831" y="0"/>
                    <a:pt x="215176" y="24139"/>
                    <a:pt x="215177" y="75863"/>
                  </a:cubicBezTo>
                  <a:lnTo>
                    <a:pt x="215176" y="30315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ADF38186-185D-41F8-A6B1-FB10366A4CEE}"/>
                </a:ext>
              </a:extLst>
            </p:cNvPr>
            <p:cNvSpPr/>
            <p:nvPr/>
          </p:nvSpPr>
          <p:spPr>
            <a:xfrm rot="8716295">
              <a:off x="5692925" y="4561542"/>
              <a:ext cx="393603" cy="335006"/>
            </a:xfrm>
            <a:custGeom>
              <a:avLst/>
              <a:gdLst>
                <a:gd name="connsiteX0" fmla="*/ 77932 w 393603"/>
                <a:gd name="connsiteY0" fmla="*/ 299055 h 335006"/>
                <a:gd name="connsiteX1" fmla="*/ 77932 w 393603"/>
                <a:gd name="connsiteY1" fmla="*/ 66897 h 335006"/>
                <a:gd name="connsiteX2" fmla="*/ 0 w 393603"/>
                <a:gd name="connsiteY2" fmla="*/ 66898 h 335006"/>
                <a:gd name="connsiteX3" fmla="*/ 0 w 393603"/>
                <a:gd name="connsiteY3" fmla="*/ 0 h 335006"/>
                <a:gd name="connsiteX4" fmla="*/ 158623 w 393603"/>
                <a:gd name="connsiteY4" fmla="*/ 1 h 335006"/>
                <a:gd name="connsiteX5" fmla="*/ 158623 w 393603"/>
                <a:gd name="connsiteY5" fmla="*/ 111726 h 335006"/>
                <a:gd name="connsiteX6" fmla="*/ 160692 w 393603"/>
                <a:gd name="connsiteY6" fmla="*/ 111726 h 335006"/>
                <a:gd name="connsiteX7" fmla="*/ 192762 w 393603"/>
                <a:gd name="connsiteY7" fmla="*/ 39915 h 335006"/>
                <a:gd name="connsiteX8" fmla="*/ 231959 w 393603"/>
                <a:gd name="connsiteY8" fmla="*/ 7837 h 335006"/>
                <a:gd name="connsiteX9" fmla="*/ 393603 w 393603"/>
                <a:gd name="connsiteY9" fmla="*/ 140745 h 335006"/>
                <a:gd name="connsiteX10" fmla="*/ 300695 w 393603"/>
                <a:gd name="connsiteY10" fmla="*/ 146210 h 335006"/>
                <a:gd name="connsiteX11" fmla="*/ 300694 w 393603"/>
                <a:gd name="connsiteY11" fmla="*/ 121382 h 335006"/>
                <a:gd name="connsiteX12" fmla="*/ 249659 w 393603"/>
                <a:gd name="connsiteY12" fmla="*/ 58622 h 335006"/>
                <a:gd name="connsiteX13" fmla="*/ 168969 w 393603"/>
                <a:gd name="connsiteY13" fmla="*/ 191038 h 335006"/>
                <a:gd name="connsiteX14" fmla="*/ 168969 w 393603"/>
                <a:gd name="connsiteY14" fmla="*/ 321385 h 335006"/>
                <a:gd name="connsiteX15" fmla="*/ 148991 w 393603"/>
                <a:gd name="connsiteY15" fmla="*/ 335006 h 335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93603" h="335006">
                  <a:moveTo>
                    <a:pt x="77932" y="299055"/>
                  </a:moveTo>
                  <a:lnTo>
                    <a:pt x="77932" y="66897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1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71727" y="78967"/>
                    <a:pt x="181555" y="56208"/>
                    <a:pt x="192762" y="39915"/>
                  </a:cubicBezTo>
                  <a:lnTo>
                    <a:pt x="231959" y="7837"/>
                  </a:lnTo>
                  <a:lnTo>
                    <a:pt x="393603" y="140745"/>
                  </a:lnTo>
                  <a:lnTo>
                    <a:pt x="300695" y="146210"/>
                  </a:lnTo>
                  <a:lnTo>
                    <a:pt x="300694" y="121382"/>
                  </a:lnTo>
                  <a:cubicBezTo>
                    <a:pt x="300695" y="84140"/>
                    <a:pt x="279316" y="58622"/>
                    <a:pt x="249659" y="58622"/>
                  </a:cubicBezTo>
                  <a:cubicBezTo>
                    <a:pt x="205521" y="58621"/>
                    <a:pt x="168969" y="117244"/>
                    <a:pt x="168969" y="191038"/>
                  </a:cubicBezTo>
                  <a:lnTo>
                    <a:pt x="168969" y="321385"/>
                  </a:lnTo>
                  <a:lnTo>
                    <a:pt x="148991" y="33500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4B724F9D-95FF-4F02-B59A-7E5AC8B98AC8}"/>
                </a:ext>
              </a:extLst>
            </p:cNvPr>
            <p:cNvSpPr/>
            <p:nvPr/>
          </p:nvSpPr>
          <p:spPr>
            <a:xfrm rot="8716295">
              <a:off x="5659234" y="4556420"/>
              <a:ext cx="113018" cy="83608"/>
            </a:xfrm>
            <a:custGeom>
              <a:avLst/>
              <a:gdLst>
                <a:gd name="connsiteX0" fmla="*/ 0 w 113018"/>
                <a:gd name="connsiteY0" fmla="*/ 32910 h 83608"/>
                <a:gd name="connsiteX1" fmla="*/ 24482 w 113018"/>
                <a:gd name="connsiteY1" fmla="*/ 13621 h 83608"/>
                <a:gd name="connsiteX2" fmla="*/ 70259 w 113018"/>
                <a:gd name="connsiteY2" fmla="*/ 0 h 83608"/>
                <a:gd name="connsiteX3" fmla="*/ 113018 w 113018"/>
                <a:gd name="connsiteY3" fmla="*/ 51035 h 83608"/>
                <a:gd name="connsiteX4" fmla="*/ 100518 w 113018"/>
                <a:gd name="connsiteY4" fmla="*/ 83363 h 83608"/>
                <a:gd name="connsiteX5" fmla="*/ 100204 w 113018"/>
                <a:gd name="connsiteY5" fmla="*/ 83608 h 83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018" h="83608">
                  <a:moveTo>
                    <a:pt x="0" y="32910"/>
                  </a:moveTo>
                  <a:lnTo>
                    <a:pt x="24482" y="13621"/>
                  </a:lnTo>
                  <a:cubicBezTo>
                    <a:pt x="38534" y="6380"/>
                    <a:pt x="54052" y="1725"/>
                    <a:pt x="70259" y="0"/>
                  </a:cubicBezTo>
                  <a:cubicBezTo>
                    <a:pt x="103363" y="0"/>
                    <a:pt x="113018" y="28966"/>
                    <a:pt x="113018" y="51035"/>
                  </a:cubicBezTo>
                  <a:cubicBezTo>
                    <a:pt x="111984" y="63105"/>
                    <a:pt x="107501" y="74139"/>
                    <a:pt x="100518" y="83363"/>
                  </a:cubicBezTo>
                  <a:lnTo>
                    <a:pt x="100204" y="8360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D01436B5-D8EB-44DF-8B51-633BF4E9FB42}"/>
                </a:ext>
              </a:extLst>
            </p:cNvPr>
            <p:cNvSpPr/>
            <p:nvPr/>
          </p:nvSpPr>
          <p:spPr>
            <a:xfrm rot="8716295">
              <a:off x="5371633" y="4613095"/>
              <a:ext cx="88105" cy="83851"/>
            </a:xfrm>
            <a:custGeom>
              <a:avLst/>
              <a:gdLst>
                <a:gd name="connsiteX0" fmla="*/ 6112 w 88105"/>
                <a:gd name="connsiteY0" fmla="*/ 59305 h 83851"/>
                <a:gd name="connsiteX1" fmla="*/ 0 w 88105"/>
                <a:gd name="connsiteY1" fmla="*/ 44829 h 83851"/>
                <a:gd name="connsiteX2" fmla="*/ 0 w 88105"/>
                <a:gd name="connsiteY2" fmla="*/ 44139 h 83851"/>
                <a:gd name="connsiteX3" fmla="*/ 13104 w 88105"/>
                <a:gd name="connsiteY3" fmla="*/ 13104 h 83851"/>
                <a:gd name="connsiteX4" fmla="*/ 44139 w 88105"/>
                <a:gd name="connsiteY4" fmla="*/ 0 h 83851"/>
                <a:gd name="connsiteX5" fmla="*/ 75175 w 88105"/>
                <a:gd name="connsiteY5" fmla="*/ 13104 h 83851"/>
                <a:gd name="connsiteX6" fmla="*/ 75175 w 88105"/>
                <a:gd name="connsiteY6" fmla="*/ 75175 h 83851"/>
                <a:gd name="connsiteX7" fmla="*/ 54626 w 88105"/>
                <a:gd name="connsiteY7" fmla="*/ 83851 h 83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105" h="83851">
                  <a:moveTo>
                    <a:pt x="6112" y="59305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cubicBezTo>
                    <a:pt x="55864" y="0"/>
                    <a:pt x="66899" y="4828"/>
                    <a:pt x="75175" y="13104"/>
                  </a:cubicBezTo>
                  <a:cubicBezTo>
                    <a:pt x="92416" y="29657"/>
                    <a:pt x="92416" y="57933"/>
                    <a:pt x="75175" y="75175"/>
                  </a:cubicBezTo>
                  <a:lnTo>
                    <a:pt x="54626" y="8385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6F3BF20E-F037-4374-BB41-095B54D26F08}"/>
                </a:ext>
              </a:extLst>
            </p:cNvPr>
            <p:cNvSpPr/>
            <p:nvPr/>
          </p:nvSpPr>
          <p:spPr>
            <a:xfrm rot="8716295">
              <a:off x="5473646" y="4706746"/>
              <a:ext cx="91035" cy="188159"/>
            </a:xfrm>
            <a:custGeom>
              <a:avLst/>
              <a:gdLst>
                <a:gd name="connsiteX0" fmla="*/ 91035 w 91035"/>
                <a:gd name="connsiteY0" fmla="*/ 188159 h 188159"/>
                <a:gd name="connsiteX1" fmla="*/ 0 w 91035"/>
                <a:gd name="connsiteY1" fmla="*/ 100571 h 188159"/>
                <a:gd name="connsiteX2" fmla="*/ 0 w 91035"/>
                <a:gd name="connsiteY2" fmla="*/ 0 h 188159"/>
                <a:gd name="connsiteX3" fmla="*/ 91035 w 91035"/>
                <a:gd name="connsiteY3" fmla="*/ 74852 h 188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188159">
                  <a:moveTo>
                    <a:pt x="91035" y="188159"/>
                  </a:moveTo>
                  <a:lnTo>
                    <a:pt x="0" y="100571"/>
                  </a:lnTo>
                  <a:lnTo>
                    <a:pt x="0" y="0"/>
                  </a:lnTo>
                  <a:lnTo>
                    <a:pt x="91035" y="748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BBB1D061-FD31-402D-BCCB-6813149262F1}"/>
                </a:ext>
              </a:extLst>
            </p:cNvPr>
            <p:cNvSpPr/>
            <p:nvPr/>
          </p:nvSpPr>
          <p:spPr>
            <a:xfrm rot="8716295">
              <a:off x="6218962" y="4454620"/>
              <a:ext cx="171018" cy="106515"/>
            </a:xfrm>
            <a:custGeom>
              <a:avLst/>
              <a:gdLst>
                <a:gd name="connsiteX0" fmla="*/ 0 w 171018"/>
                <a:gd name="connsiteY0" fmla="*/ 19991 h 106515"/>
                <a:gd name="connsiteX1" fmla="*/ 13365 w 171018"/>
                <a:gd name="connsiteY1" fmla="*/ 9053 h 106515"/>
                <a:gd name="connsiteX2" fmla="*/ 60952 w 171018"/>
                <a:gd name="connsiteY2" fmla="*/ 87 h 106515"/>
                <a:gd name="connsiteX3" fmla="*/ 166956 w 171018"/>
                <a:gd name="connsiteY3" fmla="*/ 76705 h 106515"/>
                <a:gd name="connsiteX4" fmla="*/ 171018 w 171018"/>
                <a:gd name="connsiteY4" fmla="*/ 106515 h 106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018" h="106515">
                  <a:moveTo>
                    <a:pt x="0" y="19991"/>
                  </a:moveTo>
                  <a:lnTo>
                    <a:pt x="13365" y="9053"/>
                  </a:lnTo>
                  <a:cubicBezTo>
                    <a:pt x="28538" y="2846"/>
                    <a:pt x="44400" y="-602"/>
                    <a:pt x="60952" y="87"/>
                  </a:cubicBezTo>
                  <a:cubicBezTo>
                    <a:pt x="114229" y="-948"/>
                    <a:pt x="151600" y="26725"/>
                    <a:pt x="166956" y="76705"/>
                  </a:cubicBezTo>
                  <a:lnTo>
                    <a:pt x="171018" y="10651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B49834EB-4686-4A9A-AFBE-353B0A4BB9CC}"/>
                </a:ext>
              </a:extLst>
            </p:cNvPr>
            <p:cNvSpPr/>
            <p:nvPr/>
          </p:nvSpPr>
          <p:spPr>
            <a:xfrm rot="8716295">
              <a:off x="6005990" y="4487669"/>
              <a:ext cx="156555" cy="122067"/>
            </a:xfrm>
            <a:custGeom>
              <a:avLst/>
              <a:gdLst>
                <a:gd name="connsiteX0" fmla="*/ 65519 w 156555"/>
                <a:gd name="connsiteY0" fmla="*/ 76009 h 122067"/>
                <a:gd name="connsiteX1" fmla="*/ 65519 w 156555"/>
                <a:gd name="connsiteY1" fmla="*/ 24828 h 122067"/>
                <a:gd name="connsiteX2" fmla="*/ 0 w 156555"/>
                <a:gd name="connsiteY2" fmla="*/ 24828 h 122067"/>
                <a:gd name="connsiteX3" fmla="*/ 0 w 156555"/>
                <a:gd name="connsiteY3" fmla="*/ 3449 h 122067"/>
                <a:gd name="connsiteX4" fmla="*/ 156555 w 156555"/>
                <a:gd name="connsiteY4" fmla="*/ 0 h 122067"/>
                <a:gd name="connsiteX5" fmla="*/ 156554 w 156555"/>
                <a:gd name="connsiteY5" fmla="*/ 122067 h 122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6555" h="122067">
                  <a:moveTo>
                    <a:pt x="65519" y="76009"/>
                  </a:moveTo>
                  <a:lnTo>
                    <a:pt x="65519" y="24828"/>
                  </a:lnTo>
                  <a:lnTo>
                    <a:pt x="0" y="24828"/>
                  </a:lnTo>
                  <a:lnTo>
                    <a:pt x="0" y="3449"/>
                  </a:lnTo>
                  <a:cubicBezTo>
                    <a:pt x="49656" y="5517"/>
                    <a:pt x="101381" y="1379"/>
                    <a:pt x="156555" y="0"/>
                  </a:cubicBezTo>
                  <a:lnTo>
                    <a:pt x="156554" y="1220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676F5558-2730-4CE0-B993-EAC478371730}"/>
                </a:ext>
              </a:extLst>
            </p:cNvPr>
            <p:cNvSpPr/>
            <p:nvPr/>
          </p:nvSpPr>
          <p:spPr>
            <a:xfrm rot="7484129">
              <a:off x="6103422" y="4586563"/>
              <a:ext cx="308532" cy="296464"/>
            </a:xfrm>
            <a:custGeom>
              <a:avLst/>
              <a:gdLst>
                <a:gd name="connsiteX0" fmla="*/ 137293 w 308532"/>
                <a:gd name="connsiteY0" fmla="*/ 296464 h 296464"/>
                <a:gd name="connsiteX1" fmla="*/ 72419 w 308532"/>
                <a:gd name="connsiteY1" fmla="*/ 175766 h 296464"/>
                <a:gd name="connsiteX2" fmla="*/ 105610 w 308532"/>
                <a:gd name="connsiteY2" fmla="*/ 83734 h 296464"/>
                <a:gd name="connsiteX3" fmla="*/ 0 w 308532"/>
                <a:gd name="connsiteY3" fmla="*/ 83734 h 296464"/>
                <a:gd name="connsiteX4" fmla="*/ 0 w 308532"/>
                <a:gd name="connsiteY4" fmla="*/ 0 h 296464"/>
                <a:gd name="connsiteX5" fmla="*/ 265017 w 308532"/>
                <a:gd name="connsiteY5" fmla="*/ 0 h 296464"/>
                <a:gd name="connsiteX6" fmla="*/ 308532 w 308532"/>
                <a:gd name="connsiteY6" fmla="*/ 75260 h 296464"/>
                <a:gd name="connsiteX7" fmla="*/ 308532 w 308532"/>
                <a:gd name="connsiteY7" fmla="*/ 83734 h 296464"/>
                <a:gd name="connsiteX8" fmla="*/ 210466 w 308532"/>
                <a:gd name="connsiteY8" fmla="*/ 83734 h 296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532" h="296464">
                  <a:moveTo>
                    <a:pt x="137293" y="296464"/>
                  </a:moveTo>
                  <a:lnTo>
                    <a:pt x="72419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65017" y="0"/>
                  </a:lnTo>
                  <a:lnTo>
                    <a:pt x="308532" y="75260"/>
                  </a:lnTo>
                  <a:lnTo>
                    <a:pt x="308532" y="83734"/>
                  </a:lnTo>
                  <a:lnTo>
                    <a:pt x="210466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6446F284-DF3B-4BD3-84E9-63513197872A}"/>
                </a:ext>
              </a:extLst>
            </p:cNvPr>
            <p:cNvSpPr/>
            <p:nvPr/>
          </p:nvSpPr>
          <p:spPr>
            <a:xfrm rot="13089394">
              <a:off x="6309616" y="4543919"/>
              <a:ext cx="412568" cy="359948"/>
            </a:xfrm>
            <a:custGeom>
              <a:avLst/>
              <a:gdLst>
                <a:gd name="connsiteX0" fmla="*/ 412568 w 412568"/>
                <a:gd name="connsiteY0" fmla="*/ 252801 h 359948"/>
                <a:gd name="connsiteX1" fmla="*/ 138636 w 412568"/>
                <a:gd name="connsiteY1" fmla="*/ 359701 h 359948"/>
                <a:gd name="connsiteX2" fmla="*/ 35911 w 412568"/>
                <a:gd name="connsiteY2" fmla="*/ 317943 h 359948"/>
                <a:gd name="connsiteX3" fmla="*/ 0 w 412568"/>
                <a:gd name="connsiteY3" fmla="*/ 174296 h 359948"/>
                <a:gd name="connsiteX4" fmla="*/ 0 w 412568"/>
                <a:gd name="connsiteY4" fmla="*/ 74054 h 359948"/>
                <a:gd name="connsiteX5" fmla="*/ 112066 w 412568"/>
                <a:gd name="connsiteY5" fmla="*/ 0 h 359948"/>
                <a:gd name="connsiteX6" fmla="*/ 112747 w 412568"/>
                <a:gd name="connsiteY6" fmla="*/ 94956 h 359948"/>
                <a:gd name="connsiteX7" fmla="*/ 132789 w 412568"/>
                <a:gd name="connsiteY7" fmla="*/ 233593 h 359948"/>
                <a:gd name="connsiteX8" fmla="*/ 233008 w 412568"/>
                <a:gd name="connsiteY8" fmla="*/ 288713 h 359948"/>
                <a:gd name="connsiteX9" fmla="*/ 308172 w 412568"/>
                <a:gd name="connsiteY9" fmla="*/ 275351 h 359948"/>
                <a:gd name="connsiteX10" fmla="*/ 410898 w 412568"/>
                <a:gd name="connsiteY10" fmla="*/ 233593 h 359948"/>
                <a:gd name="connsiteX11" fmla="*/ 412568 w 412568"/>
                <a:gd name="connsiteY11" fmla="*/ 244449 h 359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2568" h="359948">
                  <a:moveTo>
                    <a:pt x="412568" y="252801"/>
                  </a:moveTo>
                  <a:cubicBezTo>
                    <a:pt x="324041" y="328800"/>
                    <a:pt x="207954" y="355526"/>
                    <a:pt x="138636" y="359701"/>
                  </a:cubicBezTo>
                  <a:cubicBezTo>
                    <a:pt x="100219" y="362207"/>
                    <a:pt x="62637" y="345504"/>
                    <a:pt x="35911" y="317943"/>
                  </a:cubicBezTo>
                  <a:cubicBezTo>
                    <a:pt x="7516" y="290383"/>
                    <a:pt x="0" y="242779"/>
                    <a:pt x="0" y="174296"/>
                  </a:cubicBezTo>
                  <a:lnTo>
                    <a:pt x="0" y="74054"/>
                  </a:lnTo>
                  <a:lnTo>
                    <a:pt x="112066" y="0"/>
                  </a:lnTo>
                  <a:lnTo>
                    <a:pt x="112747" y="94956"/>
                  </a:lnTo>
                  <a:cubicBezTo>
                    <a:pt x="110241" y="141725"/>
                    <a:pt x="117756" y="189329"/>
                    <a:pt x="132789" y="233593"/>
                  </a:cubicBezTo>
                  <a:cubicBezTo>
                    <a:pt x="146153" y="270339"/>
                    <a:pt x="180394" y="288713"/>
                    <a:pt x="233008" y="288713"/>
                  </a:cubicBezTo>
                  <a:cubicBezTo>
                    <a:pt x="258899" y="287878"/>
                    <a:pt x="283953" y="282866"/>
                    <a:pt x="308172" y="275351"/>
                  </a:cubicBezTo>
                  <a:cubicBezTo>
                    <a:pt x="343249" y="264493"/>
                    <a:pt x="377491" y="250296"/>
                    <a:pt x="410898" y="233593"/>
                  </a:cubicBezTo>
                  <a:cubicBezTo>
                    <a:pt x="411732" y="236933"/>
                    <a:pt x="412568" y="241109"/>
                    <a:pt x="412568" y="24444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88875692-D947-4058-8206-44233A06BFD3}"/>
                </a:ext>
              </a:extLst>
            </p:cNvPr>
            <p:cNvSpPr/>
            <p:nvPr/>
          </p:nvSpPr>
          <p:spPr>
            <a:xfrm rot="8716295">
              <a:off x="6597507" y="4422612"/>
              <a:ext cx="149044" cy="111064"/>
            </a:xfrm>
            <a:custGeom>
              <a:avLst/>
              <a:gdLst>
                <a:gd name="connsiteX0" fmla="*/ 0 w 149044"/>
                <a:gd name="connsiteY0" fmla="*/ 51375 h 111064"/>
                <a:gd name="connsiteX1" fmla="*/ 1002 w 149044"/>
                <a:gd name="connsiteY1" fmla="*/ 50432 h 111064"/>
                <a:gd name="connsiteX2" fmla="*/ 98612 w 149044"/>
                <a:gd name="connsiteY2" fmla="*/ 0 h 111064"/>
                <a:gd name="connsiteX3" fmla="*/ 149044 w 149044"/>
                <a:gd name="connsiteY3" fmla="*/ 60193 h 111064"/>
                <a:gd name="connsiteX4" fmla="*/ 134300 w 149044"/>
                <a:gd name="connsiteY4" fmla="*/ 98322 h 111064"/>
                <a:gd name="connsiteX5" fmla="*/ 117977 w 149044"/>
                <a:gd name="connsiteY5" fmla="*/ 111064 h 111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044" h="111064">
                  <a:moveTo>
                    <a:pt x="0" y="51375"/>
                  </a:moveTo>
                  <a:lnTo>
                    <a:pt x="1002" y="50432"/>
                  </a:lnTo>
                  <a:cubicBezTo>
                    <a:pt x="25404" y="21963"/>
                    <a:pt x="60381" y="4067"/>
                    <a:pt x="98612" y="0"/>
                  </a:cubicBezTo>
                  <a:cubicBezTo>
                    <a:pt x="137657" y="0"/>
                    <a:pt x="149044" y="34164"/>
                    <a:pt x="149044" y="60193"/>
                  </a:cubicBezTo>
                  <a:cubicBezTo>
                    <a:pt x="147824" y="74428"/>
                    <a:pt x="142536" y="87443"/>
                    <a:pt x="134300" y="98322"/>
                  </a:cubicBezTo>
                  <a:lnTo>
                    <a:pt x="117977" y="1110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371804DA-D0A5-4840-894B-07AAE1064663}"/>
                </a:ext>
              </a:extLst>
            </p:cNvPr>
            <p:cNvSpPr/>
            <p:nvPr/>
          </p:nvSpPr>
          <p:spPr>
            <a:xfrm rot="8716295">
              <a:off x="6708126" y="4876229"/>
              <a:ext cx="139286" cy="121327"/>
            </a:xfrm>
            <a:custGeom>
              <a:avLst/>
              <a:gdLst>
                <a:gd name="connsiteX0" fmla="*/ 26453 w 139286"/>
                <a:gd name="connsiteY0" fmla="*/ 96267 h 121327"/>
                <a:gd name="connsiteX1" fmla="*/ 0 w 139286"/>
                <a:gd name="connsiteY1" fmla="*/ 33618 h 121327"/>
                <a:gd name="connsiteX2" fmla="*/ 0 w 139286"/>
                <a:gd name="connsiteY2" fmla="*/ 32225 h 121327"/>
                <a:gd name="connsiteX3" fmla="*/ 13607 w 139286"/>
                <a:gd name="connsiteY3" fmla="*/ 0 h 121327"/>
                <a:gd name="connsiteX4" fmla="*/ 139286 w 139286"/>
                <a:gd name="connsiteY4" fmla="*/ 103337 h 121327"/>
                <a:gd name="connsiteX5" fmla="*/ 123037 w 139286"/>
                <a:gd name="connsiteY5" fmla="*/ 114366 h 121327"/>
                <a:gd name="connsiteX6" fmla="*/ 89101 w 139286"/>
                <a:gd name="connsiteY6" fmla="*/ 121327 h 121327"/>
                <a:gd name="connsiteX7" fmla="*/ 26453 w 139286"/>
                <a:gd name="connsiteY7" fmla="*/ 96267 h 121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9286" h="121327">
                  <a:moveTo>
                    <a:pt x="26453" y="96267"/>
                  </a:moveTo>
                  <a:cubicBezTo>
                    <a:pt x="9746" y="79561"/>
                    <a:pt x="0" y="57285"/>
                    <a:pt x="0" y="33618"/>
                  </a:cubicBezTo>
                  <a:lnTo>
                    <a:pt x="0" y="32225"/>
                  </a:lnTo>
                  <a:lnTo>
                    <a:pt x="13607" y="0"/>
                  </a:lnTo>
                  <a:lnTo>
                    <a:pt x="139286" y="103337"/>
                  </a:lnTo>
                  <a:lnTo>
                    <a:pt x="123037" y="114366"/>
                  </a:lnTo>
                  <a:cubicBezTo>
                    <a:pt x="112421" y="118890"/>
                    <a:pt x="100935" y="121327"/>
                    <a:pt x="89101" y="121327"/>
                  </a:cubicBezTo>
                  <a:cubicBezTo>
                    <a:pt x="65435" y="121327"/>
                    <a:pt x="43159" y="112973"/>
                    <a:pt x="26453" y="9626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6EEBC52A-3D14-419B-8366-97197098C604}"/>
                </a:ext>
              </a:extLst>
            </p:cNvPr>
            <p:cNvSpPr/>
            <p:nvPr/>
          </p:nvSpPr>
          <p:spPr>
            <a:xfrm rot="8716295">
              <a:off x="4782105" y="4823045"/>
              <a:ext cx="311921" cy="362797"/>
            </a:xfrm>
            <a:custGeom>
              <a:avLst/>
              <a:gdLst>
                <a:gd name="connsiteX0" fmla="*/ 311920 w 311921"/>
                <a:gd name="connsiteY0" fmla="*/ 120307 h 362797"/>
                <a:gd name="connsiteX1" fmla="*/ 138360 w 311921"/>
                <a:gd name="connsiteY1" fmla="*/ 1 h 362797"/>
                <a:gd name="connsiteX2" fmla="*/ 138360 w 311921"/>
                <a:gd name="connsiteY2" fmla="*/ 0 h 362797"/>
                <a:gd name="connsiteX3" fmla="*/ 311921 w 311921"/>
                <a:gd name="connsiteY3" fmla="*/ 120307 h 362797"/>
                <a:gd name="connsiteX4" fmla="*/ 0 w 311921"/>
                <a:gd name="connsiteY4" fmla="*/ 362797 h 362797"/>
                <a:gd name="connsiteX5" fmla="*/ 0 w 311921"/>
                <a:gd name="connsiteY5" fmla="*/ 320869 h 362797"/>
                <a:gd name="connsiteX6" fmla="*/ 27877 w 311921"/>
                <a:gd name="connsiteY6" fmla="*/ 343790 h 362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1921" h="362797">
                  <a:moveTo>
                    <a:pt x="311920" y="120307"/>
                  </a:moveTo>
                  <a:lnTo>
                    <a:pt x="138360" y="1"/>
                  </a:lnTo>
                  <a:lnTo>
                    <a:pt x="138360" y="0"/>
                  </a:lnTo>
                  <a:lnTo>
                    <a:pt x="311921" y="120307"/>
                  </a:lnTo>
                  <a:close/>
                  <a:moveTo>
                    <a:pt x="0" y="362797"/>
                  </a:moveTo>
                  <a:lnTo>
                    <a:pt x="0" y="320869"/>
                  </a:lnTo>
                  <a:lnTo>
                    <a:pt x="27877" y="34379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53F2D732-A25A-4CEE-B98E-E5DC8CC54158}"/>
                </a:ext>
              </a:extLst>
            </p:cNvPr>
            <p:cNvSpPr/>
            <p:nvPr/>
          </p:nvSpPr>
          <p:spPr>
            <a:xfrm rot="8716295">
              <a:off x="5132149" y="4738008"/>
              <a:ext cx="148614" cy="131720"/>
            </a:xfrm>
            <a:custGeom>
              <a:avLst/>
              <a:gdLst>
                <a:gd name="connsiteX0" fmla="*/ 26453 w 148614"/>
                <a:gd name="connsiteY0" fmla="*/ 106660 h 131720"/>
                <a:gd name="connsiteX1" fmla="*/ 0 w 148614"/>
                <a:gd name="connsiteY1" fmla="*/ 44011 h 131720"/>
                <a:gd name="connsiteX2" fmla="*/ 0 w 148614"/>
                <a:gd name="connsiteY2" fmla="*/ 42618 h 131720"/>
                <a:gd name="connsiteX3" fmla="*/ 17995 w 148614"/>
                <a:gd name="connsiteY3" fmla="*/ 0 h 131720"/>
                <a:gd name="connsiteX4" fmla="*/ 148614 w 148614"/>
                <a:gd name="connsiteY4" fmla="*/ 107398 h 131720"/>
                <a:gd name="connsiteX5" fmla="*/ 123037 w 148614"/>
                <a:gd name="connsiteY5" fmla="*/ 124759 h 131720"/>
                <a:gd name="connsiteX6" fmla="*/ 89101 w 148614"/>
                <a:gd name="connsiteY6" fmla="*/ 131720 h 131720"/>
                <a:gd name="connsiteX7" fmla="*/ 26453 w 148614"/>
                <a:gd name="connsiteY7" fmla="*/ 106660 h 13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8614" h="131720">
                  <a:moveTo>
                    <a:pt x="26453" y="106660"/>
                  </a:moveTo>
                  <a:cubicBezTo>
                    <a:pt x="9746" y="89954"/>
                    <a:pt x="0" y="67678"/>
                    <a:pt x="0" y="44011"/>
                  </a:cubicBezTo>
                  <a:lnTo>
                    <a:pt x="0" y="42618"/>
                  </a:lnTo>
                  <a:lnTo>
                    <a:pt x="17995" y="0"/>
                  </a:lnTo>
                  <a:lnTo>
                    <a:pt x="148614" y="107398"/>
                  </a:lnTo>
                  <a:lnTo>
                    <a:pt x="123037" y="124759"/>
                  </a:lnTo>
                  <a:cubicBezTo>
                    <a:pt x="112421" y="129283"/>
                    <a:pt x="100935" y="131720"/>
                    <a:pt x="89101" y="131720"/>
                  </a:cubicBezTo>
                  <a:cubicBezTo>
                    <a:pt x="65435" y="131720"/>
                    <a:pt x="43159" y="123366"/>
                    <a:pt x="26453" y="10666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937A52BD-510B-4C03-9C16-CD9D234ABB7D}"/>
                </a:ext>
              </a:extLst>
            </p:cNvPr>
            <p:cNvSpPr/>
            <p:nvPr/>
          </p:nvSpPr>
          <p:spPr>
            <a:xfrm rot="8716295">
              <a:off x="5043572" y="4624951"/>
              <a:ext cx="150722" cy="101024"/>
            </a:xfrm>
            <a:custGeom>
              <a:avLst/>
              <a:gdLst>
                <a:gd name="connsiteX0" fmla="*/ 0 w 150722"/>
                <a:gd name="connsiteY0" fmla="*/ 25991 h 101024"/>
                <a:gd name="connsiteX1" fmla="*/ 28034 w 150722"/>
                <a:gd name="connsiteY1" fmla="*/ 6961 h 101024"/>
                <a:gd name="connsiteX2" fmla="*/ 61968 w 150722"/>
                <a:gd name="connsiteY2" fmla="*/ 0 h 101024"/>
                <a:gd name="connsiteX3" fmla="*/ 124618 w 150722"/>
                <a:gd name="connsiteY3" fmla="*/ 26453 h 101024"/>
                <a:gd name="connsiteX4" fmla="*/ 150722 w 150722"/>
                <a:gd name="connsiteY4" fmla="*/ 88580 h 101024"/>
                <a:gd name="connsiteX5" fmla="*/ 148306 w 150722"/>
                <a:gd name="connsiteY5" fmla="*/ 101024 h 10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0722" h="101024">
                  <a:moveTo>
                    <a:pt x="0" y="25991"/>
                  </a:moveTo>
                  <a:lnTo>
                    <a:pt x="28034" y="6961"/>
                  </a:lnTo>
                  <a:cubicBezTo>
                    <a:pt x="38649" y="2437"/>
                    <a:pt x="50135" y="0"/>
                    <a:pt x="61968" y="0"/>
                  </a:cubicBezTo>
                  <a:cubicBezTo>
                    <a:pt x="85637" y="0"/>
                    <a:pt x="107912" y="9746"/>
                    <a:pt x="124618" y="26453"/>
                  </a:cubicBezTo>
                  <a:cubicBezTo>
                    <a:pt x="142021" y="43159"/>
                    <a:pt x="150722" y="65782"/>
                    <a:pt x="150722" y="88580"/>
                  </a:cubicBezTo>
                  <a:lnTo>
                    <a:pt x="148306" y="1010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C719F00E-5A8E-45CC-8F56-B823EE2F6BB7}"/>
                </a:ext>
              </a:extLst>
            </p:cNvPr>
            <p:cNvSpPr/>
            <p:nvPr/>
          </p:nvSpPr>
          <p:spPr>
            <a:xfrm rot="8716295">
              <a:off x="8546573" y="4108588"/>
              <a:ext cx="215176" cy="313567"/>
            </a:xfrm>
            <a:custGeom>
              <a:avLst/>
              <a:gdLst>
                <a:gd name="connsiteX0" fmla="*/ 122760 w 215176"/>
                <a:gd name="connsiteY0" fmla="*/ 266809 h 313567"/>
                <a:gd name="connsiteX1" fmla="*/ 122761 w 215176"/>
                <a:gd name="connsiteY1" fmla="*/ 105519 h 313567"/>
                <a:gd name="connsiteX2" fmla="*/ 122761 w 215176"/>
                <a:gd name="connsiteY2" fmla="*/ 99312 h 313567"/>
                <a:gd name="connsiteX3" fmla="*/ 91726 w 215176"/>
                <a:gd name="connsiteY3" fmla="*/ 75863 h 313567"/>
                <a:gd name="connsiteX4" fmla="*/ 0 w 215176"/>
                <a:gd name="connsiteY4" fmla="*/ 75863 h 313567"/>
                <a:gd name="connsiteX5" fmla="*/ 0 w 215176"/>
                <a:gd name="connsiteY5" fmla="*/ 0 h 313567"/>
                <a:gd name="connsiteX6" fmla="*/ 128968 w 215176"/>
                <a:gd name="connsiteY6" fmla="*/ 0 h 313567"/>
                <a:gd name="connsiteX7" fmla="*/ 215176 w 215176"/>
                <a:gd name="connsiteY7" fmla="*/ 75863 h 313567"/>
                <a:gd name="connsiteX8" fmla="*/ 215176 w 215176"/>
                <a:gd name="connsiteY8" fmla="*/ 313567 h 31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5176" h="313567">
                  <a:moveTo>
                    <a:pt x="122760" y="26680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0"/>
                  </a:lnTo>
                  <a:lnTo>
                    <a:pt x="128968" y="0"/>
                  </a:lnTo>
                  <a:cubicBezTo>
                    <a:pt x="184831" y="0"/>
                    <a:pt x="215177" y="24139"/>
                    <a:pt x="215176" y="75863"/>
                  </a:cubicBezTo>
                  <a:lnTo>
                    <a:pt x="215176" y="3135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25DD9CA0-AFE3-4B5F-B15D-E7FBAF734592}"/>
                </a:ext>
              </a:extLst>
            </p:cNvPr>
            <p:cNvSpPr/>
            <p:nvPr/>
          </p:nvSpPr>
          <p:spPr>
            <a:xfrm rot="8716295">
              <a:off x="8681306" y="4151041"/>
              <a:ext cx="394490" cy="343138"/>
            </a:xfrm>
            <a:custGeom>
              <a:avLst/>
              <a:gdLst>
                <a:gd name="connsiteX0" fmla="*/ 77932 w 394490"/>
                <a:gd name="connsiteY0" fmla="*/ 311621 h 343138"/>
                <a:gd name="connsiteX1" fmla="*/ 77932 w 394490"/>
                <a:gd name="connsiteY1" fmla="*/ 69053 h 343138"/>
                <a:gd name="connsiteX2" fmla="*/ 0 w 394490"/>
                <a:gd name="connsiteY2" fmla="*/ 69054 h 343138"/>
                <a:gd name="connsiteX3" fmla="*/ 0 w 394490"/>
                <a:gd name="connsiteY3" fmla="*/ 2156 h 343138"/>
                <a:gd name="connsiteX4" fmla="*/ 158623 w 394490"/>
                <a:gd name="connsiteY4" fmla="*/ 2157 h 343138"/>
                <a:gd name="connsiteX5" fmla="*/ 158624 w 394490"/>
                <a:gd name="connsiteY5" fmla="*/ 113882 h 343138"/>
                <a:gd name="connsiteX6" fmla="*/ 160692 w 394490"/>
                <a:gd name="connsiteY6" fmla="*/ 113882 h 343138"/>
                <a:gd name="connsiteX7" fmla="*/ 233107 w 394490"/>
                <a:gd name="connsiteY7" fmla="*/ 9053 h 343138"/>
                <a:gd name="connsiteX8" fmla="*/ 280694 w 394490"/>
                <a:gd name="connsiteY8" fmla="*/ 87 h 343138"/>
                <a:gd name="connsiteX9" fmla="*/ 394490 w 394490"/>
                <a:gd name="connsiteY9" fmla="*/ 133882 h 343138"/>
                <a:gd name="connsiteX10" fmla="*/ 394490 w 394490"/>
                <a:gd name="connsiteY10" fmla="*/ 142849 h 343138"/>
                <a:gd name="connsiteX11" fmla="*/ 300694 w 394490"/>
                <a:gd name="connsiteY11" fmla="*/ 148365 h 343138"/>
                <a:gd name="connsiteX12" fmla="*/ 300694 w 394490"/>
                <a:gd name="connsiteY12" fmla="*/ 123538 h 343138"/>
                <a:gd name="connsiteX13" fmla="*/ 249660 w 394490"/>
                <a:gd name="connsiteY13" fmla="*/ 60778 h 343138"/>
                <a:gd name="connsiteX14" fmla="*/ 168969 w 394490"/>
                <a:gd name="connsiteY14" fmla="*/ 193194 h 343138"/>
                <a:gd name="connsiteX15" fmla="*/ 168969 w 394490"/>
                <a:gd name="connsiteY15" fmla="*/ 323541 h 343138"/>
                <a:gd name="connsiteX16" fmla="*/ 140226 w 394490"/>
                <a:gd name="connsiteY16" fmla="*/ 343138 h 343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4490" h="343138">
                  <a:moveTo>
                    <a:pt x="77932" y="311621"/>
                  </a:moveTo>
                  <a:lnTo>
                    <a:pt x="77932" y="69053"/>
                  </a:lnTo>
                  <a:lnTo>
                    <a:pt x="0" y="69054"/>
                  </a:lnTo>
                  <a:lnTo>
                    <a:pt x="0" y="2156"/>
                  </a:lnTo>
                  <a:lnTo>
                    <a:pt x="158623" y="2157"/>
                  </a:lnTo>
                  <a:lnTo>
                    <a:pt x="158624" y="113882"/>
                  </a:lnTo>
                  <a:lnTo>
                    <a:pt x="160692" y="113882"/>
                  </a:lnTo>
                  <a:cubicBezTo>
                    <a:pt x="182762" y="48364"/>
                    <a:pt x="200003" y="22846"/>
                    <a:pt x="233107" y="9053"/>
                  </a:cubicBezTo>
                  <a:cubicBezTo>
                    <a:pt x="248280" y="2846"/>
                    <a:pt x="264142" y="-602"/>
                    <a:pt x="280694" y="87"/>
                  </a:cubicBezTo>
                  <a:cubicBezTo>
                    <a:pt x="351730" y="-1293"/>
                    <a:pt x="394490" y="48364"/>
                    <a:pt x="394490" y="133882"/>
                  </a:cubicBezTo>
                  <a:lnTo>
                    <a:pt x="394490" y="142849"/>
                  </a:lnTo>
                  <a:lnTo>
                    <a:pt x="300694" y="148365"/>
                  </a:lnTo>
                  <a:lnTo>
                    <a:pt x="300694" y="123538"/>
                  </a:lnTo>
                  <a:cubicBezTo>
                    <a:pt x="300695" y="86296"/>
                    <a:pt x="279316" y="60778"/>
                    <a:pt x="249660" y="60778"/>
                  </a:cubicBezTo>
                  <a:cubicBezTo>
                    <a:pt x="205521" y="60778"/>
                    <a:pt x="168968" y="119399"/>
                    <a:pt x="168969" y="193194"/>
                  </a:cubicBezTo>
                  <a:lnTo>
                    <a:pt x="168969" y="323541"/>
                  </a:lnTo>
                  <a:lnTo>
                    <a:pt x="140226" y="3431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24323A32-7D51-45A5-8D91-2223C2D14BC5}"/>
                </a:ext>
              </a:extLst>
            </p:cNvPr>
            <p:cNvSpPr/>
            <p:nvPr/>
          </p:nvSpPr>
          <p:spPr>
            <a:xfrm rot="8716295">
              <a:off x="8646997" y="4143256"/>
              <a:ext cx="121064" cy="89924"/>
            </a:xfrm>
            <a:custGeom>
              <a:avLst/>
              <a:gdLst>
                <a:gd name="connsiteX0" fmla="*/ 0 w 121064"/>
                <a:gd name="connsiteY0" fmla="*/ 39250 h 89924"/>
                <a:gd name="connsiteX1" fmla="*/ 32528 w 121064"/>
                <a:gd name="connsiteY1" fmla="*/ 13621 h 89924"/>
                <a:gd name="connsiteX2" fmla="*/ 78305 w 121064"/>
                <a:gd name="connsiteY2" fmla="*/ 0 h 89924"/>
                <a:gd name="connsiteX3" fmla="*/ 121064 w 121064"/>
                <a:gd name="connsiteY3" fmla="*/ 51035 h 89924"/>
                <a:gd name="connsiteX4" fmla="*/ 108563 w 121064"/>
                <a:gd name="connsiteY4" fmla="*/ 83363 h 89924"/>
                <a:gd name="connsiteX5" fmla="*/ 100159 w 121064"/>
                <a:gd name="connsiteY5" fmla="*/ 89924 h 89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1064" h="89924">
                  <a:moveTo>
                    <a:pt x="0" y="39250"/>
                  </a:moveTo>
                  <a:lnTo>
                    <a:pt x="32528" y="13621"/>
                  </a:lnTo>
                  <a:cubicBezTo>
                    <a:pt x="46580" y="6380"/>
                    <a:pt x="62098" y="1724"/>
                    <a:pt x="78305" y="0"/>
                  </a:cubicBezTo>
                  <a:cubicBezTo>
                    <a:pt x="111409" y="0"/>
                    <a:pt x="121065" y="28966"/>
                    <a:pt x="121064" y="51035"/>
                  </a:cubicBezTo>
                  <a:cubicBezTo>
                    <a:pt x="120030" y="63105"/>
                    <a:pt x="115546" y="74139"/>
                    <a:pt x="108563" y="83363"/>
                  </a:cubicBezTo>
                  <a:lnTo>
                    <a:pt x="100159" y="899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CF24F6A6-E56B-4B69-A6B4-F595B4AECDB5}"/>
                </a:ext>
              </a:extLst>
            </p:cNvPr>
            <p:cNvSpPr/>
            <p:nvPr/>
          </p:nvSpPr>
          <p:spPr>
            <a:xfrm rot="8716295">
              <a:off x="8360649" y="4203945"/>
              <a:ext cx="88105" cy="88278"/>
            </a:xfrm>
            <a:custGeom>
              <a:avLst/>
              <a:gdLst>
                <a:gd name="connsiteX0" fmla="*/ 11702 w 88105"/>
                <a:gd name="connsiteY0" fmla="*/ 72544 h 88278"/>
                <a:gd name="connsiteX1" fmla="*/ 0 w 88105"/>
                <a:gd name="connsiteY1" fmla="*/ 44829 h 88278"/>
                <a:gd name="connsiteX2" fmla="*/ 0 w 88105"/>
                <a:gd name="connsiteY2" fmla="*/ 44139 h 88278"/>
                <a:gd name="connsiteX3" fmla="*/ 13104 w 88105"/>
                <a:gd name="connsiteY3" fmla="*/ 13104 h 88278"/>
                <a:gd name="connsiteX4" fmla="*/ 44139 w 88105"/>
                <a:gd name="connsiteY4" fmla="*/ 0 h 88278"/>
                <a:gd name="connsiteX5" fmla="*/ 75175 w 88105"/>
                <a:gd name="connsiteY5" fmla="*/ 13104 h 88278"/>
                <a:gd name="connsiteX6" fmla="*/ 75175 w 88105"/>
                <a:gd name="connsiteY6" fmla="*/ 75175 h 88278"/>
                <a:gd name="connsiteX7" fmla="*/ 44139 w 88105"/>
                <a:gd name="connsiteY7" fmla="*/ 88278 h 88278"/>
                <a:gd name="connsiteX8" fmla="*/ 37752 w 88105"/>
                <a:gd name="connsiteY8" fmla="*/ 85724 h 88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8105" h="88278">
                  <a:moveTo>
                    <a:pt x="11702" y="72544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cubicBezTo>
                    <a:pt x="55864" y="0"/>
                    <a:pt x="66899" y="4828"/>
                    <a:pt x="75175" y="13104"/>
                  </a:cubicBezTo>
                  <a:cubicBezTo>
                    <a:pt x="92416" y="29657"/>
                    <a:pt x="92416" y="57933"/>
                    <a:pt x="75175" y="75175"/>
                  </a:cubicBezTo>
                  <a:cubicBezTo>
                    <a:pt x="66899" y="83451"/>
                    <a:pt x="55864" y="88278"/>
                    <a:pt x="44139" y="88278"/>
                  </a:cubicBezTo>
                  <a:lnTo>
                    <a:pt x="37752" y="857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823BDB41-A1E6-41AA-847A-64C2D14D0B20}"/>
                </a:ext>
              </a:extLst>
            </p:cNvPr>
            <p:cNvSpPr/>
            <p:nvPr/>
          </p:nvSpPr>
          <p:spPr>
            <a:xfrm rot="8716295">
              <a:off x="8270439" y="4208809"/>
              <a:ext cx="54467" cy="27557"/>
            </a:xfrm>
            <a:custGeom>
              <a:avLst/>
              <a:gdLst>
                <a:gd name="connsiteX0" fmla="*/ 0 w 54467"/>
                <a:gd name="connsiteY0" fmla="*/ 0 h 27557"/>
                <a:gd name="connsiteX1" fmla="*/ 54467 w 54467"/>
                <a:gd name="connsiteY1" fmla="*/ 0 h 27557"/>
                <a:gd name="connsiteX2" fmla="*/ 54467 w 54467"/>
                <a:gd name="connsiteY2" fmla="*/ 27557 h 27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467" h="27557">
                  <a:moveTo>
                    <a:pt x="0" y="0"/>
                  </a:moveTo>
                  <a:lnTo>
                    <a:pt x="54467" y="0"/>
                  </a:lnTo>
                  <a:lnTo>
                    <a:pt x="54467" y="2755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C4D7300C-5B1D-4389-9C36-32D5B08AA75A}"/>
                </a:ext>
              </a:extLst>
            </p:cNvPr>
            <p:cNvSpPr/>
            <p:nvPr/>
          </p:nvSpPr>
          <p:spPr>
            <a:xfrm rot="8716295">
              <a:off x="8503577" y="4269431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A57703A1-63B4-443D-A8D6-A43C23AB9B28}"/>
                </a:ext>
              </a:extLst>
            </p:cNvPr>
            <p:cNvSpPr/>
            <p:nvPr/>
          </p:nvSpPr>
          <p:spPr>
            <a:xfrm rot="8716295">
              <a:off x="8994983" y="4078441"/>
              <a:ext cx="137688" cy="132478"/>
            </a:xfrm>
            <a:custGeom>
              <a:avLst/>
              <a:gdLst>
                <a:gd name="connsiteX0" fmla="*/ 46653 w 137688"/>
                <a:gd name="connsiteY0" fmla="*/ 86420 h 132478"/>
                <a:gd name="connsiteX1" fmla="*/ 46653 w 137688"/>
                <a:gd name="connsiteY1" fmla="*/ 24828 h 132478"/>
                <a:gd name="connsiteX2" fmla="*/ 0 w 137688"/>
                <a:gd name="connsiteY2" fmla="*/ 24828 h 132478"/>
                <a:gd name="connsiteX3" fmla="*/ 15342 w 137688"/>
                <a:gd name="connsiteY3" fmla="*/ 2695 h 132478"/>
                <a:gd name="connsiteX4" fmla="*/ 137688 w 137688"/>
                <a:gd name="connsiteY4" fmla="*/ 0 h 132478"/>
                <a:gd name="connsiteX5" fmla="*/ 137688 w 137688"/>
                <a:gd name="connsiteY5" fmla="*/ 132478 h 132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7688" h="132478">
                  <a:moveTo>
                    <a:pt x="46653" y="86420"/>
                  </a:moveTo>
                  <a:lnTo>
                    <a:pt x="46653" y="24828"/>
                  </a:lnTo>
                  <a:lnTo>
                    <a:pt x="0" y="24828"/>
                  </a:lnTo>
                  <a:lnTo>
                    <a:pt x="15342" y="2695"/>
                  </a:lnTo>
                  <a:lnTo>
                    <a:pt x="137688" y="0"/>
                  </a:lnTo>
                  <a:lnTo>
                    <a:pt x="137688" y="13247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46727CBF-18BC-4939-8F2B-40813E13A972}"/>
                </a:ext>
              </a:extLst>
            </p:cNvPr>
            <p:cNvSpPr/>
            <p:nvPr/>
          </p:nvSpPr>
          <p:spPr>
            <a:xfrm rot="7484129">
              <a:off x="9136824" y="4228704"/>
              <a:ext cx="8392" cy="13068"/>
            </a:xfrm>
            <a:custGeom>
              <a:avLst/>
              <a:gdLst>
                <a:gd name="connsiteX0" fmla="*/ 3897 w 8392"/>
                <a:gd name="connsiteY0" fmla="*/ 13068 h 13068"/>
                <a:gd name="connsiteX1" fmla="*/ 0 w 8392"/>
                <a:gd name="connsiteY1" fmla="*/ 5818 h 13068"/>
                <a:gd name="connsiteX2" fmla="*/ 8392 w 8392"/>
                <a:gd name="connsiteY2" fmla="*/ 0 h 13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2" h="13068">
                  <a:moveTo>
                    <a:pt x="3897" y="13068"/>
                  </a:moveTo>
                  <a:lnTo>
                    <a:pt x="0" y="5818"/>
                  </a:lnTo>
                  <a:lnTo>
                    <a:pt x="839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D9037FA7-ED1D-4D57-8F2C-1298751D415A}"/>
                </a:ext>
              </a:extLst>
            </p:cNvPr>
            <p:cNvSpPr/>
            <p:nvPr/>
          </p:nvSpPr>
          <p:spPr>
            <a:xfrm rot="8716295">
              <a:off x="8839311" y="5117279"/>
              <a:ext cx="37096" cy="40385"/>
            </a:xfrm>
            <a:custGeom>
              <a:avLst/>
              <a:gdLst>
                <a:gd name="connsiteX0" fmla="*/ 37095 w 37096"/>
                <a:gd name="connsiteY0" fmla="*/ 25713 h 40385"/>
                <a:gd name="connsiteX1" fmla="*/ 0 w 37096"/>
                <a:gd name="connsiteY1" fmla="*/ 0 h 40385"/>
                <a:gd name="connsiteX2" fmla="*/ 0 w 37096"/>
                <a:gd name="connsiteY2" fmla="*/ 0 h 40385"/>
                <a:gd name="connsiteX3" fmla="*/ 37096 w 37096"/>
                <a:gd name="connsiteY3" fmla="*/ 25713 h 40385"/>
                <a:gd name="connsiteX4" fmla="*/ 0 w 37096"/>
                <a:gd name="connsiteY4" fmla="*/ 40385 h 40385"/>
                <a:gd name="connsiteX5" fmla="*/ 0 w 37096"/>
                <a:gd name="connsiteY5" fmla="*/ 28525 h 40385"/>
                <a:gd name="connsiteX6" fmla="*/ 9740 w 37096"/>
                <a:gd name="connsiteY6" fmla="*/ 36533 h 40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096" h="40385">
                  <a:moveTo>
                    <a:pt x="37095" y="25713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37096" y="25713"/>
                  </a:lnTo>
                  <a:close/>
                  <a:moveTo>
                    <a:pt x="0" y="40385"/>
                  </a:moveTo>
                  <a:lnTo>
                    <a:pt x="0" y="28525"/>
                  </a:lnTo>
                  <a:lnTo>
                    <a:pt x="9740" y="365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7762AEC2-4809-4723-B4B8-AD709205FF29}"/>
                </a:ext>
              </a:extLst>
            </p:cNvPr>
            <p:cNvSpPr/>
            <p:nvPr/>
          </p:nvSpPr>
          <p:spPr>
            <a:xfrm rot="8716295">
              <a:off x="8967255" y="4971567"/>
              <a:ext cx="231347" cy="158649"/>
            </a:xfrm>
            <a:custGeom>
              <a:avLst/>
              <a:gdLst>
                <a:gd name="connsiteX0" fmla="*/ 8965 w 231347"/>
                <a:gd name="connsiteY0" fmla="*/ 158649 h 158649"/>
                <a:gd name="connsiteX1" fmla="*/ 0 w 231347"/>
                <a:gd name="connsiteY1" fmla="*/ 146235 h 158649"/>
                <a:gd name="connsiteX2" fmla="*/ 155416 w 231347"/>
                <a:gd name="connsiteY2" fmla="*/ 0 h 158649"/>
                <a:gd name="connsiteX3" fmla="*/ 231347 w 231347"/>
                <a:gd name="connsiteY3" fmla="*/ 62433 h 158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347" h="158649">
                  <a:moveTo>
                    <a:pt x="8965" y="158649"/>
                  </a:moveTo>
                  <a:lnTo>
                    <a:pt x="0" y="146235"/>
                  </a:lnTo>
                  <a:lnTo>
                    <a:pt x="155416" y="0"/>
                  </a:lnTo>
                  <a:lnTo>
                    <a:pt x="231347" y="624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45E00815-1C71-4483-8D7E-4D817A5C21EF}"/>
                </a:ext>
              </a:extLst>
            </p:cNvPr>
            <p:cNvSpPr/>
            <p:nvPr/>
          </p:nvSpPr>
          <p:spPr>
            <a:xfrm rot="8716295">
              <a:off x="8555937" y="4871188"/>
              <a:ext cx="249519" cy="296463"/>
            </a:xfrm>
            <a:custGeom>
              <a:avLst/>
              <a:gdLst>
                <a:gd name="connsiteX0" fmla="*/ 249516 w 249519"/>
                <a:gd name="connsiteY0" fmla="*/ 83734 h 296463"/>
                <a:gd name="connsiteX1" fmla="*/ 128718 w 249519"/>
                <a:gd name="connsiteY1" fmla="*/ 0 h 296463"/>
                <a:gd name="connsiteX2" fmla="*/ 128719 w 249519"/>
                <a:gd name="connsiteY2" fmla="*/ 0 h 296463"/>
                <a:gd name="connsiteX3" fmla="*/ 249519 w 249519"/>
                <a:gd name="connsiteY3" fmla="*/ 83734 h 296463"/>
                <a:gd name="connsiteX4" fmla="*/ 137293 w 249519"/>
                <a:gd name="connsiteY4" fmla="*/ 296463 h 296463"/>
                <a:gd name="connsiteX5" fmla="*/ 72418 w 249519"/>
                <a:gd name="connsiteY5" fmla="*/ 175766 h 296463"/>
                <a:gd name="connsiteX6" fmla="*/ 105610 w 249519"/>
                <a:gd name="connsiteY6" fmla="*/ 83734 h 296463"/>
                <a:gd name="connsiteX7" fmla="*/ 0 w 249519"/>
                <a:gd name="connsiteY7" fmla="*/ 83734 h 296463"/>
                <a:gd name="connsiteX8" fmla="*/ 0 w 249519"/>
                <a:gd name="connsiteY8" fmla="*/ 0 h 296463"/>
                <a:gd name="connsiteX9" fmla="*/ 78196 w 249519"/>
                <a:gd name="connsiteY9" fmla="*/ 0 h 296463"/>
                <a:gd name="connsiteX10" fmla="*/ 203756 w 249519"/>
                <a:gd name="connsiteY10" fmla="*/ 103239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519" h="296463">
                  <a:moveTo>
                    <a:pt x="249516" y="83734"/>
                  </a:moveTo>
                  <a:lnTo>
                    <a:pt x="128718" y="0"/>
                  </a:lnTo>
                  <a:lnTo>
                    <a:pt x="128719" y="0"/>
                  </a:lnTo>
                  <a:lnTo>
                    <a:pt x="249519" y="83734"/>
                  </a:lnTo>
                  <a:close/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78196" y="0"/>
                  </a:lnTo>
                  <a:lnTo>
                    <a:pt x="203756" y="1032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58E38A6F-A61D-44CF-B900-AC3229C6053D}"/>
                </a:ext>
              </a:extLst>
            </p:cNvPr>
            <p:cNvSpPr/>
            <p:nvPr/>
          </p:nvSpPr>
          <p:spPr>
            <a:xfrm rot="8716295">
              <a:off x="9124182" y="4842281"/>
              <a:ext cx="37059" cy="48941"/>
            </a:xfrm>
            <a:custGeom>
              <a:avLst/>
              <a:gdLst>
                <a:gd name="connsiteX0" fmla="*/ 0 w 37059"/>
                <a:gd name="connsiteY0" fmla="*/ 48941 h 48941"/>
                <a:gd name="connsiteX1" fmla="*/ 33925 w 37059"/>
                <a:gd name="connsiteY1" fmla="*/ 0 h 48941"/>
                <a:gd name="connsiteX2" fmla="*/ 37059 w 37059"/>
                <a:gd name="connsiteY2" fmla="*/ 7460 h 48941"/>
                <a:gd name="connsiteX3" fmla="*/ 24128 w 37059"/>
                <a:gd name="connsiteY3" fmla="*/ 38754 h 48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059" h="48941">
                  <a:moveTo>
                    <a:pt x="0" y="48941"/>
                  </a:moveTo>
                  <a:lnTo>
                    <a:pt x="33925" y="0"/>
                  </a:lnTo>
                  <a:lnTo>
                    <a:pt x="37059" y="7460"/>
                  </a:lnTo>
                  <a:cubicBezTo>
                    <a:pt x="37059" y="18753"/>
                    <a:pt x="32749" y="30133"/>
                    <a:pt x="24128" y="3875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0438BEFE-52E9-475C-AF5B-D887CDB606B3}"/>
                </a:ext>
              </a:extLst>
            </p:cNvPr>
            <p:cNvSpPr/>
            <p:nvPr/>
          </p:nvSpPr>
          <p:spPr>
            <a:xfrm rot="8716295">
              <a:off x="8946271" y="4530250"/>
              <a:ext cx="235267" cy="296463"/>
            </a:xfrm>
            <a:custGeom>
              <a:avLst/>
              <a:gdLst>
                <a:gd name="connsiteX0" fmla="*/ 64028 w 235267"/>
                <a:gd name="connsiteY0" fmla="*/ 296463 h 296463"/>
                <a:gd name="connsiteX1" fmla="*/ 0 w 235267"/>
                <a:gd name="connsiteY1" fmla="*/ 177341 h 296463"/>
                <a:gd name="connsiteX2" fmla="*/ 122928 w 235267"/>
                <a:gd name="connsiteY2" fmla="*/ 0 h 296463"/>
                <a:gd name="connsiteX3" fmla="*/ 235266 w 235267"/>
                <a:gd name="connsiteY3" fmla="*/ 0 h 296463"/>
                <a:gd name="connsiteX4" fmla="*/ 235267 w 235267"/>
                <a:gd name="connsiteY4" fmla="*/ 83734 h 296463"/>
                <a:gd name="connsiteX5" fmla="*/ 137200 w 235267"/>
                <a:gd name="connsiteY5" fmla="*/ 83735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5267" h="296463">
                  <a:moveTo>
                    <a:pt x="64028" y="296463"/>
                  </a:moveTo>
                  <a:lnTo>
                    <a:pt x="0" y="177341"/>
                  </a:lnTo>
                  <a:lnTo>
                    <a:pt x="122928" y="0"/>
                  </a:lnTo>
                  <a:lnTo>
                    <a:pt x="235266" y="0"/>
                  </a:lnTo>
                  <a:lnTo>
                    <a:pt x="235267" y="83734"/>
                  </a:lnTo>
                  <a:lnTo>
                    <a:pt x="137200" y="837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D3F9B5D8-06D4-4B43-BC6C-7C19EABDD1C4}"/>
                </a:ext>
              </a:extLst>
            </p:cNvPr>
            <p:cNvSpPr/>
            <p:nvPr/>
          </p:nvSpPr>
          <p:spPr>
            <a:xfrm rot="8716295">
              <a:off x="8906661" y="466090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71905357-F1DF-411B-B59B-0F032583384E}"/>
                </a:ext>
              </a:extLst>
            </p:cNvPr>
            <p:cNvSpPr/>
            <p:nvPr/>
          </p:nvSpPr>
          <p:spPr>
            <a:xfrm rot="13089394">
              <a:off x="7765620" y="4253518"/>
              <a:ext cx="72828" cy="75543"/>
            </a:xfrm>
            <a:custGeom>
              <a:avLst/>
              <a:gdLst>
                <a:gd name="connsiteX0" fmla="*/ 0 w 72828"/>
                <a:gd name="connsiteY0" fmla="*/ 75543 h 75543"/>
                <a:gd name="connsiteX1" fmla="*/ 0 w 72828"/>
                <a:gd name="connsiteY1" fmla="*/ 37783 h 75543"/>
                <a:gd name="connsiteX2" fmla="*/ 72828 w 72828"/>
                <a:gd name="connsiteY2" fmla="*/ 0 h 7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828" h="75543">
                  <a:moveTo>
                    <a:pt x="0" y="75543"/>
                  </a:moveTo>
                  <a:lnTo>
                    <a:pt x="0" y="37783"/>
                  </a:lnTo>
                  <a:lnTo>
                    <a:pt x="7282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9CC70003-388A-4ED2-9C78-B5584C3B43A2}"/>
                </a:ext>
              </a:extLst>
            </p:cNvPr>
            <p:cNvSpPr/>
            <p:nvPr/>
          </p:nvSpPr>
          <p:spPr>
            <a:xfrm rot="8716295">
              <a:off x="7196646" y="4735107"/>
              <a:ext cx="215177" cy="351729"/>
            </a:xfrm>
            <a:custGeom>
              <a:avLst/>
              <a:gdLst>
                <a:gd name="connsiteX0" fmla="*/ 122761 w 215177"/>
                <a:gd name="connsiteY0" fmla="*/ 351729 h 351729"/>
                <a:gd name="connsiteX1" fmla="*/ 122761 w 215177"/>
                <a:gd name="connsiteY1" fmla="*/ 105519 h 351729"/>
                <a:gd name="connsiteX2" fmla="*/ 122761 w 215177"/>
                <a:gd name="connsiteY2" fmla="*/ 99312 h 351729"/>
                <a:gd name="connsiteX3" fmla="*/ 91726 w 215177"/>
                <a:gd name="connsiteY3" fmla="*/ 75863 h 351729"/>
                <a:gd name="connsiteX4" fmla="*/ 0 w 215177"/>
                <a:gd name="connsiteY4" fmla="*/ 75863 h 351729"/>
                <a:gd name="connsiteX5" fmla="*/ 0 w 215177"/>
                <a:gd name="connsiteY5" fmla="*/ 0 h 351729"/>
                <a:gd name="connsiteX6" fmla="*/ 20033 w 215177"/>
                <a:gd name="connsiteY6" fmla="*/ 0 h 351729"/>
                <a:gd name="connsiteX7" fmla="*/ 215177 w 215177"/>
                <a:gd name="connsiteY7" fmla="*/ 160452 h 351729"/>
                <a:gd name="connsiteX8" fmla="*/ 215176 w 215177"/>
                <a:gd name="connsiteY8" fmla="*/ 315177 h 351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5177" h="351729">
                  <a:moveTo>
                    <a:pt x="122761" y="35172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0"/>
                  </a:lnTo>
                  <a:lnTo>
                    <a:pt x="20033" y="0"/>
                  </a:lnTo>
                  <a:lnTo>
                    <a:pt x="215177" y="160452"/>
                  </a:lnTo>
                  <a:lnTo>
                    <a:pt x="215176" y="3151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E46A29A2-07B5-4D69-A57A-B7E84F78585B}"/>
                </a:ext>
              </a:extLst>
            </p:cNvPr>
            <p:cNvSpPr/>
            <p:nvPr/>
          </p:nvSpPr>
          <p:spPr>
            <a:xfrm rot="8716295">
              <a:off x="7519762" y="4714342"/>
              <a:ext cx="185667" cy="383455"/>
            </a:xfrm>
            <a:custGeom>
              <a:avLst/>
              <a:gdLst>
                <a:gd name="connsiteX0" fmla="*/ 77932 w 185667"/>
                <a:gd name="connsiteY0" fmla="*/ 383455 h 383455"/>
                <a:gd name="connsiteX1" fmla="*/ 77932 w 185667"/>
                <a:gd name="connsiteY1" fmla="*/ 66898 h 383455"/>
                <a:gd name="connsiteX2" fmla="*/ 0 w 185667"/>
                <a:gd name="connsiteY2" fmla="*/ 66898 h 383455"/>
                <a:gd name="connsiteX3" fmla="*/ 0 w 185667"/>
                <a:gd name="connsiteY3" fmla="*/ 0 h 383455"/>
                <a:gd name="connsiteX4" fmla="*/ 33456 w 185667"/>
                <a:gd name="connsiteY4" fmla="*/ 0 h 383455"/>
                <a:gd name="connsiteX5" fmla="*/ 158623 w 185667"/>
                <a:gd name="connsiteY5" fmla="*/ 102916 h 383455"/>
                <a:gd name="connsiteX6" fmla="*/ 158623 w 185667"/>
                <a:gd name="connsiteY6" fmla="*/ 111726 h 383455"/>
                <a:gd name="connsiteX7" fmla="*/ 160692 w 185667"/>
                <a:gd name="connsiteY7" fmla="*/ 111726 h 383455"/>
                <a:gd name="connsiteX8" fmla="*/ 162749 w 185667"/>
                <a:gd name="connsiteY8" fmla="*/ 106308 h 383455"/>
                <a:gd name="connsiteX9" fmla="*/ 185667 w 185667"/>
                <a:gd name="connsiteY9" fmla="*/ 125152 h 383455"/>
                <a:gd name="connsiteX10" fmla="*/ 168969 w 185667"/>
                <a:gd name="connsiteY10" fmla="*/ 191038 h 383455"/>
                <a:gd name="connsiteX11" fmla="*/ 168969 w 185667"/>
                <a:gd name="connsiteY11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5667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33456" y="0"/>
                  </a:lnTo>
                  <a:lnTo>
                    <a:pt x="158623" y="102916"/>
                  </a:lnTo>
                  <a:lnTo>
                    <a:pt x="158623" y="111726"/>
                  </a:lnTo>
                  <a:lnTo>
                    <a:pt x="160692" y="111726"/>
                  </a:lnTo>
                  <a:lnTo>
                    <a:pt x="162749" y="106308"/>
                  </a:lnTo>
                  <a:lnTo>
                    <a:pt x="185667" y="125152"/>
                  </a:lnTo>
                  <a:lnTo>
                    <a:pt x="168969" y="191038"/>
                  </a:ln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BB2B590A-BBED-49DF-BE0A-D7CDB8C7EA53}"/>
                </a:ext>
              </a:extLst>
            </p:cNvPr>
            <p:cNvSpPr/>
            <p:nvPr/>
          </p:nvSpPr>
          <p:spPr>
            <a:xfrm rot="8716295">
              <a:off x="7265319" y="4648384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7838B053-EE23-465E-B80C-0FDB953D8E9F}"/>
                </a:ext>
              </a:extLst>
            </p:cNvPr>
            <p:cNvSpPr/>
            <p:nvPr/>
          </p:nvSpPr>
          <p:spPr>
            <a:xfrm rot="8716295">
              <a:off x="7028032" y="486872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46F2EA92-FAA0-4CBD-8D20-0B7AF9B36906}"/>
                </a:ext>
              </a:extLst>
            </p:cNvPr>
            <p:cNvSpPr/>
            <p:nvPr/>
          </p:nvSpPr>
          <p:spPr>
            <a:xfrm rot="8716295">
              <a:off x="6838986" y="455289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C33E7506-2F8D-4DC7-82BD-DA6D9CD10C11}"/>
                </a:ext>
              </a:extLst>
            </p:cNvPr>
            <p:cNvSpPr/>
            <p:nvPr/>
          </p:nvSpPr>
          <p:spPr>
            <a:xfrm rot="8716295">
              <a:off x="6821466" y="4356542"/>
              <a:ext cx="439901" cy="511464"/>
            </a:xfrm>
            <a:custGeom>
              <a:avLst/>
              <a:gdLst>
                <a:gd name="connsiteX0" fmla="*/ 1873 w 439901"/>
                <a:gd name="connsiteY0" fmla="*/ 384681 h 511464"/>
                <a:gd name="connsiteX1" fmla="*/ 1725 w 439901"/>
                <a:gd name="connsiteY1" fmla="*/ 383648 h 511464"/>
                <a:gd name="connsiteX2" fmla="*/ 0 w 439901"/>
                <a:gd name="connsiteY2" fmla="*/ 333043 h 511464"/>
                <a:gd name="connsiteX3" fmla="*/ 0 w 439901"/>
                <a:gd name="connsiteY3" fmla="*/ 61444 h 511464"/>
                <a:gd name="connsiteX4" fmla="*/ 118434 w 439901"/>
                <a:gd name="connsiteY4" fmla="*/ 0 h 511464"/>
                <a:gd name="connsiteX5" fmla="*/ 120216 w 439901"/>
                <a:gd name="connsiteY5" fmla="*/ 248447 h 511464"/>
                <a:gd name="connsiteX6" fmla="*/ 141587 w 439901"/>
                <a:gd name="connsiteY6" fmla="*/ 396268 h 511464"/>
                <a:gd name="connsiteX7" fmla="*/ 248446 w 439901"/>
                <a:gd name="connsiteY7" fmla="*/ 455041 h 511464"/>
                <a:gd name="connsiteX8" fmla="*/ 328590 w 439901"/>
                <a:gd name="connsiteY8" fmla="*/ 440793 h 511464"/>
                <a:gd name="connsiteX9" fmla="*/ 438120 w 439901"/>
                <a:gd name="connsiteY9" fmla="*/ 396268 h 511464"/>
                <a:gd name="connsiteX10" fmla="*/ 439901 w 439901"/>
                <a:gd name="connsiteY10" fmla="*/ 407844 h 511464"/>
                <a:gd name="connsiteX11" fmla="*/ 439901 w 439901"/>
                <a:gd name="connsiteY11" fmla="*/ 416749 h 511464"/>
                <a:gd name="connsiteX12" fmla="*/ 286180 w 439901"/>
                <a:gd name="connsiteY12" fmla="*/ 502459 h 511464"/>
                <a:gd name="connsiteX13" fmla="*/ 252462 w 439901"/>
                <a:gd name="connsiteY13" fmla="*/ 511464 h 511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9901" h="511464">
                  <a:moveTo>
                    <a:pt x="1873" y="384681"/>
                  </a:moveTo>
                  <a:lnTo>
                    <a:pt x="1725" y="383648"/>
                  </a:lnTo>
                  <a:cubicBezTo>
                    <a:pt x="501" y="368162"/>
                    <a:pt x="0" y="351298"/>
                    <a:pt x="0" y="333043"/>
                  </a:cubicBezTo>
                  <a:lnTo>
                    <a:pt x="0" y="61444"/>
                  </a:lnTo>
                  <a:lnTo>
                    <a:pt x="118434" y="0"/>
                  </a:lnTo>
                  <a:lnTo>
                    <a:pt x="120216" y="248447"/>
                  </a:lnTo>
                  <a:cubicBezTo>
                    <a:pt x="117545" y="298315"/>
                    <a:pt x="125558" y="349072"/>
                    <a:pt x="141587" y="396268"/>
                  </a:cubicBezTo>
                  <a:cubicBezTo>
                    <a:pt x="155836" y="435450"/>
                    <a:pt x="192346" y="455041"/>
                    <a:pt x="248446" y="455041"/>
                  </a:cubicBezTo>
                  <a:cubicBezTo>
                    <a:pt x="276051" y="454150"/>
                    <a:pt x="302766" y="448807"/>
                    <a:pt x="328590" y="440793"/>
                  </a:cubicBezTo>
                  <a:cubicBezTo>
                    <a:pt x="365990" y="429216"/>
                    <a:pt x="402501" y="414078"/>
                    <a:pt x="438120" y="396268"/>
                  </a:cubicBezTo>
                  <a:cubicBezTo>
                    <a:pt x="439010" y="399830"/>
                    <a:pt x="439901" y="404282"/>
                    <a:pt x="439901" y="407844"/>
                  </a:cubicBezTo>
                  <a:lnTo>
                    <a:pt x="439901" y="416749"/>
                  </a:lnTo>
                  <a:cubicBezTo>
                    <a:pt x="392705" y="457267"/>
                    <a:pt x="338163" y="484649"/>
                    <a:pt x="286180" y="502459"/>
                  </a:cubicBezTo>
                  <a:lnTo>
                    <a:pt x="252462" y="5114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F0039EE6-19E5-4457-84A9-3D50560FF71B}"/>
                </a:ext>
              </a:extLst>
            </p:cNvPr>
            <p:cNvSpPr/>
            <p:nvPr/>
          </p:nvSpPr>
          <p:spPr>
            <a:xfrm rot="8716295">
              <a:off x="7635467" y="435609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62946C15-BE3C-45DF-BB3D-128249E4D1A5}"/>
                </a:ext>
              </a:extLst>
            </p:cNvPr>
            <p:cNvSpPr/>
            <p:nvPr/>
          </p:nvSpPr>
          <p:spPr>
            <a:xfrm rot="8716295">
              <a:off x="7770766" y="440035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3C27B629-4EE2-46C6-9535-F5382300825F}"/>
                </a:ext>
              </a:extLst>
            </p:cNvPr>
            <p:cNvSpPr/>
            <p:nvPr/>
          </p:nvSpPr>
          <p:spPr>
            <a:xfrm rot="8716295">
              <a:off x="7465596" y="44901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6592736C-E2B7-4AAA-9132-CE6867AFB7E6}"/>
                </a:ext>
              </a:extLst>
            </p:cNvPr>
            <p:cNvSpPr/>
            <p:nvPr/>
          </p:nvSpPr>
          <p:spPr>
            <a:xfrm rot="8716295">
              <a:off x="7313509" y="4314181"/>
              <a:ext cx="308532" cy="142740"/>
            </a:xfrm>
            <a:custGeom>
              <a:avLst/>
              <a:gdLst>
                <a:gd name="connsiteX0" fmla="*/ 0 w 308532"/>
                <a:gd name="connsiteY0" fmla="*/ 46525 h 142740"/>
                <a:gd name="connsiteX1" fmla="*/ 0 w 308532"/>
                <a:gd name="connsiteY1" fmla="*/ 0 h 142740"/>
                <a:gd name="connsiteX2" fmla="*/ 308532 w 308532"/>
                <a:gd name="connsiteY2" fmla="*/ 0 h 142740"/>
                <a:gd name="connsiteX3" fmla="*/ 308532 w 308532"/>
                <a:gd name="connsiteY3" fmla="*/ 83734 h 142740"/>
                <a:gd name="connsiteX4" fmla="*/ 210465 w 308532"/>
                <a:gd name="connsiteY4" fmla="*/ 83734 h 142740"/>
                <a:gd name="connsiteX5" fmla="*/ 190169 w 308532"/>
                <a:gd name="connsiteY5" fmla="*/ 142740 h 142740"/>
                <a:gd name="connsiteX6" fmla="*/ 100662 w 308532"/>
                <a:gd name="connsiteY6" fmla="*/ 97454 h 142740"/>
                <a:gd name="connsiteX7" fmla="*/ 105610 w 308532"/>
                <a:gd name="connsiteY7" fmla="*/ 83734 h 142740"/>
                <a:gd name="connsiteX8" fmla="*/ 73544 w 308532"/>
                <a:gd name="connsiteY8" fmla="*/ 83734 h 142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532" h="142740">
                  <a:moveTo>
                    <a:pt x="0" y="46525"/>
                  </a:moveTo>
                  <a:lnTo>
                    <a:pt x="0" y="0"/>
                  </a:lnTo>
                  <a:lnTo>
                    <a:pt x="308532" y="0"/>
                  </a:lnTo>
                  <a:lnTo>
                    <a:pt x="308532" y="83734"/>
                  </a:lnTo>
                  <a:lnTo>
                    <a:pt x="210465" y="83734"/>
                  </a:lnTo>
                  <a:lnTo>
                    <a:pt x="190169" y="142740"/>
                  </a:lnTo>
                  <a:lnTo>
                    <a:pt x="100662" y="97454"/>
                  </a:lnTo>
                  <a:lnTo>
                    <a:pt x="105610" y="83734"/>
                  </a:lnTo>
                  <a:lnTo>
                    <a:pt x="73544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39B2926A-51C6-4DDF-86D8-072C96B838B0}"/>
                </a:ext>
              </a:extLst>
            </p:cNvPr>
            <p:cNvSpPr/>
            <p:nvPr/>
          </p:nvSpPr>
          <p:spPr>
            <a:xfrm rot="8716295">
              <a:off x="7602084" y="4552096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A5226D1B-39C8-4DB7-A39D-DE8AE96085BA}"/>
                </a:ext>
              </a:extLst>
            </p:cNvPr>
            <p:cNvSpPr/>
            <p:nvPr/>
          </p:nvSpPr>
          <p:spPr>
            <a:xfrm rot="8716295">
              <a:off x="7233779" y="4339176"/>
              <a:ext cx="112931" cy="98229"/>
            </a:xfrm>
            <a:custGeom>
              <a:avLst/>
              <a:gdLst>
                <a:gd name="connsiteX0" fmla="*/ 0 w 112931"/>
                <a:gd name="connsiteY0" fmla="*/ 49475 h 98229"/>
                <a:gd name="connsiteX1" fmla="*/ 13559 w 112931"/>
                <a:gd name="connsiteY1" fmla="*/ 17362 h 98229"/>
                <a:gd name="connsiteX2" fmla="*/ 54678 w 112931"/>
                <a:gd name="connsiteY2" fmla="*/ 0 h 98229"/>
                <a:gd name="connsiteX3" fmla="*/ 95798 w 112931"/>
                <a:gd name="connsiteY3" fmla="*/ 17362 h 98229"/>
                <a:gd name="connsiteX4" fmla="*/ 112931 w 112931"/>
                <a:gd name="connsiteY4" fmla="*/ 58139 h 98229"/>
                <a:gd name="connsiteX5" fmla="*/ 96365 w 112931"/>
                <a:gd name="connsiteY5" fmla="*/ 98229 h 98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931" h="98229">
                  <a:moveTo>
                    <a:pt x="0" y="49475"/>
                  </a:moveTo>
                  <a:lnTo>
                    <a:pt x="13559" y="17362"/>
                  </a:lnTo>
                  <a:cubicBezTo>
                    <a:pt x="24524" y="6397"/>
                    <a:pt x="39145" y="0"/>
                    <a:pt x="54678" y="0"/>
                  </a:cubicBezTo>
                  <a:cubicBezTo>
                    <a:pt x="70213" y="0"/>
                    <a:pt x="84833" y="6397"/>
                    <a:pt x="95798" y="17362"/>
                  </a:cubicBezTo>
                  <a:cubicBezTo>
                    <a:pt x="107220" y="28327"/>
                    <a:pt x="112931" y="43176"/>
                    <a:pt x="112931" y="58139"/>
                  </a:cubicBezTo>
                  <a:lnTo>
                    <a:pt x="96365" y="9822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B8D891A1-7C58-4828-B849-358D4D72EA90}"/>
                </a:ext>
              </a:extLst>
            </p:cNvPr>
            <p:cNvSpPr/>
            <p:nvPr/>
          </p:nvSpPr>
          <p:spPr>
            <a:xfrm rot="7484129">
              <a:off x="7765134" y="4837237"/>
              <a:ext cx="295167" cy="296463"/>
            </a:xfrm>
            <a:custGeom>
              <a:avLst/>
              <a:gdLst>
                <a:gd name="connsiteX0" fmla="*/ 295165 w 295167"/>
                <a:gd name="connsiteY0" fmla="*/ 83734 h 296463"/>
                <a:gd name="connsiteX1" fmla="*/ 237109 w 295167"/>
                <a:gd name="connsiteY1" fmla="*/ 0 h 296463"/>
                <a:gd name="connsiteX2" fmla="*/ 237110 w 295167"/>
                <a:gd name="connsiteY2" fmla="*/ 0 h 296463"/>
                <a:gd name="connsiteX3" fmla="*/ 295167 w 295167"/>
                <a:gd name="connsiteY3" fmla="*/ 83734 h 296463"/>
                <a:gd name="connsiteX4" fmla="*/ 137293 w 295167"/>
                <a:gd name="connsiteY4" fmla="*/ 296463 h 296463"/>
                <a:gd name="connsiteX5" fmla="*/ 72418 w 295167"/>
                <a:gd name="connsiteY5" fmla="*/ 175766 h 296463"/>
                <a:gd name="connsiteX6" fmla="*/ 105610 w 295167"/>
                <a:gd name="connsiteY6" fmla="*/ 83734 h 296463"/>
                <a:gd name="connsiteX7" fmla="*/ 0 w 295167"/>
                <a:gd name="connsiteY7" fmla="*/ 83734 h 296463"/>
                <a:gd name="connsiteX8" fmla="*/ 0 w 295167"/>
                <a:gd name="connsiteY8" fmla="*/ 0 h 296463"/>
                <a:gd name="connsiteX9" fmla="*/ 126381 w 295167"/>
                <a:gd name="connsiteY9" fmla="*/ 0 h 296463"/>
                <a:gd name="connsiteX10" fmla="*/ 197160 w 295167"/>
                <a:gd name="connsiteY10" fmla="*/ 122416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5167" h="296463">
                  <a:moveTo>
                    <a:pt x="295165" y="83734"/>
                  </a:moveTo>
                  <a:lnTo>
                    <a:pt x="237109" y="0"/>
                  </a:lnTo>
                  <a:lnTo>
                    <a:pt x="237110" y="0"/>
                  </a:lnTo>
                  <a:lnTo>
                    <a:pt x="295167" y="83734"/>
                  </a:lnTo>
                  <a:close/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126381" y="0"/>
                  </a:lnTo>
                  <a:lnTo>
                    <a:pt x="197160" y="1224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527B4309-024C-4B07-A449-12F7536748C5}"/>
                </a:ext>
              </a:extLst>
            </p:cNvPr>
            <p:cNvSpPr/>
            <p:nvPr/>
          </p:nvSpPr>
          <p:spPr>
            <a:xfrm rot="13089394">
              <a:off x="8005038" y="4814171"/>
              <a:ext cx="409104" cy="218063"/>
            </a:xfrm>
            <a:custGeom>
              <a:avLst/>
              <a:gdLst>
                <a:gd name="connsiteX0" fmla="*/ 409104 w 409104"/>
                <a:gd name="connsiteY0" fmla="*/ 110916 h 218063"/>
                <a:gd name="connsiteX1" fmla="*/ 135172 w 409104"/>
                <a:gd name="connsiteY1" fmla="*/ 217816 h 218063"/>
                <a:gd name="connsiteX2" fmla="*/ 32447 w 409104"/>
                <a:gd name="connsiteY2" fmla="*/ 176058 h 218063"/>
                <a:gd name="connsiteX3" fmla="*/ 3843 w 409104"/>
                <a:gd name="connsiteY3" fmla="*/ 119581 h 218063"/>
                <a:gd name="connsiteX4" fmla="*/ 0 w 409104"/>
                <a:gd name="connsiteY4" fmla="*/ 73735 h 218063"/>
                <a:gd name="connsiteX5" fmla="*/ 111583 w 409104"/>
                <a:gd name="connsiteY5" fmla="*/ 0 h 218063"/>
                <a:gd name="connsiteX6" fmla="*/ 112727 w 409104"/>
                <a:gd name="connsiteY6" fmla="*/ 23329 h 218063"/>
                <a:gd name="connsiteX7" fmla="*/ 129325 w 409104"/>
                <a:gd name="connsiteY7" fmla="*/ 91708 h 218063"/>
                <a:gd name="connsiteX8" fmla="*/ 229544 w 409104"/>
                <a:gd name="connsiteY8" fmla="*/ 146828 h 218063"/>
                <a:gd name="connsiteX9" fmla="*/ 304708 w 409104"/>
                <a:gd name="connsiteY9" fmla="*/ 133466 h 218063"/>
                <a:gd name="connsiteX10" fmla="*/ 407434 w 409104"/>
                <a:gd name="connsiteY10" fmla="*/ 91708 h 218063"/>
                <a:gd name="connsiteX11" fmla="*/ 409104 w 409104"/>
                <a:gd name="connsiteY11" fmla="*/ 102564 h 218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9104" h="218063">
                  <a:moveTo>
                    <a:pt x="409104" y="110916"/>
                  </a:moveTo>
                  <a:cubicBezTo>
                    <a:pt x="320577" y="186915"/>
                    <a:pt x="204490" y="213641"/>
                    <a:pt x="135172" y="217816"/>
                  </a:cubicBezTo>
                  <a:cubicBezTo>
                    <a:pt x="96755" y="220322"/>
                    <a:pt x="59173" y="203619"/>
                    <a:pt x="32447" y="176058"/>
                  </a:cubicBezTo>
                  <a:cubicBezTo>
                    <a:pt x="18249" y="162278"/>
                    <a:pt x="9272" y="143487"/>
                    <a:pt x="3843" y="119581"/>
                  </a:cubicBezTo>
                  <a:lnTo>
                    <a:pt x="0" y="73735"/>
                  </a:lnTo>
                  <a:lnTo>
                    <a:pt x="111583" y="0"/>
                  </a:lnTo>
                  <a:lnTo>
                    <a:pt x="112727" y="23329"/>
                  </a:lnTo>
                  <a:cubicBezTo>
                    <a:pt x="116171" y="46609"/>
                    <a:pt x="121808" y="69576"/>
                    <a:pt x="129325" y="91708"/>
                  </a:cubicBezTo>
                  <a:cubicBezTo>
                    <a:pt x="142689" y="128454"/>
                    <a:pt x="176930" y="146828"/>
                    <a:pt x="229544" y="146828"/>
                  </a:cubicBezTo>
                  <a:cubicBezTo>
                    <a:pt x="255435" y="145993"/>
                    <a:pt x="280489" y="140981"/>
                    <a:pt x="304708" y="133466"/>
                  </a:cubicBezTo>
                  <a:cubicBezTo>
                    <a:pt x="339785" y="122608"/>
                    <a:pt x="374027" y="108411"/>
                    <a:pt x="407434" y="91708"/>
                  </a:cubicBezTo>
                  <a:cubicBezTo>
                    <a:pt x="408268" y="95048"/>
                    <a:pt x="409104" y="99224"/>
                    <a:pt x="409104" y="10256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A6665952-BEBA-4083-8857-192589F92F66}"/>
                </a:ext>
              </a:extLst>
            </p:cNvPr>
            <p:cNvSpPr/>
            <p:nvPr/>
          </p:nvSpPr>
          <p:spPr>
            <a:xfrm rot="8716295">
              <a:off x="8200443" y="4500944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48E8912F-96AC-4641-B68F-1FAC8423EE44}"/>
                </a:ext>
              </a:extLst>
            </p:cNvPr>
            <p:cNvSpPr/>
            <p:nvPr/>
          </p:nvSpPr>
          <p:spPr>
            <a:xfrm rot="8716295">
              <a:off x="8122034" y="434415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53758D6F-45BC-4683-9BA4-5F935E950CCD}"/>
                </a:ext>
              </a:extLst>
            </p:cNvPr>
            <p:cNvSpPr/>
            <p:nvPr/>
          </p:nvSpPr>
          <p:spPr>
            <a:xfrm rot="8716295">
              <a:off x="7753870" y="438989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3D33FD22-12AD-4D1A-88D7-5F0D534CAA44}"/>
                </a:ext>
              </a:extLst>
            </p:cNvPr>
            <p:cNvSpPr/>
            <p:nvPr/>
          </p:nvSpPr>
          <p:spPr>
            <a:xfrm rot="8716295">
              <a:off x="8030791" y="4210054"/>
              <a:ext cx="154744" cy="110503"/>
            </a:xfrm>
            <a:custGeom>
              <a:avLst/>
              <a:gdLst>
                <a:gd name="connsiteX0" fmla="*/ 0 w 154744"/>
                <a:gd name="connsiteY0" fmla="*/ 34366 h 110503"/>
                <a:gd name="connsiteX1" fmla="*/ 3342 w 154744"/>
                <a:gd name="connsiteY1" fmla="*/ 26453 h 110503"/>
                <a:gd name="connsiteX2" fmla="*/ 65990 w 154744"/>
                <a:gd name="connsiteY2" fmla="*/ 0 h 110503"/>
                <a:gd name="connsiteX3" fmla="*/ 128640 w 154744"/>
                <a:gd name="connsiteY3" fmla="*/ 26453 h 110503"/>
                <a:gd name="connsiteX4" fmla="*/ 154744 w 154744"/>
                <a:gd name="connsiteY4" fmla="*/ 88580 h 110503"/>
                <a:gd name="connsiteX5" fmla="*/ 150487 w 154744"/>
                <a:gd name="connsiteY5" fmla="*/ 110503 h 110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4744" h="110503">
                  <a:moveTo>
                    <a:pt x="0" y="34366"/>
                  </a:moveTo>
                  <a:lnTo>
                    <a:pt x="3342" y="26453"/>
                  </a:lnTo>
                  <a:cubicBezTo>
                    <a:pt x="20048" y="9746"/>
                    <a:pt x="42323" y="0"/>
                    <a:pt x="65990" y="0"/>
                  </a:cubicBezTo>
                  <a:cubicBezTo>
                    <a:pt x="89659" y="0"/>
                    <a:pt x="111934" y="9746"/>
                    <a:pt x="128640" y="26453"/>
                  </a:cubicBezTo>
                  <a:cubicBezTo>
                    <a:pt x="146043" y="43159"/>
                    <a:pt x="154744" y="65782"/>
                    <a:pt x="154744" y="88580"/>
                  </a:cubicBezTo>
                  <a:lnTo>
                    <a:pt x="150487" y="1105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69" name="Espace réservé pour une image  68">
            <a:extLst>
              <a:ext uri="{FF2B5EF4-FFF2-40B4-BE49-F238E27FC236}">
                <a16:creationId xmlns:a16="http://schemas.microsoft.com/office/drawing/2014/main" id="{407212D0-4ACD-410B-8E9A-EE07511F0C4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9153528" cy="4075643"/>
          </a:xfrm>
          <a:custGeom>
            <a:avLst/>
            <a:gdLst>
              <a:gd name="connsiteX0" fmla="*/ 0 w 9153528"/>
              <a:gd name="connsiteY0" fmla="*/ 5143499 h 5143500"/>
              <a:gd name="connsiteX1" fmla="*/ 9153528 w 9153528"/>
              <a:gd name="connsiteY1" fmla="*/ 5143499 h 5143500"/>
              <a:gd name="connsiteX2" fmla="*/ 9153528 w 9153528"/>
              <a:gd name="connsiteY2" fmla="*/ 5143500 h 5143500"/>
              <a:gd name="connsiteX3" fmla="*/ 0 w 9153528"/>
              <a:gd name="connsiteY3" fmla="*/ 5143500 h 5143500"/>
              <a:gd name="connsiteX4" fmla="*/ 0 w 9153528"/>
              <a:gd name="connsiteY4" fmla="*/ 0 h 5143500"/>
              <a:gd name="connsiteX5" fmla="*/ 9153528 w 9153528"/>
              <a:gd name="connsiteY5" fmla="*/ 0 h 5143500"/>
              <a:gd name="connsiteX6" fmla="*/ 9153528 w 9153528"/>
              <a:gd name="connsiteY6" fmla="*/ 4204192 h 5143500"/>
              <a:gd name="connsiteX7" fmla="*/ 9145341 w 9153528"/>
              <a:gd name="connsiteY7" fmla="*/ 4199282 h 5143500"/>
              <a:gd name="connsiteX8" fmla="*/ 9144001 w 9153528"/>
              <a:gd name="connsiteY8" fmla="*/ 4198735 h 5143500"/>
              <a:gd name="connsiteX9" fmla="*/ 9144001 w 9153528"/>
              <a:gd name="connsiteY9" fmla="*/ 3426281 h 5143500"/>
              <a:gd name="connsiteX10" fmla="*/ 4464473 w 9153528"/>
              <a:gd name="connsiteY10" fmla="*/ 4075643 h 5143500"/>
              <a:gd name="connsiteX11" fmla="*/ 0 w 9153528"/>
              <a:gd name="connsiteY11" fmla="*/ 3708636 h 5143500"/>
              <a:gd name="connsiteX0" fmla="*/ 0 w 9153528"/>
              <a:gd name="connsiteY0" fmla="*/ 5143499 h 5143500"/>
              <a:gd name="connsiteX1" fmla="*/ 9153528 w 9153528"/>
              <a:gd name="connsiteY1" fmla="*/ 5143499 h 5143500"/>
              <a:gd name="connsiteX2" fmla="*/ 9153528 w 9153528"/>
              <a:gd name="connsiteY2" fmla="*/ 5143500 h 5143500"/>
              <a:gd name="connsiteX3" fmla="*/ 0 w 9153528"/>
              <a:gd name="connsiteY3" fmla="*/ 5143500 h 5143500"/>
              <a:gd name="connsiteX4" fmla="*/ 0 w 9153528"/>
              <a:gd name="connsiteY4" fmla="*/ 5143499 h 5143500"/>
              <a:gd name="connsiteX5" fmla="*/ 0 w 9153528"/>
              <a:gd name="connsiteY5" fmla="*/ 0 h 5143500"/>
              <a:gd name="connsiteX6" fmla="*/ 9153528 w 9153528"/>
              <a:gd name="connsiteY6" fmla="*/ 0 h 5143500"/>
              <a:gd name="connsiteX7" fmla="*/ 9153528 w 9153528"/>
              <a:gd name="connsiteY7" fmla="*/ 4204192 h 5143500"/>
              <a:gd name="connsiteX8" fmla="*/ 9145341 w 9153528"/>
              <a:gd name="connsiteY8" fmla="*/ 4199282 h 5143500"/>
              <a:gd name="connsiteX9" fmla="*/ 9144001 w 9153528"/>
              <a:gd name="connsiteY9" fmla="*/ 3426281 h 5143500"/>
              <a:gd name="connsiteX10" fmla="*/ 4464473 w 9153528"/>
              <a:gd name="connsiteY10" fmla="*/ 4075643 h 5143500"/>
              <a:gd name="connsiteX11" fmla="*/ 0 w 9153528"/>
              <a:gd name="connsiteY11" fmla="*/ 3708636 h 5143500"/>
              <a:gd name="connsiteX12" fmla="*/ 0 w 9153528"/>
              <a:gd name="connsiteY12" fmla="*/ 0 h 5143500"/>
              <a:gd name="connsiteX0" fmla="*/ 0 w 9153528"/>
              <a:gd name="connsiteY0" fmla="*/ 5143499 h 5143500"/>
              <a:gd name="connsiteX1" fmla="*/ 9153528 w 9153528"/>
              <a:gd name="connsiteY1" fmla="*/ 5143499 h 5143500"/>
              <a:gd name="connsiteX2" fmla="*/ 9153528 w 9153528"/>
              <a:gd name="connsiteY2" fmla="*/ 5143500 h 5143500"/>
              <a:gd name="connsiteX3" fmla="*/ 0 w 9153528"/>
              <a:gd name="connsiteY3" fmla="*/ 5143500 h 5143500"/>
              <a:gd name="connsiteX4" fmla="*/ 0 w 9153528"/>
              <a:gd name="connsiteY4" fmla="*/ 5143499 h 5143500"/>
              <a:gd name="connsiteX5" fmla="*/ 0 w 9153528"/>
              <a:gd name="connsiteY5" fmla="*/ 0 h 5143500"/>
              <a:gd name="connsiteX6" fmla="*/ 9153528 w 9153528"/>
              <a:gd name="connsiteY6" fmla="*/ 0 h 5143500"/>
              <a:gd name="connsiteX7" fmla="*/ 9153528 w 9153528"/>
              <a:gd name="connsiteY7" fmla="*/ 4204192 h 5143500"/>
              <a:gd name="connsiteX8" fmla="*/ 9144001 w 9153528"/>
              <a:gd name="connsiteY8" fmla="*/ 3426281 h 5143500"/>
              <a:gd name="connsiteX9" fmla="*/ 4464473 w 9153528"/>
              <a:gd name="connsiteY9" fmla="*/ 4075643 h 5143500"/>
              <a:gd name="connsiteX10" fmla="*/ 0 w 9153528"/>
              <a:gd name="connsiteY10" fmla="*/ 3708636 h 5143500"/>
              <a:gd name="connsiteX11" fmla="*/ 0 w 9153528"/>
              <a:gd name="connsiteY11" fmla="*/ 0 h 5143500"/>
              <a:gd name="connsiteX0" fmla="*/ 0 w 9153528"/>
              <a:gd name="connsiteY0" fmla="*/ 5143499 h 5143500"/>
              <a:gd name="connsiteX1" fmla="*/ 9153528 w 9153528"/>
              <a:gd name="connsiteY1" fmla="*/ 5143499 h 5143500"/>
              <a:gd name="connsiteX2" fmla="*/ 9153528 w 9153528"/>
              <a:gd name="connsiteY2" fmla="*/ 5143500 h 5143500"/>
              <a:gd name="connsiteX3" fmla="*/ 0 w 9153528"/>
              <a:gd name="connsiteY3" fmla="*/ 5143500 h 5143500"/>
              <a:gd name="connsiteX4" fmla="*/ 0 w 9153528"/>
              <a:gd name="connsiteY4" fmla="*/ 5143499 h 5143500"/>
              <a:gd name="connsiteX5" fmla="*/ 0 w 9153528"/>
              <a:gd name="connsiteY5" fmla="*/ 0 h 5143500"/>
              <a:gd name="connsiteX6" fmla="*/ 9153528 w 9153528"/>
              <a:gd name="connsiteY6" fmla="*/ 0 h 5143500"/>
              <a:gd name="connsiteX7" fmla="*/ 9144001 w 9153528"/>
              <a:gd name="connsiteY7" fmla="*/ 3426281 h 5143500"/>
              <a:gd name="connsiteX8" fmla="*/ 4464473 w 9153528"/>
              <a:gd name="connsiteY8" fmla="*/ 4075643 h 5143500"/>
              <a:gd name="connsiteX9" fmla="*/ 0 w 9153528"/>
              <a:gd name="connsiteY9" fmla="*/ 3708636 h 5143500"/>
              <a:gd name="connsiteX10" fmla="*/ 0 w 9153528"/>
              <a:gd name="connsiteY10" fmla="*/ 0 h 5143500"/>
              <a:gd name="connsiteX0" fmla="*/ 0 w 9153528"/>
              <a:gd name="connsiteY0" fmla="*/ 5143499 h 5143500"/>
              <a:gd name="connsiteX1" fmla="*/ 9153528 w 9153528"/>
              <a:gd name="connsiteY1" fmla="*/ 5143499 h 5143500"/>
              <a:gd name="connsiteX2" fmla="*/ 0 w 9153528"/>
              <a:gd name="connsiteY2" fmla="*/ 5143500 h 5143500"/>
              <a:gd name="connsiteX3" fmla="*/ 0 w 9153528"/>
              <a:gd name="connsiteY3" fmla="*/ 5143499 h 5143500"/>
              <a:gd name="connsiteX4" fmla="*/ 0 w 9153528"/>
              <a:gd name="connsiteY4" fmla="*/ 0 h 5143500"/>
              <a:gd name="connsiteX5" fmla="*/ 9153528 w 9153528"/>
              <a:gd name="connsiteY5" fmla="*/ 0 h 5143500"/>
              <a:gd name="connsiteX6" fmla="*/ 9144001 w 9153528"/>
              <a:gd name="connsiteY6" fmla="*/ 3426281 h 5143500"/>
              <a:gd name="connsiteX7" fmla="*/ 4464473 w 9153528"/>
              <a:gd name="connsiteY7" fmla="*/ 4075643 h 5143500"/>
              <a:gd name="connsiteX8" fmla="*/ 0 w 9153528"/>
              <a:gd name="connsiteY8" fmla="*/ 3708636 h 5143500"/>
              <a:gd name="connsiteX9" fmla="*/ 0 w 9153528"/>
              <a:gd name="connsiteY9" fmla="*/ 0 h 5143500"/>
              <a:gd name="connsiteX0" fmla="*/ 0 w 9153528"/>
              <a:gd name="connsiteY0" fmla="*/ 5143499 h 5143500"/>
              <a:gd name="connsiteX1" fmla="*/ 0 w 9153528"/>
              <a:gd name="connsiteY1" fmla="*/ 5143500 h 5143500"/>
              <a:gd name="connsiteX2" fmla="*/ 0 w 9153528"/>
              <a:gd name="connsiteY2" fmla="*/ 5143499 h 5143500"/>
              <a:gd name="connsiteX3" fmla="*/ 0 w 9153528"/>
              <a:gd name="connsiteY3" fmla="*/ 0 h 5143500"/>
              <a:gd name="connsiteX4" fmla="*/ 9153528 w 9153528"/>
              <a:gd name="connsiteY4" fmla="*/ 0 h 5143500"/>
              <a:gd name="connsiteX5" fmla="*/ 9144001 w 9153528"/>
              <a:gd name="connsiteY5" fmla="*/ 3426281 h 5143500"/>
              <a:gd name="connsiteX6" fmla="*/ 4464473 w 9153528"/>
              <a:gd name="connsiteY6" fmla="*/ 4075643 h 5143500"/>
              <a:gd name="connsiteX7" fmla="*/ 0 w 9153528"/>
              <a:gd name="connsiteY7" fmla="*/ 3708636 h 5143500"/>
              <a:gd name="connsiteX8" fmla="*/ 0 w 9153528"/>
              <a:gd name="connsiteY8" fmla="*/ 0 h 5143500"/>
              <a:gd name="connsiteX0" fmla="*/ 0 w 9153528"/>
              <a:gd name="connsiteY0" fmla="*/ 0 h 4075643"/>
              <a:gd name="connsiteX1" fmla="*/ 9153528 w 9153528"/>
              <a:gd name="connsiteY1" fmla="*/ 0 h 4075643"/>
              <a:gd name="connsiteX2" fmla="*/ 9144001 w 9153528"/>
              <a:gd name="connsiteY2" fmla="*/ 3426281 h 4075643"/>
              <a:gd name="connsiteX3" fmla="*/ 4464473 w 9153528"/>
              <a:gd name="connsiteY3" fmla="*/ 4075643 h 4075643"/>
              <a:gd name="connsiteX4" fmla="*/ 0 w 9153528"/>
              <a:gd name="connsiteY4" fmla="*/ 3708636 h 4075643"/>
              <a:gd name="connsiteX5" fmla="*/ 0 w 9153528"/>
              <a:gd name="connsiteY5" fmla="*/ 0 h 4075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53528" h="4075643">
                <a:moveTo>
                  <a:pt x="0" y="0"/>
                </a:moveTo>
                <a:lnTo>
                  <a:pt x="9153528" y="0"/>
                </a:lnTo>
                <a:cubicBezTo>
                  <a:pt x="9150352" y="1142094"/>
                  <a:pt x="9147177" y="2284187"/>
                  <a:pt x="9144001" y="3426281"/>
                </a:cubicBezTo>
                <a:lnTo>
                  <a:pt x="4464473" y="4075643"/>
                </a:lnTo>
                <a:lnTo>
                  <a:pt x="0" y="3708636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  <p:pic>
        <p:nvPicPr>
          <p:cNvPr id="3" name="Graphique 2">
            <a:extLst>
              <a:ext uri="{FF2B5EF4-FFF2-40B4-BE49-F238E27FC236}">
                <a16:creationId xmlns:a16="http://schemas.microsoft.com/office/drawing/2014/main" id="{E7008A4A-56ED-4B79-8C76-07B31083E9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6275" y="4150109"/>
            <a:ext cx="2174263" cy="648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801091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uverture 2 - C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e libre : forme 4">
            <a:extLst>
              <a:ext uri="{FF2B5EF4-FFF2-40B4-BE49-F238E27FC236}">
                <a16:creationId xmlns:a16="http://schemas.microsoft.com/office/drawing/2014/main" id="{6BBA7953-6320-4985-B304-CAEF45B84CC1}"/>
              </a:ext>
            </a:extLst>
          </p:cNvPr>
          <p:cNvSpPr/>
          <p:nvPr userDrawn="1"/>
        </p:nvSpPr>
        <p:spPr>
          <a:xfrm rot="16200000">
            <a:off x="6276217" y="2274933"/>
            <a:ext cx="1037443" cy="4698124"/>
          </a:xfrm>
          <a:custGeom>
            <a:avLst/>
            <a:gdLst>
              <a:gd name="connsiteX0" fmla="*/ 1037443 w 1037443"/>
              <a:gd name="connsiteY0" fmla="*/ 4698124 h 4698124"/>
              <a:gd name="connsiteX1" fmla="*/ 0 w 1037443"/>
              <a:gd name="connsiteY1" fmla="*/ 4698124 h 4698124"/>
              <a:gd name="connsiteX2" fmla="*/ 386215 w 1037443"/>
              <a:gd name="connsiteY2" fmla="*/ 0 h 4698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37443" h="4698124">
                <a:moveTo>
                  <a:pt x="1037443" y="4698124"/>
                </a:moveTo>
                <a:lnTo>
                  <a:pt x="0" y="4698124"/>
                </a:lnTo>
                <a:lnTo>
                  <a:pt x="386215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48FA6A4C-949D-4D78-851A-5D85C0ACA219}"/>
              </a:ext>
            </a:extLst>
          </p:cNvPr>
          <p:cNvGrpSpPr/>
          <p:nvPr userDrawn="1"/>
        </p:nvGrpSpPr>
        <p:grpSpPr>
          <a:xfrm>
            <a:off x="4782105" y="4078441"/>
            <a:ext cx="4416497" cy="1125022"/>
            <a:chOff x="4782105" y="4078441"/>
            <a:chExt cx="4416497" cy="1125022"/>
          </a:xfrm>
          <a:solidFill>
            <a:schemeClr val="bg2">
              <a:alpha val="10000"/>
            </a:schemeClr>
          </a:solidFill>
        </p:grpSpPr>
        <p:sp>
          <p:nvSpPr>
            <p:cNvPr id="7" name="Forme libre : forme 6">
              <a:extLst>
                <a:ext uri="{FF2B5EF4-FFF2-40B4-BE49-F238E27FC236}">
                  <a16:creationId xmlns:a16="http://schemas.microsoft.com/office/drawing/2014/main" id="{791FB8C9-9221-4E4C-A4AC-2AAD9F08AE59}"/>
                </a:ext>
              </a:extLst>
            </p:cNvPr>
            <p:cNvSpPr/>
            <p:nvPr/>
          </p:nvSpPr>
          <p:spPr>
            <a:xfrm rot="8716295">
              <a:off x="8490768" y="467807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CAEA067D-BF83-4ED3-87B4-BB06FFFF2B66}"/>
                </a:ext>
              </a:extLst>
            </p:cNvPr>
            <p:cNvSpPr/>
            <p:nvPr/>
          </p:nvSpPr>
          <p:spPr>
            <a:xfrm rot="8716295">
              <a:off x="5559260" y="4523190"/>
              <a:ext cx="215177" cy="303156"/>
            </a:xfrm>
            <a:custGeom>
              <a:avLst/>
              <a:gdLst>
                <a:gd name="connsiteX0" fmla="*/ 122761 w 215177"/>
                <a:gd name="connsiteY0" fmla="*/ 256399 h 303156"/>
                <a:gd name="connsiteX1" fmla="*/ 122761 w 215177"/>
                <a:gd name="connsiteY1" fmla="*/ 105519 h 303156"/>
                <a:gd name="connsiteX2" fmla="*/ 122761 w 215177"/>
                <a:gd name="connsiteY2" fmla="*/ 99312 h 303156"/>
                <a:gd name="connsiteX3" fmla="*/ 91726 w 215177"/>
                <a:gd name="connsiteY3" fmla="*/ 75863 h 303156"/>
                <a:gd name="connsiteX4" fmla="*/ 0 w 215177"/>
                <a:gd name="connsiteY4" fmla="*/ 75863 h 303156"/>
                <a:gd name="connsiteX5" fmla="*/ 0 w 215177"/>
                <a:gd name="connsiteY5" fmla="*/ 0 h 303156"/>
                <a:gd name="connsiteX6" fmla="*/ 128968 w 215177"/>
                <a:gd name="connsiteY6" fmla="*/ 0 h 303156"/>
                <a:gd name="connsiteX7" fmla="*/ 215177 w 215177"/>
                <a:gd name="connsiteY7" fmla="*/ 75863 h 303156"/>
                <a:gd name="connsiteX8" fmla="*/ 215176 w 215177"/>
                <a:gd name="connsiteY8" fmla="*/ 303156 h 303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5177" h="303156">
                  <a:moveTo>
                    <a:pt x="122761" y="25639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0"/>
                  </a:lnTo>
                  <a:lnTo>
                    <a:pt x="128968" y="0"/>
                  </a:lnTo>
                  <a:cubicBezTo>
                    <a:pt x="184831" y="0"/>
                    <a:pt x="215176" y="24139"/>
                    <a:pt x="215177" y="75863"/>
                  </a:cubicBezTo>
                  <a:lnTo>
                    <a:pt x="215176" y="30315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ADF38186-185D-41F8-A6B1-FB10366A4CEE}"/>
                </a:ext>
              </a:extLst>
            </p:cNvPr>
            <p:cNvSpPr/>
            <p:nvPr/>
          </p:nvSpPr>
          <p:spPr>
            <a:xfrm rot="8716295">
              <a:off x="5692925" y="4561542"/>
              <a:ext cx="393603" cy="335006"/>
            </a:xfrm>
            <a:custGeom>
              <a:avLst/>
              <a:gdLst>
                <a:gd name="connsiteX0" fmla="*/ 77932 w 393603"/>
                <a:gd name="connsiteY0" fmla="*/ 299055 h 335006"/>
                <a:gd name="connsiteX1" fmla="*/ 77932 w 393603"/>
                <a:gd name="connsiteY1" fmla="*/ 66897 h 335006"/>
                <a:gd name="connsiteX2" fmla="*/ 0 w 393603"/>
                <a:gd name="connsiteY2" fmla="*/ 66898 h 335006"/>
                <a:gd name="connsiteX3" fmla="*/ 0 w 393603"/>
                <a:gd name="connsiteY3" fmla="*/ 0 h 335006"/>
                <a:gd name="connsiteX4" fmla="*/ 158623 w 393603"/>
                <a:gd name="connsiteY4" fmla="*/ 1 h 335006"/>
                <a:gd name="connsiteX5" fmla="*/ 158623 w 393603"/>
                <a:gd name="connsiteY5" fmla="*/ 111726 h 335006"/>
                <a:gd name="connsiteX6" fmla="*/ 160692 w 393603"/>
                <a:gd name="connsiteY6" fmla="*/ 111726 h 335006"/>
                <a:gd name="connsiteX7" fmla="*/ 192762 w 393603"/>
                <a:gd name="connsiteY7" fmla="*/ 39915 h 335006"/>
                <a:gd name="connsiteX8" fmla="*/ 231959 w 393603"/>
                <a:gd name="connsiteY8" fmla="*/ 7837 h 335006"/>
                <a:gd name="connsiteX9" fmla="*/ 393603 w 393603"/>
                <a:gd name="connsiteY9" fmla="*/ 140745 h 335006"/>
                <a:gd name="connsiteX10" fmla="*/ 300695 w 393603"/>
                <a:gd name="connsiteY10" fmla="*/ 146210 h 335006"/>
                <a:gd name="connsiteX11" fmla="*/ 300694 w 393603"/>
                <a:gd name="connsiteY11" fmla="*/ 121382 h 335006"/>
                <a:gd name="connsiteX12" fmla="*/ 249659 w 393603"/>
                <a:gd name="connsiteY12" fmla="*/ 58622 h 335006"/>
                <a:gd name="connsiteX13" fmla="*/ 168969 w 393603"/>
                <a:gd name="connsiteY13" fmla="*/ 191038 h 335006"/>
                <a:gd name="connsiteX14" fmla="*/ 168969 w 393603"/>
                <a:gd name="connsiteY14" fmla="*/ 321385 h 335006"/>
                <a:gd name="connsiteX15" fmla="*/ 148991 w 393603"/>
                <a:gd name="connsiteY15" fmla="*/ 335006 h 335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93603" h="335006">
                  <a:moveTo>
                    <a:pt x="77932" y="299055"/>
                  </a:moveTo>
                  <a:lnTo>
                    <a:pt x="77932" y="66897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1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71727" y="78967"/>
                    <a:pt x="181555" y="56208"/>
                    <a:pt x="192762" y="39915"/>
                  </a:cubicBezTo>
                  <a:lnTo>
                    <a:pt x="231959" y="7837"/>
                  </a:lnTo>
                  <a:lnTo>
                    <a:pt x="393603" y="140745"/>
                  </a:lnTo>
                  <a:lnTo>
                    <a:pt x="300695" y="146210"/>
                  </a:lnTo>
                  <a:lnTo>
                    <a:pt x="300694" y="121382"/>
                  </a:lnTo>
                  <a:cubicBezTo>
                    <a:pt x="300695" y="84140"/>
                    <a:pt x="279316" y="58622"/>
                    <a:pt x="249659" y="58622"/>
                  </a:cubicBezTo>
                  <a:cubicBezTo>
                    <a:pt x="205521" y="58621"/>
                    <a:pt x="168969" y="117244"/>
                    <a:pt x="168969" y="191038"/>
                  </a:cubicBezTo>
                  <a:lnTo>
                    <a:pt x="168969" y="321385"/>
                  </a:lnTo>
                  <a:lnTo>
                    <a:pt x="148991" y="33500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4B724F9D-95FF-4F02-B59A-7E5AC8B98AC8}"/>
                </a:ext>
              </a:extLst>
            </p:cNvPr>
            <p:cNvSpPr/>
            <p:nvPr/>
          </p:nvSpPr>
          <p:spPr>
            <a:xfrm rot="8716295">
              <a:off x="5659234" y="4556420"/>
              <a:ext cx="113018" cy="83608"/>
            </a:xfrm>
            <a:custGeom>
              <a:avLst/>
              <a:gdLst>
                <a:gd name="connsiteX0" fmla="*/ 0 w 113018"/>
                <a:gd name="connsiteY0" fmla="*/ 32910 h 83608"/>
                <a:gd name="connsiteX1" fmla="*/ 24482 w 113018"/>
                <a:gd name="connsiteY1" fmla="*/ 13621 h 83608"/>
                <a:gd name="connsiteX2" fmla="*/ 70259 w 113018"/>
                <a:gd name="connsiteY2" fmla="*/ 0 h 83608"/>
                <a:gd name="connsiteX3" fmla="*/ 113018 w 113018"/>
                <a:gd name="connsiteY3" fmla="*/ 51035 h 83608"/>
                <a:gd name="connsiteX4" fmla="*/ 100518 w 113018"/>
                <a:gd name="connsiteY4" fmla="*/ 83363 h 83608"/>
                <a:gd name="connsiteX5" fmla="*/ 100204 w 113018"/>
                <a:gd name="connsiteY5" fmla="*/ 83608 h 83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018" h="83608">
                  <a:moveTo>
                    <a:pt x="0" y="32910"/>
                  </a:moveTo>
                  <a:lnTo>
                    <a:pt x="24482" y="13621"/>
                  </a:lnTo>
                  <a:cubicBezTo>
                    <a:pt x="38534" y="6380"/>
                    <a:pt x="54052" y="1725"/>
                    <a:pt x="70259" y="0"/>
                  </a:cubicBezTo>
                  <a:cubicBezTo>
                    <a:pt x="103363" y="0"/>
                    <a:pt x="113018" y="28966"/>
                    <a:pt x="113018" y="51035"/>
                  </a:cubicBezTo>
                  <a:cubicBezTo>
                    <a:pt x="111984" y="63105"/>
                    <a:pt x="107501" y="74139"/>
                    <a:pt x="100518" y="83363"/>
                  </a:cubicBezTo>
                  <a:lnTo>
                    <a:pt x="100204" y="8360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D01436B5-D8EB-44DF-8B51-633BF4E9FB42}"/>
                </a:ext>
              </a:extLst>
            </p:cNvPr>
            <p:cNvSpPr/>
            <p:nvPr/>
          </p:nvSpPr>
          <p:spPr>
            <a:xfrm rot="8716295">
              <a:off x="5371633" y="4613095"/>
              <a:ext cx="88105" cy="83851"/>
            </a:xfrm>
            <a:custGeom>
              <a:avLst/>
              <a:gdLst>
                <a:gd name="connsiteX0" fmla="*/ 6112 w 88105"/>
                <a:gd name="connsiteY0" fmla="*/ 59305 h 83851"/>
                <a:gd name="connsiteX1" fmla="*/ 0 w 88105"/>
                <a:gd name="connsiteY1" fmla="*/ 44829 h 83851"/>
                <a:gd name="connsiteX2" fmla="*/ 0 w 88105"/>
                <a:gd name="connsiteY2" fmla="*/ 44139 h 83851"/>
                <a:gd name="connsiteX3" fmla="*/ 13104 w 88105"/>
                <a:gd name="connsiteY3" fmla="*/ 13104 h 83851"/>
                <a:gd name="connsiteX4" fmla="*/ 44139 w 88105"/>
                <a:gd name="connsiteY4" fmla="*/ 0 h 83851"/>
                <a:gd name="connsiteX5" fmla="*/ 75175 w 88105"/>
                <a:gd name="connsiteY5" fmla="*/ 13104 h 83851"/>
                <a:gd name="connsiteX6" fmla="*/ 75175 w 88105"/>
                <a:gd name="connsiteY6" fmla="*/ 75175 h 83851"/>
                <a:gd name="connsiteX7" fmla="*/ 54626 w 88105"/>
                <a:gd name="connsiteY7" fmla="*/ 83851 h 83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105" h="83851">
                  <a:moveTo>
                    <a:pt x="6112" y="59305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cubicBezTo>
                    <a:pt x="55864" y="0"/>
                    <a:pt x="66899" y="4828"/>
                    <a:pt x="75175" y="13104"/>
                  </a:cubicBezTo>
                  <a:cubicBezTo>
                    <a:pt x="92416" y="29657"/>
                    <a:pt x="92416" y="57933"/>
                    <a:pt x="75175" y="75175"/>
                  </a:cubicBezTo>
                  <a:lnTo>
                    <a:pt x="54626" y="8385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6F3BF20E-F037-4374-BB41-095B54D26F08}"/>
                </a:ext>
              </a:extLst>
            </p:cNvPr>
            <p:cNvSpPr/>
            <p:nvPr/>
          </p:nvSpPr>
          <p:spPr>
            <a:xfrm rot="8716295">
              <a:off x="5473646" y="4706746"/>
              <a:ext cx="91035" cy="188159"/>
            </a:xfrm>
            <a:custGeom>
              <a:avLst/>
              <a:gdLst>
                <a:gd name="connsiteX0" fmla="*/ 91035 w 91035"/>
                <a:gd name="connsiteY0" fmla="*/ 188159 h 188159"/>
                <a:gd name="connsiteX1" fmla="*/ 0 w 91035"/>
                <a:gd name="connsiteY1" fmla="*/ 100571 h 188159"/>
                <a:gd name="connsiteX2" fmla="*/ 0 w 91035"/>
                <a:gd name="connsiteY2" fmla="*/ 0 h 188159"/>
                <a:gd name="connsiteX3" fmla="*/ 91035 w 91035"/>
                <a:gd name="connsiteY3" fmla="*/ 74852 h 188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188159">
                  <a:moveTo>
                    <a:pt x="91035" y="188159"/>
                  </a:moveTo>
                  <a:lnTo>
                    <a:pt x="0" y="100571"/>
                  </a:lnTo>
                  <a:lnTo>
                    <a:pt x="0" y="0"/>
                  </a:lnTo>
                  <a:lnTo>
                    <a:pt x="91035" y="748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BBB1D061-FD31-402D-BCCB-6813149262F1}"/>
                </a:ext>
              </a:extLst>
            </p:cNvPr>
            <p:cNvSpPr/>
            <p:nvPr/>
          </p:nvSpPr>
          <p:spPr>
            <a:xfrm rot="8716295">
              <a:off x="6218962" y="4454620"/>
              <a:ext cx="171018" cy="106515"/>
            </a:xfrm>
            <a:custGeom>
              <a:avLst/>
              <a:gdLst>
                <a:gd name="connsiteX0" fmla="*/ 0 w 171018"/>
                <a:gd name="connsiteY0" fmla="*/ 19991 h 106515"/>
                <a:gd name="connsiteX1" fmla="*/ 13365 w 171018"/>
                <a:gd name="connsiteY1" fmla="*/ 9053 h 106515"/>
                <a:gd name="connsiteX2" fmla="*/ 60952 w 171018"/>
                <a:gd name="connsiteY2" fmla="*/ 87 h 106515"/>
                <a:gd name="connsiteX3" fmla="*/ 166956 w 171018"/>
                <a:gd name="connsiteY3" fmla="*/ 76705 h 106515"/>
                <a:gd name="connsiteX4" fmla="*/ 171018 w 171018"/>
                <a:gd name="connsiteY4" fmla="*/ 106515 h 106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018" h="106515">
                  <a:moveTo>
                    <a:pt x="0" y="19991"/>
                  </a:moveTo>
                  <a:lnTo>
                    <a:pt x="13365" y="9053"/>
                  </a:lnTo>
                  <a:cubicBezTo>
                    <a:pt x="28538" y="2846"/>
                    <a:pt x="44400" y="-602"/>
                    <a:pt x="60952" y="87"/>
                  </a:cubicBezTo>
                  <a:cubicBezTo>
                    <a:pt x="114229" y="-948"/>
                    <a:pt x="151600" y="26725"/>
                    <a:pt x="166956" y="76705"/>
                  </a:cubicBezTo>
                  <a:lnTo>
                    <a:pt x="171018" y="10651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B49834EB-4686-4A9A-AFBE-353B0A4BB9CC}"/>
                </a:ext>
              </a:extLst>
            </p:cNvPr>
            <p:cNvSpPr/>
            <p:nvPr/>
          </p:nvSpPr>
          <p:spPr>
            <a:xfrm rot="8716295">
              <a:off x="6005990" y="4487669"/>
              <a:ext cx="156555" cy="122067"/>
            </a:xfrm>
            <a:custGeom>
              <a:avLst/>
              <a:gdLst>
                <a:gd name="connsiteX0" fmla="*/ 65519 w 156555"/>
                <a:gd name="connsiteY0" fmla="*/ 76009 h 122067"/>
                <a:gd name="connsiteX1" fmla="*/ 65519 w 156555"/>
                <a:gd name="connsiteY1" fmla="*/ 24828 h 122067"/>
                <a:gd name="connsiteX2" fmla="*/ 0 w 156555"/>
                <a:gd name="connsiteY2" fmla="*/ 24828 h 122067"/>
                <a:gd name="connsiteX3" fmla="*/ 0 w 156555"/>
                <a:gd name="connsiteY3" fmla="*/ 3449 h 122067"/>
                <a:gd name="connsiteX4" fmla="*/ 156555 w 156555"/>
                <a:gd name="connsiteY4" fmla="*/ 0 h 122067"/>
                <a:gd name="connsiteX5" fmla="*/ 156554 w 156555"/>
                <a:gd name="connsiteY5" fmla="*/ 122067 h 122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6555" h="122067">
                  <a:moveTo>
                    <a:pt x="65519" y="76009"/>
                  </a:moveTo>
                  <a:lnTo>
                    <a:pt x="65519" y="24828"/>
                  </a:lnTo>
                  <a:lnTo>
                    <a:pt x="0" y="24828"/>
                  </a:lnTo>
                  <a:lnTo>
                    <a:pt x="0" y="3449"/>
                  </a:lnTo>
                  <a:cubicBezTo>
                    <a:pt x="49656" y="5517"/>
                    <a:pt x="101381" y="1379"/>
                    <a:pt x="156555" y="0"/>
                  </a:cubicBezTo>
                  <a:lnTo>
                    <a:pt x="156554" y="1220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676F5558-2730-4CE0-B993-EAC478371730}"/>
                </a:ext>
              </a:extLst>
            </p:cNvPr>
            <p:cNvSpPr/>
            <p:nvPr/>
          </p:nvSpPr>
          <p:spPr>
            <a:xfrm rot="7484129">
              <a:off x="6103422" y="4586563"/>
              <a:ext cx="308532" cy="296464"/>
            </a:xfrm>
            <a:custGeom>
              <a:avLst/>
              <a:gdLst>
                <a:gd name="connsiteX0" fmla="*/ 137293 w 308532"/>
                <a:gd name="connsiteY0" fmla="*/ 296464 h 296464"/>
                <a:gd name="connsiteX1" fmla="*/ 72419 w 308532"/>
                <a:gd name="connsiteY1" fmla="*/ 175766 h 296464"/>
                <a:gd name="connsiteX2" fmla="*/ 105610 w 308532"/>
                <a:gd name="connsiteY2" fmla="*/ 83734 h 296464"/>
                <a:gd name="connsiteX3" fmla="*/ 0 w 308532"/>
                <a:gd name="connsiteY3" fmla="*/ 83734 h 296464"/>
                <a:gd name="connsiteX4" fmla="*/ 0 w 308532"/>
                <a:gd name="connsiteY4" fmla="*/ 0 h 296464"/>
                <a:gd name="connsiteX5" fmla="*/ 265017 w 308532"/>
                <a:gd name="connsiteY5" fmla="*/ 0 h 296464"/>
                <a:gd name="connsiteX6" fmla="*/ 308532 w 308532"/>
                <a:gd name="connsiteY6" fmla="*/ 75260 h 296464"/>
                <a:gd name="connsiteX7" fmla="*/ 308532 w 308532"/>
                <a:gd name="connsiteY7" fmla="*/ 83734 h 296464"/>
                <a:gd name="connsiteX8" fmla="*/ 210466 w 308532"/>
                <a:gd name="connsiteY8" fmla="*/ 83734 h 296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532" h="296464">
                  <a:moveTo>
                    <a:pt x="137293" y="296464"/>
                  </a:moveTo>
                  <a:lnTo>
                    <a:pt x="72419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65017" y="0"/>
                  </a:lnTo>
                  <a:lnTo>
                    <a:pt x="308532" y="75260"/>
                  </a:lnTo>
                  <a:lnTo>
                    <a:pt x="308532" y="83734"/>
                  </a:lnTo>
                  <a:lnTo>
                    <a:pt x="210466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6446F284-DF3B-4BD3-84E9-63513197872A}"/>
                </a:ext>
              </a:extLst>
            </p:cNvPr>
            <p:cNvSpPr/>
            <p:nvPr/>
          </p:nvSpPr>
          <p:spPr>
            <a:xfrm rot="13089394">
              <a:off x="6309616" y="4543919"/>
              <a:ext cx="412568" cy="359948"/>
            </a:xfrm>
            <a:custGeom>
              <a:avLst/>
              <a:gdLst>
                <a:gd name="connsiteX0" fmla="*/ 412568 w 412568"/>
                <a:gd name="connsiteY0" fmla="*/ 252801 h 359948"/>
                <a:gd name="connsiteX1" fmla="*/ 138636 w 412568"/>
                <a:gd name="connsiteY1" fmla="*/ 359701 h 359948"/>
                <a:gd name="connsiteX2" fmla="*/ 35911 w 412568"/>
                <a:gd name="connsiteY2" fmla="*/ 317943 h 359948"/>
                <a:gd name="connsiteX3" fmla="*/ 0 w 412568"/>
                <a:gd name="connsiteY3" fmla="*/ 174296 h 359948"/>
                <a:gd name="connsiteX4" fmla="*/ 0 w 412568"/>
                <a:gd name="connsiteY4" fmla="*/ 74054 h 359948"/>
                <a:gd name="connsiteX5" fmla="*/ 112066 w 412568"/>
                <a:gd name="connsiteY5" fmla="*/ 0 h 359948"/>
                <a:gd name="connsiteX6" fmla="*/ 112747 w 412568"/>
                <a:gd name="connsiteY6" fmla="*/ 94956 h 359948"/>
                <a:gd name="connsiteX7" fmla="*/ 132789 w 412568"/>
                <a:gd name="connsiteY7" fmla="*/ 233593 h 359948"/>
                <a:gd name="connsiteX8" fmla="*/ 233008 w 412568"/>
                <a:gd name="connsiteY8" fmla="*/ 288713 h 359948"/>
                <a:gd name="connsiteX9" fmla="*/ 308172 w 412568"/>
                <a:gd name="connsiteY9" fmla="*/ 275351 h 359948"/>
                <a:gd name="connsiteX10" fmla="*/ 410898 w 412568"/>
                <a:gd name="connsiteY10" fmla="*/ 233593 h 359948"/>
                <a:gd name="connsiteX11" fmla="*/ 412568 w 412568"/>
                <a:gd name="connsiteY11" fmla="*/ 244449 h 359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2568" h="359948">
                  <a:moveTo>
                    <a:pt x="412568" y="252801"/>
                  </a:moveTo>
                  <a:cubicBezTo>
                    <a:pt x="324041" y="328800"/>
                    <a:pt x="207954" y="355526"/>
                    <a:pt x="138636" y="359701"/>
                  </a:cubicBezTo>
                  <a:cubicBezTo>
                    <a:pt x="100219" y="362207"/>
                    <a:pt x="62637" y="345504"/>
                    <a:pt x="35911" y="317943"/>
                  </a:cubicBezTo>
                  <a:cubicBezTo>
                    <a:pt x="7516" y="290383"/>
                    <a:pt x="0" y="242779"/>
                    <a:pt x="0" y="174296"/>
                  </a:cubicBezTo>
                  <a:lnTo>
                    <a:pt x="0" y="74054"/>
                  </a:lnTo>
                  <a:lnTo>
                    <a:pt x="112066" y="0"/>
                  </a:lnTo>
                  <a:lnTo>
                    <a:pt x="112747" y="94956"/>
                  </a:lnTo>
                  <a:cubicBezTo>
                    <a:pt x="110241" y="141725"/>
                    <a:pt x="117756" y="189329"/>
                    <a:pt x="132789" y="233593"/>
                  </a:cubicBezTo>
                  <a:cubicBezTo>
                    <a:pt x="146153" y="270339"/>
                    <a:pt x="180394" y="288713"/>
                    <a:pt x="233008" y="288713"/>
                  </a:cubicBezTo>
                  <a:cubicBezTo>
                    <a:pt x="258899" y="287878"/>
                    <a:pt x="283953" y="282866"/>
                    <a:pt x="308172" y="275351"/>
                  </a:cubicBezTo>
                  <a:cubicBezTo>
                    <a:pt x="343249" y="264493"/>
                    <a:pt x="377491" y="250296"/>
                    <a:pt x="410898" y="233593"/>
                  </a:cubicBezTo>
                  <a:cubicBezTo>
                    <a:pt x="411732" y="236933"/>
                    <a:pt x="412568" y="241109"/>
                    <a:pt x="412568" y="24444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88875692-D947-4058-8206-44233A06BFD3}"/>
                </a:ext>
              </a:extLst>
            </p:cNvPr>
            <p:cNvSpPr/>
            <p:nvPr/>
          </p:nvSpPr>
          <p:spPr>
            <a:xfrm rot="8716295">
              <a:off x="6597507" y="4422612"/>
              <a:ext cx="149044" cy="111064"/>
            </a:xfrm>
            <a:custGeom>
              <a:avLst/>
              <a:gdLst>
                <a:gd name="connsiteX0" fmla="*/ 0 w 149044"/>
                <a:gd name="connsiteY0" fmla="*/ 51375 h 111064"/>
                <a:gd name="connsiteX1" fmla="*/ 1002 w 149044"/>
                <a:gd name="connsiteY1" fmla="*/ 50432 h 111064"/>
                <a:gd name="connsiteX2" fmla="*/ 98612 w 149044"/>
                <a:gd name="connsiteY2" fmla="*/ 0 h 111064"/>
                <a:gd name="connsiteX3" fmla="*/ 149044 w 149044"/>
                <a:gd name="connsiteY3" fmla="*/ 60193 h 111064"/>
                <a:gd name="connsiteX4" fmla="*/ 134300 w 149044"/>
                <a:gd name="connsiteY4" fmla="*/ 98322 h 111064"/>
                <a:gd name="connsiteX5" fmla="*/ 117977 w 149044"/>
                <a:gd name="connsiteY5" fmla="*/ 111064 h 111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044" h="111064">
                  <a:moveTo>
                    <a:pt x="0" y="51375"/>
                  </a:moveTo>
                  <a:lnTo>
                    <a:pt x="1002" y="50432"/>
                  </a:lnTo>
                  <a:cubicBezTo>
                    <a:pt x="25404" y="21963"/>
                    <a:pt x="60381" y="4067"/>
                    <a:pt x="98612" y="0"/>
                  </a:cubicBezTo>
                  <a:cubicBezTo>
                    <a:pt x="137657" y="0"/>
                    <a:pt x="149044" y="34164"/>
                    <a:pt x="149044" y="60193"/>
                  </a:cubicBezTo>
                  <a:cubicBezTo>
                    <a:pt x="147824" y="74428"/>
                    <a:pt x="142536" y="87443"/>
                    <a:pt x="134300" y="98322"/>
                  </a:cubicBezTo>
                  <a:lnTo>
                    <a:pt x="117977" y="1110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371804DA-D0A5-4840-894B-07AAE1064663}"/>
                </a:ext>
              </a:extLst>
            </p:cNvPr>
            <p:cNvSpPr/>
            <p:nvPr/>
          </p:nvSpPr>
          <p:spPr>
            <a:xfrm rot="8716295">
              <a:off x="6708126" y="4876229"/>
              <a:ext cx="139286" cy="121327"/>
            </a:xfrm>
            <a:custGeom>
              <a:avLst/>
              <a:gdLst>
                <a:gd name="connsiteX0" fmla="*/ 26453 w 139286"/>
                <a:gd name="connsiteY0" fmla="*/ 96267 h 121327"/>
                <a:gd name="connsiteX1" fmla="*/ 0 w 139286"/>
                <a:gd name="connsiteY1" fmla="*/ 33618 h 121327"/>
                <a:gd name="connsiteX2" fmla="*/ 0 w 139286"/>
                <a:gd name="connsiteY2" fmla="*/ 32225 h 121327"/>
                <a:gd name="connsiteX3" fmla="*/ 13607 w 139286"/>
                <a:gd name="connsiteY3" fmla="*/ 0 h 121327"/>
                <a:gd name="connsiteX4" fmla="*/ 139286 w 139286"/>
                <a:gd name="connsiteY4" fmla="*/ 103337 h 121327"/>
                <a:gd name="connsiteX5" fmla="*/ 123037 w 139286"/>
                <a:gd name="connsiteY5" fmla="*/ 114366 h 121327"/>
                <a:gd name="connsiteX6" fmla="*/ 89101 w 139286"/>
                <a:gd name="connsiteY6" fmla="*/ 121327 h 121327"/>
                <a:gd name="connsiteX7" fmla="*/ 26453 w 139286"/>
                <a:gd name="connsiteY7" fmla="*/ 96267 h 121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9286" h="121327">
                  <a:moveTo>
                    <a:pt x="26453" y="96267"/>
                  </a:moveTo>
                  <a:cubicBezTo>
                    <a:pt x="9746" y="79561"/>
                    <a:pt x="0" y="57285"/>
                    <a:pt x="0" y="33618"/>
                  </a:cubicBezTo>
                  <a:lnTo>
                    <a:pt x="0" y="32225"/>
                  </a:lnTo>
                  <a:lnTo>
                    <a:pt x="13607" y="0"/>
                  </a:lnTo>
                  <a:lnTo>
                    <a:pt x="139286" y="103337"/>
                  </a:lnTo>
                  <a:lnTo>
                    <a:pt x="123037" y="114366"/>
                  </a:lnTo>
                  <a:cubicBezTo>
                    <a:pt x="112421" y="118890"/>
                    <a:pt x="100935" y="121327"/>
                    <a:pt x="89101" y="121327"/>
                  </a:cubicBezTo>
                  <a:cubicBezTo>
                    <a:pt x="65435" y="121327"/>
                    <a:pt x="43159" y="112973"/>
                    <a:pt x="26453" y="9626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6EEBC52A-3D14-419B-8366-97197098C604}"/>
                </a:ext>
              </a:extLst>
            </p:cNvPr>
            <p:cNvSpPr/>
            <p:nvPr/>
          </p:nvSpPr>
          <p:spPr>
            <a:xfrm rot="8716295">
              <a:off x="4782105" y="4823045"/>
              <a:ext cx="311921" cy="362797"/>
            </a:xfrm>
            <a:custGeom>
              <a:avLst/>
              <a:gdLst>
                <a:gd name="connsiteX0" fmla="*/ 311920 w 311921"/>
                <a:gd name="connsiteY0" fmla="*/ 120307 h 362797"/>
                <a:gd name="connsiteX1" fmla="*/ 138360 w 311921"/>
                <a:gd name="connsiteY1" fmla="*/ 1 h 362797"/>
                <a:gd name="connsiteX2" fmla="*/ 138360 w 311921"/>
                <a:gd name="connsiteY2" fmla="*/ 0 h 362797"/>
                <a:gd name="connsiteX3" fmla="*/ 311921 w 311921"/>
                <a:gd name="connsiteY3" fmla="*/ 120307 h 362797"/>
                <a:gd name="connsiteX4" fmla="*/ 0 w 311921"/>
                <a:gd name="connsiteY4" fmla="*/ 362797 h 362797"/>
                <a:gd name="connsiteX5" fmla="*/ 0 w 311921"/>
                <a:gd name="connsiteY5" fmla="*/ 320869 h 362797"/>
                <a:gd name="connsiteX6" fmla="*/ 27877 w 311921"/>
                <a:gd name="connsiteY6" fmla="*/ 343790 h 362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1921" h="362797">
                  <a:moveTo>
                    <a:pt x="311920" y="120307"/>
                  </a:moveTo>
                  <a:lnTo>
                    <a:pt x="138360" y="1"/>
                  </a:lnTo>
                  <a:lnTo>
                    <a:pt x="138360" y="0"/>
                  </a:lnTo>
                  <a:lnTo>
                    <a:pt x="311921" y="120307"/>
                  </a:lnTo>
                  <a:close/>
                  <a:moveTo>
                    <a:pt x="0" y="362797"/>
                  </a:moveTo>
                  <a:lnTo>
                    <a:pt x="0" y="320869"/>
                  </a:lnTo>
                  <a:lnTo>
                    <a:pt x="27877" y="34379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53F2D732-A25A-4CEE-B98E-E5DC8CC54158}"/>
                </a:ext>
              </a:extLst>
            </p:cNvPr>
            <p:cNvSpPr/>
            <p:nvPr/>
          </p:nvSpPr>
          <p:spPr>
            <a:xfrm rot="8716295">
              <a:off x="5132149" y="4738008"/>
              <a:ext cx="148614" cy="131720"/>
            </a:xfrm>
            <a:custGeom>
              <a:avLst/>
              <a:gdLst>
                <a:gd name="connsiteX0" fmla="*/ 26453 w 148614"/>
                <a:gd name="connsiteY0" fmla="*/ 106660 h 131720"/>
                <a:gd name="connsiteX1" fmla="*/ 0 w 148614"/>
                <a:gd name="connsiteY1" fmla="*/ 44011 h 131720"/>
                <a:gd name="connsiteX2" fmla="*/ 0 w 148614"/>
                <a:gd name="connsiteY2" fmla="*/ 42618 h 131720"/>
                <a:gd name="connsiteX3" fmla="*/ 17995 w 148614"/>
                <a:gd name="connsiteY3" fmla="*/ 0 h 131720"/>
                <a:gd name="connsiteX4" fmla="*/ 148614 w 148614"/>
                <a:gd name="connsiteY4" fmla="*/ 107398 h 131720"/>
                <a:gd name="connsiteX5" fmla="*/ 123037 w 148614"/>
                <a:gd name="connsiteY5" fmla="*/ 124759 h 131720"/>
                <a:gd name="connsiteX6" fmla="*/ 89101 w 148614"/>
                <a:gd name="connsiteY6" fmla="*/ 131720 h 131720"/>
                <a:gd name="connsiteX7" fmla="*/ 26453 w 148614"/>
                <a:gd name="connsiteY7" fmla="*/ 106660 h 13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8614" h="131720">
                  <a:moveTo>
                    <a:pt x="26453" y="106660"/>
                  </a:moveTo>
                  <a:cubicBezTo>
                    <a:pt x="9746" y="89954"/>
                    <a:pt x="0" y="67678"/>
                    <a:pt x="0" y="44011"/>
                  </a:cubicBezTo>
                  <a:lnTo>
                    <a:pt x="0" y="42618"/>
                  </a:lnTo>
                  <a:lnTo>
                    <a:pt x="17995" y="0"/>
                  </a:lnTo>
                  <a:lnTo>
                    <a:pt x="148614" y="107398"/>
                  </a:lnTo>
                  <a:lnTo>
                    <a:pt x="123037" y="124759"/>
                  </a:lnTo>
                  <a:cubicBezTo>
                    <a:pt x="112421" y="129283"/>
                    <a:pt x="100935" y="131720"/>
                    <a:pt x="89101" y="131720"/>
                  </a:cubicBezTo>
                  <a:cubicBezTo>
                    <a:pt x="65435" y="131720"/>
                    <a:pt x="43159" y="123366"/>
                    <a:pt x="26453" y="10666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937A52BD-510B-4C03-9C16-CD9D234ABB7D}"/>
                </a:ext>
              </a:extLst>
            </p:cNvPr>
            <p:cNvSpPr/>
            <p:nvPr/>
          </p:nvSpPr>
          <p:spPr>
            <a:xfrm rot="8716295">
              <a:off x="5043572" y="4624951"/>
              <a:ext cx="150722" cy="101024"/>
            </a:xfrm>
            <a:custGeom>
              <a:avLst/>
              <a:gdLst>
                <a:gd name="connsiteX0" fmla="*/ 0 w 150722"/>
                <a:gd name="connsiteY0" fmla="*/ 25991 h 101024"/>
                <a:gd name="connsiteX1" fmla="*/ 28034 w 150722"/>
                <a:gd name="connsiteY1" fmla="*/ 6961 h 101024"/>
                <a:gd name="connsiteX2" fmla="*/ 61968 w 150722"/>
                <a:gd name="connsiteY2" fmla="*/ 0 h 101024"/>
                <a:gd name="connsiteX3" fmla="*/ 124618 w 150722"/>
                <a:gd name="connsiteY3" fmla="*/ 26453 h 101024"/>
                <a:gd name="connsiteX4" fmla="*/ 150722 w 150722"/>
                <a:gd name="connsiteY4" fmla="*/ 88580 h 101024"/>
                <a:gd name="connsiteX5" fmla="*/ 148306 w 150722"/>
                <a:gd name="connsiteY5" fmla="*/ 101024 h 10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0722" h="101024">
                  <a:moveTo>
                    <a:pt x="0" y="25991"/>
                  </a:moveTo>
                  <a:lnTo>
                    <a:pt x="28034" y="6961"/>
                  </a:lnTo>
                  <a:cubicBezTo>
                    <a:pt x="38649" y="2437"/>
                    <a:pt x="50135" y="0"/>
                    <a:pt x="61968" y="0"/>
                  </a:cubicBezTo>
                  <a:cubicBezTo>
                    <a:pt x="85637" y="0"/>
                    <a:pt x="107912" y="9746"/>
                    <a:pt x="124618" y="26453"/>
                  </a:cubicBezTo>
                  <a:cubicBezTo>
                    <a:pt x="142021" y="43159"/>
                    <a:pt x="150722" y="65782"/>
                    <a:pt x="150722" y="88580"/>
                  </a:cubicBezTo>
                  <a:lnTo>
                    <a:pt x="148306" y="1010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C719F00E-5A8E-45CC-8F56-B823EE2F6BB7}"/>
                </a:ext>
              </a:extLst>
            </p:cNvPr>
            <p:cNvSpPr/>
            <p:nvPr/>
          </p:nvSpPr>
          <p:spPr>
            <a:xfrm rot="8716295">
              <a:off x="8546573" y="4108588"/>
              <a:ext cx="215176" cy="313567"/>
            </a:xfrm>
            <a:custGeom>
              <a:avLst/>
              <a:gdLst>
                <a:gd name="connsiteX0" fmla="*/ 122760 w 215176"/>
                <a:gd name="connsiteY0" fmla="*/ 266809 h 313567"/>
                <a:gd name="connsiteX1" fmla="*/ 122761 w 215176"/>
                <a:gd name="connsiteY1" fmla="*/ 105519 h 313567"/>
                <a:gd name="connsiteX2" fmla="*/ 122761 w 215176"/>
                <a:gd name="connsiteY2" fmla="*/ 99312 h 313567"/>
                <a:gd name="connsiteX3" fmla="*/ 91726 w 215176"/>
                <a:gd name="connsiteY3" fmla="*/ 75863 h 313567"/>
                <a:gd name="connsiteX4" fmla="*/ 0 w 215176"/>
                <a:gd name="connsiteY4" fmla="*/ 75863 h 313567"/>
                <a:gd name="connsiteX5" fmla="*/ 0 w 215176"/>
                <a:gd name="connsiteY5" fmla="*/ 0 h 313567"/>
                <a:gd name="connsiteX6" fmla="*/ 128968 w 215176"/>
                <a:gd name="connsiteY6" fmla="*/ 0 h 313567"/>
                <a:gd name="connsiteX7" fmla="*/ 215176 w 215176"/>
                <a:gd name="connsiteY7" fmla="*/ 75863 h 313567"/>
                <a:gd name="connsiteX8" fmla="*/ 215176 w 215176"/>
                <a:gd name="connsiteY8" fmla="*/ 313567 h 31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5176" h="313567">
                  <a:moveTo>
                    <a:pt x="122760" y="26680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0"/>
                  </a:lnTo>
                  <a:lnTo>
                    <a:pt x="128968" y="0"/>
                  </a:lnTo>
                  <a:cubicBezTo>
                    <a:pt x="184831" y="0"/>
                    <a:pt x="215177" y="24139"/>
                    <a:pt x="215176" y="75863"/>
                  </a:cubicBezTo>
                  <a:lnTo>
                    <a:pt x="215176" y="3135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25DD9CA0-AFE3-4B5F-B15D-E7FBAF734592}"/>
                </a:ext>
              </a:extLst>
            </p:cNvPr>
            <p:cNvSpPr/>
            <p:nvPr/>
          </p:nvSpPr>
          <p:spPr>
            <a:xfrm rot="8716295">
              <a:off x="8681306" y="4151041"/>
              <a:ext cx="394490" cy="343138"/>
            </a:xfrm>
            <a:custGeom>
              <a:avLst/>
              <a:gdLst>
                <a:gd name="connsiteX0" fmla="*/ 77932 w 394490"/>
                <a:gd name="connsiteY0" fmla="*/ 311621 h 343138"/>
                <a:gd name="connsiteX1" fmla="*/ 77932 w 394490"/>
                <a:gd name="connsiteY1" fmla="*/ 69053 h 343138"/>
                <a:gd name="connsiteX2" fmla="*/ 0 w 394490"/>
                <a:gd name="connsiteY2" fmla="*/ 69054 h 343138"/>
                <a:gd name="connsiteX3" fmla="*/ 0 w 394490"/>
                <a:gd name="connsiteY3" fmla="*/ 2156 h 343138"/>
                <a:gd name="connsiteX4" fmla="*/ 158623 w 394490"/>
                <a:gd name="connsiteY4" fmla="*/ 2157 h 343138"/>
                <a:gd name="connsiteX5" fmla="*/ 158624 w 394490"/>
                <a:gd name="connsiteY5" fmla="*/ 113882 h 343138"/>
                <a:gd name="connsiteX6" fmla="*/ 160692 w 394490"/>
                <a:gd name="connsiteY6" fmla="*/ 113882 h 343138"/>
                <a:gd name="connsiteX7" fmla="*/ 233107 w 394490"/>
                <a:gd name="connsiteY7" fmla="*/ 9053 h 343138"/>
                <a:gd name="connsiteX8" fmla="*/ 280694 w 394490"/>
                <a:gd name="connsiteY8" fmla="*/ 87 h 343138"/>
                <a:gd name="connsiteX9" fmla="*/ 394490 w 394490"/>
                <a:gd name="connsiteY9" fmla="*/ 133882 h 343138"/>
                <a:gd name="connsiteX10" fmla="*/ 394490 w 394490"/>
                <a:gd name="connsiteY10" fmla="*/ 142849 h 343138"/>
                <a:gd name="connsiteX11" fmla="*/ 300694 w 394490"/>
                <a:gd name="connsiteY11" fmla="*/ 148365 h 343138"/>
                <a:gd name="connsiteX12" fmla="*/ 300694 w 394490"/>
                <a:gd name="connsiteY12" fmla="*/ 123538 h 343138"/>
                <a:gd name="connsiteX13" fmla="*/ 249660 w 394490"/>
                <a:gd name="connsiteY13" fmla="*/ 60778 h 343138"/>
                <a:gd name="connsiteX14" fmla="*/ 168969 w 394490"/>
                <a:gd name="connsiteY14" fmla="*/ 193194 h 343138"/>
                <a:gd name="connsiteX15" fmla="*/ 168969 w 394490"/>
                <a:gd name="connsiteY15" fmla="*/ 323541 h 343138"/>
                <a:gd name="connsiteX16" fmla="*/ 140226 w 394490"/>
                <a:gd name="connsiteY16" fmla="*/ 343138 h 343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4490" h="343138">
                  <a:moveTo>
                    <a:pt x="77932" y="311621"/>
                  </a:moveTo>
                  <a:lnTo>
                    <a:pt x="77932" y="69053"/>
                  </a:lnTo>
                  <a:lnTo>
                    <a:pt x="0" y="69054"/>
                  </a:lnTo>
                  <a:lnTo>
                    <a:pt x="0" y="2156"/>
                  </a:lnTo>
                  <a:lnTo>
                    <a:pt x="158623" y="2157"/>
                  </a:lnTo>
                  <a:lnTo>
                    <a:pt x="158624" y="113882"/>
                  </a:lnTo>
                  <a:lnTo>
                    <a:pt x="160692" y="113882"/>
                  </a:lnTo>
                  <a:cubicBezTo>
                    <a:pt x="182762" y="48364"/>
                    <a:pt x="200003" y="22846"/>
                    <a:pt x="233107" y="9053"/>
                  </a:cubicBezTo>
                  <a:cubicBezTo>
                    <a:pt x="248280" y="2846"/>
                    <a:pt x="264142" y="-602"/>
                    <a:pt x="280694" y="87"/>
                  </a:cubicBezTo>
                  <a:cubicBezTo>
                    <a:pt x="351730" y="-1293"/>
                    <a:pt x="394490" y="48364"/>
                    <a:pt x="394490" y="133882"/>
                  </a:cubicBezTo>
                  <a:lnTo>
                    <a:pt x="394490" y="142849"/>
                  </a:lnTo>
                  <a:lnTo>
                    <a:pt x="300694" y="148365"/>
                  </a:lnTo>
                  <a:lnTo>
                    <a:pt x="300694" y="123538"/>
                  </a:lnTo>
                  <a:cubicBezTo>
                    <a:pt x="300695" y="86296"/>
                    <a:pt x="279316" y="60778"/>
                    <a:pt x="249660" y="60778"/>
                  </a:cubicBezTo>
                  <a:cubicBezTo>
                    <a:pt x="205521" y="60778"/>
                    <a:pt x="168968" y="119399"/>
                    <a:pt x="168969" y="193194"/>
                  </a:cubicBezTo>
                  <a:lnTo>
                    <a:pt x="168969" y="323541"/>
                  </a:lnTo>
                  <a:lnTo>
                    <a:pt x="140226" y="3431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24323A32-7D51-45A5-8D91-2223C2D14BC5}"/>
                </a:ext>
              </a:extLst>
            </p:cNvPr>
            <p:cNvSpPr/>
            <p:nvPr/>
          </p:nvSpPr>
          <p:spPr>
            <a:xfrm rot="8716295">
              <a:off x="8646997" y="4143256"/>
              <a:ext cx="121064" cy="89924"/>
            </a:xfrm>
            <a:custGeom>
              <a:avLst/>
              <a:gdLst>
                <a:gd name="connsiteX0" fmla="*/ 0 w 121064"/>
                <a:gd name="connsiteY0" fmla="*/ 39250 h 89924"/>
                <a:gd name="connsiteX1" fmla="*/ 32528 w 121064"/>
                <a:gd name="connsiteY1" fmla="*/ 13621 h 89924"/>
                <a:gd name="connsiteX2" fmla="*/ 78305 w 121064"/>
                <a:gd name="connsiteY2" fmla="*/ 0 h 89924"/>
                <a:gd name="connsiteX3" fmla="*/ 121064 w 121064"/>
                <a:gd name="connsiteY3" fmla="*/ 51035 h 89924"/>
                <a:gd name="connsiteX4" fmla="*/ 108563 w 121064"/>
                <a:gd name="connsiteY4" fmla="*/ 83363 h 89924"/>
                <a:gd name="connsiteX5" fmla="*/ 100159 w 121064"/>
                <a:gd name="connsiteY5" fmla="*/ 89924 h 89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1064" h="89924">
                  <a:moveTo>
                    <a:pt x="0" y="39250"/>
                  </a:moveTo>
                  <a:lnTo>
                    <a:pt x="32528" y="13621"/>
                  </a:lnTo>
                  <a:cubicBezTo>
                    <a:pt x="46580" y="6380"/>
                    <a:pt x="62098" y="1724"/>
                    <a:pt x="78305" y="0"/>
                  </a:cubicBezTo>
                  <a:cubicBezTo>
                    <a:pt x="111409" y="0"/>
                    <a:pt x="121065" y="28966"/>
                    <a:pt x="121064" y="51035"/>
                  </a:cubicBezTo>
                  <a:cubicBezTo>
                    <a:pt x="120030" y="63105"/>
                    <a:pt x="115546" y="74139"/>
                    <a:pt x="108563" y="83363"/>
                  </a:cubicBezTo>
                  <a:lnTo>
                    <a:pt x="100159" y="899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CF24F6A6-E56B-4B69-A6B4-F595B4AECDB5}"/>
                </a:ext>
              </a:extLst>
            </p:cNvPr>
            <p:cNvSpPr/>
            <p:nvPr/>
          </p:nvSpPr>
          <p:spPr>
            <a:xfrm rot="8716295">
              <a:off x="8360649" y="4203945"/>
              <a:ext cx="88105" cy="88278"/>
            </a:xfrm>
            <a:custGeom>
              <a:avLst/>
              <a:gdLst>
                <a:gd name="connsiteX0" fmla="*/ 11702 w 88105"/>
                <a:gd name="connsiteY0" fmla="*/ 72544 h 88278"/>
                <a:gd name="connsiteX1" fmla="*/ 0 w 88105"/>
                <a:gd name="connsiteY1" fmla="*/ 44829 h 88278"/>
                <a:gd name="connsiteX2" fmla="*/ 0 w 88105"/>
                <a:gd name="connsiteY2" fmla="*/ 44139 h 88278"/>
                <a:gd name="connsiteX3" fmla="*/ 13104 w 88105"/>
                <a:gd name="connsiteY3" fmla="*/ 13104 h 88278"/>
                <a:gd name="connsiteX4" fmla="*/ 44139 w 88105"/>
                <a:gd name="connsiteY4" fmla="*/ 0 h 88278"/>
                <a:gd name="connsiteX5" fmla="*/ 75175 w 88105"/>
                <a:gd name="connsiteY5" fmla="*/ 13104 h 88278"/>
                <a:gd name="connsiteX6" fmla="*/ 75175 w 88105"/>
                <a:gd name="connsiteY6" fmla="*/ 75175 h 88278"/>
                <a:gd name="connsiteX7" fmla="*/ 44139 w 88105"/>
                <a:gd name="connsiteY7" fmla="*/ 88278 h 88278"/>
                <a:gd name="connsiteX8" fmla="*/ 37752 w 88105"/>
                <a:gd name="connsiteY8" fmla="*/ 85724 h 88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8105" h="88278">
                  <a:moveTo>
                    <a:pt x="11702" y="72544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cubicBezTo>
                    <a:pt x="55864" y="0"/>
                    <a:pt x="66899" y="4828"/>
                    <a:pt x="75175" y="13104"/>
                  </a:cubicBezTo>
                  <a:cubicBezTo>
                    <a:pt x="92416" y="29657"/>
                    <a:pt x="92416" y="57933"/>
                    <a:pt x="75175" y="75175"/>
                  </a:cubicBezTo>
                  <a:cubicBezTo>
                    <a:pt x="66899" y="83451"/>
                    <a:pt x="55864" y="88278"/>
                    <a:pt x="44139" y="88278"/>
                  </a:cubicBezTo>
                  <a:lnTo>
                    <a:pt x="37752" y="857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823BDB41-A1E6-41AA-847A-64C2D14D0B20}"/>
                </a:ext>
              </a:extLst>
            </p:cNvPr>
            <p:cNvSpPr/>
            <p:nvPr/>
          </p:nvSpPr>
          <p:spPr>
            <a:xfrm rot="8716295">
              <a:off x="8270439" y="4208809"/>
              <a:ext cx="54467" cy="27557"/>
            </a:xfrm>
            <a:custGeom>
              <a:avLst/>
              <a:gdLst>
                <a:gd name="connsiteX0" fmla="*/ 0 w 54467"/>
                <a:gd name="connsiteY0" fmla="*/ 0 h 27557"/>
                <a:gd name="connsiteX1" fmla="*/ 54467 w 54467"/>
                <a:gd name="connsiteY1" fmla="*/ 0 h 27557"/>
                <a:gd name="connsiteX2" fmla="*/ 54467 w 54467"/>
                <a:gd name="connsiteY2" fmla="*/ 27557 h 27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467" h="27557">
                  <a:moveTo>
                    <a:pt x="0" y="0"/>
                  </a:moveTo>
                  <a:lnTo>
                    <a:pt x="54467" y="0"/>
                  </a:lnTo>
                  <a:lnTo>
                    <a:pt x="54467" y="2755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C4D7300C-5B1D-4389-9C36-32D5B08AA75A}"/>
                </a:ext>
              </a:extLst>
            </p:cNvPr>
            <p:cNvSpPr/>
            <p:nvPr/>
          </p:nvSpPr>
          <p:spPr>
            <a:xfrm rot="8716295">
              <a:off x="8503577" y="4269431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A57703A1-63B4-443D-A8D6-A43C23AB9B28}"/>
                </a:ext>
              </a:extLst>
            </p:cNvPr>
            <p:cNvSpPr/>
            <p:nvPr/>
          </p:nvSpPr>
          <p:spPr>
            <a:xfrm rot="8716295">
              <a:off x="8994983" y="4078441"/>
              <a:ext cx="137688" cy="132478"/>
            </a:xfrm>
            <a:custGeom>
              <a:avLst/>
              <a:gdLst>
                <a:gd name="connsiteX0" fmla="*/ 46653 w 137688"/>
                <a:gd name="connsiteY0" fmla="*/ 86420 h 132478"/>
                <a:gd name="connsiteX1" fmla="*/ 46653 w 137688"/>
                <a:gd name="connsiteY1" fmla="*/ 24828 h 132478"/>
                <a:gd name="connsiteX2" fmla="*/ 0 w 137688"/>
                <a:gd name="connsiteY2" fmla="*/ 24828 h 132478"/>
                <a:gd name="connsiteX3" fmla="*/ 15342 w 137688"/>
                <a:gd name="connsiteY3" fmla="*/ 2695 h 132478"/>
                <a:gd name="connsiteX4" fmla="*/ 137688 w 137688"/>
                <a:gd name="connsiteY4" fmla="*/ 0 h 132478"/>
                <a:gd name="connsiteX5" fmla="*/ 137688 w 137688"/>
                <a:gd name="connsiteY5" fmla="*/ 132478 h 132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7688" h="132478">
                  <a:moveTo>
                    <a:pt x="46653" y="86420"/>
                  </a:moveTo>
                  <a:lnTo>
                    <a:pt x="46653" y="24828"/>
                  </a:lnTo>
                  <a:lnTo>
                    <a:pt x="0" y="24828"/>
                  </a:lnTo>
                  <a:lnTo>
                    <a:pt x="15342" y="2695"/>
                  </a:lnTo>
                  <a:lnTo>
                    <a:pt x="137688" y="0"/>
                  </a:lnTo>
                  <a:lnTo>
                    <a:pt x="137688" y="13247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46727CBF-18BC-4939-8F2B-40813E13A972}"/>
                </a:ext>
              </a:extLst>
            </p:cNvPr>
            <p:cNvSpPr/>
            <p:nvPr/>
          </p:nvSpPr>
          <p:spPr>
            <a:xfrm rot="7484129">
              <a:off x="9136824" y="4228704"/>
              <a:ext cx="8392" cy="13068"/>
            </a:xfrm>
            <a:custGeom>
              <a:avLst/>
              <a:gdLst>
                <a:gd name="connsiteX0" fmla="*/ 3897 w 8392"/>
                <a:gd name="connsiteY0" fmla="*/ 13068 h 13068"/>
                <a:gd name="connsiteX1" fmla="*/ 0 w 8392"/>
                <a:gd name="connsiteY1" fmla="*/ 5818 h 13068"/>
                <a:gd name="connsiteX2" fmla="*/ 8392 w 8392"/>
                <a:gd name="connsiteY2" fmla="*/ 0 h 13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2" h="13068">
                  <a:moveTo>
                    <a:pt x="3897" y="13068"/>
                  </a:moveTo>
                  <a:lnTo>
                    <a:pt x="0" y="5818"/>
                  </a:lnTo>
                  <a:lnTo>
                    <a:pt x="839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D9037FA7-ED1D-4D57-8F2C-1298751D415A}"/>
                </a:ext>
              </a:extLst>
            </p:cNvPr>
            <p:cNvSpPr/>
            <p:nvPr/>
          </p:nvSpPr>
          <p:spPr>
            <a:xfrm rot="8716295">
              <a:off x="8839311" y="5117279"/>
              <a:ext cx="37096" cy="40385"/>
            </a:xfrm>
            <a:custGeom>
              <a:avLst/>
              <a:gdLst>
                <a:gd name="connsiteX0" fmla="*/ 37095 w 37096"/>
                <a:gd name="connsiteY0" fmla="*/ 25713 h 40385"/>
                <a:gd name="connsiteX1" fmla="*/ 0 w 37096"/>
                <a:gd name="connsiteY1" fmla="*/ 0 h 40385"/>
                <a:gd name="connsiteX2" fmla="*/ 0 w 37096"/>
                <a:gd name="connsiteY2" fmla="*/ 0 h 40385"/>
                <a:gd name="connsiteX3" fmla="*/ 37096 w 37096"/>
                <a:gd name="connsiteY3" fmla="*/ 25713 h 40385"/>
                <a:gd name="connsiteX4" fmla="*/ 0 w 37096"/>
                <a:gd name="connsiteY4" fmla="*/ 40385 h 40385"/>
                <a:gd name="connsiteX5" fmla="*/ 0 w 37096"/>
                <a:gd name="connsiteY5" fmla="*/ 28525 h 40385"/>
                <a:gd name="connsiteX6" fmla="*/ 9740 w 37096"/>
                <a:gd name="connsiteY6" fmla="*/ 36533 h 40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096" h="40385">
                  <a:moveTo>
                    <a:pt x="37095" y="25713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37096" y="25713"/>
                  </a:lnTo>
                  <a:close/>
                  <a:moveTo>
                    <a:pt x="0" y="40385"/>
                  </a:moveTo>
                  <a:lnTo>
                    <a:pt x="0" y="28525"/>
                  </a:lnTo>
                  <a:lnTo>
                    <a:pt x="9740" y="365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7762AEC2-4809-4723-B4B8-AD709205FF29}"/>
                </a:ext>
              </a:extLst>
            </p:cNvPr>
            <p:cNvSpPr/>
            <p:nvPr/>
          </p:nvSpPr>
          <p:spPr>
            <a:xfrm rot="8716295">
              <a:off x="8967255" y="4971567"/>
              <a:ext cx="231347" cy="158649"/>
            </a:xfrm>
            <a:custGeom>
              <a:avLst/>
              <a:gdLst>
                <a:gd name="connsiteX0" fmla="*/ 8965 w 231347"/>
                <a:gd name="connsiteY0" fmla="*/ 158649 h 158649"/>
                <a:gd name="connsiteX1" fmla="*/ 0 w 231347"/>
                <a:gd name="connsiteY1" fmla="*/ 146235 h 158649"/>
                <a:gd name="connsiteX2" fmla="*/ 155416 w 231347"/>
                <a:gd name="connsiteY2" fmla="*/ 0 h 158649"/>
                <a:gd name="connsiteX3" fmla="*/ 231347 w 231347"/>
                <a:gd name="connsiteY3" fmla="*/ 62433 h 158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347" h="158649">
                  <a:moveTo>
                    <a:pt x="8965" y="158649"/>
                  </a:moveTo>
                  <a:lnTo>
                    <a:pt x="0" y="146235"/>
                  </a:lnTo>
                  <a:lnTo>
                    <a:pt x="155416" y="0"/>
                  </a:lnTo>
                  <a:lnTo>
                    <a:pt x="231347" y="624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45E00815-1C71-4483-8D7E-4D817A5C21EF}"/>
                </a:ext>
              </a:extLst>
            </p:cNvPr>
            <p:cNvSpPr/>
            <p:nvPr/>
          </p:nvSpPr>
          <p:spPr>
            <a:xfrm rot="8716295">
              <a:off x="8555937" y="4871188"/>
              <a:ext cx="249519" cy="296463"/>
            </a:xfrm>
            <a:custGeom>
              <a:avLst/>
              <a:gdLst>
                <a:gd name="connsiteX0" fmla="*/ 249516 w 249519"/>
                <a:gd name="connsiteY0" fmla="*/ 83734 h 296463"/>
                <a:gd name="connsiteX1" fmla="*/ 128718 w 249519"/>
                <a:gd name="connsiteY1" fmla="*/ 0 h 296463"/>
                <a:gd name="connsiteX2" fmla="*/ 128719 w 249519"/>
                <a:gd name="connsiteY2" fmla="*/ 0 h 296463"/>
                <a:gd name="connsiteX3" fmla="*/ 249519 w 249519"/>
                <a:gd name="connsiteY3" fmla="*/ 83734 h 296463"/>
                <a:gd name="connsiteX4" fmla="*/ 137293 w 249519"/>
                <a:gd name="connsiteY4" fmla="*/ 296463 h 296463"/>
                <a:gd name="connsiteX5" fmla="*/ 72418 w 249519"/>
                <a:gd name="connsiteY5" fmla="*/ 175766 h 296463"/>
                <a:gd name="connsiteX6" fmla="*/ 105610 w 249519"/>
                <a:gd name="connsiteY6" fmla="*/ 83734 h 296463"/>
                <a:gd name="connsiteX7" fmla="*/ 0 w 249519"/>
                <a:gd name="connsiteY7" fmla="*/ 83734 h 296463"/>
                <a:gd name="connsiteX8" fmla="*/ 0 w 249519"/>
                <a:gd name="connsiteY8" fmla="*/ 0 h 296463"/>
                <a:gd name="connsiteX9" fmla="*/ 78196 w 249519"/>
                <a:gd name="connsiteY9" fmla="*/ 0 h 296463"/>
                <a:gd name="connsiteX10" fmla="*/ 203756 w 249519"/>
                <a:gd name="connsiteY10" fmla="*/ 103239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519" h="296463">
                  <a:moveTo>
                    <a:pt x="249516" y="83734"/>
                  </a:moveTo>
                  <a:lnTo>
                    <a:pt x="128718" y="0"/>
                  </a:lnTo>
                  <a:lnTo>
                    <a:pt x="128719" y="0"/>
                  </a:lnTo>
                  <a:lnTo>
                    <a:pt x="249519" y="83734"/>
                  </a:lnTo>
                  <a:close/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78196" y="0"/>
                  </a:lnTo>
                  <a:lnTo>
                    <a:pt x="203756" y="1032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58E38A6F-A61D-44CF-B900-AC3229C6053D}"/>
                </a:ext>
              </a:extLst>
            </p:cNvPr>
            <p:cNvSpPr/>
            <p:nvPr/>
          </p:nvSpPr>
          <p:spPr>
            <a:xfrm rot="8716295">
              <a:off x="9124182" y="4842281"/>
              <a:ext cx="37059" cy="48941"/>
            </a:xfrm>
            <a:custGeom>
              <a:avLst/>
              <a:gdLst>
                <a:gd name="connsiteX0" fmla="*/ 0 w 37059"/>
                <a:gd name="connsiteY0" fmla="*/ 48941 h 48941"/>
                <a:gd name="connsiteX1" fmla="*/ 33925 w 37059"/>
                <a:gd name="connsiteY1" fmla="*/ 0 h 48941"/>
                <a:gd name="connsiteX2" fmla="*/ 37059 w 37059"/>
                <a:gd name="connsiteY2" fmla="*/ 7460 h 48941"/>
                <a:gd name="connsiteX3" fmla="*/ 24128 w 37059"/>
                <a:gd name="connsiteY3" fmla="*/ 38754 h 48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059" h="48941">
                  <a:moveTo>
                    <a:pt x="0" y="48941"/>
                  </a:moveTo>
                  <a:lnTo>
                    <a:pt x="33925" y="0"/>
                  </a:lnTo>
                  <a:lnTo>
                    <a:pt x="37059" y="7460"/>
                  </a:lnTo>
                  <a:cubicBezTo>
                    <a:pt x="37059" y="18753"/>
                    <a:pt x="32749" y="30133"/>
                    <a:pt x="24128" y="3875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0438BEFE-52E9-475C-AF5B-D887CDB606B3}"/>
                </a:ext>
              </a:extLst>
            </p:cNvPr>
            <p:cNvSpPr/>
            <p:nvPr/>
          </p:nvSpPr>
          <p:spPr>
            <a:xfrm rot="8716295">
              <a:off x="8946271" y="4530250"/>
              <a:ext cx="235267" cy="296463"/>
            </a:xfrm>
            <a:custGeom>
              <a:avLst/>
              <a:gdLst>
                <a:gd name="connsiteX0" fmla="*/ 64028 w 235267"/>
                <a:gd name="connsiteY0" fmla="*/ 296463 h 296463"/>
                <a:gd name="connsiteX1" fmla="*/ 0 w 235267"/>
                <a:gd name="connsiteY1" fmla="*/ 177341 h 296463"/>
                <a:gd name="connsiteX2" fmla="*/ 122928 w 235267"/>
                <a:gd name="connsiteY2" fmla="*/ 0 h 296463"/>
                <a:gd name="connsiteX3" fmla="*/ 235266 w 235267"/>
                <a:gd name="connsiteY3" fmla="*/ 0 h 296463"/>
                <a:gd name="connsiteX4" fmla="*/ 235267 w 235267"/>
                <a:gd name="connsiteY4" fmla="*/ 83734 h 296463"/>
                <a:gd name="connsiteX5" fmla="*/ 137200 w 235267"/>
                <a:gd name="connsiteY5" fmla="*/ 83735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5267" h="296463">
                  <a:moveTo>
                    <a:pt x="64028" y="296463"/>
                  </a:moveTo>
                  <a:lnTo>
                    <a:pt x="0" y="177341"/>
                  </a:lnTo>
                  <a:lnTo>
                    <a:pt x="122928" y="0"/>
                  </a:lnTo>
                  <a:lnTo>
                    <a:pt x="235266" y="0"/>
                  </a:lnTo>
                  <a:lnTo>
                    <a:pt x="235267" y="83734"/>
                  </a:lnTo>
                  <a:lnTo>
                    <a:pt x="137200" y="837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D3F9B5D8-06D4-4B43-BC6C-7C19EABDD1C4}"/>
                </a:ext>
              </a:extLst>
            </p:cNvPr>
            <p:cNvSpPr/>
            <p:nvPr/>
          </p:nvSpPr>
          <p:spPr>
            <a:xfrm rot="8716295">
              <a:off x="8906661" y="466090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71905357-F1DF-411B-B59B-0F032583384E}"/>
                </a:ext>
              </a:extLst>
            </p:cNvPr>
            <p:cNvSpPr/>
            <p:nvPr/>
          </p:nvSpPr>
          <p:spPr>
            <a:xfrm rot="13089394">
              <a:off x="7765620" y="4253518"/>
              <a:ext cx="72828" cy="75543"/>
            </a:xfrm>
            <a:custGeom>
              <a:avLst/>
              <a:gdLst>
                <a:gd name="connsiteX0" fmla="*/ 0 w 72828"/>
                <a:gd name="connsiteY0" fmla="*/ 75543 h 75543"/>
                <a:gd name="connsiteX1" fmla="*/ 0 w 72828"/>
                <a:gd name="connsiteY1" fmla="*/ 37783 h 75543"/>
                <a:gd name="connsiteX2" fmla="*/ 72828 w 72828"/>
                <a:gd name="connsiteY2" fmla="*/ 0 h 7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828" h="75543">
                  <a:moveTo>
                    <a:pt x="0" y="75543"/>
                  </a:moveTo>
                  <a:lnTo>
                    <a:pt x="0" y="37783"/>
                  </a:lnTo>
                  <a:lnTo>
                    <a:pt x="7282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9CC70003-388A-4ED2-9C78-B5584C3B43A2}"/>
                </a:ext>
              </a:extLst>
            </p:cNvPr>
            <p:cNvSpPr/>
            <p:nvPr/>
          </p:nvSpPr>
          <p:spPr>
            <a:xfrm rot="8716295">
              <a:off x="7196646" y="4735107"/>
              <a:ext cx="215177" cy="351729"/>
            </a:xfrm>
            <a:custGeom>
              <a:avLst/>
              <a:gdLst>
                <a:gd name="connsiteX0" fmla="*/ 122761 w 215177"/>
                <a:gd name="connsiteY0" fmla="*/ 351729 h 351729"/>
                <a:gd name="connsiteX1" fmla="*/ 122761 w 215177"/>
                <a:gd name="connsiteY1" fmla="*/ 105519 h 351729"/>
                <a:gd name="connsiteX2" fmla="*/ 122761 w 215177"/>
                <a:gd name="connsiteY2" fmla="*/ 99312 h 351729"/>
                <a:gd name="connsiteX3" fmla="*/ 91726 w 215177"/>
                <a:gd name="connsiteY3" fmla="*/ 75863 h 351729"/>
                <a:gd name="connsiteX4" fmla="*/ 0 w 215177"/>
                <a:gd name="connsiteY4" fmla="*/ 75863 h 351729"/>
                <a:gd name="connsiteX5" fmla="*/ 0 w 215177"/>
                <a:gd name="connsiteY5" fmla="*/ 0 h 351729"/>
                <a:gd name="connsiteX6" fmla="*/ 20033 w 215177"/>
                <a:gd name="connsiteY6" fmla="*/ 0 h 351729"/>
                <a:gd name="connsiteX7" fmla="*/ 215177 w 215177"/>
                <a:gd name="connsiteY7" fmla="*/ 160452 h 351729"/>
                <a:gd name="connsiteX8" fmla="*/ 215176 w 215177"/>
                <a:gd name="connsiteY8" fmla="*/ 315177 h 351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5177" h="351729">
                  <a:moveTo>
                    <a:pt x="122761" y="351729"/>
                  </a:move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5"/>
                    <a:pt x="91726" y="75863"/>
                  </a:cubicBezTo>
                  <a:lnTo>
                    <a:pt x="0" y="75863"/>
                  </a:lnTo>
                  <a:lnTo>
                    <a:pt x="0" y="0"/>
                  </a:lnTo>
                  <a:lnTo>
                    <a:pt x="20033" y="0"/>
                  </a:lnTo>
                  <a:lnTo>
                    <a:pt x="215177" y="160452"/>
                  </a:lnTo>
                  <a:lnTo>
                    <a:pt x="215176" y="3151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E46A29A2-07B5-4D69-A57A-B7E84F78585B}"/>
                </a:ext>
              </a:extLst>
            </p:cNvPr>
            <p:cNvSpPr/>
            <p:nvPr/>
          </p:nvSpPr>
          <p:spPr>
            <a:xfrm rot="8716295">
              <a:off x="7519762" y="4714342"/>
              <a:ext cx="185667" cy="383455"/>
            </a:xfrm>
            <a:custGeom>
              <a:avLst/>
              <a:gdLst>
                <a:gd name="connsiteX0" fmla="*/ 77932 w 185667"/>
                <a:gd name="connsiteY0" fmla="*/ 383455 h 383455"/>
                <a:gd name="connsiteX1" fmla="*/ 77932 w 185667"/>
                <a:gd name="connsiteY1" fmla="*/ 66898 h 383455"/>
                <a:gd name="connsiteX2" fmla="*/ 0 w 185667"/>
                <a:gd name="connsiteY2" fmla="*/ 66898 h 383455"/>
                <a:gd name="connsiteX3" fmla="*/ 0 w 185667"/>
                <a:gd name="connsiteY3" fmla="*/ 0 h 383455"/>
                <a:gd name="connsiteX4" fmla="*/ 33456 w 185667"/>
                <a:gd name="connsiteY4" fmla="*/ 0 h 383455"/>
                <a:gd name="connsiteX5" fmla="*/ 158623 w 185667"/>
                <a:gd name="connsiteY5" fmla="*/ 102916 h 383455"/>
                <a:gd name="connsiteX6" fmla="*/ 158623 w 185667"/>
                <a:gd name="connsiteY6" fmla="*/ 111726 h 383455"/>
                <a:gd name="connsiteX7" fmla="*/ 160692 w 185667"/>
                <a:gd name="connsiteY7" fmla="*/ 111726 h 383455"/>
                <a:gd name="connsiteX8" fmla="*/ 162749 w 185667"/>
                <a:gd name="connsiteY8" fmla="*/ 106308 h 383455"/>
                <a:gd name="connsiteX9" fmla="*/ 185667 w 185667"/>
                <a:gd name="connsiteY9" fmla="*/ 125152 h 383455"/>
                <a:gd name="connsiteX10" fmla="*/ 168969 w 185667"/>
                <a:gd name="connsiteY10" fmla="*/ 191038 h 383455"/>
                <a:gd name="connsiteX11" fmla="*/ 168969 w 185667"/>
                <a:gd name="connsiteY11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5667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33456" y="0"/>
                  </a:lnTo>
                  <a:lnTo>
                    <a:pt x="158623" y="102916"/>
                  </a:lnTo>
                  <a:lnTo>
                    <a:pt x="158623" y="111726"/>
                  </a:lnTo>
                  <a:lnTo>
                    <a:pt x="160692" y="111726"/>
                  </a:lnTo>
                  <a:lnTo>
                    <a:pt x="162749" y="106308"/>
                  </a:lnTo>
                  <a:lnTo>
                    <a:pt x="185667" y="125152"/>
                  </a:lnTo>
                  <a:lnTo>
                    <a:pt x="168969" y="191038"/>
                  </a:ln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BB2B590A-BBED-49DF-BE0A-D7CDB8C7EA53}"/>
                </a:ext>
              </a:extLst>
            </p:cNvPr>
            <p:cNvSpPr/>
            <p:nvPr/>
          </p:nvSpPr>
          <p:spPr>
            <a:xfrm rot="8716295">
              <a:off x="7265319" y="4648384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7838B053-EE23-465E-B80C-0FDB953D8E9F}"/>
                </a:ext>
              </a:extLst>
            </p:cNvPr>
            <p:cNvSpPr/>
            <p:nvPr/>
          </p:nvSpPr>
          <p:spPr>
            <a:xfrm rot="8716295">
              <a:off x="7028032" y="486872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46F2EA92-FAA0-4CBD-8D20-0B7AF9B36906}"/>
                </a:ext>
              </a:extLst>
            </p:cNvPr>
            <p:cNvSpPr/>
            <p:nvPr/>
          </p:nvSpPr>
          <p:spPr>
            <a:xfrm rot="8716295">
              <a:off x="6838986" y="455289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C33E7506-2F8D-4DC7-82BD-DA6D9CD10C11}"/>
                </a:ext>
              </a:extLst>
            </p:cNvPr>
            <p:cNvSpPr/>
            <p:nvPr/>
          </p:nvSpPr>
          <p:spPr>
            <a:xfrm rot="8716295">
              <a:off x="6821466" y="4356542"/>
              <a:ext cx="439901" cy="511464"/>
            </a:xfrm>
            <a:custGeom>
              <a:avLst/>
              <a:gdLst>
                <a:gd name="connsiteX0" fmla="*/ 1873 w 439901"/>
                <a:gd name="connsiteY0" fmla="*/ 384681 h 511464"/>
                <a:gd name="connsiteX1" fmla="*/ 1725 w 439901"/>
                <a:gd name="connsiteY1" fmla="*/ 383648 h 511464"/>
                <a:gd name="connsiteX2" fmla="*/ 0 w 439901"/>
                <a:gd name="connsiteY2" fmla="*/ 333043 h 511464"/>
                <a:gd name="connsiteX3" fmla="*/ 0 w 439901"/>
                <a:gd name="connsiteY3" fmla="*/ 61444 h 511464"/>
                <a:gd name="connsiteX4" fmla="*/ 118434 w 439901"/>
                <a:gd name="connsiteY4" fmla="*/ 0 h 511464"/>
                <a:gd name="connsiteX5" fmla="*/ 120216 w 439901"/>
                <a:gd name="connsiteY5" fmla="*/ 248447 h 511464"/>
                <a:gd name="connsiteX6" fmla="*/ 141587 w 439901"/>
                <a:gd name="connsiteY6" fmla="*/ 396268 h 511464"/>
                <a:gd name="connsiteX7" fmla="*/ 248446 w 439901"/>
                <a:gd name="connsiteY7" fmla="*/ 455041 h 511464"/>
                <a:gd name="connsiteX8" fmla="*/ 328590 w 439901"/>
                <a:gd name="connsiteY8" fmla="*/ 440793 h 511464"/>
                <a:gd name="connsiteX9" fmla="*/ 438120 w 439901"/>
                <a:gd name="connsiteY9" fmla="*/ 396268 h 511464"/>
                <a:gd name="connsiteX10" fmla="*/ 439901 w 439901"/>
                <a:gd name="connsiteY10" fmla="*/ 407844 h 511464"/>
                <a:gd name="connsiteX11" fmla="*/ 439901 w 439901"/>
                <a:gd name="connsiteY11" fmla="*/ 416749 h 511464"/>
                <a:gd name="connsiteX12" fmla="*/ 286180 w 439901"/>
                <a:gd name="connsiteY12" fmla="*/ 502459 h 511464"/>
                <a:gd name="connsiteX13" fmla="*/ 252462 w 439901"/>
                <a:gd name="connsiteY13" fmla="*/ 511464 h 511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9901" h="511464">
                  <a:moveTo>
                    <a:pt x="1873" y="384681"/>
                  </a:moveTo>
                  <a:lnTo>
                    <a:pt x="1725" y="383648"/>
                  </a:lnTo>
                  <a:cubicBezTo>
                    <a:pt x="501" y="368162"/>
                    <a:pt x="0" y="351298"/>
                    <a:pt x="0" y="333043"/>
                  </a:cubicBezTo>
                  <a:lnTo>
                    <a:pt x="0" y="61444"/>
                  </a:lnTo>
                  <a:lnTo>
                    <a:pt x="118434" y="0"/>
                  </a:lnTo>
                  <a:lnTo>
                    <a:pt x="120216" y="248447"/>
                  </a:lnTo>
                  <a:cubicBezTo>
                    <a:pt x="117545" y="298315"/>
                    <a:pt x="125558" y="349072"/>
                    <a:pt x="141587" y="396268"/>
                  </a:cubicBezTo>
                  <a:cubicBezTo>
                    <a:pt x="155836" y="435450"/>
                    <a:pt x="192346" y="455041"/>
                    <a:pt x="248446" y="455041"/>
                  </a:cubicBezTo>
                  <a:cubicBezTo>
                    <a:pt x="276051" y="454150"/>
                    <a:pt x="302766" y="448807"/>
                    <a:pt x="328590" y="440793"/>
                  </a:cubicBezTo>
                  <a:cubicBezTo>
                    <a:pt x="365990" y="429216"/>
                    <a:pt x="402501" y="414078"/>
                    <a:pt x="438120" y="396268"/>
                  </a:cubicBezTo>
                  <a:cubicBezTo>
                    <a:pt x="439010" y="399830"/>
                    <a:pt x="439901" y="404282"/>
                    <a:pt x="439901" y="407844"/>
                  </a:cubicBezTo>
                  <a:lnTo>
                    <a:pt x="439901" y="416749"/>
                  </a:lnTo>
                  <a:cubicBezTo>
                    <a:pt x="392705" y="457267"/>
                    <a:pt x="338163" y="484649"/>
                    <a:pt x="286180" y="502459"/>
                  </a:cubicBezTo>
                  <a:lnTo>
                    <a:pt x="252462" y="5114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F0039EE6-19E5-4457-84A9-3D50560FF71B}"/>
                </a:ext>
              </a:extLst>
            </p:cNvPr>
            <p:cNvSpPr/>
            <p:nvPr/>
          </p:nvSpPr>
          <p:spPr>
            <a:xfrm rot="8716295">
              <a:off x="7635467" y="435609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62946C15-BE3C-45DF-BB3D-128249E4D1A5}"/>
                </a:ext>
              </a:extLst>
            </p:cNvPr>
            <p:cNvSpPr/>
            <p:nvPr/>
          </p:nvSpPr>
          <p:spPr>
            <a:xfrm rot="8716295">
              <a:off x="7770766" y="440035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3C27B629-4EE2-46C6-9535-F5382300825F}"/>
                </a:ext>
              </a:extLst>
            </p:cNvPr>
            <p:cNvSpPr/>
            <p:nvPr/>
          </p:nvSpPr>
          <p:spPr>
            <a:xfrm rot="8716295">
              <a:off x="7465596" y="44901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6592736C-E2B7-4AAA-9132-CE6867AFB7E6}"/>
                </a:ext>
              </a:extLst>
            </p:cNvPr>
            <p:cNvSpPr/>
            <p:nvPr/>
          </p:nvSpPr>
          <p:spPr>
            <a:xfrm rot="8716295">
              <a:off x="7313509" y="4314181"/>
              <a:ext cx="308532" cy="142740"/>
            </a:xfrm>
            <a:custGeom>
              <a:avLst/>
              <a:gdLst>
                <a:gd name="connsiteX0" fmla="*/ 0 w 308532"/>
                <a:gd name="connsiteY0" fmla="*/ 46525 h 142740"/>
                <a:gd name="connsiteX1" fmla="*/ 0 w 308532"/>
                <a:gd name="connsiteY1" fmla="*/ 0 h 142740"/>
                <a:gd name="connsiteX2" fmla="*/ 308532 w 308532"/>
                <a:gd name="connsiteY2" fmla="*/ 0 h 142740"/>
                <a:gd name="connsiteX3" fmla="*/ 308532 w 308532"/>
                <a:gd name="connsiteY3" fmla="*/ 83734 h 142740"/>
                <a:gd name="connsiteX4" fmla="*/ 210465 w 308532"/>
                <a:gd name="connsiteY4" fmla="*/ 83734 h 142740"/>
                <a:gd name="connsiteX5" fmla="*/ 190169 w 308532"/>
                <a:gd name="connsiteY5" fmla="*/ 142740 h 142740"/>
                <a:gd name="connsiteX6" fmla="*/ 100662 w 308532"/>
                <a:gd name="connsiteY6" fmla="*/ 97454 h 142740"/>
                <a:gd name="connsiteX7" fmla="*/ 105610 w 308532"/>
                <a:gd name="connsiteY7" fmla="*/ 83734 h 142740"/>
                <a:gd name="connsiteX8" fmla="*/ 73544 w 308532"/>
                <a:gd name="connsiteY8" fmla="*/ 83734 h 142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532" h="142740">
                  <a:moveTo>
                    <a:pt x="0" y="46525"/>
                  </a:moveTo>
                  <a:lnTo>
                    <a:pt x="0" y="0"/>
                  </a:lnTo>
                  <a:lnTo>
                    <a:pt x="308532" y="0"/>
                  </a:lnTo>
                  <a:lnTo>
                    <a:pt x="308532" y="83734"/>
                  </a:lnTo>
                  <a:lnTo>
                    <a:pt x="210465" y="83734"/>
                  </a:lnTo>
                  <a:lnTo>
                    <a:pt x="190169" y="142740"/>
                  </a:lnTo>
                  <a:lnTo>
                    <a:pt x="100662" y="97454"/>
                  </a:lnTo>
                  <a:lnTo>
                    <a:pt x="105610" y="83734"/>
                  </a:lnTo>
                  <a:lnTo>
                    <a:pt x="73544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39B2926A-51C6-4DDF-86D8-072C96B838B0}"/>
                </a:ext>
              </a:extLst>
            </p:cNvPr>
            <p:cNvSpPr/>
            <p:nvPr/>
          </p:nvSpPr>
          <p:spPr>
            <a:xfrm rot="8716295">
              <a:off x="7602084" y="4552096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A5226D1B-39C8-4DB7-A39D-DE8AE96085BA}"/>
                </a:ext>
              </a:extLst>
            </p:cNvPr>
            <p:cNvSpPr/>
            <p:nvPr/>
          </p:nvSpPr>
          <p:spPr>
            <a:xfrm rot="8716295">
              <a:off x="7233779" y="4339176"/>
              <a:ext cx="112931" cy="98229"/>
            </a:xfrm>
            <a:custGeom>
              <a:avLst/>
              <a:gdLst>
                <a:gd name="connsiteX0" fmla="*/ 0 w 112931"/>
                <a:gd name="connsiteY0" fmla="*/ 49475 h 98229"/>
                <a:gd name="connsiteX1" fmla="*/ 13559 w 112931"/>
                <a:gd name="connsiteY1" fmla="*/ 17362 h 98229"/>
                <a:gd name="connsiteX2" fmla="*/ 54678 w 112931"/>
                <a:gd name="connsiteY2" fmla="*/ 0 h 98229"/>
                <a:gd name="connsiteX3" fmla="*/ 95798 w 112931"/>
                <a:gd name="connsiteY3" fmla="*/ 17362 h 98229"/>
                <a:gd name="connsiteX4" fmla="*/ 112931 w 112931"/>
                <a:gd name="connsiteY4" fmla="*/ 58139 h 98229"/>
                <a:gd name="connsiteX5" fmla="*/ 96365 w 112931"/>
                <a:gd name="connsiteY5" fmla="*/ 98229 h 98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931" h="98229">
                  <a:moveTo>
                    <a:pt x="0" y="49475"/>
                  </a:moveTo>
                  <a:lnTo>
                    <a:pt x="13559" y="17362"/>
                  </a:lnTo>
                  <a:cubicBezTo>
                    <a:pt x="24524" y="6397"/>
                    <a:pt x="39145" y="0"/>
                    <a:pt x="54678" y="0"/>
                  </a:cubicBezTo>
                  <a:cubicBezTo>
                    <a:pt x="70213" y="0"/>
                    <a:pt x="84833" y="6397"/>
                    <a:pt x="95798" y="17362"/>
                  </a:cubicBezTo>
                  <a:cubicBezTo>
                    <a:pt x="107220" y="28327"/>
                    <a:pt x="112931" y="43176"/>
                    <a:pt x="112931" y="58139"/>
                  </a:cubicBezTo>
                  <a:lnTo>
                    <a:pt x="96365" y="9822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B8D891A1-7C58-4828-B849-358D4D72EA90}"/>
                </a:ext>
              </a:extLst>
            </p:cNvPr>
            <p:cNvSpPr/>
            <p:nvPr/>
          </p:nvSpPr>
          <p:spPr>
            <a:xfrm rot="7484129">
              <a:off x="7765134" y="4837237"/>
              <a:ext cx="295167" cy="296463"/>
            </a:xfrm>
            <a:custGeom>
              <a:avLst/>
              <a:gdLst>
                <a:gd name="connsiteX0" fmla="*/ 295165 w 295167"/>
                <a:gd name="connsiteY0" fmla="*/ 83734 h 296463"/>
                <a:gd name="connsiteX1" fmla="*/ 237109 w 295167"/>
                <a:gd name="connsiteY1" fmla="*/ 0 h 296463"/>
                <a:gd name="connsiteX2" fmla="*/ 237110 w 295167"/>
                <a:gd name="connsiteY2" fmla="*/ 0 h 296463"/>
                <a:gd name="connsiteX3" fmla="*/ 295167 w 295167"/>
                <a:gd name="connsiteY3" fmla="*/ 83734 h 296463"/>
                <a:gd name="connsiteX4" fmla="*/ 137293 w 295167"/>
                <a:gd name="connsiteY4" fmla="*/ 296463 h 296463"/>
                <a:gd name="connsiteX5" fmla="*/ 72418 w 295167"/>
                <a:gd name="connsiteY5" fmla="*/ 175766 h 296463"/>
                <a:gd name="connsiteX6" fmla="*/ 105610 w 295167"/>
                <a:gd name="connsiteY6" fmla="*/ 83734 h 296463"/>
                <a:gd name="connsiteX7" fmla="*/ 0 w 295167"/>
                <a:gd name="connsiteY7" fmla="*/ 83734 h 296463"/>
                <a:gd name="connsiteX8" fmla="*/ 0 w 295167"/>
                <a:gd name="connsiteY8" fmla="*/ 0 h 296463"/>
                <a:gd name="connsiteX9" fmla="*/ 126381 w 295167"/>
                <a:gd name="connsiteY9" fmla="*/ 0 h 296463"/>
                <a:gd name="connsiteX10" fmla="*/ 197160 w 295167"/>
                <a:gd name="connsiteY10" fmla="*/ 122416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5167" h="296463">
                  <a:moveTo>
                    <a:pt x="295165" y="83734"/>
                  </a:moveTo>
                  <a:lnTo>
                    <a:pt x="237109" y="0"/>
                  </a:lnTo>
                  <a:lnTo>
                    <a:pt x="237110" y="0"/>
                  </a:lnTo>
                  <a:lnTo>
                    <a:pt x="295167" y="83734"/>
                  </a:lnTo>
                  <a:close/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126381" y="0"/>
                  </a:lnTo>
                  <a:lnTo>
                    <a:pt x="197160" y="1224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527B4309-024C-4B07-A449-12F7536748C5}"/>
                </a:ext>
              </a:extLst>
            </p:cNvPr>
            <p:cNvSpPr/>
            <p:nvPr/>
          </p:nvSpPr>
          <p:spPr>
            <a:xfrm rot="13089394">
              <a:off x="8005038" y="4814171"/>
              <a:ext cx="409104" cy="218063"/>
            </a:xfrm>
            <a:custGeom>
              <a:avLst/>
              <a:gdLst>
                <a:gd name="connsiteX0" fmla="*/ 409104 w 409104"/>
                <a:gd name="connsiteY0" fmla="*/ 110916 h 218063"/>
                <a:gd name="connsiteX1" fmla="*/ 135172 w 409104"/>
                <a:gd name="connsiteY1" fmla="*/ 217816 h 218063"/>
                <a:gd name="connsiteX2" fmla="*/ 32447 w 409104"/>
                <a:gd name="connsiteY2" fmla="*/ 176058 h 218063"/>
                <a:gd name="connsiteX3" fmla="*/ 3843 w 409104"/>
                <a:gd name="connsiteY3" fmla="*/ 119581 h 218063"/>
                <a:gd name="connsiteX4" fmla="*/ 0 w 409104"/>
                <a:gd name="connsiteY4" fmla="*/ 73735 h 218063"/>
                <a:gd name="connsiteX5" fmla="*/ 111583 w 409104"/>
                <a:gd name="connsiteY5" fmla="*/ 0 h 218063"/>
                <a:gd name="connsiteX6" fmla="*/ 112727 w 409104"/>
                <a:gd name="connsiteY6" fmla="*/ 23329 h 218063"/>
                <a:gd name="connsiteX7" fmla="*/ 129325 w 409104"/>
                <a:gd name="connsiteY7" fmla="*/ 91708 h 218063"/>
                <a:gd name="connsiteX8" fmla="*/ 229544 w 409104"/>
                <a:gd name="connsiteY8" fmla="*/ 146828 h 218063"/>
                <a:gd name="connsiteX9" fmla="*/ 304708 w 409104"/>
                <a:gd name="connsiteY9" fmla="*/ 133466 h 218063"/>
                <a:gd name="connsiteX10" fmla="*/ 407434 w 409104"/>
                <a:gd name="connsiteY10" fmla="*/ 91708 h 218063"/>
                <a:gd name="connsiteX11" fmla="*/ 409104 w 409104"/>
                <a:gd name="connsiteY11" fmla="*/ 102564 h 218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9104" h="218063">
                  <a:moveTo>
                    <a:pt x="409104" y="110916"/>
                  </a:moveTo>
                  <a:cubicBezTo>
                    <a:pt x="320577" y="186915"/>
                    <a:pt x="204490" y="213641"/>
                    <a:pt x="135172" y="217816"/>
                  </a:cubicBezTo>
                  <a:cubicBezTo>
                    <a:pt x="96755" y="220322"/>
                    <a:pt x="59173" y="203619"/>
                    <a:pt x="32447" y="176058"/>
                  </a:cubicBezTo>
                  <a:cubicBezTo>
                    <a:pt x="18249" y="162278"/>
                    <a:pt x="9272" y="143487"/>
                    <a:pt x="3843" y="119581"/>
                  </a:cubicBezTo>
                  <a:lnTo>
                    <a:pt x="0" y="73735"/>
                  </a:lnTo>
                  <a:lnTo>
                    <a:pt x="111583" y="0"/>
                  </a:lnTo>
                  <a:lnTo>
                    <a:pt x="112727" y="23329"/>
                  </a:lnTo>
                  <a:cubicBezTo>
                    <a:pt x="116171" y="46609"/>
                    <a:pt x="121808" y="69576"/>
                    <a:pt x="129325" y="91708"/>
                  </a:cubicBezTo>
                  <a:cubicBezTo>
                    <a:pt x="142689" y="128454"/>
                    <a:pt x="176930" y="146828"/>
                    <a:pt x="229544" y="146828"/>
                  </a:cubicBezTo>
                  <a:cubicBezTo>
                    <a:pt x="255435" y="145993"/>
                    <a:pt x="280489" y="140981"/>
                    <a:pt x="304708" y="133466"/>
                  </a:cubicBezTo>
                  <a:cubicBezTo>
                    <a:pt x="339785" y="122608"/>
                    <a:pt x="374027" y="108411"/>
                    <a:pt x="407434" y="91708"/>
                  </a:cubicBezTo>
                  <a:cubicBezTo>
                    <a:pt x="408268" y="95048"/>
                    <a:pt x="409104" y="99224"/>
                    <a:pt x="409104" y="10256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A6665952-BEBA-4083-8857-192589F92F66}"/>
                </a:ext>
              </a:extLst>
            </p:cNvPr>
            <p:cNvSpPr/>
            <p:nvPr/>
          </p:nvSpPr>
          <p:spPr>
            <a:xfrm rot="8716295">
              <a:off x="8200443" y="4500944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48E8912F-96AC-4641-B68F-1FAC8423EE44}"/>
                </a:ext>
              </a:extLst>
            </p:cNvPr>
            <p:cNvSpPr/>
            <p:nvPr/>
          </p:nvSpPr>
          <p:spPr>
            <a:xfrm rot="8716295">
              <a:off x="8122034" y="434415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53758D6F-45BC-4683-9BA4-5F935E950CCD}"/>
                </a:ext>
              </a:extLst>
            </p:cNvPr>
            <p:cNvSpPr/>
            <p:nvPr/>
          </p:nvSpPr>
          <p:spPr>
            <a:xfrm rot="8716295">
              <a:off x="7753870" y="438989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3D33FD22-12AD-4D1A-88D7-5F0D534CAA44}"/>
                </a:ext>
              </a:extLst>
            </p:cNvPr>
            <p:cNvSpPr/>
            <p:nvPr/>
          </p:nvSpPr>
          <p:spPr>
            <a:xfrm rot="8716295">
              <a:off x="8030791" y="4210054"/>
              <a:ext cx="154744" cy="110503"/>
            </a:xfrm>
            <a:custGeom>
              <a:avLst/>
              <a:gdLst>
                <a:gd name="connsiteX0" fmla="*/ 0 w 154744"/>
                <a:gd name="connsiteY0" fmla="*/ 34366 h 110503"/>
                <a:gd name="connsiteX1" fmla="*/ 3342 w 154744"/>
                <a:gd name="connsiteY1" fmla="*/ 26453 h 110503"/>
                <a:gd name="connsiteX2" fmla="*/ 65990 w 154744"/>
                <a:gd name="connsiteY2" fmla="*/ 0 h 110503"/>
                <a:gd name="connsiteX3" fmla="*/ 128640 w 154744"/>
                <a:gd name="connsiteY3" fmla="*/ 26453 h 110503"/>
                <a:gd name="connsiteX4" fmla="*/ 154744 w 154744"/>
                <a:gd name="connsiteY4" fmla="*/ 88580 h 110503"/>
                <a:gd name="connsiteX5" fmla="*/ 150487 w 154744"/>
                <a:gd name="connsiteY5" fmla="*/ 110503 h 110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4744" h="110503">
                  <a:moveTo>
                    <a:pt x="0" y="34366"/>
                  </a:moveTo>
                  <a:lnTo>
                    <a:pt x="3342" y="26453"/>
                  </a:lnTo>
                  <a:cubicBezTo>
                    <a:pt x="20048" y="9746"/>
                    <a:pt x="42323" y="0"/>
                    <a:pt x="65990" y="0"/>
                  </a:cubicBezTo>
                  <a:cubicBezTo>
                    <a:pt x="89659" y="0"/>
                    <a:pt x="111934" y="9746"/>
                    <a:pt x="128640" y="26453"/>
                  </a:cubicBezTo>
                  <a:cubicBezTo>
                    <a:pt x="146043" y="43159"/>
                    <a:pt x="154744" y="65782"/>
                    <a:pt x="154744" y="88580"/>
                  </a:cubicBezTo>
                  <a:lnTo>
                    <a:pt x="150487" y="1105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55" name="Rectangle 7">
            <a:extLst>
              <a:ext uri="{FF2B5EF4-FFF2-40B4-BE49-F238E27FC236}">
                <a16:creationId xmlns:a16="http://schemas.microsoft.com/office/drawing/2014/main" id="{88941299-7323-4585-91C3-38C1B71800C4}"/>
              </a:ext>
            </a:extLst>
          </p:cNvPr>
          <p:cNvSpPr/>
          <p:nvPr userDrawn="1"/>
        </p:nvSpPr>
        <p:spPr>
          <a:xfrm>
            <a:off x="0" y="4391025"/>
            <a:ext cx="9153528" cy="752475"/>
          </a:xfrm>
          <a:custGeom>
            <a:avLst/>
            <a:gdLst>
              <a:gd name="connsiteX0" fmla="*/ 0 w 9153528"/>
              <a:gd name="connsiteY0" fmla="*/ 0 h 752475"/>
              <a:gd name="connsiteX1" fmla="*/ 9153528 w 9153528"/>
              <a:gd name="connsiteY1" fmla="*/ 0 h 752475"/>
              <a:gd name="connsiteX2" fmla="*/ 9153528 w 9153528"/>
              <a:gd name="connsiteY2" fmla="*/ 752475 h 752475"/>
              <a:gd name="connsiteX3" fmla="*/ 0 w 9153528"/>
              <a:gd name="connsiteY3" fmla="*/ 752475 h 752475"/>
              <a:gd name="connsiteX4" fmla="*/ 0 w 9153528"/>
              <a:gd name="connsiteY4" fmla="*/ 0 h 752475"/>
              <a:gd name="connsiteX0" fmla="*/ 0 w 9153528"/>
              <a:gd name="connsiteY0" fmla="*/ 0 h 752475"/>
              <a:gd name="connsiteX1" fmla="*/ 9153528 w 9153528"/>
              <a:gd name="connsiteY1" fmla="*/ 752475 h 752475"/>
              <a:gd name="connsiteX2" fmla="*/ 0 w 9153528"/>
              <a:gd name="connsiteY2" fmla="*/ 752475 h 752475"/>
              <a:gd name="connsiteX3" fmla="*/ 0 w 9153528"/>
              <a:gd name="connsiteY3" fmla="*/ 0 h 752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53528" h="752475">
                <a:moveTo>
                  <a:pt x="0" y="0"/>
                </a:moveTo>
                <a:lnTo>
                  <a:pt x="9153528" y="752475"/>
                </a:lnTo>
                <a:lnTo>
                  <a:pt x="0" y="752475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pic>
        <p:nvPicPr>
          <p:cNvPr id="56" name="Graphique 55">
            <a:extLst>
              <a:ext uri="{FF2B5EF4-FFF2-40B4-BE49-F238E27FC236}">
                <a16:creationId xmlns:a16="http://schemas.microsoft.com/office/drawing/2014/main" id="{A88B7565-C7DC-40EA-B5DD-A4245568A9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34871" y="2053350"/>
            <a:ext cx="3474258" cy="103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780868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itre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>
            <a:extLst>
              <a:ext uri="{FF2B5EF4-FFF2-40B4-BE49-F238E27FC236}">
                <a16:creationId xmlns:a16="http://schemas.microsoft.com/office/drawing/2014/main" id="{6A348ADD-AB0E-41AD-9203-40019D501D09}"/>
              </a:ext>
            </a:extLst>
          </p:cNvPr>
          <p:cNvGrpSpPr/>
          <p:nvPr userDrawn="1"/>
        </p:nvGrpSpPr>
        <p:grpSpPr>
          <a:xfrm>
            <a:off x="-134707" y="-108618"/>
            <a:ext cx="6284502" cy="5381969"/>
            <a:chOff x="-134707" y="-108618"/>
            <a:chExt cx="6284502" cy="5381969"/>
          </a:xfrm>
          <a:solidFill>
            <a:schemeClr val="bg2">
              <a:alpha val="10000"/>
            </a:schemeClr>
          </a:solidFill>
        </p:grpSpPr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4588E603-EA6D-4A8D-ABC7-9DE29315EF7F}"/>
                </a:ext>
              </a:extLst>
            </p:cNvPr>
            <p:cNvSpPr/>
            <p:nvPr/>
          </p:nvSpPr>
          <p:spPr>
            <a:xfrm rot="8716295">
              <a:off x="1460344" y="348006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8D98135C-BBC2-4D16-96A0-7D0791CBF234}"/>
                </a:ext>
              </a:extLst>
            </p:cNvPr>
            <p:cNvSpPr/>
            <p:nvPr/>
          </p:nvSpPr>
          <p:spPr>
            <a:xfrm rot="8716295">
              <a:off x="1595642" y="352432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99CC6255-5792-4F9C-BE71-CF421386A627}"/>
                </a:ext>
              </a:extLst>
            </p:cNvPr>
            <p:cNvSpPr/>
            <p:nvPr/>
          </p:nvSpPr>
          <p:spPr>
            <a:xfrm rot="8716295">
              <a:off x="1527760" y="339373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4D44D8C2-4775-4ED6-AF57-EBCE00D0B723}"/>
                </a:ext>
              </a:extLst>
            </p:cNvPr>
            <p:cNvSpPr/>
            <p:nvPr/>
          </p:nvSpPr>
          <p:spPr>
            <a:xfrm rot="8716295">
              <a:off x="1290473" y="361408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EC13E85B-F308-4A84-A6BC-C18C71386F58}"/>
                </a:ext>
              </a:extLst>
            </p:cNvPr>
            <p:cNvSpPr/>
            <p:nvPr/>
          </p:nvSpPr>
          <p:spPr>
            <a:xfrm rot="8716295">
              <a:off x="1101427" y="329824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6E015BB2-4D35-4CF4-A5C2-59649EEBFF40}"/>
                </a:ext>
              </a:extLst>
            </p:cNvPr>
            <p:cNvSpPr/>
            <p:nvPr/>
          </p:nvSpPr>
          <p:spPr>
            <a:xfrm rot="8716295">
              <a:off x="1083185" y="3088198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9BFD4E55-95DB-4948-9F11-510807EC9D8A}"/>
                </a:ext>
              </a:extLst>
            </p:cNvPr>
            <p:cNvSpPr/>
            <p:nvPr/>
          </p:nvSpPr>
          <p:spPr>
            <a:xfrm rot="8716295">
              <a:off x="1426961" y="367606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4A110395-765E-4DD5-AC3E-A28545974AAB}"/>
                </a:ext>
              </a:extLst>
            </p:cNvPr>
            <p:cNvSpPr/>
            <p:nvPr/>
          </p:nvSpPr>
          <p:spPr>
            <a:xfrm rot="8716295">
              <a:off x="1897908" y="310145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752DD23B-ED4C-4692-9CB0-792B6E8C38E8}"/>
                </a:ext>
              </a:extLst>
            </p:cNvPr>
            <p:cNvSpPr/>
            <p:nvPr/>
          </p:nvSpPr>
          <p:spPr>
            <a:xfrm rot="8716295">
              <a:off x="2033206" y="314571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407B9478-6D17-4EBC-AE18-7FD28A2FC874}"/>
                </a:ext>
              </a:extLst>
            </p:cNvPr>
            <p:cNvSpPr/>
            <p:nvPr/>
          </p:nvSpPr>
          <p:spPr>
            <a:xfrm rot="8716295">
              <a:off x="1728037" y="323546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DDF2324E-ABD3-44DC-8D06-AD3B881C1A39}"/>
                </a:ext>
              </a:extLst>
            </p:cNvPr>
            <p:cNvSpPr/>
            <p:nvPr/>
          </p:nvSpPr>
          <p:spPr>
            <a:xfrm rot="8716295">
              <a:off x="1538992" y="291963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EF0C42E5-DDE5-4434-B96B-A910A8DADC60}"/>
                </a:ext>
              </a:extLst>
            </p:cNvPr>
            <p:cNvSpPr/>
            <p:nvPr/>
          </p:nvSpPr>
          <p:spPr>
            <a:xfrm rot="8716295">
              <a:off x="1864525" y="329745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1AF80BC5-2FE2-47AB-8E9C-E26EB916D016}"/>
                </a:ext>
              </a:extLst>
            </p:cNvPr>
            <p:cNvSpPr/>
            <p:nvPr/>
          </p:nvSpPr>
          <p:spPr>
            <a:xfrm rot="8716295">
              <a:off x="1499078" y="307102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B1E25E5F-E250-4318-97CF-E3EF2CD18D72}"/>
                </a:ext>
              </a:extLst>
            </p:cNvPr>
            <p:cNvSpPr/>
            <p:nvPr/>
          </p:nvSpPr>
          <p:spPr>
            <a:xfrm rot="7484129">
              <a:off x="2023343" y="358706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3240DB54-B585-4364-A4CC-E94E9F63B7D1}"/>
                </a:ext>
              </a:extLst>
            </p:cNvPr>
            <p:cNvSpPr/>
            <p:nvPr/>
          </p:nvSpPr>
          <p:spPr>
            <a:xfrm rot="13089394">
              <a:off x="2181992" y="353641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273F70D5-0FDD-4CE1-814B-D9312EE2ED7C}"/>
                </a:ext>
              </a:extLst>
            </p:cNvPr>
            <p:cNvSpPr/>
            <p:nvPr/>
          </p:nvSpPr>
          <p:spPr>
            <a:xfrm rot="8716295">
              <a:off x="2462883" y="3246298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C7DAFD7E-6F4A-40E6-A59C-00BDC917B87B}"/>
                </a:ext>
              </a:extLst>
            </p:cNvPr>
            <p:cNvSpPr/>
            <p:nvPr/>
          </p:nvSpPr>
          <p:spPr>
            <a:xfrm rot="8716295">
              <a:off x="2384474" y="308950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48BC9105-C681-433B-8AF1-4FE2E6AF7484}"/>
                </a:ext>
              </a:extLst>
            </p:cNvPr>
            <p:cNvSpPr/>
            <p:nvPr/>
          </p:nvSpPr>
          <p:spPr>
            <a:xfrm rot="8716295">
              <a:off x="2016311" y="313524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1A014423-3778-467F-945D-40491D2DDC50}"/>
                </a:ext>
              </a:extLst>
            </p:cNvPr>
            <p:cNvSpPr/>
            <p:nvPr/>
          </p:nvSpPr>
          <p:spPr>
            <a:xfrm rot="8716295">
              <a:off x="2284892" y="289422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754E4A02-6646-4EF0-8CC5-B9030AE2C233}"/>
                </a:ext>
              </a:extLst>
            </p:cNvPr>
            <p:cNvSpPr/>
            <p:nvPr/>
          </p:nvSpPr>
          <p:spPr>
            <a:xfrm rot="8716295">
              <a:off x="1798117" y="447855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84764706-CB95-4A07-B328-B801005B7146}"/>
                </a:ext>
              </a:extLst>
            </p:cNvPr>
            <p:cNvSpPr/>
            <p:nvPr/>
          </p:nvSpPr>
          <p:spPr>
            <a:xfrm rot="8716295">
              <a:off x="1933415" y="452281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B1C7133F-9245-4557-9366-3880E57EEB00}"/>
                </a:ext>
              </a:extLst>
            </p:cNvPr>
            <p:cNvSpPr/>
            <p:nvPr/>
          </p:nvSpPr>
          <p:spPr>
            <a:xfrm rot="8716295">
              <a:off x="1865533" y="439222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34C731BB-8709-4827-B371-DEB3D84B9346}"/>
                </a:ext>
              </a:extLst>
            </p:cNvPr>
            <p:cNvSpPr/>
            <p:nvPr/>
          </p:nvSpPr>
          <p:spPr>
            <a:xfrm rot="8716295">
              <a:off x="1628246" y="461256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800CC594-61C3-4799-9C62-0BE95617F0FD}"/>
                </a:ext>
              </a:extLst>
            </p:cNvPr>
            <p:cNvSpPr/>
            <p:nvPr/>
          </p:nvSpPr>
          <p:spPr>
            <a:xfrm rot="8716295">
              <a:off x="1439200" y="42967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6F690A0E-19E3-4512-B7F9-01EE4EBA9F6E}"/>
                </a:ext>
              </a:extLst>
            </p:cNvPr>
            <p:cNvSpPr/>
            <p:nvPr/>
          </p:nvSpPr>
          <p:spPr>
            <a:xfrm rot="8716295">
              <a:off x="1420958" y="408668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2D91E14E-69D9-458E-AA57-95A8078F1A19}"/>
                </a:ext>
              </a:extLst>
            </p:cNvPr>
            <p:cNvSpPr/>
            <p:nvPr/>
          </p:nvSpPr>
          <p:spPr>
            <a:xfrm rot="8716295">
              <a:off x="1764734" y="467454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4AA00D19-4A76-4DED-BF30-5DD56557E862}"/>
                </a:ext>
              </a:extLst>
            </p:cNvPr>
            <p:cNvSpPr/>
            <p:nvPr/>
          </p:nvSpPr>
          <p:spPr>
            <a:xfrm rot="8716295">
              <a:off x="2235681" y="409993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CBB48ABD-C4EA-4731-A8E5-5C6B6C5A0C84}"/>
                </a:ext>
              </a:extLst>
            </p:cNvPr>
            <p:cNvSpPr/>
            <p:nvPr/>
          </p:nvSpPr>
          <p:spPr>
            <a:xfrm rot="8716295">
              <a:off x="2370979" y="414419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FCD4CF90-F0E0-483F-9CE2-EAEE6404C598}"/>
                </a:ext>
              </a:extLst>
            </p:cNvPr>
            <p:cNvSpPr/>
            <p:nvPr/>
          </p:nvSpPr>
          <p:spPr>
            <a:xfrm rot="8716295">
              <a:off x="2065810" y="423395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F3A52091-BF4B-4E28-BD12-E3FE0875DBCF}"/>
                </a:ext>
              </a:extLst>
            </p:cNvPr>
            <p:cNvSpPr/>
            <p:nvPr/>
          </p:nvSpPr>
          <p:spPr>
            <a:xfrm rot="8716295">
              <a:off x="1876765" y="391811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75F64C77-DBE2-4786-9809-DB042689E4B6}"/>
                </a:ext>
              </a:extLst>
            </p:cNvPr>
            <p:cNvSpPr/>
            <p:nvPr/>
          </p:nvSpPr>
          <p:spPr>
            <a:xfrm rot="8716295">
              <a:off x="2202298" y="4295933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12F37080-96E6-4BE1-9E48-2B02CD2E20C4}"/>
                </a:ext>
              </a:extLst>
            </p:cNvPr>
            <p:cNvSpPr/>
            <p:nvPr/>
          </p:nvSpPr>
          <p:spPr>
            <a:xfrm rot="8716295">
              <a:off x="1836851" y="406950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BA151B90-2B5B-4D4D-A2AA-26322C46F857}"/>
                </a:ext>
              </a:extLst>
            </p:cNvPr>
            <p:cNvSpPr/>
            <p:nvPr/>
          </p:nvSpPr>
          <p:spPr>
            <a:xfrm rot="7484129">
              <a:off x="2361116" y="458555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0655C4A9-132B-4E8E-AB50-E63B4234234E}"/>
                </a:ext>
              </a:extLst>
            </p:cNvPr>
            <p:cNvSpPr/>
            <p:nvPr/>
          </p:nvSpPr>
          <p:spPr>
            <a:xfrm rot="13089394">
              <a:off x="2519765" y="4534899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51BD05F6-BFFD-42CC-A6C8-403F5F81023E}"/>
                </a:ext>
              </a:extLst>
            </p:cNvPr>
            <p:cNvSpPr/>
            <p:nvPr/>
          </p:nvSpPr>
          <p:spPr>
            <a:xfrm rot="8716295">
              <a:off x="2800656" y="4244781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609B85C6-C9FE-4876-9C99-F8DA190549CF}"/>
                </a:ext>
              </a:extLst>
            </p:cNvPr>
            <p:cNvSpPr/>
            <p:nvPr/>
          </p:nvSpPr>
          <p:spPr>
            <a:xfrm rot="8716295">
              <a:off x="2722247" y="4087989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AB57FACB-9405-4A22-84F1-4CDEB84773AC}"/>
                </a:ext>
              </a:extLst>
            </p:cNvPr>
            <p:cNvSpPr/>
            <p:nvPr/>
          </p:nvSpPr>
          <p:spPr>
            <a:xfrm rot="8716295">
              <a:off x="2354084" y="413373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65AC372A-885B-4835-966A-B09A3AC7B1A3}"/>
                </a:ext>
              </a:extLst>
            </p:cNvPr>
            <p:cNvSpPr/>
            <p:nvPr/>
          </p:nvSpPr>
          <p:spPr>
            <a:xfrm rot="8716295">
              <a:off x="2622665" y="389271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16EC5E3E-C2D3-4E46-B9F8-A7FD4A85025F}"/>
                </a:ext>
              </a:extLst>
            </p:cNvPr>
            <p:cNvSpPr/>
            <p:nvPr/>
          </p:nvSpPr>
          <p:spPr>
            <a:xfrm rot="8716295">
              <a:off x="1836002" y="5051565"/>
              <a:ext cx="229466" cy="172677"/>
            </a:xfrm>
            <a:custGeom>
              <a:avLst/>
              <a:gdLst>
                <a:gd name="connsiteX0" fmla="*/ 37429 w 229466"/>
                <a:gd name="connsiteY0" fmla="*/ 127889 h 172677"/>
                <a:gd name="connsiteX1" fmla="*/ 864 w 229466"/>
                <a:gd name="connsiteY1" fmla="*/ 25330 h 172677"/>
                <a:gd name="connsiteX2" fmla="*/ 0 w 229466"/>
                <a:gd name="connsiteY2" fmla="*/ 0 h 172677"/>
                <a:gd name="connsiteX3" fmla="*/ 229466 w 229466"/>
                <a:gd name="connsiteY3" fmla="*/ 159058 h 172677"/>
                <a:gd name="connsiteX4" fmla="*/ 210504 w 229466"/>
                <a:gd name="connsiteY4" fmla="*/ 164122 h 172677"/>
                <a:gd name="connsiteX5" fmla="*/ 146960 w 229466"/>
                <a:gd name="connsiteY5" fmla="*/ 172414 h 172677"/>
                <a:gd name="connsiteX6" fmla="*/ 37429 w 229466"/>
                <a:gd name="connsiteY6" fmla="*/ 127889 h 172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9466" h="172677">
                  <a:moveTo>
                    <a:pt x="37429" y="127889"/>
                  </a:moveTo>
                  <a:cubicBezTo>
                    <a:pt x="14722" y="105850"/>
                    <a:pt x="4537" y="71789"/>
                    <a:pt x="864" y="25330"/>
                  </a:cubicBezTo>
                  <a:lnTo>
                    <a:pt x="0" y="0"/>
                  </a:lnTo>
                  <a:lnTo>
                    <a:pt x="229466" y="159058"/>
                  </a:lnTo>
                  <a:lnTo>
                    <a:pt x="210504" y="164122"/>
                  </a:lnTo>
                  <a:cubicBezTo>
                    <a:pt x="187032" y="168685"/>
                    <a:pt x="165437" y="171301"/>
                    <a:pt x="146960" y="172414"/>
                  </a:cubicBezTo>
                  <a:cubicBezTo>
                    <a:pt x="105998" y="175086"/>
                    <a:pt x="65926" y="157276"/>
                    <a:pt x="37429" y="12788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F08DD499-2506-4E8C-B26B-EF1D8CEA3AA9}"/>
                </a:ext>
              </a:extLst>
            </p:cNvPr>
            <p:cNvSpPr/>
            <p:nvPr/>
          </p:nvSpPr>
          <p:spPr>
            <a:xfrm rot="8716295">
              <a:off x="2865171" y="5107739"/>
              <a:ext cx="36955" cy="50812"/>
            </a:xfrm>
            <a:custGeom>
              <a:avLst/>
              <a:gdLst>
                <a:gd name="connsiteX0" fmla="*/ 0 w 36955"/>
                <a:gd name="connsiteY0" fmla="*/ 50812 h 50812"/>
                <a:gd name="connsiteX1" fmla="*/ 0 w 36955"/>
                <a:gd name="connsiteY1" fmla="*/ 0 h 50812"/>
                <a:gd name="connsiteX2" fmla="*/ 36955 w 36955"/>
                <a:gd name="connsiteY2" fmla="*/ 25616 h 50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955" h="50812">
                  <a:moveTo>
                    <a:pt x="0" y="50812"/>
                  </a:moveTo>
                  <a:lnTo>
                    <a:pt x="0" y="0"/>
                  </a:lnTo>
                  <a:lnTo>
                    <a:pt x="36955" y="256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D6EEB4E8-6237-4C85-A670-00A3A02268AB}"/>
                </a:ext>
              </a:extLst>
            </p:cNvPr>
            <p:cNvSpPr/>
            <p:nvPr/>
          </p:nvSpPr>
          <p:spPr>
            <a:xfrm rot="8716295">
              <a:off x="2291544" y="4886156"/>
              <a:ext cx="209028" cy="296463"/>
            </a:xfrm>
            <a:custGeom>
              <a:avLst/>
              <a:gdLst>
                <a:gd name="connsiteX0" fmla="*/ 137293 w 209028"/>
                <a:gd name="connsiteY0" fmla="*/ 296463 h 296463"/>
                <a:gd name="connsiteX1" fmla="*/ 72418 w 209028"/>
                <a:gd name="connsiteY1" fmla="*/ 175766 h 296463"/>
                <a:gd name="connsiteX2" fmla="*/ 105610 w 209028"/>
                <a:gd name="connsiteY2" fmla="*/ 83734 h 296463"/>
                <a:gd name="connsiteX3" fmla="*/ 0 w 209028"/>
                <a:gd name="connsiteY3" fmla="*/ 83734 h 296463"/>
                <a:gd name="connsiteX4" fmla="*/ 0 w 209028"/>
                <a:gd name="connsiteY4" fmla="*/ 0 h 296463"/>
                <a:gd name="connsiteX5" fmla="*/ 82199 w 209028"/>
                <a:gd name="connsiteY5" fmla="*/ 0 h 296463"/>
                <a:gd name="connsiteX6" fmla="*/ 209028 w 209028"/>
                <a:gd name="connsiteY6" fmla="*/ 87913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028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82199" y="0"/>
                  </a:lnTo>
                  <a:lnTo>
                    <a:pt x="209028" y="8791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75A29BD1-A3F5-48BC-80D8-DAC3DEE5842D}"/>
                </a:ext>
              </a:extLst>
            </p:cNvPr>
            <p:cNvSpPr/>
            <p:nvPr/>
          </p:nvSpPr>
          <p:spPr>
            <a:xfrm rot="8716295">
              <a:off x="2159594" y="5061280"/>
              <a:ext cx="112869" cy="105684"/>
            </a:xfrm>
            <a:custGeom>
              <a:avLst/>
              <a:gdLst>
                <a:gd name="connsiteX0" fmla="*/ 17362 w 112869"/>
                <a:gd name="connsiteY0" fmla="*/ 89236 h 105684"/>
                <a:gd name="connsiteX1" fmla="*/ 0 w 112869"/>
                <a:gd name="connsiteY1" fmla="*/ 48117 h 105684"/>
                <a:gd name="connsiteX2" fmla="*/ 0 w 112869"/>
                <a:gd name="connsiteY2" fmla="*/ 47203 h 105684"/>
                <a:gd name="connsiteX3" fmla="*/ 17362 w 112869"/>
                <a:gd name="connsiteY3" fmla="*/ 6084 h 105684"/>
                <a:gd name="connsiteX4" fmla="*/ 31771 w 112869"/>
                <a:gd name="connsiteY4" fmla="*/ 0 h 105684"/>
                <a:gd name="connsiteX5" fmla="*/ 112869 w 112869"/>
                <a:gd name="connsiteY5" fmla="*/ 56215 h 105684"/>
                <a:gd name="connsiteX6" fmla="*/ 99601 w 112869"/>
                <a:gd name="connsiteY6" fmla="*/ 88323 h 105684"/>
                <a:gd name="connsiteX7" fmla="*/ 58481 w 112869"/>
                <a:gd name="connsiteY7" fmla="*/ 105684 h 105684"/>
                <a:gd name="connsiteX8" fmla="*/ 17362 w 112869"/>
                <a:gd name="connsiteY8" fmla="*/ 89236 h 105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869" h="105684">
                  <a:moveTo>
                    <a:pt x="17362" y="89236"/>
                  </a:moveTo>
                  <a:cubicBezTo>
                    <a:pt x="6397" y="78271"/>
                    <a:pt x="0" y="63651"/>
                    <a:pt x="0" y="48117"/>
                  </a:cubicBezTo>
                  <a:lnTo>
                    <a:pt x="0" y="47203"/>
                  </a:lnTo>
                  <a:cubicBezTo>
                    <a:pt x="0" y="31669"/>
                    <a:pt x="6397" y="17049"/>
                    <a:pt x="17362" y="6084"/>
                  </a:cubicBezTo>
                  <a:lnTo>
                    <a:pt x="31771" y="0"/>
                  </a:lnTo>
                  <a:lnTo>
                    <a:pt x="112869" y="56215"/>
                  </a:lnTo>
                  <a:lnTo>
                    <a:pt x="99601" y="88323"/>
                  </a:lnTo>
                  <a:cubicBezTo>
                    <a:pt x="88636" y="99288"/>
                    <a:pt x="74015" y="105684"/>
                    <a:pt x="58481" y="105684"/>
                  </a:cubicBezTo>
                  <a:cubicBezTo>
                    <a:pt x="42947" y="105684"/>
                    <a:pt x="28327" y="100202"/>
                    <a:pt x="17362" y="8923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758380ED-469C-45F2-855D-EE8309CFADD8}"/>
                </a:ext>
              </a:extLst>
            </p:cNvPr>
            <p:cNvSpPr/>
            <p:nvPr/>
          </p:nvSpPr>
          <p:spPr>
            <a:xfrm rot="8716295">
              <a:off x="3051941" y="5073759"/>
              <a:ext cx="145251" cy="115110"/>
            </a:xfrm>
            <a:custGeom>
              <a:avLst/>
              <a:gdLst>
                <a:gd name="connsiteX0" fmla="*/ 26453 w 145251"/>
                <a:gd name="connsiteY0" fmla="*/ 90050 h 115110"/>
                <a:gd name="connsiteX1" fmla="*/ 0 w 145251"/>
                <a:gd name="connsiteY1" fmla="*/ 27401 h 115110"/>
                <a:gd name="connsiteX2" fmla="*/ 0 w 145251"/>
                <a:gd name="connsiteY2" fmla="*/ 26008 h 115110"/>
                <a:gd name="connsiteX3" fmla="*/ 10982 w 145251"/>
                <a:gd name="connsiteY3" fmla="*/ 0 h 115110"/>
                <a:gd name="connsiteX4" fmla="*/ 145251 w 145251"/>
                <a:gd name="connsiteY4" fmla="*/ 93071 h 115110"/>
                <a:gd name="connsiteX5" fmla="*/ 123037 w 145251"/>
                <a:gd name="connsiteY5" fmla="*/ 108149 h 115110"/>
                <a:gd name="connsiteX6" fmla="*/ 89101 w 145251"/>
                <a:gd name="connsiteY6" fmla="*/ 115110 h 115110"/>
                <a:gd name="connsiteX7" fmla="*/ 26453 w 145251"/>
                <a:gd name="connsiteY7" fmla="*/ 90050 h 11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5251" h="115110">
                  <a:moveTo>
                    <a:pt x="26453" y="90050"/>
                  </a:moveTo>
                  <a:cubicBezTo>
                    <a:pt x="9746" y="73344"/>
                    <a:pt x="0" y="51068"/>
                    <a:pt x="0" y="27401"/>
                  </a:cubicBezTo>
                  <a:lnTo>
                    <a:pt x="0" y="26008"/>
                  </a:lnTo>
                  <a:lnTo>
                    <a:pt x="10982" y="0"/>
                  </a:lnTo>
                  <a:lnTo>
                    <a:pt x="145251" y="93071"/>
                  </a:lnTo>
                  <a:lnTo>
                    <a:pt x="123037" y="108149"/>
                  </a:lnTo>
                  <a:cubicBezTo>
                    <a:pt x="112421" y="112674"/>
                    <a:pt x="100936" y="115110"/>
                    <a:pt x="89101" y="115110"/>
                  </a:cubicBezTo>
                  <a:cubicBezTo>
                    <a:pt x="65434" y="115110"/>
                    <a:pt x="43159" y="106756"/>
                    <a:pt x="26453" y="900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D2FD6770-3791-4A82-87D2-F41D30AA61F3}"/>
                </a:ext>
              </a:extLst>
            </p:cNvPr>
            <p:cNvSpPr/>
            <p:nvPr/>
          </p:nvSpPr>
          <p:spPr>
            <a:xfrm rot="8716295">
              <a:off x="2953631" y="488922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109B9DB6-A180-42FF-BEBB-6114EE67841E}"/>
                </a:ext>
              </a:extLst>
            </p:cNvPr>
            <p:cNvSpPr/>
            <p:nvPr/>
          </p:nvSpPr>
          <p:spPr>
            <a:xfrm rot="8716295">
              <a:off x="1125067" y="247965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D4702D56-6C32-4790-8116-5036F59380ED}"/>
                </a:ext>
              </a:extLst>
            </p:cNvPr>
            <p:cNvSpPr/>
            <p:nvPr/>
          </p:nvSpPr>
          <p:spPr>
            <a:xfrm rot="8716295">
              <a:off x="1260365" y="252391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55878CEF-C667-4CA0-83B8-66D034466A4C}"/>
                </a:ext>
              </a:extLst>
            </p:cNvPr>
            <p:cNvSpPr/>
            <p:nvPr/>
          </p:nvSpPr>
          <p:spPr>
            <a:xfrm rot="8716295">
              <a:off x="1192483" y="2393326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E6E1C2BC-10AA-4F2A-83E2-85D799983A4B}"/>
                </a:ext>
              </a:extLst>
            </p:cNvPr>
            <p:cNvSpPr/>
            <p:nvPr/>
          </p:nvSpPr>
          <p:spPr>
            <a:xfrm rot="8716295">
              <a:off x="955196" y="261367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6DA02057-79DE-4340-93FA-D8616C8993CD}"/>
                </a:ext>
              </a:extLst>
            </p:cNvPr>
            <p:cNvSpPr/>
            <p:nvPr/>
          </p:nvSpPr>
          <p:spPr>
            <a:xfrm rot="8716295">
              <a:off x="766149" y="229783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F3D3F9A3-B786-4BB9-92E8-BAA2206B9AFB}"/>
                </a:ext>
              </a:extLst>
            </p:cNvPr>
            <p:cNvSpPr/>
            <p:nvPr/>
          </p:nvSpPr>
          <p:spPr>
            <a:xfrm rot="8716295">
              <a:off x="747908" y="2087785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777BD4C8-2DD8-47D0-9247-9DDE2E15298C}"/>
                </a:ext>
              </a:extLst>
            </p:cNvPr>
            <p:cNvSpPr/>
            <p:nvPr/>
          </p:nvSpPr>
          <p:spPr>
            <a:xfrm rot="8716295">
              <a:off x="1091684" y="2675653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orme libre : forme 58">
              <a:extLst>
                <a:ext uri="{FF2B5EF4-FFF2-40B4-BE49-F238E27FC236}">
                  <a16:creationId xmlns:a16="http://schemas.microsoft.com/office/drawing/2014/main" id="{A1948EB1-3E61-48E9-872F-CED3F8D5CC5E}"/>
                </a:ext>
              </a:extLst>
            </p:cNvPr>
            <p:cNvSpPr/>
            <p:nvPr/>
          </p:nvSpPr>
          <p:spPr>
            <a:xfrm rot="8716295">
              <a:off x="1562630" y="210103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orme libre : forme 59">
              <a:extLst>
                <a:ext uri="{FF2B5EF4-FFF2-40B4-BE49-F238E27FC236}">
                  <a16:creationId xmlns:a16="http://schemas.microsoft.com/office/drawing/2014/main" id="{AF9F2A1A-5C85-4204-9B23-373EE49CB276}"/>
                </a:ext>
              </a:extLst>
            </p:cNvPr>
            <p:cNvSpPr/>
            <p:nvPr/>
          </p:nvSpPr>
          <p:spPr>
            <a:xfrm rot="8716295">
              <a:off x="1697929" y="214529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orme libre : forme 60">
              <a:extLst>
                <a:ext uri="{FF2B5EF4-FFF2-40B4-BE49-F238E27FC236}">
                  <a16:creationId xmlns:a16="http://schemas.microsoft.com/office/drawing/2014/main" id="{4763868B-B7EF-4B8B-B818-D645A2592C05}"/>
                </a:ext>
              </a:extLst>
            </p:cNvPr>
            <p:cNvSpPr/>
            <p:nvPr/>
          </p:nvSpPr>
          <p:spPr>
            <a:xfrm rot="8716295">
              <a:off x="1392759" y="223505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orme libre : forme 61">
              <a:extLst>
                <a:ext uri="{FF2B5EF4-FFF2-40B4-BE49-F238E27FC236}">
                  <a16:creationId xmlns:a16="http://schemas.microsoft.com/office/drawing/2014/main" id="{046CA86F-6D3D-407A-B321-54764D2D59CB}"/>
                </a:ext>
              </a:extLst>
            </p:cNvPr>
            <p:cNvSpPr/>
            <p:nvPr/>
          </p:nvSpPr>
          <p:spPr>
            <a:xfrm rot="8716295">
              <a:off x="1203715" y="191921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orme libre : forme 62">
              <a:extLst>
                <a:ext uri="{FF2B5EF4-FFF2-40B4-BE49-F238E27FC236}">
                  <a16:creationId xmlns:a16="http://schemas.microsoft.com/office/drawing/2014/main" id="{AFD12AFD-CB5D-4640-9FE9-92C355A72778}"/>
                </a:ext>
              </a:extLst>
            </p:cNvPr>
            <p:cNvSpPr/>
            <p:nvPr/>
          </p:nvSpPr>
          <p:spPr>
            <a:xfrm rot="8716295">
              <a:off x="1529248" y="2297037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orme libre : forme 63">
              <a:extLst>
                <a:ext uri="{FF2B5EF4-FFF2-40B4-BE49-F238E27FC236}">
                  <a16:creationId xmlns:a16="http://schemas.microsoft.com/office/drawing/2014/main" id="{59BA9B88-1225-4DFD-8724-1F80AE18C3C2}"/>
                </a:ext>
              </a:extLst>
            </p:cNvPr>
            <p:cNvSpPr/>
            <p:nvPr/>
          </p:nvSpPr>
          <p:spPr>
            <a:xfrm rot="8716295">
              <a:off x="1163801" y="2070611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orme libre : forme 64">
              <a:extLst>
                <a:ext uri="{FF2B5EF4-FFF2-40B4-BE49-F238E27FC236}">
                  <a16:creationId xmlns:a16="http://schemas.microsoft.com/office/drawing/2014/main" id="{1F6A3148-93CD-4912-914F-8421DD424A09}"/>
                </a:ext>
              </a:extLst>
            </p:cNvPr>
            <p:cNvSpPr/>
            <p:nvPr/>
          </p:nvSpPr>
          <p:spPr>
            <a:xfrm rot="7484129">
              <a:off x="1688065" y="258665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orme libre : forme 65">
              <a:extLst>
                <a:ext uri="{FF2B5EF4-FFF2-40B4-BE49-F238E27FC236}">
                  <a16:creationId xmlns:a16="http://schemas.microsoft.com/office/drawing/2014/main" id="{0BDE36BD-7206-4F9A-9356-56E83345F790}"/>
                </a:ext>
              </a:extLst>
            </p:cNvPr>
            <p:cNvSpPr/>
            <p:nvPr/>
          </p:nvSpPr>
          <p:spPr>
            <a:xfrm rot="13089394">
              <a:off x="1846715" y="2536003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orme libre : forme 66">
              <a:extLst>
                <a:ext uri="{FF2B5EF4-FFF2-40B4-BE49-F238E27FC236}">
                  <a16:creationId xmlns:a16="http://schemas.microsoft.com/office/drawing/2014/main" id="{6239D104-F777-403D-9315-E21DA6A3EEC6}"/>
                </a:ext>
              </a:extLst>
            </p:cNvPr>
            <p:cNvSpPr/>
            <p:nvPr/>
          </p:nvSpPr>
          <p:spPr>
            <a:xfrm rot="8716295">
              <a:off x="2127606" y="2245885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7D0AE68E-C325-4D34-A9E9-2281E6887FAE}"/>
                </a:ext>
              </a:extLst>
            </p:cNvPr>
            <p:cNvSpPr/>
            <p:nvPr/>
          </p:nvSpPr>
          <p:spPr>
            <a:xfrm rot="8716295">
              <a:off x="2049197" y="208909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orme libre : forme 68">
              <a:extLst>
                <a:ext uri="{FF2B5EF4-FFF2-40B4-BE49-F238E27FC236}">
                  <a16:creationId xmlns:a16="http://schemas.microsoft.com/office/drawing/2014/main" id="{951597CD-8FD0-420C-8BE6-25D28A25DDE8}"/>
                </a:ext>
              </a:extLst>
            </p:cNvPr>
            <p:cNvSpPr/>
            <p:nvPr/>
          </p:nvSpPr>
          <p:spPr>
            <a:xfrm rot="8716295">
              <a:off x="1681033" y="21348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orme libre : forme 69">
              <a:extLst>
                <a:ext uri="{FF2B5EF4-FFF2-40B4-BE49-F238E27FC236}">
                  <a16:creationId xmlns:a16="http://schemas.microsoft.com/office/drawing/2014/main" id="{A7CD329F-8CED-4DA2-A304-EE2009E4062D}"/>
                </a:ext>
              </a:extLst>
            </p:cNvPr>
            <p:cNvSpPr/>
            <p:nvPr/>
          </p:nvSpPr>
          <p:spPr>
            <a:xfrm rot="8716295">
              <a:off x="1949615" y="189381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orme libre : forme 70">
              <a:extLst>
                <a:ext uri="{FF2B5EF4-FFF2-40B4-BE49-F238E27FC236}">
                  <a16:creationId xmlns:a16="http://schemas.microsoft.com/office/drawing/2014/main" id="{D4BADD55-B2B9-4053-A92A-A804648D0A9D}"/>
                </a:ext>
              </a:extLst>
            </p:cNvPr>
            <p:cNvSpPr/>
            <p:nvPr/>
          </p:nvSpPr>
          <p:spPr>
            <a:xfrm rot="8716295">
              <a:off x="787294" y="148117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orme libre : forme 71">
              <a:extLst>
                <a:ext uri="{FF2B5EF4-FFF2-40B4-BE49-F238E27FC236}">
                  <a16:creationId xmlns:a16="http://schemas.microsoft.com/office/drawing/2014/main" id="{313FE4B5-4E98-415B-AE99-26EEB0846C87}"/>
                </a:ext>
              </a:extLst>
            </p:cNvPr>
            <p:cNvSpPr/>
            <p:nvPr/>
          </p:nvSpPr>
          <p:spPr>
            <a:xfrm rot="8716295">
              <a:off x="922592" y="152543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orme libre : forme 72">
              <a:extLst>
                <a:ext uri="{FF2B5EF4-FFF2-40B4-BE49-F238E27FC236}">
                  <a16:creationId xmlns:a16="http://schemas.microsoft.com/office/drawing/2014/main" id="{2E069437-A0B3-49B8-BC79-1EE3FD296BEA}"/>
                </a:ext>
              </a:extLst>
            </p:cNvPr>
            <p:cNvSpPr/>
            <p:nvPr/>
          </p:nvSpPr>
          <p:spPr>
            <a:xfrm rot="8716295">
              <a:off x="854710" y="1394843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" name="Forme libre : forme 73">
              <a:extLst>
                <a:ext uri="{FF2B5EF4-FFF2-40B4-BE49-F238E27FC236}">
                  <a16:creationId xmlns:a16="http://schemas.microsoft.com/office/drawing/2014/main" id="{6B76B21D-C865-4228-A4DA-51B112FED31F}"/>
                </a:ext>
              </a:extLst>
            </p:cNvPr>
            <p:cNvSpPr/>
            <p:nvPr/>
          </p:nvSpPr>
          <p:spPr>
            <a:xfrm rot="8716295">
              <a:off x="617423" y="161518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" name="Forme libre : forme 74">
              <a:extLst>
                <a:ext uri="{FF2B5EF4-FFF2-40B4-BE49-F238E27FC236}">
                  <a16:creationId xmlns:a16="http://schemas.microsoft.com/office/drawing/2014/main" id="{9C509C7D-5C6F-42FB-9A15-E611792EFEA1}"/>
                </a:ext>
              </a:extLst>
            </p:cNvPr>
            <p:cNvSpPr/>
            <p:nvPr/>
          </p:nvSpPr>
          <p:spPr>
            <a:xfrm rot="8716295">
              <a:off x="428376" y="129935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" name="Forme libre : forme 75">
              <a:extLst>
                <a:ext uri="{FF2B5EF4-FFF2-40B4-BE49-F238E27FC236}">
                  <a16:creationId xmlns:a16="http://schemas.microsoft.com/office/drawing/2014/main" id="{25514701-F05E-45CE-9E8C-F263D950578E}"/>
                </a:ext>
              </a:extLst>
            </p:cNvPr>
            <p:cNvSpPr/>
            <p:nvPr/>
          </p:nvSpPr>
          <p:spPr>
            <a:xfrm rot="8716295">
              <a:off x="410135" y="1089302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" name="Forme libre : forme 76">
              <a:extLst>
                <a:ext uri="{FF2B5EF4-FFF2-40B4-BE49-F238E27FC236}">
                  <a16:creationId xmlns:a16="http://schemas.microsoft.com/office/drawing/2014/main" id="{4F1DD0BF-A36A-4AF7-BAF7-588D33FE30E2}"/>
                </a:ext>
              </a:extLst>
            </p:cNvPr>
            <p:cNvSpPr/>
            <p:nvPr/>
          </p:nvSpPr>
          <p:spPr>
            <a:xfrm rot="8716295">
              <a:off x="753911" y="1677170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" name="Forme libre : forme 77">
              <a:extLst>
                <a:ext uri="{FF2B5EF4-FFF2-40B4-BE49-F238E27FC236}">
                  <a16:creationId xmlns:a16="http://schemas.microsoft.com/office/drawing/2014/main" id="{86EB67B0-A057-4D07-8844-7A83556C99CC}"/>
                </a:ext>
              </a:extLst>
            </p:cNvPr>
            <p:cNvSpPr/>
            <p:nvPr/>
          </p:nvSpPr>
          <p:spPr>
            <a:xfrm rot="8716295">
              <a:off x="1224858" y="1102556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orme libre : forme 78">
              <a:extLst>
                <a:ext uri="{FF2B5EF4-FFF2-40B4-BE49-F238E27FC236}">
                  <a16:creationId xmlns:a16="http://schemas.microsoft.com/office/drawing/2014/main" id="{8B1E7611-C4A8-43A8-BF26-46C4341A14DB}"/>
                </a:ext>
              </a:extLst>
            </p:cNvPr>
            <p:cNvSpPr/>
            <p:nvPr/>
          </p:nvSpPr>
          <p:spPr>
            <a:xfrm rot="8716295">
              <a:off x="1360156" y="1146815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Forme libre : forme 79">
              <a:extLst>
                <a:ext uri="{FF2B5EF4-FFF2-40B4-BE49-F238E27FC236}">
                  <a16:creationId xmlns:a16="http://schemas.microsoft.com/office/drawing/2014/main" id="{BEBD671E-1FA5-4603-8F2B-FA9516AF8638}"/>
                </a:ext>
              </a:extLst>
            </p:cNvPr>
            <p:cNvSpPr/>
            <p:nvPr/>
          </p:nvSpPr>
          <p:spPr>
            <a:xfrm rot="8716295">
              <a:off x="1054986" y="123657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" name="Forme libre : forme 80">
              <a:extLst>
                <a:ext uri="{FF2B5EF4-FFF2-40B4-BE49-F238E27FC236}">
                  <a16:creationId xmlns:a16="http://schemas.microsoft.com/office/drawing/2014/main" id="{F6AD6C56-BF4C-4518-8F9A-D5095F4E40C8}"/>
                </a:ext>
              </a:extLst>
            </p:cNvPr>
            <p:cNvSpPr/>
            <p:nvPr/>
          </p:nvSpPr>
          <p:spPr>
            <a:xfrm rot="8716295">
              <a:off x="865942" y="92073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orme libre : forme 81">
              <a:extLst>
                <a:ext uri="{FF2B5EF4-FFF2-40B4-BE49-F238E27FC236}">
                  <a16:creationId xmlns:a16="http://schemas.microsoft.com/office/drawing/2014/main" id="{4181F286-2CA0-4AF5-9316-EE2B4FDBB08E}"/>
                </a:ext>
              </a:extLst>
            </p:cNvPr>
            <p:cNvSpPr/>
            <p:nvPr/>
          </p:nvSpPr>
          <p:spPr>
            <a:xfrm rot="8716295">
              <a:off x="1191475" y="1298554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Forme libre : forme 82">
              <a:extLst>
                <a:ext uri="{FF2B5EF4-FFF2-40B4-BE49-F238E27FC236}">
                  <a16:creationId xmlns:a16="http://schemas.microsoft.com/office/drawing/2014/main" id="{6E154404-167F-4146-9BEC-311C41267A4F}"/>
                </a:ext>
              </a:extLst>
            </p:cNvPr>
            <p:cNvSpPr/>
            <p:nvPr/>
          </p:nvSpPr>
          <p:spPr>
            <a:xfrm rot="8716295">
              <a:off x="826028" y="1072128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4" name="Forme libre : forme 83">
              <a:extLst>
                <a:ext uri="{FF2B5EF4-FFF2-40B4-BE49-F238E27FC236}">
                  <a16:creationId xmlns:a16="http://schemas.microsoft.com/office/drawing/2014/main" id="{E6806809-8D8F-4EE1-BB26-3F2C826B2E90}"/>
                </a:ext>
              </a:extLst>
            </p:cNvPr>
            <p:cNvSpPr/>
            <p:nvPr/>
          </p:nvSpPr>
          <p:spPr>
            <a:xfrm rot="7484129">
              <a:off x="1350292" y="158817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5" name="Forme libre : forme 84">
              <a:extLst>
                <a:ext uri="{FF2B5EF4-FFF2-40B4-BE49-F238E27FC236}">
                  <a16:creationId xmlns:a16="http://schemas.microsoft.com/office/drawing/2014/main" id="{8AA32DBC-713F-46C2-9609-C454BB2EBAAE}"/>
                </a:ext>
              </a:extLst>
            </p:cNvPr>
            <p:cNvSpPr/>
            <p:nvPr/>
          </p:nvSpPr>
          <p:spPr>
            <a:xfrm rot="13089394">
              <a:off x="1508942" y="1537520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6" name="Forme libre : forme 85">
              <a:extLst>
                <a:ext uri="{FF2B5EF4-FFF2-40B4-BE49-F238E27FC236}">
                  <a16:creationId xmlns:a16="http://schemas.microsoft.com/office/drawing/2014/main" id="{51EBFD3A-7611-46FF-AE7D-0AC9AF9511B5}"/>
                </a:ext>
              </a:extLst>
            </p:cNvPr>
            <p:cNvSpPr/>
            <p:nvPr/>
          </p:nvSpPr>
          <p:spPr>
            <a:xfrm rot="8716295">
              <a:off x="1789833" y="1247402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7" name="Forme libre : forme 86">
              <a:extLst>
                <a:ext uri="{FF2B5EF4-FFF2-40B4-BE49-F238E27FC236}">
                  <a16:creationId xmlns:a16="http://schemas.microsoft.com/office/drawing/2014/main" id="{7BC619E6-2AA2-4557-84AC-D6D182B996C5}"/>
                </a:ext>
              </a:extLst>
            </p:cNvPr>
            <p:cNvSpPr/>
            <p:nvPr/>
          </p:nvSpPr>
          <p:spPr>
            <a:xfrm rot="8716295">
              <a:off x="1711424" y="109061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8" name="Forme libre : forme 87">
              <a:extLst>
                <a:ext uri="{FF2B5EF4-FFF2-40B4-BE49-F238E27FC236}">
                  <a16:creationId xmlns:a16="http://schemas.microsoft.com/office/drawing/2014/main" id="{F81A7437-8336-4876-95A7-BD572FAED152}"/>
                </a:ext>
              </a:extLst>
            </p:cNvPr>
            <p:cNvSpPr/>
            <p:nvPr/>
          </p:nvSpPr>
          <p:spPr>
            <a:xfrm rot="8716295">
              <a:off x="1343261" y="113635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9" name="Forme libre : forme 88">
              <a:extLst>
                <a:ext uri="{FF2B5EF4-FFF2-40B4-BE49-F238E27FC236}">
                  <a16:creationId xmlns:a16="http://schemas.microsoft.com/office/drawing/2014/main" id="{B70DD9BD-1FC9-4B98-8769-B37CAAFCEC17}"/>
                </a:ext>
              </a:extLst>
            </p:cNvPr>
            <p:cNvSpPr/>
            <p:nvPr/>
          </p:nvSpPr>
          <p:spPr>
            <a:xfrm rot="8716295">
              <a:off x="1611842" y="89533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" name="Forme libre : forme 89">
              <a:extLst>
                <a:ext uri="{FF2B5EF4-FFF2-40B4-BE49-F238E27FC236}">
                  <a16:creationId xmlns:a16="http://schemas.microsoft.com/office/drawing/2014/main" id="{DC2940E5-7415-40BB-B706-4016B27C3DB2}"/>
                </a:ext>
              </a:extLst>
            </p:cNvPr>
            <p:cNvSpPr/>
            <p:nvPr/>
          </p:nvSpPr>
          <p:spPr>
            <a:xfrm rot="8716295">
              <a:off x="455920" y="47911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" name="Forme libre : forme 90">
              <a:extLst>
                <a:ext uri="{FF2B5EF4-FFF2-40B4-BE49-F238E27FC236}">
                  <a16:creationId xmlns:a16="http://schemas.microsoft.com/office/drawing/2014/main" id="{52585AAE-B2D0-438C-BC9F-C750F15F890C}"/>
                </a:ext>
              </a:extLst>
            </p:cNvPr>
            <p:cNvSpPr/>
            <p:nvPr/>
          </p:nvSpPr>
          <p:spPr>
            <a:xfrm rot="8716295">
              <a:off x="591219" y="52337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" name="Forme libre : forme 91">
              <a:extLst>
                <a:ext uri="{FF2B5EF4-FFF2-40B4-BE49-F238E27FC236}">
                  <a16:creationId xmlns:a16="http://schemas.microsoft.com/office/drawing/2014/main" id="{E63C71D8-D175-46A8-AA42-AB77BF57CFF3}"/>
                </a:ext>
              </a:extLst>
            </p:cNvPr>
            <p:cNvSpPr/>
            <p:nvPr/>
          </p:nvSpPr>
          <p:spPr>
            <a:xfrm rot="8716295">
              <a:off x="523336" y="39278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" name="Forme libre : forme 92">
              <a:extLst>
                <a:ext uri="{FF2B5EF4-FFF2-40B4-BE49-F238E27FC236}">
                  <a16:creationId xmlns:a16="http://schemas.microsoft.com/office/drawing/2014/main" id="{C200F3C8-A4FA-4E06-9F43-7329A49AF0A1}"/>
                </a:ext>
              </a:extLst>
            </p:cNvPr>
            <p:cNvSpPr/>
            <p:nvPr/>
          </p:nvSpPr>
          <p:spPr>
            <a:xfrm rot="8716295">
              <a:off x="286049" y="6131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" name="Forme libre : forme 93">
              <a:extLst>
                <a:ext uri="{FF2B5EF4-FFF2-40B4-BE49-F238E27FC236}">
                  <a16:creationId xmlns:a16="http://schemas.microsoft.com/office/drawing/2014/main" id="{154A22C5-EC1E-43BA-ACAF-79BC6F3D576D}"/>
                </a:ext>
              </a:extLst>
            </p:cNvPr>
            <p:cNvSpPr/>
            <p:nvPr/>
          </p:nvSpPr>
          <p:spPr>
            <a:xfrm rot="8716295">
              <a:off x="97003" y="2972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orme libre : forme 94">
              <a:extLst>
                <a:ext uri="{FF2B5EF4-FFF2-40B4-BE49-F238E27FC236}">
                  <a16:creationId xmlns:a16="http://schemas.microsoft.com/office/drawing/2014/main" id="{046AC798-93FA-43CE-B018-2724737AFAB7}"/>
                </a:ext>
              </a:extLst>
            </p:cNvPr>
            <p:cNvSpPr/>
            <p:nvPr/>
          </p:nvSpPr>
          <p:spPr>
            <a:xfrm rot="8716295">
              <a:off x="78761" y="87249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Forme libre : forme 95">
              <a:extLst>
                <a:ext uri="{FF2B5EF4-FFF2-40B4-BE49-F238E27FC236}">
                  <a16:creationId xmlns:a16="http://schemas.microsoft.com/office/drawing/2014/main" id="{7EB63D12-C97A-4806-9B7E-492DAF5A8D97}"/>
                </a:ext>
              </a:extLst>
            </p:cNvPr>
            <p:cNvSpPr/>
            <p:nvPr/>
          </p:nvSpPr>
          <p:spPr>
            <a:xfrm rot="8716295">
              <a:off x="422537" y="67511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" name="Forme libre : forme 96">
              <a:extLst>
                <a:ext uri="{FF2B5EF4-FFF2-40B4-BE49-F238E27FC236}">
                  <a16:creationId xmlns:a16="http://schemas.microsoft.com/office/drawing/2014/main" id="{1806B75B-8705-4074-AEFF-3715A3B4A58C}"/>
                </a:ext>
              </a:extLst>
            </p:cNvPr>
            <p:cNvSpPr/>
            <p:nvPr/>
          </p:nvSpPr>
          <p:spPr>
            <a:xfrm rot="8716295">
              <a:off x="893484" y="10050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" name="Forme libre : forme 97">
              <a:extLst>
                <a:ext uri="{FF2B5EF4-FFF2-40B4-BE49-F238E27FC236}">
                  <a16:creationId xmlns:a16="http://schemas.microsoft.com/office/drawing/2014/main" id="{AB690B93-68A6-412B-BE9D-7BF4A62DFBAE}"/>
                </a:ext>
              </a:extLst>
            </p:cNvPr>
            <p:cNvSpPr/>
            <p:nvPr/>
          </p:nvSpPr>
          <p:spPr>
            <a:xfrm rot="8716295">
              <a:off x="1028783" y="14476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" name="Forme libre : forme 98">
              <a:extLst>
                <a:ext uri="{FF2B5EF4-FFF2-40B4-BE49-F238E27FC236}">
                  <a16:creationId xmlns:a16="http://schemas.microsoft.com/office/drawing/2014/main" id="{CF4399C2-6A4B-4B09-A803-90528B9B6BB5}"/>
                </a:ext>
              </a:extLst>
            </p:cNvPr>
            <p:cNvSpPr/>
            <p:nvPr/>
          </p:nvSpPr>
          <p:spPr>
            <a:xfrm rot="8716295">
              <a:off x="723613" y="23451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orme libre : forme 99">
              <a:extLst>
                <a:ext uri="{FF2B5EF4-FFF2-40B4-BE49-F238E27FC236}">
                  <a16:creationId xmlns:a16="http://schemas.microsoft.com/office/drawing/2014/main" id="{244D8443-8208-40F5-B1CF-110ABB79D7E7}"/>
                </a:ext>
              </a:extLst>
            </p:cNvPr>
            <p:cNvSpPr/>
            <p:nvPr/>
          </p:nvSpPr>
          <p:spPr>
            <a:xfrm rot="8716295">
              <a:off x="547803" y="-17289"/>
              <a:ext cx="308531" cy="226033"/>
            </a:xfrm>
            <a:custGeom>
              <a:avLst/>
              <a:gdLst>
                <a:gd name="connsiteX0" fmla="*/ 106716 w 203847"/>
                <a:gd name="connsiteY0" fmla="*/ 149340 h 149340"/>
                <a:gd name="connsiteX1" fmla="*/ 50038 w 203847"/>
                <a:gd name="connsiteY1" fmla="*/ 110053 h 149340"/>
                <a:gd name="connsiteX2" fmla="*/ 69777 w 203847"/>
                <a:gd name="connsiteY2" fmla="*/ 55323 h 149340"/>
                <a:gd name="connsiteX3" fmla="*/ 0 w 203847"/>
                <a:gd name="connsiteY3" fmla="*/ 55323 h 149340"/>
                <a:gd name="connsiteX4" fmla="*/ 0 w 203847"/>
                <a:gd name="connsiteY4" fmla="*/ 0 h 149340"/>
                <a:gd name="connsiteX5" fmla="*/ 203847 w 203847"/>
                <a:gd name="connsiteY5" fmla="*/ 0 h 149340"/>
                <a:gd name="connsiteX6" fmla="*/ 203847 w 203847"/>
                <a:gd name="connsiteY6" fmla="*/ 55323 h 149340"/>
                <a:gd name="connsiteX7" fmla="*/ 139055 w 203847"/>
                <a:gd name="connsiteY7" fmla="*/ 55323 h 14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49340">
                  <a:moveTo>
                    <a:pt x="106716" y="149340"/>
                  </a:moveTo>
                  <a:lnTo>
                    <a:pt x="50038" y="110053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Forme libre : forme 100">
              <a:extLst>
                <a:ext uri="{FF2B5EF4-FFF2-40B4-BE49-F238E27FC236}">
                  <a16:creationId xmlns:a16="http://schemas.microsoft.com/office/drawing/2014/main" id="{1DC1AB77-DFBD-48D5-BA47-D445EDCA0CEF}"/>
                </a:ext>
              </a:extLst>
            </p:cNvPr>
            <p:cNvSpPr/>
            <p:nvPr/>
          </p:nvSpPr>
          <p:spPr>
            <a:xfrm rot="8716295">
              <a:off x="860101" y="29650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" name="Forme libre : forme 101">
              <a:extLst>
                <a:ext uri="{FF2B5EF4-FFF2-40B4-BE49-F238E27FC236}">
                  <a16:creationId xmlns:a16="http://schemas.microsoft.com/office/drawing/2014/main" id="{F59B8FC1-4AE7-4990-AF75-539F5B58458B}"/>
                </a:ext>
              </a:extLst>
            </p:cNvPr>
            <p:cNvSpPr/>
            <p:nvPr/>
          </p:nvSpPr>
          <p:spPr>
            <a:xfrm rot="8716295">
              <a:off x="494655" y="7007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" name="Forme libre : forme 102">
              <a:extLst>
                <a:ext uri="{FF2B5EF4-FFF2-40B4-BE49-F238E27FC236}">
                  <a16:creationId xmlns:a16="http://schemas.microsoft.com/office/drawing/2014/main" id="{868AEFC4-250F-471C-A43A-28F6923BB61D}"/>
                </a:ext>
              </a:extLst>
            </p:cNvPr>
            <p:cNvSpPr/>
            <p:nvPr/>
          </p:nvSpPr>
          <p:spPr>
            <a:xfrm rot="7484129">
              <a:off x="1018919" y="58611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" name="Forme libre : forme 103">
              <a:extLst>
                <a:ext uri="{FF2B5EF4-FFF2-40B4-BE49-F238E27FC236}">
                  <a16:creationId xmlns:a16="http://schemas.microsoft.com/office/drawing/2014/main" id="{7720FECD-8541-443F-AFBA-99868EB29B55}"/>
                </a:ext>
              </a:extLst>
            </p:cNvPr>
            <p:cNvSpPr/>
            <p:nvPr/>
          </p:nvSpPr>
          <p:spPr>
            <a:xfrm rot="13089394">
              <a:off x="1177568" y="53546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" name="Forme libre : forme 104">
              <a:extLst>
                <a:ext uri="{FF2B5EF4-FFF2-40B4-BE49-F238E27FC236}">
                  <a16:creationId xmlns:a16="http://schemas.microsoft.com/office/drawing/2014/main" id="{EC21D4C1-E07B-4E45-A18C-FDC88EB32F75}"/>
                </a:ext>
              </a:extLst>
            </p:cNvPr>
            <p:cNvSpPr/>
            <p:nvPr/>
          </p:nvSpPr>
          <p:spPr>
            <a:xfrm rot="8716295">
              <a:off x="1458459" y="24534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" name="Forme libre : forme 105">
              <a:extLst>
                <a:ext uri="{FF2B5EF4-FFF2-40B4-BE49-F238E27FC236}">
                  <a16:creationId xmlns:a16="http://schemas.microsoft.com/office/drawing/2014/main" id="{F27332C2-A714-4595-B5C0-9F2B9BA6FD2B}"/>
                </a:ext>
              </a:extLst>
            </p:cNvPr>
            <p:cNvSpPr/>
            <p:nvPr/>
          </p:nvSpPr>
          <p:spPr>
            <a:xfrm rot="8716295">
              <a:off x="1380050" y="8855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" name="Forme libre : forme 106">
              <a:extLst>
                <a:ext uri="{FF2B5EF4-FFF2-40B4-BE49-F238E27FC236}">
                  <a16:creationId xmlns:a16="http://schemas.microsoft.com/office/drawing/2014/main" id="{674A78BA-4944-4138-B4F5-A2FBC8048D50}"/>
                </a:ext>
              </a:extLst>
            </p:cNvPr>
            <p:cNvSpPr/>
            <p:nvPr/>
          </p:nvSpPr>
          <p:spPr>
            <a:xfrm rot="8716295">
              <a:off x="1011887" y="13429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" name="Forme libre : forme 107">
              <a:extLst>
                <a:ext uri="{FF2B5EF4-FFF2-40B4-BE49-F238E27FC236}">
                  <a16:creationId xmlns:a16="http://schemas.microsoft.com/office/drawing/2014/main" id="{7D76DD03-F270-4ACF-B774-06410BC28EE6}"/>
                </a:ext>
              </a:extLst>
            </p:cNvPr>
            <p:cNvSpPr/>
            <p:nvPr/>
          </p:nvSpPr>
          <p:spPr>
            <a:xfrm rot="8716295">
              <a:off x="1291652" y="-36449"/>
              <a:ext cx="134197" cy="106947"/>
            </a:xfrm>
            <a:custGeom>
              <a:avLst/>
              <a:gdLst>
                <a:gd name="connsiteX0" fmla="*/ 83649 w 88664"/>
                <a:gd name="connsiteY0" fmla="*/ 70660 h 70660"/>
                <a:gd name="connsiteX1" fmla="*/ 0 w 88664"/>
                <a:gd name="connsiteY1" fmla="*/ 12677 h 70660"/>
                <a:gd name="connsiteX2" fmla="*/ 30024 w 88664"/>
                <a:gd name="connsiteY2" fmla="*/ 0 h 70660"/>
                <a:gd name="connsiteX3" fmla="*/ 71417 w 88664"/>
                <a:gd name="connsiteY3" fmla="*/ 17477 h 70660"/>
                <a:gd name="connsiteX4" fmla="*/ 88664 w 88664"/>
                <a:gd name="connsiteY4" fmla="*/ 58525 h 70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664" h="70660">
                  <a:moveTo>
                    <a:pt x="83649" y="70660"/>
                  </a:moveTo>
                  <a:lnTo>
                    <a:pt x="0" y="12677"/>
                  </a:lnTo>
                  <a:lnTo>
                    <a:pt x="30024" y="0"/>
                  </a:lnTo>
                  <a:cubicBezTo>
                    <a:pt x="45662" y="0"/>
                    <a:pt x="60379" y="6439"/>
                    <a:pt x="71417" y="17477"/>
                  </a:cubicBezTo>
                  <a:cubicBezTo>
                    <a:pt x="82915" y="28515"/>
                    <a:pt x="88664" y="43462"/>
                    <a:pt x="88664" y="58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" name="Forme libre : forme 108">
              <a:extLst>
                <a:ext uri="{FF2B5EF4-FFF2-40B4-BE49-F238E27FC236}">
                  <a16:creationId xmlns:a16="http://schemas.microsoft.com/office/drawing/2014/main" id="{3E28A378-29F9-4E63-8D2F-7910EE2CA370}"/>
                </a:ext>
              </a:extLst>
            </p:cNvPr>
            <p:cNvSpPr/>
            <p:nvPr/>
          </p:nvSpPr>
          <p:spPr>
            <a:xfrm rot="13089394">
              <a:off x="990163" y="-39748"/>
              <a:ext cx="111277" cy="115595"/>
            </a:xfrm>
            <a:custGeom>
              <a:avLst/>
              <a:gdLst>
                <a:gd name="connsiteX0" fmla="*/ 73521 w 73521"/>
                <a:gd name="connsiteY0" fmla="*/ 18609 h 76374"/>
                <a:gd name="connsiteX1" fmla="*/ 0 w 73521"/>
                <a:gd name="connsiteY1" fmla="*/ 76374 h 76374"/>
                <a:gd name="connsiteX2" fmla="*/ 0 w 73521"/>
                <a:gd name="connsiteY2" fmla="*/ 38074 h 76374"/>
                <a:gd name="connsiteX3" fmla="*/ 73388 w 73521"/>
                <a:gd name="connsiteY3" fmla="*/ 0 h 7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521" h="76374">
                  <a:moveTo>
                    <a:pt x="73521" y="18609"/>
                  </a:moveTo>
                  <a:lnTo>
                    <a:pt x="0" y="76374"/>
                  </a:lnTo>
                  <a:lnTo>
                    <a:pt x="0" y="38074"/>
                  </a:lnTo>
                  <a:lnTo>
                    <a:pt x="7338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" name="Forme libre : forme 109">
              <a:extLst>
                <a:ext uri="{FF2B5EF4-FFF2-40B4-BE49-F238E27FC236}">
                  <a16:creationId xmlns:a16="http://schemas.microsoft.com/office/drawing/2014/main" id="{F1CC83E5-A4EB-42DD-9A17-370BFA21AAE9}"/>
                </a:ext>
              </a:extLst>
            </p:cNvPr>
            <p:cNvSpPr/>
            <p:nvPr/>
          </p:nvSpPr>
          <p:spPr>
            <a:xfrm rot="8716295">
              <a:off x="121288" y="414134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" name="Forme libre : forme 110">
              <a:extLst>
                <a:ext uri="{FF2B5EF4-FFF2-40B4-BE49-F238E27FC236}">
                  <a16:creationId xmlns:a16="http://schemas.microsoft.com/office/drawing/2014/main" id="{9526DB8B-159A-416E-9CE4-0D6F2D18F32F}"/>
                </a:ext>
              </a:extLst>
            </p:cNvPr>
            <p:cNvSpPr/>
            <p:nvPr/>
          </p:nvSpPr>
          <p:spPr>
            <a:xfrm rot="8716295">
              <a:off x="256586" y="418560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" name="Forme libre : forme 111">
              <a:extLst>
                <a:ext uri="{FF2B5EF4-FFF2-40B4-BE49-F238E27FC236}">
                  <a16:creationId xmlns:a16="http://schemas.microsoft.com/office/drawing/2014/main" id="{8B12B296-AAE6-463A-B5CB-324F979AE957}"/>
                </a:ext>
              </a:extLst>
            </p:cNvPr>
            <p:cNvSpPr/>
            <p:nvPr/>
          </p:nvSpPr>
          <p:spPr>
            <a:xfrm rot="8716295">
              <a:off x="188704" y="405501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" name="Forme libre : forme 112">
              <a:extLst>
                <a:ext uri="{FF2B5EF4-FFF2-40B4-BE49-F238E27FC236}">
                  <a16:creationId xmlns:a16="http://schemas.microsoft.com/office/drawing/2014/main" id="{9A3F4C45-E84E-45F4-A1D8-E67A24057076}"/>
                </a:ext>
              </a:extLst>
            </p:cNvPr>
            <p:cNvSpPr/>
            <p:nvPr/>
          </p:nvSpPr>
          <p:spPr>
            <a:xfrm rot="8716295">
              <a:off x="-22408" y="4278013"/>
              <a:ext cx="57413" cy="71926"/>
            </a:xfrm>
            <a:custGeom>
              <a:avLst/>
              <a:gdLst>
                <a:gd name="connsiteX0" fmla="*/ 11441 w 57413"/>
                <a:gd name="connsiteY0" fmla="*/ 71926 h 71926"/>
                <a:gd name="connsiteX1" fmla="*/ 0 w 57413"/>
                <a:gd name="connsiteY1" fmla="*/ 44829 h 71926"/>
                <a:gd name="connsiteX2" fmla="*/ 0 w 57413"/>
                <a:gd name="connsiteY2" fmla="*/ 44139 h 71926"/>
                <a:gd name="connsiteX3" fmla="*/ 13104 w 57413"/>
                <a:gd name="connsiteY3" fmla="*/ 13104 h 71926"/>
                <a:gd name="connsiteX4" fmla="*/ 44139 w 57413"/>
                <a:gd name="connsiteY4" fmla="*/ 0 h 71926"/>
                <a:gd name="connsiteX5" fmla="*/ 57413 w 57413"/>
                <a:gd name="connsiteY5" fmla="*/ 5605 h 71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413" h="71926">
                  <a:moveTo>
                    <a:pt x="11441" y="71926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lnTo>
                    <a:pt x="57413" y="5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" name="Forme libre : forme 113">
              <a:extLst>
                <a:ext uri="{FF2B5EF4-FFF2-40B4-BE49-F238E27FC236}">
                  <a16:creationId xmlns:a16="http://schemas.microsoft.com/office/drawing/2014/main" id="{9EDF78AD-4158-4BDF-B490-2317803ACA6E}"/>
                </a:ext>
              </a:extLst>
            </p:cNvPr>
            <p:cNvSpPr/>
            <p:nvPr/>
          </p:nvSpPr>
          <p:spPr>
            <a:xfrm rot="8716295">
              <a:off x="-36969" y="4107248"/>
              <a:ext cx="147272" cy="83734"/>
            </a:xfrm>
            <a:custGeom>
              <a:avLst/>
              <a:gdLst>
                <a:gd name="connsiteX0" fmla="*/ 0 w 147272"/>
                <a:gd name="connsiteY0" fmla="*/ 83734 h 83734"/>
                <a:gd name="connsiteX1" fmla="*/ 0 w 147272"/>
                <a:gd name="connsiteY1" fmla="*/ 0 h 83734"/>
                <a:gd name="connsiteX2" fmla="*/ 147272 w 147272"/>
                <a:gd name="connsiteY2" fmla="*/ 0 h 83734"/>
                <a:gd name="connsiteX3" fmla="*/ 89230 w 147272"/>
                <a:gd name="connsiteY3" fmla="*/ 83734 h 83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272" h="83734">
                  <a:moveTo>
                    <a:pt x="0" y="83734"/>
                  </a:moveTo>
                  <a:lnTo>
                    <a:pt x="0" y="0"/>
                  </a:lnTo>
                  <a:lnTo>
                    <a:pt x="147272" y="0"/>
                  </a:lnTo>
                  <a:lnTo>
                    <a:pt x="89230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" name="Forme libre : forme 114">
              <a:extLst>
                <a:ext uri="{FF2B5EF4-FFF2-40B4-BE49-F238E27FC236}">
                  <a16:creationId xmlns:a16="http://schemas.microsoft.com/office/drawing/2014/main" id="{18A6ED0C-2A06-421B-B360-5120C1917E60}"/>
                </a:ext>
              </a:extLst>
            </p:cNvPr>
            <p:cNvSpPr/>
            <p:nvPr/>
          </p:nvSpPr>
          <p:spPr>
            <a:xfrm rot="8716295">
              <a:off x="43378" y="3712531"/>
              <a:ext cx="125537" cy="468763"/>
            </a:xfrm>
            <a:custGeom>
              <a:avLst/>
              <a:gdLst>
                <a:gd name="connsiteX0" fmla="*/ 29455 w 125537"/>
                <a:gd name="connsiteY0" fmla="*/ 468763 h 468763"/>
                <a:gd name="connsiteX1" fmla="*/ 7792 w 125537"/>
                <a:gd name="connsiteY1" fmla="*/ 425988 h 468763"/>
                <a:gd name="connsiteX2" fmla="*/ 0 w 125537"/>
                <a:gd name="connsiteY2" fmla="*/ 333043 h 468763"/>
                <a:gd name="connsiteX3" fmla="*/ 0 w 125537"/>
                <a:gd name="connsiteY3" fmla="*/ 61444 h 468763"/>
                <a:gd name="connsiteX4" fmla="*/ 118434 w 125537"/>
                <a:gd name="connsiteY4" fmla="*/ 0 h 468763"/>
                <a:gd name="connsiteX5" fmla="*/ 120216 w 125537"/>
                <a:gd name="connsiteY5" fmla="*/ 248447 h 468763"/>
                <a:gd name="connsiteX6" fmla="*/ 123889 w 125537"/>
                <a:gd name="connsiteY6" fmla="*/ 323359 h 468763"/>
                <a:gd name="connsiteX7" fmla="*/ 125537 w 125537"/>
                <a:gd name="connsiteY7" fmla="*/ 330150 h 468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537" h="468763">
                  <a:moveTo>
                    <a:pt x="29455" y="468763"/>
                  </a:moveTo>
                  <a:lnTo>
                    <a:pt x="7792" y="425988"/>
                  </a:lnTo>
                  <a:cubicBezTo>
                    <a:pt x="2003" y="400498"/>
                    <a:pt x="0" y="369553"/>
                    <a:pt x="0" y="333043"/>
                  </a:cubicBezTo>
                  <a:lnTo>
                    <a:pt x="0" y="61444"/>
                  </a:lnTo>
                  <a:lnTo>
                    <a:pt x="118434" y="0"/>
                  </a:lnTo>
                  <a:lnTo>
                    <a:pt x="120216" y="248447"/>
                  </a:lnTo>
                  <a:cubicBezTo>
                    <a:pt x="118880" y="273381"/>
                    <a:pt x="120216" y="298537"/>
                    <a:pt x="123889" y="323359"/>
                  </a:cubicBezTo>
                  <a:lnTo>
                    <a:pt x="125537" y="3301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" name="Forme libre : forme 115">
              <a:extLst>
                <a:ext uri="{FF2B5EF4-FFF2-40B4-BE49-F238E27FC236}">
                  <a16:creationId xmlns:a16="http://schemas.microsoft.com/office/drawing/2014/main" id="{E0FDC8EF-8848-4C0A-9102-11E05499477A}"/>
                </a:ext>
              </a:extLst>
            </p:cNvPr>
            <p:cNvSpPr/>
            <p:nvPr/>
          </p:nvSpPr>
          <p:spPr>
            <a:xfrm rot="8716295">
              <a:off x="87905" y="4337347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" name="Forme libre : forme 116">
              <a:extLst>
                <a:ext uri="{FF2B5EF4-FFF2-40B4-BE49-F238E27FC236}">
                  <a16:creationId xmlns:a16="http://schemas.microsoft.com/office/drawing/2014/main" id="{5A06B087-2ED7-4364-B770-117460F6509C}"/>
                </a:ext>
              </a:extLst>
            </p:cNvPr>
            <p:cNvSpPr/>
            <p:nvPr/>
          </p:nvSpPr>
          <p:spPr>
            <a:xfrm rot="8716295">
              <a:off x="558851" y="376273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" name="Forme libre : forme 117">
              <a:extLst>
                <a:ext uri="{FF2B5EF4-FFF2-40B4-BE49-F238E27FC236}">
                  <a16:creationId xmlns:a16="http://schemas.microsoft.com/office/drawing/2014/main" id="{A9CE4EB9-9050-492E-8BE3-E347F06FFDC2}"/>
                </a:ext>
              </a:extLst>
            </p:cNvPr>
            <p:cNvSpPr/>
            <p:nvPr/>
          </p:nvSpPr>
          <p:spPr>
            <a:xfrm rot="8716295">
              <a:off x="694150" y="380699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" name="Forme libre : forme 118">
              <a:extLst>
                <a:ext uri="{FF2B5EF4-FFF2-40B4-BE49-F238E27FC236}">
                  <a16:creationId xmlns:a16="http://schemas.microsoft.com/office/drawing/2014/main" id="{760AB253-194C-499B-8D42-794DA9755956}"/>
                </a:ext>
              </a:extLst>
            </p:cNvPr>
            <p:cNvSpPr/>
            <p:nvPr/>
          </p:nvSpPr>
          <p:spPr>
            <a:xfrm rot="8716295">
              <a:off x="388980" y="389674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" name="Forme libre : forme 119">
              <a:extLst>
                <a:ext uri="{FF2B5EF4-FFF2-40B4-BE49-F238E27FC236}">
                  <a16:creationId xmlns:a16="http://schemas.microsoft.com/office/drawing/2014/main" id="{40898D3E-1FCF-4F50-8E01-1AFEA6AF3C33}"/>
                </a:ext>
              </a:extLst>
            </p:cNvPr>
            <p:cNvSpPr/>
            <p:nvPr/>
          </p:nvSpPr>
          <p:spPr>
            <a:xfrm rot="8716295">
              <a:off x="199936" y="358091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" name="Forme libre : forme 120">
              <a:extLst>
                <a:ext uri="{FF2B5EF4-FFF2-40B4-BE49-F238E27FC236}">
                  <a16:creationId xmlns:a16="http://schemas.microsoft.com/office/drawing/2014/main" id="{D3FAD429-F566-4023-B7BD-D5217FAA5D96}"/>
                </a:ext>
              </a:extLst>
            </p:cNvPr>
            <p:cNvSpPr/>
            <p:nvPr/>
          </p:nvSpPr>
          <p:spPr>
            <a:xfrm rot="8716295">
              <a:off x="525469" y="3958731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" name="Forme libre : forme 121">
              <a:extLst>
                <a:ext uri="{FF2B5EF4-FFF2-40B4-BE49-F238E27FC236}">
                  <a16:creationId xmlns:a16="http://schemas.microsoft.com/office/drawing/2014/main" id="{D20A67B5-6AA2-4AB0-B207-C07057BDE093}"/>
                </a:ext>
              </a:extLst>
            </p:cNvPr>
            <p:cNvSpPr/>
            <p:nvPr/>
          </p:nvSpPr>
          <p:spPr>
            <a:xfrm rot="8716295">
              <a:off x="160022" y="3732305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" name="Forme libre : forme 122">
              <a:extLst>
                <a:ext uri="{FF2B5EF4-FFF2-40B4-BE49-F238E27FC236}">
                  <a16:creationId xmlns:a16="http://schemas.microsoft.com/office/drawing/2014/main" id="{91FEBD80-6813-4F8F-ACF7-9087BB051204}"/>
                </a:ext>
              </a:extLst>
            </p:cNvPr>
            <p:cNvSpPr/>
            <p:nvPr/>
          </p:nvSpPr>
          <p:spPr>
            <a:xfrm rot="7484129">
              <a:off x="684286" y="424834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" name="Forme libre : forme 123">
              <a:extLst>
                <a:ext uri="{FF2B5EF4-FFF2-40B4-BE49-F238E27FC236}">
                  <a16:creationId xmlns:a16="http://schemas.microsoft.com/office/drawing/2014/main" id="{4CAAD98F-1BEB-4716-B4A0-F4F1C4393647}"/>
                </a:ext>
              </a:extLst>
            </p:cNvPr>
            <p:cNvSpPr/>
            <p:nvPr/>
          </p:nvSpPr>
          <p:spPr>
            <a:xfrm rot="13089394">
              <a:off x="842936" y="4197697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" name="Forme libre : forme 124">
              <a:extLst>
                <a:ext uri="{FF2B5EF4-FFF2-40B4-BE49-F238E27FC236}">
                  <a16:creationId xmlns:a16="http://schemas.microsoft.com/office/drawing/2014/main" id="{B934D86F-56B5-4940-9189-1F845F67AF3D}"/>
                </a:ext>
              </a:extLst>
            </p:cNvPr>
            <p:cNvSpPr/>
            <p:nvPr/>
          </p:nvSpPr>
          <p:spPr>
            <a:xfrm rot="8716295">
              <a:off x="1123827" y="390757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" name="Forme libre : forme 125">
              <a:extLst>
                <a:ext uri="{FF2B5EF4-FFF2-40B4-BE49-F238E27FC236}">
                  <a16:creationId xmlns:a16="http://schemas.microsoft.com/office/drawing/2014/main" id="{0BB740E0-5261-47F5-A043-EC9887338951}"/>
                </a:ext>
              </a:extLst>
            </p:cNvPr>
            <p:cNvSpPr/>
            <p:nvPr/>
          </p:nvSpPr>
          <p:spPr>
            <a:xfrm rot="8716295">
              <a:off x="1045418" y="375078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" name="Forme libre : forme 126">
              <a:extLst>
                <a:ext uri="{FF2B5EF4-FFF2-40B4-BE49-F238E27FC236}">
                  <a16:creationId xmlns:a16="http://schemas.microsoft.com/office/drawing/2014/main" id="{07B02AA0-438E-4A9F-9E86-C7798EAE77E1}"/>
                </a:ext>
              </a:extLst>
            </p:cNvPr>
            <p:cNvSpPr/>
            <p:nvPr/>
          </p:nvSpPr>
          <p:spPr>
            <a:xfrm rot="8716295">
              <a:off x="677254" y="379652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" name="Forme libre : forme 127">
              <a:extLst>
                <a:ext uri="{FF2B5EF4-FFF2-40B4-BE49-F238E27FC236}">
                  <a16:creationId xmlns:a16="http://schemas.microsoft.com/office/drawing/2014/main" id="{500903EF-2A49-42E8-AD78-049F43A296FF}"/>
                </a:ext>
              </a:extLst>
            </p:cNvPr>
            <p:cNvSpPr/>
            <p:nvPr/>
          </p:nvSpPr>
          <p:spPr>
            <a:xfrm rot="8716295">
              <a:off x="945836" y="355550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" name="Forme libre : forme 128">
              <a:extLst>
                <a:ext uri="{FF2B5EF4-FFF2-40B4-BE49-F238E27FC236}">
                  <a16:creationId xmlns:a16="http://schemas.microsoft.com/office/drawing/2014/main" id="{480AF78A-BA1A-4D97-9E00-1B9DCCFB07D3}"/>
                </a:ext>
              </a:extLst>
            </p:cNvPr>
            <p:cNvSpPr/>
            <p:nvPr/>
          </p:nvSpPr>
          <p:spPr>
            <a:xfrm rot="8716295">
              <a:off x="601570" y="5027951"/>
              <a:ext cx="169680" cy="113030"/>
            </a:xfrm>
            <a:custGeom>
              <a:avLst/>
              <a:gdLst>
                <a:gd name="connsiteX0" fmla="*/ 8965 w 169680"/>
                <a:gd name="connsiteY0" fmla="*/ 113030 h 113030"/>
                <a:gd name="connsiteX1" fmla="*/ 0 w 169680"/>
                <a:gd name="connsiteY1" fmla="*/ 100616 h 113030"/>
                <a:gd name="connsiteX2" fmla="*/ 106933 w 169680"/>
                <a:gd name="connsiteY2" fmla="*/ 0 h 113030"/>
                <a:gd name="connsiteX3" fmla="*/ 169680 w 169680"/>
                <a:gd name="connsiteY3" fmla="*/ 43494 h 113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680" h="113030">
                  <a:moveTo>
                    <a:pt x="8965" y="113030"/>
                  </a:moveTo>
                  <a:lnTo>
                    <a:pt x="0" y="100616"/>
                  </a:lnTo>
                  <a:lnTo>
                    <a:pt x="106933" y="0"/>
                  </a:lnTo>
                  <a:lnTo>
                    <a:pt x="169680" y="434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" name="Forme libre : forme 129">
              <a:extLst>
                <a:ext uri="{FF2B5EF4-FFF2-40B4-BE49-F238E27FC236}">
                  <a16:creationId xmlns:a16="http://schemas.microsoft.com/office/drawing/2014/main" id="{EE8617F6-3CC3-49C7-A836-7CB9E4E540AD}"/>
                </a:ext>
              </a:extLst>
            </p:cNvPr>
            <p:cNvSpPr/>
            <p:nvPr/>
          </p:nvSpPr>
          <p:spPr>
            <a:xfrm rot="8716295">
              <a:off x="197311" y="4925365"/>
              <a:ext cx="194366" cy="296463"/>
            </a:xfrm>
            <a:custGeom>
              <a:avLst/>
              <a:gdLst>
                <a:gd name="connsiteX0" fmla="*/ 137293 w 194366"/>
                <a:gd name="connsiteY0" fmla="*/ 296463 h 296463"/>
                <a:gd name="connsiteX1" fmla="*/ 72418 w 194366"/>
                <a:gd name="connsiteY1" fmla="*/ 175766 h 296463"/>
                <a:gd name="connsiteX2" fmla="*/ 105610 w 194366"/>
                <a:gd name="connsiteY2" fmla="*/ 83734 h 296463"/>
                <a:gd name="connsiteX3" fmla="*/ 0 w 194366"/>
                <a:gd name="connsiteY3" fmla="*/ 83734 h 296463"/>
                <a:gd name="connsiteX4" fmla="*/ 0 w 194366"/>
                <a:gd name="connsiteY4" fmla="*/ 0 h 296463"/>
                <a:gd name="connsiteX5" fmla="*/ 6043 w 194366"/>
                <a:gd name="connsiteY5" fmla="*/ 0 h 296463"/>
                <a:gd name="connsiteX6" fmla="*/ 194366 w 194366"/>
                <a:gd name="connsiteY6" fmla="*/ 130539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4366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6043" y="0"/>
                  </a:lnTo>
                  <a:lnTo>
                    <a:pt x="194366" y="1305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" name="Forme libre : forme 130">
              <a:extLst>
                <a:ext uri="{FF2B5EF4-FFF2-40B4-BE49-F238E27FC236}">
                  <a16:creationId xmlns:a16="http://schemas.microsoft.com/office/drawing/2014/main" id="{7A3770F8-0F14-4D5B-BC93-8BDF0237ED5F}"/>
                </a:ext>
              </a:extLst>
            </p:cNvPr>
            <p:cNvSpPr/>
            <p:nvPr/>
          </p:nvSpPr>
          <p:spPr>
            <a:xfrm rot="8716295">
              <a:off x="81902" y="4747962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" name="Forme libre : forme 131">
              <a:extLst>
                <a:ext uri="{FF2B5EF4-FFF2-40B4-BE49-F238E27FC236}">
                  <a16:creationId xmlns:a16="http://schemas.microsoft.com/office/drawing/2014/main" id="{6F3531E0-325E-4C4E-9F22-978D3BA0B1C2}"/>
                </a:ext>
              </a:extLst>
            </p:cNvPr>
            <p:cNvSpPr/>
            <p:nvPr/>
          </p:nvSpPr>
          <p:spPr>
            <a:xfrm rot="8716295">
              <a:off x="896624" y="4761216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" name="Forme libre : forme 132">
              <a:extLst>
                <a:ext uri="{FF2B5EF4-FFF2-40B4-BE49-F238E27FC236}">
                  <a16:creationId xmlns:a16="http://schemas.microsoft.com/office/drawing/2014/main" id="{0B981DC2-26C2-44B6-A24A-4014CF42843D}"/>
                </a:ext>
              </a:extLst>
            </p:cNvPr>
            <p:cNvSpPr/>
            <p:nvPr/>
          </p:nvSpPr>
          <p:spPr>
            <a:xfrm rot="8716295">
              <a:off x="1032483" y="4799006"/>
              <a:ext cx="389853" cy="383455"/>
            </a:xfrm>
            <a:custGeom>
              <a:avLst/>
              <a:gdLst>
                <a:gd name="connsiteX0" fmla="*/ 77932 w 389853"/>
                <a:gd name="connsiteY0" fmla="*/ 383455 h 383455"/>
                <a:gd name="connsiteX1" fmla="*/ 77932 w 389853"/>
                <a:gd name="connsiteY1" fmla="*/ 66898 h 383455"/>
                <a:gd name="connsiteX2" fmla="*/ 0 w 389853"/>
                <a:gd name="connsiteY2" fmla="*/ 66898 h 383455"/>
                <a:gd name="connsiteX3" fmla="*/ 0 w 389853"/>
                <a:gd name="connsiteY3" fmla="*/ 0 h 383455"/>
                <a:gd name="connsiteX4" fmla="*/ 158623 w 389853"/>
                <a:gd name="connsiteY4" fmla="*/ 0 h 383455"/>
                <a:gd name="connsiteX5" fmla="*/ 158623 w 389853"/>
                <a:gd name="connsiteY5" fmla="*/ 111726 h 383455"/>
                <a:gd name="connsiteX6" fmla="*/ 160692 w 389853"/>
                <a:gd name="connsiteY6" fmla="*/ 111726 h 383455"/>
                <a:gd name="connsiteX7" fmla="*/ 192762 w 389853"/>
                <a:gd name="connsiteY7" fmla="*/ 39914 h 383455"/>
                <a:gd name="connsiteX8" fmla="*/ 216292 w 389853"/>
                <a:gd name="connsiteY8" fmla="*/ 20658 h 383455"/>
                <a:gd name="connsiteX9" fmla="*/ 389853 w 389853"/>
                <a:gd name="connsiteY9" fmla="*/ 140965 h 383455"/>
                <a:gd name="connsiteX10" fmla="*/ 300695 w 389853"/>
                <a:gd name="connsiteY10" fmla="*/ 146210 h 383455"/>
                <a:gd name="connsiteX11" fmla="*/ 300694 w 389853"/>
                <a:gd name="connsiteY11" fmla="*/ 121382 h 383455"/>
                <a:gd name="connsiteX12" fmla="*/ 249659 w 389853"/>
                <a:gd name="connsiteY12" fmla="*/ 58622 h 383455"/>
                <a:gd name="connsiteX13" fmla="*/ 168969 w 389853"/>
                <a:gd name="connsiteY13" fmla="*/ 191038 h 383455"/>
                <a:gd name="connsiteX14" fmla="*/ 168969 w 389853"/>
                <a:gd name="connsiteY14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9853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71727" y="78967"/>
                    <a:pt x="181555" y="56208"/>
                    <a:pt x="192762" y="39914"/>
                  </a:cubicBezTo>
                  <a:lnTo>
                    <a:pt x="216292" y="20658"/>
                  </a:lnTo>
                  <a:lnTo>
                    <a:pt x="389853" y="140965"/>
                  </a:lnTo>
                  <a:lnTo>
                    <a:pt x="300695" y="146210"/>
                  </a:lnTo>
                  <a:lnTo>
                    <a:pt x="300694" y="121382"/>
                  </a:lnTo>
                  <a:cubicBezTo>
                    <a:pt x="300695" y="84140"/>
                    <a:pt x="279315" y="58621"/>
                    <a:pt x="249659" y="58622"/>
                  </a:cubicBezTo>
                  <a:cubicBezTo>
                    <a:pt x="205521" y="58621"/>
                    <a:pt x="168969" y="117244"/>
                    <a:pt x="168969" y="191038"/>
                  </a:cubicBez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" name="Forme libre : forme 133">
              <a:extLst>
                <a:ext uri="{FF2B5EF4-FFF2-40B4-BE49-F238E27FC236}">
                  <a16:creationId xmlns:a16="http://schemas.microsoft.com/office/drawing/2014/main" id="{A3972FDD-BF94-4723-9E5F-9672CBFB9038}"/>
                </a:ext>
              </a:extLst>
            </p:cNvPr>
            <p:cNvSpPr/>
            <p:nvPr/>
          </p:nvSpPr>
          <p:spPr>
            <a:xfrm rot="8716295">
              <a:off x="726753" y="489523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" name="Forme libre : forme 134">
              <a:extLst>
                <a:ext uri="{FF2B5EF4-FFF2-40B4-BE49-F238E27FC236}">
                  <a16:creationId xmlns:a16="http://schemas.microsoft.com/office/drawing/2014/main" id="{53E7288B-8855-433D-88B5-BB9A05F8E9B6}"/>
                </a:ext>
              </a:extLst>
            </p:cNvPr>
            <p:cNvSpPr/>
            <p:nvPr/>
          </p:nvSpPr>
          <p:spPr>
            <a:xfrm rot="8716295">
              <a:off x="537709" y="457939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" name="Forme libre : forme 135">
              <a:extLst>
                <a:ext uri="{FF2B5EF4-FFF2-40B4-BE49-F238E27FC236}">
                  <a16:creationId xmlns:a16="http://schemas.microsoft.com/office/drawing/2014/main" id="{6D0BADDB-ADF9-4A5A-9268-3F374A71F372}"/>
                </a:ext>
              </a:extLst>
            </p:cNvPr>
            <p:cNvSpPr/>
            <p:nvPr/>
          </p:nvSpPr>
          <p:spPr>
            <a:xfrm rot="8716295">
              <a:off x="826576" y="4988476"/>
              <a:ext cx="91035" cy="198648"/>
            </a:xfrm>
            <a:custGeom>
              <a:avLst/>
              <a:gdLst>
                <a:gd name="connsiteX0" fmla="*/ 91035 w 91035"/>
                <a:gd name="connsiteY0" fmla="*/ 198648 h 198648"/>
                <a:gd name="connsiteX1" fmla="*/ 0 w 91035"/>
                <a:gd name="connsiteY1" fmla="*/ 111060 h 198648"/>
                <a:gd name="connsiteX2" fmla="*/ 0 w 91035"/>
                <a:gd name="connsiteY2" fmla="*/ 0 h 198648"/>
                <a:gd name="connsiteX3" fmla="*/ 91035 w 91035"/>
                <a:gd name="connsiteY3" fmla="*/ 63103 h 198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198648">
                  <a:moveTo>
                    <a:pt x="91035" y="198648"/>
                  </a:moveTo>
                  <a:lnTo>
                    <a:pt x="0" y="111060"/>
                  </a:lnTo>
                  <a:lnTo>
                    <a:pt x="0" y="0"/>
                  </a:lnTo>
                  <a:lnTo>
                    <a:pt x="91035" y="631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" name="Forme libre : forme 136">
              <a:extLst>
                <a:ext uri="{FF2B5EF4-FFF2-40B4-BE49-F238E27FC236}">
                  <a16:creationId xmlns:a16="http://schemas.microsoft.com/office/drawing/2014/main" id="{7A0A28EA-B520-49BA-800F-B4282BF0ECB8}"/>
                </a:ext>
              </a:extLst>
            </p:cNvPr>
            <p:cNvSpPr/>
            <p:nvPr/>
          </p:nvSpPr>
          <p:spPr>
            <a:xfrm rot="8716295">
              <a:off x="497795" y="4730788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" name="Forme libre : forme 137">
              <a:extLst>
                <a:ext uri="{FF2B5EF4-FFF2-40B4-BE49-F238E27FC236}">
                  <a16:creationId xmlns:a16="http://schemas.microsoft.com/office/drawing/2014/main" id="{8781DCBF-8301-4C81-B93D-E186016AF47F}"/>
                </a:ext>
              </a:extLst>
            </p:cNvPr>
            <p:cNvSpPr/>
            <p:nvPr/>
          </p:nvSpPr>
          <p:spPr>
            <a:xfrm rot="8716295">
              <a:off x="1459248" y="4904357"/>
              <a:ext cx="328004" cy="223069"/>
            </a:xfrm>
            <a:custGeom>
              <a:avLst/>
              <a:gdLst>
                <a:gd name="connsiteX0" fmla="*/ 10574 w 328004"/>
                <a:gd name="connsiteY0" fmla="*/ 223069 h 223069"/>
                <a:gd name="connsiteX1" fmla="*/ 0 w 328004"/>
                <a:gd name="connsiteY1" fmla="*/ 208428 h 223069"/>
                <a:gd name="connsiteX2" fmla="*/ 192781 w 328004"/>
                <a:gd name="connsiteY2" fmla="*/ 27035 h 223069"/>
                <a:gd name="connsiteX3" fmla="*/ 227094 w 328004"/>
                <a:gd name="connsiteY3" fmla="*/ 0 h 223069"/>
                <a:gd name="connsiteX4" fmla="*/ 328004 w 328004"/>
                <a:gd name="connsiteY4" fmla="*/ 69948 h 223069"/>
                <a:gd name="connsiteX5" fmla="*/ 326080 w 328004"/>
                <a:gd name="connsiteY5" fmla="*/ 74925 h 223069"/>
                <a:gd name="connsiteX6" fmla="*/ 293645 w 328004"/>
                <a:gd name="connsiteY6" fmla="*/ 100243 h 223069"/>
                <a:gd name="connsiteX7" fmla="*/ 294458 w 328004"/>
                <a:gd name="connsiteY7" fmla="*/ 100243 h 223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8004" h="223069">
                  <a:moveTo>
                    <a:pt x="10574" y="223069"/>
                  </a:moveTo>
                  <a:lnTo>
                    <a:pt x="0" y="208428"/>
                  </a:lnTo>
                  <a:lnTo>
                    <a:pt x="192781" y="27035"/>
                  </a:lnTo>
                  <a:lnTo>
                    <a:pt x="227094" y="0"/>
                  </a:lnTo>
                  <a:lnTo>
                    <a:pt x="328004" y="69948"/>
                  </a:lnTo>
                  <a:lnTo>
                    <a:pt x="326080" y="74925"/>
                  </a:lnTo>
                  <a:cubicBezTo>
                    <a:pt x="317843" y="85805"/>
                    <a:pt x="306659" y="94549"/>
                    <a:pt x="293645" y="100243"/>
                  </a:cubicBezTo>
                  <a:lnTo>
                    <a:pt x="294458" y="10024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" name="Forme libre : forme 138">
              <a:extLst>
                <a:ext uri="{FF2B5EF4-FFF2-40B4-BE49-F238E27FC236}">
                  <a16:creationId xmlns:a16="http://schemas.microsoft.com/office/drawing/2014/main" id="{3ED78FC6-709C-4AA3-BB63-2CC979D6E8FB}"/>
                </a:ext>
              </a:extLst>
            </p:cNvPr>
            <p:cNvSpPr/>
            <p:nvPr/>
          </p:nvSpPr>
          <p:spPr>
            <a:xfrm rot="8716295">
              <a:off x="1383191" y="474927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" name="Forme libre : forme 139">
              <a:extLst>
                <a:ext uri="{FF2B5EF4-FFF2-40B4-BE49-F238E27FC236}">
                  <a16:creationId xmlns:a16="http://schemas.microsoft.com/office/drawing/2014/main" id="{AC25FEFC-06C2-45EF-9330-9EAB676F1680}"/>
                </a:ext>
              </a:extLst>
            </p:cNvPr>
            <p:cNvSpPr/>
            <p:nvPr/>
          </p:nvSpPr>
          <p:spPr>
            <a:xfrm rot="8716295">
              <a:off x="1015027" y="479501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" name="Forme libre : forme 140">
              <a:extLst>
                <a:ext uri="{FF2B5EF4-FFF2-40B4-BE49-F238E27FC236}">
                  <a16:creationId xmlns:a16="http://schemas.microsoft.com/office/drawing/2014/main" id="{6FCEE809-B78B-468F-8A4F-11AD6B5B5DFE}"/>
                </a:ext>
              </a:extLst>
            </p:cNvPr>
            <p:cNvSpPr/>
            <p:nvPr/>
          </p:nvSpPr>
          <p:spPr>
            <a:xfrm rot="8716295">
              <a:off x="1283609" y="455399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" name="Forme libre : forme 141">
              <a:extLst>
                <a:ext uri="{FF2B5EF4-FFF2-40B4-BE49-F238E27FC236}">
                  <a16:creationId xmlns:a16="http://schemas.microsoft.com/office/drawing/2014/main" id="{4D7B8EF3-5C2F-4403-A58E-C6455E9DC2F8}"/>
                </a:ext>
              </a:extLst>
            </p:cNvPr>
            <p:cNvSpPr/>
            <p:nvPr/>
          </p:nvSpPr>
          <p:spPr>
            <a:xfrm rot="8716295">
              <a:off x="-30381" y="3359388"/>
              <a:ext cx="98497" cy="75863"/>
            </a:xfrm>
            <a:custGeom>
              <a:avLst/>
              <a:gdLst>
                <a:gd name="connsiteX0" fmla="*/ 0 w 98497"/>
                <a:gd name="connsiteY0" fmla="*/ 75863 h 75863"/>
                <a:gd name="connsiteX1" fmla="*/ 0 w 98497"/>
                <a:gd name="connsiteY1" fmla="*/ 0 h 75863"/>
                <a:gd name="connsiteX2" fmla="*/ 98497 w 98497"/>
                <a:gd name="connsiteY2" fmla="*/ 0 h 75863"/>
                <a:gd name="connsiteX3" fmla="*/ 45911 w 98497"/>
                <a:gd name="connsiteY3" fmla="*/ 75863 h 75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497" h="75863">
                  <a:moveTo>
                    <a:pt x="0" y="75863"/>
                  </a:moveTo>
                  <a:lnTo>
                    <a:pt x="0" y="0"/>
                  </a:lnTo>
                  <a:lnTo>
                    <a:pt x="98497" y="0"/>
                  </a:lnTo>
                  <a:lnTo>
                    <a:pt x="45911" y="758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" name="Forme libre : forme 142">
              <a:extLst>
                <a:ext uri="{FF2B5EF4-FFF2-40B4-BE49-F238E27FC236}">
                  <a16:creationId xmlns:a16="http://schemas.microsoft.com/office/drawing/2014/main" id="{E1CB3E01-5CB9-4779-88E3-4FF297370B3E}"/>
                </a:ext>
              </a:extLst>
            </p:cNvPr>
            <p:cNvSpPr/>
            <p:nvPr/>
          </p:nvSpPr>
          <p:spPr>
            <a:xfrm rot="8716295">
              <a:off x="-77334" y="3178477"/>
              <a:ext cx="389652" cy="385611"/>
            </a:xfrm>
            <a:custGeom>
              <a:avLst/>
              <a:gdLst>
                <a:gd name="connsiteX0" fmla="*/ 77932 w 389652"/>
                <a:gd name="connsiteY0" fmla="*/ 385611 h 385611"/>
                <a:gd name="connsiteX1" fmla="*/ 77932 w 389652"/>
                <a:gd name="connsiteY1" fmla="*/ 69054 h 385611"/>
                <a:gd name="connsiteX2" fmla="*/ 0 w 389652"/>
                <a:gd name="connsiteY2" fmla="*/ 69054 h 385611"/>
                <a:gd name="connsiteX3" fmla="*/ 0 w 389652"/>
                <a:gd name="connsiteY3" fmla="*/ 2156 h 385611"/>
                <a:gd name="connsiteX4" fmla="*/ 158623 w 389652"/>
                <a:gd name="connsiteY4" fmla="*/ 2156 h 385611"/>
                <a:gd name="connsiteX5" fmla="*/ 158623 w 389652"/>
                <a:gd name="connsiteY5" fmla="*/ 113882 h 385611"/>
                <a:gd name="connsiteX6" fmla="*/ 160692 w 389652"/>
                <a:gd name="connsiteY6" fmla="*/ 113882 h 385611"/>
                <a:gd name="connsiteX7" fmla="*/ 233107 w 389652"/>
                <a:gd name="connsiteY7" fmla="*/ 9053 h 385611"/>
                <a:gd name="connsiteX8" fmla="*/ 280694 w 389652"/>
                <a:gd name="connsiteY8" fmla="*/ 87 h 385611"/>
                <a:gd name="connsiteX9" fmla="*/ 364230 w 389652"/>
                <a:gd name="connsiteY9" fmla="*/ 34398 h 385611"/>
                <a:gd name="connsiteX10" fmla="*/ 389652 w 389652"/>
                <a:gd name="connsiteY10" fmla="*/ 117977 h 385611"/>
                <a:gd name="connsiteX11" fmla="*/ 371473 w 389652"/>
                <a:gd name="connsiteY11" fmla="*/ 144202 h 385611"/>
                <a:gd name="connsiteX12" fmla="*/ 300695 w 389652"/>
                <a:gd name="connsiteY12" fmla="*/ 148366 h 385611"/>
                <a:gd name="connsiteX13" fmla="*/ 300695 w 389652"/>
                <a:gd name="connsiteY13" fmla="*/ 123538 h 385611"/>
                <a:gd name="connsiteX14" fmla="*/ 249659 w 389652"/>
                <a:gd name="connsiteY14" fmla="*/ 60778 h 385611"/>
                <a:gd name="connsiteX15" fmla="*/ 168969 w 389652"/>
                <a:gd name="connsiteY15" fmla="*/ 193194 h 385611"/>
                <a:gd name="connsiteX16" fmla="*/ 168969 w 389652"/>
                <a:gd name="connsiteY16" fmla="*/ 323541 h 385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89652" h="385611">
                  <a:moveTo>
                    <a:pt x="77932" y="385611"/>
                  </a:moveTo>
                  <a:lnTo>
                    <a:pt x="77932" y="69054"/>
                  </a:lnTo>
                  <a:lnTo>
                    <a:pt x="0" y="69054"/>
                  </a:lnTo>
                  <a:lnTo>
                    <a:pt x="0" y="2156"/>
                  </a:lnTo>
                  <a:lnTo>
                    <a:pt x="158623" y="2156"/>
                  </a:lnTo>
                  <a:lnTo>
                    <a:pt x="158623" y="113882"/>
                  </a:lnTo>
                  <a:lnTo>
                    <a:pt x="160692" y="113882"/>
                  </a:lnTo>
                  <a:cubicBezTo>
                    <a:pt x="182762" y="48364"/>
                    <a:pt x="200003" y="22846"/>
                    <a:pt x="233107" y="9053"/>
                  </a:cubicBezTo>
                  <a:cubicBezTo>
                    <a:pt x="248280" y="2846"/>
                    <a:pt x="264142" y="-602"/>
                    <a:pt x="280694" y="87"/>
                  </a:cubicBezTo>
                  <a:cubicBezTo>
                    <a:pt x="316212" y="-603"/>
                    <a:pt x="344661" y="11466"/>
                    <a:pt x="364230" y="34398"/>
                  </a:cubicBezTo>
                  <a:lnTo>
                    <a:pt x="389652" y="117977"/>
                  </a:lnTo>
                  <a:lnTo>
                    <a:pt x="371473" y="144202"/>
                  </a:lnTo>
                  <a:lnTo>
                    <a:pt x="300695" y="148366"/>
                  </a:lnTo>
                  <a:lnTo>
                    <a:pt x="300695" y="123538"/>
                  </a:lnTo>
                  <a:cubicBezTo>
                    <a:pt x="300695" y="86296"/>
                    <a:pt x="279315" y="60778"/>
                    <a:pt x="249659" y="60778"/>
                  </a:cubicBezTo>
                  <a:cubicBezTo>
                    <a:pt x="205521" y="60778"/>
                    <a:pt x="168969" y="119400"/>
                    <a:pt x="168969" y="193194"/>
                  </a:cubicBezTo>
                  <a:lnTo>
                    <a:pt x="168969" y="3235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4" name="Forme libre : forme 143">
              <a:extLst>
                <a:ext uri="{FF2B5EF4-FFF2-40B4-BE49-F238E27FC236}">
                  <a16:creationId xmlns:a16="http://schemas.microsoft.com/office/drawing/2014/main" id="{693C3616-465F-40B5-99BD-A4355895EC1C}"/>
                </a:ext>
              </a:extLst>
            </p:cNvPr>
            <p:cNvSpPr/>
            <p:nvPr/>
          </p:nvSpPr>
          <p:spPr>
            <a:xfrm rot="8716295">
              <a:off x="-71352" y="3029015"/>
              <a:ext cx="193594" cy="189959"/>
            </a:xfrm>
            <a:custGeom>
              <a:avLst/>
              <a:gdLst>
                <a:gd name="connsiteX0" fmla="*/ 8965 w 193594"/>
                <a:gd name="connsiteY0" fmla="*/ 189959 h 189959"/>
                <a:gd name="connsiteX1" fmla="*/ 0 w 193594"/>
                <a:gd name="connsiteY1" fmla="*/ 177545 h 189959"/>
                <a:gd name="connsiteX2" fmla="*/ 163451 w 193594"/>
                <a:gd name="connsiteY2" fmla="*/ 23749 h 189959"/>
                <a:gd name="connsiteX3" fmla="*/ 193594 w 193594"/>
                <a:gd name="connsiteY3" fmla="*/ 0 h 189959"/>
                <a:gd name="connsiteX4" fmla="*/ 84606 w 193594"/>
                <a:gd name="connsiteY4" fmla="*/ 157232 h 189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594" h="189959">
                  <a:moveTo>
                    <a:pt x="8965" y="189959"/>
                  </a:moveTo>
                  <a:lnTo>
                    <a:pt x="0" y="177545"/>
                  </a:lnTo>
                  <a:lnTo>
                    <a:pt x="163451" y="23749"/>
                  </a:lnTo>
                  <a:lnTo>
                    <a:pt x="193594" y="0"/>
                  </a:lnTo>
                  <a:lnTo>
                    <a:pt x="84606" y="15723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5" name="Forme libre : forme 144">
              <a:extLst>
                <a:ext uri="{FF2B5EF4-FFF2-40B4-BE49-F238E27FC236}">
                  <a16:creationId xmlns:a16="http://schemas.microsoft.com/office/drawing/2014/main" id="{24B29AA9-322C-494E-97CF-CB28B697D24F}"/>
                </a:ext>
              </a:extLst>
            </p:cNvPr>
            <p:cNvSpPr/>
            <p:nvPr/>
          </p:nvSpPr>
          <p:spPr>
            <a:xfrm rot="8716295">
              <a:off x="223574" y="276232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6" name="Forme libre : forme 145">
              <a:extLst>
                <a:ext uri="{FF2B5EF4-FFF2-40B4-BE49-F238E27FC236}">
                  <a16:creationId xmlns:a16="http://schemas.microsoft.com/office/drawing/2014/main" id="{F8DE088E-7554-4812-9E9E-4D30E041F578}"/>
                </a:ext>
              </a:extLst>
            </p:cNvPr>
            <p:cNvSpPr/>
            <p:nvPr/>
          </p:nvSpPr>
          <p:spPr>
            <a:xfrm rot="8716295">
              <a:off x="358873" y="2806579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7" name="Forme libre : forme 146">
              <a:extLst>
                <a:ext uri="{FF2B5EF4-FFF2-40B4-BE49-F238E27FC236}">
                  <a16:creationId xmlns:a16="http://schemas.microsoft.com/office/drawing/2014/main" id="{B9E26502-E7AD-4DA1-9955-0A4E18FDB87E}"/>
                </a:ext>
              </a:extLst>
            </p:cNvPr>
            <p:cNvSpPr/>
            <p:nvPr/>
          </p:nvSpPr>
          <p:spPr>
            <a:xfrm rot="8716295">
              <a:off x="53703" y="2896335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8" name="Forme libre : forme 147">
              <a:extLst>
                <a:ext uri="{FF2B5EF4-FFF2-40B4-BE49-F238E27FC236}">
                  <a16:creationId xmlns:a16="http://schemas.microsoft.com/office/drawing/2014/main" id="{916CFE5B-3405-43DB-8C30-699019D1BD67}"/>
                </a:ext>
              </a:extLst>
            </p:cNvPr>
            <p:cNvSpPr/>
            <p:nvPr/>
          </p:nvSpPr>
          <p:spPr>
            <a:xfrm rot="8716295">
              <a:off x="-92201" y="2622488"/>
              <a:ext cx="271732" cy="238722"/>
            </a:xfrm>
            <a:custGeom>
              <a:avLst/>
              <a:gdLst>
                <a:gd name="connsiteX0" fmla="*/ 106257 w 271732"/>
                <a:gd name="connsiteY0" fmla="*/ 238722 h 238722"/>
                <a:gd name="connsiteX1" fmla="*/ 72418 w 271732"/>
                <a:gd name="connsiteY1" fmla="*/ 175766 h 238722"/>
                <a:gd name="connsiteX2" fmla="*/ 105610 w 271732"/>
                <a:gd name="connsiteY2" fmla="*/ 83734 h 238722"/>
                <a:gd name="connsiteX3" fmla="*/ 0 w 271732"/>
                <a:gd name="connsiteY3" fmla="*/ 83734 h 238722"/>
                <a:gd name="connsiteX4" fmla="*/ 0 w 271732"/>
                <a:gd name="connsiteY4" fmla="*/ 0 h 238722"/>
                <a:gd name="connsiteX5" fmla="*/ 271732 w 271732"/>
                <a:gd name="connsiteY5" fmla="*/ 0 h 238722"/>
                <a:gd name="connsiteX6" fmla="*/ 213690 w 271732"/>
                <a:gd name="connsiteY6" fmla="*/ 83734 h 238722"/>
                <a:gd name="connsiteX7" fmla="*/ 210465 w 271732"/>
                <a:gd name="connsiteY7" fmla="*/ 83734 h 238722"/>
                <a:gd name="connsiteX8" fmla="*/ 207289 w 271732"/>
                <a:gd name="connsiteY8" fmla="*/ 92969 h 238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1732" h="238722">
                  <a:moveTo>
                    <a:pt x="106257" y="238722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71732" y="0"/>
                  </a:lnTo>
                  <a:lnTo>
                    <a:pt x="213690" y="83734"/>
                  </a:lnTo>
                  <a:lnTo>
                    <a:pt x="210465" y="83734"/>
                  </a:lnTo>
                  <a:lnTo>
                    <a:pt x="207289" y="929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9" name="Forme libre : forme 148">
              <a:extLst>
                <a:ext uri="{FF2B5EF4-FFF2-40B4-BE49-F238E27FC236}">
                  <a16:creationId xmlns:a16="http://schemas.microsoft.com/office/drawing/2014/main" id="{D3C330C6-8ED8-4019-9D23-534F7E32B7C3}"/>
                </a:ext>
              </a:extLst>
            </p:cNvPr>
            <p:cNvSpPr/>
            <p:nvPr/>
          </p:nvSpPr>
          <p:spPr>
            <a:xfrm rot="8716295">
              <a:off x="190192" y="2958318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0" name="Forme libre : forme 149">
              <a:extLst>
                <a:ext uri="{FF2B5EF4-FFF2-40B4-BE49-F238E27FC236}">
                  <a16:creationId xmlns:a16="http://schemas.microsoft.com/office/drawing/2014/main" id="{7556479F-3BE7-4641-97C7-A31999C980CD}"/>
                </a:ext>
              </a:extLst>
            </p:cNvPr>
            <p:cNvSpPr/>
            <p:nvPr/>
          </p:nvSpPr>
          <p:spPr>
            <a:xfrm rot="7484129">
              <a:off x="349009" y="324793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1" name="Forme libre : forme 150">
              <a:extLst>
                <a:ext uri="{FF2B5EF4-FFF2-40B4-BE49-F238E27FC236}">
                  <a16:creationId xmlns:a16="http://schemas.microsoft.com/office/drawing/2014/main" id="{C9126667-6906-4254-B833-2535AC138F99}"/>
                </a:ext>
              </a:extLst>
            </p:cNvPr>
            <p:cNvSpPr/>
            <p:nvPr/>
          </p:nvSpPr>
          <p:spPr>
            <a:xfrm rot="13089394">
              <a:off x="507659" y="3197284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2" name="Forme libre : forme 151">
              <a:extLst>
                <a:ext uri="{FF2B5EF4-FFF2-40B4-BE49-F238E27FC236}">
                  <a16:creationId xmlns:a16="http://schemas.microsoft.com/office/drawing/2014/main" id="{EB63A53B-C558-41C6-87D3-6E3EEB414D38}"/>
                </a:ext>
              </a:extLst>
            </p:cNvPr>
            <p:cNvSpPr/>
            <p:nvPr/>
          </p:nvSpPr>
          <p:spPr>
            <a:xfrm rot="8716295">
              <a:off x="788550" y="2907166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3" name="Forme libre : forme 152">
              <a:extLst>
                <a:ext uri="{FF2B5EF4-FFF2-40B4-BE49-F238E27FC236}">
                  <a16:creationId xmlns:a16="http://schemas.microsoft.com/office/drawing/2014/main" id="{EBE3A45E-76C2-41F7-84F5-A2A181D50E91}"/>
                </a:ext>
              </a:extLst>
            </p:cNvPr>
            <p:cNvSpPr/>
            <p:nvPr/>
          </p:nvSpPr>
          <p:spPr>
            <a:xfrm rot="8716295">
              <a:off x="710141" y="275037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4" name="Forme libre : forme 153">
              <a:extLst>
                <a:ext uri="{FF2B5EF4-FFF2-40B4-BE49-F238E27FC236}">
                  <a16:creationId xmlns:a16="http://schemas.microsoft.com/office/drawing/2014/main" id="{871F770F-4D72-4427-86D1-F18744993E05}"/>
                </a:ext>
              </a:extLst>
            </p:cNvPr>
            <p:cNvSpPr/>
            <p:nvPr/>
          </p:nvSpPr>
          <p:spPr>
            <a:xfrm rot="8716295">
              <a:off x="341977" y="279611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5" name="Forme libre : forme 154">
              <a:extLst>
                <a:ext uri="{FF2B5EF4-FFF2-40B4-BE49-F238E27FC236}">
                  <a16:creationId xmlns:a16="http://schemas.microsoft.com/office/drawing/2014/main" id="{CBA9ADD5-0B79-42BB-A803-7DD5C3582812}"/>
                </a:ext>
              </a:extLst>
            </p:cNvPr>
            <p:cNvSpPr/>
            <p:nvPr/>
          </p:nvSpPr>
          <p:spPr>
            <a:xfrm rot="8716295">
              <a:off x="610559" y="2555095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6" name="Forme libre : forme 155">
              <a:extLst>
                <a:ext uri="{FF2B5EF4-FFF2-40B4-BE49-F238E27FC236}">
                  <a16:creationId xmlns:a16="http://schemas.microsoft.com/office/drawing/2014/main" id="{7B5F712C-46C4-40C0-B35F-823DEC5DC95D}"/>
                </a:ext>
              </a:extLst>
            </p:cNvPr>
            <p:cNvSpPr/>
            <p:nvPr/>
          </p:nvSpPr>
          <p:spPr>
            <a:xfrm rot="8716295">
              <a:off x="-24305" y="2374348"/>
              <a:ext cx="58950" cy="66898"/>
            </a:xfrm>
            <a:custGeom>
              <a:avLst/>
              <a:gdLst>
                <a:gd name="connsiteX0" fmla="*/ 0 w 58950"/>
                <a:gd name="connsiteY0" fmla="*/ 66898 h 66898"/>
                <a:gd name="connsiteX1" fmla="*/ 0 w 58950"/>
                <a:gd name="connsiteY1" fmla="*/ 0 h 66898"/>
                <a:gd name="connsiteX2" fmla="*/ 58950 w 58950"/>
                <a:gd name="connsiteY2" fmla="*/ 0 h 66898"/>
                <a:gd name="connsiteX3" fmla="*/ 12579 w 58950"/>
                <a:gd name="connsiteY3" fmla="*/ 66898 h 6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950" h="66898">
                  <a:moveTo>
                    <a:pt x="0" y="66898"/>
                  </a:moveTo>
                  <a:lnTo>
                    <a:pt x="0" y="0"/>
                  </a:lnTo>
                  <a:lnTo>
                    <a:pt x="58950" y="0"/>
                  </a:lnTo>
                  <a:lnTo>
                    <a:pt x="12579" y="668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7" name="Forme libre : forme 156">
              <a:extLst>
                <a:ext uri="{FF2B5EF4-FFF2-40B4-BE49-F238E27FC236}">
                  <a16:creationId xmlns:a16="http://schemas.microsoft.com/office/drawing/2014/main" id="{7F46186A-3310-4CD5-864B-686D76F3E8C2}"/>
                </a:ext>
              </a:extLst>
            </p:cNvPr>
            <p:cNvSpPr/>
            <p:nvPr/>
          </p:nvSpPr>
          <p:spPr>
            <a:xfrm rot="8716295">
              <a:off x="-39593" y="1952072"/>
              <a:ext cx="198050" cy="140164"/>
            </a:xfrm>
            <a:custGeom>
              <a:avLst/>
              <a:gdLst>
                <a:gd name="connsiteX0" fmla="*/ 0 w 198050"/>
                <a:gd name="connsiteY0" fmla="*/ 75863 h 140164"/>
                <a:gd name="connsiteX1" fmla="*/ 0 w 198050"/>
                <a:gd name="connsiteY1" fmla="*/ 0 h 140164"/>
                <a:gd name="connsiteX2" fmla="*/ 128968 w 198050"/>
                <a:gd name="connsiteY2" fmla="*/ 0 h 140164"/>
                <a:gd name="connsiteX3" fmla="*/ 193021 w 198050"/>
                <a:gd name="connsiteY3" fmla="*/ 18535 h 140164"/>
                <a:gd name="connsiteX4" fmla="*/ 198050 w 198050"/>
                <a:gd name="connsiteY4" fmla="*/ 31548 h 140164"/>
                <a:gd name="connsiteX5" fmla="*/ 122761 w 198050"/>
                <a:gd name="connsiteY5" fmla="*/ 140164 h 140164"/>
                <a:gd name="connsiteX6" fmla="*/ 122761 w 198050"/>
                <a:gd name="connsiteY6" fmla="*/ 105519 h 140164"/>
                <a:gd name="connsiteX7" fmla="*/ 122761 w 198050"/>
                <a:gd name="connsiteY7" fmla="*/ 99312 h 140164"/>
                <a:gd name="connsiteX8" fmla="*/ 91726 w 198050"/>
                <a:gd name="connsiteY8" fmla="*/ 75863 h 140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8050" h="140164">
                  <a:moveTo>
                    <a:pt x="0" y="75863"/>
                  </a:moveTo>
                  <a:lnTo>
                    <a:pt x="0" y="0"/>
                  </a:lnTo>
                  <a:lnTo>
                    <a:pt x="128968" y="0"/>
                  </a:lnTo>
                  <a:cubicBezTo>
                    <a:pt x="156900" y="0"/>
                    <a:pt x="178452" y="6034"/>
                    <a:pt x="193021" y="18535"/>
                  </a:cubicBezTo>
                  <a:lnTo>
                    <a:pt x="198050" y="31548"/>
                  </a:lnTo>
                  <a:lnTo>
                    <a:pt x="122761" y="140164"/>
                  </a:ln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4"/>
                    <a:pt x="91726" y="758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8" name="Forme libre : forme 157">
              <a:extLst>
                <a:ext uri="{FF2B5EF4-FFF2-40B4-BE49-F238E27FC236}">
                  <a16:creationId xmlns:a16="http://schemas.microsoft.com/office/drawing/2014/main" id="{A7D40018-F0E5-4DC0-8F24-CC5DD724ED71}"/>
                </a:ext>
              </a:extLst>
            </p:cNvPr>
            <p:cNvSpPr/>
            <p:nvPr/>
          </p:nvSpPr>
          <p:spPr>
            <a:xfrm rot="8716295">
              <a:off x="21100" y="1808096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9" name="Forme libre : forme 158">
              <a:extLst>
                <a:ext uri="{FF2B5EF4-FFF2-40B4-BE49-F238E27FC236}">
                  <a16:creationId xmlns:a16="http://schemas.microsoft.com/office/drawing/2014/main" id="{DE6A0D39-0B43-4DC3-9F56-137223FC9AF7}"/>
                </a:ext>
              </a:extLst>
            </p:cNvPr>
            <p:cNvSpPr/>
            <p:nvPr/>
          </p:nvSpPr>
          <p:spPr>
            <a:xfrm rot="8716295">
              <a:off x="-24330" y="2197782"/>
              <a:ext cx="102508" cy="53362"/>
            </a:xfrm>
            <a:custGeom>
              <a:avLst/>
              <a:gdLst>
                <a:gd name="connsiteX0" fmla="*/ 0 w 102508"/>
                <a:gd name="connsiteY0" fmla="*/ 23637 h 53362"/>
                <a:gd name="connsiteX1" fmla="*/ 0 w 102508"/>
                <a:gd name="connsiteY1" fmla="*/ 2258 h 53362"/>
                <a:gd name="connsiteX2" fmla="*/ 102508 w 102508"/>
                <a:gd name="connsiteY2" fmla="*/ 0 h 53362"/>
                <a:gd name="connsiteX3" fmla="*/ 65519 w 102508"/>
                <a:gd name="connsiteY3" fmla="*/ 53362 h 53362"/>
                <a:gd name="connsiteX4" fmla="*/ 65519 w 102508"/>
                <a:gd name="connsiteY4" fmla="*/ 23637 h 5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508" h="53362">
                  <a:moveTo>
                    <a:pt x="0" y="23637"/>
                  </a:moveTo>
                  <a:lnTo>
                    <a:pt x="0" y="2258"/>
                  </a:lnTo>
                  <a:lnTo>
                    <a:pt x="102508" y="0"/>
                  </a:lnTo>
                  <a:lnTo>
                    <a:pt x="65519" y="53362"/>
                  </a:lnTo>
                  <a:lnTo>
                    <a:pt x="65519" y="2363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0" name="Forme libre : forme 159">
              <a:extLst>
                <a:ext uri="{FF2B5EF4-FFF2-40B4-BE49-F238E27FC236}">
                  <a16:creationId xmlns:a16="http://schemas.microsoft.com/office/drawing/2014/main" id="{53869A83-F18C-41C3-A8D6-8AA2F169F6A9}"/>
                </a:ext>
              </a:extLst>
            </p:cNvPr>
            <p:cNvSpPr/>
            <p:nvPr/>
          </p:nvSpPr>
          <p:spPr>
            <a:xfrm rot="7484129">
              <a:off x="11236" y="224945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1" name="Forme libre : forme 160">
              <a:extLst>
                <a:ext uri="{FF2B5EF4-FFF2-40B4-BE49-F238E27FC236}">
                  <a16:creationId xmlns:a16="http://schemas.microsoft.com/office/drawing/2014/main" id="{47FF6EA9-61FE-4C53-86BC-F03ADA0CF577}"/>
                </a:ext>
              </a:extLst>
            </p:cNvPr>
            <p:cNvSpPr/>
            <p:nvPr/>
          </p:nvSpPr>
          <p:spPr>
            <a:xfrm rot="13089394">
              <a:off x="169886" y="2198801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2" name="Forme libre : forme 161">
              <a:extLst>
                <a:ext uri="{FF2B5EF4-FFF2-40B4-BE49-F238E27FC236}">
                  <a16:creationId xmlns:a16="http://schemas.microsoft.com/office/drawing/2014/main" id="{6ED294D2-DD3A-4323-ADB4-4D2A485D31FA}"/>
                </a:ext>
              </a:extLst>
            </p:cNvPr>
            <p:cNvSpPr/>
            <p:nvPr/>
          </p:nvSpPr>
          <p:spPr>
            <a:xfrm rot="8716295">
              <a:off x="450777" y="1908683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3" name="Forme libre : forme 162">
              <a:extLst>
                <a:ext uri="{FF2B5EF4-FFF2-40B4-BE49-F238E27FC236}">
                  <a16:creationId xmlns:a16="http://schemas.microsoft.com/office/drawing/2014/main" id="{4D7140F9-06B5-4BA8-BEAB-23BD75B9DD53}"/>
                </a:ext>
              </a:extLst>
            </p:cNvPr>
            <p:cNvSpPr/>
            <p:nvPr/>
          </p:nvSpPr>
          <p:spPr>
            <a:xfrm rot="8716295">
              <a:off x="372368" y="175189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4" name="Forme libre : forme 163">
              <a:extLst>
                <a:ext uri="{FF2B5EF4-FFF2-40B4-BE49-F238E27FC236}">
                  <a16:creationId xmlns:a16="http://schemas.microsoft.com/office/drawing/2014/main" id="{068812F1-37A6-4A0A-A392-F4B3E8D2782D}"/>
                </a:ext>
              </a:extLst>
            </p:cNvPr>
            <p:cNvSpPr/>
            <p:nvPr/>
          </p:nvSpPr>
          <p:spPr>
            <a:xfrm rot="8716295">
              <a:off x="4204" y="179763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5" name="Forme libre : forme 164">
              <a:extLst>
                <a:ext uri="{FF2B5EF4-FFF2-40B4-BE49-F238E27FC236}">
                  <a16:creationId xmlns:a16="http://schemas.microsoft.com/office/drawing/2014/main" id="{B62F2753-FDB5-4835-8322-FC678E060DC4}"/>
                </a:ext>
              </a:extLst>
            </p:cNvPr>
            <p:cNvSpPr/>
            <p:nvPr/>
          </p:nvSpPr>
          <p:spPr>
            <a:xfrm rot="8716295">
              <a:off x="272786" y="155661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6" name="Forme libre : forme 165">
              <a:extLst>
                <a:ext uri="{FF2B5EF4-FFF2-40B4-BE49-F238E27FC236}">
                  <a16:creationId xmlns:a16="http://schemas.microsoft.com/office/drawing/2014/main" id="{16BB8F81-6062-4A6D-AD9A-0C3CC09E65D3}"/>
                </a:ext>
              </a:extLst>
            </p:cNvPr>
            <p:cNvSpPr/>
            <p:nvPr/>
          </p:nvSpPr>
          <p:spPr>
            <a:xfrm rot="8716295">
              <a:off x="-35149" y="938156"/>
              <a:ext cx="158623" cy="159016"/>
            </a:xfrm>
            <a:custGeom>
              <a:avLst/>
              <a:gdLst>
                <a:gd name="connsiteX0" fmla="*/ 77932 w 158623"/>
                <a:gd name="connsiteY0" fmla="*/ 159016 h 159016"/>
                <a:gd name="connsiteX1" fmla="*/ 77932 w 158623"/>
                <a:gd name="connsiteY1" fmla="*/ 66898 h 159016"/>
                <a:gd name="connsiteX2" fmla="*/ 0 w 158623"/>
                <a:gd name="connsiteY2" fmla="*/ 66898 h 159016"/>
                <a:gd name="connsiteX3" fmla="*/ 0 w 158623"/>
                <a:gd name="connsiteY3" fmla="*/ 0 h 159016"/>
                <a:gd name="connsiteX4" fmla="*/ 158623 w 158623"/>
                <a:gd name="connsiteY4" fmla="*/ 0 h 159016"/>
                <a:gd name="connsiteX5" fmla="*/ 158623 w 158623"/>
                <a:gd name="connsiteY5" fmla="*/ 42606 h 15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8623" h="159016">
                  <a:moveTo>
                    <a:pt x="77932" y="159016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4260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7" name="Forme libre : forme 166">
              <a:extLst>
                <a:ext uri="{FF2B5EF4-FFF2-40B4-BE49-F238E27FC236}">
                  <a16:creationId xmlns:a16="http://schemas.microsoft.com/office/drawing/2014/main" id="{102294D5-AEAF-4B56-AF06-6647D3303B85}"/>
                </a:ext>
              </a:extLst>
            </p:cNvPr>
            <p:cNvSpPr/>
            <p:nvPr/>
          </p:nvSpPr>
          <p:spPr>
            <a:xfrm rot="7484129">
              <a:off x="-32979" y="1345537"/>
              <a:ext cx="65961" cy="45734"/>
            </a:xfrm>
            <a:custGeom>
              <a:avLst/>
              <a:gdLst>
                <a:gd name="connsiteX0" fmla="*/ 0 w 65961"/>
                <a:gd name="connsiteY0" fmla="*/ 45734 h 45734"/>
                <a:gd name="connsiteX1" fmla="*/ 0 w 65961"/>
                <a:gd name="connsiteY1" fmla="*/ 0 h 45734"/>
                <a:gd name="connsiteX2" fmla="*/ 65961 w 65961"/>
                <a:gd name="connsiteY2" fmla="*/ 0 h 45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5961" h="45734">
                  <a:moveTo>
                    <a:pt x="0" y="45734"/>
                  </a:moveTo>
                  <a:lnTo>
                    <a:pt x="0" y="0"/>
                  </a:lnTo>
                  <a:lnTo>
                    <a:pt x="6596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8" name="Forme libre : forme 167">
              <a:extLst>
                <a:ext uri="{FF2B5EF4-FFF2-40B4-BE49-F238E27FC236}">
                  <a16:creationId xmlns:a16="http://schemas.microsoft.com/office/drawing/2014/main" id="{6A1A2358-10CF-4FD5-A4AA-FC64164263AF}"/>
                </a:ext>
              </a:extLst>
            </p:cNvPr>
            <p:cNvSpPr/>
            <p:nvPr/>
          </p:nvSpPr>
          <p:spPr>
            <a:xfrm rot="13089394">
              <a:off x="-134707" y="1200752"/>
              <a:ext cx="386820" cy="481345"/>
            </a:xfrm>
            <a:custGeom>
              <a:avLst/>
              <a:gdLst>
                <a:gd name="connsiteX0" fmla="*/ 386820 w 386820"/>
                <a:gd name="connsiteY0" fmla="*/ 391818 h 481345"/>
                <a:gd name="connsiteX1" fmla="*/ 342166 w 386820"/>
                <a:gd name="connsiteY1" fmla="*/ 422376 h 481345"/>
                <a:gd name="connsiteX2" fmla="*/ 138636 w 386820"/>
                <a:gd name="connsiteY2" fmla="*/ 481098 h 481345"/>
                <a:gd name="connsiteX3" fmla="*/ 35911 w 386820"/>
                <a:gd name="connsiteY3" fmla="*/ 439340 h 481345"/>
                <a:gd name="connsiteX4" fmla="*/ 0 w 386820"/>
                <a:gd name="connsiteY4" fmla="*/ 295693 h 481345"/>
                <a:gd name="connsiteX5" fmla="*/ 0 w 386820"/>
                <a:gd name="connsiteY5" fmla="*/ 40970 h 481345"/>
                <a:gd name="connsiteX6" fmla="*/ 78970 w 386820"/>
                <a:gd name="connsiteY6" fmla="*/ 0 h 481345"/>
                <a:gd name="connsiteX7" fmla="*/ 111492 w 386820"/>
                <a:gd name="connsiteY7" fmla="*/ 41392 h 481345"/>
                <a:gd name="connsiteX8" fmla="*/ 112747 w 386820"/>
                <a:gd name="connsiteY8" fmla="*/ 216353 h 481345"/>
                <a:gd name="connsiteX9" fmla="*/ 132789 w 386820"/>
                <a:gd name="connsiteY9" fmla="*/ 354990 h 481345"/>
                <a:gd name="connsiteX10" fmla="*/ 233008 w 386820"/>
                <a:gd name="connsiteY10" fmla="*/ 410110 h 481345"/>
                <a:gd name="connsiteX11" fmla="*/ 308173 w 386820"/>
                <a:gd name="connsiteY11" fmla="*/ 396747 h 481345"/>
                <a:gd name="connsiteX12" fmla="*/ 370717 w 386820"/>
                <a:gd name="connsiteY12" fmla="*/ 371323 h 481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6820" h="481345">
                  <a:moveTo>
                    <a:pt x="386820" y="391818"/>
                  </a:moveTo>
                  <a:lnTo>
                    <a:pt x="342166" y="422376"/>
                  </a:lnTo>
                  <a:cubicBezTo>
                    <a:pt x="268920" y="462151"/>
                    <a:pt x="190624" y="477966"/>
                    <a:pt x="138636" y="481098"/>
                  </a:cubicBezTo>
                  <a:cubicBezTo>
                    <a:pt x="100219" y="483604"/>
                    <a:pt x="62637" y="466901"/>
                    <a:pt x="35911" y="439340"/>
                  </a:cubicBezTo>
                  <a:cubicBezTo>
                    <a:pt x="7516" y="411780"/>
                    <a:pt x="0" y="364176"/>
                    <a:pt x="0" y="295693"/>
                  </a:cubicBezTo>
                  <a:lnTo>
                    <a:pt x="0" y="40970"/>
                  </a:lnTo>
                  <a:lnTo>
                    <a:pt x="78970" y="0"/>
                  </a:lnTo>
                  <a:lnTo>
                    <a:pt x="111492" y="41392"/>
                  </a:lnTo>
                  <a:lnTo>
                    <a:pt x="112747" y="216353"/>
                  </a:lnTo>
                  <a:cubicBezTo>
                    <a:pt x="110241" y="263122"/>
                    <a:pt x="117757" y="310726"/>
                    <a:pt x="132789" y="354990"/>
                  </a:cubicBezTo>
                  <a:cubicBezTo>
                    <a:pt x="146153" y="391736"/>
                    <a:pt x="180394" y="410110"/>
                    <a:pt x="233008" y="410110"/>
                  </a:cubicBezTo>
                  <a:cubicBezTo>
                    <a:pt x="258899" y="409274"/>
                    <a:pt x="283953" y="404263"/>
                    <a:pt x="308173" y="396747"/>
                  </a:cubicBezTo>
                  <a:lnTo>
                    <a:pt x="370717" y="371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9" name="Forme libre : forme 168">
              <a:extLst>
                <a:ext uri="{FF2B5EF4-FFF2-40B4-BE49-F238E27FC236}">
                  <a16:creationId xmlns:a16="http://schemas.microsoft.com/office/drawing/2014/main" id="{EA80D635-6F53-4857-9F50-4111495DC12C}"/>
                </a:ext>
              </a:extLst>
            </p:cNvPr>
            <p:cNvSpPr/>
            <p:nvPr/>
          </p:nvSpPr>
          <p:spPr>
            <a:xfrm rot="8716295">
              <a:off x="119403" y="90662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0" name="Forme libre : forme 169">
              <a:extLst>
                <a:ext uri="{FF2B5EF4-FFF2-40B4-BE49-F238E27FC236}">
                  <a16:creationId xmlns:a16="http://schemas.microsoft.com/office/drawing/2014/main" id="{40670C43-A49A-4C3B-A39B-628E23BE1E4B}"/>
                </a:ext>
              </a:extLst>
            </p:cNvPr>
            <p:cNvSpPr/>
            <p:nvPr/>
          </p:nvSpPr>
          <p:spPr>
            <a:xfrm rot="8716295">
              <a:off x="40994" y="74983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1" name="Forme libre : forme 170">
              <a:extLst>
                <a:ext uri="{FF2B5EF4-FFF2-40B4-BE49-F238E27FC236}">
                  <a16:creationId xmlns:a16="http://schemas.microsoft.com/office/drawing/2014/main" id="{A1E0B69E-7457-4A6E-B80C-0CDACC682BEC}"/>
                </a:ext>
              </a:extLst>
            </p:cNvPr>
            <p:cNvSpPr/>
            <p:nvPr/>
          </p:nvSpPr>
          <p:spPr>
            <a:xfrm rot="8716295">
              <a:off x="-44934" y="551941"/>
              <a:ext cx="152592" cy="165412"/>
            </a:xfrm>
            <a:custGeom>
              <a:avLst/>
              <a:gdLst>
                <a:gd name="connsiteX0" fmla="*/ 26453 w 152592"/>
                <a:gd name="connsiteY0" fmla="*/ 153143 h 165412"/>
                <a:gd name="connsiteX1" fmla="*/ 0 w 152592"/>
                <a:gd name="connsiteY1" fmla="*/ 90494 h 165412"/>
                <a:gd name="connsiteX2" fmla="*/ 0 w 152592"/>
                <a:gd name="connsiteY2" fmla="*/ 89101 h 165412"/>
                <a:gd name="connsiteX3" fmla="*/ 26453 w 152592"/>
                <a:gd name="connsiteY3" fmla="*/ 26453 h 165412"/>
                <a:gd name="connsiteX4" fmla="*/ 89101 w 152592"/>
                <a:gd name="connsiteY4" fmla="*/ 0 h 165412"/>
                <a:gd name="connsiteX5" fmla="*/ 151752 w 152592"/>
                <a:gd name="connsiteY5" fmla="*/ 26453 h 165412"/>
                <a:gd name="connsiteX6" fmla="*/ 152592 w 152592"/>
                <a:gd name="connsiteY6" fmla="*/ 27688 h 165412"/>
                <a:gd name="connsiteX7" fmla="*/ 57126 w 152592"/>
                <a:gd name="connsiteY7" fmla="*/ 165412 h 165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592" h="165412">
                  <a:moveTo>
                    <a:pt x="26453" y="153143"/>
                  </a:moveTo>
                  <a:cubicBezTo>
                    <a:pt x="9746" y="136436"/>
                    <a:pt x="0" y="114161"/>
                    <a:pt x="0" y="90494"/>
                  </a:cubicBezTo>
                  <a:lnTo>
                    <a:pt x="0" y="89101"/>
                  </a:lnTo>
                  <a:cubicBezTo>
                    <a:pt x="0" y="65434"/>
                    <a:pt x="9746" y="43159"/>
                    <a:pt x="26453" y="26453"/>
                  </a:cubicBezTo>
                  <a:cubicBezTo>
                    <a:pt x="43159" y="9746"/>
                    <a:pt x="65435" y="0"/>
                    <a:pt x="89101" y="0"/>
                  </a:cubicBezTo>
                  <a:cubicBezTo>
                    <a:pt x="112770" y="0"/>
                    <a:pt x="135045" y="9746"/>
                    <a:pt x="151752" y="26453"/>
                  </a:cubicBezTo>
                  <a:lnTo>
                    <a:pt x="152592" y="27688"/>
                  </a:lnTo>
                  <a:lnTo>
                    <a:pt x="57126" y="1654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2" name="Forme libre : forme 171">
              <a:extLst>
                <a:ext uri="{FF2B5EF4-FFF2-40B4-BE49-F238E27FC236}">
                  <a16:creationId xmlns:a16="http://schemas.microsoft.com/office/drawing/2014/main" id="{8305DDDC-A62B-4F5B-99D8-968A303BB880}"/>
                </a:ext>
              </a:extLst>
            </p:cNvPr>
            <p:cNvSpPr/>
            <p:nvPr/>
          </p:nvSpPr>
          <p:spPr>
            <a:xfrm rot="8716295">
              <a:off x="-69806" y="4587027"/>
              <a:ext cx="183810" cy="187594"/>
            </a:xfrm>
            <a:custGeom>
              <a:avLst/>
              <a:gdLst>
                <a:gd name="connsiteX0" fmla="*/ 10574 w 183810"/>
                <a:gd name="connsiteY0" fmla="*/ 187594 h 187594"/>
                <a:gd name="connsiteX1" fmla="*/ 0 w 183810"/>
                <a:gd name="connsiteY1" fmla="*/ 172952 h 187594"/>
                <a:gd name="connsiteX2" fmla="*/ 183810 w 183810"/>
                <a:gd name="connsiteY2" fmla="*/ 0 h 187594"/>
                <a:gd name="connsiteX3" fmla="*/ 72284 w 183810"/>
                <a:gd name="connsiteY3" fmla="*/ 160894 h 187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810" h="187594">
                  <a:moveTo>
                    <a:pt x="10574" y="187594"/>
                  </a:moveTo>
                  <a:lnTo>
                    <a:pt x="0" y="172952"/>
                  </a:lnTo>
                  <a:lnTo>
                    <a:pt x="183810" y="0"/>
                  </a:lnTo>
                  <a:lnTo>
                    <a:pt x="72284" y="1608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3" name="Forme libre : forme 172">
              <a:extLst>
                <a:ext uri="{FF2B5EF4-FFF2-40B4-BE49-F238E27FC236}">
                  <a16:creationId xmlns:a16="http://schemas.microsoft.com/office/drawing/2014/main" id="{1A0E6ECB-8294-4BA3-8422-8334524ECB58}"/>
                </a:ext>
              </a:extLst>
            </p:cNvPr>
            <p:cNvSpPr/>
            <p:nvPr/>
          </p:nvSpPr>
          <p:spPr>
            <a:xfrm rot="8716295">
              <a:off x="4450621" y="307495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4" name="Forme libre : forme 173">
              <a:extLst>
                <a:ext uri="{FF2B5EF4-FFF2-40B4-BE49-F238E27FC236}">
                  <a16:creationId xmlns:a16="http://schemas.microsoft.com/office/drawing/2014/main" id="{01833036-FD07-46D7-82C2-88C1FC05C85F}"/>
                </a:ext>
              </a:extLst>
            </p:cNvPr>
            <p:cNvSpPr/>
            <p:nvPr/>
          </p:nvSpPr>
          <p:spPr>
            <a:xfrm rot="8716295">
              <a:off x="4585920" y="3119209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5" name="Forme libre : forme 174">
              <a:extLst>
                <a:ext uri="{FF2B5EF4-FFF2-40B4-BE49-F238E27FC236}">
                  <a16:creationId xmlns:a16="http://schemas.microsoft.com/office/drawing/2014/main" id="{B278615F-BCB7-43C6-82A0-33FD907351F5}"/>
                </a:ext>
              </a:extLst>
            </p:cNvPr>
            <p:cNvSpPr/>
            <p:nvPr/>
          </p:nvSpPr>
          <p:spPr>
            <a:xfrm rot="8716295">
              <a:off x="4518038" y="2988621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6" name="Forme libre : forme 175">
              <a:extLst>
                <a:ext uri="{FF2B5EF4-FFF2-40B4-BE49-F238E27FC236}">
                  <a16:creationId xmlns:a16="http://schemas.microsoft.com/office/drawing/2014/main" id="{A4CB9629-4E70-40F0-ADB7-98AF33E8FA82}"/>
                </a:ext>
              </a:extLst>
            </p:cNvPr>
            <p:cNvSpPr/>
            <p:nvPr/>
          </p:nvSpPr>
          <p:spPr>
            <a:xfrm rot="8716295">
              <a:off x="4280750" y="3208965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7" name="Forme libre : forme 176">
              <a:extLst>
                <a:ext uri="{FF2B5EF4-FFF2-40B4-BE49-F238E27FC236}">
                  <a16:creationId xmlns:a16="http://schemas.microsoft.com/office/drawing/2014/main" id="{DCB1DF66-902F-43AF-B912-90C47BAC4CD5}"/>
                </a:ext>
              </a:extLst>
            </p:cNvPr>
            <p:cNvSpPr/>
            <p:nvPr/>
          </p:nvSpPr>
          <p:spPr>
            <a:xfrm rot="8716295">
              <a:off x="4091704" y="289313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8" name="Forme libre : forme 177">
              <a:extLst>
                <a:ext uri="{FF2B5EF4-FFF2-40B4-BE49-F238E27FC236}">
                  <a16:creationId xmlns:a16="http://schemas.microsoft.com/office/drawing/2014/main" id="{206347F6-E053-48F4-AFC6-9C0856F4BFCC}"/>
                </a:ext>
              </a:extLst>
            </p:cNvPr>
            <p:cNvSpPr/>
            <p:nvPr/>
          </p:nvSpPr>
          <p:spPr>
            <a:xfrm rot="8716295">
              <a:off x="4073463" y="2683080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9" name="Forme libre : forme 178">
              <a:extLst>
                <a:ext uri="{FF2B5EF4-FFF2-40B4-BE49-F238E27FC236}">
                  <a16:creationId xmlns:a16="http://schemas.microsoft.com/office/drawing/2014/main" id="{8D2A26C7-C64C-4331-AB8E-BC64F42E6746}"/>
                </a:ext>
              </a:extLst>
            </p:cNvPr>
            <p:cNvSpPr/>
            <p:nvPr/>
          </p:nvSpPr>
          <p:spPr>
            <a:xfrm rot="8716295">
              <a:off x="4417239" y="327094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0" name="Forme libre : forme 179">
              <a:extLst>
                <a:ext uri="{FF2B5EF4-FFF2-40B4-BE49-F238E27FC236}">
                  <a16:creationId xmlns:a16="http://schemas.microsoft.com/office/drawing/2014/main" id="{71D50DC1-7D15-42D6-980A-E78799DC451B}"/>
                </a:ext>
              </a:extLst>
            </p:cNvPr>
            <p:cNvSpPr/>
            <p:nvPr/>
          </p:nvSpPr>
          <p:spPr>
            <a:xfrm rot="8716295">
              <a:off x="4888185" y="2696334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" name="Forme libre : forme 180">
              <a:extLst>
                <a:ext uri="{FF2B5EF4-FFF2-40B4-BE49-F238E27FC236}">
                  <a16:creationId xmlns:a16="http://schemas.microsoft.com/office/drawing/2014/main" id="{EB82C4E3-BE8E-4F27-B36D-E48F91D55981}"/>
                </a:ext>
              </a:extLst>
            </p:cNvPr>
            <p:cNvSpPr/>
            <p:nvPr/>
          </p:nvSpPr>
          <p:spPr>
            <a:xfrm rot="8716295">
              <a:off x="5023484" y="2740593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" name="Forme libre : forme 181">
              <a:extLst>
                <a:ext uri="{FF2B5EF4-FFF2-40B4-BE49-F238E27FC236}">
                  <a16:creationId xmlns:a16="http://schemas.microsoft.com/office/drawing/2014/main" id="{8CF0FAB3-0C6A-450B-9525-29BB7A59C040}"/>
                </a:ext>
              </a:extLst>
            </p:cNvPr>
            <p:cNvSpPr/>
            <p:nvPr/>
          </p:nvSpPr>
          <p:spPr>
            <a:xfrm rot="8716295">
              <a:off x="4718314" y="283034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" name="Forme libre : forme 182">
              <a:extLst>
                <a:ext uri="{FF2B5EF4-FFF2-40B4-BE49-F238E27FC236}">
                  <a16:creationId xmlns:a16="http://schemas.microsoft.com/office/drawing/2014/main" id="{10FB87B4-C488-45C6-AE08-E0AAB6025014}"/>
                </a:ext>
              </a:extLst>
            </p:cNvPr>
            <p:cNvSpPr/>
            <p:nvPr/>
          </p:nvSpPr>
          <p:spPr>
            <a:xfrm rot="8716295">
              <a:off x="4529270" y="251451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" name="Forme libre : forme 183">
              <a:extLst>
                <a:ext uri="{FF2B5EF4-FFF2-40B4-BE49-F238E27FC236}">
                  <a16:creationId xmlns:a16="http://schemas.microsoft.com/office/drawing/2014/main" id="{780E062E-8239-40E1-A336-E5540670A1BD}"/>
                </a:ext>
              </a:extLst>
            </p:cNvPr>
            <p:cNvSpPr/>
            <p:nvPr/>
          </p:nvSpPr>
          <p:spPr>
            <a:xfrm rot="8716295">
              <a:off x="4854803" y="2892332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" name="Forme libre : forme 184">
              <a:extLst>
                <a:ext uri="{FF2B5EF4-FFF2-40B4-BE49-F238E27FC236}">
                  <a16:creationId xmlns:a16="http://schemas.microsoft.com/office/drawing/2014/main" id="{DF4CDF9E-3E83-42B9-8060-460760813751}"/>
                </a:ext>
              </a:extLst>
            </p:cNvPr>
            <p:cNvSpPr/>
            <p:nvPr/>
          </p:nvSpPr>
          <p:spPr>
            <a:xfrm rot="8716295">
              <a:off x="4489356" y="2665906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" name="Forme libre : forme 185">
              <a:extLst>
                <a:ext uri="{FF2B5EF4-FFF2-40B4-BE49-F238E27FC236}">
                  <a16:creationId xmlns:a16="http://schemas.microsoft.com/office/drawing/2014/main" id="{0A35FA8D-2DA5-4890-87D4-1B3451916FA9}"/>
                </a:ext>
              </a:extLst>
            </p:cNvPr>
            <p:cNvSpPr/>
            <p:nvPr/>
          </p:nvSpPr>
          <p:spPr>
            <a:xfrm rot="7484129">
              <a:off x="5013620" y="318195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" name="Forme libre : forme 186">
              <a:extLst>
                <a:ext uri="{FF2B5EF4-FFF2-40B4-BE49-F238E27FC236}">
                  <a16:creationId xmlns:a16="http://schemas.microsoft.com/office/drawing/2014/main" id="{E6A0D96F-008F-4023-A0B6-38102FB3F884}"/>
                </a:ext>
              </a:extLst>
            </p:cNvPr>
            <p:cNvSpPr/>
            <p:nvPr/>
          </p:nvSpPr>
          <p:spPr>
            <a:xfrm rot="13089394">
              <a:off x="5172270" y="3131298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" name="Forme libre : forme 187">
              <a:extLst>
                <a:ext uri="{FF2B5EF4-FFF2-40B4-BE49-F238E27FC236}">
                  <a16:creationId xmlns:a16="http://schemas.microsoft.com/office/drawing/2014/main" id="{34516B6B-1C6B-4061-A441-0A96C5F85F2D}"/>
                </a:ext>
              </a:extLst>
            </p:cNvPr>
            <p:cNvSpPr/>
            <p:nvPr/>
          </p:nvSpPr>
          <p:spPr>
            <a:xfrm rot="8716295">
              <a:off x="5453161" y="2841180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" name="Forme libre : forme 188">
              <a:extLst>
                <a:ext uri="{FF2B5EF4-FFF2-40B4-BE49-F238E27FC236}">
                  <a16:creationId xmlns:a16="http://schemas.microsoft.com/office/drawing/2014/main" id="{25C5FA48-0926-4D19-8036-167D5A8A0B0F}"/>
                </a:ext>
              </a:extLst>
            </p:cNvPr>
            <p:cNvSpPr/>
            <p:nvPr/>
          </p:nvSpPr>
          <p:spPr>
            <a:xfrm rot="8716295">
              <a:off x="5374752" y="268438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" name="Forme libre : forme 189">
              <a:extLst>
                <a:ext uri="{FF2B5EF4-FFF2-40B4-BE49-F238E27FC236}">
                  <a16:creationId xmlns:a16="http://schemas.microsoft.com/office/drawing/2014/main" id="{DAF894AD-B4B7-410F-8EC1-02725EF382CF}"/>
                </a:ext>
              </a:extLst>
            </p:cNvPr>
            <p:cNvSpPr/>
            <p:nvPr/>
          </p:nvSpPr>
          <p:spPr>
            <a:xfrm rot="8716295">
              <a:off x="5006588" y="273012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" name="Forme libre : forme 190">
              <a:extLst>
                <a:ext uri="{FF2B5EF4-FFF2-40B4-BE49-F238E27FC236}">
                  <a16:creationId xmlns:a16="http://schemas.microsoft.com/office/drawing/2014/main" id="{050039E8-AFBF-4BD9-96DB-778F55B5F2C4}"/>
                </a:ext>
              </a:extLst>
            </p:cNvPr>
            <p:cNvSpPr/>
            <p:nvPr/>
          </p:nvSpPr>
          <p:spPr>
            <a:xfrm rot="8716295">
              <a:off x="5275170" y="2489109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" name="Forme libre : forme 191">
              <a:extLst>
                <a:ext uri="{FF2B5EF4-FFF2-40B4-BE49-F238E27FC236}">
                  <a16:creationId xmlns:a16="http://schemas.microsoft.com/office/drawing/2014/main" id="{BAF5AA66-DC18-43A5-AAAE-6EB312E4E790}"/>
                </a:ext>
              </a:extLst>
            </p:cNvPr>
            <p:cNvSpPr/>
            <p:nvPr/>
          </p:nvSpPr>
          <p:spPr>
            <a:xfrm rot="8716295">
              <a:off x="4788394" y="407343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" name="Forme libre : forme 192">
              <a:extLst>
                <a:ext uri="{FF2B5EF4-FFF2-40B4-BE49-F238E27FC236}">
                  <a16:creationId xmlns:a16="http://schemas.microsoft.com/office/drawing/2014/main" id="{780EC621-519F-489B-BFBA-B49F228A0641}"/>
                </a:ext>
              </a:extLst>
            </p:cNvPr>
            <p:cNvSpPr/>
            <p:nvPr/>
          </p:nvSpPr>
          <p:spPr>
            <a:xfrm rot="8716295">
              <a:off x="4923693" y="411769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" name="Forme libre : forme 193">
              <a:extLst>
                <a:ext uri="{FF2B5EF4-FFF2-40B4-BE49-F238E27FC236}">
                  <a16:creationId xmlns:a16="http://schemas.microsoft.com/office/drawing/2014/main" id="{56C02974-8A88-4B14-998C-3296551B1E9D}"/>
                </a:ext>
              </a:extLst>
            </p:cNvPr>
            <p:cNvSpPr/>
            <p:nvPr/>
          </p:nvSpPr>
          <p:spPr>
            <a:xfrm rot="8716295">
              <a:off x="4855811" y="3987104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" name="Forme libre : forme 194">
              <a:extLst>
                <a:ext uri="{FF2B5EF4-FFF2-40B4-BE49-F238E27FC236}">
                  <a16:creationId xmlns:a16="http://schemas.microsoft.com/office/drawing/2014/main" id="{1315A3F8-95CA-4F67-BF42-435167A25A7A}"/>
                </a:ext>
              </a:extLst>
            </p:cNvPr>
            <p:cNvSpPr/>
            <p:nvPr/>
          </p:nvSpPr>
          <p:spPr>
            <a:xfrm rot="8716295">
              <a:off x="4618523" y="420744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" name="Forme libre : forme 195">
              <a:extLst>
                <a:ext uri="{FF2B5EF4-FFF2-40B4-BE49-F238E27FC236}">
                  <a16:creationId xmlns:a16="http://schemas.microsoft.com/office/drawing/2014/main" id="{5FBA9E77-EEAF-4196-9EB3-AAB7591C02B4}"/>
                </a:ext>
              </a:extLst>
            </p:cNvPr>
            <p:cNvSpPr/>
            <p:nvPr/>
          </p:nvSpPr>
          <p:spPr>
            <a:xfrm rot="8716295">
              <a:off x="4429477" y="389161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" name="Forme libre : forme 196">
              <a:extLst>
                <a:ext uri="{FF2B5EF4-FFF2-40B4-BE49-F238E27FC236}">
                  <a16:creationId xmlns:a16="http://schemas.microsoft.com/office/drawing/2014/main" id="{9640743B-2A63-41D0-B596-466D8A1999D1}"/>
                </a:ext>
              </a:extLst>
            </p:cNvPr>
            <p:cNvSpPr/>
            <p:nvPr/>
          </p:nvSpPr>
          <p:spPr>
            <a:xfrm rot="8716295">
              <a:off x="4411236" y="3681563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" name="Forme libre : forme 197">
              <a:extLst>
                <a:ext uri="{FF2B5EF4-FFF2-40B4-BE49-F238E27FC236}">
                  <a16:creationId xmlns:a16="http://schemas.microsoft.com/office/drawing/2014/main" id="{58E0BAB6-4A71-4FD6-9833-700BF9E78B7C}"/>
                </a:ext>
              </a:extLst>
            </p:cNvPr>
            <p:cNvSpPr/>
            <p:nvPr/>
          </p:nvSpPr>
          <p:spPr>
            <a:xfrm rot="8716295">
              <a:off x="4755012" y="4269431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" name="Forme libre : forme 198">
              <a:extLst>
                <a:ext uri="{FF2B5EF4-FFF2-40B4-BE49-F238E27FC236}">
                  <a16:creationId xmlns:a16="http://schemas.microsoft.com/office/drawing/2014/main" id="{75BB7597-AEE7-44BA-A895-6BF134870ADB}"/>
                </a:ext>
              </a:extLst>
            </p:cNvPr>
            <p:cNvSpPr/>
            <p:nvPr/>
          </p:nvSpPr>
          <p:spPr>
            <a:xfrm rot="8716295">
              <a:off x="5225958" y="3694817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" name="Forme libre : forme 199">
              <a:extLst>
                <a:ext uri="{FF2B5EF4-FFF2-40B4-BE49-F238E27FC236}">
                  <a16:creationId xmlns:a16="http://schemas.microsoft.com/office/drawing/2014/main" id="{EEB3834C-1DBD-4E8A-80F2-2243D4B0C7C6}"/>
                </a:ext>
              </a:extLst>
            </p:cNvPr>
            <p:cNvSpPr/>
            <p:nvPr/>
          </p:nvSpPr>
          <p:spPr>
            <a:xfrm rot="8716295">
              <a:off x="5364349" y="3753375"/>
              <a:ext cx="325540" cy="385611"/>
            </a:xfrm>
            <a:custGeom>
              <a:avLst/>
              <a:gdLst>
                <a:gd name="connsiteX0" fmla="*/ 8983 w 325540"/>
                <a:gd name="connsiteY0" fmla="*/ 385611 h 385611"/>
                <a:gd name="connsiteX1" fmla="*/ 8983 w 325540"/>
                <a:gd name="connsiteY1" fmla="*/ 69053 h 385611"/>
                <a:gd name="connsiteX2" fmla="*/ 0 w 325540"/>
                <a:gd name="connsiteY2" fmla="*/ 69053 h 385611"/>
                <a:gd name="connsiteX3" fmla="*/ 55019 w 325540"/>
                <a:gd name="connsiteY3" fmla="*/ 2157 h 385611"/>
                <a:gd name="connsiteX4" fmla="*/ 89675 w 325540"/>
                <a:gd name="connsiteY4" fmla="*/ 2156 h 385611"/>
                <a:gd name="connsiteX5" fmla="*/ 89674 w 325540"/>
                <a:gd name="connsiteY5" fmla="*/ 113882 h 385611"/>
                <a:gd name="connsiteX6" fmla="*/ 91743 w 325540"/>
                <a:gd name="connsiteY6" fmla="*/ 113882 h 385611"/>
                <a:gd name="connsiteX7" fmla="*/ 164159 w 325540"/>
                <a:gd name="connsiteY7" fmla="*/ 9053 h 385611"/>
                <a:gd name="connsiteX8" fmla="*/ 211745 w 325540"/>
                <a:gd name="connsiteY8" fmla="*/ 87 h 385611"/>
                <a:gd name="connsiteX9" fmla="*/ 325540 w 325540"/>
                <a:gd name="connsiteY9" fmla="*/ 133882 h 385611"/>
                <a:gd name="connsiteX10" fmla="*/ 325540 w 325540"/>
                <a:gd name="connsiteY10" fmla="*/ 142848 h 385611"/>
                <a:gd name="connsiteX11" fmla="*/ 231746 w 325540"/>
                <a:gd name="connsiteY11" fmla="*/ 148366 h 385611"/>
                <a:gd name="connsiteX12" fmla="*/ 231746 w 325540"/>
                <a:gd name="connsiteY12" fmla="*/ 123538 h 385611"/>
                <a:gd name="connsiteX13" fmla="*/ 180710 w 325540"/>
                <a:gd name="connsiteY13" fmla="*/ 60778 h 385611"/>
                <a:gd name="connsiteX14" fmla="*/ 100020 w 325540"/>
                <a:gd name="connsiteY14" fmla="*/ 193194 h 385611"/>
                <a:gd name="connsiteX15" fmla="*/ 100020 w 325540"/>
                <a:gd name="connsiteY15" fmla="*/ 323541 h 385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5540" h="385611">
                  <a:moveTo>
                    <a:pt x="8983" y="385611"/>
                  </a:moveTo>
                  <a:lnTo>
                    <a:pt x="8983" y="69053"/>
                  </a:lnTo>
                  <a:lnTo>
                    <a:pt x="0" y="69053"/>
                  </a:lnTo>
                  <a:lnTo>
                    <a:pt x="55019" y="2157"/>
                  </a:lnTo>
                  <a:lnTo>
                    <a:pt x="89675" y="2156"/>
                  </a:lnTo>
                  <a:lnTo>
                    <a:pt x="89674" y="113882"/>
                  </a:lnTo>
                  <a:lnTo>
                    <a:pt x="91743" y="113882"/>
                  </a:lnTo>
                  <a:cubicBezTo>
                    <a:pt x="113813" y="48363"/>
                    <a:pt x="131055" y="22846"/>
                    <a:pt x="164159" y="9053"/>
                  </a:cubicBezTo>
                  <a:cubicBezTo>
                    <a:pt x="179331" y="2846"/>
                    <a:pt x="195193" y="-602"/>
                    <a:pt x="211745" y="87"/>
                  </a:cubicBezTo>
                  <a:cubicBezTo>
                    <a:pt x="282781" y="-1293"/>
                    <a:pt x="325540" y="48363"/>
                    <a:pt x="325540" y="133882"/>
                  </a:cubicBezTo>
                  <a:lnTo>
                    <a:pt x="325540" y="142848"/>
                  </a:lnTo>
                  <a:lnTo>
                    <a:pt x="231746" y="148366"/>
                  </a:lnTo>
                  <a:lnTo>
                    <a:pt x="231746" y="123538"/>
                  </a:lnTo>
                  <a:cubicBezTo>
                    <a:pt x="231746" y="86296"/>
                    <a:pt x="210367" y="60778"/>
                    <a:pt x="180710" y="60778"/>
                  </a:cubicBezTo>
                  <a:cubicBezTo>
                    <a:pt x="136572" y="60777"/>
                    <a:pt x="100020" y="119400"/>
                    <a:pt x="100020" y="193194"/>
                  </a:cubicBezTo>
                  <a:lnTo>
                    <a:pt x="100020" y="3235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" name="Forme libre : forme 200">
              <a:extLst>
                <a:ext uri="{FF2B5EF4-FFF2-40B4-BE49-F238E27FC236}">
                  <a16:creationId xmlns:a16="http://schemas.microsoft.com/office/drawing/2014/main" id="{372D1467-D2E3-4216-9E90-20982CF5734F}"/>
                </a:ext>
              </a:extLst>
            </p:cNvPr>
            <p:cNvSpPr/>
            <p:nvPr/>
          </p:nvSpPr>
          <p:spPr>
            <a:xfrm rot="8716295">
              <a:off x="5056087" y="382883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" name="Forme libre : forme 201">
              <a:extLst>
                <a:ext uri="{FF2B5EF4-FFF2-40B4-BE49-F238E27FC236}">
                  <a16:creationId xmlns:a16="http://schemas.microsoft.com/office/drawing/2014/main" id="{B604E5DA-CBD2-466D-A47E-4EAA9B5B7623}"/>
                </a:ext>
              </a:extLst>
            </p:cNvPr>
            <p:cNvSpPr/>
            <p:nvPr/>
          </p:nvSpPr>
          <p:spPr>
            <a:xfrm rot="8716295">
              <a:off x="4867043" y="351299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" name="Forme libre : forme 202">
              <a:extLst>
                <a:ext uri="{FF2B5EF4-FFF2-40B4-BE49-F238E27FC236}">
                  <a16:creationId xmlns:a16="http://schemas.microsoft.com/office/drawing/2014/main" id="{E20F76FB-79A8-44FD-A97E-07BAE8CB93F0}"/>
                </a:ext>
              </a:extLst>
            </p:cNvPr>
            <p:cNvSpPr/>
            <p:nvPr/>
          </p:nvSpPr>
          <p:spPr>
            <a:xfrm rot="8716295">
              <a:off x="5192576" y="3890815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" name="Forme libre : forme 203">
              <a:extLst>
                <a:ext uri="{FF2B5EF4-FFF2-40B4-BE49-F238E27FC236}">
                  <a16:creationId xmlns:a16="http://schemas.microsoft.com/office/drawing/2014/main" id="{07DA70CF-480A-435C-9C90-6F5E70E02F28}"/>
                </a:ext>
              </a:extLst>
            </p:cNvPr>
            <p:cNvSpPr/>
            <p:nvPr/>
          </p:nvSpPr>
          <p:spPr>
            <a:xfrm rot="8716295">
              <a:off x="4827129" y="3664389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" name="Forme libre : forme 204">
              <a:extLst>
                <a:ext uri="{FF2B5EF4-FFF2-40B4-BE49-F238E27FC236}">
                  <a16:creationId xmlns:a16="http://schemas.microsoft.com/office/drawing/2014/main" id="{EFCDF1BC-CE63-46A7-BBB7-A0FD6C01682D}"/>
                </a:ext>
              </a:extLst>
            </p:cNvPr>
            <p:cNvSpPr/>
            <p:nvPr/>
          </p:nvSpPr>
          <p:spPr>
            <a:xfrm rot="7484129">
              <a:off x="5351393" y="418043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" name="Forme libre : forme 205">
              <a:extLst>
                <a:ext uri="{FF2B5EF4-FFF2-40B4-BE49-F238E27FC236}">
                  <a16:creationId xmlns:a16="http://schemas.microsoft.com/office/drawing/2014/main" id="{DC92A656-7063-4EB8-9B18-5A621F03BDBB}"/>
                </a:ext>
              </a:extLst>
            </p:cNvPr>
            <p:cNvSpPr/>
            <p:nvPr/>
          </p:nvSpPr>
          <p:spPr>
            <a:xfrm rot="13089394">
              <a:off x="5497067" y="4157639"/>
              <a:ext cx="336155" cy="433969"/>
            </a:xfrm>
            <a:custGeom>
              <a:avLst/>
              <a:gdLst>
                <a:gd name="connsiteX0" fmla="*/ 23241 w 222098"/>
                <a:gd name="connsiteY0" fmla="*/ 47275 h 286724"/>
                <a:gd name="connsiteX1" fmla="*/ 0 w 222098"/>
                <a:gd name="connsiteY1" fmla="*/ 11882 h 286724"/>
                <a:gd name="connsiteX2" fmla="*/ 22902 w 222098"/>
                <a:gd name="connsiteY2" fmla="*/ 0 h 286724"/>
                <a:gd name="connsiteX3" fmla="*/ 222098 w 222098"/>
                <a:gd name="connsiteY3" fmla="*/ 258238 h 286724"/>
                <a:gd name="connsiteX4" fmla="*/ 180472 w 222098"/>
                <a:gd name="connsiteY4" fmla="*/ 286724 h 286724"/>
                <a:gd name="connsiteX5" fmla="*/ 167667 w 222098"/>
                <a:gd name="connsiteY5" fmla="*/ 267224 h 286724"/>
                <a:gd name="connsiteX6" fmla="*/ 220995 w 222098"/>
                <a:gd name="connsiteY6" fmla="*/ 245547 h 286724"/>
                <a:gd name="connsiteX7" fmla="*/ 222098 w 222098"/>
                <a:gd name="connsiteY7" fmla="*/ 252720 h 286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2098" h="286724">
                  <a:moveTo>
                    <a:pt x="23241" y="47275"/>
                  </a:moveTo>
                  <a:lnTo>
                    <a:pt x="0" y="11882"/>
                  </a:lnTo>
                  <a:lnTo>
                    <a:pt x="22902" y="0"/>
                  </a:lnTo>
                  <a:close/>
                  <a:moveTo>
                    <a:pt x="222098" y="258238"/>
                  </a:moveTo>
                  <a:lnTo>
                    <a:pt x="180472" y="286724"/>
                  </a:lnTo>
                  <a:lnTo>
                    <a:pt x="167667" y="267224"/>
                  </a:lnTo>
                  <a:lnTo>
                    <a:pt x="220995" y="245547"/>
                  </a:lnTo>
                  <a:cubicBezTo>
                    <a:pt x="221546" y="247754"/>
                    <a:pt x="222098" y="250513"/>
                    <a:pt x="222098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" name="Forme libre : forme 206">
              <a:extLst>
                <a:ext uri="{FF2B5EF4-FFF2-40B4-BE49-F238E27FC236}">
                  <a16:creationId xmlns:a16="http://schemas.microsoft.com/office/drawing/2014/main" id="{5B6131FF-A409-4EA9-81CC-0C3D2782942F}"/>
                </a:ext>
              </a:extLst>
            </p:cNvPr>
            <p:cNvSpPr/>
            <p:nvPr/>
          </p:nvSpPr>
          <p:spPr>
            <a:xfrm rot="8716295">
              <a:off x="5689139" y="3701707"/>
              <a:ext cx="105382" cy="119090"/>
            </a:xfrm>
            <a:custGeom>
              <a:avLst/>
              <a:gdLst>
                <a:gd name="connsiteX0" fmla="*/ 0 w 69626"/>
                <a:gd name="connsiteY0" fmla="*/ 74288 h 78683"/>
                <a:gd name="connsiteX1" fmla="*/ 61446 w 69626"/>
                <a:gd name="connsiteY1" fmla="*/ 0 h 78683"/>
                <a:gd name="connsiteX2" fmla="*/ 69626 w 69626"/>
                <a:gd name="connsiteY2" fmla="*/ 19468 h 78683"/>
                <a:gd name="connsiteX3" fmla="*/ 52380 w 69626"/>
                <a:gd name="connsiteY3" fmla="*/ 61206 h 78683"/>
                <a:gd name="connsiteX4" fmla="*/ 10986 w 69626"/>
                <a:gd name="connsiteY4" fmla="*/ 78683 h 78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626" h="78683">
                  <a:moveTo>
                    <a:pt x="0" y="74288"/>
                  </a:moveTo>
                  <a:lnTo>
                    <a:pt x="61446" y="0"/>
                  </a:lnTo>
                  <a:lnTo>
                    <a:pt x="69626" y="19468"/>
                  </a:lnTo>
                  <a:cubicBezTo>
                    <a:pt x="69626" y="34531"/>
                    <a:pt x="63877" y="49708"/>
                    <a:pt x="52380" y="61206"/>
                  </a:cubicBezTo>
                  <a:cubicBezTo>
                    <a:pt x="41341" y="72244"/>
                    <a:pt x="26624" y="78683"/>
                    <a:pt x="10986" y="786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" name="Forme libre : forme 207">
              <a:extLst>
                <a:ext uri="{FF2B5EF4-FFF2-40B4-BE49-F238E27FC236}">
                  <a16:creationId xmlns:a16="http://schemas.microsoft.com/office/drawing/2014/main" id="{F418276D-8E57-4C97-A0E3-69608568D520}"/>
                </a:ext>
              </a:extLst>
            </p:cNvPr>
            <p:cNvSpPr/>
            <p:nvPr/>
          </p:nvSpPr>
          <p:spPr>
            <a:xfrm rot="8716295">
              <a:off x="5344361" y="372861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" name="Forme libre : forme 208">
              <a:extLst>
                <a:ext uri="{FF2B5EF4-FFF2-40B4-BE49-F238E27FC236}">
                  <a16:creationId xmlns:a16="http://schemas.microsoft.com/office/drawing/2014/main" id="{18CB7434-4843-4498-9ECE-196E31359917}"/>
                </a:ext>
              </a:extLst>
            </p:cNvPr>
            <p:cNvSpPr/>
            <p:nvPr/>
          </p:nvSpPr>
          <p:spPr>
            <a:xfrm rot="8716295">
              <a:off x="5599943" y="3480521"/>
              <a:ext cx="177855" cy="178203"/>
            </a:xfrm>
            <a:custGeom>
              <a:avLst/>
              <a:gdLst>
                <a:gd name="connsiteX0" fmla="*/ 17477 w 117509"/>
                <a:gd name="connsiteY0" fmla="*/ 101182 h 117739"/>
                <a:gd name="connsiteX1" fmla="*/ 0 w 117509"/>
                <a:gd name="connsiteY1" fmla="*/ 59790 h 117739"/>
                <a:gd name="connsiteX2" fmla="*/ 0 w 117509"/>
                <a:gd name="connsiteY2" fmla="*/ 58869 h 117739"/>
                <a:gd name="connsiteX3" fmla="*/ 2091 w 117509"/>
                <a:gd name="connsiteY3" fmla="*/ 48678 h 117739"/>
                <a:gd name="connsiteX4" fmla="*/ 38978 w 117509"/>
                <a:gd name="connsiteY4" fmla="*/ 4080 h 117739"/>
                <a:gd name="connsiteX5" fmla="*/ 58869 w 117509"/>
                <a:gd name="connsiteY5" fmla="*/ 0 h 117739"/>
                <a:gd name="connsiteX6" fmla="*/ 100263 w 117509"/>
                <a:gd name="connsiteY6" fmla="*/ 17477 h 117739"/>
                <a:gd name="connsiteX7" fmla="*/ 100263 w 117509"/>
                <a:gd name="connsiteY7" fmla="*/ 100262 h 117739"/>
                <a:gd name="connsiteX8" fmla="*/ 58869 w 117509"/>
                <a:gd name="connsiteY8" fmla="*/ 117739 h 117739"/>
                <a:gd name="connsiteX9" fmla="*/ 17477 w 117509"/>
                <a:gd name="connsiteY9" fmla="*/ 101182 h 117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09" h="117739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lnTo>
                    <a:pt x="2091" y="48678"/>
                  </a:lnTo>
                  <a:lnTo>
                    <a:pt x="38978" y="4080"/>
                  </a:lnTo>
                  <a:lnTo>
                    <a:pt x="58869" y="0"/>
                  </a:lnTo>
                  <a:cubicBezTo>
                    <a:pt x="74507" y="0"/>
                    <a:pt x="89224" y="6439"/>
                    <a:pt x="100263" y="17477"/>
                  </a:cubicBezTo>
                  <a:cubicBezTo>
                    <a:pt x="123258" y="39553"/>
                    <a:pt x="123258" y="77266"/>
                    <a:pt x="100263" y="100262"/>
                  </a:cubicBezTo>
                  <a:cubicBezTo>
                    <a:pt x="89224" y="111300"/>
                    <a:pt x="74507" y="117739"/>
                    <a:pt x="58869" y="117739"/>
                  </a:cubicBezTo>
                  <a:cubicBezTo>
                    <a:pt x="43233" y="117739"/>
                    <a:pt x="28515" y="112220"/>
                    <a:pt x="17477" y="10118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" name="Forme libre : forme 209">
              <a:extLst>
                <a:ext uri="{FF2B5EF4-FFF2-40B4-BE49-F238E27FC236}">
                  <a16:creationId xmlns:a16="http://schemas.microsoft.com/office/drawing/2014/main" id="{80007C47-775F-43EE-9BFF-1043A7C3649A}"/>
                </a:ext>
              </a:extLst>
            </p:cNvPr>
            <p:cNvSpPr/>
            <p:nvPr/>
          </p:nvSpPr>
          <p:spPr>
            <a:xfrm rot="8716295">
              <a:off x="5090746" y="5117279"/>
              <a:ext cx="37096" cy="40385"/>
            </a:xfrm>
            <a:custGeom>
              <a:avLst/>
              <a:gdLst>
                <a:gd name="connsiteX0" fmla="*/ 0 w 37096"/>
                <a:gd name="connsiteY0" fmla="*/ 40385 h 40385"/>
                <a:gd name="connsiteX1" fmla="*/ 0 w 37096"/>
                <a:gd name="connsiteY1" fmla="*/ 0 h 40385"/>
                <a:gd name="connsiteX2" fmla="*/ 37096 w 37096"/>
                <a:gd name="connsiteY2" fmla="*/ 25713 h 40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096" h="40385">
                  <a:moveTo>
                    <a:pt x="0" y="40385"/>
                  </a:moveTo>
                  <a:lnTo>
                    <a:pt x="0" y="0"/>
                  </a:lnTo>
                  <a:lnTo>
                    <a:pt x="37096" y="2571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" name="Forme libre : forme 210">
              <a:extLst>
                <a:ext uri="{FF2B5EF4-FFF2-40B4-BE49-F238E27FC236}">
                  <a16:creationId xmlns:a16="http://schemas.microsoft.com/office/drawing/2014/main" id="{5820CA8C-9225-440D-B86D-A9CE799D1C39}"/>
                </a:ext>
              </a:extLst>
            </p:cNvPr>
            <p:cNvSpPr/>
            <p:nvPr/>
          </p:nvSpPr>
          <p:spPr>
            <a:xfrm rot="8716295">
              <a:off x="5405706" y="5085046"/>
              <a:ext cx="60406" cy="83058"/>
            </a:xfrm>
            <a:custGeom>
              <a:avLst/>
              <a:gdLst>
                <a:gd name="connsiteX0" fmla="*/ 0 w 60406"/>
                <a:gd name="connsiteY0" fmla="*/ 83058 h 83058"/>
                <a:gd name="connsiteX1" fmla="*/ 0 w 60406"/>
                <a:gd name="connsiteY1" fmla="*/ 0 h 83058"/>
                <a:gd name="connsiteX2" fmla="*/ 60406 w 60406"/>
                <a:gd name="connsiteY2" fmla="*/ 41872 h 83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406" h="83058">
                  <a:moveTo>
                    <a:pt x="0" y="83058"/>
                  </a:moveTo>
                  <a:lnTo>
                    <a:pt x="0" y="0"/>
                  </a:lnTo>
                  <a:lnTo>
                    <a:pt x="60406" y="4187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" name="Forme libre : forme 211">
              <a:extLst>
                <a:ext uri="{FF2B5EF4-FFF2-40B4-BE49-F238E27FC236}">
                  <a16:creationId xmlns:a16="http://schemas.microsoft.com/office/drawing/2014/main" id="{14119B8B-36AC-4498-96E0-570BA8C54C01}"/>
                </a:ext>
              </a:extLst>
            </p:cNvPr>
            <p:cNvSpPr/>
            <p:nvPr/>
          </p:nvSpPr>
          <p:spPr>
            <a:xfrm rot="8716295">
              <a:off x="5207014" y="4975218"/>
              <a:ext cx="245211" cy="161994"/>
            </a:xfrm>
            <a:custGeom>
              <a:avLst/>
              <a:gdLst>
                <a:gd name="connsiteX0" fmla="*/ 8965 w 245211"/>
                <a:gd name="connsiteY0" fmla="*/ 161994 h 161994"/>
                <a:gd name="connsiteX1" fmla="*/ 0 w 245211"/>
                <a:gd name="connsiteY1" fmla="*/ 149580 h 161994"/>
                <a:gd name="connsiteX2" fmla="*/ 158971 w 245211"/>
                <a:gd name="connsiteY2" fmla="*/ 0 h 161994"/>
                <a:gd name="connsiteX3" fmla="*/ 245211 w 245211"/>
                <a:gd name="connsiteY3" fmla="*/ 59779 h 161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211" h="161994">
                  <a:moveTo>
                    <a:pt x="8965" y="161994"/>
                  </a:moveTo>
                  <a:lnTo>
                    <a:pt x="0" y="149580"/>
                  </a:lnTo>
                  <a:lnTo>
                    <a:pt x="158971" y="0"/>
                  </a:lnTo>
                  <a:lnTo>
                    <a:pt x="245211" y="5977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" name="Forme libre : forme 212">
              <a:extLst>
                <a:ext uri="{FF2B5EF4-FFF2-40B4-BE49-F238E27FC236}">
                  <a16:creationId xmlns:a16="http://schemas.microsoft.com/office/drawing/2014/main" id="{4FCFFEE2-AEF7-46AC-BCAB-E4AB6356A9CD}"/>
                </a:ext>
              </a:extLst>
            </p:cNvPr>
            <p:cNvSpPr/>
            <p:nvPr/>
          </p:nvSpPr>
          <p:spPr>
            <a:xfrm rot="8716295">
              <a:off x="4807372" y="4871188"/>
              <a:ext cx="249519" cy="296463"/>
            </a:xfrm>
            <a:custGeom>
              <a:avLst/>
              <a:gdLst>
                <a:gd name="connsiteX0" fmla="*/ 137293 w 249519"/>
                <a:gd name="connsiteY0" fmla="*/ 296463 h 296463"/>
                <a:gd name="connsiteX1" fmla="*/ 72418 w 249519"/>
                <a:gd name="connsiteY1" fmla="*/ 175766 h 296463"/>
                <a:gd name="connsiteX2" fmla="*/ 105610 w 249519"/>
                <a:gd name="connsiteY2" fmla="*/ 83734 h 296463"/>
                <a:gd name="connsiteX3" fmla="*/ 0 w 249519"/>
                <a:gd name="connsiteY3" fmla="*/ 83734 h 296463"/>
                <a:gd name="connsiteX4" fmla="*/ 0 w 249519"/>
                <a:gd name="connsiteY4" fmla="*/ 0 h 296463"/>
                <a:gd name="connsiteX5" fmla="*/ 128719 w 249519"/>
                <a:gd name="connsiteY5" fmla="*/ 0 h 296463"/>
                <a:gd name="connsiteX6" fmla="*/ 249519 w 249519"/>
                <a:gd name="connsiteY6" fmla="*/ 83734 h 296463"/>
                <a:gd name="connsiteX7" fmla="*/ 210465 w 249519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9519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128719" y="0"/>
                  </a:lnTo>
                  <a:lnTo>
                    <a:pt x="249519" y="83734"/>
                  </a:lnTo>
                  <a:lnTo>
                    <a:pt x="210465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" name="Forme libre : forme 213">
              <a:extLst>
                <a:ext uri="{FF2B5EF4-FFF2-40B4-BE49-F238E27FC236}">
                  <a16:creationId xmlns:a16="http://schemas.microsoft.com/office/drawing/2014/main" id="{1B41E071-0693-46BD-92E2-292036356EEC}"/>
                </a:ext>
              </a:extLst>
            </p:cNvPr>
            <p:cNvSpPr/>
            <p:nvPr/>
          </p:nvSpPr>
          <p:spPr>
            <a:xfrm rot="8716295">
              <a:off x="4742203" y="467807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" name="Forme libre : forme 214">
              <a:extLst>
                <a:ext uri="{FF2B5EF4-FFF2-40B4-BE49-F238E27FC236}">
                  <a16:creationId xmlns:a16="http://schemas.microsoft.com/office/drawing/2014/main" id="{3D04A71D-E109-4B4F-89C3-FA4AB19F4E1D}"/>
                </a:ext>
              </a:extLst>
            </p:cNvPr>
            <p:cNvSpPr/>
            <p:nvPr/>
          </p:nvSpPr>
          <p:spPr>
            <a:xfrm rot="8716295">
              <a:off x="5548192" y="4732447"/>
              <a:ext cx="92415" cy="287093"/>
            </a:xfrm>
            <a:custGeom>
              <a:avLst/>
              <a:gdLst>
                <a:gd name="connsiteX0" fmla="*/ 0 w 61059"/>
                <a:gd name="connsiteY0" fmla="*/ 189683 h 189683"/>
                <a:gd name="connsiteX1" fmla="*/ 1 w 61059"/>
                <a:gd name="connsiteY1" fmla="*/ 70355 h 189683"/>
                <a:gd name="connsiteX2" fmla="*/ 58192 w 61059"/>
                <a:gd name="connsiteY2" fmla="*/ 0 h 189683"/>
                <a:gd name="connsiteX3" fmla="*/ 61059 w 61059"/>
                <a:gd name="connsiteY3" fmla="*/ 7418 h 189683"/>
                <a:gd name="connsiteX4" fmla="*/ 61059 w 61059"/>
                <a:gd name="connsiteY4" fmla="*/ 165533 h 189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59" h="189683">
                  <a:moveTo>
                    <a:pt x="0" y="189683"/>
                  </a:moveTo>
                  <a:lnTo>
                    <a:pt x="1" y="70355"/>
                  </a:lnTo>
                  <a:lnTo>
                    <a:pt x="58192" y="0"/>
                  </a:lnTo>
                  <a:lnTo>
                    <a:pt x="61059" y="7418"/>
                  </a:lnTo>
                  <a:lnTo>
                    <a:pt x="61059" y="1655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" name="Forme libre : forme 215">
              <a:extLst>
                <a:ext uri="{FF2B5EF4-FFF2-40B4-BE49-F238E27FC236}">
                  <a16:creationId xmlns:a16="http://schemas.microsoft.com/office/drawing/2014/main" id="{AAC7FAB2-F735-42A2-BE55-7C8B153DECE5}"/>
                </a:ext>
              </a:extLst>
            </p:cNvPr>
            <p:cNvSpPr/>
            <p:nvPr/>
          </p:nvSpPr>
          <p:spPr>
            <a:xfrm rot="8716295">
              <a:off x="5387054" y="482534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" name="Forme libre : forme 216">
              <a:extLst>
                <a:ext uri="{FF2B5EF4-FFF2-40B4-BE49-F238E27FC236}">
                  <a16:creationId xmlns:a16="http://schemas.microsoft.com/office/drawing/2014/main" id="{4B03EBBE-E237-4565-BE6F-56E70942310E}"/>
                </a:ext>
              </a:extLst>
            </p:cNvPr>
            <p:cNvSpPr/>
            <p:nvPr/>
          </p:nvSpPr>
          <p:spPr>
            <a:xfrm rot="8716295">
              <a:off x="5198009" y="450950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" name="Forme libre : forme 217">
              <a:extLst>
                <a:ext uri="{FF2B5EF4-FFF2-40B4-BE49-F238E27FC236}">
                  <a16:creationId xmlns:a16="http://schemas.microsoft.com/office/drawing/2014/main" id="{230714BC-B4D4-483B-9F0B-D1990593F59D}"/>
                </a:ext>
              </a:extLst>
            </p:cNvPr>
            <p:cNvSpPr/>
            <p:nvPr/>
          </p:nvSpPr>
          <p:spPr>
            <a:xfrm rot="8716295">
              <a:off x="5503997" y="4913234"/>
              <a:ext cx="91035" cy="258752"/>
            </a:xfrm>
            <a:custGeom>
              <a:avLst/>
              <a:gdLst>
                <a:gd name="connsiteX0" fmla="*/ 91035 w 91035"/>
                <a:gd name="connsiteY0" fmla="*/ 258752 h 258752"/>
                <a:gd name="connsiteX1" fmla="*/ 0 w 91035"/>
                <a:gd name="connsiteY1" fmla="*/ 171163 h 258752"/>
                <a:gd name="connsiteX2" fmla="*/ 0 w 91035"/>
                <a:gd name="connsiteY2" fmla="*/ 43487 h 258752"/>
                <a:gd name="connsiteX3" fmla="*/ 35968 w 91035"/>
                <a:gd name="connsiteY3" fmla="*/ 0 h 258752"/>
                <a:gd name="connsiteX4" fmla="*/ 91035 w 91035"/>
                <a:gd name="connsiteY4" fmla="*/ 38170 h 258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035" h="258752">
                  <a:moveTo>
                    <a:pt x="91035" y="258752"/>
                  </a:moveTo>
                  <a:lnTo>
                    <a:pt x="0" y="171163"/>
                  </a:lnTo>
                  <a:lnTo>
                    <a:pt x="0" y="43487"/>
                  </a:lnTo>
                  <a:lnTo>
                    <a:pt x="35968" y="0"/>
                  </a:lnTo>
                  <a:lnTo>
                    <a:pt x="91035" y="3817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" name="Forme libre : forme 218">
              <a:extLst>
                <a:ext uri="{FF2B5EF4-FFF2-40B4-BE49-F238E27FC236}">
                  <a16:creationId xmlns:a16="http://schemas.microsoft.com/office/drawing/2014/main" id="{14A36AFC-3634-423C-BC16-BDB2283C28B3}"/>
                </a:ext>
              </a:extLst>
            </p:cNvPr>
            <p:cNvSpPr/>
            <p:nvPr/>
          </p:nvSpPr>
          <p:spPr>
            <a:xfrm rot="8716295">
              <a:off x="5158096" y="466090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" name="Forme libre : forme 219">
              <a:extLst>
                <a:ext uri="{FF2B5EF4-FFF2-40B4-BE49-F238E27FC236}">
                  <a16:creationId xmlns:a16="http://schemas.microsoft.com/office/drawing/2014/main" id="{BC237E43-FDD5-4FDC-8C88-3D3E992DDCCE}"/>
                </a:ext>
              </a:extLst>
            </p:cNvPr>
            <p:cNvSpPr/>
            <p:nvPr/>
          </p:nvSpPr>
          <p:spPr>
            <a:xfrm rot="8716295">
              <a:off x="4115344" y="2074537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" name="Forme libre : forme 220">
              <a:extLst>
                <a:ext uri="{FF2B5EF4-FFF2-40B4-BE49-F238E27FC236}">
                  <a16:creationId xmlns:a16="http://schemas.microsoft.com/office/drawing/2014/main" id="{74F2CD5F-27E1-4B05-BDE3-F9CAEE63E34B}"/>
                </a:ext>
              </a:extLst>
            </p:cNvPr>
            <p:cNvSpPr/>
            <p:nvPr/>
          </p:nvSpPr>
          <p:spPr>
            <a:xfrm rot="8716295">
              <a:off x="4250643" y="2118796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" name="Forme libre : forme 221">
              <a:extLst>
                <a:ext uri="{FF2B5EF4-FFF2-40B4-BE49-F238E27FC236}">
                  <a16:creationId xmlns:a16="http://schemas.microsoft.com/office/drawing/2014/main" id="{3D2EAE98-2CEC-4E31-BF79-1D13D51EDB3B}"/>
                </a:ext>
              </a:extLst>
            </p:cNvPr>
            <p:cNvSpPr/>
            <p:nvPr/>
          </p:nvSpPr>
          <p:spPr>
            <a:xfrm rot="8716295">
              <a:off x="4182761" y="1988208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" name="Forme libre : forme 222">
              <a:extLst>
                <a:ext uri="{FF2B5EF4-FFF2-40B4-BE49-F238E27FC236}">
                  <a16:creationId xmlns:a16="http://schemas.microsoft.com/office/drawing/2014/main" id="{F7C21745-E98A-49A1-BB89-EF4C58D2B535}"/>
                </a:ext>
              </a:extLst>
            </p:cNvPr>
            <p:cNvSpPr/>
            <p:nvPr/>
          </p:nvSpPr>
          <p:spPr>
            <a:xfrm rot="8716295">
              <a:off x="3945473" y="220855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" name="Forme libre : forme 223">
              <a:extLst>
                <a:ext uri="{FF2B5EF4-FFF2-40B4-BE49-F238E27FC236}">
                  <a16:creationId xmlns:a16="http://schemas.microsoft.com/office/drawing/2014/main" id="{3C933A0E-48CB-40A4-AD69-869889C9C116}"/>
                </a:ext>
              </a:extLst>
            </p:cNvPr>
            <p:cNvSpPr/>
            <p:nvPr/>
          </p:nvSpPr>
          <p:spPr>
            <a:xfrm rot="8716295">
              <a:off x="3756427" y="189271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" name="Forme libre : forme 224">
              <a:extLst>
                <a:ext uri="{FF2B5EF4-FFF2-40B4-BE49-F238E27FC236}">
                  <a16:creationId xmlns:a16="http://schemas.microsoft.com/office/drawing/2014/main" id="{A02DB2FC-04B5-4966-BEE6-FB30AD9722F6}"/>
                </a:ext>
              </a:extLst>
            </p:cNvPr>
            <p:cNvSpPr/>
            <p:nvPr/>
          </p:nvSpPr>
          <p:spPr>
            <a:xfrm rot="8716295">
              <a:off x="3738186" y="1682667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" name="Forme libre : forme 225">
              <a:extLst>
                <a:ext uri="{FF2B5EF4-FFF2-40B4-BE49-F238E27FC236}">
                  <a16:creationId xmlns:a16="http://schemas.microsoft.com/office/drawing/2014/main" id="{F8510F0D-1176-4749-A0F4-7938F16AABD4}"/>
                </a:ext>
              </a:extLst>
            </p:cNvPr>
            <p:cNvSpPr/>
            <p:nvPr/>
          </p:nvSpPr>
          <p:spPr>
            <a:xfrm rot="8716295">
              <a:off x="4081962" y="2270535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" name="Forme libre : forme 226">
              <a:extLst>
                <a:ext uri="{FF2B5EF4-FFF2-40B4-BE49-F238E27FC236}">
                  <a16:creationId xmlns:a16="http://schemas.microsoft.com/office/drawing/2014/main" id="{7359A2E2-1A1C-4AB5-9888-9A67C8F381ED}"/>
                </a:ext>
              </a:extLst>
            </p:cNvPr>
            <p:cNvSpPr/>
            <p:nvPr/>
          </p:nvSpPr>
          <p:spPr>
            <a:xfrm rot="8716295">
              <a:off x="4552908" y="169592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" name="Forme libre : forme 227">
              <a:extLst>
                <a:ext uri="{FF2B5EF4-FFF2-40B4-BE49-F238E27FC236}">
                  <a16:creationId xmlns:a16="http://schemas.microsoft.com/office/drawing/2014/main" id="{F162CF17-3696-46D1-BBA9-E595114BD290}"/>
                </a:ext>
              </a:extLst>
            </p:cNvPr>
            <p:cNvSpPr/>
            <p:nvPr/>
          </p:nvSpPr>
          <p:spPr>
            <a:xfrm rot="8716295">
              <a:off x="4688207" y="174018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" name="Forme libre : forme 228">
              <a:extLst>
                <a:ext uri="{FF2B5EF4-FFF2-40B4-BE49-F238E27FC236}">
                  <a16:creationId xmlns:a16="http://schemas.microsoft.com/office/drawing/2014/main" id="{CB7640C0-A77D-4C20-99F3-99AC8C5EA399}"/>
                </a:ext>
              </a:extLst>
            </p:cNvPr>
            <p:cNvSpPr/>
            <p:nvPr/>
          </p:nvSpPr>
          <p:spPr>
            <a:xfrm rot="8716295">
              <a:off x="4383037" y="182993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" name="Forme libre : forme 229">
              <a:extLst>
                <a:ext uri="{FF2B5EF4-FFF2-40B4-BE49-F238E27FC236}">
                  <a16:creationId xmlns:a16="http://schemas.microsoft.com/office/drawing/2014/main" id="{7221721D-60FE-4C4C-9396-20240CB24747}"/>
                </a:ext>
              </a:extLst>
            </p:cNvPr>
            <p:cNvSpPr/>
            <p:nvPr/>
          </p:nvSpPr>
          <p:spPr>
            <a:xfrm rot="8716295">
              <a:off x="4193993" y="151410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" name="Forme libre : forme 230">
              <a:extLst>
                <a:ext uri="{FF2B5EF4-FFF2-40B4-BE49-F238E27FC236}">
                  <a16:creationId xmlns:a16="http://schemas.microsoft.com/office/drawing/2014/main" id="{72815BA9-45F4-424C-8C61-85FB1E0CD670}"/>
                </a:ext>
              </a:extLst>
            </p:cNvPr>
            <p:cNvSpPr/>
            <p:nvPr/>
          </p:nvSpPr>
          <p:spPr>
            <a:xfrm rot="8716295">
              <a:off x="4519525" y="1891919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" name="Forme libre : forme 231">
              <a:extLst>
                <a:ext uri="{FF2B5EF4-FFF2-40B4-BE49-F238E27FC236}">
                  <a16:creationId xmlns:a16="http://schemas.microsoft.com/office/drawing/2014/main" id="{2386F46E-7D0B-4733-83CE-A3BA85A841D0}"/>
                </a:ext>
              </a:extLst>
            </p:cNvPr>
            <p:cNvSpPr/>
            <p:nvPr/>
          </p:nvSpPr>
          <p:spPr>
            <a:xfrm rot="8716295">
              <a:off x="4154079" y="1665493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" name="Forme libre : forme 232">
              <a:extLst>
                <a:ext uri="{FF2B5EF4-FFF2-40B4-BE49-F238E27FC236}">
                  <a16:creationId xmlns:a16="http://schemas.microsoft.com/office/drawing/2014/main" id="{7C49EAA5-EA80-4FD2-B8EE-8A5326A137F1}"/>
                </a:ext>
              </a:extLst>
            </p:cNvPr>
            <p:cNvSpPr/>
            <p:nvPr/>
          </p:nvSpPr>
          <p:spPr>
            <a:xfrm rot="7484129">
              <a:off x="4678343" y="218153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" name="Forme libre : forme 233">
              <a:extLst>
                <a:ext uri="{FF2B5EF4-FFF2-40B4-BE49-F238E27FC236}">
                  <a16:creationId xmlns:a16="http://schemas.microsoft.com/office/drawing/2014/main" id="{E5F42144-89A8-465A-AA8E-5830C7BF1E60}"/>
                </a:ext>
              </a:extLst>
            </p:cNvPr>
            <p:cNvSpPr/>
            <p:nvPr/>
          </p:nvSpPr>
          <p:spPr>
            <a:xfrm rot="13089394">
              <a:off x="4836993" y="2130885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" name="Forme libre : forme 234">
              <a:extLst>
                <a:ext uri="{FF2B5EF4-FFF2-40B4-BE49-F238E27FC236}">
                  <a16:creationId xmlns:a16="http://schemas.microsoft.com/office/drawing/2014/main" id="{4B643A7D-0F4D-44EF-8082-E475252D919E}"/>
                </a:ext>
              </a:extLst>
            </p:cNvPr>
            <p:cNvSpPr/>
            <p:nvPr/>
          </p:nvSpPr>
          <p:spPr>
            <a:xfrm rot="8716295">
              <a:off x="5117884" y="1840767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" name="Forme libre : forme 235">
              <a:extLst>
                <a:ext uri="{FF2B5EF4-FFF2-40B4-BE49-F238E27FC236}">
                  <a16:creationId xmlns:a16="http://schemas.microsoft.com/office/drawing/2014/main" id="{A286EB77-2A92-49EB-B662-F67A780E72C3}"/>
                </a:ext>
              </a:extLst>
            </p:cNvPr>
            <p:cNvSpPr/>
            <p:nvPr/>
          </p:nvSpPr>
          <p:spPr>
            <a:xfrm rot="8716295">
              <a:off x="5039475" y="1683975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" name="Forme libre : forme 236">
              <a:extLst>
                <a:ext uri="{FF2B5EF4-FFF2-40B4-BE49-F238E27FC236}">
                  <a16:creationId xmlns:a16="http://schemas.microsoft.com/office/drawing/2014/main" id="{D76415DF-3D0E-46A1-A992-CAEF6C90F935}"/>
                </a:ext>
              </a:extLst>
            </p:cNvPr>
            <p:cNvSpPr/>
            <p:nvPr/>
          </p:nvSpPr>
          <p:spPr>
            <a:xfrm rot="8716295">
              <a:off x="4671311" y="172971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" name="Forme libre : forme 237">
              <a:extLst>
                <a:ext uri="{FF2B5EF4-FFF2-40B4-BE49-F238E27FC236}">
                  <a16:creationId xmlns:a16="http://schemas.microsoft.com/office/drawing/2014/main" id="{22B5BB48-3533-4C75-B095-5C6392290E1E}"/>
                </a:ext>
              </a:extLst>
            </p:cNvPr>
            <p:cNvSpPr/>
            <p:nvPr/>
          </p:nvSpPr>
          <p:spPr>
            <a:xfrm rot="8716295">
              <a:off x="4939893" y="148869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" name="Forme libre : forme 238">
              <a:extLst>
                <a:ext uri="{FF2B5EF4-FFF2-40B4-BE49-F238E27FC236}">
                  <a16:creationId xmlns:a16="http://schemas.microsoft.com/office/drawing/2014/main" id="{D4F7953A-EB21-471D-9CE6-DFD037BB3D9B}"/>
                </a:ext>
              </a:extLst>
            </p:cNvPr>
            <p:cNvSpPr/>
            <p:nvPr/>
          </p:nvSpPr>
          <p:spPr>
            <a:xfrm rot="8716295">
              <a:off x="3777571" y="1076054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" name="Forme libre : forme 239">
              <a:extLst>
                <a:ext uri="{FF2B5EF4-FFF2-40B4-BE49-F238E27FC236}">
                  <a16:creationId xmlns:a16="http://schemas.microsoft.com/office/drawing/2014/main" id="{B31F3CAF-6E5C-4883-9D56-37A77E8E54A5}"/>
                </a:ext>
              </a:extLst>
            </p:cNvPr>
            <p:cNvSpPr/>
            <p:nvPr/>
          </p:nvSpPr>
          <p:spPr>
            <a:xfrm rot="8716295">
              <a:off x="3912870" y="1120313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" name="Forme libre : forme 240">
              <a:extLst>
                <a:ext uri="{FF2B5EF4-FFF2-40B4-BE49-F238E27FC236}">
                  <a16:creationId xmlns:a16="http://schemas.microsoft.com/office/drawing/2014/main" id="{C147FD5B-3693-4B4F-88B4-175EF4DCAB5D}"/>
                </a:ext>
              </a:extLst>
            </p:cNvPr>
            <p:cNvSpPr/>
            <p:nvPr/>
          </p:nvSpPr>
          <p:spPr>
            <a:xfrm rot="8716295">
              <a:off x="3844988" y="989725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" name="Forme libre : forme 241">
              <a:extLst>
                <a:ext uri="{FF2B5EF4-FFF2-40B4-BE49-F238E27FC236}">
                  <a16:creationId xmlns:a16="http://schemas.microsoft.com/office/drawing/2014/main" id="{ADDA2175-F82B-4C1C-A775-DCF7ED389EE1}"/>
                </a:ext>
              </a:extLst>
            </p:cNvPr>
            <p:cNvSpPr/>
            <p:nvPr/>
          </p:nvSpPr>
          <p:spPr>
            <a:xfrm rot="8716295">
              <a:off x="3607700" y="121006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" name="Forme libre : forme 242">
              <a:extLst>
                <a:ext uri="{FF2B5EF4-FFF2-40B4-BE49-F238E27FC236}">
                  <a16:creationId xmlns:a16="http://schemas.microsoft.com/office/drawing/2014/main" id="{3DA66E2A-B271-4CA4-B9FF-6AFE032DC966}"/>
                </a:ext>
              </a:extLst>
            </p:cNvPr>
            <p:cNvSpPr/>
            <p:nvPr/>
          </p:nvSpPr>
          <p:spPr>
            <a:xfrm rot="8716295">
              <a:off x="3418654" y="89423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" name="Forme libre : forme 243">
              <a:extLst>
                <a:ext uri="{FF2B5EF4-FFF2-40B4-BE49-F238E27FC236}">
                  <a16:creationId xmlns:a16="http://schemas.microsoft.com/office/drawing/2014/main" id="{5F0B065E-4F1B-43F1-9813-90200634675E}"/>
                </a:ext>
              </a:extLst>
            </p:cNvPr>
            <p:cNvSpPr/>
            <p:nvPr/>
          </p:nvSpPr>
          <p:spPr>
            <a:xfrm rot="8716295">
              <a:off x="3400413" y="68418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" name="Forme libre : forme 244">
              <a:extLst>
                <a:ext uri="{FF2B5EF4-FFF2-40B4-BE49-F238E27FC236}">
                  <a16:creationId xmlns:a16="http://schemas.microsoft.com/office/drawing/2014/main" id="{20854BC4-5849-4EDA-A9AD-8A9CB02779EC}"/>
                </a:ext>
              </a:extLst>
            </p:cNvPr>
            <p:cNvSpPr/>
            <p:nvPr/>
          </p:nvSpPr>
          <p:spPr>
            <a:xfrm rot="8716295">
              <a:off x="3744189" y="1272052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" name="Forme libre : forme 245">
              <a:extLst>
                <a:ext uri="{FF2B5EF4-FFF2-40B4-BE49-F238E27FC236}">
                  <a16:creationId xmlns:a16="http://schemas.microsoft.com/office/drawing/2014/main" id="{7833AF6E-AF2A-42B3-84D3-9F8F342AAC2A}"/>
                </a:ext>
              </a:extLst>
            </p:cNvPr>
            <p:cNvSpPr/>
            <p:nvPr/>
          </p:nvSpPr>
          <p:spPr>
            <a:xfrm rot="8716295">
              <a:off x="4215135" y="69743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" name="Forme libre : forme 246">
              <a:extLst>
                <a:ext uri="{FF2B5EF4-FFF2-40B4-BE49-F238E27FC236}">
                  <a16:creationId xmlns:a16="http://schemas.microsoft.com/office/drawing/2014/main" id="{5CCDB5E7-FFA9-4665-85A4-71445280D93D}"/>
                </a:ext>
              </a:extLst>
            </p:cNvPr>
            <p:cNvSpPr/>
            <p:nvPr/>
          </p:nvSpPr>
          <p:spPr>
            <a:xfrm rot="8716295">
              <a:off x="4350434" y="74169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" name="Forme libre : forme 247">
              <a:extLst>
                <a:ext uri="{FF2B5EF4-FFF2-40B4-BE49-F238E27FC236}">
                  <a16:creationId xmlns:a16="http://schemas.microsoft.com/office/drawing/2014/main" id="{2DD39E77-D511-475C-B9A4-1F96A0A8FEEA}"/>
                </a:ext>
              </a:extLst>
            </p:cNvPr>
            <p:cNvSpPr/>
            <p:nvPr/>
          </p:nvSpPr>
          <p:spPr>
            <a:xfrm rot="8716295">
              <a:off x="4045264" y="83145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" name="Forme libre : forme 248">
              <a:extLst>
                <a:ext uri="{FF2B5EF4-FFF2-40B4-BE49-F238E27FC236}">
                  <a16:creationId xmlns:a16="http://schemas.microsoft.com/office/drawing/2014/main" id="{37119436-3DF5-44F0-88C8-59BCDF9BA3E8}"/>
                </a:ext>
              </a:extLst>
            </p:cNvPr>
            <p:cNvSpPr/>
            <p:nvPr/>
          </p:nvSpPr>
          <p:spPr>
            <a:xfrm rot="8716295">
              <a:off x="3856220" y="51561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" name="Forme libre : forme 249">
              <a:extLst>
                <a:ext uri="{FF2B5EF4-FFF2-40B4-BE49-F238E27FC236}">
                  <a16:creationId xmlns:a16="http://schemas.microsoft.com/office/drawing/2014/main" id="{5EFF1AF7-D116-4A78-8A60-0881E3BE9924}"/>
                </a:ext>
              </a:extLst>
            </p:cNvPr>
            <p:cNvSpPr/>
            <p:nvPr/>
          </p:nvSpPr>
          <p:spPr>
            <a:xfrm rot="8716295">
              <a:off x="4181753" y="893436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" name="Forme libre : forme 250">
              <a:extLst>
                <a:ext uri="{FF2B5EF4-FFF2-40B4-BE49-F238E27FC236}">
                  <a16:creationId xmlns:a16="http://schemas.microsoft.com/office/drawing/2014/main" id="{C38BBAB8-EA94-46A9-B44D-F77A303742D6}"/>
                </a:ext>
              </a:extLst>
            </p:cNvPr>
            <p:cNvSpPr/>
            <p:nvPr/>
          </p:nvSpPr>
          <p:spPr>
            <a:xfrm rot="8716295">
              <a:off x="3816306" y="66701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" name="Forme libre : forme 251">
              <a:extLst>
                <a:ext uri="{FF2B5EF4-FFF2-40B4-BE49-F238E27FC236}">
                  <a16:creationId xmlns:a16="http://schemas.microsoft.com/office/drawing/2014/main" id="{726FB4EE-DE4A-475E-B9CA-BDA728B96056}"/>
                </a:ext>
              </a:extLst>
            </p:cNvPr>
            <p:cNvSpPr/>
            <p:nvPr/>
          </p:nvSpPr>
          <p:spPr>
            <a:xfrm rot="7484129">
              <a:off x="4340570" y="118305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" name="Forme libre : forme 252">
              <a:extLst>
                <a:ext uri="{FF2B5EF4-FFF2-40B4-BE49-F238E27FC236}">
                  <a16:creationId xmlns:a16="http://schemas.microsoft.com/office/drawing/2014/main" id="{3778C4A8-DD8F-40FB-BF36-85A62335E025}"/>
                </a:ext>
              </a:extLst>
            </p:cNvPr>
            <p:cNvSpPr/>
            <p:nvPr/>
          </p:nvSpPr>
          <p:spPr>
            <a:xfrm rot="13089394">
              <a:off x="4499220" y="1132402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" name="Forme libre : forme 253">
              <a:extLst>
                <a:ext uri="{FF2B5EF4-FFF2-40B4-BE49-F238E27FC236}">
                  <a16:creationId xmlns:a16="http://schemas.microsoft.com/office/drawing/2014/main" id="{E67B04C4-DF6C-4AF3-A306-EC57702A7EA7}"/>
                </a:ext>
              </a:extLst>
            </p:cNvPr>
            <p:cNvSpPr/>
            <p:nvPr/>
          </p:nvSpPr>
          <p:spPr>
            <a:xfrm rot="8716295">
              <a:off x="4780111" y="842284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" name="Forme libre : forme 254">
              <a:extLst>
                <a:ext uri="{FF2B5EF4-FFF2-40B4-BE49-F238E27FC236}">
                  <a16:creationId xmlns:a16="http://schemas.microsoft.com/office/drawing/2014/main" id="{0C3B947F-A89B-45FB-9A8F-3A9BCC6CD484}"/>
                </a:ext>
              </a:extLst>
            </p:cNvPr>
            <p:cNvSpPr/>
            <p:nvPr/>
          </p:nvSpPr>
          <p:spPr>
            <a:xfrm rot="8716295">
              <a:off x="4701702" y="68549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" name="Forme libre : forme 255">
              <a:extLst>
                <a:ext uri="{FF2B5EF4-FFF2-40B4-BE49-F238E27FC236}">
                  <a16:creationId xmlns:a16="http://schemas.microsoft.com/office/drawing/2014/main" id="{65FF4858-B1A0-42D2-ADCA-DB484EB1FE6D}"/>
                </a:ext>
              </a:extLst>
            </p:cNvPr>
            <p:cNvSpPr/>
            <p:nvPr/>
          </p:nvSpPr>
          <p:spPr>
            <a:xfrm rot="8716295">
              <a:off x="4333538" y="73123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" name="Forme libre : forme 256">
              <a:extLst>
                <a:ext uri="{FF2B5EF4-FFF2-40B4-BE49-F238E27FC236}">
                  <a16:creationId xmlns:a16="http://schemas.microsoft.com/office/drawing/2014/main" id="{28C1BE2D-A511-4E2F-AC16-ED6DA95D0016}"/>
                </a:ext>
              </a:extLst>
            </p:cNvPr>
            <p:cNvSpPr/>
            <p:nvPr/>
          </p:nvSpPr>
          <p:spPr>
            <a:xfrm rot="8716295">
              <a:off x="4602120" y="49021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" name="Forme libre : forme 257">
              <a:extLst>
                <a:ext uri="{FF2B5EF4-FFF2-40B4-BE49-F238E27FC236}">
                  <a16:creationId xmlns:a16="http://schemas.microsoft.com/office/drawing/2014/main" id="{414A6022-94D3-4CA0-800F-BAEAE0FC105C}"/>
                </a:ext>
              </a:extLst>
            </p:cNvPr>
            <p:cNvSpPr/>
            <p:nvPr/>
          </p:nvSpPr>
          <p:spPr>
            <a:xfrm rot="8716295">
              <a:off x="3446198" y="7400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" name="Forme libre : forme 258">
              <a:extLst>
                <a:ext uri="{FF2B5EF4-FFF2-40B4-BE49-F238E27FC236}">
                  <a16:creationId xmlns:a16="http://schemas.microsoft.com/office/drawing/2014/main" id="{2CDD9144-31FA-487A-AF8B-34A135FB089A}"/>
                </a:ext>
              </a:extLst>
            </p:cNvPr>
            <p:cNvSpPr/>
            <p:nvPr/>
          </p:nvSpPr>
          <p:spPr>
            <a:xfrm rot="8716295">
              <a:off x="3581496" y="11826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" name="Forme libre : forme 259">
              <a:extLst>
                <a:ext uri="{FF2B5EF4-FFF2-40B4-BE49-F238E27FC236}">
                  <a16:creationId xmlns:a16="http://schemas.microsoft.com/office/drawing/2014/main" id="{7FE16051-BF2A-4B51-837A-7B2C211B57E4}"/>
                </a:ext>
              </a:extLst>
            </p:cNvPr>
            <p:cNvSpPr/>
            <p:nvPr/>
          </p:nvSpPr>
          <p:spPr>
            <a:xfrm rot="8716295">
              <a:off x="3522597" y="36248"/>
              <a:ext cx="234675" cy="172489"/>
            </a:xfrm>
            <a:custGeom>
              <a:avLst/>
              <a:gdLst>
                <a:gd name="connsiteX0" fmla="*/ 25756 w 155050"/>
                <a:gd name="connsiteY0" fmla="*/ 113964 h 113964"/>
                <a:gd name="connsiteX1" fmla="*/ 0 w 155050"/>
                <a:gd name="connsiteY1" fmla="*/ 96110 h 113964"/>
                <a:gd name="connsiteX2" fmla="*/ 72120 w 155050"/>
                <a:gd name="connsiteY2" fmla="*/ 28251 h 113964"/>
                <a:gd name="connsiteX3" fmla="*/ 126799 w 155050"/>
                <a:gd name="connsiteY3" fmla="*/ 0 h 113964"/>
                <a:gd name="connsiteX4" fmla="*/ 155050 w 155050"/>
                <a:gd name="connsiteY4" fmla="*/ 33719 h 113964"/>
                <a:gd name="connsiteX5" fmla="*/ 128622 w 155050"/>
                <a:gd name="connsiteY5" fmla="*/ 69261 h 113964"/>
                <a:gd name="connsiteX6" fmla="*/ 129077 w 155050"/>
                <a:gd name="connsiteY6" fmla="*/ 69261 h 113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5050" h="113964">
                  <a:moveTo>
                    <a:pt x="25756" y="113964"/>
                  </a:moveTo>
                  <a:lnTo>
                    <a:pt x="0" y="96110"/>
                  </a:lnTo>
                  <a:lnTo>
                    <a:pt x="72120" y="28251"/>
                  </a:lnTo>
                  <a:cubicBezTo>
                    <a:pt x="85790" y="12303"/>
                    <a:pt x="105383" y="2279"/>
                    <a:pt x="126799" y="0"/>
                  </a:cubicBezTo>
                  <a:cubicBezTo>
                    <a:pt x="148671" y="0"/>
                    <a:pt x="155050" y="19138"/>
                    <a:pt x="155050" y="33719"/>
                  </a:cubicBezTo>
                  <a:cubicBezTo>
                    <a:pt x="153683" y="49668"/>
                    <a:pt x="143203" y="62882"/>
                    <a:pt x="128622" y="69261"/>
                  </a:cubicBezTo>
                  <a:lnTo>
                    <a:pt x="129077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" name="Forme libre : forme 260">
              <a:extLst>
                <a:ext uri="{FF2B5EF4-FFF2-40B4-BE49-F238E27FC236}">
                  <a16:creationId xmlns:a16="http://schemas.microsoft.com/office/drawing/2014/main" id="{FB6AA26B-D49A-416A-8CAC-16E489B31447}"/>
                </a:ext>
              </a:extLst>
            </p:cNvPr>
            <p:cNvSpPr/>
            <p:nvPr/>
          </p:nvSpPr>
          <p:spPr>
            <a:xfrm rot="8716295">
              <a:off x="3276327" y="20801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" name="Forme libre : forme 261">
              <a:extLst>
                <a:ext uri="{FF2B5EF4-FFF2-40B4-BE49-F238E27FC236}">
                  <a16:creationId xmlns:a16="http://schemas.microsoft.com/office/drawing/2014/main" id="{28AC6B7B-6FBF-49BE-A75A-A0128A514084}"/>
                </a:ext>
              </a:extLst>
            </p:cNvPr>
            <p:cNvSpPr/>
            <p:nvPr/>
          </p:nvSpPr>
          <p:spPr>
            <a:xfrm rot="8716295">
              <a:off x="3107933" y="-20072"/>
              <a:ext cx="308531" cy="199994"/>
            </a:xfrm>
            <a:custGeom>
              <a:avLst/>
              <a:gdLst>
                <a:gd name="connsiteX0" fmla="*/ 112633 w 203847"/>
                <a:gd name="connsiteY0" fmla="*/ 132136 h 132136"/>
                <a:gd name="connsiteX1" fmla="*/ 56185 w 203847"/>
                <a:gd name="connsiteY1" fmla="*/ 93008 h 132136"/>
                <a:gd name="connsiteX2" fmla="*/ 69777 w 203847"/>
                <a:gd name="connsiteY2" fmla="*/ 55323 h 132136"/>
                <a:gd name="connsiteX3" fmla="*/ 1818 w 203847"/>
                <a:gd name="connsiteY3" fmla="*/ 55323 h 132136"/>
                <a:gd name="connsiteX4" fmla="*/ 0 w 203847"/>
                <a:gd name="connsiteY4" fmla="*/ 54062 h 132136"/>
                <a:gd name="connsiteX5" fmla="*/ 0 w 203847"/>
                <a:gd name="connsiteY5" fmla="*/ 0 h 132136"/>
                <a:gd name="connsiteX6" fmla="*/ 203847 w 203847"/>
                <a:gd name="connsiteY6" fmla="*/ 0 h 132136"/>
                <a:gd name="connsiteX7" fmla="*/ 203847 w 203847"/>
                <a:gd name="connsiteY7" fmla="*/ 55323 h 132136"/>
                <a:gd name="connsiteX8" fmla="*/ 139055 w 203847"/>
                <a:gd name="connsiteY8" fmla="*/ 55323 h 132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32136">
                  <a:moveTo>
                    <a:pt x="112633" y="132136"/>
                  </a:moveTo>
                  <a:lnTo>
                    <a:pt x="56185" y="93008"/>
                  </a:lnTo>
                  <a:lnTo>
                    <a:pt x="69777" y="55323"/>
                  </a:lnTo>
                  <a:lnTo>
                    <a:pt x="1818" y="55323"/>
                  </a:lnTo>
                  <a:lnTo>
                    <a:pt x="0" y="54062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" name="Forme libre : forme 262">
              <a:extLst>
                <a:ext uri="{FF2B5EF4-FFF2-40B4-BE49-F238E27FC236}">
                  <a16:creationId xmlns:a16="http://schemas.microsoft.com/office/drawing/2014/main" id="{CE04BDAF-0764-44CB-B173-496F062D8434}"/>
                </a:ext>
              </a:extLst>
            </p:cNvPr>
            <p:cNvSpPr/>
            <p:nvPr/>
          </p:nvSpPr>
          <p:spPr>
            <a:xfrm rot="8716295">
              <a:off x="3475628" y="-31540"/>
              <a:ext cx="98161" cy="118527"/>
            </a:xfrm>
            <a:custGeom>
              <a:avLst/>
              <a:gdLst>
                <a:gd name="connsiteX0" fmla="*/ 64855 w 64855"/>
                <a:gd name="connsiteY0" fmla="*/ 78311 h 78311"/>
                <a:gd name="connsiteX1" fmla="*/ 0 w 64855"/>
                <a:gd name="connsiteY1" fmla="*/ 33356 h 78311"/>
                <a:gd name="connsiteX2" fmla="*/ 64294 w 64855"/>
                <a:gd name="connsiteY2" fmla="*/ 0 h 78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855" h="78311">
                  <a:moveTo>
                    <a:pt x="64855" y="78311"/>
                  </a:moveTo>
                  <a:lnTo>
                    <a:pt x="0" y="33356"/>
                  </a:lnTo>
                  <a:lnTo>
                    <a:pt x="64294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" name="Forme libre : forme 263">
              <a:extLst>
                <a:ext uri="{FF2B5EF4-FFF2-40B4-BE49-F238E27FC236}">
                  <a16:creationId xmlns:a16="http://schemas.microsoft.com/office/drawing/2014/main" id="{79FA5AFC-AB70-4D92-BC44-1181877F58C8}"/>
                </a:ext>
              </a:extLst>
            </p:cNvPr>
            <p:cNvSpPr/>
            <p:nvPr/>
          </p:nvSpPr>
          <p:spPr>
            <a:xfrm rot="8716295">
              <a:off x="3412815" y="26999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" name="Forme libre : forme 264">
              <a:extLst>
                <a:ext uri="{FF2B5EF4-FFF2-40B4-BE49-F238E27FC236}">
                  <a16:creationId xmlns:a16="http://schemas.microsoft.com/office/drawing/2014/main" id="{3C1D95D8-2F29-45A0-9BA8-42D88BD37B32}"/>
                </a:ext>
              </a:extLst>
            </p:cNvPr>
            <p:cNvSpPr/>
            <p:nvPr/>
          </p:nvSpPr>
          <p:spPr>
            <a:xfrm rot="8716295">
              <a:off x="3966406" y="-35912"/>
              <a:ext cx="123741" cy="85774"/>
            </a:xfrm>
            <a:custGeom>
              <a:avLst/>
              <a:gdLst>
                <a:gd name="connsiteX0" fmla="*/ 81756 w 81756"/>
                <a:gd name="connsiteY0" fmla="*/ 56671 h 56671"/>
                <a:gd name="connsiteX1" fmla="*/ 0 w 81756"/>
                <a:gd name="connsiteY1" fmla="*/ 0 h 56671"/>
                <a:gd name="connsiteX2" fmla="*/ 24798 w 81756"/>
                <a:gd name="connsiteY2" fmla="*/ 0 h 56671"/>
                <a:gd name="connsiteX3" fmla="*/ 81756 w 81756"/>
                <a:gd name="connsiteY3" fmla="*/ 50123 h 56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1756" h="56671">
                  <a:moveTo>
                    <a:pt x="81756" y="56671"/>
                  </a:moveTo>
                  <a:lnTo>
                    <a:pt x="0" y="0"/>
                  </a:lnTo>
                  <a:lnTo>
                    <a:pt x="24798" y="0"/>
                  </a:lnTo>
                  <a:cubicBezTo>
                    <a:pt x="61707" y="0"/>
                    <a:pt x="81756" y="15949"/>
                    <a:pt x="81756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" name="Forme libre : forme 265">
              <a:extLst>
                <a:ext uri="{FF2B5EF4-FFF2-40B4-BE49-F238E27FC236}">
                  <a16:creationId xmlns:a16="http://schemas.microsoft.com/office/drawing/2014/main" id="{58EB0588-BD8B-459E-AF8B-F1A7C9A84E72}"/>
                </a:ext>
              </a:extLst>
            </p:cNvPr>
            <p:cNvSpPr/>
            <p:nvPr/>
          </p:nvSpPr>
          <p:spPr>
            <a:xfrm rot="8716295">
              <a:off x="4089146" y="-31808"/>
              <a:ext cx="332088" cy="148365"/>
            </a:xfrm>
            <a:custGeom>
              <a:avLst/>
              <a:gdLst>
                <a:gd name="connsiteX0" fmla="*/ 63575 w 219411"/>
                <a:gd name="connsiteY0" fmla="*/ 45493 h 98025"/>
                <a:gd name="connsiteX1" fmla="*/ 0 w 219411"/>
                <a:gd name="connsiteY1" fmla="*/ 1425 h 98025"/>
                <a:gd name="connsiteX2" fmla="*/ 63575 w 219411"/>
                <a:gd name="connsiteY2" fmla="*/ 1425 h 98025"/>
                <a:gd name="connsiteX3" fmla="*/ 88634 w 219411"/>
                <a:gd name="connsiteY3" fmla="*/ 62863 h 98025"/>
                <a:gd name="connsiteX4" fmla="*/ 73596 w 219411"/>
                <a:gd name="connsiteY4" fmla="*/ 52439 h 98025"/>
                <a:gd name="connsiteX5" fmla="*/ 75493 w 219411"/>
                <a:gd name="connsiteY5" fmla="*/ 47439 h 98025"/>
                <a:gd name="connsiteX6" fmla="*/ 112786 w 219411"/>
                <a:gd name="connsiteY6" fmla="*/ 5981 h 98025"/>
                <a:gd name="connsiteX7" fmla="*/ 144227 w 219411"/>
                <a:gd name="connsiteY7" fmla="*/ 57 h 98025"/>
                <a:gd name="connsiteX8" fmla="*/ 219411 w 219411"/>
                <a:gd name="connsiteY8" fmla="*/ 88456 h 98025"/>
                <a:gd name="connsiteX9" fmla="*/ 219411 w 219411"/>
                <a:gd name="connsiteY9" fmla="*/ 94380 h 98025"/>
                <a:gd name="connsiteX10" fmla="*/ 157441 w 219411"/>
                <a:gd name="connsiteY10" fmla="*/ 98025 h 98025"/>
                <a:gd name="connsiteX11" fmla="*/ 157441 w 219411"/>
                <a:gd name="connsiteY11" fmla="*/ 81621 h 98025"/>
                <a:gd name="connsiteX12" fmla="*/ 123722 w 219411"/>
                <a:gd name="connsiteY12" fmla="*/ 40156 h 98025"/>
                <a:gd name="connsiteX13" fmla="*/ 103089 w 219411"/>
                <a:gd name="connsiteY13" fmla="*/ 46969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9411" h="98025">
                  <a:moveTo>
                    <a:pt x="63575" y="45493"/>
                  </a:moveTo>
                  <a:lnTo>
                    <a:pt x="0" y="1425"/>
                  </a:lnTo>
                  <a:lnTo>
                    <a:pt x="63575" y="1425"/>
                  </a:lnTo>
                  <a:close/>
                  <a:moveTo>
                    <a:pt x="88634" y="62863"/>
                  </a:moveTo>
                  <a:lnTo>
                    <a:pt x="73596" y="52439"/>
                  </a:lnTo>
                  <a:lnTo>
                    <a:pt x="75493" y="47439"/>
                  </a:lnTo>
                  <a:cubicBezTo>
                    <a:pt x="85874" y="24008"/>
                    <a:pt x="96382" y="12816"/>
                    <a:pt x="112786" y="5981"/>
                  </a:cubicBezTo>
                  <a:cubicBezTo>
                    <a:pt x="122811" y="1880"/>
                    <a:pt x="133291" y="-398"/>
                    <a:pt x="144227" y="57"/>
                  </a:cubicBezTo>
                  <a:cubicBezTo>
                    <a:pt x="191160" y="-854"/>
                    <a:pt x="219411" y="31954"/>
                    <a:pt x="219411" y="88456"/>
                  </a:cubicBezTo>
                  <a:lnTo>
                    <a:pt x="219411" y="94380"/>
                  </a:lnTo>
                  <a:lnTo>
                    <a:pt x="157441" y="98025"/>
                  </a:lnTo>
                  <a:lnTo>
                    <a:pt x="157441" y="81621"/>
                  </a:lnTo>
                  <a:cubicBezTo>
                    <a:pt x="157441" y="57016"/>
                    <a:pt x="143316" y="40156"/>
                    <a:pt x="123722" y="40156"/>
                  </a:cubicBezTo>
                  <a:cubicBezTo>
                    <a:pt x="116431" y="40156"/>
                    <a:pt x="109454" y="42577"/>
                    <a:pt x="103089" y="4696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" name="Forme libre : forme 266">
              <a:extLst>
                <a:ext uri="{FF2B5EF4-FFF2-40B4-BE49-F238E27FC236}">
                  <a16:creationId xmlns:a16="http://schemas.microsoft.com/office/drawing/2014/main" id="{8BF71B65-6E28-4BBD-90CF-EB6990FA2B3D}"/>
                </a:ext>
              </a:extLst>
            </p:cNvPr>
            <p:cNvSpPr/>
            <p:nvPr/>
          </p:nvSpPr>
          <p:spPr>
            <a:xfrm rot="8716295">
              <a:off x="3850379" y="-108618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" name="Forme libre : forme 267">
              <a:extLst>
                <a:ext uri="{FF2B5EF4-FFF2-40B4-BE49-F238E27FC236}">
                  <a16:creationId xmlns:a16="http://schemas.microsoft.com/office/drawing/2014/main" id="{C234B460-A852-4BC6-9223-625373ACE475}"/>
                </a:ext>
              </a:extLst>
            </p:cNvPr>
            <p:cNvSpPr/>
            <p:nvPr/>
          </p:nvSpPr>
          <p:spPr>
            <a:xfrm rot="7484129">
              <a:off x="4009196" y="18100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" name="Forme libre : forme 268">
              <a:extLst>
                <a:ext uri="{FF2B5EF4-FFF2-40B4-BE49-F238E27FC236}">
                  <a16:creationId xmlns:a16="http://schemas.microsoft.com/office/drawing/2014/main" id="{ED1521F3-7A8A-439A-8C00-B7EE31751298}"/>
                </a:ext>
              </a:extLst>
            </p:cNvPr>
            <p:cNvSpPr/>
            <p:nvPr/>
          </p:nvSpPr>
          <p:spPr>
            <a:xfrm rot="13089394">
              <a:off x="4167846" y="130348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0" name="Forme libre : forme 269">
              <a:extLst>
                <a:ext uri="{FF2B5EF4-FFF2-40B4-BE49-F238E27FC236}">
                  <a16:creationId xmlns:a16="http://schemas.microsoft.com/office/drawing/2014/main" id="{33189A82-B861-4219-AF6A-9F08FA6A03EE}"/>
                </a:ext>
              </a:extLst>
            </p:cNvPr>
            <p:cNvSpPr/>
            <p:nvPr/>
          </p:nvSpPr>
          <p:spPr>
            <a:xfrm rot="8716295">
              <a:off x="4488057" y="-10608"/>
              <a:ext cx="169580" cy="136116"/>
            </a:xfrm>
            <a:custGeom>
              <a:avLst/>
              <a:gdLst>
                <a:gd name="connsiteX0" fmla="*/ 62355 w 112042"/>
                <a:gd name="connsiteY0" fmla="*/ 89932 h 89932"/>
                <a:gd name="connsiteX1" fmla="*/ 0 w 112042"/>
                <a:gd name="connsiteY1" fmla="*/ 46710 h 89932"/>
                <a:gd name="connsiteX2" fmla="*/ 14231 w 112042"/>
                <a:gd name="connsiteY2" fmla="*/ 33321 h 89932"/>
                <a:gd name="connsiteX3" fmla="*/ 78722 w 112042"/>
                <a:gd name="connsiteY3" fmla="*/ 0 h 89932"/>
                <a:gd name="connsiteX4" fmla="*/ 112042 w 112042"/>
                <a:gd name="connsiteY4" fmla="*/ 39770 h 89932"/>
                <a:gd name="connsiteX5" fmla="*/ 80872 w 112042"/>
                <a:gd name="connsiteY5" fmla="*/ 81689 h 89932"/>
                <a:gd name="connsiteX6" fmla="*/ 81408 w 112042"/>
                <a:gd name="connsiteY6" fmla="*/ 81689 h 89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2042" h="89932">
                  <a:moveTo>
                    <a:pt x="62355" y="89932"/>
                  </a:moveTo>
                  <a:lnTo>
                    <a:pt x="0" y="46710"/>
                  </a:lnTo>
                  <a:lnTo>
                    <a:pt x="14231" y="33321"/>
                  </a:lnTo>
                  <a:cubicBezTo>
                    <a:pt x="30353" y="14511"/>
                    <a:pt x="53462" y="2687"/>
                    <a:pt x="78722" y="0"/>
                  </a:cubicBezTo>
                  <a:cubicBezTo>
                    <a:pt x="104518" y="0"/>
                    <a:pt x="112042" y="22572"/>
                    <a:pt x="112042" y="39770"/>
                  </a:cubicBezTo>
                  <a:cubicBezTo>
                    <a:pt x="110429" y="58580"/>
                    <a:pt x="98068" y="74165"/>
                    <a:pt x="80872" y="81689"/>
                  </a:cubicBezTo>
                  <a:lnTo>
                    <a:pt x="81408" y="816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1" name="Forme libre : forme 270">
              <a:extLst>
                <a:ext uri="{FF2B5EF4-FFF2-40B4-BE49-F238E27FC236}">
                  <a16:creationId xmlns:a16="http://schemas.microsoft.com/office/drawing/2014/main" id="{1EF7387F-9F93-4D5B-AD0B-A9B5B150D750}"/>
                </a:ext>
              </a:extLst>
            </p:cNvPr>
            <p:cNvSpPr/>
            <p:nvPr/>
          </p:nvSpPr>
          <p:spPr>
            <a:xfrm rot="8716295">
              <a:off x="3111565" y="373623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2" name="Forme libre : forme 271">
              <a:extLst>
                <a:ext uri="{FF2B5EF4-FFF2-40B4-BE49-F238E27FC236}">
                  <a16:creationId xmlns:a16="http://schemas.microsoft.com/office/drawing/2014/main" id="{B4768996-8D29-4ED8-9892-576EE6810B22}"/>
                </a:ext>
              </a:extLst>
            </p:cNvPr>
            <p:cNvSpPr/>
            <p:nvPr/>
          </p:nvSpPr>
          <p:spPr>
            <a:xfrm rot="8716295">
              <a:off x="3246864" y="378049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3" name="Forme libre : forme 272">
              <a:extLst>
                <a:ext uri="{FF2B5EF4-FFF2-40B4-BE49-F238E27FC236}">
                  <a16:creationId xmlns:a16="http://schemas.microsoft.com/office/drawing/2014/main" id="{303FB1DD-DCD5-4C62-8A14-00277F3DAA40}"/>
                </a:ext>
              </a:extLst>
            </p:cNvPr>
            <p:cNvSpPr/>
            <p:nvPr/>
          </p:nvSpPr>
          <p:spPr>
            <a:xfrm rot="8716295">
              <a:off x="3178981" y="3649901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4" name="Forme libre : forme 273">
              <a:extLst>
                <a:ext uri="{FF2B5EF4-FFF2-40B4-BE49-F238E27FC236}">
                  <a16:creationId xmlns:a16="http://schemas.microsoft.com/office/drawing/2014/main" id="{FE02E440-C3F4-4D87-B8DD-6EFE0A4EF84D}"/>
                </a:ext>
              </a:extLst>
            </p:cNvPr>
            <p:cNvSpPr/>
            <p:nvPr/>
          </p:nvSpPr>
          <p:spPr>
            <a:xfrm rot="8716295">
              <a:off x="2941694" y="387024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5" name="Forme libre : forme 274">
              <a:extLst>
                <a:ext uri="{FF2B5EF4-FFF2-40B4-BE49-F238E27FC236}">
                  <a16:creationId xmlns:a16="http://schemas.microsoft.com/office/drawing/2014/main" id="{79A8277D-0F31-4A40-BC3D-FDA2697AD79E}"/>
                </a:ext>
              </a:extLst>
            </p:cNvPr>
            <p:cNvSpPr/>
            <p:nvPr/>
          </p:nvSpPr>
          <p:spPr>
            <a:xfrm rot="8716295">
              <a:off x="2752648" y="355441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6" name="Forme libre : forme 275">
              <a:extLst>
                <a:ext uri="{FF2B5EF4-FFF2-40B4-BE49-F238E27FC236}">
                  <a16:creationId xmlns:a16="http://schemas.microsoft.com/office/drawing/2014/main" id="{FDF6C6F6-1950-4480-853C-710CE9CA14A1}"/>
                </a:ext>
              </a:extLst>
            </p:cNvPr>
            <p:cNvSpPr/>
            <p:nvPr/>
          </p:nvSpPr>
          <p:spPr>
            <a:xfrm rot="8716295">
              <a:off x="2734407" y="334436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7" name="Forme libre : forme 276">
              <a:extLst>
                <a:ext uri="{FF2B5EF4-FFF2-40B4-BE49-F238E27FC236}">
                  <a16:creationId xmlns:a16="http://schemas.microsoft.com/office/drawing/2014/main" id="{F7DE91C7-8472-4B32-8DA3-B40AD12704F7}"/>
                </a:ext>
              </a:extLst>
            </p:cNvPr>
            <p:cNvSpPr/>
            <p:nvPr/>
          </p:nvSpPr>
          <p:spPr>
            <a:xfrm rot="8716295">
              <a:off x="3078183" y="393222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8" name="Forme libre : forme 277">
              <a:extLst>
                <a:ext uri="{FF2B5EF4-FFF2-40B4-BE49-F238E27FC236}">
                  <a16:creationId xmlns:a16="http://schemas.microsoft.com/office/drawing/2014/main" id="{56FC047B-D272-4172-A288-45148C4BFE0D}"/>
                </a:ext>
              </a:extLst>
            </p:cNvPr>
            <p:cNvSpPr/>
            <p:nvPr/>
          </p:nvSpPr>
          <p:spPr>
            <a:xfrm rot="8716295">
              <a:off x="3549129" y="335761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9" name="Forme libre : forme 278">
              <a:extLst>
                <a:ext uri="{FF2B5EF4-FFF2-40B4-BE49-F238E27FC236}">
                  <a16:creationId xmlns:a16="http://schemas.microsoft.com/office/drawing/2014/main" id="{B13EC7A5-2676-4C63-B64E-8B2F38021996}"/>
                </a:ext>
              </a:extLst>
            </p:cNvPr>
            <p:cNvSpPr/>
            <p:nvPr/>
          </p:nvSpPr>
          <p:spPr>
            <a:xfrm rot="8716295">
              <a:off x="3684428" y="340187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0" name="Forme libre : forme 279">
              <a:extLst>
                <a:ext uri="{FF2B5EF4-FFF2-40B4-BE49-F238E27FC236}">
                  <a16:creationId xmlns:a16="http://schemas.microsoft.com/office/drawing/2014/main" id="{6ECF7C58-1973-4F69-8DD3-556AA77C8D04}"/>
                </a:ext>
              </a:extLst>
            </p:cNvPr>
            <p:cNvSpPr/>
            <p:nvPr/>
          </p:nvSpPr>
          <p:spPr>
            <a:xfrm rot="8716295">
              <a:off x="3379258" y="349163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1" name="Forme libre : forme 280">
              <a:extLst>
                <a:ext uri="{FF2B5EF4-FFF2-40B4-BE49-F238E27FC236}">
                  <a16:creationId xmlns:a16="http://schemas.microsoft.com/office/drawing/2014/main" id="{2B29EFE5-ACFF-4048-807E-18A0A68A503E}"/>
                </a:ext>
              </a:extLst>
            </p:cNvPr>
            <p:cNvSpPr/>
            <p:nvPr/>
          </p:nvSpPr>
          <p:spPr>
            <a:xfrm rot="8716295">
              <a:off x="3190213" y="317579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2" name="Forme libre : forme 281">
              <a:extLst>
                <a:ext uri="{FF2B5EF4-FFF2-40B4-BE49-F238E27FC236}">
                  <a16:creationId xmlns:a16="http://schemas.microsoft.com/office/drawing/2014/main" id="{09E572E1-09FC-45A6-A1BF-D06157BE552F}"/>
                </a:ext>
              </a:extLst>
            </p:cNvPr>
            <p:cNvSpPr/>
            <p:nvPr/>
          </p:nvSpPr>
          <p:spPr>
            <a:xfrm rot="8716295">
              <a:off x="3515746" y="3553613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3" name="Forme libre : forme 282">
              <a:extLst>
                <a:ext uri="{FF2B5EF4-FFF2-40B4-BE49-F238E27FC236}">
                  <a16:creationId xmlns:a16="http://schemas.microsoft.com/office/drawing/2014/main" id="{85DB8E68-2D02-4177-B998-21F4EDDAA547}"/>
                </a:ext>
              </a:extLst>
            </p:cNvPr>
            <p:cNvSpPr/>
            <p:nvPr/>
          </p:nvSpPr>
          <p:spPr>
            <a:xfrm rot="8716295">
              <a:off x="3150300" y="332718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4" name="Forme libre : forme 283">
              <a:extLst>
                <a:ext uri="{FF2B5EF4-FFF2-40B4-BE49-F238E27FC236}">
                  <a16:creationId xmlns:a16="http://schemas.microsoft.com/office/drawing/2014/main" id="{833C9746-3293-4FB8-8420-FBDB2ADD8FDE}"/>
                </a:ext>
              </a:extLst>
            </p:cNvPr>
            <p:cNvSpPr/>
            <p:nvPr/>
          </p:nvSpPr>
          <p:spPr>
            <a:xfrm rot="7484129">
              <a:off x="3674564" y="38432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5" name="Forme libre : forme 284">
              <a:extLst>
                <a:ext uri="{FF2B5EF4-FFF2-40B4-BE49-F238E27FC236}">
                  <a16:creationId xmlns:a16="http://schemas.microsoft.com/office/drawing/2014/main" id="{F36C90B8-C19D-40C0-9F6E-8BC40DAF6680}"/>
                </a:ext>
              </a:extLst>
            </p:cNvPr>
            <p:cNvSpPr/>
            <p:nvPr/>
          </p:nvSpPr>
          <p:spPr>
            <a:xfrm rot="13089394">
              <a:off x="3833214" y="3792578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6" name="Forme libre : forme 285">
              <a:extLst>
                <a:ext uri="{FF2B5EF4-FFF2-40B4-BE49-F238E27FC236}">
                  <a16:creationId xmlns:a16="http://schemas.microsoft.com/office/drawing/2014/main" id="{25D579E4-7F89-49C7-A73E-844BD68A125D}"/>
                </a:ext>
              </a:extLst>
            </p:cNvPr>
            <p:cNvSpPr/>
            <p:nvPr/>
          </p:nvSpPr>
          <p:spPr>
            <a:xfrm rot="8716295">
              <a:off x="4114105" y="3502461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7" name="Forme libre : forme 286">
              <a:extLst>
                <a:ext uri="{FF2B5EF4-FFF2-40B4-BE49-F238E27FC236}">
                  <a16:creationId xmlns:a16="http://schemas.microsoft.com/office/drawing/2014/main" id="{3F032AF9-E492-4124-9A15-3F5109B4E944}"/>
                </a:ext>
              </a:extLst>
            </p:cNvPr>
            <p:cNvSpPr/>
            <p:nvPr/>
          </p:nvSpPr>
          <p:spPr>
            <a:xfrm rot="8716295">
              <a:off x="4035696" y="334566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8" name="Forme libre : forme 287">
              <a:extLst>
                <a:ext uri="{FF2B5EF4-FFF2-40B4-BE49-F238E27FC236}">
                  <a16:creationId xmlns:a16="http://schemas.microsoft.com/office/drawing/2014/main" id="{AB866341-425E-43E2-A992-45F1B8F969FA}"/>
                </a:ext>
              </a:extLst>
            </p:cNvPr>
            <p:cNvSpPr/>
            <p:nvPr/>
          </p:nvSpPr>
          <p:spPr>
            <a:xfrm rot="8716295">
              <a:off x="3667532" y="339140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9" name="Forme libre : forme 288">
              <a:extLst>
                <a:ext uri="{FF2B5EF4-FFF2-40B4-BE49-F238E27FC236}">
                  <a16:creationId xmlns:a16="http://schemas.microsoft.com/office/drawing/2014/main" id="{6CDA98C5-481F-4686-9DE1-F1AA20FC6223}"/>
                </a:ext>
              </a:extLst>
            </p:cNvPr>
            <p:cNvSpPr/>
            <p:nvPr/>
          </p:nvSpPr>
          <p:spPr>
            <a:xfrm rot="8716295">
              <a:off x="3936113" y="315039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0" name="Forme libre : forme 289">
              <a:extLst>
                <a:ext uri="{FF2B5EF4-FFF2-40B4-BE49-F238E27FC236}">
                  <a16:creationId xmlns:a16="http://schemas.microsoft.com/office/drawing/2014/main" id="{13373414-24F1-4D1B-ADBB-1E220625DF7D}"/>
                </a:ext>
              </a:extLst>
            </p:cNvPr>
            <p:cNvSpPr/>
            <p:nvPr/>
          </p:nvSpPr>
          <p:spPr>
            <a:xfrm rot="8716295">
              <a:off x="3449338" y="4734714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1" name="Forme libre : forme 290">
              <a:extLst>
                <a:ext uri="{FF2B5EF4-FFF2-40B4-BE49-F238E27FC236}">
                  <a16:creationId xmlns:a16="http://schemas.microsoft.com/office/drawing/2014/main" id="{B70E33AD-70BB-4576-ADCA-5363A243B741}"/>
                </a:ext>
              </a:extLst>
            </p:cNvPr>
            <p:cNvSpPr/>
            <p:nvPr/>
          </p:nvSpPr>
          <p:spPr>
            <a:xfrm rot="8716295">
              <a:off x="3580975" y="4773824"/>
              <a:ext cx="394489" cy="383455"/>
            </a:xfrm>
            <a:custGeom>
              <a:avLst/>
              <a:gdLst>
                <a:gd name="connsiteX0" fmla="*/ 77932 w 394489"/>
                <a:gd name="connsiteY0" fmla="*/ 383455 h 383455"/>
                <a:gd name="connsiteX1" fmla="*/ 77932 w 394489"/>
                <a:gd name="connsiteY1" fmla="*/ 66898 h 383455"/>
                <a:gd name="connsiteX2" fmla="*/ 0 w 394489"/>
                <a:gd name="connsiteY2" fmla="*/ 66898 h 383455"/>
                <a:gd name="connsiteX3" fmla="*/ 0 w 394489"/>
                <a:gd name="connsiteY3" fmla="*/ 0 h 383455"/>
                <a:gd name="connsiteX4" fmla="*/ 158623 w 394489"/>
                <a:gd name="connsiteY4" fmla="*/ 0 h 383455"/>
                <a:gd name="connsiteX5" fmla="*/ 158623 w 394489"/>
                <a:gd name="connsiteY5" fmla="*/ 111726 h 383455"/>
                <a:gd name="connsiteX6" fmla="*/ 160692 w 394489"/>
                <a:gd name="connsiteY6" fmla="*/ 111726 h 383455"/>
                <a:gd name="connsiteX7" fmla="*/ 233107 w 394489"/>
                <a:gd name="connsiteY7" fmla="*/ 6897 h 383455"/>
                <a:gd name="connsiteX8" fmla="*/ 240854 w 394489"/>
                <a:gd name="connsiteY8" fmla="*/ 5438 h 383455"/>
                <a:gd name="connsiteX9" fmla="*/ 391511 w 394489"/>
                <a:gd name="connsiteY9" fmla="*/ 109868 h 383455"/>
                <a:gd name="connsiteX10" fmla="*/ 394489 w 394489"/>
                <a:gd name="connsiteY10" fmla="*/ 131726 h 383455"/>
                <a:gd name="connsiteX11" fmla="*/ 394489 w 394489"/>
                <a:gd name="connsiteY11" fmla="*/ 140692 h 383455"/>
                <a:gd name="connsiteX12" fmla="*/ 300695 w 394489"/>
                <a:gd name="connsiteY12" fmla="*/ 146210 h 383455"/>
                <a:gd name="connsiteX13" fmla="*/ 300695 w 394489"/>
                <a:gd name="connsiteY13" fmla="*/ 121382 h 383455"/>
                <a:gd name="connsiteX14" fmla="*/ 249659 w 394489"/>
                <a:gd name="connsiteY14" fmla="*/ 58622 h 383455"/>
                <a:gd name="connsiteX15" fmla="*/ 168969 w 394489"/>
                <a:gd name="connsiteY15" fmla="*/ 191038 h 383455"/>
                <a:gd name="connsiteX16" fmla="*/ 168969 w 394489"/>
                <a:gd name="connsiteY16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4489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82762" y="46208"/>
                    <a:pt x="200003" y="20690"/>
                    <a:pt x="233107" y="6897"/>
                  </a:cubicBezTo>
                  <a:lnTo>
                    <a:pt x="240854" y="5438"/>
                  </a:lnTo>
                  <a:lnTo>
                    <a:pt x="391511" y="109868"/>
                  </a:lnTo>
                  <a:lnTo>
                    <a:pt x="394489" y="131726"/>
                  </a:lnTo>
                  <a:lnTo>
                    <a:pt x="394489" y="140692"/>
                  </a:lnTo>
                  <a:lnTo>
                    <a:pt x="300695" y="146210"/>
                  </a:lnTo>
                  <a:lnTo>
                    <a:pt x="300695" y="121382"/>
                  </a:lnTo>
                  <a:cubicBezTo>
                    <a:pt x="300695" y="84140"/>
                    <a:pt x="279315" y="58621"/>
                    <a:pt x="249659" y="58622"/>
                  </a:cubicBezTo>
                  <a:cubicBezTo>
                    <a:pt x="205521" y="58622"/>
                    <a:pt x="168969" y="117244"/>
                    <a:pt x="168969" y="191038"/>
                  </a:cubicBez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2" name="Forme libre : forme 291">
              <a:extLst>
                <a:ext uri="{FF2B5EF4-FFF2-40B4-BE49-F238E27FC236}">
                  <a16:creationId xmlns:a16="http://schemas.microsoft.com/office/drawing/2014/main" id="{00B826E8-9537-4128-8AFA-9DB695ED94E7}"/>
                </a:ext>
              </a:extLst>
            </p:cNvPr>
            <p:cNvSpPr/>
            <p:nvPr/>
          </p:nvSpPr>
          <p:spPr>
            <a:xfrm rot="8716295">
              <a:off x="3516754" y="4648384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3" name="Forme libre : forme 292">
              <a:extLst>
                <a:ext uri="{FF2B5EF4-FFF2-40B4-BE49-F238E27FC236}">
                  <a16:creationId xmlns:a16="http://schemas.microsoft.com/office/drawing/2014/main" id="{FFE48F5E-5149-4118-92C8-4116821F574B}"/>
                </a:ext>
              </a:extLst>
            </p:cNvPr>
            <p:cNvSpPr/>
            <p:nvPr/>
          </p:nvSpPr>
          <p:spPr>
            <a:xfrm rot="8716295">
              <a:off x="3279467" y="486872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4" name="Forme libre : forme 293">
              <a:extLst>
                <a:ext uri="{FF2B5EF4-FFF2-40B4-BE49-F238E27FC236}">
                  <a16:creationId xmlns:a16="http://schemas.microsoft.com/office/drawing/2014/main" id="{890C4AC4-E0F9-4914-B99E-81FA866D2C0A}"/>
                </a:ext>
              </a:extLst>
            </p:cNvPr>
            <p:cNvSpPr/>
            <p:nvPr/>
          </p:nvSpPr>
          <p:spPr>
            <a:xfrm rot="8716295">
              <a:off x="3090421" y="455289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5" name="Forme libre : forme 294">
              <a:extLst>
                <a:ext uri="{FF2B5EF4-FFF2-40B4-BE49-F238E27FC236}">
                  <a16:creationId xmlns:a16="http://schemas.microsoft.com/office/drawing/2014/main" id="{9E7C0995-D53C-4E22-B438-2332B5C132C7}"/>
                </a:ext>
              </a:extLst>
            </p:cNvPr>
            <p:cNvSpPr/>
            <p:nvPr/>
          </p:nvSpPr>
          <p:spPr>
            <a:xfrm rot="8716295">
              <a:off x="3072180" y="434284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6" name="Forme libre : forme 295">
              <a:extLst>
                <a:ext uri="{FF2B5EF4-FFF2-40B4-BE49-F238E27FC236}">
                  <a16:creationId xmlns:a16="http://schemas.microsoft.com/office/drawing/2014/main" id="{B2DA7643-AE8F-4F78-929C-4968C3EC4902}"/>
                </a:ext>
              </a:extLst>
            </p:cNvPr>
            <p:cNvSpPr/>
            <p:nvPr/>
          </p:nvSpPr>
          <p:spPr>
            <a:xfrm rot="8716295">
              <a:off x="3388475" y="4959102"/>
              <a:ext cx="91035" cy="230894"/>
            </a:xfrm>
            <a:custGeom>
              <a:avLst/>
              <a:gdLst>
                <a:gd name="connsiteX0" fmla="*/ 91035 w 91035"/>
                <a:gd name="connsiteY0" fmla="*/ 230894 h 230894"/>
                <a:gd name="connsiteX1" fmla="*/ 0 w 91035"/>
                <a:gd name="connsiteY1" fmla="*/ 143306 h 230894"/>
                <a:gd name="connsiteX2" fmla="*/ 0 w 91035"/>
                <a:gd name="connsiteY2" fmla="*/ 0 h 230894"/>
                <a:gd name="connsiteX3" fmla="*/ 91035 w 91035"/>
                <a:gd name="connsiteY3" fmla="*/ 63103 h 230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230894">
                  <a:moveTo>
                    <a:pt x="91035" y="230894"/>
                  </a:moveTo>
                  <a:lnTo>
                    <a:pt x="0" y="143306"/>
                  </a:lnTo>
                  <a:lnTo>
                    <a:pt x="0" y="0"/>
                  </a:lnTo>
                  <a:lnTo>
                    <a:pt x="91035" y="631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7" name="Forme libre : forme 296">
              <a:extLst>
                <a:ext uri="{FF2B5EF4-FFF2-40B4-BE49-F238E27FC236}">
                  <a16:creationId xmlns:a16="http://schemas.microsoft.com/office/drawing/2014/main" id="{93603EC3-AC55-411D-BFDF-9FDB7506B4C7}"/>
                </a:ext>
              </a:extLst>
            </p:cNvPr>
            <p:cNvSpPr/>
            <p:nvPr/>
          </p:nvSpPr>
          <p:spPr>
            <a:xfrm rot="8716295">
              <a:off x="3886902" y="435609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8" name="Forme libre : forme 297">
              <a:extLst>
                <a:ext uri="{FF2B5EF4-FFF2-40B4-BE49-F238E27FC236}">
                  <a16:creationId xmlns:a16="http://schemas.microsoft.com/office/drawing/2014/main" id="{08CBBA4D-FF43-40D2-8BFA-84CB4DCCF31B}"/>
                </a:ext>
              </a:extLst>
            </p:cNvPr>
            <p:cNvSpPr/>
            <p:nvPr/>
          </p:nvSpPr>
          <p:spPr>
            <a:xfrm rot="8716295">
              <a:off x="4022201" y="440035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9" name="Forme libre : forme 298">
              <a:extLst>
                <a:ext uri="{FF2B5EF4-FFF2-40B4-BE49-F238E27FC236}">
                  <a16:creationId xmlns:a16="http://schemas.microsoft.com/office/drawing/2014/main" id="{835E253D-33C4-431B-B8C8-357E6AAC9C52}"/>
                </a:ext>
              </a:extLst>
            </p:cNvPr>
            <p:cNvSpPr/>
            <p:nvPr/>
          </p:nvSpPr>
          <p:spPr>
            <a:xfrm rot="8716295">
              <a:off x="3717031" y="44901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0" name="Forme libre : forme 299">
              <a:extLst>
                <a:ext uri="{FF2B5EF4-FFF2-40B4-BE49-F238E27FC236}">
                  <a16:creationId xmlns:a16="http://schemas.microsoft.com/office/drawing/2014/main" id="{22AF57EC-DC68-40A4-9C71-BCBD0C50FBE3}"/>
                </a:ext>
              </a:extLst>
            </p:cNvPr>
            <p:cNvSpPr/>
            <p:nvPr/>
          </p:nvSpPr>
          <p:spPr>
            <a:xfrm rot="8716295">
              <a:off x="3527986" y="417427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1" name="Forme libre : forme 300">
              <a:extLst>
                <a:ext uri="{FF2B5EF4-FFF2-40B4-BE49-F238E27FC236}">
                  <a16:creationId xmlns:a16="http://schemas.microsoft.com/office/drawing/2014/main" id="{7AC81511-7180-4392-A0BB-C0785E6FFDB2}"/>
                </a:ext>
              </a:extLst>
            </p:cNvPr>
            <p:cNvSpPr/>
            <p:nvPr/>
          </p:nvSpPr>
          <p:spPr>
            <a:xfrm rot="8716295">
              <a:off x="3853519" y="4552096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2" name="Forme libre : forme 301">
              <a:extLst>
                <a:ext uri="{FF2B5EF4-FFF2-40B4-BE49-F238E27FC236}">
                  <a16:creationId xmlns:a16="http://schemas.microsoft.com/office/drawing/2014/main" id="{1EACC1C7-884B-4139-9EC6-9BA9AA34D223}"/>
                </a:ext>
              </a:extLst>
            </p:cNvPr>
            <p:cNvSpPr/>
            <p:nvPr/>
          </p:nvSpPr>
          <p:spPr>
            <a:xfrm rot="8716295">
              <a:off x="3488073" y="432567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3" name="Forme libre : forme 302">
              <a:extLst>
                <a:ext uri="{FF2B5EF4-FFF2-40B4-BE49-F238E27FC236}">
                  <a16:creationId xmlns:a16="http://schemas.microsoft.com/office/drawing/2014/main" id="{8A54AD41-7272-4697-A5DB-CEFCE19789FC}"/>
                </a:ext>
              </a:extLst>
            </p:cNvPr>
            <p:cNvSpPr/>
            <p:nvPr/>
          </p:nvSpPr>
          <p:spPr>
            <a:xfrm rot="7484129">
              <a:off x="4016569" y="4837237"/>
              <a:ext cx="295167" cy="296463"/>
            </a:xfrm>
            <a:custGeom>
              <a:avLst/>
              <a:gdLst>
                <a:gd name="connsiteX0" fmla="*/ 137293 w 295167"/>
                <a:gd name="connsiteY0" fmla="*/ 296463 h 296463"/>
                <a:gd name="connsiteX1" fmla="*/ 72418 w 295167"/>
                <a:gd name="connsiteY1" fmla="*/ 175766 h 296463"/>
                <a:gd name="connsiteX2" fmla="*/ 105610 w 295167"/>
                <a:gd name="connsiteY2" fmla="*/ 83734 h 296463"/>
                <a:gd name="connsiteX3" fmla="*/ 0 w 295167"/>
                <a:gd name="connsiteY3" fmla="*/ 83734 h 296463"/>
                <a:gd name="connsiteX4" fmla="*/ 0 w 295167"/>
                <a:gd name="connsiteY4" fmla="*/ 0 h 296463"/>
                <a:gd name="connsiteX5" fmla="*/ 237110 w 295167"/>
                <a:gd name="connsiteY5" fmla="*/ 0 h 296463"/>
                <a:gd name="connsiteX6" fmla="*/ 295167 w 295167"/>
                <a:gd name="connsiteY6" fmla="*/ 83734 h 296463"/>
                <a:gd name="connsiteX7" fmla="*/ 210466 w 295167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5167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37110" y="0"/>
                  </a:lnTo>
                  <a:lnTo>
                    <a:pt x="295167" y="83734"/>
                  </a:lnTo>
                  <a:lnTo>
                    <a:pt x="210466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4" name="Forme libre : forme 303">
              <a:extLst>
                <a:ext uri="{FF2B5EF4-FFF2-40B4-BE49-F238E27FC236}">
                  <a16:creationId xmlns:a16="http://schemas.microsoft.com/office/drawing/2014/main" id="{B0BB4A2B-6236-4AB8-8AEF-499FEFD9934C}"/>
                </a:ext>
              </a:extLst>
            </p:cNvPr>
            <p:cNvSpPr/>
            <p:nvPr/>
          </p:nvSpPr>
          <p:spPr>
            <a:xfrm rot="13089394">
              <a:off x="4226447" y="4804985"/>
              <a:ext cx="412568" cy="314062"/>
            </a:xfrm>
            <a:custGeom>
              <a:avLst/>
              <a:gdLst>
                <a:gd name="connsiteX0" fmla="*/ 412568 w 412568"/>
                <a:gd name="connsiteY0" fmla="*/ 206915 h 314062"/>
                <a:gd name="connsiteX1" fmla="*/ 138636 w 412568"/>
                <a:gd name="connsiteY1" fmla="*/ 313815 h 314062"/>
                <a:gd name="connsiteX2" fmla="*/ 35911 w 412568"/>
                <a:gd name="connsiteY2" fmla="*/ 272057 h 314062"/>
                <a:gd name="connsiteX3" fmla="*/ 0 w 412568"/>
                <a:gd name="connsiteY3" fmla="*/ 128410 h 314062"/>
                <a:gd name="connsiteX4" fmla="*/ 0 w 412568"/>
                <a:gd name="connsiteY4" fmla="*/ 88308 h 314062"/>
                <a:gd name="connsiteX5" fmla="*/ 112395 w 412568"/>
                <a:gd name="connsiteY5" fmla="*/ 0 h 314062"/>
                <a:gd name="connsiteX6" fmla="*/ 112747 w 412568"/>
                <a:gd name="connsiteY6" fmla="*/ 49070 h 314062"/>
                <a:gd name="connsiteX7" fmla="*/ 132789 w 412568"/>
                <a:gd name="connsiteY7" fmla="*/ 187707 h 314062"/>
                <a:gd name="connsiteX8" fmla="*/ 233008 w 412568"/>
                <a:gd name="connsiteY8" fmla="*/ 242827 h 314062"/>
                <a:gd name="connsiteX9" fmla="*/ 308172 w 412568"/>
                <a:gd name="connsiteY9" fmla="*/ 229465 h 314062"/>
                <a:gd name="connsiteX10" fmla="*/ 410898 w 412568"/>
                <a:gd name="connsiteY10" fmla="*/ 187707 h 314062"/>
                <a:gd name="connsiteX11" fmla="*/ 412568 w 412568"/>
                <a:gd name="connsiteY11" fmla="*/ 198563 h 314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2568" h="314062">
                  <a:moveTo>
                    <a:pt x="412568" y="206915"/>
                  </a:moveTo>
                  <a:cubicBezTo>
                    <a:pt x="324041" y="282914"/>
                    <a:pt x="207954" y="309640"/>
                    <a:pt x="138636" y="313815"/>
                  </a:cubicBezTo>
                  <a:cubicBezTo>
                    <a:pt x="100219" y="316321"/>
                    <a:pt x="62637" y="299618"/>
                    <a:pt x="35911" y="272057"/>
                  </a:cubicBezTo>
                  <a:cubicBezTo>
                    <a:pt x="7516" y="244497"/>
                    <a:pt x="0" y="196893"/>
                    <a:pt x="0" y="128410"/>
                  </a:cubicBezTo>
                  <a:lnTo>
                    <a:pt x="0" y="88308"/>
                  </a:lnTo>
                  <a:lnTo>
                    <a:pt x="112395" y="0"/>
                  </a:lnTo>
                  <a:lnTo>
                    <a:pt x="112747" y="49070"/>
                  </a:lnTo>
                  <a:cubicBezTo>
                    <a:pt x="110241" y="95839"/>
                    <a:pt x="117756" y="143443"/>
                    <a:pt x="132789" y="187707"/>
                  </a:cubicBezTo>
                  <a:cubicBezTo>
                    <a:pt x="146153" y="224453"/>
                    <a:pt x="180394" y="242827"/>
                    <a:pt x="233008" y="242827"/>
                  </a:cubicBezTo>
                  <a:cubicBezTo>
                    <a:pt x="258899" y="241992"/>
                    <a:pt x="283953" y="236980"/>
                    <a:pt x="308172" y="229465"/>
                  </a:cubicBezTo>
                  <a:cubicBezTo>
                    <a:pt x="343249" y="218607"/>
                    <a:pt x="377491" y="204410"/>
                    <a:pt x="410898" y="187707"/>
                  </a:cubicBezTo>
                  <a:cubicBezTo>
                    <a:pt x="411732" y="191047"/>
                    <a:pt x="412568" y="195223"/>
                    <a:pt x="412568" y="1985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5" name="Forme libre : forme 304">
              <a:extLst>
                <a:ext uri="{FF2B5EF4-FFF2-40B4-BE49-F238E27FC236}">
                  <a16:creationId xmlns:a16="http://schemas.microsoft.com/office/drawing/2014/main" id="{41417B88-C9BD-4BA9-91EE-73AA587DB73F}"/>
                </a:ext>
              </a:extLst>
            </p:cNvPr>
            <p:cNvSpPr/>
            <p:nvPr/>
          </p:nvSpPr>
          <p:spPr>
            <a:xfrm rot="8716295">
              <a:off x="4451878" y="4500944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6" name="Forme libre : forme 305">
              <a:extLst>
                <a:ext uri="{FF2B5EF4-FFF2-40B4-BE49-F238E27FC236}">
                  <a16:creationId xmlns:a16="http://schemas.microsoft.com/office/drawing/2014/main" id="{BE88A8B4-3593-449C-B0AC-26CECAA3950B}"/>
                </a:ext>
              </a:extLst>
            </p:cNvPr>
            <p:cNvSpPr/>
            <p:nvPr/>
          </p:nvSpPr>
          <p:spPr>
            <a:xfrm rot="8716295">
              <a:off x="4373469" y="434415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7" name="Forme libre : forme 306">
              <a:extLst>
                <a:ext uri="{FF2B5EF4-FFF2-40B4-BE49-F238E27FC236}">
                  <a16:creationId xmlns:a16="http://schemas.microsoft.com/office/drawing/2014/main" id="{3E1F62FF-668F-4B24-81E3-7F413DC37761}"/>
                </a:ext>
              </a:extLst>
            </p:cNvPr>
            <p:cNvSpPr/>
            <p:nvPr/>
          </p:nvSpPr>
          <p:spPr>
            <a:xfrm rot="8716295">
              <a:off x="4005305" y="438989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8" name="Forme libre : forme 307">
              <a:extLst>
                <a:ext uri="{FF2B5EF4-FFF2-40B4-BE49-F238E27FC236}">
                  <a16:creationId xmlns:a16="http://schemas.microsoft.com/office/drawing/2014/main" id="{271936E6-CFC4-4CBF-80D3-0DD03A6DA43A}"/>
                </a:ext>
              </a:extLst>
            </p:cNvPr>
            <p:cNvSpPr/>
            <p:nvPr/>
          </p:nvSpPr>
          <p:spPr>
            <a:xfrm rot="8716295">
              <a:off x="4273886" y="414887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9" name="Forme libre : forme 308">
              <a:extLst>
                <a:ext uri="{FF2B5EF4-FFF2-40B4-BE49-F238E27FC236}">
                  <a16:creationId xmlns:a16="http://schemas.microsoft.com/office/drawing/2014/main" id="{BA906EC6-3DC5-4DE2-8F95-209D99503493}"/>
                </a:ext>
              </a:extLst>
            </p:cNvPr>
            <p:cNvSpPr/>
            <p:nvPr/>
          </p:nvSpPr>
          <p:spPr>
            <a:xfrm rot="8716295">
              <a:off x="2776288" y="273581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0" name="Forme libre : forme 309">
              <a:extLst>
                <a:ext uri="{FF2B5EF4-FFF2-40B4-BE49-F238E27FC236}">
                  <a16:creationId xmlns:a16="http://schemas.microsoft.com/office/drawing/2014/main" id="{86353AD3-86B9-454E-8316-ED48EDD5C43A}"/>
                </a:ext>
              </a:extLst>
            </p:cNvPr>
            <p:cNvSpPr/>
            <p:nvPr/>
          </p:nvSpPr>
          <p:spPr>
            <a:xfrm rot="8716295">
              <a:off x="2911587" y="278007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1" name="Forme libre : forme 310">
              <a:extLst>
                <a:ext uri="{FF2B5EF4-FFF2-40B4-BE49-F238E27FC236}">
                  <a16:creationId xmlns:a16="http://schemas.microsoft.com/office/drawing/2014/main" id="{0B2A58FB-010E-417B-8E1C-9997876763AE}"/>
                </a:ext>
              </a:extLst>
            </p:cNvPr>
            <p:cNvSpPr/>
            <p:nvPr/>
          </p:nvSpPr>
          <p:spPr>
            <a:xfrm rot="8716295">
              <a:off x="2843704" y="2649488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2" name="Forme libre : forme 311">
              <a:extLst>
                <a:ext uri="{FF2B5EF4-FFF2-40B4-BE49-F238E27FC236}">
                  <a16:creationId xmlns:a16="http://schemas.microsoft.com/office/drawing/2014/main" id="{487219BD-DC26-4E15-BDA1-CA5CCE916C41}"/>
                </a:ext>
              </a:extLst>
            </p:cNvPr>
            <p:cNvSpPr/>
            <p:nvPr/>
          </p:nvSpPr>
          <p:spPr>
            <a:xfrm rot="8716295">
              <a:off x="2606417" y="286983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3" name="Forme libre : forme 312">
              <a:extLst>
                <a:ext uri="{FF2B5EF4-FFF2-40B4-BE49-F238E27FC236}">
                  <a16:creationId xmlns:a16="http://schemas.microsoft.com/office/drawing/2014/main" id="{E49C695E-663D-4558-8A6D-FAB5771CCDF7}"/>
                </a:ext>
              </a:extLst>
            </p:cNvPr>
            <p:cNvSpPr/>
            <p:nvPr/>
          </p:nvSpPr>
          <p:spPr>
            <a:xfrm rot="8716295">
              <a:off x="2417371" y="255399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4" name="Forme libre : forme 313">
              <a:extLst>
                <a:ext uri="{FF2B5EF4-FFF2-40B4-BE49-F238E27FC236}">
                  <a16:creationId xmlns:a16="http://schemas.microsoft.com/office/drawing/2014/main" id="{33F36FCD-6977-4A63-8D14-D1E1625E9D31}"/>
                </a:ext>
              </a:extLst>
            </p:cNvPr>
            <p:cNvSpPr/>
            <p:nvPr/>
          </p:nvSpPr>
          <p:spPr>
            <a:xfrm rot="8716295">
              <a:off x="2399130" y="2343948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5" name="Forme libre : forme 314">
              <a:extLst>
                <a:ext uri="{FF2B5EF4-FFF2-40B4-BE49-F238E27FC236}">
                  <a16:creationId xmlns:a16="http://schemas.microsoft.com/office/drawing/2014/main" id="{B3474DC3-02FE-406E-A9DB-66680A910D3C}"/>
                </a:ext>
              </a:extLst>
            </p:cNvPr>
            <p:cNvSpPr/>
            <p:nvPr/>
          </p:nvSpPr>
          <p:spPr>
            <a:xfrm rot="8716295">
              <a:off x="2742905" y="293181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6" name="Forme libre : forme 315">
              <a:extLst>
                <a:ext uri="{FF2B5EF4-FFF2-40B4-BE49-F238E27FC236}">
                  <a16:creationId xmlns:a16="http://schemas.microsoft.com/office/drawing/2014/main" id="{A49C2E0F-EE8D-44EF-9BA8-BEBCE07245A7}"/>
                </a:ext>
              </a:extLst>
            </p:cNvPr>
            <p:cNvSpPr/>
            <p:nvPr/>
          </p:nvSpPr>
          <p:spPr>
            <a:xfrm rot="8716295">
              <a:off x="3213852" y="235720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7" name="Forme libre : forme 316">
              <a:extLst>
                <a:ext uri="{FF2B5EF4-FFF2-40B4-BE49-F238E27FC236}">
                  <a16:creationId xmlns:a16="http://schemas.microsoft.com/office/drawing/2014/main" id="{F24F931D-D0BA-4754-8EFA-1E41547520B4}"/>
                </a:ext>
              </a:extLst>
            </p:cNvPr>
            <p:cNvSpPr/>
            <p:nvPr/>
          </p:nvSpPr>
          <p:spPr>
            <a:xfrm rot="8716295">
              <a:off x="3349151" y="240146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8" name="Forme libre : forme 317">
              <a:extLst>
                <a:ext uri="{FF2B5EF4-FFF2-40B4-BE49-F238E27FC236}">
                  <a16:creationId xmlns:a16="http://schemas.microsoft.com/office/drawing/2014/main" id="{77E8D478-ED04-4063-AB60-82AA395CE7E1}"/>
                </a:ext>
              </a:extLst>
            </p:cNvPr>
            <p:cNvSpPr/>
            <p:nvPr/>
          </p:nvSpPr>
          <p:spPr>
            <a:xfrm rot="8716295">
              <a:off x="3043981" y="249121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9" name="Forme libre : forme 318">
              <a:extLst>
                <a:ext uri="{FF2B5EF4-FFF2-40B4-BE49-F238E27FC236}">
                  <a16:creationId xmlns:a16="http://schemas.microsoft.com/office/drawing/2014/main" id="{D68F4A66-E6DC-4D6F-A05F-B0ED1AAF9752}"/>
                </a:ext>
              </a:extLst>
            </p:cNvPr>
            <p:cNvSpPr/>
            <p:nvPr/>
          </p:nvSpPr>
          <p:spPr>
            <a:xfrm rot="8716295">
              <a:off x="2854936" y="217538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0" name="Forme libre : forme 319">
              <a:extLst>
                <a:ext uri="{FF2B5EF4-FFF2-40B4-BE49-F238E27FC236}">
                  <a16:creationId xmlns:a16="http://schemas.microsoft.com/office/drawing/2014/main" id="{2E7E02DC-19A7-4427-8DD0-9CBD70741C55}"/>
                </a:ext>
              </a:extLst>
            </p:cNvPr>
            <p:cNvSpPr/>
            <p:nvPr/>
          </p:nvSpPr>
          <p:spPr>
            <a:xfrm rot="8716295">
              <a:off x="3180469" y="255320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1" name="Forme libre : forme 320">
              <a:extLst>
                <a:ext uri="{FF2B5EF4-FFF2-40B4-BE49-F238E27FC236}">
                  <a16:creationId xmlns:a16="http://schemas.microsoft.com/office/drawing/2014/main" id="{5F22C34B-662E-4288-A98A-07600645D826}"/>
                </a:ext>
              </a:extLst>
            </p:cNvPr>
            <p:cNvSpPr/>
            <p:nvPr/>
          </p:nvSpPr>
          <p:spPr>
            <a:xfrm rot="8716295">
              <a:off x="2815023" y="232677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2" name="Forme libre : forme 321">
              <a:extLst>
                <a:ext uri="{FF2B5EF4-FFF2-40B4-BE49-F238E27FC236}">
                  <a16:creationId xmlns:a16="http://schemas.microsoft.com/office/drawing/2014/main" id="{F9C4954F-8E31-441D-8E0D-8B0514C0CCEA}"/>
                </a:ext>
              </a:extLst>
            </p:cNvPr>
            <p:cNvSpPr/>
            <p:nvPr/>
          </p:nvSpPr>
          <p:spPr>
            <a:xfrm rot="7484129">
              <a:off x="3339287" y="284281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3" name="Forme libre : forme 322">
              <a:extLst>
                <a:ext uri="{FF2B5EF4-FFF2-40B4-BE49-F238E27FC236}">
                  <a16:creationId xmlns:a16="http://schemas.microsoft.com/office/drawing/2014/main" id="{96BDAC49-7C90-455C-A6A8-F21767004646}"/>
                </a:ext>
              </a:extLst>
            </p:cNvPr>
            <p:cNvSpPr/>
            <p:nvPr/>
          </p:nvSpPr>
          <p:spPr>
            <a:xfrm rot="13089394">
              <a:off x="3497937" y="279216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4" name="Forme libre : forme 323">
              <a:extLst>
                <a:ext uri="{FF2B5EF4-FFF2-40B4-BE49-F238E27FC236}">
                  <a16:creationId xmlns:a16="http://schemas.microsoft.com/office/drawing/2014/main" id="{EE32A375-D70E-46A2-83EF-D2C25C11FC27}"/>
                </a:ext>
              </a:extLst>
            </p:cNvPr>
            <p:cNvSpPr/>
            <p:nvPr/>
          </p:nvSpPr>
          <p:spPr>
            <a:xfrm rot="8716295">
              <a:off x="3778828" y="2502048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5" name="Forme libre : forme 324">
              <a:extLst>
                <a:ext uri="{FF2B5EF4-FFF2-40B4-BE49-F238E27FC236}">
                  <a16:creationId xmlns:a16="http://schemas.microsoft.com/office/drawing/2014/main" id="{1FF92686-85A8-4017-922B-2458FE401EB8}"/>
                </a:ext>
              </a:extLst>
            </p:cNvPr>
            <p:cNvSpPr/>
            <p:nvPr/>
          </p:nvSpPr>
          <p:spPr>
            <a:xfrm rot="8716295">
              <a:off x="3700418" y="234525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6" name="Forme libre : forme 325">
              <a:extLst>
                <a:ext uri="{FF2B5EF4-FFF2-40B4-BE49-F238E27FC236}">
                  <a16:creationId xmlns:a16="http://schemas.microsoft.com/office/drawing/2014/main" id="{D45E52B0-C4FD-4155-A0DD-45195433970C}"/>
                </a:ext>
              </a:extLst>
            </p:cNvPr>
            <p:cNvSpPr/>
            <p:nvPr/>
          </p:nvSpPr>
          <p:spPr>
            <a:xfrm rot="8716295">
              <a:off x="3332255" y="239099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7" name="Forme libre : forme 326">
              <a:extLst>
                <a:ext uri="{FF2B5EF4-FFF2-40B4-BE49-F238E27FC236}">
                  <a16:creationId xmlns:a16="http://schemas.microsoft.com/office/drawing/2014/main" id="{F21AB6E7-AC7E-4350-A5BF-CDF7EE2573C5}"/>
                </a:ext>
              </a:extLst>
            </p:cNvPr>
            <p:cNvSpPr/>
            <p:nvPr/>
          </p:nvSpPr>
          <p:spPr>
            <a:xfrm rot="8716295">
              <a:off x="3600836" y="214997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8" name="Forme libre : forme 327">
              <a:extLst>
                <a:ext uri="{FF2B5EF4-FFF2-40B4-BE49-F238E27FC236}">
                  <a16:creationId xmlns:a16="http://schemas.microsoft.com/office/drawing/2014/main" id="{81ADFF02-63EB-4A30-B800-167FCE598798}"/>
                </a:ext>
              </a:extLst>
            </p:cNvPr>
            <p:cNvSpPr/>
            <p:nvPr/>
          </p:nvSpPr>
          <p:spPr>
            <a:xfrm rot="8716295">
              <a:off x="2438515" y="173733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9" name="Forme libre : forme 328">
              <a:extLst>
                <a:ext uri="{FF2B5EF4-FFF2-40B4-BE49-F238E27FC236}">
                  <a16:creationId xmlns:a16="http://schemas.microsoft.com/office/drawing/2014/main" id="{FEEE40D0-1ED4-4D89-A553-8246351195B7}"/>
                </a:ext>
              </a:extLst>
            </p:cNvPr>
            <p:cNvSpPr/>
            <p:nvPr/>
          </p:nvSpPr>
          <p:spPr>
            <a:xfrm rot="8716295">
              <a:off x="2573814" y="178159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0" name="Forme libre : forme 329">
              <a:extLst>
                <a:ext uri="{FF2B5EF4-FFF2-40B4-BE49-F238E27FC236}">
                  <a16:creationId xmlns:a16="http://schemas.microsoft.com/office/drawing/2014/main" id="{AA5B5D88-69C3-43FC-A9FF-1BC20CA01055}"/>
                </a:ext>
              </a:extLst>
            </p:cNvPr>
            <p:cNvSpPr/>
            <p:nvPr/>
          </p:nvSpPr>
          <p:spPr>
            <a:xfrm rot="8716295">
              <a:off x="2505931" y="1651005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1" name="Forme libre : forme 330">
              <a:extLst>
                <a:ext uri="{FF2B5EF4-FFF2-40B4-BE49-F238E27FC236}">
                  <a16:creationId xmlns:a16="http://schemas.microsoft.com/office/drawing/2014/main" id="{3433A715-4852-4C6F-BD57-E5BFC48256EE}"/>
                </a:ext>
              </a:extLst>
            </p:cNvPr>
            <p:cNvSpPr/>
            <p:nvPr/>
          </p:nvSpPr>
          <p:spPr>
            <a:xfrm rot="8716295">
              <a:off x="2268644" y="187135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2" name="Forme libre : forme 331">
              <a:extLst>
                <a:ext uri="{FF2B5EF4-FFF2-40B4-BE49-F238E27FC236}">
                  <a16:creationId xmlns:a16="http://schemas.microsoft.com/office/drawing/2014/main" id="{AA3826BF-36B5-4F42-9A9C-0857F8AFC9E9}"/>
                </a:ext>
              </a:extLst>
            </p:cNvPr>
            <p:cNvSpPr/>
            <p:nvPr/>
          </p:nvSpPr>
          <p:spPr>
            <a:xfrm rot="8716295">
              <a:off x="2079598" y="155551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3" name="Forme libre : forme 332">
              <a:extLst>
                <a:ext uri="{FF2B5EF4-FFF2-40B4-BE49-F238E27FC236}">
                  <a16:creationId xmlns:a16="http://schemas.microsoft.com/office/drawing/2014/main" id="{6B18E7D7-D7AA-4E20-850E-3799436161FA}"/>
                </a:ext>
              </a:extLst>
            </p:cNvPr>
            <p:cNvSpPr/>
            <p:nvPr/>
          </p:nvSpPr>
          <p:spPr>
            <a:xfrm rot="8716295">
              <a:off x="2061357" y="1345465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4" name="Forme libre : forme 333">
              <a:extLst>
                <a:ext uri="{FF2B5EF4-FFF2-40B4-BE49-F238E27FC236}">
                  <a16:creationId xmlns:a16="http://schemas.microsoft.com/office/drawing/2014/main" id="{43032E37-9C7A-492A-8A2C-109CA7245F5F}"/>
                </a:ext>
              </a:extLst>
            </p:cNvPr>
            <p:cNvSpPr/>
            <p:nvPr/>
          </p:nvSpPr>
          <p:spPr>
            <a:xfrm rot="8716295">
              <a:off x="2405132" y="1933333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5" name="Forme libre : forme 334">
              <a:extLst>
                <a:ext uri="{FF2B5EF4-FFF2-40B4-BE49-F238E27FC236}">
                  <a16:creationId xmlns:a16="http://schemas.microsoft.com/office/drawing/2014/main" id="{17B53965-E3A1-4010-BB29-B66E80C0AA24}"/>
                </a:ext>
              </a:extLst>
            </p:cNvPr>
            <p:cNvSpPr/>
            <p:nvPr/>
          </p:nvSpPr>
          <p:spPr>
            <a:xfrm rot="8716295">
              <a:off x="2876079" y="135871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6" name="Forme libre : forme 335">
              <a:extLst>
                <a:ext uri="{FF2B5EF4-FFF2-40B4-BE49-F238E27FC236}">
                  <a16:creationId xmlns:a16="http://schemas.microsoft.com/office/drawing/2014/main" id="{5A10F28E-8329-4CB2-9E8E-AF5ADC5D984D}"/>
                </a:ext>
              </a:extLst>
            </p:cNvPr>
            <p:cNvSpPr/>
            <p:nvPr/>
          </p:nvSpPr>
          <p:spPr>
            <a:xfrm rot="8716295">
              <a:off x="3011378" y="140297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7" name="Forme libre : forme 336">
              <a:extLst>
                <a:ext uri="{FF2B5EF4-FFF2-40B4-BE49-F238E27FC236}">
                  <a16:creationId xmlns:a16="http://schemas.microsoft.com/office/drawing/2014/main" id="{A3E6B7D3-30F0-4F00-9AE4-FB7C5336C17B}"/>
                </a:ext>
              </a:extLst>
            </p:cNvPr>
            <p:cNvSpPr/>
            <p:nvPr/>
          </p:nvSpPr>
          <p:spPr>
            <a:xfrm rot="8716295">
              <a:off x="2706208" y="14927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8" name="Forme libre : forme 337">
              <a:extLst>
                <a:ext uri="{FF2B5EF4-FFF2-40B4-BE49-F238E27FC236}">
                  <a16:creationId xmlns:a16="http://schemas.microsoft.com/office/drawing/2014/main" id="{632D1FEF-F08F-4C8C-8E0E-3985E6CFB126}"/>
                </a:ext>
              </a:extLst>
            </p:cNvPr>
            <p:cNvSpPr/>
            <p:nvPr/>
          </p:nvSpPr>
          <p:spPr>
            <a:xfrm rot="8716295">
              <a:off x="2517163" y="11768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9" name="Forme libre : forme 338">
              <a:extLst>
                <a:ext uri="{FF2B5EF4-FFF2-40B4-BE49-F238E27FC236}">
                  <a16:creationId xmlns:a16="http://schemas.microsoft.com/office/drawing/2014/main" id="{12813E1E-715D-4101-9BCD-409373887F04}"/>
                </a:ext>
              </a:extLst>
            </p:cNvPr>
            <p:cNvSpPr/>
            <p:nvPr/>
          </p:nvSpPr>
          <p:spPr>
            <a:xfrm rot="8716295">
              <a:off x="2842696" y="1554717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0" name="Forme libre : forme 339">
              <a:extLst>
                <a:ext uri="{FF2B5EF4-FFF2-40B4-BE49-F238E27FC236}">
                  <a16:creationId xmlns:a16="http://schemas.microsoft.com/office/drawing/2014/main" id="{AA2FCEEA-252F-42A1-A6F0-2BDC14E98266}"/>
                </a:ext>
              </a:extLst>
            </p:cNvPr>
            <p:cNvSpPr/>
            <p:nvPr/>
          </p:nvSpPr>
          <p:spPr>
            <a:xfrm rot="8716295">
              <a:off x="2477250" y="1328291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1" name="Forme libre : forme 340">
              <a:extLst>
                <a:ext uri="{FF2B5EF4-FFF2-40B4-BE49-F238E27FC236}">
                  <a16:creationId xmlns:a16="http://schemas.microsoft.com/office/drawing/2014/main" id="{884AD109-F04C-43C6-A88C-32CD36BAA4FA}"/>
                </a:ext>
              </a:extLst>
            </p:cNvPr>
            <p:cNvSpPr/>
            <p:nvPr/>
          </p:nvSpPr>
          <p:spPr>
            <a:xfrm rot="7484129">
              <a:off x="3001514" y="184433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2" name="Forme libre : forme 341">
              <a:extLst>
                <a:ext uri="{FF2B5EF4-FFF2-40B4-BE49-F238E27FC236}">
                  <a16:creationId xmlns:a16="http://schemas.microsoft.com/office/drawing/2014/main" id="{E48D40E2-82AD-4B99-AF4E-871FA4B10FDC}"/>
                </a:ext>
              </a:extLst>
            </p:cNvPr>
            <p:cNvSpPr/>
            <p:nvPr/>
          </p:nvSpPr>
          <p:spPr>
            <a:xfrm rot="13089394">
              <a:off x="3160164" y="1793683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3" name="Forme libre : forme 342">
              <a:extLst>
                <a:ext uri="{FF2B5EF4-FFF2-40B4-BE49-F238E27FC236}">
                  <a16:creationId xmlns:a16="http://schemas.microsoft.com/office/drawing/2014/main" id="{5110A4C9-803C-4F01-A8FB-E8911DB784FA}"/>
                </a:ext>
              </a:extLst>
            </p:cNvPr>
            <p:cNvSpPr/>
            <p:nvPr/>
          </p:nvSpPr>
          <p:spPr>
            <a:xfrm rot="8716295">
              <a:off x="3441055" y="1503565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4" name="Forme libre : forme 343">
              <a:extLst>
                <a:ext uri="{FF2B5EF4-FFF2-40B4-BE49-F238E27FC236}">
                  <a16:creationId xmlns:a16="http://schemas.microsoft.com/office/drawing/2014/main" id="{4B71D1CA-954E-40F5-BAE1-391BC7E00EAC}"/>
                </a:ext>
              </a:extLst>
            </p:cNvPr>
            <p:cNvSpPr/>
            <p:nvPr/>
          </p:nvSpPr>
          <p:spPr>
            <a:xfrm rot="8716295">
              <a:off x="3362645" y="134677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5" name="Forme libre : forme 344">
              <a:extLst>
                <a:ext uri="{FF2B5EF4-FFF2-40B4-BE49-F238E27FC236}">
                  <a16:creationId xmlns:a16="http://schemas.microsoft.com/office/drawing/2014/main" id="{778C13D4-A0D9-47A6-97AC-A7265054F880}"/>
                </a:ext>
              </a:extLst>
            </p:cNvPr>
            <p:cNvSpPr/>
            <p:nvPr/>
          </p:nvSpPr>
          <p:spPr>
            <a:xfrm rot="8716295">
              <a:off x="2994482" y="13925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6" name="Forme libre : forme 345">
              <a:extLst>
                <a:ext uri="{FF2B5EF4-FFF2-40B4-BE49-F238E27FC236}">
                  <a16:creationId xmlns:a16="http://schemas.microsoft.com/office/drawing/2014/main" id="{018BC788-46BE-420C-AA9D-351862A75FA9}"/>
                </a:ext>
              </a:extLst>
            </p:cNvPr>
            <p:cNvSpPr/>
            <p:nvPr/>
          </p:nvSpPr>
          <p:spPr>
            <a:xfrm rot="8716295">
              <a:off x="3263063" y="115149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7" name="Forme libre : forme 346">
              <a:extLst>
                <a:ext uri="{FF2B5EF4-FFF2-40B4-BE49-F238E27FC236}">
                  <a16:creationId xmlns:a16="http://schemas.microsoft.com/office/drawing/2014/main" id="{0E9463B7-1F06-4DEB-A058-446E8844EA8B}"/>
                </a:ext>
              </a:extLst>
            </p:cNvPr>
            <p:cNvSpPr/>
            <p:nvPr/>
          </p:nvSpPr>
          <p:spPr>
            <a:xfrm rot="8716295">
              <a:off x="2107141" y="73528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8" name="Forme libre : forme 347">
              <a:extLst>
                <a:ext uri="{FF2B5EF4-FFF2-40B4-BE49-F238E27FC236}">
                  <a16:creationId xmlns:a16="http://schemas.microsoft.com/office/drawing/2014/main" id="{73CCCCE8-C732-40A3-953D-8C4E26ECE894}"/>
                </a:ext>
              </a:extLst>
            </p:cNvPr>
            <p:cNvSpPr/>
            <p:nvPr/>
          </p:nvSpPr>
          <p:spPr>
            <a:xfrm rot="8716295">
              <a:off x="2242440" y="77954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9" name="Forme libre : forme 348">
              <a:extLst>
                <a:ext uri="{FF2B5EF4-FFF2-40B4-BE49-F238E27FC236}">
                  <a16:creationId xmlns:a16="http://schemas.microsoft.com/office/drawing/2014/main" id="{46418248-47C2-468E-8F48-18C4C7CDB219}"/>
                </a:ext>
              </a:extLst>
            </p:cNvPr>
            <p:cNvSpPr/>
            <p:nvPr/>
          </p:nvSpPr>
          <p:spPr>
            <a:xfrm rot="8716295">
              <a:off x="2174558" y="64895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0" name="Forme libre : forme 349">
              <a:extLst>
                <a:ext uri="{FF2B5EF4-FFF2-40B4-BE49-F238E27FC236}">
                  <a16:creationId xmlns:a16="http://schemas.microsoft.com/office/drawing/2014/main" id="{CF6485DD-C84B-431E-B394-8EC27CA6D055}"/>
                </a:ext>
              </a:extLst>
            </p:cNvPr>
            <p:cNvSpPr/>
            <p:nvPr/>
          </p:nvSpPr>
          <p:spPr>
            <a:xfrm rot="8716295">
              <a:off x="1937270" y="86929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1" name="Forme libre : forme 350">
              <a:extLst>
                <a:ext uri="{FF2B5EF4-FFF2-40B4-BE49-F238E27FC236}">
                  <a16:creationId xmlns:a16="http://schemas.microsoft.com/office/drawing/2014/main" id="{C462C7C6-AFD1-4D6E-868F-DFD5908371AE}"/>
                </a:ext>
              </a:extLst>
            </p:cNvPr>
            <p:cNvSpPr/>
            <p:nvPr/>
          </p:nvSpPr>
          <p:spPr>
            <a:xfrm rot="8716295">
              <a:off x="1748224" y="55346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2" name="Forme libre : forme 351">
              <a:extLst>
                <a:ext uri="{FF2B5EF4-FFF2-40B4-BE49-F238E27FC236}">
                  <a16:creationId xmlns:a16="http://schemas.microsoft.com/office/drawing/2014/main" id="{3BF602CB-BB96-4BFD-9890-5020E5C70107}"/>
                </a:ext>
              </a:extLst>
            </p:cNvPr>
            <p:cNvSpPr/>
            <p:nvPr/>
          </p:nvSpPr>
          <p:spPr>
            <a:xfrm rot="8716295">
              <a:off x="1729983" y="34341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3" name="Forme libre : forme 352">
              <a:extLst>
                <a:ext uri="{FF2B5EF4-FFF2-40B4-BE49-F238E27FC236}">
                  <a16:creationId xmlns:a16="http://schemas.microsoft.com/office/drawing/2014/main" id="{D123FE48-43A2-4EF2-A75E-82641468BE05}"/>
                </a:ext>
              </a:extLst>
            </p:cNvPr>
            <p:cNvSpPr/>
            <p:nvPr/>
          </p:nvSpPr>
          <p:spPr>
            <a:xfrm rot="8716295">
              <a:off x="2073759" y="93127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4" name="Forme libre : forme 353">
              <a:extLst>
                <a:ext uri="{FF2B5EF4-FFF2-40B4-BE49-F238E27FC236}">
                  <a16:creationId xmlns:a16="http://schemas.microsoft.com/office/drawing/2014/main" id="{9368862D-396D-4FD2-B4BF-9090111F2572}"/>
                </a:ext>
              </a:extLst>
            </p:cNvPr>
            <p:cNvSpPr/>
            <p:nvPr/>
          </p:nvSpPr>
          <p:spPr>
            <a:xfrm rot="8716295">
              <a:off x="2544705" y="35666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5" name="Forme libre : forme 354">
              <a:extLst>
                <a:ext uri="{FF2B5EF4-FFF2-40B4-BE49-F238E27FC236}">
                  <a16:creationId xmlns:a16="http://schemas.microsoft.com/office/drawing/2014/main" id="{08DA4440-5C40-4A9D-A195-E7F5A36FB8E5}"/>
                </a:ext>
              </a:extLst>
            </p:cNvPr>
            <p:cNvSpPr/>
            <p:nvPr/>
          </p:nvSpPr>
          <p:spPr>
            <a:xfrm rot="8716295">
              <a:off x="2680004" y="40092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6" name="Forme libre : forme 355">
              <a:extLst>
                <a:ext uri="{FF2B5EF4-FFF2-40B4-BE49-F238E27FC236}">
                  <a16:creationId xmlns:a16="http://schemas.microsoft.com/office/drawing/2014/main" id="{499C4215-CE78-4D06-B1F1-0EFC66D2B8A8}"/>
                </a:ext>
              </a:extLst>
            </p:cNvPr>
            <p:cNvSpPr/>
            <p:nvPr/>
          </p:nvSpPr>
          <p:spPr>
            <a:xfrm rot="8716295">
              <a:off x="2374834" y="49068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7" name="Forme libre : forme 356">
              <a:extLst>
                <a:ext uri="{FF2B5EF4-FFF2-40B4-BE49-F238E27FC236}">
                  <a16:creationId xmlns:a16="http://schemas.microsoft.com/office/drawing/2014/main" id="{0DF46042-A994-48E9-AACA-0079FAE5D34F}"/>
                </a:ext>
              </a:extLst>
            </p:cNvPr>
            <p:cNvSpPr/>
            <p:nvPr/>
          </p:nvSpPr>
          <p:spPr>
            <a:xfrm rot="8716295">
              <a:off x="2185790" y="17484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8" name="Forme libre : forme 357">
              <a:extLst>
                <a:ext uri="{FF2B5EF4-FFF2-40B4-BE49-F238E27FC236}">
                  <a16:creationId xmlns:a16="http://schemas.microsoft.com/office/drawing/2014/main" id="{C56CBFD7-CE58-4F68-AE5F-EEAC0B0B2F26}"/>
                </a:ext>
              </a:extLst>
            </p:cNvPr>
            <p:cNvSpPr/>
            <p:nvPr/>
          </p:nvSpPr>
          <p:spPr>
            <a:xfrm rot="8716295">
              <a:off x="2511323" y="552663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9" name="Forme libre : forme 358">
              <a:extLst>
                <a:ext uri="{FF2B5EF4-FFF2-40B4-BE49-F238E27FC236}">
                  <a16:creationId xmlns:a16="http://schemas.microsoft.com/office/drawing/2014/main" id="{5026E243-7CAA-469D-B3FD-2DEEF3B52A6D}"/>
                </a:ext>
              </a:extLst>
            </p:cNvPr>
            <p:cNvSpPr/>
            <p:nvPr/>
          </p:nvSpPr>
          <p:spPr>
            <a:xfrm rot="8716295">
              <a:off x="2145876" y="32623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0" name="Forme libre : forme 359">
              <a:extLst>
                <a:ext uri="{FF2B5EF4-FFF2-40B4-BE49-F238E27FC236}">
                  <a16:creationId xmlns:a16="http://schemas.microsoft.com/office/drawing/2014/main" id="{69635373-7069-4076-9294-1FD2A4827397}"/>
                </a:ext>
              </a:extLst>
            </p:cNvPr>
            <p:cNvSpPr/>
            <p:nvPr/>
          </p:nvSpPr>
          <p:spPr>
            <a:xfrm rot="7484129">
              <a:off x="2670140" y="84228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1" name="Forme libre : forme 360">
              <a:extLst>
                <a:ext uri="{FF2B5EF4-FFF2-40B4-BE49-F238E27FC236}">
                  <a16:creationId xmlns:a16="http://schemas.microsoft.com/office/drawing/2014/main" id="{65F0089C-08D4-41A5-B19D-05C5D2A763BC}"/>
                </a:ext>
              </a:extLst>
            </p:cNvPr>
            <p:cNvSpPr/>
            <p:nvPr/>
          </p:nvSpPr>
          <p:spPr>
            <a:xfrm rot="13089394">
              <a:off x="2828790" y="791629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2" name="Forme libre : forme 361">
              <a:extLst>
                <a:ext uri="{FF2B5EF4-FFF2-40B4-BE49-F238E27FC236}">
                  <a16:creationId xmlns:a16="http://schemas.microsoft.com/office/drawing/2014/main" id="{10F0587B-FBC8-4526-B416-2C74092E74E3}"/>
                </a:ext>
              </a:extLst>
            </p:cNvPr>
            <p:cNvSpPr/>
            <p:nvPr/>
          </p:nvSpPr>
          <p:spPr>
            <a:xfrm rot="8716295">
              <a:off x="3109681" y="501511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3" name="Forme libre : forme 362">
              <a:extLst>
                <a:ext uri="{FF2B5EF4-FFF2-40B4-BE49-F238E27FC236}">
                  <a16:creationId xmlns:a16="http://schemas.microsoft.com/office/drawing/2014/main" id="{2065DAB7-B994-4ECC-90EA-43FF767C9150}"/>
                </a:ext>
              </a:extLst>
            </p:cNvPr>
            <p:cNvSpPr/>
            <p:nvPr/>
          </p:nvSpPr>
          <p:spPr>
            <a:xfrm rot="8716295">
              <a:off x="3031272" y="344719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4" name="Forme libre : forme 363">
              <a:extLst>
                <a:ext uri="{FF2B5EF4-FFF2-40B4-BE49-F238E27FC236}">
                  <a16:creationId xmlns:a16="http://schemas.microsoft.com/office/drawing/2014/main" id="{06C29BA8-D38F-498C-9EF2-99B1FD452BF5}"/>
                </a:ext>
              </a:extLst>
            </p:cNvPr>
            <p:cNvSpPr/>
            <p:nvPr/>
          </p:nvSpPr>
          <p:spPr>
            <a:xfrm rot="8716295">
              <a:off x="2663108" y="39046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5" name="Forme libre : forme 364">
              <a:extLst>
                <a:ext uri="{FF2B5EF4-FFF2-40B4-BE49-F238E27FC236}">
                  <a16:creationId xmlns:a16="http://schemas.microsoft.com/office/drawing/2014/main" id="{19957925-F105-47F6-A52F-63EE7BCADA72}"/>
                </a:ext>
              </a:extLst>
            </p:cNvPr>
            <p:cNvSpPr/>
            <p:nvPr/>
          </p:nvSpPr>
          <p:spPr>
            <a:xfrm rot="8716295">
              <a:off x="2931690" y="14944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6" name="Forme libre : forme 365">
              <a:extLst>
                <a:ext uri="{FF2B5EF4-FFF2-40B4-BE49-F238E27FC236}">
                  <a16:creationId xmlns:a16="http://schemas.microsoft.com/office/drawing/2014/main" id="{E0E33F2F-8222-4600-9D1F-1A85DBD9DDB6}"/>
                </a:ext>
              </a:extLst>
            </p:cNvPr>
            <p:cNvSpPr/>
            <p:nvPr/>
          </p:nvSpPr>
          <p:spPr>
            <a:xfrm rot="8716295">
              <a:off x="1834766" y="-57684"/>
              <a:ext cx="186564" cy="129320"/>
            </a:xfrm>
            <a:custGeom>
              <a:avLst/>
              <a:gdLst>
                <a:gd name="connsiteX0" fmla="*/ 123263 w 123263"/>
                <a:gd name="connsiteY0" fmla="*/ 85442 h 85442"/>
                <a:gd name="connsiteX1" fmla="*/ 0 w 123263"/>
                <a:gd name="connsiteY1" fmla="*/ 0 h 85442"/>
                <a:gd name="connsiteX2" fmla="*/ 66305 w 123263"/>
                <a:gd name="connsiteY2" fmla="*/ 0 h 85442"/>
                <a:gd name="connsiteX3" fmla="*/ 123263 w 123263"/>
                <a:gd name="connsiteY3" fmla="*/ 50123 h 85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63" h="85442">
                  <a:moveTo>
                    <a:pt x="123263" y="85442"/>
                  </a:moveTo>
                  <a:lnTo>
                    <a:pt x="0" y="0"/>
                  </a:lnTo>
                  <a:lnTo>
                    <a:pt x="66305" y="0"/>
                  </a:lnTo>
                  <a:cubicBezTo>
                    <a:pt x="103214" y="0"/>
                    <a:pt x="123263" y="15948"/>
                    <a:pt x="123263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7" name="Forme libre : forme 366">
              <a:extLst>
                <a:ext uri="{FF2B5EF4-FFF2-40B4-BE49-F238E27FC236}">
                  <a16:creationId xmlns:a16="http://schemas.microsoft.com/office/drawing/2014/main" id="{85E9DB2D-8095-4090-AC49-070A81C428A4}"/>
                </a:ext>
              </a:extLst>
            </p:cNvPr>
            <p:cNvSpPr/>
            <p:nvPr/>
          </p:nvSpPr>
          <p:spPr>
            <a:xfrm rot="8716295">
              <a:off x="1969949" y="-13794"/>
              <a:ext cx="394488" cy="148365"/>
            </a:xfrm>
            <a:custGeom>
              <a:avLst/>
              <a:gdLst>
                <a:gd name="connsiteX0" fmla="*/ 104802 w 260639"/>
                <a:gd name="connsiteY0" fmla="*/ 74264 h 98025"/>
                <a:gd name="connsiteX1" fmla="*/ 0 w 260639"/>
                <a:gd name="connsiteY1" fmla="*/ 1618 h 98025"/>
                <a:gd name="connsiteX2" fmla="*/ 0 w 260639"/>
                <a:gd name="connsiteY2" fmla="*/ 1425 h 98025"/>
                <a:gd name="connsiteX3" fmla="*/ 104803 w 260639"/>
                <a:gd name="connsiteY3" fmla="*/ 1425 h 98025"/>
                <a:gd name="connsiteX4" fmla="*/ 122123 w 260639"/>
                <a:gd name="connsiteY4" fmla="*/ 86270 h 98025"/>
                <a:gd name="connsiteX5" fmla="*/ 106178 w 260639"/>
                <a:gd name="connsiteY5" fmla="*/ 75218 h 98025"/>
                <a:gd name="connsiteX6" fmla="*/ 116721 w 260639"/>
                <a:gd name="connsiteY6" fmla="*/ 47439 h 98025"/>
                <a:gd name="connsiteX7" fmla="*/ 154014 w 260639"/>
                <a:gd name="connsiteY7" fmla="*/ 5981 h 98025"/>
                <a:gd name="connsiteX8" fmla="*/ 185455 w 260639"/>
                <a:gd name="connsiteY8" fmla="*/ 57 h 98025"/>
                <a:gd name="connsiteX9" fmla="*/ 260639 w 260639"/>
                <a:gd name="connsiteY9" fmla="*/ 88456 h 98025"/>
                <a:gd name="connsiteX10" fmla="*/ 260639 w 260639"/>
                <a:gd name="connsiteY10" fmla="*/ 94380 h 98025"/>
                <a:gd name="connsiteX11" fmla="*/ 198669 w 260639"/>
                <a:gd name="connsiteY11" fmla="*/ 98025 h 98025"/>
                <a:gd name="connsiteX12" fmla="*/ 198669 w 260639"/>
                <a:gd name="connsiteY12" fmla="*/ 81621 h 98025"/>
                <a:gd name="connsiteX13" fmla="*/ 164950 w 260639"/>
                <a:gd name="connsiteY13" fmla="*/ 40156 h 98025"/>
                <a:gd name="connsiteX14" fmla="*/ 127358 w 260639"/>
                <a:gd name="connsiteY14" fmla="*/ 65616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60639" h="98025">
                  <a:moveTo>
                    <a:pt x="104802" y="74264"/>
                  </a:moveTo>
                  <a:lnTo>
                    <a:pt x="0" y="1618"/>
                  </a:lnTo>
                  <a:lnTo>
                    <a:pt x="0" y="1425"/>
                  </a:lnTo>
                  <a:lnTo>
                    <a:pt x="104803" y="1425"/>
                  </a:lnTo>
                  <a:close/>
                  <a:moveTo>
                    <a:pt x="122123" y="86270"/>
                  </a:moveTo>
                  <a:lnTo>
                    <a:pt x="106178" y="75218"/>
                  </a:lnTo>
                  <a:lnTo>
                    <a:pt x="116721" y="47439"/>
                  </a:lnTo>
                  <a:cubicBezTo>
                    <a:pt x="127102" y="24008"/>
                    <a:pt x="137610" y="12816"/>
                    <a:pt x="154014" y="5981"/>
                  </a:cubicBezTo>
                  <a:cubicBezTo>
                    <a:pt x="164038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50369" y="40156"/>
                    <a:pt x="137041" y="49839"/>
                    <a:pt x="127358" y="656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8" name="Forme libre : forme 367">
              <a:extLst>
                <a:ext uri="{FF2B5EF4-FFF2-40B4-BE49-F238E27FC236}">
                  <a16:creationId xmlns:a16="http://schemas.microsoft.com/office/drawing/2014/main" id="{2112AB6E-ECBC-48CC-8F85-503CE29BF697}"/>
                </a:ext>
              </a:extLst>
            </p:cNvPr>
            <p:cNvSpPr/>
            <p:nvPr/>
          </p:nvSpPr>
          <p:spPr>
            <a:xfrm rot="8716295">
              <a:off x="1736738" y="-7282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9" name="Forme libre : forme 368">
              <a:extLst>
                <a:ext uri="{FF2B5EF4-FFF2-40B4-BE49-F238E27FC236}">
                  <a16:creationId xmlns:a16="http://schemas.microsoft.com/office/drawing/2014/main" id="{0CED55EE-2402-40E1-B7FC-4C64963DE5BE}"/>
                </a:ext>
              </a:extLst>
            </p:cNvPr>
            <p:cNvSpPr/>
            <p:nvPr/>
          </p:nvSpPr>
          <p:spPr>
            <a:xfrm rot="7484129">
              <a:off x="2399917" y="-21262"/>
              <a:ext cx="233243" cy="158079"/>
            </a:xfrm>
            <a:custGeom>
              <a:avLst/>
              <a:gdLst>
                <a:gd name="connsiteX0" fmla="*/ 72416 w 154104"/>
                <a:gd name="connsiteY0" fmla="*/ 104443 h 104443"/>
                <a:gd name="connsiteX1" fmla="*/ 0 w 154104"/>
                <a:gd name="connsiteY1" fmla="*/ 0 h 104443"/>
                <a:gd name="connsiteX2" fmla="*/ 154104 w 154104"/>
                <a:gd name="connsiteY2" fmla="*/ 0 h 104443"/>
                <a:gd name="connsiteX3" fmla="*/ 154104 w 154104"/>
                <a:gd name="connsiteY3" fmla="*/ 55323 h 104443"/>
                <a:gd name="connsiteX4" fmla="*/ 89312 w 154104"/>
                <a:gd name="connsiteY4" fmla="*/ 55323 h 104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4104" h="104443">
                  <a:moveTo>
                    <a:pt x="72416" y="104443"/>
                  </a:moveTo>
                  <a:lnTo>
                    <a:pt x="0" y="0"/>
                  </a:lnTo>
                  <a:lnTo>
                    <a:pt x="154104" y="0"/>
                  </a:lnTo>
                  <a:lnTo>
                    <a:pt x="154104" y="55323"/>
                  </a:lnTo>
                  <a:lnTo>
                    <a:pt x="89312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0" name="Forme libre : forme 369">
              <a:extLst>
                <a:ext uri="{FF2B5EF4-FFF2-40B4-BE49-F238E27FC236}">
                  <a16:creationId xmlns:a16="http://schemas.microsoft.com/office/drawing/2014/main" id="{2AB77741-1425-4B03-9370-5D34269ACC61}"/>
                </a:ext>
              </a:extLst>
            </p:cNvPr>
            <p:cNvSpPr/>
            <p:nvPr/>
          </p:nvSpPr>
          <p:spPr>
            <a:xfrm rot="13089394">
              <a:off x="2721869" y="-65503"/>
              <a:ext cx="128296" cy="425348"/>
            </a:xfrm>
            <a:custGeom>
              <a:avLst/>
              <a:gdLst>
                <a:gd name="connsiteX0" fmla="*/ 84765 w 84765"/>
                <a:gd name="connsiteY0" fmla="*/ 225012 h 281028"/>
                <a:gd name="connsiteX1" fmla="*/ 13471 w 84765"/>
                <a:gd name="connsiteY1" fmla="*/ 281028 h 281028"/>
                <a:gd name="connsiteX2" fmla="*/ 4828 w 84765"/>
                <a:gd name="connsiteY2" fmla="*/ 263963 h 281028"/>
                <a:gd name="connsiteX3" fmla="*/ 0 w 84765"/>
                <a:gd name="connsiteY3" fmla="*/ 206370 h 281028"/>
                <a:gd name="connsiteX4" fmla="*/ 0 w 84765"/>
                <a:gd name="connsiteY4" fmla="*/ 38074 h 281028"/>
                <a:gd name="connsiteX5" fmla="*/ 73388 w 84765"/>
                <a:gd name="connsiteY5" fmla="*/ 0 h 281028"/>
                <a:gd name="connsiteX6" fmla="*/ 74492 w 84765"/>
                <a:gd name="connsiteY6" fmla="*/ 153950 h 281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4765" h="281028">
                  <a:moveTo>
                    <a:pt x="84765" y="225012"/>
                  </a:moveTo>
                  <a:lnTo>
                    <a:pt x="13471" y="281028"/>
                  </a:lnTo>
                  <a:lnTo>
                    <a:pt x="4828" y="263963"/>
                  </a:lnTo>
                  <a:cubicBezTo>
                    <a:pt x="1241" y="248168"/>
                    <a:pt x="0" y="228993"/>
                    <a:pt x="0" y="206370"/>
                  </a:cubicBez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1" name="Forme libre : forme 370">
              <a:extLst>
                <a:ext uri="{FF2B5EF4-FFF2-40B4-BE49-F238E27FC236}">
                  <a16:creationId xmlns:a16="http://schemas.microsoft.com/office/drawing/2014/main" id="{FAA815E1-BD11-411E-A301-A66D6E5B5B5D}"/>
                </a:ext>
              </a:extLst>
            </p:cNvPr>
            <p:cNvSpPr/>
            <p:nvPr/>
          </p:nvSpPr>
          <p:spPr>
            <a:xfrm rot="8716295">
              <a:off x="5604774" y="3024342"/>
              <a:ext cx="274455" cy="132163"/>
            </a:xfrm>
            <a:custGeom>
              <a:avLst/>
              <a:gdLst>
                <a:gd name="connsiteX0" fmla="*/ 0 w 181333"/>
                <a:gd name="connsiteY0" fmla="*/ 87320 h 87320"/>
                <a:gd name="connsiteX1" fmla="*/ 42309 w 181333"/>
                <a:gd name="connsiteY1" fmla="*/ 36168 h 87320"/>
                <a:gd name="connsiteX2" fmla="*/ 54839 w 181333"/>
                <a:gd name="connsiteY2" fmla="*/ 38831 h 87320"/>
                <a:gd name="connsiteX3" fmla="*/ 107790 w 181333"/>
                <a:gd name="connsiteY3" fmla="*/ 29417 h 87320"/>
                <a:gd name="connsiteX4" fmla="*/ 180157 w 181333"/>
                <a:gd name="connsiteY4" fmla="*/ 0 h 87320"/>
                <a:gd name="connsiteX5" fmla="*/ 181333 w 181333"/>
                <a:gd name="connsiteY5" fmla="*/ 7648 h 87320"/>
                <a:gd name="connsiteX6" fmla="*/ 181333 w 181333"/>
                <a:gd name="connsiteY6" fmla="*/ 13532 h 87320"/>
                <a:gd name="connsiteX7" fmla="*/ 30340 w 181333"/>
                <a:gd name="connsiteY7" fmla="*/ 83361 h 87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333" h="87320">
                  <a:moveTo>
                    <a:pt x="0" y="87320"/>
                  </a:moveTo>
                  <a:lnTo>
                    <a:pt x="42309" y="36168"/>
                  </a:lnTo>
                  <a:lnTo>
                    <a:pt x="54839" y="38831"/>
                  </a:lnTo>
                  <a:cubicBezTo>
                    <a:pt x="73078" y="38242"/>
                    <a:pt x="90728" y="34712"/>
                    <a:pt x="107790" y="29417"/>
                  </a:cubicBezTo>
                  <a:cubicBezTo>
                    <a:pt x="132500" y="21768"/>
                    <a:pt x="156623" y="11767"/>
                    <a:pt x="180157" y="0"/>
                  </a:cubicBezTo>
                  <a:cubicBezTo>
                    <a:pt x="180745" y="2353"/>
                    <a:pt x="181333" y="5295"/>
                    <a:pt x="181333" y="7648"/>
                  </a:cubicBezTo>
                  <a:lnTo>
                    <a:pt x="181333" y="13532"/>
                  </a:lnTo>
                  <a:cubicBezTo>
                    <a:pt x="134560" y="53687"/>
                    <a:pt x="76865" y="74315"/>
                    <a:pt x="30340" y="833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2" name="Forme libre : forme 371">
              <a:extLst>
                <a:ext uri="{FF2B5EF4-FFF2-40B4-BE49-F238E27FC236}">
                  <a16:creationId xmlns:a16="http://schemas.microsoft.com/office/drawing/2014/main" id="{0B206B84-4FE5-4D53-9D1E-DD02DB41D254}"/>
                </a:ext>
              </a:extLst>
            </p:cNvPr>
            <p:cNvSpPr/>
            <p:nvPr/>
          </p:nvSpPr>
          <p:spPr>
            <a:xfrm rot="8716295">
              <a:off x="5742786" y="2375436"/>
              <a:ext cx="92417" cy="296278"/>
            </a:xfrm>
            <a:custGeom>
              <a:avLst/>
              <a:gdLst>
                <a:gd name="connsiteX0" fmla="*/ 0 w 61060"/>
                <a:gd name="connsiteY0" fmla="*/ 195751 h 195751"/>
                <a:gd name="connsiteX1" fmla="*/ 0 w 61060"/>
                <a:gd name="connsiteY1" fmla="*/ 67520 h 195751"/>
                <a:gd name="connsiteX2" fmla="*/ 55847 w 61060"/>
                <a:gd name="connsiteY2" fmla="*/ 0 h 195751"/>
                <a:gd name="connsiteX3" fmla="*/ 61059 w 61060"/>
                <a:gd name="connsiteY3" fmla="*/ 13486 h 195751"/>
                <a:gd name="connsiteX4" fmla="*/ 61060 w 61060"/>
                <a:gd name="connsiteY4" fmla="*/ 171601 h 195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60" h="195751">
                  <a:moveTo>
                    <a:pt x="0" y="195751"/>
                  </a:moveTo>
                  <a:lnTo>
                    <a:pt x="0" y="67520"/>
                  </a:lnTo>
                  <a:lnTo>
                    <a:pt x="55847" y="0"/>
                  </a:lnTo>
                  <a:lnTo>
                    <a:pt x="61059" y="13486"/>
                  </a:lnTo>
                  <a:lnTo>
                    <a:pt x="61060" y="17160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3" name="Forme libre : forme 372">
              <a:extLst>
                <a:ext uri="{FF2B5EF4-FFF2-40B4-BE49-F238E27FC236}">
                  <a16:creationId xmlns:a16="http://schemas.microsoft.com/office/drawing/2014/main" id="{77194E30-CE70-4AEC-BB0F-106D75678D26}"/>
                </a:ext>
              </a:extLst>
            </p:cNvPr>
            <p:cNvSpPr/>
            <p:nvPr/>
          </p:nvSpPr>
          <p:spPr>
            <a:xfrm rot="8716295">
              <a:off x="5579033" y="246915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4" name="Forme libre : forme 373">
              <a:extLst>
                <a:ext uri="{FF2B5EF4-FFF2-40B4-BE49-F238E27FC236}">
                  <a16:creationId xmlns:a16="http://schemas.microsoft.com/office/drawing/2014/main" id="{F8F32B20-B35C-4702-8768-E6EC077080C3}"/>
                </a:ext>
              </a:extLst>
            </p:cNvPr>
            <p:cNvSpPr/>
            <p:nvPr/>
          </p:nvSpPr>
          <p:spPr>
            <a:xfrm rot="8716295">
              <a:off x="5389987" y="215331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5" name="Forme libre : forme 374">
              <a:extLst>
                <a:ext uri="{FF2B5EF4-FFF2-40B4-BE49-F238E27FC236}">
                  <a16:creationId xmlns:a16="http://schemas.microsoft.com/office/drawing/2014/main" id="{03FB5FAB-F686-40AC-9940-1E92242C962D}"/>
                </a:ext>
              </a:extLst>
            </p:cNvPr>
            <p:cNvSpPr/>
            <p:nvPr/>
          </p:nvSpPr>
          <p:spPr>
            <a:xfrm rot="8716295">
              <a:off x="5371746" y="194326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6" name="Forme libre : forme 375">
              <a:extLst>
                <a:ext uri="{FF2B5EF4-FFF2-40B4-BE49-F238E27FC236}">
                  <a16:creationId xmlns:a16="http://schemas.microsoft.com/office/drawing/2014/main" id="{7697AE3D-D280-4B41-97E4-E67BBE2838D4}"/>
                </a:ext>
              </a:extLst>
            </p:cNvPr>
            <p:cNvSpPr/>
            <p:nvPr/>
          </p:nvSpPr>
          <p:spPr>
            <a:xfrm rot="8716295">
              <a:off x="5716764" y="2550542"/>
              <a:ext cx="91035" cy="331729"/>
            </a:xfrm>
            <a:custGeom>
              <a:avLst/>
              <a:gdLst>
                <a:gd name="connsiteX0" fmla="*/ 60147 w 60147"/>
                <a:gd name="connsiteY0" fmla="*/ 219174 h 219174"/>
                <a:gd name="connsiteX1" fmla="*/ 0 w 60147"/>
                <a:gd name="connsiteY1" fmla="*/ 161304 h 219174"/>
                <a:gd name="connsiteX2" fmla="*/ 0 w 60147"/>
                <a:gd name="connsiteY2" fmla="*/ 68045 h 219174"/>
                <a:gd name="connsiteX3" fmla="*/ 56210 w 60147"/>
                <a:gd name="connsiteY3" fmla="*/ 87 h 219174"/>
                <a:gd name="connsiteX4" fmla="*/ 60147 w 60147"/>
                <a:gd name="connsiteY4" fmla="*/ 0 h 219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47" h="219174">
                  <a:moveTo>
                    <a:pt x="60147" y="219174"/>
                  </a:moveTo>
                  <a:lnTo>
                    <a:pt x="0" y="161304"/>
                  </a:lnTo>
                  <a:lnTo>
                    <a:pt x="0" y="68045"/>
                  </a:lnTo>
                  <a:lnTo>
                    <a:pt x="56210" y="87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7" name="Forme libre : forme 376">
              <a:extLst>
                <a:ext uri="{FF2B5EF4-FFF2-40B4-BE49-F238E27FC236}">
                  <a16:creationId xmlns:a16="http://schemas.microsoft.com/office/drawing/2014/main" id="{46E8B4E6-46F9-4CF4-A6B7-A87039F21F77}"/>
                </a:ext>
              </a:extLst>
            </p:cNvPr>
            <p:cNvSpPr/>
            <p:nvPr/>
          </p:nvSpPr>
          <p:spPr>
            <a:xfrm rot="8716295">
              <a:off x="5787639" y="192609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8" name="Forme libre : forme 377">
              <a:extLst>
                <a:ext uri="{FF2B5EF4-FFF2-40B4-BE49-F238E27FC236}">
                  <a16:creationId xmlns:a16="http://schemas.microsoft.com/office/drawing/2014/main" id="{CE3A86F3-9EF3-4CAC-BAE7-301BACB20DC2}"/>
                </a:ext>
              </a:extLst>
            </p:cNvPr>
            <p:cNvSpPr/>
            <p:nvPr/>
          </p:nvSpPr>
          <p:spPr>
            <a:xfrm rot="8716295">
              <a:off x="5411131" y="133665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9" name="Forme libre : forme 378">
              <a:extLst>
                <a:ext uri="{FF2B5EF4-FFF2-40B4-BE49-F238E27FC236}">
                  <a16:creationId xmlns:a16="http://schemas.microsoft.com/office/drawing/2014/main" id="{5ADA9701-4026-4003-B92A-BE45A4B58CA1}"/>
                </a:ext>
              </a:extLst>
            </p:cNvPr>
            <p:cNvSpPr/>
            <p:nvPr/>
          </p:nvSpPr>
          <p:spPr>
            <a:xfrm rot="8716295">
              <a:off x="5547629" y="1389153"/>
              <a:ext cx="346795" cy="385612"/>
            </a:xfrm>
            <a:custGeom>
              <a:avLst/>
              <a:gdLst>
                <a:gd name="connsiteX0" fmla="*/ 19979 w 229128"/>
                <a:gd name="connsiteY0" fmla="*/ 254774 h 254774"/>
                <a:gd name="connsiteX1" fmla="*/ 19979 w 229128"/>
                <a:gd name="connsiteY1" fmla="*/ 45624 h 254774"/>
                <a:gd name="connsiteX2" fmla="*/ 0 w 229128"/>
                <a:gd name="connsiteY2" fmla="*/ 45624 h 254774"/>
                <a:gd name="connsiteX3" fmla="*/ 36558 w 229128"/>
                <a:gd name="connsiteY3" fmla="*/ 1425 h 254774"/>
                <a:gd name="connsiteX4" fmla="*/ 73292 w 229128"/>
                <a:gd name="connsiteY4" fmla="*/ 1425 h 254774"/>
                <a:gd name="connsiteX5" fmla="*/ 73292 w 229128"/>
                <a:gd name="connsiteY5" fmla="*/ 75242 h 254774"/>
                <a:gd name="connsiteX6" fmla="*/ 74658 w 229128"/>
                <a:gd name="connsiteY6" fmla="*/ 75242 h 254774"/>
                <a:gd name="connsiteX7" fmla="*/ 122503 w 229128"/>
                <a:gd name="connsiteY7" fmla="*/ 5981 h 254774"/>
                <a:gd name="connsiteX8" fmla="*/ 153944 w 229128"/>
                <a:gd name="connsiteY8" fmla="*/ 57 h 254774"/>
                <a:gd name="connsiteX9" fmla="*/ 229128 w 229128"/>
                <a:gd name="connsiteY9" fmla="*/ 88456 h 254774"/>
                <a:gd name="connsiteX10" fmla="*/ 229128 w 229128"/>
                <a:gd name="connsiteY10" fmla="*/ 94380 h 254774"/>
                <a:gd name="connsiteX11" fmla="*/ 167158 w 229128"/>
                <a:gd name="connsiteY11" fmla="*/ 98025 h 254774"/>
                <a:gd name="connsiteX12" fmla="*/ 167158 w 229128"/>
                <a:gd name="connsiteY12" fmla="*/ 81621 h 254774"/>
                <a:gd name="connsiteX13" fmla="*/ 133439 w 229128"/>
                <a:gd name="connsiteY13" fmla="*/ 40156 h 254774"/>
                <a:gd name="connsiteX14" fmla="*/ 80127 w 229128"/>
                <a:gd name="connsiteY14" fmla="*/ 127643 h 254774"/>
                <a:gd name="connsiteX15" fmla="*/ 80127 w 229128"/>
                <a:gd name="connsiteY15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29128" h="254774">
                  <a:moveTo>
                    <a:pt x="19979" y="254774"/>
                  </a:moveTo>
                  <a:lnTo>
                    <a:pt x="19979" y="45624"/>
                  </a:lnTo>
                  <a:lnTo>
                    <a:pt x="0" y="45624"/>
                  </a:lnTo>
                  <a:lnTo>
                    <a:pt x="36558" y="1425"/>
                  </a:lnTo>
                  <a:lnTo>
                    <a:pt x="73292" y="1425"/>
                  </a:lnTo>
                  <a:lnTo>
                    <a:pt x="73292" y="75242"/>
                  </a:lnTo>
                  <a:lnTo>
                    <a:pt x="74658" y="75242"/>
                  </a:lnTo>
                  <a:cubicBezTo>
                    <a:pt x="89240" y="31954"/>
                    <a:pt x="100631" y="15094"/>
                    <a:pt x="122503" y="5981"/>
                  </a:cubicBezTo>
                  <a:cubicBezTo>
                    <a:pt x="132528" y="1880"/>
                    <a:pt x="143008" y="-398"/>
                    <a:pt x="153944" y="57"/>
                  </a:cubicBezTo>
                  <a:cubicBezTo>
                    <a:pt x="200877" y="-854"/>
                    <a:pt x="229128" y="31954"/>
                    <a:pt x="229128" y="88456"/>
                  </a:cubicBezTo>
                  <a:lnTo>
                    <a:pt x="229128" y="94380"/>
                  </a:lnTo>
                  <a:lnTo>
                    <a:pt x="167158" y="98025"/>
                  </a:lnTo>
                  <a:lnTo>
                    <a:pt x="167158" y="81621"/>
                  </a:lnTo>
                  <a:cubicBezTo>
                    <a:pt x="167158" y="57016"/>
                    <a:pt x="153033" y="40156"/>
                    <a:pt x="133439" y="40156"/>
                  </a:cubicBezTo>
                  <a:cubicBezTo>
                    <a:pt x="104277" y="40156"/>
                    <a:pt x="80127" y="78887"/>
                    <a:pt x="80127" y="127643"/>
                  </a:cubicBezTo>
                  <a:lnTo>
                    <a:pt x="80127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0" name="Forme libre : forme 379">
              <a:extLst>
                <a:ext uri="{FF2B5EF4-FFF2-40B4-BE49-F238E27FC236}">
                  <a16:creationId xmlns:a16="http://schemas.microsoft.com/office/drawing/2014/main" id="{3801A8FD-71D9-43D4-9A13-F62B93652117}"/>
                </a:ext>
              </a:extLst>
            </p:cNvPr>
            <p:cNvSpPr/>
            <p:nvPr/>
          </p:nvSpPr>
          <p:spPr>
            <a:xfrm rot="8716295">
              <a:off x="5478548" y="125032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1" name="Forme libre : forme 380">
              <a:extLst>
                <a:ext uri="{FF2B5EF4-FFF2-40B4-BE49-F238E27FC236}">
                  <a16:creationId xmlns:a16="http://schemas.microsoft.com/office/drawing/2014/main" id="{4CC9B929-E3B4-4677-AB6A-C1B0E025204C}"/>
                </a:ext>
              </a:extLst>
            </p:cNvPr>
            <p:cNvSpPr/>
            <p:nvPr/>
          </p:nvSpPr>
          <p:spPr>
            <a:xfrm rot="8716295">
              <a:off x="5241260" y="147066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2" name="Forme libre : forme 381">
              <a:extLst>
                <a:ext uri="{FF2B5EF4-FFF2-40B4-BE49-F238E27FC236}">
                  <a16:creationId xmlns:a16="http://schemas.microsoft.com/office/drawing/2014/main" id="{43D5D927-BA42-496D-BC4E-8674E3CE6A51}"/>
                </a:ext>
              </a:extLst>
            </p:cNvPr>
            <p:cNvSpPr/>
            <p:nvPr/>
          </p:nvSpPr>
          <p:spPr>
            <a:xfrm rot="8716295">
              <a:off x="5052214" y="11548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3" name="Forme libre : forme 382">
              <a:extLst>
                <a:ext uri="{FF2B5EF4-FFF2-40B4-BE49-F238E27FC236}">
                  <a16:creationId xmlns:a16="http://schemas.microsoft.com/office/drawing/2014/main" id="{A9CA7264-4BDA-4273-8C76-8511057A1B85}"/>
                </a:ext>
              </a:extLst>
            </p:cNvPr>
            <p:cNvSpPr/>
            <p:nvPr/>
          </p:nvSpPr>
          <p:spPr>
            <a:xfrm rot="8716295">
              <a:off x="5033973" y="94478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4" name="Forme libre : forme 383">
              <a:extLst>
                <a:ext uri="{FF2B5EF4-FFF2-40B4-BE49-F238E27FC236}">
                  <a16:creationId xmlns:a16="http://schemas.microsoft.com/office/drawing/2014/main" id="{5E95C0C0-B211-4D78-A1DF-BE4FC385DAC5}"/>
                </a:ext>
              </a:extLst>
            </p:cNvPr>
            <p:cNvSpPr/>
            <p:nvPr/>
          </p:nvSpPr>
          <p:spPr>
            <a:xfrm rot="8716295">
              <a:off x="5377749" y="153264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5" name="Forme libre : forme 384">
              <a:extLst>
                <a:ext uri="{FF2B5EF4-FFF2-40B4-BE49-F238E27FC236}">
                  <a16:creationId xmlns:a16="http://schemas.microsoft.com/office/drawing/2014/main" id="{299B9701-5011-4B98-BC25-888CE3D4A261}"/>
                </a:ext>
              </a:extLst>
            </p:cNvPr>
            <p:cNvSpPr/>
            <p:nvPr/>
          </p:nvSpPr>
          <p:spPr>
            <a:xfrm rot="8716295">
              <a:off x="5847873" y="996679"/>
              <a:ext cx="92417" cy="314872"/>
            </a:xfrm>
            <a:custGeom>
              <a:avLst/>
              <a:gdLst>
                <a:gd name="connsiteX0" fmla="*/ 0 w 61060"/>
                <a:gd name="connsiteY0" fmla="*/ 208036 h 208036"/>
                <a:gd name="connsiteX1" fmla="*/ 1 w 61060"/>
                <a:gd name="connsiteY1" fmla="*/ 61780 h 208036"/>
                <a:gd name="connsiteX2" fmla="*/ 51100 w 61060"/>
                <a:gd name="connsiteY2" fmla="*/ 0 h 208036"/>
                <a:gd name="connsiteX3" fmla="*/ 61059 w 61060"/>
                <a:gd name="connsiteY3" fmla="*/ 25771 h 208036"/>
                <a:gd name="connsiteX4" fmla="*/ 61060 w 61060"/>
                <a:gd name="connsiteY4" fmla="*/ 183886 h 208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60" h="208036">
                  <a:moveTo>
                    <a:pt x="0" y="208036"/>
                  </a:moveTo>
                  <a:lnTo>
                    <a:pt x="1" y="61780"/>
                  </a:lnTo>
                  <a:lnTo>
                    <a:pt x="51100" y="0"/>
                  </a:lnTo>
                  <a:lnTo>
                    <a:pt x="61059" y="25771"/>
                  </a:lnTo>
                  <a:lnTo>
                    <a:pt x="61060" y="18388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6" name="Forme libre : forme 385">
              <a:extLst>
                <a:ext uri="{FF2B5EF4-FFF2-40B4-BE49-F238E27FC236}">
                  <a16:creationId xmlns:a16="http://schemas.microsoft.com/office/drawing/2014/main" id="{D1B55AC6-0E14-4AD6-A463-2BC5AB8BBB90}"/>
                </a:ext>
              </a:extLst>
            </p:cNvPr>
            <p:cNvSpPr/>
            <p:nvPr/>
          </p:nvSpPr>
          <p:spPr>
            <a:xfrm rot="8716295">
              <a:off x="5678824" y="109205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7" name="Forme libre : forme 386">
              <a:extLst>
                <a:ext uri="{FF2B5EF4-FFF2-40B4-BE49-F238E27FC236}">
                  <a16:creationId xmlns:a16="http://schemas.microsoft.com/office/drawing/2014/main" id="{35C0CB49-4515-4D6B-805D-6EE1D83F55CD}"/>
                </a:ext>
              </a:extLst>
            </p:cNvPr>
            <p:cNvSpPr/>
            <p:nvPr/>
          </p:nvSpPr>
          <p:spPr>
            <a:xfrm rot="8716295">
              <a:off x="5489780" y="77621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8" name="Forme libre : forme 387">
              <a:extLst>
                <a:ext uri="{FF2B5EF4-FFF2-40B4-BE49-F238E27FC236}">
                  <a16:creationId xmlns:a16="http://schemas.microsoft.com/office/drawing/2014/main" id="{393CE68B-9315-410C-84F0-0D845DB03A75}"/>
                </a:ext>
              </a:extLst>
            </p:cNvPr>
            <p:cNvSpPr/>
            <p:nvPr/>
          </p:nvSpPr>
          <p:spPr>
            <a:xfrm rot="8716295">
              <a:off x="5816554" y="1173443"/>
              <a:ext cx="91037" cy="331731"/>
            </a:xfrm>
            <a:custGeom>
              <a:avLst/>
              <a:gdLst>
                <a:gd name="connsiteX0" fmla="*/ 60148 w 60148"/>
                <a:gd name="connsiteY0" fmla="*/ 219175 h 219175"/>
                <a:gd name="connsiteX1" fmla="*/ 0 w 60148"/>
                <a:gd name="connsiteY1" fmla="*/ 161305 h 219175"/>
                <a:gd name="connsiteX2" fmla="*/ 0 w 60148"/>
                <a:gd name="connsiteY2" fmla="*/ 50021 h 219175"/>
                <a:gd name="connsiteX3" fmla="*/ 41025 w 60148"/>
                <a:gd name="connsiteY3" fmla="*/ 421 h 219175"/>
                <a:gd name="connsiteX4" fmla="*/ 60147 w 60148"/>
                <a:gd name="connsiteY4" fmla="*/ 0 h 219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48" h="219175">
                  <a:moveTo>
                    <a:pt x="60148" y="219175"/>
                  </a:moveTo>
                  <a:lnTo>
                    <a:pt x="0" y="161305"/>
                  </a:lnTo>
                  <a:lnTo>
                    <a:pt x="0" y="50021"/>
                  </a:lnTo>
                  <a:lnTo>
                    <a:pt x="41025" y="421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9" name="Forme libre : forme 388">
              <a:extLst>
                <a:ext uri="{FF2B5EF4-FFF2-40B4-BE49-F238E27FC236}">
                  <a16:creationId xmlns:a16="http://schemas.microsoft.com/office/drawing/2014/main" id="{B917A23A-4403-425A-9C2A-27DE35CB443E}"/>
                </a:ext>
              </a:extLst>
            </p:cNvPr>
            <p:cNvSpPr/>
            <p:nvPr/>
          </p:nvSpPr>
          <p:spPr>
            <a:xfrm rot="8716295">
              <a:off x="5449866" y="92760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0" name="Forme libre : forme 389">
              <a:extLst>
                <a:ext uri="{FF2B5EF4-FFF2-40B4-BE49-F238E27FC236}">
                  <a16:creationId xmlns:a16="http://schemas.microsoft.com/office/drawing/2014/main" id="{8689535D-A8DA-4F0E-9DBC-CBAFC078B2CB}"/>
                </a:ext>
              </a:extLst>
            </p:cNvPr>
            <p:cNvSpPr/>
            <p:nvPr/>
          </p:nvSpPr>
          <p:spPr>
            <a:xfrm rot="8716295">
              <a:off x="5954717" y="1002572"/>
              <a:ext cx="48491" cy="55034"/>
            </a:xfrm>
            <a:custGeom>
              <a:avLst/>
              <a:gdLst>
                <a:gd name="connsiteX0" fmla="*/ 0 w 32038"/>
                <a:gd name="connsiteY0" fmla="*/ 35166 h 36361"/>
                <a:gd name="connsiteX1" fmla="*/ 29086 w 32038"/>
                <a:gd name="connsiteY1" fmla="*/ 0 h 36361"/>
                <a:gd name="connsiteX2" fmla="*/ 32038 w 32038"/>
                <a:gd name="connsiteY2" fmla="*/ 7028 h 36361"/>
                <a:gd name="connsiteX3" fmla="*/ 23495 w 32038"/>
                <a:gd name="connsiteY3" fmla="*/ 27704 h 36361"/>
                <a:gd name="connsiteX4" fmla="*/ 2990 w 32038"/>
                <a:gd name="connsiteY4" fmla="*/ 36361 h 36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038" h="36361">
                  <a:moveTo>
                    <a:pt x="0" y="35166"/>
                  </a:moveTo>
                  <a:lnTo>
                    <a:pt x="29086" y="0"/>
                  </a:lnTo>
                  <a:lnTo>
                    <a:pt x="32038" y="7028"/>
                  </a:lnTo>
                  <a:cubicBezTo>
                    <a:pt x="32039" y="14489"/>
                    <a:pt x="29191" y="22008"/>
                    <a:pt x="23495" y="27704"/>
                  </a:cubicBezTo>
                  <a:cubicBezTo>
                    <a:pt x="18027" y="33172"/>
                    <a:pt x="10736" y="36361"/>
                    <a:pt x="2990" y="363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1" name="Forme libre : forme 390">
              <a:extLst>
                <a:ext uri="{FF2B5EF4-FFF2-40B4-BE49-F238E27FC236}">
                  <a16:creationId xmlns:a16="http://schemas.microsoft.com/office/drawing/2014/main" id="{4277FFB2-58A8-4A02-AADF-E018D5998562}"/>
                </a:ext>
              </a:extLst>
            </p:cNvPr>
            <p:cNvSpPr/>
            <p:nvPr/>
          </p:nvSpPr>
          <p:spPr>
            <a:xfrm rot="8716295">
              <a:off x="5079758" y="33459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2" name="Forme libre : forme 391">
              <a:extLst>
                <a:ext uri="{FF2B5EF4-FFF2-40B4-BE49-F238E27FC236}">
                  <a16:creationId xmlns:a16="http://schemas.microsoft.com/office/drawing/2014/main" id="{EA35B526-89AB-4A06-AA35-B12BC8F0AB1F}"/>
                </a:ext>
              </a:extLst>
            </p:cNvPr>
            <p:cNvSpPr/>
            <p:nvPr/>
          </p:nvSpPr>
          <p:spPr>
            <a:xfrm rot="8716295">
              <a:off x="5215056" y="37885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3" name="Forme libre : forme 392">
              <a:extLst>
                <a:ext uri="{FF2B5EF4-FFF2-40B4-BE49-F238E27FC236}">
                  <a16:creationId xmlns:a16="http://schemas.microsoft.com/office/drawing/2014/main" id="{0E946C4C-ED44-46D8-8F43-896DC93007DB}"/>
                </a:ext>
              </a:extLst>
            </p:cNvPr>
            <p:cNvSpPr/>
            <p:nvPr/>
          </p:nvSpPr>
          <p:spPr>
            <a:xfrm rot="8716295">
              <a:off x="5147174" y="248268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4" name="Forme libre : forme 393">
              <a:extLst>
                <a:ext uri="{FF2B5EF4-FFF2-40B4-BE49-F238E27FC236}">
                  <a16:creationId xmlns:a16="http://schemas.microsoft.com/office/drawing/2014/main" id="{8B9BAAAD-4871-45E0-9808-B6AF30F7C6CF}"/>
                </a:ext>
              </a:extLst>
            </p:cNvPr>
            <p:cNvSpPr/>
            <p:nvPr/>
          </p:nvSpPr>
          <p:spPr>
            <a:xfrm rot="8716295">
              <a:off x="4909887" y="4686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5" name="Forme libre : forme 394">
              <a:extLst>
                <a:ext uri="{FF2B5EF4-FFF2-40B4-BE49-F238E27FC236}">
                  <a16:creationId xmlns:a16="http://schemas.microsoft.com/office/drawing/2014/main" id="{7D346B9D-669B-40E6-8A36-5A7046F06D7F}"/>
                </a:ext>
              </a:extLst>
            </p:cNvPr>
            <p:cNvSpPr/>
            <p:nvPr/>
          </p:nvSpPr>
          <p:spPr>
            <a:xfrm rot="8716295">
              <a:off x="4720840" y="15277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6" name="Forme libre : forme 395">
              <a:extLst>
                <a:ext uri="{FF2B5EF4-FFF2-40B4-BE49-F238E27FC236}">
                  <a16:creationId xmlns:a16="http://schemas.microsoft.com/office/drawing/2014/main" id="{66103F96-93DC-4231-9A89-20615F9DAE20}"/>
                </a:ext>
              </a:extLst>
            </p:cNvPr>
            <p:cNvSpPr/>
            <p:nvPr/>
          </p:nvSpPr>
          <p:spPr>
            <a:xfrm rot="8716295">
              <a:off x="4702019" y="-47743"/>
              <a:ext cx="439901" cy="516041"/>
            </a:xfrm>
            <a:custGeom>
              <a:avLst/>
              <a:gdLst>
                <a:gd name="connsiteX0" fmla="*/ 155476 w 290643"/>
                <a:gd name="connsiteY0" fmla="*/ 340949 h 340949"/>
                <a:gd name="connsiteX1" fmla="*/ 1169 w 290643"/>
                <a:gd name="connsiteY1" fmla="*/ 233989 h 340949"/>
                <a:gd name="connsiteX2" fmla="*/ 0 w 290643"/>
                <a:gd name="connsiteY2" fmla="*/ 220042 h 340949"/>
                <a:gd name="connsiteX3" fmla="*/ 0 w 290643"/>
                <a:gd name="connsiteY3" fmla="*/ 40596 h 340949"/>
                <a:gd name="connsiteX4" fmla="*/ 78250 w 290643"/>
                <a:gd name="connsiteY4" fmla="*/ 0 h 340949"/>
                <a:gd name="connsiteX5" fmla="*/ 79427 w 290643"/>
                <a:gd name="connsiteY5" fmla="*/ 164149 h 340949"/>
                <a:gd name="connsiteX6" fmla="*/ 93547 w 290643"/>
                <a:gd name="connsiteY6" fmla="*/ 261815 h 340949"/>
                <a:gd name="connsiteX7" fmla="*/ 164149 w 290643"/>
                <a:gd name="connsiteY7" fmla="*/ 300646 h 340949"/>
                <a:gd name="connsiteX8" fmla="*/ 217100 w 290643"/>
                <a:gd name="connsiteY8" fmla="*/ 291232 h 340949"/>
                <a:gd name="connsiteX9" fmla="*/ 289467 w 290643"/>
                <a:gd name="connsiteY9" fmla="*/ 261815 h 340949"/>
                <a:gd name="connsiteX10" fmla="*/ 290643 w 290643"/>
                <a:gd name="connsiteY10" fmla="*/ 269463 h 340949"/>
                <a:gd name="connsiteX11" fmla="*/ 290643 w 290643"/>
                <a:gd name="connsiteY11" fmla="*/ 275347 h 340949"/>
                <a:gd name="connsiteX12" fmla="*/ 189080 w 290643"/>
                <a:gd name="connsiteY12" fmla="*/ 331975 h 340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0643" h="340949">
                  <a:moveTo>
                    <a:pt x="155476" y="340949"/>
                  </a:moveTo>
                  <a:lnTo>
                    <a:pt x="1169" y="233989"/>
                  </a:lnTo>
                  <a:lnTo>
                    <a:pt x="0" y="220042"/>
                  </a:ln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9" y="300646"/>
                  </a:cubicBezTo>
                  <a:cubicBezTo>
                    <a:pt x="182388" y="300057"/>
                    <a:pt x="200038" y="296527"/>
                    <a:pt x="217100" y="291232"/>
                  </a:cubicBezTo>
                  <a:cubicBezTo>
                    <a:pt x="241810" y="283584"/>
                    <a:pt x="265933" y="273582"/>
                    <a:pt x="289467" y="261815"/>
                  </a:cubicBezTo>
                  <a:cubicBezTo>
                    <a:pt x="290055" y="264168"/>
                    <a:pt x="290643" y="267110"/>
                    <a:pt x="290643" y="269463"/>
                  </a:cubicBezTo>
                  <a:lnTo>
                    <a:pt x="290643" y="275347"/>
                  </a:lnTo>
                  <a:cubicBezTo>
                    <a:pt x="259461" y="302117"/>
                    <a:pt x="223425" y="320208"/>
                    <a:pt x="189080" y="3319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7" name="Forme libre : forme 396">
              <a:extLst>
                <a:ext uri="{FF2B5EF4-FFF2-40B4-BE49-F238E27FC236}">
                  <a16:creationId xmlns:a16="http://schemas.microsoft.com/office/drawing/2014/main" id="{E7200A70-679E-46A4-89BB-E2CFE2F1D7AE}"/>
                </a:ext>
              </a:extLst>
            </p:cNvPr>
            <p:cNvSpPr/>
            <p:nvPr/>
          </p:nvSpPr>
          <p:spPr>
            <a:xfrm rot="8716295">
              <a:off x="5046375" y="53059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8" name="Forme libre : forme 397">
              <a:extLst>
                <a:ext uri="{FF2B5EF4-FFF2-40B4-BE49-F238E27FC236}">
                  <a16:creationId xmlns:a16="http://schemas.microsoft.com/office/drawing/2014/main" id="{5D528D3B-7826-4D4D-96B5-43ADE18F1EA6}"/>
                </a:ext>
              </a:extLst>
            </p:cNvPr>
            <p:cNvSpPr/>
            <p:nvPr/>
          </p:nvSpPr>
          <p:spPr>
            <a:xfrm rot="8716295">
              <a:off x="5517321" y="-4401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9" name="Forme libre : forme 398">
              <a:extLst>
                <a:ext uri="{FF2B5EF4-FFF2-40B4-BE49-F238E27FC236}">
                  <a16:creationId xmlns:a16="http://schemas.microsoft.com/office/drawing/2014/main" id="{2614F3E9-F724-4FC2-90FF-F1B58DCC0522}"/>
                </a:ext>
              </a:extLst>
            </p:cNvPr>
            <p:cNvSpPr/>
            <p:nvPr/>
          </p:nvSpPr>
          <p:spPr>
            <a:xfrm rot="8716295">
              <a:off x="5660365" y="29418"/>
              <a:ext cx="361480" cy="358038"/>
            </a:xfrm>
            <a:custGeom>
              <a:avLst/>
              <a:gdLst>
                <a:gd name="connsiteX0" fmla="*/ 56401 w 238830"/>
                <a:gd name="connsiteY0" fmla="*/ 236556 h 236556"/>
                <a:gd name="connsiteX1" fmla="*/ 29681 w 238830"/>
                <a:gd name="connsiteY1" fmla="*/ 218034 h 236556"/>
                <a:gd name="connsiteX2" fmla="*/ 29681 w 238830"/>
                <a:gd name="connsiteY2" fmla="*/ 45624 h 236556"/>
                <a:gd name="connsiteX3" fmla="*/ 0 w 238830"/>
                <a:gd name="connsiteY3" fmla="*/ 45624 h 236556"/>
                <a:gd name="connsiteX4" fmla="*/ 36558 w 238830"/>
                <a:gd name="connsiteY4" fmla="*/ 1425 h 236556"/>
                <a:gd name="connsiteX5" fmla="*/ 82994 w 238830"/>
                <a:gd name="connsiteY5" fmla="*/ 1425 h 236556"/>
                <a:gd name="connsiteX6" fmla="*/ 82994 w 238830"/>
                <a:gd name="connsiteY6" fmla="*/ 75242 h 236556"/>
                <a:gd name="connsiteX7" fmla="*/ 84360 w 238830"/>
                <a:gd name="connsiteY7" fmla="*/ 75242 h 236556"/>
                <a:gd name="connsiteX8" fmla="*/ 132205 w 238830"/>
                <a:gd name="connsiteY8" fmla="*/ 5981 h 236556"/>
                <a:gd name="connsiteX9" fmla="*/ 163646 w 238830"/>
                <a:gd name="connsiteY9" fmla="*/ 57 h 236556"/>
                <a:gd name="connsiteX10" fmla="*/ 238830 w 238830"/>
                <a:gd name="connsiteY10" fmla="*/ 88456 h 236556"/>
                <a:gd name="connsiteX11" fmla="*/ 238830 w 238830"/>
                <a:gd name="connsiteY11" fmla="*/ 94380 h 236556"/>
                <a:gd name="connsiteX12" fmla="*/ 176860 w 238830"/>
                <a:gd name="connsiteY12" fmla="*/ 98025 h 236556"/>
                <a:gd name="connsiteX13" fmla="*/ 176860 w 238830"/>
                <a:gd name="connsiteY13" fmla="*/ 81621 h 236556"/>
                <a:gd name="connsiteX14" fmla="*/ 143141 w 238830"/>
                <a:gd name="connsiteY14" fmla="*/ 40156 h 236556"/>
                <a:gd name="connsiteX15" fmla="*/ 89829 w 238830"/>
                <a:gd name="connsiteY15" fmla="*/ 127643 h 236556"/>
                <a:gd name="connsiteX16" fmla="*/ 89829 w 238830"/>
                <a:gd name="connsiteY16" fmla="*/ 213764 h 236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8830" h="236556">
                  <a:moveTo>
                    <a:pt x="56401" y="236556"/>
                  </a:moveTo>
                  <a:lnTo>
                    <a:pt x="29681" y="218034"/>
                  </a:lnTo>
                  <a:lnTo>
                    <a:pt x="29681" y="45624"/>
                  </a:lnTo>
                  <a:lnTo>
                    <a:pt x="0" y="45624"/>
                  </a:lnTo>
                  <a:lnTo>
                    <a:pt x="36558" y="1425"/>
                  </a:lnTo>
                  <a:lnTo>
                    <a:pt x="82994" y="1425"/>
                  </a:lnTo>
                  <a:lnTo>
                    <a:pt x="82994" y="75242"/>
                  </a:lnTo>
                  <a:lnTo>
                    <a:pt x="84360" y="75242"/>
                  </a:lnTo>
                  <a:cubicBezTo>
                    <a:pt x="98942" y="31954"/>
                    <a:pt x="110333" y="15095"/>
                    <a:pt x="132205" y="5981"/>
                  </a:cubicBezTo>
                  <a:cubicBezTo>
                    <a:pt x="142230" y="1880"/>
                    <a:pt x="152710" y="-398"/>
                    <a:pt x="163646" y="57"/>
                  </a:cubicBezTo>
                  <a:cubicBezTo>
                    <a:pt x="210579" y="-854"/>
                    <a:pt x="238830" y="31954"/>
                    <a:pt x="238830" y="88456"/>
                  </a:cubicBezTo>
                  <a:lnTo>
                    <a:pt x="238830" y="94380"/>
                  </a:lnTo>
                  <a:lnTo>
                    <a:pt x="176860" y="98025"/>
                  </a:lnTo>
                  <a:lnTo>
                    <a:pt x="176860" y="81621"/>
                  </a:lnTo>
                  <a:cubicBezTo>
                    <a:pt x="176860" y="57016"/>
                    <a:pt x="162735" y="40156"/>
                    <a:pt x="143141" y="40156"/>
                  </a:cubicBezTo>
                  <a:cubicBezTo>
                    <a:pt x="113979" y="40156"/>
                    <a:pt x="89829" y="78887"/>
                    <a:pt x="89829" y="127643"/>
                  </a:cubicBezTo>
                  <a:lnTo>
                    <a:pt x="89829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0" name="Forme libre : forme 399">
              <a:extLst>
                <a:ext uri="{FF2B5EF4-FFF2-40B4-BE49-F238E27FC236}">
                  <a16:creationId xmlns:a16="http://schemas.microsoft.com/office/drawing/2014/main" id="{30961414-E4AD-4BB3-9FB3-626F7F1FE23D}"/>
                </a:ext>
              </a:extLst>
            </p:cNvPr>
            <p:cNvSpPr/>
            <p:nvPr/>
          </p:nvSpPr>
          <p:spPr>
            <a:xfrm rot="8716295">
              <a:off x="5347450" y="8999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1" name="Forme libre : forme 400">
              <a:extLst>
                <a:ext uri="{FF2B5EF4-FFF2-40B4-BE49-F238E27FC236}">
                  <a16:creationId xmlns:a16="http://schemas.microsoft.com/office/drawing/2014/main" id="{30769E12-B50E-4874-9A5A-F158D8D6A603}"/>
                </a:ext>
              </a:extLst>
            </p:cNvPr>
            <p:cNvSpPr/>
            <p:nvPr/>
          </p:nvSpPr>
          <p:spPr>
            <a:xfrm rot="8716295">
              <a:off x="5220022" y="-7080"/>
              <a:ext cx="219414" cy="84041"/>
            </a:xfrm>
            <a:custGeom>
              <a:avLst/>
              <a:gdLst>
                <a:gd name="connsiteX0" fmla="*/ 80105 w 144967"/>
                <a:gd name="connsiteY0" fmla="*/ 55526 h 55526"/>
                <a:gd name="connsiteX1" fmla="*/ 0 w 144967"/>
                <a:gd name="connsiteY1" fmla="*/ 0 h 55526"/>
                <a:gd name="connsiteX2" fmla="*/ 144967 w 144967"/>
                <a:gd name="connsiteY2" fmla="*/ 0 h 55526"/>
                <a:gd name="connsiteX3" fmla="*/ 144967 w 144967"/>
                <a:gd name="connsiteY3" fmla="*/ 55323 h 55526"/>
                <a:gd name="connsiteX4" fmla="*/ 80175 w 144967"/>
                <a:gd name="connsiteY4" fmla="*/ 55323 h 55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967" h="55526">
                  <a:moveTo>
                    <a:pt x="80105" y="55526"/>
                  </a:moveTo>
                  <a:lnTo>
                    <a:pt x="0" y="0"/>
                  </a:lnTo>
                  <a:lnTo>
                    <a:pt x="144967" y="0"/>
                  </a:lnTo>
                  <a:lnTo>
                    <a:pt x="144967" y="55323"/>
                  </a:lnTo>
                  <a:lnTo>
                    <a:pt x="8017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2" name="Forme libre : forme 401">
              <a:extLst>
                <a:ext uri="{FF2B5EF4-FFF2-40B4-BE49-F238E27FC236}">
                  <a16:creationId xmlns:a16="http://schemas.microsoft.com/office/drawing/2014/main" id="{DED468EA-B834-46DE-9EEF-86FA34FB4D87}"/>
                </a:ext>
              </a:extLst>
            </p:cNvPr>
            <p:cNvSpPr/>
            <p:nvPr/>
          </p:nvSpPr>
          <p:spPr>
            <a:xfrm rot="8716295">
              <a:off x="5483939" y="15198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3" name="Forme libre : forme 402">
              <a:extLst>
                <a:ext uri="{FF2B5EF4-FFF2-40B4-BE49-F238E27FC236}">
                  <a16:creationId xmlns:a16="http://schemas.microsoft.com/office/drawing/2014/main" id="{3C1561C2-2060-4974-8514-2DC34975F6D4}"/>
                </a:ext>
              </a:extLst>
            </p:cNvPr>
            <p:cNvSpPr/>
            <p:nvPr/>
          </p:nvSpPr>
          <p:spPr>
            <a:xfrm rot="8716295">
              <a:off x="5128323" y="-20358"/>
              <a:ext cx="80664" cy="63766"/>
            </a:xfrm>
            <a:custGeom>
              <a:avLst/>
              <a:gdLst>
                <a:gd name="connsiteX0" fmla="*/ 51759 w 53295"/>
                <a:gd name="connsiteY0" fmla="*/ 42130 h 42130"/>
                <a:gd name="connsiteX1" fmla="*/ 0 w 53295"/>
                <a:gd name="connsiteY1" fmla="*/ 6252 h 42130"/>
                <a:gd name="connsiteX2" fmla="*/ 14807 w 53295"/>
                <a:gd name="connsiteY2" fmla="*/ 0 h 42130"/>
                <a:gd name="connsiteX3" fmla="*/ 41975 w 53295"/>
                <a:gd name="connsiteY3" fmla="*/ 11471 h 42130"/>
                <a:gd name="connsiteX4" fmla="*/ 53295 w 53295"/>
                <a:gd name="connsiteY4" fmla="*/ 38412 h 42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295" h="42130">
                  <a:moveTo>
                    <a:pt x="51759" y="42130"/>
                  </a:moveTo>
                  <a:lnTo>
                    <a:pt x="0" y="6252"/>
                  </a:lnTo>
                  <a:lnTo>
                    <a:pt x="14807" y="0"/>
                  </a:lnTo>
                  <a:cubicBezTo>
                    <a:pt x="25071" y="0"/>
                    <a:pt x="34731" y="4226"/>
                    <a:pt x="41975" y="11471"/>
                  </a:cubicBezTo>
                  <a:cubicBezTo>
                    <a:pt x="49522" y="18716"/>
                    <a:pt x="53295" y="28526"/>
                    <a:pt x="53295" y="3841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4" name="Forme libre : forme 403">
              <a:extLst>
                <a:ext uri="{FF2B5EF4-FFF2-40B4-BE49-F238E27FC236}">
                  <a16:creationId xmlns:a16="http://schemas.microsoft.com/office/drawing/2014/main" id="{BE3C9C9C-FBEC-4353-AF9E-1F8508D75B04}"/>
                </a:ext>
              </a:extLst>
            </p:cNvPr>
            <p:cNvSpPr/>
            <p:nvPr/>
          </p:nvSpPr>
          <p:spPr>
            <a:xfrm rot="7484129">
              <a:off x="5642756" y="4415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5" name="Forme libre : forme 404">
              <a:extLst>
                <a:ext uri="{FF2B5EF4-FFF2-40B4-BE49-F238E27FC236}">
                  <a16:creationId xmlns:a16="http://schemas.microsoft.com/office/drawing/2014/main" id="{8A4BC53C-40CB-4B8B-A2E3-E4599AA1DEB7}"/>
                </a:ext>
              </a:extLst>
            </p:cNvPr>
            <p:cNvSpPr/>
            <p:nvPr/>
          </p:nvSpPr>
          <p:spPr>
            <a:xfrm rot="13089394">
              <a:off x="5789679" y="415199"/>
              <a:ext cx="360116" cy="446294"/>
            </a:xfrm>
            <a:custGeom>
              <a:avLst/>
              <a:gdLst>
                <a:gd name="connsiteX0" fmla="*/ 39306 w 237929"/>
                <a:gd name="connsiteY0" fmla="*/ 79955 h 294867"/>
                <a:gd name="connsiteX1" fmla="*/ 0 w 237929"/>
                <a:gd name="connsiteY1" fmla="*/ 20095 h 294867"/>
                <a:gd name="connsiteX2" fmla="*/ 38733 w 237929"/>
                <a:gd name="connsiteY2" fmla="*/ 0 h 294867"/>
                <a:gd name="connsiteX3" fmla="*/ 237929 w 237929"/>
                <a:gd name="connsiteY3" fmla="*/ 258238 h 294867"/>
                <a:gd name="connsiteX4" fmla="*/ 191415 w 237929"/>
                <a:gd name="connsiteY4" fmla="*/ 290069 h 294867"/>
                <a:gd name="connsiteX5" fmla="*/ 180425 w 237929"/>
                <a:gd name="connsiteY5" fmla="*/ 294867 h 294867"/>
                <a:gd name="connsiteX6" fmla="*/ 166448 w 237929"/>
                <a:gd name="connsiteY6" fmla="*/ 273582 h 294867"/>
                <a:gd name="connsiteX7" fmla="*/ 168955 w 237929"/>
                <a:gd name="connsiteY7" fmla="*/ 273136 h 294867"/>
                <a:gd name="connsiteX8" fmla="*/ 236826 w 237929"/>
                <a:gd name="connsiteY8" fmla="*/ 245547 h 294867"/>
                <a:gd name="connsiteX9" fmla="*/ 237929 w 237929"/>
                <a:gd name="connsiteY9" fmla="*/ 252720 h 294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7929" h="294867">
                  <a:moveTo>
                    <a:pt x="39306" y="79955"/>
                  </a:moveTo>
                  <a:lnTo>
                    <a:pt x="0" y="20095"/>
                  </a:lnTo>
                  <a:lnTo>
                    <a:pt x="38733" y="0"/>
                  </a:lnTo>
                  <a:close/>
                  <a:moveTo>
                    <a:pt x="237929" y="258238"/>
                  </a:moveTo>
                  <a:cubicBezTo>
                    <a:pt x="223307" y="270791"/>
                    <a:pt x="207546" y="281309"/>
                    <a:pt x="191415" y="290069"/>
                  </a:cubicBezTo>
                  <a:lnTo>
                    <a:pt x="180425" y="294867"/>
                  </a:lnTo>
                  <a:lnTo>
                    <a:pt x="166448" y="273582"/>
                  </a:lnTo>
                  <a:lnTo>
                    <a:pt x="168955" y="273136"/>
                  </a:lnTo>
                  <a:cubicBezTo>
                    <a:pt x="192130" y="265963"/>
                    <a:pt x="214754" y="256582"/>
                    <a:pt x="236826" y="245547"/>
                  </a:cubicBezTo>
                  <a:cubicBezTo>
                    <a:pt x="237377" y="247754"/>
                    <a:pt x="237929" y="250513"/>
                    <a:pt x="237929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6" name="Forme libre : forme 405">
              <a:extLst>
                <a:ext uri="{FF2B5EF4-FFF2-40B4-BE49-F238E27FC236}">
                  <a16:creationId xmlns:a16="http://schemas.microsoft.com/office/drawing/2014/main" id="{800D034F-ECF4-4F0F-8FF6-C97DAD2143D3}"/>
                </a:ext>
              </a:extLst>
            </p:cNvPr>
            <p:cNvSpPr/>
            <p:nvPr/>
          </p:nvSpPr>
          <p:spPr>
            <a:xfrm rot="8716295">
              <a:off x="5996886" y="-12676"/>
              <a:ext cx="90399" cy="122140"/>
            </a:xfrm>
            <a:custGeom>
              <a:avLst/>
              <a:gdLst>
                <a:gd name="connsiteX0" fmla="*/ 0 w 59727"/>
                <a:gd name="connsiteY0" fmla="*/ 52945 h 80698"/>
                <a:gd name="connsiteX1" fmla="*/ 43791 w 59727"/>
                <a:gd name="connsiteY1" fmla="*/ 0 h 80698"/>
                <a:gd name="connsiteX2" fmla="*/ 59727 w 59727"/>
                <a:gd name="connsiteY2" fmla="*/ 37928 h 80698"/>
                <a:gd name="connsiteX3" fmla="*/ 42480 w 59727"/>
                <a:gd name="connsiteY3" fmla="*/ 79666 h 80698"/>
                <a:gd name="connsiteX4" fmla="*/ 40038 w 59727"/>
                <a:gd name="connsiteY4" fmla="*/ 80698 h 80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727" h="80698">
                  <a:moveTo>
                    <a:pt x="0" y="52945"/>
                  </a:moveTo>
                  <a:lnTo>
                    <a:pt x="43791" y="0"/>
                  </a:lnTo>
                  <a:lnTo>
                    <a:pt x="59727" y="37928"/>
                  </a:lnTo>
                  <a:cubicBezTo>
                    <a:pt x="59727" y="52991"/>
                    <a:pt x="53978" y="68168"/>
                    <a:pt x="42480" y="79666"/>
                  </a:cubicBezTo>
                  <a:lnTo>
                    <a:pt x="40038" y="806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7" name="Forme libre : forme 406">
              <a:extLst>
                <a:ext uri="{FF2B5EF4-FFF2-40B4-BE49-F238E27FC236}">
                  <a16:creationId xmlns:a16="http://schemas.microsoft.com/office/drawing/2014/main" id="{3B32A0F8-96EA-444F-A5F3-4315A6F0F2B6}"/>
                </a:ext>
              </a:extLst>
            </p:cNvPr>
            <p:cNvSpPr/>
            <p:nvPr/>
          </p:nvSpPr>
          <p:spPr>
            <a:xfrm rot="8716295">
              <a:off x="5631023" y="-8174"/>
              <a:ext cx="87445" cy="82387"/>
            </a:xfrm>
            <a:custGeom>
              <a:avLst/>
              <a:gdLst>
                <a:gd name="connsiteX0" fmla="*/ 37946 w 57775"/>
                <a:gd name="connsiteY0" fmla="*/ 54433 h 54433"/>
                <a:gd name="connsiteX1" fmla="*/ 0 w 57775"/>
                <a:gd name="connsiteY1" fmla="*/ 28130 h 54433"/>
                <a:gd name="connsiteX2" fmla="*/ 8222 w 57775"/>
                <a:gd name="connsiteY2" fmla="*/ 8658 h 54433"/>
                <a:gd name="connsiteX3" fmla="*/ 28726 w 57775"/>
                <a:gd name="connsiteY3" fmla="*/ 0 h 54433"/>
                <a:gd name="connsiteX4" fmla="*/ 49232 w 57775"/>
                <a:gd name="connsiteY4" fmla="*/ 8658 h 54433"/>
                <a:gd name="connsiteX5" fmla="*/ 49232 w 57775"/>
                <a:gd name="connsiteY5" fmla="*/ 49668 h 54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775" h="54433">
                  <a:moveTo>
                    <a:pt x="37946" y="54433"/>
                  </a:moveTo>
                  <a:lnTo>
                    <a:pt x="0" y="28130"/>
                  </a:lnTo>
                  <a:lnTo>
                    <a:pt x="8222" y="8658"/>
                  </a:lnTo>
                  <a:cubicBezTo>
                    <a:pt x="13690" y="3190"/>
                    <a:pt x="20981" y="0"/>
                    <a:pt x="28726" y="0"/>
                  </a:cubicBezTo>
                  <a:cubicBezTo>
                    <a:pt x="36473" y="0"/>
                    <a:pt x="43764" y="3190"/>
                    <a:pt x="49232" y="8658"/>
                  </a:cubicBezTo>
                  <a:cubicBezTo>
                    <a:pt x="60624" y="19594"/>
                    <a:pt x="60623" y="38276"/>
                    <a:pt x="49232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pic>
        <p:nvPicPr>
          <p:cNvPr id="408" name="Graphique 407">
            <a:extLst>
              <a:ext uri="{FF2B5EF4-FFF2-40B4-BE49-F238E27FC236}">
                <a16:creationId xmlns:a16="http://schemas.microsoft.com/office/drawing/2014/main" id="{448F94F4-8E31-46DD-9D3E-E96498FF82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97194" y="3988359"/>
            <a:ext cx="2255854" cy="673200"/>
          </a:xfrm>
          <a:prstGeom prst="rect">
            <a:avLst/>
          </a:prstGeom>
        </p:spPr>
      </p:pic>
      <p:sp>
        <p:nvSpPr>
          <p:cNvPr id="411" name="Espace réservé du texte 410">
            <a:extLst>
              <a:ext uri="{FF2B5EF4-FFF2-40B4-BE49-F238E27FC236}">
                <a16:creationId xmlns:a16="http://schemas.microsoft.com/office/drawing/2014/main" id="{E014E6DC-AD19-40E5-A2B7-DF68385EE1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3141" y="526470"/>
            <a:ext cx="7379432" cy="29918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1pPr>
            <a:lvl2pPr marL="0" indent="0" algn="r">
              <a:buNone/>
              <a:defRPr sz="5400" b="1" cap="all" normalizeH="0" baseline="0">
                <a:solidFill>
                  <a:srgbClr val="009FE3"/>
                </a:solidFill>
              </a:defRPr>
            </a:lvl2pPr>
          </a:lstStyle>
          <a:p>
            <a:pPr lvl="0"/>
            <a:r>
              <a:rPr lang="fr-FR" dirty="0"/>
              <a:t>Titre de la présentation</a:t>
            </a:r>
          </a:p>
          <a:p>
            <a:pPr lvl="1"/>
            <a:r>
              <a:rPr lang="fr-FR" dirty="0"/>
              <a:t>exergue</a:t>
            </a:r>
          </a:p>
        </p:txBody>
      </p:sp>
    </p:spTree>
    <p:extLst>
      <p:ext uri="{BB962C8B-B14F-4D97-AF65-F5344CB8AC3E}">
        <p14:creationId xmlns:p14="http://schemas.microsoft.com/office/powerpoint/2010/main" val="112010308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itr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4" name="Groupe 413">
            <a:extLst>
              <a:ext uri="{FF2B5EF4-FFF2-40B4-BE49-F238E27FC236}">
                <a16:creationId xmlns:a16="http://schemas.microsoft.com/office/drawing/2014/main" id="{2644C3EB-70A8-4825-90FB-0BA5647C44C3}"/>
              </a:ext>
            </a:extLst>
          </p:cNvPr>
          <p:cNvGrpSpPr/>
          <p:nvPr userDrawn="1"/>
        </p:nvGrpSpPr>
        <p:grpSpPr>
          <a:xfrm>
            <a:off x="-134707" y="-108618"/>
            <a:ext cx="6284502" cy="5381969"/>
            <a:chOff x="-134707" y="-108618"/>
            <a:chExt cx="6284502" cy="5381969"/>
          </a:xfrm>
          <a:solidFill>
            <a:schemeClr val="bg2">
              <a:alpha val="10000"/>
            </a:schemeClr>
          </a:solidFill>
        </p:grpSpPr>
        <p:sp>
          <p:nvSpPr>
            <p:cNvPr id="415" name="Forme libre : forme 414">
              <a:extLst>
                <a:ext uri="{FF2B5EF4-FFF2-40B4-BE49-F238E27FC236}">
                  <a16:creationId xmlns:a16="http://schemas.microsoft.com/office/drawing/2014/main" id="{26D76879-6717-4423-9F18-EA639E20D75F}"/>
                </a:ext>
              </a:extLst>
            </p:cNvPr>
            <p:cNvSpPr/>
            <p:nvPr/>
          </p:nvSpPr>
          <p:spPr>
            <a:xfrm rot="8716295">
              <a:off x="1460344" y="348006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6" name="Forme libre : forme 415">
              <a:extLst>
                <a:ext uri="{FF2B5EF4-FFF2-40B4-BE49-F238E27FC236}">
                  <a16:creationId xmlns:a16="http://schemas.microsoft.com/office/drawing/2014/main" id="{6F6CD235-6DDC-4933-9FDE-9403C4655E9F}"/>
                </a:ext>
              </a:extLst>
            </p:cNvPr>
            <p:cNvSpPr/>
            <p:nvPr/>
          </p:nvSpPr>
          <p:spPr>
            <a:xfrm rot="8716295">
              <a:off x="1595642" y="352432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7" name="Forme libre : forme 416">
              <a:extLst>
                <a:ext uri="{FF2B5EF4-FFF2-40B4-BE49-F238E27FC236}">
                  <a16:creationId xmlns:a16="http://schemas.microsoft.com/office/drawing/2014/main" id="{1DE6B810-CC68-4D75-A0DA-3AB15B93C310}"/>
                </a:ext>
              </a:extLst>
            </p:cNvPr>
            <p:cNvSpPr/>
            <p:nvPr/>
          </p:nvSpPr>
          <p:spPr>
            <a:xfrm rot="8716295">
              <a:off x="1527760" y="339373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8" name="Forme libre : forme 417">
              <a:extLst>
                <a:ext uri="{FF2B5EF4-FFF2-40B4-BE49-F238E27FC236}">
                  <a16:creationId xmlns:a16="http://schemas.microsoft.com/office/drawing/2014/main" id="{B2F3E872-B9FB-4C1E-8FFB-A353888D6487}"/>
                </a:ext>
              </a:extLst>
            </p:cNvPr>
            <p:cNvSpPr/>
            <p:nvPr/>
          </p:nvSpPr>
          <p:spPr>
            <a:xfrm rot="8716295">
              <a:off x="1290473" y="361408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9" name="Forme libre : forme 418">
              <a:extLst>
                <a:ext uri="{FF2B5EF4-FFF2-40B4-BE49-F238E27FC236}">
                  <a16:creationId xmlns:a16="http://schemas.microsoft.com/office/drawing/2014/main" id="{58C1A8CA-96AF-45F6-BEF0-2F79DFAA8D08}"/>
                </a:ext>
              </a:extLst>
            </p:cNvPr>
            <p:cNvSpPr/>
            <p:nvPr/>
          </p:nvSpPr>
          <p:spPr>
            <a:xfrm rot="8716295">
              <a:off x="1101427" y="329824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0" name="Forme libre : forme 419">
              <a:extLst>
                <a:ext uri="{FF2B5EF4-FFF2-40B4-BE49-F238E27FC236}">
                  <a16:creationId xmlns:a16="http://schemas.microsoft.com/office/drawing/2014/main" id="{E4D6370E-93EF-40F5-A0C4-77E41F8C5928}"/>
                </a:ext>
              </a:extLst>
            </p:cNvPr>
            <p:cNvSpPr/>
            <p:nvPr/>
          </p:nvSpPr>
          <p:spPr>
            <a:xfrm rot="8716295">
              <a:off x="1083185" y="3088198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1" name="Forme libre : forme 420">
              <a:extLst>
                <a:ext uri="{FF2B5EF4-FFF2-40B4-BE49-F238E27FC236}">
                  <a16:creationId xmlns:a16="http://schemas.microsoft.com/office/drawing/2014/main" id="{75EE660D-490C-4E91-B35C-9971F1A8A457}"/>
                </a:ext>
              </a:extLst>
            </p:cNvPr>
            <p:cNvSpPr/>
            <p:nvPr/>
          </p:nvSpPr>
          <p:spPr>
            <a:xfrm rot="8716295">
              <a:off x="1426961" y="367606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2" name="Forme libre : forme 421">
              <a:extLst>
                <a:ext uri="{FF2B5EF4-FFF2-40B4-BE49-F238E27FC236}">
                  <a16:creationId xmlns:a16="http://schemas.microsoft.com/office/drawing/2014/main" id="{D1E2AD0B-852D-4FB3-B735-8BDD01079661}"/>
                </a:ext>
              </a:extLst>
            </p:cNvPr>
            <p:cNvSpPr/>
            <p:nvPr/>
          </p:nvSpPr>
          <p:spPr>
            <a:xfrm rot="8716295">
              <a:off x="1897908" y="310145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3" name="Forme libre : forme 422">
              <a:extLst>
                <a:ext uri="{FF2B5EF4-FFF2-40B4-BE49-F238E27FC236}">
                  <a16:creationId xmlns:a16="http://schemas.microsoft.com/office/drawing/2014/main" id="{429C4CB7-99F5-4D34-89E6-B179CBB2792F}"/>
                </a:ext>
              </a:extLst>
            </p:cNvPr>
            <p:cNvSpPr/>
            <p:nvPr/>
          </p:nvSpPr>
          <p:spPr>
            <a:xfrm rot="8716295">
              <a:off x="2033206" y="314571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4" name="Forme libre : forme 423">
              <a:extLst>
                <a:ext uri="{FF2B5EF4-FFF2-40B4-BE49-F238E27FC236}">
                  <a16:creationId xmlns:a16="http://schemas.microsoft.com/office/drawing/2014/main" id="{33EC79B0-46E8-4552-B0C2-EA4BA94B076A}"/>
                </a:ext>
              </a:extLst>
            </p:cNvPr>
            <p:cNvSpPr/>
            <p:nvPr/>
          </p:nvSpPr>
          <p:spPr>
            <a:xfrm rot="8716295">
              <a:off x="1728037" y="323546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5" name="Forme libre : forme 424">
              <a:extLst>
                <a:ext uri="{FF2B5EF4-FFF2-40B4-BE49-F238E27FC236}">
                  <a16:creationId xmlns:a16="http://schemas.microsoft.com/office/drawing/2014/main" id="{F11F5A76-7590-43AE-A2CA-DBD4FA198BE7}"/>
                </a:ext>
              </a:extLst>
            </p:cNvPr>
            <p:cNvSpPr/>
            <p:nvPr/>
          </p:nvSpPr>
          <p:spPr>
            <a:xfrm rot="8716295">
              <a:off x="1538992" y="291963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6" name="Forme libre : forme 425">
              <a:extLst>
                <a:ext uri="{FF2B5EF4-FFF2-40B4-BE49-F238E27FC236}">
                  <a16:creationId xmlns:a16="http://schemas.microsoft.com/office/drawing/2014/main" id="{4B4E85B8-2719-4100-97B6-FA850AC933E3}"/>
                </a:ext>
              </a:extLst>
            </p:cNvPr>
            <p:cNvSpPr/>
            <p:nvPr/>
          </p:nvSpPr>
          <p:spPr>
            <a:xfrm rot="8716295">
              <a:off x="1864525" y="329745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7" name="Forme libre : forme 426">
              <a:extLst>
                <a:ext uri="{FF2B5EF4-FFF2-40B4-BE49-F238E27FC236}">
                  <a16:creationId xmlns:a16="http://schemas.microsoft.com/office/drawing/2014/main" id="{A27E076C-BF8A-4B98-AA33-E1406E0774AD}"/>
                </a:ext>
              </a:extLst>
            </p:cNvPr>
            <p:cNvSpPr/>
            <p:nvPr/>
          </p:nvSpPr>
          <p:spPr>
            <a:xfrm rot="8716295">
              <a:off x="1499078" y="307102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8" name="Forme libre : forme 427">
              <a:extLst>
                <a:ext uri="{FF2B5EF4-FFF2-40B4-BE49-F238E27FC236}">
                  <a16:creationId xmlns:a16="http://schemas.microsoft.com/office/drawing/2014/main" id="{D95DFA88-032A-4498-8D4C-A6BC58A967C4}"/>
                </a:ext>
              </a:extLst>
            </p:cNvPr>
            <p:cNvSpPr/>
            <p:nvPr/>
          </p:nvSpPr>
          <p:spPr>
            <a:xfrm rot="7484129">
              <a:off x="2023343" y="358706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9" name="Forme libre : forme 428">
              <a:extLst>
                <a:ext uri="{FF2B5EF4-FFF2-40B4-BE49-F238E27FC236}">
                  <a16:creationId xmlns:a16="http://schemas.microsoft.com/office/drawing/2014/main" id="{2D20AB0B-B576-4C51-BD2C-ADE38038FD4A}"/>
                </a:ext>
              </a:extLst>
            </p:cNvPr>
            <p:cNvSpPr/>
            <p:nvPr/>
          </p:nvSpPr>
          <p:spPr>
            <a:xfrm rot="13089394">
              <a:off x="2181992" y="353641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0" name="Forme libre : forme 429">
              <a:extLst>
                <a:ext uri="{FF2B5EF4-FFF2-40B4-BE49-F238E27FC236}">
                  <a16:creationId xmlns:a16="http://schemas.microsoft.com/office/drawing/2014/main" id="{9F954357-46D8-4091-9893-D6D2863074FC}"/>
                </a:ext>
              </a:extLst>
            </p:cNvPr>
            <p:cNvSpPr/>
            <p:nvPr/>
          </p:nvSpPr>
          <p:spPr>
            <a:xfrm rot="8716295">
              <a:off x="2462883" y="3246298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1" name="Forme libre : forme 430">
              <a:extLst>
                <a:ext uri="{FF2B5EF4-FFF2-40B4-BE49-F238E27FC236}">
                  <a16:creationId xmlns:a16="http://schemas.microsoft.com/office/drawing/2014/main" id="{6CD2C382-A770-4048-AFF9-571A0AF515B2}"/>
                </a:ext>
              </a:extLst>
            </p:cNvPr>
            <p:cNvSpPr/>
            <p:nvPr/>
          </p:nvSpPr>
          <p:spPr>
            <a:xfrm rot="8716295">
              <a:off x="2384474" y="308950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2" name="Forme libre : forme 431">
              <a:extLst>
                <a:ext uri="{FF2B5EF4-FFF2-40B4-BE49-F238E27FC236}">
                  <a16:creationId xmlns:a16="http://schemas.microsoft.com/office/drawing/2014/main" id="{43A496C9-D536-4357-8044-8DE46896BD6D}"/>
                </a:ext>
              </a:extLst>
            </p:cNvPr>
            <p:cNvSpPr/>
            <p:nvPr/>
          </p:nvSpPr>
          <p:spPr>
            <a:xfrm rot="8716295">
              <a:off x="2016311" y="313524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3" name="Forme libre : forme 432">
              <a:extLst>
                <a:ext uri="{FF2B5EF4-FFF2-40B4-BE49-F238E27FC236}">
                  <a16:creationId xmlns:a16="http://schemas.microsoft.com/office/drawing/2014/main" id="{F97B172E-F70A-4826-9B46-D11622283D88}"/>
                </a:ext>
              </a:extLst>
            </p:cNvPr>
            <p:cNvSpPr/>
            <p:nvPr/>
          </p:nvSpPr>
          <p:spPr>
            <a:xfrm rot="8716295">
              <a:off x="2284892" y="289422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4" name="Forme libre : forme 433">
              <a:extLst>
                <a:ext uri="{FF2B5EF4-FFF2-40B4-BE49-F238E27FC236}">
                  <a16:creationId xmlns:a16="http://schemas.microsoft.com/office/drawing/2014/main" id="{DBE1C2D7-8DEA-409D-8977-EC4395FEE5AE}"/>
                </a:ext>
              </a:extLst>
            </p:cNvPr>
            <p:cNvSpPr/>
            <p:nvPr/>
          </p:nvSpPr>
          <p:spPr>
            <a:xfrm rot="8716295">
              <a:off x="1798117" y="447855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5" name="Forme libre : forme 434">
              <a:extLst>
                <a:ext uri="{FF2B5EF4-FFF2-40B4-BE49-F238E27FC236}">
                  <a16:creationId xmlns:a16="http://schemas.microsoft.com/office/drawing/2014/main" id="{6CCD94BF-3540-4400-ADAD-029941EA6E42}"/>
                </a:ext>
              </a:extLst>
            </p:cNvPr>
            <p:cNvSpPr/>
            <p:nvPr/>
          </p:nvSpPr>
          <p:spPr>
            <a:xfrm rot="8716295">
              <a:off x="1933415" y="452281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6" name="Forme libre : forme 435">
              <a:extLst>
                <a:ext uri="{FF2B5EF4-FFF2-40B4-BE49-F238E27FC236}">
                  <a16:creationId xmlns:a16="http://schemas.microsoft.com/office/drawing/2014/main" id="{6A711F46-BB76-441D-BBB2-E8BB742A8FA0}"/>
                </a:ext>
              </a:extLst>
            </p:cNvPr>
            <p:cNvSpPr/>
            <p:nvPr/>
          </p:nvSpPr>
          <p:spPr>
            <a:xfrm rot="8716295">
              <a:off x="1865533" y="439222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7" name="Forme libre : forme 436">
              <a:extLst>
                <a:ext uri="{FF2B5EF4-FFF2-40B4-BE49-F238E27FC236}">
                  <a16:creationId xmlns:a16="http://schemas.microsoft.com/office/drawing/2014/main" id="{080AD499-612A-4324-9D7F-432F8DA35F24}"/>
                </a:ext>
              </a:extLst>
            </p:cNvPr>
            <p:cNvSpPr/>
            <p:nvPr/>
          </p:nvSpPr>
          <p:spPr>
            <a:xfrm rot="8716295">
              <a:off x="1628246" y="461256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8" name="Forme libre : forme 437">
              <a:extLst>
                <a:ext uri="{FF2B5EF4-FFF2-40B4-BE49-F238E27FC236}">
                  <a16:creationId xmlns:a16="http://schemas.microsoft.com/office/drawing/2014/main" id="{F65DE21A-C7F5-490D-803A-5E27AE79387F}"/>
                </a:ext>
              </a:extLst>
            </p:cNvPr>
            <p:cNvSpPr/>
            <p:nvPr/>
          </p:nvSpPr>
          <p:spPr>
            <a:xfrm rot="8716295">
              <a:off x="1439200" y="42967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9" name="Forme libre : forme 438">
              <a:extLst>
                <a:ext uri="{FF2B5EF4-FFF2-40B4-BE49-F238E27FC236}">
                  <a16:creationId xmlns:a16="http://schemas.microsoft.com/office/drawing/2014/main" id="{4870EC0D-8313-4FB2-9F0D-D062D3F8FE46}"/>
                </a:ext>
              </a:extLst>
            </p:cNvPr>
            <p:cNvSpPr/>
            <p:nvPr/>
          </p:nvSpPr>
          <p:spPr>
            <a:xfrm rot="8716295">
              <a:off x="1420958" y="408668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0" name="Forme libre : forme 439">
              <a:extLst>
                <a:ext uri="{FF2B5EF4-FFF2-40B4-BE49-F238E27FC236}">
                  <a16:creationId xmlns:a16="http://schemas.microsoft.com/office/drawing/2014/main" id="{1C3E68D2-805A-4614-B9F0-EF8296EB21E7}"/>
                </a:ext>
              </a:extLst>
            </p:cNvPr>
            <p:cNvSpPr/>
            <p:nvPr/>
          </p:nvSpPr>
          <p:spPr>
            <a:xfrm rot="8716295">
              <a:off x="1764734" y="467454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1" name="Forme libre : forme 440">
              <a:extLst>
                <a:ext uri="{FF2B5EF4-FFF2-40B4-BE49-F238E27FC236}">
                  <a16:creationId xmlns:a16="http://schemas.microsoft.com/office/drawing/2014/main" id="{7D006425-5A7F-45EC-8C07-6540BE529EFF}"/>
                </a:ext>
              </a:extLst>
            </p:cNvPr>
            <p:cNvSpPr/>
            <p:nvPr/>
          </p:nvSpPr>
          <p:spPr>
            <a:xfrm rot="8716295">
              <a:off x="2235681" y="409993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2" name="Forme libre : forme 441">
              <a:extLst>
                <a:ext uri="{FF2B5EF4-FFF2-40B4-BE49-F238E27FC236}">
                  <a16:creationId xmlns:a16="http://schemas.microsoft.com/office/drawing/2014/main" id="{EEBCE819-4C86-43C8-A8FD-538E58BE173E}"/>
                </a:ext>
              </a:extLst>
            </p:cNvPr>
            <p:cNvSpPr/>
            <p:nvPr/>
          </p:nvSpPr>
          <p:spPr>
            <a:xfrm rot="8716295">
              <a:off x="2370979" y="414419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3" name="Forme libre : forme 442">
              <a:extLst>
                <a:ext uri="{FF2B5EF4-FFF2-40B4-BE49-F238E27FC236}">
                  <a16:creationId xmlns:a16="http://schemas.microsoft.com/office/drawing/2014/main" id="{5925BB99-2A21-4A4D-AEE9-C74CAEFFF456}"/>
                </a:ext>
              </a:extLst>
            </p:cNvPr>
            <p:cNvSpPr/>
            <p:nvPr/>
          </p:nvSpPr>
          <p:spPr>
            <a:xfrm rot="8716295">
              <a:off x="2065810" y="423395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4" name="Forme libre : forme 443">
              <a:extLst>
                <a:ext uri="{FF2B5EF4-FFF2-40B4-BE49-F238E27FC236}">
                  <a16:creationId xmlns:a16="http://schemas.microsoft.com/office/drawing/2014/main" id="{D90AB38E-9535-4B07-A3B0-C983BFD87309}"/>
                </a:ext>
              </a:extLst>
            </p:cNvPr>
            <p:cNvSpPr/>
            <p:nvPr/>
          </p:nvSpPr>
          <p:spPr>
            <a:xfrm rot="8716295">
              <a:off x="1876765" y="391811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5" name="Forme libre : forme 444">
              <a:extLst>
                <a:ext uri="{FF2B5EF4-FFF2-40B4-BE49-F238E27FC236}">
                  <a16:creationId xmlns:a16="http://schemas.microsoft.com/office/drawing/2014/main" id="{C3701EF3-1A02-4242-AC07-BCBDBF764E8D}"/>
                </a:ext>
              </a:extLst>
            </p:cNvPr>
            <p:cNvSpPr/>
            <p:nvPr/>
          </p:nvSpPr>
          <p:spPr>
            <a:xfrm rot="8716295">
              <a:off x="2202298" y="4295933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6" name="Forme libre : forme 445">
              <a:extLst>
                <a:ext uri="{FF2B5EF4-FFF2-40B4-BE49-F238E27FC236}">
                  <a16:creationId xmlns:a16="http://schemas.microsoft.com/office/drawing/2014/main" id="{AF59F773-3F62-40D5-B816-693C7D75563E}"/>
                </a:ext>
              </a:extLst>
            </p:cNvPr>
            <p:cNvSpPr/>
            <p:nvPr/>
          </p:nvSpPr>
          <p:spPr>
            <a:xfrm rot="8716295">
              <a:off x="1836851" y="406950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7" name="Forme libre : forme 446">
              <a:extLst>
                <a:ext uri="{FF2B5EF4-FFF2-40B4-BE49-F238E27FC236}">
                  <a16:creationId xmlns:a16="http://schemas.microsoft.com/office/drawing/2014/main" id="{FE3D7341-86E2-4F15-99E5-17E65F18A557}"/>
                </a:ext>
              </a:extLst>
            </p:cNvPr>
            <p:cNvSpPr/>
            <p:nvPr/>
          </p:nvSpPr>
          <p:spPr>
            <a:xfrm rot="7484129">
              <a:off x="2361116" y="458555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8" name="Forme libre : forme 447">
              <a:extLst>
                <a:ext uri="{FF2B5EF4-FFF2-40B4-BE49-F238E27FC236}">
                  <a16:creationId xmlns:a16="http://schemas.microsoft.com/office/drawing/2014/main" id="{5C1D71A6-936B-459D-9722-F2C5B66EA99D}"/>
                </a:ext>
              </a:extLst>
            </p:cNvPr>
            <p:cNvSpPr/>
            <p:nvPr/>
          </p:nvSpPr>
          <p:spPr>
            <a:xfrm rot="13089394">
              <a:off x="2519765" y="4534899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9" name="Forme libre : forme 448">
              <a:extLst>
                <a:ext uri="{FF2B5EF4-FFF2-40B4-BE49-F238E27FC236}">
                  <a16:creationId xmlns:a16="http://schemas.microsoft.com/office/drawing/2014/main" id="{239A055E-FAA5-4946-B5AA-160CD0F24098}"/>
                </a:ext>
              </a:extLst>
            </p:cNvPr>
            <p:cNvSpPr/>
            <p:nvPr/>
          </p:nvSpPr>
          <p:spPr>
            <a:xfrm rot="8716295">
              <a:off x="2800656" y="4244781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0" name="Forme libre : forme 449">
              <a:extLst>
                <a:ext uri="{FF2B5EF4-FFF2-40B4-BE49-F238E27FC236}">
                  <a16:creationId xmlns:a16="http://schemas.microsoft.com/office/drawing/2014/main" id="{C61941C7-A0C9-4F01-BFEB-50DC9178AB17}"/>
                </a:ext>
              </a:extLst>
            </p:cNvPr>
            <p:cNvSpPr/>
            <p:nvPr/>
          </p:nvSpPr>
          <p:spPr>
            <a:xfrm rot="8716295">
              <a:off x="2722247" y="4087989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1" name="Forme libre : forme 450">
              <a:extLst>
                <a:ext uri="{FF2B5EF4-FFF2-40B4-BE49-F238E27FC236}">
                  <a16:creationId xmlns:a16="http://schemas.microsoft.com/office/drawing/2014/main" id="{1C15DEFB-74F4-471B-9873-5AB46E67254D}"/>
                </a:ext>
              </a:extLst>
            </p:cNvPr>
            <p:cNvSpPr/>
            <p:nvPr/>
          </p:nvSpPr>
          <p:spPr>
            <a:xfrm rot="8716295">
              <a:off x="2354084" y="413373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2" name="Forme libre : forme 451">
              <a:extLst>
                <a:ext uri="{FF2B5EF4-FFF2-40B4-BE49-F238E27FC236}">
                  <a16:creationId xmlns:a16="http://schemas.microsoft.com/office/drawing/2014/main" id="{9F9771F8-06F4-4F00-A689-90F319B4F22E}"/>
                </a:ext>
              </a:extLst>
            </p:cNvPr>
            <p:cNvSpPr/>
            <p:nvPr/>
          </p:nvSpPr>
          <p:spPr>
            <a:xfrm rot="8716295">
              <a:off x="2622665" y="389271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3" name="Forme libre : forme 452">
              <a:extLst>
                <a:ext uri="{FF2B5EF4-FFF2-40B4-BE49-F238E27FC236}">
                  <a16:creationId xmlns:a16="http://schemas.microsoft.com/office/drawing/2014/main" id="{F08877F6-FFCF-44A0-9498-6A62589B37A0}"/>
                </a:ext>
              </a:extLst>
            </p:cNvPr>
            <p:cNvSpPr/>
            <p:nvPr/>
          </p:nvSpPr>
          <p:spPr>
            <a:xfrm rot="8716295">
              <a:off x="1836002" y="5051565"/>
              <a:ext cx="229466" cy="172677"/>
            </a:xfrm>
            <a:custGeom>
              <a:avLst/>
              <a:gdLst>
                <a:gd name="connsiteX0" fmla="*/ 37429 w 229466"/>
                <a:gd name="connsiteY0" fmla="*/ 127889 h 172677"/>
                <a:gd name="connsiteX1" fmla="*/ 864 w 229466"/>
                <a:gd name="connsiteY1" fmla="*/ 25330 h 172677"/>
                <a:gd name="connsiteX2" fmla="*/ 0 w 229466"/>
                <a:gd name="connsiteY2" fmla="*/ 0 h 172677"/>
                <a:gd name="connsiteX3" fmla="*/ 229466 w 229466"/>
                <a:gd name="connsiteY3" fmla="*/ 159058 h 172677"/>
                <a:gd name="connsiteX4" fmla="*/ 210504 w 229466"/>
                <a:gd name="connsiteY4" fmla="*/ 164122 h 172677"/>
                <a:gd name="connsiteX5" fmla="*/ 146960 w 229466"/>
                <a:gd name="connsiteY5" fmla="*/ 172414 h 172677"/>
                <a:gd name="connsiteX6" fmla="*/ 37429 w 229466"/>
                <a:gd name="connsiteY6" fmla="*/ 127889 h 172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9466" h="172677">
                  <a:moveTo>
                    <a:pt x="37429" y="127889"/>
                  </a:moveTo>
                  <a:cubicBezTo>
                    <a:pt x="14722" y="105850"/>
                    <a:pt x="4537" y="71789"/>
                    <a:pt x="864" y="25330"/>
                  </a:cubicBezTo>
                  <a:lnTo>
                    <a:pt x="0" y="0"/>
                  </a:lnTo>
                  <a:lnTo>
                    <a:pt x="229466" y="159058"/>
                  </a:lnTo>
                  <a:lnTo>
                    <a:pt x="210504" y="164122"/>
                  </a:lnTo>
                  <a:cubicBezTo>
                    <a:pt x="187032" y="168685"/>
                    <a:pt x="165437" y="171301"/>
                    <a:pt x="146960" y="172414"/>
                  </a:cubicBezTo>
                  <a:cubicBezTo>
                    <a:pt x="105998" y="175086"/>
                    <a:pt x="65926" y="157276"/>
                    <a:pt x="37429" y="12788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4" name="Forme libre : forme 453">
              <a:extLst>
                <a:ext uri="{FF2B5EF4-FFF2-40B4-BE49-F238E27FC236}">
                  <a16:creationId xmlns:a16="http://schemas.microsoft.com/office/drawing/2014/main" id="{2206BB34-A379-4319-86EE-02F9BAF96CEF}"/>
                </a:ext>
              </a:extLst>
            </p:cNvPr>
            <p:cNvSpPr/>
            <p:nvPr/>
          </p:nvSpPr>
          <p:spPr>
            <a:xfrm rot="8716295">
              <a:off x="2865171" y="5107739"/>
              <a:ext cx="36955" cy="50812"/>
            </a:xfrm>
            <a:custGeom>
              <a:avLst/>
              <a:gdLst>
                <a:gd name="connsiteX0" fmla="*/ 0 w 36955"/>
                <a:gd name="connsiteY0" fmla="*/ 50812 h 50812"/>
                <a:gd name="connsiteX1" fmla="*/ 0 w 36955"/>
                <a:gd name="connsiteY1" fmla="*/ 0 h 50812"/>
                <a:gd name="connsiteX2" fmla="*/ 36955 w 36955"/>
                <a:gd name="connsiteY2" fmla="*/ 25616 h 50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955" h="50812">
                  <a:moveTo>
                    <a:pt x="0" y="50812"/>
                  </a:moveTo>
                  <a:lnTo>
                    <a:pt x="0" y="0"/>
                  </a:lnTo>
                  <a:lnTo>
                    <a:pt x="36955" y="256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5" name="Forme libre : forme 454">
              <a:extLst>
                <a:ext uri="{FF2B5EF4-FFF2-40B4-BE49-F238E27FC236}">
                  <a16:creationId xmlns:a16="http://schemas.microsoft.com/office/drawing/2014/main" id="{90C6BA39-5B60-4C98-B3CF-8834D6D8FD79}"/>
                </a:ext>
              </a:extLst>
            </p:cNvPr>
            <p:cNvSpPr/>
            <p:nvPr/>
          </p:nvSpPr>
          <p:spPr>
            <a:xfrm rot="8716295">
              <a:off x="2291544" y="4886156"/>
              <a:ext cx="209028" cy="296463"/>
            </a:xfrm>
            <a:custGeom>
              <a:avLst/>
              <a:gdLst>
                <a:gd name="connsiteX0" fmla="*/ 137293 w 209028"/>
                <a:gd name="connsiteY0" fmla="*/ 296463 h 296463"/>
                <a:gd name="connsiteX1" fmla="*/ 72418 w 209028"/>
                <a:gd name="connsiteY1" fmla="*/ 175766 h 296463"/>
                <a:gd name="connsiteX2" fmla="*/ 105610 w 209028"/>
                <a:gd name="connsiteY2" fmla="*/ 83734 h 296463"/>
                <a:gd name="connsiteX3" fmla="*/ 0 w 209028"/>
                <a:gd name="connsiteY3" fmla="*/ 83734 h 296463"/>
                <a:gd name="connsiteX4" fmla="*/ 0 w 209028"/>
                <a:gd name="connsiteY4" fmla="*/ 0 h 296463"/>
                <a:gd name="connsiteX5" fmla="*/ 82199 w 209028"/>
                <a:gd name="connsiteY5" fmla="*/ 0 h 296463"/>
                <a:gd name="connsiteX6" fmla="*/ 209028 w 209028"/>
                <a:gd name="connsiteY6" fmla="*/ 87913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028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82199" y="0"/>
                  </a:lnTo>
                  <a:lnTo>
                    <a:pt x="209028" y="8791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6" name="Forme libre : forme 455">
              <a:extLst>
                <a:ext uri="{FF2B5EF4-FFF2-40B4-BE49-F238E27FC236}">
                  <a16:creationId xmlns:a16="http://schemas.microsoft.com/office/drawing/2014/main" id="{AAE782AF-C820-4904-B08F-997B904CDC4A}"/>
                </a:ext>
              </a:extLst>
            </p:cNvPr>
            <p:cNvSpPr/>
            <p:nvPr/>
          </p:nvSpPr>
          <p:spPr>
            <a:xfrm rot="8716295">
              <a:off x="2159594" y="5061280"/>
              <a:ext cx="112869" cy="105684"/>
            </a:xfrm>
            <a:custGeom>
              <a:avLst/>
              <a:gdLst>
                <a:gd name="connsiteX0" fmla="*/ 17362 w 112869"/>
                <a:gd name="connsiteY0" fmla="*/ 89236 h 105684"/>
                <a:gd name="connsiteX1" fmla="*/ 0 w 112869"/>
                <a:gd name="connsiteY1" fmla="*/ 48117 h 105684"/>
                <a:gd name="connsiteX2" fmla="*/ 0 w 112869"/>
                <a:gd name="connsiteY2" fmla="*/ 47203 h 105684"/>
                <a:gd name="connsiteX3" fmla="*/ 17362 w 112869"/>
                <a:gd name="connsiteY3" fmla="*/ 6084 h 105684"/>
                <a:gd name="connsiteX4" fmla="*/ 31771 w 112869"/>
                <a:gd name="connsiteY4" fmla="*/ 0 h 105684"/>
                <a:gd name="connsiteX5" fmla="*/ 112869 w 112869"/>
                <a:gd name="connsiteY5" fmla="*/ 56215 h 105684"/>
                <a:gd name="connsiteX6" fmla="*/ 99601 w 112869"/>
                <a:gd name="connsiteY6" fmla="*/ 88323 h 105684"/>
                <a:gd name="connsiteX7" fmla="*/ 58481 w 112869"/>
                <a:gd name="connsiteY7" fmla="*/ 105684 h 105684"/>
                <a:gd name="connsiteX8" fmla="*/ 17362 w 112869"/>
                <a:gd name="connsiteY8" fmla="*/ 89236 h 105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869" h="105684">
                  <a:moveTo>
                    <a:pt x="17362" y="89236"/>
                  </a:moveTo>
                  <a:cubicBezTo>
                    <a:pt x="6397" y="78271"/>
                    <a:pt x="0" y="63651"/>
                    <a:pt x="0" y="48117"/>
                  </a:cubicBezTo>
                  <a:lnTo>
                    <a:pt x="0" y="47203"/>
                  </a:lnTo>
                  <a:cubicBezTo>
                    <a:pt x="0" y="31669"/>
                    <a:pt x="6397" y="17049"/>
                    <a:pt x="17362" y="6084"/>
                  </a:cubicBezTo>
                  <a:lnTo>
                    <a:pt x="31771" y="0"/>
                  </a:lnTo>
                  <a:lnTo>
                    <a:pt x="112869" y="56215"/>
                  </a:lnTo>
                  <a:lnTo>
                    <a:pt x="99601" y="88323"/>
                  </a:lnTo>
                  <a:cubicBezTo>
                    <a:pt x="88636" y="99288"/>
                    <a:pt x="74015" y="105684"/>
                    <a:pt x="58481" y="105684"/>
                  </a:cubicBezTo>
                  <a:cubicBezTo>
                    <a:pt x="42947" y="105684"/>
                    <a:pt x="28327" y="100202"/>
                    <a:pt x="17362" y="8923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7" name="Forme libre : forme 456">
              <a:extLst>
                <a:ext uri="{FF2B5EF4-FFF2-40B4-BE49-F238E27FC236}">
                  <a16:creationId xmlns:a16="http://schemas.microsoft.com/office/drawing/2014/main" id="{DEEDD910-88E0-46A6-9511-30F91F188D7C}"/>
                </a:ext>
              </a:extLst>
            </p:cNvPr>
            <p:cNvSpPr/>
            <p:nvPr/>
          </p:nvSpPr>
          <p:spPr>
            <a:xfrm rot="8716295">
              <a:off x="3051941" y="5073759"/>
              <a:ext cx="145251" cy="115110"/>
            </a:xfrm>
            <a:custGeom>
              <a:avLst/>
              <a:gdLst>
                <a:gd name="connsiteX0" fmla="*/ 26453 w 145251"/>
                <a:gd name="connsiteY0" fmla="*/ 90050 h 115110"/>
                <a:gd name="connsiteX1" fmla="*/ 0 w 145251"/>
                <a:gd name="connsiteY1" fmla="*/ 27401 h 115110"/>
                <a:gd name="connsiteX2" fmla="*/ 0 w 145251"/>
                <a:gd name="connsiteY2" fmla="*/ 26008 h 115110"/>
                <a:gd name="connsiteX3" fmla="*/ 10982 w 145251"/>
                <a:gd name="connsiteY3" fmla="*/ 0 h 115110"/>
                <a:gd name="connsiteX4" fmla="*/ 145251 w 145251"/>
                <a:gd name="connsiteY4" fmla="*/ 93071 h 115110"/>
                <a:gd name="connsiteX5" fmla="*/ 123037 w 145251"/>
                <a:gd name="connsiteY5" fmla="*/ 108149 h 115110"/>
                <a:gd name="connsiteX6" fmla="*/ 89101 w 145251"/>
                <a:gd name="connsiteY6" fmla="*/ 115110 h 115110"/>
                <a:gd name="connsiteX7" fmla="*/ 26453 w 145251"/>
                <a:gd name="connsiteY7" fmla="*/ 90050 h 11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5251" h="115110">
                  <a:moveTo>
                    <a:pt x="26453" y="90050"/>
                  </a:moveTo>
                  <a:cubicBezTo>
                    <a:pt x="9746" y="73344"/>
                    <a:pt x="0" y="51068"/>
                    <a:pt x="0" y="27401"/>
                  </a:cubicBezTo>
                  <a:lnTo>
                    <a:pt x="0" y="26008"/>
                  </a:lnTo>
                  <a:lnTo>
                    <a:pt x="10982" y="0"/>
                  </a:lnTo>
                  <a:lnTo>
                    <a:pt x="145251" y="93071"/>
                  </a:lnTo>
                  <a:lnTo>
                    <a:pt x="123037" y="108149"/>
                  </a:lnTo>
                  <a:cubicBezTo>
                    <a:pt x="112421" y="112674"/>
                    <a:pt x="100936" y="115110"/>
                    <a:pt x="89101" y="115110"/>
                  </a:cubicBezTo>
                  <a:cubicBezTo>
                    <a:pt x="65434" y="115110"/>
                    <a:pt x="43159" y="106756"/>
                    <a:pt x="26453" y="900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8" name="Forme libre : forme 457">
              <a:extLst>
                <a:ext uri="{FF2B5EF4-FFF2-40B4-BE49-F238E27FC236}">
                  <a16:creationId xmlns:a16="http://schemas.microsoft.com/office/drawing/2014/main" id="{43CB19E1-F549-45B3-BD6D-2F3BBB712FCF}"/>
                </a:ext>
              </a:extLst>
            </p:cNvPr>
            <p:cNvSpPr/>
            <p:nvPr/>
          </p:nvSpPr>
          <p:spPr>
            <a:xfrm rot="8716295">
              <a:off x="2953631" y="488922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9" name="Forme libre : forme 458">
              <a:extLst>
                <a:ext uri="{FF2B5EF4-FFF2-40B4-BE49-F238E27FC236}">
                  <a16:creationId xmlns:a16="http://schemas.microsoft.com/office/drawing/2014/main" id="{62ED84A3-6167-4C83-A181-D227CFE89DEE}"/>
                </a:ext>
              </a:extLst>
            </p:cNvPr>
            <p:cNvSpPr/>
            <p:nvPr/>
          </p:nvSpPr>
          <p:spPr>
            <a:xfrm rot="8716295">
              <a:off x="1125067" y="247965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0" name="Forme libre : forme 459">
              <a:extLst>
                <a:ext uri="{FF2B5EF4-FFF2-40B4-BE49-F238E27FC236}">
                  <a16:creationId xmlns:a16="http://schemas.microsoft.com/office/drawing/2014/main" id="{6629C390-204C-4458-B724-2A6C51816D1A}"/>
                </a:ext>
              </a:extLst>
            </p:cNvPr>
            <p:cNvSpPr/>
            <p:nvPr/>
          </p:nvSpPr>
          <p:spPr>
            <a:xfrm rot="8716295">
              <a:off x="1260365" y="252391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1" name="Forme libre : forme 460">
              <a:extLst>
                <a:ext uri="{FF2B5EF4-FFF2-40B4-BE49-F238E27FC236}">
                  <a16:creationId xmlns:a16="http://schemas.microsoft.com/office/drawing/2014/main" id="{97B7B890-581D-4115-8816-FCD753CF66AD}"/>
                </a:ext>
              </a:extLst>
            </p:cNvPr>
            <p:cNvSpPr/>
            <p:nvPr/>
          </p:nvSpPr>
          <p:spPr>
            <a:xfrm rot="8716295">
              <a:off x="1192483" y="2393326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2" name="Forme libre : forme 461">
              <a:extLst>
                <a:ext uri="{FF2B5EF4-FFF2-40B4-BE49-F238E27FC236}">
                  <a16:creationId xmlns:a16="http://schemas.microsoft.com/office/drawing/2014/main" id="{BD8D3F38-EB27-45DE-9B7A-0BBD45B7402D}"/>
                </a:ext>
              </a:extLst>
            </p:cNvPr>
            <p:cNvSpPr/>
            <p:nvPr/>
          </p:nvSpPr>
          <p:spPr>
            <a:xfrm rot="8716295">
              <a:off x="955196" y="261367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3" name="Forme libre : forme 462">
              <a:extLst>
                <a:ext uri="{FF2B5EF4-FFF2-40B4-BE49-F238E27FC236}">
                  <a16:creationId xmlns:a16="http://schemas.microsoft.com/office/drawing/2014/main" id="{5B75726D-49A3-4FF8-933B-6C7B899241CE}"/>
                </a:ext>
              </a:extLst>
            </p:cNvPr>
            <p:cNvSpPr/>
            <p:nvPr/>
          </p:nvSpPr>
          <p:spPr>
            <a:xfrm rot="8716295">
              <a:off x="766149" y="229783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4" name="Forme libre : forme 463">
              <a:extLst>
                <a:ext uri="{FF2B5EF4-FFF2-40B4-BE49-F238E27FC236}">
                  <a16:creationId xmlns:a16="http://schemas.microsoft.com/office/drawing/2014/main" id="{E24EBA4F-EA30-42CA-AE82-25AD970D7646}"/>
                </a:ext>
              </a:extLst>
            </p:cNvPr>
            <p:cNvSpPr/>
            <p:nvPr/>
          </p:nvSpPr>
          <p:spPr>
            <a:xfrm rot="8716295">
              <a:off x="747908" y="2087785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5" name="Forme libre : forme 464">
              <a:extLst>
                <a:ext uri="{FF2B5EF4-FFF2-40B4-BE49-F238E27FC236}">
                  <a16:creationId xmlns:a16="http://schemas.microsoft.com/office/drawing/2014/main" id="{E2A695D6-7168-4A61-BBE4-65A85205EC8D}"/>
                </a:ext>
              </a:extLst>
            </p:cNvPr>
            <p:cNvSpPr/>
            <p:nvPr/>
          </p:nvSpPr>
          <p:spPr>
            <a:xfrm rot="8716295">
              <a:off x="1091684" y="2675653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6" name="Forme libre : forme 465">
              <a:extLst>
                <a:ext uri="{FF2B5EF4-FFF2-40B4-BE49-F238E27FC236}">
                  <a16:creationId xmlns:a16="http://schemas.microsoft.com/office/drawing/2014/main" id="{E30794E6-5983-41A0-85F7-1177811DAA69}"/>
                </a:ext>
              </a:extLst>
            </p:cNvPr>
            <p:cNvSpPr/>
            <p:nvPr/>
          </p:nvSpPr>
          <p:spPr>
            <a:xfrm rot="8716295">
              <a:off x="1562630" y="210103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7" name="Forme libre : forme 466">
              <a:extLst>
                <a:ext uri="{FF2B5EF4-FFF2-40B4-BE49-F238E27FC236}">
                  <a16:creationId xmlns:a16="http://schemas.microsoft.com/office/drawing/2014/main" id="{AB100FB8-5A47-45FF-A736-AC13181C693F}"/>
                </a:ext>
              </a:extLst>
            </p:cNvPr>
            <p:cNvSpPr/>
            <p:nvPr/>
          </p:nvSpPr>
          <p:spPr>
            <a:xfrm rot="8716295">
              <a:off x="1697929" y="214529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8" name="Forme libre : forme 467">
              <a:extLst>
                <a:ext uri="{FF2B5EF4-FFF2-40B4-BE49-F238E27FC236}">
                  <a16:creationId xmlns:a16="http://schemas.microsoft.com/office/drawing/2014/main" id="{81FCAA69-A703-43D5-90B2-A5FE09CDC15A}"/>
                </a:ext>
              </a:extLst>
            </p:cNvPr>
            <p:cNvSpPr/>
            <p:nvPr/>
          </p:nvSpPr>
          <p:spPr>
            <a:xfrm rot="8716295">
              <a:off x="1392759" y="223505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9" name="Forme libre : forme 468">
              <a:extLst>
                <a:ext uri="{FF2B5EF4-FFF2-40B4-BE49-F238E27FC236}">
                  <a16:creationId xmlns:a16="http://schemas.microsoft.com/office/drawing/2014/main" id="{F72C6E00-EB30-4F27-B358-913C2822A889}"/>
                </a:ext>
              </a:extLst>
            </p:cNvPr>
            <p:cNvSpPr/>
            <p:nvPr/>
          </p:nvSpPr>
          <p:spPr>
            <a:xfrm rot="8716295">
              <a:off x="1203715" y="191921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0" name="Forme libre : forme 469">
              <a:extLst>
                <a:ext uri="{FF2B5EF4-FFF2-40B4-BE49-F238E27FC236}">
                  <a16:creationId xmlns:a16="http://schemas.microsoft.com/office/drawing/2014/main" id="{361BE4A3-8069-446D-90C4-26FC3152CCE0}"/>
                </a:ext>
              </a:extLst>
            </p:cNvPr>
            <p:cNvSpPr/>
            <p:nvPr/>
          </p:nvSpPr>
          <p:spPr>
            <a:xfrm rot="8716295">
              <a:off x="1529248" y="2297037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1" name="Forme libre : forme 470">
              <a:extLst>
                <a:ext uri="{FF2B5EF4-FFF2-40B4-BE49-F238E27FC236}">
                  <a16:creationId xmlns:a16="http://schemas.microsoft.com/office/drawing/2014/main" id="{A6315079-AF63-4B06-AD9B-40EEFE3B3E8B}"/>
                </a:ext>
              </a:extLst>
            </p:cNvPr>
            <p:cNvSpPr/>
            <p:nvPr/>
          </p:nvSpPr>
          <p:spPr>
            <a:xfrm rot="8716295">
              <a:off x="1163801" y="2070611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2" name="Forme libre : forme 471">
              <a:extLst>
                <a:ext uri="{FF2B5EF4-FFF2-40B4-BE49-F238E27FC236}">
                  <a16:creationId xmlns:a16="http://schemas.microsoft.com/office/drawing/2014/main" id="{2C75BE5F-5979-4F78-A59E-3840B80E9CA3}"/>
                </a:ext>
              </a:extLst>
            </p:cNvPr>
            <p:cNvSpPr/>
            <p:nvPr/>
          </p:nvSpPr>
          <p:spPr>
            <a:xfrm rot="7484129">
              <a:off x="1688065" y="258665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3" name="Forme libre : forme 472">
              <a:extLst>
                <a:ext uri="{FF2B5EF4-FFF2-40B4-BE49-F238E27FC236}">
                  <a16:creationId xmlns:a16="http://schemas.microsoft.com/office/drawing/2014/main" id="{F508FCB0-FB88-480F-9341-2213C529AF00}"/>
                </a:ext>
              </a:extLst>
            </p:cNvPr>
            <p:cNvSpPr/>
            <p:nvPr/>
          </p:nvSpPr>
          <p:spPr>
            <a:xfrm rot="13089394">
              <a:off x="1846715" y="2536003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4" name="Forme libre : forme 473">
              <a:extLst>
                <a:ext uri="{FF2B5EF4-FFF2-40B4-BE49-F238E27FC236}">
                  <a16:creationId xmlns:a16="http://schemas.microsoft.com/office/drawing/2014/main" id="{B959FEB1-DFD0-4DE6-B296-0E35D4323808}"/>
                </a:ext>
              </a:extLst>
            </p:cNvPr>
            <p:cNvSpPr/>
            <p:nvPr/>
          </p:nvSpPr>
          <p:spPr>
            <a:xfrm rot="8716295">
              <a:off x="2127606" y="2245885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5" name="Forme libre : forme 474">
              <a:extLst>
                <a:ext uri="{FF2B5EF4-FFF2-40B4-BE49-F238E27FC236}">
                  <a16:creationId xmlns:a16="http://schemas.microsoft.com/office/drawing/2014/main" id="{67FA008A-954F-42E5-B276-F1C227A67F8E}"/>
                </a:ext>
              </a:extLst>
            </p:cNvPr>
            <p:cNvSpPr/>
            <p:nvPr/>
          </p:nvSpPr>
          <p:spPr>
            <a:xfrm rot="8716295">
              <a:off x="2049197" y="208909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6" name="Forme libre : forme 475">
              <a:extLst>
                <a:ext uri="{FF2B5EF4-FFF2-40B4-BE49-F238E27FC236}">
                  <a16:creationId xmlns:a16="http://schemas.microsoft.com/office/drawing/2014/main" id="{F2F193F6-2E0D-41E8-95C5-8F1192FDE740}"/>
                </a:ext>
              </a:extLst>
            </p:cNvPr>
            <p:cNvSpPr/>
            <p:nvPr/>
          </p:nvSpPr>
          <p:spPr>
            <a:xfrm rot="8716295">
              <a:off x="1681033" y="21348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7" name="Forme libre : forme 476">
              <a:extLst>
                <a:ext uri="{FF2B5EF4-FFF2-40B4-BE49-F238E27FC236}">
                  <a16:creationId xmlns:a16="http://schemas.microsoft.com/office/drawing/2014/main" id="{A96550A6-B207-45AD-A7BA-4B8953554164}"/>
                </a:ext>
              </a:extLst>
            </p:cNvPr>
            <p:cNvSpPr/>
            <p:nvPr/>
          </p:nvSpPr>
          <p:spPr>
            <a:xfrm rot="8716295">
              <a:off x="1949615" y="189381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8" name="Forme libre : forme 477">
              <a:extLst>
                <a:ext uri="{FF2B5EF4-FFF2-40B4-BE49-F238E27FC236}">
                  <a16:creationId xmlns:a16="http://schemas.microsoft.com/office/drawing/2014/main" id="{6F37CD06-4319-4DC6-9617-4E1A5DB80D5C}"/>
                </a:ext>
              </a:extLst>
            </p:cNvPr>
            <p:cNvSpPr/>
            <p:nvPr/>
          </p:nvSpPr>
          <p:spPr>
            <a:xfrm rot="8716295">
              <a:off x="787294" y="148117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9" name="Forme libre : forme 478">
              <a:extLst>
                <a:ext uri="{FF2B5EF4-FFF2-40B4-BE49-F238E27FC236}">
                  <a16:creationId xmlns:a16="http://schemas.microsoft.com/office/drawing/2014/main" id="{1D10C06F-21E5-4932-8315-49C11C1DF8B1}"/>
                </a:ext>
              </a:extLst>
            </p:cNvPr>
            <p:cNvSpPr/>
            <p:nvPr/>
          </p:nvSpPr>
          <p:spPr>
            <a:xfrm rot="8716295">
              <a:off x="922592" y="152543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0" name="Forme libre : forme 479">
              <a:extLst>
                <a:ext uri="{FF2B5EF4-FFF2-40B4-BE49-F238E27FC236}">
                  <a16:creationId xmlns:a16="http://schemas.microsoft.com/office/drawing/2014/main" id="{38C358EC-E58C-4C5E-9C0A-AF30964E5E3F}"/>
                </a:ext>
              </a:extLst>
            </p:cNvPr>
            <p:cNvSpPr/>
            <p:nvPr/>
          </p:nvSpPr>
          <p:spPr>
            <a:xfrm rot="8716295">
              <a:off x="854710" y="1394843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1" name="Forme libre : forme 480">
              <a:extLst>
                <a:ext uri="{FF2B5EF4-FFF2-40B4-BE49-F238E27FC236}">
                  <a16:creationId xmlns:a16="http://schemas.microsoft.com/office/drawing/2014/main" id="{67BF3E00-6BD7-4B0A-BB51-FD922EDEE623}"/>
                </a:ext>
              </a:extLst>
            </p:cNvPr>
            <p:cNvSpPr/>
            <p:nvPr/>
          </p:nvSpPr>
          <p:spPr>
            <a:xfrm rot="8716295">
              <a:off x="617423" y="161518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2" name="Forme libre : forme 481">
              <a:extLst>
                <a:ext uri="{FF2B5EF4-FFF2-40B4-BE49-F238E27FC236}">
                  <a16:creationId xmlns:a16="http://schemas.microsoft.com/office/drawing/2014/main" id="{E3A6DB3D-9EF4-4413-8FD5-EEC3980C3376}"/>
                </a:ext>
              </a:extLst>
            </p:cNvPr>
            <p:cNvSpPr/>
            <p:nvPr/>
          </p:nvSpPr>
          <p:spPr>
            <a:xfrm rot="8716295">
              <a:off x="428376" y="129935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3" name="Forme libre : forme 482">
              <a:extLst>
                <a:ext uri="{FF2B5EF4-FFF2-40B4-BE49-F238E27FC236}">
                  <a16:creationId xmlns:a16="http://schemas.microsoft.com/office/drawing/2014/main" id="{6D423D62-7B8A-436E-AD6C-850B60BB03AE}"/>
                </a:ext>
              </a:extLst>
            </p:cNvPr>
            <p:cNvSpPr/>
            <p:nvPr/>
          </p:nvSpPr>
          <p:spPr>
            <a:xfrm rot="8716295">
              <a:off x="410135" y="1089302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4" name="Forme libre : forme 483">
              <a:extLst>
                <a:ext uri="{FF2B5EF4-FFF2-40B4-BE49-F238E27FC236}">
                  <a16:creationId xmlns:a16="http://schemas.microsoft.com/office/drawing/2014/main" id="{D0C637D4-3E92-4154-B446-44CE8B7CE721}"/>
                </a:ext>
              </a:extLst>
            </p:cNvPr>
            <p:cNvSpPr/>
            <p:nvPr/>
          </p:nvSpPr>
          <p:spPr>
            <a:xfrm rot="8716295">
              <a:off x="753911" y="1677170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5" name="Forme libre : forme 484">
              <a:extLst>
                <a:ext uri="{FF2B5EF4-FFF2-40B4-BE49-F238E27FC236}">
                  <a16:creationId xmlns:a16="http://schemas.microsoft.com/office/drawing/2014/main" id="{84081F2F-BF8F-4E91-A344-93A6DA6FC1E0}"/>
                </a:ext>
              </a:extLst>
            </p:cNvPr>
            <p:cNvSpPr/>
            <p:nvPr/>
          </p:nvSpPr>
          <p:spPr>
            <a:xfrm rot="8716295">
              <a:off x="1224858" y="1102556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6" name="Forme libre : forme 485">
              <a:extLst>
                <a:ext uri="{FF2B5EF4-FFF2-40B4-BE49-F238E27FC236}">
                  <a16:creationId xmlns:a16="http://schemas.microsoft.com/office/drawing/2014/main" id="{7C9184F4-BF5B-4DA9-A062-83FD3655E3F6}"/>
                </a:ext>
              </a:extLst>
            </p:cNvPr>
            <p:cNvSpPr/>
            <p:nvPr/>
          </p:nvSpPr>
          <p:spPr>
            <a:xfrm rot="8716295">
              <a:off x="1360156" y="1146815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7" name="Forme libre : forme 486">
              <a:extLst>
                <a:ext uri="{FF2B5EF4-FFF2-40B4-BE49-F238E27FC236}">
                  <a16:creationId xmlns:a16="http://schemas.microsoft.com/office/drawing/2014/main" id="{B8ECE7A3-302A-4D3D-9B90-035B6382DA0C}"/>
                </a:ext>
              </a:extLst>
            </p:cNvPr>
            <p:cNvSpPr/>
            <p:nvPr/>
          </p:nvSpPr>
          <p:spPr>
            <a:xfrm rot="8716295">
              <a:off x="1054986" y="123657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8" name="Forme libre : forme 487">
              <a:extLst>
                <a:ext uri="{FF2B5EF4-FFF2-40B4-BE49-F238E27FC236}">
                  <a16:creationId xmlns:a16="http://schemas.microsoft.com/office/drawing/2014/main" id="{E0DF77FC-C3A0-462E-8020-761B7D4843AA}"/>
                </a:ext>
              </a:extLst>
            </p:cNvPr>
            <p:cNvSpPr/>
            <p:nvPr/>
          </p:nvSpPr>
          <p:spPr>
            <a:xfrm rot="8716295">
              <a:off x="865942" y="92073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9" name="Forme libre : forme 488">
              <a:extLst>
                <a:ext uri="{FF2B5EF4-FFF2-40B4-BE49-F238E27FC236}">
                  <a16:creationId xmlns:a16="http://schemas.microsoft.com/office/drawing/2014/main" id="{52D29D01-2445-47B5-91EF-D02F08E5948B}"/>
                </a:ext>
              </a:extLst>
            </p:cNvPr>
            <p:cNvSpPr/>
            <p:nvPr/>
          </p:nvSpPr>
          <p:spPr>
            <a:xfrm rot="8716295">
              <a:off x="1191475" y="1298554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0" name="Forme libre : forme 489">
              <a:extLst>
                <a:ext uri="{FF2B5EF4-FFF2-40B4-BE49-F238E27FC236}">
                  <a16:creationId xmlns:a16="http://schemas.microsoft.com/office/drawing/2014/main" id="{31533B8B-357B-4036-93FD-FF1E10E0FE0E}"/>
                </a:ext>
              </a:extLst>
            </p:cNvPr>
            <p:cNvSpPr/>
            <p:nvPr/>
          </p:nvSpPr>
          <p:spPr>
            <a:xfrm rot="8716295">
              <a:off x="826028" y="1072128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1" name="Forme libre : forme 490">
              <a:extLst>
                <a:ext uri="{FF2B5EF4-FFF2-40B4-BE49-F238E27FC236}">
                  <a16:creationId xmlns:a16="http://schemas.microsoft.com/office/drawing/2014/main" id="{0319CBD7-2844-4889-A47B-BEF0E4A2AACF}"/>
                </a:ext>
              </a:extLst>
            </p:cNvPr>
            <p:cNvSpPr/>
            <p:nvPr/>
          </p:nvSpPr>
          <p:spPr>
            <a:xfrm rot="7484129">
              <a:off x="1350292" y="158817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2" name="Forme libre : forme 491">
              <a:extLst>
                <a:ext uri="{FF2B5EF4-FFF2-40B4-BE49-F238E27FC236}">
                  <a16:creationId xmlns:a16="http://schemas.microsoft.com/office/drawing/2014/main" id="{537AE2C1-B9DD-443D-860F-907323537C0F}"/>
                </a:ext>
              </a:extLst>
            </p:cNvPr>
            <p:cNvSpPr/>
            <p:nvPr/>
          </p:nvSpPr>
          <p:spPr>
            <a:xfrm rot="13089394">
              <a:off x="1508942" y="1537520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3" name="Forme libre : forme 492">
              <a:extLst>
                <a:ext uri="{FF2B5EF4-FFF2-40B4-BE49-F238E27FC236}">
                  <a16:creationId xmlns:a16="http://schemas.microsoft.com/office/drawing/2014/main" id="{62070BB3-5EB6-454F-8436-ED4636F6C6C0}"/>
                </a:ext>
              </a:extLst>
            </p:cNvPr>
            <p:cNvSpPr/>
            <p:nvPr/>
          </p:nvSpPr>
          <p:spPr>
            <a:xfrm rot="8716295">
              <a:off x="1789833" y="1247402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4" name="Forme libre : forme 493">
              <a:extLst>
                <a:ext uri="{FF2B5EF4-FFF2-40B4-BE49-F238E27FC236}">
                  <a16:creationId xmlns:a16="http://schemas.microsoft.com/office/drawing/2014/main" id="{63D06019-DB35-49E7-9B75-C5C677486C47}"/>
                </a:ext>
              </a:extLst>
            </p:cNvPr>
            <p:cNvSpPr/>
            <p:nvPr/>
          </p:nvSpPr>
          <p:spPr>
            <a:xfrm rot="8716295">
              <a:off x="1711424" y="109061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5" name="Forme libre : forme 494">
              <a:extLst>
                <a:ext uri="{FF2B5EF4-FFF2-40B4-BE49-F238E27FC236}">
                  <a16:creationId xmlns:a16="http://schemas.microsoft.com/office/drawing/2014/main" id="{AC35D58D-6BCA-422D-A84A-C08AE882F755}"/>
                </a:ext>
              </a:extLst>
            </p:cNvPr>
            <p:cNvSpPr/>
            <p:nvPr/>
          </p:nvSpPr>
          <p:spPr>
            <a:xfrm rot="8716295">
              <a:off x="1343261" y="113635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6" name="Forme libre : forme 495">
              <a:extLst>
                <a:ext uri="{FF2B5EF4-FFF2-40B4-BE49-F238E27FC236}">
                  <a16:creationId xmlns:a16="http://schemas.microsoft.com/office/drawing/2014/main" id="{C3F0E063-06D9-403B-99E6-BB3237996E1B}"/>
                </a:ext>
              </a:extLst>
            </p:cNvPr>
            <p:cNvSpPr/>
            <p:nvPr/>
          </p:nvSpPr>
          <p:spPr>
            <a:xfrm rot="8716295">
              <a:off x="1611842" y="89533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7" name="Forme libre : forme 496">
              <a:extLst>
                <a:ext uri="{FF2B5EF4-FFF2-40B4-BE49-F238E27FC236}">
                  <a16:creationId xmlns:a16="http://schemas.microsoft.com/office/drawing/2014/main" id="{83B9BD85-375F-4AB1-BC95-AAD81C50A908}"/>
                </a:ext>
              </a:extLst>
            </p:cNvPr>
            <p:cNvSpPr/>
            <p:nvPr/>
          </p:nvSpPr>
          <p:spPr>
            <a:xfrm rot="8716295">
              <a:off x="455920" y="47911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8" name="Forme libre : forme 497">
              <a:extLst>
                <a:ext uri="{FF2B5EF4-FFF2-40B4-BE49-F238E27FC236}">
                  <a16:creationId xmlns:a16="http://schemas.microsoft.com/office/drawing/2014/main" id="{FC92AE50-339F-438A-B507-6C2370C5AFF3}"/>
                </a:ext>
              </a:extLst>
            </p:cNvPr>
            <p:cNvSpPr/>
            <p:nvPr/>
          </p:nvSpPr>
          <p:spPr>
            <a:xfrm rot="8716295">
              <a:off x="591219" y="52337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9" name="Forme libre : forme 498">
              <a:extLst>
                <a:ext uri="{FF2B5EF4-FFF2-40B4-BE49-F238E27FC236}">
                  <a16:creationId xmlns:a16="http://schemas.microsoft.com/office/drawing/2014/main" id="{54C59C12-6A91-48F2-87DB-0682382DD09D}"/>
                </a:ext>
              </a:extLst>
            </p:cNvPr>
            <p:cNvSpPr/>
            <p:nvPr/>
          </p:nvSpPr>
          <p:spPr>
            <a:xfrm rot="8716295">
              <a:off x="523336" y="39278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0" name="Forme libre : forme 499">
              <a:extLst>
                <a:ext uri="{FF2B5EF4-FFF2-40B4-BE49-F238E27FC236}">
                  <a16:creationId xmlns:a16="http://schemas.microsoft.com/office/drawing/2014/main" id="{F0F22371-A174-4D4A-8A0A-5D19546D786C}"/>
                </a:ext>
              </a:extLst>
            </p:cNvPr>
            <p:cNvSpPr/>
            <p:nvPr/>
          </p:nvSpPr>
          <p:spPr>
            <a:xfrm rot="8716295">
              <a:off x="286049" y="6131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1" name="Forme libre : forme 500">
              <a:extLst>
                <a:ext uri="{FF2B5EF4-FFF2-40B4-BE49-F238E27FC236}">
                  <a16:creationId xmlns:a16="http://schemas.microsoft.com/office/drawing/2014/main" id="{D0BB4669-780F-4E5E-B642-FB1F4E6F67B9}"/>
                </a:ext>
              </a:extLst>
            </p:cNvPr>
            <p:cNvSpPr/>
            <p:nvPr/>
          </p:nvSpPr>
          <p:spPr>
            <a:xfrm rot="8716295">
              <a:off x="97003" y="2972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2" name="Forme libre : forme 501">
              <a:extLst>
                <a:ext uri="{FF2B5EF4-FFF2-40B4-BE49-F238E27FC236}">
                  <a16:creationId xmlns:a16="http://schemas.microsoft.com/office/drawing/2014/main" id="{78FC04FC-3C5A-4110-BA92-C74135DB8751}"/>
                </a:ext>
              </a:extLst>
            </p:cNvPr>
            <p:cNvSpPr/>
            <p:nvPr/>
          </p:nvSpPr>
          <p:spPr>
            <a:xfrm rot="8716295">
              <a:off x="78761" y="87249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3" name="Forme libre : forme 502">
              <a:extLst>
                <a:ext uri="{FF2B5EF4-FFF2-40B4-BE49-F238E27FC236}">
                  <a16:creationId xmlns:a16="http://schemas.microsoft.com/office/drawing/2014/main" id="{C2E6CE4F-5F3A-4543-9D9D-2001E6575F77}"/>
                </a:ext>
              </a:extLst>
            </p:cNvPr>
            <p:cNvSpPr/>
            <p:nvPr/>
          </p:nvSpPr>
          <p:spPr>
            <a:xfrm rot="8716295">
              <a:off x="422537" y="67511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4" name="Forme libre : forme 503">
              <a:extLst>
                <a:ext uri="{FF2B5EF4-FFF2-40B4-BE49-F238E27FC236}">
                  <a16:creationId xmlns:a16="http://schemas.microsoft.com/office/drawing/2014/main" id="{19E20CB2-4A2B-49CF-9B17-B00F225DAA21}"/>
                </a:ext>
              </a:extLst>
            </p:cNvPr>
            <p:cNvSpPr/>
            <p:nvPr/>
          </p:nvSpPr>
          <p:spPr>
            <a:xfrm rot="8716295">
              <a:off x="893484" y="10050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5" name="Forme libre : forme 504">
              <a:extLst>
                <a:ext uri="{FF2B5EF4-FFF2-40B4-BE49-F238E27FC236}">
                  <a16:creationId xmlns:a16="http://schemas.microsoft.com/office/drawing/2014/main" id="{7B6646AF-3F73-4CC0-A23D-AB23A3A10661}"/>
                </a:ext>
              </a:extLst>
            </p:cNvPr>
            <p:cNvSpPr/>
            <p:nvPr/>
          </p:nvSpPr>
          <p:spPr>
            <a:xfrm rot="8716295">
              <a:off x="1028783" y="14476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6" name="Forme libre : forme 505">
              <a:extLst>
                <a:ext uri="{FF2B5EF4-FFF2-40B4-BE49-F238E27FC236}">
                  <a16:creationId xmlns:a16="http://schemas.microsoft.com/office/drawing/2014/main" id="{73DB9AE6-8F32-4BD7-8EF8-F9845AE6D585}"/>
                </a:ext>
              </a:extLst>
            </p:cNvPr>
            <p:cNvSpPr/>
            <p:nvPr/>
          </p:nvSpPr>
          <p:spPr>
            <a:xfrm rot="8716295">
              <a:off x="723613" y="23451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7" name="Forme libre : forme 506">
              <a:extLst>
                <a:ext uri="{FF2B5EF4-FFF2-40B4-BE49-F238E27FC236}">
                  <a16:creationId xmlns:a16="http://schemas.microsoft.com/office/drawing/2014/main" id="{8B1BC984-37F5-4C1C-AA88-33F4EF21408C}"/>
                </a:ext>
              </a:extLst>
            </p:cNvPr>
            <p:cNvSpPr/>
            <p:nvPr/>
          </p:nvSpPr>
          <p:spPr>
            <a:xfrm rot="8716295">
              <a:off x="547803" y="-17289"/>
              <a:ext cx="308531" cy="226033"/>
            </a:xfrm>
            <a:custGeom>
              <a:avLst/>
              <a:gdLst>
                <a:gd name="connsiteX0" fmla="*/ 106716 w 203847"/>
                <a:gd name="connsiteY0" fmla="*/ 149340 h 149340"/>
                <a:gd name="connsiteX1" fmla="*/ 50038 w 203847"/>
                <a:gd name="connsiteY1" fmla="*/ 110053 h 149340"/>
                <a:gd name="connsiteX2" fmla="*/ 69777 w 203847"/>
                <a:gd name="connsiteY2" fmla="*/ 55323 h 149340"/>
                <a:gd name="connsiteX3" fmla="*/ 0 w 203847"/>
                <a:gd name="connsiteY3" fmla="*/ 55323 h 149340"/>
                <a:gd name="connsiteX4" fmla="*/ 0 w 203847"/>
                <a:gd name="connsiteY4" fmla="*/ 0 h 149340"/>
                <a:gd name="connsiteX5" fmla="*/ 203847 w 203847"/>
                <a:gd name="connsiteY5" fmla="*/ 0 h 149340"/>
                <a:gd name="connsiteX6" fmla="*/ 203847 w 203847"/>
                <a:gd name="connsiteY6" fmla="*/ 55323 h 149340"/>
                <a:gd name="connsiteX7" fmla="*/ 139055 w 203847"/>
                <a:gd name="connsiteY7" fmla="*/ 55323 h 14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49340">
                  <a:moveTo>
                    <a:pt x="106716" y="149340"/>
                  </a:moveTo>
                  <a:lnTo>
                    <a:pt x="50038" y="110053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8" name="Forme libre : forme 507">
              <a:extLst>
                <a:ext uri="{FF2B5EF4-FFF2-40B4-BE49-F238E27FC236}">
                  <a16:creationId xmlns:a16="http://schemas.microsoft.com/office/drawing/2014/main" id="{AA6E9B9A-88DC-4BB7-810B-97399B40FACE}"/>
                </a:ext>
              </a:extLst>
            </p:cNvPr>
            <p:cNvSpPr/>
            <p:nvPr/>
          </p:nvSpPr>
          <p:spPr>
            <a:xfrm rot="8716295">
              <a:off x="860101" y="29650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9" name="Forme libre : forme 508">
              <a:extLst>
                <a:ext uri="{FF2B5EF4-FFF2-40B4-BE49-F238E27FC236}">
                  <a16:creationId xmlns:a16="http://schemas.microsoft.com/office/drawing/2014/main" id="{C2E3FBE5-FDDF-4B02-AD4F-2ADFB2584906}"/>
                </a:ext>
              </a:extLst>
            </p:cNvPr>
            <p:cNvSpPr/>
            <p:nvPr/>
          </p:nvSpPr>
          <p:spPr>
            <a:xfrm rot="8716295">
              <a:off x="494655" y="7007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0" name="Forme libre : forme 509">
              <a:extLst>
                <a:ext uri="{FF2B5EF4-FFF2-40B4-BE49-F238E27FC236}">
                  <a16:creationId xmlns:a16="http://schemas.microsoft.com/office/drawing/2014/main" id="{8D7DCA7A-0D6F-4030-B7E0-0EA6D8ACDAA6}"/>
                </a:ext>
              </a:extLst>
            </p:cNvPr>
            <p:cNvSpPr/>
            <p:nvPr/>
          </p:nvSpPr>
          <p:spPr>
            <a:xfrm rot="7484129">
              <a:off x="1018919" y="58611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1" name="Forme libre : forme 510">
              <a:extLst>
                <a:ext uri="{FF2B5EF4-FFF2-40B4-BE49-F238E27FC236}">
                  <a16:creationId xmlns:a16="http://schemas.microsoft.com/office/drawing/2014/main" id="{6D4EAF04-5D5F-44DD-A3E0-0E1DDC2042FF}"/>
                </a:ext>
              </a:extLst>
            </p:cNvPr>
            <p:cNvSpPr/>
            <p:nvPr/>
          </p:nvSpPr>
          <p:spPr>
            <a:xfrm rot="13089394">
              <a:off x="1177568" y="53546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2" name="Forme libre : forme 511">
              <a:extLst>
                <a:ext uri="{FF2B5EF4-FFF2-40B4-BE49-F238E27FC236}">
                  <a16:creationId xmlns:a16="http://schemas.microsoft.com/office/drawing/2014/main" id="{200143E0-7D80-44AE-AF14-B3CC222BC375}"/>
                </a:ext>
              </a:extLst>
            </p:cNvPr>
            <p:cNvSpPr/>
            <p:nvPr/>
          </p:nvSpPr>
          <p:spPr>
            <a:xfrm rot="8716295">
              <a:off x="1458459" y="24534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3" name="Forme libre : forme 512">
              <a:extLst>
                <a:ext uri="{FF2B5EF4-FFF2-40B4-BE49-F238E27FC236}">
                  <a16:creationId xmlns:a16="http://schemas.microsoft.com/office/drawing/2014/main" id="{9CE5AF88-C20D-48EF-AF58-A03290B7BA4C}"/>
                </a:ext>
              </a:extLst>
            </p:cNvPr>
            <p:cNvSpPr/>
            <p:nvPr/>
          </p:nvSpPr>
          <p:spPr>
            <a:xfrm rot="8716295">
              <a:off x="1380050" y="8855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4" name="Forme libre : forme 513">
              <a:extLst>
                <a:ext uri="{FF2B5EF4-FFF2-40B4-BE49-F238E27FC236}">
                  <a16:creationId xmlns:a16="http://schemas.microsoft.com/office/drawing/2014/main" id="{99B484F1-3CA8-4FD2-BC39-A8183120B894}"/>
                </a:ext>
              </a:extLst>
            </p:cNvPr>
            <p:cNvSpPr/>
            <p:nvPr/>
          </p:nvSpPr>
          <p:spPr>
            <a:xfrm rot="8716295">
              <a:off x="1011887" y="13429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5" name="Forme libre : forme 514">
              <a:extLst>
                <a:ext uri="{FF2B5EF4-FFF2-40B4-BE49-F238E27FC236}">
                  <a16:creationId xmlns:a16="http://schemas.microsoft.com/office/drawing/2014/main" id="{1253AC62-0DE9-44F9-9AB2-21C92FCEF50A}"/>
                </a:ext>
              </a:extLst>
            </p:cNvPr>
            <p:cNvSpPr/>
            <p:nvPr/>
          </p:nvSpPr>
          <p:spPr>
            <a:xfrm rot="8716295">
              <a:off x="1291652" y="-36449"/>
              <a:ext cx="134197" cy="106947"/>
            </a:xfrm>
            <a:custGeom>
              <a:avLst/>
              <a:gdLst>
                <a:gd name="connsiteX0" fmla="*/ 83649 w 88664"/>
                <a:gd name="connsiteY0" fmla="*/ 70660 h 70660"/>
                <a:gd name="connsiteX1" fmla="*/ 0 w 88664"/>
                <a:gd name="connsiteY1" fmla="*/ 12677 h 70660"/>
                <a:gd name="connsiteX2" fmla="*/ 30024 w 88664"/>
                <a:gd name="connsiteY2" fmla="*/ 0 h 70660"/>
                <a:gd name="connsiteX3" fmla="*/ 71417 w 88664"/>
                <a:gd name="connsiteY3" fmla="*/ 17477 h 70660"/>
                <a:gd name="connsiteX4" fmla="*/ 88664 w 88664"/>
                <a:gd name="connsiteY4" fmla="*/ 58525 h 70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664" h="70660">
                  <a:moveTo>
                    <a:pt x="83649" y="70660"/>
                  </a:moveTo>
                  <a:lnTo>
                    <a:pt x="0" y="12677"/>
                  </a:lnTo>
                  <a:lnTo>
                    <a:pt x="30024" y="0"/>
                  </a:lnTo>
                  <a:cubicBezTo>
                    <a:pt x="45662" y="0"/>
                    <a:pt x="60379" y="6439"/>
                    <a:pt x="71417" y="17477"/>
                  </a:cubicBezTo>
                  <a:cubicBezTo>
                    <a:pt x="82915" y="28515"/>
                    <a:pt x="88664" y="43462"/>
                    <a:pt x="88664" y="58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6" name="Forme libre : forme 515">
              <a:extLst>
                <a:ext uri="{FF2B5EF4-FFF2-40B4-BE49-F238E27FC236}">
                  <a16:creationId xmlns:a16="http://schemas.microsoft.com/office/drawing/2014/main" id="{73FDFCAD-75A6-474E-8BA1-4C60FF021A16}"/>
                </a:ext>
              </a:extLst>
            </p:cNvPr>
            <p:cNvSpPr/>
            <p:nvPr/>
          </p:nvSpPr>
          <p:spPr>
            <a:xfrm rot="13089394">
              <a:off x="990163" y="-39748"/>
              <a:ext cx="111277" cy="115595"/>
            </a:xfrm>
            <a:custGeom>
              <a:avLst/>
              <a:gdLst>
                <a:gd name="connsiteX0" fmla="*/ 73521 w 73521"/>
                <a:gd name="connsiteY0" fmla="*/ 18609 h 76374"/>
                <a:gd name="connsiteX1" fmla="*/ 0 w 73521"/>
                <a:gd name="connsiteY1" fmla="*/ 76374 h 76374"/>
                <a:gd name="connsiteX2" fmla="*/ 0 w 73521"/>
                <a:gd name="connsiteY2" fmla="*/ 38074 h 76374"/>
                <a:gd name="connsiteX3" fmla="*/ 73388 w 73521"/>
                <a:gd name="connsiteY3" fmla="*/ 0 h 7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521" h="76374">
                  <a:moveTo>
                    <a:pt x="73521" y="18609"/>
                  </a:moveTo>
                  <a:lnTo>
                    <a:pt x="0" y="76374"/>
                  </a:lnTo>
                  <a:lnTo>
                    <a:pt x="0" y="38074"/>
                  </a:lnTo>
                  <a:lnTo>
                    <a:pt x="7338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7" name="Forme libre : forme 516">
              <a:extLst>
                <a:ext uri="{FF2B5EF4-FFF2-40B4-BE49-F238E27FC236}">
                  <a16:creationId xmlns:a16="http://schemas.microsoft.com/office/drawing/2014/main" id="{BE611C7D-8BA6-43CB-A58B-F8EA1A27689B}"/>
                </a:ext>
              </a:extLst>
            </p:cNvPr>
            <p:cNvSpPr/>
            <p:nvPr/>
          </p:nvSpPr>
          <p:spPr>
            <a:xfrm rot="8716295">
              <a:off x="121288" y="414134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8" name="Forme libre : forme 517">
              <a:extLst>
                <a:ext uri="{FF2B5EF4-FFF2-40B4-BE49-F238E27FC236}">
                  <a16:creationId xmlns:a16="http://schemas.microsoft.com/office/drawing/2014/main" id="{537B7576-15D7-45FC-9504-149B076B9937}"/>
                </a:ext>
              </a:extLst>
            </p:cNvPr>
            <p:cNvSpPr/>
            <p:nvPr/>
          </p:nvSpPr>
          <p:spPr>
            <a:xfrm rot="8716295">
              <a:off x="256586" y="418560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9" name="Forme libre : forme 518">
              <a:extLst>
                <a:ext uri="{FF2B5EF4-FFF2-40B4-BE49-F238E27FC236}">
                  <a16:creationId xmlns:a16="http://schemas.microsoft.com/office/drawing/2014/main" id="{0A1143F2-3F82-47D4-91E8-F0134D901FA7}"/>
                </a:ext>
              </a:extLst>
            </p:cNvPr>
            <p:cNvSpPr/>
            <p:nvPr/>
          </p:nvSpPr>
          <p:spPr>
            <a:xfrm rot="8716295">
              <a:off x="188704" y="405501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0" name="Forme libre : forme 519">
              <a:extLst>
                <a:ext uri="{FF2B5EF4-FFF2-40B4-BE49-F238E27FC236}">
                  <a16:creationId xmlns:a16="http://schemas.microsoft.com/office/drawing/2014/main" id="{B5D55B28-879B-49A7-B221-37C39BC82601}"/>
                </a:ext>
              </a:extLst>
            </p:cNvPr>
            <p:cNvSpPr/>
            <p:nvPr/>
          </p:nvSpPr>
          <p:spPr>
            <a:xfrm rot="8716295">
              <a:off x="-22408" y="4278013"/>
              <a:ext cx="57413" cy="71926"/>
            </a:xfrm>
            <a:custGeom>
              <a:avLst/>
              <a:gdLst>
                <a:gd name="connsiteX0" fmla="*/ 11441 w 57413"/>
                <a:gd name="connsiteY0" fmla="*/ 71926 h 71926"/>
                <a:gd name="connsiteX1" fmla="*/ 0 w 57413"/>
                <a:gd name="connsiteY1" fmla="*/ 44829 h 71926"/>
                <a:gd name="connsiteX2" fmla="*/ 0 w 57413"/>
                <a:gd name="connsiteY2" fmla="*/ 44139 h 71926"/>
                <a:gd name="connsiteX3" fmla="*/ 13104 w 57413"/>
                <a:gd name="connsiteY3" fmla="*/ 13104 h 71926"/>
                <a:gd name="connsiteX4" fmla="*/ 44139 w 57413"/>
                <a:gd name="connsiteY4" fmla="*/ 0 h 71926"/>
                <a:gd name="connsiteX5" fmla="*/ 57413 w 57413"/>
                <a:gd name="connsiteY5" fmla="*/ 5605 h 71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413" h="71926">
                  <a:moveTo>
                    <a:pt x="11441" y="71926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lnTo>
                    <a:pt x="57413" y="5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1" name="Forme libre : forme 520">
              <a:extLst>
                <a:ext uri="{FF2B5EF4-FFF2-40B4-BE49-F238E27FC236}">
                  <a16:creationId xmlns:a16="http://schemas.microsoft.com/office/drawing/2014/main" id="{7E605206-C485-4E6D-8FEE-341C14E73705}"/>
                </a:ext>
              </a:extLst>
            </p:cNvPr>
            <p:cNvSpPr/>
            <p:nvPr/>
          </p:nvSpPr>
          <p:spPr>
            <a:xfrm rot="8716295">
              <a:off x="-36969" y="4107248"/>
              <a:ext cx="147272" cy="83734"/>
            </a:xfrm>
            <a:custGeom>
              <a:avLst/>
              <a:gdLst>
                <a:gd name="connsiteX0" fmla="*/ 0 w 147272"/>
                <a:gd name="connsiteY0" fmla="*/ 83734 h 83734"/>
                <a:gd name="connsiteX1" fmla="*/ 0 w 147272"/>
                <a:gd name="connsiteY1" fmla="*/ 0 h 83734"/>
                <a:gd name="connsiteX2" fmla="*/ 147272 w 147272"/>
                <a:gd name="connsiteY2" fmla="*/ 0 h 83734"/>
                <a:gd name="connsiteX3" fmla="*/ 89230 w 147272"/>
                <a:gd name="connsiteY3" fmla="*/ 83734 h 83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272" h="83734">
                  <a:moveTo>
                    <a:pt x="0" y="83734"/>
                  </a:moveTo>
                  <a:lnTo>
                    <a:pt x="0" y="0"/>
                  </a:lnTo>
                  <a:lnTo>
                    <a:pt x="147272" y="0"/>
                  </a:lnTo>
                  <a:lnTo>
                    <a:pt x="89230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2" name="Forme libre : forme 521">
              <a:extLst>
                <a:ext uri="{FF2B5EF4-FFF2-40B4-BE49-F238E27FC236}">
                  <a16:creationId xmlns:a16="http://schemas.microsoft.com/office/drawing/2014/main" id="{9262118B-C43E-403C-A844-12CE419F6DFC}"/>
                </a:ext>
              </a:extLst>
            </p:cNvPr>
            <p:cNvSpPr/>
            <p:nvPr/>
          </p:nvSpPr>
          <p:spPr>
            <a:xfrm rot="8716295">
              <a:off x="43378" y="3712531"/>
              <a:ext cx="125537" cy="468763"/>
            </a:xfrm>
            <a:custGeom>
              <a:avLst/>
              <a:gdLst>
                <a:gd name="connsiteX0" fmla="*/ 29455 w 125537"/>
                <a:gd name="connsiteY0" fmla="*/ 468763 h 468763"/>
                <a:gd name="connsiteX1" fmla="*/ 7792 w 125537"/>
                <a:gd name="connsiteY1" fmla="*/ 425988 h 468763"/>
                <a:gd name="connsiteX2" fmla="*/ 0 w 125537"/>
                <a:gd name="connsiteY2" fmla="*/ 333043 h 468763"/>
                <a:gd name="connsiteX3" fmla="*/ 0 w 125537"/>
                <a:gd name="connsiteY3" fmla="*/ 61444 h 468763"/>
                <a:gd name="connsiteX4" fmla="*/ 118434 w 125537"/>
                <a:gd name="connsiteY4" fmla="*/ 0 h 468763"/>
                <a:gd name="connsiteX5" fmla="*/ 120216 w 125537"/>
                <a:gd name="connsiteY5" fmla="*/ 248447 h 468763"/>
                <a:gd name="connsiteX6" fmla="*/ 123889 w 125537"/>
                <a:gd name="connsiteY6" fmla="*/ 323359 h 468763"/>
                <a:gd name="connsiteX7" fmla="*/ 125537 w 125537"/>
                <a:gd name="connsiteY7" fmla="*/ 330150 h 468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537" h="468763">
                  <a:moveTo>
                    <a:pt x="29455" y="468763"/>
                  </a:moveTo>
                  <a:lnTo>
                    <a:pt x="7792" y="425988"/>
                  </a:lnTo>
                  <a:cubicBezTo>
                    <a:pt x="2003" y="400498"/>
                    <a:pt x="0" y="369553"/>
                    <a:pt x="0" y="333043"/>
                  </a:cubicBezTo>
                  <a:lnTo>
                    <a:pt x="0" y="61444"/>
                  </a:lnTo>
                  <a:lnTo>
                    <a:pt x="118434" y="0"/>
                  </a:lnTo>
                  <a:lnTo>
                    <a:pt x="120216" y="248447"/>
                  </a:lnTo>
                  <a:cubicBezTo>
                    <a:pt x="118880" y="273381"/>
                    <a:pt x="120216" y="298537"/>
                    <a:pt x="123889" y="323359"/>
                  </a:cubicBezTo>
                  <a:lnTo>
                    <a:pt x="125537" y="3301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3" name="Forme libre : forme 522">
              <a:extLst>
                <a:ext uri="{FF2B5EF4-FFF2-40B4-BE49-F238E27FC236}">
                  <a16:creationId xmlns:a16="http://schemas.microsoft.com/office/drawing/2014/main" id="{4BDDBD24-F9E2-4370-BF1B-2A9C91E4A4FF}"/>
                </a:ext>
              </a:extLst>
            </p:cNvPr>
            <p:cNvSpPr/>
            <p:nvPr/>
          </p:nvSpPr>
          <p:spPr>
            <a:xfrm rot="8716295">
              <a:off x="87905" y="4337347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4" name="Forme libre : forme 523">
              <a:extLst>
                <a:ext uri="{FF2B5EF4-FFF2-40B4-BE49-F238E27FC236}">
                  <a16:creationId xmlns:a16="http://schemas.microsoft.com/office/drawing/2014/main" id="{E770B9C9-EE23-473B-B01E-6BB3712BE82B}"/>
                </a:ext>
              </a:extLst>
            </p:cNvPr>
            <p:cNvSpPr/>
            <p:nvPr/>
          </p:nvSpPr>
          <p:spPr>
            <a:xfrm rot="8716295">
              <a:off x="558851" y="376273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5" name="Forme libre : forme 524">
              <a:extLst>
                <a:ext uri="{FF2B5EF4-FFF2-40B4-BE49-F238E27FC236}">
                  <a16:creationId xmlns:a16="http://schemas.microsoft.com/office/drawing/2014/main" id="{69CD1B6A-90CE-49F4-8CA4-B80659E38C5D}"/>
                </a:ext>
              </a:extLst>
            </p:cNvPr>
            <p:cNvSpPr/>
            <p:nvPr/>
          </p:nvSpPr>
          <p:spPr>
            <a:xfrm rot="8716295">
              <a:off x="694150" y="380699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6" name="Forme libre : forme 525">
              <a:extLst>
                <a:ext uri="{FF2B5EF4-FFF2-40B4-BE49-F238E27FC236}">
                  <a16:creationId xmlns:a16="http://schemas.microsoft.com/office/drawing/2014/main" id="{354B8CCD-805B-4819-BC93-507146A6D2AC}"/>
                </a:ext>
              </a:extLst>
            </p:cNvPr>
            <p:cNvSpPr/>
            <p:nvPr/>
          </p:nvSpPr>
          <p:spPr>
            <a:xfrm rot="8716295">
              <a:off x="388980" y="389674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7" name="Forme libre : forme 526">
              <a:extLst>
                <a:ext uri="{FF2B5EF4-FFF2-40B4-BE49-F238E27FC236}">
                  <a16:creationId xmlns:a16="http://schemas.microsoft.com/office/drawing/2014/main" id="{FCD4B19E-37FF-4C42-AA11-3F7471268AD4}"/>
                </a:ext>
              </a:extLst>
            </p:cNvPr>
            <p:cNvSpPr/>
            <p:nvPr/>
          </p:nvSpPr>
          <p:spPr>
            <a:xfrm rot="8716295">
              <a:off x="199936" y="358091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8" name="Forme libre : forme 527">
              <a:extLst>
                <a:ext uri="{FF2B5EF4-FFF2-40B4-BE49-F238E27FC236}">
                  <a16:creationId xmlns:a16="http://schemas.microsoft.com/office/drawing/2014/main" id="{7B22B143-3C4D-4536-9820-8662B8F3F3CC}"/>
                </a:ext>
              </a:extLst>
            </p:cNvPr>
            <p:cNvSpPr/>
            <p:nvPr/>
          </p:nvSpPr>
          <p:spPr>
            <a:xfrm rot="8716295">
              <a:off x="525469" y="3958731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9" name="Forme libre : forme 528">
              <a:extLst>
                <a:ext uri="{FF2B5EF4-FFF2-40B4-BE49-F238E27FC236}">
                  <a16:creationId xmlns:a16="http://schemas.microsoft.com/office/drawing/2014/main" id="{3BFA5721-0E15-4A36-915F-A957BACB9B6B}"/>
                </a:ext>
              </a:extLst>
            </p:cNvPr>
            <p:cNvSpPr/>
            <p:nvPr/>
          </p:nvSpPr>
          <p:spPr>
            <a:xfrm rot="8716295">
              <a:off x="160022" y="3732305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0" name="Forme libre : forme 529">
              <a:extLst>
                <a:ext uri="{FF2B5EF4-FFF2-40B4-BE49-F238E27FC236}">
                  <a16:creationId xmlns:a16="http://schemas.microsoft.com/office/drawing/2014/main" id="{350A0875-8913-4861-A26B-5026CC870AB7}"/>
                </a:ext>
              </a:extLst>
            </p:cNvPr>
            <p:cNvSpPr/>
            <p:nvPr/>
          </p:nvSpPr>
          <p:spPr>
            <a:xfrm rot="7484129">
              <a:off x="684286" y="424834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1" name="Forme libre : forme 530">
              <a:extLst>
                <a:ext uri="{FF2B5EF4-FFF2-40B4-BE49-F238E27FC236}">
                  <a16:creationId xmlns:a16="http://schemas.microsoft.com/office/drawing/2014/main" id="{180B0A13-53B0-43A7-9AB8-C87CD24102F1}"/>
                </a:ext>
              </a:extLst>
            </p:cNvPr>
            <p:cNvSpPr/>
            <p:nvPr/>
          </p:nvSpPr>
          <p:spPr>
            <a:xfrm rot="13089394">
              <a:off x="842936" y="4197697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2" name="Forme libre : forme 531">
              <a:extLst>
                <a:ext uri="{FF2B5EF4-FFF2-40B4-BE49-F238E27FC236}">
                  <a16:creationId xmlns:a16="http://schemas.microsoft.com/office/drawing/2014/main" id="{977134C1-FB1A-4DF1-BB49-2753CD9EFE64}"/>
                </a:ext>
              </a:extLst>
            </p:cNvPr>
            <p:cNvSpPr/>
            <p:nvPr/>
          </p:nvSpPr>
          <p:spPr>
            <a:xfrm rot="8716295">
              <a:off x="1123827" y="390757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3" name="Forme libre : forme 532">
              <a:extLst>
                <a:ext uri="{FF2B5EF4-FFF2-40B4-BE49-F238E27FC236}">
                  <a16:creationId xmlns:a16="http://schemas.microsoft.com/office/drawing/2014/main" id="{995F6F00-62E2-46A6-B6D6-2E24CC951A9A}"/>
                </a:ext>
              </a:extLst>
            </p:cNvPr>
            <p:cNvSpPr/>
            <p:nvPr/>
          </p:nvSpPr>
          <p:spPr>
            <a:xfrm rot="8716295">
              <a:off x="1045418" y="375078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4" name="Forme libre : forme 533">
              <a:extLst>
                <a:ext uri="{FF2B5EF4-FFF2-40B4-BE49-F238E27FC236}">
                  <a16:creationId xmlns:a16="http://schemas.microsoft.com/office/drawing/2014/main" id="{A3F1DE5A-4286-4044-969C-2885B786F6A8}"/>
                </a:ext>
              </a:extLst>
            </p:cNvPr>
            <p:cNvSpPr/>
            <p:nvPr/>
          </p:nvSpPr>
          <p:spPr>
            <a:xfrm rot="8716295">
              <a:off x="677254" y="379652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5" name="Forme libre : forme 534">
              <a:extLst>
                <a:ext uri="{FF2B5EF4-FFF2-40B4-BE49-F238E27FC236}">
                  <a16:creationId xmlns:a16="http://schemas.microsoft.com/office/drawing/2014/main" id="{94E18040-33C6-4F17-A913-2CCF3B22084B}"/>
                </a:ext>
              </a:extLst>
            </p:cNvPr>
            <p:cNvSpPr/>
            <p:nvPr/>
          </p:nvSpPr>
          <p:spPr>
            <a:xfrm rot="8716295">
              <a:off x="945836" y="355550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6" name="Forme libre : forme 535">
              <a:extLst>
                <a:ext uri="{FF2B5EF4-FFF2-40B4-BE49-F238E27FC236}">
                  <a16:creationId xmlns:a16="http://schemas.microsoft.com/office/drawing/2014/main" id="{A9C222B1-4EB2-4073-B2D7-C74FB6F4EB84}"/>
                </a:ext>
              </a:extLst>
            </p:cNvPr>
            <p:cNvSpPr/>
            <p:nvPr/>
          </p:nvSpPr>
          <p:spPr>
            <a:xfrm rot="8716295">
              <a:off x="601570" y="5027951"/>
              <a:ext cx="169680" cy="113030"/>
            </a:xfrm>
            <a:custGeom>
              <a:avLst/>
              <a:gdLst>
                <a:gd name="connsiteX0" fmla="*/ 8965 w 169680"/>
                <a:gd name="connsiteY0" fmla="*/ 113030 h 113030"/>
                <a:gd name="connsiteX1" fmla="*/ 0 w 169680"/>
                <a:gd name="connsiteY1" fmla="*/ 100616 h 113030"/>
                <a:gd name="connsiteX2" fmla="*/ 106933 w 169680"/>
                <a:gd name="connsiteY2" fmla="*/ 0 h 113030"/>
                <a:gd name="connsiteX3" fmla="*/ 169680 w 169680"/>
                <a:gd name="connsiteY3" fmla="*/ 43494 h 113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680" h="113030">
                  <a:moveTo>
                    <a:pt x="8965" y="113030"/>
                  </a:moveTo>
                  <a:lnTo>
                    <a:pt x="0" y="100616"/>
                  </a:lnTo>
                  <a:lnTo>
                    <a:pt x="106933" y="0"/>
                  </a:lnTo>
                  <a:lnTo>
                    <a:pt x="169680" y="434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7" name="Forme libre : forme 536">
              <a:extLst>
                <a:ext uri="{FF2B5EF4-FFF2-40B4-BE49-F238E27FC236}">
                  <a16:creationId xmlns:a16="http://schemas.microsoft.com/office/drawing/2014/main" id="{44BF5385-3A6A-43AF-83DC-C028C02E5E2C}"/>
                </a:ext>
              </a:extLst>
            </p:cNvPr>
            <p:cNvSpPr/>
            <p:nvPr/>
          </p:nvSpPr>
          <p:spPr>
            <a:xfrm rot="8716295">
              <a:off x="197311" y="4925365"/>
              <a:ext cx="194366" cy="296463"/>
            </a:xfrm>
            <a:custGeom>
              <a:avLst/>
              <a:gdLst>
                <a:gd name="connsiteX0" fmla="*/ 137293 w 194366"/>
                <a:gd name="connsiteY0" fmla="*/ 296463 h 296463"/>
                <a:gd name="connsiteX1" fmla="*/ 72418 w 194366"/>
                <a:gd name="connsiteY1" fmla="*/ 175766 h 296463"/>
                <a:gd name="connsiteX2" fmla="*/ 105610 w 194366"/>
                <a:gd name="connsiteY2" fmla="*/ 83734 h 296463"/>
                <a:gd name="connsiteX3" fmla="*/ 0 w 194366"/>
                <a:gd name="connsiteY3" fmla="*/ 83734 h 296463"/>
                <a:gd name="connsiteX4" fmla="*/ 0 w 194366"/>
                <a:gd name="connsiteY4" fmla="*/ 0 h 296463"/>
                <a:gd name="connsiteX5" fmla="*/ 6043 w 194366"/>
                <a:gd name="connsiteY5" fmla="*/ 0 h 296463"/>
                <a:gd name="connsiteX6" fmla="*/ 194366 w 194366"/>
                <a:gd name="connsiteY6" fmla="*/ 130539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4366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6043" y="0"/>
                  </a:lnTo>
                  <a:lnTo>
                    <a:pt x="194366" y="1305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8" name="Forme libre : forme 537">
              <a:extLst>
                <a:ext uri="{FF2B5EF4-FFF2-40B4-BE49-F238E27FC236}">
                  <a16:creationId xmlns:a16="http://schemas.microsoft.com/office/drawing/2014/main" id="{5CF1CD9D-552A-4CCB-B9A3-0F1972CF10E7}"/>
                </a:ext>
              </a:extLst>
            </p:cNvPr>
            <p:cNvSpPr/>
            <p:nvPr/>
          </p:nvSpPr>
          <p:spPr>
            <a:xfrm rot="8716295">
              <a:off x="81902" y="4747962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9" name="Forme libre : forme 538">
              <a:extLst>
                <a:ext uri="{FF2B5EF4-FFF2-40B4-BE49-F238E27FC236}">
                  <a16:creationId xmlns:a16="http://schemas.microsoft.com/office/drawing/2014/main" id="{89D63773-02CD-4D03-8182-ECDC8799BAA4}"/>
                </a:ext>
              </a:extLst>
            </p:cNvPr>
            <p:cNvSpPr/>
            <p:nvPr/>
          </p:nvSpPr>
          <p:spPr>
            <a:xfrm rot="8716295">
              <a:off x="896624" y="4761216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0" name="Forme libre : forme 539">
              <a:extLst>
                <a:ext uri="{FF2B5EF4-FFF2-40B4-BE49-F238E27FC236}">
                  <a16:creationId xmlns:a16="http://schemas.microsoft.com/office/drawing/2014/main" id="{33BF861B-C1D8-40D6-A4A6-F4A4F57DC0A7}"/>
                </a:ext>
              </a:extLst>
            </p:cNvPr>
            <p:cNvSpPr/>
            <p:nvPr/>
          </p:nvSpPr>
          <p:spPr>
            <a:xfrm rot="8716295">
              <a:off x="1032483" y="4799006"/>
              <a:ext cx="389853" cy="383455"/>
            </a:xfrm>
            <a:custGeom>
              <a:avLst/>
              <a:gdLst>
                <a:gd name="connsiteX0" fmla="*/ 77932 w 389853"/>
                <a:gd name="connsiteY0" fmla="*/ 383455 h 383455"/>
                <a:gd name="connsiteX1" fmla="*/ 77932 w 389853"/>
                <a:gd name="connsiteY1" fmla="*/ 66898 h 383455"/>
                <a:gd name="connsiteX2" fmla="*/ 0 w 389853"/>
                <a:gd name="connsiteY2" fmla="*/ 66898 h 383455"/>
                <a:gd name="connsiteX3" fmla="*/ 0 w 389853"/>
                <a:gd name="connsiteY3" fmla="*/ 0 h 383455"/>
                <a:gd name="connsiteX4" fmla="*/ 158623 w 389853"/>
                <a:gd name="connsiteY4" fmla="*/ 0 h 383455"/>
                <a:gd name="connsiteX5" fmla="*/ 158623 w 389853"/>
                <a:gd name="connsiteY5" fmla="*/ 111726 h 383455"/>
                <a:gd name="connsiteX6" fmla="*/ 160692 w 389853"/>
                <a:gd name="connsiteY6" fmla="*/ 111726 h 383455"/>
                <a:gd name="connsiteX7" fmla="*/ 192762 w 389853"/>
                <a:gd name="connsiteY7" fmla="*/ 39914 h 383455"/>
                <a:gd name="connsiteX8" fmla="*/ 216292 w 389853"/>
                <a:gd name="connsiteY8" fmla="*/ 20658 h 383455"/>
                <a:gd name="connsiteX9" fmla="*/ 389853 w 389853"/>
                <a:gd name="connsiteY9" fmla="*/ 140965 h 383455"/>
                <a:gd name="connsiteX10" fmla="*/ 300695 w 389853"/>
                <a:gd name="connsiteY10" fmla="*/ 146210 h 383455"/>
                <a:gd name="connsiteX11" fmla="*/ 300694 w 389853"/>
                <a:gd name="connsiteY11" fmla="*/ 121382 h 383455"/>
                <a:gd name="connsiteX12" fmla="*/ 249659 w 389853"/>
                <a:gd name="connsiteY12" fmla="*/ 58622 h 383455"/>
                <a:gd name="connsiteX13" fmla="*/ 168969 w 389853"/>
                <a:gd name="connsiteY13" fmla="*/ 191038 h 383455"/>
                <a:gd name="connsiteX14" fmla="*/ 168969 w 389853"/>
                <a:gd name="connsiteY14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9853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71727" y="78967"/>
                    <a:pt x="181555" y="56208"/>
                    <a:pt x="192762" y="39914"/>
                  </a:cubicBezTo>
                  <a:lnTo>
                    <a:pt x="216292" y="20658"/>
                  </a:lnTo>
                  <a:lnTo>
                    <a:pt x="389853" y="140965"/>
                  </a:lnTo>
                  <a:lnTo>
                    <a:pt x="300695" y="146210"/>
                  </a:lnTo>
                  <a:lnTo>
                    <a:pt x="300694" y="121382"/>
                  </a:lnTo>
                  <a:cubicBezTo>
                    <a:pt x="300695" y="84140"/>
                    <a:pt x="279315" y="58621"/>
                    <a:pt x="249659" y="58622"/>
                  </a:cubicBezTo>
                  <a:cubicBezTo>
                    <a:pt x="205521" y="58621"/>
                    <a:pt x="168969" y="117244"/>
                    <a:pt x="168969" y="191038"/>
                  </a:cubicBez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1" name="Forme libre : forme 540">
              <a:extLst>
                <a:ext uri="{FF2B5EF4-FFF2-40B4-BE49-F238E27FC236}">
                  <a16:creationId xmlns:a16="http://schemas.microsoft.com/office/drawing/2014/main" id="{C420EFCB-7AD0-4F78-ABFA-EF93E239A8B5}"/>
                </a:ext>
              </a:extLst>
            </p:cNvPr>
            <p:cNvSpPr/>
            <p:nvPr/>
          </p:nvSpPr>
          <p:spPr>
            <a:xfrm rot="8716295">
              <a:off x="726753" y="489523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2" name="Forme libre : forme 541">
              <a:extLst>
                <a:ext uri="{FF2B5EF4-FFF2-40B4-BE49-F238E27FC236}">
                  <a16:creationId xmlns:a16="http://schemas.microsoft.com/office/drawing/2014/main" id="{0A5B3530-D6C0-4EE2-8CA9-FA8536749993}"/>
                </a:ext>
              </a:extLst>
            </p:cNvPr>
            <p:cNvSpPr/>
            <p:nvPr/>
          </p:nvSpPr>
          <p:spPr>
            <a:xfrm rot="8716295">
              <a:off x="537709" y="457939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3" name="Forme libre : forme 542">
              <a:extLst>
                <a:ext uri="{FF2B5EF4-FFF2-40B4-BE49-F238E27FC236}">
                  <a16:creationId xmlns:a16="http://schemas.microsoft.com/office/drawing/2014/main" id="{4CBF89FF-5526-4991-BDD9-741DD1ACD91A}"/>
                </a:ext>
              </a:extLst>
            </p:cNvPr>
            <p:cNvSpPr/>
            <p:nvPr/>
          </p:nvSpPr>
          <p:spPr>
            <a:xfrm rot="8716295">
              <a:off x="826576" y="4988476"/>
              <a:ext cx="91035" cy="198648"/>
            </a:xfrm>
            <a:custGeom>
              <a:avLst/>
              <a:gdLst>
                <a:gd name="connsiteX0" fmla="*/ 91035 w 91035"/>
                <a:gd name="connsiteY0" fmla="*/ 198648 h 198648"/>
                <a:gd name="connsiteX1" fmla="*/ 0 w 91035"/>
                <a:gd name="connsiteY1" fmla="*/ 111060 h 198648"/>
                <a:gd name="connsiteX2" fmla="*/ 0 w 91035"/>
                <a:gd name="connsiteY2" fmla="*/ 0 h 198648"/>
                <a:gd name="connsiteX3" fmla="*/ 91035 w 91035"/>
                <a:gd name="connsiteY3" fmla="*/ 63103 h 198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198648">
                  <a:moveTo>
                    <a:pt x="91035" y="198648"/>
                  </a:moveTo>
                  <a:lnTo>
                    <a:pt x="0" y="111060"/>
                  </a:lnTo>
                  <a:lnTo>
                    <a:pt x="0" y="0"/>
                  </a:lnTo>
                  <a:lnTo>
                    <a:pt x="91035" y="631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4" name="Forme libre : forme 543">
              <a:extLst>
                <a:ext uri="{FF2B5EF4-FFF2-40B4-BE49-F238E27FC236}">
                  <a16:creationId xmlns:a16="http://schemas.microsoft.com/office/drawing/2014/main" id="{2B19B256-A6B8-458D-8003-2780D79D3EB3}"/>
                </a:ext>
              </a:extLst>
            </p:cNvPr>
            <p:cNvSpPr/>
            <p:nvPr/>
          </p:nvSpPr>
          <p:spPr>
            <a:xfrm rot="8716295">
              <a:off x="497795" y="4730788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5" name="Forme libre : forme 544">
              <a:extLst>
                <a:ext uri="{FF2B5EF4-FFF2-40B4-BE49-F238E27FC236}">
                  <a16:creationId xmlns:a16="http://schemas.microsoft.com/office/drawing/2014/main" id="{38C331B5-12FF-441E-AFC8-4295F59727BE}"/>
                </a:ext>
              </a:extLst>
            </p:cNvPr>
            <p:cNvSpPr/>
            <p:nvPr/>
          </p:nvSpPr>
          <p:spPr>
            <a:xfrm rot="8716295">
              <a:off x="1459248" y="4904357"/>
              <a:ext cx="328004" cy="223069"/>
            </a:xfrm>
            <a:custGeom>
              <a:avLst/>
              <a:gdLst>
                <a:gd name="connsiteX0" fmla="*/ 10574 w 328004"/>
                <a:gd name="connsiteY0" fmla="*/ 223069 h 223069"/>
                <a:gd name="connsiteX1" fmla="*/ 0 w 328004"/>
                <a:gd name="connsiteY1" fmla="*/ 208428 h 223069"/>
                <a:gd name="connsiteX2" fmla="*/ 192781 w 328004"/>
                <a:gd name="connsiteY2" fmla="*/ 27035 h 223069"/>
                <a:gd name="connsiteX3" fmla="*/ 227094 w 328004"/>
                <a:gd name="connsiteY3" fmla="*/ 0 h 223069"/>
                <a:gd name="connsiteX4" fmla="*/ 328004 w 328004"/>
                <a:gd name="connsiteY4" fmla="*/ 69948 h 223069"/>
                <a:gd name="connsiteX5" fmla="*/ 326080 w 328004"/>
                <a:gd name="connsiteY5" fmla="*/ 74925 h 223069"/>
                <a:gd name="connsiteX6" fmla="*/ 293645 w 328004"/>
                <a:gd name="connsiteY6" fmla="*/ 100243 h 223069"/>
                <a:gd name="connsiteX7" fmla="*/ 294458 w 328004"/>
                <a:gd name="connsiteY7" fmla="*/ 100243 h 223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8004" h="223069">
                  <a:moveTo>
                    <a:pt x="10574" y="223069"/>
                  </a:moveTo>
                  <a:lnTo>
                    <a:pt x="0" y="208428"/>
                  </a:lnTo>
                  <a:lnTo>
                    <a:pt x="192781" y="27035"/>
                  </a:lnTo>
                  <a:lnTo>
                    <a:pt x="227094" y="0"/>
                  </a:lnTo>
                  <a:lnTo>
                    <a:pt x="328004" y="69948"/>
                  </a:lnTo>
                  <a:lnTo>
                    <a:pt x="326080" y="74925"/>
                  </a:lnTo>
                  <a:cubicBezTo>
                    <a:pt x="317843" y="85805"/>
                    <a:pt x="306659" y="94549"/>
                    <a:pt x="293645" y="100243"/>
                  </a:cubicBezTo>
                  <a:lnTo>
                    <a:pt x="294458" y="10024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6" name="Forme libre : forme 545">
              <a:extLst>
                <a:ext uri="{FF2B5EF4-FFF2-40B4-BE49-F238E27FC236}">
                  <a16:creationId xmlns:a16="http://schemas.microsoft.com/office/drawing/2014/main" id="{2EF13EE3-4590-46FE-815C-89B113D51647}"/>
                </a:ext>
              </a:extLst>
            </p:cNvPr>
            <p:cNvSpPr/>
            <p:nvPr/>
          </p:nvSpPr>
          <p:spPr>
            <a:xfrm rot="8716295">
              <a:off x="1383191" y="474927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7" name="Forme libre : forme 546">
              <a:extLst>
                <a:ext uri="{FF2B5EF4-FFF2-40B4-BE49-F238E27FC236}">
                  <a16:creationId xmlns:a16="http://schemas.microsoft.com/office/drawing/2014/main" id="{ACF317BC-C487-48DA-AAF1-A734E1B80AFC}"/>
                </a:ext>
              </a:extLst>
            </p:cNvPr>
            <p:cNvSpPr/>
            <p:nvPr/>
          </p:nvSpPr>
          <p:spPr>
            <a:xfrm rot="8716295">
              <a:off x="1015027" y="479501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8" name="Forme libre : forme 547">
              <a:extLst>
                <a:ext uri="{FF2B5EF4-FFF2-40B4-BE49-F238E27FC236}">
                  <a16:creationId xmlns:a16="http://schemas.microsoft.com/office/drawing/2014/main" id="{B791FEAA-DC33-4F32-8880-340A058FD832}"/>
                </a:ext>
              </a:extLst>
            </p:cNvPr>
            <p:cNvSpPr/>
            <p:nvPr/>
          </p:nvSpPr>
          <p:spPr>
            <a:xfrm rot="8716295">
              <a:off x="1283609" y="455399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9" name="Forme libre : forme 548">
              <a:extLst>
                <a:ext uri="{FF2B5EF4-FFF2-40B4-BE49-F238E27FC236}">
                  <a16:creationId xmlns:a16="http://schemas.microsoft.com/office/drawing/2014/main" id="{E17616AF-8BAE-4050-B11F-682C7E2BF991}"/>
                </a:ext>
              </a:extLst>
            </p:cNvPr>
            <p:cNvSpPr/>
            <p:nvPr/>
          </p:nvSpPr>
          <p:spPr>
            <a:xfrm rot="8716295">
              <a:off x="-30381" y="3359388"/>
              <a:ext cx="98497" cy="75863"/>
            </a:xfrm>
            <a:custGeom>
              <a:avLst/>
              <a:gdLst>
                <a:gd name="connsiteX0" fmla="*/ 0 w 98497"/>
                <a:gd name="connsiteY0" fmla="*/ 75863 h 75863"/>
                <a:gd name="connsiteX1" fmla="*/ 0 w 98497"/>
                <a:gd name="connsiteY1" fmla="*/ 0 h 75863"/>
                <a:gd name="connsiteX2" fmla="*/ 98497 w 98497"/>
                <a:gd name="connsiteY2" fmla="*/ 0 h 75863"/>
                <a:gd name="connsiteX3" fmla="*/ 45911 w 98497"/>
                <a:gd name="connsiteY3" fmla="*/ 75863 h 75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497" h="75863">
                  <a:moveTo>
                    <a:pt x="0" y="75863"/>
                  </a:moveTo>
                  <a:lnTo>
                    <a:pt x="0" y="0"/>
                  </a:lnTo>
                  <a:lnTo>
                    <a:pt x="98497" y="0"/>
                  </a:lnTo>
                  <a:lnTo>
                    <a:pt x="45911" y="758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0" name="Forme libre : forme 549">
              <a:extLst>
                <a:ext uri="{FF2B5EF4-FFF2-40B4-BE49-F238E27FC236}">
                  <a16:creationId xmlns:a16="http://schemas.microsoft.com/office/drawing/2014/main" id="{F7A06632-7A82-4771-B4F7-5A48BC7BBB8C}"/>
                </a:ext>
              </a:extLst>
            </p:cNvPr>
            <p:cNvSpPr/>
            <p:nvPr/>
          </p:nvSpPr>
          <p:spPr>
            <a:xfrm rot="8716295">
              <a:off x="-77334" y="3178477"/>
              <a:ext cx="389652" cy="385611"/>
            </a:xfrm>
            <a:custGeom>
              <a:avLst/>
              <a:gdLst>
                <a:gd name="connsiteX0" fmla="*/ 77932 w 389652"/>
                <a:gd name="connsiteY0" fmla="*/ 385611 h 385611"/>
                <a:gd name="connsiteX1" fmla="*/ 77932 w 389652"/>
                <a:gd name="connsiteY1" fmla="*/ 69054 h 385611"/>
                <a:gd name="connsiteX2" fmla="*/ 0 w 389652"/>
                <a:gd name="connsiteY2" fmla="*/ 69054 h 385611"/>
                <a:gd name="connsiteX3" fmla="*/ 0 w 389652"/>
                <a:gd name="connsiteY3" fmla="*/ 2156 h 385611"/>
                <a:gd name="connsiteX4" fmla="*/ 158623 w 389652"/>
                <a:gd name="connsiteY4" fmla="*/ 2156 h 385611"/>
                <a:gd name="connsiteX5" fmla="*/ 158623 w 389652"/>
                <a:gd name="connsiteY5" fmla="*/ 113882 h 385611"/>
                <a:gd name="connsiteX6" fmla="*/ 160692 w 389652"/>
                <a:gd name="connsiteY6" fmla="*/ 113882 h 385611"/>
                <a:gd name="connsiteX7" fmla="*/ 233107 w 389652"/>
                <a:gd name="connsiteY7" fmla="*/ 9053 h 385611"/>
                <a:gd name="connsiteX8" fmla="*/ 280694 w 389652"/>
                <a:gd name="connsiteY8" fmla="*/ 87 h 385611"/>
                <a:gd name="connsiteX9" fmla="*/ 364230 w 389652"/>
                <a:gd name="connsiteY9" fmla="*/ 34398 h 385611"/>
                <a:gd name="connsiteX10" fmla="*/ 389652 w 389652"/>
                <a:gd name="connsiteY10" fmla="*/ 117977 h 385611"/>
                <a:gd name="connsiteX11" fmla="*/ 371473 w 389652"/>
                <a:gd name="connsiteY11" fmla="*/ 144202 h 385611"/>
                <a:gd name="connsiteX12" fmla="*/ 300695 w 389652"/>
                <a:gd name="connsiteY12" fmla="*/ 148366 h 385611"/>
                <a:gd name="connsiteX13" fmla="*/ 300695 w 389652"/>
                <a:gd name="connsiteY13" fmla="*/ 123538 h 385611"/>
                <a:gd name="connsiteX14" fmla="*/ 249659 w 389652"/>
                <a:gd name="connsiteY14" fmla="*/ 60778 h 385611"/>
                <a:gd name="connsiteX15" fmla="*/ 168969 w 389652"/>
                <a:gd name="connsiteY15" fmla="*/ 193194 h 385611"/>
                <a:gd name="connsiteX16" fmla="*/ 168969 w 389652"/>
                <a:gd name="connsiteY16" fmla="*/ 323541 h 385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89652" h="385611">
                  <a:moveTo>
                    <a:pt x="77932" y="385611"/>
                  </a:moveTo>
                  <a:lnTo>
                    <a:pt x="77932" y="69054"/>
                  </a:lnTo>
                  <a:lnTo>
                    <a:pt x="0" y="69054"/>
                  </a:lnTo>
                  <a:lnTo>
                    <a:pt x="0" y="2156"/>
                  </a:lnTo>
                  <a:lnTo>
                    <a:pt x="158623" y="2156"/>
                  </a:lnTo>
                  <a:lnTo>
                    <a:pt x="158623" y="113882"/>
                  </a:lnTo>
                  <a:lnTo>
                    <a:pt x="160692" y="113882"/>
                  </a:lnTo>
                  <a:cubicBezTo>
                    <a:pt x="182762" y="48364"/>
                    <a:pt x="200003" y="22846"/>
                    <a:pt x="233107" y="9053"/>
                  </a:cubicBezTo>
                  <a:cubicBezTo>
                    <a:pt x="248280" y="2846"/>
                    <a:pt x="264142" y="-602"/>
                    <a:pt x="280694" y="87"/>
                  </a:cubicBezTo>
                  <a:cubicBezTo>
                    <a:pt x="316212" y="-603"/>
                    <a:pt x="344661" y="11466"/>
                    <a:pt x="364230" y="34398"/>
                  </a:cubicBezTo>
                  <a:lnTo>
                    <a:pt x="389652" y="117977"/>
                  </a:lnTo>
                  <a:lnTo>
                    <a:pt x="371473" y="144202"/>
                  </a:lnTo>
                  <a:lnTo>
                    <a:pt x="300695" y="148366"/>
                  </a:lnTo>
                  <a:lnTo>
                    <a:pt x="300695" y="123538"/>
                  </a:lnTo>
                  <a:cubicBezTo>
                    <a:pt x="300695" y="86296"/>
                    <a:pt x="279315" y="60778"/>
                    <a:pt x="249659" y="60778"/>
                  </a:cubicBezTo>
                  <a:cubicBezTo>
                    <a:pt x="205521" y="60778"/>
                    <a:pt x="168969" y="119400"/>
                    <a:pt x="168969" y="193194"/>
                  </a:cubicBezTo>
                  <a:lnTo>
                    <a:pt x="168969" y="3235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1" name="Forme libre : forme 550">
              <a:extLst>
                <a:ext uri="{FF2B5EF4-FFF2-40B4-BE49-F238E27FC236}">
                  <a16:creationId xmlns:a16="http://schemas.microsoft.com/office/drawing/2014/main" id="{497925DD-6E6C-4259-BA1E-97C604ADFD78}"/>
                </a:ext>
              </a:extLst>
            </p:cNvPr>
            <p:cNvSpPr/>
            <p:nvPr/>
          </p:nvSpPr>
          <p:spPr>
            <a:xfrm rot="8716295">
              <a:off x="-71352" y="3029015"/>
              <a:ext cx="193594" cy="189959"/>
            </a:xfrm>
            <a:custGeom>
              <a:avLst/>
              <a:gdLst>
                <a:gd name="connsiteX0" fmla="*/ 8965 w 193594"/>
                <a:gd name="connsiteY0" fmla="*/ 189959 h 189959"/>
                <a:gd name="connsiteX1" fmla="*/ 0 w 193594"/>
                <a:gd name="connsiteY1" fmla="*/ 177545 h 189959"/>
                <a:gd name="connsiteX2" fmla="*/ 163451 w 193594"/>
                <a:gd name="connsiteY2" fmla="*/ 23749 h 189959"/>
                <a:gd name="connsiteX3" fmla="*/ 193594 w 193594"/>
                <a:gd name="connsiteY3" fmla="*/ 0 h 189959"/>
                <a:gd name="connsiteX4" fmla="*/ 84606 w 193594"/>
                <a:gd name="connsiteY4" fmla="*/ 157232 h 189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594" h="189959">
                  <a:moveTo>
                    <a:pt x="8965" y="189959"/>
                  </a:moveTo>
                  <a:lnTo>
                    <a:pt x="0" y="177545"/>
                  </a:lnTo>
                  <a:lnTo>
                    <a:pt x="163451" y="23749"/>
                  </a:lnTo>
                  <a:lnTo>
                    <a:pt x="193594" y="0"/>
                  </a:lnTo>
                  <a:lnTo>
                    <a:pt x="84606" y="15723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2" name="Forme libre : forme 551">
              <a:extLst>
                <a:ext uri="{FF2B5EF4-FFF2-40B4-BE49-F238E27FC236}">
                  <a16:creationId xmlns:a16="http://schemas.microsoft.com/office/drawing/2014/main" id="{E29BD41D-2F5C-497A-8BF9-AF2F5B2427C3}"/>
                </a:ext>
              </a:extLst>
            </p:cNvPr>
            <p:cNvSpPr/>
            <p:nvPr/>
          </p:nvSpPr>
          <p:spPr>
            <a:xfrm rot="8716295">
              <a:off x="223574" y="276232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3" name="Forme libre : forme 552">
              <a:extLst>
                <a:ext uri="{FF2B5EF4-FFF2-40B4-BE49-F238E27FC236}">
                  <a16:creationId xmlns:a16="http://schemas.microsoft.com/office/drawing/2014/main" id="{6A4C14F3-A2C0-4F87-AC82-3B459E04B788}"/>
                </a:ext>
              </a:extLst>
            </p:cNvPr>
            <p:cNvSpPr/>
            <p:nvPr/>
          </p:nvSpPr>
          <p:spPr>
            <a:xfrm rot="8716295">
              <a:off x="358873" y="2806579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4" name="Forme libre : forme 553">
              <a:extLst>
                <a:ext uri="{FF2B5EF4-FFF2-40B4-BE49-F238E27FC236}">
                  <a16:creationId xmlns:a16="http://schemas.microsoft.com/office/drawing/2014/main" id="{935BD79C-492F-44F8-B4F1-B103EB9A56A0}"/>
                </a:ext>
              </a:extLst>
            </p:cNvPr>
            <p:cNvSpPr/>
            <p:nvPr/>
          </p:nvSpPr>
          <p:spPr>
            <a:xfrm rot="8716295">
              <a:off x="53703" y="2896335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5" name="Forme libre : forme 554">
              <a:extLst>
                <a:ext uri="{FF2B5EF4-FFF2-40B4-BE49-F238E27FC236}">
                  <a16:creationId xmlns:a16="http://schemas.microsoft.com/office/drawing/2014/main" id="{20269E7A-5297-42E3-A791-BAD958B2ADF9}"/>
                </a:ext>
              </a:extLst>
            </p:cNvPr>
            <p:cNvSpPr/>
            <p:nvPr/>
          </p:nvSpPr>
          <p:spPr>
            <a:xfrm rot="8716295">
              <a:off x="-92201" y="2622488"/>
              <a:ext cx="271732" cy="238722"/>
            </a:xfrm>
            <a:custGeom>
              <a:avLst/>
              <a:gdLst>
                <a:gd name="connsiteX0" fmla="*/ 106257 w 271732"/>
                <a:gd name="connsiteY0" fmla="*/ 238722 h 238722"/>
                <a:gd name="connsiteX1" fmla="*/ 72418 w 271732"/>
                <a:gd name="connsiteY1" fmla="*/ 175766 h 238722"/>
                <a:gd name="connsiteX2" fmla="*/ 105610 w 271732"/>
                <a:gd name="connsiteY2" fmla="*/ 83734 h 238722"/>
                <a:gd name="connsiteX3" fmla="*/ 0 w 271732"/>
                <a:gd name="connsiteY3" fmla="*/ 83734 h 238722"/>
                <a:gd name="connsiteX4" fmla="*/ 0 w 271732"/>
                <a:gd name="connsiteY4" fmla="*/ 0 h 238722"/>
                <a:gd name="connsiteX5" fmla="*/ 271732 w 271732"/>
                <a:gd name="connsiteY5" fmla="*/ 0 h 238722"/>
                <a:gd name="connsiteX6" fmla="*/ 213690 w 271732"/>
                <a:gd name="connsiteY6" fmla="*/ 83734 h 238722"/>
                <a:gd name="connsiteX7" fmla="*/ 210465 w 271732"/>
                <a:gd name="connsiteY7" fmla="*/ 83734 h 238722"/>
                <a:gd name="connsiteX8" fmla="*/ 207289 w 271732"/>
                <a:gd name="connsiteY8" fmla="*/ 92969 h 238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1732" h="238722">
                  <a:moveTo>
                    <a:pt x="106257" y="238722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71732" y="0"/>
                  </a:lnTo>
                  <a:lnTo>
                    <a:pt x="213690" y="83734"/>
                  </a:lnTo>
                  <a:lnTo>
                    <a:pt x="210465" y="83734"/>
                  </a:lnTo>
                  <a:lnTo>
                    <a:pt x="207289" y="929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6" name="Forme libre : forme 555">
              <a:extLst>
                <a:ext uri="{FF2B5EF4-FFF2-40B4-BE49-F238E27FC236}">
                  <a16:creationId xmlns:a16="http://schemas.microsoft.com/office/drawing/2014/main" id="{F59E69C4-B8C8-4B2C-9ACE-4F40F98BFC84}"/>
                </a:ext>
              </a:extLst>
            </p:cNvPr>
            <p:cNvSpPr/>
            <p:nvPr/>
          </p:nvSpPr>
          <p:spPr>
            <a:xfrm rot="8716295">
              <a:off x="190192" y="2958318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7" name="Forme libre : forme 556">
              <a:extLst>
                <a:ext uri="{FF2B5EF4-FFF2-40B4-BE49-F238E27FC236}">
                  <a16:creationId xmlns:a16="http://schemas.microsoft.com/office/drawing/2014/main" id="{60A06DA4-F392-4C9B-B810-DC33F0E06EF7}"/>
                </a:ext>
              </a:extLst>
            </p:cNvPr>
            <p:cNvSpPr/>
            <p:nvPr/>
          </p:nvSpPr>
          <p:spPr>
            <a:xfrm rot="7484129">
              <a:off x="349009" y="324793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8" name="Forme libre : forme 557">
              <a:extLst>
                <a:ext uri="{FF2B5EF4-FFF2-40B4-BE49-F238E27FC236}">
                  <a16:creationId xmlns:a16="http://schemas.microsoft.com/office/drawing/2014/main" id="{AB6A2932-14BD-4774-A352-7D5D644B3B5A}"/>
                </a:ext>
              </a:extLst>
            </p:cNvPr>
            <p:cNvSpPr/>
            <p:nvPr/>
          </p:nvSpPr>
          <p:spPr>
            <a:xfrm rot="13089394">
              <a:off x="507659" y="3197284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9" name="Forme libre : forme 558">
              <a:extLst>
                <a:ext uri="{FF2B5EF4-FFF2-40B4-BE49-F238E27FC236}">
                  <a16:creationId xmlns:a16="http://schemas.microsoft.com/office/drawing/2014/main" id="{B0C0F300-8F87-4878-A242-83480CD0F594}"/>
                </a:ext>
              </a:extLst>
            </p:cNvPr>
            <p:cNvSpPr/>
            <p:nvPr/>
          </p:nvSpPr>
          <p:spPr>
            <a:xfrm rot="8716295">
              <a:off x="788550" y="2907166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0" name="Forme libre : forme 559">
              <a:extLst>
                <a:ext uri="{FF2B5EF4-FFF2-40B4-BE49-F238E27FC236}">
                  <a16:creationId xmlns:a16="http://schemas.microsoft.com/office/drawing/2014/main" id="{51D26EC8-7FBF-4DE9-AD62-79231B0281F0}"/>
                </a:ext>
              </a:extLst>
            </p:cNvPr>
            <p:cNvSpPr/>
            <p:nvPr/>
          </p:nvSpPr>
          <p:spPr>
            <a:xfrm rot="8716295">
              <a:off x="710141" y="275037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1" name="Forme libre : forme 560">
              <a:extLst>
                <a:ext uri="{FF2B5EF4-FFF2-40B4-BE49-F238E27FC236}">
                  <a16:creationId xmlns:a16="http://schemas.microsoft.com/office/drawing/2014/main" id="{DED5A4F2-08F4-473E-85B0-2FEDFE194CE3}"/>
                </a:ext>
              </a:extLst>
            </p:cNvPr>
            <p:cNvSpPr/>
            <p:nvPr/>
          </p:nvSpPr>
          <p:spPr>
            <a:xfrm rot="8716295">
              <a:off x="341977" y="279611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2" name="Forme libre : forme 561">
              <a:extLst>
                <a:ext uri="{FF2B5EF4-FFF2-40B4-BE49-F238E27FC236}">
                  <a16:creationId xmlns:a16="http://schemas.microsoft.com/office/drawing/2014/main" id="{8A2A6A83-C634-477C-AA7B-D4BF2D37CB9F}"/>
                </a:ext>
              </a:extLst>
            </p:cNvPr>
            <p:cNvSpPr/>
            <p:nvPr/>
          </p:nvSpPr>
          <p:spPr>
            <a:xfrm rot="8716295">
              <a:off x="610559" y="2555095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3" name="Forme libre : forme 562">
              <a:extLst>
                <a:ext uri="{FF2B5EF4-FFF2-40B4-BE49-F238E27FC236}">
                  <a16:creationId xmlns:a16="http://schemas.microsoft.com/office/drawing/2014/main" id="{C7E28CB5-C215-4110-A37F-DBD52F99C5AA}"/>
                </a:ext>
              </a:extLst>
            </p:cNvPr>
            <p:cNvSpPr/>
            <p:nvPr/>
          </p:nvSpPr>
          <p:spPr>
            <a:xfrm rot="8716295">
              <a:off x="-24305" y="2374348"/>
              <a:ext cx="58950" cy="66898"/>
            </a:xfrm>
            <a:custGeom>
              <a:avLst/>
              <a:gdLst>
                <a:gd name="connsiteX0" fmla="*/ 0 w 58950"/>
                <a:gd name="connsiteY0" fmla="*/ 66898 h 66898"/>
                <a:gd name="connsiteX1" fmla="*/ 0 w 58950"/>
                <a:gd name="connsiteY1" fmla="*/ 0 h 66898"/>
                <a:gd name="connsiteX2" fmla="*/ 58950 w 58950"/>
                <a:gd name="connsiteY2" fmla="*/ 0 h 66898"/>
                <a:gd name="connsiteX3" fmla="*/ 12579 w 58950"/>
                <a:gd name="connsiteY3" fmla="*/ 66898 h 6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950" h="66898">
                  <a:moveTo>
                    <a:pt x="0" y="66898"/>
                  </a:moveTo>
                  <a:lnTo>
                    <a:pt x="0" y="0"/>
                  </a:lnTo>
                  <a:lnTo>
                    <a:pt x="58950" y="0"/>
                  </a:lnTo>
                  <a:lnTo>
                    <a:pt x="12579" y="668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4" name="Forme libre : forme 563">
              <a:extLst>
                <a:ext uri="{FF2B5EF4-FFF2-40B4-BE49-F238E27FC236}">
                  <a16:creationId xmlns:a16="http://schemas.microsoft.com/office/drawing/2014/main" id="{446F17DC-5A7F-43EF-8C54-EB403552B710}"/>
                </a:ext>
              </a:extLst>
            </p:cNvPr>
            <p:cNvSpPr/>
            <p:nvPr/>
          </p:nvSpPr>
          <p:spPr>
            <a:xfrm rot="8716295">
              <a:off x="-39593" y="1952072"/>
              <a:ext cx="198050" cy="140164"/>
            </a:xfrm>
            <a:custGeom>
              <a:avLst/>
              <a:gdLst>
                <a:gd name="connsiteX0" fmla="*/ 0 w 198050"/>
                <a:gd name="connsiteY0" fmla="*/ 75863 h 140164"/>
                <a:gd name="connsiteX1" fmla="*/ 0 w 198050"/>
                <a:gd name="connsiteY1" fmla="*/ 0 h 140164"/>
                <a:gd name="connsiteX2" fmla="*/ 128968 w 198050"/>
                <a:gd name="connsiteY2" fmla="*/ 0 h 140164"/>
                <a:gd name="connsiteX3" fmla="*/ 193021 w 198050"/>
                <a:gd name="connsiteY3" fmla="*/ 18535 h 140164"/>
                <a:gd name="connsiteX4" fmla="*/ 198050 w 198050"/>
                <a:gd name="connsiteY4" fmla="*/ 31548 h 140164"/>
                <a:gd name="connsiteX5" fmla="*/ 122761 w 198050"/>
                <a:gd name="connsiteY5" fmla="*/ 140164 h 140164"/>
                <a:gd name="connsiteX6" fmla="*/ 122761 w 198050"/>
                <a:gd name="connsiteY6" fmla="*/ 105519 h 140164"/>
                <a:gd name="connsiteX7" fmla="*/ 122761 w 198050"/>
                <a:gd name="connsiteY7" fmla="*/ 99312 h 140164"/>
                <a:gd name="connsiteX8" fmla="*/ 91726 w 198050"/>
                <a:gd name="connsiteY8" fmla="*/ 75863 h 140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8050" h="140164">
                  <a:moveTo>
                    <a:pt x="0" y="75863"/>
                  </a:moveTo>
                  <a:lnTo>
                    <a:pt x="0" y="0"/>
                  </a:lnTo>
                  <a:lnTo>
                    <a:pt x="128968" y="0"/>
                  </a:lnTo>
                  <a:cubicBezTo>
                    <a:pt x="156900" y="0"/>
                    <a:pt x="178452" y="6034"/>
                    <a:pt x="193021" y="18535"/>
                  </a:cubicBezTo>
                  <a:lnTo>
                    <a:pt x="198050" y="31548"/>
                  </a:lnTo>
                  <a:lnTo>
                    <a:pt x="122761" y="140164"/>
                  </a:ln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4"/>
                    <a:pt x="91726" y="758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5" name="Forme libre : forme 564">
              <a:extLst>
                <a:ext uri="{FF2B5EF4-FFF2-40B4-BE49-F238E27FC236}">
                  <a16:creationId xmlns:a16="http://schemas.microsoft.com/office/drawing/2014/main" id="{CE6D21DD-4C35-491F-883F-DFE604B382BF}"/>
                </a:ext>
              </a:extLst>
            </p:cNvPr>
            <p:cNvSpPr/>
            <p:nvPr/>
          </p:nvSpPr>
          <p:spPr>
            <a:xfrm rot="8716295">
              <a:off x="21100" y="1808096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6" name="Forme libre : forme 565">
              <a:extLst>
                <a:ext uri="{FF2B5EF4-FFF2-40B4-BE49-F238E27FC236}">
                  <a16:creationId xmlns:a16="http://schemas.microsoft.com/office/drawing/2014/main" id="{162C0E93-A925-40E7-B101-4C145B43E018}"/>
                </a:ext>
              </a:extLst>
            </p:cNvPr>
            <p:cNvSpPr/>
            <p:nvPr/>
          </p:nvSpPr>
          <p:spPr>
            <a:xfrm rot="8716295">
              <a:off x="-24330" y="2197782"/>
              <a:ext cx="102508" cy="53362"/>
            </a:xfrm>
            <a:custGeom>
              <a:avLst/>
              <a:gdLst>
                <a:gd name="connsiteX0" fmla="*/ 0 w 102508"/>
                <a:gd name="connsiteY0" fmla="*/ 23637 h 53362"/>
                <a:gd name="connsiteX1" fmla="*/ 0 w 102508"/>
                <a:gd name="connsiteY1" fmla="*/ 2258 h 53362"/>
                <a:gd name="connsiteX2" fmla="*/ 102508 w 102508"/>
                <a:gd name="connsiteY2" fmla="*/ 0 h 53362"/>
                <a:gd name="connsiteX3" fmla="*/ 65519 w 102508"/>
                <a:gd name="connsiteY3" fmla="*/ 53362 h 53362"/>
                <a:gd name="connsiteX4" fmla="*/ 65519 w 102508"/>
                <a:gd name="connsiteY4" fmla="*/ 23637 h 5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508" h="53362">
                  <a:moveTo>
                    <a:pt x="0" y="23637"/>
                  </a:moveTo>
                  <a:lnTo>
                    <a:pt x="0" y="2258"/>
                  </a:lnTo>
                  <a:lnTo>
                    <a:pt x="102508" y="0"/>
                  </a:lnTo>
                  <a:lnTo>
                    <a:pt x="65519" y="53362"/>
                  </a:lnTo>
                  <a:lnTo>
                    <a:pt x="65519" y="2363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7" name="Forme libre : forme 566">
              <a:extLst>
                <a:ext uri="{FF2B5EF4-FFF2-40B4-BE49-F238E27FC236}">
                  <a16:creationId xmlns:a16="http://schemas.microsoft.com/office/drawing/2014/main" id="{39C657D0-D62F-4F7C-A612-53DB4B79E5E3}"/>
                </a:ext>
              </a:extLst>
            </p:cNvPr>
            <p:cNvSpPr/>
            <p:nvPr/>
          </p:nvSpPr>
          <p:spPr>
            <a:xfrm rot="7484129">
              <a:off x="11236" y="224945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8" name="Forme libre : forme 567">
              <a:extLst>
                <a:ext uri="{FF2B5EF4-FFF2-40B4-BE49-F238E27FC236}">
                  <a16:creationId xmlns:a16="http://schemas.microsoft.com/office/drawing/2014/main" id="{23C2327F-1812-4891-A555-8CFAF24BC9F9}"/>
                </a:ext>
              </a:extLst>
            </p:cNvPr>
            <p:cNvSpPr/>
            <p:nvPr/>
          </p:nvSpPr>
          <p:spPr>
            <a:xfrm rot="13089394">
              <a:off x="169886" y="2198801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9" name="Forme libre : forme 568">
              <a:extLst>
                <a:ext uri="{FF2B5EF4-FFF2-40B4-BE49-F238E27FC236}">
                  <a16:creationId xmlns:a16="http://schemas.microsoft.com/office/drawing/2014/main" id="{E72BEF7B-6435-411F-BE32-BB8EAB9D905E}"/>
                </a:ext>
              </a:extLst>
            </p:cNvPr>
            <p:cNvSpPr/>
            <p:nvPr/>
          </p:nvSpPr>
          <p:spPr>
            <a:xfrm rot="8716295">
              <a:off x="450777" y="1908683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0" name="Forme libre : forme 569">
              <a:extLst>
                <a:ext uri="{FF2B5EF4-FFF2-40B4-BE49-F238E27FC236}">
                  <a16:creationId xmlns:a16="http://schemas.microsoft.com/office/drawing/2014/main" id="{DE1DA05C-2419-4744-8AE0-392B948F57E7}"/>
                </a:ext>
              </a:extLst>
            </p:cNvPr>
            <p:cNvSpPr/>
            <p:nvPr/>
          </p:nvSpPr>
          <p:spPr>
            <a:xfrm rot="8716295">
              <a:off x="372368" y="175189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1" name="Forme libre : forme 570">
              <a:extLst>
                <a:ext uri="{FF2B5EF4-FFF2-40B4-BE49-F238E27FC236}">
                  <a16:creationId xmlns:a16="http://schemas.microsoft.com/office/drawing/2014/main" id="{337322B4-128F-4422-98A6-2E33A9550E4C}"/>
                </a:ext>
              </a:extLst>
            </p:cNvPr>
            <p:cNvSpPr/>
            <p:nvPr/>
          </p:nvSpPr>
          <p:spPr>
            <a:xfrm rot="8716295">
              <a:off x="4204" y="179763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2" name="Forme libre : forme 571">
              <a:extLst>
                <a:ext uri="{FF2B5EF4-FFF2-40B4-BE49-F238E27FC236}">
                  <a16:creationId xmlns:a16="http://schemas.microsoft.com/office/drawing/2014/main" id="{595DF5B3-B2D1-4308-B916-9800ADEDFEAC}"/>
                </a:ext>
              </a:extLst>
            </p:cNvPr>
            <p:cNvSpPr/>
            <p:nvPr/>
          </p:nvSpPr>
          <p:spPr>
            <a:xfrm rot="8716295">
              <a:off x="272786" y="155661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3" name="Forme libre : forme 572">
              <a:extLst>
                <a:ext uri="{FF2B5EF4-FFF2-40B4-BE49-F238E27FC236}">
                  <a16:creationId xmlns:a16="http://schemas.microsoft.com/office/drawing/2014/main" id="{93A9ECEA-4D95-4585-ACB4-69C0DE623EDA}"/>
                </a:ext>
              </a:extLst>
            </p:cNvPr>
            <p:cNvSpPr/>
            <p:nvPr/>
          </p:nvSpPr>
          <p:spPr>
            <a:xfrm rot="8716295">
              <a:off x="-35149" y="938156"/>
              <a:ext cx="158623" cy="159016"/>
            </a:xfrm>
            <a:custGeom>
              <a:avLst/>
              <a:gdLst>
                <a:gd name="connsiteX0" fmla="*/ 77932 w 158623"/>
                <a:gd name="connsiteY0" fmla="*/ 159016 h 159016"/>
                <a:gd name="connsiteX1" fmla="*/ 77932 w 158623"/>
                <a:gd name="connsiteY1" fmla="*/ 66898 h 159016"/>
                <a:gd name="connsiteX2" fmla="*/ 0 w 158623"/>
                <a:gd name="connsiteY2" fmla="*/ 66898 h 159016"/>
                <a:gd name="connsiteX3" fmla="*/ 0 w 158623"/>
                <a:gd name="connsiteY3" fmla="*/ 0 h 159016"/>
                <a:gd name="connsiteX4" fmla="*/ 158623 w 158623"/>
                <a:gd name="connsiteY4" fmla="*/ 0 h 159016"/>
                <a:gd name="connsiteX5" fmla="*/ 158623 w 158623"/>
                <a:gd name="connsiteY5" fmla="*/ 42606 h 15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8623" h="159016">
                  <a:moveTo>
                    <a:pt x="77932" y="159016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4260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4" name="Forme libre : forme 573">
              <a:extLst>
                <a:ext uri="{FF2B5EF4-FFF2-40B4-BE49-F238E27FC236}">
                  <a16:creationId xmlns:a16="http://schemas.microsoft.com/office/drawing/2014/main" id="{8B3F0D63-11FD-4E8B-94AA-29A3E1B840B5}"/>
                </a:ext>
              </a:extLst>
            </p:cNvPr>
            <p:cNvSpPr/>
            <p:nvPr/>
          </p:nvSpPr>
          <p:spPr>
            <a:xfrm rot="7484129">
              <a:off x="-32979" y="1345537"/>
              <a:ext cx="65961" cy="45734"/>
            </a:xfrm>
            <a:custGeom>
              <a:avLst/>
              <a:gdLst>
                <a:gd name="connsiteX0" fmla="*/ 0 w 65961"/>
                <a:gd name="connsiteY0" fmla="*/ 45734 h 45734"/>
                <a:gd name="connsiteX1" fmla="*/ 0 w 65961"/>
                <a:gd name="connsiteY1" fmla="*/ 0 h 45734"/>
                <a:gd name="connsiteX2" fmla="*/ 65961 w 65961"/>
                <a:gd name="connsiteY2" fmla="*/ 0 h 45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5961" h="45734">
                  <a:moveTo>
                    <a:pt x="0" y="45734"/>
                  </a:moveTo>
                  <a:lnTo>
                    <a:pt x="0" y="0"/>
                  </a:lnTo>
                  <a:lnTo>
                    <a:pt x="6596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5" name="Forme libre : forme 574">
              <a:extLst>
                <a:ext uri="{FF2B5EF4-FFF2-40B4-BE49-F238E27FC236}">
                  <a16:creationId xmlns:a16="http://schemas.microsoft.com/office/drawing/2014/main" id="{3995846C-C66B-490D-8C5F-179A05C89C6A}"/>
                </a:ext>
              </a:extLst>
            </p:cNvPr>
            <p:cNvSpPr/>
            <p:nvPr/>
          </p:nvSpPr>
          <p:spPr>
            <a:xfrm rot="13089394">
              <a:off x="-134707" y="1200752"/>
              <a:ext cx="386820" cy="481345"/>
            </a:xfrm>
            <a:custGeom>
              <a:avLst/>
              <a:gdLst>
                <a:gd name="connsiteX0" fmla="*/ 386820 w 386820"/>
                <a:gd name="connsiteY0" fmla="*/ 391818 h 481345"/>
                <a:gd name="connsiteX1" fmla="*/ 342166 w 386820"/>
                <a:gd name="connsiteY1" fmla="*/ 422376 h 481345"/>
                <a:gd name="connsiteX2" fmla="*/ 138636 w 386820"/>
                <a:gd name="connsiteY2" fmla="*/ 481098 h 481345"/>
                <a:gd name="connsiteX3" fmla="*/ 35911 w 386820"/>
                <a:gd name="connsiteY3" fmla="*/ 439340 h 481345"/>
                <a:gd name="connsiteX4" fmla="*/ 0 w 386820"/>
                <a:gd name="connsiteY4" fmla="*/ 295693 h 481345"/>
                <a:gd name="connsiteX5" fmla="*/ 0 w 386820"/>
                <a:gd name="connsiteY5" fmla="*/ 40970 h 481345"/>
                <a:gd name="connsiteX6" fmla="*/ 78970 w 386820"/>
                <a:gd name="connsiteY6" fmla="*/ 0 h 481345"/>
                <a:gd name="connsiteX7" fmla="*/ 111492 w 386820"/>
                <a:gd name="connsiteY7" fmla="*/ 41392 h 481345"/>
                <a:gd name="connsiteX8" fmla="*/ 112747 w 386820"/>
                <a:gd name="connsiteY8" fmla="*/ 216353 h 481345"/>
                <a:gd name="connsiteX9" fmla="*/ 132789 w 386820"/>
                <a:gd name="connsiteY9" fmla="*/ 354990 h 481345"/>
                <a:gd name="connsiteX10" fmla="*/ 233008 w 386820"/>
                <a:gd name="connsiteY10" fmla="*/ 410110 h 481345"/>
                <a:gd name="connsiteX11" fmla="*/ 308173 w 386820"/>
                <a:gd name="connsiteY11" fmla="*/ 396747 h 481345"/>
                <a:gd name="connsiteX12" fmla="*/ 370717 w 386820"/>
                <a:gd name="connsiteY12" fmla="*/ 371323 h 481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6820" h="481345">
                  <a:moveTo>
                    <a:pt x="386820" y="391818"/>
                  </a:moveTo>
                  <a:lnTo>
                    <a:pt x="342166" y="422376"/>
                  </a:lnTo>
                  <a:cubicBezTo>
                    <a:pt x="268920" y="462151"/>
                    <a:pt x="190624" y="477966"/>
                    <a:pt x="138636" y="481098"/>
                  </a:cubicBezTo>
                  <a:cubicBezTo>
                    <a:pt x="100219" y="483604"/>
                    <a:pt x="62637" y="466901"/>
                    <a:pt x="35911" y="439340"/>
                  </a:cubicBezTo>
                  <a:cubicBezTo>
                    <a:pt x="7516" y="411780"/>
                    <a:pt x="0" y="364176"/>
                    <a:pt x="0" y="295693"/>
                  </a:cubicBezTo>
                  <a:lnTo>
                    <a:pt x="0" y="40970"/>
                  </a:lnTo>
                  <a:lnTo>
                    <a:pt x="78970" y="0"/>
                  </a:lnTo>
                  <a:lnTo>
                    <a:pt x="111492" y="41392"/>
                  </a:lnTo>
                  <a:lnTo>
                    <a:pt x="112747" y="216353"/>
                  </a:lnTo>
                  <a:cubicBezTo>
                    <a:pt x="110241" y="263122"/>
                    <a:pt x="117757" y="310726"/>
                    <a:pt x="132789" y="354990"/>
                  </a:cubicBezTo>
                  <a:cubicBezTo>
                    <a:pt x="146153" y="391736"/>
                    <a:pt x="180394" y="410110"/>
                    <a:pt x="233008" y="410110"/>
                  </a:cubicBezTo>
                  <a:cubicBezTo>
                    <a:pt x="258899" y="409274"/>
                    <a:pt x="283953" y="404263"/>
                    <a:pt x="308173" y="396747"/>
                  </a:cubicBezTo>
                  <a:lnTo>
                    <a:pt x="370717" y="371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6" name="Forme libre : forme 575">
              <a:extLst>
                <a:ext uri="{FF2B5EF4-FFF2-40B4-BE49-F238E27FC236}">
                  <a16:creationId xmlns:a16="http://schemas.microsoft.com/office/drawing/2014/main" id="{526F0D4E-209F-45B7-8D0B-5F52AEBBFFB5}"/>
                </a:ext>
              </a:extLst>
            </p:cNvPr>
            <p:cNvSpPr/>
            <p:nvPr/>
          </p:nvSpPr>
          <p:spPr>
            <a:xfrm rot="8716295">
              <a:off x="119403" y="90662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7" name="Forme libre : forme 576">
              <a:extLst>
                <a:ext uri="{FF2B5EF4-FFF2-40B4-BE49-F238E27FC236}">
                  <a16:creationId xmlns:a16="http://schemas.microsoft.com/office/drawing/2014/main" id="{E4487EF6-2C0D-4ADC-9B8D-2F6D6193CD68}"/>
                </a:ext>
              </a:extLst>
            </p:cNvPr>
            <p:cNvSpPr/>
            <p:nvPr/>
          </p:nvSpPr>
          <p:spPr>
            <a:xfrm rot="8716295">
              <a:off x="40994" y="74983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8" name="Forme libre : forme 577">
              <a:extLst>
                <a:ext uri="{FF2B5EF4-FFF2-40B4-BE49-F238E27FC236}">
                  <a16:creationId xmlns:a16="http://schemas.microsoft.com/office/drawing/2014/main" id="{7C0A915F-CAC9-450A-B192-FAACB7FBD55B}"/>
                </a:ext>
              </a:extLst>
            </p:cNvPr>
            <p:cNvSpPr/>
            <p:nvPr/>
          </p:nvSpPr>
          <p:spPr>
            <a:xfrm rot="8716295">
              <a:off x="-44934" y="551941"/>
              <a:ext cx="152592" cy="165412"/>
            </a:xfrm>
            <a:custGeom>
              <a:avLst/>
              <a:gdLst>
                <a:gd name="connsiteX0" fmla="*/ 26453 w 152592"/>
                <a:gd name="connsiteY0" fmla="*/ 153143 h 165412"/>
                <a:gd name="connsiteX1" fmla="*/ 0 w 152592"/>
                <a:gd name="connsiteY1" fmla="*/ 90494 h 165412"/>
                <a:gd name="connsiteX2" fmla="*/ 0 w 152592"/>
                <a:gd name="connsiteY2" fmla="*/ 89101 h 165412"/>
                <a:gd name="connsiteX3" fmla="*/ 26453 w 152592"/>
                <a:gd name="connsiteY3" fmla="*/ 26453 h 165412"/>
                <a:gd name="connsiteX4" fmla="*/ 89101 w 152592"/>
                <a:gd name="connsiteY4" fmla="*/ 0 h 165412"/>
                <a:gd name="connsiteX5" fmla="*/ 151752 w 152592"/>
                <a:gd name="connsiteY5" fmla="*/ 26453 h 165412"/>
                <a:gd name="connsiteX6" fmla="*/ 152592 w 152592"/>
                <a:gd name="connsiteY6" fmla="*/ 27688 h 165412"/>
                <a:gd name="connsiteX7" fmla="*/ 57126 w 152592"/>
                <a:gd name="connsiteY7" fmla="*/ 165412 h 165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592" h="165412">
                  <a:moveTo>
                    <a:pt x="26453" y="153143"/>
                  </a:moveTo>
                  <a:cubicBezTo>
                    <a:pt x="9746" y="136436"/>
                    <a:pt x="0" y="114161"/>
                    <a:pt x="0" y="90494"/>
                  </a:cubicBezTo>
                  <a:lnTo>
                    <a:pt x="0" y="89101"/>
                  </a:lnTo>
                  <a:cubicBezTo>
                    <a:pt x="0" y="65434"/>
                    <a:pt x="9746" y="43159"/>
                    <a:pt x="26453" y="26453"/>
                  </a:cubicBezTo>
                  <a:cubicBezTo>
                    <a:pt x="43159" y="9746"/>
                    <a:pt x="65435" y="0"/>
                    <a:pt x="89101" y="0"/>
                  </a:cubicBezTo>
                  <a:cubicBezTo>
                    <a:pt x="112770" y="0"/>
                    <a:pt x="135045" y="9746"/>
                    <a:pt x="151752" y="26453"/>
                  </a:cubicBezTo>
                  <a:lnTo>
                    <a:pt x="152592" y="27688"/>
                  </a:lnTo>
                  <a:lnTo>
                    <a:pt x="57126" y="1654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9" name="Forme libre : forme 578">
              <a:extLst>
                <a:ext uri="{FF2B5EF4-FFF2-40B4-BE49-F238E27FC236}">
                  <a16:creationId xmlns:a16="http://schemas.microsoft.com/office/drawing/2014/main" id="{F58403BF-2302-4726-985B-EDA0C69E1FA1}"/>
                </a:ext>
              </a:extLst>
            </p:cNvPr>
            <p:cNvSpPr/>
            <p:nvPr/>
          </p:nvSpPr>
          <p:spPr>
            <a:xfrm rot="8716295">
              <a:off x="-69806" y="4587027"/>
              <a:ext cx="183810" cy="187594"/>
            </a:xfrm>
            <a:custGeom>
              <a:avLst/>
              <a:gdLst>
                <a:gd name="connsiteX0" fmla="*/ 10574 w 183810"/>
                <a:gd name="connsiteY0" fmla="*/ 187594 h 187594"/>
                <a:gd name="connsiteX1" fmla="*/ 0 w 183810"/>
                <a:gd name="connsiteY1" fmla="*/ 172952 h 187594"/>
                <a:gd name="connsiteX2" fmla="*/ 183810 w 183810"/>
                <a:gd name="connsiteY2" fmla="*/ 0 h 187594"/>
                <a:gd name="connsiteX3" fmla="*/ 72284 w 183810"/>
                <a:gd name="connsiteY3" fmla="*/ 160894 h 187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810" h="187594">
                  <a:moveTo>
                    <a:pt x="10574" y="187594"/>
                  </a:moveTo>
                  <a:lnTo>
                    <a:pt x="0" y="172952"/>
                  </a:lnTo>
                  <a:lnTo>
                    <a:pt x="183810" y="0"/>
                  </a:lnTo>
                  <a:lnTo>
                    <a:pt x="72284" y="1608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0" name="Forme libre : forme 579">
              <a:extLst>
                <a:ext uri="{FF2B5EF4-FFF2-40B4-BE49-F238E27FC236}">
                  <a16:creationId xmlns:a16="http://schemas.microsoft.com/office/drawing/2014/main" id="{BDEDB1D6-CD3F-4286-9F37-FC31932639CB}"/>
                </a:ext>
              </a:extLst>
            </p:cNvPr>
            <p:cNvSpPr/>
            <p:nvPr/>
          </p:nvSpPr>
          <p:spPr>
            <a:xfrm rot="8716295">
              <a:off x="4450621" y="307495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1" name="Forme libre : forme 580">
              <a:extLst>
                <a:ext uri="{FF2B5EF4-FFF2-40B4-BE49-F238E27FC236}">
                  <a16:creationId xmlns:a16="http://schemas.microsoft.com/office/drawing/2014/main" id="{4AAFF489-2EF8-4A1D-A5BE-9FFA1F256B78}"/>
                </a:ext>
              </a:extLst>
            </p:cNvPr>
            <p:cNvSpPr/>
            <p:nvPr/>
          </p:nvSpPr>
          <p:spPr>
            <a:xfrm rot="8716295">
              <a:off x="4585920" y="3119209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2" name="Forme libre : forme 581">
              <a:extLst>
                <a:ext uri="{FF2B5EF4-FFF2-40B4-BE49-F238E27FC236}">
                  <a16:creationId xmlns:a16="http://schemas.microsoft.com/office/drawing/2014/main" id="{08C5AAF3-2EAB-4F45-9664-88E9C0000541}"/>
                </a:ext>
              </a:extLst>
            </p:cNvPr>
            <p:cNvSpPr/>
            <p:nvPr/>
          </p:nvSpPr>
          <p:spPr>
            <a:xfrm rot="8716295">
              <a:off x="4518038" y="2988621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3" name="Forme libre : forme 582">
              <a:extLst>
                <a:ext uri="{FF2B5EF4-FFF2-40B4-BE49-F238E27FC236}">
                  <a16:creationId xmlns:a16="http://schemas.microsoft.com/office/drawing/2014/main" id="{638603A9-A80C-466B-8956-7709A279FB5A}"/>
                </a:ext>
              </a:extLst>
            </p:cNvPr>
            <p:cNvSpPr/>
            <p:nvPr/>
          </p:nvSpPr>
          <p:spPr>
            <a:xfrm rot="8716295">
              <a:off x="4280750" y="3208965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4" name="Forme libre : forme 583">
              <a:extLst>
                <a:ext uri="{FF2B5EF4-FFF2-40B4-BE49-F238E27FC236}">
                  <a16:creationId xmlns:a16="http://schemas.microsoft.com/office/drawing/2014/main" id="{A8E33E04-89D6-4F98-BAEF-EDE8630206B1}"/>
                </a:ext>
              </a:extLst>
            </p:cNvPr>
            <p:cNvSpPr/>
            <p:nvPr/>
          </p:nvSpPr>
          <p:spPr>
            <a:xfrm rot="8716295">
              <a:off x="4091704" y="289313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5" name="Forme libre : forme 584">
              <a:extLst>
                <a:ext uri="{FF2B5EF4-FFF2-40B4-BE49-F238E27FC236}">
                  <a16:creationId xmlns:a16="http://schemas.microsoft.com/office/drawing/2014/main" id="{A7666627-38C9-4B80-8E99-5407F0D530DB}"/>
                </a:ext>
              </a:extLst>
            </p:cNvPr>
            <p:cNvSpPr/>
            <p:nvPr/>
          </p:nvSpPr>
          <p:spPr>
            <a:xfrm rot="8716295">
              <a:off x="4073463" y="2683080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6" name="Forme libre : forme 585">
              <a:extLst>
                <a:ext uri="{FF2B5EF4-FFF2-40B4-BE49-F238E27FC236}">
                  <a16:creationId xmlns:a16="http://schemas.microsoft.com/office/drawing/2014/main" id="{898A3276-9FA7-4E65-A5A0-224B87B17902}"/>
                </a:ext>
              </a:extLst>
            </p:cNvPr>
            <p:cNvSpPr/>
            <p:nvPr/>
          </p:nvSpPr>
          <p:spPr>
            <a:xfrm rot="8716295">
              <a:off x="4417239" y="327094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7" name="Forme libre : forme 586">
              <a:extLst>
                <a:ext uri="{FF2B5EF4-FFF2-40B4-BE49-F238E27FC236}">
                  <a16:creationId xmlns:a16="http://schemas.microsoft.com/office/drawing/2014/main" id="{CF0A1147-FB9D-46F4-871B-248D48678B41}"/>
                </a:ext>
              </a:extLst>
            </p:cNvPr>
            <p:cNvSpPr/>
            <p:nvPr/>
          </p:nvSpPr>
          <p:spPr>
            <a:xfrm rot="8716295">
              <a:off x="4888185" y="2696334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8" name="Forme libre : forme 587">
              <a:extLst>
                <a:ext uri="{FF2B5EF4-FFF2-40B4-BE49-F238E27FC236}">
                  <a16:creationId xmlns:a16="http://schemas.microsoft.com/office/drawing/2014/main" id="{6D3AA320-C4A1-450B-B139-FAA6B857C782}"/>
                </a:ext>
              </a:extLst>
            </p:cNvPr>
            <p:cNvSpPr/>
            <p:nvPr/>
          </p:nvSpPr>
          <p:spPr>
            <a:xfrm rot="8716295">
              <a:off x="5023484" y="2740593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9" name="Forme libre : forme 588">
              <a:extLst>
                <a:ext uri="{FF2B5EF4-FFF2-40B4-BE49-F238E27FC236}">
                  <a16:creationId xmlns:a16="http://schemas.microsoft.com/office/drawing/2014/main" id="{2F150BFB-64B1-4976-855B-5F1B82B29D1E}"/>
                </a:ext>
              </a:extLst>
            </p:cNvPr>
            <p:cNvSpPr/>
            <p:nvPr/>
          </p:nvSpPr>
          <p:spPr>
            <a:xfrm rot="8716295">
              <a:off x="4718314" y="283034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0" name="Forme libre : forme 589">
              <a:extLst>
                <a:ext uri="{FF2B5EF4-FFF2-40B4-BE49-F238E27FC236}">
                  <a16:creationId xmlns:a16="http://schemas.microsoft.com/office/drawing/2014/main" id="{8612B4F0-1F44-4CE1-88B9-E057888AB1EF}"/>
                </a:ext>
              </a:extLst>
            </p:cNvPr>
            <p:cNvSpPr/>
            <p:nvPr/>
          </p:nvSpPr>
          <p:spPr>
            <a:xfrm rot="8716295">
              <a:off x="4529270" y="251451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1" name="Forme libre : forme 590">
              <a:extLst>
                <a:ext uri="{FF2B5EF4-FFF2-40B4-BE49-F238E27FC236}">
                  <a16:creationId xmlns:a16="http://schemas.microsoft.com/office/drawing/2014/main" id="{AEBD3D06-0DA7-425C-875C-E411E70FF11D}"/>
                </a:ext>
              </a:extLst>
            </p:cNvPr>
            <p:cNvSpPr/>
            <p:nvPr/>
          </p:nvSpPr>
          <p:spPr>
            <a:xfrm rot="8716295">
              <a:off x="4854803" y="2892332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2" name="Forme libre : forme 591">
              <a:extLst>
                <a:ext uri="{FF2B5EF4-FFF2-40B4-BE49-F238E27FC236}">
                  <a16:creationId xmlns:a16="http://schemas.microsoft.com/office/drawing/2014/main" id="{9199237A-0E56-4FAF-BB9D-EF00685C58E3}"/>
                </a:ext>
              </a:extLst>
            </p:cNvPr>
            <p:cNvSpPr/>
            <p:nvPr/>
          </p:nvSpPr>
          <p:spPr>
            <a:xfrm rot="8716295">
              <a:off x="4489356" y="2665906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3" name="Forme libre : forme 592">
              <a:extLst>
                <a:ext uri="{FF2B5EF4-FFF2-40B4-BE49-F238E27FC236}">
                  <a16:creationId xmlns:a16="http://schemas.microsoft.com/office/drawing/2014/main" id="{E963605C-F6B8-4C5B-92E3-0FAFE8235053}"/>
                </a:ext>
              </a:extLst>
            </p:cNvPr>
            <p:cNvSpPr/>
            <p:nvPr/>
          </p:nvSpPr>
          <p:spPr>
            <a:xfrm rot="7484129">
              <a:off x="5013620" y="318195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4" name="Forme libre : forme 593">
              <a:extLst>
                <a:ext uri="{FF2B5EF4-FFF2-40B4-BE49-F238E27FC236}">
                  <a16:creationId xmlns:a16="http://schemas.microsoft.com/office/drawing/2014/main" id="{1392E43B-D559-4A8D-AB98-72C488E4E1E8}"/>
                </a:ext>
              </a:extLst>
            </p:cNvPr>
            <p:cNvSpPr/>
            <p:nvPr/>
          </p:nvSpPr>
          <p:spPr>
            <a:xfrm rot="13089394">
              <a:off x="5172270" y="3131298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5" name="Forme libre : forme 594">
              <a:extLst>
                <a:ext uri="{FF2B5EF4-FFF2-40B4-BE49-F238E27FC236}">
                  <a16:creationId xmlns:a16="http://schemas.microsoft.com/office/drawing/2014/main" id="{EB748E85-117E-4407-87DE-3644DEF09573}"/>
                </a:ext>
              </a:extLst>
            </p:cNvPr>
            <p:cNvSpPr/>
            <p:nvPr/>
          </p:nvSpPr>
          <p:spPr>
            <a:xfrm rot="8716295">
              <a:off x="5453161" y="2841180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6" name="Forme libre : forme 595">
              <a:extLst>
                <a:ext uri="{FF2B5EF4-FFF2-40B4-BE49-F238E27FC236}">
                  <a16:creationId xmlns:a16="http://schemas.microsoft.com/office/drawing/2014/main" id="{22573B7D-D596-4F8E-9E39-A045BCC2CF63}"/>
                </a:ext>
              </a:extLst>
            </p:cNvPr>
            <p:cNvSpPr/>
            <p:nvPr/>
          </p:nvSpPr>
          <p:spPr>
            <a:xfrm rot="8716295">
              <a:off x="5374752" y="268438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7" name="Forme libre : forme 596">
              <a:extLst>
                <a:ext uri="{FF2B5EF4-FFF2-40B4-BE49-F238E27FC236}">
                  <a16:creationId xmlns:a16="http://schemas.microsoft.com/office/drawing/2014/main" id="{4677ED04-0D7E-49F5-B71E-0D622A62ADD4}"/>
                </a:ext>
              </a:extLst>
            </p:cNvPr>
            <p:cNvSpPr/>
            <p:nvPr/>
          </p:nvSpPr>
          <p:spPr>
            <a:xfrm rot="8716295">
              <a:off x="5006588" y="273012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8" name="Forme libre : forme 597">
              <a:extLst>
                <a:ext uri="{FF2B5EF4-FFF2-40B4-BE49-F238E27FC236}">
                  <a16:creationId xmlns:a16="http://schemas.microsoft.com/office/drawing/2014/main" id="{D2F582D4-EF44-4379-A334-2FAC2AC458E7}"/>
                </a:ext>
              </a:extLst>
            </p:cNvPr>
            <p:cNvSpPr/>
            <p:nvPr/>
          </p:nvSpPr>
          <p:spPr>
            <a:xfrm rot="8716295">
              <a:off x="5275170" y="2489109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9" name="Forme libre : forme 598">
              <a:extLst>
                <a:ext uri="{FF2B5EF4-FFF2-40B4-BE49-F238E27FC236}">
                  <a16:creationId xmlns:a16="http://schemas.microsoft.com/office/drawing/2014/main" id="{84900379-879C-4E94-8EC3-3B7984623CAD}"/>
                </a:ext>
              </a:extLst>
            </p:cNvPr>
            <p:cNvSpPr/>
            <p:nvPr/>
          </p:nvSpPr>
          <p:spPr>
            <a:xfrm rot="8716295">
              <a:off x="4788394" y="407343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0" name="Forme libre : forme 599">
              <a:extLst>
                <a:ext uri="{FF2B5EF4-FFF2-40B4-BE49-F238E27FC236}">
                  <a16:creationId xmlns:a16="http://schemas.microsoft.com/office/drawing/2014/main" id="{4DC88A19-D799-4F8F-A66E-7F483954A8CF}"/>
                </a:ext>
              </a:extLst>
            </p:cNvPr>
            <p:cNvSpPr/>
            <p:nvPr/>
          </p:nvSpPr>
          <p:spPr>
            <a:xfrm rot="8716295">
              <a:off x="4923693" y="411769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1" name="Forme libre : forme 600">
              <a:extLst>
                <a:ext uri="{FF2B5EF4-FFF2-40B4-BE49-F238E27FC236}">
                  <a16:creationId xmlns:a16="http://schemas.microsoft.com/office/drawing/2014/main" id="{CC17534A-6773-4440-8E50-D7605DA4316B}"/>
                </a:ext>
              </a:extLst>
            </p:cNvPr>
            <p:cNvSpPr/>
            <p:nvPr/>
          </p:nvSpPr>
          <p:spPr>
            <a:xfrm rot="8716295">
              <a:off x="4855811" y="3987104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2" name="Forme libre : forme 601">
              <a:extLst>
                <a:ext uri="{FF2B5EF4-FFF2-40B4-BE49-F238E27FC236}">
                  <a16:creationId xmlns:a16="http://schemas.microsoft.com/office/drawing/2014/main" id="{72B2A07E-B506-443A-AB4D-FF9B71599735}"/>
                </a:ext>
              </a:extLst>
            </p:cNvPr>
            <p:cNvSpPr/>
            <p:nvPr/>
          </p:nvSpPr>
          <p:spPr>
            <a:xfrm rot="8716295">
              <a:off x="4618523" y="420744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3" name="Forme libre : forme 602">
              <a:extLst>
                <a:ext uri="{FF2B5EF4-FFF2-40B4-BE49-F238E27FC236}">
                  <a16:creationId xmlns:a16="http://schemas.microsoft.com/office/drawing/2014/main" id="{D19F9C0D-4352-499E-998A-34B9B0D7C7E9}"/>
                </a:ext>
              </a:extLst>
            </p:cNvPr>
            <p:cNvSpPr/>
            <p:nvPr/>
          </p:nvSpPr>
          <p:spPr>
            <a:xfrm rot="8716295">
              <a:off x="4429477" y="389161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4" name="Forme libre : forme 603">
              <a:extLst>
                <a:ext uri="{FF2B5EF4-FFF2-40B4-BE49-F238E27FC236}">
                  <a16:creationId xmlns:a16="http://schemas.microsoft.com/office/drawing/2014/main" id="{9C16ADD0-4CDE-43CE-BCE7-346E01482261}"/>
                </a:ext>
              </a:extLst>
            </p:cNvPr>
            <p:cNvSpPr/>
            <p:nvPr/>
          </p:nvSpPr>
          <p:spPr>
            <a:xfrm rot="8716295">
              <a:off x="4411236" y="3681563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5" name="Forme libre : forme 604">
              <a:extLst>
                <a:ext uri="{FF2B5EF4-FFF2-40B4-BE49-F238E27FC236}">
                  <a16:creationId xmlns:a16="http://schemas.microsoft.com/office/drawing/2014/main" id="{DF85051C-5928-4ACB-ABB6-0438F99C942D}"/>
                </a:ext>
              </a:extLst>
            </p:cNvPr>
            <p:cNvSpPr/>
            <p:nvPr/>
          </p:nvSpPr>
          <p:spPr>
            <a:xfrm rot="8716295">
              <a:off x="4755012" y="4269431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6" name="Forme libre : forme 605">
              <a:extLst>
                <a:ext uri="{FF2B5EF4-FFF2-40B4-BE49-F238E27FC236}">
                  <a16:creationId xmlns:a16="http://schemas.microsoft.com/office/drawing/2014/main" id="{8C93F37A-4AE0-46A6-B51D-241F87B310EC}"/>
                </a:ext>
              </a:extLst>
            </p:cNvPr>
            <p:cNvSpPr/>
            <p:nvPr/>
          </p:nvSpPr>
          <p:spPr>
            <a:xfrm rot="8716295">
              <a:off x="5225958" y="3694817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7" name="Forme libre : forme 606">
              <a:extLst>
                <a:ext uri="{FF2B5EF4-FFF2-40B4-BE49-F238E27FC236}">
                  <a16:creationId xmlns:a16="http://schemas.microsoft.com/office/drawing/2014/main" id="{D8EF92CC-16CE-4344-A7B3-112501178C1C}"/>
                </a:ext>
              </a:extLst>
            </p:cNvPr>
            <p:cNvSpPr/>
            <p:nvPr/>
          </p:nvSpPr>
          <p:spPr>
            <a:xfrm rot="8716295">
              <a:off x="5364349" y="3753375"/>
              <a:ext cx="325540" cy="385611"/>
            </a:xfrm>
            <a:custGeom>
              <a:avLst/>
              <a:gdLst>
                <a:gd name="connsiteX0" fmla="*/ 8983 w 325540"/>
                <a:gd name="connsiteY0" fmla="*/ 385611 h 385611"/>
                <a:gd name="connsiteX1" fmla="*/ 8983 w 325540"/>
                <a:gd name="connsiteY1" fmla="*/ 69053 h 385611"/>
                <a:gd name="connsiteX2" fmla="*/ 0 w 325540"/>
                <a:gd name="connsiteY2" fmla="*/ 69053 h 385611"/>
                <a:gd name="connsiteX3" fmla="*/ 55019 w 325540"/>
                <a:gd name="connsiteY3" fmla="*/ 2157 h 385611"/>
                <a:gd name="connsiteX4" fmla="*/ 89675 w 325540"/>
                <a:gd name="connsiteY4" fmla="*/ 2156 h 385611"/>
                <a:gd name="connsiteX5" fmla="*/ 89674 w 325540"/>
                <a:gd name="connsiteY5" fmla="*/ 113882 h 385611"/>
                <a:gd name="connsiteX6" fmla="*/ 91743 w 325540"/>
                <a:gd name="connsiteY6" fmla="*/ 113882 h 385611"/>
                <a:gd name="connsiteX7" fmla="*/ 164159 w 325540"/>
                <a:gd name="connsiteY7" fmla="*/ 9053 h 385611"/>
                <a:gd name="connsiteX8" fmla="*/ 211745 w 325540"/>
                <a:gd name="connsiteY8" fmla="*/ 87 h 385611"/>
                <a:gd name="connsiteX9" fmla="*/ 325540 w 325540"/>
                <a:gd name="connsiteY9" fmla="*/ 133882 h 385611"/>
                <a:gd name="connsiteX10" fmla="*/ 325540 w 325540"/>
                <a:gd name="connsiteY10" fmla="*/ 142848 h 385611"/>
                <a:gd name="connsiteX11" fmla="*/ 231746 w 325540"/>
                <a:gd name="connsiteY11" fmla="*/ 148366 h 385611"/>
                <a:gd name="connsiteX12" fmla="*/ 231746 w 325540"/>
                <a:gd name="connsiteY12" fmla="*/ 123538 h 385611"/>
                <a:gd name="connsiteX13" fmla="*/ 180710 w 325540"/>
                <a:gd name="connsiteY13" fmla="*/ 60778 h 385611"/>
                <a:gd name="connsiteX14" fmla="*/ 100020 w 325540"/>
                <a:gd name="connsiteY14" fmla="*/ 193194 h 385611"/>
                <a:gd name="connsiteX15" fmla="*/ 100020 w 325540"/>
                <a:gd name="connsiteY15" fmla="*/ 323541 h 385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5540" h="385611">
                  <a:moveTo>
                    <a:pt x="8983" y="385611"/>
                  </a:moveTo>
                  <a:lnTo>
                    <a:pt x="8983" y="69053"/>
                  </a:lnTo>
                  <a:lnTo>
                    <a:pt x="0" y="69053"/>
                  </a:lnTo>
                  <a:lnTo>
                    <a:pt x="55019" y="2157"/>
                  </a:lnTo>
                  <a:lnTo>
                    <a:pt x="89675" y="2156"/>
                  </a:lnTo>
                  <a:lnTo>
                    <a:pt x="89674" y="113882"/>
                  </a:lnTo>
                  <a:lnTo>
                    <a:pt x="91743" y="113882"/>
                  </a:lnTo>
                  <a:cubicBezTo>
                    <a:pt x="113813" y="48363"/>
                    <a:pt x="131055" y="22846"/>
                    <a:pt x="164159" y="9053"/>
                  </a:cubicBezTo>
                  <a:cubicBezTo>
                    <a:pt x="179331" y="2846"/>
                    <a:pt x="195193" y="-602"/>
                    <a:pt x="211745" y="87"/>
                  </a:cubicBezTo>
                  <a:cubicBezTo>
                    <a:pt x="282781" y="-1293"/>
                    <a:pt x="325540" y="48363"/>
                    <a:pt x="325540" y="133882"/>
                  </a:cubicBezTo>
                  <a:lnTo>
                    <a:pt x="325540" y="142848"/>
                  </a:lnTo>
                  <a:lnTo>
                    <a:pt x="231746" y="148366"/>
                  </a:lnTo>
                  <a:lnTo>
                    <a:pt x="231746" y="123538"/>
                  </a:lnTo>
                  <a:cubicBezTo>
                    <a:pt x="231746" y="86296"/>
                    <a:pt x="210367" y="60778"/>
                    <a:pt x="180710" y="60778"/>
                  </a:cubicBezTo>
                  <a:cubicBezTo>
                    <a:pt x="136572" y="60777"/>
                    <a:pt x="100020" y="119400"/>
                    <a:pt x="100020" y="193194"/>
                  </a:cubicBezTo>
                  <a:lnTo>
                    <a:pt x="100020" y="3235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8" name="Forme libre : forme 607">
              <a:extLst>
                <a:ext uri="{FF2B5EF4-FFF2-40B4-BE49-F238E27FC236}">
                  <a16:creationId xmlns:a16="http://schemas.microsoft.com/office/drawing/2014/main" id="{18839B14-F1F7-42D0-B065-28068F2B762B}"/>
                </a:ext>
              </a:extLst>
            </p:cNvPr>
            <p:cNvSpPr/>
            <p:nvPr/>
          </p:nvSpPr>
          <p:spPr>
            <a:xfrm rot="8716295">
              <a:off x="5056087" y="382883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9" name="Forme libre : forme 608">
              <a:extLst>
                <a:ext uri="{FF2B5EF4-FFF2-40B4-BE49-F238E27FC236}">
                  <a16:creationId xmlns:a16="http://schemas.microsoft.com/office/drawing/2014/main" id="{CCDA1945-4FFF-4C89-8478-EEDA05E07334}"/>
                </a:ext>
              </a:extLst>
            </p:cNvPr>
            <p:cNvSpPr/>
            <p:nvPr/>
          </p:nvSpPr>
          <p:spPr>
            <a:xfrm rot="8716295">
              <a:off x="4867043" y="351299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0" name="Forme libre : forme 609">
              <a:extLst>
                <a:ext uri="{FF2B5EF4-FFF2-40B4-BE49-F238E27FC236}">
                  <a16:creationId xmlns:a16="http://schemas.microsoft.com/office/drawing/2014/main" id="{62D52373-0C12-4466-A8A9-9FB4F9E50F37}"/>
                </a:ext>
              </a:extLst>
            </p:cNvPr>
            <p:cNvSpPr/>
            <p:nvPr/>
          </p:nvSpPr>
          <p:spPr>
            <a:xfrm rot="8716295">
              <a:off x="5192576" y="3890815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1" name="Forme libre : forme 610">
              <a:extLst>
                <a:ext uri="{FF2B5EF4-FFF2-40B4-BE49-F238E27FC236}">
                  <a16:creationId xmlns:a16="http://schemas.microsoft.com/office/drawing/2014/main" id="{9271E668-535D-45B8-BD34-6BB53627D632}"/>
                </a:ext>
              </a:extLst>
            </p:cNvPr>
            <p:cNvSpPr/>
            <p:nvPr/>
          </p:nvSpPr>
          <p:spPr>
            <a:xfrm rot="8716295">
              <a:off x="4827129" y="3664389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2" name="Forme libre : forme 611">
              <a:extLst>
                <a:ext uri="{FF2B5EF4-FFF2-40B4-BE49-F238E27FC236}">
                  <a16:creationId xmlns:a16="http://schemas.microsoft.com/office/drawing/2014/main" id="{68DD2D01-279E-4C98-9559-7C375E83C268}"/>
                </a:ext>
              </a:extLst>
            </p:cNvPr>
            <p:cNvSpPr/>
            <p:nvPr/>
          </p:nvSpPr>
          <p:spPr>
            <a:xfrm rot="7484129">
              <a:off x="5351393" y="418043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3" name="Forme libre : forme 612">
              <a:extLst>
                <a:ext uri="{FF2B5EF4-FFF2-40B4-BE49-F238E27FC236}">
                  <a16:creationId xmlns:a16="http://schemas.microsoft.com/office/drawing/2014/main" id="{4FF8E845-ABCD-4D75-BF78-6E50EC36768A}"/>
                </a:ext>
              </a:extLst>
            </p:cNvPr>
            <p:cNvSpPr/>
            <p:nvPr/>
          </p:nvSpPr>
          <p:spPr>
            <a:xfrm rot="13089394">
              <a:off x="5497067" y="4157639"/>
              <a:ext cx="336155" cy="433969"/>
            </a:xfrm>
            <a:custGeom>
              <a:avLst/>
              <a:gdLst>
                <a:gd name="connsiteX0" fmla="*/ 23241 w 222098"/>
                <a:gd name="connsiteY0" fmla="*/ 47275 h 286724"/>
                <a:gd name="connsiteX1" fmla="*/ 0 w 222098"/>
                <a:gd name="connsiteY1" fmla="*/ 11882 h 286724"/>
                <a:gd name="connsiteX2" fmla="*/ 22902 w 222098"/>
                <a:gd name="connsiteY2" fmla="*/ 0 h 286724"/>
                <a:gd name="connsiteX3" fmla="*/ 222098 w 222098"/>
                <a:gd name="connsiteY3" fmla="*/ 258238 h 286724"/>
                <a:gd name="connsiteX4" fmla="*/ 180472 w 222098"/>
                <a:gd name="connsiteY4" fmla="*/ 286724 h 286724"/>
                <a:gd name="connsiteX5" fmla="*/ 167667 w 222098"/>
                <a:gd name="connsiteY5" fmla="*/ 267224 h 286724"/>
                <a:gd name="connsiteX6" fmla="*/ 220995 w 222098"/>
                <a:gd name="connsiteY6" fmla="*/ 245547 h 286724"/>
                <a:gd name="connsiteX7" fmla="*/ 222098 w 222098"/>
                <a:gd name="connsiteY7" fmla="*/ 252720 h 286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2098" h="286724">
                  <a:moveTo>
                    <a:pt x="23241" y="47275"/>
                  </a:moveTo>
                  <a:lnTo>
                    <a:pt x="0" y="11882"/>
                  </a:lnTo>
                  <a:lnTo>
                    <a:pt x="22902" y="0"/>
                  </a:lnTo>
                  <a:close/>
                  <a:moveTo>
                    <a:pt x="222098" y="258238"/>
                  </a:moveTo>
                  <a:lnTo>
                    <a:pt x="180472" y="286724"/>
                  </a:lnTo>
                  <a:lnTo>
                    <a:pt x="167667" y="267224"/>
                  </a:lnTo>
                  <a:lnTo>
                    <a:pt x="220995" y="245547"/>
                  </a:lnTo>
                  <a:cubicBezTo>
                    <a:pt x="221546" y="247754"/>
                    <a:pt x="222098" y="250513"/>
                    <a:pt x="222098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4" name="Forme libre : forme 613">
              <a:extLst>
                <a:ext uri="{FF2B5EF4-FFF2-40B4-BE49-F238E27FC236}">
                  <a16:creationId xmlns:a16="http://schemas.microsoft.com/office/drawing/2014/main" id="{F78027CB-C390-4FC7-AC35-674EC7B9F409}"/>
                </a:ext>
              </a:extLst>
            </p:cNvPr>
            <p:cNvSpPr/>
            <p:nvPr/>
          </p:nvSpPr>
          <p:spPr>
            <a:xfrm rot="8716295">
              <a:off x="5689139" y="3701707"/>
              <a:ext cx="105382" cy="119090"/>
            </a:xfrm>
            <a:custGeom>
              <a:avLst/>
              <a:gdLst>
                <a:gd name="connsiteX0" fmla="*/ 0 w 69626"/>
                <a:gd name="connsiteY0" fmla="*/ 74288 h 78683"/>
                <a:gd name="connsiteX1" fmla="*/ 61446 w 69626"/>
                <a:gd name="connsiteY1" fmla="*/ 0 h 78683"/>
                <a:gd name="connsiteX2" fmla="*/ 69626 w 69626"/>
                <a:gd name="connsiteY2" fmla="*/ 19468 h 78683"/>
                <a:gd name="connsiteX3" fmla="*/ 52380 w 69626"/>
                <a:gd name="connsiteY3" fmla="*/ 61206 h 78683"/>
                <a:gd name="connsiteX4" fmla="*/ 10986 w 69626"/>
                <a:gd name="connsiteY4" fmla="*/ 78683 h 78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626" h="78683">
                  <a:moveTo>
                    <a:pt x="0" y="74288"/>
                  </a:moveTo>
                  <a:lnTo>
                    <a:pt x="61446" y="0"/>
                  </a:lnTo>
                  <a:lnTo>
                    <a:pt x="69626" y="19468"/>
                  </a:lnTo>
                  <a:cubicBezTo>
                    <a:pt x="69626" y="34531"/>
                    <a:pt x="63877" y="49708"/>
                    <a:pt x="52380" y="61206"/>
                  </a:cubicBezTo>
                  <a:cubicBezTo>
                    <a:pt x="41341" y="72244"/>
                    <a:pt x="26624" y="78683"/>
                    <a:pt x="10986" y="786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5" name="Forme libre : forme 614">
              <a:extLst>
                <a:ext uri="{FF2B5EF4-FFF2-40B4-BE49-F238E27FC236}">
                  <a16:creationId xmlns:a16="http://schemas.microsoft.com/office/drawing/2014/main" id="{CDCDCD36-D509-4E07-A579-1A4701D840AC}"/>
                </a:ext>
              </a:extLst>
            </p:cNvPr>
            <p:cNvSpPr/>
            <p:nvPr/>
          </p:nvSpPr>
          <p:spPr>
            <a:xfrm rot="8716295">
              <a:off x="5344361" y="372861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6" name="Forme libre : forme 615">
              <a:extLst>
                <a:ext uri="{FF2B5EF4-FFF2-40B4-BE49-F238E27FC236}">
                  <a16:creationId xmlns:a16="http://schemas.microsoft.com/office/drawing/2014/main" id="{8F810203-59B0-4DA5-A5DC-8690A9A9B005}"/>
                </a:ext>
              </a:extLst>
            </p:cNvPr>
            <p:cNvSpPr/>
            <p:nvPr/>
          </p:nvSpPr>
          <p:spPr>
            <a:xfrm rot="8716295">
              <a:off x="5599943" y="3480521"/>
              <a:ext cx="177855" cy="178203"/>
            </a:xfrm>
            <a:custGeom>
              <a:avLst/>
              <a:gdLst>
                <a:gd name="connsiteX0" fmla="*/ 17477 w 117509"/>
                <a:gd name="connsiteY0" fmla="*/ 101182 h 117739"/>
                <a:gd name="connsiteX1" fmla="*/ 0 w 117509"/>
                <a:gd name="connsiteY1" fmla="*/ 59790 h 117739"/>
                <a:gd name="connsiteX2" fmla="*/ 0 w 117509"/>
                <a:gd name="connsiteY2" fmla="*/ 58869 h 117739"/>
                <a:gd name="connsiteX3" fmla="*/ 2091 w 117509"/>
                <a:gd name="connsiteY3" fmla="*/ 48678 h 117739"/>
                <a:gd name="connsiteX4" fmla="*/ 38978 w 117509"/>
                <a:gd name="connsiteY4" fmla="*/ 4080 h 117739"/>
                <a:gd name="connsiteX5" fmla="*/ 58869 w 117509"/>
                <a:gd name="connsiteY5" fmla="*/ 0 h 117739"/>
                <a:gd name="connsiteX6" fmla="*/ 100263 w 117509"/>
                <a:gd name="connsiteY6" fmla="*/ 17477 h 117739"/>
                <a:gd name="connsiteX7" fmla="*/ 100263 w 117509"/>
                <a:gd name="connsiteY7" fmla="*/ 100262 h 117739"/>
                <a:gd name="connsiteX8" fmla="*/ 58869 w 117509"/>
                <a:gd name="connsiteY8" fmla="*/ 117739 h 117739"/>
                <a:gd name="connsiteX9" fmla="*/ 17477 w 117509"/>
                <a:gd name="connsiteY9" fmla="*/ 101182 h 117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09" h="117739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lnTo>
                    <a:pt x="2091" y="48678"/>
                  </a:lnTo>
                  <a:lnTo>
                    <a:pt x="38978" y="4080"/>
                  </a:lnTo>
                  <a:lnTo>
                    <a:pt x="58869" y="0"/>
                  </a:lnTo>
                  <a:cubicBezTo>
                    <a:pt x="74507" y="0"/>
                    <a:pt x="89224" y="6439"/>
                    <a:pt x="100263" y="17477"/>
                  </a:cubicBezTo>
                  <a:cubicBezTo>
                    <a:pt x="123258" y="39553"/>
                    <a:pt x="123258" y="77266"/>
                    <a:pt x="100263" y="100262"/>
                  </a:cubicBezTo>
                  <a:cubicBezTo>
                    <a:pt x="89224" y="111300"/>
                    <a:pt x="74507" y="117739"/>
                    <a:pt x="58869" y="117739"/>
                  </a:cubicBezTo>
                  <a:cubicBezTo>
                    <a:pt x="43233" y="117739"/>
                    <a:pt x="28515" y="112220"/>
                    <a:pt x="17477" y="10118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7" name="Forme libre : forme 616">
              <a:extLst>
                <a:ext uri="{FF2B5EF4-FFF2-40B4-BE49-F238E27FC236}">
                  <a16:creationId xmlns:a16="http://schemas.microsoft.com/office/drawing/2014/main" id="{B4D6BED0-10F3-4D86-8E3C-AFD0F7AE9965}"/>
                </a:ext>
              </a:extLst>
            </p:cNvPr>
            <p:cNvSpPr/>
            <p:nvPr/>
          </p:nvSpPr>
          <p:spPr>
            <a:xfrm rot="8716295">
              <a:off x="5090746" y="5117279"/>
              <a:ext cx="37096" cy="40385"/>
            </a:xfrm>
            <a:custGeom>
              <a:avLst/>
              <a:gdLst>
                <a:gd name="connsiteX0" fmla="*/ 0 w 37096"/>
                <a:gd name="connsiteY0" fmla="*/ 40385 h 40385"/>
                <a:gd name="connsiteX1" fmla="*/ 0 w 37096"/>
                <a:gd name="connsiteY1" fmla="*/ 0 h 40385"/>
                <a:gd name="connsiteX2" fmla="*/ 37096 w 37096"/>
                <a:gd name="connsiteY2" fmla="*/ 25713 h 40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096" h="40385">
                  <a:moveTo>
                    <a:pt x="0" y="40385"/>
                  </a:moveTo>
                  <a:lnTo>
                    <a:pt x="0" y="0"/>
                  </a:lnTo>
                  <a:lnTo>
                    <a:pt x="37096" y="2571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8" name="Forme libre : forme 617">
              <a:extLst>
                <a:ext uri="{FF2B5EF4-FFF2-40B4-BE49-F238E27FC236}">
                  <a16:creationId xmlns:a16="http://schemas.microsoft.com/office/drawing/2014/main" id="{0465DE69-E687-46E9-B069-E127CC514DB0}"/>
                </a:ext>
              </a:extLst>
            </p:cNvPr>
            <p:cNvSpPr/>
            <p:nvPr/>
          </p:nvSpPr>
          <p:spPr>
            <a:xfrm rot="8716295">
              <a:off x="5405706" y="5085046"/>
              <a:ext cx="60406" cy="83058"/>
            </a:xfrm>
            <a:custGeom>
              <a:avLst/>
              <a:gdLst>
                <a:gd name="connsiteX0" fmla="*/ 0 w 60406"/>
                <a:gd name="connsiteY0" fmla="*/ 83058 h 83058"/>
                <a:gd name="connsiteX1" fmla="*/ 0 w 60406"/>
                <a:gd name="connsiteY1" fmla="*/ 0 h 83058"/>
                <a:gd name="connsiteX2" fmla="*/ 60406 w 60406"/>
                <a:gd name="connsiteY2" fmla="*/ 41872 h 83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406" h="83058">
                  <a:moveTo>
                    <a:pt x="0" y="83058"/>
                  </a:moveTo>
                  <a:lnTo>
                    <a:pt x="0" y="0"/>
                  </a:lnTo>
                  <a:lnTo>
                    <a:pt x="60406" y="4187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9" name="Forme libre : forme 618">
              <a:extLst>
                <a:ext uri="{FF2B5EF4-FFF2-40B4-BE49-F238E27FC236}">
                  <a16:creationId xmlns:a16="http://schemas.microsoft.com/office/drawing/2014/main" id="{1225017D-5B5E-4D56-9AE0-45594E8EF6FF}"/>
                </a:ext>
              </a:extLst>
            </p:cNvPr>
            <p:cNvSpPr/>
            <p:nvPr/>
          </p:nvSpPr>
          <p:spPr>
            <a:xfrm rot="8716295">
              <a:off x="5207014" y="4975218"/>
              <a:ext cx="245211" cy="161994"/>
            </a:xfrm>
            <a:custGeom>
              <a:avLst/>
              <a:gdLst>
                <a:gd name="connsiteX0" fmla="*/ 8965 w 245211"/>
                <a:gd name="connsiteY0" fmla="*/ 161994 h 161994"/>
                <a:gd name="connsiteX1" fmla="*/ 0 w 245211"/>
                <a:gd name="connsiteY1" fmla="*/ 149580 h 161994"/>
                <a:gd name="connsiteX2" fmla="*/ 158971 w 245211"/>
                <a:gd name="connsiteY2" fmla="*/ 0 h 161994"/>
                <a:gd name="connsiteX3" fmla="*/ 245211 w 245211"/>
                <a:gd name="connsiteY3" fmla="*/ 59779 h 161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211" h="161994">
                  <a:moveTo>
                    <a:pt x="8965" y="161994"/>
                  </a:moveTo>
                  <a:lnTo>
                    <a:pt x="0" y="149580"/>
                  </a:lnTo>
                  <a:lnTo>
                    <a:pt x="158971" y="0"/>
                  </a:lnTo>
                  <a:lnTo>
                    <a:pt x="245211" y="5977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0" name="Forme libre : forme 619">
              <a:extLst>
                <a:ext uri="{FF2B5EF4-FFF2-40B4-BE49-F238E27FC236}">
                  <a16:creationId xmlns:a16="http://schemas.microsoft.com/office/drawing/2014/main" id="{AD260E0B-5D9F-4830-8DFF-9C5C4BD9CAC9}"/>
                </a:ext>
              </a:extLst>
            </p:cNvPr>
            <p:cNvSpPr/>
            <p:nvPr/>
          </p:nvSpPr>
          <p:spPr>
            <a:xfrm rot="8716295">
              <a:off x="4807372" y="4871188"/>
              <a:ext cx="249519" cy="296463"/>
            </a:xfrm>
            <a:custGeom>
              <a:avLst/>
              <a:gdLst>
                <a:gd name="connsiteX0" fmla="*/ 137293 w 249519"/>
                <a:gd name="connsiteY0" fmla="*/ 296463 h 296463"/>
                <a:gd name="connsiteX1" fmla="*/ 72418 w 249519"/>
                <a:gd name="connsiteY1" fmla="*/ 175766 h 296463"/>
                <a:gd name="connsiteX2" fmla="*/ 105610 w 249519"/>
                <a:gd name="connsiteY2" fmla="*/ 83734 h 296463"/>
                <a:gd name="connsiteX3" fmla="*/ 0 w 249519"/>
                <a:gd name="connsiteY3" fmla="*/ 83734 h 296463"/>
                <a:gd name="connsiteX4" fmla="*/ 0 w 249519"/>
                <a:gd name="connsiteY4" fmla="*/ 0 h 296463"/>
                <a:gd name="connsiteX5" fmla="*/ 128719 w 249519"/>
                <a:gd name="connsiteY5" fmla="*/ 0 h 296463"/>
                <a:gd name="connsiteX6" fmla="*/ 249519 w 249519"/>
                <a:gd name="connsiteY6" fmla="*/ 83734 h 296463"/>
                <a:gd name="connsiteX7" fmla="*/ 210465 w 249519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9519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128719" y="0"/>
                  </a:lnTo>
                  <a:lnTo>
                    <a:pt x="249519" y="83734"/>
                  </a:lnTo>
                  <a:lnTo>
                    <a:pt x="210465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1" name="Forme libre : forme 620">
              <a:extLst>
                <a:ext uri="{FF2B5EF4-FFF2-40B4-BE49-F238E27FC236}">
                  <a16:creationId xmlns:a16="http://schemas.microsoft.com/office/drawing/2014/main" id="{09F80257-FE3C-4D05-BA6D-6880C235959D}"/>
                </a:ext>
              </a:extLst>
            </p:cNvPr>
            <p:cNvSpPr/>
            <p:nvPr/>
          </p:nvSpPr>
          <p:spPr>
            <a:xfrm rot="8716295">
              <a:off x="4742203" y="467807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2" name="Forme libre : forme 621">
              <a:extLst>
                <a:ext uri="{FF2B5EF4-FFF2-40B4-BE49-F238E27FC236}">
                  <a16:creationId xmlns:a16="http://schemas.microsoft.com/office/drawing/2014/main" id="{3B04E0F0-2B8C-4F06-AF5E-7DEBDFF41168}"/>
                </a:ext>
              </a:extLst>
            </p:cNvPr>
            <p:cNvSpPr/>
            <p:nvPr/>
          </p:nvSpPr>
          <p:spPr>
            <a:xfrm rot="8716295">
              <a:off x="5548192" y="4732447"/>
              <a:ext cx="92415" cy="287093"/>
            </a:xfrm>
            <a:custGeom>
              <a:avLst/>
              <a:gdLst>
                <a:gd name="connsiteX0" fmla="*/ 0 w 61059"/>
                <a:gd name="connsiteY0" fmla="*/ 189683 h 189683"/>
                <a:gd name="connsiteX1" fmla="*/ 1 w 61059"/>
                <a:gd name="connsiteY1" fmla="*/ 70355 h 189683"/>
                <a:gd name="connsiteX2" fmla="*/ 58192 w 61059"/>
                <a:gd name="connsiteY2" fmla="*/ 0 h 189683"/>
                <a:gd name="connsiteX3" fmla="*/ 61059 w 61059"/>
                <a:gd name="connsiteY3" fmla="*/ 7418 h 189683"/>
                <a:gd name="connsiteX4" fmla="*/ 61059 w 61059"/>
                <a:gd name="connsiteY4" fmla="*/ 165533 h 189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59" h="189683">
                  <a:moveTo>
                    <a:pt x="0" y="189683"/>
                  </a:moveTo>
                  <a:lnTo>
                    <a:pt x="1" y="70355"/>
                  </a:lnTo>
                  <a:lnTo>
                    <a:pt x="58192" y="0"/>
                  </a:lnTo>
                  <a:lnTo>
                    <a:pt x="61059" y="7418"/>
                  </a:lnTo>
                  <a:lnTo>
                    <a:pt x="61059" y="1655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3" name="Forme libre : forme 622">
              <a:extLst>
                <a:ext uri="{FF2B5EF4-FFF2-40B4-BE49-F238E27FC236}">
                  <a16:creationId xmlns:a16="http://schemas.microsoft.com/office/drawing/2014/main" id="{E573200C-FAAB-40A5-A9EF-BD61E3F76A6C}"/>
                </a:ext>
              </a:extLst>
            </p:cNvPr>
            <p:cNvSpPr/>
            <p:nvPr/>
          </p:nvSpPr>
          <p:spPr>
            <a:xfrm rot="8716295">
              <a:off x="5387054" y="482534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4" name="Forme libre : forme 623">
              <a:extLst>
                <a:ext uri="{FF2B5EF4-FFF2-40B4-BE49-F238E27FC236}">
                  <a16:creationId xmlns:a16="http://schemas.microsoft.com/office/drawing/2014/main" id="{19C3230C-28AF-420E-9755-6F859DFAE8B6}"/>
                </a:ext>
              </a:extLst>
            </p:cNvPr>
            <p:cNvSpPr/>
            <p:nvPr/>
          </p:nvSpPr>
          <p:spPr>
            <a:xfrm rot="8716295">
              <a:off x="5198009" y="450950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5" name="Forme libre : forme 624">
              <a:extLst>
                <a:ext uri="{FF2B5EF4-FFF2-40B4-BE49-F238E27FC236}">
                  <a16:creationId xmlns:a16="http://schemas.microsoft.com/office/drawing/2014/main" id="{2E8CBA65-23E2-44CB-B992-A6497F02B6BB}"/>
                </a:ext>
              </a:extLst>
            </p:cNvPr>
            <p:cNvSpPr/>
            <p:nvPr/>
          </p:nvSpPr>
          <p:spPr>
            <a:xfrm rot="8716295">
              <a:off x="5503997" y="4913234"/>
              <a:ext cx="91035" cy="258752"/>
            </a:xfrm>
            <a:custGeom>
              <a:avLst/>
              <a:gdLst>
                <a:gd name="connsiteX0" fmla="*/ 91035 w 91035"/>
                <a:gd name="connsiteY0" fmla="*/ 258752 h 258752"/>
                <a:gd name="connsiteX1" fmla="*/ 0 w 91035"/>
                <a:gd name="connsiteY1" fmla="*/ 171163 h 258752"/>
                <a:gd name="connsiteX2" fmla="*/ 0 w 91035"/>
                <a:gd name="connsiteY2" fmla="*/ 43487 h 258752"/>
                <a:gd name="connsiteX3" fmla="*/ 35968 w 91035"/>
                <a:gd name="connsiteY3" fmla="*/ 0 h 258752"/>
                <a:gd name="connsiteX4" fmla="*/ 91035 w 91035"/>
                <a:gd name="connsiteY4" fmla="*/ 38170 h 258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035" h="258752">
                  <a:moveTo>
                    <a:pt x="91035" y="258752"/>
                  </a:moveTo>
                  <a:lnTo>
                    <a:pt x="0" y="171163"/>
                  </a:lnTo>
                  <a:lnTo>
                    <a:pt x="0" y="43487"/>
                  </a:lnTo>
                  <a:lnTo>
                    <a:pt x="35968" y="0"/>
                  </a:lnTo>
                  <a:lnTo>
                    <a:pt x="91035" y="3817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6" name="Forme libre : forme 625">
              <a:extLst>
                <a:ext uri="{FF2B5EF4-FFF2-40B4-BE49-F238E27FC236}">
                  <a16:creationId xmlns:a16="http://schemas.microsoft.com/office/drawing/2014/main" id="{B26AA3BD-AADA-4372-BD8D-21473C57A651}"/>
                </a:ext>
              </a:extLst>
            </p:cNvPr>
            <p:cNvSpPr/>
            <p:nvPr/>
          </p:nvSpPr>
          <p:spPr>
            <a:xfrm rot="8716295">
              <a:off x="5158096" y="466090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7" name="Forme libre : forme 626">
              <a:extLst>
                <a:ext uri="{FF2B5EF4-FFF2-40B4-BE49-F238E27FC236}">
                  <a16:creationId xmlns:a16="http://schemas.microsoft.com/office/drawing/2014/main" id="{547464F3-A56B-40EE-B7D7-F8D6AA7FE193}"/>
                </a:ext>
              </a:extLst>
            </p:cNvPr>
            <p:cNvSpPr/>
            <p:nvPr/>
          </p:nvSpPr>
          <p:spPr>
            <a:xfrm rot="8716295">
              <a:off x="4115344" y="2074537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8" name="Forme libre : forme 627">
              <a:extLst>
                <a:ext uri="{FF2B5EF4-FFF2-40B4-BE49-F238E27FC236}">
                  <a16:creationId xmlns:a16="http://schemas.microsoft.com/office/drawing/2014/main" id="{7B5D832C-BA75-4D29-B114-1E47C4BAE490}"/>
                </a:ext>
              </a:extLst>
            </p:cNvPr>
            <p:cNvSpPr/>
            <p:nvPr/>
          </p:nvSpPr>
          <p:spPr>
            <a:xfrm rot="8716295">
              <a:off x="4250643" y="2118796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9" name="Forme libre : forme 628">
              <a:extLst>
                <a:ext uri="{FF2B5EF4-FFF2-40B4-BE49-F238E27FC236}">
                  <a16:creationId xmlns:a16="http://schemas.microsoft.com/office/drawing/2014/main" id="{C64AC295-E4CE-44EE-A106-33EFFB41DEBE}"/>
                </a:ext>
              </a:extLst>
            </p:cNvPr>
            <p:cNvSpPr/>
            <p:nvPr/>
          </p:nvSpPr>
          <p:spPr>
            <a:xfrm rot="8716295">
              <a:off x="4182761" y="1988208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0" name="Forme libre : forme 629">
              <a:extLst>
                <a:ext uri="{FF2B5EF4-FFF2-40B4-BE49-F238E27FC236}">
                  <a16:creationId xmlns:a16="http://schemas.microsoft.com/office/drawing/2014/main" id="{FFA3ED08-9210-45D6-AA19-AFF70332BF0D}"/>
                </a:ext>
              </a:extLst>
            </p:cNvPr>
            <p:cNvSpPr/>
            <p:nvPr/>
          </p:nvSpPr>
          <p:spPr>
            <a:xfrm rot="8716295">
              <a:off x="3945473" y="220855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1" name="Forme libre : forme 630">
              <a:extLst>
                <a:ext uri="{FF2B5EF4-FFF2-40B4-BE49-F238E27FC236}">
                  <a16:creationId xmlns:a16="http://schemas.microsoft.com/office/drawing/2014/main" id="{211D7FA1-7CF8-4A2C-9624-5DB5F1253CA9}"/>
                </a:ext>
              </a:extLst>
            </p:cNvPr>
            <p:cNvSpPr/>
            <p:nvPr/>
          </p:nvSpPr>
          <p:spPr>
            <a:xfrm rot="8716295">
              <a:off x="3756427" y="189271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2" name="Forme libre : forme 631">
              <a:extLst>
                <a:ext uri="{FF2B5EF4-FFF2-40B4-BE49-F238E27FC236}">
                  <a16:creationId xmlns:a16="http://schemas.microsoft.com/office/drawing/2014/main" id="{ED1DCF33-40C8-4AEE-A0EE-4E241ABFAA91}"/>
                </a:ext>
              </a:extLst>
            </p:cNvPr>
            <p:cNvSpPr/>
            <p:nvPr/>
          </p:nvSpPr>
          <p:spPr>
            <a:xfrm rot="8716295">
              <a:off x="3738186" y="1682667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3" name="Forme libre : forme 632">
              <a:extLst>
                <a:ext uri="{FF2B5EF4-FFF2-40B4-BE49-F238E27FC236}">
                  <a16:creationId xmlns:a16="http://schemas.microsoft.com/office/drawing/2014/main" id="{1ED8E02A-9662-4C77-9CF8-F0AAAEDA7BF2}"/>
                </a:ext>
              </a:extLst>
            </p:cNvPr>
            <p:cNvSpPr/>
            <p:nvPr/>
          </p:nvSpPr>
          <p:spPr>
            <a:xfrm rot="8716295">
              <a:off x="4081962" y="2270535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4" name="Forme libre : forme 633">
              <a:extLst>
                <a:ext uri="{FF2B5EF4-FFF2-40B4-BE49-F238E27FC236}">
                  <a16:creationId xmlns:a16="http://schemas.microsoft.com/office/drawing/2014/main" id="{A5843512-5A07-4D47-96C0-9232DD1F4BAB}"/>
                </a:ext>
              </a:extLst>
            </p:cNvPr>
            <p:cNvSpPr/>
            <p:nvPr/>
          </p:nvSpPr>
          <p:spPr>
            <a:xfrm rot="8716295">
              <a:off x="4552908" y="169592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5" name="Forme libre : forme 634">
              <a:extLst>
                <a:ext uri="{FF2B5EF4-FFF2-40B4-BE49-F238E27FC236}">
                  <a16:creationId xmlns:a16="http://schemas.microsoft.com/office/drawing/2014/main" id="{4BB8EB0B-0F5A-4424-9318-733305CE126F}"/>
                </a:ext>
              </a:extLst>
            </p:cNvPr>
            <p:cNvSpPr/>
            <p:nvPr/>
          </p:nvSpPr>
          <p:spPr>
            <a:xfrm rot="8716295">
              <a:off x="4688207" y="174018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6" name="Forme libre : forme 635">
              <a:extLst>
                <a:ext uri="{FF2B5EF4-FFF2-40B4-BE49-F238E27FC236}">
                  <a16:creationId xmlns:a16="http://schemas.microsoft.com/office/drawing/2014/main" id="{EA2371B2-61DB-41BD-8EEA-A15B3FCB5FA9}"/>
                </a:ext>
              </a:extLst>
            </p:cNvPr>
            <p:cNvSpPr/>
            <p:nvPr/>
          </p:nvSpPr>
          <p:spPr>
            <a:xfrm rot="8716295">
              <a:off x="4383037" y="182993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7" name="Forme libre : forme 636">
              <a:extLst>
                <a:ext uri="{FF2B5EF4-FFF2-40B4-BE49-F238E27FC236}">
                  <a16:creationId xmlns:a16="http://schemas.microsoft.com/office/drawing/2014/main" id="{DA3AACAC-02B1-4FFC-A740-5475BDA0481C}"/>
                </a:ext>
              </a:extLst>
            </p:cNvPr>
            <p:cNvSpPr/>
            <p:nvPr/>
          </p:nvSpPr>
          <p:spPr>
            <a:xfrm rot="8716295">
              <a:off x="4193993" y="151410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8" name="Forme libre : forme 637">
              <a:extLst>
                <a:ext uri="{FF2B5EF4-FFF2-40B4-BE49-F238E27FC236}">
                  <a16:creationId xmlns:a16="http://schemas.microsoft.com/office/drawing/2014/main" id="{6A599191-FCF8-4596-88EE-55466D58320A}"/>
                </a:ext>
              </a:extLst>
            </p:cNvPr>
            <p:cNvSpPr/>
            <p:nvPr/>
          </p:nvSpPr>
          <p:spPr>
            <a:xfrm rot="8716295">
              <a:off x="4519525" y="1891919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9" name="Forme libre : forme 638">
              <a:extLst>
                <a:ext uri="{FF2B5EF4-FFF2-40B4-BE49-F238E27FC236}">
                  <a16:creationId xmlns:a16="http://schemas.microsoft.com/office/drawing/2014/main" id="{C2F74711-1315-40B4-BC17-926C1214DB54}"/>
                </a:ext>
              </a:extLst>
            </p:cNvPr>
            <p:cNvSpPr/>
            <p:nvPr/>
          </p:nvSpPr>
          <p:spPr>
            <a:xfrm rot="8716295">
              <a:off x="4154079" y="1665493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0" name="Forme libre : forme 639">
              <a:extLst>
                <a:ext uri="{FF2B5EF4-FFF2-40B4-BE49-F238E27FC236}">
                  <a16:creationId xmlns:a16="http://schemas.microsoft.com/office/drawing/2014/main" id="{D2AC2D0A-CAB8-4F27-AF57-67EBA74287A6}"/>
                </a:ext>
              </a:extLst>
            </p:cNvPr>
            <p:cNvSpPr/>
            <p:nvPr/>
          </p:nvSpPr>
          <p:spPr>
            <a:xfrm rot="7484129">
              <a:off x="4678343" y="218153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1" name="Forme libre : forme 640">
              <a:extLst>
                <a:ext uri="{FF2B5EF4-FFF2-40B4-BE49-F238E27FC236}">
                  <a16:creationId xmlns:a16="http://schemas.microsoft.com/office/drawing/2014/main" id="{E725B9A6-4A92-4445-9859-68BC43835400}"/>
                </a:ext>
              </a:extLst>
            </p:cNvPr>
            <p:cNvSpPr/>
            <p:nvPr/>
          </p:nvSpPr>
          <p:spPr>
            <a:xfrm rot="13089394">
              <a:off x="4836993" y="2130885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2" name="Forme libre : forme 641">
              <a:extLst>
                <a:ext uri="{FF2B5EF4-FFF2-40B4-BE49-F238E27FC236}">
                  <a16:creationId xmlns:a16="http://schemas.microsoft.com/office/drawing/2014/main" id="{7C076520-7FB2-4FC1-9D9B-18E7CCBFD41C}"/>
                </a:ext>
              </a:extLst>
            </p:cNvPr>
            <p:cNvSpPr/>
            <p:nvPr/>
          </p:nvSpPr>
          <p:spPr>
            <a:xfrm rot="8716295">
              <a:off x="5117884" y="1840767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3" name="Forme libre : forme 642">
              <a:extLst>
                <a:ext uri="{FF2B5EF4-FFF2-40B4-BE49-F238E27FC236}">
                  <a16:creationId xmlns:a16="http://schemas.microsoft.com/office/drawing/2014/main" id="{43D28BDB-F985-40C3-8623-0F5EBBCEA04D}"/>
                </a:ext>
              </a:extLst>
            </p:cNvPr>
            <p:cNvSpPr/>
            <p:nvPr/>
          </p:nvSpPr>
          <p:spPr>
            <a:xfrm rot="8716295">
              <a:off x="5039475" y="1683975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4" name="Forme libre : forme 643">
              <a:extLst>
                <a:ext uri="{FF2B5EF4-FFF2-40B4-BE49-F238E27FC236}">
                  <a16:creationId xmlns:a16="http://schemas.microsoft.com/office/drawing/2014/main" id="{94CC3131-BEE6-4558-87A2-311D6D4A02F7}"/>
                </a:ext>
              </a:extLst>
            </p:cNvPr>
            <p:cNvSpPr/>
            <p:nvPr/>
          </p:nvSpPr>
          <p:spPr>
            <a:xfrm rot="8716295">
              <a:off x="4671311" y="172971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5" name="Forme libre : forme 644">
              <a:extLst>
                <a:ext uri="{FF2B5EF4-FFF2-40B4-BE49-F238E27FC236}">
                  <a16:creationId xmlns:a16="http://schemas.microsoft.com/office/drawing/2014/main" id="{4E2DFEBE-3426-4677-92D1-1024B4DE927D}"/>
                </a:ext>
              </a:extLst>
            </p:cNvPr>
            <p:cNvSpPr/>
            <p:nvPr/>
          </p:nvSpPr>
          <p:spPr>
            <a:xfrm rot="8716295">
              <a:off x="4939893" y="148869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6" name="Forme libre : forme 645">
              <a:extLst>
                <a:ext uri="{FF2B5EF4-FFF2-40B4-BE49-F238E27FC236}">
                  <a16:creationId xmlns:a16="http://schemas.microsoft.com/office/drawing/2014/main" id="{4081BB24-256C-4F4B-9A6F-DFCDC854E455}"/>
                </a:ext>
              </a:extLst>
            </p:cNvPr>
            <p:cNvSpPr/>
            <p:nvPr/>
          </p:nvSpPr>
          <p:spPr>
            <a:xfrm rot="8716295">
              <a:off x="3777571" y="1076054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7" name="Forme libre : forme 646">
              <a:extLst>
                <a:ext uri="{FF2B5EF4-FFF2-40B4-BE49-F238E27FC236}">
                  <a16:creationId xmlns:a16="http://schemas.microsoft.com/office/drawing/2014/main" id="{AC1A7255-5142-49FD-A5EF-06FB37B43ABB}"/>
                </a:ext>
              </a:extLst>
            </p:cNvPr>
            <p:cNvSpPr/>
            <p:nvPr/>
          </p:nvSpPr>
          <p:spPr>
            <a:xfrm rot="8716295">
              <a:off x="3912870" y="1120313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8" name="Forme libre : forme 647">
              <a:extLst>
                <a:ext uri="{FF2B5EF4-FFF2-40B4-BE49-F238E27FC236}">
                  <a16:creationId xmlns:a16="http://schemas.microsoft.com/office/drawing/2014/main" id="{919DC854-1FBE-4BD6-B8D9-CFB434F98A7C}"/>
                </a:ext>
              </a:extLst>
            </p:cNvPr>
            <p:cNvSpPr/>
            <p:nvPr/>
          </p:nvSpPr>
          <p:spPr>
            <a:xfrm rot="8716295">
              <a:off x="3844988" y="989725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9" name="Forme libre : forme 648">
              <a:extLst>
                <a:ext uri="{FF2B5EF4-FFF2-40B4-BE49-F238E27FC236}">
                  <a16:creationId xmlns:a16="http://schemas.microsoft.com/office/drawing/2014/main" id="{49BA536C-15FC-4479-BC63-4330EBFC747C}"/>
                </a:ext>
              </a:extLst>
            </p:cNvPr>
            <p:cNvSpPr/>
            <p:nvPr/>
          </p:nvSpPr>
          <p:spPr>
            <a:xfrm rot="8716295">
              <a:off x="3607700" y="121006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0" name="Forme libre : forme 649">
              <a:extLst>
                <a:ext uri="{FF2B5EF4-FFF2-40B4-BE49-F238E27FC236}">
                  <a16:creationId xmlns:a16="http://schemas.microsoft.com/office/drawing/2014/main" id="{1EA376EA-CA36-4368-817C-E5E9817AD15D}"/>
                </a:ext>
              </a:extLst>
            </p:cNvPr>
            <p:cNvSpPr/>
            <p:nvPr/>
          </p:nvSpPr>
          <p:spPr>
            <a:xfrm rot="8716295">
              <a:off x="3418654" y="89423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1" name="Forme libre : forme 650">
              <a:extLst>
                <a:ext uri="{FF2B5EF4-FFF2-40B4-BE49-F238E27FC236}">
                  <a16:creationId xmlns:a16="http://schemas.microsoft.com/office/drawing/2014/main" id="{5E0794DE-9E5D-40F3-81B1-459355C8C354}"/>
                </a:ext>
              </a:extLst>
            </p:cNvPr>
            <p:cNvSpPr/>
            <p:nvPr/>
          </p:nvSpPr>
          <p:spPr>
            <a:xfrm rot="8716295">
              <a:off x="3400413" y="68418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2" name="Forme libre : forme 651">
              <a:extLst>
                <a:ext uri="{FF2B5EF4-FFF2-40B4-BE49-F238E27FC236}">
                  <a16:creationId xmlns:a16="http://schemas.microsoft.com/office/drawing/2014/main" id="{4B1EE519-963B-4DDE-8BB5-AFD17A3ACDDB}"/>
                </a:ext>
              </a:extLst>
            </p:cNvPr>
            <p:cNvSpPr/>
            <p:nvPr/>
          </p:nvSpPr>
          <p:spPr>
            <a:xfrm rot="8716295">
              <a:off x="3744189" y="1272052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3" name="Forme libre : forme 652">
              <a:extLst>
                <a:ext uri="{FF2B5EF4-FFF2-40B4-BE49-F238E27FC236}">
                  <a16:creationId xmlns:a16="http://schemas.microsoft.com/office/drawing/2014/main" id="{843B2CBD-6604-4C65-9A88-6BD15A621379}"/>
                </a:ext>
              </a:extLst>
            </p:cNvPr>
            <p:cNvSpPr/>
            <p:nvPr/>
          </p:nvSpPr>
          <p:spPr>
            <a:xfrm rot="8716295">
              <a:off x="4215135" y="69743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4" name="Forme libre : forme 653">
              <a:extLst>
                <a:ext uri="{FF2B5EF4-FFF2-40B4-BE49-F238E27FC236}">
                  <a16:creationId xmlns:a16="http://schemas.microsoft.com/office/drawing/2014/main" id="{04086C4C-0CCF-4C9C-8E36-431E5C44E1D5}"/>
                </a:ext>
              </a:extLst>
            </p:cNvPr>
            <p:cNvSpPr/>
            <p:nvPr/>
          </p:nvSpPr>
          <p:spPr>
            <a:xfrm rot="8716295">
              <a:off x="4350434" y="74169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5" name="Forme libre : forme 654">
              <a:extLst>
                <a:ext uri="{FF2B5EF4-FFF2-40B4-BE49-F238E27FC236}">
                  <a16:creationId xmlns:a16="http://schemas.microsoft.com/office/drawing/2014/main" id="{F3DB09AD-8322-4A1E-B882-3AB7A06EFC3E}"/>
                </a:ext>
              </a:extLst>
            </p:cNvPr>
            <p:cNvSpPr/>
            <p:nvPr/>
          </p:nvSpPr>
          <p:spPr>
            <a:xfrm rot="8716295">
              <a:off x="4045264" y="83145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6" name="Forme libre : forme 655">
              <a:extLst>
                <a:ext uri="{FF2B5EF4-FFF2-40B4-BE49-F238E27FC236}">
                  <a16:creationId xmlns:a16="http://schemas.microsoft.com/office/drawing/2014/main" id="{F3E1347F-AB08-4E88-8553-2C3259820F53}"/>
                </a:ext>
              </a:extLst>
            </p:cNvPr>
            <p:cNvSpPr/>
            <p:nvPr/>
          </p:nvSpPr>
          <p:spPr>
            <a:xfrm rot="8716295">
              <a:off x="3856220" y="51561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7" name="Forme libre : forme 656">
              <a:extLst>
                <a:ext uri="{FF2B5EF4-FFF2-40B4-BE49-F238E27FC236}">
                  <a16:creationId xmlns:a16="http://schemas.microsoft.com/office/drawing/2014/main" id="{37C0E351-F531-4AFA-9B5B-9FA1F4DA382D}"/>
                </a:ext>
              </a:extLst>
            </p:cNvPr>
            <p:cNvSpPr/>
            <p:nvPr/>
          </p:nvSpPr>
          <p:spPr>
            <a:xfrm rot="8716295">
              <a:off x="4181753" y="893436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8" name="Forme libre : forme 657">
              <a:extLst>
                <a:ext uri="{FF2B5EF4-FFF2-40B4-BE49-F238E27FC236}">
                  <a16:creationId xmlns:a16="http://schemas.microsoft.com/office/drawing/2014/main" id="{EAD233D4-FAEF-4359-9D80-A0C4EA0721BB}"/>
                </a:ext>
              </a:extLst>
            </p:cNvPr>
            <p:cNvSpPr/>
            <p:nvPr/>
          </p:nvSpPr>
          <p:spPr>
            <a:xfrm rot="8716295">
              <a:off x="3816306" y="66701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9" name="Forme libre : forme 658">
              <a:extLst>
                <a:ext uri="{FF2B5EF4-FFF2-40B4-BE49-F238E27FC236}">
                  <a16:creationId xmlns:a16="http://schemas.microsoft.com/office/drawing/2014/main" id="{4935AFB8-12C9-437A-A5F0-16D910596549}"/>
                </a:ext>
              </a:extLst>
            </p:cNvPr>
            <p:cNvSpPr/>
            <p:nvPr/>
          </p:nvSpPr>
          <p:spPr>
            <a:xfrm rot="7484129">
              <a:off x="4340570" y="118305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0" name="Forme libre : forme 659">
              <a:extLst>
                <a:ext uri="{FF2B5EF4-FFF2-40B4-BE49-F238E27FC236}">
                  <a16:creationId xmlns:a16="http://schemas.microsoft.com/office/drawing/2014/main" id="{60120E9A-5AF3-48E4-8013-AFB2DF22E98E}"/>
                </a:ext>
              </a:extLst>
            </p:cNvPr>
            <p:cNvSpPr/>
            <p:nvPr/>
          </p:nvSpPr>
          <p:spPr>
            <a:xfrm rot="13089394">
              <a:off x="4499220" y="1132402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1" name="Forme libre : forme 660">
              <a:extLst>
                <a:ext uri="{FF2B5EF4-FFF2-40B4-BE49-F238E27FC236}">
                  <a16:creationId xmlns:a16="http://schemas.microsoft.com/office/drawing/2014/main" id="{FADC80EF-D490-4090-83FB-CC043913DFB7}"/>
                </a:ext>
              </a:extLst>
            </p:cNvPr>
            <p:cNvSpPr/>
            <p:nvPr/>
          </p:nvSpPr>
          <p:spPr>
            <a:xfrm rot="8716295">
              <a:off x="4780111" y="842284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2" name="Forme libre : forme 661">
              <a:extLst>
                <a:ext uri="{FF2B5EF4-FFF2-40B4-BE49-F238E27FC236}">
                  <a16:creationId xmlns:a16="http://schemas.microsoft.com/office/drawing/2014/main" id="{54E99E4D-E8AE-4B8D-BD60-290E9CE34806}"/>
                </a:ext>
              </a:extLst>
            </p:cNvPr>
            <p:cNvSpPr/>
            <p:nvPr/>
          </p:nvSpPr>
          <p:spPr>
            <a:xfrm rot="8716295">
              <a:off x="4701702" y="68549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3" name="Forme libre : forme 662">
              <a:extLst>
                <a:ext uri="{FF2B5EF4-FFF2-40B4-BE49-F238E27FC236}">
                  <a16:creationId xmlns:a16="http://schemas.microsoft.com/office/drawing/2014/main" id="{0576F78A-7E96-4491-9B0E-F11A7E2D4FE9}"/>
                </a:ext>
              </a:extLst>
            </p:cNvPr>
            <p:cNvSpPr/>
            <p:nvPr/>
          </p:nvSpPr>
          <p:spPr>
            <a:xfrm rot="8716295">
              <a:off x="4333538" y="73123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4" name="Forme libre : forme 663">
              <a:extLst>
                <a:ext uri="{FF2B5EF4-FFF2-40B4-BE49-F238E27FC236}">
                  <a16:creationId xmlns:a16="http://schemas.microsoft.com/office/drawing/2014/main" id="{0C2E4D36-6AB6-46E1-94C2-74D996114D27}"/>
                </a:ext>
              </a:extLst>
            </p:cNvPr>
            <p:cNvSpPr/>
            <p:nvPr/>
          </p:nvSpPr>
          <p:spPr>
            <a:xfrm rot="8716295">
              <a:off x="4602120" y="49021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5" name="Forme libre : forme 664">
              <a:extLst>
                <a:ext uri="{FF2B5EF4-FFF2-40B4-BE49-F238E27FC236}">
                  <a16:creationId xmlns:a16="http://schemas.microsoft.com/office/drawing/2014/main" id="{F078AC73-930A-464F-BC7C-4B2C44A99116}"/>
                </a:ext>
              </a:extLst>
            </p:cNvPr>
            <p:cNvSpPr/>
            <p:nvPr/>
          </p:nvSpPr>
          <p:spPr>
            <a:xfrm rot="8716295">
              <a:off x="3446198" y="7400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6" name="Forme libre : forme 665">
              <a:extLst>
                <a:ext uri="{FF2B5EF4-FFF2-40B4-BE49-F238E27FC236}">
                  <a16:creationId xmlns:a16="http://schemas.microsoft.com/office/drawing/2014/main" id="{A5F5E230-97AC-427D-B3BD-EE358DADE21E}"/>
                </a:ext>
              </a:extLst>
            </p:cNvPr>
            <p:cNvSpPr/>
            <p:nvPr/>
          </p:nvSpPr>
          <p:spPr>
            <a:xfrm rot="8716295">
              <a:off x="3581496" y="11826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7" name="Forme libre : forme 666">
              <a:extLst>
                <a:ext uri="{FF2B5EF4-FFF2-40B4-BE49-F238E27FC236}">
                  <a16:creationId xmlns:a16="http://schemas.microsoft.com/office/drawing/2014/main" id="{91294318-E81E-4D53-9C61-072AF08CC387}"/>
                </a:ext>
              </a:extLst>
            </p:cNvPr>
            <p:cNvSpPr/>
            <p:nvPr/>
          </p:nvSpPr>
          <p:spPr>
            <a:xfrm rot="8716295">
              <a:off x="3522597" y="36248"/>
              <a:ext cx="234675" cy="172489"/>
            </a:xfrm>
            <a:custGeom>
              <a:avLst/>
              <a:gdLst>
                <a:gd name="connsiteX0" fmla="*/ 25756 w 155050"/>
                <a:gd name="connsiteY0" fmla="*/ 113964 h 113964"/>
                <a:gd name="connsiteX1" fmla="*/ 0 w 155050"/>
                <a:gd name="connsiteY1" fmla="*/ 96110 h 113964"/>
                <a:gd name="connsiteX2" fmla="*/ 72120 w 155050"/>
                <a:gd name="connsiteY2" fmla="*/ 28251 h 113964"/>
                <a:gd name="connsiteX3" fmla="*/ 126799 w 155050"/>
                <a:gd name="connsiteY3" fmla="*/ 0 h 113964"/>
                <a:gd name="connsiteX4" fmla="*/ 155050 w 155050"/>
                <a:gd name="connsiteY4" fmla="*/ 33719 h 113964"/>
                <a:gd name="connsiteX5" fmla="*/ 128622 w 155050"/>
                <a:gd name="connsiteY5" fmla="*/ 69261 h 113964"/>
                <a:gd name="connsiteX6" fmla="*/ 129077 w 155050"/>
                <a:gd name="connsiteY6" fmla="*/ 69261 h 113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5050" h="113964">
                  <a:moveTo>
                    <a:pt x="25756" y="113964"/>
                  </a:moveTo>
                  <a:lnTo>
                    <a:pt x="0" y="96110"/>
                  </a:lnTo>
                  <a:lnTo>
                    <a:pt x="72120" y="28251"/>
                  </a:lnTo>
                  <a:cubicBezTo>
                    <a:pt x="85790" y="12303"/>
                    <a:pt x="105383" y="2279"/>
                    <a:pt x="126799" y="0"/>
                  </a:cubicBezTo>
                  <a:cubicBezTo>
                    <a:pt x="148671" y="0"/>
                    <a:pt x="155050" y="19138"/>
                    <a:pt x="155050" y="33719"/>
                  </a:cubicBezTo>
                  <a:cubicBezTo>
                    <a:pt x="153683" y="49668"/>
                    <a:pt x="143203" y="62882"/>
                    <a:pt x="128622" y="69261"/>
                  </a:cubicBezTo>
                  <a:lnTo>
                    <a:pt x="129077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8" name="Forme libre : forme 667">
              <a:extLst>
                <a:ext uri="{FF2B5EF4-FFF2-40B4-BE49-F238E27FC236}">
                  <a16:creationId xmlns:a16="http://schemas.microsoft.com/office/drawing/2014/main" id="{4DD6A7C5-87D0-4D46-A46A-2254EFCA82E0}"/>
                </a:ext>
              </a:extLst>
            </p:cNvPr>
            <p:cNvSpPr/>
            <p:nvPr/>
          </p:nvSpPr>
          <p:spPr>
            <a:xfrm rot="8716295">
              <a:off x="3276327" y="20801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9" name="Forme libre : forme 668">
              <a:extLst>
                <a:ext uri="{FF2B5EF4-FFF2-40B4-BE49-F238E27FC236}">
                  <a16:creationId xmlns:a16="http://schemas.microsoft.com/office/drawing/2014/main" id="{043EBFB6-F58E-491F-85EF-3F196F60359F}"/>
                </a:ext>
              </a:extLst>
            </p:cNvPr>
            <p:cNvSpPr/>
            <p:nvPr/>
          </p:nvSpPr>
          <p:spPr>
            <a:xfrm rot="8716295">
              <a:off x="3107933" y="-20072"/>
              <a:ext cx="308531" cy="199994"/>
            </a:xfrm>
            <a:custGeom>
              <a:avLst/>
              <a:gdLst>
                <a:gd name="connsiteX0" fmla="*/ 112633 w 203847"/>
                <a:gd name="connsiteY0" fmla="*/ 132136 h 132136"/>
                <a:gd name="connsiteX1" fmla="*/ 56185 w 203847"/>
                <a:gd name="connsiteY1" fmla="*/ 93008 h 132136"/>
                <a:gd name="connsiteX2" fmla="*/ 69777 w 203847"/>
                <a:gd name="connsiteY2" fmla="*/ 55323 h 132136"/>
                <a:gd name="connsiteX3" fmla="*/ 1818 w 203847"/>
                <a:gd name="connsiteY3" fmla="*/ 55323 h 132136"/>
                <a:gd name="connsiteX4" fmla="*/ 0 w 203847"/>
                <a:gd name="connsiteY4" fmla="*/ 54062 h 132136"/>
                <a:gd name="connsiteX5" fmla="*/ 0 w 203847"/>
                <a:gd name="connsiteY5" fmla="*/ 0 h 132136"/>
                <a:gd name="connsiteX6" fmla="*/ 203847 w 203847"/>
                <a:gd name="connsiteY6" fmla="*/ 0 h 132136"/>
                <a:gd name="connsiteX7" fmla="*/ 203847 w 203847"/>
                <a:gd name="connsiteY7" fmla="*/ 55323 h 132136"/>
                <a:gd name="connsiteX8" fmla="*/ 139055 w 203847"/>
                <a:gd name="connsiteY8" fmla="*/ 55323 h 132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32136">
                  <a:moveTo>
                    <a:pt x="112633" y="132136"/>
                  </a:moveTo>
                  <a:lnTo>
                    <a:pt x="56185" y="93008"/>
                  </a:lnTo>
                  <a:lnTo>
                    <a:pt x="69777" y="55323"/>
                  </a:lnTo>
                  <a:lnTo>
                    <a:pt x="1818" y="55323"/>
                  </a:lnTo>
                  <a:lnTo>
                    <a:pt x="0" y="54062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0" name="Forme libre : forme 669">
              <a:extLst>
                <a:ext uri="{FF2B5EF4-FFF2-40B4-BE49-F238E27FC236}">
                  <a16:creationId xmlns:a16="http://schemas.microsoft.com/office/drawing/2014/main" id="{794489F5-14EC-448F-A5B0-DA1D69E37C43}"/>
                </a:ext>
              </a:extLst>
            </p:cNvPr>
            <p:cNvSpPr/>
            <p:nvPr/>
          </p:nvSpPr>
          <p:spPr>
            <a:xfrm rot="8716295">
              <a:off x="3475628" y="-31540"/>
              <a:ext cx="98161" cy="118527"/>
            </a:xfrm>
            <a:custGeom>
              <a:avLst/>
              <a:gdLst>
                <a:gd name="connsiteX0" fmla="*/ 64855 w 64855"/>
                <a:gd name="connsiteY0" fmla="*/ 78311 h 78311"/>
                <a:gd name="connsiteX1" fmla="*/ 0 w 64855"/>
                <a:gd name="connsiteY1" fmla="*/ 33356 h 78311"/>
                <a:gd name="connsiteX2" fmla="*/ 64294 w 64855"/>
                <a:gd name="connsiteY2" fmla="*/ 0 h 78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855" h="78311">
                  <a:moveTo>
                    <a:pt x="64855" y="78311"/>
                  </a:moveTo>
                  <a:lnTo>
                    <a:pt x="0" y="33356"/>
                  </a:lnTo>
                  <a:lnTo>
                    <a:pt x="64294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1" name="Forme libre : forme 670">
              <a:extLst>
                <a:ext uri="{FF2B5EF4-FFF2-40B4-BE49-F238E27FC236}">
                  <a16:creationId xmlns:a16="http://schemas.microsoft.com/office/drawing/2014/main" id="{59D78A42-B1E7-4E9A-BC44-71C049BD09F4}"/>
                </a:ext>
              </a:extLst>
            </p:cNvPr>
            <p:cNvSpPr/>
            <p:nvPr/>
          </p:nvSpPr>
          <p:spPr>
            <a:xfrm rot="8716295">
              <a:off x="3412815" y="26999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2" name="Forme libre : forme 671">
              <a:extLst>
                <a:ext uri="{FF2B5EF4-FFF2-40B4-BE49-F238E27FC236}">
                  <a16:creationId xmlns:a16="http://schemas.microsoft.com/office/drawing/2014/main" id="{6913FE15-3938-4556-BC90-F97E03344291}"/>
                </a:ext>
              </a:extLst>
            </p:cNvPr>
            <p:cNvSpPr/>
            <p:nvPr/>
          </p:nvSpPr>
          <p:spPr>
            <a:xfrm rot="8716295">
              <a:off x="3966406" y="-35912"/>
              <a:ext cx="123741" cy="85774"/>
            </a:xfrm>
            <a:custGeom>
              <a:avLst/>
              <a:gdLst>
                <a:gd name="connsiteX0" fmla="*/ 81756 w 81756"/>
                <a:gd name="connsiteY0" fmla="*/ 56671 h 56671"/>
                <a:gd name="connsiteX1" fmla="*/ 0 w 81756"/>
                <a:gd name="connsiteY1" fmla="*/ 0 h 56671"/>
                <a:gd name="connsiteX2" fmla="*/ 24798 w 81756"/>
                <a:gd name="connsiteY2" fmla="*/ 0 h 56671"/>
                <a:gd name="connsiteX3" fmla="*/ 81756 w 81756"/>
                <a:gd name="connsiteY3" fmla="*/ 50123 h 56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1756" h="56671">
                  <a:moveTo>
                    <a:pt x="81756" y="56671"/>
                  </a:moveTo>
                  <a:lnTo>
                    <a:pt x="0" y="0"/>
                  </a:lnTo>
                  <a:lnTo>
                    <a:pt x="24798" y="0"/>
                  </a:lnTo>
                  <a:cubicBezTo>
                    <a:pt x="61707" y="0"/>
                    <a:pt x="81756" y="15949"/>
                    <a:pt x="81756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3" name="Forme libre : forme 672">
              <a:extLst>
                <a:ext uri="{FF2B5EF4-FFF2-40B4-BE49-F238E27FC236}">
                  <a16:creationId xmlns:a16="http://schemas.microsoft.com/office/drawing/2014/main" id="{5D62EEDF-CAA6-4BE4-A77A-50FBAB69143C}"/>
                </a:ext>
              </a:extLst>
            </p:cNvPr>
            <p:cNvSpPr/>
            <p:nvPr/>
          </p:nvSpPr>
          <p:spPr>
            <a:xfrm rot="8716295">
              <a:off x="4089146" y="-31808"/>
              <a:ext cx="332088" cy="148365"/>
            </a:xfrm>
            <a:custGeom>
              <a:avLst/>
              <a:gdLst>
                <a:gd name="connsiteX0" fmla="*/ 63575 w 219411"/>
                <a:gd name="connsiteY0" fmla="*/ 45493 h 98025"/>
                <a:gd name="connsiteX1" fmla="*/ 0 w 219411"/>
                <a:gd name="connsiteY1" fmla="*/ 1425 h 98025"/>
                <a:gd name="connsiteX2" fmla="*/ 63575 w 219411"/>
                <a:gd name="connsiteY2" fmla="*/ 1425 h 98025"/>
                <a:gd name="connsiteX3" fmla="*/ 88634 w 219411"/>
                <a:gd name="connsiteY3" fmla="*/ 62863 h 98025"/>
                <a:gd name="connsiteX4" fmla="*/ 73596 w 219411"/>
                <a:gd name="connsiteY4" fmla="*/ 52439 h 98025"/>
                <a:gd name="connsiteX5" fmla="*/ 75493 w 219411"/>
                <a:gd name="connsiteY5" fmla="*/ 47439 h 98025"/>
                <a:gd name="connsiteX6" fmla="*/ 112786 w 219411"/>
                <a:gd name="connsiteY6" fmla="*/ 5981 h 98025"/>
                <a:gd name="connsiteX7" fmla="*/ 144227 w 219411"/>
                <a:gd name="connsiteY7" fmla="*/ 57 h 98025"/>
                <a:gd name="connsiteX8" fmla="*/ 219411 w 219411"/>
                <a:gd name="connsiteY8" fmla="*/ 88456 h 98025"/>
                <a:gd name="connsiteX9" fmla="*/ 219411 w 219411"/>
                <a:gd name="connsiteY9" fmla="*/ 94380 h 98025"/>
                <a:gd name="connsiteX10" fmla="*/ 157441 w 219411"/>
                <a:gd name="connsiteY10" fmla="*/ 98025 h 98025"/>
                <a:gd name="connsiteX11" fmla="*/ 157441 w 219411"/>
                <a:gd name="connsiteY11" fmla="*/ 81621 h 98025"/>
                <a:gd name="connsiteX12" fmla="*/ 123722 w 219411"/>
                <a:gd name="connsiteY12" fmla="*/ 40156 h 98025"/>
                <a:gd name="connsiteX13" fmla="*/ 103089 w 219411"/>
                <a:gd name="connsiteY13" fmla="*/ 46969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9411" h="98025">
                  <a:moveTo>
                    <a:pt x="63575" y="45493"/>
                  </a:moveTo>
                  <a:lnTo>
                    <a:pt x="0" y="1425"/>
                  </a:lnTo>
                  <a:lnTo>
                    <a:pt x="63575" y="1425"/>
                  </a:lnTo>
                  <a:close/>
                  <a:moveTo>
                    <a:pt x="88634" y="62863"/>
                  </a:moveTo>
                  <a:lnTo>
                    <a:pt x="73596" y="52439"/>
                  </a:lnTo>
                  <a:lnTo>
                    <a:pt x="75493" y="47439"/>
                  </a:lnTo>
                  <a:cubicBezTo>
                    <a:pt x="85874" y="24008"/>
                    <a:pt x="96382" y="12816"/>
                    <a:pt x="112786" y="5981"/>
                  </a:cubicBezTo>
                  <a:cubicBezTo>
                    <a:pt x="122811" y="1880"/>
                    <a:pt x="133291" y="-398"/>
                    <a:pt x="144227" y="57"/>
                  </a:cubicBezTo>
                  <a:cubicBezTo>
                    <a:pt x="191160" y="-854"/>
                    <a:pt x="219411" y="31954"/>
                    <a:pt x="219411" y="88456"/>
                  </a:cubicBezTo>
                  <a:lnTo>
                    <a:pt x="219411" y="94380"/>
                  </a:lnTo>
                  <a:lnTo>
                    <a:pt x="157441" y="98025"/>
                  </a:lnTo>
                  <a:lnTo>
                    <a:pt x="157441" y="81621"/>
                  </a:lnTo>
                  <a:cubicBezTo>
                    <a:pt x="157441" y="57016"/>
                    <a:pt x="143316" y="40156"/>
                    <a:pt x="123722" y="40156"/>
                  </a:cubicBezTo>
                  <a:cubicBezTo>
                    <a:pt x="116431" y="40156"/>
                    <a:pt x="109454" y="42577"/>
                    <a:pt x="103089" y="4696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4" name="Forme libre : forme 673">
              <a:extLst>
                <a:ext uri="{FF2B5EF4-FFF2-40B4-BE49-F238E27FC236}">
                  <a16:creationId xmlns:a16="http://schemas.microsoft.com/office/drawing/2014/main" id="{204312F2-EA49-4439-8CE2-22C6633888E5}"/>
                </a:ext>
              </a:extLst>
            </p:cNvPr>
            <p:cNvSpPr/>
            <p:nvPr/>
          </p:nvSpPr>
          <p:spPr>
            <a:xfrm rot="8716295">
              <a:off x="3850379" y="-108618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5" name="Forme libre : forme 674">
              <a:extLst>
                <a:ext uri="{FF2B5EF4-FFF2-40B4-BE49-F238E27FC236}">
                  <a16:creationId xmlns:a16="http://schemas.microsoft.com/office/drawing/2014/main" id="{AE25CBF0-6DB2-42A0-99B2-802E91B6C3FD}"/>
                </a:ext>
              </a:extLst>
            </p:cNvPr>
            <p:cNvSpPr/>
            <p:nvPr/>
          </p:nvSpPr>
          <p:spPr>
            <a:xfrm rot="7484129">
              <a:off x="4009196" y="18100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6" name="Forme libre : forme 675">
              <a:extLst>
                <a:ext uri="{FF2B5EF4-FFF2-40B4-BE49-F238E27FC236}">
                  <a16:creationId xmlns:a16="http://schemas.microsoft.com/office/drawing/2014/main" id="{B5E963F4-D065-4C0F-BC9C-E6E170542019}"/>
                </a:ext>
              </a:extLst>
            </p:cNvPr>
            <p:cNvSpPr/>
            <p:nvPr/>
          </p:nvSpPr>
          <p:spPr>
            <a:xfrm rot="13089394">
              <a:off x="4167846" y="130348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7" name="Forme libre : forme 676">
              <a:extLst>
                <a:ext uri="{FF2B5EF4-FFF2-40B4-BE49-F238E27FC236}">
                  <a16:creationId xmlns:a16="http://schemas.microsoft.com/office/drawing/2014/main" id="{76D605A8-75FB-413E-9850-E731D16B25B6}"/>
                </a:ext>
              </a:extLst>
            </p:cNvPr>
            <p:cNvSpPr/>
            <p:nvPr/>
          </p:nvSpPr>
          <p:spPr>
            <a:xfrm rot="8716295">
              <a:off x="4488057" y="-10608"/>
              <a:ext cx="169580" cy="136116"/>
            </a:xfrm>
            <a:custGeom>
              <a:avLst/>
              <a:gdLst>
                <a:gd name="connsiteX0" fmla="*/ 62355 w 112042"/>
                <a:gd name="connsiteY0" fmla="*/ 89932 h 89932"/>
                <a:gd name="connsiteX1" fmla="*/ 0 w 112042"/>
                <a:gd name="connsiteY1" fmla="*/ 46710 h 89932"/>
                <a:gd name="connsiteX2" fmla="*/ 14231 w 112042"/>
                <a:gd name="connsiteY2" fmla="*/ 33321 h 89932"/>
                <a:gd name="connsiteX3" fmla="*/ 78722 w 112042"/>
                <a:gd name="connsiteY3" fmla="*/ 0 h 89932"/>
                <a:gd name="connsiteX4" fmla="*/ 112042 w 112042"/>
                <a:gd name="connsiteY4" fmla="*/ 39770 h 89932"/>
                <a:gd name="connsiteX5" fmla="*/ 80872 w 112042"/>
                <a:gd name="connsiteY5" fmla="*/ 81689 h 89932"/>
                <a:gd name="connsiteX6" fmla="*/ 81408 w 112042"/>
                <a:gd name="connsiteY6" fmla="*/ 81689 h 89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2042" h="89932">
                  <a:moveTo>
                    <a:pt x="62355" y="89932"/>
                  </a:moveTo>
                  <a:lnTo>
                    <a:pt x="0" y="46710"/>
                  </a:lnTo>
                  <a:lnTo>
                    <a:pt x="14231" y="33321"/>
                  </a:lnTo>
                  <a:cubicBezTo>
                    <a:pt x="30353" y="14511"/>
                    <a:pt x="53462" y="2687"/>
                    <a:pt x="78722" y="0"/>
                  </a:cubicBezTo>
                  <a:cubicBezTo>
                    <a:pt x="104518" y="0"/>
                    <a:pt x="112042" y="22572"/>
                    <a:pt x="112042" y="39770"/>
                  </a:cubicBezTo>
                  <a:cubicBezTo>
                    <a:pt x="110429" y="58580"/>
                    <a:pt x="98068" y="74165"/>
                    <a:pt x="80872" y="81689"/>
                  </a:cubicBezTo>
                  <a:lnTo>
                    <a:pt x="81408" y="816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8" name="Forme libre : forme 677">
              <a:extLst>
                <a:ext uri="{FF2B5EF4-FFF2-40B4-BE49-F238E27FC236}">
                  <a16:creationId xmlns:a16="http://schemas.microsoft.com/office/drawing/2014/main" id="{4F3B7A35-9F70-4C60-A362-537BA842EBF8}"/>
                </a:ext>
              </a:extLst>
            </p:cNvPr>
            <p:cNvSpPr/>
            <p:nvPr/>
          </p:nvSpPr>
          <p:spPr>
            <a:xfrm rot="8716295">
              <a:off x="3111565" y="373623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9" name="Forme libre : forme 678">
              <a:extLst>
                <a:ext uri="{FF2B5EF4-FFF2-40B4-BE49-F238E27FC236}">
                  <a16:creationId xmlns:a16="http://schemas.microsoft.com/office/drawing/2014/main" id="{84E0A451-4FD1-411C-AC65-26E7DCFC5AE7}"/>
                </a:ext>
              </a:extLst>
            </p:cNvPr>
            <p:cNvSpPr/>
            <p:nvPr/>
          </p:nvSpPr>
          <p:spPr>
            <a:xfrm rot="8716295">
              <a:off x="3246864" y="378049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0" name="Forme libre : forme 679">
              <a:extLst>
                <a:ext uri="{FF2B5EF4-FFF2-40B4-BE49-F238E27FC236}">
                  <a16:creationId xmlns:a16="http://schemas.microsoft.com/office/drawing/2014/main" id="{ED63A363-D142-4852-ADC9-3EB78E55F392}"/>
                </a:ext>
              </a:extLst>
            </p:cNvPr>
            <p:cNvSpPr/>
            <p:nvPr/>
          </p:nvSpPr>
          <p:spPr>
            <a:xfrm rot="8716295">
              <a:off x="3178981" y="3649901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1" name="Forme libre : forme 680">
              <a:extLst>
                <a:ext uri="{FF2B5EF4-FFF2-40B4-BE49-F238E27FC236}">
                  <a16:creationId xmlns:a16="http://schemas.microsoft.com/office/drawing/2014/main" id="{F107AA4D-9993-4946-BCBA-1D03F3965881}"/>
                </a:ext>
              </a:extLst>
            </p:cNvPr>
            <p:cNvSpPr/>
            <p:nvPr/>
          </p:nvSpPr>
          <p:spPr>
            <a:xfrm rot="8716295">
              <a:off x="2941694" y="387024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2" name="Forme libre : forme 681">
              <a:extLst>
                <a:ext uri="{FF2B5EF4-FFF2-40B4-BE49-F238E27FC236}">
                  <a16:creationId xmlns:a16="http://schemas.microsoft.com/office/drawing/2014/main" id="{65B10BB0-E676-4F90-9054-FB79523A1724}"/>
                </a:ext>
              </a:extLst>
            </p:cNvPr>
            <p:cNvSpPr/>
            <p:nvPr/>
          </p:nvSpPr>
          <p:spPr>
            <a:xfrm rot="8716295">
              <a:off x="2752648" y="355441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3" name="Forme libre : forme 682">
              <a:extLst>
                <a:ext uri="{FF2B5EF4-FFF2-40B4-BE49-F238E27FC236}">
                  <a16:creationId xmlns:a16="http://schemas.microsoft.com/office/drawing/2014/main" id="{DCBB16BD-D124-496F-BCB6-D9884BAFBA8A}"/>
                </a:ext>
              </a:extLst>
            </p:cNvPr>
            <p:cNvSpPr/>
            <p:nvPr/>
          </p:nvSpPr>
          <p:spPr>
            <a:xfrm rot="8716295">
              <a:off x="2734407" y="334436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4" name="Forme libre : forme 683">
              <a:extLst>
                <a:ext uri="{FF2B5EF4-FFF2-40B4-BE49-F238E27FC236}">
                  <a16:creationId xmlns:a16="http://schemas.microsoft.com/office/drawing/2014/main" id="{BA7B781B-C49E-49C3-853F-E110F097EADD}"/>
                </a:ext>
              </a:extLst>
            </p:cNvPr>
            <p:cNvSpPr/>
            <p:nvPr/>
          </p:nvSpPr>
          <p:spPr>
            <a:xfrm rot="8716295">
              <a:off x="3078183" y="393222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5" name="Forme libre : forme 684">
              <a:extLst>
                <a:ext uri="{FF2B5EF4-FFF2-40B4-BE49-F238E27FC236}">
                  <a16:creationId xmlns:a16="http://schemas.microsoft.com/office/drawing/2014/main" id="{1E08FA39-4108-445F-B2C5-D79E17CF02D4}"/>
                </a:ext>
              </a:extLst>
            </p:cNvPr>
            <p:cNvSpPr/>
            <p:nvPr/>
          </p:nvSpPr>
          <p:spPr>
            <a:xfrm rot="8716295">
              <a:off x="3549129" y="335761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6" name="Forme libre : forme 685">
              <a:extLst>
                <a:ext uri="{FF2B5EF4-FFF2-40B4-BE49-F238E27FC236}">
                  <a16:creationId xmlns:a16="http://schemas.microsoft.com/office/drawing/2014/main" id="{2DFB8EEE-C6EB-4042-B3C7-6D64C618E03F}"/>
                </a:ext>
              </a:extLst>
            </p:cNvPr>
            <p:cNvSpPr/>
            <p:nvPr/>
          </p:nvSpPr>
          <p:spPr>
            <a:xfrm rot="8716295">
              <a:off x="3684428" y="340187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7" name="Forme libre : forme 686">
              <a:extLst>
                <a:ext uri="{FF2B5EF4-FFF2-40B4-BE49-F238E27FC236}">
                  <a16:creationId xmlns:a16="http://schemas.microsoft.com/office/drawing/2014/main" id="{0F7B5112-37C8-4C58-BE24-BE46857F1D99}"/>
                </a:ext>
              </a:extLst>
            </p:cNvPr>
            <p:cNvSpPr/>
            <p:nvPr/>
          </p:nvSpPr>
          <p:spPr>
            <a:xfrm rot="8716295">
              <a:off x="3379258" y="349163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8" name="Forme libre : forme 687">
              <a:extLst>
                <a:ext uri="{FF2B5EF4-FFF2-40B4-BE49-F238E27FC236}">
                  <a16:creationId xmlns:a16="http://schemas.microsoft.com/office/drawing/2014/main" id="{0562A8EB-34BD-4915-997B-9EADBCB5D5E2}"/>
                </a:ext>
              </a:extLst>
            </p:cNvPr>
            <p:cNvSpPr/>
            <p:nvPr/>
          </p:nvSpPr>
          <p:spPr>
            <a:xfrm rot="8716295">
              <a:off x="3190213" y="317579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9" name="Forme libre : forme 688">
              <a:extLst>
                <a:ext uri="{FF2B5EF4-FFF2-40B4-BE49-F238E27FC236}">
                  <a16:creationId xmlns:a16="http://schemas.microsoft.com/office/drawing/2014/main" id="{FD5490B4-5CA1-4323-8DA1-3A8268719143}"/>
                </a:ext>
              </a:extLst>
            </p:cNvPr>
            <p:cNvSpPr/>
            <p:nvPr/>
          </p:nvSpPr>
          <p:spPr>
            <a:xfrm rot="8716295">
              <a:off x="3515746" y="3553613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0" name="Forme libre : forme 689">
              <a:extLst>
                <a:ext uri="{FF2B5EF4-FFF2-40B4-BE49-F238E27FC236}">
                  <a16:creationId xmlns:a16="http://schemas.microsoft.com/office/drawing/2014/main" id="{8D9B2EB7-9E8D-4A25-8D7C-BFC302DA6A1B}"/>
                </a:ext>
              </a:extLst>
            </p:cNvPr>
            <p:cNvSpPr/>
            <p:nvPr/>
          </p:nvSpPr>
          <p:spPr>
            <a:xfrm rot="8716295">
              <a:off x="3150300" y="332718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1" name="Forme libre : forme 690">
              <a:extLst>
                <a:ext uri="{FF2B5EF4-FFF2-40B4-BE49-F238E27FC236}">
                  <a16:creationId xmlns:a16="http://schemas.microsoft.com/office/drawing/2014/main" id="{3E0E55FC-47BD-40C5-B922-D3702F12DF26}"/>
                </a:ext>
              </a:extLst>
            </p:cNvPr>
            <p:cNvSpPr/>
            <p:nvPr/>
          </p:nvSpPr>
          <p:spPr>
            <a:xfrm rot="7484129">
              <a:off x="3674564" y="38432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2" name="Forme libre : forme 691">
              <a:extLst>
                <a:ext uri="{FF2B5EF4-FFF2-40B4-BE49-F238E27FC236}">
                  <a16:creationId xmlns:a16="http://schemas.microsoft.com/office/drawing/2014/main" id="{04819A13-0F26-4906-BEC9-BFAA857FEB52}"/>
                </a:ext>
              </a:extLst>
            </p:cNvPr>
            <p:cNvSpPr/>
            <p:nvPr/>
          </p:nvSpPr>
          <p:spPr>
            <a:xfrm rot="13089394">
              <a:off x="3833214" y="3792578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3" name="Forme libre : forme 692">
              <a:extLst>
                <a:ext uri="{FF2B5EF4-FFF2-40B4-BE49-F238E27FC236}">
                  <a16:creationId xmlns:a16="http://schemas.microsoft.com/office/drawing/2014/main" id="{7099CE46-9678-40AB-BC7E-D4C599B2EC77}"/>
                </a:ext>
              </a:extLst>
            </p:cNvPr>
            <p:cNvSpPr/>
            <p:nvPr/>
          </p:nvSpPr>
          <p:spPr>
            <a:xfrm rot="8716295">
              <a:off x="4114105" y="3502461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4" name="Forme libre : forme 693">
              <a:extLst>
                <a:ext uri="{FF2B5EF4-FFF2-40B4-BE49-F238E27FC236}">
                  <a16:creationId xmlns:a16="http://schemas.microsoft.com/office/drawing/2014/main" id="{930FE6A8-BA84-4D85-9462-1369A3BC2987}"/>
                </a:ext>
              </a:extLst>
            </p:cNvPr>
            <p:cNvSpPr/>
            <p:nvPr/>
          </p:nvSpPr>
          <p:spPr>
            <a:xfrm rot="8716295">
              <a:off x="4035696" y="334566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5" name="Forme libre : forme 694">
              <a:extLst>
                <a:ext uri="{FF2B5EF4-FFF2-40B4-BE49-F238E27FC236}">
                  <a16:creationId xmlns:a16="http://schemas.microsoft.com/office/drawing/2014/main" id="{6925581E-98AA-485C-AF67-05ACEFEFDF13}"/>
                </a:ext>
              </a:extLst>
            </p:cNvPr>
            <p:cNvSpPr/>
            <p:nvPr/>
          </p:nvSpPr>
          <p:spPr>
            <a:xfrm rot="8716295">
              <a:off x="3667532" y="339140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6" name="Forme libre : forme 695">
              <a:extLst>
                <a:ext uri="{FF2B5EF4-FFF2-40B4-BE49-F238E27FC236}">
                  <a16:creationId xmlns:a16="http://schemas.microsoft.com/office/drawing/2014/main" id="{59299429-87C0-470E-94D0-1EBBBD875A42}"/>
                </a:ext>
              </a:extLst>
            </p:cNvPr>
            <p:cNvSpPr/>
            <p:nvPr/>
          </p:nvSpPr>
          <p:spPr>
            <a:xfrm rot="8716295">
              <a:off x="3936113" y="315039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7" name="Forme libre : forme 696">
              <a:extLst>
                <a:ext uri="{FF2B5EF4-FFF2-40B4-BE49-F238E27FC236}">
                  <a16:creationId xmlns:a16="http://schemas.microsoft.com/office/drawing/2014/main" id="{20993448-B66A-4395-B0A3-8C600524A87B}"/>
                </a:ext>
              </a:extLst>
            </p:cNvPr>
            <p:cNvSpPr/>
            <p:nvPr/>
          </p:nvSpPr>
          <p:spPr>
            <a:xfrm rot="8716295">
              <a:off x="3449338" y="4734714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8" name="Forme libre : forme 697">
              <a:extLst>
                <a:ext uri="{FF2B5EF4-FFF2-40B4-BE49-F238E27FC236}">
                  <a16:creationId xmlns:a16="http://schemas.microsoft.com/office/drawing/2014/main" id="{5F68C16D-85E0-48B4-ABCD-457241BCE8FC}"/>
                </a:ext>
              </a:extLst>
            </p:cNvPr>
            <p:cNvSpPr/>
            <p:nvPr/>
          </p:nvSpPr>
          <p:spPr>
            <a:xfrm rot="8716295">
              <a:off x="3580975" y="4773824"/>
              <a:ext cx="394489" cy="383455"/>
            </a:xfrm>
            <a:custGeom>
              <a:avLst/>
              <a:gdLst>
                <a:gd name="connsiteX0" fmla="*/ 77932 w 394489"/>
                <a:gd name="connsiteY0" fmla="*/ 383455 h 383455"/>
                <a:gd name="connsiteX1" fmla="*/ 77932 w 394489"/>
                <a:gd name="connsiteY1" fmla="*/ 66898 h 383455"/>
                <a:gd name="connsiteX2" fmla="*/ 0 w 394489"/>
                <a:gd name="connsiteY2" fmla="*/ 66898 h 383455"/>
                <a:gd name="connsiteX3" fmla="*/ 0 w 394489"/>
                <a:gd name="connsiteY3" fmla="*/ 0 h 383455"/>
                <a:gd name="connsiteX4" fmla="*/ 158623 w 394489"/>
                <a:gd name="connsiteY4" fmla="*/ 0 h 383455"/>
                <a:gd name="connsiteX5" fmla="*/ 158623 w 394489"/>
                <a:gd name="connsiteY5" fmla="*/ 111726 h 383455"/>
                <a:gd name="connsiteX6" fmla="*/ 160692 w 394489"/>
                <a:gd name="connsiteY6" fmla="*/ 111726 h 383455"/>
                <a:gd name="connsiteX7" fmla="*/ 233107 w 394489"/>
                <a:gd name="connsiteY7" fmla="*/ 6897 h 383455"/>
                <a:gd name="connsiteX8" fmla="*/ 240854 w 394489"/>
                <a:gd name="connsiteY8" fmla="*/ 5438 h 383455"/>
                <a:gd name="connsiteX9" fmla="*/ 391511 w 394489"/>
                <a:gd name="connsiteY9" fmla="*/ 109868 h 383455"/>
                <a:gd name="connsiteX10" fmla="*/ 394489 w 394489"/>
                <a:gd name="connsiteY10" fmla="*/ 131726 h 383455"/>
                <a:gd name="connsiteX11" fmla="*/ 394489 w 394489"/>
                <a:gd name="connsiteY11" fmla="*/ 140692 h 383455"/>
                <a:gd name="connsiteX12" fmla="*/ 300695 w 394489"/>
                <a:gd name="connsiteY12" fmla="*/ 146210 h 383455"/>
                <a:gd name="connsiteX13" fmla="*/ 300695 w 394489"/>
                <a:gd name="connsiteY13" fmla="*/ 121382 h 383455"/>
                <a:gd name="connsiteX14" fmla="*/ 249659 w 394489"/>
                <a:gd name="connsiteY14" fmla="*/ 58622 h 383455"/>
                <a:gd name="connsiteX15" fmla="*/ 168969 w 394489"/>
                <a:gd name="connsiteY15" fmla="*/ 191038 h 383455"/>
                <a:gd name="connsiteX16" fmla="*/ 168969 w 394489"/>
                <a:gd name="connsiteY16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4489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82762" y="46208"/>
                    <a:pt x="200003" y="20690"/>
                    <a:pt x="233107" y="6897"/>
                  </a:cubicBezTo>
                  <a:lnTo>
                    <a:pt x="240854" y="5438"/>
                  </a:lnTo>
                  <a:lnTo>
                    <a:pt x="391511" y="109868"/>
                  </a:lnTo>
                  <a:lnTo>
                    <a:pt x="394489" y="131726"/>
                  </a:lnTo>
                  <a:lnTo>
                    <a:pt x="394489" y="140692"/>
                  </a:lnTo>
                  <a:lnTo>
                    <a:pt x="300695" y="146210"/>
                  </a:lnTo>
                  <a:lnTo>
                    <a:pt x="300695" y="121382"/>
                  </a:lnTo>
                  <a:cubicBezTo>
                    <a:pt x="300695" y="84140"/>
                    <a:pt x="279315" y="58621"/>
                    <a:pt x="249659" y="58622"/>
                  </a:cubicBezTo>
                  <a:cubicBezTo>
                    <a:pt x="205521" y="58622"/>
                    <a:pt x="168969" y="117244"/>
                    <a:pt x="168969" y="191038"/>
                  </a:cubicBez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9" name="Forme libre : forme 698">
              <a:extLst>
                <a:ext uri="{FF2B5EF4-FFF2-40B4-BE49-F238E27FC236}">
                  <a16:creationId xmlns:a16="http://schemas.microsoft.com/office/drawing/2014/main" id="{DDFDC7AC-7825-4F2D-8BC2-D122551871CE}"/>
                </a:ext>
              </a:extLst>
            </p:cNvPr>
            <p:cNvSpPr/>
            <p:nvPr/>
          </p:nvSpPr>
          <p:spPr>
            <a:xfrm rot="8716295">
              <a:off x="3516754" y="4648384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0" name="Forme libre : forme 699">
              <a:extLst>
                <a:ext uri="{FF2B5EF4-FFF2-40B4-BE49-F238E27FC236}">
                  <a16:creationId xmlns:a16="http://schemas.microsoft.com/office/drawing/2014/main" id="{9E124BC4-0A34-43AF-B268-C015D1E183F5}"/>
                </a:ext>
              </a:extLst>
            </p:cNvPr>
            <p:cNvSpPr/>
            <p:nvPr/>
          </p:nvSpPr>
          <p:spPr>
            <a:xfrm rot="8716295">
              <a:off x="3279467" y="486872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1" name="Forme libre : forme 700">
              <a:extLst>
                <a:ext uri="{FF2B5EF4-FFF2-40B4-BE49-F238E27FC236}">
                  <a16:creationId xmlns:a16="http://schemas.microsoft.com/office/drawing/2014/main" id="{BD9217FD-3B70-4A3D-8050-FAE9AD88FA69}"/>
                </a:ext>
              </a:extLst>
            </p:cNvPr>
            <p:cNvSpPr/>
            <p:nvPr/>
          </p:nvSpPr>
          <p:spPr>
            <a:xfrm rot="8716295">
              <a:off x="3090421" y="455289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2" name="Forme libre : forme 701">
              <a:extLst>
                <a:ext uri="{FF2B5EF4-FFF2-40B4-BE49-F238E27FC236}">
                  <a16:creationId xmlns:a16="http://schemas.microsoft.com/office/drawing/2014/main" id="{82574961-DC75-453C-B1E8-53CAF357269C}"/>
                </a:ext>
              </a:extLst>
            </p:cNvPr>
            <p:cNvSpPr/>
            <p:nvPr/>
          </p:nvSpPr>
          <p:spPr>
            <a:xfrm rot="8716295">
              <a:off x="3072180" y="434284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3" name="Forme libre : forme 702">
              <a:extLst>
                <a:ext uri="{FF2B5EF4-FFF2-40B4-BE49-F238E27FC236}">
                  <a16:creationId xmlns:a16="http://schemas.microsoft.com/office/drawing/2014/main" id="{F9FF2627-55AC-40EC-B2C7-E4BB0FC2841E}"/>
                </a:ext>
              </a:extLst>
            </p:cNvPr>
            <p:cNvSpPr/>
            <p:nvPr/>
          </p:nvSpPr>
          <p:spPr>
            <a:xfrm rot="8716295">
              <a:off x="3388475" y="4959102"/>
              <a:ext cx="91035" cy="230894"/>
            </a:xfrm>
            <a:custGeom>
              <a:avLst/>
              <a:gdLst>
                <a:gd name="connsiteX0" fmla="*/ 91035 w 91035"/>
                <a:gd name="connsiteY0" fmla="*/ 230894 h 230894"/>
                <a:gd name="connsiteX1" fmla="*/ 0 w 91035"/>
                <a:gd name="connsiteY1" fmla="*/ 143306 h 230894"/>
                <a:gd name="connsiteX2" fmla="*/ 0 w 91035"/>
                <a:gd name="connsiteY2" fmla="*/ 0 h 230894"/>
                <a:gd name="connsiteX3" fmla="*/ 91035 w 91035"/>
                <a:gd name="connsiteY3" fmla="*/ 63103 h 230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230894">
                  <a:moveTo>
                    <a:pt x="91035" y="230894"/>
                  </a:moveTo>
                  <a:lnTo>
                    <a:pt x="0" y="143306"/>
                  </a:lnTo>
                  <a:lnTo>
                    <a:pt x="0" y="0"/>
                  </a:lnTo>
                  <a:lnTo>
                    <a:pt x="91035" y="631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4" name="Forme libre : forme 703">
              <a:extLst>
                <a:ext uri="{FF2B5EF4-FFF2-40B4-BE49-F238E27FC236}">
                  <a16:creationId xmlns:a16="http://schemas.microsoft.com/office/drawing/2014/main" id="{E8EDEFFE-1CCB-4594-BF4D-83E9CF1C96A7}"/>
                </a:ext>
              </a:extLst>
            </p:cNvPr>
            <p:cNvSpPr/>
            <p:nvPr/>
          </p:nvSpPr>
          <p:spPr>
            <a:xfrm rot="8716295">
              <a:off x="3886902" y="435609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5" name="Forme libre : forme 704">
              <a:extLst>
                <a:ext uri="{FF2B5EF4-FFF2-40B4-BE49-F238E27FC236}">
                  <a16:creationId xmlns:a16="http://schemas.microsoft.com/office/drawing/2014/main" id="{55A94951-8E4E-4CA9-96D6-1FE7A4C337C6}"/>
                </a:ext>
              </a:extLst>
            </p:cNvPr>
            <p:cNvSpPr/>
            <p:nvPr/>
          </p:nvSpPr>
          <p:spPr>
            <a:xfrm rot="8716295">
              <a:off x="4022201" y="440035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6" name="Forme libre : forme 705">
              <a:extLst>
                <a:ext uri="{FF2B5EF4-FFF2-40B4-BE49-F238E27FC236}">
                  <a16:creationId xmlns:a16="http://schemas.microsoft.com/office/drawing/2014/main" id="{0D6FF806-864D-4C38-93A0-F9147C634CAC}"/>
                </a:ext>
              </a:extLst>
            </p:cNvPr>
            <p:cNvSpPr/>
            <p:nvPr/>
          </p:nvSpPr>
          <p:spPr>
            <a:xfrm rot="8716295">
              <a:off x="3717031" y="44901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7" name="Forme libre : forme 706">
              <a:extLst>
                <a:ext uri="{FF2B5EF4-FFF2-40B4-BE49-F238E27FC236}">
                  <a16:creationId xmlns:a16="http://schemas.microsoft.com/office/drawing/2014/main" id="{FBC6206E-0C5C-4787-A24D-53111B4AE1BD}"/>
                </a:ext>
              </a:extLst>
            </p:cNvPr>
            <p:cNvSpPr/>
            <p:nvPr/>
          </p:nvSpPr>
          <p:spPr>
            <a:xfrm rot="8716295">
              <a:off x="3527986" y="417427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8" name="Forme libre : forme 707">
              <a:extLst>
                <a:ext uri="{FF2B5EF4-FFF2-40B4-BE49-F238E27FC236}">
                  <a16:creationId xmlns:a16="http://schemas.microsoft.com/office/drawing/2014/main" id="{98187825-2EC9-4F80-8FFB-DB7FF0C2F09C}"/>
                </a:ext>
              </a:extLst>
            </p:cNvPr>
            <p:cNvSpPr/>
            <p:nvPr/>
          </p:nvSpPr>
          <p:spPr>
            <a:xfrm rot="8716295">
              <a:off x="3853519" y="4552096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9" name="Forme libre : forme 708">
              <a:extLst>
                <a:ext uri="{FF2B5EF4-FFF2-40B4-BE49-F238E27FC236}">
                  <a16:creationId xmlns:a16="http://schemas.microsoft.com/office/drawing/2014/main" id="{AAB4B000-0E9F-461C-AFEB-00262B0F810F}"/>
                </a:ext>
              </a:extLst>
            </p:cNvPr>
            <p:cNvSpPr/>
            <p:nvPr/>
          </p:nvSpPr>
          <p:spPr>
            <a:xfrm rot="8716295">
              <a:off x="3488073" y="432567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0" name="Forme libre : forme 709">
              <a:extLst>
                <a:ext uri="{FF2B5EF4-FFF2-40B4-BE49-F238E27FC236}">
                  <a16:creationId xmlns:a16="http://schemas.microsoft.com/office/drawing/2014/main" id="{9A1C13DA-0F62-4833-98DE-AA495BB59885}"/>
                </a:ext>
              </a:extLst>
            </p:cNvPr>
            <p:cNvSpPr/>
            <p:nvPr/>
          </p:nvSpPr>
          <p:spPr>
            <a:xfrm rot="7484129">
              <a:off x="4016569" y="4837237"/>
              <a:ext cx="295167" cy="296463"/>
            </a:xfrm>
            <a:custGeom>
              <a:avLst/>
              <a:gdLst>
                <a:gd name="connsiteX0" fmla="*/ 137293 w 295167"/>
                <a:gd name="connsiteY0" fmla="*/ 296463 h 296463"/>
                <a:gd name="connsiteX1" fmla="*/ 72418 w 295167"/>
                <a:gd name="connsiteY1" fmla="*/ 175766 h 296463"/>
                <a:gd name="connsiteX2" fmla="*/ 105610 w 295167"/>
                <a:gd name="connsiteY2" fmla="*/ 83734 h 296463"/>
                <a:gd name="connsiteX3" fmla="*/ 0 w 295167"/>
                <a:gd name="connsiteY3" fmla="*/ 83734 h 296463"/>
                <a:gd name="connsiteX4" fmla="*/ 0 w 295167"/>
                <a:gd name="connsiteY4" fmla="*/ 0 h 296463"/>
                <a:gd name="connsiteX5" fmla="*/ 237110 w 295167"/>
                <a:gd name="connsiteY5" fmla="*/ 0 h 296463"/>
                <a:gd name="connsiteX6" fmla="*/ 295167 w 295167"/>
                <a:gd name="connsiteY6" fmla="*/ 83734 h 296463"/>
                <a:gd name="connsiteX7" fmla="*/ 210466 w 295167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5167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37110" y="0"/>
                  </a:lnTo>
                  <a:lnTo>
                    <a:pt x="295167" y="83734"/>
                  </a:lnTo>
                  <a:lnTo>
                    <a:pt x="210466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1" name="Forme libre : forme 710">
              <a:extLst>
                <a:ext uri="{FF2B5EF4-FFF2-40B4-BE49-F238E27FC236}">
                  <a16:creationId xmlns:a16="http://schemas.microsoft.com/office/drawing/2014/main" id="{69127492-EB65-429C-9E8A-EB2855F4256A}"/>
                </a:ext>
              </a:extLst>
            </p:cNvPr>
            <p:cNvSpPr/>
            <p:nvPr/>
          </p:nvSpPr>
          <p:spPr>
            <a:xfrm rot="13089394">
              <a:off x="4226447" y="4804985"/>
              <a:ext cx="412568" cy="314062"/>
            </a:xfrm>
            <a:custGeom>
              <a:avLst/>
              <a:gdLst>
                <a:gd name="connsiteX0" fmla="*/ 412568 w 412568"/>
                <a:gd name="connsiteY0" fmla="*/ 206915 h 314062"/>
                <a:gd name="connsiteX1" fmla="*/ 138636 w 412568"/>
                <a:gd name="connsiteY1" fmla="*/ 313815 h 314062"/>
                <a:gd name="connsiteX2" fmla="*/ 35911 w 412568"/>
                <a:gd name="connsiteY2" fmla="*/ 272057 h 314062"/>
                <a:gd name="connsiteX3" fmla="*/ 0 w 412568"/>
                <a:gd name="connsiteY3" fmla="*/ 128410 h 314062"/>
                <a:gd name="connsiteX4" fmla="*/ 0 w 412568"/>
                <a:gd name="connsiteY4" fmla="*/ 88308 h 314062"/>
                <a:gd name="connsiteX5" fmla="*/ 112395 w 412568"/>
                <a:gd name="connsiteY5" fmla="*/ 0 h 314062"/>
                <a:gd name="connsiteX6" fmla="*/ 112747 w 412568"/>
                <a:gd name="connsiteY6" fmla="*/ 49070 h 314062"/>
                <a:gd name="connsiteX7" fmla="*/ 132789 w 412568"/>
                <a:gd name="connsiteY7" fmla="*/ 187707 h 314062"/>
                <a:gd name="connsiteX8" fmla="*/ 233008 w 412568"/>
                <a:gd name="connsiteY8" fmla="*/ 242827 h 314062"/>
                <a:gd name="connsiteX9" fmla="*/ 308172 w 412568"/>
                <a:gd name="connsiteY9" fmla="*/ 229465 h 314062"/>
                <a:gd name="connsiteX10" fmla="*/ 410898 w 412568"/>
                <a:gd name="connsiteY10" fmla="*/ 187707 h 314062"/>
                <a:gd name="connsiteX11" fmla="*/ 412568 w 412568"/>
                <a:gd name="connsiteY11" fmla="*/ 198563 h 314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2568" h="314062">
                  <a:moveTo>
                    <a:pt x="412568" y="206915"/>
                  </a:moveTo>
                  <a:cubicBezTo>
                    <a:pt x="324041" y="282914"/>
                    <a:pt x="207954" y="309640"/>
                    <a:pt x="138636" y="313815"/>
                  </a:cubicBezTo>
                  <a:cubicBezTo>
                    <a:pt x="100219" y="316321"/>
                    <a:pt x="62637" y="299618"/>
                    <a:pt x="35911" y="272057"/>
                  </a:cubicBezTo>
                  <a:cubicBezTo>
                    <a:pt x="7516" y="244497"/>
                    <a:pt x="0" y="196893"/>
                    <a:pt x="0" y="128410"/>
                  </a:cubicBezTo>
                  <a:lnTo>
                    <a:pt x="0" y="88308"/>
                  </a:lnTo>
                  <a:lnTo>
                    <a:pt x="112395" y="0"/>
                  </a:lnTo>
                  <a:lnTo>
                    <a:pt x="112747" y="49070"/>
                  </a:lnTo>
                  <a:cubicBezTo>
                    <a:pt x="110241" y="95839"/>
                    <a:pt x="117756" y="143443"/>
                    <a:pt x="132789" y="187707"/>
                  </a:cubicBezTo>
                  <a:cubicBezTo>
                    <a:pt x="146153" y="224453"/>
                    <a:pt x="180394" y="242827"/>
                    <a:pt x="233008" y="242827"/>
                  </a:cubicBezTo>
                  <a:cubicBezTo>
                    <a:pt x="258899" y="241992"/>
                    <a:pt x="283953" y="236980"/>
                    <a:pt x="308172" y="229465"/>
                  </a:cubicBezTo>
                  <a:cubicBezTo>
                    <a:pt x="343249" y="218607"/>
                    <a:pt x="377491" y="204410"/>
                    <a:pt x="410898" y="187707"/>
                  </a:cubicBezTo>
                  <a:cubicBezTo>
                    <a:pt x="411732" y="191047"/>
                    <a:pt x="412568" y="195223"/>
                    <a:pt x="412568" y="1985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2" name="Forme libre : forme 711">
              <a:extLst>
                <a:ext uri="{FF2B5EF4-FFF2-40B4-BE49-F238E27FC236}">
                  <a16:creationId xmlns:a16="http://schemas.microsoft.com/office/drawing/2014/main" id="{A9287E0A-DFD9-4AA6-8680-00180265377A}"/>
                </a:ext>
              </a:extLst>
            </p:cNvPr>
            <p:cNvSpPr/>
            <p:nvPr/>
          </p:nvSpPr>
          <p:spPr>
            <a:xfrm rot="8716295">
              <a:off x="4451878" y="4500944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3" name="Forme libre : forme 712">
              <a:extLst>
                <a:ext uri="{FF2B5EF4-FFF2-40B4-BE49-F238E27FC236}">
                  <a16:creationId xmlns:a16="http://schemas.microsoft.com/office/drawing/2014/main" id="{09BFE1EA-6A4F-4D09-B373-5566A2FCD583}"/>
                </a:ext>
              </a:extLst>
            </p:cNvPr>
            <p:cNvSpPr/>
            <p:nvPr/>
          </p:nvSpPr>
          <p:spPr>
            <a:xfrm rot="8716295">
              <a:off x="4373469" y="434415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4" name="Forme libre : forme 713">
              <a:extLst>
                <a:ext uri="{FF2B5EF4-FFF2-40B4-BE49-F238E27FC236}">
                  <a16:creationId xmlns:a16="http://schemas.microsoft.com/office/drawing/2014/main" id="{CC70F404-444F-494A-8724-6872C726683C}"/>
                </a:ext>
              </a:extLst>
            </p:cNvPr>
            <p:cNvSpPr/>
            <p:nvPr/>
          </p:nvSpPr>
          <p:spPr>
            <a:xfrm rot="8716295">
              <a:off x="4005305" y="438989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5" name="Forme libre : forme 714">
              <a:extLst>
                <a:ext uri="{FF2B5EF4-FFF2-40B4-BE49-F238E27FC236}">
                  <a16:creationId xmlns:a16="http://schemas.microsoft.com/office/drawing/2014/main" id="{C68DC1E1-E9D4-49BF-9F20-12E6BA298FAB}"/>
                </a:ext>
              </a:extLst>
            </p:cNvPr>
            <p:cNvSpPr/>
            <p:nvPr/>
          </p:nvSpPr>
          <p:spPr>
            <a:xfrm rot="8716295">
              <a:off x="4273886" y="414887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6" name="Forme libre : forme 715">
              <a:extLst>
                <a:ext uri="{FF2B5EF4-FFF2-40B4-BE49-F238E27FC236}">
                  <a16:creationId xmlns:a16="http://schemas.microsoft.com/office/drawing/2014/main" id="{298BA06B-FD3E-484C-A9BF-444E13BFC20E}"/>
                </a:ext>
              </a:extLst>
            </p:cNvPr>
            <p:cNvSpPr/>
            <p:nvPr/>
          </p:nvSpPr>
          <p:spPr>
            <a:xfrm rot="8716295">
              <a:off x="2776288" y="273581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7" name="Forme libre : forme 716">
              <a:extLst>
                <a:ext uri="{FF2B5EF4-FFF2-40B4-BE49-F238E27FC236}">
                  <a16:creationId xmlns:a16="http://schemas.microsoft.com/office/drawing/2014/main" id="{577CA89A-0469-4E44-B3B7-615251B777E0}"/>
                </a:ext>
              </a:extLst>
            </p:cNvPr>
            <p:cNvSpPr/>
            <p:nvPr/>
          </p:nvSpPr>
          <p:spPr>
            <a:xfrm rot="8716295">
              <a:off x="2911587" y="278007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8" name="Forme libre : forme 717">
              <a:extLst>
                <a:ext uri="{FF2B5EF4-FFF2-40B4-BE49-F238E27FC236}">
                  <a16:creationId xmlns:a16="http://schemas.microsoft.com/office/drawing/2014/main" id="{9749DAD3-E0F7-4F67-A9A9-D46BE20CA2A5}"/>
                </a:ext>
              </a:extLst>
            </p:cNvPr>
            <p:cNvSpPr/>
            <p:nvPr/>
          </p:nvSpPr>
          <p:spPr>
            <a:xfrm rot="8716295">
              <a:off x="2843704" y="2649488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9" name="Forme libre : forme 718">
              <a:extLst>
                <a:ext uri="{FF2B5EF4-FFF2-40B4-BE49-F238E27FC236}">
                  <a16:creationId xmlns:a16="http://schemas.microsoft.com/office/drawing/2014/main" id="{CC1D1038-8879-442B-B224-29424F89407C}"/>
                </a:ext>
              </a:extLst>
            </p:cNvPr>
            <p:cNvSpPr/>
            <p:nvPr/>
          </p:nvSpPr>
          <p:spPr>
            <a:xfrm rot="8716295">
              <a:off x="2606417" y="286983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0" name="Forme libre : forme 719">
              <a:extLst>
                <a:ext uri="{FF2B5EF4-FFF2-40B4-BE49-F238E27FC236}">
                  <a16:creationId xmlns:a16="http://schemas.microsoft.com/office/drawing/2014/main" id="{7C27CA1B-5474-4334-B2BC-5D5F6D801B37}"/>
                </a:ext>
              </a:extLst>
            </p:cNvPr>
            <p:cNvSpPr/>
            <p:nvPr/>
          </p:nvSpPr>
          <p:spPr>
            <a:xfrm rot="8716295">
              <a:off x="2417371" y="255399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1" name="Forme libre : forme 720">
              <a:extLst>
                <a:ext uri="{FF2B5EF4-FFF2-40B4-BE49-F238E27FC236}">
                  <a16:creationId xmlns:a16="http://schemas.microsoft.com/office/drawing/2014/main" id="{1789A997-6AF9-488A-BF6F-ED804306AC57}"/>
                </a:ext>
              </a:extLst>
            </p:cNvPr>
            <p:cNvSpPr/>
            <p:nvPr/>
          </p:nvSpPr>
          <p:spPr>
            <a:xfrm rot="8716295">
              <a:off x="2399130" y="2343948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2" name="Forme libre : forme 721">
              <a:extLst>
                <a:ext uri="{FF2B5EF4-FFF2-40B4-BE49-F238E27FC236}">
                  <a16:creationId xmlns:a16="http://schemas.microsoft.com/office/drawing/2014/main" id="{FDF8E98E-E1F4-4CD9-8714-50552C557374}"/>
                </a:ext>
              </a:extLst>
            </p:cNvPr>
            <p:cNvSpPr/>
            <p:nvPr/>
          </p:nvSpPr>
          <p:spPr>
            <a:xfrm rot="8716295">
              <a:off x="2742905" y="293181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3" name="Forme libre : forme 722">
              <a:extLst>
                <a:ext uri="{FF2B5EF4-FFF2-40B4-BE49-F238E27FC236}">
                  <a16:creationId xmlns:a16="http://schemas.microsoft.com/office/drawing/2014/main" id="{540D8D51-C0CC-45F4-A59F-CAB41A6564F1}"/>
                </a:ext>
              </a:extLst>
            </p:cNvPr>
            <p:cNvSpPr/>
            <p:nvPr/>
          </p:nvSpPr>
          <p:spPr>
            <a:xfrm rot="8716295">
              <a:off x="3213852" y="235720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4" name="Forme libre : forme 723">
              <a:extLst>
                <a:ext uri="{FF2B5EF4-FFF2-40B4-BE49-F238E27FC236}">
                  <a16:creationId xmlns:a16="http://schemas.microsoft.com/office/drawing/2014/main" id="{BA2BD7E8-A818-4C94-80AE-9E437B07AD6D}"/>
                </a:ext>
              </a:extLst>
            </p:cNvPr>
            <p:cNvSpPr/>
            <p:nvPr/>
          </p:nvSpPr>
          <p:spPr>
            <a:xfrm rot="8716295">
              <a:off x="3349151" y="240146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5" name="Forme libre : forme 724">
              <a:extLst>
                <a:ext uri="{FF2B5EF4-FFF2-40B4-BE49-F238E27FC236}">
                  <a16:creationId xmlns:a16="http://schemas.microsoft.com/office/drawing/2014/main" id="{BC52E005-0165-4382-BA93-B99E2F033DF8}"/>
                </a:ext>
              </a:extLst>
            </p:cNvPr>
            <p:cNvSpPr/>
            <p:nvPr/>
          </p:nvSpPr>
          <p:spPr>
            <a:xfrm rot="8716295">
              <a:off x="3043981" y="249121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6" name="Forme libre : forme 725">
              <a:extLst>
                <a:ext uri="{FF2B5EF4-FFF2-40B4-BE49-F238E27FC236}">
                  <a16:creationId xmlns:a16="http://schemas.microsoft.com/office/drawing/2014/main" id="{1EFDB2CB-3D68-4219-904B-16E2BB8FC2A1}"/>
                </a:ext>
              </a:extLst>
            </p:cNvPr>
            <p:cNvSpPr/>
            <p:nvPr/>
          </p:nvSpPr>
          <p:spPr>
            <a:xfrm rot="8716295">
              <a:off x="2854936" y="217538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7" name="Forme libre : forme 726">
              <a:extLst>
                <a:ext uri="{FF2B5EF4-FFF2-40B4-BE49-F238E27FC236}">
                  <a16:creationId xmlns:a16="http://schemas.microsoft.com/office/drawing/2014/main" id="{0453BE2C-684C-42DC-9D76-B653DD2CA6D7}"/>
                </a:ext>
              </a:extLst>
            </p:cNvPr>
            <p:cNvSpPr/>
            <p:nvPr/>
          </p:nvSpPr>
          <p:spPr>
            <a:xfrm rot="8716295">
              <a:off x="3180469" y="255320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8" name="Forme libre : forme 727">
              <a:extLst>
                <a:ext uri="{FF2B5EF4-FFF2-40B4-BE49-F238E27FC236}">
                  <a16:creationId xmlns:a16="http://schemas.microsoft.com/office/drawing/2014/main" id="{AB96B288-5418-4DF4-9F46-9CC63BBD2345}"/>
                </a:ext>
              </a:extLst>
            </p:cNvPr>
            <p:cNvSpPr/>
            <p:nvPr/>
          </p:nvSpPr>
          <p:spPr>
            <a:xfrm rot="8716295">
              <a:off x="2815023" y="232677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9" name="Forme libre : forme 728">
              <a:extLst>
                <a:ext uri="{FF2B5EF4-FFF2-40B4-BE49-F238E27FC236}">
                  <a16:creationId xmlns:a16="http://schemas.microsoft.com/office/drawing/2014/main" id="{219BA0B1-2BDE-4311-A560-60C891B83CA0}"/>
                </a:ext>
              </a:extLst>
            </p:cNvPr>
            <p:cNvSpPr/>
            <p:nvPr/>
          </p:nvSpPr>
          <p:spPr>
            <a:xfrm rot="7484129">
              <a:off x="3339287" y="284281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0" name="Forme libre : forme 729">
              <a:extLst>
                <a:ext uri="{FF2B5EF4-FFF2-40B4-BE49-F238E27FC236}">
                  <a16:creationId xmlns:a16="http://schemas.microsoft.com/office/drawing/2014/main" id="{73441630-8A4E-4926-A949-79FBC53AB30A}"/>
                </a:ext>
              </a:extLst>
            </p:cNvPr>
            <p:cNvSpPr/>
            <p:nvPr/>
          </p:nvSpPr>
          <p:spPr>
            <a:xfrm rot="13089394">
              <a:off x="3497937" y="279216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1" name="Forme libre : forme 730">
              <a:extLst>
                <a:ext uri="{FF2B5EF4-FFF2-40B4-BE49-F238E27FC236}">
                  <a16:creationId xmlns:a16="http://schemas.microsoft.com/office/drawing/2014/main" id="{6718FCAC-EC9F-4D5D-A7BA-5D07B614DD91}"/>
                </a:ext>
              </a:extLst>
            </p:cNvPr>
            <p:cNvSpPr/>
            <p:nvPr/>
          </p:nvSpPr>
          <p:spPr>
            <a:xfrm rot="8716295">
              <a:off x="3778828" y="2502048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2" name="Forme libre : forme 731">
              <a:extLst>
                <a:ext uri="{FF2B5EF4-FFF2-40B4-BE49-F238E27FC236}">
                  <a16:creationId xmlns:a16="http://schemas.microsoft.com/office/drawing/2014/main" id="{C6B6BF34-8D01-4B90-A150-1A215193326B}"/>
                </a:ext>
              </a:extLst>
            </p:cNvPr>
            <p:cNvSpPr/>
            <p:nvPr/>
          </p:nvSpPr>
          <p:spPr>
            <a:xfrm rot="8716295">
              <a:off x="3700418" y="234525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3" name="Forme libre : forme 732">
              <a:extLst>
                <a:ext uri="{FF2B5EF4-FFF2-40B4-BE49-F238E27FC236}">
                  <a16:creationId xmlns:a16="http://schemas.microsoft.com/office/drawing/2014/main" id="{46601907-3441-4476-B018-C88CFDF3BCEE}"/>
                </a:ext>
              </a:extLst>
            </p:cNvPr>
            <p:cNvSpPr/>
            <p:nvPr/>
          </p:nvSpPr>
          <p:spPr>
            <a:xfrm rot="8716295">
              <a:off x="3332255" y="239099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4" name="Forme libre : forme 733">
              <a:extLst>
                <a:ext uri="{FF2B5EF4-FFF2-40B4-BE49-F238E27FC236}">
                  <a16:creationId xmlns:a16="http://schemas.microsoft.com/office/drawing/2014/main" id="{7101F228-FC4A-45AF-B301-D6AE8B2C4CB0}"/>
                </a:ext>
              </a:extLst>
            </p:cNvPr>
            <p:cNvSpPr/>
            <p:nvPr/>
          </p:nvSpPr>
          <p:spPr>
            <a:xfrm rot="8716295">
              <a:off x="3600836" y="214997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5" name="Forme libre : forme 734">
              <a:extLst>
                <a:ext uri="{FF2B5EF4-FFF2-40B4-BE49-F238E27FC236}">
                  <a16:creationId xmlns:a16="http://schemas.microsoft.com/office/drawing/2014/main" id="{5EBBC394-2EF2-49FF-9DD5-B3DBEC059683}"/>
                </a:ext>
              </a:extLst>
            </p:cNvPr>
            <p:cNvSpPr/>
            <p:nvPr/>
          </p:nvSpPr>
          <p:spPr>
            <a:xfrm rot="8716295">
              <a:off x="2438515" y="173733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6" name="Forme libre : forme 735">
              <a:extLst>
                <a:ext uri="{FF2B5EF4-FFF2-40B4-BE49-F238E27FC236}">
                  <a16:creationId xmlns:a16="http://schemas.microsoft.com/office/drawing/2014/main" id="{9E64E25E-5581-4C5A-8FFA-6FA4EC36C5FC}"/>
                </a:ext>
              </a:extLst>
            </p:cNvPr>
            <p:cNvSpPr/>
            <p:nvPr/>
          </p:nvSpPr>
          <p:spPr>
            <a:xfrm rot="8716295">
              <a:off x="2573814" y="178159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7" name="Forme libre : forme 736">
              <a:extLst>
                <a:ext uri="{FF2B5EF4-FFF2-40B4-BE49-F238E27FC236}">
                  <a16:creationId xmlns:a16="http://schemas.microsoft.com/office/drawing/2014/main" id="{3EEB2466-11BF-47A2-B0A2-3EC6461F6092}"/>
                </a:ext>
              </a:extLst>
            </p:cNvPr>
            <p:cNvSpPr/>
            <p:nvPr/>
          </p:nvSpPr>
          <p:spPr>
            <a:xfrm rot="8716295">
              <a:off x="2505931" y="1651005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8" name="Forme libre : forme 737">
              <a:extLst>
                <a:ext uri="{FF2B5EF4-FFF2-40B4-BE49-F238E27FC236}">
                  <a16:creationId xmlns:a16="http://schemas.microsoft.com/office/drawing/2014/main" id="{E5AEA02F-88F3-46C9-8F84-C3EEF35923D9}"/>
                </a:ext>
              </a:extLst>
            </p:cNvPr>
            <p:cNvSpPr/>
            <p:nvPr/>
          </p:nvSpPr>
          <p:spPr>
            <a:xfrm rot="8716295">
              <a:off x="2268644" y="187135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9" name="Forme libre : forme 738">
              <a:extLst>
                <a:ext uri="{FF2B5EF4-FFF2-40B4-BE49-F238E27FC236}">
                  <a16:creationId xmlns:a16="http://schemas.microsoft.com/office/drawing/2014/main" id="{F1E768B8-3CD2-494D-853A-78A7274AEC37}"/>
                </a:ext>
              </a:extLst>
            </p:cNvPr>
            <p:cNvSpPr/>
            <p:nvPr/>
          </p:nvSpPr>
          <p:spPr>
            <a:xfrm rot="8716295">
              <a:off x="2079598" y="155551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0" name="Forme libre : forme 739">
              <a:extLst>
                <a:ext uri="{FF2B5EF4-FFF2-40B4-BE49-F238E27FC236}">
                  <a16:creationId xmlns:a16="http://schemas.microsoft.com/office/drawing/2014/main" id="{262ED69B-72FE-45DC-B072-76F3A4FAF2D5}"/>
                </a:ext>
              </a:extLst>
            </p:cNvPr>
            <p:cNvSpPr/>
            <p:nvPr/>
          </p:nvSpPr>
          <p:spPr>
            <a:xfrm rot="8716295">
              <a:off x="2061357" y="1345465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1" name="Forme libre : forme 740">
              <a:extLst>
                <a:ext uri="{FF2B5EF4-FFF2-40B4-BE49-F238E27FC236}">
                  <a16:creationId xmlns:a16="http://schemas.microsoft.com/office/drawing/2014/main" id="{0C3B92CD-7E55-4069-8C6E-6C53FF103262}"/>
                </a:ext>
              </a:extLst>
            </p:cNvPr>
            <p:cNvSpPr/>
            <p:nvPr/>
          </p:nvSpPr>
          <p:spPr>
            <a:xfrm rot="8716295">
              <a:off x="2405132" y="1933333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2" name="Forme libre : forme 741">
              <a:extLst>
                <a:ext uri="{FF2B5EF4-FFF2-40B4-BE49-F238E27FC236}">
                  <a16:creationId xmlns:a16="http://schemas.microsoft.com/office/drawing/2014/main" id="{12042862-BD55-4332-A928-2CD906AA369E}"/>
                </a:ext>
              </a:extLst>
            </p:cNvPr>
            <p:cNvSpPr/>
            <p:nvPr/>
          </p:nvSpPr>
          <p:spPr>
            <a:xfrm rot="8716295">
              <a:off x="2876079" y="135871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3" name="Forme libre : forme 742">
              <a:extLst>
                <a:ext uri="{FF2B5EF4-FFF2-40B4-BE49-F238E27FC236}">
                  <a16:creationId xmlns:a16="http://schemas.microsoft.com/office/drawing/2014/main" id="{6200C6E7-66CB-4309-B7D9-EFB7EDC24787}"/>
                </a:ext>
              </a:extLst>
            </p:cNvPr>
            <p:cNvSpPr/>
            <p:nvPr/>
          </p:nvSpPr>
          <p:spPr>
            <a:xfrm rot="8716295">
              <a:off x="3011378" y="140297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4" name="Forme libre : forme 743">
              <a:extLst>
                <a:ext uri="{FF2B5EF4-FFF2-40B4-BE49-F238E27FC236}">
                  <a16:creationId xmlns:a16="http://schemas.microsoft.com/office/drawing/2014/main" id="{AB122FD1-795D-425A-8721-EBB048E97CAB}"/>
                </a:ext>
              </a:extLst>
            </p:cNvPr>
            <p:cNvSpPr/>
            <p:nvPr/>
          </p:nvSpPr>
          <p:spPr>
            <a:xfrm rot="8716295">
              <a:off x="2706208" y="14927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5" name="Forme libre : forme 744">
              <a:extLst>
                <a:ext uri="{FF2B5EF4-FFF2-40B4-BE49-F238E27FC236}">
                  <a16:creationId xmlns:a16="http://schemas.microsoft.com/office/drawing/2014/main" id="{A1E137E0-6CF8-46C5-92D9-A51059448C1A}"/>
                </a:ext>
              </a:extLst>
            </p:cNvPr>
            <p:cNvSpPr/>
            <p:nvPr/>
          </p:nvSpPr>
          <p:spPr>
            <a:xfrm rot="8716295">
              <a:off x="2517163" y="11768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6" name="Forme libre : forme 745">
              <a:extLst>
                <a:ext uri="{FF2B5EF4-FFF2-40B4-BE49-F238E27FC236}">
                  <a16:creationId xmlns:a16="http://schemas.microsoft.com/office/drawing/2014/main" id="{7C3852D8-DFED-42E7-A4AD-A39FE8954AC8}"/>
                </a:ext>
              </a:extLst>
            </p:cNvPr>
            <p:cNvSpPr/>
            <p:nvPr/>
          </p:nvSpPr>
          <p:spPr>
            <a:xfrm rot="8716295">
              <a:off x="2842696" y="1554717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7" name="Forme libre : forme 746">
              <a:extLst>
                <a:ext uri="{FF2B5EF4-FFF2-40B4-BE49-F238E27FC236}">
                  <a16:creationId xmlns:a16="http://schemas.microsoft.com/office/drawing/2014/main" id="{62C60140-F01F-4488-BD03-9C9619AC1EB0}"/>
                </a:ext>
              </a:extLst>
            </p:cNvPr>
            <p:cNvSpPr/>
            <p:nvPr/>
          </p:nvSpPr>
          <p:spPr>
            <a:xfrm rot="8716295">
              <a:off x="2477250" y="1328291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8" name="Forme libre : forme 747">
              <a:extLst>
                <a:ext uri="{FF2B5EF4-FFF2-40B4-BE49-F238E27FC236}">
                  <a16:creationId xmlns:a16="http://schemas.microsoft.com/office/drawing/2014/main" id="{DBD569FB-C0A0-4F7B-87D2-0E26460F3557}"/>
                </a:ext>
              </a:extLst>
            </p:cNvPr>
            <p:cNvSpPr/>
            <p:nvPr/>
          </p:nvSpPr>
          <p:spPr>
            <a:xfrm rot="7484129">
              <a:off x="3001514" y="184433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9" name="Forme libre : forme 748">
              <a:extLst>
                <a:ext uri="{FF2B5EF4-FFF2-40B4-BE49-F238E27FC236}">
                  <a16:creationId xmlns:a16="http://schemas.microsoft.com/office/drawing/2014/main" id="{ABE42921-5DDC-4180-B584-E88059248493}"/>
                </a:ext>
              </a:extLst>
            </p:cNvPr>
            <p:cNvSpPr/>
            <p:nvPr/>
          </p:nvSpPr>
          <p:spPr>
            <a:xfrm rot="13089394">
              <a:off x="3160164" y="1793683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0" name="Forme libre : forme 749">
              <a:extLst>
                <a:ext uri="{FF2B5EF4-FFF2-40B4-BE49-F238E27FC236}">
                  <a16:creationId xmlns:a16="http://schemas.microsoft.com/office/drawing/2014/main" id="{88F98A94-8006-4488-8030-242FB6A3DA5A}"/>
                </a:ext>
              </a:extLst>
            </p:cNvPr>
            <p:cNvSpPr/>
            <p:nvPr/>
          </p:nvSpPr>
          <p:spPr>
            <a:xfrm rot="8716295">
              <a:off x="3441055" y="1503565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1" name="Forme libre : forme 750">
              <a:extLst>
                <a:ext uri="{FF2B5EF4-FFF2-40B4-BE49-F238E27FC236}">
                  <a16:creationId xmlns:a16="http://schemas.microsoft.com/office/drawing/2014/main" id="{A5A850AA-45A2-4846-8949-3857C38E889C}"/>
                </a:ext>
              </a:extLst>
            </p:cNvPr>
            <p:cNvSpPr/>
            <p:nvPr/>
          </p:nvSpPr>
          <p:spPr>
            <a:xfrm rot="8716295">
              <a:off x="3362645" y="134677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2" name="Forme libre : forme 751">
              <a:extLst>
                <a:ext uri="{FF2B5EF4-FFF2-40B4-BE49-F238E27FC236}">
                  <a16:creationId xmlns:a16="http://schemas.microsoft.com/office/drawing/2014/main" id="{5A64EB05-BC9D-42E7-8426-0CAB9C6910F8}"/>
                </a:ext>
              </a:extLst>
            </p:cNvPr>
            <p:cNvSpPr/>
            <p:nvPr/>
          </p:nvSpPr>
          <p:spPr>
            <a:xfrm rot="8716295">
              <a:off x="2994482" y="13925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3" name="Forme libre : forme 752">
              <a:extLst>
                <a:ext uri="{FF2B5EF4-FFF2-40B4-BE49-F238E27FC236}">
                  <a16:creationId xmlns:a16="http://schemas.microsoft.com/office/drawing/2014/main" id="{95781397-8B1D-423E-A53F-48B75A5D7E91}"/>
                </a:ext>
              </a:extLst>
            </p:cNvPr>
            <p:cNvSpPr/>
            <p:nvPr/>
          </p:nvSpPr>
          <p:spPr>
            <a:xfrm rot="8716295">
              <a:off x="3263063" y="115149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4" name="Forme libre : forme 753">
              <a:extLst>
                <a:ext uri="{FF2B5EF4-FFF2-40B4-BE49-F238E27FC236}">
                  <a16:creationId xmlns:a16="http://schemas.microsoft.com/office/drawing/2014/main" id="{BF63C671-ADC0-4488-BE74-E17F46742365}"/>
                </a:ext>
              </a:extLst>
            </p:cNvPr>
            <p:cNvSpPr/>
            <p:nvPr/>
          </p:nvSpPr>
          <p:spPr>
            <a:xfrm rot="8716295">
              <a:off x="2107141" y="73528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5" name="Forme libre : forme 754">
              <a:extLst>
                <a:ext uri="{FF2B5EF4-FFF2-40B4-BE49-F238E27FC236}">
                  <a16:creationId xmlns:a16="http://schemas.microsoft.com/office/drawing/2014/main" id="{5BC60D3E-6680-4205-9719-A6BFD5B4CA74}"/>
                </a:ext>
              </a:extLst>
            </p:cNvPr>
            <p:cNvSpPr/>
            <p:nvPr/>
          </p:nvSpPr>
          <p:spPr>
            <a:xfrm rot="8716295">
              <a:off x="2242440" y="77954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6" name="Forme libre : forme 755">
              <a:extLst>
                <a:ext uri="{FF2B5EF4-FFF2-40B4-BE49-F238E27FC236}">
                  <a16:creationId xmlns:a16="http://schemas.microsoft.com/office/drawing/2014/main" id="{B24E0A86-3E95-492C-8ED3-DB42420B5F2B}"/>
                </a:ext>
              </a:extLst>
            </p:cNvPr>
            <p:cNvSpPr/>
            <p:nvPr/>
          </p:nvSpPr>
          <p:spPr>
            <a:xfrm rot="8716295">
              <a:off x="2174558" y="64895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7" name="Forme libre : forme 756">
              <a:extLst>
                <a:ext uri="{FF2B5EF4-FFF2-40B4-BE49-F238E27FC236}">
                  <a16:creationId xmlns:a16="http://schemas.microsoft.com/office/drawing/2014/main" id="{5279EA4A-802F-4479-832C-B17D45EE4AD8}"/>
                </a:ext>
              </a:extLst>
            </p:cNvPr>
            <p:cNvSpPr/>
            <p:nvPr/>
          </p:nvSpPr>
          <p:spPr>
            <a:xfrm rot="8716295">
              <a:off x="1937270" y="86929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8" name="Forme libre : forme 757">
              <a:extLst>
                <a:ext uri="{FF2B5EF4-FFF2-40B4-BE49-F238E27FC236}">
                  <a16:creationId xmlns:a16="http://schemas.microsoft.com/office/drawing/2014/main" id="{943A13E3-FDDC-4FFC-86C5-237B81D039F9}"/>
                </a:ext>
              </a:extLst>
            </p:cNvPr>
            <p:cNvSpPr/>
            <p:nvPr/>
          </p:nvSpPr>
          <p:spPr>
            <a:xfrm rot="8716295">
              <a:off x="1748224" y="55346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9" name="Forme libre : forme 758">
              <a:extLst>
                <a:ext uri="{FF2B5EF4-FFF2-40B4-BE49-F238E27FC236}">
                  <a16:creationId xmlns:a16="http://schemas.microsoft.com/office/drawing/2014/main" id="{9A27531B-9027-43C6-B072-6C625D2EAEE5}"/>
                </a:ext>
              </a:extLst>
            </p:cNvPr>
            <p:cNvSpPr/>
            <p:nvPr/>
          </p:nvSpPr>
          <p:spPr>
            <a:xfrm rot="8716295">
              <a:off x="1729983" y="34341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0" name="Forme libre : forme 759">
              <a:extLst>
                <a:ext uri="{FF2B5EF4-FFF2-40B4-BE49-F238E27FC236}">
                  <a16:creationId xmlns:a16="http://schemas.microsoft.com/office/drawing/2014/main" id="{8C15947E-E7FF-4002-9209-9AF916BECF4E}"/>
                </a:ext>
              </a:extLst>
            </p:cNvPr>
            <p:cNvSpPr/>
            <p:nvPr/>
          </p:nvSpPr>
          <p:spPr>
            <a:xfrm rot="8716295">
              <a:off x="2073759" y="93127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1" name="Forme libre : forme 760">
              <a:extLst>
                <a:ext uri="{FF2B5EF4-FFF2-40B4-BE49-F238E27FC236}">
                  <a16:creationId xmlns:a16="http://schemas.microsoft.com/office/drawing/2014/main" id="{ED09FFD5-E403-40C0-982A-82CB1DFAD2FA}"/>
                </a:ext>
              </a:extLst>
            </p:cNvPr>
            <p:cNvSpPr/>
            <p:nvPr/>
          </p:nvSpPr>
          <p:spPr>
            <a:xfrm rot="8716295">
              <a:off x="2544705" y="35666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2" name="Forme libre : forme 761">
              <a:extLst>
                <a:ext uri="{FF2B5EF4-FFF2-40B4-BE49-F238E27FC236}">
                  <a16:creationId xmlns:a16="http://schemas.microsoft.com/office/drawing/2014/main" id="{6A20B064-35E9-40B2-8DEC-7F7E78DD5E29}"/>
                </a:ext>
              </a:extLst>
            </p:cNvPr>
            <p:cNvSpPr/>
            <p:nvPr/>
          </p:nvSpPr>
          <p:spPr>
            <a:xfrm rot="8716295">
              <a:off x="2680004" y="40092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3" name="Forme libre : forme 762">
              <a:extLst>
                <a:ext uri="{FF2B5EF4-FFF2-40B4-BE49-F238E27FC236}">
                  <a16:creationId xmlns:a16="http://schemas.microsoft.com/office/drawing/2014/main" id="{95066C84-9BA0-40F5-8ABE-4330ED4CAA56}"/>
                </a:ext>
              </a:extLst>
            </p:cNvPr>
            <p:cNvSpPr/>
            <p:nvPr/>
          </p:nvSpPr>
          <p:spPr>
            <a:xfrm rot="8716295">
              <a:off x="2374834" y="49068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4" name="Forme libre : forme 763">
              <a:extLst>
                <a:ext uri="{FF2B5EF4-FFF2-40B4-BE49-F238E27FC236}">
                  <a16:creationId xmlns:a16="http://schemas.microsoft.com/office/drawing/2014/main" id="{813C7B43-B2B3-4F1D-9157-BDC0F9C5A32B}"/>
                </a:ext>
              </a:extLst>
            </p:cNvPr>
            <p:cNvSpPr/>
            <p:nvPr/>
          </p:nvSpPr>
          <p:spPr>
            <a:xfrm rot="8716295">
              <a:off x="2185790" y="17484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5" name="Forme libre : forme 764">
              <a:extLst>
                <a:ext uri="{FF2B5EF4-FFF2-40B4-BE49-F238E27FC236}">
                  <a16:creationId xmlns:a16="http://schemas.microsoft.com/office/drawing/2014/main" id="{7B9B20DE-10B5-415B-AF37-1A858BED9045}"/>
                </a:ext>
              </a:extLst>
            </p:cNvPr>
            <p:cNvSpPr/>
            <p:nvPr/>
          </p:nvSpPr>
          <p:spPr>
            <a:xfrm rot="8716295">
              <a:off x="2511323" y="552663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6" name="Forme libre : forme 765">
              <a:extLst>
                <a:ext uri="{FF2B5EF4-FFF2-40B4-BE49-F238E27FC236}">
                  <a16:creationId xmlns:a16="http://schemas.microsoft.com/office/drawing/2014/main" id="{C142A28D-5F4A-435F-8A0C-3EE1232B3316}"/>
                </a:ext>
              </a:extLst>
            </p:cNvPr>
            <p:cNvSpPr/>
            <p:nvPr/>
          </p:nvSpPr>
          <p:spPr>
            <a:xfrm rot="8716295">
              <a:off x="2145876" y="32623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7" name="Forme libre : forme 766">
              <a:extLst>
                <a:ext uri="{FF2B5EF4-FFF2-40B4-BE49-F238E27FC236}">
                  <a16:creationId xmlns:a16="http://schemas.microsoft.com/office/drawing/2014/main" id="{53A62157-BB8A-476A-AC97-60C47D01F065}"/>
                </a:ext>
              </a:extLst>
            </p:cNvPr>
            <p:cNvSpPr/>
            <p:nvPr/>
          </p:nvSpPr>
          <p:spPr>
            <a:xfrm rot="7484129">
              <a:off x="2670140" y="84228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8" name="Forme libre : forme 767">
              <a:extLst>
                <a:ext uri="{FF2B5EF4-FFF2-40B4-BE49-F238E27FC236}">
                  <a16:creationId xmlns:a16="http://schemas.microsoft.com/office/drawing/2014/main" id="{4DFDA964-86BB-4756-BFFD-A4BB45FDCCFC}"/>
                </a:ext>
              </a:extLst>
            </p:cNvPr>
            <p:cNvSpPr/>
            <p:nvPr/>
          </p:nvSpPr>
          <p:spPr>
            <a:xfrm rot="13089394">
              <a:off x="2828790" y="791629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9" name="Forme libre : forme 768">
              <a:extLst>
                <a:ext uri="{FF2B5EF4-FFF2-40B4-BE49-F238E27FC236}">
                  <a16:creationId xmlns:a16="http://schemas.microsoft.com/office/drawing/2014/main" id="{F236D03A-C489-49B6-877B-67DCE2BF8270}"/>
                </a:ext>
              </a:extLst>
            </p:cNvPr>
            <p:cNvSpPr/>
            <p:nvPr/>
          </p:nvSpPr>
          <p:spPr>
            <a:xfrm rot="8716295">
              <a:off x="3109681" y="501511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0" name="Forme libre : forme 769">
              <a:extLst>
                <a:ext uri="{FF2B5EF4-FFF2-40B4-BE49-F238E27FC236}">
                  <a16:creationId xmlns:a16="http://schemas.microsoft.com/office/drawing/2014/main" id="{EBC623F4-7089-4B8F-B837-05F42B99914B}"/>
                </a:ext>
              </a:extLst>
            </p:cNvPr>
            <p:cNvSpPr/>
            <p:nvPr/>
          </p:nvSpPr>
          <p:spPr>
            <a:xfrm rot="8716295">
              <a:off x="3031272" y="344719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1" name="Forme libre : forme 770">
              <a:extLst>
                <a:ext uri="{FF2B5EF4-FFF2-40B4-BE49-F238E27FC236}">
                  <a16:creationId xmlns:a16="http://schemas.microsoft.com/office/drawing/2014/main" id="{1655DDF2-D4FC-4FBB-BBB8-910D2AC4BA5B}"/>
                </a:ext>
              </a:extLst>
            </p:cNvPr>
            <p:cNvSpPr/>
            <p:nvPr/>
          </p:nvSpPr>
          <p:spPr>
            <a:xfrm rot="8716295">
              <a:off x="2663108" y="39046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2" name="Forme libre : forme 771">
              <a:extLst>
                <a:ext uri="{FF2B5EF4-FFF2-40B4-BE49-F238E27FC236}">
                  <a16:creationId xmlns:a16="http://schemas.microsoft.com/office/drawing/2014/main" id="{542FABCE-557E-498E-A52F-DA91EDA52BBF}"/>
                </a:ext>
              </a:extLst>
            </p:cNvPr>
            <p:cNvSpPr/>
            <p:nvPr/>
          </p:nvSpPr>
          <p:spPr>
            <a:xfrm rot="8716295">
              <a:off x="2931690" y="14944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3" name="Forme libre : forme 772">
              <a:extLst>
                <a:ext uri="{FF2B5EF4-FFF2-40B4-BE49-F238E27FC236}">
                  <a16:creationId xmlns:a16="http://schemas.microsoft.com/office/drawing/2014/main" id="{1D6DD177-B2DC-4E34-A45B-89523B9B78BB}"/>
                </a:ext>
              </a:extLst>
            </p:cNvPr>
            <p:cNvSpPr/>
            <p:nvPr/>
          </p:nvSpPr>
          <p:spPr>
            <a:xfrm rot="8716295">
              <a:off x="1834766" y="-57684"/>
              <a:ext cx="186564" cy="129320"/>
            </a:xfrm>
            <a:custGeom>
              <a:avLst/>
              <a:gdLst>
                <a:gd name="connsiteX0" fmla="*/ 123263 w 123263"/>
                <a:gd name="connsiteY0" fmla="*/ 85442 h 85442"/>
                <a:gd name="connsiteX1" fmla="*/ 0 w 123263"/>
                <a:gd name="connsiteY1" fmla="*/ 0 h 85442"/>
                <a:gd name="connsiteX2" fmla="*/ 66305 w 123263"/>
                <a:gd name="connsiteY2" fmla="*/ 0 h 85442"/>
                <a:gd name="connsiteX3" fmla="*/ 123263 w 123263"/>
                <a:gd name="connsiteY3" fmla="*/ 50123 h 85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63" h="85442">
                  <a:moveTo>
                    <a:pt x="123263" y="85442"/>
                  </a:moveTo>
                  <a:lnTo>
                    <a:pt x="0" y="0"/>
                  </a:lnTo>
                  <a:lnTo>
                    <a:pt x="66305" y="0"/>
                  </a:lnTo>
                  <a:cubicBezTo>
                    <a:pt x="103214" y="0"/>
                    <a:pt x="123263" y="15948"/>
                    <a:pt x="123263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4" name="Forme libre : forme 773">
              <a:extLst>
                <a:ext uri="{FF2B5EF4-FFF2-40B4-BE49-F238E27FC236}">
                  <a16:creationId xmlns:a16="http://schemas.microsoft.com/office/drawing/2014/main" id="{4B325E05-93D6-4729-AC8E-3EF546AA40C7}"/>
                </a:ext>
              </a:extLst>
            </p:cNvPr>
            <p:cNvSpPr/>
            <p:nvPr/>
          </p:nvSpPr>
          <p:spPr>
            <a:xfrm rot="8716295">
              <a:off x="1969949" y="-13794"/>
              <a:ext cx="394488" cy="148365"/>
            </a:xfrm>
            <a:custGeom>
              <a:avLst/>
              <a:gdLst>
                <a:gd name="connsiteX0" fmla="*/ 104802 w 260639"/>
                <a:gd name="connsiteY0" fmla="*/ 74264 h 98025"/>
                <a:gd name="connsiteX1" fmla="*/ 0 w 260639"/>
                <a:gd name="connsiteY1" fmla="*/ 1618 h 98025"/>
                <a:gd name="connsiteX2" fmla="*/ 0 w 260639"/>
                <a:gd name="connsiteY2" fmla="*/ 1425 h 98025"/>
                <a:gd name="connsiteX3" fmla="*/ 104803 w 260639"/>
                <a:gd name="connsiteY3" fmla="*/ 1425 h 98025"/>
                <a:gd name="connsiteX4" fmla="*/ 122123 w 260639"/>
                <a:gd name="connsiteY4" fmla="*/ 86270 h 98025"/>
                <a:gd name="connsiteX5" fmla="*/ 106178 w 260639"/>
                <a:gd name="connsiteY5" fmla="*/ 75218 h 98025"/>
                <a:gd name="connsiteX6" fmla="*/ 116721 w 260639"/>
                <a:gd name="connsiteY6" fmla="*/ 47439 h 98025"/>
                <a:gd name="connsiteX7" fmla="*/ 154014 w 260639"/>
                <a:gd name="connsiteY7" fmla="*/ 5981 h 98025"/>
                <a:gd name="connsiteX8" fmla="*/ 185455 w 260639"/>
                <a:gd name="connsiteY8" fmla="*/ 57 h 98025"/>
                <a:gd name="connsiteX9" fmla="*/ 260639 w 260639"/>
                <a:gd name="connsiteY9" fmla="*/ 88456 h 98025"/>
                <a:gd name="connsiteX10" fmla="*/ 260639 w 260639"/>
                <a:gd name="connsiteY10" fmla="*/ 94380 h 98025"/>
                <a:gd name="connsiteX11" fmla="*/ 198669 w 260639"/>
                <a:gd name="connsiteY11" fmla="*/ 98025 h 98025"/>
                <a:gd name="connsiteX12" fmla="*/ 198669 w 260639"/>
                <a:gd name="connsiteY12" fmla="*/ 81621 h 98025"/>
                <a:gd name="connsiteX13" fmla="*/ 164950 w 260639"/>
                <a:gd name="connsiteY13" fmla="*/ 40156 h 98025"/>
                <a:gd name="connsiteX14" fmla="*/ 127358 w 260639"/>
                <a:gd name="connsiteY14" fmla="*/ 65616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60639" h="98025">
                  <a:moveTo>
                    <a:pt x="104802" y="74264"/>
                  </a:moveTo>
                  <a:lnTo>
                    <a:pt x="0" y="1618"/>
                  </a:lnTo>
                  <a:lnTo>
                    <a:pt x="0" y="1425"/>
                  </a:lnTo>
                  <a:lnTo>
                    <a:pt x="104803" y="1425"/>
                  </a:lnTo>
                  <a:close/>
                  <a:moveTo>
                    <a:pt x="122123" y="86270"/>
                  </a:moveTo>
                  <a:lnTo>
                    <a:pt x="106178" y="75218"/>
                  </a:lnTo>
                  <a:lnTo>
                    <a:pt x="116721" y="47439"/>
                  </a:lnTo>
                  <a:cubicBezTo>
                    <a:pt x="127102" y="24008"/>
                    <a:pt x="137610" y="12816"/>
                    <a:pt x="154014" y="5981"/>
                  </a:cubicBezTo>
                  <a:cubicBezTo>
                    <a:pt x="164038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50369" y="40156"/>
                    <a:pt x="137041" y="49839"/>
                    <a:pt x="127358" y="656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5" name="Forme libre : forme 774">
              <a:extLst>
                <a:ext uri="{FF2B5EF4-FFF2-40B4-BE49-F238E27FC236}">
                  <a16:creationId xmlns:a16="http://schemas.microsoft.com/office/drawing/2014/main" id="{1BED4C30-FCEC-4C8C-BB61-556D9D937503}"/>
                </a:ext>
              </a:extLst>
            </p:cNvPr>
            <p:cNvSpPr/>
            <p:nvPr/>
          </p:nvSpPr>
          <p:spPr>
            <a:xfrm rot="8716295">
              <a:off x="1736738" y="-7282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6" name="Forme libre : forme 775">
              <a:extLst>
                <a:ext uri="{FF2B5EF4-FFF2-40B4-BE49-F238E27FC236}">
                  <a16:creationId xmlns:a16="http://schemas.microsoft.com/office/drawing/2014/main" id="{9B4BC923-2016-4764-92A0-F47B951B54C3}"/>
                </a:ext>
              </a:extLst>
            </p:cNvPr>
            <p:cNvSpPr/>
            <p:nvPr/>
          </p:nvSpPr>
          <p:spPr>
            <a:xfrm rot="7484129">
              <a:off x="2399917" y="-21262"/>
              <a:ext cx="233243" cy="158079"/>
            </a:xfrm>
            <a:custGeom>
              <a:avLst/>
              <a:gdLst>
                <a:gd name="connsiteX0" fmla="*/ 72416 w 154104"/>
                <a:gd name="connsiteY0" fmla="*/ 104443 h 104443"/>
                <a:gd name="connsiteX1" fmla="*/ 0 w 154104"/>
                <a:gd name="connsiteY1" fmla="*/ 0 h 104443"/>
                <a:gd name="connsiteX2" fmla="*/ 154104 w 154104"/>
                <a:gd name="connsiteY2" fmla="*/ 0 h 104443"/>
                <a:gd name="connsiteX3" fmla="*/ 154104 w 154104"/>
                <a:gd name="connsiteY3" fmla="*/ 55323 h 104443"/>
                <a:gd name="connsiteX4" fmla="*/ 89312 w 154104"/>
                <a:gd name="connsiteY4" fmla="*/ 55323 h 104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4104" h="104443">
                  <a:moveTo>
                    <a:pt x="72416" y="104443"/>
                  </a:moveTo>
                  <a:lnTo>
                    <a:pt x="0" y="0"/>
                  </a:lnTo>
                  <a:lnTo>
                    <a:pt x="154104" y="0"/>
                  </a:lnTo>
                  <a:lnTo>
                    <a:pt x="154104" y="55323"/>
                  </a:lnTo>
                  <a:lnTo>
                    <a:pt x="89312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7" name="Forme libre : forme 776">
              <a:extLst>
                <a:ext uri="{FF2B5EF4-FFF2-40B4-BE49-F238E27FC236}">
                  <a16:creationId xmlns:a16="http://schemas.microsoft.com/office/drawing/2014/main" id="{E4F090A8-4655-44B0-9665-4E91BC39D1A8}"/>
                </a:ext>
              </a:extLst>
            </p:cNvPr>
            <p:cNvSpPr/>
            <p:nvPr/>
          </p:nvSpPr>
          <p:spPr>
            <a:xfrm rot="13089394">
              <a:off x="2721869" y="-65503"/>
              <a:ext cx="128296" cy="425348"/>
            </a:xfrm>
            <a:custGeom>
              <a:avLst/>
              <a:gdLst>
                <a:gd name="connsiteX0" fmla="*/ 84765 w 84765"/>
                <a:gd name="connsiteY0" fmla="*/ 225012 h 281028"/>
                <a:gd name="connsiteX1" fmla="*/ 13471 w 84765"/>
                <a:gd name="connsiteY1" fmla="*/ 281028 h 281028"/>
                <a:gd name="connsiteX2" fmla="*/ 4828 w 84765"/>
                <a:gd name="connsiteY2" fmla="*/ 263963 h 281028"/>
                <a:gd name="connsiteX3" fmla="*/ 0 w 84765"/>
                <a:gd name="connsiteY3" fmla="*/ 206370 h 281028"/>
                <a:gd name="connsiteX4" fmla="*/ 0 w 84765"/>
                <a:gd name="connsiteY4" fmla="*/ 38074 h 281028"/>
                <a:gd name="connsiteX5" fmla="*/ 73388 w 84765"/>
                <a:gd name="connsiteY5" fmla="*/ 0 h 281028"/>
                <a:gd name="connsiteX6" fmla="*/ 74492 w 84765"/>
                <a:gd name="connsiteY6" fmla="*/ 153950 h 281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4765" h="281028">
                  <a:moveTo>
                    <a:pt x="84765" y="225012"/>
                  </a:moveTo>
                  <a:lnTo>
                    <a:pt x="13471" y="281028"/>
                  </a:lnTo>
                  <a:lnTo>
                    <a:pt x="4828" y="263963"/>
                  </a:lnTo>
                  <a:cubicBezTo>
                    <a:pt x="1241" y="248168"/>
                    <a:pt x="0" y="228993"/>
                    <a:pt x="0" y="206370"/>
                  </a:cubicBez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8" name="Forme libre : forme 777">
              <a:extLst>
                <a:ext uri="{FF2B5EF4-FFF2-40B4-BE49-F238E27FC236}">
                  <a16:creationId xmlns:a16="http://schemas.microsoft.com/office/drawing/2014/main" id="{9DB33CAA-5433-47BF-989E-F22200A2870C}"/>
                </a:ext>
              </a:extLst>
            </p:cNvPr>
            <p:cNvSpPr/>
            <p:nvPr/>
          </p:nvSpPr>
          <p:spPr>
            <a:xfrm rot="8716295">
              <a:off x="5604774" y="3024342"/>
              <a:ext cx="274455" cy="132163"/>
            </a:xfrm>
            <a:custGeom>
              <a:avLst/>
              <a:gdLst>
                <a:gd name="connsiteX0" fmla="*/ 0 w 181333"/>
                <a:gd name="connsiteY0" fmla="*/ 87320 h 87320"/>
                <a:gd name="connsiteX1" fmla="*/ 42309 w 181333"/>
                <a:gd name="connsiteY1" fmla="*/ 36168 h 87320"/>
                <a:gd name="connsiteX2" fmla="*/ 54839 w 181333"/>
                <a:gd name="connsiteY2" fmla="*/ 38831 h 87320"/>
                <a:gd name="connsiteX3" fmla="*/ 107790 w 181333"/>
                <a:gd name="connsiteY3" fmla="*/ 29417 h 87320"/>
                <a:gd name="connsiteX4" fmla="*/ 180157 w 181333"/>
                <a:gd name="connsiteY4" fmla="*/ 0 h 87320"/>
                <a:gd name="connsiteX5" fmla="*/ 181333 w 181333"/>
                <a:gd name="connsiteY5" fmla="*/ 7648 h 87320"/>
                <a:gd name="connsiteX6" fmla="*/ 181333 w 181333"/>
                <a:gd name="connsiteY6" fmla="*/ 13532 h 87320"/>
                <a:gd name="connsiteX7" fmla="*/ 30340 w 181333"/>
                <a:gd name="connsiteY7" fmla="*/ 83361 h 87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333" h="87320">
                  <a:moveTo>
                    <a:pt x="0" y="87320"/>
                  </a:moveTo>
                  <a:lnTo>
                    <a:pt x="42309" y="36168"/>
                  </a:lnTo>
                  <a:lnTo>
                    <a:pt x="54839" y="38831"/>
                  </a:lnTo>
                  <a:cubicBezTo>
                    <a:pt x="73078" y="38242"/>
                    <a:pt x="90728" y="34712"/>
                    <a:pt x="107790" y="29417"/>
                  </a:cubicBezTo>
                  <a:cubicBezTo>
                    <a:pt x="132500" y="21768"/>
                    <a:pt x="156623" y="11767"/>
                    <a:pt x="180157" y="0"/>
                  </a:cubicBezTo>
                  <a:cubicBezTo>
                    <a:pt x="180745" y="2353"/>
                    <a:pt x="181333" y="5295"/>
                    <a:pt x="181333" y="7648"/>
                  </a:cubicBezTo>
                  <a:lnTo>
                    <a:pt x="181333" y="13532"/>
                  </a:lnTo>
                  <a:cubicBezTo>
                    <a:pt x="134560" y="53687"/>
                    <a:pt x="76865" y="74315"/>
                    <a:pt x="30340" y="833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9" name="Forme libre : forme 778">
              <a:extLst>
                <a:ext uri="{FF2B5EF4-FFF2-40B4-BE49-F238E27FC236}">
                  <a16:creationId xmlns:a16="http://schemas.microsoft.com/office/drawing/2014/main" id="{B43CFDC2-082C-4907-9138-CE468CF9D156}"/>
                </a:ext>
              </a:extLst>
            </p:cNvPr>
            <p:cNvSpPr/>
            <p:nvPr/>
          </p:nvSpPr>
          <p:spPr>
            <a:xfrm rot="8716295">
              <a:off x="5742786" y="2375436"/>
              <a:ext cx="92417" cy="296278"/>
            </a:xfrm>
            <a:custGeom>
              <a:avLst/>
              <a:gdLst>
                <a:gd name="connsiteX0" fmla="*/ 0 w 61060"/>
                <a:gd name="connsiteY0" fmla="*/ 195751 h 195751"/>
                <a:gd name="connsiteX1" fmla="*/ 0 w 61060"/>
                <a:gd name="connsiteY1" fmla="*/ 67520 h 195751"/>
                <a:gd name="connsiteX2" fmla="*/ 55847 w 61060"/>
                <a:gd name="connsiteY2" fmla="*/ 0 h 195751"/>
                <a:gd name="connsiteX3" fmla="*/ 61059 w 61060"/>
                <a:gd name="connsiteY3" fmla="*/ 13486 h 195751"/>
                <a:gd name="connsiteX4" fmla="*/ 61060 w 61060"/>
                <a:gd name="connsiteY4" fmla="*/ 171601 h 195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60" h="195751">
                  <a:moveTo>
                    <a:pt x="0" y="195751"/>
                  </a:moveTo>
                  <a:lnTo>
                    <a:pt x="0" y="67520"/>
                  </a:lnTo>
                  <a:lnTo>
                    <a:pt x="55847" y="0"/>
                  </a:lnTo>
                  <a:lnTo>
                    <a:pt x="61059" y="13486"/>
                  </a:lnTo>
                  <a:lnTo>
                    <a:pt x="61060" y="17160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0" name="Forme libre : forme 779">
              <a:extLst>
                <a:ext uri="{FF2B5EF4-FFF2-40B4-BE49-F238E27FC236}">
                  <a16:creationId xmlns:a16="http://schemas.microsoft.com/office/drawing/2014/main" id="{4D4A1F5E-B4EB-4CD4-BAB2-B2936E3BA1CA}"/>
                </a:ext>
              </a:extLst>
            </p:cNvPr>
            <p:cNvSpPr/>
            <p:nvPr/>
          </p:nvSpPr>
          <p:spPr>
            <a:xfrm rot="8716295">
              <a:off x="5579033" y="246915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1" name="Forme libre : forme 780">
              <a:extLst>
                <a:ext uri="{FF2B5EF4-FFF2-40B4-BE49-F238E27FC236}">
                  <a16:creationId xmlns:a16="http://schemas.microsoft.com/office/drawing/2014/main" id="{CE5CAFE6-1524-41DE-89BB-16FAB9036D83}"/>
                </a:ext>
              </a:extLst>
            </p:cNvPr>
            <p:cNvSpPr/>
            <p:nvPr/>
          </p:nvSpPr>
          <p:spPr>
            <a:xfrm rot="8716295">
              <a:off x="5389987" y="215331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2" name="Forme libre : forme 781">
              <a:extLst>
                <a:ext uri="{FF2B5EF4-FFF2-40B4-BE49-F238E27FC236}">
                  <a16:creationId xmlns:a16="http://schemas.microsoft.com/office/drawing/2014/main" id="{1078570C-FF38-413A-82DE-E38EF08EE2A9}"/>
                </a:ext>
              </a:extLst>
            </p:cNvPr>
            <p:cNvSpPr/>
            <p:nvPr/>
          </p:nvSpPr>
          <p:spPr>
            <a:xfrm rot="8716295">
              <a:off x="5371746" y="194326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3" name="Forme libre : forme 782">
              <a:extLst>
                <a:ext uri="{FF2B5EF4-FFF2-40B4-BE49-F238E27FC236}">
                  <a16:creationId xmlns:a16="http://schemas.microsoft.com/office/drawing/2014/main" id="{2DFDB502-0D6C-4245-AA56-DE338A411DD1}"/>
                </a:ext>
              </a:extLst>
            </p:cNvPr>
            <p:cNvSpPr/>
            <p:nvPr/>
          </p:nvSpPr>
          <p:spPr>
            <a:xfrm rot="8716295">
              <a:off x="5716764" y="2550542"/>
              <a:ext cx="91035" cy="331729"/>
            </a:xfrm>
            <a:custGeom>
              <a:avLst/>
              <a:gdLst>
                <a:gd name="connsiteX0" fmla="*/ 60147 w 60147"/>
                <a:gd name="connsiteY0" fmla="*/ 219174 h 219174"/>
                <a:gd name="connsiteX1" fmla="*/ 0 w 60147"/>
                <a:gd name="connsiteY1" fmla="*/ 161304 h 219174"/>
                <a:gd name="connsiteX2" fmla="*/ 0 w 60147"/>
                <a:gd name="connsiteY2" fmla="*/ 68045 h 219174"/>
                <a:gd name="connsiteX3" fmla="*/ 56210 w 60147"/>
                <a:gd name="connsiteY3" fmla="*/ 87 h 219174"/>
                <a:gd name="connsiteX4" fmla="*/ 60147 w 60147"/>
                <a:gd name="connsiteY4" fmla="*/ 0 h 219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47" h="219174">
                  <a:moveTo>
                    <a:pt x="60147" y="219174"/>
                  </a:moveTo>
                  <a:lnTo>
                    <a:pt x="0" y="161304"/>
                  </a:lnTo>
                  <a:lnTo>
                    <a:pt x="0" y="68045"/>
                  </a:lnTo>
                  <a:lnTo>
                    <a:pt x="56210" y="87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4" name="Forme libre : forme 783">
              <a:extLst>
                <a:ext uri="{FF2B5EF4-FFF2-40B4-BE49-F238E27FC236}">
                  <a16:creationId xmlns:a16="http://schemas.microsoft.com/office/drawing/2014/main" id="{D6EF1E2E-EA70-4C26-808A-AA6B7CC8B41E}"/>
                </a:ext>
              </a:extLst>
            </p:cNvPr>
            <p:cNvSpPr/>
            <p:nvPr/>
          </p:nvSpPr>
          <p:spPr>
            <a:xfrm rot="8716295">
              <a:off x="5787639" y="192609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5" name="Forme libre : forme 784">
              <a:extLst>
                <a:ext uri="{FF2B5EF4-FFF2-40B4-BE49-F238E27FC236}">
                  <a16:creationId xmlns:a16="http://schemas.microsoft.com/office/drawing/2014/main" id="{A2961F2A-DE92-482C-A65E-A4071D364F5E}"/>
                </a:ext>
              </a:extLst>
            </p:cNvPr>
            <p:cNvSpPr/>
            <p:nvPr/>
          </p:nvSpPr>
          <p:spPr>
            <a:xfrm rot="8716295">
              <a:off x="5411131" y="133665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6" name="Forme libre : forme 785">
              <a:extLst>
                <a:ext uri="{FF2B5EF4-FFF2-40B4-BE49-F238E27FC236}">
                  <a16:creationId xmlns:a16="http://schemas.microsoft.com/office/drawing/2014/main" id="{F345DFE8-8A89-4353-9132-2A3DD36A84F9}"/>
                </a:ext>
              </a:extLst>
            </p:cNvPr>
            <p:cNvSpPr/>
            <p:nvPr/>
          </p:nvSpPr>
          <p:spPr>
            <a:xfrm rot="8716295">
              <a:off x="5547629" y="1389153"/>
              <a:ext cx="346795" cy="385612"/>
            </a:xfrm>
            <a:custGeom>
              <a:avLst/>
              <a:gdLst>
                <a:gd name="connsiteX0" fmla="*/ 19979 w 229128"/>
                <a:gd name="connsiteY0" fmla="*/ 254774 h 254774"/>
                <a:gd name="connsiteX1" fmla="*/ 19979 w 229128"/>
                <a:gd name="connsiteY1" fmla="*/ 45624 h 254774"/>
                <a:gd name="connsiteX2" fmla="*/ 0 w 229128"/>
                <a:gd name="connsiteY2" fmla="*/ 45624 h 254774"/>
                <a:gd name="connsiteX3" fmla="*/ 36558 w 229128"/>
                <a:gd name="connsiteY3" fmla="*/ 1425 h 254774"/>
                <a:gd name="connsiteX4" fmla="*/ 73292 w 229128"/>
                <a:gd name="connsiteY4" fmla="*/ 1425 h 254774"/>
                <a:gd name="connsiteX5" fmla="*/ 73292 w 229128"/>
                <a:gd name="connsiteY5" fmla="*/ 75242 h 254774"/>
                <a:gd name="connsiteX6" fmla="*/ 74658 w 229128"/>
                <a:gd name="connsiteY6" fmla="*/ 75242 h 254774"/>
                <a:gd name="connsiteX7" fmla="*/ 122503 w 229128"/>
                <a:gd name="connsiteY7" fmla="*/ 5981 h 254774"/>
                <a:gd name="connsiteX8" fmla="*/ 153944 w 229128"/>
                <a:gd name="connsiteY8" fmla="*/ 57 h 254774"/>
                <a:gd name="connsiteX9" fmla="*/ 229128 w 229128"/>
                <a:gd name="connsiteY9" fmla="*/ 88456 h 254774"/>
                <a:gd name="connsiteX10" fmla="*/ 229128 w 229128"/>
                <a:gd name="connsiteY10" fmla="*/ 94380 h 254774"/>
                <a:gd name="connsiteX11" fmla="*/ 167158 w 229128"/>
                <a:gd name="connsiteY11" fmla="*/ 98025 h 254774"/>
                <a:gd name="connsiteX12" fmla="*/ 167158 w 229128"/>
                <a:gd name="connsiteY12" fmla="*/ 81621 h 254774"/>
                <a:gd name="connsiteX13" fmla="*/ 133439 w 229128"/>
                <a:gd name="connsiteY13" fmla="*/ 40156 h 254774"/>
                <a:gd name="connsiteX14" fmla="*/ 80127 w 229128"/>
                <a:gd name="connsiteY14" fmla="*/ 127643 h 254774"/>
                <a:gd name="connsiteX15" fmla="*/ 80127 w 229128"/>
                <a:gd name="connsiteY15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29128" h="254774">
                  <a:moveTo>
                    <a:pt x="19979" y="254774"/>
                  </a:moveTo>
                  <a:lnTo>
                    <a:pt x="19979" y="45624"/>
                  </a:lnTo>
                  <a:lnTo>
                    <a:pt x="0" y="45624"/>
                  </a:lnTo>
                  <a:lnTo>
                    <a:pt x="36558" y="1425"/>
                  </a:lnTo>
                  <a:lnTo>
                    <a:pt x="73292" y="1425"/>
                  </a:lnTo>
                  <a:lnTo>
                    <a:pt x="73292" y="75242"/>
                  </a:lnTo>
                  <a:lnTo>
                    <a:pt x="74658" y="75242"/>
                  </a:lnTo>
                  <a:cubicBezTo>
                    <a:pt x="89240" y="31954"/>
                    <a:pt x="100631" y="15094"/>
                    <a:pt x="122503" y="5981"/>
                  </a:cubicBezTo>
                  <a:cubicBezTo>
                    <a:pt x="132528" y="1880"/>
                    <a:pt x="143008" y="-398"/>
                    <a:pt x="153944" y="57"/>
                  </a:cubicBezTo>
                  <a:cubicBezTo>
                    <a:pt x="200877" y="-854"/>
                    <a:pt x="229128" y="31954"/>
                    <a:pt x="229128" y="88456"/>
                  </a:cubicBezTo>
                  <a:lnTo>
                    <a:pt x="229128" y="94380"/>
                  </a:lnTo>
                  <a:lnTo>
                    <a:pt x="167158" y="98025"/>
                  </a:lnTo>
                  <a:lnTo>
                    <a:pt x="167158" y="81621"/>
                  </a:lnTo>
                  <a:cubicBezTo>
                    <a:pt x="167158" y="57016"/>
                    <a:pt x="153033" y="40156"/>
                    <a:pt x="133439" y="40156"/>
                  </a:cubicBezTo>
                  <a:cubicBezTo>
                    <a:pt x="104277" y="40156"/>
                    <a:pt x="80127" y="78887"/>
                    <a:pt x="80127" y="127643"/>
                  </a:cubicBezTo>
                  <a:lnTo>
                    <a:pt x="80127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7" name="Forme libre : forme 786">
              <a:extLst>
                <a:ext uri="{FF2B5EF4-FFF2-40B4-BE49-F238E27FC236}">
                  <a16:creationId xmlns:a16="http://schemas.microsoft.com/office/drawing/2014/main" id="{5895E6F0-4399-4D04-958F-F7C3F4A74E7E}"/>
                </a:ext>
              </a:extLst>
            </p:cNvPr>
            <p:cNvSpPr/>
            <p:nvPr/>
          </p:nvSpPr>
          <p:spPr>
            <a:xfrm rot="8716295">
              <a:off x="5478548" y="125032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8" name="Forme libre : forme 787">
              <a:extLst>
                <a:ext uri="{FF2B5EF4-FFF2-40B4-BE49-F238E27FC236}">
                  <a16:creationId xmlns:a16="http://schemas.microsoft.com/office/drawing/2014/main" id="{793334F9-FA14-4BBF-95F9-C3325CD14C1E}"/>
                </a:ext>
              </a:extLst>
            </p:cNvPr>
            <p:cNvSpPr/>
            <p:nvPr/>
          </p:nvSpPr>
          <p:spPr>
            <a:xfrm rot="8716295">
              <a:off x="5241260" y="147066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9" name="Forme libre : forme 788">
              <a:extLst>
                <a:ext uri="{FF2B5EF4-FFF2-40B4-BE49-F238E27FC236}">
                  <a16:creationId xmlns:a16="http://schemas.microsoft.com/office/drawing/2014/main" id="{27BEE6E8-B5E4-4A65-91F8-0AE242F08908}"/>
                </a:ext>
              </a:extLst>
            </p:cNvPr>
            <p:cNvSpPr/>
            <p:nvPr/>
          </p:nvSpPr>
          <p:spPr>
            <a:xfrm rot="8716295">
              <a:off x="5052214" y="11548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0" name="Forme libre : forme 789">
              <a:extLst>
                <a:ext uri="{FF2B5EF4-FFF2-40B4-BE49-F238E27FC236}">
                  <a16:creationId xmlns:a16="http://schemas.microsoft.com/office/drawing/2014/main" id="{A3F0A921-0C90-45C3-AD51-00D52D70CCCC}"/>
                </a:ext>
              </a:extLst>
            </p:cNvPr>
            <p:cNvSpPr/>
            <p:nvPr/>
          </p:nvSpPr>
          <p:spPr>
            <a:xfrm rot="8716295">
              <a:off x="5033973" y="94478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1" name="Forme libre : forme 790">
              <a:extLst>
                <a:ext uri="{FF2B5EF4-FFF2-40B4-BE49-F238E27FC236}">
                  <a16:creationId xmlns:a16="http://schemas.microsoft.com/office/drawing/2014/main" id="{4F886E26-FD4E-485C-BE50-E0DBCD541B71}"/>
                </a:ext>
              </a:extLst>
            </p:cNvPr>
            <p:cNvSpPr/>
            <p:nvPr/>
          </p:nvSpPr>
          <p:spPr>
            <a:xfrm rot="8716295">
              <a:off x="5377749" y="153264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2" name="Forme libre : forme 791">
              <a:extLst>
                <a:ext uri="{FF2B5EF4-FFF2-40B4-BE49-F238E27FC236}">
                  <a16:creationId xmlns:a16="http://schemas.microsoft.com/office/drawing/2014/main" id="{04C1E3D7-9A53-4350-93B5-3A078BC5B4EB}"/>
                </a:ext>
              </a:extLst>
            </p:cNvPr>
            <p:cNvSpPr/>
            <p:nvPr/>
          </p:nvSpPr>
          <p:spPr>
            <a:xfrm rot="8716295">
              <a:off x="5847873" y="996679"/>
              <a:ext cx="92417" cy="314872"/>
            </a:xfrm>
            <a:custGeom>
              <a:avLst/>
              <a:gdLst>
                <a:gd name="connsiteX0" fmla="*/ 0 w 61060"/>
                <a:gd name="connsiteY0" fmla="*/ 208036 h 208036"/>
                <a:gd name="connsiteX1" fmla="*/ 1 w 61060"/>
                <a:gd name="connsiteY1" fmla="*/ 61780 h 208036"/>
                <a:gd name="connsiteX2" fmla="*/ 51100 w 61060"/>
                <a:gd name="connsiteY2" fmla="*/ 0 h 208036"/>
                <a:gd name="connsiteX3" fmla="*/ 61059 w 61060"/>
                <a:gd name="connsiteY3" fmla="*/ 25771 h 208036"/>
                <a:gd name="connsiteX4" fmla="*/ 61060 w 61060"/>
                <a:gd name="connsiteY4" fmla="*/ 183886 h 208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60" h="208036">
                  <a:moveTo>
                    <a:pt x="0" y="208036"/>
                  </a:moveTo>
                  <a:lnTo>
                    <a:pt x="1" y="61780"/>
                  </a:lnTo>
                  <a:lnTo>
                    <a:pt x="51100" y="0"/>
                  </a:lnTo>
                  <a:lnTo>
                    <a:pt x="61059" y="25771"/>
                  </a:lnTo>
                  <a:lnTo>
                    <a:pt x="61060" y="18388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3" name="Forme libre : forme 792">
              <a:extLst>
                <a:ext uri="{FF2B5EF4-FFF2-40B4-BE49-F238E27FC236}">
                  <a16:creationId xmlns:a16="http://schemas.microsoft.com/office/drawing/2014/main" id="{2A3AE8A9-4B1B-420D-8356-BE83AA6C92DA}"/>
                </a:ext>
              </a:extLst>
            </p:cNvPr>
            <p:cNvSpPr/>
            <p:nvPr/>
          </p:nvSpPr>
          <p:spPr>
            <a:xfrm rot="8716295">
              <a:off x="5678824" y="109205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4" name="Forme libre : forme 793">
              <a:extLst>
                <a:ext uri="{FF2B5EF4-FFF2-40B4-BE49-F238E27FC236}">
                  <a16:creationId xmlns:a16="http://schemas.microsoft.com/office/drawing/2014/main" id="{387B3690-57AF-4CCF-B9A7-55CB534D22BD}"/>
                </a:ext>
              </a:extLst>
            </p:cNvPr>
            <p:cNvSpPr/>
            <p:nvPr/>
          </p:nvSpPr>
          <p:spPr>
            <a:xfrm rot="8716295">
              <a:off x="5489780" y="77621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5" name="Forme libre : forme 794">
              <a:extLst>
                <a:ext uri="{FF2B5EF4-FFF2-40B4-BE49-F238E27FC236}">
                  <a16:creationId xmlns:a16="http://schemas.microsoft.com/office/drawing/2014/main" id="{F07D311E-335E-4C7D-82A0-742BBF375A4B}"/>
                </a:ext>
              </a:extLst>
            </p:cNvPr>
            <p:cNvSpPr/>
            <p:nvPr/>
          </p:nvSpPr>
          <p:spPr>
            <a:xfrm rot="8716295">
              <a:off x="5816554" y="1173443"/>
              <a:ext cx="91037" cy="331731"/>
            </a:xfrm>
            <a:custGeom>
              <a:avLst/>
              <a:gdLst>
                <a:gd name="connsiteX0" fmla="*/ 60148 w 60148"/>
                <a:gd name="connsiteY0" fmla="*/ 219175 h 219175"/>
                <a:gd name="connsiteX1" fmla="*/ 0 w 60148"/>
                <a:gd name="connsiteY1" fmla="*/ 161305 h 219175"/>
                <a:gd name="connsiteX2" fmla="*/ 0 w 60148"/>
                <a:gd name="connsiteY2" fmla="*/ 50021 h 219175"/>
                <a:gd name="connsiteX3" fmla="*/ 41025 w 60148"/>
                <a:gd name="connsiteY3" fmla="*/ 421 h 219175"/>
                <a:gd name="connsiteX4" fmla="*/ 60147 w 60148"/>
                <a:gd name="connsiteY4" fmla="*/ 0 h 219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48" h="219175">
                  <a:moveTo>
                    <a:pt x="60148" y="219175"/>
                  </a:moveTo>
                  <a:lnTo>
                    <a:pt x="0" y="161305"/>
                  </a:lnTo>
                  <a:lnTo>
                    <a:pt x="0" y="50021"/>
                  </a:lnTo>
                  <a:lnTo>
                    <a:pt x="41025" y="421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6" name="Forme libre : forme 795">
              <a:extLst>
                <a:ext uri="{FF2B5EF4-FFF2-40B4-BE49-F238E27FC236}">
                  <a16:creationId xmlns:a16="http://schemas.microsoft.com/office/drawing/2014/main" id="{66CDEC38-7CA1-4527-B6C7-5DCAC2442F65}"/>
                </a:ext>
              </a:extLst>
            </p:cNvPr>
            <p:cNvSpPr/>
            <p:nvPr/>
          </p:nvSpPr>
          <p:spPr>
            <a:xfrm rot="8716295">
              <a:off x="5449866" y="92760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7" name="Forme libre : forme 796">
              <a:extLst>
                <a:ext uri="{FF2B5EF4-FFF2-40B4-BE49-F238E27FC236}">
                  <a16:creationId xmlns:a16="http://schemas.microsoft.com/office/drawing/2014/main" id="{D2CA5B22-3CB9-4D61-9713-ECDE1E76381D}"/>
                </a:ext>
              </a:extLst>
            </p:cNvPr>
            <p:cNvSpPr/>
            <p:nvPr/>
          </p:nvSpPr>
          <p:spPr>
            <a:xfrm rot="8716295">
              <a:off x="5954717" y="1002572"/>
              <a:ext cx="48491" cy="55034"/>
            </a:xfrm>
            <a:custGeom>
              <a:avLst/>
              <a:gdLst>
                <a:gd name="connsiteX0" fmla="*/ 0 w 32038"/>
                <a:gd name="connsiteY0" fmla="*/ 35166 h 36361"/>
                <a:gd name="connsiteX1" fmla="*/ 29086 w 32038"/>
                <a:gd name="connsiteY1" fmla="*/ 0 h 36361"/>
                <a:gd name="connsiteX2" fmla="*/ 32038 w 32038"/>
                <a:gd name="connsiteY2" fmla="*/ 7028 h 36361"/>
                <a:gd name="connsiteX3" fmla="*/ 23495 w 32038"/>
                <a:gd name="connsiteY3" fmla="*/ 27704 h 36361"/>
                <a:gd name="connsiteX4" fmla="*/ 2990 w 32038"/>
                <a:gd name="connsiteY4" fmla="*/ 36361 h 36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038" h="36361">
                  <a:moveTo>
                    <a:pt x="0" y="35166"/>
                  </a:moveTo>
                  <a:lnTo>
                    <a:pt x="29086" y="0"/>
                  </a:lnTo>
                  <a:lnTo>
                    <a:pt x="32038" y="7028"/>
                  </a:lnTo>
                  <a:cubicBezTo>
                    <a:pt x="32039" y="14489"/>
                    <a:pt x="29191" y="22008"/>
                    <a:pt x="23495" y="27704"/>
                  </a:cubicBezTo>
                  <a:cubicBezTo>
                    <a:pt x="18027" y="33172"/>
                    <a:pt x="10736" y="36361"/>
                    <a:pt x="2990" y="363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8" name="Forme libre : forme 797">
              <a:extLst>
                <a:ext uri="{FF2B5EF4-FFF2-40B4-BE49-F238E27FC236}">
                  <a16:creationId xmlns:a16="http://schemas.microsoft.com/office/drawing/2014/main" id="{2C1218F4-7DC2-4ED8-8247-5696545760E1}"/>
                </a:ext>
              </a:extLst>
            </p:cNvPr>
            <p:cNvSpPr/>
            <p:nvPr/>
          </p:nvSpPr>
          <p:spPr>
            <a:xfrm rot="8716295">
              <a:off x="5079758" y="33459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9" name="Forme libre : forme 798">
              <a:extLst>
                <a:ext uri="{FF2B5EF4-FFF2-40B4-BE49-F238E27FC236}">
                  <a16:creationId xmlns:a16="http://schemas.microsoft.com/office/drawing/2014/main" id="{D0306570-766D-490D-9EC2-A97AB1BAB4C6}"/>
                </a:ext>
              </a:extLst>
            </p:cNvPr>
            <p:cNvSpPr/>
            <p:nvPr/>
          </p:nvSpPr>
          <p:spPr>
            <a:xfrm rot="8716295">
              <a:off x="5215056" y="37885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0" name="Forme libre : forme 799">
              <a:extLst>
                <a:ext uri="{FF2B5EF4-FFF2-40B4-BE49-F238E27FC236}">
                  <a16:creationId xmlns:a16="http://schemas.microsoft.com/office/drawing/2014/main" id="{77292053-0143-4408-B999-537084FF4DF1}"/>
                </a:ext>
              </a:extLst>
            </p:cNvPr>
            <p:cNvSpPr/>
            <p:nvPr/>
          </p:nvSpPr>
          <p:spPr>
            <a:xfrm rot="8716295">
              <a:off x="5147174" y="248268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1" name="Forme libre : forme 800">
              <a:extLst>
                <a:ext uri="{FF2B5EF4-FFF2-40B4-BE49-F238E27FC236}">
                  <a16:creationId xmlns:a16="http://schemas.microsoft.com/office/drawing/2014/main" id="{841FE04C-5195-472E-8787-746E4A4E8D7E}"/>
                </a:ext>
              </a:extLst>
            </p:cNvPr>
            <p:cNvSpPr/>
            <p:nvPr/>
          </p:nvSpPr>
          <p:spPr>
            <a:xfrm rot="8716295">
              <a:off x="4909887" y="4686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2" name="Forme libre : forme 801">
              <a:extLst>
                <a:ext uri="{FF2B5EF4-FFF2-40B4-BE49-F238E27FC236}">
                  <a16:creationId xmlns:a16="http://schemas.microsoft.com/office/drawing/2014/main" id="{F7B1085B-4858-4D70-A004-8B8F25F247C5}"/>
                </a:ext>
              </a:extLst>
            </p:cNvPr>
            <p:cNvSpPr/>
            <p:nvPr/>
          </p:nvSpPr>
          <p:spPr>
            <a:xfrm rot="8716295">
              <a:off x="4720840" y="15277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3" name="Forme libre : forme 802">
              <a:extLst>
                <a:ext uri="{FF2B5EF4-FFF2-40B4-BE49-F238E27FC236}">
                  <a16:creationId xmlns:a16="http://schemas.microsoft.com/office/drawing/2014/main" id="{B81144B8-8745-4F32-B198-B5E7831F9FA1}"/>
                </a:ext>
              </a:extLst>
            </p:cNvPr>
            <p:cNvSpPr/>
            <p:nvPr/>
          </p:nvSpPr>
          <p:spPr>
            <a:xfrm rot="8716295">
              <a:off x="4702019" y="-47743"/>
              <a:ext cx="439901" cy="516041"/>
            </a:xfrm>
            <a:custGeom>
              <a:avLst/>
              <a:gdLst>
                <a:gd name="connsiteX0" fmla="*/ 155476 w 290643"/>
                <a:gd name="connsiteY0" fmla="*/ 340949 h 340949"/>
                <a:gd name="connsiteX1" fmla="*/ 1169 w 290643"/>
                <a:gd name="connsiteY1" fmla="*/ 233989 h 340949"/>
                <a:gd name="connsiteX2" fmla="*/ 0 w 290643"/>
                <a:gd name="connsiteY2" fmla="*/ 220042 h 340949"/>
                <a:gd name="connsiteX3" fmla="*/ 0 w 290643"/>
                <a:gd name="connsiteY3" fmla="*/ 40596 h 340949"/>
                <a:gd name="connsiteX4" fmla="*/ 78250 w 290643"/>
                <a:gd name="connsiteY4" fmla="*/ 0 h 340949"/>
                <a:gd name="connsiteX5" fmla="*/ 79427 w 290643"/>
                <a:gd name="connsiteY5" fmla="*/ 164149 h 340949"/>
                <a:gd name="connsiteX6" fmla="*/ 93547 w 290643"/>
                <a:gd name="connsiteY6" fmla="*/ 261815 h 340949"/>
                <a:gd name="connsiteX7" fmla="*/ 164149 w 290643"/>
                <a:gd name="connsiteY7" fmla="*/ 300646 h 340949"/>
                <a:gd name="connsiteX8" fmla="*/ 217100 w 290643"/>
                <a:gd name="connsiteY8" fmla="*/ 291232 h 340949"/>
                <a:gd name="connsiteX9" fmla="*/ 289467 w 290643"/>
                <a:gd name="connsiteY9" fmla="*/ 261815 h 340949"/>
                <a:gd name="connsiteX10" fmla="*/ 290643 w 290643"/>
                <a:gd name="connsiteY10" fmla="*/ 269463 h 340949"/>
                <a:gd name="connsiteX11" fmla="*/ 290643 w 290643"/>
                <a:gd name="connsiteY11" fmla="*/ 275347 h 340949"/>
                <a:gd name="connsiteX12" fmla="*/ 189080 w 290643"/>
                <a:gd name="connsiteY12" fmla="*/ 331975 h 340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0643" h="340949">
                  <a:moveTo>
                    <a:pt x="155476" y="340949"/>
                  </a:moveTo>
                  <a:lnTo>
                    <a:pt x="1169" y="233989"/>
                  </a:lnTo>
                  <a:lnTo>
                    <a:pt x="0" y="220042"/>
                  </a:ln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9" y="300646"/>
                  </a:cubicBezTo>
                  <a:cubicBezTo>
                    <a:pt x="182388" y="300057"/>
                    <a:pt x="200038" y="296527"/>
                    <a:pt x="217100" y="291232"/>
                  </a:cubicBezTo>
                  <a:cubicBezTo>
                    <a:pt x="241810" y="283584"/>
                    <a:pt x="265933" y="273582"/>
                    <a:pt x="289467" y="261815"/>
                  </a:cubicBezTo>
                  <a:cubicBezTo>
                    <a:pt x="290055" y="264168"/>
                    <a:pt x="290643" y="267110"/>
                    <a:pt x="290643" y="269463"/>
                  </a:cubicBezTo>
                  <a:lnTo>
                    <a:pt x="290643" y="275347"/>
                  </a:lnTo>
                  <a:cubicBezTo>
                    <a:pt x="259461" y="302117"/>
                    <a:pt x="223425" y="320208"/>
                    <a:pt x="189080" y="3319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4" name="Forme libre : forme 803">
              <a:extLst>
                <a:ext uri="{FF2B5EF4-FFF2-40B4-BE49-F238E27FC236}">
                  <a16:creationId xmlns:a16="http://schemas.microsoft.com/office/drawing/2014/main" id="{97BB5D8E-77DF-4379-8FB9-C73059373491}"/>
                </a:ext>
              </a:extLst>
            </p:cNvPr>
            <p:cNvSpPr/>
            <p:nvPr/>
          </p:nvSpPr>
          <p:spPr>
            <a:xfrm rot="8716295">
              <a:off x="5046375" y="53059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5" name="Forme libre : forme 804">
              <a:extLst>
                <a:ext uri="{FF2B5EF4-FFF2-40B4-BE49-F238E27FC236}">
                  <a16:creationId xmlns:a16="http://schemas.microsoft.com/office/drawing/2014/main" id="{0E56D396-C685-4453-B6D5-C901E9191392}"/>
                </a:ext>
              </a:extLst>
            </p:cNvPr>
            <p:cNvSpPr/>
            <p:nvPr/>
          </p:nvSpPr>
          <p:spPr>
            <a:xfrm rot="8716295">
              <a:off x="5517321" y="-4401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6" name="Forme libre : forme 805">
              <a:extLst>
                <a:ext uri="{FF2B5EF4-FFF2-40B4-BE49-F238E27FC236}">
                  <a16:creationId xmlns:a16="http://schemas.microsoft.com/office/drawing/2014/main" id="{FDD18870-B961-4BA7-957F-21B8886A0CDC}"/>
                </a:ext>
              </a:extLst>
            </p:cNvPr>
            <p:cNvSpPr/>
            <p:nvPr/>
          </p:nvSpPr>
          <p:spPr>
            <a:xfrm rot="8716295">
              <a:off x="5660365" y="29418"/>
              <a:ext cx="361480" cy="358038"/>
            </a:xfrm>
            <a:custGeom>
              <a:avLst/>
              <a:gdLst>
                <a:gd name="connsiteX0" fmla="*/ 56401 w 238830"/>
                <a:gd name="connsiteY0" fmla="*/ 236556 h 236556"/>
                <a:gd name="connsiteX1" fmla="*/ 29681 w 238830"/>
                <a:gd name="connsiteY1" fmla="*/ 218034 h 236556"/>
                <a:gd name="connsiteX2" fmla="*/ 29681 w 238830"/>
                <a:gd name="connsiteY2" fmla="*/ 45624 h 236556"/>
                <a:gd name="connsiteX3" fmla="*/ 0 w 238830"/>
                <a:gd name="connsiteY3" fmla="*/ 45624 h 236556"/>
                <a:gd name="connsiteX4" fmla="*/ 36558 w 238830"/>
                <a:gd name="connsiteY4" fmla="*/ 1425 h 236556"/>
                <a:gd name="connsiteX5" fmla="*/ 82994 w 238830"/>
                <a:gd name="connsiteY5" fmla="*/ 1425 h 236556"/>
                <a:gd name="connsiteX6" fmla="*/ 82994 w 238830"/>
                <a:gd name="connsiteY6" fmla="*/ 75242 h 236556"/>
                <a:gd name="connsiteX7" fmla="*/ 84360 w 238830"/>
                <a:gd name="connsiteY7" fmla="*/ 75242 h 236556"/>
                <a:gd name="connsiteX8" fmla="*/ 132205 w 238830"/>
                <a:gd name="connsiteY8" fmla="*/ 5981 h 236556"/>
                <a:gd name="connsiteX9" fmla="*/ 163646 w 238830"/>
                <a:gd name="connsiteY9" fmla="*/ 57 h 236556"/>
                <a:gd name="connsiteX10" fmla="*/ 238830 w 238830"/>
                <a:gd name="connsiteY10" fmla="*/ 88456 h 236556"/>
                <a:gd name="connsiteX11" fmla="*/ 238830 w 238830"/>
                <a:gd name="connsiteY11" fmla="*/ 94380 h 236556"/>
                <a:gd name="connsiteX12" fmla="*/ 176860 w 238830"/>
                <a:gd name="connsiteY12" fmla="*/ 98025 h 236556"/>
                <a:gd name="connsiteX13" fmla="*/ 176860 w 238830"/>
                <a:gd name="connsiteY13" fmla="*/ 81621 h 236556"/>
                <a:gd name="connsiteX14" fmla="*/ 143141 w 238830"/>
                <a:gd name="connsiteY14" fmla="*/ 40156 h 236556"/>
                <a:gd name="connsiteX15" fmla="*/ 89829 w 238830"/>
                <a:gd name="connsiteY15" fmla="*/ 127643 h 236556"/>
                <a:gd name="connsiteX16" fmla="*/ 89829 w 238830"/>
                <a:gd name="connsiteY16" fmla="*/ 213764 h 236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8830" h="236556">
                  <a:moveTo>
                    <a:pt x="56401" y="236556"/>
                  </a:moveTo>
                  <a:lnTo>
                    <a:pt x="29681" y="218034"/>
                  </a:lnTo>
                  <a:lnTo>
                    <a:pt x="29681" y="45624"/>
                  </a:lnTo>
                  <a:lnTo>
                    <a:pt x="0" y="45624"/>
                  </a:lnTo>
                  <a:lnTo>
                    <a:pt x="36558" y="1425"/>
                  </a:lnTo>
                  <a:lnTo>
                    <a:pt x="82994" y="1425"/>
                  </a:lnTo>
                  <a:lnTo>
                    <a:pt x="82994" y="75242"/>
                  </a:lnTo>
                  <a:lnTo>
                    <a:pt x="84360" y="75242"/>
                  </a:lnTo>
                  <a:cubicBezTo>
                    <a:pt x="98942" y="31954"/>
                    <a:pt x="110333" y="15095"/>
                    <a:pt x="132205" y="5981"/>
                  </a:cubicBezTo>
                  <a:cubicBezTo>
                    <a:pt x="142230" y="1880"/>
                    <a:pt x="152710" y="-398"/>
                    <a:pt x="163646" y="57"/>
                  </a:cubicBezTo>
                  <a:cubicBezTo>
                    <a:pt x="210579" y="-854"/>
                    <a:pt x="238830" y="31954"/>
                    <a:pt x="238830" y="88456"/>
                  </a:cubicBezTo>
                  <a:lnTo>
                    <a:pt x="238830" y="94380"/>
                  </a:lnTo>
                  <a:lnTo>
                    <a:pt x="176860" y="98025"/>
                  </a:lnTo>
                  <a:lnTo>
                    <a:pt x="176860" y="81621"/>
                  </a:lnTo>
                  <a:cubicBezTo>
                    <a:pt x="176860" y="57016"/>
                    <a:pt x="162735" y="40156"/>
                    <a:pt x="143141" y="40156"/>
                  </a:cubicBezTo>
                  <a:cubicBezTo>
                    <a:pt x="113979" y="40156"/>
                    <a:pt x="89829" y="78887"/>
                    <a:pt x="89829" y="127643"/>
                  </a:cubicBezTo>
                  <a:lnTo>
                    <a:pt x="89829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7" name="Forme libre : forme 806">
              <a:extLst>
                <a:ext uri="{FF2B5EF4-FFF2-40B4-BE49-F238E27FC236}">
                  <a16:creationId xmlns:a16="http://schemas.microsoft.com/office/drawing/2014/main" id="{D0E1C294-DAF5-41B6-B115-06272F5F9B10}"/>
                </a:ext>
              </a:extLst>
            </p:cNvPr>
            <p:cNvSpPr/>
            <p:nvPr/>
          </p:nvSpPr>
          <p:spPr>
            <a:xfrm rot="8716295">
              <a:off x="5347450" y="8999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8" name="Forme libre : forme 807">
              <a:extLst>
                <a:ext uri="{FF2B5EF4-FFF2-40B4-BE49-F238E27FC236}">
                  <a16:creationId xmlns:a16="http://schemas.microsoft.com/office/drawing/2014/main" id="{74F1E207-7916-4202-A641-550B15EFECC8}"/>
                </a:ext>
              </a:extLst>
            </p:cNvPr>
            <p:cNvSpPr/>
            <p:nvPr/>
          </p:nvSpPr>
          <p:spPr>
            <a:xfrm rot="8716295">
              <a:off x="5220022" y="-7080"/>
              <a:ext cx="219414" cy="84041"/>
            </a:xfrm>
            <a:custGeom>
              <a:avLst/>
              <a:gdLst>
                <a:gd name="connsiteX0" fmla="*/ 80105 w 144967"/>
                <a:gd name="connsiteY0" fmla="*/ 55526 h 55526"/>
                <a:gd name="connsiteX1" fmla="*/ 0 w 144967"/>
                <a:gd name="connsiteY1" fmla="*/ 0 h 55526"/>
                <a:gd name="connsiteX2" fmla="*/ 144967 w 144967"/>
                <a:gd name="connsiteY2" fmla="*/ 0 h 55526"/>
                <a:gd name="connsiteX3" fmla="*/ 144967 w 144967"/>
                <a:gd name="connsiteY3" fmla="*/ 55323 h 55526"/>
                <a:gd name="connsiteX4" fmla="*/ 80175 w 144967"/>
                <a:gd name="connsiteY4" fmla="*/ 55323 h 55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967" h="55526">
                  <a:moveTo>
                    <a:pt x="80105" y="55526"/>
                  </a:moveTo>
                  <a:lnTo>
                    <a:pt x="0" y="0"/>
                  </a:lnTo>
                  <a:lnTo>
                    <a:pt x="144967" y="0"/>
                  </a:lnTo>
                  <a:lnTo>
                    <a:pt x="144967" y="55323"/>
                  </a:lnTo>
                  <a:lnTo>
                    <a:pt x="8017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9" name="Forme libre : forme 808">
              <a:extLst>
                <a:ext uri="{FF2B5EF4-FFF2-40B4-BE49-F238E27FC236}">
                  <a16:creationId xmlns:a16="http://schemas.microsoft.com/office/drawing/2014/main" id="{FFFA1363-71F4-445A-B608-E607D2E33C24}"/>
                </a:ext>
              </a:extLst>
            </p:cNvPr>
            <p:cNvSpPr/>
            <p:nvPr/>
          </p:nvSpPr>
          <p:spPr>
            <a:xfrm rot="8716295">
              <a:off x="5483939" y="15198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0" name="Forme libre : forme 809">
              <a:extLst>
                <a:ext uri="{FF2B5EF4-FFF2-40B4-BE49-F238E27FC236}">
                  <a16:creationId xmlns:a16="http://schemas.microsoft.com/office/drawing/2014/main" id="{F26EC522-D5AA-44BE-B119-A69633A6A7B7}"/>
                </a:ext>
              </a:extLst>
            </p:cNvPr>
            <p:cNvSpPr/>
            <p:nvPr/>
          </p:nvSpPr>
          <p:spPr>
            <a:xfrm rot="8716295">
              <a:off x="5128323" y="-20358"/>
              <a:ext cx="80664" cy="63766"/>
            </a:xfrm>
            <a:custGeom>
              <a:avLst/>
              <a:gdLst>
                <a:gd name="connsiteX0" fmla="*/ 51759 w 53295"/>
                <a:gd name="connsiteY0" fmla="*/ 42130 h 42130"/>
                <a:gd name="connsiteX1" fmla="*/ 0 w 53295"/>
                <a:gd name="connsiteY1" fmla="*/ 6252 h 42130"/>
                <a:gd name="connsiteX2" fmla="*/ 14807 w 53295"/>
                <a:gd name="connsiteY2" fmla="*/ 0 h 42130"/>
                <a:gd name="connsiteX3" fmla="*/ 41975 w 53295"/>
                <a:gd name="connsiteY3" fmla="*/ 11471 h 42130"/>
                <a:gd name="connsiteX4" fmla="*/ 53295 w 53295"/>
                <a:gd name="connsiteY4" fmla="*/ 38412 h 42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295" h="42130">
                  <a:moveTo>
                    <a:pt x="51759" y="42130"/>
                  </a:moveTo>
                  <a:lnTo>
                    <a:pt x="0" y="6252"/>
                  </a:lnTo>
                  <a:lnTo>
                    <a:pt x="14807" y="0"/>
                  </a:lnTo>
                  <a:cubicBezTo>
                    <a:pt x="25071" y="0"/>
                    <a:pt x="34731" y="4226"/>
                    <a:pt x="41975" y="11471"/>
                  </a:cubicBezTo>
                  <a:cubicBezTo>
                    <a:pt x="49522" y="18716"/>
                    <a:pt x="53295" y="28526"/>
                    <a:pt x="53295" y="3841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1" name="Forme libre : forme 810">
              <a:extLst>
                <a:ext uri="{FF2B5EF4-FFF2-40B4-BE49-F238E27FC236}">
                  <a16:creationId xmlns:a16="http://schemas.microsoft.com/office/drawing/2014/main" id="{FD43579C-B307-44A1-9A8C-8DE6E00BA9DE}"/>
                </a:ext>
              </a:extLst>
            </p:cNvPr>
            <p:cNvSpPr/>
            <p:nvPr/>
          </p:nvSpPr>
          <p:spPr>
            <a:xfrm rot="7484129">
              <a:off x="5642756" y="4415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2" name="Forme libre : forme 811">
              <a:extLst>
                <a:ext uri="{FF2B5EF4-FFF2-40B4-BE49-F238E27FC236}">
                  <a16:creationId xmlns:a16="http://schemas.microsoft.com/office/drawing/2014/main" id="{32F15E24-4369-4C59-AD66-4B724D73D54B}"/>
                </a:ext>
              </a:extLst>
            </p:cNvPr>
            <p:cNvSpPr/>
            <p:nvPr/>
          </p:nvSpPr>
          <p:spPr>
            <a:xfrm rot="13089394">
              <a:off x="5789679" y="415199"/>
              <a:ext cx="360116" cy="446294"/>
            </a:xfrm>
            <a:custGeom>
              <a:avLst/>
              <a:gdLst>
                <a:gd name="connsiteX0" fmla="*/ 39306 w 237929"/>
                <a:gd name="connsiteY0" fmla="*/ 79955 h 294867"/>
                <a:gd name="connsiteX1" fmla="*/ 0 w 237929"/>
                <a:gd name="connsiteY1" fmla="*/ 20095 h 294867"/>
                <a:gd name="connsiteX2" fmla="*/ 38733 w 237929"/>
                <a:gd name="connsiteY2" fmla="*/ 0 h 294867"/>
                <a:gd name="connsiteX3" fmla="*/ 237929 w 237929"/>
                <a:gd name="connsiteY3" fmla="*/ 258238 h 294867"/>
                <a:gd name="connsiteX4" fmla="*/ 191415 w 237929"/>
                <a:gd name="connsiteY4" fmla="*/ 290069 h 294867"/>
                <a:gd name="connsiteX5" fmla="*/ 180425 w 237929"/>
                <a:gd name="connsiteY5" fmla="*/ 294867 h 294867"/>
                <a:gd name="connsiteX6" fmla="*/ 166448 w 237929"/>
                <a:gd name="connsiteY6" fmla="*/ 273582 h 294867"/>
                <a:gd name="connsiteX7" fmla="*/ 168955 w 237929"/>
                <a:gd name="connsiteY7" fmla="*/ 273136 h 294867"/>
                <a:gd name="connsiteX8" fmla="*/ 236826 w 237929"/>
                <a:gd name="connsiteY8" fmla="*/ 245547 h 294867"/>
                <a:gd name="connsiteX9" fmla="*/ 237929 w 237929"/>
                <a:gd name="connsiteY9" fmla="*/ 252720 h 294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7929" h="294867">
                  <a:moveTo>
                    <a:pt x="39306" y="79955"/>
                  </a:moveTo>
                  <a:lnTo>
                    <a:pt x="0" y="20095"/>
                  </a:lnTo>
                  <a:lnTo>
                    <a:pt x="38733" y="0"/>
                  </a:lnTo>
                  <a:close/>
                  <a:moveTo>
                    <a:pt x="237929" y="258238"/>
                  </a:moveTo>
                  <a:cubicBezTo>
                    <a:pt x="223307" y="270791"/>
                    <a:pt x="207546" y="281309"/>
                    <a:pt x="191415" y="290069"/>
                  </a:cubicBezTo>
                  <a:lnTo>
                    <a:pt x="180425" y="294867"/>
                  </a:lnTo>
                  <a:lnTo>
                    <a:pt x="166448" y="273582"/>
                  </a:lnTo>
                  <a:lnTo>
                    <a:pt x="168955" y="273136"/>
                  </a:lnTo>
                  <a:cubicBezTo>
                    <a:pt x="192130" y="265963"/>
                    <a:pt x="214754" y="256582"/>
                    <a:pt x="236826" y="245547"/>
                  </a:cubicBezTo>
                  <a:cubicBezTo>
                    <a:pt x="237377" y="247754"/>
                    <a:pt x="237929" y="250513"/>
                    <a:pt x="237929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3" name="Forme libre : forme 812">
              <a:extLst>
                <a:ext uri="{FF2B5EF4-FFF2-40B4-BE49-F238E27FC236}">
                  <a16:creationId xmlns:a16="http://schemas.microsoft.com/office/drawing/2014/main" id="{4456445D-FEFF-4497-984E-23E7AE4DB2E6}"/>
                </a:ext>
              </a:extLst>
            </p:cNvPr>
            <p:cNvSpPr/>
            <p:nvPr/>
          </p:nvSpPr>
          <p:spPr>
            <a:xfrm rot="8716295">
              <a:off x="5996886" y="-12676"/>
              <a:ext cx="90399" cy="122140"/>
            </a:xfrm>
            <a:custGeom>
              <a:avLst/>
              <a:gdLst>
                <a:gd name="connsiteX0" fmla="*/ 0 w 59727"/>
                <a:gd name="connsiteY0" fmla="*/ 52945 h 80698"/>
                <a:gd name="connsiteX1" fmla="*/ 43791 w 59727"/>
                <a:gd name="connsiteY1" fmla="*/ 0 h 80698"/>
                <a:gd name="connsiteX2" fmla="*/ 59727 w 59727"/>
                <a:gd name="connsiteY2" fmla="*/ 37928 h 80698"/>
                <a:gd name="connsiteX3" fmla="*/ 42480 w 59727"/>
                <a:gd name="connsiteY3" fmla="*/ 79666 h 80698"/>
                <a:gd name="connsiteX4" fmla="*/ 40038 w 59727"/>
                <a:gd name="connsiteY4" fmla="*/ 80698 h 80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727" h="80698">
                  <a:moveTo>
                    <a:pt x="0" y="52945"/>
                  </a:moveTo>
                  <a:lnTo>
                    <a:pt x="43791" y="0"/>
                  </a:lnTo>
                  <a:lnTo>
                    <a:pt x="59727" y="37928"/>
                  </a:lnTo>
                  <a:cubicBezTo>
                    <a:pt x="59727" y="52991"/>
                    <a:pt x="53978" y="68168"/>
                    <a:pt x="42480" y="79666"/>
                  </a:cubicBezTo>
                  <a:lnTo>
                    <a:pt x="40038" y="806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4" name="Forme libre : forme 813">
              <a:extLst>
                <a:ext uri="{FF2B5EF4-FFF2-40B4-BE49-F238E27FC236}">
                  <a16:creationId xmlns:a16="http://schemas.microsoft.com/office/drawing/2014/main" id="{8608BF4F-989C-471C-8F7D-609DB58E76BD}"/>
                </a:ext>
              </a:extLst>
            </p:cNvPr>
            <p:cNvSpPr/>
            <p:nvPr/>
          </p:nvSpPr>
          <p:spPr>
            <a:xfrm rot="8716295">
              <a:off x="5631023" y="-8174"/>
              <a:ext cx="87445" cy="82387"/>
            </a:xfrm>
            <a:custGeom>
              <a:avLst/>
              <a:gdLst>
                <a:gd name="connsiteX0" fmla="*/ 37946 w 57775"/>
                <a:gd name="connsiteY0" fmla="*/ 54433 h 54433"/>
                <a:gd name="connsiteX1" fmla="*/ 0 w 57775"/>
                <a:gd name="connsiteY1" fmla="*/ 28130 h 54433"/>
                <a:gd name="connsiteX2" fmla="*/ 8222 w 57775"/>
                <a:gd name="connsiteY2" fmla="*/ 8658 h 54433"/>
                <a:gd name="connsiteX3" fmla="*/ 28726 w 57775"/>
                <a:gd name="connsiteY3" fmla="*/ 0 h 54433"/>
                <a:gd name="connsiteX4" fmla="*/ 49232 w 57775"/>
                <a:gd name="connsiteY4" fmla="*/ 8658 h 54433"/>
                <a:gd name="connsiteX5" fmla="*/ 49232 w 57775"/>
                <a:gd name="connsiteY5" fmla="*/ 49668 h 54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775" h="54433">
                  <a:moveTo>
                    <a:pt x="37946" y="54433"/>
                  </a:moveTo>
                  <a:lnTo>
                    <a:pt x="0" y="28130"/>
                  </a:lnTo>
                  <a:lnTo>
                    <a:pt x="8222" y="8658"/>
                  </a:lnTo>
                  <a:cubicBezTo>
                    <a:pt x="13690" y="3190"/>
                    <a:pt x="20981" y="0"/>
                    <a:pt x="28726" y="0"/>
                  </a:cubicBezTo>
                  <a:cubicBezTo>
                    <a:pt x="36473" y="0"/>
                    <a:pt x="43764" y="3190"/>
                    <a:pt x="49232" y="8658"/>
                  </a:cubicBezTo>
                  <a:cubicBezTo>
                    <a:pt x="60624" y="19594"/>
                    <a:pt x="60623" y="38276"/>
                    <a:pt x="49232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411" name="Espace réservé du texte 410">
            <a:extLst>
              <a:ext uri="{FF2B5EF4-FFF2-40B4-BE49-F238E27FC236}">
                <a16:creationId xmlns:a16="http://schemas.microsoft.com/office/drawing/2014/main" id="{E014E6DC-AD19-40E5-A2B7-DF68385EE1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3541" y="526470"/>
            <a:ext cx="7379432" cy="29918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1pPr>
            <a:lvl2pPr marL="0" indent="0">
              <a:buNone/>
              <a:defRPr sz="5400" b="1" cap="all" baseline="0">
                <a:solidFill>
                  <a:srgbClr val="009FE3"/>
                </a:solidFill>
              </a:defRPr>
            </a:lvl2pPr>
          </a:lstStyle>
          <a:p>
            <a:pPr lvl="0"/>
            <a:r>
              <a:rPr lang="fr-FR" dirty="0"/>
              <a:t>Titre de la présentation</a:t>
            </a:r>
          </a:p>
          <a:p>
            <a:pPr lvl="1"/>
            <a:r>
              <a:rPr lang="fr-FR" dirty="0"/>
              <a:t>exergue</a:t>
            </a:r>
          </a:p>
        </p:txBody>
      </p:sp>
      <p:pic>
        <p:nvPicPr>
          <p:cNvPr id="408" name="Graphique 407">
            <a:extLst>
              <a:ext uri="{FF2B5EF4-FFF2-40B4-BE49-F238E27FC236}">
                <a16:creationId xmlns:a16="http://schemas.microsoft.com/office/drawing/2014/main" id="{448F94F4-8E31-46DD-9D3E-E96498FF82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97194" y="3988359"/>
            <a:ext cx="2255854" cy="67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944394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itr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>
            <a:extLst>
              <a:ext uri="{FF2B5EF4-FFF2-40B4-BE49-F238E27FC236}">
                <a16:creationId xmlns:a16="http://schemas.microsoft.com/office/drawing/2014/main" id="{6A348ADD-AB0E-41AD-9203-40019D501D09}"/>
              </a:ext>
            </a:extLst>
          </p:cNvPr>
          <p:cNvGrpSpPr/>
          <p:nvPr userDrawn="1"/>
        </p:nvGrpSpPr>
        <p:grpSpPr>
          <a:xfrm>
            <a:off x="-134707" y="-108618"/>
            <a:ext cx="6284502" cy="5381969"/>
            <a:chOff x="-134707" y="-108618"/>
            <a:chExt cx="6284502" cy="5381969"/>
          </a:xfrm>
          <a:solidFill>
            <a:schemeClr val="bg2">
              <a:alpha val="10000"/>
            </a:schemeClr>
          </a:solidFill>
        </p:grpSpPr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4588E603-EA6D-4A8D-ABC7-9DE29315EF7F}"/>
                </a:ext>
              </a:extLst>
            </p:cNvPr>
            <p:cNvSpPr/>
            <p:nvPr/>
          </p:nvSpPr>
          <p:spPr>
            <a:xfrm rot="8716295">
              <a:off x="1460344" y="348006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8D98135C-BBC2-4D16-96A0-7D0791CBF234}"/>
                </a:ext>
              </a:extLst>
            </p:cNvPr>
            <p:cNvSpPr/>
            <p:nvPr/>
          </p:nvSpPr>
          <p:spPr>
            <a:xfrm rot="8716295">
              <a:off x="1595642" y="352432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99CC6255-5792-4F9C-BE71-CF421386A627}"/>
                </a:ext>
              </a:extLst>
            </p:cNvPr>
            <p:cNvSpPr/>
            <p:nvPr/>
          </p:nvSpPr>
          <p:spPr>
            <a:xfrm rot="8716295">
              <a:off x="1527760" y="339373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4D44D8C2-4775-4ED6-AF57-EBCE00D0B723}"/>
                </a:ext>
              </a:extLst>
            </p:cNvPr>
            <p:cNvSpPr/>
            <p:nvPr/>
          </p:nvSpPr>
          <p:spPr>
            <a:xfrm rot="8716295">
              <a:off x="1290473" y="361408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EC13E85B-F308-4A84-A6BC-C18C71386F58}"/>
                </a:ext>
              </a:extLst>
            </p:cNvPr>
            <p:cNvSpPr/>
            <p:nvPr/>
          </p:nvSpPr>
          <p:spPr>
            <a:xfrm rot="8716295">
              <a:off x="1101427" y="329824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6E015BB2-4D35-4CF4-A5C2-59649EEBFF40}"/>
                </a:ext>
              </a:extLst>
            </p:cNvPr>
            <p:cNvSpPr/>
            <p:nvPr/>
          </p:nvSpPr>
          <p:spPr>
            <a:xfrm rot="8716295">
              <a:off x="1083185" y="3088198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9BFD4E55-95DB-4948-9F11-510807EC9D8A}"/>
                </a:ext>
              </a:extLst>
            </p:cNvPr>
            <p:cNvSpPr/>
            <p:nvPr/>
          </p:nvSpPr>
          <p:spPr>
            <a:xfrm rot="8716295">
              <a:off x="1426961" y="367606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4A110395-765E-4DD5-AC3E-A28545974AAB}"/>
                </a:ext>
              </a:extLst>
            </p:cNvPr>
            <p:cNvSpPr/>
            <p:nvPr/>
          </p:nvSpPr>
          <p:spPr>
            <a:xfrm rot="8716295">
              <a:off x="1897908" y="310145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752DD23B-ED4C-4692-9CB0-792B6E8C38E8}"/>
                </a:ext>
              </a:extLst>
            </p:cNvPr>
            <p:cNvSpPr/>
            <p:nvPr/>
          </p:nvSpPr>
          <p:spPr>
            <a:xfrm rot="8716295">
              <a:off x="2033206" y="314571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407B9478-6D17-4EBC-AE18-7FD28A2FC874}"/>
                </a:ext>
              </a:extLst>
            </p:cNvPr>
            <p:cNvSpPr/>
            <p:nvPr/>
          </p:nvSpPr>
          <p:spPr>
            <a:xfrm rot="8716295">
              <a:off x="1728037" y="323546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DDF2324E-ABD3-44DC-8D06-AD3B881C1A39}"/>
                </a:ext>
              </a:extLst>
            </p:cNvPr>
            <p:cNvSpPr/>
            <p:nvPr/>
          </p:nvSpPr>
          <p:spPr>
            <a:xfrm rot="8716295">
              <a:off x="1538992" y="291963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EF0C42E5-DDE5-4434-B96B-A910A8DADC60}"/>
                </a:ext>
              </a:extLst>
            </p:cNvPr>
            <p:cNvSpPr/>
            <p:nvPr/>
          </p:nvSpPr>
          <p:spPr>
            <a:xfrm rot="8716295">
              <a:off x="1864525" y="329745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1AF80BC5-2FE2-47AB-8E9C-E26EB916D016}"/>
                </a:ext>
              </a:extLst>
            </p:cNvPr>
            <p:cNvSpPr/>
            <p:nvPr/>
          </p:nvSpPr>
          <p:spPr>
            <a:xfrm rot="8716295">
              <a:off x="1499078" y="307102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B1E25E5F-E250-4318-97CF-E3EF2CD18D72}"/>
                </a:ext>
              </a:extLst>
            </p:cNvPr>
            <p:cNvSpPr/>
            <p:nvPr/>
          </p:nvSpPr>
          <p:spPr>
            <a:xfrm rot="7484129">
              <a:off x="2023343" y="358706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3240DB54-B585-4364-A4CC-E94E9F63B7D1}"/>
                </a:ext>
              </a:extLst>
            </p:cNvPr>
            <p:cNvSpPr/>
            <p:nvPr/>
          </p:nvSpPr>
          <p:spPr>
            <a:xfrm rot="13089394">
              <a:off x="2181992" y="353641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273F70D5-0FDD-4CE1-814B-D9312EE2ED7C}"/>
                </a:ext>
              </a:extLst>
            </p:cNvPr>
            <p:cNvSpPr/>
            <p:nvPr/>
          </p:nvSpPr>
          <p:spPr>
            <a:xfrm rot="8716295">
              <a:off x="2462883" y="3246298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C7DAFD7E-6F4A-40E6-A59C-00BDC917B87B}"/>
                </a:ext>
              </a:extLst>
            </p:cNvPr>
            <p:cNvSpPr/>
            <p:nvPr/>
          </p:nvSpPr>
          <p:spPr>
            <a:xfrm rot="8716295">
              <a:off x="2384474" y="308950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48BC9105-C681-433B-8AF1-4FE2E6AF7484}"/>
                </a:ext>
              </a:extLst>
            </p:cNvPr>
            <p:cNvSpPr/>
            <p:nvPr/>
          </p:nvSpPr>
          <p:spPr>
            <a:xfrm rot="8716295">
              <a:off x="2016311" y="313524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1A014423-3778-467F-945D-40491D2DDC50}"/>
                </a:ext>
              </a:extLst>
            </p:cNvPr>
            <p:cNvSpPr/>
            <p:nvPr/>
          </p:nvSpPr>
          <p:spPr>
            <a:xfrm rot="8716295">
              <a:off x="2284892" y="289422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754E4A02-6646-4EF0-8CC5-B9030AE2C233}"/>
                </a:ext>
              </a:extLst>
            </p:cNvPr>
            <p:cNvSpPr/>
            <p:nvPr/>
          </p:nvSpPr>
          <p:spPr>
            <a:xfrm rot="8716295">
              <a:off x="1798117" y="447855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84764706-CB95-4A07-B328-B801005B7146}"/>
                </a:ext>
              </a:extLst>
            </p:cNvPr>
            <p:cNvSpPr/>
            <p:nvPr/>
          </p:nvSpPr>
          <p:spPr>
            <a:xfrm rot="8716295">
              <a:off x="1933415" y="452281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B1C7133F-9245-4557-9366-3880E57EEB00}"/>
                </a:ext>
              </a:extLst>
            </p:cNvPr>
            <p:cNvSpPr/>
            <p:nvPr/>
          </p:nvSpPr>
          <p:spPr>
            <a:xfrm rot="8716295">
              <a:off x="1865533" y="439222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34C731BB-8709-4827-B371-DEB3D84B9346}"/>
                </a:ext>
              </a:extLst>
            </p:cNvPr>
            <p:cNvSpPr/>
            <p:nvPr/>
          </p:nvSpPr>
          <p:spPr>
            <a:xfrm rot="8716295">
              <a:off x="1628246" y="461256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800CC594-61C3-4799-9C62-0BE95617F0FD}"/>
                </a:ext>
              </a:extLst>
            </p:cNvPr>
            <p:cNvSpPr/>
            <p:nvPr/>
          </p:nvSpPr>
          <p:spPr>
            <a:xfrm rot="8716295">
              <a:off x="1439200" y="42967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6F690A0E-19E3-4512-B7F9-01EE4EBA9F6E}"/>
                </a:ext>
              </a:extLst>
            </p:cNvPr>
            <p:cNvSpPr/>
            <p:nvPr/>
          </p:nvSpPr>
          <p:spPr>
            <a:xfrm rot="8716295">
              <a:off x="1420958" y="408668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2D91E14E-69D9-458E-AA57-95A8078F1A19}"/>
                </a:ext>
              </a:extLst>
            </p:cNvPr>
            <p:cNvSpPr/>
            <p:nvPr/>
          </p:nvSpPr>
          <p:spPr>
            <a:xfrm rot="8716295">
              <a:off x="1764734" y="467454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4AA00D19-4A76-4DED-BF30-5DD56557E862}"/>
                </a:ext>
              </a:extLst>
            </p:cNvPr>
            <p:cNvSpPr/>
            <p:nvPr/>
          </p:nvSpPr>
          <p:spPr>
            <a:xfrm rot="8716295">
              <a:off x="2235681" y="409993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CBB48ABD-C4EA-4731-A8E5-5C6B6C5A0C84}"/>
                </a:ext>
              </a:extLst>
            </p:cNvPr>
            <p:cNvSpPr/>
            <p:nvPr/>
          </p:nvSpPr>
          <p:spPr>
            <a:xfrm rot="8716295">
              <a:off x="2370979" y="414419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FCD4CF90-F0E0-483F-9CE2-EAEE6404C598}"/>
                </a:ext>
              </a:extLst>
            </p:cNvPr>
            <p:cNvSpPr/>
            <p:nvPr/>
          </p:nvSpPr>
          <p:spPr>
            <a:xfrm rot="8716295">
              <a:off x="2065810" y="423395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F3A52091-BF4B-4E28-BD12-E3FE0875DBCF}"/>
                </a:ext>
              </a:extLst>
            </p:cNvPr>
            <p:cNvSpPr/>
            <p:nvPr/>
          </p:nvSpPr>
          <p:spPr>
            <a:xfrm rot="8716295">
              <a:off x="1876765" y="391811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75F64C77-DBE2-4786-9809-DB042689E4B6}"/>
                </a:ext>
              </a:extLst>
            </p:cNvPr>
            <p:cNvSpPr/>
            <p:nvPr/>
          </p:nvSpPr>
          <p:spPr>
            <a:xfrm rot="8716295">
              <a:off x="2202298" y="4295933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12F37080-96E6-4BE1-9E48-2B02CD2E20C4}"/>
                </a:ext>
              </a:extLst>
            </p:cNvPr>
            <p:cNvSpPr/>
            <p:nvPr/>
          </p:nvSpPr>
          <p:spPr>
            <a:xfrm rot="8716295">
              <a:off x="1836851" y="406950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BA151B90-2B5B-4D4D-A2AA-26322C46F857}"/>
                </a:ext>
              </a:extLst>
            </p:cNvPr>
            <p:cNvSpPr/>
            <p:nvPr/>
          </p:nvSpPr>
          <p:spPr>
            <a:xfrm rot="7484129">
              <a:off x="2361116" y="458555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0655C4A9-132B-4E8E-AB50-E63B4234234E}"/>
                </a:ext>
              </a:extLst>
            </p:cNvPr>
            <p:cNvSpPr/>
            <p:nvPr/>
          </p:nvSpPr>
          <p:spPr>
            <a:xfrm rot="13089394">
              <a:off x="2519765" y="4534899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51BD05F6-BFFD-42CC-A6C8-403F5F81023E}"/>
                </a:ext>
              </a:extLst>
            </p:cNvPr>
            <p:cNvSpPr/>
            <p:nvPr/>
          </p:nvSpPr>
          <p:spPr>
            <a:xfrm rot="8716295">
              <a:off x="2800656" y="4244781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609B85C6-C9FE-4876-9C99-F8DA190549CF}"/>
                </a:ext>
              </a:extLst>
            </p:cNvPr>
            <p:cNvSpPr/>
            <p:nvPr/>
          </p:nvSpPr>
          <p:spPr>
            <a:xfrm rot="8716295">
              <a:off x="2722247" y="4087989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AB57FACB-9405-4A22-84F1-4CDEB84773AC}"/>
                </a:ext>
              </a:extLst>
            </p:cNvPr>
            <p:cNvSpPr/>
            <p:nvPr/>
          </p:nvSpPr>
          <p:spPr>
            <a:xfrm rot="8716295">
              <a:off x="2354084" y="413373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65AC372A-885B-4835-966A-B09A3AC7B1A3}"/>
                </a:ext>
              </a:extLst>
            </p:cNvPr>
            <p:cNvSpPr/>
            <p:nvPr/>
          </p:nvSpPr>
          <p:spPr>
            <a:xfrm rot="8716295">
              <a:off x="2622665" y="389271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16EC5E3E-C2D3-4E46-B9F8-A7FD4A85025F}"/>
                </a:ext>
              </a:extLst>
            </p:cNvPr>
            <p:cNvSpPr/>
            <p:nvPr/>
          </p:nvSpPr>
          <p:spPr>
            <a:xfrm rot="8716295">
              <a:off x="1836002" y="5051565"/>
              <a:ext cx="229466" cy="172677"/>
            </a:xfrm>
            <a:custGeom>
              <a:avLst/>
              <a:gdLst>
                <a:gd name="connsiteX0" fmla="*/ 37429 w 229466"/>
                <a:gd name="connsiteY0" fmla="*/ 127889 h 172677"/>
                <a:gd name="connsiteX1" fmla="*/ 864 w 229466"/>
                <a:gd name="connsiteY1" fmla="*/ 25330 h 172677"/>
                <a:gd name="connsiteX2" fmla="*/ 0 w 229466"/>
                <a:gd name="connsiteY2" fmla="*/ 0 h 172677"/>
                <a:gd name="connsiteX3" fmla="*/ 229466 w 229466"/>
                <a:gd name="connsiteY3" fmla="*/ 159058 h 172677"/>
                <a:gd name="connsiteX4" fmla="*/ 210504 w 229466"/>
                <a:gd name="connsiteY4" fmla="*/ 164122 h 172677"/>
                <a:gd name="connsiteX5" fmla="*/ 146960 w 229466"/>
                <a:gd name="connsiteY5" fmla="*/ 172414 h 172677"/>
                <a:gd name="connsiteX6" fmla="*/ 37429 w 229466"/>
                <a:gd name="connsiteY6" fmla="*/ 127889 h 172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9466" h="172677">
                  <a:moveTo>
                    <a:pt x="37429" y="127889"/>
                  </a:moveTo>
                  <a:cubicBezTo>
                    <a:pt x="14722" y="105850"/>
                    <a:pt x="4537" y="71789"/>
                    <a:pt x="864" y="25330"/>
                  </a:cubicBezTo>
                  <a:lnTo>
                    <a:pt x="0" y="0"/>
                  </a:lnTo>
                  <a:lnTo>
                    <a:pt x="229466" y="159058"/>
                  </a:lnTo>
                  <a:lnTo>
                    <a:pt x="210504" y="164122"/>
                  </a:lnTo>
                  <a:cubicBezTo>
                    <a:pt x="187032" y="168685"/>
                    <a:pt x="165437" y="171301"/>
                    <a:pt x="146960" y="172414"/>
                  </a:cubicBezTo>
                  <a:cubicBezTo>
                    <a:pt x="105998" y="175086"/>
                    <a:pt x="65926" y="157276"/>
                    <a:pt x="37429" y="12788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F08DD499-2506-4E8C-B26B-EF1D8CEA3AA9}"/>
                </a:ext>
              </a:extLst>
            </p:cNvPr>
            <p:cNvSpPr/>
            <p:nvPr/>
          </p:nvSpPr>
          <p:spPr>
            <a:xfrm rot="8716295">
              <a:off x="2865171" y="5107739"/>
              <a:ext cx="36955" cy="50812"/>
            </a:xfrm>
            <a:custGeom>
              <a:avLst/>
              <a:gdLst>
                <a:gd name="connsiteX0" fmla="*/ 0 w 36955"/>
                <a:gd name="connsiteY0" fmla="*/ 50812 h 50812"/>
                <a:gd name="connsiteX1" fmla="*/ 0 w 36955"/>
                <a:gd name="connsiteY1" fmla="*/ 0 h 50812"/>
                <a:gd name="connsiteX2" fmla="*/ 36955 w 36955"/>
                <a:gd name="connsiteY2" fmla="*/ 25616 h 50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955" h="50812">
                  <a:moveTo>
                    <a:pt x="0" y="50812"/>
                  </a:moveTo>
                  <a:lnTo>
                    <a:pt x="0" y="0"/>
                  </a:lnTo>
                  <a:lnTo>
                    <a:pt x="36955" y="256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D6EEB4E8-6237-4C85-A670-00A3A02268AB}"/>
                </a:ext>
              </a:extLst>
            </p:cNvPr>
            <p:cNvSpPr/>
            <p:nvPr/>
          </p:nvSpPr>
          <p:spPr>
            <a:xfrm rot="8716295">
              <a:off x="2291544" y="4886156"/>
              <a:ext cx="209028" cy="296463"/>
            </a:xfrm>
            <a:custGeom>
              <a:avLst/>
              <a:gdLst>
                <a:gd name="connsiteX0" fmla="*/ 137293 w 209028"/>
                <a:gd name="connsiteY0" fmla="*/ 296463 h 296463"/>
                <a:gd name="connsiteX1" fmla="*/ 72418 w 209028"/>
                <a:gd name="connsiteY1" fmla="*/ 175766 h 296463"/>
                <a:gd name="connsiteX2" fmla="*/ 105610 w 209028"/>
                <a:gd name="connsiteY2" fmla="*/ 83734 h 296463"/>
                <a:gd name="connsiteX3" fmla="*/ 0 w 209028"/>
                <a:gd name="connsiteY3" fmla="*/ 83734 h 296463"/>
                <a:gd name="connsiteX4" fmla="*/ 0 w 209028"/>
                <a:gd name="connsiteY4" fmla="*/ 0 h 296463"/>
                <a:gd name="connsiteX5" fmla="*/ 82199 w 209028"/>
                <a:gd name="connsiteY5" fmla="*/ 0 h 296463"/>
                <a:gd name="connsiteX6" fmla="*/ 209028 w 209028"/>
                <a:gd name="connsiteY6" fmla="*/ 87913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028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82199" y="0"/>
                  </a:lnTo>
                  <a:lnTo>
                    <a:pt x="209028" y="8791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75A29BD1-A3F5-48BC-80D8-DAC3DEE5842D}"/>
                </a:ext>
              </a:extLst>
            </p:cNvPr>
            <p:cNvSpPr/>
            <p:nvPr/>
          </p:nvSpPr>
          <p:spPr>
            <a:xfrm rot="8716295">
              <a:off x="2159594" y="5061280"/>
              <a:ext cx="112869" cy="105684"/>
            </a:xfrm>
            <a:custGeom>
              <a:avLst/>
              <a:gdLst>
                <a:gd name="connsiteX0" fmla="*/ 17362 w 112869"/>
                <a:gd name="connsiteY0" fmla="*/ 89236 h 105684"/>
                <a:gd name="connsiteX1" fmla="*/ 0 w 112869"/>
                <a:gd name="connsiteY1" fmla="*/ 48117 h 105684"/>
                <a:gd name="connsiteX2" fmla="*/ 0 w 112869"/>
                <a:gd name="connsiteY2" fmla="*/ 47203 h 105684"/>
                <a:gd name="connsiteX3" fmla="*/ 17362 w 112869"/>
                <a:gd name="connsiteY3" fmla="*/ 6084 h 105684"/>
                <a:gd name="connsiteX4" fmla="*/ 31771 w 112869"/>
                <a:gd name="connsiteY4" fmla="*/ 0 h 105684"/>
                <a:gd name="connsiteX5" fmla="*/ 112869 w 112869"/>
                <a:gd name="connsiteY5" fmla="*/ 56215 h 105684"/>
                <a:gd name="connsiteX6" fmla="*/ 99601 w 112869"/>
                <a:gd name="connsiteY6" fmla="*/ 88323 h 105684"/>
                <a:gd name="connsiteX7" fmla="*/ 58481 w 112869"/>
                <a:gd name="connsiteY7" fmla="*/ 105684 h 105684"/>
                <a:gd name="connsiteX8" fmla="*/ 17362 w 112869"/>
                <a:gd name="connsiteY8" fmla="*/ 89236 h 105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869" h="105684">
                  <a:moveTo>
                    <a:pt x="17362" y="89236"/>
                  </a:moveTo>
                  <a:cubicBezTo>
                    <a:pt x="6397" y="78271"/>
                    <a:pt x="0" y="63651"/>
                    <a:pt x="0" y="48117"/>
                  </a:cubicBezTo>
                  <a:lnTo>
                    <a:pt x="0" y="47203"/>
                  </a:lnTo>
                  <a:cubicBezTo>
                    <a:pt x="0" y="31669"/>
                    <a:pt x="6397" y="17049"/>
                    <a:pt x="17362" y="6084"/>
                  </a:cubicBezTo>
                  <a:lnTo>
                    <a:pt x="31771" y="0"/>
                  </a:lnTo>
                  <a:lnTo>
                    <a:pt x="112869" y="56215"/>
                  </a:lnTo>
                  <a:lnTo>
                    <a:pt x="99601" y="88323"/>
                  </a:lnTo>
                  <a:cubicBezTo>
                    <a:pt x="88636" y="99288"/>
                    <a:pt x="74015" y="105684"/>
                    <a:pt x="58481" y="105684"/>
                  </a:cubicBezTo>
                  <a:cubicBezTo>
                    <a:pt x="42947" y="105684"/>
                    <a:pt x="28327" y="100202"/>
                    <a:pt x="17362" y="8923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758380ED-469C-45F2-855D-EE8309CFADD8}"/>
                </a:ext>
              </a:extLst>
            </p:cNvPr>
            <p:cNvSpPr/>
            <p:nvPr/>
          </p:nvSpPr>
          <p:spPr>
            <a:xfrm rot="8716295">
              <a:off x="3051941" y="5073759"/>
              <a:ext cx="145251" cy="115110"/>
            </a:xfrm>
            <a:custGeom>
              <a:avLst/>
              <a:gdLst>
                <a:gd name="connsiteX0" fmla="*/ 26453 w 145251"/>
                <a:gd name="connsiteY0" fmla="*/ 90050 h 115110"/>
                <a:gd name="connsiteX1" fmla="*/ 0 w 145251"/>
                <a:gd name="connsiteY1" fmla="*/ 27401 h 115110"/>
                <a:gd name="connsiteX2" fmla="*/ 0 w 145251"/>
                <a:gd name="connsiteY2" fmla="*/ 26008 h 115110"/>
                <a:gd name="connsiteX3" fmla="*/ 10982 w 145251"/>
                <a:gd name="connsiteY3" fmla="*/ 0 h 115110"/>
                <a:gd name="connsiteX4" fmla="*/ 145251 w 145251"/>
                <a:gd name="connsiteY4" fmla="*/ 93071 h 115110"/>
                <a:gd name="connsiteX5" fmla="*/ 123037 w 145251"/>
                <a:gd name="connsiteY5" fmla="*/ 108149 h 115110"/>
                <a:gd name="connsiteX6" fmla="*/ 89101 w 145251"/>
                <a:gd name="connsiteY6" fmla="*/ 115110 h 115110"/>
                <a:gd name="connsiteX7" fmla="*/ 26453 w 145251"/>
                <a:gd name="connsiteY7" fmla="*/ 90050 h 11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5251" h="115110">
                  <a:moveTo>
                    <a:pt x="26453" y="90050"/>
                  </a:moveTo>
                  <a:cubicBezTo>
                    <a:pt x="9746" y="73344"/>
                    <a:pt x="0" y="51068"/>
                    <a:pt x="0" y="27401"/>
                  </a:cubicBezTo>
                  <a:lnTo>
                    <a:pt x="0" y="26008"/>
                  </a:lnTo>
                  <a:lnTo>
                    <a:pt x="10982" y="0"/>
                  </a:lnTo>
                  <a:lnTo>
                    <a:pt x="145251" y="93071"/>
                  </a:lnTo>
                  <a:lnTo>
                    <a:pt x="123037" y="108149"/>
                  </a:lnTo>
                  <a:cubicBezTo>
                    <a:pt x="112421" y="112674"/>
                    <a:pt x="100936" y="115110"/>
                    <a:pt x="89101" y="115110"/>
                  </a:cubicBezTo>
                  <a:cubicBezTo>
                    <a:pt x="65434" y="115110"/>
                    <a:pt x="43159" y="106756"/>
                    <a:pt x="26453" y="900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D2FD6770-3791-4A82-87D2-F41D30AA61F3}"/>
                </a:ext>
              </a:extLst>
            </p:cNvPr>
            <p:cNvSpPr/>
            <p:nvPr/>
          </p:nvSpPr>
          <p:spPr>
            <a:xfrm rot="8716295">
              <a:off x="2953631" y="488922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109B9DB6-A180-42FF-BEBB-6114EE67841E}"/>
                </a:ext>
              </a:extLst>
            </p:cNvPr>
            <p:cNvSpPr/>
            <p:nvPr/>
          </p:nvSpPr>
          <p:spPr>
            <a:xfrm rot="8716295">
              <a:off x="1125067" y="247965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D4702D56-6C32-4790-8116-5036F59380ED}"/>
                </a:ext>
              </a:extLst>
            </p:cNvPr>
            <p:cNvSpPr/>
            <p:nvPr/>
          </p:nvSpPr>
          <p:spPr>
            <a:xfrm rot="8716295">
              <a:off x="1260365" y="252391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55878CEF-C667-4CA0-83B8-66D034466A4C}"/>
                </a:ext>
              </a:extLst>
            </p:cNvPr>
            <p:cNvSpPr/>
            <p:nvPr/>
          </p:nvSpPr>
          <p:spPr>
            <a:xfrm rot="8716295">
              <a:off x="1192483" y="2393326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E6E1C2BC-10AA-4F2A-83E2-85D799983A4B}"/>
                </a:ext>
              </a:extLst>
            </p:cNvPr>
            <p:cNvSpPr/>
            <p:nvPr/>
          </p:nvSpPr>
          <p:spPr>
            <a:xfrm rot="8716295">
              <a:off x="955196" y="261367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6DA02057-79DE-4340-93FA-D8616C8993CD}"/>
                </a:ext>
              </a:extLst>
            </p:cNvPr>
            <p:cNvSpPr/>
            <p:nvPr/>
          </p:nvSpPr>
          <p:spPr>
            <a:xfrm rot="8716295">
              <a:off x="766149" y="229783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F3D3F9A3-B786-4BB9-92E8-BAA2206B9AFB}"/>
                </a:ext>
              </a:extLst>
            </p:cNvPr>
            <p:cNvSpPr/>
            <p:nvPr/>
          </p:nvSpPr>
          <p:spPr>
            <a:xfrm rot="8716295">
              <a:off x="747908" y="2087785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777BD4C8-2DD8-47D0-9247-9DDE2E15298C}"/>
                </a:ext>
              </a:extLst>
            </p:cNvPr>
            <p:cNvSpPr/>
            <p:nvPr/>
          </p:nvSpPr>
          <p:spPr>
            <a:xfrm rot="8716295">
              <a:off x="1091684" y="2675653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orme libre : forme 58">
              <a:extLst>
                <a:ext uri="{FF2B5EF4-FFF2-40B4-BE49-F238E27FC236}">
                  <a16:creationId xmlns:a16="http://schemas.microsoft.com/office/drawing/2014/main" id="{A1948EB1-3E61-48E9-872F-CED3F8D5CC5E}"/>
                </a:ext>
              </a:extLst>
            </p:cNvPr>
            <p:cNvSpPr/>
            <p:nvPr/>
          </p:nvSpPr>
          <p:spPr>
            <a:xfrm rot="8716295">
              <a:off x="1562630" y="210103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orme libre : forme 59">
              <a:extLst>
                <a:ext uri="{FF2B5EF4-FFF2-40B4-BE49-F238E27FC236}">
                  <a16:creationId xmlns:a16="http://schemas.microsoft.com/office/drawing/2014/main" id="{AF9F2A1A-5C85-4204-9B23-373EE49CB276}"/>
                </a:ext>
              </a:extLst>
            </p:cNvPr>
            <p:cNvSpPr/>
            <p:nvPr/>
          </p:nvSpPr>
          <p:spPr>
            <a:xfrm rot="8716295">
              <a:off x="1697929" y="214529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orme libre : forme 60">
              <a:extLst>
                <a:ext uri="{FF2B5EF4-FFF2-40B4-BE49-F238E27FC236}">
                  <a16:creationId xmlns:a16="http://schemas.microsoft.com/office/drawing/2014/main" id="{4763868B-B7EF-4B8B-B818-D645A2592C05}"/>
                </a:ext>
              </a:extLst>
            </p:cNvPr>
            <p:cNvSpPr/>
            <p:nvPr/>
          </p:nvSpPr>
          <p:spPr>
            <a:xfrm rot="8716295">
              <a:off x="1392759" y="223505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orme libre : forme 61">
              <a:extLst>
                <a:ext uri="{FF2B5EF4-FFF2-40B4-BE49-F238E27FC236}">
                  <a16:creationId xmlns:a16="http://schemas.microsoft.com/office/drawing/2014/main" id="{046CA86F-6D3D-407A-B321-54764D2D59CB}"/>
                </a:ext>
              </a:extLst>
            </p:cNvPr>
            <p:cNvSpPr/>
            <p:nvPr/>
          </p:nvSpPr>
          <p:spPr>
            <a:xfrm rot="8716295">
              <a:off x="1203715" y="191921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orme libre : forme 62">
              <a:extLst>
                <a:ext uri="{FF2B5EF4-FFF2-40B4-BE49-F238E27FC236}">
                  <a16:creationId xmlns:a16="http://schemas.microsoft.com/office/drawing/2014/main" id="{AFD12AFD-CB5D-4640-9FE9-92C355A72778}"/>
                </a:ext>
              </a:extLst>
            </p:cNvPr>
            <p:cNvSpPr/>
            <p:nvPr/>
          </p:nvSpPr>
          <p:spPr>
            <a:xfrm rot="8716295">
              <a:off x="1529248" y="2297037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orme libre : forme 63">
              <a:extLst>
                <a:ext uri="{FF2B5EF4-FFF2-40B4-BE49-F238E27FC236}">
                  <a16:creationId xmlns:a16="http://schemas.microsoft.com/office/drawing/2014/main" id="{59BA9B88-1225-4DFD-8724-1F80AE18C3C2}"/>
                </a:ext>
              </a:extLst>
            </p:cNvPr>
            <p:cNvSpPr/>
            <p:nvPr/>
          </p:nvSpPr>
          <p:spPr>
            <a:xfrm rot="8716295">
              <a:off x="1163801" y="2070611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orme libre : forme 64">
              <a:extLst>
                <a:ext uri="{FF2B5EF4-FFF2-40B4-BE49-F238E27FC236}">
                  <a16:creationId xmlns:a16="http://schemas.microsoft.com/office/drawing/2014/main" id="{1F6A3148-93CD-4912-914F-8421DD424A09}"/>
                </a:ext>
              </a:extLst>
            </p:cNvPr>
            <p:cNvSpPr/>
            <p:nvPr/>
          </p:nvSpPr>
          <p:spPr>
            <a:xfrm rot="7484129">
              <a:off x="1688065" y="258665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orme libre : forme 65">
              <a:extLst>
                <a:ext uri="{FF2B5EF4-FFF2-40B4-BE49-F238E27FC236}">
                  <a16:creationId xmlns:a16="http://schemas.microsoft.com/office/drawing/2014/main" id="{0BDE36BD-7206-4F9A-9356-56E83345F790}"/>
                </a:ext>
              </a:extLst>
            </p:cNvPr>
            <p:cNvSpPr/>
            <p:nvPr/>
          </p:nvSpPr>
          <p:spPr>
            <a:xfrm rot="13089394">
              <a:off x="1846715" y="2536003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orme libre : forme 66">
              <a:extLst>
                <a:ext uri="{FF2B5EF4-FFF2-40B4-BE49-F238E27FC236}">
                  <a16:creationId xmlns:a16="http://schemas.microsoft.com/office/drawing/2014/main" id="{6239D104-F777-403D-9315-E21DA6A3EEC6}"/>
                </a:ext>
              </a:extLst>
            </p:cNvPr>
            <p:cNvSpPr/>
            <p:nvPr/>
          </p:nvSpPr>
          <p:spPr>
            <a:xfrm rot="8716295">
              <a:off x="2127606" y="2245885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7D0AE68E-C325-4D34-A9E9-2281E6887FAE}"/>
                </a:ext>
              </a:extLst>
            </p:cNvPr>
            <p:cNvSpPr/>
            <p:nvPr/>
          </p:nvSpPr>
          <p:spPr>
            <a:xfrm rot="8716295">
              <a:off x="2049197" y="208909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orme libre : forme 68">
              <a:extLst>
                <a:ext uri="{FF2B5EF4-FFF2-40B4-BE49-F238E27FC236}">
                  <a16:creationId xmlns:a16="http://schemas.microsoft.com/office/drawing/2014/main" id="{951597CD-8FD0-420C-8BE6-25D28A25DDE8}"/>
                </a:ext>
              </a:extLst>
            </p:cNvPr>
            <p:cNvSpPr/>
            <p:nvPr/>
          </p:nvSpPr>
          <p:spPr>
            <a:xfrm rot="8716295">
              <a:off x="1681033" y="21348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orme libre : forme 69">
              <a:extLst>
                <a:ext uri="{FF2B5EF4-FFF2-40B4-BE49-F238E27FC236}">
                  <a16:creationId xmlns:a16="http://schemas.microsoft.com/office/drawing/2014/main" id="{A7CD329F-8CED-4DA2-A304-EE2009E4062D}"/>
                </a:ext>
              </a:extLst>
            </p:cNvPr>
            <p:cNvSpPr/>
            <p:nvPr/>
          </p:nvSpPr>
          <p:spPr>
            <a:xfrm rot="8716295">
              <a:off x="1949615" y="189381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orme libre : forme 70">
              <a:extLst>
                <a:ext uri="{FF2B5EF4-FFF2-40B4-BE49-F238E27FC236}">
                  <a16:creationId xmlns:a16="http://schemas.microsoft.com/office/drawing/2014/main" id="{D4BADD55-B2B9-4053-A92A-A804648D0A9D}"/>
                </a:ext>
              </a:extLst>
            </p:cNvPr>
            <p:cNvSpPr/>
            <p:nvPr/>
          </p:nvSpPr>
          <p:spPr>
            <a:xfrm rot="8716295">
              <a:off x="787294" y="148117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orme libre : forme 71">
              <a:extLst>
                <a:ext uri="{FF2B5EF4-FFF2-40B4-BE49-F238E27FC236}">
                  <a16:creationId xmlns:a16="http://schemas.microsoft.com/office/drawing/2014/main" id="{313FE4B5-4E98-415B-AE99-26EEB0846C87}"/>
                </a:ext>
              </a:extLst>
            </p:cNvPr>
            <p:cNvSpPr/>
            <p:nvPr/>
          </p:nvSpPr>
          <p:spPr>
            <a:xfrm rot="8716295">
              <a:off x="922592" y="152543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orme libre : forme 72">
              <a:extLst>
                <a:ext uri="{FF2B5EF4-FFF2-40B4-BE49-F238E27FC236}">
                  <a16:creationId xmlns:a16="http://schemas.microsoft.com/office/drawing/2014/main" id="{2E069437-A0B3-49B8-BC79-1EE3FD296BEA}"/>
                </a:ext>
              </a:extLst>
            </p:cNvPr>
            <p:cNvSpPr/>
            <p:nvPr/>
          </p:nvSpPr>
          <p:spPr>
            <a:xfrm rot="8716295">
              <a:off x="854710" y="1394843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" name="Forme libre : forme 73">
              <a:extLst>
                <a:ext uri="{FF2B5EF4-FFF2-40B4-BE49-F238E27FC236}">
                  <a16:creationId xmlns:a16="http://schemas.microsoft.com/office/drawing/2014/main" id="{6B76B21D-C865-4228-A4DA-51B112FED31F}"/>
                </a:ext>
              </a:extLst>
            </p:cNvPr>
            <p:cNvSpPr/>
            <p:nvPr/>
          </p:nvSpPr>
          <p:spPr>
            <a:xfrm rot="8716295">
              <a:off x="617423" y="161518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" name="Forme libre : forme 74">
              <a:extLst>
                <a:ext uri="{FF2B5EF4-FFF2-40B4-BE49-F238E27FC236}">
                  <a16:creationId xmlns:a16="http://schemas.microsoft.com/office/drawing/2014/main" id="{9C509C7D-5C6F-42FB-9A15-E611792EFEA1}"/>
                </a:ext>
              </a:extLst>
            </p:cNvPr>
            <p:cNvSpPr/>
            <p:nvPr/>
          </p:nvSpPr>
          <p:spPr>
            <a:xfrm rot="8716295">
              <a:off x="428376" y="129935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" name="Forme libre : forme 75">
              <a:extLst>
                <a:ext uri="{FF2B5EF4-FFF2-40B4-BE49-F238E27FC236}">
                  <a16:creationId xmlns:a16="http://schemas.microsoft.com/office/drawing/2014/main" id="{25514701-F05E-45CE-9E8C-F263D950578E}"/>
                </a:ext>
              </a:extLst>
            </p:cNvPr>
            <p:cNvSpPr/>
            <p:nvPr/>
          </p:nvSpPr>
          <p:spPr>
            <a:xfrm rot="8716295">
              <a:off x="410135" y="1089302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" name="Forme libre : forme 76">
              <a:extLst>
                <a:ext uri="{FF2B5EF4-FFF2-40B4-BE49-F238E27FC236}">
                  <a16:creationId xmlns:a16="http://schemas.microsoft.com/office/drawing/2014/main" id="{4F1DD0BF-A36A-4AF7-BAF7-588D33FE30E2}"/>
                </a:ext>
              </a:extLst>
            </p:cNvPr>
            <p:cNvSpPr/>
            <p:nvPr/>
          </p:nvSpPr>
          <p:spPr>
            <a:xfrm rot="8716295">
              <a:off x="753911" y="1677170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" name="Forme libre : forme 77">
              <a:extLst>
                <a:ext uri="{FF2B5EF4-FFF2-40B4-BE49-F238E27FC236}">
                  <a16:creationId xmlns:a16="http://schemas.microsoft.com/office/drawing/2014/main" id="{86EB67B0-A057-4D07-8844-7A83556C99CC}"/>
                </a:ext>
              </a:extLst>
            </p:cNvPr>
            <p:cNvSpPr/>
            <p:nvPr/>
          </p:nvSpPr>
          <p:spPr>
            <a:xfrm rot="8716295">
              <a:off x="1224858" y="1102556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orme libre : forme 78">
              <a:extLst>
                <a:ext uri="{FF2B5EF4-FFF2-40B4-BE49-F238E27FC236}">
                  <a16:creationId xmlns:a16="http://schemas.microsoft.com/office/drawing/2014/main" id="{8B1E7611-C4A8-43A8-BF26-46C4341A14DB}"/>
                </a:ext>
              </a:extLst>
            </p:cNvPr>
            <p:cNvSpPr/>
            <p:nvPr/>
          </p:nvSpPr>
          <p:spPr>
            <a:xfrm rot="8716295">
              <a:off x="1360156" y="1146815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Forme libre : forme 79">
              <a:extLst>
                <a:ext uri="{FF2B5EF4-FFF2-40B4-BE49-F238E27FC236}">
                  <a16:creationId xmlns:a16="http://schemas.microsoft.com/office/drawing/2014/main" id="{BEBD671E-1FA5-4603-8F2B-FA9516AF8638}"/>
                </a:ext>
              </a:extLst>
            </p:cNvPr>
            <p:cNvSpPr/>
            <p:nvPr/>
          </p:nvSpPr>
          <p:spPr>
            <a:xfrm rot="8716295">
              <a:off x="1054986" y="123657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" name="Forme libre : forme 80">
              <a:extLst>
                <a:ext uri="{FF2B5EF4-FFF2-40B4-BE49-F238E27FC236}">
                  <a16:creationId xmlns:a16="http://schemas.microsoft.com/office/drawing/2014/main" id="{F6AD6C56-BF4C-4518-8F9A-D5095F4E40C8}"/>
                </a:ext>
              </a:extLst>
            </p:cNvPr>
            <p:cNvSpPr/>
            <p:nvPr/>
          </p:nvSpPr>
          <p:spPr>
            <a:xfrm rot="8716295">
              <a:off x="865942" y="92073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orme libre : forme 81">
              <a:extLst>
                <a:ext uri="{FF2B5EF4-FFF2-40B4-BE49-F238E27FC236}">
                  <a16:creationId xmlns:a16="http://schemas.microsoft.com/office/drawing/2014/main" id="{4181F286-2CA0-4AF5-9316-EE2B4FDBB08E}"/>
                </a:ext>
              </a:extLst>
            </p:cNvPr>
            <p:cNvSpPr/>
            <p:nvPr/>
          </p:nvSpPr>
          <p:spPr>
            <a:xfrm rot="8716295">
              <a:off x="1191475" y="1298554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Forme libre : forme 82">
              <a:extLst>
                <a:ext uri="{FF2B5EF4-FFF2-40B4-BE49-F238E27FC236}">
                  <a16:creationId xmlns:a16="http://schemas.microsoft.com/office/drawing/2014/main" id="{6E154404-167F-4146-9BEC-311C41267A4F}"/>
                </a:ext>
              </a:extLst>
            </p:cNvPr>
            <p:cNvSpPr/>
            <p:nvPr/>
          </p:nvSpPr>
          <p:spPr>
            <a:xfrm rot="8716295">
              <a:off x="826028" y="1072128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4" name="Forme libre : forme 83">
              <a:extLst>
                <a:ext uri="{FF2B5EF4-FFF2-40B4-BE49-F238E27FC236}">
                  <a16:creationId xmlns:a16="http://schemas.microsoft.com/office/drawing/2014/main" id="{E6806809-8D8F-4EE1-BB26-3F2C826B2E90}"/>
                </a:ext>
              </a:extLst>
            </p:cNvPr>
            <p:cNvSpPr/>
            <p:nvPr/>
          </p:nvSpPr>
          <p:spPr>
            <a:xfrm rot="7484129">
              <a:off x="1350292" y="158817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5" name="Forme libre : forme 84">
              <a:extLst>
                <a:ext uri="{FF2B5EF4-FFF2-40B4-BE49-F238E27FC236}">
                  <a16:creationId xmlns:a16="http://schemas.microsoft.com/office/drawing/2014/main" id="{8AA32DBC-713F-46C2-9609-C454BB2EBAAE}"/>
                </a:ext>
              </a:extLst>
            </p:cNvPr>
            <p:cNvSpPr/>
            <p:nvPr/>
          </p:nvSpPr>
          <p:spPr>
            <a:xfrm rot="13089394">
              <a:off x="1508942" y="1537520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6" name="Forme libre : forme 85">
              <a:extLst>
                <a:ext uri="{FF2B5EF4-FFF2-40B4-BE49-F238E27FC236}">
                  <a16:creationId xmlns:a16="http://schemas.microsoft.com/office/drawing/2014/main" id="{51EBFD3A-7611-46FF-AE7D-0AC9AF9511B5}"/>
                </a:ext>
              </a:extLst>
            </p:cNvPr>
            <p:cNvSpPr/>
            <p:nvPr/>
          </p:nvSpPr>
          <p:spPr>
            <a:xfrm rot="8716295">
              <a:off x="1789833" y="1247402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7" name="Forme libre : forme 86">
              <a:extLst>
                <a:ext uri="{FF2B5EF4-FFF2-40B4-BE49-F238E27FC236}">
                  <a16:creationId xmlns:a16="http://schemas.microsoft.com/office/drawing/2014/main" id="{7BC619E6-2AA2-4557-84AC-D6D182B996C5}"/>
                </a:ext>
              </a:extLst>
            </p:cNvPr>
            <p:cNvSpPr/>
            <p:nvPr/>
          </p:nvSpPr>
          <p:spPr>
            <a:xfrm rot="8716295">
              <a:off x="1711424" y="109061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8" name="Forme libre : forme 87">
              <a:extLst>
                <a:ext uri="{FF2B5EF4-FFF2-40B4-BE49-F238E27FC236}">
                  <a16:creationId xmlns:a16="http://schemas.microsoft.com/office/drawing/2014/main" id="{F81A7437-8336-4876-95A7-BD572FAED152}"/>
                </a:ext>
              </a:extLst>
            </p:cNvPr>
            <p:cNvSpPr/>
            <p:nvPr/>
          </p:nvSpPr>
          <p:spPr>
            <a:xfrm rot="8716295">
              <a:off x="1343261" y="113635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9" name="Forme libre : forme 88">
              <a:extLst>
                <a:ext uri="{FF2B5EF4-FFF2-40B4-BE49-F238E27FC236}">
                  <a16:creationId xmlns:a16="http://schemas.microsoft.com/office/drawing/2014/main" id="{B70DD9BD-1FC9-4B98-8769-B37CAAFCEC17}"/>
                </a:ext>
              </a:extLst>
            </p:cNvPr>
            <p:cNvSpPr/>
            <p:nvPr/>
          </p:nvSpPr>
          <p:spPr>
            <a:xfrm rot="8716295">
              <a:off x="1611842" y="89533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" name="Forme libre : forme 89">
              <a:extLst>
                <a:ext uri="{FF2B5EF4-FFF2-40B4-BE49-F238E27FC236}">
                  <a16:creationId xmlns:a16="http://schemas.microsoft.com/office/drawing/2014/main" id="{DC2940E5-7415-40BB-B706-4016B27C3DB2}"/>
                </a:ext>
              </a:extLst>
            </p:cNvPr>
            <p:cNvSpPr/>
            <p:nvPr/>
          </p:nvSpPr>
          <p:spPr>
            <a:xfrm rot="8716295">
              <a:off x="455920" y="47911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" name="Forme libre : forme 90">
              <a:extLst>
                <a:ext uri="{FF2B5EF4-FFF2-40B4-BE49-F238E27FC236}">
                  <a16:creationId xmlns:a16="http://schemas.microsoft.com/office/drawing/2014/main" id="{52585AAE-B2D0-438C-BC9F-C750F15F890C}"/>
                </a:ext>
              </a:extLst>
            </p:cNvPr>
            <p:cNvSpPr/>
            <p:nvPr/>
          </p:nvSpPr>
          <p:spPr>
            <a:xfrm rot="8716295">
              <a:off x="591219" y="52337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" name="Forme libre : forme 91">
              <a:extLst>
                <a:ext uri="{FF2B5EF4-FFF2-40B4-BE49-F238E27FC236}">
                  <a16:creationId xmlns:a16="http://schemas.microsoft.com/office/drawing/2014/main" id="{E63C71D8-D175-46A8-AA42-AB77BF57CFF3}"/>
                </a:ext>
              </a:extLst>
            </p:cNvPr>
            <p:cNvSpPr/>
            <p:nvPr/>
          </p:nvSpPr>
          <p:spPr>
            <a:xfrm rot="8716295">
              <a:off x="523336" y="39278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" name="Forme libre : forme 92">
              <a:extLst>
                <a:ext uri="{FF2B5EF4-FFF2-40B4-BE49-F238E27FC236}">
                  <a16:creationId xmlns:a16="http://schemas.microsoft.com/office/drawing/2014/main" id="{C200F3C8-A4FA-4E06-9F43-7329A49AF0A1}"/>
                </a:ext>
              </a:extLst>
            </p:cNvPr>
            <p:cNvSpPr/>
            <p:nvPr/>
          </p:nvSpPr>
          <p:spPr>
            <a:xfrm rot="8716295">
              <a:off x="286049" y="6131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" name="Forme libre : forme 93">
              <a:extLst>
                <a:ext uri="{FF2B5EF4-FFF2-40B4-BE49-F238E27FC236}">
                  <a16:creationId xmlns:a16="http://schemas.microsoft.com/office/drawing/2014/main" id="{154A22C5-EC1E-43BA-ACAF-79BC6F3D576D}"/>
                </a:ext>
              </a:extLst>
            </p:cNvPr>
            <p:cNvSpPr/>
            <p:nvPr/>
          </p:nvSpPr>
          <p:spPr>
            <a:xfrm rot="8716295">
              <a:off x="97003" y="2972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orme libre : forme 94">
              <a:extLst>
                <a:ext uri="{FF2B5EF4-FFF2-40B4-BE49-F238E27FC236}">
                  <a16:creationId xmlns:a16="http://schemas.microsoft.com/office/drawing/2014/main" id="{046AC798-93FA-43CE-B018-2724737AFAB7}"/>
                </a:ext>
              </a:extLst>
            </p:cNvPr>
            <p:cNvSpPr/>
            <p:nvPr/>
          </p:nvSpPr>
          <p:spPr>
            <a:xfrm rot="8716295">
              <a:off x="78761" y="87249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Forme libre : forme 95">
              <a:extLst>
                <a:ext uri="{FF2B5EF4-FFF2-40B4-BE49-F238E27FC236}">
                  <a16:creationId xmlns:a16="http://schemas.microsoft.com/office/drawing/2014/main" id="{7EB63D12-C97A-4806-9B7E-492DAF5A8D97}"/>
                </a:ext>
              </a:extLst>
            </p:cNvPr>
            <p:cNvSpPr/>
            <p:nvPr/>
          </p:nvSpPr>
          <p:spPr>
            <a:xfrm rot="8716295">
              <a:off x="422537" y="67511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" name="Forme libre : forme 96">
              <a:extLst>
                <a:ext uri="{FF2B5EF4-FFF2-40B4-BE49-F238E27FC236}">
                  <a16:creationId xmlns:a16="http://schemas.microsoft.com/office/drawing/2014/main" id="{1806B75B-8705-4074-AEFF-3715A3B4A58C}"/>
                </a:ext>
              </a:extLst>
            </p:cNvPr>
            <p:cNvSpPr/>
            <p:nvPr/>
          </p:nvSpPr>
          <p:spPr>
            <a:xfrm rot="8716295">
              <a:off x="893484" y="10050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" name="Forme libre : forme 97">
              <a:extLst>
                <a:ext uri="{FF2B5EF4-FFF2-40B4-BE49-F238E27FC236}">
                  <a16:creationId xmlns:a16="http://schemas.microsoft.com/office/drawing/2014/main" id="{AB690B93-68A6-412B-BE9D-7BF4A62DFBAE}"/>
                </a:ext>
              </a:extLst>
            </p:cNvPr>
            <p:cNvSpPr/>
            <p:nvPr/>
          </p:nvSpPr>
          <p:spPr>
            <a:xfrm rot="8716295">
              <a:off x="1028783" y="14476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" name="Forme libre : forme 98">
              <a:extLst>
                <a:ext uri="{FF2B5EF4-FFF2-40B4-BE49-F238E27FC236}">
                  <a16:creationId xmlns:a16="http://schemas.microsoft.com/office/drawing/2014/main" id="{CF4399C2-6A4B-4B09-A803-90528B9B6BB5}"/>
                </a:ext>
              </a:extLst>
            </p:cNvPr>
            <p:cNvSpPr/>
            <p:nvPr/>
          </p:nvSpPr>
          <p:spPr>
            <a:xfrm rot="8716295">
              <a:off x="723613" y="23451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orme libre : forme 99">
              <a:extLst>
                <a:ext uri="{FF2B5EF4-FFF2-40B4-BE49-F238E27FC236}">
                  <a16:creationId xmlns:a16="http://schemas.microsoft.com/office/drawing/2014/main" id="{244D8443-8208-40F5-B1CF-110ABB79D7E7}"/>
                </a:ext>
              </a:extLst>
            </p:cNvPr>
            <p:cNvSpPr/>
            <p:nvPr/>
          </p:nvSpPr>
          <p:spPr>
            <a:xfrm rot="8716295">
              <a:off x="547803" y="-17289"/>
              <a:ext cx="308531" cy="226033"/>
            </a:xfrm>
            <a:custGeom>
              <a:avLst/>
              <a:gdLst>
                <a:gd name="connsiteX0" fmla="*/ 106716 w 203847"/>
                <a:gd name="connsiteY0" fmla="*/ 149340 h 149340"/>
                <a:gd name="connsiteX1" fmla="*/ 50038 w 203847"/>
                <a:gd name="connsiteY1" fmla="*/ 110053 h 149340"/>
                <a:gd name="connsiteX2" fmla="*/ 69777 w 203847"/>
                <a:gd name="connsiteY2" fmla="*/ 55323 h 149340"/>
                <a:gd name="connsiteX3" fmla="*/ 0 w 203847"/>
                <a:gd name="connsiteY3" fmla="*/ 55323 h 149340"/>
                <a:gd name="connsiteX4" fmla="*/ 0 w 203847"/>
                <a:gd name="connsiteY4" fmla="*/ 0 h 149340"/>
                <a:gd name="connsiteX5" fmla="*/ 203847 w 203847"/>
                <a:gd name="connsiteY5" fmla="*/ 0 h 149340"/>
                <a:gd name="connsiteX6" fmla="*/ 203847 w 203847"/>
                <a:gd name="connsiteY6" fmla="*/ 55323 h 149340"/>
                <a:gd name="connsiteX7" fmla="*/ 139055 w 203847"/>
                <a:gd name="connsiteY7" fmla="*/ 55323 h 14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49340">
                  <a:moveTo>
                    <a:pt x="106716" y="149340"/>
                  </a:moveTo>
                  <a:lnTo>
                    <a:pt x="50038" y="110053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Forme libre : forme 100">
              <a:extLst>
                <a:ext uri="{FF2B5EF4-FFF2-40B4-BE49-F238E27FC236}">
                  <a16:creationId xmlns:a16="http://schemas.microsoft.com/office/drawing/2014/main" id="{1DC1AB77-DFBD-48D5-BA47-D445EDCA0CEF}"/>
                </a:ext>
              </a:extLst>
            </p:cNvPr>
            <p:cNvSpPr/>
            <p:nvPr/>
          </p:nvSpPr>
          <p:spPr>
            <a:xfrm rot="8716295">
              <a:off x="860101" y="29650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" name="Forme libre : forme 101">
              <a:extLst>
                <a:ext uri="{FF2B5EF4-FFF2-40B4-BE49-F238E27FC236}">
                  <a16:creationId xmlns:a16="http://schemas.microsoft.com/office/drawing/2014/main" id="{F59B8FC1-4AE7-4990-AF75-539F5B58458B}"/>
                </a:ext>
              </a:extLst>
            </p:cNvPr>
            <p:cNvSpPr/>
            <p:nvPr/>
          </p:nvSpPr>
          <p:spPr>
            <a:xfrm rot="8716295">
              <a:off x="494655" y="7007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" name="Forme libre : forme 102">
              <a:extLst>
                <a:ext uri="{FF2B5EF4-FFF2-40B4-BE49-F238E27FC236}">
                  <a16:creationId xmlns:a16="http://schemas.microsoft.com/office/drawing/2014/main" id="{868AEFC4-250F-471C-A43A-28F6923BB61D}"/>
                </a:ext>
              </a:extLst>
            </p:cNvPr>
            <p:cNvSpPr/>
            <p:nvPr/>
          </p:nvSpPr>
          <p:spPr>
            <a:xfrm rot="7484129">
              <a:off x="1018919" y="58611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" name="Forme libre : forme 103">
              <a:extLst>
                <a:ext uri="{FF2B5EF4-FFF2-40B4-BE49-F238E27FC236}">
                  <a16:creationId xmlns:a16="http://schemas.microsoft.com/office/drawing/2014/main" id="{7720FECD-8541-443F-AFBA-99868EB29B55}"/>
                </a:ext>
              </a:extLst>
            </p:cNvPr>
            <p:cNvSpPr/>
            <p:nvPr/>
          </p:nvSpPr>
          <p:spPr>
            <a:xfrm rot="13089394">
              <a:off x="1177568" y="53546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" name="Forme libre : forme 104">
              <a:extLst>
                <a:ext uri="{FF2B5EF4-FFF2-40B4-BE49-F238E27FC236}">
                  <a16:creationId xmlns:a16="http://schemas.microsoft.com/office/drawing/2014/main" id="{EC21D4C1-E07B-4E45-A18C-FDC88EB32F75}"/>
                </a:ext>
              </a:extLst>
            </p:cNvPr>
            <p:cNvSpPr/>
            <p:nvPr/>
          </p:nvSpPr>
          <p:spPr>
            <a:xfrm rot="8716295">
              <a:off x="1458459" y="24534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" name="Forme libre : forme 105">
              <a:extLst>
                <a:ext uri="{FF2B5EF4-FFF2-40B4-BE49-F238E27FC236}">
                  <a16:creationId xmlns:a16="http://schemas.microsoft.com/office/drawing/2014/main" id="{F27332C2-A714-4595-B5C0-9F2B9BA6FD2B}"/>
                </a:ext>
              </a:extLst>
            </p:cNvPr>
            <p:cNvSpPr/>
            <p:nvPr/>
          </p:nvSpPr>
          <p:spPr>
            <a:xfrm rot="8716295">
              <a:off x="1380050" y="8855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" name="Forme libre : forme 106">
              <a:extLst>
                <a:ext uri="{FF2B5EF4-FFF2-40B4-BE49-F238E27FC236}">
                  <a16:creationId xmlns:a16="http://schemas.microsoft.com/office/drawing/2014/main" id="{674A78BA-4944-4138-B4F5-A2FBC8048D50}"/>
                </a:ext>
              </a:extLst>
            </p:cNvPr>
            <p:cNvSpPr/>
            <p:nvPr/>
          </p:nvSpPr>
          <p:spPr>
            <a:xfrm rot="8716295">
              <a:off x="1011887" y="13429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" name="Forme libre : forme 107">
              <a:extLst>
                <a:ext uri="{FF2B5EF4-FFF2-40B4-BE49-F238E27FC236}">
                  <a16:creationId xmlns:a16="http://schemas.microsoft.com/office/drawing/2014/main" id="{7D76DD03-F270-4ACF-B774-06410BC28EE6}"/>
                </a:ext>
              </a:extLst>
            </p:cNvPr>
            <p:cNvSpPr/>
            <p:nvPr/>
          </p:nvSpPr>
          <p:spPr>
            <a:xfrm rot="8716295">
              <a:off x="1291652" y="-36449"/>
              <a:ext cx="134197" cy="106947"/>
            </a:xfrm>
            <a:custGeom>
              <a:avLst/>
              <a:gdLst>
                <a:gd name="connsiteX0" fmla="*/ 83649 w 88664"/>
                <a:gd name="connsiteY0" fmla="*/ 70660 h 70660"/>
                <a:gd name="connsiteX1" fmla="*/ 0 w 88664"/>
                <a:gd name="connsiteY1" fmla="*/ 12677 h 70660"/>
                <a:gd name="connsiteX2" fmla="*/ 30024 w 88664"/>
                <a:gd name="connsiteY2" fmla="*/ 0 h 70660"/>
                <a:gd name="connsiteX3" fmla="*/ 71417 w 88664"/>
                <a:gd name="connsiteY3" fmla="*/ 17477 h 70660"/>
                <a:gd name="connsiteX4" fmla="*/ 88664 w 88664"/>
                <a:gd name="connsiteY4" fmla="*/ 58525 h 70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664" h="70660">
                  <a:moveTo>
                    <a:pt x="83649" y="70660"/>
                  </a:moveTo>
                  <a:lnTo>
                    <a:pt x="0" y="12677"/>
                  </a:lnTo>
                  <a:lnTo>
                    <a:pt x="30024" y="0"/>
                  </a:lnTo>
                  <a:cubicBezTo>
                    <a:pt x="45662" y="0"/>
                    <a:pt x="60379" y="6439"/>
                    <a:pt x="71417" y="17477"/>
                  </a:cubicBezTo>
                  <a:cubicBezTo>
                    <a:pt x="82915" y="28515"/>
                    <a:pt x="88664" y="43462"/>
                    <a:pt x="88664" y="58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" name="Forme libre : forme 108">
              <a:extLst>
                <a:ext uri="{FF2B5EF4-FFF2-40B4-BE49-F238E27FC236}">
                  <a16:creationId xmlns:a16="http://schemas.microsoft.com/office/drawing/2014/main" id="{3E28A378-29F9-4E63-8D2F-7910EE2CA370}"/>
                </a:ext>
              </a:extLst>
            </p:cNvPr>
            <p:cNvSpPr/>
            <p:nvPr/>
          </p:nvSpPr>
          <p:spPr>
            <a:xfrm rot="13089394">
              <a:off x="990163" y="-39748"/>
              <a:ext cx="111277" cy="115595"/>
            </a:xfrm>
            <a:custGeom>
              <a:avLst/>
              <a:gdLst>
                <a:gd name="connsiteX0" fmla="*/ 73521 w 73521"/>
                <a:gd name="connsiteY0" fmla="*/ 18609 h 76374"/>
                <a:gd name="connsiteX1" fmla="*/ 0 w 73521"/>
                <a:gd name="connsiteY1" fmla="*/ 76374 h 76374"/>
                <a:gd name="connsiteX2" fmla="*/ 0 w 73521"/>
                <a:gd name="connsiteY2" fmla="*/ 38074 h 76374"/>
                <a:gd name="connsiteX3" fmla="*/ 73388 w 73521"/>
                <a:gd name="connsiteY3" fmla="*/ 0 h 7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521" h="76374">
                  <a:moveTo>
                    <a:pt x="73521" y="18609"/>
                  </a:moveTo>
                  <a:lnTo>
                    <a:pt x="0" y="76374"/>
                  </a:lnTo>
                  <a:lnTo>
                    <a:pt x="0" y="38074"/>
                  </a:lnTo>
                  <a:lnTo>
                    <a:pt x="7338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" name="Forme libre : forme 109">
              <a:extLst>
                <a:ext uri="{FF2B5EF4-FFF2-40B4-BE49-F238E27FC236}">
                  <a16:creationId xmlns:a16="http://schemas.microsoft.com/office/drawing/2014/main" id="{F1CC83E5-A4EB-42DD-9A17-370BFA21AAE9}"/>
                </a:ext>
              </a:extLst>
            </p:cNvPr>
            <p:cNvSpPr/>
            <p:nvPr/>
          </p:nvSpPr>
          <p:spPr>
            <a:xfrm rot="8716295">
              <a:off x="121288" y="414134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" name="Forme libre : forme 110">
              <a:extLst>
                <a:ext uri="{FF2B5EF4-FFF2-40B4-BE49-F238E27FC236}">
                  <a16:creationId xmlns:a16="http://schemas.microsoft.com/office/drawing/2014/main" id="{9526DB8B-159A-416E-9CE4-0D6F2D18F32F}"/>
                </a:ext>
              </a:extLst>
            </p:cNvPr>
            <p:cNvSpPr/>
            <p:nvPr/>
          </p:nvSpPr>
          <p:spPr>
            <a:xfrm rot="8716295">
              <a:off x="256586" y="418560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" name="Forme libre : forme 111">
              <a:extLst>
                <a:ext uri="{FF2B5EF4-FFF2-40B4-BE49-F238E27FC236}">
                  <a16:creationId xmlns:a16="http://schemas.microsoft.com/office/drawing/2014/main" id="{8B12B296-AAE6-463A-B5CB-324F979AE957}"/>
                </a:ext>
              </a:extLst>
            </p:cNvPr>
            <p:cNvSpPr/>
            <p:nvPr/>
          </p:nvSpPr>
          <p:spPr>
            <a:xfrm rot="8716295">
              <a:off x="188704" y="4055019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" name="Forme libre : forme 112">
              <a:extLst>
                <a:ext uri="{FF2B5EF4-FFF2-40B4-BE49-F238E27FC236}">
                  <a16:creationId xmlns:a16="http://schemas.microsoft.com/office/drawing/2014/main" id="{9A3F4C45-E84E-45F4-A1D8-E67A24057076}"/>
                </a:ext>
              </a:extLst>
            </p:cNvPr>
            <p:cNvSpPr/>
            <p:nvPr/>
          </p:nvSpPr>
          <p:spPr>
            <a:xfrm rot="8716295">
              <a:off x="-22408" y="4278013"/>
              <a:ext cx="57413" cy="71926"/>
            </a:xfrm>
            <a:custGeom>
              <a:avLst/>
              <a:gdLst>
                <a:gd name="connsiteX0" fmla="*/ 11441 w 57413"/>
                <a:gd name="connsiteY0" fmla="*/ 71926 h 71926"/>
                <a:gd name="connsiteX1" fmla="*/ 0 w 57413"/>
                <a:gd name="connsiteY1" fmla="*/ 44829 h 71926"/>
                <a:gd name="connsiteX2" fmla="*/ 0 w 57413"/>
                <a:gd name="connsiteY2" fmla="*/ 44139 h 71926"/>
                <a:gd name="connsiteX3" fmla="*/ 13104 w 57413"/>
                <a:gd name="connsiteY3" fmla="*/ 13104 h 71926"/>
                <a:gd name="connsiteX4" fmla="*/ 44139 w 57413"/>
                <a:gd name="connsiteY4" fmla="*/ 0 h 71926"/>
                <a:gd name="connsiteX5" fmla="*/ 57413 w 57413"/>
                <a:gd name="connsiteY5" fmla="*/ 5605 h 71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413" h="71926">
                  <a:moveTo>
                    <a:pt x="11441" y="71926"/>
                  </a:moveTo>
                  <a:lnTo>
                    <a:pt x="0" y="44829"/>
                  </a:lnTo>
                  <a:lnTo>
                    <a:pt x="0" y="44139"/>
                  </a:lnTo>
                  <a:cubicBezTo>
                    <a:pt x="0" y="32415"/>
                    <a:pt x="4828" y="21380"/>
                    <a:pt x="13104" y="13104"/>
                  </a:cubicBezTo>
                  <a:cubicBezTo>
                    <a:pt x="21380" y="4828"/>
                    <a:pt x="32415" y="0"/>
                    <a:pt x="44139" y="0"/>
                  </a:cubicBezTo>
                  <a:lnTo>
                    <a:pt x="57413" y="56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" name="Forme libre : forme 113">
              <a:extLst>
                <a:ext uri="{FF2B5EF4-FFF2-40B4-BE49-F238E27FC236}">
                  <a16:creationId xmlns:a16="http://schemas.microsoft.com/office/drawing/2014/main" id="{9EDF78AD-4158-4BDF-B490-2317803ACA6E}"/>
                </a:ext>
              </a:extLst>
            </p:cNvPr>
            <p:cNvSpPr/>
            <p:nvPr/>
          </p:nvSpPr>
          <p:spPr>
            <a:xfrm rot="8716295">
              <a:off x="-36969" y="4107248"/>
              <a:ext cx="147272" cy="83734"/>
            </a:xfrm>
            <a:custGeom>
              <a:avLst/>
              <a:gdLst>
                <a:gd name="connsiteX0" fmla="*/ 0 w 147272"/>
                <a:gd name="connsiteY0" fmla="*/ 83734 h 83734"/>
                <a:gd name="connsiteX1" fmla="*/ 0 w 147272"/>
                <a:gd name="connsiteY1" fmla="*/ 0 h 83734"/>
                <a:gd name="connsiteX2" fmla="*/ 147272 w 147272"/>
                <a:gd name="connsiteY2" fmla="*/ 0 h 83734"/>
                <a:gd name="connsiteX3" fmla="*/ 89230 w 147272"/>
                <a:gd name="connsiteY3" fmla="*/ 83734 h 83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272" h="83734">
                  <a:moveTo>
                    <a:pt x="0" y="83734"/>
                  </a:moveTo>
                  <a:lnTo>
                    <a:pt x="0" y="0"/>
                  </a:lnTo>
                  <a:lnTo>
                    <a:pt x="147272" y="0"/>
                  </a:lnTo>
                  <a:lnTo>
                    <a:pt x="89230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" name="Forme libre : forme 114">
              <a:extLst>
                <a:ext uri="{FF2B5EF4-FFF2-40B4-BE49-F238E27FC236}">
                  <a16:creationId xmlns:a16="http://schemas.microsoft.com/office/drawing/2014/main" id="{18A6ED0C-2A06-421B-B360-5120C1917E60}"/>
                </a:ext>
              </a:extLst>
            </p:cNvPr>
            <p:cNvSpPr/>
            <p:nvPr/>
          </p:nvSpPr>
          <p:spPr>
            <a:xfrm rot="8716295">
              <a:off x="43378" y="3712531"/>
              <a:ext cx="125537" cy="468763"/>
            </a:xfrm>
            <a:custGeom>
              <a:avLst/>
              <a:gdLst>
                <a:gd name="connsiteX0" fmla="*/ 29455 w 125537"/>
                <a:gd name="connsiteY0" fmla="*/ 468763 h 468763"/>
                <a:gd name="connsiteX1" fmla="*/ 7792 w 125537"/>
                <a:gd name="connsiteY1" fmla="*/ 425988 h 468763"/>
                <a:gd name="connsiteX2" fmla="*/ 0 w 125537"/>
                <a:gd name="connsiteY2" fmla="*/ 333043 h 468763"/>
                <a:gd name="connsiteX3" fmla="*/ 0 w 125537"/>
                <a:gd name="connsiteY3" fmla="*/ 61444 h 468763"/>
                <a:gd name="connsiteX4" fmla="*/ 118434 w 125537"/>
                <a:gd name="connsiteY4" fmla="*/ 0 h 468763"/>
                <a:gd name="connsiteX5" fmla="*/ 120216 w 125537"/>
                <a:gd name="connsiteY5" fmla="*/ 248447 h 468763"/>
                <a:gd name="connsiteX6" fmla="*/ 123889 w 125537"/>
                <a:gd name="connsiteY6" fmla="*/ 323359 h 468763"/>
                <a:gd name="connsiteX7" fmla="*/ 125537 w 125537"/>
                <a:gd name="connsiteY7" fmla="*/ 330150 h 468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537" h="468763">
                  <a:moveTo>
                    <a:pt x="29455" y="468763"/>
                  </a:moveTo>
                  <a:lnTo>
                    <a:pt x="7792" y="425988"/>
                  </a:lnTo>
                  <a:cubicBezTo>
                    <a:pt x="2003" y="400498"/>
                    <a:pt x="0" y="369553"/>
                    <a:pt x="0" y="333043"/>
                  </a:cubicBezTo>
                  <a:lnTo>
                    <a:pt x="0" y="61444"/>
                  </a:lnTo>
                  <a:lnTo>
                    <a:pt x="118434" y="0"/>
                  </a:lnTo>
                  <a:lnTo>
                    <a:pt x="120216" y="248447"/>
                  </a:lnTo>
                  <a:cubicBezTo>
                    <a:pt x="118880" y="273381"/>
                    <a:pt x="120216" y="298537"/>
                    <a:pt x="123889" y="323359"/>
                  </a:cubicBezTo>
                  <a:lnTo>
                    <a:pt x="125537" y="3301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" name="Forme libre : forme 115">
              <a:extLst>
                <a:ext uri="{FF2B5EF4-FFF2-40B4-BE49-F238E27FC236}">
                  <a16:creationId xmlns:a16="http://schemas.microsoft.com/office/drawing/2014/main" id="{E0FDC8EF-8848-4C0A-9102-11E05499477A}"/>
                </a:ext>
              </a:extLst>
            </p:cNvPr>
            <p:cNvSpPr/>
            <p:nvPr/>
          </p:nvSpPr>
          <p:spPr>
            <a:xfrm rot="8716295">
              <a:off x="87905" y="4337347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" name="Forme libre : forme 116">
              <a:extLst>
                <a:ext uri="{FF2B5EF4-FFF2-40B4-BE49-F238E27FC236}">
                  <a16:creationId xmlns:a16="http://schemas.microsoft.com/office/drawing/2014/main" id="{5A06B087-2ED7-4364-B770-117460F6509C}"/>
                </a:ext>
              </a:extLst>
            </p:cNvPr>
            <p:cNvSpPr/>
            <p:nvPr/>
          </p:nvSpPr>
          <p:spPr>
            <a:xfrm rot="8716295">
              <a:off x="558851" y="376273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" name="Forme libre : forme 117">
              <a:extLst>
                <a:ext uri="{FF2B5EF4-FFF2-40B4-BE49-F238E27FC236}">
                  <a16:creationId xmlns:a16="http://schemas.microsoft.com/office/drawing/2014/main" id="{A9CE4EB9-9050-492E-8BE3-E347F06FFDC2}"/>
                </a:ext>
              </a:extLst>
            </p:cNvPr>
            <p:cNvSpPr/>
            <p:nvPr/>
          </p:nvSpPr>
          <p:spPr>
            <a:xfrm rot="8716295">
              <a:off x="694150" y="380699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" name="Forme libre : forme 118">
              <a:extLst>
                <a:ext uri="{FF2B5EF4-FFF2-40B4-BE49-F238E27FC236}">
                  <a16:creationId xmlns:a16="http://schemas.microsoft.com/office/drawing/2014/main" id="{760AB253-194C-499B-8D42-794DA9755956}"/>
                </a:ext>
              </a:extLst>
            </p:cNvPr>
            <p:cNvSpPr/>
            <p:nvPr/>
          </p:nvSpPr>
          <p:spPr>
            <a:xfrm rot="8716295">
              <a:off x="388980" y="389674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" name="Forme libre : forme 119">
              <a:extLst>
                <a:ext uri="{FF2B5EF4-FFF2-40B4-BE49-F238E27FC236}">
                  <a16:creationId xmlns:a16="http://schemas.microsoft.com/office/drawing/2014/main" id="{40898D3E-1FCF-4F50-8E01-1AFEA6AF3C33}"/>
                </a:ext>
              </a:extLst>
            </p:cNvPr>
            <p:cNvSpPr/>
            <p:nvPr/>
          </p:nvSpPr>
          <p:spPr>
            <a:xfrm rot="8716295">
              <a:off x="199936" y="358091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" name="Forme libre : forme 120">
              <a:extLst>
                <a:ext uri="{FF2B5EF4-FFF2-40B4-BE49-F238E27FC236}">
                  <a16:creationId xmlns:a16="http://schemas.microsoft.com/office/drawing/2014/main" id="{D3FAD429-F566-4023-B7BD-D5217FAA5D96}"/>
                </a:ext>
              </a:extLst>
            </p:cNvPr>
            <p:cNvSpPr/>
            <p:nvPr/>
          </p:nvSpPr>
          <p:spPr>
            <a:xfrm rot="8716295">
              <a:off x="525469" y="3958731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" name="Forme libre : forme 121">
              <a:extLst>
                <a:ext uri="{FF2B5EF4-FFF2-40B4-BE49-F238E27FC236}">
                  <a16:creationId xmlns:a16="http://schemas.microsoft.com/office/drawing/2014/main" id="{D20A67B5-6AA2-4AB0-B207-C07057BDE093}"/>
                </a:ext>
              </a:extLst>
            </p:cNvPr>
            <p:cNvSpPr/>
            <p:nvPr/>
          </p:nvSpPr>
          <p:spPr>
            <a:xfrm rot="8716295">
              <a:off x="160022" y="3732305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" name="Forme libre : forme 122">
              <a:extLst>
                <a:ext uri="{FF2B5EF4-FFF2-40B4-BE49-F238E27FC236}">
                  <a16:creationId xmlns:a16="http://schemas.microsoft.com/office/drawing/2014/main" id="{91FEBD80-6813-4F8F-ACF7-9087BB051204}"/>
                </a:ext>
              </a:extLst>
            </p:cNvPr>
            <p:cNvSpPr/>
            <p:nvPr/>
          </p:nvSpPr>
          <p:spPr>
            <a:xfrm rot="7484129">
              <a:off x="684286" y="4248349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" name="Forme libre : forme 123">
              <a:extLst>
                <a:ext uri="{FF2B5EF4-FFF2-40B4-BE49-F238E27FC236}">
                  <a16:creationId xmlns:a16="http://schemas.microsoft.com/office/drawing/2014/main" id="{4CAAD98F-1BEB-4716-B4A0-F4F1C4393647}"/>
                </a:ext>
              </a:extLst>
            </p:cNvPr>
            <p:cNvSpPr/>
            <p:nvPr/>
          </p:nvSpPr>
          <p:spPr>
            <a:xfrm rot="13089394">
              <a:off x="842936" y="4197697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" name="Forme libre : forme 124">
              <a:extLst>
                <a:ext uri="{FF2B5EF4-FFF2-40B4-BE49-F238E27FC236}">
                  <a16:creationId xmlns:a16="http://schemas.microsoft.com/office/drawing/2014/main" id="{B934D86F-56B5-4940-9189-1F845F67AF3D}"/>
                </a:ext>
              </a:extLst>
            </p:cNvPr>
            <p:cNvSpPr/>
            <p:nvPr/>
          </p:nvSpPr>
          <p:spPr>
            <a:xfrm rot="8716295">
              <a:off x="1123827" y="390757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" name="Forme libre : forme 125">
              <a:extLst>
                <a:ext uri="{FF2B5EF4-FFF2-40B4-BE49-F238E27FC236}">
                  <a16:creationId xmlns:a16="http://schemas.microsoft.com/office/drawing/2014/main" id="{0BB740E0-5261-47F5-A043-EC9887338951}"/>
                </a:ext>
              </a:extLst>
            </p:cNvPr>
            <p:cNvSpPr/>
            <p:nvPr/>
          </p:nvSpPr>
          <p:spPr>
            <a:xfrm rot="8716295">
              <a:off x="1045418" y="375078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" name="Forme libre : forme 126">
              <a:extLst>
                <a:ext uri="{FF2B5EF4-FFF2-40B4-BE49-F238E27FC236}">
                  <a16:creationId xmlns:a16="http://schemas.microsoft.com/office/drawing/2014/main" id="{07B02AA0-438E-4A9F-9E86-C7798EAE77E1}"/>
                </a:ext>
              </a:extLst>
            </p:cNvPr>
            <p:cNvSpPr/>
            <p:nvPr/>
          </p:nvSpPr>
          <p:spPr>
            <a:xfrm rot="8716295">
              <a:off x="677254" y="379652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" name="Forme libre : forme 127">
              <a:extLst>
                <a:ext uri="{FF2B5EF4-FFF2-40B4-BE49-F238E27FC236}">
                  <a16:creationId xmlns:a16="http://schemas.microsoft.com/office/drawing/2014/main" id="{500903EF-2A49-42E8-AD78-049F43A296FF}"/>
                </a:ext>
              </a:extLst>
            </p:cNvPr>
            <p:cNvSpPr/>
            <p:nvPr/>
          </p:nvSpPr>
          <p:spPr>
            <a:xfrm rot="8716295">
              <a:off x="945836" y="355550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" name="Forme libre : forme 128">
              <a:extLst>
                <a:ext uri="{FF2B5EF4-FFF2-40B4-BE49-F238E27FC236}">
                  <a16:creationId xmlns:a16="http://schemas.microsoft.com/office/drawing/2014/main" id="{480AF78A-BA1A-4D97-9E00-1B9DCCFB07D3}"/>
                </a:ext>
              </a:extLst>
            </p:cNvPr>
            <p:cNvSpPr/>
            <p:nvPr/>
          </p:nvSpPr>
          <p:spPr>
            <a:xfrm rot="8716295">
              <a:off x="601570" y="5027951"/>
              <a:ext cx="169680" cy="113030"/>
            </a:xfrm>
            <a:custGeom>
              <a:avLst/>
              <a:gdLst>
                <a:gd name="connsiteX0" fmla="*/ 8965 w 169680"/>
                <a:gd name="connsiteY0" fmla="*/ 113030 h 113030"/>
                <a:gd name="connsiteX1" fmla="*/ 0 w 169680"/>
                <a:gd name="connsiteY1" fmla="*/ 100616 h 113030"/>
                <a:gd name="connsiteX2" fmla="*/ 106933 w 169680"/>
                <a:gd name="connsiteY2" fmla="*/ 0 h 113030"/>
                <a:gd name="connsiteX3" fmla="*/ 169680 w 169680"/>
                <a:gd name="connsiteY3" fmla="*/ 43494 h 113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680" h="113030">
                  <a:moveTo>
                    <a:pt x="8965" y="113030"/>
                  </a:moveTo>
                  <a:lnTo>
                    <a:pt x="0" y="100616"/>
                  </a:lnTo>
                  <a:lnTo>
                    <a:pt x="106933" y="0"/>
                  </a:lnTo>
                  <a:lnTo>
                    <a:pt x="169680" y="434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" name="Forme libre : forme 129">
              <a:extLst>
                <a:ext uri="{FF2B5EF4-FFF2-40B4-BE49-F238E27FC236}">
                  <a16:creationId xmlns:a16="http://schemas.microsoft.com/office/drawing/2014/main" id="{EE8617F6-3CC3-49C7-A836-7CB9E4E540AD}"/>
                </a:ext>
              </a:extLst>
            </p:cNvPr>
            <p:cNvSpPr/>
            <p:nvPr/>
          </p:nvSpPr>
          <p:spPr>
            <a:xfrm rot="8716295">
              <a:off x="197311" y="4925365"/>
              <a:ext cx="194366" cy="296463"/>
            </a:xfrm>
            <a:custGeom>
              <a:avLst/>
              <a:gdLst>
                <a:gd name="connsiteX0" fmla="*/ 137293 w 194366"/>
                <a:gd name="connsiteY0" fmla="*/ 296463 h 296463"/>
                <a:gd name="connsiteX1" fmla="*/ 72418 w 194366"/>
                <a:gd name="connsiteY1" fmla="*/ 175766 h 296463"/>
                <a:gd name="connsiteX2" fmla="*/ 105610 w 194366"/>
                <a:gd name="connsiteY2" fmla="*/ 83734 h 296463"/>
                <a:gd name="connsiteX3" fmla="*/ 0 w 194366"/>
                <a:gd name="connsiteY3" fmla="*/ 83734 h 296463"/>
                <a:gd name="connsiteX4" fmla="*/ 0 w 194366"/>
                <a:gd name="connsiteY4" fmla="*/ 0 h 296463"/>
                <a:gd name="connsiteX5" fmla="*/ 6043 w 194366"/>
                <a:gd name="connsiteY5" fmla="*/ 0 h 296463"/>
                <a:gd name="connsiteX6" fmla="*/ 194366 w 194366"/>
                <a:gd name="connsiteY6" fmla="*/ 130539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4366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6043" y="0"/>
                  </a:lnTo>
                  <a:lnTo>
                    <a:pt x="194366" y="1305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" name="Forme libre : forme 130">
              <a:extLst>
                <a:ext uri="{FF2B5EF4-FFF2-40B4-BE49-F238E27FC236}">
                  <a16:creationId xmlns:a16="http://schemas.microsoft.com/office/drawing/2014/main" id="{7A3770F8-0F14-4D5B-BC93-8BDF0237ED5F}"/>
                </a:ext>
              </a:extLst>
            </p:cNvPr>
            <p:cNvSpPr/>
            <p:nvPr/>
          </p:nvSpPr>
          <p:spPr>
            <a:xfrm rot="8716295">
              <a:off x="81902" y="4747962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" name="Forme libre : forme 131">
              <a:extLst>
                <a:ext uri="{FF2B5EF4-FFF2-40B4-BE49-F238E27FC236}">
                  <a16:creationId xmlns:a16="http://schemas.microsoft.com/office/drawing/2014/main" id="{6F3531E0-325E-4C4E-9F22-978D3BA0B1C2}"/>
                </a:ext>
              </a:extLst>
            </p:cNvPr>
            <p:cNvSpPr/>
            <p:nvPr/>
          </p:nvSpPr>
          <p:spPr>
            <a:xfrm rot="8716295">
              <a:off x="896624" y="4761216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" name="Forme libre : forme 132">
              <a:extLst>
                <a:ext uri="{FF2B5EF4-FFF2-40B4-BE49-F238E27FC236}">
                  <a16:creationId xmlns:a16="http://schemas.microsoft.com/office/drawing/2014/main" id="{0B981DC2-26C2-44B6-A24A-4014CF42843D}"/>
                </a:ext>
              </a:extLst>
            </p:cNvPr>
            <p:cNvSpPr/>
            <p:nvPr/>
          </p:nvSpPr>
          <p:spPr>
            <a:xfrm rot="8716295">
              <a:off x="1032483" y="4799006"/>
              <a:ext cx="389853" cy="383455"/>
            </a:xfrm>
            <a:custGeom>
              <a:avLst/>
              <a:gdLst>
                <a:gd name="connsiteX0" fmla="*/ 77932 w 389853"/>
                <a:gd name="connsiteY0" fmla="*/ 383455 h 383455"/>
                <a:gd name="connsiteX1" fmla="*/ 77932 w 389853"/>
                <a:gd name="connsiteY1" fmla="*/ 66898 h 383455"/>
                <a:gd name="connsiteX2" fmla="*/ 0 w 389853"/>
                <a:gd name="connsiteY2" fmla="*/ 66898 h 383455"/>
                <a:gd name="connsiteX3" fmla="*/ 0 w 389853"/>
                <a:gd name="connsiteY3" fmla="*/ 0 h 383455"/>
                <a:gd name="connsiteX4" fmla="*/ 158623 w 389853"/>
                <a:gd name="connsiteY4" fmla="*/ 0 h 383455"/>
                <a:gd name="connsiteX5" fmla="*/ 158623 w 389853"/>
                <a:gd name="connsiteY5" fmla="*/ 111726 h 383455"/>
                <a:gd name="connsiteX6" fmla="*/ 160692 w 389853"/>
                <a:gd name="connsiteY6" fmla="*/ 111726 h 383455"/>
                <a:gd name="connsiteX7" fmla="*/ 192762 w 389853"/>
                <a:gd name="connsiteY7" fmla="*/ 39914 h 383455"/>
                <a:gd name="connsiteX8" fmla="*/ 216292 w 389853"/>
                <a:gd name="connsiteY8" fmla="*/ 20658 h 383455"/>
                <a:gd name="connsiteX9" fmla="*/ 389853 w 389853"/>
                <a:gd name="connsiteY9" fmla="*/ 140965 h 383455"/>
                <a:gd name="connsiteX10" fmla="*/ 300695 w 389853"/>
                <a:gd name="connsiteY10" fmla="*/ 146210 h 383455"/>
                <a:gd name="connsiteX11" fmla="*/ 300694 w 389853"/>
                <a:gd name="connsiteY11" fmla="*/ 121382 h 383455"/>
                <a:gd name="connsiteX12" fmla="*/ 249659 w 389853"/>
                <a:gd name="connsiteY12" fmla="*/ 58622 h 383455"/>
                <a:gd name="connsiteX13" fmla="*/ 168969 w 389853"/>
                <a:gd name="connsiteY13" fmla="*/ 191038 h 383455"/>
                <a:gd name="connsiteX14" fmla="*/ 168969 w 389853"/>
                <a:gd name="connsiteY14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9853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71727" y="78967"/>
                    <a:pt x="181555" y="56208"/>
                    <a:pt x="192762" y="39914"/>
                  </a:cubicBezTo>
                  <a:lnTo>
                    <a:pt x="216292" y="20658"/>
                  </a:lnTo>
                  <a:lnTo>
                    <a:pt x="389853" y="140965"/>
                  </a:lnTo>
                  <a:lnTo>
                    <a:pt x="300695" y="146210"/>
                  </a:lnTo>
                  <a:lnTo>
                    <a:pt x="300694" y="121382"/>
                  </a:lnTo>
                  <a:cubicBezTo>
                    <a:pt x="300695" y="84140"/>
                    <a:pt x="279315" y="58621"/>
                    <a:pt x="249659" y="58622"/>
                  </a:cubicBezTo>
                  <a:cubicBezTo>
                    <a:pt x="205521" y="58621"/>
                    <a:pt x="168969" y="117244"/>
                    <a:pt x="168969" y="191038"/>
                  </a:cubicBez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" name="Forme libre : forme 133">
              <a:extLst>
                <a:ext uri="{FF2B5EF4-FFF2-40B4-BE49-F238E27FC236}">
                  <a16:creationId xmlns:a16="http://schemas.microsoft.com/office/drawing/2014/main" id="{A3972FDD-BF94-4723-9E5F-9672CBFB9038}"/>
                </a:ext>
              </a:extLst>
            </p:cNvPr>
            <p:cNvSpPr/>
            <p:nvPr/>
          </p:nvSpPr>
          <p:spPr>
            <a:xfrm rot="8716295">
              <a:off x="726753" y="489523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" name="Forme libre : forme 134">
              <a:extLst>
                <a:ext uri="{FF2B5EF4-FFF2-40B4-BE49-F238E27FC236}">
                  <a16:creationId xmlns:a16="http://schemas.microsoft.com/office/drawing/2014/main" id="{53E7288B-8855-433D-88B5-BB9A05F8E9B6}"/>
                </a:ext>
              </a:extLst>
            </p:cNvPr>
            <p:cNvSpPr/>
            <p:nvPr/>
          </p:nvSpPr>
          <p:spPr>
            <a:xfrm rot="8716295">
              <a:off x="537709" y="457939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" name="Forme libre : forme 135">
              <a:extLst>
                <a:ext uri="{FF2B5EF4-FFF2-40B4-BE49-F238E27FC236}">
                  <a16:creationId xmlns:a16="http://schemas.microsoft.com/office/drawing/2014/main" id="{6D0BADDB-ADF9-4A5A-9268-3F374A71F372}"/>
                </a:ext>
              </a:extLst>
            </p:cNvPr>
            <p:cNvSpPr/>
            <p:nvPr/>
          </p:nvSpPr>
          <p:spPr>
            <a:xfrm rot="8716295">
              <a:off x="826576" y="4988476"/>
              <a:ext cx="91035" cy="198648"/>
            </a:xfrm>
            <a:custGeom>
              <a:avLst/>
              <a:gdLst>
                <a:gd name="connsiteX0" fmla="*/ 91035 w 91035"/>
                <a:gd name="connsiteY0" fmla="*/ 198648 h 198648"/>
                <a:gd name="connsiteX1" fmla="*/ 0 w 91035"/>
                <a:gd name="connsiteY1" fmla="*/ 111060 h 198648"/>
                <a:gd name="connsiteX2" fmla="*/ 0 w 91035"/>
                <a:gd name="connsiteY2" fmla="*/ 0 h 198648"/>
                <a:gd name="connsiteX3" fmla="*/ 91035 w 91035"/>
                <a:gd name="connsiteY3" fmla="*/ 63103 h 198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198648">
                  <a:moveTo>
                    <a:pt x="91035" y="198648"/>
                  </a:moveTo>
                  <a:lnTo>
                    <a:pt x="0" y="111060"/>
                  </a:lnTo>
                  <a:lnTo>
                    <a:pt x="0" y="0"/>
                  </a:lnTo>
                  <a:lnTo>
                    <a:pt x="91035" y="631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" name="Forme libre : forme 136">
              <a:extLst>
                <a:ext uri="{FF2B5EF4-FFF2-40B4-BE49-F238E27FC236}">
                  <a16:creationId xmlns:a16="http://schemas.microsoft.com/office/drawing/2014/main" id="{7A0A28EA-B520-49BA-800F-B4282BF0ECB8}"/>
                </a:ext>
              </a:extLst>
            </p:cNvPr>
            <p:cNvSpPr/>
            <p:nvPr/>
          </p:nvSpPr>
          <p:spPr>
            <a:xfrm rot="8716295">
              <a:off x="497795" y="4730788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" name="Forme libre : forme 137">
              <a:extLst>
                <a:ext uri="{FF2B5EF4-FFF2-40B4-BE49-F238E27FC236}">
                  <a16:creationId xmlns:a16="http://schemas.microsoft.com/office/drawing/2014/main" id="{8781DCBF-8301-4C81-B93D-E186016AF47F}"/>
                </a:ext>
              </a:extLst>
            </p:cNvPr>
            <p:cNvSpPr/>
            <p:nvPr/>
          </p:nvSpPr>
          <p:spPr>
            <a:xfrm rot="8716295">
              <a:off x="1459248" y="4904357"/>
              <a:ext cx="328004" cy="223069"/>
            </a:xfrm>
            <a:custGeom>
              <a:avLst/>
              <a:gdLst>
                <a:gd name="connsiteX0" fmla="*/ 10574 w 328004"/>
                <a:gd name="connsiteY0" fmla="*/ 223069 h 223069"/>
                <a:gd name="connsiteX1" fmla="*/ 0 w 328004"/>
                <a:gd name="connsiteY1" fmla="*/ 208428 h 223069"/>
                <a:gd name="connsiteX2" fmla="*/ 192781 w 328004"/>
                <a:gd name="connsiteY2" fmla="*/ 27035 h 223069"/>
                <a:gd name="connsiteX3" fmla="*/ 227094 w 328004"/>
                <a:gd name="connsiteY3" fmla="*/ 0 h 223069"/>
                <a:gd name="connsiteX4" fmla="*/ 328004 w 328004"/>
                <a:gd name="connsiteY4" fmla="*/ 69948 h 223069"/>
                <a:gd name="connsiteX5" fmla="*/ 326080 w 328004"/>
                <a:gd name="connsiteY5" fmla="*/ 74925 h 223069"/>
                <a:gd name="connsiteX6" fmla="*/ 293645 w 328004"/>
                <a:gd name="connsiteY6" fmla="*/ 100243 h 223069"/>
                <a:gd name="connsiteX7" fmla="*/ 294458 w 328004"/>
                <a:gd name="connsiteY7" fmla="*/ 100243 h 223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8004" h="223069">
                  <a:moveTo>
                    <a:pt x="10574" y="223069"/>
                  </a:moveTo>
                  <a:lnTo>
                    <a:pt x="0" y="208428"/>
                  </a:lnTo>
                  <a:lnTo>
                    <a:pt x="192781" y="27035"/>
                  </a:lnTo>
                  <a:lnTo>
                    <a:pt x="227094" y="0"/>
                  </a:lnTo>
                  <a:lnTo>
                    <a:pt x="328004" y="69948"/>
                  </a:lnTo>
                  <a:lnTo>
                    <a:pt x="326080" y="74925"/>
                  </a:lnTo>
                  <a:cubicBezTo>
                    <a:pt x="317843" y="85805"/>
                    <a:pt x="306659" y="94549"/>
                    <a:pt x="293645" y="100243"/>
                  </a:cubicBezTo>
                  <a:lnTo>
                    <a:pt x="294458" y="10024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" name="Forme libre : forme 138">
              <a:extLst>
                <a:ext uri="{FF2B5EF4-FFF2-40B4-BE49-F238E27FC236}">
                  <a16:creationId xmlns:a16="http://schemas.microsoft.com/office/drawing/2014/main" id="{3ED78FC6-709C-4AA3-BB63-2CC979D6E8FB}"/>
                </a:ext>
              </a:extLst>
            </p:cNvPr>
            <p:cNvSpPr/>
            <p:nvPr/>
          </p:nvSpPr>
          <p:spPr>
            <a:xfrm rot="8716295">
              <a:off x="1383191" y="474927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" name="Forme libre : forme 139">
              <a:extLst>
                <a:ext uri="{FF2B5EF4-FFF2-40B4-BE49-F238E27FC236}">
                  <a16:creationId xmlns:a16="http://schemas.microsoft.com/office/drawing/2014/main" id="{AC25FEFC-06C2-45EF-9330-9EAB676F1680}"/>
                </a:ext>
              </a:extLst>
            </p:cNvPr>
            <p:cNvSpPr/>
            <p:nvPr/>
          </p:nvSpPr>
          <p:spPr>
            <a:xfrm rot="8716295">
              <a:off x="1015027" y="479501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" name="Forme libre : forme 140">
              <a:extLst>
                <a:ext uri="{FF2B5EF4-FFF2-40B4-BE49-F238E27FC236}">
                  <a16:creationId xmlns:a16="http://schemas.microsoft.com/office/drawing/2014/main" id="{6FCEE809-B78B-468F-8A4F-11AD6B5B5DFE}"/>
                </a:ext>
              </a:extLst>
            </p:cNvPr>
            <p:cNvSpPr/>
            <p:nvPr/>
          </p:nvSpPr>
          <p:spPr>
            <a:xfrm rot="8716295">
              <a:off x="1283609" y="455399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" name="Forme libre : forme 141">
              <a:extLst>
                <a:ext uri="{FF2B5EF4-FFF2-40B4-BE49-F238E27FC236}">
                  <a16:creationId xmlns:a16="http://schemas.microsoft.com/office/drawing/2014/main" id="{4D7B8EF3-5C2F-4403-A58E-C6455E9DC2F8}"/>
                </a:ext>
              </a:extLst>
            </p:cNvPr>
            <p:cNvSpPr/>
            <p:nvPr/>
          </p:nvSpPr>
          <p:spPr>
            <a:xfrm rot="8716295">
              <a:off x="-30381" y="3359388"/>
              <a:ext cx="98497" cy="75863"/>
            </a:xfrm>
            <a:custGeom>
              <a:avLst/>
              <a:gdLst>
                <a:gd name="connsiteX0" fmla="*/ 0 w 98497"/>
                <a:gd name="connsiteY0" fmla="*/ 75863 h 75863"/>
                <a:gd name="connsiteX1" fmla="*/ 0 w 98497"/>
                <a:gd name="connsiteY1" fmla="*/ 0 h 75863"/>
                <a:gd name="connsiteX2" fmla="*/ 98497 w 98497"/>
                <a:gd name="connsiteY2" fmla="*/ 0 h 75863"/>
                <a:gd name="connsiteX3" fmla="*/ 45911 w 98497"/>
                <a:gd name="connsiteY3" fmla="*/ 75863 h 75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497" h="75863">
                  <a:moveTo>
                    <a:pt x="0" y="75863"/>
                  </a:moveTo>
                  <a:lnTo>
                    <a:pt x="0" y="0"/>
                  </a:lnTo>
                  <a:lnTo>
                    <a:pt x="98497" y="0"/>
                  </a:lnTo>
                  <a:lnTo>
                    <a:pt x="45911" y="758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" name="Forme libre : forme 142">
              <a:extLst>
                <a:ext uri="{FF2B5EF4-FFF2-40B4-BE49-F238E27FC236}">
                  <a16:creationId xmlns:a16="http://schemas.microsoft.com/office/drawing/2014/main" id="{E1CB3E01-5CB9-4779-88E3-4FF297370B3E}"/>
                </a:ext>
              </a:extLst>
            </p:cNvPr>
            <p:cNvSpPr/>
            <p:nvPr/>
          </p:nvSpPr>
          <p:spPr>
            <a:xfrm rot="8716295">
              <a:off x="-77334" y="3178477"/>
              <a:ext cx="389652" cy="385611"/>
            </a:xfrm>
            <a:custGeom>
              <a:avLst/>
              <a:gdLst>
                <a:gd name="connsiteX0" fmla="*/ 77932 w 389652"/>
                <a:gd name="connsiteY0" fmla="*/ 385611 h 385611"/>
                <a:gd name="connsiteX1" fmla="*/ 77932 w 389652"/>
                <a:gd name="connsiteY1" fmla="*/ 69054 h 385611"/>
                <a:gd name="connsiteX2" fmla="*/ 0 w 389652"/>
                <a:gd name="connsiteY2" fmla="*/ 69054 h 385611"/>
                <a:gd name="connsiteX3" fmla="*/ 0 w 389652"/>
                <a:gd name="connsiteY3" fmla="*/ 2156 h 385611"/>
                <a:gd name="connsiteX4" fmla="*/ 158623 w 389652"/>
                <a:gd name="connsiteY4" fmla="*/ 2156 h 385611"/>
                <a:gd name="connsiteX5" fmla="*/ 158623 w 389652"/>
                <a:gd name="connsiteY5" fmla="*/ 113882 h 385611"/>
                <a:gd name="connsiteX6" fmla="*/ 160692 w 389652"/>
                <a:gd name="connsiteY6" fmla="*/ 113882 h 385611"/>
                <a:gd name="connsiteX7" fmla="*/ 233107 w 389652"/>
                <a:gd name="connsiteY7" fmla="*/ 9053 h 385611"/>
                <a:gd name="connsiteX8" fmla="*/ 280694 w 389652"/>
                <a:gd name="connsiteY8" fmla="*/ 87 h 385611"/>
                <a:gd name="connsiteX9" fmla="*/ 364230 w 389652"/>
                <a:gd name="connsiteY9" fmla="*/ 34398 h 385611"/>
                <a:gd name="connsiteX10" fmla="*/ 389652 w 389652"/>
                <a:gd name="connsiteY10" fmla="*/ 117977 h 385611"/>
                <a:gd name="connsiteX11" fmla="*/ 371473 w 389652"/>
                <a:gd name="connsiteY11" fmla="*/ 144202 h 385611"/>
                <a:gd name="connsiteX12" fmla="*/ 300695 w 389652"/>
                <a:gd name="connsiteY12" fmla="*/ 148366 h 385611"/>
                <a:gd name="connsiteX13" fmla="*/ 300695 w 389652"/>
                <a:gd name="connsiteY13" fmla="*/ 123538 h 385611"/>
                <a:gd name="connsiteX14" fmla="*/ 249659 w 389652"/>
                <a:gd name="connsiteY14" fmla="*/ 60778 h 385611"/>
                <a:gd name="connsiteX15" fmla="*/ 168969 w 389652"/>
                <a:gd name="connsiteY15" fmla="*/ 193194 h 385611"/>
                <a:gd name="connsiteX16" fmla="*/ 168969 w 389652"/>
                <a:gd name="connsiteY16" fmla="*/ 323541 h 385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89652" h="385611">
                  <a:moveTo>
                    <a:pt x="77932" y="385611"/>
                  </a:moveTo>
                  <a:lnTo>
                    <a:pt x="77932" y="69054"/>
                  </a:lnTo>
                  <a:lnTo>
                    <a:pt x="0" y="69054"/>
                  </a:lnTo>
                  <a:lnTo>
                    <a:pt x="0" y="2156"/>
                  </a:lnTo>
                  <a:lnTo>
                    <a:pt x="158623" y="2156"/>
                  </a:lnTo>
                  <a:lnTo>
                    <a:pt x="158623" y="113882"/>
                  </a:lnTo>
                  <a:lnTo>
                    <a:pt x="160692" y="113882"/>
                  </a:lnTo>
                  <a:cubicBezTo>
                    <a:pt x="182762" y="48364"/>
                    <a:pt x="200003" y="22846"/>
                    <a:pt x="233107" y="9053"/>
                  </a:cubicBezTo>
                  <a:cubicBezTo>
                    <a:pt x="248280" y="2846"/>
                    <a:pt x="264142" y="-602"/>
                    <a:pt x="280694" y="87"/>
                  </a:cubicBezTo>
                  <a:cubicBezTo>
                    <a:pt x="316212" y="-603"/>
                    <a:pt x="344661" y="11466"/>
                    <a:pt x="364230" y="34398"/>
                  </a:cubicBezTo>
                  <a:lnTo>
                    <a:pt x="389652" y="117977"/>
                  </a:lnTo>
                  <a:lnTo>
                    <a:pt x="371473" y="144202"/>
                  </a:lnTo>
                  <a:lnTo>
                    <a:pt x="300695" y="148366"/>
                  </a:lnTo>
                  <a:lnTo>
                    <a:pt x="300695" y="123538"/>
                  </a:lnTo>
                  <a:cubicBezTo>
                    <a:pt x="300695" y="86296"/>
                    <a:pt x="279315" y="60778"/>
                    <a:pt x="249659" y="60778"/>
                  </a:cubicBezTo>
                  <a:cubicBezTo>
                    <a:pt x="205521" y="60778"/>
                    <a:pt x="168969" y="119400"/>
                    <a:pt x="168969" y="193194"/>
                  </a:cubicBezTo>
                  <a:lnTo>
                    <a:pt x="168969" y="3235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4" name="Forme libre : forme 143">
              <a:extLst>
                <a:ext uri="{FF2B5EF4-FFF2-40B4-BE49-F238E27FC236}">
                  <a16:creationId xmlns:a16="http://schemas.microsoft.com/office/drawing/2014/main" id="{693C3616-465F-40B5-99BD-A4355895EC1C}"/>
                </a:ext>
              </a:extLst>
            </p:cNvPr>
            <p:cNvSpPr/>
            <p:nvPr/>
          </p:nvSpPr>
          <p:spPr>
            <a:xfrm rot="8716295">
              <a:off x="-71352" y="3029015"/>
              <a:ext cx="193594" cy="189959"/>
            </a:xfrm>
            <a:custGeom>
              <a:avLst/>
              <a:gdLst>
                <a:gd name="connsiteX0" fmla="*/ 8965 w 193594"/>
                <a:gd name="connsiteY0" fmla="*/ 189959 h 189959"/>
                <a:gd name="connsiteX1" fmla="*/ 0 w 193594"/>
                <a:gd name="connsiteY1" fmla="*/ 177545 h 189959"/>
                <a:gd name="connsiteX2" fmla="*/ 163451 w 193594"/>
                <a:gd name="connsiteY2" fmla="*/ 23749 h 189959"/>
                <a:gd name="connsiteX3" fmla="*/ 193594 w 193594"/>
                <a:gd name="connsiteY3" fmla="*/ 0 h 189959"/>
                <a:gd name="connsiteX4" fmla="*/ 84606 w 193594"/>
                <a:gd name="connsiteY4" fmla="*/ 157232 h 189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594" h="189959">
                  <a:moveTo>
                    <a:pt x="8965" y="189959"/>
                  </a:moveTo>
                  <a:lnTo>
                    <a:pt x="0" y="177545"/>
                  </a:lnTo>
                  <a:lnTo>
                    <a:pt x="163451" y="23749"/>
                  </a:lnTo>
                  <a:lnTo>
                    <a:pt x="193594" y="0"/>
                  </a:lnTo>
                  <a:lnTo>
                    <a:pt x="84606" y="15723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5" name="Forme libre : forme 144">
              <a:extLst>
                <a:ext uri="{FF2B5EF4-FFF2-40B4-BE49-F238E27FC236}">
                  <a16:creationId xmlns:a16="http://schemas.microsoft.com/office/drawing/2014/main" id="{24B29AA9-322C-494E-97CF-CB28B697D24F}"/>
                </a:ext>
              </a:extLst>
            </p:cNvPr>
            <p:cNvSpPr/>
            <p:nvPr/>
          </p:nvSpPr>
          <p:spPr>
            <a:xfrm rot="8716295">
              <a:off x="223574" y="276232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6" name="Forme libre : forme 145">
              <a:extLst>
                <a:ext uri="{FF2B5EF4-FFF2-40B4-BE49-F238E27FC236}">
                  <a16:creationId xmlns:a16="http://schemas.microsoft.com/office/drawing/2014/main" id="{F8DE088E-7554-4812-9E9E-4D30E041F578}"/>
                </a:ext>
              </a:extLst>
            </p:cNvPr>
            <p:cNvSpPr/>
            <p:nvPr/>
          </p:nvSpPr>
          <p:spPr>
            <a:xfrm rot="8716295">
              <a:off x="358873" y="2806579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7" name="Forme libre : forme 146">
              <a:extLst>
                <a:ext uri="{FF2B5EF4-FFF2-40B4-BE49-F238E27FC236}">
                  <a16:creationId xmlns:a16="http://schemas.microsoft.com/office/drawing/2014/main" id="{B9E26502-E7AD-4DA1-9955-0A4E18FDB87E}"/>
                </a:ext>
              </a:extLst>
            </p:cNvPr>
            <p:cNvSpPr/>
            <p:nvPr/>
          </p:nvSpPr>
          <p:spPr>
            <a:xfrm rot="8716295">
              <a:off x="53703" y="2896335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8" name="Forme libre : forme 147">
              <a:extLst>
                <a:ext uri="{FF2B5EF4-FFF2-40B4-BE49-F238E27FC236}">
                  <a16:creationId xmlns:a16="http://schemas.microsoft.com/office/drawing/2014/main" id="{916CFE5B-3405-43DB-8C30-699019D1BD67}"/>
                </a:ext>
              </a:extLst>
            </p:cNvPr>
            <p:cNvSpPr/>
            <p:nvPr/>
          </p:nvSpPr>
          <p:spPr>
            <a:xfrm rot="8716295">
              <a:off x="-92201" y="2622488"/>
              <a:ext cx="271732" cy="238722"/>
            </a:xfrm>
            <a:custGeom>
              <a:avLst/>
              <a:gdLst>
                <a:gd name="connsiteX0" fmla="*/ 106257 w 271732"/>
                <a:gd name="connsiteY0" fmla="*/ 238722 h 238722"/>
                <a:gd name="connsiteX1" fmla="*/ 72418 w 271732"/>
                <a:gd name="connsiteY1" fmla="*/ 175766 h 238722"/>
                <a:gd name="connsiteX2" fmla="*/ 105610 w 271732"/>
                <a:gd name="connsiteY2" fmla="*/ 83734 h 238722"/>
                <a:gd name="connsiteX3" fmla="*/ 0 w 271732"/>
                <a:gd name="connsiteY3" fmla="*/ 83734 h 238722"/>
                <a:gd name="connsiteX4" fmla="*/ 0 w 271732"/>
                <a:gd name="connsiteY4" fmla="*/ 0 h 238722"/>
                <a:gd name="connsiteX5" fmla="*/ 271732 w 271732"/>
                <a:gd name="connsiteY5" fmla="*/ 0 h 238722"/>
                <a:gd name="connsiteX6" fmla="*/ 213690 w 271732"/>
                <a:gd name="connsiteY6" fmla="*/ 83734 h 238722"/>
                <a:gd name="connsiteX7" fmla="*/ 210465 w 271732"/>
                <a:gd name="connsiteY7" fmla="*/ 83734 h 238722"/>
                <a:gd name="connsiteX8" fmla="*/ 207289 w 271732"/>
                <a:gd name="connsiteY8" fmla="*/ 92969 h 238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1732" h="238722">
                  <a:moveTo>
                    <a:pt x="106257" y="238722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71732" y="0"/>
                  </a:lnTo>
                  <a:lnTo>
                    <a:pt x="213690" y="83734"/>
                  </a:lnTo>
                  <a:lnTo>
                    <a:pt x="210465" y="83734"/>
                  </a:lnTo>
                  <a:lnTo>
                    <a:pt x="207289" y="929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9" name="Forme libre : forme 148">
              <a:extLst>
                <a:ext uri="{FF2B5EF4-FFF2-40B4-BE49-F238E27FC236}">
                  <a16:creationId xmlns:a16="http://schemas.microsoft.com/office/drawing/2014/main" id="{D3C330C6-8ED8-4019-9D23-534F7E32B7C3}"/>
                </a:ext>
              </a:extLst>
            </p:cNvPr>
            <p:cNvSpPr/>
            <p:nvPr/>
          </p:nvSpPr>
          <p:spPr>
            <a:xfrm rot="8716295">
              <a:off x="190192" y="2958318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0" name="Forme libre : forme 149">
              <a:extLst>
                <a:ext uri="{FF2B5EF4-FFF2-40B4-BE49-F238E27FC236}">
                  <a16:creationId xmlns:a16="http://schemas.microsoft.com/office/drawing/2014/main" id="{7556479F-3BE7-4641-97C7-A31999C980CD}"/>
                </a:ext>
              </a:extLst>
            </p:cNvPr>
            <p:cNvSpPr/>
            <p:nvPr/>
          </p:nvSpPr>
          <p:spPr>
            <a:xfrm rot="7484129">
              <a:off x="349009" y="3247936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1" name="Forme libre : forme 150">
              <a:extLst>
                <a:ext uri="{FF2B5EF4-FFF2-40B4-BE49-F238E27FC236}">
                  <a16:creationId xmlns:a16="http://schemas.microsoft.com/office/drawing/2014/main" id="{C9126667-6906-4254-B833-2535AC138F99}"/>
                </a:ext>
              </a:extLst>
            </p:cNvPr>
            <p:cNvSpPr/>
            <p:nvPr/>
          </p:nvSpPr>
          <p:spPr>
            <a:xfrm rot="13089394">
              <a:off x="507659" y="3197284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2" name="Forme libre : forme 151">
              <a:extLst>
                <a:ext uri="{FF2B5EF4-FFF2-40B4-BE49-F238E27FC236}">
                  <a16:creationId xmlns:a16="http://schemas.microsoft.com/office/drawing/2014/main" id="{EB63A53B-C558-41C6-87D3-6E3EEB414D38}"/>
                </a:ext>
              </a:extLst>
            </p:cNvPr>
            <p:cNvSpPr/>
            <p:nvPr/>
          </p:nvSpPr>
          <p:spPr>
            <a:xfrm rot="8716295">
              <a:off x="788550" y="2907166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3" name="Forme libre : forme 152">
              <a:extLst>
                <a:ext uri="{FF2B5EF4-FFF2-40B4-BE49-F238E27FC236}">
                  <a16:creationId xmlns:a16="http://schemas.microsoft.com/office/drawing/2014/main" id="{EBE3A45E-76C2-41F7-84F5-A2A181D50E91}"/>
                </a:ext>
              </a:extLst>
            </p:cNvPr>
            <p:cNvSpPr/>
            <p:nvPr/>
          </p:nvSpPr>
          <p:spPr>
            <a:xfrm rot="8716295">
              <a:off x="710141" y="275037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4" name="Forme libre : forme 153">
              <a:extLst>
                <a:ext uri="{FF2B5EF4-FFF2-40B4-BE49-F238E27FC236}">
                  <a16:creationId xmlns:a16="http://schemas.microsoft.com/office/drawing/2014/main" id="{871F770F-4D72-4427-86D1-F18744993E05}"/>
                </a:ext>
              </a:extLst>
            </p:cNvPr>
            <p:cNvSpPr/>
            <p:nvPr/>
          </p:nvSpPr>
          <p:spPr>
            <a:xfrm rot="8716295">
              <a:off x="341977" y="279611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5" name="Forme libre : forme 154">
              <a:extLst>
                <a:ext uri="{FF2B5EF4-FFF2-40B4-BE49-F238E27FC236}">
                  <a16:creationId xmlns:a16="http://schemas.microsoft.com/office/drawing/2014/main" id="{CBA9ADD5-0B79-42BB-A803-7DD5C3582812}"/>
                </a:ext>
              </a:extLst>
            </p:cNvPr>
            <p:cNvSpPr/>
            <p:nvPr/>
          </p:nvSpPr>
          <p:spPr>
            <a:xfrm rot="8716295">
              <a:off x="610559" y="2555095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6" name="Forme libre : forme 155">
              <a:extLst>
                <a:ext uri="{FF2B5EF4-FFF2-40B4-BE49-F238E27FC236}">
                  <a16:creationId xmlns:a16="http://schemas.microsoft.com/office/drawing/2014/main" id="{7B5F712C-46C4-40C0-B35F-823DEC5DC95D}"/>
                </a:ext>
              </a:extLst>
            </p:cNvPr>
            <p:cNvSpPr/>
            <p:nvPr/>
          </p:nvSpPr>
          <p:spPr>
            <a:xfrm rot="8716295">
              <a:off x="-24305" y="2374348"/>
              <a:ext cx="58950" cy="66898"/>
            </a:xfrm>
            <a:custGeom>
              <a:avLst/>
              <a:gdLst>
                <a:gd name="connsiteX0" fmla="*/ 0 w 58950"/>
                <a:gd name="connsiteY0" fmla="*/ 66898 h 66898"/>
                <a:gd name="connsiteX1" fmla="*/ 0 w 58950"/>
                <a:gd name="connsiteY1" fmla="*/ 0 h 66898"/>
                <a:gd name="connsiteX2" fmla="*/ 58950 w 58950"/>
                <a:gd name="connsiteY2" fmla="*/ 0 h 66898"/>
                <a:gd name="connsiteX3" fmla="*/ 12579 w 58950"/>
                <a:gd name="connsiteY3" fmla="*/ 66898 h 6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950" h="66898">
                  <a:moveTo>
                    <a:pt x="0" y="66898"/>
                  </a:moveTo>
                  <a:lnTo>
                    <a:pt x="0" y="0"/>
                  </a:lnTo>
                  <a:lnTo>
                    <a:pt x="58950" y="0"/>
                  </a:lnTo>
                  <a:lnTo>
                    <a:pt x="12579" y="668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7" name="Forme libre : forme 156">
              <a:extLst>
                <a:ext uri="{FF2B5EF4-FFF2-40B4-BE49-F238E27FC236}">
                  <a16:creationId xmlns:a16="http://schemas.microsoft.com/office/drawing/2014/main" id="{7F46186A-3310-4CD5-864B-686D76F3E8C2}"/>
                </a:ext>
              </a:extLst>
            </p:cNvPr>
            <p:cNvSpPr/>
            <p:nvPr/>
          </p:nvSpPr>
          <p:spPr>
            <a:xfrm rot="8716295">
              <a:off x="-39593" y="1952072"/>
              <a:ext cx="198050" cy="140164"/>
            </a:xfrm>
            <a:custGeom>
              <a:avLst/>
              <a:gdLst>
                <a:gd name="connsiteX0" fmla="*/ 0 w 198050"/>
                <a:gd name="connsiteY0" fmla="*/ 75863 h 140164"/>
                <a:gd name="connsiteX1" fmla="*/ 0 w 198050"/>
                <a:gd name="connsiteY1" fmla="*/ 0 h 140164"/>
                <a:gd name="connsiteX2" fmla="*/ 128968 w 198050"/>
                <a:gd name="connsiteY2" fmla="*/ 0 h 140164"/>
                <a:gd name="connsiteX3" fmla="*/ 193021 w 198050"/>
                <a:gd name="connsiteY3" fmla="*/ 18535 h 140164"/>
                <a:gd name="connsiteX4" fmla="*/ 198050 w 198050"/>
                <a:gd name="connsiteY4" fmla="*/ 31548 h 140164"/>
                <a:gd name="connsiteX5" fmla="*/ 122761 w 198050"/>
                <a:gd name="connsiteY5" fmla="*/ 140164 h 140164"/>
                <a:gd name="connsiteX6" fmla="*/ 122761 w 198050"/>
                <a:gd name="connsiteY6" fmla="*/ 105519 h 140164"/>
                <a:gd name="connsiteX7" fmla="*/ 122761 w 198050"/>
                <a:gd name="connsiteY7" fmla="*/ 99312 h 140164"/>
                <a:gd name="connsiteX8" fmla="*/ 91726 w 198050"/>
                <a:gd name="connsiteY8" fmla="*/ 75863 h 140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8050" h="140164">
                  <a:moveTo>
                    <a:pt x="0" y="75863"/>
                  </a:moveTo>
                  <a:lnTo>
                    <a:pt x="0" y="0"/>
                  </a:lnTo>
                  <a:lnTo>
                    <a:pt x="128968" y="0"/>
                  </a:lnTo>
                  <a:cubicBezTo>
                    <a:pt x="156900" y="0"/>
                    <a:pt x="178452" y="6034"/>
                    <a:pt x="193021" y="18535"/>
                  </a:cubicBezTo>
                  <a:lnTo>
                    <a:pt x="198050" y="31548"/>
                  </a:lnTo>
                  <a:lnTo>
                    <a:pt x="122761" y="140164"/>
                  </a:lnTo>
                  <a:lnTo>
                    <a:pt x="122761" y="105519"/>
                  </a:lnTo>
                  <a:cubicBezTo>
                    <a:pt x="122761" y="103450"/>
                    <a:pt x="122761" y="101381"/>
                    <a:pt x="122761" y="99312"/>
                  </a:cubicBezTo>
                  <a:cubicBezTo>
                    <a:pt x="120692" y="84139"/>
                    <a:pt x="106899" y="73794"/>
                    <a:pt x="91726" y="758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8" name="Forme libre : forme 157">
              <a:extLst>
                <a:ext uri="{FF2B5EF4-FFF2-40B4-BE49-F238E27FC236}">
                  <a16:creationId xmlns:a16="http://schemas.microsoft.com/office/drawing/2014/main" id="{A7D40018-F0E5-4DC0-8F24-CC5DD724ED71}"/>
                </a:ext>
              </a:extLst>
            </p:cNvPr>
            <p:cNvSpPr/>
            <p:nvPr/>
          </p:nvSpPr>
          <p:spPr>
            <a:xfrm rot="8716295">
              <a:off x="21100" y="1808096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9" name="Forme libre : forme 158">
              <a:extLst>
                <a:ext uri="{FF2B5EF4-FFF2-40B4-BE49-F238E27FC236}">
                  <a16:creationId xmlns:a16="http://schemas.microsoft.com/office/drawing/2014/main" id="{DE6A0D39-0B43-4DC3-9F56-137223FC9AF7}"/>
                </a:ext>
              </a:extLst>
            </p:cNvPr>
            <p:cNvSpPr/>
            <p:nvPr/>
          </p:nvSpPr>
          <p:spPr>
            <a:xfrm rot="8716295">
              <a:off x="-24330" y="2197782"/>
              <a:ext cx="102508" cy="53362"/>
            </a:xfrm>
            <a:custGeom>
              <a:avLst/>
              <a:gdLst>
                <a:gd name="connsiteX0" fmla="*/ 0 w 102508"/>
                <a:gd name="connsiteY0" fmla="*/ 23637 h 53362"/>
                <a:gd name="connsiteX1" fmla="*/ 0 w 102508"/>
                <a:gd name="connsiteY1" fmla="*/ 2258 h 53362"/>
                <a:gd name="connsiteX2" fmla="*/ 102508 w 102508"/>
                <a:gd name="connsiteY2" fmla="*/ 0 h 53362"/>
                <a:gd name="connsiteX3" fmla="*/ 65519 w 102508"/>
                <a:gd name="connsiteY3" fmla="*/ 53362 h 53362"/>
                <a:gd name="connsiteX4" fmla="*/ 65519 w 102508"/>
                <a:gd name="connsiteY4" fmla="*/ 23637 h 5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508" h="53362">
                  <a:moveTo>
                    <a:pt x="0" y="23637"/>
                  </a:moveTo>
                  <a:lnTo>
                    <a:pt x="0" y="2258"/>
                  </a:lnTo>
                  <a:lnTo>
                    <a:pt x="102508" y="0"/>
                  </a:lnTo>
                  <a:lnTo>
                    <a:pt x="65519" y="53362"/>
                  </a:lnTo>
                  <a:lnTo>
                    <a:pt x="65519" y="2363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0" name="Forme libre : forme 159">
              <a:extLst>
                <a:ext uri="{FF2B5EF4-FFF2-40B4-BE49-F238E27FC236}">
                  <a16:creationId xmlns:a16="http://schemas.microsoft.com/office/drawing/2014/main" id="{53869A83-F18C-41C3-A8D6-8AA2F169F6A9}"/>
                </a:ext>
              </a:extLst>
            </p:cNvPr>
            <p:cNvSpPr/>
            <p:nvPr/>
          </p:nvSpPr>
          <p:spPr>
            <a:xfrm rot="7484129">
              <a:off x="11236" y="224945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1" name="Forme libre : forme 160">
              <a:extLst>
                <a:ext uri="{FF2B5EF4-FFF2-40B4-BE49-F238E27FC236}">
                  <a16:creationId xmlns:a16="http://schemas.microsoft.com/office/drawing/2014/main" id="{47FF6EA9-61FE-4C53-86BC-F03ADA0CF577}"/>
                </a:ext>
              </a:extLst>
            </p:cNvPr>
            <p:cNvSpPr/>
            <p:nvPr/>
          </p:nvSpPr>
          <p:spPr>
            <a:xfrm rot="13089394">
              <a:off x="169886" y="2198801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2" name="Forme libre : forme 161">
              <a:extLst>
                <a:ext uri="{FF2B5EF4-FFF2-40B4-BE49-F238E27FC236}">
                  <a16:creationId xmlns:a16="http://schemas.microsoft.com/office/drawing/2014/main" id="{6ED294D2-DD3A-4323-ADB4-4D2A485D31FA}"/>
                </a:ext>
              </a:extLst>
            </p:cNvPr>
            <p:cNvSpPr/>
            <p:nvPr/>
          </p:nvSpPr>
          <p:spPr>
            <a:xfrm rot="8716295">
              <a:off x="450777" y="1908683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3" name="Forme libre : forme 162">
              <a:extLst>
                <a:ext uri="{FF2B5EF4-FFF2-40B4-BE49-F238E27FC236}">
                  <a16:creationId xmlns:a16="http://schemas.microsoft.com/office/drawing/2014/main" id="{4D7140F9-06B5-4BA8-BEAB-23BD75B9DD53}"/>
                </a:ext>
              </a:extLst>
            </p:cNvPr>
            <p:cNvSpPr/>
            <p:nvPr/>
          </p:nvSpPr>
          <p:spPr>
            <a:xfrm rot="8716295">
              <a:off x="372368" y="1751891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4" name="Forme libre : forme 163">
              <a:extLst>
                <a:ext uri="{FF2B5EF4-FFF2-40B4-BE49-F238E27FC236}">
                  <a16:creationId xmlns:a16="http://schemas.microsoft.com/office/drawing/2014/main" id="{068812F1-37A6-4A0A-A392-F4B3E8D2782D}"/>
                </a:ext>
              </a:extLst>
            </p:cNvPr>
            <p:cNvSpPr/>
            <p:nvPr/>
          </p:nvSpPr>
          <p:spPr>
            <a:xfrm rot="8716295">
              <a:off x="4204" y="179763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5" name="Forme libre : forme 164">
              <a:extLst>
                <a:ext uri="{FF2B5EF4-FFF2-40B4-BE49-F238E27FC236}">
                  <a16:creationId xmlns:a16="http://schemas.microsoft.com/office/drawing/2014/main" id="{B62F2753-FDB5-4835-8322-FC678E060DC4}"/>
                </a:ext>
              </a:extLst>
            </p:cNvPr>
            <p:cNvSpPr/>
            <p:nvPr/>
          </p:nvSpPr>
          <p:spPr>
            <a:xfrm rot="8716295">
              <a:off x="272786" y="155661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6" name="Forme libre : forme 165">
              <a:extLst>
                <a:ext uri="{FF2B5EF4-FFF2-40B4-BE49-F238E27FC236}">
                  <a16:creationId xmlns:a16="http://schemas.microsoft.com/office/drawing/2014/main" id="{16BB8F81-6062-4A6D-AD9A-0C3CC09E65D3}"/>
                </a:ext>
              </a:extLst>
            </p:cNvPr>
            <p:cNvSpPr/>
            <p:nvPr/>
          </p:nvSpPr>
          <p:spPr>
            <a:xfrm rot="8716295">
              <a:off x="-35149" y="938156"/>
              <a:ext cx="158623" cy="159016"/>
            </a:xfrm>
            <a:custGeom>
              <a:avLst/>
              <a:gdLst>
                <a:gd name="connsiteX0" fmla="*/ 77932 w 158623"/>
                <a:gd name="connsiteY0" fmla="*/ 159016 h 159016"/>
                <a:gd name="connsiteX1" fmla="*/ 77932 w 158623"/>
                <a:gd name="connsiteY1" fmla="*/ 66898 h 159016"/>
                <a:gd name="connsiteX2" fmla="*/ 0 w 158623"/>
                <a:gd name="connsiteY2" fmla="*/ 66898 h 159016"/>
                <a:gd name="connsiteX3" fmla="*/ 0 w 158623"/>
                <a:gd name="connsiteY3" fmla="*/ 0 h 159016"/>
                <a:gd name="connsiteX4" fmla="*/ 158623 w 158623"/>
                <a:gd name="connsiteY4" fmla="*/ 0 h 159016"/>
                <a:gd name="connsiteX5" fmla="*/ 158623 w 158623"/>
                <a:gd name="connsiteY5" fmla="*/ 42606 h 15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8623" h="159016">
                  <a:moveTo>
                    <a:pt x="77932" y="159016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4260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7" name="Forme libre : forme 166">
              <a:extLst>
                <a:ext uri="{FF2B5EF4-FFF2-40B4-BE49-F238E27FC236}">
                  <a16:creationId xmlns:a16="http://schemas.microsoft.com/office/drawing/2014/main" id="{102294D5-AEAF-4B56-AF06-6647D3303B85}"/>
                </a:ext>
              </a:extLst>
            </p:cNvPr>
            <p:cNvSpPr/>
            <p:nvPr/>
          </p:nvSpPr>
          <p:spPr>
            <a:xfrm rot="7484129">
              <a:off x="-32979" y="1345537"/>
              <a:ext cx="65961" cy="45734"/>
            </a:xfrm>
            <a:custGeom>
              <a:avLst/>
              <a:gdLst>
                <a:gd name="connsiteX0" fmla="*/ 0 w 65961"/>
                <a:gd name="connsiteY0" fmla="*/ 45734 h 45734"/>
                <a:gd name="connsiteX1" fmla="*/ 0 w 65961"/>
                <a:gd name="connsiteY1" fmla="*/ 0 h 45734"/>
                <a:gd name="connsiteX2" fmla="*/ 65961 w 65961"/>
                <a:gd name="connsiteY2" fmla="*/ 0 h 45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5961" h="45734">
                  <a:moveTo>
                    <a:pt x="0" y="45734"/>
                  </a:moveTo>
                  <a:lnTo>
                    <a:pt x="0" y="0"/>
                  </a:lnTo>
                  <a:lnTo>
                    <a:pt x="6596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8" name="Forme libre : forme 167">
              <a:extLst>
                <a:ext uri="{FF2B5EF4-FFF2-40B4-BE49-F238E27FC236}">
                  <a16:creationId xmlns:a16="http://schemas.microsoft.com/office/drawing/2014/main" id="{6A1A2358-10CF-4FD5-A4AA-FC64164263AF}"/>
                </a:ext>
              </a:extLst>
            </p:cNvPr>
            <p:cNvSpPr/>
            <p:nvPr/>
          </p:nvSpPr>
          <p:spPr>
            <a:xfrm rot="13089394">
              <a:off x="-134707" y="1200752"/>
              <a:ext cx="386820" cy="481345"/>
            </a:xfrm>
            <a:custGeom>
              <a:avLst/>
              <a:gdLst>
                <a:gd name="connsiteX0" fmla="*/ 386820 w 386820"/>
                <a:gd name="connsiteY0" fmla="*/ 391818 h 481345"/>
                <a:gd name="connsiteX1" fmla="*/ 342166 w 386820"/>
                <a:gd name="connsiteY1" fmla="*/ 422376 h 481345"/>
                <a:gd name="connsiteX2" fmla="*/ 138636 w 386820"/>
                <a:gd name="connsiteY2" fmla="*/ 481098 h 481345"/>
                <a:gd name="connsiteX3" fmla="*/ 35911 w 386820"/>
                <a:gd name="connsiteY3" fmla="*/ 439340 h 481345"/>
                <a:gd name="connsiteX4" fmla="*/ 0 w 386820"/>
                <a:gd name="connsiteY4" fmla="*/ 295693 h 481345"/>
                <a:gd name="connsiteX5" fmla="*/ 0 w 386820"/>
                <a:gd name="connsiteY5" fmla="*/ 40970 h 481345"/>
                <a:gd name="connsiteX6" fmla="*/ 78970 w 386820"/>
                <a:gd name="connsiteY6" fmla="*/ 0 h 481345"/>
                <a:gd name="connsiteX7" fmla="*/ 111492 w 386820"/>
                <a:gd name="connsiteY7" fmla="*/ 41392 h 481345"/>
                <a:gd name="connsiteX8" fmla="*/ 112747 w 386820"/>
                <a:gd name="connsiteY8" fmla="*/ 216353 h 481345"/>
                <a:gd name="connsiteX9" fmla="*/ 132789 w 386820"/>
                <a:gd name="connsiteY9" fmla="*/ 354990 h 481345"/>
                <a:gd name="connsiteX10" fmla="*/ 233008 w 386820"/>
                <a:gd name="connsiteY10" fmla="*/ 410110 h 481345"/>
                <a:gd name="connsiteX11" fmla="*/ 308173 w 386820"/>
                <a:gd name="connsiteY11" fmla="*/ 396747 h 481345"/>
                <a:gd name="connsiteX12" fmla="*/ 370717 w 386820"/>
                <a:gd name="connsiteY12" fmla="*/ 371323 h 481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6820" h="481345">
                  <a:moveTo>
                    <a:pt x="386820" y="391818"/>
                  </a:moveTo>
                  <a:lnTo>
                    <a:pt x="342166" y="422376"/>
                  </a:lnTo>
                  <a:cubicBezTo>
                    <a:pt x="268920" y="462151"/>
                    <a:pt x="190624" y="477966"/>
                    <a:pt x="138636" y="481098"/>
                  </a:cubicBezTo>
                  <a:cubicBezTo>
                    <a:pt x="100219" y="483604"/>
                    <a:pt x="62637" y="466901"/>
                    <a:pt x="35911" y="439340"/>
                  </a:cubicBezTo>
                  <a:cubicBezTo>
                    <a:pt x="7516" y="411780"/>
                    <a:pt x="0" y="364176"/>
                    <a:pt x="0" y="295693"/>
                  </a:cubicBezTo>
                  <a:lnTo>
                    <a:pt x="0" y="40970"/>
                  </a:lnTo>
                  <a:lnTo>
                    <a:pt x="78970" y="0"/>
                  </a:lnTo>
                  <a:lnTo>
                    <a:pt x="111492" y="41392"/>
                  </a:lnTo>
                  <a:lnTo>
                    <a:pt x="112747" y="216353"/>
                  </a:lnTo>
                  <a:cubicBezTo>
                    <a:pt x="110241" y="263122"/>
                    <a:pt x="117757" y="310726"/>
                    <a:pt x="132789" y="354990"/>
                  </a:cubicBezTo>
                  <a:cubicBezTo>
                    <a:pt x="146153" y="391736"/>
                    <a:pt x="180394" y="410110"/>
                    <a:pt x="233008" y="410110"/>
                  </a:cubicBezTo>
                  <a:cubicBezTo>
                    <a:pt x="258899" y="409274"/>
                    <a:pt x="283953" y="404263"/>
                    <a:pt x="308173" y="396747"/>
                  </a:cubicBezTo>
                  <a:lnTo>
                    <a:pt x="370717" y="371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9" name="Forme libre : forme 168">
              <a:extLst>
                <a:ext uri="{FF2B5EF4-FFF2-40B4-BE49-F238E27FC236}">
                  <a16:creationId xmlns:a16="http://schemas.microsoft.com/office/drawing/2014/main" id="{EA80D635-6F53-4857-9F50-4111495DC12C}"/>
                </a:ext>
              </a:extLst>
            </p:cNvPr>
            <p:cNvSpPr/>
            <p:nvPr/>
          </p:nvSpPr>
          <p:spPr>
            <a:xfrm rot="8716295">
              <a:off x="119403" y="906629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0" name="Forme libre : forme 169">
              <a:extLst>
                <a:ext uri="{FF2B5EF4-FFF2-40B4-BE49-F238E27FC236}">
                  <a16:creationId xmlns:a16="http://schemas.microsoft.com/office/drawing/2014/main" id="{40670C43-A49A-4C3B-A39B-628E23BE1E4B}"/>
                </a:ext>
              </a:extLst>
            </p:cNvPr>
            <p:cNvSpPr/>
            <p:nvPr/>
          </p:nvSpPr>
          <p:spPr>
            <a:xfrm rot="8716295">
              <a:off x="40994" y="74983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1" name="Forme libre : forme 170">
              <a:extLst>
                <a:ext uri="{FF2B5EF4-FFF2-40B4-BE49-F238E27FC236}">
                  <a16:creationId xmlns:a16="http://schemas.microsoft.com/office/drawing/2014/main" id="{A1E0B69E-7457-4A6E-B80C-0CDACC682BEC}"/>
                </a:ext>
              </a:extLst>
            </p:cNvPr>
            <p:cNvSpPr/>
            <p:nvPr/>
          </p:nvSpPr>
          <p:spPr>
            <a:xfrm rot="8716295">
              <a:off x="-44934" y="551941"/>
              <a:ext cx="152592" cy="165412"/>
            </a:xfrm>
            <a:custGeom>
              <a:avLst/>
              <a:gdLst>
                <a:gd name="connsiteX0" fmla="*/ 26453 w 152592"/>
                <a:gd name="connsiteY0" fmla="*/ 153143 h 165412"/>
                <a:gd name="connsiteX1" fmla="*/ 0 w 152592"/>
                <a:gd name="connsiteY1" fmla="*/ 90494 h 165412"/>
                <a:gd name="connsiteX2" fmla="*/ 0 w 152592"/>
                <a:gd name="connsiteY2" fmla="*/ 89101 h 165412"/>
                <a:gd name="connsiteX3" fmla="*/ 26453 w 152592"/>
                <a:gd name="connsiteY3" fmla="*/ 26453 h 165412"/>
                <a:gd name="connsiteX4" fmla="*/ 89101 w 152592"/>
                <a:gd name="connsiteY4" fmla="*/ 0 h 165412"/>
                <a:gd name="connsiteX5" fmla="*/ 151752 w 152592"/>
                <a:gd name="connsiteY5" fmla="*/ 26453 h 165412"/>
                <a:gd name="connsiteX6" fmla="*/ 152592 w 152592"/>
                <a:gd name="connsiteY6" fmla="*/ 27688 h 165412"/>
                <a:gd name="connsiteX7" fmla="*/ 57126 w 152592"/>
                <a:gd name="connsiteY7" fmla="*/ 165412 h 165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592" h="165412">
                  <a:moveTo>
                    <a:pt x="26453" y="153143"/>
                  </a:moveTo>
                  <a:cubicBezTo>
                    <a:pt x="9746" y="136436"/>
                    <a:pt x="0" y="114161"/>
                    <a:pt x="0" y="90494"/>
                  </a:cubicBezTo>
                  <a:lnTo>
                    <a:pt x="0" y="89101"/>
                  </a:lnTo>
                  <a:cubicBezTo>
                    <a:pt x="0" y="65434"/>
                    <a:pt x="9746" y="43159"/>
                    <a:pt x="26453" y="26453"/>
                  </a:cubicBezTo>
                  <a:cubicBezTo>
                    <a:pt x="43159" y="9746"/>
                    <a:pt x="65435" y="0"/>
                    <a:pt x="89101" y="0"/>
                  </a:cubicBezTo>
                  <a:cubicBezTo>
                    <a:pt x="112770" y="0"/>
                    <a:pt x="135045" y="9746"/>
                    <a:pt x="151752" y="26453"/>
                  </a:cubicBezTo>
                  <a:lnTo>
                    <a:pt x="152592" y="27688"/>
                  </a:lnTo>
                  <a:lnTo>
                    <a:pt x="57126" y="1654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2" name="Forme libre : forme 171">
              <a:extLst>
                <a:ext uri="{FF2B5EF4-FFF2-40B4-BE49-F238E27FC236}">
                  <a16:creationId xmlns:a16="http://schemas.microsoft.com/office/drawing/2014/main" id="{8305DDDC-A62B-4F5B-99D8-968A303BB880}"/>
                </a:ext>
              </a:extLst>
            </p:cNvPr>
            <p:cNvSpPr/>
            <p:nvPr/>
          </p:nvSpPr>
          <p:spPr>
            <a:xfrm rot="8716295">
              <a:off x="-69806" y="4587027"/>
              <a:ext cx="183810" cy="187594"/>
            </a:xfrm>
            <a:custGeom>
              <a:avLst/>
              <a:gdLst>
                <a:gd name="connsiteX0" fmla="*/ 10574 w 183810"/>
                <a:gd name="connsiteY0" fmla="*/ 187594 h 187594"/>
                <a:gd name="connsiteX1" fmla="*/ 0 w 183810"/>
                <a:gd name="connsiteY1" fmla="*/ 172952 h 187594"/>
                <a:gd name="connsiteX2" fmla="*/ 183810 w 183810"/>
                <a:gd name="connsiteY2" fmla="*/ 0 h 187594"/>
                <a:gd name="connsiteX3" fmla="*/ 72284 w 183810"/>
                <a:gd name="connsiteY3" fmla="*/ 160894 h 187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810" h="187594">
                  <a:moveTo>
                    <a:pt x="10574" y="187594"/>
                  </a:moveTo>
                  <a:lnTo>
                    <a:pt x="0" y="172952"/>
                  </a:lnTo>
                  <a:lnTo>
                    <a:pt x="183810" y="0"/>
                  </a:lnTo>
                  <a:lnTo>
                    <a:pt x="72284" y="1608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3" name="Forme libre : forme 172">
              <a:extLst>
                <a:ext uri="{FF2B5EF4-FFF2-40B4-BE49-F238E27FC236}">
                  <a16:creationId xmlns:a16="http://schemas.microsoft.com/office/drawing/2014/main" id="{1A0E6ECB-8294-4BA3-8422-8334524ECB58}"/>
                </a:ext>
              </a:extLst>
            </p:cNvPr>
            <p:cNvSpPr/>
            <p:nvPr/>
          </p:nvSpPr>
          <p:spPr>
            <a:xfrm rot="8716295">
              <a:off x="4450621" y="307495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4" name="Forme libre : forme 173">
              <a:extLst>
                <a:ext uri="{FF2B5EF4-FFF2-40B4-BE49-F238E27FC236}">
                  <a16:creationId xmlns:a16="http://schemas.microsoft.com/office/drawing/2014/main" id="{01833036-FD07-46D7-82C2-88C1FC05C85F}"/>
                </a:ext>
              </a:extLst>
            </p:cNvPr>
            <p:cNvSpPr/>
            <p:nvPr/>
          </p:nvSpPr>
          <p:spPr>
            <a:xfrm rot="8716295">
              <a:off x="4585920" y="3119209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5" name="Forme libre : forme 174">
              <a:extLst>
                <a:ext uri="{FF2B5EF4-FFF2-40B4-BE49-F238E27FC236}">
                  <a16:creationId xmlns:a16="http://schemas.microsoft.com/office/drawing/2014/main" id="{B278615F-BCB7-43C6-82A0-33FD907351F5}"/>
                </a:ext>
              </a:extLst>
            </p:cNvPr>
            <p:cNvSpPr/>
            <p:nvPr/>
          </p:nvSpPr>
          <p:spPr>
            <a:xfrm rot="8716295">
              <a:off x="4518038" y="2988621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6" name="Forme libre : forme 175">
              <a:extLst>
                <a:ext uri="{FF2B5EF4-FFF2-40B4-BE49-F238E27FC236}">
                  <a16:creationId xmlns:a16="http://schemas.microsoft.com/office/drawing/2014/main" id="{A4CB9629-4E70-40F0-ADB7-98AF33E8FA82}"/>
                </a:ext>
              </a:extLst>
            </p:cNvPr>
            <p:cNvSpPr/>
            <p:nvPr/>
          </p:nvSpPr>
          <p:spPr>
            <a:xfrm rot="8716295">
              <a:off x="4280750" y="3208965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7" name="Forme libre : forme 176">
              <a:extLst>
                <a:ext uri="{FF2B5EF4-FFF2-40B4-BE49-F238E27FC236}">
                  <a16:creationId xmlns:a16="http://schemas.microsoft.com/office/drawing/2014/main" id="{DCB1DF66-902F-43AF-B912-90C47BAC4CD5}"/>
                </a:ext>
              </a:extLst>
            </p:cNvPr>
            <p:cNvSpPr/>
            <p:nvPr/>
          </p:nvSpPr>
          <p:spPr>
            <a:xfrm rot="8716295">
              <a:off x="4091704" y="289313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8" name="Forme libre : forme 177">
              <a:extLst>
                <a:ext uri="{FF2B5EF4-FFF2-40B4-BE49-F238E27FC236}">
                  <a16:creationId xmlns:a16="http://schemas.microsoft.com/office/drawing/2014/main" id="{206347F6-E053-48F4-AFC6-9C0856F4BFCC}"/>
                </a:ext>
              </a:extLst>
            </p:cNvPr>
            <p:cNvSpPr/>
            <p:nvPr/>
          </p:nvSpPr>
          <p:spPr>
            <a:xfrm rot="8716295">
              <a:off x="4073463" y="2683080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9" name="Forme libre : forme 178">
              <a:extLst>
                <a:ext uri="{FF2B5EF4-FFF2-40B4-BE49-F238E27FC236}">
                  <a16:creationId xmlns:a16="http://schemas.microsoft.com/office/drawing/2014/main" id="{8D2A26C7-C64C-4331-AB8E-BC64F42E6746}"/>
                </a:ext>
              </a:extLst>
            </p:cNvPr>
            <p:cNvSpPr/>
            <p:nvPr/>
          </p:nvSpPr>
          <p:spPr>
            <a:xfrm rot="8716295">
              <a:off x="4417239" y="327094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0" name="Forme libre : forme 179">
              <a:extLst>
                <a:ext uri="{FF2B5EF4-FFF2-40B4-BE49-F238E27FC236}">
                  <a16:creationId xmlns:a16="http://schemas.microsoft.com/office/drawing/2014/main" id="{71D50DC1-7D15-42D6-980A-E78799DC451B}"/>
                </a:ext>
              </a:extLst>
            </p:cNvPr>
            <p:cNvSpPr/>
            <p:nvPr/>
          </p:nvSpPr>
          <p:spPr>
            <a:xfrm rot="8716295">
              <a:off x="4888185" y="2696334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" name="Forme libre : forme 180">
              <a:extLst>
                <a:ext uri="{FF2B5EF4-FFF2-40B4-BE49-F238E27FC236}">
                  <a16:creationId xmlns:a16="http://schemas.microsoft.com/office/drawing/2014/main" id="{EB82C4E3-BE8E-4F27-B36D-E48F91D55981}"/>
                </a:ext>
              </a:extLst>
            </p:cNvPr>
            <p:cNvSpPr/>
            <p:nvPr/>
          </p:nvSpPr>
          <p:spPr>
            <a:xfrm rot="8716295">
              <a:off x="5023484" y="2740593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" name="Forme libre : forme 181">
              <a:extLst>
                <a:ext uri="{FF2B5EF4-FFF2-40B4-BE49-F238E27FC236}">
                  <a16:creationId xmlns:a16="http://schemas.microsoft.com/office/drawing/2014/main" id="{8CF0FAB3-0C6A-450B-9525-29BB7A59C040}"/>
                </a:ext>
              </a:extLst>
            </p:cNvPr>
            <p:cNvSpPr/>
            <p:nvPr/>
          </p:nvSpPr>
          <p:spPr>
            <a:xfrm rot="8716295">
              <a:off x="4718314" y="283034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" name="Forme libre : forme 182">
              <a:extLst>
                <a:ext uri="{FF2B5EF4-FFF2-40B4-BE49-F238E27FC236}">
                  <a16:creationId xmlns:a16="http://schemas.microsoft.com/office/drawing/2014/main" id="{10FB87B4-C488-45C6-AE08-E0AAB6025014}"/>
                </a:ext>
              </a:extLst>
            </p:cNvPr>
            <p:cNvSpPr/>
            <p:nvPr/>
          </p:nvSpPr>
          <p:spPr>
            <a:xfrm rot="8716295">
              <a:off x="4529270" y="251451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" name="Forme libre : forme 183">
              <a:extLst>
                <a:ext uri="{FF2B5EF4-FFF2-40B4-BE49-F238E27FC236}">
                  <a16:creationId xmlns:a16="http://schemas.microsoft.com/office/drawing/2014/main" id="{780E062E-8239-40E1-A336-E5540670A1BD}"/>
                </a:ext>
              </a:extLst>
            </p:cNvPr>
            <p:cNvSpPr/>
            <p:nvPr/>
          </p:nvSpPr>
          <p:spPr>
            <a:xfrm rot="8716295">
              <a:off x="4854803" y="2892332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" name="Forme libre : forme 184">
              <a:extLst>
                <a:ext uri="{FF2B5EF4-FFF2-40B4-BE49-F238E27FC236}">
                  <a16:creationId xmlns:a16="http://schemas.microsoft.com/office/drawing/2014/main" id="{DF4CDF9E-3E83-42B9-8060-460760813751}"/>
                </a:ext>
              </a:extLst>
            </p:cNvPr>
            <p:cNvSpPr/>
            <p:nvPr/>
          </p:nvSpPr>
          <p:spPr>
            <a:xfrm rot="8716295">
              <a:off x="4489356" y="2665906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" name="Forme libre : forme 185">
              <a:extLst>
                <a:ext uri="{FF2B5EF4-FFF2-40B4-BE49-F238E27FC236}">
                  <a16:creationId xmlns:a16="http://schemas.microsoft.com/office/drawing/2014/main" id="{0A35FA8D-2DA5-4890-87D4-1B3451916FA9}"/>
                </a:ext>
              </a:extLst>
            </p:cNvPr>
            <p:cNvSpPr/>
            <p:nvPr/>
          </p:nvSpPr>
          <p:spPr>
            <a:xfrm rot="7484129">
              <a:off x="5013620" y="318195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" name="Forme libre : forme 186">
              <a:extLst>
                <a:ext uri="{FF2B5EF4-FFF2-40B4-BE49-F238E27FC236}">
                  <a16:creationId xmlns:a16="http://schemas.microsoft.com/office/drawing/2014/main" id="{E6A0D96F-008F-4023-A0B6-38102FB3F884}"/>
                </a:ext>
              </a:extLst>
            </p:cNvPr>
            <p:cNvSpPr/>
            <p:nvPr/>
          </p:nvSpPr>
          <p:spPr>
            <a:xfrm rot="13089394">
              <a:off x="5172270" y="3131298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" name="Forme libre : forme 187">
              <a:extLst>
                <a:ext uri="{FF2B5EF4-FFF2-40B4-BE49-F238E27FC236}">
                  <a16:creationId xmlns:a16="http://schemas.microsoft.com/office/drawing/2014/main" id="{34516B6B-1C6B-4061-A441-0A96C5F85F2D}"/>
                </a:ext>
              </a:extLst>
            </p:cNvPr>
            <p:cNvSpPr/>
            <p:nvPr/>
          </p:nvSpPr>
          <p:spPr>
            <a:xfrm rot="8716295">
              <a:off x="5453161" y="2841180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" name="Forme libre : forme 188">
              <a:extLst>
                <a:ext uri="{FF2B5EF4-FFF2-40B4-BE49-F238E27FC236}">
                  <a16:creationId xmlns:a16="http://schemas.microsoft.com/office/drawing/2014/main" id="{25C5FA48-0926-4D19-8036-167D5A8A0B0F}"/>
                </a:ext>
              </a:extLst>
            </p:cNvPr>
            <p:cNvSpPr/>
            <p:nvPr/>
          </p:nvSpPr>
          <p:spPr>
            <a:xfrm rot="8716295">
              <a:off x="5374752" y="268438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" name="Forme libre : forme 189">
              <a:extLst>
                <a:ext uri="{FF2B5EF4-FFF2-40B4-BE49-F238E27FC236}">
                  <a16:creationId xmlns:a16="http://schemas.microsoft.com/office/drawing/2014/main" id="{DAF894AD-B4B7-410F-8EC1-02725EF382CF}"/>
                </a:ext>
              </a:extLst>
            </p:cNvPr>
            <p:cNvSpPr/>
            <p:nvPr/>
          </p:nvSpPr>
          <p:spPr>
            <a:xfrm rot="8716295">
              <a:off x="5006588" y="273012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" name="Forme libre : forme 190">
              <a:extLst>
                <a:ext uri="{FF2B5EF4-FFF2-40B4-BE49-F238E27FC236}">
                  <a16:creationId xmlns:a16="http://schemas.microsoft.com/office/drawing/2014/main" id="{050039E8-AFBF-4BD9-96DB-778F55B5F2C4}"/>
                </a:ext>
              </a:extLst>
            </p:cNvPr>
            <p:cNvSpPr/>
            <p:nvPr/>
          </p:nvSpPr>
          <p:spPr>
            <a:xfrm rot="8716295">
              <a:off x="5275170" y="2489109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" name="Forme libre : forme 191">
              <a:extLst>
                <a:ext uri="{FF2B5EF4-FFF2-40B4-BE49-F238E27FC236}">
                  <a16:creationId xmlns:a16="http://schemas.microsoft.com/office/drawing/2014/main" id="{BAF5AA66-DC18-43A5-AAAE-6EB312E4E790}"/>
                </a:ext>
              </a:extLst>
            </p:cNvPr>
            <p:cNvSpPr/>
            <p:nvPr/>
          </p:nvSpPr>
          <p:spPr>
            <a:xfrm rot="8716295">
              <a:off x="4788394" y="4073433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" name="Forme libre : forme 192">
              <a:extLst>
                <a:ext uri="{FF2B5EF4-FFF2-40B4-BE49-F238E27FC236}">
                  <a16:creationId xmlns:a16="http://schemas.microsoft.com/office/drawing/2014/main" id="{780EC621-519F-489B-BFBA-B49F228A0641}"/>
                </a:ext>
              </a:extLst>
            </p:cNvPr>
            <p:cNvSpPr/>
            <p:nvPr/>
          </p:nvSpPr>
          <p:spPr>
            <a:xfrm rot="8716295">
              <a:off x="4923693" y="4117692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" name="Forme libre : forme 193">
              <a:extLst>
                <a:ext uri="{FF2B5EF4-FFF2-40B4-BE49-F238E27FC236}">
                  <a16:creationId xmlns:a16="http://schemas.microsoft.com/office/drawing/2014/main" id="{56C02974-8A88-4B14-998C-3296551B1E9D}"/>
                </a:ext>
              </a:extLst>
            </p:cNvPr>
            <p:cNvSpPr/>
            <p:nvPr/>
          </p:nvSpPr>
          <p:spPr>
            <a:xfrm rot="8716295">
              <a:off x="4855811" y="3987104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" name="Forme libre : forme 194">
              <a:extLst>
                <a:ext uri="{FF2B5EF4-FFF2-40B4-BE49-F238E27FC236}">
                  <a16:creationId xmlns:a16="http://schemas.microsoft.com/office/drawing/2014/main" id="{1315A3F8-95CA-4F67-BF42-435167A25A7A}"/>
                </a:ext>
              </a:extLst>
            </p:cNvPr>
            <p:cNvSpPr/>
            <p:nvPr/>
          </p:nvSpPr>
          <p:spPr>
            <a:xfrm rot="8716295">
              <a:off x="4618523" y="4207448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" name="Forme libre : forme 195">
              <a:extLst>
                <a:ext uri="{FF2B5EF4-FFF2-40B4-BE49-F238E27FC236}">
                  <a16:creationId xmlns:a16="http://schemas.microsoft.com/office/drawing/2014/main" id="{5FBA9E77-EEAF-4196-9EB3-AAB7591C02B4}"/>
                </a:ext>
              </a:extLst>
            </p:cNvPr>
            <p:cNvSpPr/>
            <p:nvPr/>
          </p:nvSpPr>
          <p:spPr>
            <a:xfrm rot="8716295">
              <a:off x="4429477" y="389161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" name="Forme libre : forme 196">
              <a:extLst>
                <a:ext uri="{FF2B5EF4-FFF2-40B4-BE49-F238E27FC236}">
                  <a16:creationId xmlns:a16="http://schemas.microsoft.com/office/drawing/2014/main" id="{9640743B-2A63-41D0-B596-466D8A1999D1}"/>
                </a:ext>
              </a:extLst>
            </p:cNvPr>
            <p:cNvSpPr/>
            <p:nvPr/>
          </p:nvSpPr>
          <p:spPr>
            <a:xfrm rot="8716295">
              <a:off x="4411236" y="3681563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" name="Forme libre : forme 197">
              <a:extLst>
                <a:ext uri="{FF2B5EF4-FFF2-40B4-BE49-F238E27FC236}">
                  <a16:creationId xmlns:a16="http://schemas.microsoft.com/office/drawing/2014/main" id="{58E0BAB6-4A71-4FD6-9833-700BF9E78B7C}"/>
                </a:ext>
              </a:extLst>
            </p:cNvPr>
            <p:cNvSpPr/>
            <p:nvPr/>
          </p:nvSpPr>
          <p:spPr>
            <a:xfrm rot="8716295">
              <a:off x="4755012" y="4269431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" name="Forme libre : forme 198">
              <a:extLst>
                <a:ext uri="{FF2B5EF4-FFF2-40B4-BE49-F238E27FC236}">
                  <a16:creationId xmlns:a16="http://schemas.microsoft.com/office/drawing/2014/main" id="{75BB7597-AEE7-44BA-A895-6BF134870ADB}"/>
                </a:ext>
              </a:extLst>
            </p:cNvPr>
            <p:cNvSpPr/>
            <p:nvPr/>
          </p:nvSpPr>
          <p:spPr>
            <a:xfrm rot="8716295">
              <a:off x="5225958" y="3694817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" name="Forme libre : forme 199">
              <a:extLst>
                <a:ext uri="{FF2B5EF4-FFF2-40B4-BE49-F238E27FC236}">
                  <a16:creationId xmlns:a16="http://schemas.microsoft.com/office/drawing/2014/main" id="{EEB3834C-1DBD-4E8A-80F2-2243D4B0C7C6}"/>
                </a:ext>
              </a:extLst>
            </p:cNvPr>
            <p:cNvSpPr/>
            <p:nvPr/>
          </p:nvSpPr>
          <p:spPr>
            <a:xfrm rot="8716295">
              <a:off x="5364349" y="3753375"/>
              <a:ext cx="325540" cy="385611"/>
            </a:xfrm>
            <a:custGeom>
              <a:avLst/>
              <a:gdLst>
                <a:gd name="connsiteX0" fmla="*/ 8983 w 325540"/>
                <a:gd name="connsiteY0" fmla="*/ 385611 h 385611"/>
                <a:gd name="connsiteX1" fmla="*/ 8983 w 325540"/>
                <a:gd name="connsiteY1" fmla="*/ 69053 h 385611"/>
                <a:gd name="connsiteX2" fmla="*/ 0 w 325540"/>
                <a:gd name="connsiteY2" fmla="*/ 69053 h 385611"/>
                <a:gd name="connsiteX3" fmla="*/ 55019 w 325540"/>
                <a:gd name="connsiteY3" fmla="*/ 2157 h 385611"/>
                <a:gd name="connsiteX4" fmla="*/ 89675 w 325540"/>
                <a:gd name="connsiteY4" fmla="*/ 2156 h 385611"/>
                <a:gd name="connsiteX5" fmla="*/ 89674 w 325540"/>
                <a:gd name="connsiteY5" fmla="*/ 113882 h 385611"/>
                <a:gd name="connsiteX6" fmla="*/ 91743 w 325540"/>
                <a:gd name="connsiteY6" fmla="*/ 113882 h 385611"/>
                <a:gd name="connsiteX7" fmla="*/ 164159 w 325540"/>
                <a:gd name="connsiteY7" fmla="*/ 9053 h 385611"/>
                <a:gd name="connsiteX8" fmla="*/ 211745 w 325540"/>
                <a:gd name="connsiteY8" fmla="*/ 87 h 385611"/>
                <a:gd name="connsiteX9" fmla="*/ 325540 w 325540"/>
                <a:gd name="connsiteY9" fmla="*/ 133882 h 385611"/>
                <a:gd name="connsiteX10" fmla="*/ 325540 w 325540"/>
                <a:gd name="connsiteY10" fmla="*/ 142848 h 385611"/>
                <a:gd name="connsiteX11" fmla="*/ 231746 w 325540"/>
                <a:gd name="connsiteY11" fmla="*/ 148366 h 385611"/>
                <a:gd name="connsiteX12" fmla="*/ 231746 w 325540"/>
                <a:gd name="connsiteY12" fmla="*/ 123538 h 385611"/>
                <a:gd name="connsiteX13" fmla="*/ 180710 w 325540"/>
                <a:gd name="connsiteY13" fmla="*/ 60778 h 385611"/>
                <a:gd name="connsiteX14" fmla="*/ 100020 w 325540"/>
                <a:gd name="connsiteY14" fmla="*/ 193194 h 385611"/>
                <a:gd name="connsiteX15" fmla="*/ 100020 w 325540"/>
                <a:gd name="connsiteY15" fmla="*/ 323541 h 385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5540" h="385611">
                  <a:moveTo>
                    <a:pt x="8983" y="385611"/>
                  </a:moveTo>
                  <a:lnTo>
                    <a:pt x="8983" y="69053"/>
                  </a:lnTo>
                  <a:lnTo>
                    <a:pt x="0" y="69053"/>
                  </a:lnTo>
                  <a:lnTo>
                    <a:pt x="55019" y="2157"/>
                  </a:lnTo>
                  <a:lnTo>
                    <a:pt x="89675" y="2156"/>
                  </a:lnTo>
                  <a:lnTo>
                    <a:pt x="89674" y="113882"/>
                  </a:lnTo>
                  <a:lnTo>
                    <a:pt x="91743" y="113882"/>
                  </a:lnTo>
                  <a:cubicBezTo>
                    <a:pt x="113813" y="48363"/>
                    <a:pt x="131055" y="22846"/>
                    <a:pt x="164159" y="9053"/>
                  </a:cubicBezTo>
                  <a:cubicBezTo>
                    <a:pt x="179331" y="2846"/>
                    <a:pt x="195193" y="-602"/>
                    <a:pt x="211745" y="87"/>
                  </a:cubicBezTo>
                  <a:cubicBezTo>
                    <a:pt x="282781" y="-1293"/>
                    <a:pt x="325540" y="48363"/>
                    <a:pt x="325540" y="133882"/>
                  </a:cubicBezTo>
                  <a:lnTo>
                    <a:pt x="325540" y="142848"/>
                  </a:lnTo>
                  <a:lnTo>
                    <a:pt x="231746" y="148366"/>
                  </a:lnTo>
                  <a:lnTo>
                    <a:pt x="231746" y="123538"/>
                  </a:lnTo>
                  <a:cubicBezTo>
                    <a:pt x="231746" y="86296"/>
                    <a:pt x="210367" y="60778"/>
                    <a:pt x="180710" y="60778"/>
                  </a:cubicBezTo>
                  <a:cubicBezTo>
                    <a:pt x="136572" y="60777"/>
                    <a:pt x="100020" y="119400"/>
                    <a:pt x="100020" y="193194"/>
                  </a:cubicBezTo>
                  <a:lnTo>
                    <a:pt x="100020" y="3235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" name="Forme libre : forme 200">
              <a:extLst>
                <a:ext uri="{FF2B5EF4-FFF2-40B4-BE49-F238E27FC236}">
                  <a16:creationId xmlns:a16="http://schemas.microsoft.com/office/drawing/2014/main" id="{372D1467-D2E3-4216-9E90-20982CF5734F}"/>
                </a:ext>
              </a:extLst>
            </p:cNvPr>
            <p:cNvSpPr/>
            <p:nvPr/>
          </p:nvSpPr>
          <p:spPr>
            <a:xfrm rot="8716295">
              <a:off x="5056087" y="382883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" name="Forme libre : forme 201">
              <a:extLst>
                <a:ext uri="{FF2B5EF4-FFF2-40B4-BE49-F238E27FC236}">
                  <a16:creationId xmlns:a16="http://schemas.microsoft.com/office/drawing/2014/main" id="{B604E5DA-CBD2-466D-A47E-4EAA9B5B7623}"/>
                </a:ext>
              </a:extLst>
            </p:cNvPr>
            <p:cNvSpPr/>
            <p:nvPr/>
          </p:nvSpPr>
          <p:spPr>
            <a:xfrm rot="8716295">
              <a:off x="4867043" y="351299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" name="Forme libre : forme 202">
              <a:extLst>
                <a:ext uri="{FF2B5EF4-FFF2-40B4-BE49-F238E27FC236}">
                  <a16:creationId xmlns:a16="http://schemas.microsoft.com/office/drawing/2014/main" id="{E20F76FB-79A8-44FD-A97E-07BAE8CB93F0}"/>
                </a:ext>
              </a:extLst>
            </p:cNvPr>
            <p:cNvSpPr/>
            <p:nvPr/>
          </p:nvSpPr>
          <p:spPr>
            <a:xfrm rot="8716295">
              <a:off x="5192576" y="3890815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" name="Forme libre : forme 203">
              <a:extLst>
                <a:ext uri="{FF2B5EF4-FFF2-40B4-BE49-F238E27FC236}">
                  <a16:creationId xmlns:a16="http://schemas.microsoft.com/office/drawing/2014/main" id="{07DA70CF-480A-435C-9C90-6F5E70E02F28}"/>
                </a:ext>
              </a:extLst>
            </p:cNvPr>
            <p:cNvSpPr/>
            <p:nvPr/>
          </p:nvSpPr>
          <p:spPr>
            <a:xfrm rot="8716295">
              <a:off x="4827129" y="3664389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" name="Forme libre : forme 204">
              <a:extLst>
                <a:ext uri="{FF2B5EF4-FFF2-40B4-BE49-F238E27FC236}">
                  <a16:creationId xmlns:a16="http://schemas.microsoft.com/office/drawing/2014/main" id="{EFCDF1BC-CE63-46A7-BBB7-A0FD6C01682D}"/>
                </a:ext>
              </a:extLst>
            </p:cNvPr>
            <p:cNvSpPr/>
            <p:nvPr/>
          </p:nvSpPr>
          <p:spPr>
            <a:xfrm rot="7484129">
              <a:off x="5351393" y="418043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" name="Forme libre : forme 205">
              <a:extLst>
                <a:ext uri="{FF2B5EF4-FFF2-40B4-BE49-F238E27FC236}">
                  <a16:creationId xmlns:a16="http://schemas.microsoft.com/office/drawing/2014/main" id="{DC92A656-7063-4EB8-9B18-5A621F03BDBB}"/>
                </a:ext>
              </a:extLst>
            </p:cNvPr>
            <p:cNvSpPr/>
            <p:nvPr/>
          </p:nvSpPr>
          <p:spPr>
            <a:xfrm rot="13089394">
              <a:off x="5497067" y="4157639"/>
              <a:ext cx="336155" cy="433969"/>
            </a:xfrm>
            <a:custGeom>
              <a:avLst/>
              <a:gdLst>
                <a:gd name="connsiteX0" fmla="*/ 23241 w 222098"/>
                <a:gd name="connsiteY0" fmla="*/ 47275 h 286724"/>
                <a:gd name="connsiteX1" fmla="*/ 0 w 222098"/>
                <a:gd name="connsiteY1" fmla="*/ 11882 h 286724"/>
                <a:gd name="connsiteX2" fmla="*/ 22902 w 222098"/>
                <a:gd name="connsiteY2" fmla="*/ 0 h 286724"/>
                <a:gd name="connsiteX3" fmla="*/ 222098 w 222098"/>
                <a:gd name="connsiteY3" fmla="*/ 258238 h 286724"/>
                <a:gd name="connsiteX4" fmla="*/ 180472 w 222098"/>
                <a:gd name="connsiteY4" fmla="*/ 286724 h 286724"/>
                <a:gd name="connsiteX5" fmla="*/ 167667 w 222098"/>
                <a:gd name="connsiteY5" fmla="*/ 267224 h 286724"/>
                <a:gd name="connsiteX6" fmla="*/ 220995 w 222098"/>
                <a:gd name="connsiteY6" fmla="*/ 245547 h 286724"/>
                <a:gd name="connsiteX7" fmla="*/ 222098 w 222098"/>
                <a:gd name="connsiteY7" fmla="*/ 252720 h 286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2098" h="286724">
                  <a:moveTo>
                    <a:pt x="23241" y="47275"/>
                  </a:moveTo>
                  <a:lnTo>
                    <a:pt x="0" y="11882"/>
                  </a:lnTo>
                  <a:lnTo>
                    <a:pt x="22902" y="0"/>
                  </a:lnTo>
                  <a:close/>
                  <a:moveTo>
                    <a:pt x="222098" y="258238"/>
                  </a:moveTo>
                  <a:lnTo>
                    <a:pt x="180472" y="286724"/>
                  </a:lnTo>
                  <a:lnTo>
                    <a:pt x="167667" y="267224"/>
                  </a:lnTo>
                  <a:lnTo>
                    <a:pt x="220995" y="245547"/>
                  </a:lnTo>
                  <a:cubicBezTo>
                    <a:pt x="221546" y="247754"/>
                    <a:pt x="222098" y="250513"/>
                    <a:pt x="222098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" name="Forme libre : forme 206">
              <a:extLst>
                <a:ext uri="{FF2B5EF4-FFF2-40B4-BE49-F238E27FC236}">
                  <a16:creationId xmlns:a16="http://schemas.microsoft.com/office/drawing/2014/main" id="{5B6131FF-A409-4EA9-81CC-0C3D2782942F}"/>
                </a:ext>
              </a:extLst>
            </p:cNvPr>
            <p:cNvSpPr/>
            <p:nvPr/>
          </p:nvSpPr>
          <p:spPr>
            <a:xfrm rot="8716295">
              <a:off x="5689139" y="3701707"/>
              <a:ext cx="105382" cy="119090"/>
            </a:xfrm>
            <a:custGeom>
              <a:avLst/>
              <a:gdLst>
                <a:gd name="connsiteX0" fmla="*/ 0 w 69626"/>
                <a:gd name="connsiteY0" fmla="*/ 74288 h 78683"/>
                <a:gd name="connsiteX1" fmla="*/ 61446 w 69626"/>
                <a:gd name="connsiteY1" fmla="*/ 0 h 78683"/>
                <a:gd name="connsiteX2" fmla="*/ 69626 w 69626"/>
                <a:gd name="connsiteY2" fmla="*/ 19468 h 78683"/>
                <a:gd name="connsiteX3" fmla="*/ 52380 w 69626"/>
                <a:gd name="connsiteY3" fmla="*/ 61206 h 78683"/>
                <a:gd name="connsiteX4" fmla="*/ 10986 w 69626"/>
                <a:gd name="connsiteY4" fmla="*/ 78683 h 78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626" h="78683">
                  <a:moveTo>
                    <a:pt x="0" y="74288"/>
                  </a:moveTo>
                  <a:lnTo>
                    <a:pt x="61446" y="0"/>
                  </a:lnTo>
                  <a:lnTo>
                    <a:pt x="69626" y="19468"/>
                  </a:lnTo>
                  <a:cubicBezTo>
                    <a:pt x="69626" y="34531"/>
                    <a:pt x="63877" y="49708"/>
                    <a:pt x="52380" y="61206"/>
                  </a:cubicBezTo>
                  <a:cubicBezTo>
                    <a:pt x="41341" y="72244"/>
                    <a:pt x="26624" y="78683"/>
                    <a:pt x="10986" y="786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" name="Forme libre : forme 207">
              <a:extLst>
                <a:ext uri="{FF2B5EF4-FFF2-40B4-BE49-F238E27FC236}">
                  <a16:creationId xmlns:a16="http://schemas.microsoft.com/office/drawing/2014/main" id="{F418276D-8E57-4C97-A0E3-69608568D520}"/>
                </a:ext>
              </a:extLst>
            </p:cNvPr>
            <p:cNvSpPr/>
            <p:nvPr/>
          </p:nvSpPr>
          <p:spPr>
            <a:xfrm rot="8716295">
              <a:off x="5344361" y="372861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" name="Forme libre : forme 208">
              <a:extLst>
                <a:ext uri="{FF2B5EF4-FFF2-40B4-BE49-F238E27FC236}">
                  <a16:creationId xmlns:a16="http://schemas.microsoft.com/office/drawing/2014/main" id="{18CB7434-4843-4498-9ECE-196E31359917}"/>
                </a:ext>
              </a:extLst>
            </p:cNvPr>
            <p:cNvSpPr/>
            <p:nvPr/>
          </p:nvSpPr>
          <p:spPr>
            <a:xfrm rot="8716295">
              <a:off x="5599943" y="3480521"/>
              <a:ext cx="177855" cy="178203"/>
            </a:xfrm>
            <a:custGeom>
              <a:avLst/>
              <a:gdLst>
                <a:gd name="connsiteX0" fmla="*/ 17477 w 117509"/>
                <a:gd name="connsiteY0" fmla="*/ 101182 h 117739"/>
                <a:gd name="connsiteX1" fmla="*/ 0 w 117509"/>
                <a:gd name="connsiteY1" fmla="*/ 59790 h 117739"/>
                <a:gd name="connsiteX2" fmla="*/ 0 w 117509"/>
                <a:gd name="connsiteY2" fmla="*/ 58869 h 117739"/>
                <a:gd name="connsiteX3" fmla="*/ 2091 w 117509"/>
                <a:gd name="connsiteY3" fmla="*/ 48678 h 117739"/>
                <a:gd name="connsiteX4" fmla="*/ 38978 w 117509"/>
                <a:gd name="connsiteY4" fmla="*/ 4080 h 117739"/>
                <a:gd name="connsiteX5" fmla="*/ 58869 w 117509"/>
                <a:gd name="connsiteY5" fmla="*/ 0 h 117739"/>
                <a:gd name="connsiteX6" fmla="*/ 100263 w 117509"/>
                <a:gd name="connsiteY6" fmla="*/ 17477 h 117739"/>
                <a:gd name="connsiteX7" fmla="*/ 100263 w 117509"/>
                <a:gd name="connsiteY7" fmla="*/ 100262 h 117739"/>
                <a:gd name="connsiteX8" fmla="*/ 58869 w 117509"/>
                <a:gd name="connsiteY8" fmla="*/ 117739 h 117739"/>
                <a:gd name="connsiteX9" fmla="*/ 17477 w 117509"/>
                <a:gd name="connsiteY9" fmla="*/ 101182 h 117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09" h="117739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lnTo>
                    <a:pt x="2091" y="48678"/>
                  </a:lnTo>
                  <a:lnTo>
                    <a:pt x="38978" y="4080"/>
                  </a:lnTo>
                  <a:lnTo>
                    <a:pt x="58869" y="0"/>
                  </a:lnTo>
                  <a:cubicBezTo>
                    <a:pt x="74507" y="0"/>
                    <a:pt x="89224" y="6439"/>
                    <a:pt x="100263" y="17477"/>
                  </a:cubicBezTo>
                  <a:cubicBezTo>
                    <a:pt x="123258" y="39553"/>
                    <a:pt x="123258" y="77266"/>
                    <a:pt x="100263" y="100262"/>
                  </a:cubicBezTo>
                  <a:cubicBezTo>
                    <a:pt x="89224" y="111300"/>
                    <a:pt x="74507" y="117739"/>
                    <a:pt x="58869" y="117739"/>
                  </a:cubicBezTo>
                  <a:cubicBezTo>
                    <a:pt x="43233" y="117739"/>
                    <a:pt x="28515" y="112220"/>
                    <a:pt x="17477" y="10118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" name="Forme libre : forme 209">
              <a:extLst>
                <a:ext uri="{FF2B5EF4-FFF2-40B4-BE49-F238E27FC236}">
                  <a16:creationId xmlns:a16="http://schemas.microsoft.com/office/drawing/2014/main" id="{80007C47-775F-43EE-9BFF-1043A7C3649A}"/>
                </a:ext>
              </a:extLst>
            </p:cNvPr>
            <p:cNvSpPr/>
            <p:nvPr/>
          </p:nvSpPr>
          <p:spPr>
            <a:xfrm rot="8716295">
              <a:off x="5090746" y="5117279"/>
              <a:ext cx="37096" cy="40385"/>
            </a:xfrm>
            <a:custGeom>
              <a:avLst/>
              <a:gdLst>
                <a:gd name="connsiteX0" fmla="*/ 0 w 37096"/>
                <a:gd name="connsiteY0" fmla="*/ 40385 h 40385"/>
                <a:gd name="connsiteX1" fmla="*/ 0 w 37096"/>
                <a:gd name="connsiteY1" fmla="*/ 0 h 40385"/>
                <a:gd name="connsiteX2" fmla="*/ 37096 w 37096"/>
                <a:gd name="connsiteY2" fmla="*/ 25713 h 40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096" h="40385">
                  <a:moveTo>
                    <a:pt x="0" y="40385"/>
                  </a:moveTo>
                  <a:lnTo>
                    <a:pt x="0" y="0"/>
                  </a:lnTo>
                  <a:lnTo>
                    <a:pt x="37096" y="2571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" name="Forme libre : forme 210">
              <a:extLst>
                <a:ext uri="{FF2B5EF4-FFF2-40B4-BE49-F238E27FC236}">
                  <a16:creationId xmlns:a16="http://schemas.microsoft.com/office/drawing/2014/main" id="{5820CA8C-9225-440D-B86D-A9CE799D1C39}"/>
                </a:ext>
              </a:extLst>
            </p:cNvPr>
            <p:cNvSpPr/>
            <p:nvPr/>
          </p:nvSpPr>
          <p:spPr>
            <a:xfrm rot="8716295">
              <a:off x="5405706" y="5085046"/>
              <a:ext cx="60406" cy="83058"/>
            </a:xfrm>
            <a:custGeom>
              <a:avLst/>
              <a:gdLst>
                <a:gd name="connsiteX0" fmla="*/ 0 w 60406"/>
                <a:gd name="connsiteY0" fmla="*/ 83058 h 83058"/>
                <a:gd name="connsiteX1" fmla="*/ 0 w 60406"/>
                <a:gd name="connsiteY1" fmla="*/ 0 h 83058"/>
                <a:gd name="connsiteX2" fmla="*/ 60406 w 60406"/>
                <a:gd name="connsiteY2" fmla="*/ 41872 h 83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406" h="83058">
                  <a:moveTo>
                    <a:pt x="0" y="83058"/>
                  </a:moveTo>
                  <a:lnTo>
                    <a:pt x="0" y="0"/>
                  </a:lnTo>
                  <a:lnTo>
                    <a:pt x="60406" y="4187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" name="Forme libre : forme 211">
              <a:extLst>
                <a:ext uri="{FF2B5EF4-FFF2-40B4-BE49-F238E27FC236}">
                  <a16:creationId xmlns:a16="http://schemas.microsoft.com/office/drawing/2014/main" id="{14119B8B-36AC-4498-96E0-570BA8C54C01}"/>
                </a:ext>
              </a:extLst>
            </p:cNvPr>
            <p:cNvSpPr/>
            <p:nvPr/>
          </p:nvSpPr>
          <p:spPr>
            <a:xfrm rot="8716295">
              <a:off x="5207014" y="4975218"/>
              <a:ext cx="245211" cy="161994"/>
            </a:xfrm>
            <a:custGeom>
              <a:avLst/>
              <a:gdLst>
                <a:gd name="connsiteX0" fmla="*/ 8965 w 245211"/>
                <a:gd name="connsiteY0" fmla="*/ 161994 h 161994"/>
                <a:gd name="connsiteX1" fmla="*/ 0 w 245211"/>
                <a:gd name="connsiteY1" fmla="*/ 149580 h 161994"/>
                <a:gd name="connsiteX2" fmla="*/ 158971 w 245211"/>
                <a:gd name="connsiteY2" fmla="*/ 0 h 161994"/>
                <a:gd name="connsiteX3" fmla="*/ 245211 w 245211"/>
                <a:gd name="connsiteY3" fmla="*/ 59779 h 161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211" h="161994">
                  <a:moveTo>
                    <a:pt x="8965" y="161994"/>
                  </a:moveTo>
                  <a:lnTo>
                    <a:pt x="0" y="149580"/>
                  </a:lnTo>
                  <a:lnTo>
                    <a:pt x="158971" y="0"/>
                  </a:lnTo>
                  <a:lnTo>
                    <a:pt x="245211" y="5977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" name="Forme libre : forme 212">
              <a:extLst>
                <a:ext uri="{FF2B5EF4-FFF2-40B4-BE49-F238E27FC236}">
                  <a16:creationId xmlns:a16="http://schemas.microsoft.com/office/drawing/2014/main" id="{4FCFFEE2-AEF7-46AC-BCAB-E4AB6356A9CD}"/>
                </a:ext>
              </a:extLst>
            </p:cNvPr>
            <p:cNvSpPr/>
            <p:nvPr/>
          </p:nvSpPr>
          <p:spPr>
            <a:xfrm rot="8716295">
              <a:off x="4807372" y="4871188"/>
              <a:ext cx="249519" cy="296463"/>
            </a:xfrm>
            <a:custGeom>
              <a:avLst/>
              <a:gdLst>
                <a:gd name="connsiteX0" fmla="*/ 137293 w 249519"/>
                <a:gd name="connsiteY0" fmla="*/ 296463 h 296463"/>
                <a:gd name="connsiteX1" fmla="*/ 72418 w 249519"/>
                <a:gd name="connsiteY1" fmla="*/ 175766 h 296463"/>
                <a:gd name="connsiteX2" fmla="*/ 105610 w 249519"/>
                <a:gd name="connsiteY2" fmla="*/ 83734 h 296463"/>
                <a:gd name="connsiteX3" fmla="*/ 0 w 249519"/>
                <a:gd name="connsiteY3" fmla="*/ 83734 h 296463"/>
                <a:gd name="connsiteX4" fmla="*/ 0 w 249519"/>
                <a:gd name="connsiteY4" fmla="*/ 0 h 296463"/>
                <a:gd name="connsiteX5" fmla="*/ 128719 w 249519"/>
                <a:gd name="connsiteY5" fmla="*/ 0 h 296463"/>
                <a:gd name="connsiteX6" fmla="*/ 249519 w 249519"/>
                <a:gd name="connsiteY6" fmla="*/ 83734 h 296463"/>
                <a:gd name="connsiteX7" fmla="*/ 210465 w 249519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9519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128719" y="0"/>
                  </a:lnTo>
                  <a:lnTo>
                    <a:pt x="249519" y="83734"/>
                  </a:lnTo>
                  <a:lnTo>
                    <a:pt x="210465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" name="Forme libre : forme 213">
              <a:extLst>
                <a:ext uri="{FF2B5EF4-FFF2-40B4-BE49-F238E27FC236}">
                  <a16:creationId xmlns:a16="http://schemas.microsoft.com/office/drawing/2014/main" id="{1B41E071-0693-46BD-92E2-292036356EEC}"/>
                </a:ext>
              </a:extLst>
            </p:cNvPr>
            <p:cNvSpPr/>
            <p:nvPr/>
          </p:nvSpPr>
          <p:spPr>
            <a:xfrm rot="8716295">
              <a:off x="4742203" y="467807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" name="Forme libre : forme 214">
              <a:extLst>
                <a:ext uri="{FF2B5EF4-FFF2-40B4-BE49-F238E27FC236}">
                  <a16:creationId xmlns:a16="http://schemas.microsoft.com/office/drawing/2014/main" id="{3D04A71D-E109-4B4F-89C3-FA4AB19F4E1D}"/>
                </a:ext>
              </a:extLst>
            </p:cNvPr>
            <p:cNvSpPr/>
            <p:nvPr/>
          </p:nvSpPr>
          <p:spPr>
            <a:xfrm rot="8716295">
              <a:off x="5548192" y="4732447"/>
              <a:ext cx="92415" cy="287093"/>
            </a:xfrm>
            <a:custGeom>
              <a:avLst/>
              <a:gdLst>
                <a:gd name="connsiteX0" fmla="*/ 0 w 61059"/>
                <a:gd name="connsiteY0" fmla="*/ 189683 h 189683"/>
                <a:gd name="connsiteX1" fmla="*/ 1 w 61059"/>
                <a:gd name="connsiteY1" fmla="*/ 70355 h 189683"/>
                <a:gd name="connsiteX2" fmla="*/ 58192 w 61059"/>
                <a:gd name="connsiteY2" fmla="*/ 0 h 189683"/>
                <a:gd name="connsiteX3" fmla="*/ 61059 w 61059"/>
                <a:gd name="connsiteY3" fmla="*/ 7418 h 189683"/>
                <a:gd name="connsiteX4" fmla="*/ 61059 w 61059"/>
                <a:gd name="connsiteY4" fmla="*/ 165533 h 189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59" h="189683">
                  <a:moveTo>
                    <a:pt x="0" y="189683"/>
                  </a:moveTo>
                  <a:lnTo>
                    <a:pt x="1" y="70355"/>
                  </a:lnTo>
                  <a:lnTo>
                    <a:pt x="58192" y="0"/>
                  </a:lnTo>
                  <a:lnTo>
                    <a:pt x="61059" y="7418"/>
                  </a:lnTo>
                  <a:lnTo>
                    <a:pt x="61059" y="1655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" name="Forme libre : forme 215">
              <a:extLst>
                <a:ext uri="{FF2B5EF4-FFF2-40B4-BE49-F238E27FC236}">
                  <a16:creationId xmlns:a16="http://schemas.microsoft.com/office/drawing/2014/main" id="{AAC7FAB2-F735-42A2-BE55-7C8B153DECE5}"/>
                </a:ext>
              </a:extLst>
            </p:cNvPr>
            <p:cNvSpPr/>
            <p:nvPr/>
          </p:nvSpPr>
          <p:spPr>
            <a:xfrm rot="8716295">
              <a:off x="5387054" y="482534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" name="Forme libre : forme 216">
              <a:extLst>
                <a:ext uri="{FF2B5EF4-FFF2-40B4-BE49-F238E27FC236}">
                  <a16:creationId xmlns:a16="http://schemas.microsoft.com/office/drawing/2014/main" id="{4B03EBBE-E237-4565-BE6F-56E70942310E}"/>
                </a:ext>
              </a:extLst>
            </p:cNvPr>
            <p:cNvSpPr/>
            <p:nvPr/>
          </p:nvSpPr>
          <p:spPr>
            <a:xfrm rot="8716295">
              <a:off x="5198009" y="450950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" name="Forme libre : forme 217">
              <a:extLst>
                <a:ext uri="{FF2B5EF4-FFF2-40B4-BE49-F238E27FC236}">
                  <a16:creationId xmlns:a16="http://schemas.microsoft.com/office/drawing/2014/main" id="{230714BC-B4D4-483B-9F0B-D1990593F59D}"/>
                </a:ext>
              </a:extLst>
            </p:cNvPr>
            <p:cNvSpPr/>
            <p:nvPr/>
          </p:nvSpPr>
          <p:spPr>
            <a:xfrm rot="8716295">
              <a:off x="5503997" y="4913234"/>
              <a:ext cx="91035" cy="258752"/>
            </a:xfrm>
            <a:custGeom>
              <a:avLst/>
              <a:gdLst>
                <a:gd name="connsiteX0" fmla="*/ 91035 w 91035"/>
                <a:gd name="connsiteY0" fmla="*/ 258752 h 258752"/>
                <a:gd name="connsiteX1" fmla="*/ 0 w 91035"/>
                <a:gd name="connsiteY1" fmla="*/ 171163 h 258752"/>
                <a:gd name="connsiteX2" fmla="*/ 0 w 91035"/>
                <a:gd name="connsiteY2" fmla="*/ 43487 h 258752"/>
                <a:gd name="connsiteX3" fmla="*/ 35968 w 91035"/>
                <a:gd name="connsiteY3" fmla="*/ 0 h 258752"/>
                <a:gd name="connsiteX4" fmla="*/ 91035 w 91035"/>
                <a:gd name="connsiteY4" fmla="*/ 38170 h 258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035" h="258752">
                  <a:moveTo>
                    <a:pt x="91035" y="258752"/>
                  </a:moveTo>
                  <a:lnTo>
                    <a:pt x="0" y="171163"/>
                  </a:lnTo>
                  <a:lnTo>
                    <a:pt x="0" y="43487"/>
                  </a:lnTo>
                  <a:lnTo>
                    <a:pt x="35968" y="0"/>
                  </a:lnTo>
                  <a:lnTo>
                    <a:pt x="91035" y="3817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" name="Forme libre : forme 218">
              <a:extLst>
                <a:ext uri="{FF2B5EF4-FFF2-40B4-BE49-F238E27FC236}">
                  <a16:creationId xmlns:a16="http://schemas.microsoft.com/office/drawing/2014/main" id="{14A36AFC-3634-423C-BC16-BDB2283C28B3}"/>
                </a:ext>
              </a:extLst>
            </p:cNvPr>
            <p:cNvSpPr/>
            <p:nvPr/>
          </p:nvSpPr>
          <p:spPr>
            <a:xfrm rot="8716295">
              <a:off x="5158096" y="466090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" name="Forme libre : forme 219">
              <a:extLst>
                <a:ext uri="{FF2B5EF4-FFF2-40B4-BE49-F238E27FC236}">
                  <a16:creationId xmlns:a16="http://schemas.microsoft.com/office/drawing/2014/main" id="{BC237E43-FDD5-4FDC-8C88-3D3E992DDCCE}"/>
                </a:ext>
              </a:extLst>
            </p:cNvPr>
            <p:cNvSpPr/>
            <p:nvPr/>
          </p:nvSpPr>
          <p:spPr>
            <a:xfrm rot="8716295">
              <a:off x="4115344" y="2074537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" name="Forme libre : forme 220">
              <a:extLst>
                <a:ext uri="{FF2B5EF4-FFF2-40B4-BE49-F238E27FC236}">
                  <a16:creationId xmlns:a16="http://schemas.microsoft.com/office/drawing/2014/main" id="{74F2CD5F-27E1-4B05-BDE3-F9CAEE63E34B}"/>
                </a:ext>
              </a:extLst>
            </p:cNvPr>
            <p:cNvSpPr/>
            <p:nvPr/>
          </p:nvSpPr>
          <p:spPr>
            <a:xfrm rot="8716295">
              <a:off x="4250643" y="2118796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" name="Forme libre : forme 221">
              <a:extLst>
                <a:ext uri="{FF2B5EF4-FFF2-40B4-BE49-F238E27FC236}">
                  <a16:creationId xmlns:a16="http://schemas.microsoft.com/office/drawing/2014/main" id="{3D2EAE98-2CEC-4E31-BF79-1D13D51EDB3B}"/>
                </a:ext>
              </a:extLst>
            </p:cNvPr>
            <p:cNvSpPr/>
            <p:nvPr/>
          </p:nvSpPr>
          <p:spPr>
            <a:xfrm rot="8716295">
              <a:off x="4182761" y="1988208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" name="Forme libre : forme 222">
              <a:extLst>
                <a:ext uri="{FF2B5EF4-FFF2-40B4-BE49-F238E27FC236}">
                  <a16:creationId xmlns:a16="http://schemas.microsoft.com/office/drawing/2014/main" id="{F7C21745-E98A-49A1-BB89-EF4C58D2B535}"/>
                </a:ext>
              </a:extLst>
            </p:cNvPr>
            <p:cNvSpPr/>
            <p:nvPr/>
          </p:nvSpPr>
          <p:spPr>
            <a:xfrm rot="8716295">
              <a:off x="3945473" y="220855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" name="Forme libre : forme 223">
              <a:extLst>
                <a:ext uri="{FF2B5EF4-FFF2-40B4-BE49-F238E27FC236}">
                  <a16:creationId xmlns:a16="http://schemas.microsoft.com/office/drawing/2014/main" id="{3C933A0E-48CB-40A4-AD69-869889C9C116}"/>
                </a:ext>
              </a:extLst>
            </p:cNvPr>
            <p:cNvSpPr/>
            <p:nvPr/>
          </p:nvSpPr>
          <p:spPr>
            <a:xfrm rot="8716295">
              <a:off x="3756427" y="189271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" name="Forme libre : forme 224">
              <a:extLst>
                <a:ext uri="{FF2B5EF4-FFF2-40B4-BE49-F238E27FC236}">
                  <a16:creationId xmlns:a16="http://schemas.microsoft.com/office/drawing/2014/main" id="{A02DB2FC-04B5-4966-BEE6-FB30AD9722F6}"/>
                </a:ext>
              </a:extLst>
            </p:cNvPr>
            <p:cNvSpPr/>
            <p:nvPr/>
          </p:nvSpPr>
          <p:spPr>
            <a:xfrm rot="8716295">
              <a:off x="3738186" y="1682667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" name="Forme libre : forme 225">
              <a:extLst>
                <a:ext uri="{FF2B5EF4-FFF2-40B4-BE49-F238E27FC236}">
                  <a16:creationId xmlns:a16="http://schemas.microsoft.com/office/drawing/2014/main" id="{F8510F0D-1176-4749-A0F4-7938F16AABD4}"/>
                </a:ext>
              </a:extLst>
            </p:cNvPr>
            <p:cNvSpPr/>
            <p:nvPr/>
          </p:nvSpPr>
          <p:spPr>
            <a:xfrm rot="8716295">
              <a:off x="4081962" y="2270535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" name="Forme libre : forme 226">
              <a:extLst>
                <a:ext uri="{FF2B5EF4-FFF2-40B4-BE49-F238E27FC236}">
                  <a16:creationId xmlns:a16="http://schemas.microsoft.com/office/drawing/2014/main" id="{7359A2E2-1A1C-4AB5-9888-9A67C8F381ED}"/>
                </a:ext>
              </a:extLst>
            </p:cNvPr>
            <p:cNvSpPr/>
            <p:nvPr/>
          </p:nvSpPr>
          <p:spPr>
            <a:xfrm rot="8716295">
              <a:off x="4552908" y="169592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" name="Forme libre : forme 227">
              <a:extLst>
                <a:ext uri="{FF2B5EF4-FFF2-40B4-BE49-F238E27FC236}">
                  <a16:creationId xmlns:a16="http://schemas.microsoft.com/office/drawing/2014/main" id="{F162CF17-3696-46D1-BBA9-E595114BD290}"/>
                </a:ext>
              </a:extLst>
            </p:cNvPr>
            <p:cNvSpPr/>
            <p:nvPr/>
          </p:nvSpPr>
          <p:spPr>
            <a:xfrm rot="8716295">
              <a:off x="4688207" y="174018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" name="Forme libre : forme 228">
              <a:extLst>
                <a:ext uri="{FF2B5EF4-FFF2-40B4-BE49-F238E27FC236}">
                  <a16:creationId xmlns:a16="http://schemas.microsoft.com/office/drawing/2014/main" id="{CB7640C0-A77D-4C20-99F3-99AC8C5EA399}"/>
                </a:ext>
              </a:extLst>
            </p:cNvPr>
            <p:cNvSpPr/>
            <p:nvPr/>
          </p:nvSpPr>
          <p:spPr>
            <a:xfrm rot="8716295">
              <a:off x="4383037" y="182993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" name="Forme libre : forme 229">
              <a:extLst>
                <a:ext uri="{FF2B5EF4-FFF2-40B4-BE49-F238E27FC236}">
                  <a16:creationId xmlns:a16="http://schemas.microsoft.com/office/drawing/2014/main" id="{7221721D-60FE-4C4C-9396-20240CB24747}"/>
                </a:ext>
              </a:extLst>
            </p:cNvPr>
            <p:cNvSpPr/>
            <p:nvPr/>
          </p:nvSpPr>
          <p:spPr>
            <a:xfrm rot="8716295">
              <a:off x="4193993" y="151410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" name="Forme libre : forme 230">
              <a:extLst>
                <a:ext uri="{FF2B5EF4-FFF2-40B4-BE49-F238E27FC236}">
                  <a16:creationId xmlns:a16="http://schemas.microsoft.com/office/drawing/2014/main" id="{72815BA9-45F4-424C-8C61-85FB1E0CD670}"/>
                </a:ext>
              </a:extLst>
            </p:cNvPr>
            <p:cNvSpPr/>
            <p:nvPr/>
          </p:nvSpPr>
          <p:spPr>
            <a:xfrm rot="8716295">
              <a:off x="4519525" y="1891919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" name="Forme libre : forme 231">
              <a:extLst>
                <a:ext uri="{FF2B5EF4-FFF2-40B4-BE49-F238E27FC236}">
                  <a16:creationId xmlns:a16="http://schemas.microsoft.com/office/drawing/2014/main" id="{2386F46E-7D0B-4733-83CE-A3BA85A841D0}"/>
                </a:ext>
              </a:extLst>
            </p:cNvPr>
            <p:cNvSpPr/>
            <p:nvPr/>
          </p:nvSpPr>
          <p:spPr>
            <a:xfrm rot="8716295">
              <a:off x="4154079" y="1665493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" name="Forme libre : forme 232">
              <a:extLst>
                <a:ext uri="{FF2B5EF4-FFF2-40B4-BE49-F238E27FC236}">
                  <a16:creationId xmlns:a16="http://schemas.microsoft.com/office/drawing/2014/main" id="{7C49EAA5-EA80-4FD2-B8EE-8A5326A137F1}"/>
                </a:ext>
              </a:extLst>
            </p:cNvPr>
            <p:cNvSpPr/>
            <p:nvPr/>
          </p:nvSpPr>
          <p:spPr>
            <a:xfrm rot="7484129">
              <a:off x="4678343" y="218153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" name="Forme libre : forme 233">
              <a:extLst>
                <a:ext uri="{FF2B5EF4-FFF2-40B4-BE49-F238E27FC236}">
                  <a16:creationId xmlns:a16="http://schemas.microsoft.com/office/drawing/2014/main" id="{E5F42144-89A8-465A-AA8E-5830C7BF1E60}"/>
                </a:ext>
              </a:extLst>
            </p:cNvPr>
            <p:cNvSpPr/>
            <p:nvPr/>
          </p:nvSpPr>
          <p:spPr>
            <a:xfrm rot="13089394">
              <a:off x="4836993" y="2130885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" name="Forme libre : forme 234">
              <a:extLst>
                <a:ext uri="{FF2B5EF4-FFF2-40B4-BE49-F238E27FC236}">
                  <a16:creationId xmlns:a16="http://schemas.microsoft.com/office/drawing/2014/main" id="{4B643A7D-0F4D-44EF-8082-E475252D919E}"/>
                </a:ext>
              </a:extLst>
            </p:cNvPr>
            <p:cNvSpPr/>
            <p:nvPr/>
          </p:nvSpPr>
          <p:spPr>
            <a:xfrm rot="8716295">
              <a:off x="5117884" y="1840767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" name="Forme libre : forme 235">
              <a:extLst>
                <a:ext uri="{FF2B5EF4-FFF2-40B4-BE49-F238E27FC236}">
                  <a16:creationId xmlns:a16="http://schemas.microsoft.com/office/drawing/2014/main" id="{A286EB77-2A92-49EB-B662-F67A780E72C3}"/>
                </a:ext>
              </a:extLst>
            </p:cNvPr>
            <p:cNvSpPr/>
            <p:nvPr/>
          </p:nvSpPr>
          <p:spPr>
            <a:xfrm rot="8716295">
              <a:off x="5039475" y="1683975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" name="Forme libre : forme 236">
              <a:extLst>
                <a:ext uri="{FF2B5EF4-FFF2-40B4-BE49-F238E27FC236}">
                  <a16:creationId xmlns:a16="http://schemas.microsoft.com/office/drawing/2014/main" id="{D76415DF-3D0E-46A1-A992-CAEF6C90F935}"/>
                </a:ext>
              </a:extLst>
            </p:cNvPr>
            <p:cNvSpPr/>
            <p:nvPr/>
          </p:nvSpPr>
          <p:spPr>
            <a:xfrm rot="8716295">
              <a:off x="4671311" y="172971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" name="Forme libre : forme 237">
              <a:extLst>
                <a:ext uri="{FF2B5EF4-FFF2-40B4-BE49-F238E27FC236}">
                  <a16:creationId xmlns:a16="http://schemas.microsoft.com/office/drawing/2014/main" id="{22B5BB48-3533-4C75-B095-5C6392290E1E}"/>
                </a:ext>
              </a:extLst>
            </p:cNvPr>
            <p:cNvSpPr/>
            <p:nvPr/>
          </p:nvSpPr>
          <p:spPr>
            <a:xfrm rot="8716295">
              <a:off x="4939893" y="148869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" name="Forme libre : forme 238">
              <a:extLst>
                <a:ext uri="{FF2B5EF4-FFF2-40B4-BE49-F238E27FC236}">
                  <a16:creationId xmlns:a16="http://schemas.microsoft.com/office/drawing/2014/main" id="{D4F7953A-EB21-471D-9CE6-DFD037BB3D9B}"/>
                </a:ext>
              </a:extLst>
            </p:cNvPr>
            <p:cNvSpPr/>
            <p:nvPr/>
          </p:nvSpPr>
          <p:spPr>
            <a:xfrm rot="8716295">
              <a:off x="3777571" y="1076054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" name="Forme libre : forme 239">
              <a:extLst>
                <a:ext uri="{FF2B5EF4-FFF2-40B4-BE49-F238E27FC236}">
                  <a16:creationId xmlns:a16="http://schemas.microsoft.com/office/drawing/2014/main" id="{B31F3CAF-6E5C-4883-9D56-37A77E8E54A5}"/>
                </a:ext>
              </a:extLst>
            </p:cNvPr>
            <p:cNvSpPr/>
            <p:nvPr/>
          </p:nvSpPr>
          <p:spPr>
            <a:xfrm rot="8716295">
              <a:off x="3912870" y="1120313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" name="Forme libre : forme 240">
              <a:extLst>
                <a:ext uri="{FF2B5EF4-FFF2-40B4-BE49-F238E27FC236}">
                  <a16:creationId xmlns:a16="http://schemas.microsoft.com/office/drawing/2014/main" id="{C147FD5B-3693-4B4F-88B4-175EF4DCAB5D}"/>
                </a:ext>
              </a:extLst>
            </p:cNvPr>
            <p:cNvSpPr/>
            <p:nvPr/>
          </p:nvSpPr>
          <p:spPr>
            <a:xfrm rot="8716295">
              <a:off x="3844988" y="989725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" name="Forme libre : forme 241">
              <a:extLst>
                <a:ext uri="{FF2B5EF4-FFF2-40B4-BE49-F238E27FC236}">
                  <a16:creationId xmlns:a16="http://schemas.microsoft.com/office/drawing/2014/main" id="{ADDA2175-F82B-4C1C-A775-DCF7ED389EE1}"/>
                </a:ext>
              </a:extLst>
            </p:cNvPr>
            <p:cNvSpPr/>
            <p:nvPr/>
          </p:nvSpPr>
          <p:spPr>
            <a:xfrm rot="8716295">
              <a:off x="3607700" y="121006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" name="Forme libre : forme 242">
              <a:extLst>
                <a:ext uri="{FF2B5EF4-FFF2-40B4-BE49-F238E27FC236}">
                  <a16:creationId xmlns:a16="http://schemas.microsoft.com/office/drawing/2014/main" id="{3DA66E2A-B271-4CA4-B9FF-6AFE032DC966}"/>
                </a:ext>
              </a:extLst>
            </p:cNvPr>
            <p:cNvSpPr/>
            <p:nvPr/>
          </p:nvSpPr>
          <p:spPr>
            <a:xfrm rot="8716295">
              <a:off x="3418654" y="89423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" name="Forme libre : forme 243">
              <a:extLst>
                <a:ext uri="{FF2B5EF4-FFF2-40B4-BE49-F238E27FC236}">
                  <a16:creationId xmlns:a16="http://schemas.microsoft.com/office/drawing/2014/main" id="{5F0B065E-4F1B-43F1-9813-90200634675E}"/>
                </a:ext>
              </a:extLst>
            </p:cNvPr>
            <p:cNvSpPr/>
            <p:nvPr/>
          </p:nvSpPr>
          <p:spPr>
            <a:xfrm rot="8716295">
              <a:off x="3400413" y="68418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" name="Forme libre : forme 244">
              <a:extLst>
                <a:ext uri="{FF2B5EF4-FFF2-40B4-BE49-F238E27FC236}">
                  <a16:creationId xmlns:a16="http://schemas.microsoft.com/office/drawing/2014/main" id="{20854BC4-5849-4EDA-A9AD-8A9CB02779EC}"/>
                </a:ext>
              </a:extLst>
            </p:cNvPr>
            <p:cNvSpPr/>
            <p:nvPr/>
          </p:nvSpPr>
          <p:spPr>
            <a:xfrm rot="8716295">
              <a:off x="3744189" y="1272052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" name="Forme libre : forme 245">
              <a:extLst>
                <a:ext uri="{FF2B5EF4-FFF2-40B4-BE49-F238E27FC236}">
                  <a16:creationId xmlns:a16="http://schemas.microsoft.com/office/drawing/2014/main" id="{7833AF6E-AF2A-42B3-84D3-9F8F342AAC2A}"/>
                </a:ext>
              </a:extLst>
            </p:cNvPr>
            <p:cNvSpPr/>
            <p:nvPr/>
          </p:nvSpPr>
          <p:spPr>
            <a:xfrm rot="8716295">
              <a:off x="4215135" y="69743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" name="Forme libre : forme 246">
              <a:extLst>
                <a:ext uri="{FF2B5EF4-FFF2-40B4-BE49-F238E27FC236}">
                  <a16:creationId xmlns:a16="http://schemas.microsoft.com/office/drawing/2014/main" id="{5CCDB5E7-FFA9-4665-85A4-71445280D93D}"/>
                </a:ext>
              </a:extLst>
            </p:cNvPr>
            <p:cNvSpPr/>
            <p:nvPr/>
          </p:nvSpPr>
          <p:spPr>
            <a:xfrm rot="8716295">
              <a:off x="4350434" y="74169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" name="Forme libre : forme 247">
              <a:extLst>
                <a:ext uri="{FF2B5EF4-FFF2-40B4-BE49-F238E27FC236}">
                  <a16:creationId xmlns:a16="http://schemas.microsoft.com/office/drawing/2014/main" id="{2DD39E77-D511-475C-B9A4-1F96A0A8FEEA}"/>
                </a:ext>
              </a:extLst>
            </p:cNvPr>
            <p:cNvSpPr/>
            <p:nvPr/>
          </p:nvSpPr>
          <p:spPr>
            <a:xfrm rot="8716295">
              <a:off x="4045264" y="83145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" name="Forme libre : forme 248">
              <a:extLst>
                <a:ext uri="{FF2B5EF4-FFF2-40B4-BE49-F238E27FC236}">
                  <a16:creationId xmlns:a16="http://schemas.microsoft.com/office/drawing/2014/main" id="{37119436-3DF5-44F0-88C8-59BCDF9BA3E8}"/>
                </a:ext>
              </a:extLst>
            </p:cNvPr>
            <p:cNvSpPr/>
            <p:nvPr/>
          </p:nvSpPr>
          <p:spPr>
            <a:xfrm rot="8716295">
              <a:off x="3856220" y="51561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" name="Forme libre : forme 249">
              <a:extLst>
                <a:ext uri="{FF2B5EF4-FFF2-40B4-BE49-F238E27FC236}">
                  <a16:creationId xmlns:a16="http://schemas.microsoft.com/office/drawing/2014/main" id="{5EFF1AF7-D116-4A78-8A60-0881E3BE9924}"/>
                </a:ext>
              </a:extLst>
            </p:cNvPr>
            <p:cNvSpPr/>
            <p:nvPr/>
          </p:nvSpPr>
          <p:spPr>
            <a:xfrm rot="8716295">
              <a:off x="4181753" y="893436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" name="Forme libre : forme 250">
              <a:extLst>
                <a:ext uri="{FF2B5EF4-FFF2-40B4-BE49-F238E27FC236}">
                  <a16:creationId xmlns:a16="http://schemas.microsoft.com/office/drawing/2014/main" id="{C38BBAB8-EA94-46A9-B44D-F77A303742D6}"/>
                </a:ext>
              </a:extLst>
            </p:cNvPr>
            <p:cNvSpPr/>
            <p:nvPr/>
          </p:nvSpPr>
          <p:spPr>
            <a:xfrm rot="8716295">
              <a:off x="3816306" y="66701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" name="Forme libre : forme 251">
              <a:extLst>
                <a:ext uri="{FF2B5EF4-FFF2-40B4-BE49-F238E27FC236}">
                  <a16:creationId xmlns:a16="http://schemas.microsoft.com/office/drawing/2014/main" id="{726FB4EE-DE4A-475E-B9CA-BDA728B96056}"/>
                </a:ext>
              </a:extLst>
            </p:cNvPr>
            <p:cNvSpPr/>
            <p:nvPr/>
          </p:nvSpPr>
          <p:spPr>
            <a:xfrm rot="7484129">
              <a:off x="4340570" y="118305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" name="Forme libre : forme 252">
              <a:extLst>
                <a:ext uri="{FF2B5EF4-FFF2-40B4-BE49-F238E27FC236}">
                  <a16:creationId xmlns:a16="http://schemas.microsoft.com/office/drawing/2014/main" id="{3778C4A8-DD8F-40FB-BF36-85A62335E025}"/>
                </a:ext>
              </a:extLst>
            </p:cNvPr>
            <p:cNvSpPr/>
            <p:nvPr/>
          </p:nvSpPr>
          <p:spPr>
            <a:xfrm rot="13089394">
              <a:off x="4499220" y="1132402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" name="Forme libre : forme 253">
              <a:extLst>
                <a:ext uri="{FF2B5EF4-FFF2-40B4-BE49-F238E27FC236}">
                  <a16:creationId xmlns:a16="http://schemas.microsoft.com/office/drawing/2014/main" id="{E67B04C4-DF6C-4AF3-A306-EC57702A7EA7}"/>
                </a:ext>
              </a:extLst>
            </p:cNvPr>
            <p:cNvSpPr/>
            <p:nvPr/>
          </p:nvSpPr>
          <p:spPr>
            <a:xfrm rot="8716295">
              <a:off x="4780111" y="842284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" name="Forme libre : forme 254">
              <a:extLst>
                <a:ext uri="{FF2B5EF4-FFF2-40B4-BE49-F238E27FC236}">
                  <a16:creationId xmlns:a16="http://schemas.microsoft.com/office/drawing/2014/main" id="{0C3B947F-A89B-45FB-9A8F-3A9BCC6CD484}"/>
                </a:ext>
              </a:extLst>
            </p:cNvPr>
            <p:cNvSpPr/>
            <p:nvPr/>
          </p:nvSpPr>
          <p:spPr>
            <a:xfrm rot="8716295">
              <a:off x="4701702" y="68549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" name="Forme libre : forme 255">
              <a:extLst>
                <a:ext uri="{FF2B5EF4-FFF2-40B4-BE49-F238E27FC236}">
                  <a16:creationId xmlns:a16="http://schemas.microsoft.com/office/drawing/2014/main" id="{65FF4858-B1A0-42D2-ADCA-DB484EB1FE6D}"/>
                </a:ext>
              </a:extLst>
            </p:cNvPr>
            <p:cNvSpPr/>
            <p:nvPr/>
          </p:nvSpPr>
          <p:spPr>
            <a:xfrm rot="8716295">
              <a:off x="4333538" y="73123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" name="Forme libre : forme 256">
              <a:extLst>
                <a:ext uri="{FF2B5EF4-FFF2-40B4-BE49-F238E27FC236}">
                  <a16:creationId xmlns:a16="http://schemas.microsoft.com/office/drawing/2014/main" id="{28C1BE2D-A511-4E2F-AC16-ED6DA95D0016}"/>
                </a:ext>
              </a:extLst>
            </p:cNvPr>
            <p:cNvSpPr/>
            <p:nvPr/>
          </p:nvSpPr>
          <p:spPr>
            <a:xfrm rot="8716295">
              <a:off x="4602120" y="49021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" name="Forme libre : forme 257">
              <a:extLst>
                <a:ext uri="{FF2B5EF4-FFF2-40B4-BE49-F238E27FC236}">
                  <a16:creationId xmlns:a16="http://schemas.microsoft.com/office/drawing/2014/main" id="{414A6022-94D3-4CA0-800F-BAEAE0FC105C}"/>
                </a:ext>
              </a:extLst>
            </p:cNvPr>
            <p:cNvSpPr/>
            <p:nvPr/>
          </p:nvSpPr>
          <p:spPr>
            <a:xfrm rot="8716295">
              <a:off x="3446198" y="74000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" name="Forme libre : forme 258">
              <a:extLst>
                <a:ext uri="{FF2B5EF4-FFF2-40B4-BE49-F238E27FC236}">
                  <a16:creationId xmlns:a16="http://schemas.microsoft.com/office/drawing/2014/main" id="{2CDD9144-31FA-487A-AF8B-34A135FB089A}"/>
                </a:ext>
              </a:extLst>
            </p:cNvPr>
            <p:cNvSpPr/>
            <p:nvPr/>
          </p:nvSpPr>
          <p:spPr>
            <a:xfrm rot="8716295">
              <a:off x="3581496" y="11826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" name="Forme libre : forme 259">
              <a:extLst>
                <a:ext uri="{FF2B5EF4-FFF2-40B4-BE49-F238E27FC236}">
                  <a16:creationId xmlns:a16="http://schemas.microsoft.com/office/drawing/2014/main" id="{7FE16051-BF2A-4B51-837A-7B2C211B57E4}"/>
                </a:ext>
              </a:extLst>
            </p:cNvPr>
            <p:cNvSpPr/>
            <p:nvPr/>
          </p:nvSpPr>
          <p:spPr>
            <a:xfrm rot="8716295">
              <a:off x="3522597" y="36248"/>
              <a:ext cx="234675" cy="172489"/>
            </a:xfrm>
            <a:custGeom>
              <a:avLst/>
              <a:gdLst>
                <a:gd name="connsiteX0" fmla="*/ 25756 w 155050"/>
                <a:gd name="connsiteY0" fmla="*/ 113964 h 113964"/>
                <a:gd name="connsiteX1" fmla="*/ 0 w 155050"/>
                <a:gd name="connsiteY1" fmla="*/ 96110 h 113964"/>
                <a:gd name="connsiteX2" fmla="*/ 72120 w 155050"/>
                <a:gd name="connsiteY2" fmla="*/ 28251 h 113964"/>
                <a:gd name="connsiteX3" fmla="*/ 126799 w 155050"/>
                <a:gd name="connsiteY3" fmla="*/ 0 h 113964"/>
                <a:gd name="connsiteX4" fmla="*/ 155050 w 155050"/>
                <a:gd name="connsiteY4" fmla="*/ 33719 h 113964"/>
                <a:gd name="connsiteX5" fmla="*/ 128622 w 155050"/>
                <a:gd name="connsiteY5" fmla="*/ 69261 h 113964"/>
                <a:gd name="connsiteX6" fmla="*/ 129077 w 155050"/>
                <a:gd name="connsiteY6" fmla="*/ 69261 h 113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5050" h="113964">
                  <a:moveTo>
                    <a:pt x="25756" y="113964"/>
                  </a:moveTo>
                  <a:lnTo>
                    <a:pt x="0" y="96110"/>
                  </a:lnTo>
                  <a:lnTo>
                    <a:pt x="72120" y="28251"/>
                  </a:lnTo>
                  <a:cubicBezTo>
                    <a:pt x="85790" y="12303"/>
                    <a:pt x="105383" y="2279"/>
                    <a:pt x="126799" y="0"/>
                  </a:cubicBezTo>
                  <a:cubicBezTo>
                    <a:pt x="148671" y="0"/>
                    <a:pt x="155050" y="19138"/>
                    <a:pt x="155050" y="33719"/>
                  </a:cubicBezTo>
                  <a:cubicBezTo>
                    <a:pt x="153683" y="49668"/>
                    <a:pt x="143203" y="62882"/>
                    <a:pt x="128622" y="69261"/>
                  </a:cubicBezTo>
                  <a:lnTo>
                    <a:pt x="129077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" name="Forme libre : forme 260">
              <a:extLst>
                <a:ext uri="{FF2B5EF4-FFF2-40B4-BE49-F238E27FC236}">
                  <a16:creationId xmlns:a16="http://schemas.microsoft.com/office/drawing/2014/main" id="{FB6AA26B-D49A-416A-8CAC-16E489B31447}"/>
                </a:ext>
              </a:extLst>
            </p:cNvPr>
            <p:cNvSpPr/>
            <p:nvPr/>
          </p:nvSpPr>
          <p:spPr>
            <a:xfrm rot="8716295">
              <a:off x="3276327" y="20801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" name="Forme libre : forme 261">
              <a:extLst>
                <a:ext uri="{FF2B5EF4-FFF2-40B4-BE49-F238E27FC236}">
                  <a16:creationId xmlns:a16="http://schemas.microsoft.com/office/drawing/2014/main" id="{28AC6B7B-6FBF-49BE-A75A-A0128A514084}"/>
                </a:ext>
              </a:extLst>
            </p:cNvPr>
            <p:cNvSpPr/>
            <p:nvPr/>
          </p:nvSpPr>
          <p:spPr>
            <a:xfrm rot="8716295">
              <a:off x="3107933" y="-20072"/>
              <a:ext cx="308531" cy="199994"/>
            </a:xfrm>
            <a:custGeom>
              <a:avLst/>
              <a:gdLst>
                <a:gd name="connsiteX0" fmla="*/ 112633 w 203847"/>
                <a:gd name="connsiteY0" fmla="*/ 132136 h 132136"/>
                <a:gd name="connsiteX1" fmla="*/ 56185 w 203847"/>
                <a:gd name="connsiteY1" fmla="*/ 93008 h 132136"/>
                <a:gd name="connsiteX2" fmla="*/ 69777 w 203847"/>
                <a:gd name="connsiteY2" fmla="*/ 55323 h 132136"/>
                <a:gd name="connsiteX3" fmla="*/ 1818 w 203847"/>
                <a:gd name="connsiteY3" fmla="*/ 55323 h 132136"/>
                <a:gd name="connsiteX4" fmla="*/ 0 w 203847"/>
                <a:gd name="connsiteY4" fmla="*/ 54062 h 132136"/>
                <a:gd name="connsiteX5" fmla="*/ 0 w 203847"/>
                <a:gd name="connsiteY5" fmla="*/ 0 h 132136"/>
                <a:gd name="connsiteX6" fmla="*/ 203847 w 203847"/>
                <a:gd name="connsiteY6" fmla="*/ 0 h 132136"/>
                <a:gd name="connsiteX7" fmla="*/ 203847 w 203847"/>
                <a:gd name="connsiteY7" fmla="*/ 55323 h 132136"/>
                <a:gd name="connsiteX8" fmla="*/ 139055 w 203847"/>
                <a:gd name="connsiteY8" fmla="*/ 55323 h 132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32136">
                  <a:moveTo>
                    <a:pt x="112633" y="132136"/>
                  </a:moveTo>
                  <a:lnTo>
                    <a:pt x="56185" y="93008"/>
                  </a:lnTo>
                  <a:lnTo>
                    <a:pt x="69777" y="55323"/>
                  </a:lnTo>
                  <a:lnTo>
                    <a:pt x="1818" y="55323"/>
                  </a:lnTo>
                  <a:lnTo>
                    <a:pt x="0" y="54062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" name="Forme libre : forme 262">
              <a:extLst>
                <a:ext uri="{FF2B5EF4-FFF2-40B4-BE49-F238E27FC236}">
                  <a16:creationId xmlns:a16="http://schemas.microsoft.com/office/drawing/2014/main" id="{CE04BDAF-0764-44CB-B173-496F062D8434}"/>
                </a:ext>
              </a:extLst>
            </p:cNvPr>
            <p:cNvSpPr/>
            <p:nvPr/>
          </p:nvSpPr>
          <p:spPr>
            <a:xfrm rot="8716295">
              <a:off x="3475628" y="-31540"/>
              <a:ext cx="98161" cy="118527"/>
            </a:xfrm>
            <a:custGeom>
              <a:avLst/>
              <a:gdLst>
                <a:gd name="connsiteX0" fmla="*/ 64855 w 64855"/>
                <a:gd name="connsiteY0" fmla="*/ 78311 h 78311"/>
                <a:gd name="connsiteX1" fmla="*/ 0 w 64855"/>
                <a:gd name="connsiteY1" fmla="*/ 33356 h 78311"/>
                <a:gd name="connsiteX2" fmla="*/ 64294 w 64855"/>
                <a:gd name="connsiteY2" fmla="*/ 0 h 78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855" h="78311">
                  <a:moveTo>
                    <a:pt x="64855" y="78311"/>
                  </a:moveTo>
                  <a:lnTo>
                    <a:pt x="0" y="33356"/>
                  </a:lnTo>
                  <a:lnTo>
                    <a:pt x="64294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" name="Forme libre : forme 263">
              <a:extLst>
                <a:ext uri="{FF2B5EF4-FFF2-40B4-BE49-F238E27FC236}">
                  <a16:creationId xmlns:a16="http://schemas.microsoft.com/office/drawing/2014/main" id="{79FA5AFC-AB70-4D92-BC44-1181877F58C8}"/>
                </a:ext>
              </a:extLst>
            </p:cNvPr>
            <p:cNvSpPr/>
            <p:nvPr/>
          </p:nvSpPr>
          <p:spPr>
            <a:xfrm rot="8716295">
              <a:off x="3412815" y="26999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" name="Forme libre : forme 264">
              <a:extLst>
                <a:ext uri="{FF2B5EF4-FFF2-40B4-BE49-F238E27FC236}">
                  <a16:creationId xmlns:a16="http://schemas.microsoft.com/office/drawing/2014/main" id="{3C1D95D8-2F29-45A0-9BA8-42D88BD37B32}"/>
                </a:ext>
              </a:extLst>
            </p:cNvPr>
            <p:cNvSpPr/>
            <p:nvPr/>
          </p:nvSpPr>
          <p:spPr>
            <a:xfrm rot="8716295">
              <a:off x="3966406" y="-35912"/>
              <a:ext cx="123741" cy="85774"/>
            </a:xfrm>
            <a:custGeom>
              <a:avLst/>
              <a:gdLst>
                <a:gd name="connsiteX0" fmla="*/ 81756 w 81756"/>
                <a:gd name="connsiteY0" fmla="*/ 56671 h 56671"/>
                <a:gd name="connsiteX1" fmla="*/ 0 w 81756"/>
                <a:gd name="connsiteY1" fmla="*/ 0 h 56671"/>
                <a:gd name="connsiteX2" fmla="*/ 24798 w 81756"/>
                <a:gd name="connsiteY2" fmla="*/ 0 h 56671"/>
                <a:gd name="connsiteX3" fmla="*/ 81756 w 81756"/>
                <a:gd name="connsiteY3" fmla="*/ 50123 h 56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1756" h="56671">
                  <a:moveTo>
                    <a:pt x="81756" y="56671"/>
                  </a:moveTo>
                  <a:lnTo>
                    <a:pt x="0" y="0"/>
                  </a:lnTo>
                  <a:lnTo>
                    <a:pt x="24798" y="0"/>
                  </a:lnTo>
                  <a:cubicBezTo>
                    <a:pt x="61707" y="0"/>
                    <a:pt x="81756" y="15949"/>
                    <a:pt x="81756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" name="Forme libre : forme 265">
              <a:extLst>
                <a:ext uri="{FF2B5EF4-FFF2-40B4-BE49-F238E27FC236}">
                  <a16:creationId xmlns:a16="http://schemas.microsoft.com/office/drawing/2014/main" id="{58EB0588-BD8B-459E-AF8B-F1A7C9A84E72}"/>
                </a:ext>
              </a:extLst>
            </p:cNvPr>
            <p:cNvSpPr/>
            <p:nvPr/>
          </p:nvSpPr>
          <p:spPr>
            <a:xfrm rot="8716295">
              <a:off x="4089146" y="-31808"/>
              <a:ext cx="332088" cy="148365"/>
            </a:xfrm>
            <a:custGeom>
              <a:avLst/>
              <a:gdLst>
                <a:gd name="connsiteX0" fmla="*/ 63575 w 219411"/>
                <a:gd name="connsiteY0" fmla="*/ 45493 h 98025"/>
                <a:gd name="connsiteX1" fmla="*/ 0 w 219411"/>
                <a:gd name="connsiteY1" fmla="*/ 1425 h 98025"/>
                <a:gd name="connsiteX2" fmla="*/ 63575 w 219411"/>
                <a:gd name="connsiteY2" fmla="*/ 1425 h 98025"/>
                <a:gd name="connsiteX3" fmla="*/ 88634 w 219411"/>
                <a:gd name="connsiteY3" fmla="*/ 62863 h 98025"/>
                <a:gd name="connsiteX4" fmla="*/ 73596 w 219411"/>
                <a:gd name="connsiteY4" fmla="*/ 52439 h 98025"/>
                <a:gd name="connsiteX5" fmla="*/ 75493 w 219411"/>
                <a:gd name="connsiteY5" fmla="*/ 47439 h 98025"/>
                <a:gd name="connsiteX6" fmla="*/ 112786 w 219411"/>
                <a:gd name="connsiteY6" fmla="*/ 5981 h 98025"/>
                <a:gd name="connsiteX7" fmla="*/ 144227 w 219411"/>
                <a:gd name="connsiteY7" fmla="*/ 57 h 98025"/>
                <a:gd name="connsiteX8" fmla="*/ 219411 w 219411"/>
                <a:gd name="connsiteY8" fmla="*/ 88456 h 98025"/>
                <a:gd name="connsiteX9" fmla="*/ 219411 w 219411"/>
                <a:gd name="connsiteY9" fmla="*/ 94380 h 98025"/>
                <a:gd name="connsiteX10" fmla="*/ 157441 w 219411"/>
                <a:gd name="connsiteY10" fmla="*/ 98025 h 98025"/>
                <a:gd name="connsiteX11" fmla="*/ 157441 w 219411"/>
                <a:gd name="connsiteY11" fmla="*/ 81621 h 98025"/>
                <a:gd name="connsiteX12" fmla="*/ 123722 w 219411"/>
                <a:gd name="connsiteY12" fmla="*/ 40156 h 98025"/>
                <a:gd name="connsiteX13" fmla="*/ 103089 w 219411"/>
                <a:gd name="connsiteY13" fmla="*/ 46969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9411" h="98025">
                  <a:moveTo>
                    <a:pt x="63575" y="45493"/>
                  </a:moveTo>
                  <a:lnTo>
                    <a:pt x="0" y="1425"/>
                  </a:lnTo>
                  <a:lnTo>
                    <a:pt x="63575" y="1425"/>
                  </a:lnTo>
                  <a:close/>
                  <a:moveTo>
                    <a:pt x="88634" y="62863"/>
                  </a:moveTo>
                  <a:lnTo>
                    <a:pt x="73596" y="52439"/>
                  </a:lnTo>
                  <a:lnTo>
                    <a:pt x="75493" y="47439"/>
                  </a:lnTo>
                  <a:cubicBezTo>
                    <a:pt x="85874" y="24008"/>
                    <a:pt x="96382" y="12816"/>
                    <a:pt x="112786" y="5981"/>
                  </a:cubicBezTo>
                  <a:cubicBezTo>
                    <a:pt x="122811" y="1880"/>
                    <a:pt x="133291" y="-398"/>
                    <a:pt x="144227" y="57"/>
                  </a:cubicBezTo>
                  <a:cubicBezTo>
                    <a:pt x="191160" y="-854"/>
                    <a:pt x="219411" y="31954"/>
                    <a:pt x="219411" y="88456"/>
                  </a:cubicBezTo>
                  <a:lnTo>
                    <a:pt x="219411" y="94380"/>
                  </a:lnTo>
                  <a:lnTo>
                    <a:pt x="157441" y="98025"/>
                  </a:lnTo>
                  <a:lnTo>
                    <a:pt x="157441" y="81621"/>
                  </a:lnTo>
                  <a:cubicBezTo>
                    <a:pt x="157441" y="57016"/>
                    <a:pt x="143316" y="40156"/>
                    <a:pt x="123722" y="40156"/>
                  </a:cubicBezTo>
                  <a:cubicBezTo>
                    <a:pt x="116431" y="40156"/>
                    <a:pt x="109454" y="42577"/>
                    <a:pt x="103089" y="4696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" name="Forme libre : forme 266">
              <a:extLst>
                <a:ext uri="{FF2B5EF4-FFF2-40B4-BE49-F238E27FC236}">
                  <a16:creationId xmlns:a16="http://schemas.microsoft.com/office/drawing/2014/main" id="{8BF71B65-6E28-4BBD-90CF-EB6990FA2B3D}"/>
                </a:ext>
              </a:extLst>
            </p:cNvPr>
            <p:cNvSpPr/>
            <p:nvPr/>
          </p:nvSpPr>
          <p:spPr>
            <a:xfrm rot="8716295">
              <a:off x="3850379" y="-108618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" name="Forme libre : forme 267">
              <a:extLst>
                <a:ext uri="{FF2B5EF4-FFF2-40B4-BE49-F238E27FC236}">
                  <a16:creationId xmlns:a16="http://schemas.microsoft.com/office/drawing/2014/main" id="{C234B460-A852-4BC6-9223-625373ACE475}"/>
                </a:ext>
              </a:extLst>
            </p:cNvPr>
            <p:cNvSpPr/>
            <p:nvPr/>
          </p:nvSpPr>
          <p:spPr>
            <a:xfrm rot="7484129">
              <a:off x="4009196" y="18100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" name="Forme libre : forme 268">
              <a:extLst>
                <a:ext uri="{FF2B5EF4-FFF2-40B4-BE49-F238E27FC236}">
                  <a16:creationId xmlns:a16="http://schemas.microsoft.com/office/drawing/2014/main" id="{ED1521F3-7A8A-439A-8C00-B7EE31751298}"/>
                </a:ext>
              </a:extLst>
            </p:cNvPr>
            <p:cNvSpPr/>
            <p:nvPr/>
          </p:nvSpPr>
          <p:spPr>
            <a:xfrm rot="13089394">
              <a:off x="4167846" y="130348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0" name="Forme libre : forme 269">
              <a:extLst>
                <a:ext uri="{FF2B5EF4-FFF2-40B4-BE49-F238E27FC236}">
                  <a16:creationId xmlns:a16="http://schemas.microsoft.com/office/drawing/2014/main" id="{33189A82-B861-4219-AF6A-9F08FA6A03EE}"/>
                </a:ext>
              </a:extLst>
            </p:cNvPr>
            <p:cNvSpPr/>
            <p:nvPr/>
          </p:nvSpPr>
          <p:spPr>
            <a:xfrm rot="8716295">
              <a:off x="4488057" y="-10608"/>
              <a:ext cx="169580" cy="136116"/>
            </a:xfrm>
            <a:custGeom>
              <a:avLst/>
              <a:gdLst>
                <a:gd name="connsiteX0" fmla="*/ 62355 w 112042"/>
                <a:gd name="connsiteY0" fmla="*/ 89932 h 89932"/>
                <a:gd name="connsiteX1" fmla="*/ 0 w 112042"/>
                <a:gd name="connsiteY1" fmla="*/ 46710 h 89932"/>
                <a:gd name="connsiteX2" fmla="*/ 14231 w 112042"/>
                <a:gd name="connsiteY2" fmla="*/ 33321 h 89932"/>
                <a:gd name="connsiteX3" fmla="*/ 78722 w 112042"/>
                <a:gd name="connsiteY3" fmla="*/ 0 h 89932"/>
                <a:gd name="connsiteX4" fmla="*/ 112042 w 112042"/>
                <a:gd name="connsiteY4" fmla="*/ 39770 h 89932"/>
                <a:gd name="connsiteX5" fmla="*/ 80872 w 112042"/>
                <a:gd name="connsiteY5" fmla="*/ 81689 h 89932"/>
                <a:gd name="connsiteX6" fmla="*/ 81408 w 112042"/>
                <a:gd name="connsiteY6" fmla="*/ 81689 h 89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2042" h="89932">
                  <a:moveTo>
                    <a:pt x="62355" y="89932"/>
                  </a:moveTo>
                  <a:lnTo>
                    <a:pt x="0" y="46710"/>
                  </a:lnTo>
                  <a:lnTo>
                    <a:pt x="14231" y="33321"/>
                  </a:lnTo>
                  <a:cubicBezTo>
                    <a:pt x="30353" y="14511"/>
                    <a:pt x="53462" y="2687"/>
                    <a:pt x="78722" y="0"/>
                  </a:cubicBezTo>
                  <a:cubicBezTo>
                    <a:pt x="104518" y="0"/>
                    <a:pt x="112042" y="22572"/>
                    <a:pt x="112042" y="39770"/>
                  </a:cubicBezTo>
                  <a:cubicBezTo>
                    <a:pt x="110429" y="58580"/>
                    <a:pt x="98068" y="74165"/>
                    <a:pt x="80872" y="81689"/>
                  </a:cubicBezTo>
                  <a:lnTo>
                    <a:pt x="81408" y="816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1" name="Forme libre : forme 270">
              <a:extLst>
                <a:ext uri="{FF2B5EF4-FFF2-40B4-BE49-F238E27FC236}">
                  <a16:creationId xmlns:a16="http://schemas.microsoft.com/office/drawing/2014/main" id="{1EF7387F-9F93-4D5B-AD0B-A9B5B150D750}"/>
                </a:ext>
              </a:extLst>
            </p:cNvPr>
            <p:cNvSpPr/>
            <p:nvPr/>
          </p:nvSpPr>
          <p:spPr>
            <a:xfrm rot="8716295">
              <a:off x="3111565" y="373623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2" name="Forme libre : forme 271">
              <a:extLst>
                <a:ext uri="{FF2B5EF4-FFF2-40B4-BE49-F238E27FC236}">
                  <a16:creationId xmlns:a16="http://schemas.microsoft.com/office/drawing/2014/main" id="{B4768996-8D29-4ED8-9892-576EE6810B22}"/>
                </a:ext>
              </a:extLst>
            </p:cNvPr>
            <p:cNvSpPr/>
            <p:nvPr/>
          </p:nvSpPr>
          <p:spPr>
            <a:xfrm rot="8716295">
              <a:off x="3246864" y="378049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3" name="Forme libre : forme 272">
              <a:extLst>
                <a:ext uri="{FF2B5EF4-FFF2-40B4-BE49-F238E27FC236}">
                  <a16:creationId xmlns:a16="http://schemas.microsoft.com/office/drawing/2014/main" id="{303FB1DD-DCD5-4C62-8A14-00277F3DAA40}"/>
                </a:ext>
              </a:extLst>
            </p:cNvPr>
            <p:cNvSpPr/>
            <p:nvPr/>
          </p:nvSpPr>
          <p:spPr>
            <a:xfrm rot="8716295">
              <a:off x="3178981" y="3649901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4" name="Forme libre : forme 273">
              <a:extLst>
                <a:ext uri="{FF2B5EF4-FFF2-40B4-BE49-F238E27FC236}">
                  <a16:creationId xmlns:a16="http://schemas.microsoft.com/office/drawing/2014/main" id="{FE02E440-C3F4-4D87-B8DD-6EFE0A4EF84D}"/>
                </a:ext>
              </a:extLst>
            </p:cNvPr>
            <p:cNvSpPr/>
            <p:nvPr/>
          </p:nvSpPr>
          <p:spPr>
            <a:xfrm rot="8716295">
              <a:off x="2941694" y="387024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5" name="Forme libre : forme 274">
              <a:extLst>
                <a:ext uri="{FF2B5EF4-FFF2-40B4-BE49-F238E27FC236}">
                  <a16:creationId xmlns:a16="http://schemas.microsoft.com/office/drawing/2014/main" id="{79A8277D-0F31-4A40-BC3D-FDA2697AD79E}"/>
                </a:ext>
              </a:extLst>
            </p:cNvPr>
            <p:cNvSpPr/>
            <p:nvPr/>
          </p:nvSpPr>
          <p:spPr>
            <a:xfrm rot="8716295">
              <a:off x="2752648" y="3554410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6" name="Forme libre : forme 275">
              <a:extLst>
                <a:ext uri="{FF2B5EF4-FFF2-40B4-BE49-F238E27FC236}">
                  <a16:creationId xmlns:a16="http://schemas.microsoft.com/office/drawing/2014/main" id="{FDF6C6F6-1950-4480-853C-710CE9CA14A1}"/>
                </a:ext>
              </a:extLst>
            </p:cNvPr>
            <p:cNvSpPr/>
            <p:nvPr/>
          </p:nvSpPr>
          <p:spPr>
            <a:xfrm rot="8716295">
              <a:off x="2734407" y="334436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7" name="Forme libre : forme 276">
              <a:extLst>
                <a:ext uri="{FF2B5EF4-FFF2-40B4-BE49-F238E27FC236}">
                  <a16:creationId xmlns:a16="http://schemas.microsoft.com/office/drawing/2014/main" id="{F7DE91C7-8472-4B32-8DA3-B40AD12704F7}"/>
                </a:ext>
              </a:extLst>
            </p:cNvPr>
            <p:cNvSpPr/>
            <p:nvPr/>
          </p:nvSpPr>
          <p:spPr>
            <a:xfrm rot="8716295">
              <a:off x="3078183" y="393222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8" name="Forme libre : forme 277">
              <a:extLst>
                <a:ext uri="{FF2B5EF4-FFF2-40B4-BE49-F238E27FC236}">
                  <a16:creationId xmlns:a16="http://schemas.microsoft.com/office/drawing/2014/main" id="{56FC047B-D272-4172-A288-45148C4BFE0D}"/>
                </a:ext>
              </a:extLst>
            </p:cNvPr>
            <p:cNvSpPr/>
            <p:nvPr/>
          </p:nvSpPr>
          <p:spPr>
            <a:xfrm rot="8716295">
              <a:off x="3549129" y="335761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9" name="Forme libre : forme 278">
              <a:extLst>
                <a:ext uri="{FF2B5EF4-FFF2-40B4-BE49-F238E27FC236}">
                  <a16:creationId xmlns:a16="http://schemas.microsoft.com/office/drawing/2014/main" id="{B13EC7A5-2676-4C63-B64E-8B2F38021996}"/>
                </a:ext>
              </a:extLst>
            </p:cNvPr>
            <p:cNvSpPr/>
            <p:nvPr/>
          </p:nvSpPr>
          <p:spPr>
            <a:xfrm rot="8716295">
              <a:off x="3684428" y="340187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0" name="Forme libre : forme 279">
              <a:extLst>
                <a:ext uri="{FF2B5EF4-FFF2-40B4-BE49-F238E27FC236}">
                  <a16:creationId xmlns:a16="http://schemas.microsoft.com/office/drawing/2014/main" id="{6ECF7C58-1973-4F69-8DD3-556AA77C8D04}"/>
                </a:ext>
              </a:extLst>
            </p:cNvPr>
            <p:cNvSpPr/>
            <p:nvPr/>
          </p:nvSpPr>
          <p:spPr>
            <a:xfrm rot="8716295">
              <a:off x="3379258" y="349163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1" name="Forme libre : forme 280">
              <a:extLst>
                <a:ext uri="{FF2B5EF4-FFF2-40B4-BE49-F238E27FC236}">
                  <a16:creationId xmlns:a16="http://schemas.microsoft.com/office/drawing/2014/main" id="{2B29EFE5-ACFF-4048-807E-18A0A68A503E}"/>
                </a:ext>
              </a:extLst>
            </p:cNvPr>
            <p:cNvSpPr/>
            <p:nvPr/>
          </p:nvSpPr>
          <p:spPr>
            <a:xfrm rot="8716295">
              <a:off x="3190213" y="317579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2" name="Forme libre : forme 281">
              <a:extLst>
                <a:ext uri="{FF2B5EF4-FFF2-40B4-BE49-F238E27FC236}">
                  <a16:creationId xmlns:a16="http://schemas.microsoft.com/office/drawing/2014/main" id="{09E572E1-09FC-45A6-A1BF-D06157BE552F}"/>
                </a:ext>
              </a:extLst>
            </p:cNvPr>
            <p:cNvSpPr/>
            <p:nvPr/>
          </p:nvSpPr>
          <p:spPr>
            <a:xfrm rot="8716295">
              <a:off x="3515746" y="3553613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3" name="Forme libre : forme 282">
              <a:extLst>
                <a:ext uri="{FF2B5EF4-FFF2-40B4-BE49-F238E27FC236}">
                  <a16:creationId xmlns:a16="http://schemas.microsoft.com/office/drawing/2014/main" id="{85DB8E68-2D02-4177-B998-21F4EDDAA547}"/>
                </a:ext>
              </a:extLst>
            </p:cNvPr>
            <p:cNvSpPr/>
            <p:nvPr/>
          </p:nvSpPr>
          <p:spPr>
            <a:xfrm rot="8716295">
              <a:off x="3150300" y="332718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4" name="Forme libre : forme 283">
              <a:extLst>
                <a:ext uri="{FF2B5EF4-FFF2-40B4-BE49-F238E27FC236}">
                  <a16:creationId xmlns:a16="http://schemas.microsoft.com/office/drawing/2014/main" id="{833C9746-3293-4FB8-8420-FBDB2ADD8FDE}"/>
                </a:ext>
              </a:extLst>
            </p:cNvPr>
            <p:cNvSpPr/>
            <p:nvPr/>
          </p:nvSpPr>
          <p:spPr>
            <a:xfrm rot="7484129">
              <a:off x="3674564" y="38432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5" name="Forme libre : forme 284">
              <a:extLst>
                <a:ext uri="{FF2B5EF4-FFF2-40B4-BE49-F238E27FC236}">
                  <a16:creationId xmlns:a16="http://schemas.microsoft.com/office/drawing/2014/main" id="{F36C90B8-C19D-40C0-9F6E-8BC40DAF6680}"/>
                </a:ext>
              </a:extLst>
            </p:cNvPr>
            <p:cNvSpPr/>
            <p:nvPr/>
          </p:nvSpPr>
          <p:spPr>
            <a:xfrm rot="13089394">
              <a:off x="3833214" y="3792578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6" name="Forme libre : forme 285">
              <a:extLst>
                <a:ext uri="{FF2B5EF4-FFF2-40B4-BE49-F238E27FC236}">
                  <a16:creationId xmlns:a16="http://schemas.microsoft.com/office/drawing/2014/main" id="{25D579E4-7F89-49C7-A73E-844BD68A125D}"/>
                </a:ext>
              </a:extLst>
            </p:cNvPr>
            <p:cNvSpPr/>
            <p:nvPr/>
          </p:nvSpPr>
          <p:spPr>
            <a:xfrm rot="8716295">
              <a:off x="4114105" y="3502461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7" name="Forme libre : forme 286">
              <a:extLst>
                <a:ext uri="{FF2B5EF4-FFF2-40B4-BE49-F238E27FC236}">
                  <a16:creationId xmlns:a16="http://schemas.microsoft.com/office/drawing/2014/main" id="{3F032AF9-E492-4124-9A15-3F5109B4E944}"/>
                </a:ext>
              </a:extLst>
            </p:cNvPr>
            <p:cNvSpPr/>
            <p:nvPr/>
          </p:nvSpPr>
          <p:spPr>
            <a:xfrm rot="8716295">
              <a:off x="4035696" y="3345668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8" name="Forme libre : forme 287">
              <a:extLst>
                <a:ext uri="{FF2B5EF4-FFF2-40B4-BE49-F238E27FC236}">
                  <a16:creationId xmlns:a16="http://schemas.microsoft.com/office/drawing/2014/main" id="{AB866341-425E-43E2-A992-45F1B8F969FA}"/>
                </a:ext>
              </a:extLst>
            </p:cNvPr>
            <p:cNvSpPr/>
            <p:nvPr/>
          </p:nvSpPr>
          <p:spPr>
            <a:xfrm rot="8716295">
              <a:off x="3667532" y="339140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9" name="Forme libre : forme 288">
              <a:extLst>
                <a:ext uri="{FF2B5EF4-FFF2-40B4-BE49-F238E27FC236}">
                  <a16:creationId xmlns:a16="http://schemas.microsoft.com/office/drawing/2014/main" id="{6CDA98C5-481F-4686-9DE1-F1AA20FC6223}"/>
                </a:ext>
              </a:extLst>
            </p:cNvPr>
            <p:cNvSpPr/>
            <p:nvPr/>
          </p:nvSpPr>
          <p:spPr>
            <a:xfrm rot="8716295">
              <a:off x="3936113" y="315039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0" name="Forme libre : forme 289">
              <a:extLst>
                <a:ext uri="{FF2B5EF4-FFF2-40B4-BE49-F238E27FC236}">
                  <a16:creationId xmlns:a16="http://schemas.microsoft.com/office/drawing/2014/main" id="{13373414-24F1-4D1B-ADBB-1E220625DF7D}"/>
                </a:ext>
              </a:extLst>
            </p:cNvPr>
            <p:cNvSpPr/>
            <p:nvPr/>
          </p:nvSpPr>
          <p:spPr>
            <a:xfrm rot="8716295">
              <a:off x="3449338" y="4734714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1" name="Forme libre : forme 290">
              <a:extLst>
                <a:ext uri="{FF2B5EF4-FFF2-40B4-BE49-F238E27FC236}">
                  <a16:creationId xmlns:a16="http://schemas.microsoft.com/office/drawing/2014/main" id="{B70E33AD-70BB-4576-ADCA-5363A243B741}"/>
                </a:ext>
              </a:extLst>
            </p:cNvPr>
            <p:cNvSpPr/>
            <p:nvPr/>
          </p:nvSpPr>
          <p:spPr>
            <a:xfrm rot="8716295">
              <a:off x="3580975" y="4773824"/>
              <a:ext cx="394489" cy="383455"/>
            </a:xfrm>
            <a:custGeom>
              <a:avLst/>
              <a:gdLst>
                <a:gd name="connsiteX0" fmla="*/ 77932 w 394489"/>
                <a:gd name="connsiteY0" fmla="*/ 383455 h 383455"/>
                <a:gd name="connsiteX1" fmla="*/ 77932 w 394489"/>
                <a:gd name="connsiteY1" fmla="*/ 66898 h 383455"/>
                <a:gd name="connsiteX2" fmla="*/ 0 w 394489"/>
                <a:gd name="connsiteY2" fmla="*/ 66898 h 383455"/>
                <a:gd name="connsiteX3" fmla="*/ 0 w 394489"/>
                <a:gd name="connsiteY3" fmla="*/ 0 h 383455"/>
                <a:gd name="connsiteX4" fmla="*/ 158623 w 394489"/>
                <a:gd name="connsiteY4" fmla="*/ 0 h 383455"/>
                <a:gd name="connsiteX5" fmla="*/ 158623 w 394489"/>
                <a:gd name="connsiteY5" fmla="*/ 111726 h 383455"/>
                <a:gd name="connsiteX6" fmla="*/ 160692 w 394489"/>
                <a:gd name="connsiteY6" fmla="*/ 111726 h 383455"/>
                <a:gd name="connsiteX7" fmla="*/ 233107 w 394489"/>
                <a:gd name="connsiteY7" fmla="*/ 6897 h 383455"/>
                <a:gd name="connsiteX8" fmla="*/ 240854 w 394489"/>
                <a:gd name="connsiteY8" fmla="*/ 5438 h 383455"/>
                <a:gd name="connsiteX9" fmla="*/ 391511 w 394489"/>
                <a:gd name="connsiteY9" fmla="*/ 109868 h 383455"/>
                <a:gd name="connsiteX10" fmla="*/ 394489 w 394489"/>
                <a:gd name="connsiteY10" fmla="*/ 131726 h 383455"/>
                <a:gd name="connsiteX11" fmla="*/ 394489 w 394489"/>
                <a:gd name="connsiteY11" fmla="*/ 140692 h 383455"/>
                <a:gd name="connsiteX12" fmla="*/ 300695 w 394489"/>
                <a:gd name="connsiteY12" fmla="*/ 146210 h 383455"/>
                <a:gd name="connsiteX13" fmla="*/ 300695 w 394489"/>
                <a:gd name="connsiteY13" fmla="*/ 121382 h 383455"/>
                <a:gd name="connsiteX14" fmla="*/ 249659 w 394489"/>
                <a:gd name="connsiteY14" fmla="*/ 58622 h 383455"/>
                <a:gd name="connsiteX15" fmla="*/ 168969 w 394489"/>
                <a:gd name="connsiteY15" fmla="*/ 191038 h 383455"/>
                <a:gd name="connsiteX16" fmla="*/ 168969 w 394489"/>
                <a:gd name="connsiteY16" fmla="*/ 321385 h 38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4489" h="383455">
                  <a:moveTo>
                    <a:pt x="77932" y="383455"/>
                  </a:moveTo>
                  <a:lnTo>
                    <a:pt x="77932" y="66898"/>
                  </a:lnTo>
                  <a:lnTo>
                    <a:pt x="0" y="66898"/>
                  </a:lnTo>
                  <a:lnTo>
                    <a:pt x="0" y="0"/>
                  </a:lnTo>
                  <a:lnTo>
                    <a:pt x="158623" y="0"/>
                  </a:lnTo>
                  <a:lnTo>
                    <a:pt x="158623" y="111726"/>
                  </a:lnTo>
                  <a:lnTo>
                    <a:pt x="160692" y="111726"/>
                  </a:lnTo>
                  <a:cubicBezTo>
                    <a:pt x="182762" y="46208"/>
                    <a:pt x="200003" y="20690"/>
                    <a:pt x="233107" y="6897"/>
                  </a:cubicBezTo>
                  <a:lnTo>
                    <a:pt x="240854" y="5438"/>
                  </a:lnTo>
                  <a:lnTo>
                    <a:pt x="391511" y="109868"/>
                  </a:lnTo>
                  <a:lnTo>
                    <a:pt x="394489" y="131726"/>
                  </a:lnTo>
                  <a:lnTo>
                    <a:pt x="394489" y="140692"/>
                  </a:lnTo>
                  <a:lnTo>
                    <a:pt x="300695" y="146210"/>
                  </a:lnTo>
                  <a:lnTo>
                    <a:pt x="300695" y="121382"/>
                  </a:lnTo>
                  <a:cubicBezTo>
                    <a:pt x="300695" y="84140"/>
                    <a:pt x="279315" y="58621"/>
                    <a:pt x="249659" y="58622"/>
                  </a:cubicBezTo>
                  <a:cubicBezTo>
                    <a:pt x="205521" y="58622"/>
                    <a:pt x="168969" y="117244"/>
                    <a:pt x="168969" y="191038"/>
                  </a:cubicBezTo>
                  <a:lnTo>
                    <a:pt x="168969" y="321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2" name="Forme libre : forme 291">
              <a:extLst>
                <a:ext uri="{FF2B5EF4-FFF2-40B4-BE49-F238E27FC236}">
                  <a16:creationId xmlns:a16="http://schemas.microsoft.com/office/drawing/2014/main" id="{00B826E8-9537-4128-8AFA-9DB695ED94E7}"/>
                </a:ext>
              </a:extLst>
            </p:cNvPr>
            <p:cNvSpPr/>
            <p:nvPr/>
          </p:nvSpPr>
          <p:spPr>
            <a:xfrm rot="8716295">
              <a:off x="3516754" y="4648384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3" name="Forme libre : forme 292">
              <a:extLst>
                <a:ext uri="{FF2B5EF4-FFF2-40B4-BE49-F238E27FC236}">
                  <a16:creationId xmlns:a16="http://schemas.microsoft.com/office/drawing/2014/main" id="{FFE48F5E-5149-4118-92C8-4116821F574B}"/>
                </a:ext>
              </a:extLst>
            </p:cNvPr>
            <p:cNvSpPr/>
            <p:nvPr/>
          </p:nvSpPr>
          <p:spPr>
            <a:xfrm rot="8716295">
              <a:off x="3279467" y="4868729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4" name="Forme libre : forme 293">
              <a:extLst>
                <a:ext uri="{FF2B5EF4-FFF2-40B4-BE49-F238E27FC236}">
                  <a16:creationId xmlns:a16="http://schemas.microsoft.com/office/drawing/2014/main" id="{890C4AC4-E0F9-4914-B99E-81FA866D2C0A}"/>
                </a:ext>
              </a:extLst>
            </p:cNvPr>
            <p:cNvSpPr/>
            <p:nvPr/>
          </p:nvSpPr>
          <p:spPr>
            <a:xfrm rot="8716295">
              <a:off x="3090421" y="4552893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5" name="Forme libre : forme 294">
              <a:extLst>
                <a:ext uri="{FF2B5EF4-FFF2-40B4-BE49-F238E27FC236}">
                  <a16:creationId xmlns:a16="http://schemas.microsoft.com/office/drawing/2014/main" id="{9E7C0995-D53C-4E22-B438-2332B5C132C7}"/>
                </a:ext>
              </a:extLst>
            </p:cNvPr>
            <p:cNvSpPr/>
            <p:nvPr/>
          </p:nvSpPr>
          <p:spPr>
            <a:xfrm rot="8716295">
              <a:off x="3072180" y="434284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6" name="Forme libre : forme 295">
              <a:extLst>
                <a:ext uri="{FF2B5EF4-FFF2-40B4-BE49-F238E27FC236}">
                  <a16:creationId xmlns:a16="http://schemas.microsoft.com/office/drawing/2014/main" id="{B2DA7643-AE8F-4F78-929C-4968C3EC4902}"/>
                </a:ext>
              </a:extLst>
            </p:cNvPr>
            <p:cNvSpPr/>
            <p:nvPr/>
          </p:nvSpPr>
          <p:spPr>
            <a:xfrm rot="8716295">
              <a:off x="3388475" y="4959102"/>
              <a:ext cx="91035" cy="230894"/>
            </a:xfrm>
            <a:custGeom>
              <a:avLst/>
              <a:gdLst>
                <a:gd name="connsiteX0" fmla="*/ 91035 w 91035"/>
                <a:gd name="connsiteY0" fmla="*/ 230894 h 230894"/>
                <a:gd name="connsiteX1" fmla="*/ 0 w 91035"/>
                <a:gd name="connsiteY1" fmla="*/ 143306 h 230894"/>
                <a:gd name="connsiteX2" fmla="*/ 0 w 91035"/>
                <a:gd name="connsiteY2" fmla="*/ 0 h 230894"/>
                <a:gd name="connsiteX3" fmla="*/ 91035 w 91035"/>
                <a:gd name="connsiteY3" fmla="*/ 63103 h 230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35" h="230894">
                  <a:moveTo>
                    <a:pt x="91035" y="230894"/>
                  </a:moveTo>
                  <a:lnTo>
                    <a:pt x="0" y="143306"/>
                  </a:lnTo>
                  <a:lnTo>
                    <a:pt x="0" y="0"/>
                  </a:lnTo>
                  <a:lnTo>
                    <a:pt x="91035" y="631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7" name="Forme libre : forme 296">
              <a:extLst>
                <a:ext uri="{FF2B5EF4-FFF2-40B4-BE49-F238E27FC236}">
                  <a16:creationId xmlns:a16="http://schemas.microsoft.com/office/drawing/2014/main" id="{93603EC3-AC55-411D-BFDF-9FDB7506B4C7}"/>
                </a:ext>
              </a:extLst>
            </p:cNvPr>
            <p:cNvSpPr/>
            <p:nvPr/>
          </p:nvSpPr>
          <p:spPr>
            <a:xfrm rot="8716295">
              <a:off x="3886902" y="435609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8" name="Forme libre : forme 297">
              <a:extLst>
                <a:ext uri="{FF2B5EF4-FFF2-40B4-BE49-F238E27FC236}">
                  <a16:creationId xmlns:a16="http://schemas.microsoft.com/office/drawing/2014/main" id="{08CBBA4D-FF43-40D2-8BFA-84CB4DCCF31B}"/>
                </a:ext>
              </a:extLst>
            </p:cNvPr>
            <p:cNvSpPr/>
            <p:nvPr/>
          </p:nvSpPr>
          <p:spPr>
            <a:xfrm rot="8716295">
              <a:off x="4022201" y="440035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9" name="Forme libre : forme 298">
              <a:extLst>
                <a:ext uri="{FF2B5EF4-FFF2-40B4-BE49-F238E27FC236}">
                  <a16:creationId xmlns:a16="http://schemas.microsoft.com/office/drawing/2014/main" id="{835E253D-33C4-431B-B8C8-357E6AAC9C52}"/>
                </a:ext>
              </a:extLst>
            </p:cNvPr>
            <p:cNvSpPr/>
            <p:nvPr/>
          </p:nvSpPr>
          <p:spPr>
            <a:xfrm rot="8716295">
              <a:off x="3717031" y="44901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0" name="Forme libre : forme 299">
              <a:extLst>
                <a:ext uri="{FF2B5EF4-FFF2-40B4-BE49-F238E27FC236}">
                  <a16:creationId xmlns:a16="http://schemas.microsoft.com/office/drawing/2014/main" id="{22AF57EC-DC68-40A4-9C71-BCBD0C50FBE3}"/>
                </a:ext>
              </a:extLst>
            </p:cNvPr>
            <p:cNvSpPr/>
            <p:nvPr/>
          </p:nvSpPr>
          <p:spPr>
            <a:xfrm rot="8716295">
              <a:off x="3527986" y="417427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1" name="Forme libre : forme 300">
              <a:extLst>
                <a:ext uri="{FF2B5EF4-FFF2-40B4-BE49-F238E27FC236}">
                  <a16:creationId xmlns:a16="http://schemas.microsoft.com/office/drawing/2014/main" id="{7AC81511-7180-4392-A0BB-C0785E6FFDB2}"/>
                </a:ext>
              </a:extLst>
            </p:cNvPr>
            <p:cNvSpPr/>
            <p:nvPr/>
          </p:nvSpPr>
          <p:spPr>
            <a:xfrm rot="8716295">
              <a:off x="3853519" y="4552096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2" name="Forme libre : forme 301">
              <a:extLst>
                <a:ext uri="{FF2B5EF4-FFF2-40B4-BE49-F238E27FC236}">
                  <a16:creationId xmlns:a16="http://schemas.microsoft.com/office/drawing/2014/main" id="{1EACC1C7-884B-4139-9EC6-9BA9AA34D223}"/>
                </a:ext>
              </a:extLst>
            </p:cNvPr>
            <p:cNvSpPr/>
            <p:nvPr/>
          </p:nvSpPr>
          <p:spPr>
            <a:xfrm rot="8716295">
              <a:off x="3488073" y="432567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3" name="Forme libre : forme 302">
              <a:extLst>
                <a:ext uri="{FF2B5EF4-FFF2-40B4-BE49-F238E27FC236}">
                  <a16:creationId xmlns:a16="http://schemas.microsoft.com/office/drawing/2014/main" id="{8A54AD41-7272-4697-A5DB-CEFCE19789FC}"/>
                </a:ext>
              </a:extLst>
            </p:cNvPr>
            <p:cNvSpPr/>
            <p:nvPr/>
          </p:nvSpPr>
          <p:spPr>
            <a:xfrm rot="7484129">
              <a:off x="4016569" y="4837237"/>
              <a:ext cx="295167" cy="296463"/>
            </a:xfrm>
            <a:custGeom>
              <a:avLst/>
              <a:gdLst>
                <a:gd name="connsiteX0" fmla="*/ 137293 w 295167"/>
                <a:gd name="connsiteY0" fmla="*/ 296463 h 296463"/>
                <a:gd name="connsiteX1" fmla="*/ 72418 w 295167"/>
                <a:gd name="connsiteY1" fmla="*/ 175766 h 296463"/>
                <a:gd name="connsiteX2" fmla="*/ 105610 w 295167"/>
                <a:gd name="connsiteY2" fmla="*/ 83734 h 296463"/>
                <a:gd name="connsiteX3" fmla="*/ 0 w 295167"/>
                <a:gd name="connsiteY3" fmla="*/ 83734 h 296463"/>
                <a:gd name="connsiteX4" fmla="*/ 0 w 295167"/>
                <a:gd name="connsiteY4" fmla="*/ 0 h 296463"/>
                <a:gd name="connsiteX5" fmla="*/ 237110 w 295167"/>
                <a:gd name="connsiteY5" fmla="*/ 0 h 296463"/>
                <a:gd name="connsiteX6" fmla="*/ 295167 w 295167"/>
                <a:gd name="connsiteY6" fmla="*/ 83734 h 296463"/>
                <a:gd name="connsiteX7" fmla="*/ 210466 w 295167"/>
                <a:gd name="connsiteY7" fmla="*/ 83734 h 29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5167" h="296463">
                  <a:moveTo>
                    <a:pt x="137293" y="296463"/>
                  </a:moveTo>
                  <a:lnTo>
                    <a:pt x="72418" y="175766"/>
                  </a:lnTo>
                  <a:lnTo>
                    <a:pt x="105610" y="83734"/>
                  </a:lnTo>
                  <a:lnTo>
                    <a:pt x="0" y="83734"/>
                  </a:lnTo>
                  <a:lnTo>
                    <a:pt x="0" y="0"/>
                  </a:lnTo>
                  <a:lnTo>
                    <a:pt x="237110" y="0"/>
                  </a:lnTo>
                  <a:lnTo>
                    <a:pt x="295167" y="83734"/>
                  </a:lnTo>
                  <a:lnTo>
                    <a:pt x="210466" y="837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4" name="Forme libre : forme 303">
              <a:extLst>
                <a:ext uri="{FF2B5EF4-FFF2-40B4-BE49-F238E27FC236}">
                  <a16:creationId xmlns:a16="http://schemas.microsoft.com/office/drawing/2014/main" id="{B0BB4A2B-6236-4AB8-8AEF-499FEFD9934C}"/>
                </a:ext>
              </a:extLst>
            </p:cNvPr>
            <p:cNvSpPr/>
            <p:nvPr/>
          </p:nvSpPr>
          <p:spPr>
            <a:xfrm rot="13089394">
              <a:off x="4226447" y="4804985"/>
              <a:ext cx="412568" cy="314062"/>
            </a:xfrm>
            <a:custGeom>
              <a:avLst/>
              <a:gdLst>
                <a:gd name="connsiteX0" fmla="*/ 412568 w 412568"/>
                <a:gd name="connsiteY0" fmla="*/ 206915 h 314062"/>
                <a:gd name="connsiteX1" fmla="*/ 138636 w 412568"/>
                <a:gd name="connsiteY1" fmla="*/ 313815 h 314062"/>
                <a:gd name="connsiteX2" fmla="*/ 35911 w 412568"/>
                <a:gd name="connsiteY2" fmla="*/ 272057 h 314062"/>
                <a:gd name="connsiteX3" fmla="*/ 0 w 412568"/>
                <a:gd name="connsiteY3" fmla="*/ 128410 h 314062"/>
                <a:gd name="connsiteX4" fmla="*/ 0 w 412568"/>
                <a:gd name="connsiteY4" fmla="*/ 88308 h 314062"/>
                <a:gd name="connsiteX5" fmla="*/ 112395 w 412568"/>
                <a:gd name="connsiteY5" fmla="*/ 0 h 314062"/>
                <a:gd name="connsiteX6" fmla="*/ 112747 w 412568"/>
                <a:gd name="connsiteY6" fmla="*/ 49070 h 314062"/>
                <a:gd name="connsiteX7" fmla="*/ 132789 w 412568"/>
                <a:gd name="connsiteY7" fmla="*/ 187707 h 314062"/>
                <a:gd name="connsiteX8" fmla="*/ 233008 w 412568"/>
                <a:gd name="connsiteY8" fmla="*/ 242827 h 314062"/>
                <a:gd name="connsiteX9" fmla="*/ 308172 w 412568"/>
                <a:gd name="connsiteY9" fmla="*/ 229465 h 314062"/>
                <a:gd name="connsiteX10" fmla="*/ 410898 w 412568"/>
                <a:gd name="connsiteY10" fmla="*/ 187707 h 314062"/>
                <a:gd name="connsiteX11" fmla="*/ 412568 w 412568"/>
                <a:gd name="connsiteY11" fmla="*/ 198563 h 314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2568" h="314062">
                  <a:moveTo>
                    <a:pt x="412568" y="206915"/>
                  </a:moveTo>
                  <a:cubicBezTo>
                    <a:pt x="324041" y="282914"/>
                    <a:pt x="207954" y="309640"/>
                    <a:pt x="138636" y="313815"/>
                  </a:cubicBezTo>
                  <a:cubicBezTo>
                    <a:pt x="100219" y="316321"/>
                    <a:pt x="62637" y="299618"/>
                    <a:pt x="35911" y="272057"/>
                  </a:cubicBezTo>
                  <a:cubicBezTo>
                    <a:pt x="7516" y="244497"/>
                    <a:pt x="0" y="196893"/>
                    <a:pt x="0" y="128410"/>
                  </a:cubicBezTo>
                  <a:lnTo>
                    <a:pt x="0" y="88308"/>
                  </a:lnTo>
                  <a:lnTo>
                    <a:pt x="112395" y="0"/>
                  </a:lnTo>
                  <a:lnTo>
                    <a:pt x="112747" y="49070"/>
                  </a:lnTo>
                  <a:cubicBezTo>
                    <a:pt x="110241" y="95839"/>
                    <a:pt x="117756" y="143443"/>
                    <a:pt x="132789" y="187707"/>
                  </a:cubicBezTo>
                  <a:cubicBezTo>
                    <a:pt x="146153" y="224453"/>
                    <a:pt x="180394" y="242827"/>
                    <a:pt x="233008" y="242827"/>
                  </a:cubicBezTo>
                  <a:cubicBezTo>
                    <a:pt x="258899" y="241992"/>
                    <a:pt x="283953" y="236980"/>
                    <a:pt x="308172" y="229465"/>
                  </a:cubicBezTo>
                  <a:cubicBezTo>
                    <a:pt x="343249" y="218607"/>
                    <a:pt x="377491" y="204410"/>
                    <a:pt x="410898" y="187707"/>
                  </a:cubicBezTo>
                  <a:cubicBezTo>
                    <a:pt x="411732" y="191047"/>
                    <a:pt x="412568" y="195223"/>
                    <a:pt x="412568" y="1985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5" name="Forme libre : forme 304">
              <a:extLst>
                <a:ext uri="{FF2B5EF4-FFF2-40B4-BE49-F238E27FC236}">
                  <a16:creationId xmlns:a16="http://schemas.microsoft.com/office/drawing/2014/main" id="{41417B88-C9BD-4BA9-91EE-73AA587DB73F}"/>
                </a:ext>
              </a:extLst>
            </p:cNvPr>
            <p:cNvSpPr/>
            <p:nvPr/>
          </p:nvSpPr>
          <p:spPr>
            <a:xfrm rot="8716295">
              <a:off x="4451878" y="4500944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6" name="Forme libre : forme 305">
              <a:extLst>
                <a:ext uri="{FF2B5EF4-FFF2-40B4-BE49-F238E27FC236}">
                  <a16:creationId xmlns:a16="http://schemas.microsoft.com/office/drawing/2014/main" id="{BE88A8B4-3593-449C-B0AC-26CECAA3950B}"/>
                </a:ext>
              </a:extLst>
            </p:cNvPr>
            <p:cNvSpPr/>
            <p:nvPr/>
          </p:nvSpPr>
          <p:spPr>
            <a:xfrm rot="8716295">
              <a:off x="4373469" y="434415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7" name="Forme libre : forme 306">
              <a:extLst>
                <a:ext uri="{FF2B5EF4-FFF2-40B4-BE49-F238E27FC236}">
                  <a16:creationId xmlns:a16="http://schemas.microsoft.com/office/drawing/2014/main" id="{3E1F62FF-668F-4B24-81E3-7F413DC37761}"/>
                </a:ext>
              </a:extLst>
            </p:cNvPr>
            <p:cNvSpPr/>
            <p:nvPr/>
          </p:nvSpPr>
          <p:spPr>
            <a:xfrm rot="8716295">
              <a:off x="4005305" y="4389892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8" name="Forme libre : forme 307">
              <a:extLst>
                <a:ext uri="{FF2B5EF4-FFF2-40B4-BE49-F238E27FC236}">
                  <a16:creationId xmlns:a16="http://schemas.microsoft.com/office/drawing/2014/main" id="{271936E6-CFC4-4CBF-80D3-0DD03A6DA43A}"/>
                </a:ext>
              </a:extLst>
            </p:cNvPr>
            <p:cNvSpPr/>
            <p:nvPr/>
          </p:nvSpPr>
          <p:spPr>
            <a:xfrm rot="8716295">
              <a:off x="4273886" y="4148873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9" name="Forme libre : forme 308">
              <a:extLst>
                <a:ext uri="{FF2B5EF4-FFF2-40B4-BE49-F238E27FC236}">
                  <a16:creationId xmlns:a16="http://schemas.microsoft.com/office/drawing/2014/main" id="{BA906EC6-3DC5-4DE2-8F95-209D99503493}"/>
                </a:ext>
              </a:extLst>
            </p:cNvPr>
            <p:cNvSpPr/>
            <p:nvPr/>
          </p:nvSpPr>
          <p:spPr>
            <a:xfrm rot="8716295">
              <a:off x="2776288" y="273581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0" name="Forme libre : forme 309">
              <a:extLst>
                <a:ext uri="{FF2B5EF4-FFF2-40B4-BE49-F238E27FC236}">
                  <a16:creationId xmlns:a16="http://schemas.microsoft.com/office/drawing/2014/main" id="{86353AD3-86B9-454E-8316-ED48EDD5C43A}"/>
                </a:ext>
              </a:extLst>
            </p:cNvPr>
            <p:cNvSpPr/>
            <p:nvPr/>
          </p:nvSpPr>
          <p:spPr>
            <a:xfrm rot="8716295">
              <a:off x="2911587" y="278007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1" name="Forme libre : forme 310">
              <a:extLst>
                <a:ext uri="{FF2B5EF4-FFF2-40B4-BE49-F238E27FC236}">
                  <a16:creationId xmlns:a16="http://schemas.microsoft.com/office/drawing/2014/main" id="{0B2A58FB-010E-417B-8E1C-9997876763AE}"/>
                </a:ext>
              </a:extLst>
            </p:cNvPr>
            <p:cNvSpPr/>
            <p:nvPr/>
          </p:nvSpPr>
          <p:spPr>
            <a:xfrm rot="8716295">
              <a:off x="2843704" y="2649488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2" name="Forme libre : forme 311">
              <a:extLst>
                <a:ext uri="{FF2B5EF4-FFF2-40B4-BE49-F238E27FC236}">
                  <a16:creationId xmlns:a16="http://schemas.microsoft.com/office/drawing/2014/main" id="{487219BD-DC26-4E15-BDA1-CA5CCE916C41}"/>
                </a:ext>
              </a:extLst>
            </p:cNvPr>
            <p:cNvSpPr/>
            <p:nvPr/>
          </p:nvSpPr>
          <p:spPr>
            <a:xfrm rot="8716295">
              <a:off x="2606417" y="286983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3" name="Forme libre : forme 312">
              <a:extLst>
                <a:ext uri="{FF2B5EF4-FFF2-40B4-BE49-F238E27FC236}">
                  <a16:creationId xmlns:a16="http://schemas.microsoft.com/office/drawing/2014/main" id="{E49C695E-663D-4558-8A6D-FAB5771CCDF7}"/>
                </a:ext>
              </a:extLst>
            </p:cNvPr>
            <p:cNvSpPr/>
            <p:nvPr/>
          </p:nvSpPr>
          <p:spPr>
            <a:xfrm rot="8716295">
              <a:off x="2417371" y="255399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4" name="Forme libre : forme 313">
              <a:extLst>
                <a:ext uri="{FF2B5EF4-FFF2-40B4-BE49-F238E27FC236}">
                  <a16:creationId xmlns:a16="http://schemas.microsoft.com/office/drawing/2014/main" id="{33F36FCD-6977-4A63-8D14-D1E1625E9D31}"/>
                </a:ext>
              </a:extLst>
            </p:cNvPr>
            <p:cNvSpPr/>
            <p:nvPr/>
          </p:nvSpPr>
          <p:spPr>
            <a:xfrm rot="8716295">
              <a:off x="2399130" y="2343948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5" name="Forme libre : forme 314">
              <a:extLst>
                <a:ext uri="{FF2B5EF4-FFF2-40B4-BE49-F238E27FC236}">
                  <a16:creationId xmlns:a16="http://schemas.microsoft.com/office/drawing/2014/main" id="{B3474DC3-02FE-406E-A9DB-66680A910D3C}"/>
                </a:ext>
              </a:extLst>
            </p:cNvPr>
            <p:cNvSpPr/>
            <p:nvPr/>
          </p:nvSpPr>
          <p:spPr>
            <a:xfrm rot="8716295">
              <a:off x="2742905" y="293181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6" name="Forme libre : forme 315">
              <a:extLst>
                <a:ext uri="{FF2B5EF4-FFF2-40B4-BE49-F238E27FC236}">
                  <a16:creationId xmlns:a16="http://schemas.microsoft.com/office/drawing/2014/main" id="{A49C2E0F-EE8D-44EF-9BA8-BEBCE07245A7}"/>
                </a:ext>
              </a:extLst>
            </p:cNvPr>
            <p:cNvSpPr/>
            <p:nvPr/>
          </p:nvSpPr>
          <p:spPr>
            <a:xfrm rot="8716295">
              <a:off x="3213852" y="2357202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7" name="Forme libre : forme 316">
              <a:extLst>
                <a:ext uri="{FF2B5EF4-FFF2-40B4-BE49-F238E27FC236}">
                  <a16:creationId xmlns:a16="http://schemas.microsoft.com/office/drawing/2014/main" id="{F24F931D-D0BA-4754-8EFA-1E41547520B4}"/>
                </a:ext>
              </a:extLst>
            </p:cNvPr>
            <p:cNvSpPr/>
            <p:nvPr/>
          </p:nvSpPr>
          <p:spPr>
            <a:xfrm rot="8716295">
              <a:off x="3349151" y="2401461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8" name="Forme libre : forme 317">
              <a:extLst>
                <a:ext uri="{FF2B5EF4-FFF2-40B4-BE49-F238E27FC236}">
                  <a16:creationId xmlns:a16="http://schemas.microsoft.com/office/drawing/2014/main" id="{77E8D478-ED04-4063-AB60-82AA395CE7E1}"/>
                </a:ext>
              </a:extLst>
            </p:cNvPr>
            <p:cNvSpPr/>
            <p:nvPr/>
          </p:nvSpPr>
          <p:spPr>
            <a:xfrm rot="8716295">
              <a:off x="3043981" y="249121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9" name="Forme libre : forme 318">
              <a:extLst>
                <a:ext uri="{FF2B5EF4-FFF2-40B4-BE49-F238E27FC236}">
                  <a16:creationId xmlns:a16="http://schemas.microsoft.com/office/drawing/2014/main" id="{D68F4A66-E6DC-4D6F-A05F-B0ED1AAF9752}"/>
                </a:ext>
              </a:extLst>
            </p:cNvPr>
            <p:cNvSpPr/>
            <p:nvPr/>
          </p:nvSpPr>
          <p:spPr>
            <a:xfrm rot="8716295">
              <a:off x="2854936" y="2175382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0" name="Forme libre : forme 319">
              <a:extLst>
                <a:ext uri="{FF2B5EF4-FFF2-40B4-BE49-F238E27FC236}">
                  <a16:creationId xmlns:a16="http://schemas.microsoft.com/office/drawing/2014/main" id="{2E7E02DC-19A7-4427-8DD0-9CBD70741C55}"/>
                </a:ext>
              </a:extLst>
            </p:cNvPr>
            <p:cNvSpPr/>
            <p:nvPr/>
          </p:nvSpPr>
          <p:spPr>
            <a:xfrm rot="8716295">
              <a:off x="3180469" y="255320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1" name="Forme libre : forme 320">
              <a:extLst>
                <a:ext uri="{FF2B5EF4-FFF2-40B4-BE49-F238E27FC236}">
                  <a16:creationId xmlns:a16="http://schemas.microsoft.com/office/drawing/2014/main" id="{5F22C34B-662E-4288-A98A-07600645D826}"/>
                </a:ext>
              </a:extLst>
            </p:cNvPr>
            <p:cNvSpPr/>
            <p:nvPr/>
          </p:nvSpPr>
          <p:spPr>
            <a:xfrm rot="8716295">
              <a:off x="2815023" y="2326774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2" name="Forme libre : forme 321">
              <a:extLst>
                <a:ext uri="{FF2B5EF4-FFF2-40B4-BE49-F238E27FC236}">
                  <a16:creationId xmlns:a16="http://schemas.microsoft.com/office/drawing/2014/main" id="{F9C4954F-8E31-441D-8E0D-8B0514C0CCEA}"/>
                </a:ext>
              </a:extLst>
            </p:cNvPr>
            <p:cNvSpPr/>
            <p:nvPr/>
          </p:nvSpPr>
          <p:spPr>
            <a:xfrm rot="7484129">
              <a:off x="3339287" y="284281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3" name="Forme libre : forme 322">
              <a:extLst>
                <a:ext uri="{FF2B5EF4-FFF2-40B4-BE49-F238E27FC236}">
                  <a16:creationId xmlns:a16="http://schemas.microsoft.com/office/drawing/2014/main" id="{96BDAC49-7C90-455C-A6A8-F21767004646}"/>
                </a:ext>
              </a:extLst>
            </p:cNvPr>
            <p:cNvSpPr/>
            <p:nvPr/>
          </p:nvSpPr>
          <p:spPr>
            <a:xfrm rot="13089394">
              <a:off x="3497937" y="2792166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4" name="Forme libre : forme 323">
              <a:extLst>
                <a:ext uri="{FF2B5EF4-FFF2-40B4-BE49-F238E27FC236}">
                  <a16:creationId xmlns:a16="http://schemas.microsoft.com/office/drawing/2014/main" id="{EE32A375-D70E-46A2-83EF-D2C25C11FC27}"/>
                </a:ext>
              </a:extLst>
            </p:cNvPr>
            <p:cNvSpPr/>
            <p:nvPr/>
          </p:nvSpPr>
          <p:spPr>
            <a:xfrm rot="8716295">
              <a:off x="3778828" y="2502048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5" name="Forme libre : forme 324">
              <a:extLst>
                <a:ext uri="{FF2B5EF4-FFF2-40B4-BE49-F238E27FC236}">
                  <a16:creationId xmlns:a16="http://schemas.microsoft.com/office/drawing/2014/main" id="{1FF92686-85A8-4017-922B-2458FE401EB8}"/>
                </a:ext>
              </a:extLst>
            </p:cNvPr>
            <p:cNvSpPr/>
            <p:nvPr/>
          </p:nvSpPr>
          <p:spPr>
            <a:xfrm rot="8716295">
              <a:off x="3700418" y="2345256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6" name="Forme libre : forme 325">
              <a:extLst>
                <a:ext uri="{FF2B5EF4-FFF2-40B4-BE49-F238E27FC236}">
                  <a16:creationId xmlns:a16="http://schemas.microsoft.com/office/drawing/2014/main" id="{D45E52B0-C4FD-4155-A0DD-45195433970C}"/>
                </a:ext>
              </a:extLst>
            </p:cNvPr>
            <p:cNvSpPr/>
            <p:nvPr/>
          </p:nvSpPr>
          <p:spPr>
            <a:xfrm rot="8716295">
              <a:off x="3332255" y="239099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7" name="Forme libre : forme 326">
              <a:extLst>
                <a:ext uri="{FF2B5EF4-FFF2-40B4-BE49-F238E27FC236}">
                  <a16:creationId xmlns:a16="http://schemas.microsoft.com/office/drawing/2014/main" id="{F21AB6E7-AC7E-4350-A5BF-CDF7EE2573C5}"/>
                </a:ext>
              </a:extLst>
            </p:cNvPr>
            <p:cNvSpPr/>
            <p:nvPr/>
          </p:nvSpPr>
          <p:spPr>
            <a:xfrm rot="8716295">
              <a:off x="3600836" y="2149977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8" name="Forme libre : forme 327">
              <a:extLst>
                <a:ext uri="{FF2B5EF4-FFF2-40B4-BE49-F238E27FC236}">
                  <a16:creationId xmlns:a16="http://schemas.microsoft.com/office/drawing/2014/main" id="{81ADFF02-63EB-4A30-B800-167FCE598798}"/>
                </a:ext>
              </a:extLst>
            </p:cNvPr>
            <p:cNvSpPr/>
            <p:nvPr/>
          </p:nvSpPr>
          <p:spPr>
            <a:xfrm rot="8716295">
              <a:off x="2438515" y="173733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9" name="Forme libre : forme 328">
              <a:extLst>
                <a:ext uri="{FF2B5EF4-FFF2-40B4-BE49-F238E27FC236}">
                  <a16:creationId xmlns:a16="http://schemas.microsoft.com/office/drawing/2014/main" id="{FEEE40D0-1ED4-4D89-A553-8246351195B7}"/>
                </a:ext>
              </a:extLst>
            </p:cNvPr>
            <p:cNvSpPr/>
            <p:nvPr/>
          </p:nvSpPr>
          <p:spPr>
            <a:xfrm rot="8716295">
              <a:off x="2573814" y="178159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0" name="Forme libre : forme 329">
              <a:extLst>
                <a:ext uri="{FF2B5EF4-FFF2-40B4-BE49-F238E27FC236}">
                  <a16:creationId xmlns:a16="http://schemas.microsoft.com/office/drawing/2014/main" id="{AA5B5D88-69C3-43FC-A9FF-1BC20CA01055}"/>
                </a:ext>
              </a:extLst>
            </p:cNvPr>
            <p:cNvSpPr/>
            <p:nvPr/>
          </p:nvSpPr>
          <p:spPr>
            <a:xfrm rot="8716295">
              <a:off x="2505931" y="1651005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1" name="Forme libre : forme 330">
              <a:extLst>
                <a:ext uri="{FF2B5EF4-FFF2-40B4-BE49-F238E27FC236}">
                  <a16:creationId xmlns:a16="http://schemas.microsoft.com/office/drawing/2014/main" id="{3433A715-4852-4C6F-BD57-E5BFC48256EE}"/>
                </a:ext>
              </a:extLst>
            </p:cNvPr>
            <p:cNvSpPr/>
            <p:nvPr/>
          </p:nvSpPr>
          <p:spPr>
            <a:xfrm rot="8716295">
              <a:off x="2268644" y="187135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2" name="Forme libre : forme 331">
              <a:extLst>
                <a:ext uri="{FF2B5EF4-FFF2-40B4-BE49-F238E27FC236}">
                  <a16:creationId xmlns:a16="http://schemas.microsoft.com/office/drawing/2014/main" id="{AA3826BF-36B5-4F42-9A9C-0857F8AFC9E9}"/>
                </a:ext>
              </a:extLst>
            </p:cNvPr>
            <p:cNvSpPr/>
            <p:nvPr/>
          </p:nvSpPr>
          <p:spPr>
            <a:xfrm rot="8716295">
              <a:off x="2079598" y="155551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3" name="Forme libre : forme 332">
              <a:extLst>
                <a:ext uri="{FF2B5EF4-FFF2-40B4-BE49-F238E27FC236}">
                  <a16:creationId xmlns:a16="http://schemas.microsoft.com/office/drawing/2014/main" id="{6B18E7D7-D7AA-4E20-850E-3799436161FA}"/>
                </a:ext>
              </a:extLst>
            </p:cNvPr>
            <p:cNvSpPr/>
            <p:nvPr/>
          </p:nvSpPr>
          <p:spPr>
            <a:xfrm rot="8716295">
              <a:off x="2061357" y="1345465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4" name="Forme libre : forme 333">
              <a:extLst>
                <a:ext uri="{FF2B5EF4-FFF2-40B4-BE49-F238E27FC236}">
                  <a16:creationId xmlns:a16="http://schemas.microsoft.com/office/drawing/2014/main" id="{43032E37-9C7A-492A-8A2C-109CA7245F5F}"/>
                </a:ext>
              </a:extLst>
            </p:cNvPr>
            <p:cNvSpPr/>
            <p:nvPr/>
          </p:nvSpPr>
          <p:spPr>
            <a:xfrm rot="8716295">
              <a:off x="2405132" y="1933333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5" name="Forme libre : forme 334">
              <a:extLst>
                <a:ext uri="{FF2B5EF4-FFF2-40B4-BE49-F238E27FC236}">
                  <a16:creationId xmlns:a16="http://schemas.microsoft.com/office/drawing/2014/main" id="{17B53965-E3A1-4010-BB29-B66E80C0AA24}"/>
                </a:ext>
              </a:extLst>
            </p:cNvPr>
            <p:cNvSpPr/>
            <p:nvPr/>
          </p:nvSpPr>
          <p:spPr>
            <a:xfrm rot="8716295">
              <a:off x="2876079" y="1358719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6" name="Forme libre : forme 335">
              <a:extLst>
                <a:ext uri="{FF2B5EF4-FFF2-40B4-BE49-F238E27FC236}">
                  <a16:creationId xmlns:a16="http://schemas.microsoft.com/office/drawing/2014/main" id="{5A10F28E-8329-4CB2-9E8E-AF5ADC5D984D}"/>
                </a:ext>
              </a:extLst>
            </p:cNvPr>
            <p:cNvSpPr/>
            <p:nvPr/>
          </p:nvSpPr>
          <p:spPr>
            <a:xfrm rot="8716295">
              <a:off x="3011378" y="1402978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7" name="Forme libre : forme 336">
              <a:extLst>
                <a:ext uri="{FF2B5EF4-FFF2-40B4-BE49-F238E27FC236}">
                  <a16:creationId xmlns:a16="http://schemas.microsoft.com/office/drawing/2014/main" id="{A3E6B7D3-30F0-4F00-9AE4-FB7C5336C17B}"/>
                </a:ext>
              </a:extLst>
            </p:cNvPr>
            <p:cNvSpPr/>
            <p:nvPr/>
          </p:nvSpPr>
          <p:spPr>
            <a:xfrm rot="8716295">
              <a:off x="2706208" y="1492734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8" name="Forme libre : forme 337">
              <a:extLst>
                <a:ext uri="{FF2B5EF4-FFF2-40B4-BE49-F238E27FC236}">
                  <a16:creationId xmlns:a16="http://schemas.microsoft.com/office/drawing/2014/main" id="{632D1FEF-F08F-4C8C-8E0E-3985E6CFB126}"/>
                </a:ext>
              </a:extLst>
            </p:cNvPr>
            <p:cNvSpPr/>
            <p:nvPr/>
          </p:nvSpPr>
          <p:spPr>
            <a:xfrm rot="8716295">
              <a:off x="2517163" y="11768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9" name="Forme libre : forme 338">
              <a:extLst>
                <a:ext uri="{FF2B5EF4-FFF2-40B4-BE49-F238E27FC236}">
                  <a16:creationId xmlns:a16="http://schemas.microsoft.com/office/drawing/2014/main" id="{12813E1E-715D-4101-9BCD-409373887F04}"/>
                </a:ext>
              </a:extLst>
            </p:cNvPr>
            <p:cNvSpPr/>
            <p:nvPr/>
          </p:nvSpPr>
          <p:spPr>
            <a:xfrm rot="8716295">
              <a:off x="2842696" y="1554717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0" name="Forme libre : forme 339">
              <a:extLst>
                <a:ext uri="{FF2B5EF4-FFF2-40B4-BE49-F238E27FC236}">
                  <a16:creationId xmlns:a16="http://schemas.microsoft.com/office/drawing/2014/main" id="{AA2FCEEA-252F-42A1-A6F0-2BDC14E98266}"/>
                </a:ext>
              </a:extLst>
            </p:cNvPr>
            <p:cNvSpPr/>
            <p:nvPr/>
          </p:nvSpPr>
          <p:spPr>
            <a:xfrm rot="8716295">
              <a:off x="2477250" y="1328291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1" name="Forme libre : forme 340">
              <a:extLst>
                <a:ext uri="{FF2B5EF4-FFF2-40B4-BE49-F238E27FC236}">
                  <a16:creationId xmlns:a16="http://schemas.microsoft.com/office/drawing/2014/main" id="{884AD109-F04C-43C6-A88C-32CD36BAA4FA}"/>
                </a:ext>
              </a:extLst>
            </p:cNvPr>
            <p:cNvSpPr/>
            <p:nvPr/>
          </p:nvSpPr>
          <p:spPr>
            <a:xfrm rot="7484129">
              <a:off x="3001514" y="184433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2" name="Forme libre : forme 341">
              <a:extLst>
                <a:ext uri="{FF2B5EF4-FFF2-40B4-BE49-F238E27FC236}">
                  <a16:creationId xmlns:a16="http://schemas.microsoft.com/office/drawing/2014/main" id="{E48D40E2-82AD-4B99-AF4E-871FA4B10FDC}"/>
                </a:ext>
              </a:extLst>
            </p:cNvPr>
            <p:cNvSpPr/>
            <p:nvPr/>
          </p:nvSpPr>
          <p:spPr>
            <a:xfrm rot="13089394">
              <a:off x="3160164" y="1793683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3" name="Forme libre : forme 342">
              <a:extLst>
                <a:ext uri="{FF2B5EF4-FFF2-40B4-BE49-F238E27FC236}">
                  <a16:creationId xmlns:a16="http://schemas.microsoft.com/office/drawing/2014/main" id="{5110A4C9-803C-4F01-A8FB-E8911DB784FA}"/>
                </a:ext>
              </a:extLst>
            </p:cNvPr>
            <p:cNvSpPr/>
            <p:nvPr/>
          </p:nvSpPr>
          <p:spPr>
            <a:xfrm rot="8716295">
              <a:off x="3441055" y="1503565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4" name="Forme libre : forme 343">
              <a:extLst>
                <a:ext uri="{FF2B5EF4-FFF2-40B4-BE49-F238E27FC236}">
                  <a16:creationId xmlns:a16="http://schemas.microsoft.com/office/drawing/2014/main" id="{4B71D1CA-954E-40F5-BAE1-391BC7E00EAC}"/>
                </a:ext>
              </a:extLst>
            </p:cNvPr>
            <p:cNvSpPr/>
            <p:nvPr/>
          </p:nvSpPr>
          <p:spPr>
            <a:xfrm rot="8716295">
              <a:off x="3362645" y="1346772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5" name="Forme libre : forme 344">
              <a:extLst>
                <a:ext uri="{FF2B5EF4-FFF2-40B4-BE49-F238E27FC236}">
                  <a16:creationId xmlns:a16="http://schemas.microsoft.com/office/drawing/2014/main" id="{778C13D4-A0D9-47A6-97AC-A7265054F880}"/>
                </a:ext>
              </a:extLst>
            </p:cNvPr>
            <p:cNvSpPr/>
            <p:nvPr/>
          </p:nvSpPr>
          <p:spPr>
            <a:xfrm rot="8716295">
              <a:off x="2994482" y="13925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6" name="Forme libre : forme 345">
              <a:extLst>
                <a:ext uri="{FF2B5EF4-FFF2-40B4-BE49-F238E27FC236}">
                  <a16:creationId xmlns:a16="http://schemas.microsoft.com/office/drawing/2014/main" id="{018BC788-46BE-420C-AA9D-351862A75FA9}"/>
                </a:ext>
              </a:extLst>
            </p:cNvPr>
            <p:cNvSpPr/>
            <p:nvPr/>
          </p:nvSpPr>
          <p:spPr>
            <a:xfrm rot="8716295">
              <a:off x="3263063" y="1151494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7" name="Forme libre : forme 346">
              <a:extLst>
                <a:ext uri="{FF2B5EF4-FFF2-40B4-BE49-F238E27FC236}">
                  <a16:creationId xmlns:a16="http://schemas.microsoft.com/office/drawing/2014/main" id="{0E9463B7-1F06-4DEB-A058-446E8844EA8B}"/>
                </a:ext>
              </a:extLst>
            </p:cNvPr>
            <p:cNvSpPr/>
            <p:nvPr/>
          </p:nvSpPr>
          <p:spPr>
            <a:xfrm rot="8716295">
              <a:off x="2107141" y="73528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8" name="Forme libre : forme 347">
              <a:extLst>
                <a:ext uri="{FF2B5EF4-FFF2-40B4-BE49-F238E27FC236}">
                  <a16:creationId xmlns:a16="http://schemas.microsoft.com/office/drawing/2014/main" id="{73CCCCE8-C732-40A3-953D-8C4E26ECE894}"/>
                </a:ext>
              </a:extLst>
            </p:cNvPr>
            <p:cNvSpPr/>
            <p:nvPr/>
          </p:nvSpPr>
          <p:spPr>
            <a:xfrm rot="8716295">
              <a:off x="2242440" y="779540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9" name="Forme libre : forme 348">
              <a:extLst>
                <a:ext uri="{FF2B5EF4-FFF2-40B4-BE49-F238E27FC236}">
                  <a16:creationId xmlns:a16="http://schemas.microsoft.com/office/drawing/2014/main" id="{46418248-47C2-468E-8F48-18C4C7CDB219}"/>
                </a:ext>
              </a:extLst>
            </p:cNvPr>
            <p:cNvSpPr/>
            <p:nvPr/>
          </p:nvSpPr>
          <p:spPr>
            <a:xfrm rot="8716295">
              <a:off x="2174558" y="64895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0" name="Forme libre : forme 349">
              <a:extLst>
                <a:ext uri="{FF2B5EF4-FFF2-40B4-BE49-F238E27FC236}">
                  <a16:creationId xmlns:a16="http://schemas.microsoft.com/office/drawing/2014/main" id="{CF6485DD-C84B-431E-B394-8EC27CA6D055}"/>
                </a:ext>
              </a:extLst>
            </p:cNvPr>
            <p:cNvSpPr/>
            <p:nvPr/>
          </p:nvSpPr>
          <p:spPr>
            <a:xfrm rot="8716295">
              <a:off x="1937270" y="869296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1" name="Forme libre : forme 350">
              <a:extLst>
                <a:ext uri="{FF2B5EF4-FFF2-40B4-BE49-F238E27FC236}">
                  <a16:creationId xmlns:a16="http://schemas.microsoft.com/office/drawing/2014/main" id="{C462C7C6-AFD1-4D6E-868F-DFD5908371AE}"/>
                </a:ext>
              </a:extLst>
            </p:cNvPr>
            <p:cNvSpPr/>
            <p:nvPr/>
          </p:nvSpPr>
          <p:spPr>
            <a:xfrm rot="8716295">
              <a:off x="1748224" y="55346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2" name="Forme libre : forme 351">
              <a:extLst>
                <a:ext uri="{FF2B5EF4-FFF2-40B4-BE49-F238E27FC236}">
                  <a16:creationId xmlns:a16="http://schemas.microsoft.com/office/drawing/2014/main" id="{3BF602CB-BB96-4BFD-9890-5020E5C70107}"/>
                </a:ext>
              </a:extLst>
            </p:cNvPr>
            <p:cNvSpPr/>
            <p:nvPr/>
          </p:nvSpPr>
          <p:spPr>
            <a:xfrm rot="8716295">
              <a:off x="1729983" y="34341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3" name="Forme libre : forme 352">
              <a:extLst>
                <a:ext uri="{FF2B5EF4-FFF2-40B4-BE49-F238E27FC236}">
                  <a16:creationId xmlns:a16="http://schemas.microsoft.com/office/drawing/2014/main" id="{D123FE48-43A2-4EF2-A75E-82641468BE05}"/>
                </a:ext>
              </a:extLst>
            </p:cNvPr>
            <p:cNvSpPr/>
            <p:nvPr/>
          </p:nvSpPr>
          <p:spPr>
            <a:xfrm rot="8716295">
              <a:off x="2073759" y="93127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4" name="Forme libre : forme 353">
              <a:extLst>
                <a:ext uri="{FF2B5EF4-FFF2-40B4-BE49-F238E27FC236}">
                  <a16:creationId xmlns:a16="http://schemas.microsoft.com/office/drawing/2014/main" id="{9368862D-396D-4FD2-B4BF-9090111F2572}"/>
                </a:ext>
              </a:extLst>
            </p:cNvPr>
            <p:cNvSpPr/>
            <p:nvPr/>
          </p:nvSpPr>
          <p:spPr>
            <a:xfrm rot="8716295">
              <a:off x="2544705" y="356665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5" name="Forme libre : forme 354">
              <a:extLst>
                <a:ext uri="{FF2B5EF4-FFF2-40B4-BE49-F238E27FC236}">
                  <a16:creationId xmlns:a16="http://schemas.microsoft.com/office/drawing/2014/main" id="{08DA4440-5C40-4A9D-A195-E7F5A36FB8E5}"/>
                </a:ext>
              </a:extLst>
            </p:cNvPr>
            <p:cNvSpPr/>
            <p:nvPr/>
          </p:nvSpPr>
          <p:spPr>
            <a:xfrm rot="8716295">
              <a:off x="2680004" y="400924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6" name="Forme libre : forme 355">
              <a:extLst>
                <a:ext uri="{FF2B5EF4-FFF2-40B4-BE49-F238E27FC236}">
                  <a16:creationId xmlns:a16="http://schemas.microsoft.com/office/drawing/2014/main" id="{499C4215-CE78-4D06-B1F1-0EFC66D2B8A8}"/>
                </a:ext>
              </a:extLst>
            </p:cNvPr>
            <p:cNvSpPr/>
            <p:nvPr/>
          </p:nvSpPr>
          <p:spPr>
            <a:xfrm rot="8716295">
              <a:off x="2374834" y="49068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7" name="Forme libre : forme 356">
              <a:extLst>
                <a:ext uri="{FF2B5EF4-FFF2-40B4-BE49-F238E27FC236}">
                  <a16:creationId xmlns:a16="http://schemas.microsoft.com/office/drawing/2014/main" id="{0DF46042-A994-48E9-AACA-0079FAE5D34F}"/>
                </a:ext>
              </a:extLst>
            </p:cNvPr>
            <p:cNvSpPr/>
            <p:nvPr/>
          </p:nvSpPr>
          <p:spPr>
            <a:xfrm rot="8716295">
              <a:off x="2185790" y="17484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8" name="Forme libre : forme 357">
              <a:extLst>
                <a:ext uri="{FF2B5EF4-FFF2-40B4-BE49-F238E27FC236}">
                  <a16:creationId xmlns:a16="http://schemas.microsoft.com/office/drawing/2014/main" id="{C56CBFD7-CE58-4F68-AE5F-EEAC0B0B2F26}"/>
                </a:ext>
              </a:extLst>
            </p:cNvPr>
            <p:cNvSpPr/>
            <p:nvPr/>
          </p:nvSpPr>
          <p:spPr>
            <a:xfrm rot="8716295">
              <a:off x="2511323" y="552663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9" name="Forme libre : forme 358">
              <a:extLst>
                <a:ext uri="{FF2B5EF4-FFF2-40B4-BE49-F238E27FC236}">
                  <a16:creationId xmlns:a16="http://schemas.microsoft.com/office/drawing/2014/main" id="{5026E243-7CAA-469D-B3FD-2DEEF3B52A6D}"/>
                </a:ext>
              </a:extLst>
            </p:cNvPr>
            <p:cNvSpPr/>
            <p:nvPr/>
          </p:nvSpPr>
          <p:spPr>
            <a:xfrm rot="8716295">
              <a:off x="2145876" y="32623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0" name="Forme libre : forme 359">
              <a:extLst>
                <a:ext uri="{FF2B5EF4-FFF2-40B4-BE49-F238E27FC236}">
                  <a16:creationId xmlns:a16="http://schemas.microsoft.com/office/drawing/2014/main" id="{69635373-7069-4076-9294-1FD2A4827397}"/>
                </a:ext>
              </a:extLst>
            </p:cNvPr>
            <p:cNvSpPr/>
            <p:nvPr/>
          </p:nvSpPr>
          <p:spPr>
            <a:xfrm rot="7484129">
              <a:off x="2670140" y="84228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1" name="Forme libre : forme 360">
              <a:extLst>
                <a:ext uri="{FF2B5EF4-FFF2-40B4-BE49-F238E27FC236}">
                  <a16:creationId xmlns:a16="http://schemas.microsoft.com/office/drawing/2014/main" id="{65F0089C-08D4-41A5-B19D-05C5D2A763BC}"/>
                </a:ext>
              </a:extLst>
            </p:cNvPr>
            <p:cNvSpPr/>
            <p:nvPr/>
          </p:nvSpPr>
          <p:spPr>
            <a:xfrm rot="13089394">
              <a:off x="2828790" y="791629"/>
              <a:ext cx="409227" cy="492743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2" name="Forme libre : forme 361">
              <a:extLst>
                <a:ext uri="{FF2B5EF4-FFF2-40B4-BE49-F238E27FC236}">
                  <a16:creationId xmlns:a16="http://schemas.microsoft.com/office/drawing/2014/main" id="{10F0587B-FBC8-4526-B416-2C74092E74E3}"/>
                </a:ext>
              </a:extLst>
            </p:cNvPr>
            <p:cNvSpPr/>
            <p:nvPr/>
          </p:nvSpPr>
          <p:spPr>
            <a:xfrm rot="8716295">
              <a:off x="3109681" y="501511"/>
              <a:ext cx="333502" cy="244026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3" name="Forme libre : forme 362">
              <a:extLst>
                <a:ext uri="{FF2B5EF4-FFF2-40B4-BE49-F238E27FC236}">
                  <a16:creationId xmlns:a16="http://schemas.microsoft.com/office/drawing/2014/main" id="{2065DAB7-B994-4ECC-90EA-43FF767C9150}"/>
                </a:ext>
              </a:extLst>
            </p:cNvPr>
            <p:cNvSpPr/>
            <p:nvPr/>
          </p:nvSpPr>
          <p:spPr>
            <a:xfrm rot="8716295">
              <a:off x="3031272" y="344719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4" name="Forme libre : forme 363">
              <a:extLst>
                <a:ext uri="{FF2B5EF4-FFF2-40B4-BE49-F238E27FC236}">
                  <a16:creationId xmlns:a16="http://schemas.microsoft.com/office/drawing/2014/main" id="{06C29BA8-D38F-498C-9EF2-99B1FD452BF5}"/>
                </a:ext>
              </a:extLst>
            </p:cNvPr>
            <p:cNvSpPr/>
            <p:nvPr/>
          </p:nvSpPr>
          <p:spPr>
            <a:xfrm rot="8716295">
              <a:off x="2663108" y="39046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5" name="Forme libre : forme 364">
              <a:extLst>
                <a:ext uri="{FF2B5EF4-FFF2-40B4-BE49-F238E27FC236}">
                  <a16:creationId xmlns:a16="http://schemas.microsoft.com/office/drawing/2014/main" id="{19957925-F105-47F6-A52F-63EE7BCADA72}"/>
                </a:ext>
              </a:extLst>
            </p:cNvPr>
            <p:cNvSpPr/>
            <p:nvPr/>
          </p:nvSpPr>
          <p:spPr>
            <a:xfrm rot="8716295">
              <a:off x="2931690" y="149440"/>
              <a:ext cx="167065" cy="167065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6" name="Forme libre : forme 365">
              <a:extLst>
                <a:ext uri="{FF2B5EF4-FFF2-40B4-BE49-F238E27FC236}">
                  <a16:creationId xmlns:a16="http://schemas.microsoft.com/office/drawing/2014/main" id="{E0E33F2F-8222-4600-9D1F-1A85DBD9DDB6}"/>
                </a:ext>
              </a:extLst>
            </p:cNvPr>
            <p:cNvSpPr/>
            <p:nvPr/>
          </p:nvSpPr>
          <p:spPr>
            <a:xfrm rot="8716295">
              <a:off x="1834766" y="-57684"/>
              <a:ext cx="186564" cy="129320"/>
            </a:xfrm>
            <a:custGeom>
              <a:avLst/>
              <a:gdLst>
                <a:gd name="connsiteX0" fmla="*/ 123263 w 123263"/>
                <a:gd name="connsiteY0" fmla="*/ 85442 h 85442"/>
                <a:gd name="connsiteX1" fmla="*/ 0 w 123263"/>
                <a:gd name="connsiteY1" fmla="*/ 0 h 85442"/>
                <a:gd name="connsiteX2" fmla="*/ 66305 w 123263"/>
                <a:gd name="connsiteY2" fmla="*/ 0 h 85442"/>
                <a:gd name="connsiteX3" fmla="*/ 123263 w 123263"/>
                <a:gd name="connsiteY3" fmla="*/ 50123 h 85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63" h="85442">
                  <a:moveTo>
                    <a:pt x="123263" y="85442"/>
                  </a:moveTo>
                  <a:lnTo>
                    <a:pt x="0" y="0"/>
                  </a:lnTo>
                  <a:lnTo>
                    <a:pt x="66305" y="0"/>
                  </a:lnTo>
                  <a:cubicBezTo>
                    <a:pt x="103214" y="0"/>
                    <a:pt x="123263" y="15948"/>
                    <a:pt x="123263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7" name="Forme libre : forme 366">
              <a:extLst>
                <a:ext uri="{FF2B5EF4-FFF2-40B4-BE49-F238E27FC236}">
                  <a16:creationId xmlns:a16="http://schemas.microsoft.com/office/drawing/2014/main" id="{85E9DB2D-8095-4090-AC49-070A81C428A4}"/>
                </a:ext>
              </a:extLst>
            </p:cNvPr>
            <p:cNvSpPr/>
            <p:nvPr/>
          </p:nvSpPr>
          <p:spPr>
            <a:xfrm rot="8716295">
              <a:off x="1969949" y="-13794"/>
              <a:ext cx="394488" cy="148365"/>
            </a:xfrm>
            <a:custGeom>
              <a:avLst/>
              <a:gdLst>
                <a:gd name="connsiteX0" fmla="*/ 104802 w 260639"/>
                <a:gd name="connsiteY0" fmla="*/ 74264 h 98025"/>
                <a:gd name="connsiteX1" fmla="*/ 0 w 260639"/>
                <a:gd name="connsiteY1" fmla="*/ 1618 h 98025"/>
                <a:gd name="connsiteX2" fmla="*/ 0 w 260639"/>
                <a:gd name="connsiteY2" fmla="*/ 1425 h 98025"/>
                <a:gd name="connsiteX3" fmla="*/ 104803 w 260639"/>
                <a:gd name="connsiteY3" fmla="*/ 1425 h 98025"/>
                <a:gd name="connsiteX4" fmla="*/ 122123 w 260639"/>
                <a:gd name="connsiteY4" fmla="*/ 86270 h 98025"/>
                <a:gd name="connsiteX5" fmla="*/ 106178 w 260639"/>
                <a:gd name="connsiteY5" fmla="*/ 75218 h 98025"/>
                <a:gd name="connsiteX6" fmla="*/ 116721 w 260639"/>
                <a:gd name="connsiteY6" fmla="*/ 47439 h 98025"/>
                <a:gd name="connsiteX7" fmla="*/ 154014 w 260639"/>
                <a:gd name="connsiteY7" fmla="*/ 5981 h 98025"/>
                <a:gd name="connsiteX8" fmla="*/ 185455 w 260639"/>
                <a:gd name="connsiteY8" fmla="*/ 57 h 98025"/>
                <a:gd name="connsiteX9" fmla="*/ 260639 w 260639"/>
                <a:gd name="connsiteY9" fmla="*/ 88456 h 98025"/>
                <a:gd name="connsiteX10" fmla="*/ 260639 w 260639"/>
                <a:gd name="connsiteY10" fmla="*/ 94380 h 98025"/>
                <a:gd name="connsiteX11" fmla="*/ 198669 w 260639"/>
                <a:gd name="connsiteY11" fmla="*/ 98025 h 98025"/>
                <a:gd name="connsiteX12" fmla="*/ 198669 w 260639"/>
                <a:gd name="connsiteY12" fmla="*/ 81621 h 98025"/>
                <a:gd name="connsiteX13" fmla="*/ 164950 w 260639"/>
                <a:gd name="connsiteY13" fmla="*/ 40156 h 98025"/>
                <a:gd name="connsiteX14" fmla="*/ 127358 w 260639"/>
                <a:gd name="connsiteY14" fmla="*/ 65616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60639" h="98025">
                  <a:moveTo>
                    <a:pt x="104802" y="74264"/>
                  </a:moveTo>
                  <a:lnTo>
                    <a:pt x="0" y="1618"/>
                  </a:lnTo>
                  <a:lnTo>
                    <a:pt x="0" y="1425"/>
                  </a:lnTo>
                  <a:lnTo>
                    <a:pt x="104803" y="1425"/>
                  </a:lnTo>
                  <a:close/>
                  <a:moveTo>
                    <a:pt x="122123" y="86270"/>
                  </a:moveTo>
                  <a:lnTo>
                    <a:pt x="106178" y="75218"/>
                  </a:lnTo>
                  <a:lnTo>
                    <a:pt x="116721" y="47439"/>
                  </a:lnTo>
                  <a:cubicBezTo>
                    <a:pt x="127102" y="24008"/>
                    <a:pt x="137610" y="12816"/>
                    <a:pt x="154014" y="5981"/>
                  </a:cubicBezTo>
                  <a:cubicBezTo>
                    <a:pt x="164038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50369" y="40156"/>
                    <a:pt x="137041" y="49839"/>
                    <a:pt x="127358" y="656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8" name="Forme libre : forme 367">
              <a:extLst>
                <a:ext uri="{FF2B5EF4-FFF2-40B4-BE49-F238E27FC236}">
                  <a16:creationId xmlns:a16="http://schemas.microsoft.com/office/drawing/2014/main" id="{2112AB6E-ECBC-48CC-8F85-503CE29BF697}"/>
                </a:ext>
              </a:extLst>
            </p:cNvPr>
            <p:cNvSpPr/>
            <p:nvPr/>
          </p:nvSpPr>
          <p:spPr>
            <a:xfrm rot="8716295">
              <a:off x="1736738" y="-72828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9" name="Forme libre : forme 368">
              <a:extLst>
                <a:ext uri="{FF2B5EF4-FFF2-40B4-BE49-F238E27FC236}">
                  <a16:creationId xmlns:a16="http://schemas.microsoft.com/office/drawing/2014/main" id="{0CED55EE-2402-40E1-B7FC-4C64963DE5BE}"/>
                </a:ext>
              </a:extLst>
            </p:cNvPr>
            <p:cNvSpPr/>
            <p:nvPr/>
          </p:nvSpPr>
          <p:spPr>
            <a:xfrm rot="7484129">
              <a:off x="2399917" y="-21262"/>
              <a:ext cx="233243" cy="158079"/>
            </a:xfrm>
            <a:custGeom>
              <a:avLst/>
              <a:gdLst>
                <a:gd name="connsiteX0" fmla="*/ 72416 w 154104"/>
                <a:gd name="connsiteY0" fmla="*/ 104443 h 104443"/>
                <a:gd name="connsiteX1" fmla="*/ 0 w 154104"/>
                <a:gd name="connsiteY1" fmla="*/ 0 h 104443"/>
                <a:gd name="connsiteX2" fmla="*/ 154104 w 154104"/>
                <a:gd name="connsiteY2" fmla="*/ 0 h 104443"/>
                <a:gd name="connsiteX3" fmla="*/ 154104 w 154104"/>
                <a:gd name="connsiteY3" fmla="*/ 55323 h 104443"/>
                <a:gd name="connsiteX4" fmla="*/ 89312 w 154104"/>
                <a:gd name="connsiteY4" fmla="*/ 55323 h 104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4104" h="104443">
                  <a:moveTo>
                    <a:pt x="72416" y="104443"/>
                  </a:moveTo>
                  <a:lnTo>
                    <a:pt x="0" y="0"/>
                  </a:lnTo>
                  <a:lnTo>
                    <a:pt x="154104" y="0"/>
                  </a:lnTo>
                  <a:lnTo>
                    <a:pt x="154104" y="55323"/>
                  </a:lnTo>
                  <a:lnTo>
                    <a:pt x="89312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0" name="Forme libre : forme 369">
              <a:extLst>
                <a:ext uri="{FF2B5EF4-FFF2-40B4-BE49-F238E27FC236}">
                  <a16:creationId xmlns:a16="http://schemas.microsoft.com/office/drawing/2014/main" id="{2AB77741-1425-4B03-9370-5D34269ACC61}"/>
                </a:ext>
              </a:extLst>
            </p:cNvPr>
            <p:cNvSpPr/>
            <p:nvPr/>
          </p:nvSpPr>
          <p:spPr>
            <a:xfrm rot="13089394">
              <a:off x="2721869" y="-65503"/>
              <a:ext cx="128296" cy="425348"/>
            </a:xfrm>
            <a:custGeom>
              <a:avLst/>
              <a:gdLst>
                <a:gd name="connsiteX0" fmla="*/ 84765 w 84765"/>
                <a:gd name="connsiteY0" fmla="*/ 225012 h 281028"/>
                <a:gd name="connsiteX1" fmla="*/ 13471 w 84765"/>
                <a:gd name="connsiteY1" fmla="*/ 281028 h 281028"/>
                <a:gd name="connsiteX2" fmla="*/ 4828 w 84765"/>
                <a:gd name="connsiteY2" fmla="*/ 263963 h 281028"/>
                <a:gd name="connsiteX3" fmla="*/ 0 w 84765"/>
                <a:gd name="connsiteY3" fmla="*/ 206370 h 281028"/>
                <a:gd name="connsiteX4" fmla="*/ 0 w 84765"/>
                <a:gd name="connsiteY4" fmla="*/ 38074 h 281028"/>
                <a:gd name="connsiteX5" fmla="*/ 73388 w 84765"/>
                <a:gd name="connsiteY5" fmla="*/ 0 h 281028"/>
                <a:gd name="connsiteX6" fmla="*/ 74492 w 84765"/>
                <a:gd name="connsiteY6" fmla="*/ 153950 h 281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4765" h="281028">
                  <a:moveTo>
                    <a:pt x="84765" y="225012"/>
                  </a:moveTo>
                  <a:lnTo>
                    <a:pt x="13471" y="281028"/>
                  </a:lnTo>
                  <a:lnTo>
                    <a:pt x="4828" y="263963"/>
                  </a:lnTo>
                  <a:cubicBezTo>
                    <a:pt x="1241" y="248168"/>
                    <a:pt x="0" y="228993"/>
                    <a:pt x="0" y="206370"/>
                  </a:cubicBez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1" name="Forme libre : forme 370">
              <a:extLst>
                <a:ext uri="{FF2B5EF4-FFF2-40B4-BE49-F238E27FC236}">
                  <a16:creationId xmlns:a16="http://schemas.microsoft.com/office/drawing/2014/main" id="{FAA815E1-BD11-411E-A301-A66D6E5B5B5D}"/>
                </a:ext>
              </a:extLst>
            </p:cNvPr>
            <p:cNvSpPr/>
            <p:nvPr/>
          </p:nvSpPr>
          <p:spPr>
            <a:xfrm rot="8716295">
              <a:off x="5604774" y="3024342"/>
              <a:ext cx="274455" cy="132163"/>
            </a:xfrm>
            <a:custGeom>
              <a:avLst/>
              <a:gdLst>
                <a:gd name="connsiteX0" fmla="*/ 0 w 181333"/>
                <a:gd name="connsiteY0" fmla="*/ 87320 h 87320"/>
                <a:gd name="connsiteX1" fmla="*/ 42309 w 181333"/>
                <a:gd name="connsiteY1" fmla="*/ 36168 h 87320"/>
                <a:gd name="connsiteX2" fmla="*/ 54839 w 181333"/>
                <a:gd name="connsiteY2" fmla="*/ 38831 h 87320"/>
                <a:gd name="connsiteX3" fmla="*/ 107790 w 181333"/>
                <a:gd name="connsiteY3" fmla="*/ 29417 h 87320"/>
                <a:gd name="connsiteX4" fmla="*/ 180157 w 181333"/>
                <a:gd name="connsiteY4" fmla="*/ 0 h 87320"/>
                <a:gd name="connsiteX5" fmla="*/ 181333 w 181333"/>
                <a:gd name="connsiteY5" fmla="*/ 7648 h 87320"/>
                <a:gd name="connsiteX6" fmla="*/ 181333 w 181333"/>
                <a:gd name="connsiteY6" fmla="*/ 13532 h 87320"/>
                <a:gd name="connsiteX7" fmla="*/ 30340 w 181333"/>
                <a:gd name="connsiteY7" fmla="*/ 83361 h 87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333" h="87320">
                  <a:moveTo>
                    <a:pt x="0" y="87320"/>
                  </a:moveTo>
                  <a:lnTo>
                    <a:pt x="42309" y="36168"/>
                  </a:lnTo>
                  <a:lnTo>
                    <a:pt x="54839" y="38831"/>
                  </a:lnTo>
                  <a:cubicBezTo>
                    <a:pt x="73078" y="38242"/>
                    <a:pt x="90728" y="34712"/>
                    <a:pt x="107790" y="29417"/>
                  </a:cubicBezTo>
                  <a:cubicBezTo>
                    <a:pt x="132500" y="21768"/>
                    <a:pt x="156623" y="11767"/>
                    <a:pt x="180157" y="0"/>
                  </a:cubicBezTo>
                  <a:cubicBezTo>
                    <a:pt x="180745" y="2353"/>
                    <a:pt x="181333" y="5295"/>
                    <a:pt x="181333" y="7648"/>
                  </a:cubicBezTo>
                  <a:lnTo>
                    <a:pt x="181333" y="13532"/>
                  </a:lnTo>
                  <a:cubicBezTo>
                    <a:pt x="134560" y="53687"/>
                    <a:pt x="76865" y="74315"/>
                    <a:pt x="30340" y="833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2" name="Forme libre : forme 371">
              <a:extLst>
                <a:ext uri="{FF2B5EF4-FFF2-40B4-BE49-F238E27FC236}">
                  <a16:creationId xmlns:a16="http://schemas.microsoft.com/office/drawing/2014/main" id="{0B206B84-4FE5-4D53-9D1E-DD02DB41D254}"/>
                </a:ext>
              </a:extLst>
            </p:cNvPr>
            <p:cNvSpPr/>
            <p:nvPr/>
          </p:nvSpPr>
          <p:spPr>
            <a:xfrm rot="8716295">
              <a:off x="5742786" y="2375436"/>
              <a:ext cx="92417" cy="296278"/>
            </a:xfrm>
            <a:custGeom>
              <a:avLst/>
              <a:gdLst>
                <a:gd name="connsiteX0" fmla="*/ 0 w 61060"/>
                <a:gd name="connsiteY0" fmla="*/ 195751 h 195751"/>
                <a:gd name="connsiteX1" fmla="*/ 0 w 61060"/>
                <a:gd name="connsiteY1" fmla="*/ 67520 h 195751"/>
                <a:gd name="connsiteX2" fmla="*/ 55847 w 61060"/>
                <a:gd name="connsiteY2" fmla="*/ 0 h 195751"/>
                <a:gd name="connsiteX3" fmla="*/ 61059 w 61060"/>
                <a:gd name="connsiteY3" fmla="*/ 13486 h 195751"/>
                <a:gd name="connsiteX4" fmla="*/ 61060 w 61060"/>
                <a:gd name="connsiteY4" fmla="*/ 171601 h 195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60" h="195751">
                  <a:moveTo>
                    <a:pt x="0" y="195751"/>
                  </a:moveTo>
                  <a:lnTo>
                    <a:pt x="0" y="67520"/>
                  </a:lnTo>
                  <a:lnTo>
                    <a:pt x="55847" y="0"/>
                  </a:lnTo>
                  <a:lnTo>
                    <a:pt x="61059" y="13486"/>
                  </a:lnTo>
                  <a:lnTo>
                    <a:pt x="61060" y="17160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3" name="Forme libre : forme 372">
              <a:extLst>
                <a:ext uri="{FF2B5EF4-FFF2-40B4-BE49-F238E27FC236}">
                  <a16:creationId xmlns:a16="http://schemas.microsoft.com/office/drawing/2014/main" id="{77194E30-CE70-4AEC-BB0F-106D75678D26}"/>
                </a:ext>
              </a:extLst>
            </p:cNvPr>
            <p:cNvSpPr/>
            <p:nvPr/>
          </p:nvSpPr>
          <p:spPr>
            <a:xfrm rot="8716295">
              <a:off x="5579033" y="2469150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4" name="Forme libre : forme 373">
              <a:extLst>
                <a:ext uri="{FF2B5EF4-FFF2-40B4-BE49-F238E27FC236}">
                  <a16:creationId xmlns:a16="http://schemas.microsoft.com/office/drawing/2014/main" id="{F8F32B20-B35C-4702-8768-E6EC077080C3}"/>
                </a:ext>
              </a:extLst>
            </p:cNvPr>
            <p:cNvSpPr/>
            <p:nvPr/>
          </p:nvSpPr>
          <p:spPr>
            <a:xfrm rot="8716295">
              <a:off x="5389987" y="2153314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5" name="Forme libre : forme 374">
              <a:extLst>
                <a:ext uri="{FF2B5EF4-FFF2-40B4-BE49-F238E27FC236}">
                  <a16:creationId xmlns:a16="http://schemas.microsoft.com/office/drawing/2014/main" id="{03FB5FAB-F686-40AC-9940-1E92242C962D}"/>
                </a:ext>
              </a:extLst>
            </p:cNvPr>
            <p:cNvSpPr/>
            <p:nvPr/>
          </p:nvSpPr>
          <p:spPr>
            <a:xfrm rot="8716295">
              <a:off x="5371746" y="1943264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6" name="Forme libre : forme 375">
              <a:extLst>
                <a:ext uri="{FF2B5EF4-FFF2-40B4-BE49-F238E27FC236}">
                  <a16:creationId xmlns:a16="http://schemas.microsoft.com/office/drawing/2014/main" id="{7697AE3D-D280-4B41-97E4-E67BBE2838D4}"/>
                </a:ext>
              </a:extLst>
            </p:cNvPr>
            <p:cNvSpPr/>
            <p:nvPr/>
          </p:nvSpPr>
          <p:spPr>
            <a:xfrm rot="8716295">
              <a:off x="5716764" y="2550542"/>
              <a:ext cx="91035" cy="331729"/>
            </a:xfrm>
            <a:custGeom>
              <a:avLst/>
              <a:gdLst>
                <a:gd name="connsiteX0" fmla="*/ 60147 w 60147"/>
                <a:gd name="connsiteY0" fmla="*/ 219174 h 219174"/>
                <a:gd name="connsiteX1" fmla="*/ 0 w 60147"/>
                <a:gd name="connsiteY1" fmla="*/ 161304 h 219174"/>
                <a:gd name="connsiteX2" fmla="*/ 0 w 60147"/>
                <a:gd name="connsiteY2" fmla="*/ 68045 h 219174"/>
                <a:gd name="connsiteX3" fmla="*/ 56210 w 60147"/>
                <a:gd name="connsiteY3" fmla="*/ 87 h 219174"/>
                <a:gd name="connsiteX4" fmla="*/ 60147 w 60147"/>
                <a:gd name="connsiteY4" fmla="*/ 0 h 219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47" h="219174">
                  <a:moveTo>
                    <a:pt x="60147" y="219174"/>
                  </a:moveTo>
                  <a:lnTo>
                    <a:pt x="0" y="161304"/>
                  </a:lnTo>
                  <a:lnTo>
                    <a:pt x="0" y="68045"/>
                  </a:lnTo>
                  <a:lnTo>
                    <a:pt x="56210" y="87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7" name="Forme libre : forme 376">
              <a:extLst>
                <a:ext uri="{FF2B5EF4-FFF2-40B4-BE49-F238E27FC236}">
                  <a16:creationId xmlns:a16="http://schemas.microsoft.com/office/drawing/2014/main" id="{46E8B4E6-46F9-4CF4-A6B7-A87039F21F77}"/>
                </a:ext>
              </a:extLst>
            </p:cNvPr>
            <p:cNvSpPr/>
            <p:nvPr/>
          </p:nvSpPr>
          <p:spPr>
            <a:xfrm rot="8716295">
              <a:off x="5787639" y="1926090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8" name="Forme libre : forme 377">
              <a:extLst>
                <a:ext uri="{FF2B5EF4-FFF2-40B4-BE49-F238E27FC236}">
                  <a16:creationId xmlns:a16="http://schemas.microsoft.com/office/drawing/2014/main" id="{CE3A86F3-9EF3-4CAC-BAE7-301BACB20DC2}"/>
                </a:ext>
              </a:extLst>
            </p:cNvPr>
            <p:cNvSpPr/>
            <p:nvPr/>
          </p:nvSpPr>
          <p:spPr>
            <a:xfrm rot="8716295">
              <a:off x="5411131" y="1336651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9" name="Forme libre : forme 378">
              <a:extLst>
                <a:ext uri="{FF2B5EF4-FFF2-40B4-BE49-F238E27FC236}">
                  <a16:creationId xmlns:a16="http://schemas.microsoft.com/office/drawing/2014/main" id="{5ADA9701-4026-4003-B92A-BE45A4B58CA1}"/>
                </a:ext>
              </a:extLst>
            </p:cNvPr>
            <p:cNvSpPr/>
            <p:nvPr/>
          </p:nvSpPr>
          <p:spPr>
            <a:xfrm rot="8716295">
              <a:off x="5547629" y="1389153"/>
              <a:ext cx="346795" cy="385612"/>
            </a:xfrm>
            <a:custGeom>
              <a:avLst/>
              <a:gdLst>
                <a:gd name="connsiteX0" fmla="*/ 19979 w 229128"/>
                <a:gd name="connsiteY0" fmla="*/ 254774 h 254774"/>
                <a:gd name="connsiteX1" fmla="*/ 19979 w 229128"/>
                <a:gd name="connsiteY1" fmla="*/ 45624 h 254774"/>
                <a:gd name="connsiteX2" fmla="*/ 0 w 229128"/>
                <a:gd name="connsiteY2" fmla="*/ 45624 h 254774"/>
                <a:gd name="connsiteX3" fmla="*/ 36558 w 229128"/>
                <a:gd name="connsiteY3" fmla="*/ 1425 h 254774"/>
                <a:gd name="connsiteX4" fmla="*/ 73292 w 229128"/>
                <a:gd name="connsiteY4" fmla="*/ 1425 h 254774"/>
                <a:gd name="connsiteX5" fmla="*/ 73292 w 229128"/>
                <a:gd name="connsiteY5" fmla="*/ 75242 h 254774"/>
                <a:gd name="connsiteX6" fmla="*/ 74658 w 229128"/>
                <a:gd name="connsiteY6" fmla="*/ 75242 h 254774"/>
                <a:gd name="connsiteX7" fmla="*/ 122503 w 229128"/>
                <a:gd name="connsiteY7" fmla="*/ 5981 h 254774"/>
                <a:gd name="connsiteX8" fmla="*/ 153944 w 229128"/>
                <a:gd name="connsiteY8" fmla="*/ 57 h 254774"/>
                <a:gd name="connsiteX9" fmla="*/ 229128 w 229128"/>
                <a:gd name="connsiteY9" fmla="*/ 88456 h 254774"/>
                <a:gd name="connsiteX10" fmla="*/ 229128 w 229128"/>
                <a:gd name="connsiteY10" fmla="*/ 94380 h 254774"/>
                <a:gd name="connsiteX11" fmla="*/ 167158 w 229128"/>
                <a:gd name="connsiteY11" fmla="*/ 98025 h 254774"/>
                <a:gd name="connsiteX12" fmla="*/ 167158 w 229128"/>
                <a:gd name="connsiteY12" fmla="*/ 81621 h 254774"/>
                <a:gd name="connsiteX13" fmla="*/ 133439 w 229128"/>
                <a:gd name="connsiteY13" fmla="*/ 40156 h 254774"/>
                <a:gd name="connsiteX14" fmla="*/ 80127 w 229128"/>
                <a:gd name="connsiteY14" fmla="*/ 127643 h 254774"/>
                <a:gd name="connsiteX15" fmla="*/ 80127 w 229128"/>
                <a:gd name="connsiteY15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29128" h="254774">
                  <a:moveTo>
                    <a:pt x="19979" y="254774"/>
                  </a:moveTo>
                  <a:lnTo>
                    <a:pt x="19979" y="45624"/>
                  </a:lnTo>
                  <a:lnTo>
                    <a:pt x="0" y="45624"/>
                  </a:lnTo>
                  <a:lnTo>
                    <a:pt x="36558" y="1425"/>
                  </a:lnTo>
                  <a:lnTo>
                    <a:pt x="73292" y="1425"/>
                  </a:lnTo>
                  <a:lnTo>
                    <a:pt x="73292" y="75242"/>
                  </a:lnTo>
                  <a:lnTo>
                    <a:pt x="74658" y="75242"/>
                  </a:lnTo>
                  <a:cubicBezTo>
                    <a:pt x="89240" y="31954"/>
                    <a:pt x="100631" y="15094"/>
                    <a:pt x="122503" y="5981"/>
                  </a:cubicBezTo>
                  <a:cubicBezTo>
                    <a:pt x="132528" y="1880"/>
                    <a:pt x="143008" y="-398"/>
                    <a:pt x="153944" y="57"/>
                  </a:cubicBezTo>
                  <a:cubicBezTo>
                    <a:pt x="200877" y="-854"/>
                    <a:pt x="229128" y="31954"/>
                    <a:pt x="229128" y="88456"/>
                  </a:cubicBezTo>
                  <a:lnTo>
                    <a:pt x="229128" y="94380"/>
                  </a:lnTo>
                  <a:lnTo>
                    <a:pt x="167158" y="98025"/>
                  </a:lnTo>
                  <a:lnTo>
                    <a:pt x="167158" y="81621"/>
                  </a:lnTo>
                  <a:cubicBezTo>
                    <a:pt x="167158" y="57016"/>
                    <a:pt x="153033" y="40156"/>
                    <a:pt x="133439" y="40156"/>
                  </a:cubicBezTo>
                  <a:cubicBezTo>
                    <a:pt x="104277" y="40156"/>
                    <a:pt x="80127" y="78887"/>
                    <a:pt x="80127" y="127643"/>
                  </a:cubicBezTo>
                  <a:lnTo>
                    <a:pt x="80127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0" name="Forme libre : forme 379">
              <a:extLst>
                <a:ext uri="{FF2B5EF4-FFF2-40B4-BE49-F238E27FC236}">
                  <a16:creationId xmlns:a16="http://schemas.microsoft.com/office/drawing/2014/main" id="{3801A8FD-71D9-43D4-9A13-F62B93652117}"/>
                </a:ext>
              </a:extLst>
            </p:cNvPr>
            <p:cNvSpPr/>
            <p:nvPr/>
          </p:nvSpPr>
          <p:spPr>
            <a:xfrm rot="8716295">
              <a:off x="5478548" y="1250322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1" name="Forme libre : forme 380">
              <a:extLst>
                <a:ext uri="{FF2B5EF4-FFF2-40B4-BE49-F238E27FC236}">
                  <a16:creationId xmlns:a16="http://schemas.microsoft.com/office/drawing/2014/main" id="{4CC9B929-E3B4-4677-AB6A-C1B0E025204C}"/>
                </a:ext>
              </a:extLst>
            </p:cNvPr>
            <p:cNvSpPr/>
            <p:nvPr/>
          </p:nvSpPr>
          <p:spPr>
            <a:xfrm rot="8716295">
              <a:off x="5241260" y="147066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2" name="Forme libre : forme 381">
              <a:extLst>
                <a:ext uri="{FF2B5EF4-FFF2-40B4-BE49-F238E27FC236}">
                  <a16:creationId xmlns:a16="http://schemas.microsoft.com/office/drawing/2014/main" id="{43D5D927-BA42-496D-BC4E-8674E3CE6A51}"/>
                </a:ext>
              </a:extLst>
            </p:cNvPr>
            <p:cNvSpPr/>
            <p:nvPr/>
          </p:nvSpPr>
          <p:spPr>
            <a:xfrm rot="8716295">
              <a:off x="5052214" y="1154831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3" name="Forme libre : forme 382">
              <a:extLst>
                <a:ext uri="{FF2B5EF4-FFF2-40B4-BE49-F238E27FC236}">
                  <a16:creationId xmlns:a16="http://schemas.microsoft.com/office/drawing/2014/main" id="{A9CA7264-4BDA-4273-8C76-8511057A1B85}"/>
                </a:ext>
              </a:extLst>
            </p:cNvPr>
            <p:cNvSpPr/>
            <p:nvPr/>
          </p:nvSpPr>
          <p:spPr>
            <a:xfrm rot="8716295">
              <a:off x="5033973" y="944781"/>
              <a:ext cx="436339" cy="525389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4" name="Forme libre : forme 383">
              <a:extLst>
                <a:ext uri="{FF2B5EF4-FFF2-40B4-BE49-F238E27FC236}">
                  <a16:creationId xmlns:a16="http://schemas.microsoft.com/office/drawing/2014/main" id="{5E95C0C0-B211-4D78-A1DF-BE4FC385DAC5}"/>
                </a:ext>
              </a:extLst>
            </p:cNvPr>
            <p:cNvSpPr/>
            <p:nvPr/>
          </p:nvSpPr>
          <p:spPr>
            <a:xfrm rot="8716295">
              <a:off x="5377749" y="1532649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5" name="Forme libre : forme 384">
              <a:extLst>
                <a:ext uri="{FF2B5EF4-FFF2-40B4-BE49-F238E27FC236}">
                  <a16:creationId xmlns:a16="http://schemas.microsoft.com/office/drawing/2014/main" id="{299B9701-5011-4B98-BC25-888CE3D4A261}"/>
                </a:ext>
              </a:extLst>
            </p:cNvPr>
            <p:cNvSpPr/>
            <p:nvPr/>
          </p:nvSpPr>
          <p:spPr>
            <a:xfrm rot="8716295">
              <a:off x="5847873" y="996679"/>
              <a:ext cx="92417" cy="314872"/>
            </a:xfrm>
            <a:custGeom>
              <a:avLst/>
              <a:gdLst>
                <a:gd name="connsiteX0" fmla="*/ 0 w 61060"/>
                <a:gd name="connsiteY0" fmla="*/ 208036 h 208036"/>
                <a:gd name="connsiteX1" fmla="*/ 1 w 61060"/>
                <a:gd name="connsiteY1" fmla="*/ 61780 h 208036"/>
                <a:gd name="connsiteX2" fmla="*/ 51100 w 61060"/>
                <a:gd name="connsiteY2" fmla="*/ 0 h 208036"/>
                <a:gd name="connsiteX3" fmla="*/ 61059 w 61060"/>
                <a:gd name="connsiteY3" fmla="*/ 25771 h 208036"/>
                <a:gd name="connsiteX4" fmla="*/ 61060 w 61060"/>
                <a:gd name="connsiteY4" fmla="*/ 183886 h 208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60" h="208036">
                  <a:moveTo>
                    <a:pt x="0" y="208036"/>
                  </a:moveTo>
                  <a:lnTo>
                    <a:pt x="1" y="61780"/>
                  </a:lnTo>
                  <a:lnTo>
                    <a:pt x="51100" y="0"/>
                  </a:lnTo>
                  <a:lnTo>
                    <a:pt x="61059" y="25771"/>
                  </a:lnTo>
                  <a:lnTo>
                    <a:pt x="61060" y="18388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6" name="Forme libre : forme 385">
              <a:extLst>
                <a:ext uri="{FF2B5EF4-FFF2-40B4-BE49-F238E27FC236}">
                  <a16:creationId xmlns:a16="http://schemas.microsoft.com/office/drawing/2014/main" id="{D1B55AC6-0E14-4AD6-A463-2BC5AB8BBB90}"/>
                </a:ext>
              </a:extLst>
            </p:cNvPr>
            <p:cNvSpPr/>
            <p:nvPr/>
          </p:nvSpPr>
          <p:spPr>
            <a:xfrm rot="8716295">
              <a:off x="5678824" y="1092051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7" name="Forme libre : forme 386">
              <a:extLst>
                <a:ext uri="{FF2B5EF4-FFF2-40B4-BE49-F238E27FC236}">
                  <a16:creationId xmlns:a16="http://schemas.microsoft.com/office/drawing/2014/main" id="{35C0CB49-4515-4D6B-805D-6EE1D83F55CD}"/>
                </a:ext>
              </a:extLst>
            </p:cNvPr>
            <p:cNvSpPr/>
            <p:nvPr/>
          </p:nvSpPr>
          <p:spPr>
            <a:xfrm rot="8716295">
              <a:off x="5489780" y="776215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8" name="Forme libre : forme 387">
              <a:extLst>
                <a:ext uri="{FF2B5EF4-FFF2-40B4-BE49-F238E27FC236}">
                  <a16:creationId xmlns:a16="http://schemas.microsoft.com/office/drawing/2014/main" id="{393CE68B-9315-410C-84F0-0D845DB03A75}"/>
                </a:ext>
              </a:extLst>
            </p:cNvPr>
            <p:cNvSpPr/>
            <p:nvPr/>
          </p:nvSpPr>
          <p:spPr>
            <a:xfrm rot="8716295">
              <a:off x="5816554" y="1173443"/>
              <a:ext cx="91037" cy="331731"/>
            </a:xfrm>
            <a:custGeom>
              <a:avLst/>
              <a:gdLst>
                <a:gd name="connsiteX0" fmla="*/ 60148 w 60148"/>
                <a:gd name="connsiteY0" fmla="*/ 219175 h 219175"/>
                <a:gd name="connsiteX1" fmla="*/ 0 w 60148"/>
                <a:gd name="connsiteY1" fmla="*/ 161305 h 219175"/>
                <a:gd name="connsiteX2" fmla="*/ 0 w 60148"/>
                <a:gd name="connsiteY2" fmla="*/ 50021 h 219175"/>
                <a:gd name="connsiteX3" fmla="*/ 41025 w 60148"/>
                <a:gd name="connsiteY3" fmla="*/ 421 h 219175"/>
                <a:gd name="connsiteX4" fmla="*/ 60147 w 60148"/>
                <a:gd name="connsiteY4" fmla="*/ 0 h 219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48" h="219175">
                  <a:moveTo>
                    <a:pt x="60148" y="219175"/>
                  </a:moveTo>
                  <a:lnTo>
                    <a:pt x="0" y="161305"/>
                  </a:lnTo>
                  <a:lnTo>
                    <a:pt x="0" y="50021"/>
                  </a:lnTo>
                  <a:lnTo>
                    <a:pt x="41025" y="421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9" name="Forme libre : forme 388">
              <a:extLst>
                <a:ext uri="{FF2B5EF4-FFF2-40B4-BE49-F238E27FC236}">
                  <a16:creationId xmlns:a16="http://schemas.microsoft.com/office/drawing/2014/main" id="{B917A23A-4403-425A-9C2A-27DE35CB443E}"/>
                </a:ext>
              </a:extLst>
            </p:cNvPr>
            <p:cNvSpPr/>
            <p:nvPr/>
          </p:nvSpPr>
          <p:spPr>
            <a:xfrm rot="8716295">
              <a:off x="5449866" y="927607"/>
              <a:ext cx="109652" cy="109652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0" name="Forme libre : forme 389">
              <a:extLst>
                <a:ext uri="{FF2B5EF4-FFF2-40B4-BE49-F238E27FC236}">
                  <a16:creationId xmlns:a16="http://schemas.microsoft.com/office/drawing/2014/main" id="{8689535D-A8DA-4F0E-9DBC-CBAFC078B2CB}"/>
                </a:ext>
              </a:extLst>
            </p:cNvPr>
            <p:cNvSpPr/>
            <p:nvPr/>
          </p:nvSpPr>
          <p:spPr>
            <a:xfrm rot="8716295">
              <a:off x="5954717" y="1002572"/>
              <a:ext cx="48491" cy="55034"/>
            </a:xfrm>
            <a:custGeom>
              <a:avLst/>
              <a:gdLst>
                <a:gd name="connsiteX0" fmla="*/ 0 w 32038"/>
                <a:gd name="connsiteY0" fmla="*/ 35166 h 36361"/>
                <a:gd name="connsiteX1" fmla="*/ 29086 w 32038"/>
                <a:gd name="connsiteY1" fmla="*/ 0 h 36361"/>
                <a:gd name="connsiteX2" fmla="*/ 32038 w 32038"/>
                <a:gd name="connsiteY2" fmla="*/ 7028 h 36361"/>
                <a:gd name="connsiteX3" fmla="*/ 23495 w 32038"/>
                <a:gd name="connsiteY3" fmla="*/ 27704 h 36361"/>
                <a:gd name="connsiteX4" fmla="*/ 2990 w 32038"/>
                <a:gd name="connsiteY4" fmla="*/ 36361 h 36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038" h="36361">
                  <a:moveTo>
                    <a:pt x="0" y="35166"/>
                  </a:moveTo>
                  <a:lnTo>
                    <a:pt x="29086" y="0"/>
                  </a:lnTo>
                  <a:lnTo>
                    <a:pt x="32038" y="7028"/>
                  </a:lnTo>
                  <a:cubicBezTo>
                    <a:pt x="32039" y="14489"/>
                    <a:pt x="29191" y="22008"/>
                    <a:pt x="23495" y="27704"/>
                  </a:cubicBezTo>
                  <a:cubicBezTo>
                    <a:pt x="18027" y="33172"/>
                    <a:pt x="10736" y="36361"/>
                    <a:pt x="2990" y="363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1" name="Forme libre : forme 390">
              <a:extLst>
                <a:ext uri="{FF2B5EF4-FFF2-40B4-BE49-F238E27FC236}">
                  <a16:creationId xmlns:a16="http://schemas.microsoft.com/office/drawing/2014/main" id="{4277FFB2-58A8-4A02-AADF-E018D5998562}"/>
                </a:ext>
              </a:extLst>
            </p:cNvPr>
            <p:cNvSpPr/>
            <p:nvPr/>
          </p:nvSpPr>
          <p:spPr>
            <a:xfrm rot="8716295">
              <a:off x="5079758" y="33459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2" name="Forme libre : forme 391">
              <a:extLst>
                <a:ext uri="{FF2B5EF4-FFF2-40B4-BE49-F238E27FC236}">
                  <a16:creationId xmlns:a16="http://schemas.microsoft.com/office/drawing/2014/main" id="{EA35B526-89AB-4A06-AA35-B12BC8F0AB1F}"/>
                </a:ext>
              </a:extLst>
            </p:cNvPr>
            <p:cNvSpPr/>
            <p:nvPr/>
          </p:nvSpPr>
          <p:spPr>
            <a:xfrm rot="8716295">
              <a:off x="5215056" y="378857"/>
              <a:ext cx="393110" cy="379317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3" name="Forme libre : forme 392">
              <a:extLst>
                <a:ext uri="{FF2B5EF4-FFF2-40B4-BE49-F238E27FC236}">
                  <a16:creationId xmlns:a16="http://schemas.microsoft.com/office/drawing/2014/main" id="{0E946C4C-ED44-46D8-8F43-896DC93007DB}"/>
                </a:ext>
              </a:extLst>
            </p:cNvPr>
            <p:cNvSpPr/>
            <p:nvPr/>
          </p:nvSpPr>
          <p:spPr>
            <a:xfrm rot="8716295">
              <a:off x="5147174" y="248268"/>
              <a:ext cx="282763" cy="206900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4" name="Forme libre : forme 393">
              <a:extLst>
                <a:ext uri="{FF2B5EF4-FFF2-40B4-BE49-F238E27FC236}">
                  <a16:creationId xmlns:a16="http://schemas.microsoft.com/office/drawing/2014/main" id="{8B9BAAAD-4871-45E0-9808-B6AF30F7C6CF}"/>
                </a:ext>
              </a:extLst>
            </p:cNvPr>
            <p:cNvSpPr/>
            <p:nvPr/>
          </p:nvSpPr>
          <p:spPr>
            <a:xfrm rot="8716295">
              <a:off x="4909887" y="468613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5" name="Forme libre : forme 394">
              <a:extLst>
                <a:ext uri="{FF2B5EF4-FFF2-40B4-BE49-F238E27FC236}">
                  <a16:creationId xmlns:a16="http://schemas.microsoft.com/office/drawing/2014/main" id="{7D346B9D-669B-40E6-8A36-5A7046F06D7F}"/>
                </a:ext>
              </a:extLst>
            </p:cNvPr>
            <p:cNvSpPr/>
            <p:nvPr/>
          </p:nvSpPr>
          <p:spPr>
            <a:xfrm rot="8716295">
              <a:off x="4720840" y="152777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6" name="Forme libre : forme 395">
              <a:extLst>
                <a:ext uri="{FF2B5EF4-FFF2-40B4-BE49-F238E27FC236}">
                  <a16:creationId xmlns:a16="http://schemas.microsoft.com/office/drawing/2014/main" id="{66103F96-93DC-4231-9A89-20615F9DAE20}"/>
                </a:ext>
              </a:extLst>
            </p:cNvPr>
            <p:cNvSpPr/>
            <p:nvPr/>
          </p:nvSpPr>
          <p:spPr>
            <a:xfrm rot="8716295">
              <a:off x="4702019" y="-47743"/>
              <a:ext cx="439901" cy="516041"/>
            </a:xfrm>
            <a:custGeom>
              <a:avLst/>
              <a:gdLst>
                <a:gd name="connsiteX0" fmla="*/ 155476 w 290643"/>
                <a:gd name="connsiteY0" fmla="*/ 340949 h 340949"/>
                <a:gd name="connsiteX1" fmla="*/ 1169 w 290643"/>
                <a:gd name="connsiteY1" fmla="*/ 233989 h 340949"/>
                <a:gd name="connsiteX2" fmla="*/ 0 w 290643"/>
                <a:gd name="connsiteY2" fmla="*/ 220042 h 340949"/>
                <a:gd name="connsiteX3" fmla="*/ 0 w 290643"/>
                <a:gd name="connsiteY3" fmla="*/ 40596 h 340949"/>
                <a:gd name="connsiteX4" fmla="*/ 78250 w 290643"/>
                <a:gd name="connsiteY4" fmla="*/ 0 h 340949"/>
                <a:gd name="connsiteX5" fmla="*/ 79427 w 290643"/>
                <a:gd name="connsiteY5" fmla="*/ 164149 h 340949"/>
                <a:gd name="connsiteX6" fmla="*/ 93547 w 290643"/>
                <a:gd name="connsiteY6" fmla="*/ 261815 h 340949"/>
                <a:gd name="connsiteX7" fmla="*/ 164149 w 290643"/>
                <a:gd name="connsiteY7" fmla="*/ 300646 h 340949"/>
                <a:gd name="connsiteX8" fmla="*/ 217100 w 290643"/>
                <a:gd name="connsiteY8" fmla="*/ 291232 h 340949"/>
                <a:gd name="connsiteX9" fmla="*/ 289467 w 290643"/>
                <a:gd name="connsiteY9" fmla="*/ 261815 h 340949"/>
                <a:gd name="connsiteX10" fmla="*/ 290643 w 290643"/>
                <a:gd name="connsiteY10" fmla="*/ 269463 h 340949"/>
                <a:gd name="connsiteX11" fmla="*/ 290643 w 290643"/>
                <a:gd name="connsiteY11" fmla="*/ 275347 h 340949"/>
                <a:gd name="connsiteX12" fmla="*/ 189080 w 290643"/>
                <a:gd name="connsiteY12" fmla="*/ 331975 h 340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0643" h="340949">
                  <a:moveTo>
                    <a:pt x="155476" y="340949"/>
                  </a:moveTo>
                  <a:lnTo>
                    <a:pt x="1169" y="233989"/>
                  </a:lnTo>
                  <a:lnTo>
                    <a:pt x="0" y="220042"/>
                  </a:ln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9" y="300646"/>
                  </a:cubicBezTo>
                  <a:cubicBezTo>
                    <a:pt x="182388" y="300057"/>
                    <a:pt x="200038" y="296527"/>
                    <a:pt x="217100" y="291232"/>
                  </a:cubicBezTo>
                  <a:cubicBezTo>
                    <a:pt x="241810" y="283584"/>
                    <a:pt x="265933" y="273582"/>
                    <a:pt x="289467" y="261815"/>
                  </a:cubicBezTo>
                  <a:cubicBezTo>
                    <a:pt x="290055" y="264168"/>
                    <a:pt x="290643" y="267110"/>
                    <a:pt x="290643" y="269463"/>
                  </a:cubicBezTo>
                  <a:lnTo>
                    <a:pt x="290643" y="275347"/>
                  </a:lnTo>
                  <a:cubicBezTo>
                    <a:pt x="259461" y="302117"/>
                    <a:pt x="223425" y="320208"/>
                    <a:pt x="189080" y="3319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7" name="Forme libre : forme 396">
              <a:extLst>
                <a:ext uri="{FF2B5EF4-FFF2-40B4-BE49-F238E27FC236}">
                  <a16:creationId xmlns:a16="http://schemas.microsoft.com/office/drawing/2014/main" id="{E7200A70-679E-46A4-89BB-E2CFE2F1D7AE}"/>
                </a:ext>
              </a:extLst>
            </p:cNvPr>
            <p:cNvSpPr/>
            <p:nvPr/>
          </p:nvSpPr>
          <p:spPr>
            <a:xfrm rot="8716295">
              <a:off x="5046375" y="530596"/>
              <a:ext cx="151727" cy="33103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8" name="Forme libre : forme 397">
              <a:extLst>
                <a:ext uri="{FF2B5EF4-FFF2-40B4-BE49-F238E27FC236}">
                  <a16:creationId xmlns:a16="http://schemas.microsoft.com/office/drawing/2014/main" id="{5D528D3B-7826-4D4D-96B5-43ADE18F1EA6}"/>
                </a:ext>
              </a:extLst>
            </p:cNvPr>
            <p:cNvSpPr/>
            <p:nvPr/>
          </p:nvSpPr>
          <p:spPr>
            <a:xfrm rot="8716295">
              <a:off x="5517321" y="-44018"/>
              <a:ext cx="213797" cy="351729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9" name="Forme libre : forme 398">
              <a:extLst>
                <a:ext uri="{FF2B5EF4-FFF2-40B4-BE49-F238E27FC236}">
                  <a16:creationId xmlns:a16="http://schemas.microsoft.com/office/drawing/2014/main" id="{2614F3E9-F724-4FC2-90FF-F1B58DCC0522}"/>
                </a:ext>
              </a:extLst>
            </p:cNvPr>
            <p:cNvSpPr/>
            <p:nvPr/>
          </p:nvSpPr>
          <p:spPr>
            <a:xfrm rot="8716295">
              <a:off x="5660365" y="29418"/>
              <a:ext cx="361480" cy="358038"/>
            </a:xfrm>
            <a:custGeom>
              <a:avLst/>
              <a:gdLst>
                <a:gd name="connsiteX0" fmla="*/ 56401 w 238830"/>
                <a:gd name="connsiteY0" fmla="*/ 236556 h 236556"/>
                <a:gd name="connsiteX1" fmla="*/ 29681 w 238830"/>
                <a:gd name="connsiteY1" fmla="*/ 218034 h 236556"/>
                <a:gd name="connsiteX2" fmla="*/ 29681 w 238830"/>
                <a:gd name="connsiteY2" fmla="*/ 45624 h 236556"/>
                <a:gd name="connsiteX3" fmla="*/ 0 w 238830"/>
                <a:gd name="connsiteY3" fmla="*/ 45624 h 236556"/>
                <a:gd name="connsiteX4" fmla="*/ 36558 w 238830"/>
                <a:gd name="connsiteY4" fmla="*/ 1425 h 236556"/>
                <a:gd name="connsiteX5" fmla="*/ 82994 w 238830"/>
                <a:gd name="connsiteY5" fmla="*/ 1425 h 236556"/>
                <a:gd name="connsiteX6" fmla="*/ 82994 w 238830"/>
                <a:gd name="connsiteY6" fmla="*/ 75242 h 236556"/>
                <a:gd name="connsiteX7" fmla="*/ 84360 w 238830"/>
                <a:gd name="connsiteY7" fmla="*/ 75242 h 236556"/>
                <a:gd name="connsiteX8" fmla="*/ 132205 w 238830"/>
                <a:gd name="connsiteY8" fmla="*/ 5981 h 236556"/>
                <a:gd name="connsiteX9" fmla="*/ 163646 w 238830"/>
                <a:gd name="connsiteY9" fmla="*/ 57 h 236556"/>
                <a:gd name="connsiteX10" fmla="*/ 238830 w 238830"/>
                <a:gd name="connsiteY10" fmla="*/ 88456 h 236556"/>
                <a:gd name="connsiteX11" fmla="*/ 238830 w 238830"/>
                <a:gd name="connsiteY11" fmla="*/ 94380 h 236556"/>
                <a:gd name="connsiteX12" fmla="*/ 176860 w 238830"/>
                <a:gd name="connsiteY12" fmla="*/ 98025 h 236556"/>
                <a:gd name="connsiteX13" fmla="*/ 176860 w 238830"/>
                <a:gd name="connsiteY13" fmla="*/ 81621 h 236556"/>
                <a:gd name="connsiteX14" fmla="*/ 143141 w 238830"/>
                <a:gd name="connsiteY14" fmla="*/ 40156 h 236556"/>
                <a:gd name="connsiteX15" fmla="*/ 89829 w 238830"/>
                <a:gd name="connsiteY15" fmla="*/ 127643 h 236556"/>
                <a:gd name="connsiteX16" fmla="*/ 89829 w 238830"/>
                <a:gd name="connsiteY16" fmla="*/ 213764 h 236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8830" h="236556">
                  <a:moveTo>
                    <a:pt x="56401" y="236556"/>
                  </a:moveTo>
                  <a:lnTo>
                    <a:pt x="29681" y="218034"/>
                  </a:lnTo>
                  <a:lnTo>
                    <a:pt x="29681" y="45624"/>
                  </a:lnTo>
                  <a:lnTo>
                    <a:pt x="0" y="45624"/>
                  </a:lnTo>
                  <a:lnTo>
                    <a:pt x="36558" y="1425"/>
                  </a:lnTo>
                  <a:lnTo>
                    <a:pt x="82994" y="1425"/>
                  </a:lnTo>
                  <a:lnTo>
                    <a:pt x="82994" y="75242"/>
                  </a:lnTo>
                  <a:lnTo>
                    <a:pt x="84360" y="75242"/>
                  </a:lnTo>
                  <a:cubicBezTo>
                    <a:pt x="98942" y="31954"/>
                    <a:pt x="110333" y="15095"/>
                    <a:pt x="132205" y="5981"/>
                  </a:cubicBezTo>
                  <a:cubicBezTo>
                    <a:pt x="142230" y="1880"/>
                    <a:pt x="152710" y="-398"/>
                    <a:pt x="163646" y="57"/>
                  </a:cubicBezTo>
                  <a:cubicBezTo>
                    <a:pt x="210579" y="-854"/>
                    <a:pt x="238830" y="31954"/>
                    <a:pt x="238830" y="88456"/>
                  </a:cubicBezTo>
                  <a:lnTo>
                    <a:pt x="238830" y="94380"/>
                  </a:lnTo>
                  <a:lnTo>
                    <a:pt x="176860" y="98025"/>
                  </a:lnTo>
                  <a:lnTo>
                    <a:pt x="176860" y="81621"/>
                  </a:lnTo>
                  <a:cubicBezTo>
                    <a:pt x="176860" y="57016"/>
                    <a:pt x="162735" y="40156"/>
                    <a:pt x="143141" y="40156"/>
                  </a:cubicBezTo>
                  <a:cubicBezTo>
                    <a:pt x="113979" y="40156"/>
                    <a:pt x="89829" y="78887"/>
                    <a:pt x="89829" y="127643"/>
                  </a:cubicBezTo>
                  <a:lnTo>
                    <a:pt x="89829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0" name="Forme libre : forme 399">
              <a:extLst>
                <a:ext uri="{FF2B5EF4-FFF2-40B4-BE49-F238E27FC236}">
                  <a16:creationId xmlns:a16="http://schemas.microsoft.com/office/drawing/2014/main" id="{30961414-E4AD-4BB3-9FB3-626F7F1FE23D}"/>
                </a:ext>
              </a:extLst>
            </p:cNvPr>
            <p:cNvSpPr/>
            <p:nvPr/>
          </p:nvSpPr>
          <p:spPr>
            <a:xfrm rot="8716295">
              <a:off x="5347450" y="89997"/>
              <a:ext cx="82761" cy="82761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1" name="Forme libre : forme 400">
              <a:extLst>
                <a:ext uri="{FF2B5EF4-FFF2-40B4-BE49-F238E27FC236}">
                  <a16:creationId xmlns:a16="http://schemas.microsoft.com/office/drawing/2014/main" id="{30769E12-B50E-4874-9A5A-F158D8D6A603}"/>
                </a:ext>
              </a:extLst>
            </p:cNvPr>
            <p:cNvSpPr/>
            <p:nvPr/>
          </p:nvSpPr>
          <p:spPr>
            <a:xfrm rot="8716295">
              <a:off x="5220022" y="-7080"/>
              <a:ext cx="219414" cy="84041"/>
            </a:xfrm>
            <a:custGeom>
              <a:avLst/>
              <a:gdLst>
                <a:gd name="connsiteX0" fmla="*/ 80105 w 144967"/>
                <a:gd name="connsiteY0" fmla="*/ 55526 h 55526"/>
                <a:gd name="connsiteX1" fmla="*/ 0 w 144967"/>
                <a:gd name="connsiteY1" fmla="*/ 0 h 55526"/>
                <a:gd name="connsiteX2" fmla="*/ 144967 w 144967"/>
                <a:gd name="connsiteY2" fmla="*/ 0 h 55526"/>
                <a:gd name="connsiteX3" fmla="*/ 144967 w 144967"/>
                <a:gd name="connsiteY3" fmla="*/ 55323 h 55526"/>
                <a:gd name="connsiteX4" fmla="*/ 80175 w 144967"/>
                <a:gd name="connsiteY4" fmla="*/ 55323 h 55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967" h="55526">
                  <a:moveTo>
                    <a:pt x="80105" y="55526"/>
                  </a:moveTo>
                  <a:lnTo>
                    <a:pt x="0" y="0"/>
                  </a:lnTo>
                  <a:lnTo>
                    <a:pt x="144967" y="0"/>
                  </a:lnTo>
                  <a:lnTo>
                    <a:pt x="144967" y="55323"/>
                  </a:lnTo>
                  <a:lnTo>
                    <a:pt x="8017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2" name="Forme libre : forme 401">
              <a:extLst>
                <a:ext uri="{FF2B5EF4-FFF2-40B4-BE49-F238E27FC236}">
                  <a16:creationId xmlns:a16="http://schemas.microsoft.com/office/drawing/2014/main" id="{DED468EA-B834-46DE-9EEF-86FA34FB4D87}"/>
                </a:ext>
              </a:extLst>
            </p:cNvPr>
            <p:cNvSpPr/>
            <p:nvPr/>
          </p:nvSpPr>
          <p:spPr>
            <a:xfrm rot="8716295">
              <a:off x="5483939" y="151980"/>
              <a:ext cx="151727" cy="331041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3" name="Forme libre : forme 402">
              <a:extLst>
                <a:ext uri="{FF2B5EF4-FFF2-40B4-BE49-F238E27FC236}">
                  <a16:creationId xmlns:a16="http://schemas.microsoft.com/office/drawing/2014/main" id="{3C1561C2-2060-4974-8514-2DC34975F6D4}"/>
                </a:ext>
              </a:extLst>
            </p:cNvPr>
            <p:cNvSpPr/>
            <p:nvPr/>
          </p:nvSpPr>
          <p:spPr>
            <a:xfrm rot="8716295">
              <a:off x="5128323" y="-20358"/>
              <a:ext cx="80664" cy="63766"/>
            </a:xfrm>
            <a:custGeom>
              <a:avLst/>
              <a:gdLst>
                <a:gd name="connsiteX0" fmla="*/ 51759 w 53295"/>
                <a:gd name="connsiteY0" fmla="*/ 42130 h 42130"/>
                <a:gd name="connsiteX1" fmla="*/ 0 w 53295"/>
                <a:gd name="connsiteY1" fmla="*/ 6252 h 42130"/>
                <a:gd name="connsiteX2" fmla="*/ 14807 w 53295"/>
                <a:gd name="connsiteY2" fmla="*/ 0 h 42130"/>
                <a:gd name="connsiteX3" fmla="*/ 41975 w 53295"/>
                <a:gd name="connsiteY3" fmla="*/ 11471 h 42130"/>
                <a:gd name="connsiteX4" fmla="*/ 53295 w 53295"/>
                <a:gd name="connsiteY4" fmla="*/ 38412 h 42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295" h="42130">
                  <a:moveTo>
                    <a:pt x="51759" y="42130"/>
                  </a:moveTo>
                  <a:lnTo>
                    <a:pt x="0" y="6252"/>
                  </a:lnTo>
                  <a:lnTo>
                    <a:pt x="14807" y="0"/>
                  </a:lnTo>
                  <a:cubicBezTo>
                    <a:pt x="25071" y="0"/>
                    <a:pt x="34731" y="4226"/>
                    <a:pt x="41975" y="11471"/>
                  </a:cubicBezTo>
                  <a:cubicBezTo>
                    <a:pt x="49522" y="18716"/>
                    <a:pt x="53295" y="28526"/>
                    <a:pt x="53295" y="3841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4" name="Forme libre : forme 403">
              <a:extLst>
                <a:ext uri="{FF2B5EF4-FFF2-40B4-BE49-F238E27FC236}">
                  <a16:creationId xmlns:a16="http://schemas.microsoft.com/office/drawing/2014/main" id="{BE3C9C9C-FBEC-4353-AF9E-1F8508D75B04}"/>
                </a:ext>
              </a:extLst>
            </p:cNvPr>
            <p:cNvSpPr/>
            <p:nvPr/>
          </p:nvSpPr>
          <p:spPr>
            <a:xfrm rot="7484129">
              <a:off x="5642756" y="441598"/>
              <a:ext cx="301743" cy="294200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5" name="Forme libre : forme 404">
              <a:extLst>
                <a:ext uri="{FF2B5EF4-FFF2-40B4-BE49-F238E27FC236}">
                  <a16:creationId xmlns:a16="http://schemas.microsoft.com/office/drawing/2014/main" id="{8A4BC53C-40CB-4B8B-A2E3-E4599AA1DEB7}"/>
                </a:ext>
              </a:extLst>
            </p:cNvPr>
            <p:cNvSpPr/>
            <p:nvPr/>
          </p:nvSpPr>
          <p:spPr>
            <a:xfrm rot="13089394">
              <a:off x="5789679" y="415199"/>
              <a:ext cx="360116" cy="446294"/>
            </a:xfrm>
            <a:custGeom>
              <a:avLst/>
              <a:gdLst>
                <a:gd name="connsiteX0" fmla="*/ 39306 w 237929"/>
                <a:gd name="connsiteY0" fmla="*/ 79955 h 294867"/>
                <a:gd name="connsiteX1" fmla="*/ 0 w 237929"/>
                <a:gd name="connsiteY1" fmla="*/ 20095 h 294867"/>
                <a:gd name="connsiteX2" fmla="*/ 38733 w 237929"/>
                <a:gd name="connsiteY2" fmla="*/ 0 h 294867"/>
                <a:gd name="connsiteX3" fmla="*/ 237929 w 237929"/>
                <a:gd name="connsiteY3" fmla="*/ 258238 h 294867"/>
                <a:gd name="connsiteX4" fmla="*/ 191415 w 237929"/>
                <a:gd name="connsiteY4" fmla="*/ 290069 h 294867"/>
                <a:gd name="connsiteX5" fmla="*/ 180425 w 237929"/>
                <a:gd name="connsiteY5" fmla="*/ 294867 h 294867"/>
                <a:gd name="connsiteX6" fmla="*/ 166448 w 237929"/>
                <a:gd name="connsiteY6" fmla="*/ 273582 h 294867"/>
                <a:gd name="connsiteX7" fmla="*/ 168955 w 237929"/>
                <a:gd name="connsiteY7" fmla="*/ 273136 h 294867"/>
                <a:gd name="connsiteX8" fmla="*/ 236826 w 237929"/>
                <a:gd name="connsiteY8" fmla="*/ 245547 h 294867"/>
                <a:gd name="connsiteX9" fmla="*/ 237929 w 237929"/>
                <a:gd name="connsiteY9" fmla="*/ 252720 h 294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7929" h="294867">
                  <a:moveTo>
                    <a:pt x="39306" y="79955"/>
                  </a:moveTo>
                  <a:lnTo>
                    <a:pt x="0" y="20095"/>
                  </a:lnTo>
                  <a:lnTo>
                    <a:pt x="38733" y="0"/>
                  </a:lnTo>
                  <a:close/>
                  <a:moveTo>
                    <a:pt x="237929" y="258238"/>
                  </a:moveTo>
                  <a:cubicBezTo>
                    <a:pt x="223307" y="270791"/>
                    <a:pt x="207546" y="281309"/>
                    <a:pt x="191415" y="290069"/>
                  </a:cubicBezTo>
                  <a:lnTo>
                    <a:pt x="180425" y="294867"/>
                  </a:lnTo>
                  <a:lnTo>
                    <a:pt x="166448" y="273582"/>
                  </a:lnTo>
                  <a:lnTo>
                    <a:pt x="168955" y="273136"/>
                  </a:lnTo>
                  <a:cubicBezTo>
                    <a:pt x="192130" y="265963"/>
                    <a:pt x="214754" y="256582"/>
                    <a:pt x="236826" y="245547"/>
                  </a:cubicBezTo>
                  <a:cubicBezTo>
                    <a:pt x="237377" y="247754"/>
                    <a:pt x="237929" y="250513"/>
                    <a:pt x="237929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6" name="Forme libre : forme 405">
              <a:extLst>
                <a:ext uri="{FF2B5EF4-FFF2-40B4-BE49-F238E27FC236}">
                  <a16:creationId xmlns:a16="http://schemas.microsoft.com/office/drawing/2014/main" id="{800D034F-ECF4-4F0F-8FF6-C97DAD2143D3}"/>
                </a:ext>
              </a:extLst>
            </p:cNvPr>
            <p:cNvSpPr/>
            <p:nvPr/>
          </p:nvSpPr>
          <p:spPr>
            <a:xfrm rot="8716295">
              <a:off x="5996886" y="-12676"/>
              <a:ext cx="90399" cy="122140"/>
            </a:xfrm>
            <a:custGeom>
              <a:avLst/>
              <a:gdLst>
                <a:gd name="connsiteX0" fmla="*/ 0 w 59727"/>
                <a:gd name="connsiteY0" fmla="*/ 52945 h 80698"/>
                <a:gd name="connsiteX1" fmla="*/ 43791 w 59727"/>
                <a:gd name="connsiteY1" fmla="*/ 0 h 80698"/>
                <a:gd name="connsiteX2" fmla="*/ 59727 w 59727"/>
                <a:gd name="connsiteY2" fmla="*/ 37928 h 80698"/>
                <a:gd name="connsiteX3" fmla="*/ 42480 w 59727"/>
                <a:gd name="connsiteY3" fmla="*/ 79666 h 80698"/>
                <a:gd name="connsiteX4" fmla="*/ 40038 w 59727"/>
                <a:gd name="connsiteY4" fmla="*/ 80698 h 80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727" h="80698">
                  <a:moveTo>
                    <a:pt x="0" y="52945"/>
                  </a:moveTo>
                  <a:lnTo>
                    <a:pt x="43791" y="0"/>
                  </a:lnTo>
                  <a:lnTo>
                    <a:pt x="59727" y="37928"/>
                  </a:lnTo>
                  <a:cubicBezTo>
                    <a:pt x="59727" y="52991"/>
                    <a:pt x="53978" y="68168"/>
                    <a:pt x="42480" y="79666"/>
                  </a:cubicBezTo>
                  <a:lnTo>
                    <a:pt x="40038" y="806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7" name="Forme libre : forme 406">
              <a:extLst>
                <a:ext uri="{FF2B5EF4-FFF2-40B4-BE49-F238E27FC236}">
                  <a16:creationId xmlns:a16="http://schemas.microsoft.com/office/drawing/2014/main" id="{3B32A0F8-96EA-444F-A5F3-4315A6F0F2B6}"/>
                </a:ext>
              </a:extLst>
            </p:cNvPr>
            <p:cNvSpPr/>
            <p:nvPr/>
          </p:nvSpPr>
          <p:spPr>
            <a:xfrm rot="8716295">
              <a:off x="5631023" y="-8174"/>
              <a:ext cx="87445" cy="82387"/>
            </a:xfrm>
            <a:custGeom>
              <a:avLst/>
              <a:gdLst>
                <a:gd name="connsiteX0" fmla="*/ 37946 w 57775"/>
                <a:gd name="connsiteY0" fmla="*/ 54433 h 54433"/>
                <a:gd name="connsiteX1" fmla="*/ 0 w 57775"/>
                <a:gd name="connsiteY1" fmla="*/ 28130 h 54433"/>
                <a:gd name="connsiteX2" fmla="*/ 8222 w 57775"/>
                <a:gd name="connsiteY2" fmla="*/ 8658 h 54433"/>
                <a:gd name="connsiteX3" fmla="*/ 28726 w 57775"/>
                <a:gd name="connsiteY3" fmla="*/ 0 h 54433"/>
                <a:gd name="connsiteX4" fmla="*/ 49232 w 57775"/>
                <a:gd name="connsiteY4" fmla="*/ 8658 h 54433"/>
                <a:gd name="connsiteX5" fmla="*/ 49232 w 57775"/>
                <a:gd name="connsiteY5" fmla="*/ 49668 h 54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775" h="54433">
                  <a:moveTo>
                    <a:pt x="37946" y="54433"/>
                  </a:moveTo>
                  <a:lnTo>
                    <a:pt x="0" y="28130"/>
                  </a:lnTo>
                  <a:lnTo>
                    <a:pt x="8222" y="8658"/>
                  </a:lnTo>
                  <a:cubicBezTo>
                    <a:pt x="13690" y="3190"/>
                    <a:pt x="20981" y="0"/>
                    <a:pt x="28726" y="0"/>
                  </a:cubicBezTo>
                  <a:cubicBezTo>
                    <a:pt x="36473" y="0"/>
                    <a:pt x="43764" y="3190"/>
                    <a:pt x="49232" y="8658"/>
                  </a:cubicBezTo>
                  <a:cubicBezTo>
                    <a:pt x="60624" y="19594"/>
                    <a:pt x="60623" y="38276"/>
                    <a:pt x="49232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pic>
        <p:nvPicPr>
          <p:cNvPr id="409" name="Graphique 408">
            <a:extLst>
              <a:ext uri="{FF2B5EF4-FFF2-40B4-BE49-F238E27FC236}">
                <a16:creationId xmlns:a16="http://schemas.microsoft.com/office/drawing/2014/main" id="{F10A60C0-CBC0-4A34-A118-4449B251E1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97194" y="513241"/>
            <a:ext cx="2255854" cy="673200"/>
          </a:xfrm>
          <a:prstGeom prst="rect">
            <a:avLst/>
          </a:prstGeom>
        </p:spPr>
      </p:pic>
      <p:sp>
        <p:nvSpPr>
          <p:cNvPr id="411" name="Espace réservé du texte 410">
            <a:extLst>
              <a:ext uri="{FF2B5EF4-FFF2-40B4-BE49-F238E27FC236}">
                <a16:creationId xmlns:a16="http://schemas.microsoft.com/office/drawing/2014/main" id="{E014E6DC-AD19-40E5-A2B7-DF68385EE1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3141" y="1755675"/>
            <a:ext cx="7379432" cy="299187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lang="fr-FR" sz="4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r">
              <a:buNone/>
              <a:defRPr sz="5400" b="1" cap="all" baseline="0">
                <a:solidFill>
                  <a:srgbClr val="009FE3"/>
                </a:solidFill>
              </a:defRPr>
            </a:lvl2pPr>
          </a:lstStyle>
          <a:p>
            <a:pPr lvl="0"/>
            <a:r>
              <a:rPr lang="fr-FR" dirty="0"/>
              <a:t>Titre de la </a:t>
            </a:r>
            <a:br>
              <a:rPr lang="fr-FR" dirty="0"/>
            </a:br>
            <a:r>
              <a:rPr lang="fr-FR" dirty="0"/>
              <a:t>présentation</a:t>
            </a:r>
          </a:p>
          <a:p>
            <a:pPr lvl="1"/>
            <a:r>
              <a:rPr lang="fr-FR" dirty="0"/>
              <a:t>exergue</a:t>
            </a:r>
          </a:p>
        </p:txBody>
      </p:sp>
    </p:spTree>
    <p:extLst>
      <p:ext uri="{BB962C8B-B14F-4D97-AF65-F5344CB8AC3E}">
        <p14:creationId xmlns:p14="http://schemas.microsoft.com/office/powerpoint/2010/main" val="117436809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sur motif + Texte">
    <p:bg>
      <p:bgPr>
        <a:solidFill>
          <a:srgbClr val="009F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10" name="Groupe 1809">
            <a:extLst>
              <a:ext uri="{FF2B5EF4-FFF2-40B4-BE49-F238E27FC236}">
                <a16:creationId xmlns:a16="http://schemas.microsoft.com/office/drawing/2014/main" id="{D5E52DBD-0A92-4197-896E-BCC6716DD6DA}"/>
              </a:ext>
            </a:extLst>
          </p:cNvPr>
          <p:cNvGrpSpPr/>
          <p:nvPr userDrawn="1"/>
        </p:nvGrpSpPr>
        <p:grpSpPr>
          <a:xfrm>
            <a:off x="-91485" y="-107301"/>
            <a:ext cx="6241280" cy="5352842"/>
            <a:chOff x="-91485" y="-107301"/>
            <a:chExt cx="6241280" cy="5352842"/>
          </a:xfrm>
          <a:solidFill>
            <a:schemeClr val="bg2">
              <a:alpha val="5000"/>
            </a:schemeClr>
          </a:solidFill>
        </p:grpSpPr>
        <p:sp>
          <p:nvSpPr>
            <p:cNvPr id="1811" name="Forme libre : forme 1810">
              <a:extLst>
                <a:ext uri="{FF2B5EF4-FFF2-40B4-BE49-F238E27FC236}">
                  <a16:creationId xmlns:a16="http://schemas.microsoft.com/office/drawing/2014/main" id="{356DB458-2C6D-4A95-879D-F8AE824F08BD}"/>
                </a:ext>
              </a:extLst>
            </p:cNvPr>
            <p:cNvSpPr/>
            <p:nvPr/>
          </p:nvSpPr>
          <p:spPr>
            <a:xfrm rot="8716295">
              <a:off x="3051469" y="229467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2" name="Forme libre : forme 1811">
              <a:extLst>
                <a:ext uri="{FF2B5EF4-FFF2-40B4-BE49-F238E27FC236}">
                  <a16:creationId xmlns:a16="http://schemas.microsoft.com/office/drawing/2014/main" id="{D0305DE6-6073-4DA8-862F-147A02C05ABF}"/>
                </a:ext>
              </a:extLst>
            </p:cNvPr>
            <p:cNvSpPr/>
            <p:nvPr/>
          </p:nvSpPr>
          <p:spPr>
            <a:xfrm rot="8716295">
              <a:off x="3140861" y="232391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3" name="Forme libre : forme 1812">
              <a:extLst>
                <a:ext uri="{FF2B5EF4-FFF2-40B4-BE49-F238E27FC236}">
                  <a16:creationId xmlns:a16="http://schemas.microsoft.com/office/drawing/2014/main" id="{D227984A-879C-4B8E-95D0-FFA8AD953D5C}"/>
                </a:ext>
              </a:extLst>
            </p:cNvPr>
            <p:cNvSpPr/>
            <p:nvPr/>
          </p:nvSpPr>
          <p:spPr>
            <a:xfrm rot="8716295">
              <a:off x="3096011" y="2237639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4" name="Forme libre : forme 1813">
              <a:extLst>
                <a:ext uri="{FF2B5EF4-FFF2-40B4-BE49-F238E27FC236}">
                  <a16:creationId xmlns:a16="http://schemas.microsoft.com/office/drawing/2014/main" id="{2C608E55-0CAE-4732-A11A-F0F39D2AEFD9}"/>
                </a:ext>
              </a:extLst>
            </p:cNvPr>
            <p:cNvSpPr/>
            <p:nvPr/>
          </p:nvSpPr>
          <p:spPr>
            <a:xfrm rot="8716295">
              <a:off x="2939235" y="238322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5" name="Forme libre : forme 1814">
              <a:extLst>
                <a:ext uri="{FF2B5EF4-FFF2-40B4-BE49-F238E27FC236}">
                  <a16:creationId xmlns:a16="http://schemas.microsoft.com/office/drawing/2014/main" id="{E8BA7359-7258-4AE0-83CA-5DD072306BDB}"/>
                </a:ext>
              </a:extLst>
            </p:cNvPr>
            <p:cNvSpPr/>
            <p:nvPr/>
          </p:nvSpPr>
          <p:spPr>
            <a:xfrm rot="8716295">
              <a:off x="2814332" y="217454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6" name="Forme libre : forme 1815">
              <a:extLst>
                <a:ext uri="{FF2B5EF4-FFF2-40B4-BE49-F238E27FC236}">
                  <a16:creationId xmlns:a16="http://schemas.microsoft.com/office/drawing/2014/main" id="{C4F787ED-8136-4000-BB29-ED55AC1B93E4}"/>
                </a:ext>
              </a:extLst>
            </p:cNvPr>
            <p:cNvSpPr/>
            <p:nvPr/>
          </p:nvSpPr>
          <p:spPr>
            <a:xfrm rot="8716295">
              <a:off x="2802280" y="203576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7" name="Forme libre : forme 1816">
              <a:extLst>
                <a:ext uri="{FF2B5EF4-FFF2-40B4-BE49-F238E27FC236}">
                  <a16:creationId xmlns:a16="http://schemas.microsoft.com/office/drawing/2014/main" id="{7A005167-A9EB-451A-912F-F0D5BCE01993}"/>
                </a:ext>
              </a:extLst>
            </p:cNvPr>
            <p:cNvSpPr/>
            <p:nvPr/>
          </p:nvSpPr>
          <p:spPr>
            <a:xfrm rot="8716295">
              <a:off x="3029413" y="2424173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8" name="Forme libre : forme 1817">
              <a:extLst>
                <a:ext uri="{FF2B5EF4-FFF2-40B4-BE49-F238E27FC236}">
                  <a16:creationId xmlns:a16="http://schemas.microsoft.com/office/drawing/2014/main" id="{1E844DF7-3B47-43F4-A15C-58025D0149C0}"/>
                </a:ext>
              </a:extLst>
            </p:cNvPr>
            <p:cNvSpPr/>
            <p:nvPr/>
          </p:nvSpPr>
          <p:spPr>
            <a:xfrm rot="8716295">
              <a:off x="3340568" y="204452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9" name="Forme libre : forme 1818">
              <a:extLst>
                <a:ext uri="{FF2B5EF4-FFF2-40B4-BE49-F238E27FC236}">
                  <a16:creationId xmlns:a16="http://schemas.microsoft.com/office/drawing/2014/main" id="{B996BBF0-6994-43D3-9BE9-386DA607C947}"/>
                </a:ext>
              </a:extLst>
            </p:cNvPr>
            <p:cNvSpPr/>
            <p:nvPr/>
          </p:nvSpPr>
          <p:spPr>
            <a:xfrm rot="8716295">
              <a:off x="3429960" y="207376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0" name="Forme libre : forme 1819">
              <a:extLst>
                <a:ext uri="{FF2B5EF4-FFF2-40B4-BE49-F238E27FC236}">
                  <a16:creationId xmlns:a16="http://schemas.microsoft.com/office/drawing/2014/main" id="{65E70179-AEDC-493A-B137-D76EB54F2A95}"/>
                </a:ext>
              </a:extLst>
            </p:cNvPr>
            <p:cNvSpPr/>
            <p:nvPr/>
          </p:nvSpPr>
          <p:spPr>
            <a:xfrm rot="8716295">
              <a:off x="3228334" y="213306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1" name="Forme libre : forme 1820">
              <a:extLst>
                <a:ext uri="{FF2B5EF4-FFF2-40B4-BE49-F238E27FC236}">
                  <a16:creationId xmlns:a16="http://schemas.microsoft.com/office/drawing/2014/main" id="{15E43ACE-5A35-4065-8BA0-05B9E4F3E2DD}"/>
                </a:ext>
              </a:extLst>
            </p:cNvPr>
            <p:cNvSpPr/>
            <p:nvPr/>
          </p:nvSpPr>
          <p:spPr>
            <a:xfrm rot="8716295">
              <a:off x="3103432" y="192439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2" name="Forme libre : forme 1821">
              <a:extLst>
                <a:ext uri="{FF2B5EF4-FFF2-40B4-BE49-F238E27FC236}">
                  <a16:creationId xmlns:a16="http://schemas.microsoft.com/office/drawing/2014/main" id="{2A0C81CE-D249-4CA0-8A47-1AAEA8CB9533}"/>
                </a:ext>
              </a:extLst>
            </p:cNvPr>
            <p:cNvSpPr/>
            <p:nvPr/>
          </p:nvSpPr>
          <p:spPr>
            <a:xfrm rot="8716295">
              <a:off x="3318512" y="2174021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3" name="Forme libre : forme 1822">
              <a:extLst>
                <a:ext uri="{FF2B5EF4-FFF2-40B4-BE49-F238E27FC236}">
                  <a16:creationId xmlns:a16="http://schemas.microsoft.com/office/drawing/2014/main" id="{0EEC3B89-6CB0-495F-A11A-4B49BC16C2B1}"/>
                </a:ext>
              </a:extLst>
            </p:cNvPr>
            <p:cNvSpPr/>
            <p:nvPr/>
          </p:nvSpPr>
          <p:spPr>
            <a:xfrm rot="8716295">
              <a:off x="3077061" y="202442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4" name="Forme libre : forme 1823">
              <a:extLst>
                <a:ext uri="{FF2B5EF4-FFF2-40B4-BE49-F238E27FC236}">
                  <a16:creationId xmlns:a16="http://schemas.microsoft.com/office/drawing/2014/main" id="{65DB1D59-7D7C-4965-B3DC-B73DA9D278B7}"/>
                </a:ext>
              </a:extLst>
            </p:cNvPr>
            <p:cNvSpPr/>
            <p:nvPr/>
          </p:nvSpPr>
          <p:spPr>
            <a:xfrm rot="7484129">
              <a:off x="3423443" y="236537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5" name="Forme libre : forme 1824">
              <a:extLst>
                <a:ext uri="{FF2B5EF4-FFF2-40B4-BE49-F238E27FC236}">
                  <a16:creationId xmlns:a16="http://schemas.microsoft.com/office/drawing/2014/main" id="{AC9D40C9-BBC1-4F0D-B0BB-6E893395B20A}"/>
                </a:ext>
              </a:extLst>
            </p:cNvPr>
            <p:cNvSpPr/>
            <p:nvPr/>
          </p:nvSpPr>
          <p:spPr>
            <a:xfrm rot="13089394">
              <a:off x="3528263" y="233190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6" name="Forme libre : forme 1825">
              <a:extLst>
                <a:ext uri="{FF2B5EF4-FFF2-40B4-BE49-F238E27FC236}">
                  <a16:creationId xmlns:a16="http://schemas.microsoft.com/office/drawing/2014/main" id="{66690AAC-D0B3-493E-A085-78B2DC0C4ADB}"/>
                </a:ext>
              </a:extLst>
            </p:cNvPr>
            <p:cNvSpPr/>
            <p:nvPr/>
          </p:nvSpPr>
          <p:spPr>
            <a:xfrm rot="8716295">
              <a:off x="3713848" y="214022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7" name="Forme libre : forme 1826">
              <a:extLst>
                <a:ext uri="{FF2B5EF4-FFF2-40B4-BE49-F238E27FC236}">
                  <a16:creationId xmlns:a16="http://schemas.microsoft.com/office/drawing/2014/main" id="{E1D008C3-7DA7-4156-9341-879792E727A4}"/>
                </a:ext>
              </a:extLst>
            </p:cNvPr>
            <p:cNvSpPr/>
            <p:nvPr/>
          </p:nvSpPr>
          <p:spPr>
            <a:xfrm rot="8716295">
              <a:off x="3662043" y="203663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8" name="Forme libre : forme 1827">
              <a:extLst>
                <a:ext uri="{FF2B5EF4-FFF2-40B4-BE49-F238E27FC236}">
                  <a16:creationId xmlns:a16="http://schemas.microsoft.com/office/drawing/2014/main" id="{B1942048-207E-4193-8388-B1BA4B510158}"/>
                </a:ext>
              </a:extLst>
            </p:cNvPr>
            <p:cNvSpPr/>
            <p:nvPr/>
          </p:nvSpPr>
          <p:spPr>
            <a:xfrm rot="8716295">
              <a:off x="3418797" y="206685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9" name="Forme libre : forme 1828">
              <a:extLst>
                <a:ext uri="{FF2B5EF4-FFF2-40B4-BE49-F238E27FC236}">
                  <a16:creationId xmlns:a16="http://schemas.microsoft.com/office/drawing/2014/main" id="{BA4761C7-6BBA-45FB-B8B6-2CD746953A11}"/>
                </a:ext>
              </a:extLst>
            </p:cNvPr>
            <p:cNvSpPr/>
            <p:nvPr/>
          </p:nvSpPr>
          <p:spPr>
            <a:xfrm rot="8716295">
              <a:off x="3596249" y="190761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0" name="Forme libre : forme 1829">
              <a:extLst>
                <a:ext uri="{FF2B5EF4-FFF2-40B4-BE49-F238E27FC236}">
                  <a16:creationId xmlns:a16="http://schemas.microsoft.com/office/drawing/2014/main" id="{93D0BE11-A1A3-453C-8F4F-F64994477961}"/>
                </a:ext>
              </a:extLst>
            </p:cNvPr>
            <p:cNvSpPr/>
            <p:nvPr/>
          </p:nvSpPr>
          <p:spPr>
            <a:xfrm rot="8716295">
              <a:off x="3274636" y="295437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1" name="Forme libre : forme 1830">
              <a:extLst>
                <a:ext uri="{FF2B5EF4-FFF2-40B4-BE49-F238E27FC236}">
                  <a16:creationId xmlns:a16="http://schemas.microsoft.com/office/drawing/2014/main" id="{BD00B47F-E8C8-4049-8B8C-1F2C9E0DDCF5}"/>
                </a:ext>
              </a:extLst>
            </p:cNvPr>
            <p:cNvSpPr/>
            <p:nvPr/>
          </p:nvSpPr>
          <p:spPr>
            <a:xfrm rot="8716295">
              <a:off x="3364028" y="298361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2" name="Forme libre : forme 1831">
              <a:extLst>
                <a:ext uri="{FF2B5EF4-FFF2-40B4-BE49-F238E27FC236}">
                  <a16:creationId xmlns:a16="http://schemas.microsoft.com/office/drawing/2014/main" id="{6639A803-0A9B-4CA8-84CA-CB6864EB9F13}"/>
                </a:ext>
              </a:extLst>
            </p:cNvPr>
            <p:cNvSpPr/>
            <p:nvPr/>
          </p:nvSpPr>
          <p:spPr>
            <a:xfrm rot="8716295">
              <a:off x="3319178" y="2897338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3" name="Forme libre : forme 1832">
              <a:extLst>
                <a:ext uri="{FF2B5EF4-FFF2-40B4-BE49-F238E27FC236}">
                  <a16:creationId xmlns:a16="http://schemas.microsoft.com/office/drawing/2014/main" id="{468DF1AB-9662-4891-A3B7-DA79E7EBC16D}"/>
                </a:ext>
              </a:extLst>
            </p:cNvPr>
            <p:cNvSpPr/>
            <p:nvPr/>
          </p:nvSpPr>
          <p:spPr>
            <a:xfrm rot="8716295">
              <a:off x="3162402" y="30429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4" name="Forme libre : forme 1833">
              <a:extLst>
                <a:ext uri="{FF2B5EF4-FFF2-40B4-BE49-F238E27FC236}">
                  <a16:creationId xmlns:a16="http://schemas.microsoft.com/office/drawing/2014/main" id="{CF86FB68-15B4-4493-8EE0-3E896CB0C5D8}"/>
                </a:ext>
              </a:extLst>
            </p:cNvPr>
            <p:cNvSpPr/>
            <p:nvPr/>
          </p:nvSpPr>
          <p:spPr>
            <a:xfrm rot="8716295">
              <a:off x="3037499" y="283424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5" name="Forme libre : forme 1834">
              <a:extLst>
                <a:ext uri="{FF2B5EF4-FFF2-40B4-BE49-F238E27FC236}">
                  <a16:creationId xmlns:a16="http://schemas.microsoft.com/office/drawing/2014/main" id="{7CF69A1A-5F78-4F60-B5D6-FD6A138299EC}"/>
                </a:ext>
              </a:extLst>
            </p:cNvPr>
            <p:cNvSpPr/>
            <p:nvPr/>
          </p:nvSpPr>
          <p:spPr>
            <a:xfrm rot="8716295">
              <a:off x="3025447" y="2695467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6" name="Forme libre : forme 1835">
              <a:extLst>
                <a:ext uri="{FF2B5EF4-FFF2-40B4-BE49-F238E27FC236}">
                  <a16:creationId xmlns:a16="http://schemas.microsoft.com/office/drawing/2014/main" id="{3B31C2F5-6F64-4719-BBC9-BBCB1658D3DD}"/>
                </a:ext>
              </a:extLst>
            </p:cNvPr>
            <p:cNvSpPr/>
            <p:nvPr/>
          </p:nvSpPr>
          <p:spPr>
            <a:xfrm rot="8716295">
              <a:off x="3252580" y="3083872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7" name="Forme libre : forme 1836">
              <a:extLst>
                <a:ext uri="{FF2B5EF4-FFF2-40B4-BE49-F238E27FC236}">
                  <a16:creationId xmlns:a16="http://schemas.microsoft.com/office/drawing/2014/main" id="{1C35BBFA-EBF1-47A8-9F9F-F1DAD54084FC}"/>
                </a:ext>
              </a:extLst>
            </p:cNvPr>
            <p:cNvSpPr/>
            <p:nvPr/>
          </p:nvSpPr>
          <p:spPr>
            <a:xfrm rot="8716295">
              <a:off x="3563735" y="270422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8" name="Forme libre : forme 1837">
              <a:extLst>
                <a:ext uri="{FF2B5EF4-FFF2-40B4-BE49-F238E27FC236}">
                  <a16:creationId xmlns:a16="http://schemas.microsoft.com/office/drawing/2014/main" id="{1667D8E4-CA56-4D24-AAA2-647FC814F7B1}"/>
                </a:ext>
              </a:extLst>
            </p:cNvPr>
            <p:cNvSpPr/>
            <p:nvPr/>
          </p:nvSpPr>
          <p:spPr>
            <a:xfrm rot="8716295">
              <a:off x="3653127" y="273346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9" name="Forme libre : forme 1838">
              <a:extLst>
                <a:ext uri="{FF2B5EF4-FFF2-40B4-BE49-F238E27FC236}">
                  <a16:creationId xmlns:a16="http://schemas.microsoft.com/office/drawing/2014/main" id="{2D247664-9D05-4DE9-828A-8EEEB6D62362}"/>
                </a:ext>
              </a:extLst>
            </p:cNvPr>
            <p:cNvSpPr/>
            <p:nvPr/>
          </p:nvSpPr>
          <p:spPr>
            <a:xfrm rot="8716295">
              <a:off x="3451501" y="279276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0" name="Forme libre : forme 1839">
              <a:extLst>
                <a:ext uri="{FF2B5EF4-FFF2-40B4-BE49-F238E27FC236}">
                  <a16:creationId xmlns:a16="http://schemas.microsoft.com/office/drawing/2014/main" id="{25BA7781-6373-48E8-B517-D547E35D3442}"/>
                </a:ext>
              </a:extLst>
            </p:cNvPr>
            <p:cNvSpPr/>
            <p:nvPr/>
          </p:nvSpPr>
          <p:spPr>
            <a:xfrm rot="8716295">
              <a:off x="3326599" y="258409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1" name="Forme libre : forme 1840">
              <a:extLst>
                <a:ext uri="{FF2B5EF4-FFF2-40B4-BE49-F238E27FC236}">
                  <a16:creationId xmlns:a16="http://schemas.microsoft.com/office/drawing/2014/main" id="{23C0E36B-602D-442F-AF28-AF8930D84F3F}"/>
                </a:ext>
              </a:extLst>
            </p:cNvPr>
            <p:cNvSpPr/>
            <p:nvPr/>
          </p:nvSpPr>
          <p:spPr>
            <a:xfrm rot="8716295">
              <a:off x="3541679" y="2833720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2" name="Forme libre : forme 1841">
              <a:extLst>
                <a:ext uri="{FF2B5EF4-FFF2-40B4-BE49-F238E27FC236}">
                  <a16:creationId xmlns:a16="http://schemas.microsoft.com/office/drawing/2014/main" id="{199731DF-620C-4C6A-9AB8-42BC4BA7117A}"/>
                </a:ext>
              </a:extLst>
            </p:cNvPr>
            <p:cNvSpPr/>
            <p:nvPr/>
          </p:nvSpPr>
          <p:spPr>
            <a:xfrm rot="8716295">
              <a:off x="3300228" y="2684120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3" name="Forme libre : forme 1842">
              <a:extLst>
                <a:ext uri="{FF2B5EF4-FFF2-40B4-BE49-F238E27FC236}">
                  <a16:creationId xmlns:a16="http://schemas.microsoft.com/office/drawing/2014/main" id="{1B76A93B-820C-4C9C-8469-1A8F9E93159B}"/>
                </a:ext>
              </a:extLst>
            </p:cNvPr>
            <p:cNvSpPr/>
            <p:nvPr/>
          </p:nvSpPr>
          <p:spPr>
            <a:xfrm rot="7484129">
              <a:off x="3646610" y="302507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4" name="Forme libre : forme 1843">
              <a:extLst>
                <a:ext uri="{FF2B5EF4-FFF2-40B4-BE49-F238E27FC236}">
                  <a16:creationId xmlns:a16="http://schemas.microsoft.com/office/drawing/2014/main" id="{66DC52E6-1456-43FD-A3BE-2B872731E4E9}"/>
                </a:ext>
              </a:extLst>
            </p:cNvPr>
            <p:cNvSpPr/>
            <p:nvPr/>
          </p:nvSpPr>
          <p:spPr>
            <a:xfrm rot="13089394">
              <a:off x="3751430" y="2991605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5" name="Forme libre : forme 1844">
              <a:extLst>
                <a:ext uri="{FF2B5EF4-FFF2-40B4-BE49-F238E27FC236}">
                  <a16:creationId xmlns:a16="http://schemas.microsoft.com/office/drawing/2014/main" id="{DCDD2A3A-9ABC-40A8-BFA8-585EA2B24085}"/>
                </a:ext>
              </a:extLst>
            </p:cNvPr>
            <p:cNvSpPr/>
            <p:nvPr/>
          </p:nvSpPr>
          <p:spPr>
            <a:xfrm rot="8716295">
              <a:off x="3937015" y="2799924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6" name="Forme libre : forme 1845">
              <a:extLst>
                <a:ext uri="{FF2B5EF4-FFF2-40B4-BE49-F238E27FC236}">
                  <a16:creationId xmlns:a16="http://schemas.microsoft.com/office/drawing/2014/main" id="{E6972E8A-A6BD-4AB3-983F-0AB52C36F84A}"/>
                </a:ext>
              </a:extLst>
            </p:cNvPr>
            <p:cNvSpPr/>
            <p:nvPr/>
          </p:nvSpPr>
          <p:spPr>
            <a:xfrm rot="8716295">
              <a:off x="3885210" y="269633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7" name="Forme libre : forme 1846">
              <a:extLst>
                <a:ext uri="{FF2B5EF4-FFF2-40B4-BE49-F238E27FC236}">
                  <a16:creationId xmlns:a16="http://schemas.microsoft.com/office/drawing/2014/main" id="{0AB9B5DA-5EA1-4202-AD13-C56E27F57ED7}"/>
                </a:ext>
              </a:extLst>
            </p:cNvPr>
            <p:cNvSpPr/>
            <p:nvPr/>
          </p:nvSpPr>
          <p:spPr>
            <a:xfrm rot="8716295">
              <a:off x="3641964" y="272655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8" name="Forme libre : forme 1847">
              <a:extLst>
                <a:ext uri="{FF2B5EF4-FFF2-40B4-BE49-F238E27FC236}">
                  <a16:creationId xmlns:a16="http://schemas.microsoft.com/office/drawing/2014/main" id="{B297F0D1-8FCF-41A6-B10A-B9F1B0A91232}"/>
                </a:ext>
              </a:extLst>
            </p:cNvPr>
            <p:cNvSpPr/>
            <p:nvPr/>
          </p:nvSpPr>
          <p:spPr>
            <a:xfrm rot="8716295">
              <a:off x="3819416" y="25673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9" name="Forme libre : forme 1848">
              <a:extLst>
                <a:ext uri="{FF2B5EF4-FFF2-40B4-BE49-F238E27FC236}">
                  <a16:creationId xmlns:a16="http://schemas.microsoft.com/office/drawing/2014/main" id="{CDECF82E-73B3-468F-A90B-A85D37A91C27}"/>
                </a:ext>
              </a:extLst>
            </p:cNvPr>
            <p:cNvSpPr/>
            <p:nvPr/>
          </p:nvSpPr>
          <p:spPr>
            <a:xfrm rot="8716295">
              <a:off x="3937162" y="4933704"/>
              <a:ext cx="142167" cy="232388"/>
            </a:xfrm>
            <a:custGeom>
              <a:avLst/>
              <a:gdLst>
                <a:gd name="connsiteX0" fmla="*/ 81108 w 142167"/>
                <a:gd name="connsiteY0" fmla="*/ 232388 h 232388"/>
                <a:gd name="connsiteX1" fmla="*/ 81108 w 142167"/>
                <a:gd name="connsiteY1" fmla="*/ 69717 h 232388"/>
                <a:gd name="connsiteX2" fmla="*/ 81108 w 142167"/>
                <a:gd name="connsiteY2" fmla="*/ 65615 h 232388"/>
                <a:gd name="connsiteX3" fmla="*/ 60604 w 142167"/>
                <a:gd name="connsiteY3" fmla="*/ 50123 h 232388"/>
                <a:gd name="connsiteX4" fmla="*/ 0 w 142167"/>
                <a:gd name="connsiteY4" fmla="*/ 50123 h 232388"/>
                <a:gd name="connsiteX5" fmla="*/ 0 w 142167"/>
                <a:gd name="connsiteY5" fmla="*/ 0 h 232388"/>
                <a:gd name="connsiteX6" fmla="*/ 67757 w 142167"/>
                <a:gd name="connsiteY6" fmla="*/ 0 h 232388"/>
                <a:gd name="connsiteX7" fmla="*/ 142167 w 142167"/>
                <a:gd name="connsiteY7" fmla="*/ 51579 h 232388"/>
                <a:gd name="connsiteX8" fmla="*/ 142167 w 142167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32388">
                  <a:moveTo>
                    <a:pt x="81108" y="232388"/>
                  </a:moveTo>
                  <a:lnTo>
                    <a:pt x="81108" y="69717"/>
                  </a:lnTo>
                  <a:cubicBezTo>
                    <a:pt x="81108" y="68350"/>
                    <a:pt x="81108" y="66982"/>
                    <a:pt x="81108" y="65615"/>
                  </a:cubicBezTo>
                  <a:cubicBezTo>
                    <a:pt x="79741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67757" y="0"/>
                  </a:lnTo>
                  <a:lnTo>
                    <a:pt x="142167" y="51579"/>
                  </a:lnTo>
                  <a:lnTo>
                    <a:pt x="142167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0" name="Forme libre : forme 1849">
              <a:extLst>
                <a:ext uri="{FF2B5EF4-FFF2-40B4-BE49-F238E27FC236}">
                  <a16:creationId xmlns:a16="http://schemas.microsoft.com/office/drawing/2014/main" id="{2520359B-6D7C-4A10-8B0B-4B8A9E745FD9}"/>
                </a:ext>
              </a:extLst>
            </p:cNvPr>
            <p:cNvSpPr/>
            <p:nvPr/>
          </p:nvSpPr>
          <p:spPr>
            <a:xfrm rot="8716295">
              <a:off x="4141505" y="4922844"/>
              <a:ext cx="132702" cy="253348"/>
            </a:xfrm>
            <a:custGeom>
              <a:avLst/>
              <a:gdLst>
                <a:gd name="connsiteX0" fmla="*/ 51489 w 132702"/>
                <a:gd name="connsiteY0" fmla="*/ 253348 h 253348"/>
                <a:gd name="connsiteX1" fmla="*/ 51490 w 132702"/>
                <a:gd name="connsiteY1" fmla="*/ 44199 h 253348"/>
                <a:gd name="connsiteX2" fmla="*/ 0 w 132702"/>
                <a:gd name="connsiteY2" fmla="*/ 44199 h 253348"/>
                <a:gd name="connsiteX3" fmla="*/ 0 w 132702"/>
                <a:gd name="connsiteY3" fmla="*/ 0 h 253348"/>
                <a:gd name="connsiteX4" fmla="*/ 48574 w 132702"/>
                <a:gd name="connsiteY4" fmla="*/ 0 h 253348"/>
                <a:gd name="connsiteX5" fmla="*/ 104802 w 132702"/>
                <a:gd name="connsiteY5" fmla="*/ 38976 h 253348"/>
                <a:gd name="connsiteX6" fmla="*/ 104803 w 132702"/>
                <a:gd name="connsiteY6" fmla="*/ 73817 h 253348"/>
                <a:gd name="connsiteX7" fmla="*/ 106169 w 132702"/>
                <a:gd name="connsiteY7" fmla="*/ 73817 h 253348"/>
                <a:gd name="connsiteX8" fmla="*/ 116353 w 132702"/>
                <a:gd name="connsiteY8" fmla="*/ 46982 h 253348"/>
                <a:gd name="connsiteX9" fmla="*/ 132702 w 132702"/>
                <a:gd name="connsiteY9" fmla="*/ 58315 h 253348"/>
                <a:gd name="connsiteX10" fmla="*/ 127358 w 132702"/>
                <a:gd name="connsiteY10" fmla="*/ 64191 h 253348"/>
                <a:gd name="connsiteX11" fmla="*/ 111638 w 132702"/>
                <a:gd name="connsiteY11" fmla="*/ 126218 h 253348"/>
                <a:gd name="connsiteX12" fmla="*/ 111638 w 132702"/>
                <a:gd name="connsiteY12" fmla="*/ 212339 h 253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702" h="253348">
                  <a:moveTo>
                    <a:pt x="51489" y="253348"/>
                  </a:moveTo>
                  <a:lnTo>
                    <a:pt x="51490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48574" y="0"/>
                  </a:lnTo>
                  <a:lnTo>
                    <a:pt x="104802" y="38976"/>
                  </a:lnTo>
                  <a:lnTo>
                    <a:pt x="104803" y="73817"/>
                  </a:lnTo>
                  <a:lnTo>
                    <a:pt x="106169" y="73817"/>
                  </a:lnTo>
                  <a:lnTo>
                    <a:pt x="116353" y="46982"/>
                  </a:lnTo>
                  <a:lnTo>
                    <a:pt x="132702" y="58315"/>
                  </a:lnTo>
                  <a:lnTo>
                    <a:pt x="127358" y="64191"/>
                  </a:lnTo>
                  <a:cubicBezTo>
                    <a:pt x="117675" y="79968"/>
                    <a:pt x="111638" y="101840"/>
                    <a:pt x="111638" y="126218"/>
                  </a:cubicBezTo>
                  <a:lnTo>
                    <a:pt x="111638" y="2123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1" name="Forme libre : forme 1850">
              <a:extLst>
                <a:ext uri="{FF2B5EF4-FFF2-40B4-BE49-F238E27FC236}">
                  <a16:creationId xmlns:a16="http://schemas.microsoft.com/office/drawing/2014/main" id="{DBA92024-335D-4ECC-9724-60843B062DA7}"/>
                </a:ext>
              </a:extLst>
            </p:cNvPr>
            <p:cNvSpPr/>
            <p:nvPr/>
          </p:nvSpPr>
          <p:spPr>
            <a:xfrm rot="8716295">
              <a:off x="3982533" y="487640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2" name="Forme libre : forme 1851">
              <a:extLst>
                <a:ext uri="{FF2B5EF4-FFF2-40B4-BE49-F238E27FC236}">
                  <a16:creationId xmlns:a16="http://schemas.microsoft.com/office/drawing/2014/main" id="{8321C7CB-2F29-4F82-9BEA-4F30324C6FCA}"/>
                </a:ext>
              </a:extLst>
            </p:cNvPr>
            <p:cNvSpPr/>
            <p:nvPr/>
          </p:nvSpPr>
          <p:spPr>
            <a:xfrm rot="8716295">
              <a:off x="3825757" y="502198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3" name="Forme libre : forme 1852">
              <a:extLst>
                <a:ext uri="{FF2B5EF4-FFF2-40B4-BE49-F238E27FC236}">
                  <a16:creationId xmlns:a16="http://schemas.microsoft.com/office/drawing/2014/main" id="{982C4E17-FE31-45D0-8ADA-BC82CBF632F8}"/>
                </a:ext>
              </a:extLst>
            </p:cNvPr>
            <p:cNvSpPr/>
            <p:nvPr/>
          </p:nvSpPr>
          <p:spPr>
            <a:xfrm rot="8716295">
              <a:off x="3700854" y="481331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4" name="Forme libre : forme 1853">
              <a:extLst>
                <a:ext uri="{FF2B5EF4-FFF2-40B4-BE49-F238E27FC236}">
                  <a16:creationId xmlns:a16="http://schemas.microsoft.com/office/drawing/2014/main" id="{B5AC4F8C-F097-4771-B364-40F9E5307B62}"/>
                </a:ext>
              </a:extLst>
            </p:cNvPr>
            <p:cNvSpPr/>
            <p:nvPr/>
          </p:nvSpPr>
          <p:spPr>
            <a:xfrm rot="8716295">
              <a:off x="3688802" y="467453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5" name="Forme libre : forme 1854">
              <a:extLst>
                <a:ext uri="{FF2B5EF4-FFF2-40B4-BE49-F238E27FC236}">
                  <a16:creationId xmlns:a16="http://schemas.microsoft.com/office/drawing/2014/main" id="{837371BC-426A-4492-B28F-56A8F67313D2}"/>
                </a:ext>
              </a:extLst>
            </p:cNvPr>
            <p:cNvSpPr/>
            <p:nvPr/>
          </p:nvSpPr>
          <p:spPr>
            <a:xfrm rot="8716295">
              <a:off x="3876973" y="5088204"/>
              <a:ext cx="60147" cy="79509"/>
            </a:xfrm>
            <a:custGeom>
              <a:avLst/>
              <a:gdLst>
                <a:gd name="connsiteX0" fmla="*/ 60147 w 60147"/>
                <a:gd name="connsiteY0" fmla="*/ 79509 h 79509"/>
                <a:gd name="connsiteX1" fmla="*/ 0 w 60147"/>
                <a:gd name="connsiteY1" fmla="*/ 21639 h 79509"/>
                <a:gd name="connsiteX2" fmla="*/ 0 w 60147"/>
                <a:gd name="connsiteY2" fmla="*/ 0 h 79509"/>
                <a:gd name="connsiteX3" fmla="*/ 60147 w 60147"/>
                <a:gd name="connsiteY3" fmla="*/ 41692 h 79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7" h="79509">
                  <a:moveTo>
                    <a:pt x="60147" y="79509"/>
                  </a:moveTo>
                  <a:lnTo>
                    <a:pt x="0" y="21639"/>
                  </a:lnTo>
                  <a:lnTo>
                    <a:pt x="0" y="0"/>
                  </a:lnTo>
                  <a:lnTo>
                    <a:pt x="60147" y="416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6" name="Forme libre : forme 1855">
              <a:extLst>
                <a:ext uri="{FF2B5EF4-FFF2-40B4-BE49-F238E27FC236}">
                  <a16:creationId xmlns:a16="http://schemas.microsoft.com/office/drawing/2014/main" id="{A36E7789-9970-4096-85C1-38733446BEBF}"/>
                </a:ext>
              </a:extLst>
            </p:cNvPr>
            <p:cNvSpPr/>
            <p:nvPr/>
          </p:nvSpPr>
          <p:spPr>
            <a:xfrm rot="8716295">
              <a:off x="4227090" y="468329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7" name="Forme libre : forme 1856">
              <a:extLst>
                <a:ext uri="{FF2B5EF4-FFF2-40B4-BE49-F238E27FC236}">
                  <a16:creationId xmlns:a16="http://schemas.microsoft.com/office/drawing/2014/main" id="{F11CC023-68EC-4D20-9D98-B45CEA43861F}"/>
                </a:ext>
              </a:extLst>
            </p:cNvPr>
            <p:cNvSpPr/>
            <p:nvPr/>
          </p:nvSpPr>
          <p:spPr>
            <a:xfrm rot="8716295">
              <a:off x="4316482" y="471253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8" name="Forme libre : forme 1857">
              <a:extLst>
                <a:ext uri="{FF2B5EF4-FFF2-40B4-BE49-F238E27FC236}">
                  <a16:creationId xmlns:a16="http://schemas.microsoft.com/office/drawing/2014/main" id="{D80DAB58-50D4-4440-9D89-04E62F60DD75}"/>
                </a:ext>
              </a:extLst>
            </p:cNvPr>
            <p:cNvSpPr/>
            <p:nvPr/>
          </p:nvSpPr>
          <p:spPr>
            <a:xfrm rot="8716295">
              <a:off x="4114856" y="477183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9" name="Forme libre : forme 1858">
              <a:extLst>
                <a:ext uri="{FF2B5EF4-FFF2-40B4-BE49-F238E27FC236}">
                  <a16:creationId xmlns:a16="http://schemas.microsoft.com/office/drawing/2014/main" id="{EFB2F06B-FB46-414B-A768-00A51103B9CB}"/>
                </a:ext>
              </a:extLst>
            </p:cNvPr>
            <p:cNvSpPr/>
            <p:nvPr/>
          </p:nvSpPr>
          <p:spPr>
            <a:xfrm rot="8716295">
              <a:off x="3989954" y="456316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0" name="Forme libre : forme 1859">
              <a:extLst>
                <a:ext uri="{FF2B5EF4-FFF2-40B4-BE49-F238E27FC236}">
                  <a16:creationId xmlns:a16="http://schemas.microsoft.com/office/drawing/2014/main" id="{6FFBD477-C0D0-41B1-BEDB-29E08A67B891}"/>
                </a:ext>
              </a:extLst>
            </p:cNvPr>
            <p:cNvSpPr/>
            <p:nvPr/>
          </p:nvSpPr>
          <p:spPr>
            <a:xfrm rot="8716295">
              <a:off x="4205034" y="481278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1" name="Forme libre : forme 1860">
              <a:extLst>
                <a:ext uri="{FF2B5EF4-FFF2-40B4-BE49-F238E27FC236}">
                  <a16:creationId xmlns:a16="http://schemas.microsoft.com/office/drawing/2014/main" id="{C6CF2AAF-5A81-4477-800F-2852F998EC43}"/>
                </a:ext>
              </a:extLst>
            </p:cNvPr>
            <p:cNvSpPr/>
            <p:nvPr/>
          </p:nvSpPr>
          <p:spPr>
            <a:xfrm rot="8716295">
              <a:off x="3963583" y="466318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2" name="Forme libre : forme 1861">
              <a:extLst>
                <a:ext uri="{FF2B5EF4-FFF2-40B4-BE49-F238E27FC236}">
                  <a16:creationId xmlns:a16="http://schemas.microsoft.com/office/drawing/2014/main" id="{30B95C1E-E1F2-447E-B82B-71DEEFEF0B51}"/>
                </a:ext>
              </a:extLst>
            </p:cNvPr>
            <p:cNvSpPr/>
            <p:nvPr/>
          </p:nvSpPr>
          <p:spPr>
            <a:xfrm rot="7484129">
              <a:off x="4361132" y="4975858"/>
              <a:ext cx="133389" cy="195874"/>
            </a:xfrm>
            <a:custGeom>
              <a:avLst/>
              <a:gdLst>
                <a:gd name="connsiteX0" fmla="*/ 90710 w 133389"/>
                <a:gd name="connsiteY0" fmla="*/ 195874 h 195874"/>
                <a:gd name="connsiteX1" fmla="*/ 47847 w 133389"/>
                <a:gd name="connsiteY1" fmla="*/ 116129 h 195874"/>
                <a:gd name="connsiteX2" fmla="*/ 69777 w 133389"/>
                <a:gd name="connsiteY2" fmla="*/ 55323 h 195874"/>
                <a:gd name="connsiteX3" fmla="*/ 0 w 133389"/>
                <a:gd name="connsiteY3" fmla="*/ 55323 h 195874"/>
                <a:gd name="connsiteX4" fmla="*/ 0 w 133389"/>
                <a:gd name="connsiteY4" fmla="*/ 0 h 195874"/>
                <a:gd name="connsiteX5" fmla="*/ 83610 w 133389"/>
                <a:gd name="connsiteY5" fmla="*/ 0 h 195874"/>
                <a:gd name="connsiteX6" fmla="*/ 133389 w 133389"/>
                <a:gd name="connsiteY6" fmla="*/ 71795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3389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83610" y="0"/>
                  </a:lnTo>
                  <a:lnTo>
                    <a:pt x="133389" y="7179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3" name="Forme libre : forme 1862">
              <a:extLst>
                <a:ext uri="{FF2B5EF4-FFF2-40B4-BE49-F238E27FC236}">
                  <a16:creationId xmlns:a16="http://schemas.microsoft.com/office/drawing/2014/main" id="{AAB34FE5-9F09-4958-9EE5-25175A1C7094}"/>
                </a:ext>
              </a:extLst>
            </p:cNvPr>
            <p:cNvSpPr/>
            <p:nvPr/>
          </p:nvSpPr>
          <p:spPr>
            <a:xfrm rot="13089394">
              <a:off x="4473995" y="4986322"/>
              <a:ext cx="268663" cy="135802"/>
            </a:xfrm>
            <a:custGeom>
              <a:avLst/>
              <a:gdLst>
                <a:gd name="connsiteX0" fmla="*/ 268663 w 268663"/>
                <a:gd name="connsiteY0" fmla="*/ 65010 h 135802"/>
                <a:gd name="connsiteX1" fmla="*/ 87676 w 268663"/>
                <a:gd name="connsiteY1" fmla="*/ 135639 h 135802"/>
                <a:gd name="connsiteX2" fmla="*/ 19806 w 268663"/>
                <a:gd name="connsiteY2" fmla="*/ 108049 h 135802"/>
                <a:gd name="connsiteX3" fmla="*/ 907 w 268663"/>
                <a:gd name="connsiteY3" fmla="*/ 70735 h 135802"/>
                <a:gd name="connsiteX4" fmla="*/ 0 w 268663"/>
                <a:gd name="connsiteY4" fmla="*/ 59909 h 135802"/>
                <a:gd name="connsiteX5" fmla="*/ 76250 w 268663"/>
                <a:gd name="connsiteY5" fmla="*/ 0 h 135802"/>
                <a:gd name="connsiteX6" fmla="*/ 83813 w 268663"/>
                <a:gd name="connsiteY6" fmla="*/ 52319 h 135802"/>
                <a:gd name="connsiteX7" fmla="*/ 150028 w 268663"/>
                <a:gd name="connsiteY7" fmla="*/ 88737 h 135802"/>
                <a:gd name="connsiteX8" fmla="*/ 199689 w 268663"/>
                <a:gd name="connsiteY8" fmla="*/ 79908 h 135802"/>
                <a:gd name="connsiteX9" fmla="*/ 267560 w 268663"/>
                <a:gd name="connsiteY9" fmla="*/ 52319 h 135802"/>
                <a:gd name="connsiteX10" fmla="*/ 268663 w 268663"/>
                <a:gd name="connsiteY10" fmla="*/ 59492 h 135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68663" h="135802">
                  <a:moveTo>
                    <a:pt x="268663" y="65010"/>
                  </a:moveTo>
                  <a:cubicBezTo>
                    <a:pt x="210174" y="115223"/>
                    <a:pt x="133474" y="132880"/>
                    <a:pt x="87676" y="135639"/>
                  </a:cubicBezTo>
                  <a:cubicBezTo>
                    <a:pt x="62294" y="137295"/>
                    <a:pt x="37463" y="126258"/>
                    <a:pt x="19806" y="108049"/>
                  </a:cubicBezTo>
                  <a:cubicBezTo>
                    <a:pt x="10425" y="98945"/>
                    <a:pt x="4494" y="86530"/>
                    <a:pt x="907" y="70735"/>
                  </a:cubicBezTo>
                  <a:lnTo>
                    <a:pt x="0" y="59909"/>
                  </a:lnTo>
                  <a:lnTo>
                    <a:pt x="76250" y="0"/>
                  </a:lnTo>
                  <a:lnTo>
                    <a:pt x="83813" y="52319"/>
                  </a:lnTo>
                  <a:cubicBezTo>
                    <a:pt x="92642" y="76597"/>
                    <a:pt x="115265" y="88737"/>
                    <a:pt x="150028" y="88737"/>
                  </a:cubicBezTo>
                  <a:cubicBezTo>
                    <a:pt x="167134" y="88185"/>
                    <a:pt x="183687" y="84874"/>
                    <a:pt x="199689" y="79908"/>
                  </a:cubicBezTo>
                  <a:cubicBezTo>
                    <a:pt x="222864" y="72735"/>
                    <a:pt x="245488" y="63355"/>
                    <a:pt x="267560" y="52319"/>
                  </a:cubicBezTo>
                  <a:cubicBezTo>
                    <a:pt x="268111" y="54526"/>
                    <a:pt x="268663" y="57285"/>
                    <a:pt x="268663" y="594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4" name="Forme libre : forme 1863">
              <a:extLst>
                <a:ext uri="{FF2B5EF4-FFF2-40B4-BE49-F238E27FC236}">
                  <a16:creationId xmlns:a16="http://schemas.microsoft.com/office/drawing/2014/main" id="{BFA338AE-EF63-4AB6-BC1C-378FF001F19F}"/>
                </a:ext>
              </a:extLst>
            </p:cNvPr>
            <p:cNvSpPr/>
            <p:nvPr/>
          </p:nvSpPr>
          <p:spPr>
            <a:xfrm rot="8716295">
              <a:off x="4600370" y="477899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5" name="Forme libre : forme 1864">
              <a:extLst>
                <a:ext uri="{FF2B5EF4-FFF2-40B4-BE49-F238E27FC236}">
                  <a16:creationId xmlns:a16="http://schemas.microsoft.com/office/drawing/2014/main" id="{56C71A74-F098-45BA-8E7C-541E50C5E524}"/>
                </a:ext>
              </a:extLst>
            </p:cNvPr>
            <p:cNvSpPr/>
            <p:nvPr/>
          </p:nvSpPr>
          <p:spPr>
            <a:xfrm rot="8716295">
              <a:off x="4548565" y="467540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6" name="Forme libre : forme 1865">
              <a:extLst>
                <a:ext uri="{FF2B5EF4-FFF2-40B4-BE49-F238E27FC236}">
                  <a16:creationId xmlns:a16="http://schemas.microsoft.com/office/drawing/2014/main" id="{57E68179-DB06-48AC-AB78-29CE460072C9}"/>
                </a:ext>
              </a:extLst>
            </p:cNvPr>
            <p:cNvSpPr/>
            <p:nvPr/>
          </p:nvSpPr>
          <p:spPr>
            <a:xfrm rot="8716295">
              <a:off x="4305319" y="470562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7" name="Forme libre : forme 1866">
              <a:extLst>
                <a:ext uri="{FF2B5EF4-FFF2-40B4-BE49-F238E27FC236}">
                  <a16:creationId xmlns:a16="http://schemas.microsoft.com/office/drawing/2014/main" id="{9687578B-24F6-40EC-9EEA-8E74CB9DE266}"/>
                </a:ext>
              </a:extLst>
            </p:cNvPr>
            <p:cNvSpPr/>
            <p:nvPr/>
          </p:nvSpPr>
          <p:spPr>
            <a:xfrm rot="8716295">
              <a:off x="4482771" y="454637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8" name="Forme libre : forme 1867">
              <a:extLst>
                <a:ext uri="{FF2B5EF4-FFF2-40B4-BE49-F238E27FC236}">
                  <a16:creationId xmlns:a16="http://schemas.microsoft.com/office/drawing/2014/main" id="{852310CF-EB75-42C2-8448-A4B1380C1DD6}"/>
                </a:ext>
              </a:extLst>
            </p:cNvPr>
            <p:cNvSpPr/>
            <p:nvPr/>
          </p:nvSpPr>
          <p:spPr>
            <a:xfrm rot="8716295">
              <a:off x="3493306" y="361277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9" name="Forme libre : forme 1868">
              <a:extLst>
                <a:ext uri="{FF2B5EF4-FFF2-40B4-BE49-F238E27FC236}">
                  <a16:creationId xmlns:a16="http://schemas.microsoft.com/office/drawing/2014/main" id="{C56D3DFB-4ADD-42C5-ADB3-D372BC8CB5D1}"/>
                </a:ext>
              </a:extLst>
            </p:cNvPr>
            <p:cNvSpPr/>
            <p:nvPr/>
          </p:nvSpPr>
          <p:spPr>
            <a:xfrm rot="8716295">
              <a:off x="3582698" y="364201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0" name="Forme libre : forme 1869">
              <a:extLst>
                <a:ext uri="{FF2B5EF4-FFF2-40B4-BE49-F238E27FC236}">
                  <a16:creationId xmlns:a16="http://schemas.microsoft.com/office/drawing/2014/main" id="{7EB9283E-F038-412D-910E-5F6D2CF93911}"/>
                </a:ext>
              </a:extLst>
            </p:cNvPr>
            <p:cNvSpPr/>
            <p:nvPr/>
          </p:nvSpPr>
          <p:spPr>
            <a:xfrm rot="8716295">
              <a:off x="3537848" y="355573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1" name="Forme libre : forme 1870">
              <a:extLst>
                <a:ext uri="{FF2B5EF4-FFF2-40B4-BE49-F238E27FC236}">
                  <a16:creationId xmlns:a16="http://schemas.microsoft.com/office/drawing/2014/main" id="{C7DB5BA1-1045-46F6-9B11-2D2ECC466F8F}"/>
                </a:ext>
              </a:extLst>
            </p:cNvPr>
            <p:cNvSpPr/>
            <p:nvPr/>
          </p:nvSpPr>
          <p:spPr>
            <a:xfrm rot="8716295">
              <a:off x="3381072" y="370131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2" name="Forme libre : forme 1871">
              <a:extLst>
                <a:ext uri="{FF2B5EF4-FFF2-40B4-BE49-F238E27FC236}">
                  <a16:creationId xmlns:a16="http://schemas.microsoft.com/office/drawing/2014/main" id="{785B42B0-8546-46CF-95AC-2265ECC426DA}"/>
                </a:ext>
              </a:extLst>
            </p:cNvPr>
            <p:cNvSpPr/>
            <p:nvPr/>
          </p:nvSpPr>
          <p:spPr>
            <a:xfrm rot="8716295">
              <a:off x="3256169" y="349264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3" name="Forme libre : forme 1872">
              <a:extLst>
                <a:ext uri="{FF2B5EF4-FFF2-40B4-BE49-F238E27FC236}">
                  <a16:creationId xmlns:a16="http://schemas.microsoft.com/office/drawing/2014/main" id="{DB664A17-E39F-486C-9B3A-684F36E1F01E}"/>
                </a:ext>
              </a:extLst>
            </p:cNvPr>
            <p:cNvSpPr/>
            <p:nvPr/>
          </p:nvSpPr>
          <p:spPr>
            <a:xfrm rot="8716295">
              <a:off x="3244117" y="335386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4" name="Forme libre : forme 1873">
              <a:extLst>
                <a:ext uri="{FF2B5EF4-FFF2-40B4-BE49-F238E27FC236}">
                  <a16:creationId xmlns:a16="http://schemas.microsoft.com/office/drawing/2014/main" id="{38162E40-8BC8-4F1D-B61A-45383ED5BD99}"/>
                </a:ext>
              </a:extLst>
            </p:cNvPr>
            <p:cNvSpPr/>
            <p:nvPr/>
          </p:nvSpPr>
          <p:spPr>
            <a:xfrm rot="8716295">
              <a:off x="3471250" y="374226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5" name="Forme libre : forme 1874">
              <a:extLst>
                <a:ext uri="{FF2B5EF4-FFF2-40B4-BE49-F238E27FC236}">
                  <a16:creationId xmlns:a16="http://schemas.microsoft.com/office/drawing/2014/main" id="{9D95EC53-44A9-4A48-9623-E8433EF20024}"/>
                </a:ext>
              </a:extLst>
            </p:cNvPr>
            <p:cNvSpPr/>
            <p:nvPr/>
          </p:nvSpPr>
          <p:spPr>
            <a:xfrm rot="8716295">
              <a:off x="3782405" y="336262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6" name="Forme libre : forme 1875">
              <a:extLst>
                <a:ext uri="{FF2B5EF4-FFF2-40B4-BE49-F238E27FC236}">
                  <a16:creationId xmlns:a16="http://schemas.microsoft.com/office/drawing/2014/main" id="{DE73101B-A287-46DC-B722-1DF973F5378F}"/>
                </a:ext>
              </a:extLst>
            </p:cNvPr>
            <p:cNvSpPr/>
            <p:nvPr/>
          </p:nvSpPr>
          <p:spPr>
            <a:xfrm rot="8716295">
              <a:off x="3871797" y="339186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7" name="Forme libre : forme 1876">
              <a:extLst>
                <a:ext uri="{FF2B5EF4-FFF2-40B4-BE49-F238E27FC236}">
                  <a16:creationId xmlns:a16="http://schemas.microsoft.com/office/drawing/2014/main" id="{403F95A4-D93C-4733-A72E-00929B0412AE}"/>
                </a:ext>
              </a:extLst>
            </p:cNvPr>
            <p:cNvSpPr/>
            <p:nvPr/>
          </p:nvSpPr>
          <p:spPr>
            <a:xfrm rot="8716295">
              <a:off x="3670171" y="345116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8" name="Forme libre : forme 1877">
              <a:extLst>
                <a:ext uri="{FF2B5EF4-FFF2-40B4-BE49-F238E27FC236}">
                  <a16:creationId xmlns:a16="http://schemas.microsoft.com/office/drawing/2014/main" id="{D559D9C1-3D5D-4DBD-BFA3-AAD9D4AFFCCB}"/>
                </a:ext>
              </a:extLst>
            </p:cNvPr>
            <p:cNvSpPr/>
            <p:nvPr/>
          </p:nvSpPr>
          <p:spPr>
            <a:xfrm rot="8716295">
              <a:off x="3545269" y="324249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9" name="Forme libre : forme 1878">
              <a:extLst>
                <a:ext uri="{FF2B5EF4-FFF2-40B4-BE49-F238E27FC236}">
                  <a16:creationId xmlns:a16="http://schemas.microsoft.com/office/drawing/2014/main" id="{8A56FFF9-A364-438B-BFFB-50F55DD2F66A}"/>
                </a:ext>
              </a:extLst>
            </p:cNvPr>
            <p:cNvSpPr/>
            <p:nvPr/>
          </p:nvSpPr>
          <p:spPr>
            <a:xfrm rot="8716295">
              <a:off x="3760349" y="349211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0" name="Forme libre : forme 1879">
              <a:extLst>
                <a:ext uri="{FF2B5EF4-FFF2-40B4-BE49-F238E27FC236}">
                  <a16:creationId xmlns:a16="http://schemas.microsoft.com/office/drawing/2014/main" id="{CB8A82E4-1430-4165-8829-ED95E59C13E3}"/>
                </a:ext>
              </a:extLst>
            </p:cNvPr>
            <p:cNvSpPr/>
            <p:nvPr/>
          </p:nvSpPr>
          <p:spPr>
            <a:xfrm rot="8716295">
              <a:off x="3518898" y="334251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1" name="Forme libre : forme 1880">
              <a:extLst>
                <a:ext uri="{FF2B5EF4-FFF2-40B4-BE49-F238E27FC236}">
                  <a16:creationId xmlns:a16="http://schemas.microsoft.com/office/drawing/2014/main" id="{0F27C68F-724E-46E3-B6BD-E473DC4E02B5}"/>
                </a:ext>
              </a:extLst>
            </p:cNvPr>
            <p:cNvSpPr/>
            <p:nvPr/>
          </p:nvSpPr>
          <p:spPr>
            <a:xfrm rot="7484129">
              <a:off x="3865280" y="368346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2" name="Forme libre : forme 1881">
              <a:extLst>
                <a:ext uri="{FF2B5EF4-FFF2-40B4-BE49-F238E27FC236}">
                  <a16:creationId xmlns:a16="http://schemas.microsoft.com/office/drawing/2014/main" id="{9D6723C5-6F5F-4F89-B9AB-0482F7E87BA5}"/>
                </a:ext>
              </a:extLst>
            </p:cNvPr>
            <p:cNvSpPr/>
            <p:nvPr/>
          </p:nvSpPr>
          <p:spPr>
            <a:xfrm rot="13089394">
              <a:off x="3970100" y="3650001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3" name="Forme libre : forme 1882">
              <a:extLst>
                <a:ext uri="{FF2B5EF4-FFF2-40B4-BE49-F238E27FC236}">
                  <a16:creationId xmlns:a16="http://schemas.microsoft.com/office/drawing/2014/main" id="{5CA64B36-E17C-4D54-A079-BC8C4193970C}"/>
                </a:ext>
              </a:extLst>
            </p:cNvPr>
            <p:cNvSpPr/>
            <p:nvPr/>
          </p:nvSpPr>
          <p:spPr>
            <a:xfrm rot="8716295">
              <a:off x="4155685" y="345832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4" name="Forme libre : forme 1883">
              <a:extLst>
                <a:ext uri="{FF2B5EF4-FFF2-40B4-BE49-F238E27FC236}">
                  <a16:creationId xmlns:a16="http://schemas.microsoft.com/office/drawing/2014/main" id="{A9377FF8-AE27-4510-A065-1305095C5BE9}"/>
                </a:ext>
              </a:extLst>
            </p:cNvPr>
            <p:cNvSpPr/>
            <p:nvPr/>
          </p:nvSpPr>
          <p:spPr>
            <a:xfrm rot="8716295">
              <a:off x="4103880" y="335472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5" name="Forme libre : forme 1884">
              <a:extLst>
                <a:ext uri="{FF2B5EF4-FFF2-40B4-BE49-F238E27FC236}">
                  <a16:creationId xmlns:a16="http://schemas.microsoft.com/office/drawing/2014/main" id="{5048E4A2-C470-4460-BF36-DE7683DD5ECF}"/>
                </a:ext>
              </a:extLst>
            </p:cNvPr>
            <p:cNvSpPr/>
            <p:nvPr/>
          </p:nvSpPr>
          <p:spPr>
            <a:xfrm rot="8716295">
              <a:off x="3860634" y="338494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6" name="Forme libre : forme 1885">
              <a:extLst>
                <a:ext uri="{FF2B5EF4-FFF2-40B4-BE49-F238E27FC236}">
                  <a16:creationId xmlns:a16="http://schemas.microsoft.com/office/drawing/2014/main" id="{5A4E5709-8FAD-4E4D-B5A6-C738DB0B147E}"/>
                </a:ext>
              </a:extLst>
            </p:cNvPr>
            <p:cNvSpPr/>
            <p:nvPr/>
          </p:nvSpPr>
          <p:spPr>
            <a:xfrm rot="8716295">
              <a:off x="4038086" y="322570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7" name="Forme libre : forme 1886">
              <a:extLst>
                <a:ext uri="{FF2B5EF4-FFF2-40B4-BE49-F238E27FC236}">
                  <a16:creationId xmlns:a16="http://schemas.microsoft.com/office/drawing/2014/main" id="{FFCF139E-7AE6-4DB8-9213-9A2CF3DE475A}"/>
                </a:ext>
              </a:extLst>
            </p:cNvPr>
            <p:cNvSpPr/>
            <p:nvPr/>
          </p:nvSpPr>
          <p:spPr>
            <a:xfrm rot="8716295">
              <a:off x="3716473" y="427247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8" name="Forme libre : forme 1887">
              <a:extLst>
                <a:ext uri="{FF2B5EF4-FFF2-40B4-BE49-F238E27FC236}">
                  <a16:creationId xmlns:a16="http://schemas.microsoft.com/office/drawing/2014/main" id="{230DFA0D-667C-4BA9-A9B4-3B9C5608513B}"/>
                </a:ext>
              </a:extLst>
            </p:cNvPr>
            <p:cNvSpPr/>
            <p:nvPr/>
          </p:nvSpPr>
          <p:spPr>
            <a:xfrm rot="8716295">
              <a:off x="3805865" y="430171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9" name="Forme libre : forme 1888">
              <a:extLst>
                <a:ext uri="{FF2B5EF4-FFF2-40B4-BE49-F238E27FC236}">
                  <a16:creationId xmlns:a16="http://schemas.microsoft.com/office/drawing/2014/main" id="{1955ED9A-4577-4156-B67C-D520CAA9BDEE}"/>
                </a:ext>
              </a:extLst>
            </p:cNvPr>
            <p:cNvSpPr/>
            <p:nvPr/>
          </p:nvSpPr>
          <p:spPr>
            <a:xfrm rot="8716295">
              <a:off x="3761015" y="421543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0" name="Forme libre : forme 1889">
              <a:extLst>
                <a:ext uri="{FF2B5EF4-FFF2-40B4-BE49-F238E27FC236}">
                  <a16:creationId xmlns:a16="http://schemas.microsoft.com/office/drawing/2014/main" id="{0CFE087C-15FC-4B0E-8C68-44FA23BE6627}"/>
                </a:ext>
              </a:extLst>
            </p:cNvPr>
            <p:cNvSpPr/>
            <p:nvPr/>
          </p:nvSpPr>
          <p:spPr>
            <a:xfrm rot="8716295">
              <a:off x="3604239" y="436101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1" name="Forme libre : forme 1890">
              <a:extLst>
                <a:ext uri="{FF2B5EF4-FFF2-40B4-BE49-F238E27FC236}">
                  <a16:creationId xmlns:a16="http://schemas.microsoft.com/office/drawing/2014/main" id="{F80539C5-90A6-4C9B-BB82-F1B574372789}"/>
                </a:ext>
              </a:extLst>
            </p:cNvPr>
            <p:cNvSpPr/>
            <p:nvPr/>
          </p:nvSpPr>
          <p:spPr>
            <a:xfrm rot="8716295">
              <a:off x="3479336" y="415234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2" name="Forme libre : forme 1891">
              <a:extLst>
                <a:ext uri="{FF2B5EF4-FFF2-40B4-BE49-F238E27FC236}">
                  <a16:creationId xmlns:a16="http://schemas.microsoft.com/office/drawing/2014/main" id="{DCD13A54-B7CF-4322-96F8-124875408DCF}"/>
                </a:ext>
              </a:extLst>
            </p:cNvPr>
            <p:cNvSpPr/>
            <p:nvPr/>
          </p:nvSpPr>
          <p:spPr>
            <a:xfrm rot="8716295">
              <a:off x="3467284" y="401356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3" name="Forme libre : forme 1892">
              <a:extLst>
                <a:ext uri="{FF2B5EF4-FFF2-40B4-BE49-F238E27FC236}">
                  <a16:creationId xmlns:a16="http://schemas.microsoft.com/office/drawing/2014/main" id="{CC738393-0663-4C9A-8E67-8C5FF5B2E7F4}"/>
                </a:ext>
              </a:extLst>
            </p:cNvPr>
            <p:cNvSpPr/>
            <p:nvPr/>
          </p:nvSpPr>
          <p:spPr>
            <a:xfrm rot="8716295">
              <a:off x="3694417" y="440196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4" name="Forme libre : forme 1893">
              <a:extLst>
                <a:ext uri="{FF2B5EF4-FFF2-40B4-BE49-F238E27FC236}">
                  <a16:creationId xmlns:a16="http://schemas.microsoft.com/office/drawing/2014/main" id="{B72A2B4A-ADAE-4727-B8C5-5E9FA88D437E}"/>
                </a:ext>
              </a:extLst>
            </p:cNvPr>
            <p:cNvSpPr/>
            <p:nvPr/>
          </p:nvSpPr>
          <p:spPr>
            <a:xfrm rot="8716295">
              <a:off x="4005572" y="402231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5" name="Forme libre : forme 1894">
              <a:extLst>
                <a:ext uri="{FF2B5EF4-FFF2-40B4-BE49-F238E27FC236}">
                  <a16:creationId xmlns:a16="http://schemas.microsoft.com/office/drawing/2014/main" id="{6A3D9198-4FC9-4484-8F80-AE0FF47F424A}"/>
                </a:ext>
              </a:extLst>
            </p:cNvPr>
            <p:cNvSpPr/>
            <p:nvPr/>
          </p:nvSpPr>
          <p:spPr>
            <a:xfrm rot="8716295">
              <a:off x="4094964" y="405156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6" name="Forme libre : forme 1895">
              <a:extLst>
                <a:ext uri="{FF2B5EF4-FFF2-40B4-BE49-F238E27FC236}">
                  <a16:creationId xmlns:a16="http://schemas.microsoft.com/office/drawing/2014/main" id="{771BA887-62A8-49EE-AD77-E1907D3D0281}"/>
                </a:ext>
              </a:extLst>
            </p:cNvPr>
            <p:cNvSpPr/>
            <p:nvPr/>
          </p:nvSpPr>
          <p:spPr>
            <a:xfrm rot="8716295">
              <a:off x="3893338" y="411086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7" name="Forme libre : forme 1896">
              <a:extLst>
                <a:ext uri="{FF2B5EF4-FFF2-40B4-BE49-F238E27FC236}">
                  <a16:creationId xmlns:a16="http://schemas.microsoft.com/office/drawing/2014/main" id="{7673BD76-CF77-4492-9C8C-2DB043745962}"/>
                </a:ext>
              </a:extLst>
            </p:cNvPr>
            <p:cNvSpPr/>
            <p:nvPr/>
          </p:nvSpPr>
          <p:spPr>
            <a:xfrm rot="8716295">
              <a:off x="3768436" y="390219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8" name="Forme libre : forme 1897">
              <a:extLst>
                <a:ext uri="{FF2B5EF4-FFF2-40B4-BE49-F238E27FC236}">
                  <a16:creationId xmlns:a16="http://schemas.microsoft.com/office/drawing/2014/main" id="{406877CF-38F4-42B3-8783-66A178259365}"/>
                </a:ext>
              </a:extLst>
            </p:cNvPr>
            <p:cNvSpPr/>
            <p:nvPr/>
          </p:nvSpPr>
          <p:spPr>
            <a:xfrm rot="8716295">
              <a:off x="3983516" y="415181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9" name="Forme libre : forme 1898">
              <a:extLst>
                <a:ext uri="{FF2B5EF4-FFF2-40B4-BE49-F238E27FC236}">
                  <a16:creationId xmlns:a16="http://schemas.microsoft.com/office/drawing/2014/main" id="{BA7D2770-CC88-4E1F-B285-451E2DAAC768}"/>
                </a:ext>
              </a:extLst>
            </p:cNvPr>
            <p:cNvSpPr/>
            <p:nvPr/>
          </p:nvSpPr>
          <p:spPr>
            <a:xfrm rot="8716295">
              <a:off x="3742065" y="400221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0" name="Forme libre : forme 1899">
              <a:extLst>
                <a:ext uri="{FF2B5EF4-FFF2-40B4-BE49-F238E27FC236}">
                  <a16:creationId xmlns:a16="http://schemas.microsoft.com/office/drawing/2014/main" id="{EAC640B6-AF2B-4FEF-A8F3-C6B4513FB3E0}"/>
                </a:ext>
              </a:extLst>
            </p:cNvPr>
            <p:cNvSpPr/>
            <p:nvPr/>
          </p:nvSpPr>
          <p:spPr>
            <a:xfrm rot="7484129">
              <a:off x="4088447" y="434316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1" name="Forme libre : forme 1900">
              <a:extLst>
                <a:ext uri="{FF2B5EF4-FFF2-40B4-BE49-F238E27FC236}">
                  <a16:creationId xmlns:a16="http://schemas.microsoft.com/office/drawing/2014/main" id="{839B2912-6F31-401A-9D54-A922E1F6052E}"/>
                </a:ext>
              </a:extLst>
            </p:cNvPr>
            <p:cNvSpPr/>
            <p:nvPr/>
          </p:nvSpPr>
          <p:spPr>
            <a:xfrm rot="13089394">
              <a:off x="4193267" y="430970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2" name="Forme libre : forme 1901">
              <a:extLst>
                <a:ext uri="{FF2B5EF4-FFF2-40B4-BE49-F238E27FC236}">
                  <a16:creationId xmlns:a16="http://schemas.microsoft.com/office/drawing/2014/main" id="{B855D3C7-2AEB-4AEB-9B99-0A553DF889E3}"/>
                </a:ext>
              </a:extLst>
            </p:cNvPr>
            <p:cNvSpPr/>
            <p:nvPr/>
          </p:nvSpPr>
          <p:spPr>
            <a:xfrm rot="8716295">
              <a:off x="4378852" y="411801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3" name="Forme libre : forme 1902">
              <a:extLst>
                <a:ext uri="{FF2B5EF4-FFF2-40B4-BE49-F238E27FC236}">
                  <a16:creationId xmlns:a16="http://schemas.microsoft.com/office/drawing/2014/main" id="{F8E6C03D-07F9-4499-A5CB-F23EEDC93586}"/>
                </a:ext>
              </a:extLst>
            </p:cNvPr>
            <p:cNvSpPr/>
            <p:nvPr/>
          </p:nvSpPr>
          <p:spPr>
            <a:xfrm rot="8716295">
              <a:off x="4327047" y="40144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4" name="Forme libre : forme 1903">
              <a:extLst>
                <a:ext uri="{FF2B5EF4-FFF2-40B4-BE49-F238E27FC236}">
                  <a16:creationId xmlns:a16="http://schemas.microsoft.com/office/drawing/2014/main" id="{15861924-FD77-4126-B239-3A1808ABEE41}"/>
                </a:ext>
              </a:extLst>
            </p:cNvPr>
            <p:cNvSpPr/>
            <p:nvPr/>
          </p:nvSpPr>
          <p:spPr>
            <a:xfrm rot="8716295">
              <a:off x="4083801" y="404464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5" name="Forme libre : forme 1904">
              <a:extLst>
                <a:ext uri="{FF2B5EF4-FFF2-40B4-BE49-F238E27FC236}">
                  <a16:creationId xmlns:a16="http://schemas.microsoft.com/office/drawing/2014/main" id="{87418738-E3EE-4DAB-8079-A0004EDDF675}"/>
                </a:ext>
              </a:extLst>
            </p:cNvPr>
            <p:cNvSpPr/>
            <p:nvPr/>
          </p:nvSpPr>
          <p:spPr>
            <a:xfrm rot="8716295">
              <a:off x="4261253" y="388540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6" name="Forme libre : forme 1905">
              <a:extLst>
                <a:ext uri="{FF2B5EF4-FFF2-40B4-BE49-F238E27FC236}">
                  <a16:creationId xmlns:a16="http://schemas.microsoft.com/office/drawing/2014/main" id="{C2E68F41-3C22-4FA3-BA7F-F2489DB7BEFB}"/>
                </a:ext>
              </a:extLst>
            </p:cNvPr>
            <p:cNvSpPr/>
            <p:nvPr/>
          </p:nvSpPr>
          <p:spPr>
            <a:xfrm rot="8716295">
              <a:off x="2829951" y="16337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7" name="Forme libre : forme 1906">
              <a:extLst>
                <a:ext uri="{FF2B5EF4-FFF2-40B4-BE49-F238E27FC236}">
                  <a16:creationId xmlns:a16="http://schemas.microsoft.com/office/drawing/2014/main" id="{5610FD5B-1A47-4408-BF18-F5DDA40BC7AD}"/>
                </a:ext>
              </a:extLst>
            </p:cNvPr>
            <p:cNvSpPr/>
            <p:nvPr/>
          </p:nvSpPr>
          <p:spPr>
            <a:xfrm rot="8716295">
              <a:off x="2919343" y="16629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8" name="Forme libre : forme 1907">
              <a:extLst>
                <a:ext uri="{FF2B5EF4-FFF2-40B4-BE49-F238E27FC236}">
                  <a16:creationId xmlns:a16="http://schemas.microsoft.com/office/drawing/2014/main" id="{36BBEE27-EBB3-477B-A0AE-E315B781DD23}"/>
                </a:ext>
              </a:extLst>
            </p:cNvPr>
            <p:cNvSpPr/>
            <p:nvPr/>
          </p:nvSpPr>
          <p:spPr>
            <a:xfrm rot="8716295">
              <a:off x="2874493" y="157666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9" name="Forme libre : forme 1908">
              <a:extLst>
                <a:ext uri="{FF2B5EF4-FFF2-40B4-BE49-F238E27FC236}">
                  <a16:creationId xmlns:a16="http://schemas.microsoft.com/office/drawing/2014/main" id="{44946E61-8E74-4140-AB3F-1CBA55C2D182}"/>
                </a:ext>
              </a:extLst>
            </p:cNvPr>
            <p:cNvSpPr/>
            <p:nvPr/>
          </p:nvSpPr>
          <p:spPr>
            <a:xfrm rot="8716295">
              <a:off x="2717717" y="172224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0" name="Forme libre : forme 1909">
              <a:extLst>
                <a:ext uri="{FF2B5EF4-FFF2-40B4-BE49-F238E27FC236}">
                  <a16:creationId xmlns:a16="http://schemas.microsoft.com/office/drawing/2014/main" id="{AC19D586-AE43-44FB-A485-219AF7044431}"/>
                </a:ext>
              </a:extLst>
            </p:cNvPr>
            <p:cNvSpPr/>
            <p:nvPr/>
          </p:nvSpPr>
          <p:spPr>
            <a:xfrm rot="8716295">
              <a:off x="2592814" y="151357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1" name="Forme libre : forme 1910">
              <a:extLst>
                <a:ext uri="{FF2B5EF4-FFF2-40B4-BE49-F238E27FC236}">
                  <a16:creationId xmlns:a16="http://schemas.microsoft.com/office/drawing/2014/main" id="{F936F991-07FC-4A51-8BFD-AC196B8791FD}"/>
                </a:ext>
              </a:extLst>
            </p:cNvPr>
            <p:cNvSpPr/>
            <p:nvPr/>
          </p:nvSpPr>
          <p:spPr>
            <a:xfrm rot="8716295">
              <a:off x="2580762" y="137479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2" name="Forme libre : forme 1911">
              <a:extLst>
                <a:ext uri="{FF2B5EF4-FFF2-40B4-BE49-F238E27FC236}">
                  <a16:creationId xmlns:a16="http://schemas.microsoft.com/office/drawing/2014/main" id="{0A5508B7-A76E-46D7-AE04-EED0D91559D3}"/>
                </a:ext>
              </a:extLst>
            </p:cNvPr>
            <p:cNvSpPr/>
            <p:nvPr/>
          </p:nvSpPr>
          <p:spPr>
            <a:xfrm rot="8716295">
              <a:off x="2807895" y="176319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3" name="Forme libre : forme 1912">
              <a:extLst>
                <a:ext uri="{FF2B5EF4-FFF2-40B4-BE49-F238E27FC236}">
                  <a16:creationId xmlns:a16="http://schemas.microsoft.com/office/drawing/2014/main" id="{30C37794-B7C5-448D-B623-8258E94CA5D6}"/>
                </a:ext>
              </a:extLst>
            </p:cNvPr>
            <p:cNvSpPr/>
            <p:nvPr/>
          </p:nvSpPr>
          <p:spPr>
            <a:xfrm rot="8716295">
              <a:off x="3119050" y="138355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4" name="Forme libre : forme 1913">
              <a:extLst>
                <a:ext uri="{FF2B5EF4-FFF2-40B4-BE49-F238E27FC236}">
                  <a16:creationId xmlns:a16="http://schemas.microsoft.com/office/drawing/2014/main" id="{E00FB22D-2457-4063-9459-8433540C0A77}"/>
                </a:ext>
              </a:extLst>
            </p:cNvPr>
            <p:cNvSpPr/>
            <p:nvPr/>
          </p:nvSpPr>
          <p:spPr>
            <a:xfrm rot="8716295">
              <a:off x="3208442" y="141279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5" name="Forme libre : forme 1914">
              <a:extLst>
                <a:ext uri="{FF2B5EF4-FFF2-40B4-BE49-F238E27FC236}">
                  <a16:creationId xmlns:a16="http://schemas.microsoft.com/office/drawing/2014/main" id="{40BF3ADC-1D1C-47B2-A5B1-9307F3A8DB5D}"/>
                </a:ext>
              </a:extLst>
            </p:cNvPr>
            <p:cNvSpPr/>
            <p:nvPr/>
          </p:nvSpPr>
          <p:spPr>
            <a:xfrm rot="8716295">
              <a:off x="3006816" y="147209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6" name="Forme libre : forme 1915">
              <a:extLst>
                <a:ext uri="{FF2B5EF4-FFF2-40B4-BE49-F238E27FC236}">
                  <a16:creationId xmlns:a16="http://schemas.microsoft.com/office/drawing/2014/main" id="{DF4ED72B-FC46-44BB-B438-16FEB0943FB2}"/>
                </a:ext>
              </a:extLst>
            </p:cNvPr>
            <p:cNvSpPr/>
            <p:nvPr/>
          </p:nvSpPr>
          <p:spPr>
            <a:xfrm rot="8716295">
              <a:off x="2881914" y="126342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7" name="Forme libre : forme 1916">
              <a:extLst>
                <a:ext uri="{FF2B5EF4-FFF2-40B4-BE49-F238E27FC236}">
                  <a16:creationId xmlns:a16="http://schemas.microsoft.com/office/drawing/2014/main" id="{B676BBE0-B162-4287-9303-C170CDD71537}"/>
                </a:ext>
              </a:extLst>
            </p:cNvPr>
            <p:cNvSpPr/>
            <p:nvPr/>
          </p:nvSpPr>
          <p:spPr>
            <a:xfrm rot="8716295">
              <a:off x="3096994" y="151304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8" name="Forme libre : forme 1917">
              <a:extLst>
                <a:ext uri="{FF2B5EF4-FFF2-40B4-BE49-F238E27FC236}">
                  <a16:creationId xmlns:a16="http://schemas.microsoft.com/office/drawing/2014/main" id="{E7EB3253-D700-49B8-AEB9-BB6E68032A95}"/>
                </a:ext>
              </a:extLst>
            </p:cNvPr>
            <p:cNvSpPr/>
            <p:nvPr/>
          </p:nvSpPr>
          <p:spPr>
            <a:xfrm rot="8716295">
              <a:off x="2855543" y="136344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9" name="Forme libre : forme 1918">
              <a:extLst>
                <a:ext uri="{FF2B5EF4-FFF2-40B4-BE49-F238E27FC236}">
                  <a16:creationId xmlns:a16="http://schemas.microsoft.com/office/drawing/2014/main" id="{56230BF6-AC9B-4902-AEE1-4B728E72D178}"/>
                </a:ext>
              </a:extLst>
            </p:cNvPr>
            <p:cNvSpPr/>
            <p:nvPr/>
          </p:nvSpPr>
          <p:spPr>
            <a:xfrm rot="7484129">
              <a:off x="3201925" y="170439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0" name="Forme libre : forme 1919">
              <a:extLst>
                <a:ext uri="{FF2B5EF4-FFF2-40B4-BE49-F238E27FC236}">
                  <a16:creationId xmlns:a16="http://schemas.microsoft.com/office/drawing/2014/main" id="{4B208DB0-A987-423B-A14C-FCBA1EF67B74}"/>
                </a:ext>
              </a:extLst>
            </p:cNvPr>
            <p:cNvSpPr/>
            <p:nvPr/>
          </p:nvSpPr>
          <p:spPr>
            <a:xfrm rot="13089394">
              <a:off x="3306745" y="167093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1" name="Forme libre : forme 1920">
              <a:extLst>
                <a:ext uri="{FF2B5EF4-FFF2-40B4-BE49-F238E27FC236}">
                  <a16:creationId xmlns:a16="http://schemas.microsoft.com/office/drawing/2014/main" id="{EF8A434D-15D0-4B82-9592-BF92E7D73B50}"/>
                </a:ext>
              </a:extLst>
            </p:cNvPr>
            <p:cNvSpPr/>
            <p:nvPr/>
          </p:nvSpPr>
          <p:spPr>
            <a:xfrm rot="8716295">
              <a:off x="3492330" y="147925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2" name="Forme libre : forme 1921">
              <a:extLst>
                <a:ext uri="{FF2B5EF4-FFF2-40B4-BE49-F238E27FC236}">
                  <a16:creationId xmlns:a16="http://schemas.microsoft.com/office/drawing/2014/main" id="{496643F6-EF29-4934-B60A-8D83073F0AE6}"/>
                </a:ext>
              </a:extLst>
            </p:cNvPr>
            <p:cNvSpPr/>
            <p:nvPr/>
          </p:nvSpPr>
          <p:spPr>
            <a:xfrm rot="8716295">
              <a:off x="3440525" y="137565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3" name="Forme libre : forme 1922">
              <a:extLst>
                <a:ext uri="{FF2B5EF4-FFF2-40B4-BE49-F238E27FC236}">
                  <a16:creationId xmlns:a16="http://schemas.microsoft.com/office/drawing/2014/main" id="{74F44434-50F9-4D75-99AD-08CE7DC14350}"/>
                </a:ext>
              </a:extLst>
            </p:cNvPr>
            <p:cNvSpPr/>
            <p:nvPr/>
          </p:nvSpPr>
          <p:spPr>
            <a:xfrm rot="8716295">
              <a:off x="3197279" y="140587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4" name="Forme libre : forme 1923">
              <a:extLst>
                <a:ext uri="{FF2B5EF4-FFF2-40B4-BE49-F238E27FC236}">
                  <a16:creationId xmlns:a16="http://schemas.microsoft.com/office/drawing/2014/main" id="{605F5CA4-BD4B-45C5-9BA8-28F63A326D37}"/>
                </a:ext>
              </a:extLst>
            </p:cNvPr>
            <p:cNvSpPr/>
            <p:nvPr/>
          </p:nvSpPr>
          <p:spPr>
            <a:xfrm rot="8716295">
              <a:off x="3374731" y="124663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5" name="Forme libre : forme 1924">
              <a:extLst>
                <a:ext uri="{FF2B5EF4-FFF2-40B4-BE49-F238E27FC236}">
                  <a16:creationId xmlns:a16="http://schemas.microsoft.com/office/drawing/2014/main" id="{D508E9B3-20C5-4879-9125-85F01ACBE5CA}"/>
                </a:ext>
              </a:extLst>
            </p:cNvPr>
            <p:cNvSpPr/>
            <p:nvPr/>
          </p:nvSpPr>
          <p:spPr>
            <a:xfrm rot="8716295">
              <a:off x="2606784" y="97400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6" name="Forme libre : forme 1925">
              <a:extLst>
                <a:ext uri="{FF2B5EF4-FFF2-40B4-BE49-F238E27FC236}">
                  <a16:creationId xmlns:a16="http://schemas.microsoft.com/office/drawing/2014/main" id="{01908F6A-77D5-41C0-A094-8B88D20850B5}"/>
                </a:ext>
              </a:extLst>
            </p:cNvPr>
            <p:cNvSpPr/>
            <p:nvPr/>
          </p:nvSpPr>
          <p:spPr>
            <a:xfrm rot="8716295">
              <a:off x="2696176" y="100324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7" name="Forme libre : forme 1926">
              <a:extLst>
                <a:ext uri="{FF2B5EF4-FFF2-40B4-BE49-F238E27FC236}">
                  <a16:creationId xmlns:a16="http://schemas.microsoft.com/office/drawing/2014/main" id="{529064A2-8EBE-4BBB-A56D-AF594A3CAC45}"/>
                </a:ext>
              </a:extLst>
            </p:cNvPr>
            <p:cNvSpPr/>
            <p:nvPr/>
          </p:nvSpPr>
          <p:spPr>
            <a:xfrm rot="8716295">
              <a:off x="2651326" y="91696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8" name="Forme libre : forme 1927">
              <a:extLst>
                <a:ext uri="{FF2B5EF4-FFF2-40B4-BE49-F238E27FC236}">
                  <a16:creationId xmlns:a16="http://schemas.microsoft.com/office/drawing/2014/main" id="{F7D12C08-407F-4632-A96C-CB1D241C9AF9}"/>
                </a:ext>
              </a:extLst>
            </p:cNvPr>
            <p:cNvSpPr/>
            <p:nvPr/>
          </p:nvSpPr>
          <p:spPr>
            <a:xfrm rot="8716295">
              <a:off x="2494550" y="106254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9" name="Forme libre : forme 1928">
              <a:extLst>
                <a:ext uri="{FF2B5EF4-FFF2-40B4-BE49-F238E27FC236}">
                  <a16:creationId xmlns:a16="http://schemas.microsoft.com/office/drawing/2014/main" id="{F9E3718B-9D4E-40C9-996E-B44032CD1443}"/>
                </a:ext>
              </a:extLst>
            </p:cNvPr>
            <p:cNvSpPr/>
            <p:nvPr/>
          </p:nvSpPr>
          <p:spPr>
            <a:xfrm rot="8716295">
              <a:off x="2369647" y="85387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0" name="Forme libre : forme 1929">
              <a:extLst>
                <a:ext uri="{FF2B5EF4-FFF2-40B4-BE49-F238E27FC236}">
                  <a16:creationId xmlns:a16="http://schemas.microsoft.com/office/drawing/2014/main" id="{062FDFA4-05F1-4BC4-841F-FD9779B36394}"/>
                </a:ext>
              </a:extLst>
            </p:cNvPr>
            <p:cNvSpPr/>
            <p:nvPr/>
          </p:nvSpPr>
          <p:spPr>
            <a:xfrm rot="8716295">
              <a:off x="2357595" y="71509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1" name="Forme libre : forme 1930">
              <a:extLst>
                <a:ext uri="{FF2B5EF4-FFF2-40B4-BE49-F238E27FC236}">
                  <a16:creationId xmlns:a16="http://schemas.microsoft.com/office/drawing/2014/main" id="{D98BE722-2724-4873-90DA-3EE10C00B3F9}"/>
                </a:ext>
              </a:extLst>
            </p:cNvPr>
            <p:cNvSpPr/>
            <p:nvPr/>
          </p:nvSpPr>
          <p:spPr>
            <a:xfrm rot="8716295">
              <a:off x="2584728" y="110350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2" name="Forme libre : forme 1931">
              <a:extLst>
                <a:ext uri="{FF2B5EF4-FFF2-40B4-BE49-F238E27FC236}">
                  <a16:creationId xmlns:a16="http://schemas.microsoft.com/office/drawing/2014/main" id="{73A5D009-4136-4E73-AA3F-5CD072165E84}"/>
                </a:ext>
              </a:extLst>
            </p:cNvPr>
            <p:cNvSpPr/>
            <p:nvPr/>
          </p:nvSpPr>
          <p:spPr>
            <a:xfrm rot="8716295">
              <a:off x="2895883" y="72385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3" name="Forme libre : forme 1932">
              <a:extLst>
                <a:ext uri="{FF2B5EF4-FFF2-40B4-BE49-F238E27FC236}">
                  <a16:creationId xmlns:a16="http://schemas.microsoft.com/office/drawing/2014/main" id="{BB1CB211-5C77-4CA8-93CB-FB2E5FEC73EA}"/>
                </a:ext>
              </a:extLst>
            </p:cNvPr>
            <p:cNvSpPr/>
            <p:nvPr/>
          </p:nvSpPr>
          <p:spPr>
            <a:xfrm rot="8716295">
              <a:off x="2985275" y="75309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4" name="Forme libre : forme 1933">
              <a:extLst>
                <a:ext uri="{FF2B5EF4-FFF2-40B4-BE49-F238E27FC236}">
                  <a16:creationId xmlns:a16="http://schemas.microsoft.com/office/drawing/2014/main" id="{39202ABD-E53C-410F-9F80-3647BABB1BE8}"/>
                </a:ext>
              </a:extLst>
            </p:cNvPr>
            <p:cNvSpPr/>
            <p:nvPr/>
          </p:nvSpPr>
          <p:spPr>
            <a:xfrm rot="8716295">
              <a:off x="2783649" y="81239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5" name="Forme libre : forme 1934">
              <a:extLst>
                <a:ext uri="{FF2B5EF4-FFF2-40B4-BE49-F238E27FC236}">
                  <a16:creationId xmlns:a16="http://schemas.microsoft.com/office/drawing/2014/main" id="{DEF0F507-9FA5-4F8E-81F0-A3FF660AD478}"/>
                </a:ext>
              </a:extLst>
            </p:cNvPr>
            <p:cNvSpPr/>
            <p:nvPr/>
          </p:nvSpPr>
          <p:spPr>
            <a:xfrm rot="8716295">
              <a:off x="2658747" y="60372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6" name="Forme libre : forme 1935">
              <a:extLst>
                <a:ext uri="{FF2B5EF4-FFF2-40B4-BE49-F238E27FC236}">
                  <a16:creationId xmlns:a16="http://schemas.microsoft.com/office/drawing/2014/main" id="{3339A037-0390-4725-BCA0-FCB6267328E9}"/>
                </a:ext>
              </a:extLst>
            </p:cNvPr>
            <p:cNvSpPr/>
            <p:nvPr/>
          </p:nvSpPr>
          <p:spPr>
            <a:xfrm rot="8716295">
              <a:off x="2873827" y="85334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7" name="Forme libre : forme 1936">
              <a:extLst>
                <a:ext uri="{FF2B5EF4-FFF2-40B4-BE49-F238E27FC236}">
                  <a16:creationId xmlns:a16="http://schemas.microsoft.com/office/drawing/2014/main" id="{3D48FF6C-A7BD-4D40-8659-3742A120114C}"/>
                </a:ext>
              </a:extLst>
            </p:cNvPr>
            <p:cNvSpPr/>
            <p:nvPr/>
          </p:nvSpPr>
          <p:spPr>
            <a:xfrm rot="8716295">
              <a:off x="2632376" y="70374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8" name="Forme libre : forme 1937">
              <a:extLst>
                <a:ext uri="{FF2B5EF4-FFF2-40B4-BE49-F238E27FC236}">
                  <a16:creationId xmlns:a16="http://schemas.microsoft.com/office/drawing/2014/main" id="{640E20D5-9C65-40F7-88F5-B81FDBFD2525}"/>
                </a:ext>
              </a:extLst>
            </p:cNvPr>
            <p:cNvSpPr/>
            <p:nvPr/>
          </p:nvSpPr>
          <p:spPr>
            <a:xfrm rot="7484129">
              <a:off x="2978758" y="10446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9" name="Forme libre : forme 1938">
              <a:extLst>
                <a:ext uri="{FF2B5EF4-FFF2-40B4-BE49-F238E27FC236}">
                  <a16:creationId xmlns:a16="http://schemas.microsoft.com/office/drawing/2014/main" id="{A664525B-8E8A-4BEC-B691-10AA51B87D5A}"/>
                </a:ext>
              </a:extLst>
            </p:cNvPr>
            <p:cNvSpPr/>
            <p:nvPr/>
          </p:nvSpPr>
          <p:spPr>
            <a:xfrm rot="13089394">
              <a:off x="3083578" y="101123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0" name="Forme libre : forme 1939">
              <a:extLst>
                <a:ext uri="{FF2B5EF4-FFF2-40B4-BE49-F238E27FC236}">
                  <a16:creationId xmlns:a16="http://schemas.microsoft.com/office/drawing/2014/main" id="{5287290B-5120-4CE9-A2E9-80563E2C3748}"/>
                </a:ext>
              </a:extLst>
            </p:cNvPr>
            <p:cNvSpPr/>
            <p:nvPr/>
          </p:nvSpPr>
          <p:spPr>
            <a:xfrm rot="8716295">
              <a:off x="3269163" y="81955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1" name="Forme libre : forme 1940">
              <a:extLst>
                <a:ext uri="{FF2B5EF4-FFF2-40B4-BE49-F238E27FC236}">
                  <a16:creationId xmlns:a16="http://schemas.microsoft.com/office/drawing/2014/main" id="{3C0B667A-18F0-4E79-9549-1CF9F021884A}"/>
                </a:ext>
              </a:extLst>
            </p:cNvPr>
            <p:cNvSpPr/>
            <p:nvPr/>
          </p:nvSpPr>
          <p:spPr>
            <a:xfrm rot="8716295">
              <a:off x="3217358" y="71595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2" name="Forme libre : forme 1941">
              <a:extLst>
                <a:ext uri="{FF2B5EF4-FFF2-40B4-BE49-F238E27FC236}">
                  <a16:creationId xmlns:a16="http://schemas.microsoft.com/office/drawing/2014/main" id="{B0DED242-BC4E-4AF1-BAE0-7624C0344F25}"/>
                </a:ext>
              </a:extLst>
            </p:cNvPr>
            <p:cNvSpPr/>
            <p:nvPr/>
          </p:nvSpPr>
          <p:spPr>
            <a:xfrm rot="8716295">
              <a:off x="2974112" y="74618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3" name="Forme libre : forme 1942">
              <a:extLst>
                <a:ext uri="{FF2B5EF4-FFF2-40B4-BE49-F238E27FC236}">
                  <a16:creationId xmlns:a16="http://schemas.microsoft.com/office/drawing/2014/main" id="{9B427F4D-0061-471B-99D7-9ACBD334EA67}"/>
                </a:ext>
              </a:extLst>
            </p:cNvPr>
            <p:cNvSpPr/>
            <p:nvPr/>
          </p:nvSpPr>
          <p:spPr>
            <a:xfrm rot="8716295">
              <a:off x="3151564" y="58693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4" name="Forme libre : forme 1943">
              <a:extLst>
                <a:ext uri="{FF2B5EF4-FFF2-40B4-BE49-F238E27FC236}">
                  <a16:creationId xmlns:a16="http://schemas.microsoft.com/office/drawing/2014/main" id="{9646A09C-91CC-4D8D-8FCA-9CC186FCDAC2}"/>
                </a:ext>
              </a:extLst>
            </p:cNvPr>
            <p:cNvSpPr/>
            <p:nvPr/>
          </p:nvSpPr>
          <p:spPr>
            <a:xfrm rot="8716295">
              <a:off x="2387845" y="31194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5" name="Forme libre : forme 1944">
              <a:extLst>
                <a:ext uri="{FF2B5EF4-FFF2-40B4-BE49-F238E27FC236}">
                  <a16:creationId xmlns:a16="http://schemas.microsoft.com/office/drawing/2014/main" id="{7EFC061B-413D-4C95-B443-9F3F27FBE816}"/>
                </a:ext>
              </a:extLst>
            </p:cNvPr>
            <p:cNvSpPr/>
            <p:nvPr/>
          </p:nvSpPr>
          <p:spPr>
            <a:xfrm rot="8716295">
              <a:off x="2477237" y="34118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6" name="Forme libre : forme 1945">
              <a:extLst>
                <a:ext uri="{FF2B5EF4-FFF2-40B4-BE49-F238E27FC236}">
                  <a16:creationId xmlns:a16="http://schemas.microsoft.com/office/drawing/2014/main" id="{050B80C6-7110-45B3-B5D3-3D4418DC6D2D}"/>
                </a:ext>
              </a:extLst>
            </p:cNvPr>
            <p:cNvSpPr/>
            <p:nvPr/>
          </p:nvSpPr>
          <p:spPr>
            <a:xfrm rot="8716295">
              <a:off x="2432387" y="254908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7" name="Forme libre : forme 1946">
              <a:extLst>
                <a:ext uri="{FF2B5EF4-FFF2-40B4-BE49-F238E27FC236}">
                  <a16:creationId xmlns:a16="http://schemas.microsoft.com/office/drawing/2014/main" id="{16C54A5F-832E-4682-9A28-7BEEB48EF225}"/>
                </a:ext>
              </a:extLst>
            </p:cNvPr>
            <p:cNvSpPr/>
            <p:nvPr/>
          </p:nvSpPr>
          <p:spPr>
            <a:xfrm rot="8716295">
              <a:off x="2275611" y="40049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8" name="Forme libre : forme 1947">
              <a:extLst>
                <a:ext uri="{FF2B5EF4-FFF2-40B4-BE49-F238E27FC236}">
                  <a16:creationId xmlns:a16="http://schemas.microsoft.com/office/drawing/2014/main" id="{9182BB74-8CDE-456E-9B19-EB6A2BC862BF}"/>
                </a:ext>
              </a:extLst>
            </p:cNvPr>
            <p:cNvSpPr/>
            <p:nvPr/>
          </p:nvSpPr>
          <p:spPr>
            <a:xfrm rot="8716295">
              <a:off x="2150708" y="19181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9" name="Forme libre : forme 1948">
              <a:extLst>
                <a:ext uri="{FF2B5EF4-FFF2-40B4-BE49-F238E27FC236}">
                  <a16:creationId xmlns:a16="http://schemas.microsoft.com/office/drawing/2014/main" id="{8B7E3CE6-4BE3-4C9E-A239-D8D1203FC60A}"/>
                </a:ext>
              </a:extLst>
            </p:cNvPr>
            <p:cNvSpPr/>
            <p:nvPr/>
          </p:nvSpPr>
          <p:spPr>
            <a:xfrm rot="8716295">
              <a:off x="2138656" y="53037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0" name="Forme libre : forme 1949">
              <a:extLst>
                <a:ext uri="{FF2B5EF4-FFF2-40B4-BE49-F238E27FC236}">
                  <a16:creationId xmlns:a16="http://schemas.microsoft.com/office/drawing/2014/main" id="{3F6771EB-9647-44FF-992B-BFDD8921D128}"/>
                </a:ext>
              </a:extLst>
            </p:cNvPr>
            <p:cNvSpPr/>
            <p:nvPr/>
          </p:nvSpPr>
          <p:spPr>
            <a:xfrm rot="8716295">
              <a:off x="2365789" y="441442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1" name="Forme libre : forme 1950">
              <a:extLst>
                <a:ext uri="{FF2B5EF4-FFF2-40B4-BE49-F238E27FC236}">
                  <a16:creationId xmlns:a16="http://schemas.microsoft.com/office/drawing/2014/main" id="{EE97D450-BD29-4CDD-BFC8-817BD4470CBA}"/>
                </a:ext>
              </a:extLst>
            </p:cNvPr>
            <p:cNvSpPr/>
            <p:nvPr/>
          </p:nvSpPr>
          <p:spPr>
            <a:xfrm rot="8716295">
              <a:off x="2676944" y="6179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2" name="Forme libre : forme 1951">
              <a:extLst>
                <a:ext uri="{FF2B5EF4-FFF2-40B4-BE49-F238E27FC236}">
                  <a16:creationId xmlns:a16="http://schemas.microsoft.com/office/drawing/2014/main" id="{8EFD00D1-610B-479F-906F-15BAF79DD95F}"/>
                </a:ext>
              </a:extLst>
            </p:cNvPr>
            <p:cNvSpPr/>
            <p:nvPr/>
          </p:nvSpPr>
          <p:spPr>
            <a:xfrm rot="8716295">
              <a:off x="2766336" y="9103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3" name="Forme libre : forme 1952">
              <a:extLst>
                <a:ext uri="{FF2B5EF4-FFF2-40B4-BE49-F238E27FC236}">
                  <a16:creationId xmlns:a16="http://schemas.microsoft.com/office/drawing/2014/main" id="{61A26481-3D0A-4F35-81C4-E66E5F2DC440}"/>
                </a:ext>
              </a:extLst>
            </p:cNvPr>
            <p:cNvSpPr/>
            <p:nvPr/>
          </p:nvSpPr>
          <p:spPr>
            <a:xfrm rot="8716295">
              <a:off x="2564710" y="15033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4" name="Forme libre : forme 1953">
              <a:extLst>
                <a:ext uri="{FF2B5EF4-FFF2-40B4-BE49-F238E27FC236}">
                  <a16:creationId xmlns:a16="http://schemas.microsoft.com/office/drawing/2014/main" id="{83459BF4-9B6D-4560-BF8C-1B7247F9F85E}"/>
                </a:ext>
              </a:extLst>
            </p:cNvPr>
            <p:cNvSpPr/>
            <p:nvPr/>
          </p:nvSpPr>
          <p:spPr>
            <a:xfrm rot="8716295">
              <a:off x="2448552" y="-16031"/>
              <a:ext cx="203847" cy="149340"/>
            </a:xfrm>
            <a:custGeom>
              <a:avLst/>
              <a:gdLst>
                <a:gd name="connsiteX0" fmla="*/ 106716 w 203847"/>
                <a:gd name="connsiteY0" fmla="*/ 149340 h 149340"/>
                <a:gd name="connsiteX1" fmla="*/ 50038 w 203847"/>
                <a:gd name="connsiteY1" fmla="*/ 110053 h 149340"/>
                <a:gd name="connsiteX2" fmla="*/ 69777 w 203847"/>
                <a:gd name="connsiteY2" fmla="*/ 55323 h 149340"/>
                <a:gd name="connsiteX3" fmla="*/ 0 w 203847"/>
                <a:gd name="connsiteY3" fmla="*/ 55323 h 149340"/>
                <a:gd name="connsiteX4" fmla="*/ 0 w 203847"/>
                <a:gd name="connsiteY4" fmla="*/ 0 h 149340"/>
                <a:gd name="connsiteX5" fmla="*/ 203847 w 203847"/>
                <a:gd name="connsiteY5" fmla="*/ 0 h 149340"/>
                <a:gd name="connsiteX6" fmla="*/ 203847 w 203847"/>
                <a:gd name="connsiteY6" fmla="*/ 55323 h 149340"/>
                <a:gd name="connsiteX7" fmla="*/ 139055 w 203847"/>
                <a:gd name="connsiteY7" fmla="*/ 55323 h 14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49340">
                  <a:moveTo>
                    <a:pt x="106716" y="149340"/>
                  </a:moveTo>
                  <a:lnTo>
                    <a:pt x="50038" y="110053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5" name="Forme libre : forme 1954">
              <a:extLst>
                <a:ext uri="{FF2B5EF4-FFF2-40B4-BE49-F238E27FC236}">
                  <a16:creationId xmlns:a16="http://schemas.microsoft.com/office/drawing/2014/main" id="{08C5FD8C-89B2-49FC-84D0-17F41609A333}"/>
                </a:ext>
              </a:extLst>
            </p:cNvPr>
            <p:cNvSpPr/>
            <p:nvPr/>
          </p:nvSpPr>
          <p:spPr>
            <a:xfrm rot="8716295">
              <a:off x="2654888" y="191290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6" name="Forme libre : forme 1955">
              <a:extLst>
                <a:ext uri="{FF2B5EF4-FFF2-40B4-BE49-F238E27FC236}">
                  <a16:creationId xmlns:a16="http://schemas.microsoft.com/office/drawing/2014/main" id="{6BFD8684-31CE-4791-ABB1-43076B0A7845}"/>
                </a:ext>
              </a:extLst>
            </p:cNvPr>
            <p:cNvSpPr/>
            <p:nvPr/>
          </p:nvSpPr>
          <p:spPr>
            <a:xfrm rot="8716295">
              <a:off x="2413437" y="41690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7" name="Forme libre : forme 1956">
              <a:extLst>
                <a:ext uri="{FF2B5EF4-FFF2-40B4-BE49-F238E27FC236}">
                  <a16:creationId xmlns:a16="http://schemas.microsoft.com/office/drawing/2014/main" id="{C161F571-B0D5-4B28-BE2F-078F2E50988C}"/>
                </a:ext>
              </a:extLst>
            </p:cNvPr>
            <p:cNvSpPr/>
            <p:nvPr/>
          </p:nvSpPr>
          <p:spPr>
            <a:xfrm rot="7484129">
              <a:off x="2759819" y="38264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8" name="Forme libre : forme 1957">
              <a:extLst>
                <a:ext uri="{FF2B5EF4-FFF2-40B4-BE49-F238E27FC236}">
                  <a16:creationId xmlns:a16="http://schemas.microsoft.com/office/drawing/2014/main" id="{B184E69F-BDC0-4CD6-B4AA-C0EA481AE5EE}"/>
                </a:ext>
              </a:extLst>
            </p:cNvPr>
            <p:cNvSpPr/>
            <p:nvPr/>
          </p:nvSpPr>
          <p:spPr>
            <a:xfrm rot="13089394">
              <a:off x="2864639" y="349175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9" name="Forme libre : forme 1958">
              <a:extLst>
                <a:ext uri="{FF2B5EF4-FFF2-40B4-BE49-F238E27FC236}">
                  <a16:creationId xmlns:a16="http://schemas.microsoft.com/office/drawing/2014/main" id="{9B2080A5-8C36-42CE-9405-38C37EFEE848}"/>
                </a:ext>
              </a:extLst>
            </p:cNvPr>
            <p:cNvSpPr/>
            <p:nvPr/>
          </p:nvSpPr>
          <p:spPr>
            <a:xfrm rot="8716295">
              <a:off x="3050224" y="157494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0" name="Forme libre : forme 1959">
              <a:extLst>
                <a:ext uri="{FF2B5EF4-FFF2-40B4-BE49-F238E27FC236}">
                  <a16:creationId xmlns:a16="http://schemas.microsoft.com/office/drawing/2014/main" id="{C29B37FA-C9D3-4881-A9EF-CB70017820D1}"/>
                </a:ext>
              </a:extLst>
            </p:cNvPr>
            <p:cNvSpPr/>
            <p:nvPr/>
          </p:nvSpPr>
          <p:spPr>
            <a:xfrm rot="8716295">
              <a:off x="2998419" y="5390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1" name="Forme libre : forme 1960">
              <a:extLst>
                <a:ext uri="{FF2B5EF4-FFF2-40B4-BE49-F238E27FC236}">
                  <a16:creationId xmlns:a16="http://schemas.microsoft.com/office/drawing/2014/main" id="{CD43208D-F797-4F3A-8F0E-C454996D1C94}"/>
                </a:ext>
              </a:extLst>
            </p:cNvPr>
            <p:cNvSpPr/>
            <p:nvPr/>
          </p:nvSpPr>
          <p:spPr>
            <a:xfrm rot="8716295">
              <a:off x="2755173" y="8412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2" name="Forme libre : forme 1961">
              <a:extLst>
                <a:ext uri="{FF2B5EF4-FFF2-40B4-BE49-F238E27FC236}">
                  <a16:creationId xmlns:a16="http://schemas.microsoft.com/office/drawing/2014/main" id="{54F15BE2-E27F-44E5-B93A-67906E77A622}"/>
                </a:ext>
              </a:extLst>
            </p:cNvPr>
            <p:cNvSpPr/>
            <p:nvPr/>
          </p:nvSpPr>
          <p:spPr>
            <a:xfrm rot="8716295">
              <a:off x="2940014" y="-28690"/>
              <a:ext cx="88664" cy="70660"/>
            </a:xfrm>
            <a:custGeom>
              <a:avLst/>
              <a:gdLst>
                <a:gd name="connsiteX0" fmla="*/ 83649 w 88664"/>
                <a:gd name="connsiteY0" fmla="*/ 70660 h 70660"/>
                <a:gd name="connsiteX1" fmla="*/ 0 w 88664"/>
                <a:gd name="connsiteY1" fmla="*/ 12677 h 70660"/>
                <a:gd name="connsiteX2" fmla="*/ 30024 w 88664"/>
                <a:gd name="connsiteY2" fmla="*/ 0 h 70660"/>
                <a:gd name="connsiteX3" fmla="*/ 71417 w 88664"/>
                <a:gd name="connsiteY3" fmla="*/ 17477 h 70660"/>
                <a:gd name="connsiteX4" fmla="*/ 88664 w 88664"/>
                <a:gd name="connsiteY4" fmla="*/ 58525 h 70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664" h="70660">
                  <a:moveTo>
                    <a:pt x="83649" y="70660"/>
                  </a:moveTo>
                  <a:lnTo>
                    <a:pt x="0" y="12677"/>
                  </a:lnTo>
                  <a:lnTo>
                    <a:pt x="30024" y="0"/>
                  </a:lnTo>
                  <a:cubicBezTo>
                    <a:pt x="45662" y="0"/>
                    <a:pt x="60379" y="6439"/>
                    <a:pt x="71417" y="17477"/>
                  </a:cubicBezTo>
                  <a:cubicBezTo>
                    <a:pt x="82915" y="28515"/>
                    <a:pt x="88664" y="43462"/>
                    <a:pt x="88664" y="58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3" name="Forme libre : forme 1962">
              <a:extLst>
                <a:ext uri="{FF2B5EF4-FFF2-40B4-BE49-F238E27FC236}">
                  <a16:creationId xmlns:a16="http://schemas.microsoft.com/office/drawing/2014/main" id="{A96E0022-A9CF-4F9C-9D74-6AF826262D3D}"/>
                </a:ext>
              </a:extLst>
            </p:cNvPr>
            <p:cNvSpPr/>
            <p:nvPr/>
          </p:nvSpPr>
          <p:spPr>
            <a:xfrm rot="13089394">
              <a:off x="2740820" y="-30870"/>
              <a:ext cx="73521" cy="76374"/>
            </a:xfrm>
            <a:custGeom>
              <a:avLst/>
              <a:gdLst>
                <a:gd name="connsiteX0" fmla="*/ 73521 w 73521"/>
                <a:gd name="connsiteY0" fmla="*/ 18609 h 76374"/>
                <a:gd name="connsiteX1" fmla="*/ 0 w 73521"/>
                <a:gd name="connsiteY1" fmla="*/ 76374 h 76374"/>
                <a:gd name="connsiteX2" fmla="*/ 0 w 73521"/>
                <a:gd name="connsiteY2" fmla="*/ 38074 h 76374"/>
                <a:gd name="connsiteX3" fmla="*/ 73388 w 73521"/>
                <a:gd name="connsiteY3" fmla="*/ 0 h 7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521" h="76374">
                  <a:moveTo>
                    <a:pt x="73521" y="18609"/>
                  </a:moveTo>
                  <a:lnTo>
                    <a:pt x="0" y="76374"/>
                  </a:lnTo>
                  <a:lnTo>
                    <a:pt x="0" y="38074"/>
                  </a:lnTo>
                  <a:lnTo>
                    <a:pt x="7338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4" name="Forme libre : forme 1963">
              <a:extLst>
                <a:ext uri="{FF2B5EF4-FFF2-40B4-BE49-F238E27FC236}">
                  <a16:creationId xmlns:a16="http://schemas.microsoft.com/office/drawing/2014/main" id="{6538AA74-15CD-43BC-8F1C-18881AB7F0C7}"/>
                </a:ext>
              </a:extLst>
            </p:cNvPr>
            <p:cNvSpPr/>
            <p:nvPr/>
          </p:nvSpPr>
          <p:spPr>
            <a:xfrm rot="8716295">
              <a:off x="2166753" y="273158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5" name="Forme libre : forme 1964">
              <a:extLst>
                <a:ext uri="{FF2B5EF4-FFF2-40B4-BE49-F238E27FC236}">
                  <a16:creationId xmlns:a16="http://schemas.microsoft.com/office/drawing/2014/main" id="{CD1BD058-8224-4BD3-B8B9-AEF4E4524A8C}"/>
                </a:ext>
              </a:extLst>
            </p:cNvPr>
            <p:cNvSpPr/>
            <p:nvPr/>
          </p:nvSpPr>
          <p:spPr>
            <a:xfrm rot="8716295">
              <a:off x="2256145" y="276082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6" name="Forme libre : forme 1965">
              <a:extLst>
                <a:ext uri="{FF2B5EF4-FFF2-40B4-BE49-F238E27FC236}">
                  <a16:creationId xmlns:a16="http://schemas.microsoft.com/office/drawing/2014/main" id="{71B92AA0-8C88-4128-864F-918A8A4225F3}"/>
                </a:ext>
              </a:extLst>
            </p:cNvPr>
            <p:cNvSpPr/>
            <p:nvPr/>
          </p:nvSpPr>
          <p:spPr>
            <a:xfrm rot="8716295">
              <a:off x="2211295" y="2674548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7" name="Forme libre : forme 1966">
              <a:extLst>
                <a:ext uri="{FF2B5EF4-FFF2-40B4-BE49-F238E27FC236}">
                  <a16:creationId xmlns:a16="http://schemas.microsoft.com/office/drawing/2014/main" id="{AFBC597A-A976-45D6-A00D-85892928DFA5}"/>
                </a:ext>
              </a:extLst>
            </p:cNvPr>
            <p:cNvSpPr/>
            <p:nvPr/>
          </p:nvSpPr>
          <p:spPr>
            <a:xfrm rot="8716295">
              <a:off x="2054519" y="28201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8" name="Forme libre : forme 1967">
              <a:extLst>
                <a:ext uri="{FF2B5EF4-FFF2-40B4-BE49-F238E27FC236}">
                  <a16:creationId xmlns:a16="http://schemas.microsoft.com/office/drawing/2014/main" id="{4ECD9B70-E8DE-4630-8659-622A12EC3C29}"/>
                </a:ext>
              </a:extLst>
            </p:cNvPr>
            <p:cNvSpPr/>
            <p:nvPr/>
          </p:nvSpPr>
          <p:spPr>
            <a:xfrm rot="8716295">
              <a:off x="1929616" y="261145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9" name="Forme libre : forme 1968">
              <a:extLst>
                <a:ext uri="{FF2B5EF4-FFF2-40B4-BE49-F238E27FC236}">
                  <a16:creationId xmlns:a16="http://schemas.microsoft.com/office/drawing/2014/main" id="{8DC6A858-FC43-49E0-8CDD-7C48F1A15095}"/>
                </a:ext>
              </a:extLst>
            </p:cNvPr>
            <p:cNvSpPr/>
            <p:nvPr/>
          </p:nvSpPr>
          <p:spPr>
            <a:xfrm rot="8716295">
              <a:off x="1917564" y="2472677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0" name="Forme libre : forme 1969">
              <a:extLst>
                <a:ext uri="{FF2B5EF4-FFF2-40B4-BE49-F238E27FC236}">
                  <a16:creationId xmlns:a16="http://schemas.microsoft.com/office/drawing/2014/main" id="{D72AFDB1-B1E3-4297-8283-8D4E9CD1E2D9}"/>
                </a:ext>
              </a:extLst>
            </p:cNvPr>
            <p:cNvSpPr/>
            <p:nvPr/>
          </p:nvSpPr>
          <p:spPr>
            <a:xfrm rot="8716295">
              <a:off x="2144697" y="2861082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1" name="Forme libre : forme 1970">
              <a:extLst>
                <a:ext uri="{FF2B5EF4-FFF2-40B4-BE49-F238E27FC236}">
                  <a16:creationId xmlns:a16="http://schemas.microsoft.com/office/drawing/2014/main" id="{505B528E-46CB-4331-B3F1-621BFE8D2CF5}"/>
                </a:ext>
              </a:extLst>
            </p:cNvPr>
            <p:cNvSpPr/>
            <p:nvPr/>
          </p:nvSpPr>
          <p:spPr>
            <a:xfrm rot="8716295">
              <a:off x="2455852" y="248143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2" name="Forme libre : forme 1971">
              <a:extLst>
                <a:ext uri="{FF2B5EF4-FFF2-40B4-BE49-F238E27FC236}">
                  <a16:creationId xmlns:a16="http://schemas.microsoft.com/office/drawing/2014/main" id="{F6731AFD-9029-4A47-8A04-F3D470338302}"/>
                </a:ext>
              </a:extLst>
            </p:cNvPr>
            <p:cNvSpPr/>
            <p:nvPr/>
          </p:nvSpPr>
          <p:spPr>
            <a:xfrm rot="8716295">
              <a:off x="2545244" y="251067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3" name="Forme libre : forme 1972">
              <a:extLst>
                <a:ext uri="{FF2B5EF4-FFF2-40B4-BE49-F238E27FC236}">
                  <a16:creationId xmlns:a16="http://schemas.microsoft.com/office/drawing/2014/main" id="{3EABB06A-3009-47CC-BE66-961590C5E393}"/>
                </a:ext>
              </a:extLst>
            </p:cNvPr>
            <p:cNvSpPr/>
            <p:nvPr/>
          </p:nvSpPr>
          <p:spPr>
            <a:xfrm rot="8716295">
              <a:off x="2343618" y="256997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4" name="Forme libre : forme 1973">
              <a:extLst>
                <a:ext uri="{FF2B5EF4-FFF2-40B4-BE49-F238E27FC236}">
                  <a16:creationId xmlns:a16="http://schemas.microsoft.com/office/drawing/2014/main" id="{BF54C594-EF8A-46E9-84BB-8BE19279F834}"/>
                </a:ext>
              </a:extLst>
            </p:cNvPr>
            <p:cNvSpPr/>
            <p:nvPr/>
          </p:nvSpPr>
          <p:spPr>
            <a:xfrm rot="8716295">
              <a:off x="2218716" y="236130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5" name="Forme libre : forme 1974">
              <a:extLst>
                <a:ext uri="{FF2B5EF4-FFF2-40B4-BE49-F238E27FC236}">
                  <a16:creationId xmlns:a16="http://schemas.microsoft.com/office/drawing/2014/main" id="{5380C4F6-A63E-4D68-92F1-66B1BF7EBE8E}"/>
                </a:ext>
              </a:extLst>
            </p:cNvPr>
            <p:cNvSpPr/>
            <p:nvPr/>
          </p:nvSpPr>
          <p:spPr>
            <a:xfrm rot="8716295">
              <a:off x="2433796" y="2610930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6" name="Forme libre : forme 1975">
              <a:extLst>
                <a:ext uri="{FF2B5EF4-FFF2-40B4-BE49-F238E27FC236}">
                  <a16:creationId xmlns:a16="http://schemas.microsoft.com/office/drawing/2014/main" id="{49BE900B-BC94-49D1-B693-560BFF27480F}"/>
                </a:ext>
              </a:extLst>
            </p:cNvPr>
            <p:cNvSpPr/>
            <p:nvPr/>
          </p:nvSpPr>
          <p:spPr>
            <a:xfrm rot="8716295">
              <a:off x="2192345" y="2461330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7" name="Forme libre : forme 1976">
              <a:extLst>
                <a:ext uri="{FF2B5EF4-FFF2-40B4-BE49-F238E27FC236}">
                  <a16:creationId xmlns:a16="http://schemas.microsoft.com/office/drawing/2014/main" id="{262BF73E-61CD-473B-BB9A-69825B24DD0D}"/>
                </a:ext>
              </a:extLst>
            </p:cNvPr>
            <p:cNvSpPr/>
            <p:nvPr/>
          </p:nvSpPr>
          <p:spPr>
            <a:xfrm rot="7484129">
              <a:off x="2538727" y="280228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8" name="Forme libre : forme 1977">
              <a:extLst>
                <a:ext uri="{FF2B5EF4-FFF2-40B4-BE49-F238E27FC236}">
                  <a16:creationId xmlns:a16="http://schemas.microsoft.com/office/drawing/2014/main" id="{CCF245C0-F7BF-4D01-8D8F-EAE62FF31873}"/>
                </a:ext>
              </a:extLst>
            </p:cNvPr>
            <p:cNvSpPr/>
            <p:nvPr/>
          </p:nvSpPr>
          <p:spPr>
            <a:xfrm rot="13089394">
              <a:off x="2643547" y="2768815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9" name="Forme libre : forme 1978">
              <a:extLst>
                <a:ext uri="{FF2B5EF4-FFF2-40B4-BE49-F238E27FC236}">
                  <a16:creationId xmlns:a16="http://schemas.microsoft.com/office/drawing/2014/main" id="{4AFE70E3-9BF6-4E6F-AFD4-7B005F059737}"/>
                </a:ext>
              </a:extLst>
            </p:cNvPr>
            <p:cNvSpPr/>
            <p:nvPr/>
          </p:nvSpPr>
          <p:spPr>
            <a:xfrm rot="8716295">
              <a:off x="2829132" y="2577134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0" name="Forme libre : forme 1979">
              <a:extLst>
                <a:ext uri="{FF2B5EF4-FFF2-40B4-BE49-F238E27FC236}">
                  <a16:creationId xmlns:a16="http://schemas.microsoft.com/office/drawing/2014/main" id="{690B1DAA-4E18-495A-9F96-0ECAB197F10A}"/>
                </a:ext>
              </a:extLst>
            </p:cNvPr>
            <p:cNvSpPr/>
            <p:nvPr/>
          </p:nvSpPr>
          <p:spPr>
            <a:xfrm rot="8716295">
              <a:off x="2777327" y="247354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1" name="Forme libre : forme 1980">
              <a:extLst>
                <a:ext uri="{FF2B5EF4-FFF2-40B4-BE49-F238E27FC236}">
                  <a16:creationId xmlns:a16="http://schemas.microsoft.com/office/drawing/2014/main" id="{695EC0C0-C4AF-4594-95DE-46C3AB675826}"/>
                </a:ext>
              </a:extLst>
            </p:cNvPr>
            <p:cNvSpPr/>
            <p:nvPr/>
          </p:nvSpPr>
          <p:spPr>
            <a:xfrm rot="8716295">
              <a:off x="2534081" y="250376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2" name="Forme libre : forme 1981">
              <a:extLst>
                <a:ext uri="{FF2B5EF4-FFF2-40B4-BE49-F238E27FC236}">
                  <a16:creationId xmlns:a16="http://schemas.microsoft.com/office/drawing/2014/main" id="{F97B452C-1EC8-451F-A07D-6DDB8CECEB39}"/>
                </a:ext>
              </a:extLst>
            </p:cNvPr>
            <p:cNvSpPr/>
            <p:nvPr/>
          </p:nvSpPr>
          <p:spPr>
            <a:xfrm rot="8716295">
              <a:off x="2711533" y="234452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3" name="Forme libre : forme 1982">
              <a:extLst>
                <a:ext uri="{FF2B5EF4-FFF2-40B4-BE49-F238E27FC236}">
                  <a16:creationId xmlns:a16="http://schemas.microsoft.com/office/drawing/2014/main" id="{7DE13715-75C0-4A68-AFA3-7EF2AC26078A}"/>
                </a:ext>
              </a:extLst>
            </p:cNvPr>
            <p:cNvSpPr/>
            <p:nvPr/>
          </p:nvSpPr>
          <p:spPr>
            <a:xfrm rot="8716295">
              <a:off x="2389920" y="339128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4" name="Forme libre : forme 1983">
              <a:extLst>
                <a:ext uri="{FF2B5EF4-FFF2-40B4-BE49-F238E27FC236}">
                  <a16:creationId xmlns:a16="http://schemas.microsoft.com/office/drawing/2014/main" id="{BF89118D-2CBC-4115-AC55-B8972D0566E5}"/>
                </a:ext>
              </a:extLst>
            </p:cNvPr>
            <p:cNvSpPr/>
            <p:nvPr/>
          </p:nvSpPr>
          <p:spPr>
            <a:xfrm rot="8716295">
              <a:off x="2479312" y="342052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5" name="Forme libre : forme 1984">
              <a:extLst>
                <a:ext uri="{FF2B5EF4-FFF2-40B4-BE49-F238E27FC236}">
                  <a16:creationId xmlns:a16="http://schemas.microsoft.com/office/drawing/2014/main" id="{1C6B7E42-8529-4CE4-9AD7-D33B3648E154}"/>
                </a:ext>
              </a:extLst>
            </p:cNvPr>
            <p:cNvSpPr/>
            <p:nvPr/>
          </p:nvSpPr>
          <p:spPr>
            <a:xfrm rot="8716295">
              <a:off x="2434462" y="333424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6" name="Forme libre : forme 1985">
              <a:extLst>
                <a:ext uri="{FF2B5EF4-FFF2-40B4-BE49-F238E27FC236}">
                  <a16:creationId xmlns:a16="http://schemas.microsoft.com/office/drawing/2014/main" id="{627E7B88-7C72-442E-8BF5-D4EBDCCB1792}"/>
                </a:ext>
              </a:extLst>
            </p:cNvPr>
            <p:cNvSpPr/>
            <p:nvPr/>
          </p:nvSpPr>
          <p:spPr>
            <a:xfrm rot="8716295">
              <a:off x="2277686" y="347982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7" name="Forme libre : forme 1986">
              <a:extLst>
                <a:ext uri="{FF2B5EF4-FFF2-40B4-BE49-F238E27FC236}">
                  <a16:creationId xmlns:a16="http://schemas.microsoft.com/office/drawing/2014/main" id="{23C30735-EB82-41C0-BEBF-A1C50DE34299}"/>
                </a:ext>
              </a:extLst>
            </p:cNvPr>
            <p:cNvSpPr/>
            <p:nvPr/>
          </p:nvSpPr>
          <p:spPr>
            <a:xfrm rot="8716295">
              <a:off x="2152783" y="327115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8" name="Forme libre : forme 1987">
              <a:extLst>
                <a:ext uri="{FF2B5EF4-FFF2-40B4-BE49-F238E27FC236}">
                  <a16:creationId xmlns:a16="http://schemas.microsoft.com/office/drawing/2014/main" id="{7FF5D6D5-D7D9-4064-AA83-8FB4E8FC29EF}"/>
                </a:ext>
              </a:extLst>
            </p:cNvPr>
            <p:cNvSpPr/>
            <p:nvPr/>
          </p:nvSpPr>
          <p:spPr>
            <a:xfrm rot="8716295">
              <a:off x="2140731" y="313237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9" name="Forme libre : forme 1988">
              <a:extLst>
                <a:ext uri="{FF2B5EF4-FFF2-40B4-BE49-F238E27FC236}">
                  <a16:creationId xmlns:a16="http://schemas.microsoft.com/office/drawing/2014/main" id="{07BB3D21-1AF0-4DC6-9196-AECA69A4B5D6}"/>
                </a:ext>
              </a:extLst>
            </p:cNvPr>
            <p:cNvSpPr/>
            <p:nvPr/>
          </p:nvSpPr>
          <p:spPr>
            <a:xfrm rot="8716295">
              <a:off x="2367864" y="352078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0" name="Forme libre : forme 1989">
              <a:extLst>
                <a:ext uri="{FF2B5EF4-FFF2-40B4-BE49-F238E27FC236}">
                  <a16:creationId xmlns:a16="http://schemas.microsoft.com/office/drawing/2014/main" id="{1C4A8735-C57A-4935-AFC7-2176AF8D4417}"/>
                </a:ext>
              </a:extLst>
            </p:cNvPr>
            <p:cNvSpPr/>
            <p:nvPr/>
          </p:nvSpPr>
          <p:spPr>
            <a:xfrm rot="8716295">
              <a:off x="2679019" y="314113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1" name="Forme libre : forme 1990">
              <a:extLst>
                <a:ext uri="{FF2B5EF4-FFF2-40B4-BE49-F238E27FC236}">
                  <a16:creationId xmlns:a16="http://schemas.microsoft.com/office/drawing/2014/main" id="{D2EFDA7C-C0DA-4517-B39F-8AA29A37F871}"/>
                </a:ext>
              </a:extLst>
            </p:cNvPr>
            <p:cNvSpPr/>
            <p:nvPr/>
          </p:nvSpPr>
          <p:spPr>
            <a:xfrm rot="8716295">
              <a:off x="2768411" y="317037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2" name="Forme libre : forme 1991">
              <a:extLst>
                <a:ext uri="{FF2B5EF4-FFF2-40B4-BE49-F238E27FC236}">
                  <a16:creationId xmlns:a16="http://schemas.microsoft.com/office/drawing/2014/main" id="{9E2A10CA-68B2-4C68-BA6C-C3E1F2D27D89}"/>
                </a:ext>
              </a:extLst>
            </p:cNvPr>
            <p:cNvSpPr/>
            <p:nvPr/>
          </p:nvSpPr>
          <p:spPr>
            <a:xfrm rot="8716295">
              <a:off x="2566785" y="322967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3" name="Forme libre : forme 1992">
              <a:extLst>
                <a:ext uri="{FF2B5EF4-FFF2-40B4-BE49-F238E27FC236}">
                  <a16:creationId xmlns:a16="http://schemas.microsoft.com/office/drawing/2014/main" id="{3F7AB8ED-356B-4D46-8FC5-6AE0991600DC}"/>
                </a:ext>
              </a:extLst>
            </p:cNvPr>
            <p:cNvSpPr/>
            <p:nvPr/>
          </p:nvSpPr>
          <p:spPr>
            <a:xfrm rot="8716295">
              <a:off x="2441883" y="302100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4" name="Forme libre : forme 1993">
              <a:extLst>
                <a:ext uri="{FF2B5EF4-FFF2-40B4-BE49-F238E27FC236}">
                  <a16:creationId xmlns:a16="http://schemas.microsoft.com/office/drawing/2014/main" id="{0667F8A9-A3D6-4CD1-A62C-AB95858D3D97}"/>
                </a:ext>
              </a:extLst>
            </p:cNvPr>
            <p:cNvSpPr/>
            <p:nvPr/>
          </p:nvSpPr>
          <p:spPr>
            <a:xfrm rot="8716295">
              <a:off x="2656963" y="327062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5" name="Forme libre : forme 1994">
              <a:extLst>
                <a:ext uri="{FF2B5EF4-FFF2-40B4-BE49-F238E27FC236}">
                  <a16:creationId xmlns:a16="http://schemas.microsoft.com/office/drawing/2014/main" id="{A540D1F3-372D-4344-A9BE-E8429D9DAC50}"/>
                </a:ext>
              </a:extLst>
            </p:cNvPr>
            <p:cNvSpPr/>
            <p:nvPr/>
          </p:nvSpPr>
          <p:spPr>
            <a:xfrm rot="8716295">
              <a:off x="2415512" y="312102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6" name="Forme libre : forme 1995">
              <a:extLst>
                <a:ext uri="{FF2B5EF4-FFF2-40B4-BE49-F238E27FC236}">
                  <a16:creationId xmlns:a16="http://schemas.microsoft.com/office/drawing/2014/main" id="{F76BD59F-FFC1-4CE1-8C41-23CB9C2F9B51}"/>
                </a:ext>
              </a:extLst>
            </p:cNvPr>
            <p:cNvSpPr/>
            <p:nvPr/>
          </p:nvSpPr>
          <p:spPr>
            <a:xfrm rot="7484129">
              <a:off x="2761894" y="346198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7" name="Forme libre : forme 1996">
              <a:extLst>
                <a:ext uri="{FF2B5EF4-FFF2-40B4-BE49-F238E27FC236}">
                  <a16:creationId xmlns:a16="http://schemas.microsoft.com/office/drawing/2014/main" id="{CFD91B65-FE62-43E9-86AA-168C08A898C5}"/>
                </a:ext>
              </a:extLst>
            </p:cNvPr>
            <p:cNvSpPr/>
            <p:nvPr/>
          </p:nvSpPr>
          <p:spPr>
            <a:xfrm rot="13089394">
              <a:off x="2866714" y="342851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8" name="Forme libre : forme 1997">
              <a:extLst>
                <a:ext uri="{FF2B5EF4-FFF2-40B4-BE49-F238E27FC236}">
                  <a16:creationId xmlns:a16="http://schemas.microsoft.com/office/drawing/2014/main" id="{ABDB9D07-6990-4038-B361-E68047E03370}"/>
                </a:ext>
              </a:extLst>
            </p:cNvPr>
            <p:cNvSpPr/>
            <p:nvPr/>
          </p:nvSpPr>
          <p:spPr>
            <a:xfrm rot="8716295">
              <a:off x="3052299" y="323683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9" name="Forme libre : forme 1998">
              <a:extLst>
                <a:ext uri="{FF2B5EF4-FFF2-40B4-BE49-F238E27FC236}">
                  <a16:creationId xmlns:a16="http://schemas.microsoft.com/office/drawing/2014/main" id="{9E209DF9-C02A-427A-982B-D70411DD7FC6}"/>
                </a:ext>
              </a:extLst>
            </p:cNvPr>
            <p:cNvSpPr/>
            <p:nvPr/>
          </p:nvSpPr>
          <p:spPr>
            <a:xfrm rot="8716295">
              <a:off x="3000494" y="313324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0" name="Forme libre : forme 1999">
              <a:extLst>
                <a:ext uri="{FF2B5EF4-FFF2-40B4-BE49-F238E27FC236}">
                  <a16:creationId xmlns:a16="http://schemas.microsoft.com/office/drawing/2014/main" id="{0816D569-EC61-48BE-ADD6-D76200607819}"/>
                </a:ext>
              </a:extLst>
            </p:cNvPr>
            <p:cNvSpPr/>
            <p:nvPr/>
          </p:nvSpPr>
          <p:spPr>
            <a:xfrm rot="8716295">
              <a:off x="2757248" y="316346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1" name="Forme libre : forme 2000">
              <a:extLst>
                <a:ext uri="{FF2B5EF4-FFF2-40B4-BE49-F238E27FC236}">
                  <a16:creationId xmlns:a16="http://schemas.microsoft.com/office/drawing/2014/main" id="{754B7186-FE18-4821-86FB-CFDCD573AE03}"/>
                </a:ext>
              </a:extLst>
            </p:cNvPr>
            <p:cNvSpPr/>
            <p:nvPr/>
          </p:nvSpPr>
          <p:spPr>
            <a:xfrm rot="8716295">
              <a:off x="2934700" y="300421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2" name="Forme libre : forme 2001">
              <a:extLst>
                <a:ext uri="{FF2B5EF4-FFF2-40B4-BE49-F238E27FC236}">
                  <a16:creationId xmlns:a16="http://schemas.microsoft.com/office/drawing/2014/main" id="{FBC27CB7-DE80-4996-AF2F-0748F399B9D0}"/>
                </a:ext>
              </a:extLst>
            </p:cNvPr>
            <p:cNvSpPr/>
            <p:nvPr/>
          </p:nvSpPr>
          <p:spPr>
            <a:xfrm rot="8716295">
              <a:off x="2865744" y="5089178"/>
              <a:ext cx="140009" cy="103412"/>
            </a:xfrm>
            <a:custGeom>
              <a:avLst/>
              <a:gdLst>
                <a:gd name="connsiteX0" fmla="*/ 23004 w 140009"/>
                <a:gd name="connsiteY0" fmla="*/ 73821 h 103412"/>
                <a:gd name="connsiteX1" fmla="*/ 2853 w 140009"/>
                <a:gd name="connsiteY1" fmla="*/ 34034 h 103412"/>
                <a:gd name="connsiteX2" fmla="*/ 0 w 140009"/>
                <a:gd name="connsiteY2" fmla="*/ 0 h 103412"/>
                <a:gd name="connsiteX3" fmla="*/ 140009 w 140009"/>
                <a:gd name="connsiteY3" fmla="*/ 97050 h 103412"/>
                <a:gd name="connsiteX4" fmla="*/ 137354 w 140009"/>
                <a:gd name="connsiteY4" fmla="*/ 97759 h 103412"/>
                <a:gd name="connsiteX5" fmla="*/ 95370 w 140009"/>
                <a:gd name="connsiteY5" fmla="*/ 103238 h 103412"/>
                <a:gd name="connsiteX6" fmla="*/ 23004 w 140009"/>
                <a:gd name="connsiteY6" fmla="*/ 73821 h 103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0009" h="103412">
                  <a:moveTo>
                    <a:pt x="23004" y="73821"/>
                  </a:moveTo>
                  <a:cubicBezTo>
                    <a:pt x="13002" y="64113"/>
                    <a:pt x="6677" y="50875"/>
                    <a:pt x="2853" y="34034"/>
                  </a:cubicBezTo>
                  <a:lnTo>
                    <a:pt x="0" y="0"/>
                  </a:lnTo>
                  <a:lnTo>
                    <a:pt x="140009" y="97050"/>
                  </a:lnTo>
                  <a:lnTo>
                    <a:pt x="137354" y="97759"/>
                  </a:lnTo>
                  <a:cubicBezTo>
                    <a:pt x="121846" y="100775"/>
                    <a:pt x="107579" y="102502"/>
                    <a:pt x="95370" y="103238"/>
                  </a:cubicBezTo>
                  <a:cubicBezTo>
                    <a:pt x="68307" y="105003"/>
                    <a:pt x="41831" y="93236"/>
                    <a:pt x="23004" y="7382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3" name="Forme libre : forme 2002">
              <a:extLst>
                <a:ext uri="{FF2B5EF4-FFF2-40B4-BE49-F238E27FC236}">
                  <a16:creationId xmlns:a16="http://schemas.microsoft.com/office/drawing/2014/main" id="{FC34D642-1FF4-4BEB-9F05-423F26B37AFF}"/>
                </a:ext>
              </a:extLst>
            </p:cNvPr>
            <p:cNvSpPr/>
            <p:nvPr/>
          </p:nvSpPr>
          <p:spPr>
            <a:xfrm rot="8716295">
              <a:off x="3543190" y="5126545"/>
              <a:ext cx="17522" cy="24091"/>
            </a:xfrm>
            <a:custGeom>
              <a:avLst/>
              <a:gdLst>
                <a:gd name="connsiteX0" fmla="*/ 0 w 17522"/>
                <a:gd name="connsiteY0" fmla="*/ 24091 h 24091"/>
                <a:gd name="connsiteX1" fmla="*/ 1 w 17522"/>
                <a:gd name="connsiteY1" fmla="*/ 0 h 24091"/>
                <a:gd name="connsiteX2" fmla="*/ 17522 w 17522"/>
                <a:gd name="connsiteY2" fmla="*/ 12145 h 24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522" h="24091">
                  <a:moveTo>
                    <a:pt x="0" y="24091"/>
                  </a:moveTo>
                  <a:lnTo>
                    <a:pt x="1" y="0"/>
                  </a:lnTo>
                  <a:lnTo>
                    <a:pt x="17522" y="1214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4" name="Forme libre : forme 2003">
              <a:extLst>
                <a:ext uri="{FF2B5EF4-FFF2-40B4-BE49-F238E27FC236}">
                  <a16:creationId xmlns:a16="http://schemas.microsoft.com/office/drawing/2014/main" id="{D14CA223-64E0-41AF-9A9C-EBE4113F2FFF}"/>
                </a:ext>
              </a:extLst>
            </p:cNvPr>
            <p:cNvSpPr/>
            <p:nvPr/>
          </p:nvSpPr>
          <p:spPr>
            <a:xfrm rot="8716295">
              <a:off x="3163011" y="4980512"/>
              <a:ext cx="135472" cy="195874"/>
            </a:xfrm>
            <a:custGeom>
              <a:avLst/>
              <a:gdLst>
                <a:gd name="connsiteX0" fmla="*/ 90710 w 135472"/>
                <a:gd name="connsiteY0" fmla="*/ 195874 h 195874"/>
                <a:gd name="connsiteX1" fmla="*/ 47847 w 135472"/>
                <a:gd name="connsiteY1" fmla="*/ 116129 h 195874"/>
                <a:gd name="connsiteX2" fmla="*/ 69777 w 135472"/>
                <a:gd name="connsiteY2" fmla="*/ 55323 h 195874"/>
                <a:gd name="connsiteX3" fmla="*/ 0 w 135472"/>
                <a:gd name="connsiteY3" fmla="*/ 55323 h 195874"/>
                <a:gd name="connsiteX4" fmla="*/ 0 w 135472"/>
                <a:gd name="connsiteY4" fmla="*/ 0 h 195874"/>
                <a:gd name="connsiteX5" fmla="*/ 40633 w 135472"/>
                <a:gd name="connsiteY5" fmla="*/ 0 h 195874"/>
                <a:gd name="connsiteX6" fmla="*/ 135472 w 135472"/>
                <a:gd name="connsiteY6" fmla="*/ 65739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472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40633" y="0"/>
                  </a:lnTo>
                  <a:lnTo>
                    <a:pt x="135472" y="657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5" name="Forme libre : forme 2004">
              <a:extLst>
                <a:ext uri="{FF2B5EF4-FFF2-40B4-BE49-F238E27FC236}">
                  <a16:creationId xmlns:a16="http://schemas.microsoft.com/office/drawing/2014/main" id="{513E0836-7C56-4736-B55C-909FB1DE7F5E}"/>
                </a:ext>
              </a:extLst>
            </p:cNvPr>
            <p:cNvSpPr/>
            <p:nvPr/>
          </p:nvSpPr>
          <p:spPr>
            <a:xfrm rot="8716295">
              <a:off x="3075185" y="5096420"/>
              <a:ext cx="71527" cy="66237"/>
            </a:xfrm>
            <a:custGeom>
              <a:avLst/>
              <a:gdLst>
                <a:gd name="connsiteX0" fmla="*/ 11471 w 71527"/>
                <a:gd name="connsiteY0" fmla="*/ 55370 h 66237"/>
                <a:gd name="connsiteX1" fmla="*/ 0 w 71527"/>
                <a:gd name="connsiteY1" fmla="*/ 28202 h 66237"/>
                <a:gd name="connsiteX2" fmla="*/ 0 w 71527"/>
                <a:gd name="connsiteY2" fmla="*/ 27599 h 66237"/>
                <a:gd name="connsiteX3" fmla="*/ 11471 w 71527"/>
                <a:gd name="connsiteY3" fmla="*/ 431 h 66237"/>
                <a:gd name="connsiteX4" fmla="*/ 12491 w 71527"/>
                <a:gd name="connsiteY4" fmla="*/ 0 h 66237"/>
                <a:gd name="connsiteX5" fmla="*/ 71527 w 71527"/>
                <a:gd name="connsiteY5" fmla="*/ 40922 h 66237"/>
                <a:gd name="connsiteX6" fmla="*/ 65806 w 71527"/>
                <a:gd name="connsiteY6" fmla="*/ 54766 h 66237"/>
                <a:gd name="connsiteX7" fmla="*/ 38638 w 71527"/>
                <a:gd name="connsiteY7" fmla="*/ 66237 h 66237"/>
                <a:gd name="connsiteX8" fmla="*/ 11471 w 71527"/>
                <a:gd name="connsiteY8" fmla="*/ 55370 h 66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527" h="66237">
                  <a:moveTo>
                    <a:pt x="11471" y="55370"/>
                  </a:moveTo>
                  <a:cubicBezTo>
                    <a:pt x="4226" y="48125"/>
                    <a:pt x="0" y="38465"/>
                    <a:pt x="0" y="28202"/>
                  </a:cubicBezTo>
                  <a:lnTo>
                    <a:pt x="0" y="27599"/>
                  </a:lnTo>
                  <a:cubicBezTo>
                    <a:pt x="0" y="17335"/>
                    <a:pt x="4226" y="7676"/>
                    <a:pt x="11471" y="431"/>
                  </a:cubicBezTo>
                  <a:lnTo>
                    <a:pt x="12491" y="0"/>
                  </a:lnTo>
                  <a:lnTo>
                    <a:pt x="71527" y="40922"/>
                  </a:lnTo>
                  <a:lnTo>
                    <a:pt x="65806" y="54766"/>
                  </a:lnTo>
                  <a:cubicBezTo>
                    <a:pt x="58561" y="62011"/>
                    <a:pt x="48902" y="66237"/>
                    <a:pt x="38638" y="66237"/>
                  </a:cubicBezTo>
                  <a:cubicBezTo>
                    <a:pt x="28375" y="66237"/>
                    <a:pt x="18716" y="62614"/>
                    <a:pt x="11471" y="55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6" name="Forme libre : forme 2005">
              <a:extLst>
                <a:ext uri="{FF2B5EF4-FFF2-40B4-BE49-F238E27FC236}">
                  <a16:creationId xmlns:a16="http://schemas.microsoft.com/office/drawing/2014/main" id="{1D0766CB-D2AF-47CF-8AD9-42DA34AEC513}"/>
                </a:ext>
              </a:extLst>
            </p:cNvPr>
            <p:cNvSpPr/>
            <p:nvPr/>
          </p:nvSpPr>
          <p:spPr>
            <a:xfrm rot="8716295">
              <a:off x="3669562" y="5103164"/>
              <a:ext cx="86480" cy="68720"/>
            </a:xfrm>
            <a:custGeom>
              <a:avLst/>
              <a:gdLst>
                <a:gd name="connsiteX0" fmla="*/ 17477 w 86480"/>
                <a:gd name="connsiteY0" fmla="*/ 52162 h 68720"/>
                <a:gd name="connsiteX1" fmla="*/ 0 w 86480"/>
                <a:gd name="connsiteY1" fmla="*/ 10771 h 68720"/>
                <a:gd name="connsiteX2" fmla="*/ 0 w 86480"/>
                <a:gd name="connsiteY2" fmla="*/ 9850 h 68720"/>
                <a:gd name="connsiteX3" fmla="*/ 4159 w 86480"/>
                <a:gd name="connsiteY3" fmla="*/ 0 h 68720"/>
                <a:gd name="connsiteX4" fmla="*/ 86480 w 86480"/>
                <a:gd name="connsiteY4" fmla="*/ 57062 h 68720"/>
                <a:gd name="connsiteX5" fmla="*/ 58869 w 86480"/>
                <a:gd name="connsiteY5" fmla="*/ 68720 h 68720"/>
                <a:gd name="connsiteX6" fmla="*/ 17477 w 86480"/>
                <a:gd name="connsiteY6" fmla="*/ 52162 h 68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6480" h="68720">
                  <a:moveTo>
                    <a:pt x="17477" y="52162"/>
                  </a:moveTo>
                  <a:cubicBezTo>
                    <a:pt x="6439" y="41124"/>
                    <a:pt x="0" y="26407"/>
                    <a:pt x="0" y="10771"/>
                  </a:cubicBezTo>
                  <a:lnTo>
                    <a:pt x="0" y="9850"/>
                  </a:lnTo>
                  <a:lnTo>
                    <a:pt x="4159" y="0"/>
                  </a:lnTo>
                  <a:lnTo>
                    <a:pt x="86480" y="57062"/>
                  </a:lnTo>
                  <a:lnTo>
                    <a:pt x="58869" y="68720"/>
                  </a:lnTo>
                  <a:cubicBezTo>
                    <a:pt x="43232" y="68720"/>
                    <a:pt x="28516" y="63201"/>
                    <a:pt x="17477" y="5216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7" name="Forme libre : forme 2006">
              <a:extLst>
                <a:ext uri="{FF2B5EF4-FFF2-40B4-BE49-F238E27FC236}">
                  <a16:creationId xmlns:a16="http://schemas.microsoft.com/office/drawing/2014/main" id="{75D179FB-7542-44F2-B462-1CA040B3A61D}"/>
                </a:ext>
              </a:extLst>
            </p:cNvPr>
            <p:cNvSpPr/>
            <p:nvPr/>
          </p:nvSpPr>
          <p:spPr>
            <a:xfrm rot="8716295">
              <a:off x="3598055" y="498328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8" name="Forme libre : forme 2007">
              <a:extLst>
                <a:ext uri="{FF2B5EF4-FFF2-40B4-BE49-F238E27FC236}">
                  <a16:creationId xmlns:a16="http://schemas.microsoft.com/office/drawing/2014/main" id="{66DEB414-FFEC-4800-B8DC-149EC3D26B06}"/>
                </a:ext>
              </a:extLst>
            </p:cNvPr>
            <p:cNvSpPr/>
            <p:nvPr/>
          </p:nvSpPr>
          <p:spPr>
            <a:xfrm rot="8716295">
              <a:off x="2608590" y="404968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9" name="Forme libre : forme 2008">
              <a:extLst>
                <a:ext uri="{FF2B5EF4-FFF2-40B4-BE49-F238E27FC236}">
                  <a16:creationId xmlns:a16="http://schemas.microsoft.com/office/drawing/2014/main" id="{8BB6B1A3-DAB2-4452-ADE2-A05800A3707A}"/>
                </a:ext>
              </a:extLst>
            </p:cNvPr>
            <p:cNvSpPr/>
            <p:nvPr/>
          </p:nvSpPr>
          <p:spPr>
            <a:xfrm rot="8716295">
              <a:off x="2697982" y="407892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0" name="Forme libre : forme 2009">
              <a:extLst>
                <a:ext uri="{FF2B5EF4-FFF2-40B4-BE49-F238E27FC236}">
                  <a16:creationId xmlns:a16="http://schemas.microsoft.com/office/drawing/2014/main" id="{A805B39B-757C-40B3-9D31-DFFF22EBA5CA}"/>
                </a:ext>
              </a:extLst>
            </p:cNvPr>
            <p:cNvSpPr/>
            <p:nvPr/>
          </p:nvSpPr>
          <p:spPr>
            <a:xfrm rot="8716295">
              <a:off x="2653132" y="399264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1" name="Forme libre : forme 2010">
              <a:extLst>
                <a:ext uri="{FF2B5EF4-FFF2-40B4-BE49-F238E27FC236}">
                  <a16:creationId xmlns:a16="http://schemas.microsoft.com/office/drawing/2014/main" id="{62D6EFC1-7ABC-4CF6-9962-40B0CA7DF8A9}"/>
                </a:ext>
              </a:extLst>
            </p:cNvPr>
            <p:cNvSpPr/>
            <p:nvPr/>
          </p:nvSpPr>
          <p:spPr>
            <a:xfrm rot="8716295">
              <a:off x="2496356" y="413822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2" name="Forme libre : forme 2011">
              <a:extLst>
                <a:ext uri="{FF2B5EF4-FFF2-40B4-BE49-F238E27FC236}">
                  <a16:creationId xmlns:a16="http://schemas.microsoft.com/office/drawing/2014/main" id="{529496F8-2EED-482E-99E3-1BCB5EE5585B}"/>
                </a:ext>
              </a:extLst>
            </p:cNvPr>
            <p:cNvSpPr/>
            <p:nvPr/>
          </p:nvSpPr>
          <p:spPr>
            <a:xfrm rot="8716295">
              <a:off x="2371453" y="392955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3" name="Forme libre : forme 2012">
              <a:extLst>
                <a:ext uri="{FF2B5EF4-FFF2-40B4-BE49-F238E27FC236}">
                  <a16:creationId xmlns:a16="http://schemas.microsoft.com/office/drawing/2014/main" id="{F8D2DD7F-D920-4C6F-BDCE-E0D8665E0076}"/>
                </a:ext>
              </a:extLst>
            </p:cNvPr>
            <p:cNvSpPr/>
            <p:nvPr/>
          </p:nvSpPr>
          <p:spPr>
            <a:xfrm rot="8716295">
              <a:off x="2359401" y="379077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4" name="Forme libre : forme 2013">
              <a:extLst>
                <a:ext uri="{FF2B5EF4-FFF2-40B4-BE49-F238E27FC236}">
                  <a16:creationId xmlns:a16="http://schemas.microsoft.com/office/drawing/2014/main" id="{B1DDFBEC-2422-4F95-B394-0CDEBBB8444C}"/>
                </a:ext>
              </a:extLst>
            </p:cNvPr>
            <p:cNvSpPr/>
            <p:nvPr/>
          </p:nvSpPr>
          <p:spPr>
            <a:xfrm rot="8716295">
              <a:off x="2586534" y="417917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5" name="Forme libre : forme 2014">
              <a:extLst>
                <a:ext uri="{FF2B5EF4-FFF2-40B4-BE49-F238E27FC236}">
                  <a16:creationId xmlns:a16="http://schemas.microsoft.com/office/drawing/2014/main" id="{769AC63A-D399-4F6F-B5A6-18B9EEEAF8DE}"/>
                </a:ext>
              </a:extLst>
            </p:cNvPr>
            <p:cNvSpPr/>
            <p:nvPr/>
          </p:nvSpPr>
          <p:spPr>
            <a:xfrm rot="8716295">
              <a:off x="2897689" y="379952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6" name="Forme libre : forme 2015">
              <a:extLst>
                <a:ext uri="{FF2B5EF4-FFF2-40B4-BE49-F238E27FC236}">
                  <a16:creationId xmlns:a16="http://schemas.microsoft.com/office/drawing/2014/main" id="{FCE508E9-A69E-4853-B8E9-C26E72CDD220}"/>
                </a:ext>
              </a:extLst>
            </p:cNvPr>
            <p:cNvSpPr/>
            <p:nvPr/>
          </p:nvSpPr>
          <p:spPr>
            <a:xfrm rot="8716295">
              <a:off x="2987081" y="382877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7" name="Forme libre : forme 2016">
              <a:extLst>
                <a:ext uri="{FF2B5EF4-FFF2-40B4-BE49-F238E27FC236}">
                  <a16:creationId xmlns:a16="http://schemas.microsoft.com/office/drawing/2014/main" id="{69B0C070-E5DD-4902-8901-32B0B2DF2181}"/>
                </a:ext>
              </a:extLst>
            </p:cNvPr>
            <p:cNvSpPr/>
            <p:nvPr/>
          </p:nvSpPr>
          <p:spPr>
            <a:xfrm rot="8716295">
              <a:off x="2785455" y="388807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8" name="Forme libre : forme 2017">
              <a:extLst>
                <a:ext uri="{FF2B5EF4-FFF2-40B4-BE49-F238E27FC236}">
                  <a16:creationId xmlns:a16="http://schemas.microsoft.com/office/drawing/2014/main" id="{351C262C-137B-4595-9945-0B58E9E9498A}"/>
                </a:ext>
              </a:extLst>
            </p:cNvPr>
            <p:cNvSpPr/>
            <p:nvPr/>
          </p:nvSpPr>
          <p:spPr>
            <a:xfrm rot="8716295">
              <a:off x="2660553" y="367940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9" name="Forme libre : forme 2018">
              <a:extLst>
                <a:ext uri="{FF2B5EF4-FFF2-40B4-BE49-F238E27FC236}">
                  <a16:creationId xmlns:a16="http://schemas.microsoft.com/office/drawing/2014/main" id="{9E27D744-0584-4AC9-A7EF-FEF550ED480C}"/>
                </a:ext>
              </a:extLst>
            </p:cNvPr>
            <p:cNvSpPr/>
            <p:nvPr/>
          </p:nvSpPr>
          <p:spPr>
            <a:xfrm rot="8716295">
              <a:off x="2875633" y="392902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0" name="Forme libre : forme 2019">
              <a:extLst>
                <a:ext uri="{FF2B5EF4-FFF2-40B4-BE49-F238E27FC236}">
                  <a16:creationId xmlns:a16="http://schemas.microsoft.com/office/drawing/2014/main" id="{47FD6DDE-8088-4171-9B74-ED4CB352D0E1}"/>
                </a:ext>
              </a:extLst>
            </p:cNvPr>
            <p:cNvSpPr/>
            <p:nvPr/>
          </p:nvSpPr>
          <p:spPr>
            <a:xfrm rot="8716295">
              <a:off x="2634182" y="377942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1" name="Forme libre : forme 2020">
              <a:extLst>
                <a:ext uri="{FF2B5EF4-FFF2-40B4-BE49-F238E27FC236}">
                  <a16:creationId xmlns:a16="http://schemas.microsoft.com/office/drawing/2014/main" id="{2332725B-11C5-436B-8C7A-C0F3009C3764}"/>
                </a:ext>
              </a:extLst>
            </p:cNvPr>
            <p:cNvSpPr/>
            <p:nvPr/>
          </p:nvSpPr>
          <p:spPr>
            <a:xfrm rot="7484129">
              <a:off x="2980564" y="41203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2" name="Forme libre : forme 2021">
              <a:extLst>
                <a:ext uri="{FF2B5EF4-FFF2-40B4-BE49-F238E27FC236}">
                  <a16:creationId xmlns:a16="http://schemas.microsoft.com/office/drawing/2014/main" id="{2D6DB575-2CD4-46B8-BF50-BF9C03A4A660}"/>
                </a:ext>
              </a:extLst>
            </p:cNvPr>
            <p:cNvSpPr/>
            <p:nvPr/>
          </p:nvSpPr>
          <p:spPr>
            <a:xfrm rot="13089394">
              <a:off x="3085384" y="408691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3" name="Forme libre : forme 2022">
              <a:extLst>
                <a:ext uri="{FF2B5EF4-FFF2-40B4-BE49-F238E27FC236}">
                  <a16:creationId xmlns:a16="http://schemas.microsoft.com/office/drawing/2014/main" id="{8AA469D7-AA06-49C5-A232-2AB138FF0560}"/>
                </a:ext>
              </a:extLst>
            </p:cNvPr>
            <p:cNvSpPr/>
            <p:nvPr/>
          </p:nvSpPr>
          <p:spPr>
            <a:xfrm rot="8716295">
              <a:off x="3270969" y="389522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4" name="Forme libre : forme 2023">
              <a:extLst>
                <a:ext uri="{FF2B5EF4-FFF2-40B4-BE49-F238E27FC236}">
                  <a16:creationId xmlns:a16="http://schemas.microsoft.com/office/drawing/2014/main" id="{DAA290D6-64E1-496C-9C04-F98B1C63180B}"/>
                </a:ext>
              </a:extLst>
            </p:cNvPr>
            <p:cNvSpPr/>
            <p:nvPr/>
          </p:nvSpPr>
          <p:spPr>
            <a:xfrm rot="8716295">
              <a:off x="3219164" y="379163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5" name="Forme libre : forme 2024">
              <a:extLst>
                <a:ext uri="{FF2B5EF4-FFF2-40B4-BE49-F238E27FC236}">
                  <a16:creationId xmlns:a16="http://schemas.microsoft.com/office/drawing/2014/main" id="{3A0674DB-72FD-47E3-AD95-3835522B3982}"/>
                </a:ext>
              </a:extLst>
            </p:cNvPr>
            <p:cNvSpPr/>
            <p:nvPr/>
          </p:nvSpPr>
          <p:spPr>
            <a:xfrm rot="8716295">
              <a:off x="2975918" y="382185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6" name="Forme libre : forme 2025">
              <a:extLst>
                <a:ext uri="{FF2B5EF4-FFF2-40B4-BE49-F238E27FC236}">
                  <a16:creationId xmlns:a16="http://schemas.microsoft.com/office/drawing/2014/main" id="{DD0ABA36-1047-4667-A038-B5E4D3CCFC34}"/>
                </a:ext>
              </a:extLst>
            </p:cNvPr>
            <p:cNvSpPr/>
            <p:nvPr/>
          </p:nvSpPr>
          <p:spPr>
            <a:xfrm rot="8716295">
              <a:off x="3153370" y="366261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7" name="Forme libre : forme 2026">
              <a:extLst>
                <a:ext uri="{FF2B5EF4-FFF2-40B4-BE49-F238E27FC236}">
                  <a16:creationId xmlns:a16="http://schemas.microsoft.com/office/drawing/2014/main" id="{DCA88CB0-996E-4CBF-8E1B-054627A90FA6}"/>
                </a:ext>
              </a:extLst>
            </p:cNvPr>
            <p:cNvSpPr/>
            <p:nvPr/>
          </p:nvSpPr>
          <p:spPr>
            <a:xfrm rot="8716295">
              <a:off x="2831757" y="470938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8" name="Forme libre : forme 2027">
              <a:extLst>
                <a:ext uri="{FF2B5EF4-FFF2-40B4-BE49-F238E27FC236}">
                  <a16:creationId xmlns:a16="http://schemas.microsoft.com/office/drawing/2014/main" id="{2E1B38FC-3E96-4E74-B515-EB0F8E9F66DF}"/>
                </a:ext>
              </a:extLst>
            </p:cNvPr>
            <p:cNvSpPr/>
            <p:nvPr/>
          </p:nvSpPr>
          <p:spPr>
            <a:xfrm rot="8716295">
              <a:off x="2921149" y="473862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9" name="Forme libre : forme 2028">
              <a:extLst>
                <a:ext uri="{FF2B5EF4-FFF2-40B4-BE49-F238E27FC236}">
                  <a16:creationId xmlns:a16="http://schemas.microsoft.com/office/drawing/2014/main" id="{CDF29BC1-CD69-4D64-875F-1792585745C3}"/>
                </a:ext>
              </a:extLst>
            </p:cNvPr>
            <p:cNvSpPr/>
            <p:nvPr/>
          </p:nvSpPr>
          <p:spPr>
            <a:xfrm rot="8716295">
              <a:off x="2876299" y="465234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0" name="Forme libre : forme 2029">
              <a:extLst>
                <a:ext uri="{FF2B5EF4-FFF2-40B4-BE49-F238E27FC236}">
                  <a16:creationId xmlns:a16="http://schemas.microsoft.com/office/drawing/2014/main" id="{19422572-0729-400B-A56A-9BE0F95C2A16}"/>
                </a:ext>
              </a:extLst>
            </p:cNvPr>
            <p:cNvSpPr/>
            <p:nvPr/>
          </p:nvSpPr>
          <p:spPr>
            <a:xfrm rot="8716295">
              <a:off x="2719523" y="479792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1" name="Forme libre : forme 2030">
              <a:extLst>
                <a:ext uri="{FF2B5EF4-FFF2-40B4-BE49-F238E27FC236}">
                  <a16:creationId xmlns:a16="http://schemas.microsoft.com/office/drawing/2014/main" id="{E606445F-5950-4211-A90A-075E8FDA5A46}"/>
                </a:ext>
              </a:extLst>
            </p:cNvPr>
            <p:cNvSpPr/>
            <p:nvPr/>
          </p:nvSpPr>
          <p:spPr>
            <a:xfrm rot="8716295">
              <a:off x="2594620" y="458925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2" name="Forme libre : forme 2031">
              <a:extLst>
                <a:ext uri="{FF2B5EF4-FFF2-40B4-BE49-F238E27FC236}">
                  <a16:creationId xmlns:a16="http://schemas.microsoft.com/office/drawing/2014/main" id="{8CA2BC66-A99C-485B-BFBF-CC740FFCF083}"/>
                </a:ext>
              </a:extLst>
            </p:cNvPr>
            <p:cNvSpPr/>
            <p:nvPr/>
          </p:nvSpPr>
          <p:spPr>
            <a:xfrm rot="8716295">
              <a:off x="2582568" y="4450471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3" name="Forme libre : forme 2032">
              <a:extLst>
                <a:ext uri="{FF2B5EF4-FFF2-40B4-BE49-F238E27FC236}">
                  <a16:creationId xmlns:a16="http://schemas.microsoft.com/office/drawing/2014/main" id="{71C2114D-64EC-4824-A707-E5E2E8D2CEF6}"/>
                </a:ext>
              </a:extLst>
            </p:cNvPr>
            <p:cNvSpPr/>
            <p:nvPr/>
          </p:nvSpPr>
          <p:spPr>
            <a:xfrm rot="8716295">
              <a:off x="2809701" y="483887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4" name="Forme libre : forme 2033">
              <a:extLst>
                <a:ext uri="{FF2B5EF4-FFF2-40B4-BE49-F238E27FC236}">
                  <a16:creationId xmlns:a16="http://schemas.microsoft.com/office/drawing/2014/main" id="{9B7D5F64-A7C5-45A2-B1CB-7832AA424557}"/>
                </a:ext>
              </a:extLst>
            </p:cNvPr>
            <p:cNvSpPr/>
            <p:nvPr/>
          </p:nvSpPr>
          <p:spPr>
            <a:xfrm rot="8716295">
              <a:off x="3120856" y="445922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5" name="Forme libre : forme 2034">
              <a:extLst>
                <a:ext uri="{FF2B5EF4-FFF2-40B4-BE49-F238E27FC236}">
                  <a16:creationId xmlns:a16="http://schemas.microsoft.com/office/drawing/2014/main" id="{418878C1-309F-4F6D-82F6-074894DEFD09}"/>
                </a:ext>
              </a:extLst>
            </p:cNvPr>
            <p:cNvSpPr/>
            <p:nvPr/>
          </p:nvSpPr>
          <p:spPr>
            <a:xfrm rot="8716295">
              <a:off x="3210248" y="448847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6" name="Forme libre : forme 2035">
              <a:extLst>
                <a:ext uri="{FF2B5EF4-FFF2-40B4-BE49-F238E27FC236}">
                  <a16:creationId xmlns:a16="http://schemas.microsoft.com/office/drawing/2014/main" id="{BEDFC6C0-0504-41A7-AFF6-DA58077E2F9E}"/>
                </a:ext>
              </a:extLst>
            </p:cNvPr>
            <p:cNvSpPr/>
            <p:nvPr/>
          </p:nvSpPr>
          <p:spPr>
            <a:xfrm rot="8716295">
              <a:off x="3008622" y="45477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7" name="Forme libre : forme 2036">
              <a:extLst>
                <a:ext uri="{FF2B5EF4-FFF2-40B4-BE49-F238E27FC236}">
                  <a16:creationId xmlns:a16="http://schemas.microsoft.com/office/drawing/2014/main" id="{0901EFA0-9ABF-4779-9CD7-AEF35261A01F}"/>
                </a:ext>
              </a:extLst>
            </p:cNvPr>
            <p:cNvSpPr/>
            <p:nvPr/>
          </p:nvSpPr>
          <p:spPr>
            <a:xfrm rot="8716295">
              <a:off x="2883720" y="43390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8" name="Forme libre : forme 2037">
              <a:extLst>
                <a:ext uri="{FF2B5EF4-FFF2-40B4-BE49-F238E27FC236}">
                  <a16:creationId xmlns:a16="http://schemas.microsoft.com/office/drawing/2014/main" id="{749728BB-B44C-458D-B875-8F2A71694EB4}"/>
                </a:ext>
              </a:extLst>
            </p:cNvPr>
            <p:cNvSpPr/>
            <p:nvPr/>
          </p:nvSpPr>
          <p:spPr>
            <a:xfrm rot="8716295">
              <a:off x="3098800" y="458872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9" name="Forme libre : forme 2038">
              <a:extLst>
                <a:ext uri="{FF2B5EF4-FFF2-40B4-BE49-F238E27FC236}">
                  <a16:creationId xmlns:a16="http://schemas.microsoft.com/office/drawing/2014/main" id="{C380CDA8-7EF5-48C9-B56D-6A7E2C9ACDDB}"/>
                </a:ext>
              </a:extLst>
            </p:cNvPr>
            <p:cNvSpPr/>
            <p:nvPr/>
          </p:nvSpPr>
          <p:spPr>
            <a:xfrm rot="8716295">
              <a:off x="2857349" y="443912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0" name="Forme libre : forme 2039">
              <a:extLst>
                <a:ext uri="{FF2B5EF4-FFF2-40B4-BE49-F238E27FC236}">
                  <a16:creationId xmlns:a16="http://schemas.microsoft.com/office/drawing/2014/main" id="{35D7DC57-1FBD-4D3A-8353-DA49C3779565}"/>
                </a:ext>
              </a:extLst>
            </p:cNvPr>
            <p:cNvSpPr/>
            <p:nvPr/>
          </p:nvSpPr>
          <p:spPr>
            <a:xfrm rot="7484129">
              <a:off x="3203731" y="478007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1" name="Forme libre : forme 2040">
              <a:extLst>
                <a:ext uri="{FF2B5EF4-FFF2-40B4-BE49-F238E27FC236}">
                  <a16:creationId xmlns:a16="http://schemas.microsoft.com/office/drawing/2014/main" id="{528E07C7-AD59-4D90-8BAC-F763B1D94A11}"/>
                </a:ext>
              </a:extLst>
            </p:cNvPr>
            <p:cNvSpPr/>
            <p:nvPr/>
          </p:nvSpPr>
          <p:spPr>
            <a:xfrm rot="13089394">
              <a:off x="3308551" y="4746609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2" name="Forme libre : forme 2041">
              <a:extLst>
                <a:ext uri="{FF2B5EF4-FFF2-40B4-BE49-F238E27FC236}">
                  <a16:creationId xmlns:a16="http://schemas.microsoft.com/office/drawing/2014/main" id="{2B7E1DD1-1118-40B2-B6F0-0CF0593D1F55}"/>
                </a:ext>
              </a:extLst>
            </p:cNvPr>
            <p:cNvSpPr/>
            <p:nvPr/>
          </p:nvSpPr>
          <p:spPr>
            <a:xfrm rot="8716295">
              <a:off x="3494136" y="455492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3" name="Forme libre : forme 2042">
              <a:extLst>
                <a:ext uri="{FF2B5EF4-FFF2-40B4-BE49-F238E27FC236}">
                  <a16:creationId xmlns:a16="http://schemas.microsoft.com/office/drawing/2014/main" id="{81540EA7-F6EC-44BE-816E-4C0E5EB2914E}"/>
                </a:ext>
              </a:extLst>
            </p:cNvPr>
            <p:cNvSpPr/>
            <p:nvPr/>
          </p:nvSpPr>
          <p:spPr>
            <a:xfrm rot="8716295">
              <a:off x="3442331" y="445133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4" name="Forme libre : forme 2043">
              <a:extLst>
                <a:ext uri="{FF2B5EF4-FFF2-40B4-BE49-F238E27FC236}">
                  <a16:creationId xmlns:a16="http://schemas.microsoft.com/office/drawing/2014/main" id="{439225B7-2BD6-4483-BC9B-DC58675BF4C6}"/>
                </a:ext>
              </a:extLst>
            </p:cNvPr>
            <p:cNvSpPr/>
            <p:nvPr/>
          </p:nvSpPr>
          <p:spPr>
            <a:xfrm rot="8716295">
              <a:off x="3199085" y="448155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5" name="Forme libre : forme 2044">
              <a:extLst>
                <a:ext uri="{FF2B5EF4-FFF2-40B4-BE49-F238E27FC236}">
                  <a16:creationId xmlns:a16="http://schemas.microsoft.com/office/drawing/2014/main" id="{B7D7807C-1490-4102-8354-D497932384C9}"/>
                </a:ext>
              </a:extLst>
            </p:cNvPr>
            <p:cNvSpPr/>
            <p:nvPr/>
          </p:nvSpPr>
          <p:spPr>
            <a:xfrm rot="8716295">
              <a:off x="3376537" y="432231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6" name="Forme libre : forme 2045">
              <a:extLst>
                <a:ext uri="{FF2B5EF4-FFF2-40B4-BE49-F238E27FC236}">
                  <a16:creationId xmlns:a16="http://schemas.microsoft.com/office/drawing/2014/main" id="{635AEC85-CF21-4340-9A71-2C3A7522FD09}"/>
                </a:ext>
              </a:extLst>
            </p:cNvPr>
            <p:cNvSpPr/>
            <p:nvPr/>
          </p:nvSpPr>
          <p:spPr>
            <a:xfrm rot="8716295">
              <a:off x="1945235" y="207061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7" name="Forme libre : forme 2046">
              <a:extLst>
                <a:ext uri="{FF2B5EF4-FFF2-40B4-BE49-F238E27FC236}">
                  <a16:creationId xmlns:a16="http://schemas.microsoft.com/office/drawing/2014/main" id="{11A1EB5F-B7DA-47FC-9300-C3618AE6E095}"/>
                </a:ext>
              </a:extLst>
            </p:cNvPr>
            <p:cNvSpPr/>
            <p:nvPr/>
          </p:nvSpPr>
          <p:spPr>
            <a:xfrm rot="8716295">
              <a:off x="2034627" y="209985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8" name="Forme libre : forme 2047">
              <a:extLst>
                <a:ext uri="{FF2B5EF4-FFF2-40B4-BE49-F238E27FC236}">
                  <a16:creationId xmlns:a16="http://schemas.microsoft.com/office/drawing/2014/main" id="{07F7C572-5337-4FAC-82A4-6A85DC071921}"/>
                </a:ext>
              </a:extLst>
            </p:cNvPr>
            <p:cNvSpPr/>
            <p:nvPr/>
          </p:nvSpPr>
          <p:spPr>
            <a:xfrm rot="8716295">
              <a:off x="1989777" y="201357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9" name="Forme libre : forme 2048">
              <a:extLst>
                <a:ext uri="{FF2B5EF4-FFF2-40B4-BE49-F238E27FC236}">
                  <a16:creationId xmlns:a16="http://schemas.microsoft.com/office/drawing/2014/main" id="{A9887220-2A87-47EF-AD47-F90CEE542B56}"/>
                </a:ext>
              </a:extLst>
            </p:cNvPr>
            <p:cNvSpPr/>
            <p:nvPr/>
          </p:nvSpPr>
          <p:spPr>
            <a:xfrm rot="8716295">
              <a:off x="1833001" y="215915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0" name="Forme libre : forme 2049">
              <a:extLst>
                <a:ext uri="{FF2B5EF4-FFF2-40B4-BE49-F238E27FC236}">
                  <a16:creationId xmlns:a16="http://schemas.microsoft.com/office/drawing/2014/main" id="{96F4C848-FCA2-452D-9BF6-EFA171999A6C}"/>
                </a:ext>
              </a:extLst>
            </p:cNvPr>
            <p:cNvSpPr/>
            <p:nvPr/>
          </p:nvSpPr>
          <p:spPr>
            <a:xfrm rot="8716295">
              <a:off x="1708098" y="195048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1" name="Forme libre : forme 2050">
              <a:extLst>
                <a:ext uri="{FF2B5EF4-FFF2-40B4-BE49-F238E27FC236}">
                  <a16:creationId xmlns:a16="http://schemas.microsoft.com/office/drawing/2014/main" id="{71B0A8AF-0B2B-4C16-AFBA-05D3C8218554}"/>
                </a:ext>
              </a:extLst>
            </p:cNvPr>
            <p:cNvSpPr/>
            <p:nvPr/>
          </p:nvSpPr>
          <p:spPr>
            <a:xfrm rot="8716295">
              <a:off x="1696046" y="181170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2" name="Forme libre : forme 2051">
              <a:extLst>
                <a:ext uri="{FF2B5EF4-FFF2-40B4-BE49-F238E27FC236}">
                  <a16:creationId xmlns:a16="http://schemas.microsoft.com/office/drawing/2014/main" id="{A8C901C7-377B-4E53-869C-62FF0103321A}"/>
                </a:ext>
              </a:extLst>
            </p:cNvPr>
            <p:cNvSpPr/>
            <p:nvPr/>
          </p:nvSpPr>
          <p:spPr>
            <a:xfrm rot="8716295">
              <a:off x="1923179" y="220010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3" name="Forme libre : forme 2052">
              <a:extLst>
                <a:ext uri="{FF2B5EF4-FFF2-40B4-BE49-F238E27FC236}">
                  <a16:creationId xmlns:a16="http://schemas.microsoft.com/office/drawing/2014/main" id="{62CC925F-A486-47A4-BC1C-0031447BDBF8}"/>
                </a:ext>
              </a:extLst>
            </p:cNvPr>
            <p:cNvSpPr/>
            <p:nvPr/>
          </p:nvSpPr>
          <p:spPr>
            <a:xfrm rot="8716295">
              <a:off x="2234334" y="182046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4" name="Forme libre : forme 2053">
              <a:extLst>
                <a:ext uri="{FF2B5EF4-FFF2-40B4-BE49-F238E27FC236}">
                  <a16:creationId xmlns:a16="http://schemas.microsoft.com/office/drawing/2014/main" id="{945EF2C5-109C-411B-81B5-BFB1887E75E2}"/>
                </a:ext>
              </a:extLst>
            </p:cNvPr>
            <p:cNvSpPr/>
            <p:nvPr/>
          </p:nvSpPr>
          <p:spPr>
            <a:xfrm rot="8716295">
              <a:off x="2323726" y="184970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5" name="Forme libre : forme 2054">
              <a:extLst>
                <a:ext uri="{FF2B5EF4-FFF2-40B4-BE49-F238E27FC236}">
                  <a16:creationId xmlns:a16="http://schemas.microsoft.com/office/drawing/2014/main" id="{E2FDAFBA-90AF-4DD3-88B7-3D0DB77D26C2}"/>
                </a:ext>
              </a:extLst>
            </p:cNvPr>
            <p:cNvSpPr/>
            <p:nvPr/>
          </p:nvSpPr>
          <p:spPr>
            <a:xfrm rot="8716295">
              <a:off x="2122100" y="19090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6" name="Forme libre : forme 2055">
              <a:extLst>
                <a:ext uri="{FF2B5EF4-FFF2-40B4-BE49-F238E27FC236}">
                  <a16:creationId xmlns:a16="http://schemas.microsoft.com/office/drawing/2014/main" id="{0AF6A2EA-C10E-429A-AA22-3518511DA0A6}"/>
                </a:ext>
              </a:extLst>
            </p:cNvPr>
            <p:cNvSpPr/>
            <p:nvPr/>
          </p:nvSpPr>
          <p:spPr>
            <a:xfrm rot="8716295">
              <a:off x="1997198" y="170033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7" name="Forme libre : forme 2056">
              <a:extLst>
                <a:ext uri="{FF2B5EF4-FFF2-40B4-BE49-F238E27FC236}">
                  <a16:creationId xmlns:a16="http://schemas.microsoft.com/office/drawing/2014/main" id="{600B3F51-A7A8-4209-BCA4-1E31E67B6420}"/>
                </a:ext>
              </a:extLst>
            </p:cNvPr>
            <p:cNvSpPr/>
            <p:nvPr/>
          </p:nvSpPr>
          <p:spPr>
            <a:xfrm rot="8716295">
              <a:off x="2212278" y="194995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8" name="Forme libre : forme 2057">
              <a:extLst>
                <a:ext uri="{FF2B5EF4-FFF2-40B4-BE49-F238E27FC236}">
                  <a16:creationId xmlns:a16="http://schemas.microsoft.com/office/drawing/2014/main" id="{669CFA3F-1269-41F1-AC29-3A52F3487D24}"/>
                </a:ext>
              </a:extLst>
            </p:cNvPr>
            <p:cNvSpPr/>
            <p:nvPr/>
          </p:nvSpPr>
          <p:spPr>
            <a:xfrm rot="8716295">
              <a:off x="1970827" y="180035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9" name="Forme libre : forme 2058">
              <a:extLst>
                <a:ext uri="{FF2B5EF4-FFF2-40B4-BE49-F238E27FC236}">
                  <a16:creationId xmlns:a16="http://schemas.microsoft.com/office/drawing/2014/main" id="{F45F3582-C9CB-48C1-8687-58B7F6AE5003}"/>
                </a:ext>
              </a:extLst>
            </p:cNvPr>
            <p:cNvSpPr/>
            <p:nvPr/>
          </p:nvSpPr>
          <p:spPr>
            <a:xfrm rot="7484129">
              <a:off x="2317209" y="214130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0" name="Forme libre : forme 2059">
              <a:extLst>
                <a:ext uri="{FF2B5EF4-FFF2-40B4-BE49-F238E27FC236}">
                  <a16:creationId xmlns:a16="http://schemas.microsoft.com/office/drawing/2014/main" id="{13A0BF37-B9E9-4770-AC7E-B4F047117F80}"/>
                </a:ext>
              </a:extLst>
            </p:cNvPr>
            <p:cNvSpPr/>
            <p:nvPr/>
          </p:nvSpPr>
          <p:spPr>
            <a:xfrm rot="13089394">
              <a:off x="2422029" y="2107841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1" name="Forme libre : forme 2060">
              <a:extLst>
                <a:ext uri="{FF2B5EF4-FFF2-40B4-BE49-F238E27FC236}">
                  <a16:creationId xmlns:a16="http://schemas.microsoft.com/office/drawing/2014/main" id="{DD6F851E-8648-4D33-8B66-E1A2D791E45B}"/>
                </a:ext>
              </a:extLst>
            </p:cNvPr>
            <p:cNvSpPr/>
            <p:nvPr/>
          </p:nvSpPr>
          <p:spPr>
            <a:xfrm rot="8716295">
              <a:off x="2607614" y="191616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2" name="Forme libre : forme 2061">
              <a:extLst>
                <a:ext uri="{FF2B5EF4-FFF2-40B4-BE49-F238E27FC236}">
                  <a16:creationId xmlns:a16="http://schemas.microsoft.com/office/drawing/2014/main" id="{3EAC65FE-36BD-4259-B307-2A15106E17B7}"/>
                </a:ext>
              </a:extLst>
            </p:cNvPr>
            <p:cNvSpPr/>
            <p:nvPr/>
          </p:nvSpPr>
          <p:spPr>
            <a:xfrm rot="8716295">
              <a:off x="2555809" y="181256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3" name="Forme libre : forme 2062">
              <a:extLst>
                <a:ext uri="{FF2B5EF4-FFF2-40B4-BE49-F238E27FC236}">
                  <a16:creationId xmlns:a16="http://schemas.microsoft.com/office/drawing/2014/main" id="{0EC3A0BB-90CE-43B1-AB94-5264BC6980A0}"/>
                </a:ext>
              </a:extLst>
            </p:cNvPr>
            <p:cNvSpPr/>
            <p:nvPr/>
          </p:nvSpPr>
          <p:spPr>
            <a:xfrm rot="8716295">
              <a:off x="2312563" y="184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4" name="Forme libre : forme 2063">
              <a:extLst>
                <a:ext uri="{FF2B5EF4-FFF2-40B4-BE49-F238E27FC236}">
                  <a16:creationId xmlns:a16="http://schemas.microsoft.com/office/drawing/2014/main" id="{279EC32D-CBDC-4885-A518-E43D58F75913}"/>
                </a:ext>
              </a:extLst>
            </p:cNvPr>
            <p:cNvSpPr/>
            <p:nvPr/>
          </p:nvSpPr>
          <p:spPr>
            <a:xfrm rot="8716295">
              <a:off x="2490015" y="168354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5" name="Forme libre : forme 2064">
              <a:extLst>
                <a:ext uri="{FF2B5EF4-FFF2-40B4-BE49-F238E27FC236}">
                  <a16:creationId xmlns:a16="http://schemas.microsoft.com/office/drawing/2014/main" id="{82B63EF8-70AC-424B-8D0D-1430936AED2B}"/>
                </a:ext>
              </a:extLst>
            </p:cNvPr>
            <p:cNvSpPr/>
            <p:nvPr/>
          </p:nvSpPr>
          <p:spPr>
            <a:xfrm rot="8716295">
              <a:off x="1722068" y="141091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6" name="Forme libre : forme 2065">
              <a:extLst>
                <a:ext uri="{FF2B5EF4-FFF2-40B4-BE49-F238E27FC236}">
                  <a16:creationId xmlns:a16="http://schemas.microsoft.com/office/drawing/2014/main" id="{9639FE86-B706-472C-8B17-F05FFAA6C032}"/>
                </a:ext>
              </a:extLst>
            </p:cNvPr>
            <p:cNvSpPr/>
            <p:nvPr/>
          </p:nvSpPr>
          <p:spPr>
            <a:xfrm rot="8716295">
              <a:off x="1811460" y="144015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7" name="Forme libre : forme 2066">
              <a:extLst>
                <a:ext uri="{FF2B5EF4-FFF2-40B4-BE49-F238E27FC236}">
                  <a16:creationId xmlns:a16="http://schemas.microsoft.com/office/drawing/2014/main" id="{07446619-2E49-4747-ACBE-260C0C2C4C34}"/>
                </a:ext>
              </a:extLst>
            </p:cNvPr>
            <p:cNvSpPr/>
            <p:nvPr/>
          </p:nvSpPr>
          <p:spPr>
            <a:xfrm rot="8716295">
              <a:off x="1766610" y="135387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8" name="Forme libre : forme 2067">
              <a:extLst>
                <a:ext uri="{FF2B5EF4-FFF2-40B4-BE49-F238E27FC236}">
                  <a16:creationId xmlns:a16="http://schemas.microsoft.com/office/drawing/2014/main" id="{78612368-26FB-4711-B283-76B1C1100DD4}"/>
                </a:ext>
              </a:extLst>
            </p:cNvPr>
            <p:cNvSpPr/>
            <p:nvPr/>
          </p:nvSpPr>
          <p:spPr>
            <a:xfrm rot="8716295">
              <a:off x="1609834" y="149945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9" name="Forme libre : forme 2068">
              <a:extLst>
                <a:ext uri="{FF2B5EF4-FFF2-40B4-BE49-F238E27FC236}">
                  <a16:creationId xmlns:a16="http://schemas.microsoft.com/office/drawing/2014/main" id="{1205D449-2819-4B61-B974-818AB8770F91}"/>
                </a:ext>
              </a:extLst>
            </p:cNvPr>
            <p:cNvSpPr/>
            <p:nvPr/>
          </p:nvSpPr>
          <p:spPr>
            <a:xfrm rot="8716295">
              <a:off x="1484931" y="129078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0" name="Forme libre : forme 2069">
              <a:extLst>
                <a:ext uri="{FF2B5EF4-FFF2-40B4-BE49-F238E27FC236}">
                  <a16:creationId xmlns:a16="http://schemas.microsoft.com/office/drawing/2014/main" id="{28759079-BB1E-4FA1-A581-AB007D40486E}"/>
                </a:ext>
              </a:extLst>
            </p:cNvPr>
            <p:cNvSpPr/>
            <p:nvPr/>
          </p:nvSpPr>
          <p:spPr>
            <a:xfrm rot="8716295">
              <a:off x="1472879" y="115200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1" name="Forme libre : forme 2070">
              <a:extLst>
                <a:ext uri="{FF2B5EF4-FFF2-40B4-BE49-F238E27FC236}">
                  <a16:creationId xmlns:a16="http://schemas.microsoft.com/office/drawing/2014/main" id="{FC133296-4D5B-406D-87D4-112911C0532F}"/>
                </a:ext>
              </a:extLst>
            </p:cNvPr>
            <p:cNvSpPr/>
            <p:nvPr/>
          </p:nvSpPr>
          <p:spPr>
            <a:xfrm rot="8716295">
              <a:off x="1700012" y="154040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2" name="Forme libre : forme 2071">
              <a:extLst>
                <a:ext uri="{FF2B5EF4-FFF2-40B4-BE49-F238E27FC236}">
                  <a16:creationId xmlns:a16="http://schemas.microsoft.com/office/drawing/2014/main" id="{0306E902-1DCB-4E80-803F-5BF7940B2AF5}"/>
                </a:ext>
              </a:extLst>
            </p:cNvPr>
            <p:cNvSpPr/>
            <p:nvPr/>
          </p:nvSpPr>
          <p:spPr>
            <a:xfrm rot="8716295">
              <a:off x="2011167" y="116076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3" name="Forme libre : forme 2072">
              <a:extLst>
                <a:ext uri="{FF2B5EF4-FFF2-40B4-BE49-F238E27FC236}">
                  <a16:creationId xmlns:a16="http://schemas.microsoft.com/office/drawing/2014/main" id="{E401BA69-156A-448C-B8AF-22460155FDA8}"/>
                </a:ext>
              </a:extLst>
            </p:cNvPr>
            <p:cNvSpPr/>
            <p:nvPr/>
          </p:nvSpPr>
          <p:spPr>
            <a:xfrm rot="8716295">
              <a:off x="2100559" y="119000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4" name="Forme libre : forme 2073">
              <a:extLst>
                <a:ext uri="{FF2B5EF4-FFF2-40B4-BE49-F238E27FC236}">
                  <a16:creationId xmlns:a16="http://schemas.microsoft.com/office/drawing/2014/main" id="{322BCC2C-AE44-47D4-A086-C2788A0FFD3F}"/>
                </a:ext>
              </a:extLst>
            </p:cNvPr>
            <p:cNvSpPr/>
            <p:nvPr/>
          </p:nvSpPr>
          <p:spPr>
            <a:xfrm rot="8716295">
              <a:off x="1898933" y="124930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5" name="Forme libre : forme 2074">
              <a:extLst>
                <a:ext uri="{FF2B5EF4-FFF2-40B4-BE49-F238E27FC236}">
                  <a16:creationId xmlns:a16="http://schemas.microsoft.com/office/drawing/2014/main" id="{DD5F6BBF-77CE-477E-9678-E08B043518F9}"/>
                </a:ext>
              </a:extLst>
            </p:cNvPr>
            <p:cNvSpPr/>
            <p:nvPr/>
          </p:nvSpPr>
          <p:spPr>
            <a:xfrm rot="8716295">
              <a:off x="1774031" y="104063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6" name="Forme libre : forme 2075">
              <a:extLst>
                <a:ext uri="{FF2B5EF4-FFF2-40B4-BE49-F238E27FC236}">
                  <a16:creationId xmlns:a16="http://schemas.microsoft.com/office/drawing/2014/main" id="{420D59E0-C275-46B1-A399-9E824480E384}"/>
                </a:ext>
              </a:extLst>
            </p:cNvPr>
            <p:cNvSpPr/>
            <p:nvPr/>
          </p:nvSpPr>
          <p:spPr>
            <a:xfrm rot="8716295">
              <a:off x="1989111" y="129025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7" name="Forme libre : forme 2076">
              <a:extLst>
                <a:ext uri="{FF2B5EF4-FFF2-40B4-BE49-F238E27FC236}">
                  <a16:creationId xmlns:a16="http://schemas.microsoft.com/office/drawing/2014/main" id="{21B9C359-7D7E-4839-B2F3-C15EDB6FA631}"/>
                </a:ext>
              </a:extLst>
            </p:cNvPr>
            <p:cNvSpPr/>
            <p:nvPr/>
          </p:nvSpPr>
          <p:spPr>
            <a:xfrm rot="8716295">
              <a:off x="1747660" y="114065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8" name="Forme libre : forme 2077">
              <a:extLst>
                <a:ext uri="{FF2B5EF4-FFF2-40B4-BE49-F238E27FC236}">
                  <a16:creationId xmlns:a16="http://schemas.microsoft.com/office/drawing/2014/main" id="{C5BF12D0-E189-4CA4-8E29-2C56167D5BF6}"/>
                </a:ext>
              </a:extLst>
            </p:cNvPr>
            <p:cNvSpPr/>
            <p:nvPr/>
          </p:nvSpPr>
          <p:spPr>
            <a:xfrm rot="7484129">
              <a:off x="2094042" y="148160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79" name="Forme libre : forme 2078">
              <a:extLst>
                <a:ext uri="{FF2B5EF4-FFF2-40B4-BE49-F238E27FC236}">
                  <a16:creationId xmlns:a16="http://schemas.microsoft.com/office/drawing/2014/main" id="{2EFD84FE-C6E8-4F6C-9BB5-653FA0BF96AE}"/>
                </a:ext>
              </a:extLst>
            </p:cNvPr>
            <p:cNvSpPr/>
            <p:nvPr/>
          </p:nvSpPr>
          <p:spPr>
            <a:xfrm rot="13089394">
              <a:off x="2198862" y="144814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0" name="Forme libre : forme 2079">
              <a:extLst>
                <a:ext uri="{FF2B5EF4-FFF2-40B4-BE49-F238E27FC236}">
                  <a16:creationId xmlns:a16="http://schemas.microsoft.com/office/drawing/2014/main" id="{6A69758E-EB99-4030-A031-2F9349DD4303}"/>
                </a:ext>
              </a:extLst>
            </p:cNvPr>
            <p:cNvSpPr/>
            <p:nvPr/>
          </p:nvSpPr>
          <p:spPr>
            <a:xfrm rot="8716295">
              <a:off x="2384447" y="125646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1" name="Forme libre : forme 2080">
              <a:extLst>
                <a:ext uri="{FF2B5EF4-FFF2-40B4-BE49-F238E27FC236}">
                  <a16:creationId xmlns:a16="http://schemas.microsoft.com/office/drawing/2014/main" id="{022740DA-D518-4F48-ABDE-16E68F591FD2}"/>
                </a:ext>
              </a:extLst>
            </p:cNvPr>
            <p:cNvSpPr/>
            <p:nvPr/>
          </p:nvSpPr>
          <p:spPr>
            <a:xfrm rot="8716295">
              <a:off x="2332642" y="115286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2" name="Forme libre : forme 2081">
              <a:extLst>
                <a:ext uri="{FF2B5EF4-FFF2-40B4-BE49-F238E27FC236}">
                  <a16:creationId xmlns:a16="http://schemas.microsoft.com/office/drawing/2014/main" id="{0313D091-4067-4EFE-BD30-E6503447BAD7}"/>
                </a:ext>
              </a:extLst>
            </p:cNvPr>
            <p:cNvSpPr/>
            <p:nvPr/>
          </p:nvSpPr>
          <p:spPr>
            <a:xfrm rot="8716295">
              <a:off x="2089396" y="118308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3" name="Forme libre : forme 2082">
              <a:extLst>
                <a:ext uri="{FF2B5EF4-FFF2-40B4-BE49-F238E27FC236}">
                  <a16:creationId xmlns:a16="http://schemas.microsoft.com/office/drawing/2014/main" id="{26A9C2FF-58EC-4F7E-9242-E46D4FFD7308}"/>
                </a:ext>
              </a:extLst>
            </p:cNvPr>
            <p:cNvSpPr/>
            <p:nvPr/>
          </p:nvSpPr>
          <p:spPr>
            <a:xfrm rot="8716295">
              <a:off x="2266848" y="102384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4" name="Forme libre : forme 2083">
              <a:extLst>
                <a:ext uri="{FF2B5EF4-FFF2-40B4-BE49-F238E27FC236}">
                  <a16:creationId xmlns:a16="http://schemas.microsoft.com/office/drawing/2014/main" id="{8DBFE747-1F5C-41A3-92C7-458A3B6D5116}"/>
                </a:ext>
              </a:extLst>
            </p:cNvPr>
            <p:cNvSpPr/>
            <p:nvPr/>
          </p:nvSpPr>
          <p:spPr>
            <a:xfrm rot="8716295">
              <a:off x="1503129" y="74885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5" name="Forme libre : forme 2084">
              <a:extLst>
                <a:ext uri="{FF2B5EF4-FFF2-40B4-BE49-F238E27FC236}">
                  <a16:creationId xmlns:a16="http://schemas.microsoft.com/office/drawing/2014/main" id="{6DA92627-FAFA-41E9-AEB5-0B6CF647FB05}"/>
                </a:ext>
              </a:extLst>
            </p:cNvPr>
            <p:cNvSpPr/>
            <p:nvPr/>
          </p:nvSpPr>
          <p:spPr>
            <a:xfrm rot="8716295">
              <a:off x="1592521" y="77809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6" name="Forme libre : forme 2085">
              <a:extLst>
                <a:ext uri="{FF2B5EF4-FFF2-40B4-BE49-F238E27FC236}">
                  <a16:creationId xmlns:a16="http://schemas.microsoft.com/office/drawing/2014/main" id="{E19F09B9-4988-41E7-BAA6-0B828FD03B07}"/>
                </a:ext>
              </a:extLst>
            </p:cNvPr>
            <p:cNvSpPr/>
            <p:nvPr/>
          </p:nvSpPr>
          <p:spPr>
            <a:xfrm rot="8716295">
              <a:off x="1547671" y="69181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7" name="Forme libre : forme 2086">
              <a:extLst>
                <a:ext uri="{FF2B5EF4-FFF2-40B4-BE49-F238E27FC236}">
                  <a16:creationId xmlns:a16="http://schemas.microsoft.com/office/drawing/2014/main" id="{FB7C092D-3593-4D2B-954D-520BBCB70267}"/>
                </a:ext>
              </a:extLst>
            </p:cNvPr>
            <p:cNvSpPr/>
            <p:nvPr/>
          </p:nvSpPr>
          <p:spPr>
            <a:xfrm rot="8716295">
              <a:off x="1390895" y="83739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8" name="Forme libre : forme 2087">
              <a:extLst>
                <a:ext uri="{FF2B5EF4-FFF2-40B4-BE49-F238E27FC236}">
                  <a16:creationId xmlns:a16="http://schemas.microsoft.com/office/drawing/2014/main" id="{00FADB2F-7F2D-4B98-9271-D534A6BFA872}"/>
                </a:ext>
              </a:extLst>
            </p:cNvPr>
            <p:cNvSpPr/>
            <p:nvPr/>
          </p:nvSpPr>
          <p:spPr>
            <a:xfrm rot="8716295">
              <a:off x="1265992" y="62872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89" name="Forme libre : forme 2088">
              <a:extLst>
                <a:ext uri="{FF2B5EF4-FFF2-40B4-BE49-F238E27FC236}">
                  <a16:creationId xmlns:a16="http://schemas.microsoft.com/office/drawing/2014/main" id="{800006B7-3487-4C19-BDD4-3F3EE8F3EDE3}"/>
                </a:ext>
              </a:extLst>
            </p:cNvPr>
            <p:cNvSpPr/>
            <p:nvPr/>
          </p:nvSpPr>
          <p:spPr>
            <a:xfrm rot="8716295">
              <a:off x="1253940" y="48994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0" name="Forme libre : forme 2089">
              <a:extLst>
                <a:ext uri="{FF2B5EF4-FFF2-40B4-BE49-F238E27FC236}">
                  <a16:creationId xmlns:a16="http://schemas.microsoft.com/office/drawing/2014/main" id="{EB3EEFD9-046D-4DF6-B67C-49F4399957FE}"/>
                </a:ext>
              </a:extLst>
            </p:cNvPr>
            <p:cNvSpPr/>
            <p:nvPr/>
          </p:nvSpPr>
          <p:spPr>
            <a:xfrm rot="8716295">
              <a:off x="1481073" y="87835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1" name="Forme libre : forme 2090">
              <a:extLst>
                <a:ext uri="{FF2B5EF4-FFF2-40B4-BE49-F238E27FC236}">
                  <a16:creationId xmlns:a16="http://schemas.microsoft.com/office/drawing/2014/main" id="{02F0F7EE-BE61-484C-A6CE-1B15380B21EA}"/>
                </a:ext>
              </a:extLst>
            </p:cNvPr>
            <p:cNvSpPr/>
            <p:nvPr/>
          </p:nvSpPr>
          <p:spPr>
            <a:xfrm rot="8716295">
              <a:off x="1792228" y="4987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2" name="Forme libre : forme 2091">
              <a:extLst>
                <a:ext uri="{FF2B5EF4-FFF2-40B4-BE49-F238E27FC236}">
                  <a16:creationId xmlns:a16="http://schemas.microsoft.com/office/drawing/2014/main" id="{04EB967F-CD6D-4883-B745-DF5C302A9EEF}"/>
                </a:ext>
              </a:extLst>
            </p:cNvPr>
            <p:cNvSpPr/>
            <p:nvPr/>
          </p:nvSpPr>
          <p:spPr>
            <a:xfrm rot="8716295">
              <a:off x="1881620" y="5279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3" name="Forme libre : forme 2092">
              <a:extLst>
                <a:ext uri="{FF2B5EF4-FFF2-40B4-BE49-F238E27FC236}">
                  <a16:creationId xmlns:a16="http://schemas.microsoft.com/office/drawing/2014/main" id="{4D2C6D5A-0FA7-419F-B901-693A0643042F}"/>
                </a:ext>
              </a:extLst>
            </p:cNvPr>
            <p:cNvSpPr/>
            <p:nvPr/>
          </p:nvSpPr>
          <p:spPr>
            <a:xfrm rot="8716295">
              <a:off x="1679994" y="58724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4" name="Forme libre : forme 2093">
              <a:extLst>
                <a:ext uri="{FF2B5EF4-FFF2-40B4-BE49-F238E27FC236}">
                  <a16:creationId xmlns:a16="http://schemas.microsoft.com/office/drawing/2014/main" id="{23712BD0-82A2-4AF5-8B6D-BB8511641A83}"/>
                </a:ext>
              </a:extLst>
            </p:cNvPr>
            <p:cNvSpPr/>
            <p:nvPr/>
          </p:nvSpPr>
          <p:spPr>
            <a:xfrm rot="8716295">
              <a:off x="1555092" y="37857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5" name="Forme libre : forme 2094">
              <a:extLst>
                <a:ext uri="{FF2B5EF4-FFF2-40B4-BE49-F238E27FC236}">
                  <a16:creationId xmlns:a16="http://schemas.microsoft.com/office/drawing/2014/main" id="{44B373CD-4E19-4D4C-BF54-C82742B561B2}"/>
                </a:ext>
              </a:extLst>
            </p:cNvPr>
            <p:cNvSpPr/>
            <p:nvPr/>
          </p:nvSpPr>
          <p:spPr>
            <a:xfrm rot="8716295">
              <a:off x="1770172" y="62819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6" name="Forme libre : forme 2095">
              <a:extLst>
                <a:ext uri="{FF2B5EF4-FFF2-40B4-BE49-F238E27FC236}">
                  <a16:creationId xmlns:a16="http://schemas.microsoft.com/office/drawing/2014/main" id="{E3E13DED-9A91-4F99-8478-572CA3CC5153}"/>
                </a:ext>
              </a:extLst>
            </p:cNvPr>
            <p:cNvSpPr/>
            <p:nvPr/>
          </p:nvSpPr>
          <p:spPr>
            <a:xfrm rot="8716295">
              <a:off x="1528721" y="47859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7" name="Forme libre : forme 2096">
              <a:extLst>
                <a:ext uri="{FF2B5EF4-FFF2-40B4-BE49-F238E27FC236}">
                  <a16:creationId xmlns:a16="http://schemas.microsoft.com/office/drawing/2014/main" id="{42F07E9E-D9BC-4C4E-9145-14F39EEA65C6}"/>
                </a:ext>
              </a:extLst>
            </p:cNvPr>
            <p:cNvSpPr/>
            <p:nvPr/>
          </p:nvSpPr>
          <p:spPr>
            <a:xfrm rot="7484129">
              <a:off x="1875103" y="8195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8" name="Forme libre : forme 2097">
              <a:extLst>
                <a:ext uri="{FF2B5EF4-FFF2-40B4-BE49-F238E27FC236}">
                  <a16:creationId xmlns:a16="http://schemas.microsoft.com/office/drawing/2014/main" id="{8AE5C53D-B782-4A26-9FAB-5622E2FBCAB9}"/>
                </a:ext>
              </a:extLst>
            </p:cNvPr>
            <p:cNvSpPr/>
            <p:nvPr/>
          </p:nvSpPr>
          <p:spPr>
            <a:xfrm rot="13089394">
              <a:off x="1979923" y="7860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99" name="Forme libre : forme 2098">
              <a:extLst>
                <a:ext uri="{FF2B5EF4-FFF2-40B4-BE49-F238E27FC236}">
                  <a16:creationId xmlns:a16="http://schemas.microsoft.com/office/drawing/2014/main" id="{4A6DE30F-26F9-49C8-B709-E349C3186130}"/>
                </a:ext>
              </a:extLst>
            </p:cNvPr>
            <p:cNvSpPr/>
            <p:nvPr/>
          </p:nvSpPr>
          <p:spPr>
            <a:xfrm rot="8716295">
              <a:off x="2165508" y="5944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0" name="Forme libre : forme 2099">
              <a:extLst>
                <a:ext uri="{FF2B5EF4-FFF2-40B4-BE49-F238E27FC236}">
                  <a16:creationId xmlns:a16="http://schemas.microsoft.com/office/drawing/2014/main" id="{2DDEFD81-8A46-4059-99D7-4B2265487E80}"/>
                </a:ext>
              </a:extLst>
            </p:cNvPr>
            <p:cNvSpPr/>
            <p:nvPr/>
          </p:nvSpPr>
          <p:spPr>
            <a:xfrm rot="8716295">
              <a:off x="2113703" y="4908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1" name="Forme libre : forme 2100">
              <a:extLst>
                <a:ext uri="{FF2B5EF4-FFF2-40B4-BE49-F238E27FC236}">
                  <a16:creationId xmlns:a16="http://schemas.microsoft.com/office/drawing/2014/main" id="{A3EE798C-0AA5-4252-A892-7301ED50370F}"/>
                </a:ext>
              </a:extLst>
            </p:cNvPr>
            <p:cNvSpPr/>
            <p:nvPr/>
          </p:nvSpPr>
          <p:spPr>
            <a:xfrm rot="8716295">
              <a:off x="1870457" y="5210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2" name="Forme libre : forme 2101">
              <a:extLst>
                <a:ext uri="{FF2B5EF4-FFF2-40B4-BE49-F238E27FC236}">
                  <a16:creationId xmlns:a16="http://schemas.microsoft.com/office/drawing/2014/main" id="{149F02FB-1B6D-4EB4-825D-D9F836CD0FC6}"/>
                </a:ext>
              </a:extLst>
            </p:cNvPr>
            <p:cNvSpPr/>
            <p:nvPr/>
          </p:nvSpPr>
          <p:spPr>
            <a:xfrm rot="8716295">
              <a:off x="2047909" y="3617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3" name="Forme libre : forme 2102">
              <a:extLst>
                <a:ext uri="{FF2B5EF4-FFF2-40B4-BE49-F238E27FC236}">
                  <a16:creationId xmlns:a16="http://schemas.microsoft.com/office/drawing/2014/main" id="{5476C925-82E1-422B-99D4-C56F679EC46B}"/>
                </a:ext>
              </a:extLst>
            </p:cNvPr>
            <p:cNvSpPr/>
            <p:nvPr/>
          </p:nvSpPr>
          <p:spPr>
            <a:xfrm rot="8716295">
              <a:off x="1280459" y="8544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4" name="Forme libre : forme 2103">
              <a:extLst>
                <a:ext uri="{FF2B5EF4-FFF2-40B4-BE49-F238E27FC236}">
                  <a16:creationId xmlns:a16="http://schemas.microsoft.com/office/drawing/2014/main" id="{BF329EDF-F1EE-4568-9642-732B3612E081}"/>
                </a:ext>
              </a:extLst>
            </p:cNvPr>
            <p:cNvSpPr/>
            <p:nvPr/>
          </p:nvSpPr>
          <p:spPr>
            <a:xfrm rot="8716295">
              <a:off x="1369851" y="11468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5" name="Forme libre : forme 2104">
              <a:extLst>
                <a:ext uri="{FF2B5EF4-FFF2-40B4-BE49-F238E27FC236}">
                  <a16:creationId xmlns:a16="http://schemas.microsoft.com/office/drawing/2014/main" id="{60755DB7-27FB-456F-8DE6-F358D789D48F}"/>
                </a:ext>
              </a:extLst>
            </p:cNvPr>
            <p:cNvSpPr/>
            <p:nvPr/>
          </p:nvSpPr>
          <p:spPr>
            <a:xfrm rot="8716295">
              <a:off x="1325001" y="2840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6" name="Forme libre : forme 2105">
              <a:extLst>
                <a:ext uri="{FF2B5EF4-FFF2-40B4-BE49-F238E27FC236}">
                  <a16:creationId xmlns:a16="http://schemas.microsoft.com/office/drawing/2014/main" id="{8606756D-A6B7-4495-AF27-29A2389343F7}"/>
                </a:ext>
              </a:extLst>
            </p:cNvPr>
            <p:cNvSpPr/>
            <p:nvPr/>
          </p:nvSpPr>
          <p:spPr>
            <a:xfrm rot="8716295">
              <a:off x="1168225" y="17398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7" name="Forme libre : forme 2106">
              <a:extLst>
                <a:ext uri="{FF2B5EF4-FFF2-40B4-BE49-F238E27FC236}">
                  <a16:creationId xmlns:a16="http://schemas.microsoft.com/office/drawing/2014/main" id="{D39FAC73-C527-4852-8A8F-C2335C9AC7B6}"/>
                </a:ext>
              </a:extLst>
            </p:cNvPr>
            <p:cNvSpPr/>
            <p:nvPr/>
          </p:nvSpPr>
          <p:spPr>
            <a:xfrm rot="8716295">
              <a:off x="1045449" y="-13548"/>
              <a:ext cx="203847" cy="172572"/>
            </a:xfrm>
            <a:custGeom>
              <a:avLst/>
              <a:gdLst>
                <a:gd name="connsiteX0" fmla="*/ 98725 w 203847"/>
                <a:gd name="connsiteY0" fmla="*/ 172572 h 172572"/>
                <a:gd name="connsiteX1" fmla="*/ 65988 w 203847"/>
                <a:gd name="connsiteY1" fmla="*/ 149880 h 172572"/>
                <a:gd name="connsiteX2" fmla="*/ 47847 w 203847"/>
                <a:gd name="connsiteY2" fmla="*/ 116129 h 172572"/>
                <a:gd name="connsiteX3" fmla="*/ 69777 w 203847"/>
                <a:gd name="connsiteY3" fmla="*/ 55323 h 172572"/>
                <a:gd name="connsiteX4" fmla="*/ 0 w 203847"/>
                <a:gd name="connsiteY4" fmla="*/ 55323 h 172572"/>
                <a:gd name="connsiteX5" fmla="*/ 0 w 203847"/>
                <a:gd name="connsiteY5" fmla="*/ 0 h 172572"/>
                <a:gd name="connsiteX6" fmla="*/ 203847 w 203847"/>
                <a:gd name="connsiteY6" fmla="*/ 0 h 172572"/>
                <a:gd name="connsiteX7" fmla="*/ 203847 w 203847"/>
                <a:gd name="connsiteY7" fmla="*/ 55323 h 172572"/>
                <a:gd name="connsiteX8" fmla="*/ 139055 w 203847"/>
                <a:gd name="connsiteY8" fmla="*/ 55323 h 172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72572">
                  <a:moveTo>
                    <a:pt x="98725" y="172572"/>
                  </a:moveTo>
                  <a:lnTo>
                    <a:pt x="65988" y="149880"/>
                  </a:ln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8" name="Forme libre : forme 2107">
              <a:extLst>
                <a:ext uri="{FF2B5EF4-FFF2-40B4-BE49-F238E27FC236}">
                  <a16:creationId xmlns:a16="http://schemas.microsoft.com/office/drawing/2014/main" id="{01DFB6D5-6838-4BAE-A3F7-6EE5905F7587}"/>
                </a:ext>
              </a:extLst>
            </p:cNvPr>
            <p:cNvSpPr/>
            <p:nvPr/>
          </p:nvSpPr>
          <p:spPr>
            <a:xfrm rot="8716295">
              <a:off x="1049608" y="-107301"/>
              <a:ext cx="290643" cy="275223"/>
            </a:xfrm>
            <a:custGeom>
              <a:avLst/>
              <a:gdLst>
                <a:gd name="connsiteX0" fmla="*/ 79172 w 290643"/>
                <a:gd name="connsiteY0" fmla="*/ 128638 h 275223"/>
                <a:gd name="connsiteX1" fmla="*/ 0 w 290643"/>
                <a:gd name="connsiteY1" fmla="*/ 73758 h 275223"/>
                <a:gd name="connsiteX2" fmla="*/ 0 w 290643"/>
                <a:gd name="connsiteY2" fmla="*/ 40596 h 275223"/>
                <a:gd name="connsiteX3" fmla="*/ 78250 w 290643"/>
                <a:gd name="connsiteY3" fmla="*/ 0 h 275223"/>
                <a:gd name="connsiteX4" fmla="*/ 290643 w 290643"/>
                <a:gd name="connsiteY4" fmla="*/ 275223 h 275223"/>
                <a:gd name="connsiteX5" fmla="*/ 278016 w 290643"/>
                <a:gd name="connsiteY5" fmla="*/ 266470 h 275223"/>
                <a:gd name="connsiteX6" fmla="*/ 289467 w 290643"/>
                <a:gd name="connsiteY6" fmla="*/ 261815 h 275223"/>
                <a:gd name="connsiteX7" fmla="*/ 290643 w 290643"/>
                <a:gd name="connsiteY7" fmla="*/ 269463 h 27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0643" h="275223">
                  <a:moveTo>
                    <a:pt x="79172" y="128638"/>
                  </a:moveTo>
                  <a:lnTo>
                    <a:pt x="0" y="73758"/>
                  </a:lnTo>
                  <a:lnTo>
                    <a:pt x="0" y="40596"/>
                  </a:lnTo>
                  <a:lnTo>
                    <a:pt x="78250" y="0"/>
                  </a:lnTo>
                  <a:close/>
                  <a:moveTo>
                    <a:pt x="290643" y="275223"/>
                  </a:moveTo>
                  <a:lnTo>
                    <a:pt x="278016" y="266470"/>
                  </a:lnTo>
                  <a:lnTo>
                    <a:pt x="289467" y="261815"/>
                  </a:lnTo>
                  <a:cubicBezTo>
                    <a:pt x="290055" y="264168"/>
                    <a:pt x="290643" y="267110"/>
                    <a:pt x="290643" y="2694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09" name="Forme libre : forme 2108">
              <a:extLst>
                <a:ext uri="{FF2B5EF4-FFF2-40B4-BE49-F238E27FC236}">
                  <a16:creationId xmlns:a16="http://schemas.microsoft.com/office/drawing/2014/main" id="{40068CFA-826F-4747-847E-A7A0590789FF}"/>
                </a:ext>
              </a:extLst>
            </p:cNvPr>
            <p:cNvSpPr/>
            <p:nvPr/>
          </p:nvSpPr>
          <p:spPr>
            <a:xfrm rot="8716295">
              <a:off x="1258403" y="21493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0" name="Forme libre : forme 2109">
              <a:extLst>
                <a:ext uri="{FF2B5EF4-FFF2-40B4-BE49-F238E27FC236}">
                  <a16:creationId xmlns:a16="http://schemas.microsoft.com/office/drawing/2014/main" id="{186C0547-DD23-448F-B6C3-1554CF0BEABF}"/>
                </a:ext>
              </a:extLst>
            </p:cNvPr>
            <p:cNvSpPr/>
            <p:nvPr/>
          </p:nvSpPr>
          <p:spPr>
            <a:xfrm rot="8716295">
              <a:off x="1604517" y="-50002"/>
              <a:ext cx="142167" cy="106747"/>
            </a:xfrm>
            <a:custGeom>
              <a:avLst/>
              <a:gdLst>
                <a:gd name="connsiteX0" fmla="*/ 142167 w 142167"/>
                <a:gd name="connsiteY0" fmla="*/ 106747 h 106747"/>
                <a:gd name="connsiteX1" fmla="*/ 79942 w 142167"/>
                <a:gd name="connsiteY1" fmla="*/ 63615 h 106747"/>
                <a:gd name="connsiteX2" fmla="*/ 74103 w 142167"/>
                <a:gd name="connsiteY2" fmla="*/ 53597 h 106747"/>
                <a:gd name="connsiteX3" fmla="*/ 60604 w 142167"/>
                <a:gd name="connsiteY3" fmla="*/ 50123 h 106747"/>
                <a:gd name="connsiteX4" fmla="*/ 60478 w 142167"/>
                <a:gd name="connsiteY4" fmla="*/ 50123 h 106747"/>
                <a:gd name="connsiteX5" fmla="*/ 0 w 142167"/>
                <a:gd name="connsiteY5" fmla="*/ 8201 h 106747"/>
                <a:gd name="connsiteX6" fmla="*/ 0 w 142167"/>
                <a:gd name="connsiteY6" fmla="*/ 0 h 106747"/>
                <a:gd name="connsiteX7" fmla="*/ 85209 w 142167"/>
                <a:gd name="connsiteY7" fmla="*/ 0 h 106747"/>
                <a:gd name="connsiteX8" fmla="*/ 142167 w 142167"/>
                <a:gd name="connsiteY8" fmla="*/ 50123 h 10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06747">
                  <a:moveTo>
                    <a:pt x="142167" y="106747"/>
                  </a:moveTo>
                  <a:lnTo>
                    <a:pt x="79942" y="63615"/>
                  </a:lnTo>
                  <a:lnTo>
                    <a:pt x="74103" y="53597"/>
                  </a:lnTo>
                  <a:cubicBezTo>
                    <a:pt x="70400" y="50806"/>
                    <a:pt x="65616" y="49439"/>
                    <a:pt x="60604" y="50123"/>
                  </a:cubicBezTo>
                  <a:lnTo>
                    <a:pt x="60478" y="50123"/>
                  </a:lnTo>
                  <a:lnTo>
                    <a:pt x="0" y="8201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1" name="Forme libre : forme 2110">
              <a:extLst>
                <a:ext uri="{FF2B5EF4-FFF2-40B4-BE49-F238E27FC236}">
                  <a16:creationId xmlns:a16="http://schemas.microsoft.com/office/drawing/2014/main" id="{4E98298E-B55A-44CD-A45A-1C113F4E2341}"/>
                </a:ext>
              </a:extLst>
            </p:cNvPr>
            <p:cNvSpPr/>
            <p:nvPr/>
          </p:nvSpPr>
          <p:spPr>
            <a:xfrm rot="8716295">
              <a:off x="1699771" y="-2013"/>
              <a:ext cx="260639" cy="104392"/>
            </a:xfrm>
            <a:custGeom>
              <a:avLst/>
              <a:gdLst>
                <a:gd name="connsiteX0" fmla="*/ 117530 w 260639"/>
                <a:gd name="connsiteY0" fmla="*/ 104392 h 104392"/>
                <a:gd name="connsiteX1" fmla="*/ 51490 w 260639"/>
                <a:gd name="connsiteY1" fmla="*/ 58614 h 104392"/>
                <a:gd name="connsiteX2" fmla="*/ 51490 w 260639"/>
                <a:gd name="connsiteY2" fmla="*/ 45624 h 104392"/>
                <a:gd name="connsiteX3" fmla="*/ 32748 w 260639"/>
                <a:gd name="connsiteY3" fmla="*/ 45624 h 104392"/>
                <a:gd name="connsiteX4" fmla="*/ 0 w 260639"/>
                <a:gd name="connsiteY4" fmla="*/ 22924 h 104392"/>
                <a:gd name="connsiteX5" fmla="*/ 0 w 260639"/>
                <a:gd name="connsiteY5" fmla="*/ 1425 h 104392"/>
                <a:gd name="connsiteX6" fmla="*/ 104802 w 260639"/>
                <a:gd name="connsiteY6" fmla="*/ 1425 h 104392"/>
                <a:gd name="connsiteX7" fmla="*/ 104802 w 260639"/>
                <a:gd name="connsiteY7" fmla="*/ 75242 h 104392"/>
                <a:gd name="connsiteX8" fmla="*/ 106169 w 260639"/>
                <a:gd name="connsiteY8" fmla="*/ 75242 h 104392"/>
                <a:gd name="connsiteX9" fmla="*/ 154014 w 260639"/>
                <a:gd name="connsiteY9" fmla="*/ 5981 h 104392"/>
                <a:gd name="connsiteX10" fmla="*/ 185455 w 260639"/>
                <a:gd name="connsiteY10" fmla="*/ 57 h 104392"/>
                <a:gd name="connsiteX11" fmla="*/ 260639 w 260639"/>
                <a:gd name="connsiteY11" fmla="*/ 88456 h 104392"/>
                <a:gd name="connsiteX12" fmla="*/ 260639 w 260639"/>
                <a:gd name="connsiteY12" fmla="*/ 94380 h 104392"/>
                <a:gd name="connsiteX13" fmla="*/ 198669 w 260639"/>
                <a:gd name="connsiteY13" fmla="*/ 98025 h 104392"/>
                <a:gd name="connsiteX14" fmla="*/ 198669 w 260639"/>
                <a:gd name="connsiteY14" fmla="*/ 81621 h 104392"/>
                <a:gd name="connsiteX15" fmla="*/ 164950 w 260639"/>
                <a:gd name="connsiteY15" fmla="*/ 40156 h 104392"/>
                <a:gd name="connsiteX16" fmla="*/ 127358 w 260639"/>
                <a:gd name="connsiteY16" fmla="*/ 65616 h 104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60639" h="104392">
                  <a:moveTo>
                    <a:pt x="117530" y="104392"/>
                  </a:moveTo>
                  <a:lnTo>
                    <a:pt x="51490" y="58614"/>
                  </a:lnTo>
                  <a:lnTo>
                    <a:pt x="51490" y="45624"/>
                  </a:lnTo>
                  <a:lnTo>
                    <a:pt x="32748" y="45624"/>
                  </a:lnTo>
                  <a:lnTo>
                    <a:pt x="0" y="229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5"/>
                    <a:pt x="184544" y="40156"/>
                    <a:pt x="164950" y="40156"/>
                  </a:cubicBezTo>
                  <a:cubicBezTo>
                    <a:pt x="150369" y="40156"/>
                    <a:pt x="137041" y="49839"/>
                    <a:pt x="127358" y="656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2" name="Forme libre : forme 2111">
              <a:extLst>
                <a:ext uri="{FF2B5EF4-FFF2-40B4-BE49-F238E27FC236}">
                  <a16:creationId xmlns:a16="http://schemas.microsoft.com/office/drawing/2014/main" id="{1686E0BE-E0BC-4E6B-8FCD-21BC30F2B50B}"/>
                </a:ext>
              </a:extLst>
            </p:cNvPr>
            <p:cNvSpPr/>
            <p:nvPr/>
          </p:nvSpPr>
          <p:spPr>
            <a:xfrm rot="8716295">
              <a:off x="1547502" y="-3521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3" name="Forme libre : forme 2112">
              <a:extLst>
                <a:ext uri="{FF2B5EF4-FFF2-40B4-BE49-F238E27FC236}">
                  <a16:creationId xmlns:a16="http://schemas.microsoft.com/office/drawing/2014/main" id="{EA8402F5-9E14-4C1B-86EF-D60D49059A89}"/>
                </a:ext>
              </a:extLst>
            </p:cNvPr>
            <p:cNvSpPr/>
            <p:nvPr/>
          </p:nvSpPr>
          <p:spPr>
            <a:xfrm rot="7484129">
              <a:off x="1652433" y="15613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4" name="Forme libre : forme 2113">
              <a:extLst>
                <a:ext uri="{FF2B5EF4-FFF2-40B4-BE49-F238E27FC236}">
                  <a16:creationId xmlns:a16="http://schemas.microsoft.com/office/drawing/2014/main" id="{BB19AB13-04E1-44CB-8853-DB1D9B8F2135}"/>
                </a:ext>
              </a:extLst>
            </p:cNvPr>
            <p:cNvSpPr/>
            <p:nvPr/>
          </p:nvSpPr>
          <p:spPr>
            <a:xfrm rot="13089394">
              <a:off x="1757253" y="122669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5" name="Forme libre : forme 2114">
              <a:extLst>
                <a:ext uri="{FF2B5EF4-FFF2-40B4-BE49-F238E27FC236}">
                  <a16:creationId xmlns:a16="http://schemas.microsoft.com/office/drawing/2014/main" id="{6F466DAE-6800-456B-ACC4-2CBB5549AC79}"/>
                </a:ext>
              </a:extLst>
            </p:cNvPr>
            <p:cNvSpPr/>
            <p:nvPr/>
          </p:nvSpPr>
          <p:spPr>
            <a:xfrm rot="8716295">
              <a:off x="1960606" y="3279"/>
              <a:ext cx="142687" cy="109177"/>
            </a:xfrm>
            <a:custGeom>
              <a:avLst/>
              <a:gdLst>
                <a:gd name="connsiteX0" fmla="*/ 48521 w 142687"/>
                <a:gd name="connsiteY0" fmla="*/ 109177 h 109177"/>
                <a:gd name="connsiteX1" fmla="*/ 0 w 142687"/>
                <a:gd name="connsiteY1" fmla="*/ 75545 h 109177"/>
                <a:gd name="connsiteX2" fmla="*/ 44875 w 142687"/>
                <a:gd name="connsiteY2" fmla="*/ 33320 h 109177"/>
                <a:gd name="connsiteX3" fmla="*/ 109367 w 142687"/>
                <a:gd name="connsiteY3" fmla="*/ 0 h 109177"/>
                <a:gd name="connsiteX4" fmla="*/ 142687 w 142687"/>
                <a:gd name="connsiteY4" fmla="*/ 39770 h 109177"/>
                <a:gd name="connsiteX5" fmla="*/ 111516 w 142687"/>
                <a:gd name="connsiteY5" fmla="*/ 81689 h 109177"/>
                <a:gd name="connsiteX6" fmla="*/ 112053 w 142687"/>
                <a:gd name="connsiteY6" fmla="*/ 81689 h 109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687" h="109177">
                  <a:moveTo>
                    <a:pt x="48521" y="109177"/>
                  </a:moveTo>
                  <a:lnTo>
                    <a:pt x="0" y="75545"/>
                  </a:lnTo>
                  <a:lnTo>
                    <a:pt x="44875" y="33320"/>
                  </a:lnTo>
                  <a:cubicBezTo>
                    <a:pt x="60998" y="14511"/>
                    <a:pt x="84107" y="2687"/>
                    <a:pt x="109367" y="0"/>
                  </a:cubicBezTo>
                  <a:cubicBezTo>
                    <a:pt x="135163" y="0"/>
                    <a:pt x="142687" y="22572"/>
                    <a:pt x="142687" y="39770"/>
                  </a:cubicBezTo>
                  <a:cubicBezTo>
                    <a:pt x="141074" y="58580"/>
                    <a:pt x="128713" y="74165"/>
                    <a:pt x="111516" y="81689"/>
                  </a:cubicBezTo>
                  <a:lnTo>
                    <a:pt x="112053" y="816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6" name="Forme libre : forme 2115">
              <a:extLst>
                <a:ext uri="{FF2B5EF4-FFF2-40B4-BE49-F238E27FC236}">
                  <a16:creationId xmlns:a16="http://schemas.microsoft.com/office/drawing/2014/main" id="{9DCB4F7A-3483-4950-AEA2-3FC2A3A37265}"/>
                </a:ext>
              </a:extLst>
            </p:cNvPr>
            <p:cNvSpPr/>
            <p:nvPr/>
          </p:nvSpPr>
          <p:spPr>
            <a:xfrm rot="8716295">
              <a:off x="1076398" y="254697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7" name="Forme libre : forme 2116">
              <a:extLst>
                <a:ext uri="{FF2B5EF4-FFF2-40B4-BE49-F238E27FC236}">
                  <a16:creationId xmlns:a16="http://schemas.microsoft.com/office/drawing/2014/main" id="{414E124C-0029-4898-9792-55D1396F2459}"/>
                </a:ext>
              </a:extLst>
            </p:cNvPr>
            <p:cNvSpPr/>
            <p:nvPr/>
          </p:nvSpPr>
          <p:spPr>
            <a:xfrm rot="8716295">
              <a:off x="1165790" y="257621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8" name="Forme libre : forme 2117">
              <a:extLst>
                <a:ext uri="{FF2B5EF4-FFF2-40B4-BE49-F238E27FC236}">
                  <a16:creationId xmlns:a16="http://schemas.microsoft.com/office/drawing/2014/main" id="{F81BCB93-8702-40B2-9E5E-60A2216BFC6A}"/>
                </a:ext>
              </a:extLst>
            </p:cNvPr>
            <p:cNvSpPr/>
            <p:nvPr/>
          </p:nvSpPr>
          <p:spPr>
            <a:xfrm rot="8716295">
              <a:off x="1120940" y="248993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19" name="Forme libre : forme 2118">
              <a:extLst>
                <a:ext uri="{FF2B5EF4-FFF2-40B4-BE49-F238E27FC236}">
                  <a16:creationId xmlns:a16="http://schemas.microsoft.com/office/drawing/2014/main" id="{90387AAF-8E65-48E6-A7A2-DB1E2DFB9DDB}"/>
                </a:ext>
              </a:extLst>
            </p:cNvPr>
            <p:cNvSpPr/>
            <p:nvPr/>
          </p:nvSpPr>
          <p:spPr>
            <a:xfrm rot="8716295">
              <a:off x="964164" y="263551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0" name="Forme libre : forme 2119">
              <a:extLst>
                <a:ext uri="{FF2B5EF4-FFF2-40B4-BE49-F238E27FC236}">
                  <a16:creationId xmlns:a16="http://schemas.microsoft.com/office/drawing/2014/main" id="{6F5BF8F5-5E17-43C6-8038-8EBDD74B7585}"/>
                </a:ext>
              </a:extLst>
            </p:cNvPr>
            <p:cNvSpPr/>
            <p:nvPr/>
          </p:nvSpPr>
          <p:spPr>
            <a:xfrm rot="8716295">
              <a:off x="839261" y="242684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1" name="Forme libre : forme 2120">
              <a:extLst>
                <a:ext uri="{FF2B5EF4-FFF2-40B4-BE49-F238E27FC236}">
                  <a16:creationId xmlns:a16="http://schemas.microsoft.com/office/drawing/2014/main" id="{8C0ACA57-2A8F-4AAD-A404-075EA92CDFA4}"/>
                </a:ext>
              </a:extLst>
            </p:cNvPr>
            <p:cNvSpPr/>
            <p:nvPr/>
          </p:nvSpPr>
          <p:spPr>
            <a:xfrm rot="8716295">
              <a:off x="827209" y="228806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2" name="Forme libre : forme 2121">
              <a:extLst>
                <a:ext uri="{FF2B5EF4-FFF2-40B4-BE49-F238E27FC236}">
                  <a16:creationId xmlns:a16="http://schemas.microsoft.com/office/drawing/2014/main" id="{C013B905-0051-4D90-A201-5787B7639BF4}"/>
                </a:ext>
              </a:extLst>
            </p:cNvPr>
            <p:cNvSpPr/>
            <p:nvPr/>
          </p:nvSpPr>
          <p:spPr>
            <a:xfrm rot="8716295">
              <a:off x="1054342" y="267647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3" name="Forme libre : forme 2122">
              <a:extLst>
                <a:ext uri="{FF2B5EF4-FFF2-40B4-BE49-F238E27FC236}">
                  <a16:creationId xmlns:a16="http://schemas.microsoft.com/office/drawing/2014/main" id="{8F1BA098-EE89-4D48-A15F-CB3E01C32968}"/>
                </a:ext>
              </a:extLst>
            </p:cNvPr>
            <p:cNvSpPr/>
            <p:nvPr/>
          </p:nvSpPr>
          <p:spPr>
            <a:xfrm rot="8716295">
              <a:off x="1365497" y="229682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4" name="Forme libre : forme 2123">
              <a:extLst>
                <a:ext uri="{FF2B5EF4-FFF2-40B4-BE49-F238E27FC236}">
                  <a16:creationId xmlns:a16="http://schemas.microsoft.com/office/drawing/2014/main" id="{14107977-7495-49D2-8CBC-3985323EDBCB}"/>
                </a:ext>
              </a:extLst>
            </p:cNvPr>
            <p:cNvSpPr/>
            <p:nvPr/>
          </p:nvSpPr>
          <p:spPr>
            <a:xfrm rot="8716295">
              <a:off x="1454889" y="232606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5" name="Forme libre : forme 2124">
              <a:extLst>
                <a:ext uri="{FF2B5EF4-FFF2-40B4-BE49-F238E27FC236}">
                  <a16:creationId xmlns:a16="http://schemas.microsoft.com/office/drawing/2014/main" id="{98C8DCC3-1997-4015-8E64-2DA3E85BA3C9}"/>
                </a:ext>
              </a:extLst>
            </p:cNvPr>
            <p:cNvSpPr/>
            <p:nvPr/>
          </p:nvSpPr>
          <p:spPr>
            <a:xfrm rot="8716295">
              <a:off x="1253263" y="238536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6" name="Forme libre : forme 2125">
              <a:extLst>
                <a:ext uri="{FF2B5EF4-FFF2-40B4-BE49-F238E27FC236}">
                  <a16:creationId xmlns:a16="http://schemas.microsoft.com/office/drawing/2014/main" id="{ED472988-C4F9-49FB-862E-CED2DC1F08EC}"/>
                </a:ext>
              </a:extLst>
            </p:cNvPr>
            <p:cNvSpPr/>
            <p:nvPr/>
          </p:nvSpPr>
          <p:spPr>
            <a:xfrm rot="8716295">
              <a:off x="1128361" y="217669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7" name="Forme libre : forme 2126">
              <a:extLst>
                <a:ext uri="{FF2B5EF4-FFF2-40B4-BE49-F238E27FC236}">
                  <a16:creationId xmlns:a16="http://schemas.microsoft.com/office/drawing/2014/main" id="{97EFC57C-F831-4137-9CEC-BE44BE4717A4}"/>
                </a:ext>
              </a:extLst>
            </p:cNvPr>
            <p:cNvSpPr/>
            <p:nvPr/>
          </p:nvSpPr>
          <p:spPr>
            <a:xfrm rot="8716295">
              <a:off x="1343441" y="242631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8" name="Forme libre : forme 2127">
              <a:extLst>
                <a:ext uri="{FF2B5EF4-FFF2-40B4-BE49-F238E27FC236}">
                  <a16:creationId xmlns:a16="http://schemas.microsoft.com/office/drawing/2014/main" id="{4B620052-605D-48CA-97BF-CFF9CF4DFF66}"/>
                </a:ext>
              </a:extLst>
            </p:cNvPr>
            <p:cNvSpPr/>
            <p:nvPr/>
          </p:nvSpPr>
          <p:spPr>
            <a:xfrm rot="8716295">
              <a:off x="1101990" y="227671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29" name="Forme libre : forme 2128">
              <a:extLst>
                <a:ext uri="{FF2B5EF4-FFF2-40B4-BE49-F238E27FC236}">
                  <a16:creationId xmlns:a16="http://schemas.microsoft.com/office/drawing/2014/main" id="{8C4C7B52-3DF6-47DE-8C0B-9EB4083611A6}"/>
                </a:ext>
              </a:extLst>
            </p:cNvPr>
            <p:cNvSpPr/>
            <p:nvPr/>
          </p:nvSpPr>
          <p:spPr>
            <a:xfrm rot="7484129">
              <a:off x="1448372" y="261767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0" name="Forme libre : forme 2129">
              <a:extLst>
                <a:ext uri="{FF2B5EF4-FFF2-40B4-BE49-F238E27FC236}">
                  <a16:creationId xmlns:a16="http://schemas.microsoft.com/office/drawing/2014/main" id="{2AB34892-B16F-4430-A887-6CE1411F7E19}"/>
                </a:ext>
              </a:extLst>
            </p:cNvPr>
            <p:cNvSpPr/>
            <p:nvPr/>
          </p:nvSpPr>
          <p:spPr>
            <a:xfrm rot="13089394">
              <a:off x="1553192" y="258420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1" name="Forme libre : forme 2130">
              <a:extLst>
                <a:ext uri="{FF2B5EF4-FFF2-40B4-BE49-F238E27FC236}">
                  <a16:creationId xmlns:a16="http://schemas.microsoft.com/office/drawing/2014/main" id="{0F6D3C11-D763-4926-91AB-47832AC0DA05}"/>
                </a:ext>
              </a:extLst>
            </p:cNvPr>
            <p:cNvSpPr/>
            <p:nvPr/>
          </p:nvSpPr>
          <p:spPr>
            <a:xfrm rot="8716295">
              <a:off x="1738777" y="23925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2" name="Forme libre : forme 2131">
              <a:extLst>
                <a:ext uri="{FF2B5EF4-FFF2-40B4-BE49-F238E27FC236}">
                  <a16:creationId xmlns:a16="http://schemas.microsoft.com/office/drawing/2014/main" id="{A93A76E0-518B-4AFD-B8BD-03318ECE2F2F}"/>
                </a:ext>
              </a:extLst>
            </p:cNvPr>
            <p:cNvSpPr/>
            <p:nvPr/>
          </p:nvSpPr>
          <p:spPr>
            <a:xfrm rot="8716295">
              <a:off x="1686972" y="228893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3" name="Forme libre : forme 2132">
              <a:extLst>
                <a:ext uri="{FF2B5EF4-FFF2-40B4-BE49-F238E27FC236}">
                  <a16:creationId xmlns:a16="http://schemas.microsoft.com/office/drawing/2014/main" id="{48F561D4-A24C-46DA-9343-9AE94EDAA695}"/>
                </a:ext>
              </a:extLst>
            </p:cNvPr>
            <p:cNvSpPr/>
            <p:nvPr/>
          </p:nvSpPr>
          <p:spPr>
            <a:xfrm rot="8716295">
              <a:off x="1443726" y="231915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4" name="Forme libre : forme 2133">
              <a:extLst>
                <a:ext uri="{FF2B5EF4-FFF2-40B4-BE49-F238E27FC236}">
                  <a16:creationId xmlns:a16="http://schemas.microsoft.com/office/drawing/2014/main" id="{405DD3A6-28FF-4951-B270-6EC3E4D35ACA}"/>
                </a:ext>
              </a:extLst>
            </p:cNvPr>
            <p:cNvSpPr/>
            <p:nvPr/>
          </p:nvSpPr>
          <p:spPr>
            <a:xfrm rot="8716295">
              <a:off x="1621178" y="21599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5" name="Forme libre : forme 2134">
              <a:extLst>
                <a:ext uri="{FF2B5EF4-FFF2-40B4-BE49-F238E27FC236}">
                  <a16:creationId xmlns:a16="http://schemas.microsoft.com/office/drawing/2014/main" id="{F5308643-F53C-4E01-88E3-C8899D8500A4}"/>
                </a:ext>
              </a:extLst>
            </p:cNvPr>
            <p:cNvSpPr/>
            <p:nvPr/>
          </p:nvSpPr>
          <p:spPr>
            <a:xfrm rot="8716295">
              <a:off x="1299565" y="320667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6" name="Forme libre : forme 2135">
              <a:extLst>
                <a:ext uri="{FF2B5EF4-FFF2-40B4-BE49-F238E27FC236}">
                  <a16:creationId xmlns:a16="http://schemas.microsoft.com/office/drawing/2014/main" id="{D02035B8-4115-4B72-BCBC-2D5DECA663A0}"/>
                </a:ext>
              </a:extLst>
            </p:cNvPr>
            <p:cNvSpPr/>
            <p:nvPr/>
          </p:nvSpPr>
          <p:spPr>
            <a:xfrm rot="8716295">
              <a:off x="1388957" y="323591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7" name="Forme libre : forme 2136">
              <a:extLst>
                <a:ext uri="{FF2B5EF4-FFF2-40B4-BE49-F238E27FC236}">
                  <a16:creationId xmlns:a16="http://schemas.microsoft.com/office/drawing/2014/main" id="{CAB19897-3060-41B2-8A6A-E0541CF22EA7}"/>
                </a:ext>
              </a:extLst>
            </p:cNvPr>
            <p:cNvSpPr/>
            <p:nvPr/>
          </p:nvSpPr>
          <p:spPr>
            <a:xfrm rot="8716295">
              <a:off x="1344107" y="314963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8" name="Forme libre : forme 2137">
              <a:extLst>
                <a:ext uri="{FF2B5EF4-FFF2-40B4-BE49-F238E27FC236}">
                  <a16:creationId xmlns:a16="http://schemas.microsoft.com/office/drawing/2014/main" id="{F64A09B4-7DEB-4702-A647-FF2760487C04}"/>
                </a:ext>
              </a:extLst>
            </p:cNvPr>
            <p:cNvSpPr/>
            <p:nvPr/>
          </p:nvSpPr>
          <p:spPr>
            <a:xfrm rot="8716295">
              <a:off x="1187331" y="329521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39" name="Forme libre : forme 2138">
              <a:extLst>
                <a:ext uri="{FF2B5EF4-FFF2-40B4-BE49-F238E27FC236}">
                  <a16:creationId xmlns:a16="http://schemas.microsoft.com/office/drawing/2014/main" id="{92647C63-BB62-4D18-9ADE-8CD298C1670B}"/>
                </a:ext>
              </a:extLst>
            </p:cNvPr>
            <p:cNvSpPr/>
            <p:nvPr/>
          </p:nvSpPr>
          <p:spPr>
            <a:xfrm rot="8716295">
              <a:off x="1062428" y="308654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0" name="Forme libre : forme 2139">
              <a:extLst>
                <a:ext uri="{FF2B5EF4-FFF2-40B4-BE49-F238E27FC236}">
                  <a16:creationId xmlns:a16="http://schemas.microsoft.com/office/drawing/2014/main" id="{CAB88C70-3A76-4EED-9248-818FE9DD9BFA}"/>
                </a:ext>
              </a:extLst>
            </p:cNvPr>
            <p:cNvSpPr/>
            <p:nvPr/>
          </p:nvSpPr>
          <p:spPr>
            <a:xfrm rot="8716295">
              <a:off x="1050376" y="294776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1" name="Forme libre : forme 2140">
              <a:extLst>
                <a:ext uri="{FF2B5EF4-FFF2-40B4-BE49-F238E27FC236}">
                  <a16:creationId xmlns:a16="http://schemas.microsoft.com/office/drawing/2014/main" id="{757E5A5F-118C-4D2D-A7CB-9D38E498AA18}"/>
                </a:ext>
              </a:extLst>
            </p:cNvPr>
            <p:cNvSpPr/>
            <p:nvPr/>
          </p:nvSpPr>
          <p:spPr>
            <a:xfrm rot="8716295">
              <a:off x="1277509" y="333617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2" name="Forme libre : forme 2141">
              <a:extLst>
                <a:ext uri="{FF2B5EF4-FFF2-40B4-BE49-F238E27FC236}">
                  <a16:creationId xmlns:a16="http://schemas.microsoft.com/office/drawing/2014/main" id="{9CD271A0-DDCA-4CF4-99AF-F1225E7D3CA2}"/>
                </a:ext>
              </a:extLst>
            </p:cNvPr>
            <p:cNvSpPr/>
            <p:nvPr/>
          </p:nvSpPr>
          <p:spPr>
            <a:xfrm rot="8716295">
              <a:off x="1588664" y="295652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3" name="Forme libre : forme 2142">
              <a:extLst>
                <a:ext uri="{FF2B5EF4-FFF2-40B4-BE49-F238E27FC236}">
                  <a16:creationId xmlns:a16="http://schemas.microsoft.com/office/drawing/2014/main" id="{F17E5C04-2914-4166-904F-3412803C328B}"/>
                </a:ext>
              </a:extLst>
            </p:cNvPr>
            <p:cNvSpPr/>
            <p:nvPr/>
          </p:nvSpPr>
          <p:spPr>
            <a:xfrm rot="8716295">
              <a:off x="1678056" y="298576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4" name="Forme libre : forme 2143">
              <a:extLst>
                <a:ext uri="{FF2B5EF4-FFF2-40B4-BE49-F238E27FC236}">
                  <a16:creationId xmlns:a16="http://schemas.microsoft.com/office/drawing/2014/main" id="{06EE81A0-69AF-4FE9-B5FC-828C4F72D8C6}"/>
                </a:ext>
              </a:extLst>
            </p:cNvPr>
            <p:cNvSpPr/>
            <p:nvPr/>
          </p:nvSpPr>
          <p:spPr>
            <a:xfrm rot="8716295">
              <a:off x="1476430" y="304506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5" name="Forme libre : forme 2144">
              <a:extLst>
                <a:ext uri="{FF2B5EF4-FFF2-40B4-BE49-F238E27FC236}">
                  <a16:creationId xmlns:a16="http://schemas.microsoft.com/office/drawing/2014/main" id="{8EAE6F01-A7F9-464C-8EBA-81A188499272}"/>
                </a:ext>
              </a:extLst>
            </p:cNvPr>
            <p:cNvSpPr/>
            <p:nvPr/>
          </p:nvSpPr>
          <p:spPr>
            <a:xfrm rot="8716295">
              <a:off x="1351528" y="283639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6" name="Forme libre : forme 2145">
              <a:extLst>
                <a:ext uri="{FF2B5EF4-FFF2-40B4-BE49-F238E27FC236}">
                  <a16:creationId xmlns:a16="http://schemas.microsoft.com/office/drawing/2014/main" id="{B6351AC7-96AD-47D1-9D79-F320C6E6D6E3}"/>
                </a:ext>
              </a:extLst>
            </p:cNvPr>
            <p:cNvSpPr/>
            <p:nvPr/>
          </p:nvSpPr>
          <p:spPr>
            <a:xfrm rot="8716295">
              <a:off x="1566608" y="308601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7" name="Forme libre : forme 2146">
              <a:extLst>
                <a:ext uri="{FF2B5EF4-FFF2-40B4-BE49-F238E27FC236}">
                  <a16:creationId xmlns:a16="http://schemas.microsoft.com/office/drawing/2014/main" id="{82BC95DB-83FD-4690-8848-41B64D5E034F}"/>
                </a:ext>
              </a:extLst>
            </p:cNvPr>
            <p:cNvSpPr/>
            <p:nvPr/>
          </p:nvSpPr>
          <p:spPr>
            <a:xfrm rot="8716295">
              <a:off x="1325157" y="293641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8" name="Forme libre : forme 2147">
              <a:extLst>
                <a:ext uri="{FF2B5EF4-FFF2-40B4-BE49-F238E27FC236}">
                  <a16:creationId xmlns:a16="http://schemas.microsoft.com/office/drawing/2014/main" id="{19CDF187-E415-4E2D-A559-BA3CE6C90F8E}"/>
                </a:ext>
              </a:extLst>
            </p:cNvPr>
            <p:cNvSpPr/>
            <p:nvPr/>
          </p:nvSpPr>
          <p:spPr>
            <a:xfrm rot="7484129">
              <a:off x="1671539" y="327736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9" name="Forme libre : forme 2148">
              <a:extLst>
                <a:ext uri="{FF2B5EF4-FFF2-40B4-BE49-F238E27FC236}">
                  <a16:creationId xmlns:a16="http://schemas.microsoft.com/office/drawing/2014/main" id="{DDE34510-8FA7-4B53-A035-4965BDBF96B3}"/>
                </a:ext>
              </a:extLst>
            </p:cNvPr>
            <p:cNvSpPr/>
            <p:nvPr/>
          </p:nvSpPr>
          <p:spPr>
            <a:xfrm rot="13089394">
              <a:off x="1776359" y="324390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0" name="Forme libre : forme 2149">
              <a:extLst>
                <a:ext uri="{FF2B5EF4-FFF2-40B4-BE49-F238E27FC236}">
                  <a16:creationId xmlns:a16="http://schemas.microsoft.com/office/drawing/2014/main" id="{4BB6C526-1010-4A1E-9912-BB67A42E4090}"/>
                </a:ext>
              </a:extLst>
            </p:cNvPr>
            <p:cNvSpPr/>
            <p:nvPr/>
          </p:nvSpPr>
          <p:spPr>
            <a:xfrm rot="8716295">
              <a:off x="1961944" y="305222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1" name="Forme libre : forme 2150">
              <a:extLst>
                <a:ext uri="{FF2B5EF4-FFF2-40B4-BE49-F238E27FC236}">
                  <a16:creationId xmlns:a16="http://schemas.microsoft.com/office/drawing/2014/main" id="{F4134A25-BDCE-4B34-AD80-5279EE73B812}"/>
                </a:ext>
              </a:extLst>
            </p:cNvPr>
            <p:cNvSpPr/>
            <p:nvPr/>
          </p:nvSpPr>
          <p:spPr>
            <a:xfrm rot="8716295">
              <a:off x="1910139" y="294862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2" name="Forme libre : forme 2151">
              <a:extLst>
                <a:ext uri="{FF2B5EF4-FFF2-40B4-BE49-F238E27FC236}">
                  <a16:creationId xmlns:a16="http://schemas.microsoft.com/office/drawing/2014/main" id="{B08A59B2-7AD4-4CE7-B6F7-0E9654D5CD55}"/>
                </a:ext>
              </a:extLst>
            </p:cNvPr>
            <p:cNvSpPr/>
            <p:nvPr/>
          </p:nvSpPr>
          <p:spPr>
            <a:xfrm rot="8716295">
              <a:off x="1666893" y="297885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3" name="Forme libre : forme 2152">
              <a:extLst>
                <a:ext uri="{FF2B5EF4-FFF2-40B4-BE49-F238E27FC236}">
                  <a16:creationId xmlns:a16="http://schemas.microsoft.com/office/drawing/2014/main" id="{103CB056-39D3-4816-9465-68CA4D6F7AFD}"/>
                </a:ext>
              </a:extLst>
            </p:cNvPr>
            <p:cNvSpPr/>
            <p:nvPr/>
          </p:nvSpPr>
          <p:spPr>
            <a:xfrm rot="8716295">
              <a:off x="1844345" y="281960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4" name="Forme libre : forme 2153">
              <a:extLst>
                <a:ext uri="{FF2B5EF4-FFF2-40B4-BE49-F238E27FC236}">
                  <a16:creationId xmlns:a16="http://schemas.microsoft.com/office/drawing/2014/main" id="{BB2685A7-9846-429A-B032-E76F8406BAD2}"/>
                </a:ext>
              </a:extLst>
            </p:cNvPr>
            <p:cNvSpPr/>
            <p:nvPr/>
          </p:nvSpPr>
          <p:spPr>
            <a:xfrm rot="8716295">
              <a:off x="2092137" y="5100860"/>
              <a:ext cx="63833" cy="43384"/>
            </a:xfrm>
            <a:custGeom>
              <a:avLst/>
              <a:gdLst>
                <a:gd name="connsiteX0" fmla="*/ 5923 w 63833"/>
                <a:gd name="connsiteY0" fmla="*/ 43384 h 43384"/>
                <a:gd name="connsiteX1" fmla="*/ 0 w 63833"/>
                <a:gd name="connsiteY1" fmla="*/ 35182 h 43384"/>
                <a:gd name="connsiteX2" fmla="*/ 37391 w 63833"/>
                <a:gd name="connsiteY2" fmla="*/ 0 h 43384"/>
                <a:gd name="connsiteX3" fmla="*/ 63833 w 63833"/>
                <a:gd name="connsiteY3" fmla="*/ 18329 h 4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833" h="43384">
                  <a:moveTo>
                    <a:pt x="5923" y="43384"/>
                  </a:moveTo>
                  <a:lnTo>
                    <a:pt x="0" y="35182"/>
                  </a:lnTo>
                  <a:lnTo>
                    <a:pt x="37391" y="0"/>
                  </a:lnTo>
                  <a:lnTo>
                    <a:pt x="63833" y="1832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5" name="Forme libre : forme 2154">
              <a:extLst>
                <a:ext uri="{FF2B5EF4-FFF2-40B4-BE49-F238E27FC236}">
                  <a16:creationId xmlns:a16="http://schemas.microsoft.com/office/drawing/2014/main" id="{1551E1ED-BCFB-4644-83F8-51D351159ECB}"/>
                </a:ext>
              </a:extLst>
            </p:cNvPr>
            <p:cNvSpPr/>
            <p:nvPr/>
          </p:nvSpPr>
          <p:spPr>
            <a:xfrm rot="8716295">
              <a:off x="1789040" y="5044339"/>
              <a:ext cx="113322" cy="144291"/>
            </a:xfrm>
            <a:custGeom>
              <a:avLst/>
              <a:gdLst>
                <a:gd name="connsiteX0" fmla="*/ 0 w 113322"/>
                <a:gd name="connsiteY0" fmla="*/ 3741 h 144291"/>
                <a:gd name="connsiteX1" fmla="*/ 0 w 113322"/>
                <a:gd name="connsiteY1" fmla="*/ 0 h 144291"/>
                <a:gd name="connsiteX2" fmla="*/ 5398 w 113322"/>
                <a:gd name="connsiteY2" fmla="*/ 3741 h 144291"/>
                <a:gd name="connsiteX3" fmla="*/ 90709 w 113322"/>
                <a:gd name="connsiteY3" fmla="*/ 144291 h 144291"/>
                <a:gd name="connsiteX4" fmla="*/ 47847 w 113322"/>
                <a:gd name="connsiteY4" fmla="*/ 64547 h 144291"/>
                <a:gd name="connsiteX5" fmla="*/ 56901 w 113322"/>
                <a:gd name="connsiteY5" fmla="*/ 39441 h 144291"/>
                <a:gd name="connsiteX6" fmla="*/ 113322 w 113322"/>
                <a:gd name="connsiteY6" fmla="*/ 78551 h 144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322" h="144291">
                  <a:moveTo>
                    <a:pt x="0" y="3741"/>
                  </a:moveTo>
                  <a:lnTo>
                    <a:pt x="0" y="0"/>
                  </a:lnTo>
                  <a:lnTo>
                    <a:pt x="5398" y="3741"/>
                  </a:lnTo>
                  <a:close/>
                  <a:moveTo>
                    <a:pt x="90709" y="144291"/>
                  </a:moveTo>
                  <a:lnTo>
                    <a:pt x="47847" y="64547"/>
                  </a:lnTo>
                  <a:lnTo>
                    <a:pt x="56901" y="39441"/>
                  </a:lnTo>
                  <a:lnTo>
                    <a:pt x="113322" y="7855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6" name="Forme libre : forme 2155">
              <a:extLst>
                <a:ext uri="{FF2B5EF4-FFF2-40B4-BE49-F238E27FC236}">
                  <a16:creationId xmlns:a16="http://schemas.microsoft.com/office/drawing/2014/main" id="{225E9856-4565-4211-849D-72975628AB50}"/>
                </a:ext>
              </a:extLst>
            </p:cNvPr>
            <p:cNvSpPr/>
            <p:nvPr/>
          </p:nvSpPr>
          <p:spPr>
            <a:xfrm rot="8716295">
              <a:off x="1701335" y="4927006"/>
              <a:ext cx="290643" cy="318535"/>
            </a:xfrm>
            <a:custGeom>
              <a:avLst/>
              <a:gdLst>
                <a:gd name="connsiteX0" fmla="*/ 25298 w 290643"/>
                <a:gd name="connsiteY0" fmla="*/ 288944 h 318535"/>
                <a:gd name="connsiteX1" fmla="*/ 0 w 290643"/>
                <a:gd name="connsiteY1" fmla="*/ 187748 h 318535"/>
                <a:gd name="connsiteX2" fmla="*/ 0 w 290643"/>
                <a:gd name="connsiteY2" fmla="*/ 8302 h 318535"/>
                <a:gd name="connsiteX3" fmla="*/ 16003 w 290643"/>
                <a:gd name="connsiteY3" fmla="*/ 0 h 318535"/>
                <a:gd name="connsiteX4" fmla="*/ 78793 w 290643"/>
                <a:gd name="connsiteY4" fmla="*/ 43524 h 318535"/>
                <a:gd name="connsiteX5" fmla="*/ 79427 w 290643"/>
                <a:gd name="connsiteY5" fmla="*/ 131855 h 318535"/>
                <a:gd name="connsiteX6" fmla="*/ 93547 w 290643"/>
                <a:gd name="connsiteY6" fmla="*/ 229521 h 318535"/>
                <a:gd name="connsiteX7" fmla="*/ 164149 w 290643"/>
                <a:gd name="connsiteY7" fmla="*/ 268352 h 318535"/>
                <a:gd name="connsiteX8" fmla="*/ 217100 w 290643"/>
                <a:gd name="connsiteY8" fmla="*/ 258938 h 318535"/>
                <a:gd name="connsiteX9" fmla="*/ 289467 w 290643"/>
                <a:gd name="connsiteY9" fmla="*/ 229521 h 318535"/>
                <a:gd name="connsiteX10" fmla="*/ 290643 w 290643"/>
                <a:gd name="connsiteY10" fmla="*/ 237169 h 318535"/>
                <a:gd name="connsiteX11" fmla="*/ 290643 w 290643"/>
                <a:gd name="connsiteY11" fmla="*/ 243052 h 318535"/>
                <a:gd name="connsiteX12" fmla="*/ 97665 w 290643"/>
                <a:gd name="connsiteY12" fmla="*/ 318361 h 318535"/>
                <a:gd name="connsiteX13" fmla="*/ 25298 w 290643"/>
                <a:gd name="connsiteY13" fmla="*/ 288944 h 318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90643" h="318535">
                  <a:moveTo>
                    <a:pt x="25298" y="288944"/>
                  </a:moveTo>
                  <a:cubicBezTo>
                    <a:pt x="5295" y="269528"/>
                    <a:pt x="0" y="235992"/>
                    <a:pt x="0" y="187748"/>
                  </a:cubicBezTo>
                  <a:lnTo>
                    <a:pt x="0" y="8302"/>
                  </a:lnTo>
                  <a:lnTo>
                    <a:pt x="16003" y="0"/>
                  </a:lnTo>
                  <a:lnTo>
                    <a:pt x="78793" y="43524"/>
                  </a:lnTo>
                  <a:lnTo>
                    <a:pt x="79427" y="131855"/>
                  </a:lnTo>
                  <a:cubicBezTo>
                    <a:pt x="77662" y="164803"/>
                    <a:pt x="82957" y="198338"/>
                    <a:pt x="93547" y="229521"/>
                  </a:cubicBezTo>
                  <a:cubicBezTo>
                    <a:pt x="102961" y="255408"/>
                    <a:pt x="127083" y="268352"/>
                    <a:pt x="164149" y="268352"/>
                  </a:cubicBezTo>
                  <a:cubicBezTo>
                    <a:pt x="182387" y="267763"/>
                    <a:pt x="200038" y="264233"/>
                    <a:pt x="217100" y="258938"/>
                  </a:cubicBezTo>
                  <a:cubicBezTo>
                    <a:pt x="241810" y="251290"/>
                    <a:pt x="265933" y="241288"/>
                    <a:pt x="289467" y="229521"/>
                  </a:cubicBezTo>
                  <a:cubicBezTo>
                    <a:pt x="290055" y="231874"/>
                    <a:pt x="290643" y="234816"/>
                    <a:pt x="290643" y="237169"/>
                  </a:cubicBezTo>
                  <a:lnTo>
                    <a:pt x="290643" y="243052"/>
                  </a:lnTo>
                  <a:cubicBezTo>
                    <a:pt x="228278" y="296592"/>
                    <a:pt x="146498" y="315419"/>
                    <a:pt x="97665" y="318361"/>
                  </a:cubicBezTo>
                  <a:cubicBezTo>
                    <a:pt x="70602" y="320126"/>
                    <a:pt x="44126" y="308359"/>
                    <a:pt x="25298" y="28894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7" name="Forme libre : forme 2156">
              <a:extLst>
                <a:ext uri="{FF2B5EF4-FFF2-40B4-BE49-F238E27FC236}">
                  <a16:creationId xmlns:a16="http://schemas.microsoft.com/office/drawing/2014/main" id="{0F4D380E-862F-4707-A19B-1E97A2112DC2}"/>
                </a:ext>
              </a:extLst>
            </p:cNvPr>
            <p:cNvSpPr/>
            <p:nvPr/>
          </p:nvSpPr>
          <p:spPr>
            <a:xfrm rot="8716295">
              <a:off x="2251190" y="4935850"/>
              <a:ext cx="142167" cy="232388"/>
            </a:xfrm>
            <a:custGeom>
              <a:avLst/>
              <a:gdLst>
                <a:gd name="connsiteX0" fmla="*/ 81108 w 142167"/>
                <a:gd name="connsiteY0" fmla="*/ 232388 h 232388"/>
                <a:gd name="connsiteX1" fmla="*/ 81108 w 142167"/>
                <a:gd name="connsiteY1" fmla="*/ 69716 h 232388"/>
                <a:gd name="connsiteX2" fmla="*/ 81108 w 142167"/>
                <a:gd name="connsiteY2" fmla="*/ 65616 h 232388"/>
                <a:gd name="connsiteX3" fmla="*/ 60604 w 142167"/>
                <a:gd name="connsiteY3" fmla="*/ 50123 h 232388"/>
                <a:gd name="connsiteX4" fmla="*/ 0 w 142167"/>
                <a:gd name="connsiteY4" fmla="*/ 50123 h 232388"/>
                <a:gd name="connsiteX5" fmla="*/ 0 w 142167"/>
                <a:gd name="connsiteY5" fmla="*/ 0 h 232388"/>
                <a:gd name="connsiteX6" fmla="*/ 63990 w 142167"/>
                <a:gd name="connsiteY6" fmla="*/ 0 h 232388"/>
                <a:gd name="connsiteX7" fmla="*/ 142167 w 142167"/>
                <a:gd name="connsiteY7" fmla="*/ 54190 h 232388"/>
                <a:gd name="connsiteX8" fmla="*/ 142167 w 142167"/>
                <a:gd name="connsiteY8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32388">
                  <a:moveTo>
                    <a:pt x="81108" y="232388"/>
                  </a:moveTo>
                  <a:lnTo>
                    <a:pt x="81108" y="69716"/>
                  </a:lnTo>
                  <a:cubicBezTo>
                    <a:pt x="81108" y="68350"/>
                    <a:pt x="81108" y="66983"/>
                    <a:pt x="81108" y="65616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63990" y="0"/>
                  </a:lnTo>
                  <a:lnTo>
                    <a:pt x="142167" y="54190"/>
                  </a:lnTo>
                  <a:lnTo>
                    <a:pt x="142167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8" name="Forme libre : forme 2157">
              <a:extLst>
                <a:ext uri="{FF2B5EF4-FFF2-40B4-BE49-F238E27FC236}">
                  <a16:creationId xmlns:a16="http://schemas.microsoft.com/office/drawing/2014/main" id="{87F138DF-A215-4254-ACAA-04DDE52CD8B6}"/>
                </a:ext>
              </a:extLst>
            </p:cNvPr>
            <p:cNvSpPr/>
            <p:nvPr/>
          </p:nvSpPr>
          <p:spPr>
            <a:xfrm rot="8716295">
              <a:off x="2456859" y="4924575"/>
              <a:ext cx="131246" cy="253348"/>
            </a:xfrm>
            <a:custGeom>
              <a:avLst/>
              <a:gdLst>
                <a:gd name="connsiteX0" fmla="*/ 51490 w 131246"/>
                <a:gd name="connsiteY0" fmla="*/ 253348 h 253348"/>
                <a:gd name="connsiteX1" fmla="*/ 51489 w 131246"/>
                <a:gd name="connsiteY1" fmla="*/ 44199 h 253348"/>
                <a:gd name="connsiteX2" fmla="*/ 0 w 131246"/>
                <a:gd name="connsiteY2" fmla="*/ 44199 h 253348"/>
                <a:gd name="connsiteX3" fmla="*/ 0 w 131246"/>
                <a:gd name="connsiteY3" fmla="*/ 0 h 253348"/>
                <a:gd name="connsiteX4" fmla="*/ 44807 w 131246"/>
                <a:gd name="connsiteY4" fmla="*/ 0 h 253348"/>
                <a:gd name="connsiteX5" fmla="*/ 104802 w 131246"/>
                <a:gd name="connsiteY5" fmla="*/ 41587 h 253348"/>
                <a:gd name="connsiteX6" fmla="*/ 104802 w 131246"/>
                <a:gd name="connsiteY6" fmla="*/ 73817 h 253348"/>
                <a:gd name="connsiteX7" fmla="*/ 106169 w 131246"/>
                <a:gd name="connsiteY7" fmla="*/ 73817 h 253348"/>
                <a:gd name="connsiteX8" fmla="*/ 115569 w 131246"/>
                <a:gd name="connsiteY8" fmla="*/ 49050 h 253348"/>
                <a:gd name="connsiteX9" fmla="*/ 131246 w 131246"/>
                <a:gd name="connsiteY9" fmla="*/ 59916 h 253348"/>
                <a:gd name="connsiteX10" fmla="*/ 127358 w 131246"/>
                <a:gd name="connsiteY10" fmla="*/ 64191 h 253348"/>
                <a:gd name="connsiteX11" fmla="*/ 111638 w 131246"/>
                <a:gd name="connsiteY11" fmla="*/ 126218 h 253348"/>
                <a:gd name="connsiteX12" fmla="*/ 111638 w 131246"/>
                <a:gd name="connsiteY12" fmla="*/ 212339 h 253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1246" h="253348">
                  <a:moveTo>
                    <a:pt x="51490" y="253348"/>
                  </a:moveTo>
                  <a:lnTo>
                    <a:pt x="51489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44807" y="0"/>
                  </a:lnTo>
                  <a:lnTo>
                    <a:pt x="104802" y="41587"/>
                  </a:lnTo>
                  <a:lnTo>
                    <a:pt x="104802" y="73817"/>
                  </a:lnTo>
                  <a:lnTo>
                    <a:pt x="106169" y="73817"/>
                  </a:lnTo>
                  <a:lnTo>
                    <a:pt x="115569" y="49050"/>
                  </a:lnTo>
                  <a:lnTo>
                    <a:pt x="131246" y="59916"/>
                  </a:lnTo>
                  <a:lnTo>
                    <a:pt x="127358" y="64191"/>
                  </a:lnTo>
                  <a:cubicBezTo>
                    <a:pt x="117675" y="79968"/>
                    <a:pt x="111638" y="101840"/>
                    <a:pt x="111638" y="126218"/>
                  </a:cubicBezTo>
                  <a:lnTo>
                    <a:pt x="111638" y="2123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59" name="Forme libre : forme 2158">
              <a:extLst>
                <a:ext uri="{FF2B5EF4-FFF2-40B4-BE49-F238E27FC236}">
                  <a16:creationId xmlns:a16="http://schemas.microsoft.com/office/drawing/2014/main" id="{21433117-8AAD-4CA9-9660-FC5A8F69F16F}"/>
                </a:ext>
              </a:extLst>
            </p:cNvPr>
            <p:cNvSpPr/>
            <p:nvPr/>
          </p:nvSpPr>
          <p:spPr>
            <a:xfrm rot="8716295">
              <a:off x="2139785" y="502413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0" name="Forme libre : forme 2159">
              <a:extLst>
                <a:ext uri="{FF2B5EF4-FFF2-40B4-BE49-F238E27FC236}">
                  <a16:creationId xmlns:a16="http://schemas.microsoft.com/office/drawing/2014/main" id="{06B19A57-02F4-4720-99D9-55A2BEE2C0D4}"/>
                </a:ext>
              </a:extLst>
            </p:cNvPr>
            <p:cNvSpPr/>
            <p:nvPr/>
          </p:nvSpPr>
          <p:spPr>
            <a:xfrm rot="8716295">
              <a:off x="2014883" y="481546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1" name="Forme libre : forme 2160">
              <a:extLst>
                <a:ext uri="{FF2B5EF4-FFF2-40B4-BE49-F238E27FC236}">
                  <a16:creationId xmlns:a16="http://schemas.microsoft.com/office/drawing/2014/main" id="{DDDE473C-0945-4D7B-9870-6AD6EC305155}"/>
                </a:ext>
              </a:extLst>
            </p:cNvPr>
            <p:cNvSpPr/>
            <p:nvPr/>
          </p:nvSpPr>
          <p:spPr>
            <a:xfrm rot="8716295">
              <a:off x="2190257" y="5090583"/>
              <a:ext cx="60147" cy="76898"/>
            </a:xfrm>
            <a:custGeom>
              <a:avLst/>
              <a:gdLst>
                <a:gd name="connsiteX0" fmla="*/ 60147 w 60147"/>
                <a:gd name="connsiteY0" fmla="*/ 76898 h 76898"/>
                <a:gd name="connsiteX1" fmla="*/ 0 w 60147"/>
                <a:gd name="connsiteY1" fmla="*/ 19028 h 76898"/>
                <a:gd name="connsiteX2" fmla="*/ 0 w 60147"/>
                <a:gd name="connsiteY2" fmla="*/ 0 h 76898"/>
                <a:gd name="connsiteX3" fmla="*/ 60147 w 60147"/>
                <a:gd name="connsiteY3" fmla="*/ 41692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7" h="76898">
                  <a:moveTo>
                    <a:pt x="60147" y="76898"/>
                  </a:moveTo>
                  <a:lnTo>
                    <a:pt x="0" y="19028"/>
                  </a:lnTo>
                  <a:lnTo>
                    <a:pt x="0" y="0"/>
                  </a:lnTo>
                  <a:lnTo>
                    <a:pt x="60147" y="416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2" name="Forme libre : forme 2161">
              <a:extLst>
                <a:ext uri="{FF2B5EF4-FFF2-40B4-BE49-F238E27FC236}">
                  <a16:creationId xmlns:a16="http://schemas.microsoft.com/office/drawing/2014/main" id="{E08FB812-18F4-4980-B27F-475CA6F734E7}"/>
                </a:ext>
              </a:extLst>
            </p:cNvPr>
            <p:cNvSpPr/>
            <p:nvPr/>
          </p:nvSpPr>
          <p:spPr>
            <a:xfrm rot="8716295">
              <a:off x="1988512" y="491548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3" name="Forme libre : forme 2162">
              <a:extLst>
                <a:ext uri="{FF2B5EF4-FFF2-40B4-BE49-F238E27FC236}">
                  <a16:creationId xmlns:a16="http://schemas.microsoft.com/office/drawing/2014/main" id="{698261C6-8F0A-4C69-96B5-C2C92CFC8151}"/>
                </a:ext>
              </a:extLst>
            </p:cNvPr>
            <p:cNvSpPr/>
            <p:nvPr/>
          </p:nvSpPr>
          <p:spPr>
            <a:xfrm rot="8716295">
              <a:off x="2650789" y="5021708"/>
              <a:ext cx="177699" cy="117559"/>
            </a:xfrm>
            <a:custGeom>
              <a:avLst/>
              <a:gdLst>
                <a:gd name="connsiteX0" fmla="*/ 6986 w 177699"/>
                <a:gd name="connsiteY0" fmla="*/ 117559 h 117559"/>
                <a:gd name="connsiteX1" fmla="*/ 0 w 177699"/>
                <a:gd name="connsiteY1" fmla="*/ 107886 h 117559"/>
                <a:gd name="connsiteX2" fmla="*/ 114658 w 177699"/>
                <a:gd name="connsiteY2" fmla="*/ 0 h 117559"/>
                <a:gd name="connsiteX3" fmla="*/ 177699 w 177699"/>
                <a:gd name="connsiteY3" fmla="*/ 43698 h 117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7699" h="117559">
                  <a:moveTo>
                    <a:pt x="6986" y="117559"/>
                  </a:moveTo>
                  <a:lnTo>
                    <a:pt x="0" y="107886"/>
                  </a:lnTo>
                  <a:lnTo>
                    <a:pt x="114658" y="0"/>
                  </a:lnTo>
                  <a:lnTo>
                    <a:pt x="177699" y="436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4" name="Forme libre : forme 2163">
              <a:extLst>
                <a:ext uri="{FF2B5EF4-FFF2-40B4-BE49-F238E27FC236}">
                  <a16:creationId xmlns:a16="http://schemas.microsoft.com/office/drawing/2014/main" id="{CEFAFB5F-0AC3-4989-96BE-6254D2E906AF}"/>
                </a:ext>
              </a:extLst>
            </p:cNvPr>
            <p:cNvSpPr/>
            <p:nvPr/>
          </p:nvSpPr>
          <p:spPr>
            <a:xfrm rot="8716295">
              <a:off x="2573494" y="492769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5" name="Forme libre : forme 2164">
              <a:extLst>
                <a:ext uri="{FF2B5EF4-FFF2-40B4-BE49-F238E27FC236}">
                  <a16:creationId xmlns:a16="http://schemas.microsoft.com/office/drawing/2014/main" id="{26F6B6DC-9027-450B-92D7-F34A3A491FBF}"/>
                </a:ext>
              </a:extLst>
            </p:cNvPr>
            <p:cNvSpPr/>
            <p:nvPr/>
          </p:nvSpPr>
          <p:spPr>
            <a:xfrm rot="8716295">
              <a:off x="2330248" y="495791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6" name="Forme libre : forme 2165">
              <a:extLst>
                <a:ext uri="{FF2B5EF4-FFF2-40B4-BE49-F238E27FC236}">
                  <a16:creationId xmlns:a16="http://schemas.microsoft.com/office/drawing/2014/main" id="{0F4E3D83-A89E-4A3D-8DFA-0B99A9944664}"/>
                </a:ext>
              </a:extLst>
            </p:cNvPr>
            <p:cNvSpPr/>
            <p:nvPr/>
          </p:nvSpPr>
          <p:spPr>
            <a:xfrm rot="8716295">
              <a:off x="2507700" y="479867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7" name="Forme libre : forme 2166">
              <a:extLst>
                <a:ext uri="{FF2B5EF4-FFF2-40B4-BE49-F238E27FC236}">
                  <a16:creationId xmlns:a16="http://schemas.microsoft.com/office/drawing/2014/main" id="{E36A73C5-A750-41BE-8891-686B78AEED60}"/>
                </a:ext>
              </a:extLst>
            </p:cNvPr>
            <p:cNvSpPr/>
            <p:nvPr/>
          </p:nvSpPr>
          <p:spPr>
            <a:xfrm rot="8716295">
              <a:off x="1518235" y="386507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8" name="Forme libre : forme 2167">
              <a:extLst>
                <a:ext uri="{FF2B5EF4-FFF2-40B4-BE49-F238E27FC236}">
                  <a16:creationId xmlns:a16="http://schemas.microsoft.com/office/drawing/2014/main" id="{1E259F04-3FF0-484F-936A-BF05D81BA7F9}"/>
                </a:ext>
              </a:extLst>
            </p:cNvPr>
            <p:cNvSpPr/>
            <p:nvPr/>
          </p:nvSpPr>
          <p:spPr>
            <a:xfrm rot="8716295">
              <a:off x="1607627" y="389431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69" name="Forme libre : forme 2168">
              <a:extLst>
                <a:ext uri="{FF2B5EF4-FFF2-40B4-BE49-F238E27FC236}">
                  <a16:creationId xmlns:a16="http://schemas.microsoft.com/office/drawing/2014/main" id="{F7188107-3596-40BA-A19D-D4C36F703AA3}"/>
                </a:ext>
              </a:extLst>
            </p:cNvPr>
            <p:cNvSpPr/>
            <p:nvPr/>
          </p:nvSpPr>
          <p:spPr>
            <a:xfrm rot="8716295">
              <a:off x="1562777" y="380803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0" name="Forme libre : forme 2169">
              <a:extLst>
                <a:ext uri="{FF2B5EF4-FFF2-40B4-BE49-F238E27FC236}">
                  <a16:creationId xmlns:a16="http://schemas.microsoft.com/office/drawing/2014/main" id="{F0B5B849-6A09-4CB1-94BD-59AAAA00B41D}"/>
                </a:ext>
              </a:extLst>
            </p:cNvPr>
            <p:cNvSpPr/>
            <p:nvPr/>
          </p:nvSpPr>
          <p:spPr>
            <a:xfrm rot="8716295">
              <a:off x="1406001" y="395361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1" name="Forme libre : forme 2170">
              <a:extLst>
                <a:ext uri="{FF2B5EF4-FFF2-40B4-BE49-F238E27FC236}">
                  <a16:creationId xmlns:a16="http://schemas.microsoft.com/office/drawing/2014/main" id="{310927B8-5E88-4650-8C8B-F5EEB8CBF984}"/>
                </a:ext>
              </a:extLst>
            </p:cNvPr>
            <p:cNvSpPr/>
            <p:nvPr/>
          </p:nvSpPr>
          <p:spPr>
            <a:xfrm rot="8716295">
              <a:off x="1281098" y="374494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2" name="Forme libre : forme 2171">
              <a:extLst>
                <a:ext uri="{FF2B5EF4-FFF2-40B4-BE49-F238E27FC236}">
                  <a16:creationId xmlns:a16="http://schemas.microsoft.com/office/drawing/2014/main" id="{0077CC8A-BF45-4BE4-8C2F-92F79577CBE1}"/>
                </a:ext>
              </a:extLst>
            </p:cNvPr>
            <p:cNvSpPr/>
            <p:nvPr/>
          </p:nvSpPr>
          <p:spPr>
            <a:xfrm rot="8716295">
              <a:off x="1269046" y="3606161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3" name="Forme libre : forme 2172">
              <a:extLst>
                <a:ext uri="{FF2B5EF4-FFF2-40B4-BE49-F238E27FC236}">
                  <a16:creationId xmlns:a16="http://schemas.microsoft.com/office/drawing/2014/main" id="{4B1B0D55-FB5B-4C21-B16D-8B7A58AA2F48}"/>
                </a:ext>
              </a:extLst>
            </p:cNvPr>
            <p:cNvSpPr/>
            <p:nvPr/>
          </p:nvSpPr>
          <p:spPr>
            <a:xfrm rot="8716295">
              <a:off x="1496179" y="399456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4" name="Forme libre : forme 2173">
              <a:extLst>
                <a:ext uri="{FF2B5EF4-FFF2-40B4-BE49-F238E27FC236}">
                  <a16:creationId xmlns:a16="http://schemas.microsoft.com/office/drawing/2014/main" id="{6AFD4B44-0013-46C7-89C1-7C63AAB4D987}"/>
                </a:ext>
              </a:extLst>
            </p:cNvPr>
            <p:cNvSpPr/>
            <p:nvPr/>
          </p:nvSpPr>
          <p:spPr>
            <a:xfrm rot="8716295">
              <a:off x="1807334" y="36149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5" name="Forme libre : forme 2174">
              <a:extLst>
                <a:ext uri="{FF2B5EF4-FFF2-40B4-BE49-F238E27FC236}">
                  <a16:creationId xmlns:a16="http://schemas.microsoft.com/office/drawing/2014/main" id="{B061716B-E619-4B2C-A2CB-AB4D2606E002}"/>
                </a:ext>
              </a:extLst>
            </p:cNvPr>
            <p:cNvSpPr/>
            <p:nvPr/>
          </p:nvSpPr>
          <p:spPr>
            <a:xfrm rot="8716295">
              <a:off x="1896726" y="36441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6" name="Forme libre : forme 2175">
              <a:extLst>
                <a:ext uri="{FF2B5EF4-FFF2-40B4-BE49-F238E27FC236}">
                  <a16:creationId xmlns:a16="http://schemas.microsoft.com/office/drawing/2014/main" id="{80D807FA-1A3A-4ABF-AF3B-F275183E0A00}"/>
                </a:ext>
              </a:extLst>
            </p:cNvPr>
            <p:cNvSpPr/>
            <p:nvPr/>
          </p:nvSpPr>
          <p:spPr>
            <a:xfrm rot="8716295">
              <a:off x="1695100" y="370346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7" name="Forme libre : forme 2176">
              <a:extLst>
                <a:ext uri="{FF2B5EF4-FFF2-40B4-BE49-F238E27FC236}">
                  <a16:creationId xmlns:a16="http://schemas.microsoft.com/office/drawing/2014/main" id="{032DF9FF-0CD8-4491-9035-5269ADB59100}"/>
                </a:ext>
              </a:extLst>
            </p:cNvPr>
            <p:cNvSpPr/>
            <p:nvPr/>
          </p:nvSpPr>
          <p:spPr>
            <a:xfrm rot="8716295">
              <a:off x="1570198" y="349478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8" name="Forme libre : forme 2177">
              <a:extLst>
                <a:ext uri="{FF2B5EF4-FFF2-40B4-BE49-F238E27FC236}">
                  <a16:creationId xmlns:a16="http://schemas.microsoft.com/office/drawing/2014/main" id="{5F6C4221-EAB2-436F-B193-7A3F5601B69D}"/>
                </a:ext>
              </a:extLst>
            </p:cNvPr>
            <p:cNvSpPr/>
            <p:nvPr/>
          </p:nvSpPr>
          <p:spPr>
            <a:xfrm rot="8716295">
              <a:off x="1785278" y="37444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79" name="Forme libre : forme 2178">
              <a:extLst>
                <a:ext uri="{FF2B5EF4-FFF2-40B4-BE49-F238E27FC236}">
                  <a16:creationId xmlns:a16="http://schemas.microsoft.com/office/drawing/2014/main" id="{2C3899F1-7908-415E-AC18-381FF5AACA99}"/>
                </a:ext>
              </a:extLst>
            </p:cNvPr>
            <p:cNvSpPr/>
            <p:nvPr/>
          </p:nvSpPr>
          <p:spPr>
            <a:xfrm rot="8716295">
              <a:off x="1543827" y="359481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0" name="Forme libre : forme 2179">
              <a:extLst>
                <a:ext uri="{FF2B5EF4-FFF2-40B4-BE49-F238E27FC236}">
                  <a16:creationId xmlns:a16="http://schemas.microsoft.com/office/drawing/2014/main" id="{A25A3A19-36CC-4BEB-89D4-7074BE692A4E}"/>
                </a:ext>
              </a:extLst>
            </p:cNvPr>
            <p:cNvSpPr/>
            <p:nvPr/>
          </p:nvSpPr>
          <p:spPr>
            <a:xfrm rot="7484129">
              <a:off x="1890209" y="393576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1" name="Forme libre : forme 2180">
              <a:extLst>
                <a:ext uri="{FF2B5EF4-FFF2-40B4-BE49-F238E27FC236}">
                  <a16:creationId xmlns:a16="http://schemas.microsoft.com/office/drawing/2014/main" id="{4AF8F556-7C68-44A7-A9D4-1E80B8EE1F70}"/>
                </a:ext>
              </a:extLst>
            </p:cNvPr>
            <p:cNvSpPr/>
            <p:nvPr/>
          </p:nvSpPr>
          <p:spPr>
            <a:xfrm rot="13089394">
              <a:off x="1995029" y="3902299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2" name="Forme libre : forme 2181">
              <a:extLst>
                <a:ext uri="{FF2B5EF4-FFF2-40B4-BE49-F238E27FC236}">
                  <a16:creationId xmlns:a16="http://schemas.microsoft.com/office/drawing/2014/main" id="{474B8F0A-192E-4408-976E-CFE766B0E660}"/>
                </a:ext>
              </a:extLst>
            </p:cNvPr>
            <p:cNvSpPr/>
            <p:nvPr/>
          </p:nvSpPr>
          <p:spPr>
            <a:xfrm rot="8716295">
              <a:off x="2180614" y="371061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3" name="Forme libre : forme 2182">
              <a:extLst>
                <a:ext uri="{FF2B5EF4-FFF2-40B4-BE49-F238E27FC236}">
                  <a16:creationId xmlns:a16="http://schemas.microsoft.com/office/drawing/2014/main" id="{08147D7D-246F-4267-9328-9CD9D53CB053}"/>
                </a:ext>
              </a:extLst>
            </p:cNvPr>
            <p:cNvSpPr/>
            <p:nvPr/>
          </p:nvSpPr>
          <p:spPr>
            <a:xfrm rot="8716295">
              <a:off x="2128809" y="360702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4" name="Forme libre : forme 2183">
              <a:extLst>
                <a:ext uri="{FF2B5EF4-FFF2-40B4-BE49-F238E27FC236}">
                  <a16:creationId xmlns:a16="http://schemas.microsoft.com/office/drawing/2014/main" id="{BFD4EEA9-74F4-491C-BCB2-C3F42835DD07}"/>
                </a:ext>
              </a:extLst>
            </p:cNvPr>
            <p:cNvSpPr/>
            <p:nvPr/>
          </p:nvSpPr>
          <p:spPr>
            <a:xfrm rot="8716295">
              <a:off x="1885563" y="36372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5" name="Forme libre : forme 2184">
              <a:extLst>
                <a:ext uri="{FF2B5EF4-FFF2-40B4-BE49-F238E27FC236}">
                  <a16:creationId xmlns:a16="http://schemas.microsoft.com/office/drawing/2014/main" id="{913E5A75-2F0F-4FF8-AF12-57EBAAC870EA}"/>
                </a:ext>
              </a:extLst>
            </p:cNvPr>
            <p:cNvSpPr/>
            <p:nvPr/>
          </p:nvSpPr>
          <p:spPr>
            <a:xfrm rot="8716295">
              <a:off x="2063015" y="34780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6" name="Forme libre : forme 2185">
              <a:extLst>
                <a:ext uri="{FF2B5EF4-FFF2-40B4-BE49-F238E27FC236}">
                  <a16:creationId xmlns:a16="http://schemas.microsoft.com/office/drawing/2014/main" id="{4571DC5F-CE18-47DF-9FDC-F2290176BF72}"/>
                </a:ext>
              </a:extLst>
            </p:cNvPr>
            <p:cNvSpPr/>
            <p:nvPr/>
          </p:nvSpPr>
          <p:spPr>
            <a:xfrm rot="8716295">
              <a:off x="1741402" y="452476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7" name="Forme libre : forme 2186">
              <a:extLst>
                <a:ext uri="{FF2B5EF4-FFF2-40B4-BE49-F238E27FC236}">
                  <a16:creationId xmlns:a16="http://schemas.microsoft.com/office/drawing/2014/main" id="{E598998C-D00A-4D75-A58B-A8274CB4E8AC}"/>
                </a:ext>
              </a:extLst>
            </p:cNvPr>
            <p:cNvSpPr/>
            <p:nvPr/>
          </p:nvSpPr>
          <p:spPr>
            <a:xfrm rot="8716295">
              <a:off x="1830794" y="455401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8" name="Forme libre : forme 2187">
              <a:extLst>
                <a:ext uri="{FF2B5EF4-FFF2-40B4-BE49-F238E27FC236}">
                  <a16:creationId xmlns:a16="http://schemas.microsoft.com/office/drawing/2014/main" id="{68EAF022-443D-40AB-977F-80ED0FBBA39F}"/>
                </a:ext>
              </a:extLst>
            </p:cNvPr>
            <p:cNvSpPr/>
            <p:nvPr/>
          </p:nvSpPr>
          <p:spPr>
            <a:xfrm rot="8716295">
              <a:off x="1785944" y="4467731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89" name="Forme libre : forme 2188">
              <a:extLst>
                <a:ext uri="{FF2B5EF4-FFF2-40B4-BE49-F238E27FC236}">
                  <a16:creationId xmlns:a16="http://schemas.microsoft.com/office/drawing/2014/main" id="{9832FD02-47CA-43A0-9ECC-73C95B196066}"/>
                </a:ext>
              </a:extLst>
            </p:cNvPr>
            <p:cNvSpPr/>
            <p:nvPr/>
          </p:nvSpPr>
          <p:spPr>
            <a:xfrm rot="8716295">
              <a:off x="1629168" y="461331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0" name="Forme libre : forme 2189">
              <a:extLst>
                <a:ext uri="{FF2B5EF4-FFF2-40B4-BE49-F238E27FC236}">
                  <a16:creationId xmlns:a16="http://schemas.microsoft.com/office/drawing/2014/main" id="{E4050B9D-DB6D-469C-8D0D-3927E506DFDB}"/>
                </a:ext>
              </a:extLst>
            </p:cNvPr>
            <p:cNvSpPr/>
            <p:nvPr/>
          </p:nvSpPr>
          <p:spPr>
            <a:xfrm rot="8716295">
              <a:off x="1504265" y="440464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1" name="Forme libre : forme 2190">
              <a:extLst>
                <a:ext uri="{FF2B5EF4-FFF2-40B4-BE49-F238E27FC236}">
                  <a16:creationId xmlns:a16="http://schemas.microsoft.com/office/drawing/2014/main" id="{08EA550C-613A-4866-AACF-C27F8E9C22E0}"/>
                </a:ext>
              </a:extLst>
            </p:cNvPr>
            <p:cNvSpPr/>
            <p:nvPr/>
          </p:nvSpPr>
          <p:spPr>
            <a:xfrm rot="8716295">
              <a:off x="1492213" y="4265860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2" name="Forme libre : forme 2191">
              <a:extLst>
                <a:ext uri="{FF2B5EF4-FFF2-40B4-BE49-F238E27FC236}">
                  <a16:creationId xmlns:a16="http://schemas.microsoft.com/office/drawing/2014/main" id="{1CF034C4-4CE9-457C-B36A-A3F9D058C124}"/>
                </a:ext>
              </a:extLst>
            </p:cNvPr>
            <p:cNvSpPr/>
            <p:nvPr/>
          </p:nvSpPr>
          <p:spPr>
            <a:xfrm rot="8716295">
              <a:off x="1719346" y="465426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3" name="Forme libre : forme 2192">
              <a:extLst>
                <a:ext uri="{FF2B5EF4-FFF2-40B4-BE49-F238E27FC236}">
                  <a16:creationId xmlns:a16="http://schemas.microsoft.com/office/drawing/2014/main" id="{D08F0A84-4DD7-4772-AC15-083524AA4A1D}"/>
                </a:ext>
              </a:extLst>
            </p:cNvPr>
            <p:cNvSpPr/>
            <p:nvPr/>
          </p:nvSpPr>
          <p:spPr>
            <a:xfrm rot="8716295">
              <a:off x="2030501" y="427461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4" name="Forme libre : forme 2193">
              <a:extLst>
                <a:ext uri="{FF2B5EF4-FFF2-40B4-BE49-F238E27FC236}">
                  <a16:creationId xmlns:a16="http://schemas.microsoft.com/office/drawing/2014/main" id="{61D16ADF-5C6E-4CB0-822E-F18C019391FD}"/>
                </a:ext>
              </a:extLst>
            </p:cNvPr>
            <p:cNvSpPr/>
            <p:nvPr/>
          </p:nvSpPr>
          <p:spPr>
            <a:xfrm rot="8716295">
              <a:off x="2119893" y="430385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5" name="Forme libre : forme 2194">
              <a:extLst>
                <a:ext uri="{FF2B5EF4-FFF2-40B4-BE49-F238E27FC236}">
                  <a16:creationId xmlns:a16="http://schemas.microsoft.com/office/drawing/2014/main" id="{7755C47E-CA44-4F59-A584-382B602B7277}"/>
                </a:ext>
              </a:extLst>
            </p:cNvPr>
            <p:cNvSpPr/>
            <p:nvPr/>
          </p:nvSpPr>
          <p:spPr>
            <a:xfrm rot="8716295">
              <a:off x="1918267" y="436316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6" name="Forme libre : forme 2195">
              <a:extLst>
                <a:ext uri="{FF2B5EF4-FFF2-40B4-BE49-F238E27FC236}">
                  <a16:creationId xmlns:a16="http://schemas.microsoft.com/office/drawing/2014/main" id="{7477CD6A-0BC6-4B29-9F1F-C0FBF04DE899}"/>
                </a:ext>
              </a:extLst>
            </p:cNvPr>
            <p:cNvSpPr/>
            <p:nvPr/>
          </p:nvSpPr>
          <p:spPr>
            <a:xfrm rot="8716295">
              <a:off x="1793365" y="415448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7" name="Forme libre : forme 2196">
              <a:extLst>
                <a:ext uri="{FF2B5EF4-FFF2-40B4-BE49-F238E27FC236}">
                  <a16:creationId xmlns:a16="http://schemas.microsoft.com/office/drawing/2014/main" id="{EE329923-C3A4-4046-B152-3FD94C6B8328}"/>
                </a:ext>
              </a:extLst>
            </p:cNvPr>
            <p:cNvSpPr/>
            <p:nvPr/>
          </p:nvSpPr>
          <p:spPr>
            <a:xfrm rot="8716295">
              <a:off x="2008445" y="4404113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8" name="Forme libre : forme 2197">
              <a:extLst>
                <a:ext uri="{FF2B5EF4-FFF2-40B4-BE49-F238E27FC236}">
                  <a16:creationId xmlns:a16="http://schemas.microsoft.com/office/drawing/2014/main" id="{9B7F0F6B-ADD6-4F5F-8A57-9C18A5D11901}"/>
                </a:ext>
              </a:extLst>
            </p:cNvPr>
            <p:cNvSpPr/>
            <p:nvPr/>
          </p:nvSpPr>
          <p:spPr>
            <a:xfrm rot="8716295">
              <a:off x="1766994" y="4254513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99" name="Forme libre : forme 2198">
              <a:extLst>
                <a:ext uri="{FF2B5EF4-FFF2-40B4-BE49-F238E27FC236}">
                  <a16:creationId xmlns:a16="http://schemas.microsoft.com/office/drawing/2014/main" id="{27B19DC8-7CA7-46F0-BBD1-FED4197C21C5}"/>
                </a:ext>
              </a:extLst>
            </p:cNvPr>
            <p:cNvSpPr/>
            <p:nvPr/>
          </p:nvSpPr>
          <p:spPr>
            <a:xfrm rot="7484129">
              <a:off x="2113376" y="459546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0" name="Forme libre : forme 2199">
              <a:extLst>
                <a:ext uri="{FF2B5EF4-FFF2-40B4-BE49-F238E27FC236}">
                  <a16:creationId xmlns:a16="http://schemas.microsoft.com/office/drawing/2014/main" id="{6A2BAEE3-A8C6-4D0E-B41D-3EB43C80CD43}"/>
                </a:ext>
              </a:extLst>
            </p:cNvPr>
            <p:cNvSpPr/>
            <p:nvPr/>
          </p:nvSpPr>
          <p:spPr>
            <a:xfrm rot="13089394">
              <a:off x="2218196" y="4561998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1" name="Forme libre : forme 2200">
              <a:extLst>
                <a:ext uri="{FF2B5EF4-FFF2-40B4-BE49-F238E27FC236}">
                  <a16:creationId xmlns:a16="http://schemas.microsoft.com/office/drawing/2014/main" id="{B33494DC-160D-4471-B761-44392F450F15}"/>
                </a:ext>
              </a:extLst>
            </p:cNvPr>
            <p:cNvSpPr/>
            <p:nvPr/>
          </p:nvSpPr>
          <p:spPr>
            <a:xfrm rot="8716295">
              <a:off x="2403781" y="4370317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2" name="Forme libre : forme 2201">
              <a:extLst>
                <a:ext uri="{FF2B5EF4-FFF2-40B4-BE49-F238E27FC236}">
                  <a16:creationId xmlns:a16="http://schemas.microsoft.com/office/drawing/2014/main" id="{A0536B5D-C1D1-4CC2-A67B-69C04D5E7BF1}"/>
                </a:ext>
              </a:extLst>
            </p:cNvPr>
            <p:cNvSpPr/>
            <p:nvPr/>
          </p:nvSpPr>
          <p:spPr>
            <a:xfrm rot="8716295">
              <a:off x="2351976" y="426672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3" name="Forme libre : forme 2202">
              <a:extLst>
                <a:ext uri="{FF2B5EF4-FFF2-40B4-BE49-F238E27FC236}">
                  <a16:creationId xmlns:a16="http://schemas.microsoft.com/office/drawing/2014/main" id="{0EC7D0F9-54FF-4910-BE51-E44A931994E2}"/>
                </a:ext>
              </a:extLst>
            </p:cNvPr>
            <p:cNvSpPr/>
            <p:nvPr/>
          </p:nvSpPr>
          <p:spPr>
            <a:xfrm rot="8716295">
              <a:off x="2108730" y="429694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4" name="Forme libre : forme 2203">
              <a:extLst>
                <a:ext uri="{FF2B5EF4-FFF2-40B4-BE49-F238E27FC236}">
                  <a16:creationId xmlns:a16="http://schemas.microsoft.com/office/drawing/2014/main" id="{581ECD7C-3ECD-4795-A962-336D27880F7D}"/>
                </a:ext>
              </a:extLst>
            </p:cNvPr>
            <p:cNvSpPr/>
            <p:nvPr/>
          </p:nvSpPr>
          <p:spPr>
            <a:xfrm rot="8716295">
              <a:off x="2286182" y="413770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5" name="Forme libre : forme 2204">
              <a:extLst>
                <a:ext uri="{FF2B5EF4-FFF2-40B4-BE49-F238E27FC236}">
                  <a16:creationId xmlns:a16="http://schemas.microsoft.com/office/drawing/2014/main" id="{61351529-FB96-4EA9-BD0D-13DB591690B1}"/>
                </a:ext>
              </a:extLst>
            </p:cNvPr>
            <p:cNvSpPr/>
            <p:nvPr/>
          </p:nvSpPr>
          <p:spPr>
            <a:xfrm rot="8716295">
              <a:off x="854880" y="188600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6" name="Forme libre : forme 2205">
              <a:extLst>
                <a:ext uri="{FF2B5EF4-FFF2-40B4-BE49-F238E27FC236}">
                  <a16:creationId xmlns:a16="http://schemas.microsoft.com/office/drawing/2014/main" id="{7B671EAD-22E7-49A1-AAF9-AFD4BDF270FF}"/>
                </a:ext>
              </a:extLst>
            </p:cNvPr>
            <p:cNvSpPr/>
            <p:nvPr/>
          </p:nvSpPr>
          <p:spPr>
            <a:xfrm rot="8716295">
              <a:off x="944272" y="191524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7" name="Forme libre : forme 2206">
              <a:extLst>
                <a:ext uri="{FF2B5EF4-FFF2-40B4-BE49-F238E27FC236}">
                  <a16:creationId xmlns:a16="http://schemas.microsoft.com/office/drawing/2014/main" id="{60C9EA0E-9422-461A-8A03-18C34E381FE6}"/>
                </a:ext>
              </a:extLst>
            </p:cNvPr>
            <p:cNvSpPr/>
            <p:nvPr/>
          </p:nvSpPr>
          <p:spPr>
            <a:xfrm rot="8716295">
              <a:off x="899422" y="182896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8" name="Forme libre : forme 2207">
              <a:extLst>
                <a:ext uri="{FF2B5EF4-FFF2-40B4-BE49-F238E27FC236}">
                  <a16:creationId xmlns:a16="http://schemas.microsoft.com/office/drawing/2014/main" id="{BA75D214-5F17-45EC-88F6-87E7086E00EC}"/>
                </a:ext>
              </a:extLst>
            </p:cNvPr>
            <p:cNvSpPr/>
            <p:nvPr/>
          </p:nvSpPr>
          <p:spPr>
            <a:xfrm rot="8716295">
              <a:off x="742646" y="197454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9" name="Forme libre : forme 2208">
              <a:extLst>
                <a:ext uri="{FF2B5EF4-FFF2-40B4-BE49-F238E27FC236}">
                  <a16:creationId xmlns:a16="http://schemas.microsoft.com/office/drawing/2014/main" id="{E48EAD6E-3EAF-4F3D-8B05-DC60D246CC5C}"/>
                </a:ext>
              </a:extLst>
            </p:cNvPr>
            <p:cNvSpPr/>
            <p:nvPr/>
          </p:nvSpPr>
          <p:spPr>
            <a:xfrm rot="8716295">
              <a:off x="617743" y="176587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0" name="Forme libre : forme 2209">
              <a:extLst>
                <a:ext uri="{FF2B5EF4-FFF2-40B4-BE49-F238E27FC236}">
                  <a16:creationId xmlns:a16="http://schemas.microsoft.com/office/drawing/2014/main" id="{60DC192A-6712-4E80-B33F-A868EA1F00C7}"/>
                </a:ext>
              </a:extLst>
            </p:cNvPr>
            <p:cNvSpPr/>
            <p:nvPr/>
          </p:nvSpPr>
          <p:spPr>
            <a:xfrm rot="8716295">
              <a:off x="605691" y="162709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1" name="Forme libre : forme 2210">
              <a:extLst>
                <a:ext uri="{FF2B5EF4-FFF2-40B4-BE49-F238E27FC236}">
                  <a16:creationId xmlns:a16="http://schemas.microsoft.com/office/drawing/2014/main" id="{5F7656EC-B89E-42FF-BC16-A8DDF1B2D92F}"/>
                </a:ext>
              </a:extLst>
            </p:cNvPr>
            <p:cNvSpPr/>
            <p:nvPr/>
          </p:nvSpPr>
          <p:spPr>
            <a:xfrm rot="8716295">
              <a:off x="832824" y="201549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2" name="Forme libre : forme 2211">
              <a:extLst>
                <a:ext uri="{FF2B5EF4-FFF2-40B4-BE49-F238E27FC236}">
                  <a16:creationId xmlns:a16="http://schemas.microsoft.com/office/drawing/2014/main" id="{E08CB140-902C-4737-8277-A98EB5E4EFE4}"/>
                </a:ext>
              </a:extLst>
            </p:cNvPr>
            <p:cNvSpPr/>
            <p:nvPr/>
          </p:nvSpPr>
          <p:spPr>
            <a:xfrm rot="8716295">
              <a:off x="1143979" y="163584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3" name="Forme libre : forme 2212">
              <a:extLst>
                <a:ext uri="{FF2B5EF4-FFF2-40B4-BE49-F238E27FC236}">
                  <a16:creationId xmlns:a16="http://schemas.microsoft.com/office/drawing/2014/main" id="{6E90F74B-F705-42A3-BD1F-6FA4B5FAA019}"/>
                </a:ext>
              </a:extLst>
            </p:cNvPr>
            <p:cNvSpPr/>
            <p:nvPr/>
          </p:nvSpPr>
          <p:spPr>
            <a:xfrm rot="8716295">
              <a:off x="1233371" y="166509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4" name="Forme libre : forme 2213">
              <a:extLst>
                <a:ext uri="{FF2B5EF4-FFF2-40B4-BE49-F238E27FC236}">
                  <a16:creationId xmlns:a16="http://schemas.microsoft.com/office/drawing/2014/main" id="{465358ED-843D-4586-B8A7-8F476C2F6DDB}"/>
                </a:ext>
              </a:extLst>
            </p:cNvPr>
            <p:cNvSpPr/>
            <p:nvPr/>
          </p:nvSpPr>
          <p:spPr>
            <a:xfrm rot="8716295">
              <a:off x="1031745" y="172439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5" name="Forme libre : forme 2214">
              <a:extLst>
                <a:ext uri="{FF2B5EF4-FFF2-40B4-BE49-F238E27FC236}">
                  <a16:creationId xmlns:a16="http://schemas.microsoft.com/office/drawing/2014/main" id="{1FF0FB25-B8F5-4ADE-800A-47430E68573C}"/>
                </a:ext>
              </a:extLst>
            </p:cNvPr>
            <p:cNvSpPr/>
            <p:nvPr/>
          </p:nvSpPr>
          <p:spPr>
            <a:xfrm rot="8716295">
              <a:off x="906843" y="151572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6" name="Forme libre : forme 2215">
              <a:extLst>
                <a:ext uri="{FF2B5EF4-FFF2-40B4-BE49-F238E27FC236}">
                  <a16:creationId xmlns:a16="http://schemas.microsoft.com/office/drawing/2014/main" id="{776C37F0-ED81-4F1F-A328-887B05D06837}"/>
                </a:ext>
              </a:extLst>
            </p:cNvPr>
            <p:cNvSpPr/>
            <p:nvPr/>
          </p:nvSpPr>
          <p:spPr>
            <a:xfrm rot="8716295">
              <a:off x="1121923" y="176534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7" name="Forme libre : forme 2216">
              <a:extLst>
                <a:ext uri="{FF2B5EF4-FFF2-40B4-BE49-F238E27FC236}">
                  <a16:creationId xmlns:a16="http://schemas.microsoft.com/office/drawing/2014/main" id="{3495DB9A-4541-4398-B98F-3D014F3FA02F}"/>
                </a:ext>
              </a:extLst>
            </p:cNvPr>
            <p:cNvSpPr/>
            <p:nvPr/>
          </p:nvSpPr>
          <p:spPr>
            <a:xfrm rot="8716295">
              <a:off x="880472" y="161574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8" name="Forme libre : forme 2217">
              <a:extLst>
                <a:ext uri="{FF2B5EF4-FFF2-40B4-BE49-F238E27FC236}">
                  <a16:creationId xmlns:a16="http://schemas.microsoft.com/office/drawing/2014/main" id="{6174E958-9841-4450-A3B4-4010E7B5DEF3}"/>
                </a:ext>
              </a:extLst>
            </p:cNvPr>
            <p:cNvSpPr/>
            <p:nvPr/>
          </p:nvSpPr>
          <p:spPr>
            <a:xfrm rot="7484129">
              <a:off x="1226854" y="195669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9" name="Forme libre : forme 2218">
              <a:extLst>
                <a:ext uri="{FF2B5EF4-FFF2-40B4-BE49-F238E27FC236}">
                  <a16:creationId xmlns:a16="http://schemas.microsoft.com/office/drawing/2014/main" id="{AEB0FE66-FF50-46B8-A527-A44B045C51F6}"/>
                </a:ext>
              </a:extLst>
            </p:cNvPr>
            <p:cNvSpPr/>
            <p:nvPr/>
          </p:nvSpPr>
          <p:spPr>
            <a:xfrm rot="13089394">
              <a:off x="1331674" y="192323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0" name="Forme libre : forme 2219">
              <a:extLst>
                <a:ext uri="{FF2B5EF4-FFF2-40B4-BE49-F238E27FC236}">
                  <a16:creationId xmlns:a16="http://schemas.microsoft.com/office/drawing/2014/main" id="{71365084-09F0-4177-8899-9AEDD9C836FB}"/>
                </a:ext>
              </a:extLst>
            </p:cNvPr>
            <p:cNvSpPr/>
            <p:nvPr/>
          </p:nvSpPr>
          <p:spPr>
            <a:xfrm rot="8716295">
              <a:off x="1517259" y="173154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1" name="Forme libre : forme 2220">
              <a:extLst>
                <a:ext uri="{FF2B5EF4-FFF2-40B4-BE49-F238E27FC236}">
                  <a16:creationId xmlns:a16="http://schemas.microsoft.com/office/drawing/2014/main" id="{93A16290-1383-4913-A805-FEC6CD68B3A1}"/>
                </a:ext>
              </a:extLst>
            </p:cNvPr>
            <p:cNvSpPr/>
            <p:nvPr/>
          </p:nvSpPr>
          <p:spPr>
            <a:xfrm rot="8716295">
              <a:off x="1465454" y="162795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2" name="Forme libre : forme 2221">
              <a:extLst>
                <a:ext uri="{FF2B5EF4-FFF2-40B4-BE49-F238E27FC236}">
                  <a16:creationId xmlns:a16="http://schemas.microsoft.com/office/drawing/2014/main" id="{89EDCAB4-2647-402D-8A97-2D89ED05C33C}"/>
                </a:ext>
              </a:extLst>
            </p:cNvPr>
            <p:cNvSpPr/>
            <p:nvPr/>
          </p:nvSpPr>
          <p:spPr>
            <a:xfrm rot="8716295">
              <a:off x="1222208" y="165817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3" name="Forme libre : forme 2222">
              <a:extLst>
                <a:ext uri="{FF2B5EF4-FFF2-40B4-BE49-F238E27FC236}">
                  <a16:creationId xmlns:a16="http://schemas.microsoft.com/office/drawing/2014/main" id="{62660570-9841-4140-8539-11BB8C728044}"/>
                </a:ext>
              </a:extLst>
            </p:cNvPr>
            <p:cNvSpPr/>
            <p:nvPr/>
          </p:nvSpPr>
          <p:spPr>
            <a:xfrm rot="8716295">
              <a:off x="1399660" y="149893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4" name="Forme libre : forme 2223">
              <a:extLst>
                <a:ext uri="{FF2B5EF4-FFF2-40B4-BE49-F238E27FC236}">
                  <a16:creationId xmlns:a16="http://schemas.microsoft.com/office/drawing/2014/main" id="{94D3AEEA-4130-43BE-BF5D-CC6BCC5331C3}"/>
                </a:ext>
              </a:extLst>
            </p:cNvPr>
            <p:cNvSpPr/>
            <p:nvPr/>
          </p:nvSpPr>
          <p:spPr>
            <a:xfrm rot="8716295">
              <a:off x="631713" y="12263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5" name="Forme libre : forme 2224">
              <a:extLst>
                <a:ext uri="{FF2B5EF4-FFF2-40B4-BE49-F238E27FC236}">
                  <a16:creationId xmlns:a16="http://schemas.microsoft.com/office/drawing/2014/main" id="{B4B77E9D-EEED-412C-89B0-478E464DFE8E}"/>
                </a:ext>
              </a:extLst>
            </p:cNvPr>
            <p:cNvSpPr/>
            <p:nvPr/>
          </p:nvSpPr>
          <p:spPr>
            <a:xfrm rot="8716295">
              <a:off x="721105" y="12555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6" name="Forme libre : forme 2225">
              <a:extLst>
                <a:ext uri="{FF2B5EF4-FFF2-40B4-BE49-F238E27FC236}">
                  <a16:creationId xmlns:a16="http://schemas.microsoft.com/office/drawing/2014/main" id="{8807D4A1-E0A9-4E7E-A2E7-F2E039C53560}"/>
                </a:ext>
              </a:extLst>
            </p:cNvPr>
            <p:cNvSpPr/>
            <p:nvPr/>
          </p:nvSpPr>
          <p:spPr>
            <a:xfrm rot="8716295">
              <a:off x="676255" y="116926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7" name="Forme libre : forme 2226">
              <a:extLst>
                <a:ext uri="{FF2B5EF4-FFF2-40B4-BE49-F238E27FC236}">
                  <a16:creationId xmlns:a16="http://schemas.microsoft.com/office/drawing/2014/main" id="{E1BBD9BF-9DEF-4962-8461-FCC580DDB3D3}"/>
                </a:ext>
              </a:extLst>
            </p:cNvPr>
            <p:cNvSpPr/>
            <p:nvPr/>
          </p:nvSpPr>
          <p:spPr>
            <a:xfrm rot="8716295">
              <a:off x="519479" y="13148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8" name="Forme libre : forme 2227">
              <a:extLst>
                <a:ext uri="{FF2B5EF4-FFF2-40B4-BE49-F238E27FC236}">
                  <a16:creationId xmlns:a16="http://schemas.microsoft.com/office/drawing/2014/main" id="{372EDAC8-341E-47F1-BA76-59AEE44BA6E9}"/>
                </a:ext>
              </a:extLst>
            </p:cNvPr>
            <p:cNvSpPr/>
            <p:nvPr/>
          </p:nvSpPr>
          <p:spPr>
            <a:xfrm rot="8716295">
              <a:off x="394576" y="11061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9" name="Forme libre : forme 2228">
              <a:extLst>
                <a:ext uri="{FF2B5EF4-FFF2-40B4-BE49-F238E27FC236}">
                  <a16:creationId xmlns:a16="http://schemas.microsoft.com/office/drawing/2014/main" id="{20061EF0-57F1-44A9-B030-EA17BF31A311}"/>
                </a:ext>
              </a:extLst>
            </p:cNvPr>
            <p:cNvSpPr/>
            <p:nvPr/>
          </p:nvSpPr>
          <p:spPr>
            <a:xfrm rot="8716295">
              <a:off x="382524" y="96739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0" name="Forme libre : forme 2229">
              <a:extLst>
                <a:ext uri="{FF2B5EF4-FFF2-40B4-BE49-F238E27FC236}">
                  <a16:creationId xmlns:a16="http://schemas.microsoft.com/office/drawing/2014/main" id="{E38221DF-66A1-4197-AEB7-CCFD55E0085E}"/>
                </a:ext>
              </a:extLst>
            </p:cNvPr>
            <p:cNvSpPr/>
            <p:nvPr/>
          </p:nvSpPr>
          <p:spPr>
            <a:xfrm rot="8716295">
              <a:off x="609657" y="135579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1" name="Forme libre : forme 2230">
              <a:extLst>
                <a:ext uri="{FF2B5EF4-FFF2-40B4-BE49-F238E27FC236}">
                  <a16:creationId xmlns:a16="http://schemas.microsoft.com/office/drawing/2014/main" id="{0E7B4474-3652-4F5C-8982-D11AF746B26A}"/>
                </a:ext>
              </a:extLst>
            </p:cNvPr>
            <p:cNvSpPr/>
            <p:nvPr/>
          </p:nvSpPr>
          <p:spPr>
            <a:xfrm rot="8716295">
              <a:off x="920812" y="97615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2" name="Forme libre : forme 2231">
              <a:extLst>
                <a:ext uri="{FF2B5EF4-FFF2-40B4-BE49-F238E27FC236}">
                  <a16:creationId xmlns:a16="http://schemas.microsoft.com/office/drawing/2014/main" id="{5C3F77C6-9DBA-4DC2-9C2B-8FF32F9AAA66}"/>
                </a:ext>
              </a:extLst>
            </p:cNvPr>
            <p:cNvSpPr/>
            <p:nvPr/>
          </p:nvSpPr>
          <p:spPr>
            <a:xfrm rot="8716295">
              <a:off x="1010204" y="100539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3" name="Forme libre : forme 2232">
              <a:extLst>
                <a:ext uri="{FF2B5EF4-FFF2-40B4-BE49-F238E27FC236}">
                  <a16:creationId xmlns:a16="http://schemas.microsoft.com/office/drawing/2014/main" id="{01433F1B-9E94-4344-95B9-E1384B85B79C}"/>
                </a:ext>
              </a:extLst>
            </p:cNvPr>
            <p:cNvSpPr/>
            <p:nvPr/>
          </p:nvSpPr>
          <p:spPr>
            <a:xfrm rot="8716295">
              <a:off x="808578" y="106469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4" name="Forme libre : forme 2233">
              <a:extLst>
                <a:ext uri="{FF2B5EF4-FFF2-40B4-BE49-F238E27FC236}">
                  <a16:creationId xmlns:a16="http://schemas.microsoft.com/office/drawing/2014/main" id="{6BC6E0A2-64E4-40E2-8DCE-26CE66D5E02C}"/>
                </a:ext>
              </a:extLst>
            </p:cNvPr>
            <p:cNvSpPr/>
            <p:nvPr/>
          </p:nvSpPr>
          <p:spPr>
            <a:xfrm rot="8716295">
              <a:off x="683676" y="85602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5" name="Forme libre : forme 2234">
              <a:extLst>
                <a:ext uri="{FF2B5EF4-FFF2-40B4-BE49-F238E27FC236}">
                  <a16:creationId xmlns:a16="http://schemas.microsoft.com/office/drawing/2014/main" id="{0ECCD552-19E9-4E97-A420-5BD98BF6782E}"/>
                </a:ext>
              </a:extLst>
            </p:cNvPr>
            <p:cNvSpPr/>
            <p:nvPr/>
          </p:nvSpPr>
          <p:spPr>
            <a:xfrm rot="8716295">
              <a:off x="898756" y="110564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6" name="Forme libre : forme 2235">
              <a:extLst>
                <a:ext uri="{FF2B5EF4-FFF2-40B4-BE49-F238E27FC236}">
                  <a16:creationId xmlns:a16="http://schemas.microsoft.com/office/drawing/2014/main" id="{116D78C7-5BD3-483D-8FD7-87DA20AE4194}"/>
                </a:ext>
              </a:extLst>
            </p:cNvPr>
            <p:cNvSpPr/>
            <p:nvPr/>
          </p:nvSpPr>
          <p:spPr>
            <a:xfrm rot="8716295">
              <a:off x="657305" y="95604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7" name="Forme libre : forme 2236">
              <a:extLst>
                <a:ext uri="{FF2B5EF4-FFF2-40B4-BE49-F238E27FC236}">
                  <a16:creationId xmlns:a16="http://schemas.microsoft.com/office/drawing/2014/main" id="{29F6D281-88E6-45CB-99A2-FB067D9F3B98}"/>
                </a:ext>
              </a:extLst>
            </p:cNvPr>
            <p:cNvSpPr/>
            <p:nvPr/>
          </p:nvSpPr>
          <p:spPr>
            <a:xfrm rot="7484129">
              <a:off x="1003687" y="129699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8" name="Forme libre : forme 2237">
              <a:extLst>
                <a:ext uri="{FF2B5EF4-FFF2-40B4-BE49-F238E27FC236}">
                  <a16:creationId xmlns:a16="http://schemas.microsoft.com/office/drawing/2014/main" id="{5FC8B8C2-4930-4090-BC67-DB393B97500E}"/>
                </a:ext>
              </a:extLst>
            </p:cNvPr>
            <p:cNvSpPr/>
            <p:nvPr/>
          </p:nvSpPr>
          <p:spPr>
            <a:xfrm rot="13089394">
              <a:off x="1108507" y="1263531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9" name="Forme libre : forme 2238">
              <a:extLst>
                <a:ext uri="{FF2B5EF4-FFF2-40B4-BE49-F238E27FC236}">
                  <a16:creationId xmlns:a16="http://schemas.microsoft.com/office/drawing/2014/main" id="{7FFA110A-60E0-4270-A16A-59427B4BD564}"/>
                </a:ext>
              </a:extLst>
            </p:cNvPr>
            <p:cNvSpPr/>
            <p:nvPr/>
          </p:nvSpPr>
          <p:spPr>
            <a:xfrm rot="8716295">
              <a:off x="1294092" y="107185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0" name="Forme libre : forme 2239">
              <a:extLst>
                <a:ext uri="{FF2B5EF4-FFF2-40B4-BE49-F238E27FC236}">
                  <a16:creationId xmlns:a16="http://schemas.microsoft.com/office/drawing/2014/main" id="{43E7722F-9E69-4C35-8403-9712C43A657D}"/>
                </a:ext>
              </a:extLst>
            </p:cNvPr>
            <p:cNvSpPr/>
            <p:nvPr/>
          </p:nvSpPr>
          <p:spPr>
            <a:xfrm rot="8716295">
              <a:off x="1242287" y="96825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1" name="Forme libre : forme 2240">
              <a:extLst>
                <a:ext uri="{FF2B5EF4-FFF2-40B4-BE49-F238E27FC236}">
                  <a16:creationId xmlns:a16="http://schemas.microsoft.com/office/drawing/2014/main" id="{41B2DF52-EC40-447D-B212-F5BA125B74F3}"/>
                </a:ext>
              </a:extLst>
            </p:cNvPr>
            <p:cNvSpPr/>
            <p:nvPr/>
          </p:nvSpPr>
          <p:spPr>
            <a:xfrm rot="8716295">
              <a:off x="999041" y="99847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2" name="Forme libre : forme 2241">
              <a:extLst>
                <a:ext uri="{FF2B5EF4-FFF2-40B4-BE49-F238E27FC236}">
                  <a16:creationId xmlns:a16="http://schemas.microsoft.com/office/drawing/2014/main" id="{7EFBB9C6-AA43-4417-B52E-28BAAA544FB3}"/>
                </a:ext>
              </a:extLst>
            </p:cNvPr>
            <p:cNvSpPr/>
            <p:nvPr/>
          </p:nvSpPr>
          <p:spPr>
            <a:xfrm rot="8716295">
              <a:off x="1176493" y="83923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3" name="Forme libre : forme 2242">
              <a:extLst>
                <a:ext uri="{FF2B5EF4-FFF2-40B4-BE49-F238E27FC236}">
                  <a16:creationId xmlns:a16="http://schemas.microsoft.com/office/drawing/2014/main" id="{4FD368D5-7016-4447-A279-0D553702CEF5}"/>
                </a:ext>
              </a:extLst>
            </p:cNvPr>
            <p:cNvSpPr/>
            <p:nvPr/>
          </p:nvSpPr>
          <p:spPr>
            <a:xfrm rot="8716295">
              <a:off x="412774" y="56424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4" name="Forme libre : forme 2243">
              <a:extLst>
                <a:ext uri="{FF2B5EF4-FFF2-40B4-BE49-F238E27FC236}">
                  <a16:creationId xmlns:a16="http://schemas.microsoft.com/office/drawing/2014/main" id="{B1F12F38-F29C-4A98-BB49-D042691F19E4}"/>
                </a:ext>
              </a:extLst>
            </p:cNvPr>
            <p:cNvSpPr/>
            <p:nvPr/>
          </p:nvSpPr>
          <p:spPr>
            <a:xfrm rot="8716295">
              <a:off x="502166" y="59348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5" name="Forme libre : forme 2244">
              <a:extLst>
                <a:ext uri="{FF2B5EF4-FFF2-40B4-BE49-F238E27FC236}">
                  <a16:creationId xmlns:a16="http://schemas.microsoft.com/office/drawing/2014/main" id="{6BA48DFB-361A-47A4-8798-4F12336B216B}"/>
                </a:ext>
              </a:extLst>
            </p:cNvPr>
            <p:cNvSpPr/>
            <p:nvPr/>
          </p:nvSpPr>
          <p:spPr>
            <a:xfrm rot="8716295">
              <a:off x="457316" y="50720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6" name="Forme libre : forme 2245">
              <a:extLst>
                <a:ext uri="{FF2B5EF4-FFF2-40B4-BE49-F238E27FC236}">
                  <a16:creationId xmlns:a16="http://schemas.microsoft.com/office/drawing/2014/main" id="{6FD8FBAD-C985-48A6-A25A-FE4C6FB98699}"/>
                </a:ext>
              </a:extLst>
            </p:cNvPr>
            <p:cNvSpPr/>
            <p:nvPr/>
          </p:nvSpPr>
          <p:spPr>
            <a:xfrm rot="8716295">
              <a:off x="300540" y="65278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7" name="Forme libre : forme 2246">
              <a:extLst>
                <a:ext uri="{FF2B5EF4-FFF2-40B4-BE49-F238E27FC236}">
                  <a16:creationId xmlns:a16="http://schemas.microsoft.com/office/drawing/2014/main" id="{33EF0CB4-1296-44AE-9C21-198FBCD6E1E5}"/>
                </a:ext>
              </a:extLst>
            </p:cNvPr>
            <p:cNvSpPr/>
            <p:nvPr/>
          </p:nvSpPr>
          <p:spPr>
            <a:xfrm rot="8716295">
              <a:off x="175637" y="44411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8" name="Forme libre : forme 2247">
              <a:extLst>
                <a:ext uri="{FF2B5EF4-FFF2-40B4-BE49-F238E27FC236}">
                  <a16:creationId xmlns:a16="http://schemas.microsoft.com/office/drawing/2014/main" id="{6A2221EE-902A-4C54-9104-C294E2D36C2C}"/>
                </a:ext>
              </a:extLst>
            </p:cNvPr>
            <p:cNvSpPr/>
            <p:nvPr/>
          </p:nvSpPr>
          <p:spPr>
            <a:xfrm rot="8716295">
              <a:off x="163585" y="30533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9" name="Forme libre : forme 2248">
              <a:extLst>
                <a:ext uri="{FF2B5EF4-FFF2-40B4-BE49-F238E27FC236}">
                  <a16:creationId xmlns:a16="http://schemas.microsoft.com/office/drawing/2014/main" id="{6C6A641B-B2B7-4694-9375-AF850DEFB133}"/>
                </a:ext>
              </a:extLst>
            </p:cNvPr>
            <p:cNvSpPr/>
            <p:nvPr/>
          </p:nvSpPr>
          <p:spPr>
            <a:xfrm rot="8716295">
              <a:off x="390718" y="69374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0" name="Forme libre : forme 2249">
              <a:extLst>
                <a:ext uri="{FF2B5EF4-FFF2-40B4-BE49-F238E27FC236}">
                  <a16:creationId xmlns:a16="http://schemas.microsoft.com/office/drawing/2014/main" id="{399BD360-2FD0-4499-9E83-6E3D562F1E0B}"/>
                </a:ext>
              </a:extLst>
            </p:cNvPr>
            <p:cNvSpPr/>
            <p:nvPr/>
          </p:nvSpPr>
          <p:spPr>
            <a:xfrm rot="8716295">
              <a:off x="701873" y="31409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1" name="Forme libre : forme 2250">
              <a:extLst>
                <a:ext uri="{FF2B5EF4-FFF2-40B4-BE49-F238E27FC236}">
                  <a16:creationId xmlns:a16="http://schemas.microsoft.com/office/drawing/2014/main" id="{A6673CC7-5199-4DDD-870A-3B185B6CBD7D}"/>
                </a:ext>
              </a:extLst>
            </p:cNvPr>
            <p:cNvSpPr/>
            <p:nvPr/>
          </p:nvSpPr>
          <p:spPr>
            <a:xfrm rot="8716295">
              <a:off x="791265" y="34333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2" name="Forme libre : forme 2251">
              <a:extLst>
                <a:ext uri="{FF2B5EF4-FFF2-40B4-BE49-F238E27FC236}">
                  <a16:creationId xmlns:a16="http://schemas.microsoft.com/office/drawing/2014/main" id="{E23031FA-7B57-47D5-98AF-D9423F5F30EE}"/>
                </a:ext>
              </a:extLst>
            </p:cNvPr>
            <p:cNvSpPr/>
            <p:nvPr/>
          </p:nvSpPr>
          <p:spPr>
            <a:xfrm rot="8716295">
              <a:off x="589639" y="40263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" name="Forme libre : forme 2252">
              <a:extLst>
                <a:ext uri="{FF2B5EF4-FFF2-40B4-BE49-F238E27FC236}">
                  <a16:creationId xmlns:a16="http://schemas.microsoft.com/office/drawing/2014/main" id="{18D159E9-838E-47A3-AE83-A4990238B07C}"/>
                </a:ext>
              </a:extLst>
            </p:cNvPr>
            <p:cNvSpPr/>
            <p:nvPr/>
          </p:nvSpPr>
          <p:spPr>
            <a:xfrm rot="8716295">
              <a:off x="464737" y="19396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" name="Forme libre : forme 2253">
              <a:extLst>
                <a:ext uri="{FF2B5EF4-FFF2-40B4-BE49-F238E27FC236}">
                  <a16:creationId xmlns:a16="http://schemas.microsoft.com/office/drawing/2014/main" id="{45FFA073-EC3B-4660-8F03-6BA94AD6386B}"/>
                </a:ext>
              </a:extLst>
            </p:cNvPr>
            <p:cNvSpPr/>
            <p:nvPr/>
          </p:nvSpPr>
          <p:spPr>
            <a:xfrm rot="8716295">
              <a:off x="679817" y="44358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" name="Forme libre : forme 2254">
              <a:extLst>
                <a:ext uri="{FF2B5EF4-FFF2-40B4-BE49-F238E27FC236}">
                  <a16:creationId xmlns:a16="http://schemas.microsoft.com/office/drawing/2014/main" id="{DC04F724-6125-4E5E-BCC5-96720655541A}"/>
                </a:ext>
              </a:extLst>
            </p:cNvPr>
            <p:cNvSpPr/>
            <p:nvPr/>
          </p:nvSpPr>
          <p:spPr>
            <a:xfrm rot="8716295">
              <a:off x="438366" y="29398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6" name="Forme libre : forme 2255">
              <a:extLst>
                <a:ext uri="{FF2B5EF4-FFF2-40B4-BE49-F238E27FC236}">
                  <a16:creationId xmlns:a16="http://schemas.microsoft.com/office/drawing/2014/main" id="{4E07974B-5D4E-45AC-8AC5-4CEC077D2D4A}"/>
                </a:ext>
              </a:extLst>
            </p:cNvPr>
            <p:cNvSpPr/>
            <p:nvPr/>
          </p:nvSpPr>
          <p:spPr>
            <a:xfrm rot="7484129">
              <a:off x="784748" y="63493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7" name="Forme libre : forme 2256">
              <a:extLst>
                <a:ext uri="{FF2B5EF4-FFF2-40B4-BE49-F238E27FC236}">
                  <a16:creationId xmlns:a16="http://schemas.microsoft.com/office/drawing/2014/main" id="{803ECC03-3567-472A-8050-72BD0AD2D44D}"/>
                </a:ext>
              </a:extLst>
            </p:cNvPr>
            <p:cNvSpPr/>
            <p:nvPr/>
          </p:nvSpPr>
          <p:spPr>
            <a:xfrm rot="13089394">
              <a:off x="889568" y="60147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8" name="Forme libre : forme 2257">
              <a:extLst>
                <a:ext uri="{FF2B5EF4-FFF2-40B4-BE49-F238E27FC236}">
                  <a16:creationId xmlns:a16="http://schemas.microsoft.com/office/drawing/2014/main" id="{B771EDEB-2CF0-4352-878D-B2990D9B9504}"/>
                </a:ext>
              </a:extLst>
            </p:cNvPr>
            <p:cNvSpPr/>
            <p:nvPr/>
          </p:nvSpPr>
          <p:spPr>
            <a:xfrm rot="8716295">
              <a:off x="1075153" y="40979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9" name="Forme libre : forme 2258">
              <a:extLst>
                <a:ext uri="{FF2B5EF4-FFF2-40B4-BE49-F238E27FC236}">
                  <a16:creationId xmlns:a16="http://schemas.microsoft.com/office/drawing/2014/main" id="{5143866B-E59F-41E8-AA95-A590D76AAA7E}"/>
                </a:ext>
              </a:extLst>
            </p:cNvPr>
            <p:cNvSpPr/>
            <p:nvPr/>
          </p:nvSpPr>
          <p:spPr>
            <a:xfrm rot="8716295">
              <a:off x="1023348" y="30619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0" name="Forme libre : forme 2259">
              <a:extLst>
                <a:ext uri="{FF2B5EF4-FFF2-40B4-BE49-F238E27FC236}">
                  <a16:creationId xmlns:a16="http://schemas.microsoft.com/office/drawing/2014/main" id="{0E94EEA0-8274-432D-BB6F-9286004332CA}"/>
                </a:ext>
              </a:extLst>
            </p:cNvPr>
            <p:cNvSpPr/>
            <p:nvPr/>
          </p:nvSpPr>
          <p:spPr>
            <a:xfrm rot="8716295">
              <a:off x="780102" y="336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1" name="Forme libre : forme 2260">
              <a:extLst>
                <a:ext uri="{FF2B5EF4-FFF2-40B4-BE49-F238E27FC236}">
                  <a16:creationId xmlns:a16="http://schemas.microsoft.com/office/drawing/2014/main" id="{A6D5A634-8C59-40B1-8D8F-9E7C17280A50}"/>
                </a:ext>
              </a:extLst>
            </p:cNvPr>
            <p:cNvSpPr/>
            <p:nvPr/>
          </p:nvSpPr>
          <p:spPr>
            <a:xfrm rot="8716295">
              <a:off x="957554" y="17717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2" name="Forme libre : forme 2261">
              <a:extLst>
                <a:ext uri="{FF2B5EF4-FFF2-40B4-BE49-F238E27FC236}">
                  <a16:creationId xmlns:a16="http://schemas.microsoft.com/office/drawing/2014/main" id="{AEA08EC4-CD84-4A24-ACC9-A6661B311E57}"/>
                </a:ext>
              </a:extLst>
            </p:cNvPr>
            <p:cNvSpPr/>
            <p:nvPr/>
          </p:nvSpPr>
          <p:spPr>
            <a:xfrm rot="8716295">
              <a:off x="202348" y="-57106"/>
              <a:ext cx="142167" cy="186494"/>
            </a:xfrm>
            <a:custGeom>
              <a:avLst/>
              <a:gdLst>
                <a:gd name="connsiteX0" fmla="*/ 142167 w 142167"/>
                <a:gd name="connsiteY0" fmla="*/ 186494 h 186494"/>
                <a:gd name="connsiteX1" fmla="*/ 81108 w 142167"/>
                <a:gd name="connsiteY1" fmla="*/ 144170 h 186494"/>
                <a:gd name="connsiteX2" fmla="*/ 81108 w 142167"/>
                <a:gd name="connsiteY2" fmla="*/ 69717 h 186494"/>
                <a:gd name="connsiteX3" fmla="*/ 81108 w 142167"/>
                <a:gd name="connsiteY3" fmla="*/ 65615 h 186494"/>
                <a:gd name="connsiteX4" fmla="*/ 60603 w 142167"/>
                <a:gd name="connsiteY4" fmla="*/ 50123 h 186494"/>
                <a:gd name="connsiteX5" fmla="*/ 0 w 142167"/>
                <a:gd name="connsiteY5" fmla="*/ 50123 h 186494"/>
                <a:gd name="connsiteX6" fmla="*/ 0 w 142167"/>
                <a:gd name="connsiteY6" fmla="*/ 0 h 186494"/>
                <a:gd name="connsiteX7" fmla="*/ 85209 w 142167"/>
                <a:gd name="connsiteY7" fmla="*/ 0 h 186494"/>
                <a:gd name="connsiteX8" fmla="*/ 142167 w 142167"/>
                <a:gd name="connsiteY8" fmla="*/ 50123 h 186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186494">
                  <a:moveTo>
                    <a:pt x="142167" y="186494"/>
                  </a:moveTo>
                  <a:lnTo>
                    <a:pt x="81108" y="144170"/>
                  </a:lnTo>
                  <a:lnTo>
                    <a:pt x="81108" y="69717"/>
                  </a:lnTo>
                  <a:cubicBezTo>
                    <a:pt x="81108" y="68349"/>
                    <a:pt x="81108" y="66983"/>
                    <a:pt x="81108" y="65615"/>
                  </a:cubicBezTo>
                  <a:cubicBezTo>
                    <a:pt x="79741" y="55591"/>
                    <a:pt x="70628" y="48756"/>
                    <a:pt x="60603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8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3" name="Forme libre : forme 2262">
              <a:extLst>
                <a:ext uri="{FF2B5EF4-FFF2-40B4-BE49-F238E27FC236}">
                  <a16:creationId xmlns:a16="http://schemas.microsoft.com/office/drawing/2014/main" id="{60AFC6E6-CF38-4DF0-A5E2-CF7B4BD947CC}"/>
                </a:ext>
              </a:extLst>
            </p:cNvPr>
            <p:cNvSpPr/>
            <p:nvPr/>
          </p:nvSpPr>
          <p:spPr>
            <a:xfrm rot="8716295">
              <a:off x="298766" y="-5395"/>
              <a:ext cx="260639" cy="180054"/>
            </a:xfrm>
            <a:custGeom>
              <a:avLst/>
              <a:gdLst>
                <a:gd name="connsiteX0" fmla="*/ 111638 w 260639"/>
                <a:gd name="connsiteY0" fmla="*/ 180054 h 180054"/>
                <a:gd name="connsiteX1" fmla="*/ 51490 w 260639"/>
                <a:gd name="connsiteY1" fmla="*/ 138362 h 180054"/>
                <a:gd name="connsiteX2" fmla="*/ 51490 w 260639"/>
                <a:gd name="connsiteY2" fmla="*/ 45624 h 180054"/>
                <a:gd name="connsiteX3" fmla="*/ 0 w 260639"/>
                <a:gd name="connsiteY3" fmla="*/ 45624 h 180054"/>
                <a:gd name="connsiteX4" fmla="*/ 0 w 260639"/>
                <a:gd name="connsiteY4" fmla="*/ 1425 h 180054"/>
                <a:gd name="connsiteX5" fmla="*/ 104802 w 260639"/>
                <a:gd name="connsiteY5" fmla="*/ 1425 h 180054"/>
                <a:gd name="connsiteX6" fmla="*/ 104802 w 260639"/>
                <a:gd name="connsiteY6" fmla="*/ 75242 h 180054"/>
                <a:gd name="connsiteX7" fmla="*/ 106169 w 260639"/>
                <a:gd name="connsiteY7" fmla="*/ 75242 h 180054"/>
                <a:gd name="connsiteX8" fmla="*/ 154014 w 260639"/>
                <a:gd name="connsiteY8" fmla="*/ 5981 h 180054"/>
                <a:gd name="connsiteX9" fmla="*/ 185455 w 260639"/>
                <a:gd name="connsiteY9" fmla="*/ 57 h 180054"/>
                <a:gd name="connsiteX10" fmla="*/ 260639 w 260639"/>
                <a:gd name="connsiteY10" fmla="*/ 88456 h 180054"/>
                <a:gd name="connsiteX11" fmla="*/ 260639 w 260639"/>
                <a:gd name="connsiteY11" fmla="*/ 94380 h 180054"/>
                <a:gd name="connsiteX12" fmla="*/ 198669 w 260639"/>
                <a:gd name="connsiteY12" fmla="*/ 98025 h 180054"/>
                <a:gd name="connsiteX13" fmla="*/ 198669 w 260639"/>
                <a:gd name="connsiteY13" fmla="*/ 81621 h 180054"/>
                <a:gd name="connsiteX14" fmla="*/ 164950 w 260639"/>
                <a:gd name="connsiteY14" fmla="*/ 40156 h 180054"/>
                <a:gd name="connsiteX15" fmla="*/ 111638 w 260639"/>
                <a:gd name="connsiteY15" fmla="*/ 127643 h 180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0639" h="180054">
                  <a:moveTo>
                    <a:pt x="111638" y="180054"/>
                  </a:moveTo>
                  <a:lnTo>
                    <a:pt x="51490" y="138362"/>
                  </a:ln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2" y="1425"/>
                  </a:lnTo>
                  <a:lnTo>
                    <a:pt x="104802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4" name="Forme libre : forme 2263">
              <a:extLst>
                <a:ext uri="{FF2B5EF4-FFF2-40B4-BE49-F238E27FC236}">
                  <a16:creationId xmlns:a16="http://schemas.microsoft.com/office/drawing/2014/main" id="{F99E11F1-879E-43C0-A1F2-522A2B520054}"/>
                </a:ext>
              </a:extLst>
            </p:cNvPr>
            <p:cNvSpPr/>
            <p:nvPr/>
          </p:nvSpPr>
          <p:spPr>
            <a:xfrm rot="8716295">
              <a:off x="276903" y="-12823"/>
              <a:ext cx="36272" cy="27982"/>
            </a:xfrm>
            <a:custGeom>
              <a:avLst/>
              <a:gdLst>
                <a:gd name="connsiteX0" fmla="*/ 36272 w 36272"/>
                <a:gd name="connsiteY0" fmla="*/ 27982 h 27982"/>
                <a:gd name="connsiteX1" fmla="*/ 0 w 36272"/>
                <a:gd name="connsiteY1" fmla="*/ 2840 h 27982"/>
                <a:gd name="connsiteX2" fmla="*/ 9543 w 36272"/>
                <a:gd name="connsiteY2" fmla="*/ 0 h 27982"/>
                <a:gd name="connsiteX3" fmla="*/ 31871 w 36272"/>
                <a:gd name="connsiteY3" fmla="*/ 11392 h 27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272" h="27982">
                  <a:moveTo>
                    <a:pt x="36272" y="27982"/>
                  </a:moveTo>
                  <a:lnTo>
                    <a:pt x="0" y="2840"/>
                  </a:lnTo>
                  <a:lnTo>
                    <a:pt x="9543" y="0"/>
                  </a:lnTo>
                  <a:cubicBezTo>
                    <a:pt x="20479" y="0"/>
                    <a:pt x="27542" y="4784"/>
                    <a:pt x="31871" y="113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5" name="Forme libre : forme 2264">
              <a:extLst>
                <a:ext uri="{FF2B5EF4-FFF2-40B4-BE49-F238E27FC236}">
                  <a16:creationId xmlns:a16="http://schemas.microsoft.com/office/drawing/2014/main" id="{2E8D6347-E8C4-45B5-8A1B-45E97581E04C}"/>
                </a:ext>
              </a:extLst>
            </p:cNvPr>
            <p:cNvSpPr/>
            <p:nvPr/>
          </p:nvSpPr>
          <p:spPr>
            <a:xfrm rot="8716295">
              <a:off x="74640" y="-9665"/>
              <a:ext cx="58068" cy="54772"/>
            </a:xfrm>
            <a:custGeom>
              <a:avLst/>
              <a:gdLst>
                <a:gd name="connsiteX0" fmla="*/ 37436 w 58068"/>
                <a:gd name="connsiteY0" fmla="*/ 54772 h 54772"/>
                <a:gd name="connsiteX1" fmla="*/ 0 w 58068"/>
                <a:gd name="connsiteY1" fmla="*/ 28823 h 54772"/>
                <a:gd name="connsiteX2" fmla="*/ 8515 w 58068"/>
                <a:gd name="connsiteY2" fmla="*/ 8658 h 54772"/>
                <a:gd name="connsiteX3" fmla="*/ 29020 w 58068"/>
                <a:gd name="connsiteY3" fmla="*/ 0 h 54772"/>
                <a:gd name="connsiteX4" fmla="*/ 49525 w 58068"/>
                <a:gd name="connsiteY4" fmla="*/ 8658 h 54772"/>
                <a:gd name="connsiteX5" fmla="*/ 49525 w 58068"/>
                <a:gd name="connsiteY5" fmla="*/ 49668 h 5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068" h="54772">
                  <a:moveTo>
                    <a:pt x="37436" y="54772"/>
                  </a:moveTo>
                  <a:lnTo>
                    <a:pt x="0" y="28823"/>
                  </a:lnTo>
                  <a:lnTo>
                    <a:pt x="8515" y="8658"/>
                  </a:lnTo>
                  <a:cubicBezTo>
                    <a:pt x="13983" y="3190"/>
                    <a:pt x="21273" y="0"/>
                    <a:pt x="29020" y="0"/>
                  </a:cubicBezTo>
                  <a:cubicBezTo>
                    <a:pt x="36766" y="0"/>
                    <a:pt x="44057" y="3190"/>
                    <a:pt x="49525" y="8658"/>
                  </a:cubicBezTo>
                  <a:cubicBezTo>
                    <a:pt x="60916" y="19594"/>
                    <a:pt x="60916" y="38276"/>
                    <a:pt x="49525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6" name="Forme libre : forme 2265">
              <a:extLst>
                <a:ext uri="{FF2B5EF4-FFF2-40B4-BE49-F238E27FC236}">
                  <a16:creationId xmlns:a16="http://schemas.microsoft.com/office/drawing/2014/main" id="{BCA89D21-0065-4D16-A3A0-E2C378DC3A92}"/>
                </a:ext>
              </a:extLst>
            </p:cNvPr>
            <p:cNvSpPr/>
            <p:nvPr/>
          </p:nvSpPr>
          <p:spPr>
            <a:xfrm rot="8716295">
              <a:off x="13802" y="-10406"/>
              <a:ext cx="30027" cy="20814"/>
            </a:xfrm>
            <a:custGeom>
              <a:avLst/>
              <a:gdLst>
                <a:gd name="connsiteX0" fmla="*/ 30027 w 30027"/>
                <a:gd name="connsiteY0" fmla="*/ 20814 h 20814"/>
                <a:gd name="connsiteX1" fmla="*/ 0 w 30027"/>
                <a:gd name="connsiteY1" fmla="*/ 0 h 20814"/>
                <a:gd name="connsiteX2" fmla="*/ 30027 w 30027"/>
                <a:gd name="connsiteY2" fmla="*/ 0 h 20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027" h="20814">
                  <a:moveTo>
                    <a:pt x="30027" y="20814"/>
                  </a:moveTo>
                  <a:lnTo>
                    <a:pt x="0" y="0"/>
                  </a:lnTo>
                  <a:lnTo>
                    <a:pt x="3002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7" name="Forme libre : forme 2266">
              <a:extLst>
                <a:ext uri="{FF2B5EF4-FFF2-40B4-BE49-F238E27FC236}">
                  <a16:creationId xmlns:a16="http://schemas.microsoft.com/office/drawing/2014/main" id="{F71B2498-3B3D-45FC-A329-91E00C9C5967}"/>
                </a:ext>
              </a:extLst>
            </p:cNvPr>
            <p:cNvSpPr/>
            <p:nvPr/>
          </p:nvSpPr>
          <p:spPr>
            <a:xfrm rot="8716295">
              <a:off x="168048" y="3032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8" name="Forme libre : forme 2267">
              <a:extLst>
                <a:ext uri="{FF2B5EF4-FFF2-40B4-BE49-F238E27FC236}">
                  <a16:creationId xmlns:a16="http://schemas.microsoft.com/office/drawing/2014/main" id="{3CF8E69B-B55C-41E9-B911-1981925CCEB5}"/>
                </a:ext>
              </a:extLst>
            </p:cNvPr>
            <p:cNvSpPr/>
            <p:nvPr/>
          </p:nvSpPr>
          <p:spPr>
            <a:xfrm rot="7484129">
              <a:off x="562078" y="-284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9" name="Forme libre : forme 2268">
              <a:extLst>
                <a:ext uri="{FF2B5EF4-FFF2-40B4-BE49-F238E27FC236}">
                  <a16:creationId xmlns:a16="http://schemas.microsoft.com/office/drawing/2014/main" id="{4C71276B-40A5-4E8A-A73A-B1F9AA0F0D51}"/>
                </a:ext>
              </a:extLst>
            </p:cNvPr>
            <p:cNvSpPr/>
            <p:nvPr/>
          </p:nvSpPr>
          <p:spPr>
            <a:xfrm rot="13089394">
              <a:off x="775514" y="-27038"/>
              <a:ext cx="149688" cy="328219"/>
            </a:xfrm>
            <a:custGeom>
              <a:avLst/>
              <a:gdLst>
                <a:gd name="connsiteX0" fmla="*/ 149688 w 149688"/>
                <a:gd name="connsiteY0" fmla="*/ 279622 h 328219"/>
                <a:gd name="connsiteX1" fmla="*/ 87835 w 149688"/>
                <a:gd name="connsiteY1" fmla="*/ 328219 h 328219"/>
                <a:gd name="connsiteX2" fmla="*/ 54765 w 149688"/>
                <a:gd name="connsiteY2" fmla="*/ 322521 h 328219"/>
                <a:gd name="connsiteX3" fmla="*/ 23727 w 149688"/>
                <a:gd name="connsiteY3" fmla="*/ 301277 h 328219"/>
                <a:gd name="connsiteX4" fmla="*/ 0 w 149688"/>
                <a:gd name="connsiteY4" fmla="*/ 206369 h 328219"/>
                <a:gd name="connsiteX5" fmla="*/ 0 w 149688"/>
                <a:gd name="connsiteY5" fmla="*/ 38074 h 328219"/>
                <a:gd name="connsiteX6" fmla="*/ 73388 w 149688"/>
                <a:gd name="connsiteY6" fmla="*/ 0 h 328219"/>
                <a:gd name="connsiteX7" fmla="*/ 74492 w 149688"/>
                <a:gd name="connsiteY7" fmla="*/ 153950 h 328219"/>
                <a:gd name="connsiteX8" fmla="*/ 87734 w 149688"/>
                <a:gd name="connsiteY8" fmla="*/ 245547 h 328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9688" h="328219">
                  <a:moveTo>
                    <a:pt x="149688" y="279622"/>
                  </a:moveTo>
                  <a:lnTo>
                    <a:pt x="87835" y="328219"/>
                  </a:lnTo>
                  <a:lnTo>
                    <a:pt x="54765" y="322521"/>
                  </a:lnTo>
                  <a:cubicBezTo>
                    <a:pt x="43178" y="317693"/>
                    <a:pt x="32555" y="310382"/>
                    <a:pt x="23727" y="301277"/>
                  </a:cubicBezTo>
                  <a:cubicBezTo>
                    <a:pt x="4966" y="283069"/>
                    <a:pt x="0" y="251616"/>
                    <a:pt x="0" y="206369"/>
                  </a:cubicBez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2836" y="184850"/>
                    <a:pt x="77802" y="216302"/>
                    <a:pt x="87734" y="2455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0" name="Forme libre : forme 2269">
              <a:extLst>
                <a:ext uri="{FF2B5EF4-FFF2-40B4-BE49-F238E27FC236}">
                  <a16:creationId xmlns:a16="http://schemas.microsoft.com/office/drawing/2014/main" id="{989F33F8-2CEA-46E0-977C-BF10A5F6EC24}"/>
                </a:ext>
              </a:extLst>
            </p:cNvPr>
            <p:cNvSpPr/>
            <p:nvPr/>
          </p:nvSpPr>
          <p:spPr>
            <a:xfrm rot="8716295">
              <a:off x="5027149" y="202701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1" name="Forme libre : forme 2270">
              <a:extLst>
                <a:ext uri="{FF2B5EF4-FFF2-40B4-BE49-F238E27FC236}">
                  <a16:creationId xmlns:a16="http://schemas.microsoft.com/office/drawing/2014/main" id="{9811A813-1EE2-49DA-9483-7786C91105E8}"/>
                </a:ext>
              </a:extLst>
            </p:cNvPr>
            <p:cNvSpPr/>
            <p:nvPr/>
          </p:nvSpPr>
          <p:spPr>
            <a:xfrm rot="8716295">
              <a:off x="5116541" y="205625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2" name="Forme libre : forme 2271">
              <a:extLst>
                <a:ext uri="{FF2B5EF4-FFF2-40B4-BE49-F238E27FC236}">
                  <a16:creationId xmlns:a16="http://schemas.microsoft.com/office/drawing/2014/main" id="{8FC8FB61-C549-4F81-9375-A1D7E59B1E17}"/>
                </a:ext>
              </a:extLst>
            </p:cNvPr>
            <p:cNvSpPr/>
            <p:nvPr/>
          </p:nvSpPr>
          <p:spPr>
            <a:xfrm rot="8716295">
              <a:off x="5071691" y="196997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3" name="Forme libre : forme 2272">
              <a:extLst>
                <a:ext uri="{FF2B5EF4-FFF2-40B4-BE49-F238E27FC236}">
                  <a16:creationId xmlns:a16="http://schemas.microsoft.com/office/drawing/2014/main" id="{0CFFA3A9-B086-4D44-B5C2-B82670FF13BF}"/>
                </a:ext>
              </a:extLst>
            </p:cNvPr>
            <p:cNvSpPr/>
            <p:nvPr/>
          </p:nvSpPr>
          <p:spPr>
            <a:xfrm rot="8716295">
              <a:off x="4914915" y="211555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4" name="Forme libre : forme 2273">
              <a:extLst>
                <a:ext uri="{FF2B5EF4-FFF2-40B4-BE49-F238E27FC236}">
                  <a16:creationId xmlns:a16="http://schemas.microsoft.com/office/drawing/2014/main" id="{233AD9D8-2DDF-4DFC-A97A-554BCD15069B}"/>
                </a:ext>
              </a:extLst>
            </p:cNvPr>
            <p:cNvSpPr/>
            <p:nvPr/>
          </p:nvSpPr>
          <p:spPr>
            <a:xfrm rot="8716295">
              <a:off x="4790012" y="190688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5" name="Forme libre : forme 2274">
              <a:extLst>
                <a:ext uri="{FF2B5EF4-FFF2-40B4-BE49-F238E27FC236}">
                  <a16:creationId xmlns:a16="http://schemas.microsoft.com/office/drawing/2014/main" id="{F30C5186-83A8-436D-A1B1-82D8B26F890D}"/>
                </a:ext>
              </a:extLst>
            </p:cNvPr>
            <p:cNvSpPr/>
            <p:nvPr/>
          </p:nvSpPr>
          <p:spPr>
            <a:xfrm rot="8716295">
              <a:off x="4777960" y="176810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6" name="Forme libre : forme 2275">
              <a:extLst>
                <a:ext uri="{FF2B5EF4-FFF2-40B4-BE49-F238E27FC236}">
                  <a16:creationId xmlns:a16="http://schemas.microsoft.com/office/drawing/2014/main" id="{A0377747-04B1-4283-950B-CD843F97EFB6}"/>
                </a:ext>
              </a:extLst>
            </p:cNvPr>
            <p:cNvSpPr/>
            <p:nvPr/>
          </p:nvSpPr>
          <p:spPr>
            <a:xfrm rot="8716295">
              <a:off x="5005093" y="215651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7" name="Forme libre : forme 2276">
              <a:extLst>
                <a:ext uri="{FF2B5EF4-FFF2-40B4-BE49-F238E27FC236}">
                  <a16:creationId xmlns:a16="http://schemas.microsoft.com/office/drawing/2014/main" id="{3571DCD9-8E3F-48D7-BBF0-29E0A04E1105}"/>
                </a:ext>
              </a:extLst>
            </p:cNvPr>
            <p:cNvSpPr/>
            <p:nvPr/>
          </p:nvSpPr>
          <p:spPr>
            <a:xfrm rot="8716295">
              <a:off x="5316248" y="177686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8" name="Forme libre : forme 2277">
              <a:extLst>
                <a:ext uri="{FF2B5EF4-FFF2-40B4-BE49-F238E27FC236}">
                  <a16:creationId xmlns:a16="http://schemas.microsoft.com/office/drawing/2014/main" id="{B5194E53-4203-440A-97AE-D778552CB387}"/>
                </a:ext>
              </a:extLst>
            </p:cNvPr>
            <p:cNvSpPr/>
            <p:nvPr/>
          </p:nvSpPr>
          <p:spPr>
            <a:xfrm rot="8716295">
              <a:off x="5405640" y="180610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79" name="Forme libre : forme 2278">
              <a:extLst>
                <a:ext uri="{FF2B5EF4-FFF2-40B4-BE49-F238E27FC236}">
                  <a16:creationId xmlns:a16="http://schemas.microsoft.com/office/drawing/2014/main" id="{DAF19CC7-74AA-4704-A1D2-062102FB21F8}"/>
                </a:ext>
              </a:extLst>
            </p:cNvPr>
            <p:cNvSpPr/>
            <p:nvPr/>
          </p:nvSpPr>
          <p:spPr>
            <a:xfrm rot="8716295">
              <a:off x="5204014" y="186540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0" name="Forme libre : forme 2279">
              <a:extLst>
                <a:ext uri="{FF2B5EF4-FFF2-40B4-BE49-F238E27FC236}">
                  <a16:creationId xmlns:a16="http://schemas.microsoft.com/office/drawing/2014/main" id="{25EC3E6E-10D1-4116-AA5A-C57DF5107B67}"/>
                </a:ext>
              </a:extLst>
            </p:cNvPr>
            <p:cNvSpPr/>
            <p:nvPr/>
          </p:nvSpPr>
          <p:spPr>
            <a:xfrm rot="8716295">
              <a:off x="5079112" y="165673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1" name="Forme libre : forme 2280">
              <a:extLst>
                <a:ext uri="{FF2B5EF4-FFF2-40B4-BE49-F238E27FC236}">
                  <a16:creationId xmlns:a16="http://schemas.microsoft.com/office/drawing/2014/main" id="{C9FA81BF-DE28-4428-8ED6-97559BBCCD8C}"/>
                </a:ext>
              </a:extLst>
            </p:cNvPr>
            <p:cNvSpPr/>
            <p:nvPr/>
          </p:nvSpPr>
          <p:spPr>
            <a:xfrm rot="8716295">
              <a:off x="5294192" y="190635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2" name="Forme libre : forme 2281">
              <a:extLst>
                <a:ext uri="{FF2B5EF4-FFF2-40B4-BE49-F238E27FC236}">
                  <a16:creationId xmlns:a16="http://schemas.microsoft.com/office/drawing/2014/main" id="{7CBE3143-36E0-46F6-A7F9-68442F5449A1}"/>
                </a:ext>
              </a:extLst>
            </p:cNvPr>
            <p:cNvSpPr/>
            <p:nvPr/>
          </p:nvSpPr>
          <p:spPr>
            <a:xfrm rot="8716295">
              <a:off x="5052741" y="175675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3" name="Forme libre : forme 2282">
              <a:extLst>
                <a:ext uri="{FF2B5EF4-FFF2-40B4-BE49-F238E27FC236}">
                  <a16:creationId xmlns:a16="http://schemas.microsoft.com/office/drawing/2014/main" id="{6D272255-56C7-4DCB-8E2D-FCB1C2CD9031}"/>
                </a:ext>
              </a:extLst>
            </p:cNvPr>
            <p:cNvSpPr/>
            <p:nvPr/>
          </p:nvSpPr>
          <p:spPr>
            <a:xfrm rot="7484129">
              <a:off x="5399123" y="209771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4" name="Forme libre : forme 2283">
              <a:extLst>
                <a:ext uri="{FF2B5EF4-FFF2-40B4-BE49-F238E27FC236}">
                  <a16:creationId xmlns:a16="http://schemas.microsoft.com/office/drawing/2014/main" id="{4FB405A8-78D2-42A0-AA73-3F8891BBCD16}"/>
                </a:ext>
              </a:extLst>
            </p:cNvPr>
            <p:cNvSpPr/>
            <p:nvPr/>
          </p:nvSpPr>
          <p:spPr>
            <a:xfrm rot="13089394">
              <a:off x="5503943" y="206424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5" name="Forme libre : forme 2284">
              <a:extLst>
                <a:ext uri="{FF2B5EF4-FFF2-40B4-BE49-F238E27FC236}">
                  <a16:creationId xmlns:a16="http://schemas.microsoft.com/office/drawing/2014/main" id="{5D1227F4-9CCA-498B-B4A8-3FC0F584569C}"/>
                </a:ext>
              </a:extLst>
            </p:cNvPr>
            <p:cNvSpPr/>
            <p:nvPr/>
          </p:nvSpPr>
          <p:spPr>
            <a:xfrm rot="8716295">
              <a:off x="5689528" y="187256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6" name="Forme libre : forme 2285">
              <a:extLst>
                <a:ext uri="{FF2B5EF4-FFF2-40B4-BE49-F238E27FC236}">
                  <a16:creationId xmlns:a16="http://schemas.microsoft.com/office/drawing/2014/main" id="{C59C685B-27AB-40A0-A906-985CA6213EBC}"/>
                </a:ext>
              </a:extLst>
            </p:cNvPr>
            <p:cNvSpPr/>
            <p:nvPr/>
          </p:nvSpPr>
          <p:spPr>
            <a:xfrm rot="8716295">
              <a:off x="5637723" y="176897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7" name="Forme libre : forme 2286">
              <a:extLst>
                <a:ext uri="{FF2B5EF4-FFF2-40B4-BE49-F238E27FC236}">
                  <a16:creationId xmlns:a16="http://schemas.microsoft.com/office/drawing/2014/main" id="{8DB70848-D82B-4310-9BBA-A9459B171C10}"/>
                </a:ext>
              </a:extLst>
            </p:cNvPr>
            <p:cNvSpPr/>
            <p:nvPr/>
          </p:nvSpPr>
          <p:spPr>
            <a:xfrm rot="8716295">
              <a:off x="5394477" y="179919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8" name="Forme libre : forme 2287">
              <a:extLst>
                <a:ext uri="{FF2B5EF4-FFF2-40B4-BE49-F238E27FC236}">
                  <a16:creationId xmlns:a16="http://schemas.microsoft.com/office/drawing/2014/main" id="{C5272E14-DCC6-4573-8D08-FD212965F221}"/>
                </a:ext>
              </a:extLst>
            </p:cNvPr>
            <p:cNvSpPr/>
            <p:nvPr/>
          </p:nvSpPr>
          <p:spPr>
            <a:xfrm rot="8716295">
              <a:off x="5571929" y="163994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89" name="Forme libre : forme 2288">
              <a:extLst>
                <a:ext uri="{FF2B5EF4-FFF2-40B4-BE49-F238E27FC236}">
                  <a16:creationId xmlns:a16="http://schemas.microsoft.com/office/drawing/2014/main" id="{A350DCBD-0FDA-496A-BBBE-BB7098DAD44D}"/>
                </a:ext>
              </a:extLst>
            </p:cNvPr>
            <p:cNvSpPr/>
            <p:nvPr/>
          </p:nvSpPr>
          <p:spPr>
            <a:xfrm rot="8716295">
              <a:off x="5250316" y="268671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0" name="Forme libre : forme 2289">
              <a:extLst>
                <a:ext uri="{FF2B5EF4-FFF2-40B4-BE49-F238E27FC236}">
                  <a16:creationId xmlns:a16="http://schemas.microsoft.com/office/drawing/2014/main" id="{424249A1-386F-413D-A213-ACEDD63BDA25}"/>
                </a:ext>
              </a:extLst>
            </p:cNvPr>
            <p:cNvSpPr/>
            <p:nvPr/>
          </p:nvSpPr>
          <p:spPr>
            <a:xfrm rot="8716295">
              <a:off x="5339708" y="271595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1" name="Forme libre : forme 2290">
              <a:extLst>
                <a:ext uri="{FF2B5EF4-FFF2-40B4-BE49-F238E27FC236}">
                  <a16:creationId xmlns:a16="http://schemas.microsoft.com/office/drawing/2014/main" id="{ECDCBBB4-5207-4603-B3A2-EE99E034021A}"/>
                </a:ext>
              </a:extLst>
            </p:cNvPr>
            <p:cNvSpPr/>
            <p:nvPr/>
          </p:nvSpPr>
          <p:spPr>
            <a:xfrm rot="8716295">
              <a:off x="5294858" y="262967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2" name="Forme libre : forme 2291">
              <a:extLst>
                <a:ext uri="{FF2B5EF4-FFF2-40B4-BE49-F238E27FC236}">
                  <a16:creationId xmlns:a16="http://schemas.microsoft.com/office/drawing/2014/main" id="{586B3E24-B064-4091-9B72-D089A71B8329}"/>
                </a:ext>
              </a:extLst>
            </p:cNvPr>
            <p:cNvSpPr/>
            <p:nvPr/>
          </p:nvSpPr>
          <p:spPr>
            <a:xfrm rot="8716295">
              <a:off x="5138082" y="277525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3" name="Forme libre : forme 2292">
              <a:extLst>
                <a:ext uri="{FF2B5EF4-FFF2-40B4-BE49-F238E27FC236}">
                  <a16:creationId xmlns:a16="http://schemas.microsoft.com/office/drawing/2014/main" id="{0B8199E1-B2FB-471F-BB74-205302CD4EEC}"/>
                </a:ext>
              </a:extLst>
            </p:cNvPr>
            <p:cNvSpPr/>
            <p:nvPr/>
          </p:nvSpPr>
          <p:spPr>
            <a:xfrm rot="8716295">
              <a:off x="5013179" y="256658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4" name="Forme libre : forme 2293">
              <a:extLst>
                <a:ext uri="{FF2B5EF4-FFF2-40B4-BE49-F238E27FC236}">
                  <a16:creationId xmlns:a16="http://schemas.microsoft.com/office/drawing/2014/main" id="{2FB2D688-FEA9-44F3-ABA3-DB1429B0A2C4}"/>
                </a:ext>
              </a:extLst>
            </p:cNvPr>
            <p:cNvSpPr/>
            <p:nvPr/>
          </p:nvSpPr>
          <p:spPr>
            <a:xfrm rot="8716295">
              <a:off x="5001127" y="242780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5" name="Forme libre : forme 2294">
              <a:extLst>
                <a:ext uri="{FF2B5EF4-FFF2-40B4-BE49-F238E27FC236}">
                  <a16:creationId xmlns:a16="http://schemas.microsoft.com/office/drawing/2014/main" id="{CD81BB45-7980-4C73-85FE-6BB2DBE766EF}"/>
                </a:ext>
              </a:extLst>
            </p:cNvPr>
            <p:cNvSpPr/>
            <p:nvPr/>
          </p:nvSpPr>
          <p:spPr>
            <a:xfrm rot="8716295">
              <a:off x="5228260" y="281621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6" name="Forme libre : forme 2295">
              <a:extLst>
                <a:ext uri="{FF2B5EF4-FFF2-40B4-BE49-F238E27FC236}">
                  <a16:creationId xmlns:a16="http://schemas.microsoft.com/office/drawing/2014/main" id="{45A188F4-BDAA-4C8F-BC77-E18E0A410657}"/>
                </a:ext>
              </a:extLst>
            </p:cNvPr>
            <p:cNvSpPr/>
            <p:nvPr/>
          </p:nvSpPr>
          <p:spPr>
            <a:xfrm rot="8716295">
              <a:off x="5539415" y="243656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7" name="Forme libre : forme 2296">
              <a:extLst>
                <a:ext uri="{FF2B5EF4-FFF2-40B4-BE49-F238E27FC236}">
                  <a16:creationId xmlns:a16="http://schemas.microsoft.com/office/drawing/2014/main" id="{6F38191A-A16B-4F12-A551-5C44F7C985EE}"/>
                </a:ext>
              </a:extLst>
            </p:cNvPr>
            <p:cNvSpPr/>
            <p:nvPr/>
          </p:nvSpPr>
          <p:spPr>
            <a:xfrm rot="8716295">
              <a:off x="5628807" y="246580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8" name="Forme libre : forme 2297">
              <a:extLst>
                <a:ext uri="{FF2B5EF4-FFF2-40B4-BE49-F238E27FC236}">
                  <a16:creationId xmlns:a16="http://schemas.microsoft.com/office/drawing/2014/main" id="{D3CC80E9-1D47-429F-ACDE-A621C24CBE44}"/>
                </a:ext>
              </a:extLst>
            </p:cNvPr>
            <p:cNvSpPr/>
            <p:nvPr/>
          </p:nvSpPr>
          <p:spPr>
            <a:xfrm rot="8716295">
              <a:off x="5427181" y="252510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99" name="Forme libre : forme 2298">
              <a:extLst>
                <a:ext uri="{FF2B5EF4-FFF2-40B4-BE49-F238E27FC236}">
                  <a16:creationId xmlns:a16="http://schemas.microsoft.com/office/drawing/2014/main" id="{A24688B2-0199-4274-9FD6-B44932C06770}"/>
                </a:ext>
              </a:extLst>
            </p:cNvPr>
            <p:cNvSpPr/>
            <p:nvPr/>
          </p:nvSpPr>
          <p:spPr>
            <a:xfrm rot="8716295">
              <a:off x="5302279" y="231643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0" name="Forme libre : forme 2299">
              <a:extLst>
                <a:ext uri="{FF2B5EF4-FFF2-40B4-BE49-F238E27FC236}">
                  <a16:creationId xmlns:a16="http://schemas.microsoft.com/office/drawing/2014/main" id="{8CACAF0B-4223-489E-8142-FE6C0E2ABE02}"/>
                </a:ext>
              </a:extLst>
            </p:cNvPr>
            <p:cNvSpPr/>
            <p:nvPr/>
          </p:nvSpPr>
          <p:spPr>
            <a:xfrm rot="8716295">
              <a:off x="5517359" y="256605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1" name="Forme libre : forme 2300">
              <a:extLst>
                <a:ext uri="{FF2B5EF4-FFF2-40B4-BE49-F238E27FC236}">
                  <a16:creationId xmlns:a16="http://schemas.microsoft.com/office/drawing/2014/main" id="{1DE11DE1-1806-43C0-806D-86BA3E33BB9E}"/>
                </a:ext>
              </a:extLst>
            </p:cNvPr>
            <p:cNvSpPr/>
            <p:nvPr/>
          </p:nvSpPr>
          <p:spPr>
            <a:xfrm rot="8716295">
              <a:off x="5275908" y="241645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2" name="Forme libre : forme 2301">
              <a:extLst>
                <a:ext uri="{FF2B5EF4-FFF2-40B4-BE49-F238E27FC236}">
                  <a16:creationId xmlns:a16="http://schemas.microsoft.com/office/drawing/2014/main" id="{CEF4E15F-06D3-4C85-B288-4FE5B46D9A79}"/>
                </a:ext>
              </a:extLst>
            </p:cNvPr>
            <p:cNvSpPr/>
            <p:nvPr/>
          </p:nvSpPr>
          <p:spPr>
            <a:xfrm rot="7484129">
              <a:off x="5622290" y="275740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3" name="Forme libre : forme 2302">
              <a:extLst>
                <a:ext uri="{FF2B5EF4-FFF2-40B4-BE49-F238E27FC236}">
                  <a16:creationId xmlns:a16="http://schemas.microsoft.com/office/drawing/2014/main" id="{99463D07-3957-4F25-99F6-6382826CCF9D}"/>
                </a:ext>
              </a:extLst>
            </p:cNvPr>
            <p:cNvSpPr/>
            <p:nvPr/>
          </p:nvSpPr>
          <p:spPr>
            <a:xfrm rot="13089394">
              <a:off x="5718537" y="2742349"/>
              <a:ext cx="222098" cy="286724"/>
            </a:xfrm>
            <a:custGeom>
              <a:avLst/>
              <a:gdLst>
                <a:gd name="connsiteX0" fmla="*/ 23241 w 222098"/>
                <a:gd name="connsiteY0" fmla="*/ 47275 h 286724"/>
                <a:gd name="connsiteX1" fmla="*/ 0 w 222098"/>
                <a:gd name="connsiteY1" fmla="*/ 11882 h 286724"/>
                <a:gd name="connsiteX2" fmla="*/ 22902 w 222098"/>
                <a:gd name="connsiteY2" fmla="*/ 0 h 286724"/>
                <a:gd name="connsiteX3" fmla="*/ 222098 w 222098"/>
                <a:gd name="connsiteY3" fmla="*/ 258238 h 286724"/>
                <a:gd name="connsiteX4" fmla="*/ 180472 w 222098"/>
                <a:gd name="connsiteY4" fmla="*/ 286724 h 286724"/>
                <a:gd name="connsiteX5" fmla="*/ 167667 w 222098"/>
                <a:gd name="connsiteY5" fmla="*/ 267224 h 286724"/>
                <a:gd name="connsiteX6" fmla="*/ 220995 w 222098"/>
                <a:gd name="connsiteY6" fmla="*/ 245547 h 286724"/>
                <a:gd name="connsiteX7" fmla="*/ 222098 w 222098"/>
                <a:gd name="connsiteY7" fmla="*/ 252720 h 286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2098" h="286724">
                  <a:moveTo>
                    <a:pt x="23241" y="47275"/>
                  </a:moveTo>
                  <a:lnTo>
                    <a:pt x="0" y="11882"/>
                  </a:lnTo>
                  <a:lnTo>
                    <a:pt x="22902" y="0"/>
                  </a:lnTo>
                  <a:close/>
                  <a:moveTo>
                    <a:pt x="222098" y="258238"/>
                  </a:moveTo>
                  <a:lnTo>
                    <a:pt x="180472" y="286724"/>
                  </a:lnTo>
                  <a:lnTo>
                    <a:pt x="167667" y="267224"/>
                  </a:lnTo>
                  <a:lnTo>
                    <a:pt x="220995" y="245547"/>
                  </a:lnTo>
                  <a:cubicBezTo>
                    <a:pt x="221546" y="247754"/>
                    <a:pt x="222098" y="250513"/>
                    <a:pt x="222098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4" name="Forme libre : forme 2303">
              <a:extLst>
                <a:ext uri="{FF2B5EF4-FFF2-40B4-BE49-F238E27FC236}">
                  <a16:creationId xmlns:a16="http://schemas.microsoft.com/office/drawing/2014/main" id="{595B531E-AE51-4EB8-A220-EECB43E78A0A}"/>
                </a:ext>
              </a:extLst>
            </p:cNvPr>
            <p:cNvSpPr/>
            <p:nvPr/>
          </p:nvSpPr>
          <p:spPr>
            <a:xfrm rot="8716295">
              <a:off x="5845439" y="2441114"/>
              <a:ext cx="69626" cy="78683"/>
            </a:xfrm>
            <a:custGeom>
              <a:avLst/>
              <a:gdLst>
                <a:gd name="connsiteX0" fmla="*/ 0 w 69626"/>
                <a:gd name="connsiteY0" fmla="*/ 74288 h 78683"/>
                <a:gd name="connsiteX1" fmla="*/ 61446 w 69626"/>
                <a:gd name="connsiteY1" fmla="*/ 0 h 78683"/>
                <a:gd name="connsiteX2" fmla="*/ 69626 w 69626"/>
                <a:gd name="connsiteY2" fmla="*/ 19468 h 78683"/>
                <a:gd name="connsiteX3" fmla="*/ 52380 w 69626"/>
                <a:gd name="connsiteY3" fmla="*/ 61206 h 78683"/>
                <a:gd name="connsiteX4" fmla="*/ 10986 w 69626"/>
                <a:gd name="connsiteY4" fmla="*/ 78683 h 78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626" h="78683">
                  <a:moveTo>
                    <a:pt x="0" y="74288"/>
                  </a:moveTo>
                  <a:lnTo>
                    <a:pt x="61446" y="0"/>
                  </a:lnTo>
                  <a:lnTo>
                    <a:pt x="69626" y="19468"/>
                  </a:lnTo>
                  <a:cubicBezTo>
                    <a:pt x="69626" y="34531"/>
                    <a:pt x="63877" y="49708"/>
                    <a:pt x="52380" y="61206"/>
                  </a:cubicBezTo>
                  <a:cubicBezTo>
                    <a:pt x="41341" y="72244"/>
                    <a:pt x="26624" y="78683"/>
                    <a:pt x="10986" y="786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5" name="Forme libre : forme 2304">
              <a:extLst>
                <a:ext uri="{FF2B5EF4-FFF2-40B4-BE49-F238E27FC236}">
                  <a16:creationId xmlns:a16="http://schemas.microsoft.com/office/drawing/2014/main" id="{56DB83FE-66AC-4319-B8BC-7D9AE2504E48}"/>
                </a:ext>
              </a:extLst>
            </p:cNvPr>
            <p:cNvSpPr/>
            <p:nvPr/>
          </p:nvSpPr>
          <p:spPr>
            <a:xfrm rot="8716295">
              <a:off x="5617644" y="245889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6" name="Forme libre : forme 2305">
              <a:extLst>
                <a:ext uri="{FF2B5EF4-FFF2-40B4-BE49-F238E27FC236}">
                  <a16:creationId xmlns:a16="http://schemas.microsoft.com/office/drawing/2014/main" id="{059CCF50-6F3B-445A-81D2-1722B84AB898}"/>
                </a:ext>
              </a:extLst>
            </p:cNvPr>
            <p:cNvSpPr/>
            <p:nvPr/>
          </p:nvSpPr>
          <p:spPr>
            <a:xfrm rot="8716295">
              <a:off x="5786507" y="2294976"/>
              <a:ext cx="117509" cy="117739"/>
            </a:xfrm>
            <a:custGeom>
              <a:avLst/>
              <a:gdLst>
                <a:gd name="connsiteX0" fmla="*/ 17477 w 117509"/>
                <a:gd name="connsiteY0" fmla="*/ 101182 h 117739"/>
                <a:gd name="connsiteX1" fmla="*/ 0 w 117509"/>
                <a:gd name="connsiteY1" fmla="*/ 59790 h 117739"/>
                <a:gd name="connsiteX2" fmla="*/ 0 w 117509"/>
                <a:gd name="connsiteY2" fmla="*/ 58869 h 117739"/>
                <a:gd name="connsiteX3" fmla="*/ 2091 w 117509"/>
                <a:gd name="connsiteY3" fmla="*/ 48678 h 117739"/>
                <a:gd name="connsiteX4" fmla="*/ 38978 w 117509"/>
                <a:gd name="connsiteY4" fmla="*/ 4080 h 117739"/>
                <a:gd name="connsiteX5" fmla="*/ 58869 w 117509"/>
                <a:gd name="connsiteY5" fmla="*/ 0 h 117739"/>
                <a:gd name="connsiteX6" fmla="*/ 100263 w 117509"/>
                <a:gd name="connsiteY6" fmla="*/ 17477 h 117739"/>
                <a:gd name="connsiteX7" fmla="*/ 100263 w 117509"/>
                <a:gd name="connsiteY7" fmla="*/ 100262 h 117739"/>
                <a:gd name="connsiteX8" fmla="*/ 58869 w 117509"/>
                <a:gd name="connsiteY8" fmla="*/ 117739 h 117739"/>
                <a:gd name="connsiteX9" fmla="*/ 17477 w 117509"/>
                <a:gd name="connsiteY9" fmla="*/ 101182 h 117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09" h="117739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lnTo>
                    <a:pt x="2091" y="48678"/>
                  </a:lnTo>
                  <a:lnTo>
                    <a:pt x="38978" y="4080"/>
                  </a:lnTo>
                  <a:lnTo>
                    <a:pt x="58869" y="0"/>
                  </a:lnTo>
                  <a:cubicBezTo>
                    <a:pt x="74507" y="0"/>
                    <a:pt x="89224" y="6439"/>
                    <a:pt x="100263" y="17477"/>
                  </a:cubicBezTo>
                  <a:cubicBezTo>
                    <a:pt x="123258" y="39553"/>
                    <a:pt x="123258" y="77266"/>
                    <a:pt x="100263" y="100262"/>
                  </a:cubicBezTo>
                  <a:cubicBezTo>
                    <a:pt x="89224" y="111300"/>
                    <a:pt x="74507" y="117739"/>
                    <a:pt x="58869" y="117739"/>
                  </a:cubicBezTo>
                  <a:cubicBezTo>
                    <a:pt x="43233" y="117739"/>
                    <a:pt x="28515" y="112220"/>
                    <a:pt x="17477" y="10118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7" name="Forme libre : forme 2306">
              <a:extLst>
                <a:ext uri="{FF2B5EF4-FFF2-40B4-BE49-F238E27FC236}">
                  <a16:creationId xmlns:a16="http://schemas.microsoft.com/office/drawing/2014/main" id="{11555900-AB76-4DA6-98BE-C28A5682E542}"/>
                </a:ext>
              </a:extLst>
            </p:cNvPr>
            <p:cNvSpPr/>
            <p:nvPr/>
          </p:nvSpPr>
          <p:spPr>
            <a:xfrm rot="8716295">
              <a:off x="5600077" y="4470249"/>
              <a:ext cx="156365" cy="84062"/>
            </a:xfrm>
            <a:custGeom>
              <a:avLst/>
              <a:gdLst>
                <a:gd name="connsiteX0" fmla="*/ 0 w 156365"/>
                <a:gd name="connsiteY0" fmla="*/ 84062 h 84062"/>
                <a:gd name="connsiteX1" fmla="*/ 38711 w 156365"/>
                <a:gd name="connsiteY1" fmla="*/ 37259 h 84062"/>
                <a:gd name="connsiteX2" fmla="*/ 82822 w 156365"/>
                <a:gd name="connsiteY2" fmla="*/ 29417 h 84062"/>
                <a:gd name="connsiteX3" fmla="*/ 155189 w 156365"/>
                <a:gd name="connsiteY3" fmla="*/ 0 h 84062"/>
                <a:gd name="connsiteX4" fmla="*/ 156365 w 156365"/>
                <a:gd name="connsiteY4" fmla="*/ 7648 h 84062"/>
                <a:gd name="connsiteX5" fmla="*/ 156365 w 156365"/>
                <a:gd name="connsiteY5" fmla="*/ 13531 h 84062"/>
                <a:gd name="connsiteX6" fmla="*/ 5371 w 156365"/>
                <a:gd name="connsiteY6" fmla="*/ 83361 h 84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365" h="84062">
                  <a:moveTo>
                    <a:pt x="0" y="84062"/>
                  </a:moveTo>
                  <a:lnTo>
                    <a:pt x="38711" y="37259"/>
                  </a:lnTo>
                  <a:lnTo>
                    <a:pt x="82822" y="29417"/>
                  </a:lnTo>
                  <a:cubicBezTo>
                    <a:pt x="107532" y="21769"/>
                    <a:pt x="131655" y="11767"/>
                    <a:pt x="155189" y="0"/>
                  </a:cubicBezTo>
                  <a:cubicBezTo>
                    <a:pt x="155777" y="2353"/>
                    <a:pt x="156365" y="5295"/>
                    <a:pt x="156365" y="7648"/>
                  </a:cubicBezTo>
                  <a:lnTo>
                    <a:pt x="156365" y="13531"/>
                  </a:lnTo>
                  <a:cubicBezTo>
                    <a:pt x="109592" y="53687"/>
                    <a:pt x="51897" y="74315"/>
                    <a:pt x="5371" y="833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8" name="Forme libre : forme 2307">
              <a:extLst>
                <a:ext uri="{FF2B5EF4-FFF2-40B4-BE49-F238E27FC236}">
                  <a16:creationId xmlns:a16="http://schemas.microsoft.com/office/drawing/2014/main" id="{CADAEF2B-CBE9-4306-A616-01A968315F71}"/>
                </a:ext>
              </a:extLst>
            </p:cNvPr>
            <p:cNvSpPr/>
            <p:nvPr/>
          </p:nvSpPr>
          <p:spPr>
            <a:xfrm rot="8716295">
              <a:off x="5468986" y="334511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09" name="Forme libre : forme 2308">
              <a:extLst>
                <a:ext uri="{FF2B5EF4-FFF2-40B4-BE49-F238E27FC236}">
                  <a16:creationId xmlns:a16="http://schemas.microsoft.com/office/drawing/2014/main" id="{BC783BF6-C0F2-4416-AE0C-3CB188BCA1EB}"/>
                </a:ext>
              </a:extLst>
            </p:cNvPr>
            <p:cNvSpPr/>
            <p:nvPr/>
          </p:nvSpPr>
          <p:spPr>
            <a:xfrm rot="8716295">
              <a:off x="5560950" y="3385490"/>
              <a:ext cx="209149" cy="254774"/>
            </a:xfrm>
            <a:custGeom>
              <a:avLst/>
              <a:gdLst>
                <a:gd name="connsiteX0" fmla="*/ 0 w 209149"/>
                <a:gd name="connsiteY0" fmla="*/ 254774 h 254774"/>
                <a:gd name="connsiteX1" fmla="*/ 0 w 209149"/>
                <a:gd name="connsiteY1" fmla="*/ 48397 h 254774"/>
                <a:gd name="connsiteX2" fmla="*/ 38851 w 209149"/>
                <a:gd name="connsiteY2" fmla="*/ 1425 h 254774"/>
                <a:gd name="connsiteX3" fmla="*/ 53312 w 209149"/>
                <a:gd name="connsiteY3" fmla="*/ 1425 h 254774"/>
                <a:gd name="connsiteX4" fmla="*/ 53313 w 209149"/>
                <a:gd name="connsiteY4" fmla="*/ 75242 h 254774"/>
                <a:gd name="connsiteX5" fmla="*/ 54679 w 209149"/>
                <a:gd name="connsiteY5" fmla="*/ 75242 h 254774"/>
                <a:gd name="connsiteX6" fmla="*/ 102524 w 209149"/>
                <a:gd name="connsiteY6" fmla="*/ 5981 h 254774"/>
                <a:gd name="connsiteX7" fmla="*/ 133965 w 209149"/>
                <a:gd name="connsiteY7" fmla="*/ 57 h 254774"/>
                <a:gd name="connsiteX8" fmla="*/ 209149 w 209149"/>
                <a:gd name="connsiteY8" fmla="*/ 88456 h 254774"/>
                <a:gd name="connsiteX9" fmla="*/ 209149 w 209149"/>
                <a:gd name="connsiteY9" fmla="*/ 94380 h 254774"/>
                <a:gd name="connsiteX10" fmla="*/ 147179 w 209149"/>
                <a:gd name="connsiteY10" fmla="*/ 98025 h 254774"/>
                <a:gd name="connsiteX11" fmla="*/ 147179 w 209149"/>
                <a:gd name="connsiteY11" fmla="*/ 81622 h 254774"/>
                <a:gd name="connsiteX12" fmla="*/ 113460 w 209149"/>
                <a:gd name="connsiteY12" fmla="*/ 40156 h 254774"/>
                <a:gd name="connsiteX13" fmla="*/ 60148 w 209149"/>
                <a:gd name="connsiteY13" fmla="*/ 127643 h 254774"/>
                <a:gd name="connsiteX14" fmla="*/ 60148 w 209149"/>
                <a:gd name="connsiteY14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9149" h="254774">
                  <a:moveTo>
                    <a:pt x="0" y="254774"/>
                  </a:moveTo>
                  <a:lnTo>
                    <a:pt x="0" y="48397"/>
                  </a:lnTo>
                  <a:lnTo>
                    <a:pt x="38851" y="1425"/>
                  </a:lnTo>
                  <a:lnTo>
                    <a:pt x="53312" y="1425"/>
                  </a:lnTo>
                  <a:lnTo>
                    <a:pt x="53313" y="75242"/>
                  </a:lnTo>
                  <a:lnTo>
                    <a:pt x="54679" y="75242"/>
                  </a:lnTo>
                  <a:cubicBezTo>
                    <a:pt x="69261" y="31954"/>
                    <a:pt x="80652" y="15094"/>
                    <a:pt x="102524" y="5981"/>
                  </a:cubicBezTo>
                  <a:cubicBezTo>
                    <a:pt x="112549" y="1880"/>
                    <a:pt x="123029" y="-398"/>
                    <a:pt x="133965" y="57"/>
                  </a:cubicBezTo>
                  <a:cubicBezTo>
                    <a:pt x="180898" y="-854"/>
                    <a:pt x="209149" y="31954"/>
                    <a:pt x="209149" y="88456"/>
                  </a:cubicBezTo>
                  <a:lnTo>
                    <a:pt x="209149" y="94380"/>
                  </a:lnTo>
                  <a:lnTo>
                    <a:pt x="147179" y="98025"/>
                  </a:lnTo>
                  <a:lnTo>
                    <a:pt x="147179" y="81622"/>
                  </a:lnTo>
                  <a:cubicBezTo>
                    <a:pt x="147179" y="57016"/>
                    <a:pt x="133054" y="40156"/>
                    <a:pt x="113460" y="40156"/>
                  </a:cubicBezTo>
                  <a:cubicBezTo>
                    <a:pt x="84298" y="40156"/>
                    <a:pt x="60148" y="78887"/>
                    <a:pt x="60148" y="127643"/>
                  </a:cubicBezTo>
                  <a:lnTo>
                    <a:pt x="60148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0" name="Forme libre : forme 2309">
              <a:extLst>
                <a:ext uri="{FF2B5EF4-FFF2-40B4-BE49-F238E27FC236}">
                  <a16:creationId xmlns:a16="http://schemas.microsoft.com/office/drawing/2014/main" id="{07E04FBC-CAFE-40F5-8FBE-26480DF56E42}"/>
                </a:ext>
              </a:extLst>
            </p:cNvPr>
            <p:cNvSpPr/>
            <p:nvPr/>
          </p:nvSpPr>
          <p:spPr>
            <a:xfrm rot="8716295">
              <a:off x="5513528" y="328807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1" name="Forme libre : forme 2310">
              <a:extLst>
                <a:ext uri="{FF2B5EF4-FFF2-40B4-BE49-F238E27FC236}">
                  <a16:creationId xmlns:a16="http://schemas.microsoft.com/office/drawing/2014/main" id="{A7E5DB17-0229-4F6E-BA1B-BA2A73903FCF}"/>
                </a:ext>
              </a:extLst>
            </p:cNvPr>
            <p:cNvSpPr/>
            <p:nvPr/>
          </p:nvSpPr>
          <p:spPr>
            <a:xfrm rot="8716295">
              <a:off x="5356752" y="343365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2" name="Forme libre : forme 2311">
              <a:extLst>
                <a:ext uri="{FF2B5EF4-FFF2-40B4-BE49-F238E27FC236}">
                  <a16:creationId xmlns:a16="http://schemas.microsoft.com/office/drawing/2014/main" id="{B2FA02F1-5E71-4F7C-B2CA-BA7F43C9E0B6}"/>
                </a:ext>
              </a:extLst>
            </p:cNvPr>
            <p:cNvSpPr/>
            <p:nvPr/>
          </p:nvSpPr>
          <p:spPr>
            <a:xfrm rot="8716295">
              <a:off x="5231849" y="322498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3" name="Forme libre : forme 2312">
              <a:extLst>
                <a:ext uri="{FF2B5EF4-FFF2-40B4-BE49-F238E27FC236}">
                  <a16:creationId xmlns:a16="http://schemas.microsoft.com/office/drawing/2014/main" id="{59750E71-AE6E-46C2-9298-CD50416AF89E}"/>
                </a:ext>
              </a:extLst>
            </p:cNvPr>
            <p:cNvSpPr/>
            <p:nvPr/>
          </p:nvSpPr>
          <p:spPr>
            <a:xfrm rot="8716295">
              <a:off x="5219797" y="3086201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4" name="Forme libre : forme 2313">
              <a:extLst>
                <a:ext uri="{FF2B5EF4-FFF2-40B4-BE49-F238E27FC236}">
                  <a16:creationId xmlns:a16="http://schemas.microsoft.com/office/drawing/2014/main" id="{D4E7AFF8-F784-45C0-8EE7-2B6A86EC8737}"/>
                </a:ext>
              </a:extLst>
            </p:cNvPr>
            <p:cNvSpPr/>
            <p:nvPr/>
          </p:nvSpPr>
          <p:spPr>
            <a:xfrm rot="8716295">
              <a:off x="5446930" y="347460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5" name="Forme libre : forme 2314">
              <a:extLst>
                <a:ext uri="{FF2B5EF4-FFF2-40B4-BE49-F238E27FC236}">
                  <a16:creationId xmlns:a16="http://schemas.microsoft.com/office/drawing/2014/main" id="{3853C0A0-1616-48FA-8479-65AC97F7CC85}"/>
                </a:ext>
              </a:extLst>
            </p:cNvPr>
            <p:cNvSpPr/>
            <p:nvPr/>
          </p:nvSpPr>
          <p:spPr>
            <a:xfrm rot="8716295">
              <a:off x="5752315" y="3122125"/>
              <a:ext cx="61059" cy="189683"/>
            </a:xfrm>
            <a:custGeom>
              <a:avLst/>
              <a:gdLst>
                <a:gd name="connsiteX0" fmla="*/ 0 w 61059"/>
                <a:gd name="connsiteY0" fmla="*/ 189683 h 189683"/>
                <a:gd name="connsiteX1" fmla="*/ 1 w 61059"/>
                <a:gd name="connsiteY1" fmla="*/ 70355 h 189683"/>
                <a:gd name="connsiteX2" fmla="*/ 58192 w 61059"/>
                <a:gd name="connsiteY2" fmla="*/ 0 h 189683"/>
                <a:gd name="connsiteX3" fmla="*/ 61059 w 61059"/>
                <a:gd name="connsiteY3" fmla="*/ 7418 h 189683"/>
                <a:gd name="connsiteX4" fmla="*/ 61059 w 61059"/>
                <a:gd name="connsiteY4" fmla="*/ 165533 h 189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59" h="189683">
                  <a:moveTo>
                    <a:pt x="0" y="189683"/>
                  </a:moveTo>
                  <a:lnTo>
                    <a:pt x="1" y="70355"/>
                  </a:lnTo>
                  <a:lnTo>
                    <a:pt x="58192" y="0"/>
                  </a:lnTo>
                  <a:lnTo>
                    <a:pt x="61059" y="7418"/>
                  </a:lnTo>
                  <a:lnTo>
                    <a:pt x="61059" y="1655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6" name="Forme libre : forme 2315">
              <a:extLst>
                <a:ext uri="{FF2B5EF4-FFF2-40B4-BE49-F238E27FC236}">
                  <a16:creationId xmlns:a16="http://schemas.microsoft.com/office/drawing/2014/main" id="{2BC49D98-658F-409C-B3BF-5C8CEE84FD55}"/>
                </a:ext>
              </a:extLst>
            </p:cNvPr>
            <p:cNvSpPr/>
            <p:nvPr/>
          </p:nvSpPr>
          <p:spPr>
            <a:xfrm rot="8716295">
              <a:off x="5645851" y="318350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7" name="Forme libre : forme 2316">
              <a:extLst>
                <a:ext uri="{FF2B5EF4-FFF2-40B4-BE49-F238E27FC236}">
                  <a16:creationId xmlns:a16="http://schemas.microsoft.com/office/drawing/2014/main" id="{9788828B-73AD-4731-893D-8DFB9066F7A9}"/>
                </a:ext>
              </a:extLst>
            </p:cNvPr>
            <p:cNvSpPr/>
            <p:nvPr/>
          </p:nvSpPr>
          <p:spPr>
            <a:xfrm rot="8716295">
              <a:off x="5520949" y="297482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8" name="Forme libre : forme 2317">
              <a:extLst>
                <a:ext uri="{FF2B5EF4-FFF2-40B4-BE49-F238E27FC236}">
                  <a16:creationId xmlns:a16="http://schemas.microsoft.com/office/drawing/2014/main" id="{8B664DFB-701C-4BF3-A4AD-0E33F3753604}"/>
                </a:ext>
              </a:extLst>
            </p:cNvPr>
            <p:cNvSpPr/>
            <p:nvPr/>
          </p:nvSpPr>
          <p:spPr>
            <a:xfrm rot="8716295">
              <a:off x="5735645" y="3237654"/>
              <a:ext cx="60147" cy="214945"/>
            </a:xfrm>
            <a:custGeom>
              <a:avLst/>
              <a:gdLst>
                <a:gd name="connsiteX0" fmla="*/ 60147 w 60147"/>
                <a:gd name="connsiteY0" fmla="*/ 214945 h 214945"/>
                <a:gd name="connsiteX1" fmla="*/ 0 w 60147"/>
                <a:gd name="connsiteY1" fmla="*/ 157075 h 214945"/>
                <a:gd name="connsiteX2" fmla="*/ 0 w 60147"/>
                <a:gd name="connsiteY2" fmla="*/ 72719 h 214945"/>
                <a:gd name="connsiteX3" fmla="*/ 60147 w 60147"/>
                <a:gd name="connsiteY3" fmla="*/ 0 h 214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7" h="214945">
                  <a:moveTo>
                    <a:pt x="60147" y="214945"/>
                  </a:moveTo>
                  <a:lnTo>
                    <a:pt x="0" y="157075"/>
                  </a:lnTo>
                  <a:lnTo>
                    <a:pt x="0" y="72719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19" name="Forme libre : forme 2318">
              <a:extLst>
                <a:ext uri="{FF2B5EF4-FFF2-40B4-BE49-F238E27FC236}">
                  <a16:creationId xmlns:a16="http://schemas.microsoft.com/office/drawing/2014/main" id="{DE32D065-C837-4616-93A8-C221E6C262EC}"/>
                </a:ext>
              </a:extLst>
            </p:cNvPr>
            <p:cNvSpPr/>
            <p:nvPr/>
          </p:nvSpPr>
          <p:spPr>
            <a:xfrm rot="8716295">
              <a:off x="5494578" y="307485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0" name="Forme libre : forme 2319">
              <a:extLst>
                <a:ext uri="{FF2B5EF4-FFF2-40B4-BE49-F238E27FC236}">
                  <a16:creationId xmlns:a16="http://schemas.microsoft.com/office/drawing/2014/main" id="{A951AC29-4AE5-482E-A279-E37CA0854B05}"/>
                </a:ext>
              </a:extLst>
            </p:cNvPr>
            <p:cNvSpPr/>
            <p:nvPr/>
          </p:nvSpPr>
          <p:spPr>
            <a:xfrm rot="8716295">
              <a:off x="5682235" y="4033272"/>
              <a:ext cx="61060" cy="175124"/>
            </a:xfrm>
            <a:custGeom>
              <a:avLst/>
              <a:gdLst>
                <a:gd name="connsiteX0" fmla="*/ 0 w 61060"/>
                <a:gd name="connsiteY0" fmla="*/ 175124 h 175124"/>
                <a:gd name="connsiteX1" fmla="*/ 0 w 61060"/>
                <a:gd name="connsiteY1" fmla="*/ 73822 h 175124"/>
                <a:gd name="connsiteX2" fmla="*/ 61060 w 61060"/>
                <a:gd name="connsiteY2" fmla="*/ 0 h 175124"/>
                <a:gd name="connsiteX3" fmla="*/ 61059 w 61060"/>
                <a:gd name="connsiteY3" fmla="*/ 150974 h 175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060" h="175124">
                  <a:moveTo>
                    <a:pt x="0" y="175124"/>
                  </a:moveTo>
                  <a:lnTo>
                    <a:pt x="0" y="73822"/>
                  </a:lnTo>
                  <a:lnTo>
                    <a:pt x="61060" y="0"/>
                  </a:lnTo>
                  <a:lnTo>
                    <a:pt x="61059" y="1509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1" name="Forme libre : forme 2320">
              <a:extLst>
                <a:ext uri="{FF2B5EF4-FFF2-40B4-BE49-F238E27FC236}">
                  <a16:creationId xmlns:a16="http://schemas.microsoft.com/office/drawing/2014/main" id="{AC1B54AD-4305-4886-A104-0CFC0322DC86}"/>
                </a:ext>
              </a:extLst>
            </p:cNvPr>
            <p:cNvSpPr/>
            <p:nvPr/>
          </p:nvSpPr>
          <p:spPr>
            <a:xfrm rot="8716295">
              <a:off x="5579919" y="409335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2" name="Forme libre : forme 2321">
              <a:extLst>
                <a:ext uri="{FF2B5EF4-FFF2-40B4-BE49-F238E27FC236}">
                  <a16:creationId xmlns:a16="http://schemas.microsoft.com/office/drawing/2014/main" id="{8167323E-FC94-42DF-AE9E-1E6CCB009393}"/>
                </a:ext>
              </a:extLst>
            </p:cNvPr>
            <p:cNvSpPr/>
            <p:nvPr/>
          </p:nvSpPr>
          <p:spPr>
            <a:xfrm rot="8716295">
              <a:off x="5455016" y="388468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3" name="Forme libre : forme 2322">
              <a:extLst>
                <a:ext uri="{FF2B5EF4-FFF2-40B4-BE49-F238E27FC236}">
                  <a16:creationId xmlns:a16="http://schemas.microsoft.com/office/drawing/2014/main" id="{4BE64CC5-A3FF-4E14-92F1-A92ABB79BE76}"/>
                </a:ext>
              </a:extLst>
            </p:cNvPr>
            <p:cNvSpPr/>
            <p:nvPr/>
          </p:nvSpPr>
          <p:spPr>
            <a:xfrm rot="8716295">
              <a:off x="5439766" y="3743196"/>
              <a:ext cx="290643" cy="350829"/>
            </a:xfrm>
            <a:custGeom>
              <a:avLst/>
              <a:gdLst>
                <a:gd name="connsiteX0" fmla="*/ 25299 w 290643"/>
                <a:gd name="connsiteY0" fmla="*/ 321238 h 350829"/>
                <a:gd name="connsiteX1" fmla="*/ 0 w 290643"/>
                <a:gd name="connsiteY1" fmla="*/ 220042 h 350829"/>
                <a:gd name="connsiteX2" fmla="*/ 0 w 290643"/>
                <a:gd name="connsiteY2" fmla="*/ 73941 h 350829"/>
                <a:gd name="connsiteX3" fmla="*/ 48310 w 290643"/>
                <a:gd name="connsiteY3" fmla="*/ 15533 h 350829"/>
                <a:gd name="connsiteX4" fmla="*/ 78250 w 290643"/>
                <a:gd name="connsiteY4" fmla="*/ 0 h 350829"/>
                <a:gd name="connsiteX5" fmla="*/ 79427 w 290643"/>
                <a:gd name="connsiteY5" fmla="*/ 164149 h 350829"/>
                <a:gd name="connsiteX6" fmla="*/ 93547 w 290643"/>
                <a:gd name="connsiteY6" fmla="*/ 261815 h 350829"/>
                <a:gd name="connsiteX7" fmla="*/ 164149 w 290643"/>
                <a:gd name="connsiteY7" fmla="*/ 300646 h 350829"/>
                <a:gd name="connsiteX8" fmla="*/ 217100 w 290643"/>
                <a:gd name="connsiteY8" fmla="*/ 291232 h 350829"/>
                <a:gd name="connsiteX9" fmla="*/ 289467 w 290643"/>
                <a:gd name="connsiteY9" fmla="*/ 261815 h 350829"/>
                <a:gd name="connsiteX10" fmla="*/ 290643 w 290643"/>
                <a:gd name="connsiteY10" fmla="*/ 269463 h 350829"/>
                <a:gd name="connsiteX11" fmla="*/ 290643 w 290643"/>
                <a:gd name="connsiteY11" fmla="*/ 275347 h 350829"/>
                <a:gd name="connsiteX12" fmla="*/ 97665 w 290643"/>
                <a:gd name="connsiteY12" fmla="*/ 350655 h 350829"/>
                <a:gd name="connsiteX13" fmla="*/ 25299 w 290643"/>
                <a:gd name="connsiteY13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90643" h="350829">
                  <a:moveTo>
                    <a:pt x="25299" y="321238"/>
                  </a:moveTo>
                  <a:cubicBezTo>
                    <a:pt x="5295" y="301823"/>
                    <a:pt x="0" y="268287"/>
                    <a:pt x="0" y="220042"/>
                  </a:cubicBezTo>
                  <a:lnTo>
                    <a:pt x="0" y="73941"/>
                  </a:lnTo>
                  <a:lnTo>
                    <a:pt x="48310" y="15533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9" y="300646"/>
                  </a:cubicBezTo>
                  <a:cubicBezTo>
                    <a:pt x="182388" y="300057"/>
                    <a:pt x="200038" y="296527"/>
                    <a:pt x="217100" y="291232"/>
                  </a:cubicBezTo>
                  <a:cubicBezTo>
                    <a:pt x="241810" y="283583"/>
                    <a:pt x="265933" y="273582"/>
                    <a:pt x="289467" y="261815"/>
                  </a:cubicBezTo>
                  <a:cubicBezTo>
                    <a:pt x="290055" y="264168"/>
                    <a:pt x="290643" y="267110"/>
                    <a:pt x="290643" y="269463"/>
                  </a:cubicBezTo>
                  <a:lnTo>
                    <a:pt x="290643" y="275347"/>
                  </a:lnTo>
                  <a:cubicBezTo>
                    <a:pt x="228279" y="328887"/>
                    <a:pt x="146498" y="347714"/>
                    <a:pt x="97665" y="350655"/>
                  </a:cubicBez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4" name="Forme libre : forme 2323">
              <a:extLst>
                <a:ext uri="{FF2B5EF4-FFF2-40B4-BE49-F238E27FC236}">
                  <a16:creationId xmlns:a16="http://schemas.microsoft.com/office/drawing/2014/main" id="{3D5EAB82-A653-44FF-ABBA-52007BFC744C}"/>
                </a:ext>
              </a:extLst>
            </p:cNvPr>
            <p:cNvSpPr/>
            <p:nvPr/>
          </p:nvSpPr>
          <p:spPr>
            <a:xfrm rot="8716295">
              <a:off x="5664579" y="4149111"/>
              <a:ext cx="60147" cy="196919"/>
            </a:xfrm>
            <a:custGeom>
              <a:avLst/>
              <a:gdLst>
                <a:gd name="connsiteX0" fmla="*/ 60147 w 60147"/>
                <a:gd name="connsiteY0" fmla="*/ 196919 h 196919"/>
                <a:gd name="connsiteX1" fmla="*/ 0 w 60147"/>
                <a:gd name="connsiteY1" fmla="*/ 139049 h 196919"/>
                <a:gd name="connsiteX2" fmla="*/ 0 w 60147"/>
                <a:gd name="connsiteY2" fmla="*/ 72719 h 196919"/>
                <a:gd name="connsiteX3" fmla="*/ 60147 w 60147"/>
                <a:gd name="connsiteY3" fmla="*/ 0 h 196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7" h="196919">
                  <a:moveTo>
                    <a:pt x="60147" y="196919"/>
                  </a:moveTo>
                  <a:lnTo>
                    <a:pt x="0" y="139049"/>
                  </a:lnTo>
                  <a:lnTo>
                    <a:pt x="0" y="72719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5" name="Forme libre : forme 2324">
              <a:extLst>
                <a:ext uri="{FF2B5EF4-FFF2-40B4-BE49-F238E27FC236}">
                  <a16:creationId xmlns:a16="http://schemas.microsoft.com/office/drawing/2014/main" id="{43B619A3-E625-40F8-8DEC-2B79517C56B8}"/>
                </a:ext>
              </a:extLst>
            </p:cNvPr>
            <p:cNvSpPr/>
            <p:nvPr/>
          </p:nvSpPr>
          <p:spPr>
            <a:xfrm rot="8716295">
              <a:off x="5712271" y="3732130"/>
              <a:ext cx="74903" cy="77154"/>
            </a:xfrm>
            <a:custGeom>
              <a:avLst/>
              <a:gdLst>
                <a:gd name="connsiteX0" fmla="*/ 9249 w 74903"/>
                <a:gd name="connsiteY0" fmla="*/ 66287 h 77154"/>
                <a:gd name="connsiteX1" fmla="*/ 0 w 74903"/>
                <a:gd name="connsiteY1" fmla="*/ 44381 h 77154"/>
                <a:gd name="connsiteX2" fmla="*/ 36708 w 74903"/>
                <a:gd name="connsiteY2" fmla="*/ 0 h 77154"/>
                <a:gd name="connsiteX3" fmla="*/ 63584 w 74903"/>
                <a:gd name="connsiteY3" fmla="*/ 11348 h 77154"/>
                <a:gd name="connsiteX4" fmla="*/ 63584 w 74903"/>
                <a:gd name="connsiteY4" fmla="*/ 65683 h 77154"/>
                <a:gd name="connsiteX5" fmla="*/ 36417 w 74903"/>
                <a:gd name="connsiteY5" fmla="*/ 77154 h 77154"/>
                <a:gd name="connsiteX6" fmla="*/ 9249 w 74903"/>
                <a:gd name="connsiteY6" fmla="*/ 66287 h 77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4903" h="77154">
                  <a:moveTo>
                    <a:pt x="9249" y="66287"/>
                  </a:moveTo>
                  <a:lnTo>
                    <a:pt x="0" y="44381"/>
                  </a:lnTo>
                  <a:lnTo>
                    <a:pt x="36708" y="0"/>
                  </a:lnTo>
                  <a:lnTo>
                    <a:pt x="63584" y="11348"/>
                  </a:lnTo>
                  <a:cubicBezTo>
                    <a:pt x="78677" y="25837"/>
                    <a:pt x="78677" y="50590"/>
                    <a:pt x="63584" y="65683"/>
                  </a:cubicBezTo>
                  <a:cubicBezTo>
                    <a:pt x="56340" y="72928"/>
                    <a:pt x="46680" y="77154"/>
                    <a:pt x="36417" y="77154"/>
                  </a:cubicBezTo>
                  <a:cubicBezTo>
                    <a:pt x="26153" y="77154"/>
                    <a:pt x="16494" y="73531"/>
                    <a:pt x="9249" y="6628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6" name="Forme libre : forme 2325">
              <a:extLst>
                <a:ext uri="{FF2B5EF4-FFF2-40B4-BE49-F238E27FC236}">
                  <a16:creationId xmlns:a16="http://schemas.microsoft.com/office/drawing/2014/main" id="{47FAC0D7-5111-4F6B-A349-552D64575C5F}"/>
                </a:ext>
              </a:extLst>
            </p:cNvPr>
            <p:cNvSpPr/>
            <p:nvPr/>
          </p:nvSpPr>
          <p:spPr>
            <a:xfrm rot="8716295">
              <a:off x="4805631" y="136604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7" name="Forme libre : forme 2326">
              <a:extLst>
                <a:ext uri="{FF2B5EF4-FFF2-40B4-BE49-F238E27FC236}">
                  <a16:creationId xmlns:a16="http://schemas.microsoft.com/office/drawing/2014/main" id="{FD4A7DE9-1679-4176-BBF7-B68B6314BD8C}"/>
                </a:ext>
              </a:extLst>
            </p:cNvPr>
            <p:cNvSpPr/>
            <p:nvPr/>
          </p:nvSpPr>
          <p:spPr>
            <a:xfrm rot="8716295">
              <a:off x="4895023" y="139528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8" name="Forme libre : forme 2327">
              <a:extLst>
                <a:ext uri="{FF2B5EF4-FFF2-40B4-BE49-F238E27FC236}">
                  <a16:creationId xmlns:a16="http://schemas.microsoft.com/office/drawing/2014/main" id="{0EEB057B-FFD0-4D41-9792-2DA753A19DB7}"/>
                </a:ext>
              </a:extLst>
            </p:cNvPr>
            <p:cNvSpPr/>
            <p:nvPr/>
          </p:nvSpPr>
          <p:spPr>
            <a:xfrm rot="8716295">
              <a:off x="4850173" y="130900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29" name="Forme libre : forme 2328">
              <a:extLst>
                <a:ext uri="{FF2B5EF4-FFF2-40B4-BE49-F238E27FC236}">
                  <a16:creationId xmlns:a16="http://schemas.microsoft.com/office/drawing/2014/main" id="{1879F6B3-40C0-4116-A81C-5BD7CA855163}"/>
                </a:ext>
              </a:extLst>
            </p:cNvPr>
            <p:cNvSpPr/>
            <p:nvPr/>
          </p:nvSpPr>
          <p:spPr>
            <a:xfrm rot="8716295">
              <a:off x="4693397" y="145458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0" name="Forme libre : forme 2329">
              <a:extLst>
                <a:ext uri="{FF2B5EF4-FFF2-40B4-BE49-F238E27FC236}">
                  <a16:creationId xmlns:a16="http://schemas.microsoft.com/office/drawing/2014/main" id="{49761E51-D80E-42FA-8099-F02853B256C7}"/>
                </a:ext>
              </a:extLst>
            </p:cNvPr>
            <p:cNvSpPr/>
            <p:nvPr/>
          </p:nvSpPr>
          <p:spPr>
            <a:xfrm rot="8716295">
              <a:off x="4568494" y="124591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1" name="Forme libre : forme 2330">
              <a:extLst>
                <a:ext uri="{FF2B5EF4-FFF2-40B4-BE49-F238E27FC236}">
                  <a16:creationId xmlns:a16="http://schemas.microsoft.com/office/drawing/2014/main" id="{E310C1A7-1622-4636-9F8F-00357321DCCD}"/>
                </a:ext>
              </a:extLst>
            </p:cNvPr>
            <p:cNvSpPr/>
            <p:nvPr/>
          </p:nvSpPr>
          <p:spPr>
            <a:xfrm rot="8716295">
              <a:off x="4556442" y="110713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2" name="Forme libre : forme 2331">
              <a:extLst>
                <a:ext uri="{FF2B5EF4-FFF2-40B4-BE49-F238E27FC236}">
                  <a16:creationId xmlns:a16="http://schemas.microsoft.com/office/drawing/2014/main" id="{E093D22D-87CF-4179-B856-856B8816CDDB}"/>
                </a:ext>
              </a:extLst>
            </p:cNvPr>
            <p:cNvSpPr/>
            <p:nvPr/>
          </p:nvSpPr>
          <p:spPr>
            <a:xfrm rot="8716295">
              <a:off x="4783575" y="149553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3" name="Forme libre : forme 2332">
              <a:extLst>
                <a:ext uri="{FF2B5EF4-FFF2-40B4-BE49-F238E27FC236}">
                  <a16:creationId xmlns:a16="http://schemas.microsoft.com/office/drawing/2014/main" id="{CA21BE4E-2CE3-44D7-B01E-A11EA3CF044C}"/>
                </a:ext>
              </a:extLst>
            </p:cNvPr>
            <p:cNvSpPr/>
            <p:nvPr/>
          </p:nvSpPr>
          <p:spPr>
            <a:xfrm rot="8716295">
              <a:off x="5094730" y="111588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4" name="Forme libre : forme 2333">
              <a:extLst>
                <a:ext uri="{FF2B5EF4-FFF2-40B4-BE49-F238E27FC236}">
                  <a16:creationId xmlns:a16="http://schemas.microsoft.com/office/drawing/2014/main" id="{73711CED-A7FD-4350-9BA7-26ABC33C9D94}"/>
                </a:ext>
              </a:extLst>
            </p:cNvPr>
            <p:cNvSpPr/>
            <p:nvPr/>
          </p:nvSpPr>
          <p:spPr>
            <a:xfrm rot="8716295">
              <a:off x="5184122" y="114513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5" name="Forme libre : forme 2334">
              <a:extLst>
                <a:ext uri="{FF2B5EF4-FFF2-40B4-BE49-F238E27FC236}">
                  <a16:creationId xmlns:a16="http://schemas.microsoft.com/office/drawing/2014/main" id="{ED8382FF-15B6-482C-B3FB-8E9D5BD3A367}"/>
                </a:ext>
              </a:extLst>
            </p:cNvPr>
            <p:cNvSpPr/>
            <p:nvPr/>
          </p:nvSpPr>
          <p:spPr>
            <a:xfrm rot="8716295">
              <a:off x="4982496" y="120443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6" name="Forme libre : forme 2335">
              <a:extLst>
                <a:ext uri="{FF2B5EF4-FFF2-40B4-BE49-F238E27FC236}">
                  <a16:creationId xmlns:a16="http://schemas.microsoft.com/office/drawing/2014/main" id="{CEB92DCD-B29B-4D83-8F6D-528A8F3F48AC}"/>
                </a:ext>
              </a:extLst>
            </p:cNvPr>
            <p:cNvSpPr/>
            <p:nvPr/>
          </p:nvSpPr>
          <p:spPr>
            <a:xfrm rot="8716295">
              <a:off x="4857594" y="99576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7" name="Forme libre : forme 2336">
              <a:extLst>
                <a:ext uri="{FF2B5EF4-FFF2-40B4-BE49-F238E27FC236}">
                  <a16:creationId xmlns:a16="http://schemas.microsoft.com/office/drawing/2014/main" id="{4D04373C-38A5-4453-98D9-6668F8BAEF6F}"/>
                </a:ext>
              </a:extLst>
            </p:cNvPr>
            <p:cNvSpPr/>
            <p:nvPr/>
          </p:nvSpPr>
          <p:spPr>
            <a:xfrm rot="8716295">
              <a:off x="5072674" y="124538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8" name="Forme libre : forme 2337">
              <a:extLst>
                <a:ext uri="{FF2B5EF4-FFF2-40B4-BE49-F238E27FC236}">
                  <a16:creationId xmlns:a16="http://schemas.microsoft.com/office/drawing/2014/main" id="{7AD448C6-BEA7-45DD-8AA2-CB2184786226}"/>
                </a:ext>
              </a:extLst>
            </p:cNvPr>
            <p:cNvSpPr/>
            <p:nvPr/>
          </p:nvSpPr>
          <p:spPr>
            <a:xfrm rot="8716295">
              <a:off x="4831223" y="109578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39" name="Forme libre : forme 2338">
              <a:extLst>
                <a:ext uri="{FF2B5EF4-FFF2-40B4-BE49-F238E27FC236}">
                  <a16:creationId xmlns:a16="http://schemas.microsoft.com/office/drawing/2014/main" id="{35EF6799-E484-4435-9DC6-7D0DE006E027}"/>
                </a:ext>
              </a:extLst>
            </p:cNvPr>
            <p:cNvSpPr/>
            <p:nvPr/>
          </p:nvSpPr>
          <p:spPr>
            <a:xfrm rot="7484129">
              <a:off x="5177605" y="143673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0" name="Forme libre : forme 2339">
              <a:extLst>
                <a:ext uri="{FF2B5EF4-FFF2-40B4-BE49-F238E27FC236}">
                  <a16:creationId xmlns:a16="http://schemas.microsoft.com/office/drawing/2014/main" id="{21C69156-F46C-4928-B70D-009460F75B9F}"/>
                </a:ext>
              </a:extLst>
            </p:cNvPr>
            <p:cNvSpPr/>
            <p:nvPr/>
          </p:nvSpPr>
          <p:spPr>
            <a:xfrm rot="13089394">
              <a:off x="5282425" y="140327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1" name="Forme libre : forme 2340">
              <a:extLst>
                <a:ext uri="{FF2B5EF4-FFF2-40B4-BE49-F238E27FC236}">
                  <a16:creationId xmlns:a16="http://schemas.microsoft.com/office/drawing/2014/main" id="{1798CEF4-84B3-4FCD-A779-F1E83B6AD50D}"/>
                </a:ext>
              </a:extLst>
            </p:cNvPr>
            <p:cNvSpPr/>
            <p:nvPr/>
          </p:nvSpPr>
          <p:spPr>
            <a:xfrm rot="8716295">
              <a:off x="5468010" y="121158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2" name="Forme libre : forme 2341">
              <a:extLst>
                <a:ext uri="{FF2B5EF4-FFF2-40B4-BE49-F238E27FC236}">
                  <a16:creationId xmlns:a16="http://schemas.microsoft.com/office/drawing/2014/main" id="{3EC2D62C-CF18-46C7-B24E-7DDD8382F5CE}"/>
                </a:ext>
              </a:extLst>
            </p:cNvPr>
            <p:cNvSpPr/>
            <p:nvPr/>
          </p:nvSpPr>
          <p:spPr>
            <a:xfrm rot="8716295">
              <a:off x="5416205" y="110799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3" name="Forme libre : forme 2342">
              <a:extLst>
                <a:ext uri="{FF2B5EF4-FFF2-40B4-BE49-F238E27FC236}">
                  <a16:creationId xmlns:a16="http://schemas.microsoft.com/office/drawing/2014/main" id="{B05F2E20-58A5-4922-8600-DD820E78EE4E}"/>
                </a:ext>
              </a:extLst>
            </p:cNvPr>
            <p:cNvSpPr/>
            <p:nvPr/>
          </p:nvSpPr>
          <p:spPr>
            <a:xfrm rot="8716295">
              <a:off x="5172959" y="113821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4" name="Forme libre : forme 2343">
              <a:extLst>
                <a:ext uri="{FF2B5EF4-FFF2-40B4-BE49-F238E27FC236}">
                  <a16:creationId xmlns:a16="http://schemas.microsoft.com/office/drawing/2014/main" id="{B54ADC56-D20D-4C1D-BBA8-5BF0D1D5989C}"/>
                </a:ext>
              </a:extLst>
            </p:cNvPr>
            <p:cNvSpPr/>
            <p:nvPr/>
          </p:nvSpPr>
          <p:spPr>
            <a:xfrm rot="8716295">
              <a:off x="5350411" y="97897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5" name="Forme libre : forme 2344">
              <a:extLst>
                <a:ext uri="{FF2B5EF4-FFF2-40B4-BE49-F238E27FC236}">
                  <a16:creationId xmlns:a16="http://schemas.microsoft.com/office/drawing/2014/main" id="{6F7A1710-4C02-4DCC-B78B-511BDFFD55F4}"/>
                </a:ext>
              </a:extLst>
            </p:cNvPr>
            <p:cNvSpPr/>
            <p:nvPr/>
          </p:nvSpPr>
          <p:spPr>
            <a:xfrm rot="8716295">
              <a:off x="4582464" y="70634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6" name="Forme libre : forme 2345">
              <a:extLst>
                <a:ext uri="{FF2B5EF4-FFF2-40B4-BE49-F238E27FC236}">
                  <a16:creationId xmlns:a16="http://schemas.microsoft.com/office/drawing/2014/main" id="{D536F172-354E-4C75-A2CF-32C24FBDD45C}"/>
                </a:ext>
              </a:extLst>
            </p:cNvPr>
            <p:cNvSpPr/>
            <p:nvPr/>
          </p:nvSpPr>
          <p:spPr>
            <a:xfrm rot="8716295">
              <a:off x="4671856" y="73558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7" name="Forme libre : forme 2346">
              <a:extLst>
                <a:ext uri="{FF2B5EF4-FFF2-40B4-BE49-F238E27FC236}">
                  <a16:creationId xmlns:a16="http://schemas.microsoft.com/office/drawing/2014/main" id="{E02EE465-AAEF-4A1C-9A7C-9D1D91F4D60A}"/>
                </a:ext>
              </a:extLst>
            </p:cNvPr>
            <p:cNvSpPr/>
            <p:nvPr/>
          </p:nvSpPr>
          <p:spPr>
            <a:xfrm rot="8716295">
              <a:off x="4627006" y="64930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8" name="Forme libre : forme 2347">
              <a:extLst>
                <a:ext uri="{FF2B5EF4-FFF2-40B4-BE49-F238E27FC236}">
                  <a16:creationId xmlns:a16="http://schemas.microsoft.com/office/drawing/2014/main" id="{0D825FEE-DBE8-4D57-B9F7-C97353B9827C}"/>
                </a:ext>
              </a:extLst>
            </p:cNvPr>
            <p:cNvSpPr/>
            <p:nvPr/>
          </p:nvSpPr>
          <p:spPr>
            <a:xfrm rot="8716295">
              <a:off x="4470230" y="79488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9" name="Forme libre : forme 2348">
              <a:extLst>
                <a:ext uri="{FF2B5EF4-FFF2-40B4-BE49-F238E27FC236}">
                  <a16:creationId xmlns:a16="http://schemas.microsoft.com/office/drawing/2014/main" id="{78F83AD2-75B7-4595-9386-952F6FD22400}"/>
                </a:ext>
              </a:extLst>
            </p:cNvPr>
            <p:cNvSpPr/>
            <p:nvPr/>
          </p:nvSpPr>
          <p:spPr>
            <a:xfrm rot="8716295">
              <a:off x="4345327" y="58621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0" name="Forme libre : forme 2349">
              <a:extLst>
                <a:ext uri="{FF2B5EF4-FFF2-40B4-BE49-F238E27FC236}">
                  <a16:creationId xmlns:a16="http://schemas.microsoft.com/office/drawing/2014/main" id="{BA220240-D69B-4B6C-A6FC-E65389644BCE}"/>
                </a:ext>
              </a:extLst>
            </p:cNvPr>
            <p:cNvSpPr/>
            <p:nvPr/>
          </p:nvSpPr>
          <p:spPr>
            <a:xfrm rot="8716295">
              <a:off x="4333275" y="44743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1" name="Forme libre : forme 2350">
              <a:extLst>
                <a:ext uri="{FF2B5EF4-FFF2-40B4-BE49-F238E27FC236}">
                  <a16:creationId xmlns:a16="http://schemas.microsoft.com/office/drawing/2014/main" id="{B0074431-ABFA-4C3E-95DE-330C2C35B482}"/>
                </a:ext>
              </a:extLst>
            </p:cNvPr>
            <p:cNvSpPr/>
            <p:nvPr/>
          </p:nvSpPr>
          <p:spPr>
            <a:xfrm rot="8716295">
              <a:off x="4560408" y="83583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2" name="Forme libre : forme 2351">
              <a:extLst>
                <a:ext uri="{FF2B5EF4-FFF2-40B4-BE49-F238E27FC236}">
                  <a16:creationId xmlns:a16="http://schemas.microsoft.com/office/drawing/2014/main" id="{6A1A478E-7B4F-4A07-B728-A4383F55F532}"/>
                </a:ext>
              </a:extLst>
            </p:cNvPr>
            <p:cNvSpPr/>
            <p:nvPr/>
          </p:nvSpPr>
          <p:spPr>
            <a:xfrm rot="8716295">
              <a:off x="4871563" y="45619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3" name="Forme libre : forme 2352">
              <a:extLst>
                <a:ext uri="{FF2B5EF4-FFF2-40B4-BE49-F238E27FC236}">
                  <a16:creationId xmlns:a16="http://schemas.microsoft.com/office/drawing/2014/main" id="{FF3D4263-7FF6-40B4-B16E-F0F9B7A6D208}"/>
                </a:ext>
              </a:extLst>
            </p:cNvPr>
            <p:cNvSpPr/>
            <p:nvPr/>
          </p:nvSpPr>
          <p:spPr>
            <a:xfrm rot="8716295">
              <a:off x="4960955" y="48543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4" name="Forme libre : forme 2353">
              <a:extLst>
                <a:ext uri="{FF2B5EF4-FFF2-40B4-BE49-F238E27FC236}">
                  <a16:creationId xmlns:a16="http://schemas.microsoft.com/office/drawing/2014/main" id="{83EFFBE3-A8A8-4DEE-AEC9-4D3EA9760312}"/>
                </a:ext>
              </a:extLst>
            </p:cNvPr>
            <p:cNvSpPr/>
            <p:nvPr/>
          </p:nvSpPr>
          <p:spPr>
            <a:xfrm rot="8716295">
              <a:off x="4759329" y="54473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5" name="Forme libre : forme 2354">
              <a:extLst>
                <a:ext uri="{FF2B5EF4-FFF2-40B4-BE49-F238E27FC236}">
                  <a16:creationId xmlns:a16="http://schemas.microsoft.com/office/drawing/2014/main" id="{2CB1E6B8-6C1B-4CFB-9BB4-204CCAECF5EF}"/>
                </a:ext>
              </a:extLst>
            </p:cNvPr>
            <p:cNvSpPr/>
            <p:nvPr/>
          </p:nvSpPr>
          <p:spPr>
            <a:xfrm rot="8716295">
              <a:off x="4634427" y="33606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6" name="Forme libre : forme 2355">
              <a:extLst>
                <a:ext uri="{FF2B5EF4-FFF2-40B4-BE49-F238E27FC236}">
                  <a16:creationId xmlns:a16="http://schemas.microsoft.com/office/drawing/2014/main" id="{C87D3796-A862-4777-A308-4706FE535F62}"/>
                </a:ext>
              </a:extLst>
            </p:cNvPr>
            <p:cNvSpPr/>
            <p:nvPr/>
          </p:nvSpPr>
          <p:spPr>
            <a:xfrm rot="8716295">
              <a:off x="4849507" y="58568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7" name="Forme libre : forme 2356">
              <a:extLst>
                <a:ext uri="{FF2B5EF4-FFF2-40B4-BE49-F238E27FC236}">
                  <a16:creationId xmlns:a16="http://schemas.microsoft.com/office/drawing/2014/main" id="{1ACC11AE-8F0F-4403-A846-2BBA1B5FB06A}"/>
                </a:ext>
              </a:extLst>
            </p:cNvPr>
            <p:cNvSpPr/>
            <p:nvPr/>
          </p:nvSpPr>
          <p:spPr>
            <a:xfrm rot="8716295">
              <a:off x="4608056" y="43608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8" name="Forme libre : forme 2357">
              <a:extLst>
                <a:ext uri="{FF2B5EF4-FFF2-40B4-BE49-F238E27FC236}">
                  <a16:creationId xmlns:a16="http://schemas.microsoft.com/office/drawing/2014/main" id="{6BBCBD03-EC40-4B6A-94A0-044ACDD5545A}"/>
                </a:ext>
              </a:extLst>
            </p:cNvPr>
            <p:cNvSpPr/>
            <p:nvPr/>
          </p:nvSpPr>
          <p:spPr>
            <a:xfrm rot="7484129">
              <a:off x="4954438" y="77703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9" name="Forme libre : forme 2358">
              <a:extLst>
                <a:ext uri="{FF2B5EF4-FFF2-40B4-BE49-F238E27FC236}">
                  <a16:creationId xmlns:a16="http://schemas.microsoft.com/office/drawing/2014/main" id="{A0436840-05C9-42F3-8F79-A951B2C27E5B}"/>
                </a:ext>
              </a:extLst>
            </p:cNvPr>
            <p:cNvSpPr/>
            <p:nvPr/>
          </p:nvSpPr>
          <p:spPr>
            <a:xfrm rot="13089394">
              <a:off x="5059258" y="743571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0" name="Forme libre : forme 2359">
              <a:extLst>
                <a:ext uri="{FF2B5EF4-FFF2-40B4-BE49-F238E27FC236}">
                  <a16:creationId xmlns:a16="http://schemas.microsoft.com/office/drawing/2014/main" id="{18E5CE87-13E3-4167-9392-FE5C76C94FDF}"/>
                </a:ext>
              </a:extLst>
            </p:cNvPr>
            <p:cNvSpPr/>
            <p:nvPr/>
          </p:nvSpPr>
          <p:spPr>
            <a:xfrm rot="8716295">
              <a:off x="5244843" y="55189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1" name="Forme libre : forme 2360">
              <a:extLst>
                <a:ext uri="{FF2B5EF4-FFF2-40B4-BE49-F238E27FC236}">
                  <a16:creationId xmlns:a16="http://schemas.microsoft.com/office/drawing/2014/main" id="{79B867E9-B21B-4950-B984-31FB698EA685}"/>
                </a:ext>
              </a:extLst>
            </p:cNvPr>
            <p:cNvSpPr/>
            <p:nvPr/>
          </p:nvSpPr>
          <p:spPr>
            <a:xfrm rot="8716295">
              <a:off x="5193038" y="44829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2" name="Forme libre : forme 2361">
              <a:extLst>
                <a:ext uri="{FF2B5EF4-FFF2-40B4-BE49-F238E27FC236}">
                  <a16:creationId xmlns:a16="http://schemas.microsoft.com/office/drawing/2014/main" id="{36B5DFC7-1584-496B-98BD-B274803CFC03}"/>
                </a:ext>
              </a:extLst>
            </p:cNvPr>
            <p:cNvSpPr/>
            <p:nvPr/>
          </p:nvSpPr>
          <p:spPr>
            <a:xfrm rot="8716295">
              <a:off x="4949792" y="47851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3" name="Forme libre : forme 2362">
              <a:extLst>
                <a:ext uri="{FF2B5EF4-FFF2-40B4-BE49-F238E27FC236}">
                  <a16:creationId xmlns:a16="http://schemas.microsoft.com/office/drawing/2014/main" id="{173D4F02-9301-448C-BEBF-368C505DFEF7}"/>
                </a:ext>
              </a:extLst>
            </p:cNvPr>
            <p:cNvSpPr/>
            <p:nvPr/>
          </p:nvSpPr>
          <p:spPr>
            <a:xfrm rot="8716295">
              <a:off x="5127244" y="31927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4" name="Forme libre : forme 2363">
              <a:extLst>
                <a:ext uri="{FF2B5EF4-FFF2-40B4-BE49-F238E27FC236}">
                  <a16:creationId xmlns:a16="http://schemas.microsoft.com/office/drawing/2014/main" id="{ED7BE141-A682-458B-B00E-8C240AAEF92B}"/>
                </a:ext>
              </a:extLst>
            </p:cNvPr>
            <p:cNvSpPr/>
            <p:nvPr/>
          </p:nvSpPr>
          <p:spPr>
            <a:xfrm rot="8716295">
              <a:off x="4363525" y="4428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5" name="Forme libre : forme 2364">
              <a:extLst>
                <a:ext uri="{FF2B5EF4-FFF2-40B4-BE49-F238E27FC236}">
                  <a16:creationId xmlns:a16="http://schemas.microsoft.com/office/drawing/2014/main" id="{5D5D6D8D-B4BF-42B6-B50D-A71215211BA8}"/>
                </a:ext>
              </a:extLst>
            </p:cNvPr>
            <p:cNvSpPr/>
            <p:nvPr/>
          </p:nvSpPr>
          <p:spPr>
            <a:xfrm rot="8716295">
              <a:off x="4452917" y="7352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6" name="Forme libre : forme 2365">
              <a:extLst>
                <a:ext uri="{FF2B5EF4-FFF2-40B4-BE49-F238E27FC236}">
                  <a16:creationId xmlns:a16="http://schemas.microsoft.com/office/drawing/2014/main" id="{92D0CC5C-A64F-4456-AD2B-2B2768047B43}"/>
                </a:ext>
              </a:extLst>
            </p:cNvPr>
            <p:cNvSpPr/>
            <p:nvPr/>
          </p:nvSpPr>
          <p:spPr>
            <a:xfrm rot="8716295">
              <a:off x="4414002" y="19341"/>
              <a:ext cx="155050" cy="113964"/>
            </a:xfrm>
            <a:custGeom>
              <a:avLst/>
              <a:gdLst>
                <a:gd name="connsiteX0" fmla="*/ 25756 w 155050"/>
                <a:gd name="connsiteY0" fmla="*/ 113964 h 113964"/>
                <a:gd name="connsiteX1" fmla="*/ 0 w 155050"/>
                <a:gd name="connsiteY1" fmla="*/ 96110 h 113964"/>
                <a:gd name="connsiteX2" fmla="*/ 72120 w 155050"/>
                <a:gd name="connsiteY2" fmla="*/ 28251 h 113964"/>
                <a:gd name="connsiteX3" fmla="*/ 126799 w 155050"/>
                <a:gd name="connsiteY3" fmla="*/ 0 h 113964"/>
                <a:gd name="connsiteX4" fmla="*/ 155050 w 155050"/>
                <a:gd name="connsiteY4" fmla="*/ 33719 h 113964"/>
                <a:gd name="connsiteX5" fmla="*/ 128622 w 155050"/>
                <a:gd name="connsiteY5" fmla="*/ 69261 h 113964"/>
                <a:gd name="connsiteX6" fmla="*/ 129077 w 155050"/>
                <a:gd name="connsiteY6" fmla="*/ 69261 h 113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5050" h="113964">
                  <a:moveTo>
                    <a:pt x="25756" y="113964"/>
                  </a:moveTo>
                  <a:lnTo>
                    <a:pt x="0" y="96110"/>
                  </a:lnTo>
                  <a:lnTo>
                    <a:pt x="72120" y="28251"/>
                  </a:lnTo>
                  <a:cubicBezTo>
                    <a:pt x="85790" y="12303"/>
                    <a:pt x="105383" y="2279"/>
                    <a:pt x="126799" y="0"/>
                  </a:cubicBezTo>
                  <a:cubicBezTo>
                    <a:pt x="148671" y="0"/>
                    <a:pt x="155050" y="19138"/>
                    <a:pt x="155050" y="33719"/>
                  </a:cubicBezTo>
                  <a:cubicBezTo>
                    <a:pt x="153683" y="49668"/>
                    <a:pt x="143203" y="62882"/>
                    <a:pt x="128622" y="69261"/>
                  </a:cubicBezTo>
                  <a:lnTo>
                    <a:pt x="129077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7" name="Forme libre : forme 2366">
              <a:extLst>
                <a:ext uri="{FF2B5EF4-FFF2-40B4-BE49-F238E27FC236}">
                  <a16:creationId xmlns:a16="http://schemas.microsoft.com/office/drawing/2014/main" id="{3D7F33EE-E953-4F70-8F6D-B7AB877234D1}"/>
                </a:ext>
              </a:extLst>
            </p:cNvPr>
            <p:cNvSpPr/>
            <p:nvPr/>
          </p:nvSpPr>
          <p:spPr>
            <a:xfrm rot="8716295">
              <a:off x="4251291" y="13282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8" name="Forme libre : forme 2367">
              <a:extLst>
                <a:ext uri="{FF2B5EF4-FFF2-40B4-BE49-F238E27FC236}">
                  <a16:creationId xmlns:a16="http://schemas.microsoft.com/office/drawing/2014/main" id="{D6111605-705A-468C-9B0C-336BD1C692B5}"/>
                </a:ext>
              </a:extLst>
            </p:cNvPr>
            <p:cNvSpPr/>
            <p:nvPr/>
          </p:nvSpPr>
          <p:spPr>
            <a:xfrm rot="8716295">
              <a:off x="4140033" y="-17870"/>
              <a:ext cx="203847" cy="132136"/>
            </a:xfrm>
            <a:custGeom>
              <a:avLst/>
              <a:gdLst>
                <a:gd name="connsiteX0" fmla="*/ 112633 w 203847"/>
                <a:gd name="connsiteY0" fmla="*/ 132136 h 132136"/>
                <a:gd name="connsiteX1" fmla="*/ 56185 w 203847"/>
                <a:gd name="connsiteY1" fmla="*/ 93008 h 132136"/>
                <a:gd name="connsiteX2" fmla="*/ 69777 w 203847"/>
                <a:gd name="connsiteY2" fmla="*/ 55323 h 132136"/>
                <a:gd name="connsiteX3" fmla="*/ 1818 w 203847"/>
                <a:gd name="connsiteY3" fmla="*/ 55323 h 132136"/>
                <a:gd name="connsiteX4" fmla="*/ 0 w 203847"/>
                <a:gd name="connsiteY4" fmla="*/ 54062 h 132136"/>
                <a:gd name="connsiteX5" fmla="*/ 0 w 203847"/>
                <a:gd name="connsiteY5" fmla="*/ 0 h 132136"/>
                <a:gd name="connsiteX6" fmla="*/ 203847 w 203847"/>
                <a:gd name="connsiteY6" fmla="*/ 0 h 132136"/>
                <a:gd name="connsiteX7" fmla="*/ 203847 w 203847"/>
                <a:gd name="connsiteY7" fmla="*/ 55323 h 132136"/>
                <a:gd name="connsiteX8" fmla="*/ 139055 w 203847"/>
                <a:gd name="connsiteY8" fmla="*/ 55323 h 132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32136">
                  <a:moveTo>
                    <a:pt x="112633" y="132136"/>
                  </a:moveTo>
                  <a:lnTo>
                    <a:pt x="56185" y="93008"/>
                  </a:lnTo>
                  <a:lnTo>
                    <a:pt x="69777" y="55323"/>
                  </a:lnTo>
                  <a:lnTo>
                    <a:pt x="1818" y="55323"/>
                  </a:lnTo>
                  <a:lnTo>
                    <a:pt x="0" y="54062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69" name="Forme libre : forme 2368">
              <a:extLst>
                <a:ext uri="{FF2B5EF4-FFF2-40B4-BE49-F238E27FC236}">
                  <a16:creationId xmlns:a16="http://schemas.microsoft.com/office/drawing/2014/main" id="{60D6361D-5926-494E-85F4-B15D013F850E}"/>
                </a:ext>
              </a:extLst>
            </p:cNvPr>
            <p:cNvSpPr/>
            <p:nvPr/>
          </p:nvSpPr>
          <p:spPr>
            <a:xfrm rot="8716295">
              <a:off x="4382970" y="-25447"/>
              <a:ext cx="64855" cy="78311"/>
            </a:xfrm>
            <a:custGeom>
              <a:avLst/>
              <a:gdLst>
                <a:gd name="connsiteX0" fmla="*/ 64855 w 64855"/>
                <a:gd name="connsiteY0" fmla="*/ 78311 h 78311"/>
                <a:gd name="connsiteX1" fmla="*/ 0 w 64855"/>
                <a:gd name="connsiteY1" fmla="*/ 33356 h 78311"/>
                <a:gd name="connsiteX2" fmla="*/ 64294 w 64855"/>
                <a:gd name="connsiteY2" fmla="*/ 0 h 78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855" h="78311">
                  <a:moveTo>
                    <a:pt x="64855" y="78311"/>
                  </a:moveTo>
                  <a:lnTo>
                    <a:pt x="0" y="33356"/>
                  </a:lnTo>
                  <a:lnTo>
                    <a:pt x="64294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0" name="Forme libre : forme 2369">
              <a:extLst>
                <a:ext uri="{FF2B5EF4-FFF2-40B4-BE49-F238E27FC236}">
                  <a16:creationId xmlns:a16="http://schemas.microsoft.com/office/drawing/2014/main" id="{FC82A592-4B0B-4A64-A63D-8ACF6D9AAB23}"/>
                </a:ext>
              </a:extLst>
            </p:cNvPr>
            <p:cNvSpPr/>
            <p:nvPr/>
          </p:nvSpPr>
          <p:spPr>
            <a:xfrm rot="8716295">
              <a:off x="4341469" y="17378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1" name="Forme libre : forme 2370">
              <a:extLst>
                <a:ext uri="{FF2B5EF4-FFF2-40B4-BE49-F238E27FC236}">
                  <a16:creationId xmlns:a16="http://schemas.microsoft.com/office/drawing/2014/main" id="{6A20E7DD-05E5-4FA0-8F57-2B55062F7CD1}"/>
                </a:ext>
              </a:extLst>
            </p:cNvPr>
            <p:cNvSpPr/>
            <p:nvPr/>
          </p:nvSpPr>
          <p:spPr>
            <a:xfrm rot="8716295">
              <a:off x="4707227" y="-28335"/>
              <a:ext cx="81756" cy="56671"/>
            </a:xfrm>
            <a:custGeom>
              <a:avLst/>
              <a:gdLst>
                <a:gd name="connsiteX0" fmla="*/ 81756 w 81756"/>
                <a:gd name="connsiteY0" fmla="*/ 56671 h 56671"/>
                <a:gd name="connsiteX1" fmla="*/ 0 w 81756"/>
                <a:gd name="connsiteY1" fmla="*/ 0 h 56671"/>
                <a:gd name="connsiteX2" fmla="*/ 24798 w 81756"/>
                <a:gd name="connsiteY2" fmla="*/ 0 h 56671"/>
                <a:gd name="connsiteX3" fmla="*/ 81756 w 81756"/>
                <a:gd name="connsiteY3" fmla="*/ 50123 h 56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1756" h="56671">
                  <a:moveTo>
                    <a:pt x="81756" y="56671"/>
                  </a:moveTo>
                  <a:lnTo>
                    <a:pt x="0" y="0"/>
                  </a:lnTo>
                  <a:lnTo>
                    <a:pt x="24798" y="0"/>
                  </a:lnTo>
                  <a:cubicBezTo>
                    <a:pt x="61707" y="0"/>
                    <a:pt x="81756" y="15949"/>
                    <a:pt x="81756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2" name="Forme libre : forme 2371">
              <a:extLst>
                <a:ext uri="{FF2B5EF4-FFF2-40B4-BE49-F238E27FC236}">
                  <a16:creationId xmlns:a16="http://schemas.microsoft.com/office/drawing/2014/main" id="{2490B76E-46EB-4272-924E-6D995CAFB965}"/>
                </a:ext>
              </a:extLst>
            </p:cNvPr>
            <p:cNvSpPr/>
            <p:nvPr/>
          </p:nvSpPr>
          <p:spPr>
            <a:xfrm rot="8716295">
              <a:off x="4788322" y="-25624"/>
              <a:ext cx="219411" cy="98025"/>
            </a:xfrm>
            <a:custGeom>
              <a:avLst/>
              <a:gdLst>
                <a:gd name="connsiteX0" fmla="*/ 63575 w 219411"/>
                <a:gd name="connsiteY0" fmla="*/ 45493 h 98025"/>
                <a:gd name="connsiteX1" fmla="*/ 0 w 219411"/>
                <a:gd name="connsiteY1" fmla="*/ 1425 h 98025"/>
                <a:gd name="connsiteX2" fmla="*/ 63575 w 219411"/>
                <a:gd name="connsiteY2" fmla="*/ 1425 h 98025"/>
                <a:gd name="connsiteX3" fmla="*/ 88634 w 219411"/>
                <a:gd name="connsiteY3" fmla="*/ 62863 h 98025"/>
                <a:gd name="connsiteX4" fmla="*/ 73596 w 219411"/>
                <a:gd name="connsiteY4" fmla="*/ 52439 h 98025"/>
                <a:gd name="connsiteX5" fmla="*/ 75493 w 219411"/>
                <a:gd name="connsiteY5" fmla="*/ 47439 h 98025"/>
                <a:gd name="connsiteX6" fmla="*/ 112786 w 219411"/>
                <a:gd name="connsiteY6" fmla="*/ 5981 h 98025"/>
                <a:gd name="connsiteX7" fmla="*/ 144227 w 219411"/>
                <a:gd name="connsiteY7" fmla="*/ 57 h 98025"/>
                <a:gd name="connsiteX8" fmla="*/ 219411 w 219411"/>
                <a:gd name="connsiteY8" fmla="*/ 88456 h 98025"/>
                <a:gd name="connsiteX9" fmla="*/ 219411 w 219411"/>
                <a:gd name="connsiteY9" fmla="*/ 94380 h 98025"/>
                <a:gd name="connsiteX10" fmla="*/ 157441 w 219411"/>
                <a:gd name="connsiteY10" fmla="*/ 98025 h 98025"/>
                <a:gd name="connsiteX11" fmla="*/ 157441 w 219411"/>
                <a:gd name="connsiteY11" fmla="*/ 81621 h 98025"/>
                <a:gd name="connsiteX12" fmla="*/ 123722 w 219411"/>
                <a:gd name="connsiteY12" fmla="*/ 40156 h 98025"/>
                <a:gd name="connsiteX13" fmla="*/ 103089 w 219411"/>
                <a:gd name="connsiteY13" fmla="*/ 46969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9411" h="98025">
                  <a:moveTo>
                    <a:pt x="63575" y="45493"/>
                  </a:moveTo>
                  <a:lnTo>
                    <a:pt x="0" y="1425"/>
                  </a:lnTo>
                  <a:lnTo>
                    <a:pt x="63575" y="1425"/>
                  </a:lnTo>
                  <a:close/>
                  <a:moveTo>
                    <a:pt x="88634" y="62863"/>
                  </a:moveTo>
                  <a:lnTo>
                    <a:pt x="73596" y="52439"/>
                  </a:lnTo>
                  <a:lnTo>
                    <a:pt x="75493" y="47439"/>
                  </a:lnTo>
                  <a:cubicBezTo>
                    <a:pt x="85874" y="24008"/>
                    <a:pt x="96382" y="12816"/>
                    <a:pt x="112786" y="5981"/>
                  </a:cubicBezTo>
                  <a:cubicBezTo>
                    <a:pt x="122811" y="1880"/>
                    <a:pt x="133291" y="-398"/>
                    <a:pt x="144227" y="57"/>
                  </a:cubicBezTo>
                  <a:cubicBezTo>
                    <a:pt x="191160" y="-854"/>
                    <a:pt x="219411" y="31954"/>
                    <a:pt x="219411" y="88456"/>
                  </a:cubicBezTo>
                  <a:lnTo>
                    <a:pt x="219411" y="94380"/>
                  </a:lnTo>
                  <a:lnTo>
                    <a:pt x="157441" y="98025"/>
                  </a:lnTo>
                  <a:lnTo>
                    <a:pt x="157441" y="81621"/>
                  </a:lnTo>
                  <a:cubicBezTo>
                    <a:pt x="157441" y="57016"/>
                    <a:pt x="143316" y="40156"/>
                    <a:pt x="123722" y="40156"/>
                  </a:cubicBezTo>
                  <a:cubicBezTo>
                    <a:pt x="116431" y="40156"/>
                    <a:pt x="109454" y="42577"/>
                    <a:pt x="103089" y="4696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3" name="Forme libre : forme 2372">
              <a:extLst>
                <a:ext uri="{FF2B5EF4-FFF2-40B4-BE49-F238E27FC236}">
                  <a16:creationId xmlns:a16="http://schemas.microsoft.com/office/drawing/2014/main" id="{8E267C66-2E07-4F73-9340-012E8A048A8A}"/>
                </a:ext>
              </a:extLst>
            </p:cNvPr>
            <p:cNvSpPr/>
            <p:nvPr/>
          </p:nvSpPr>
          <p:spPr>
            <a:xfrm rot="8716295">
              <a:off x="4630568" y="-7637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4" name="Forme libre : forme 2373">
              <a:extLst>
                <a:ext uri="{FF2B5EF4-FFF2-40B4-BE49-F238E27FC236}">
                  <a16:creationId xmlns:a16="http://schemas.microsoft.com/office/drawing/2014/main" id="{78F0F09F-9A5B-4F4A-9DBF-86D570560CEC}"/>
                </a:ext>
              </a:extLst>
            </p:cNvPr>
            <p:cNvSpPr/>
            <p:nvPr/>
          </p:nvSpPr>
          <p:spPr>
            <a:xfrm rot="7484129">
              <a:off x="4735499" y="11497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5" name="Forme libre : forme 2374">
              <a:extLst>
                <a:ext uri="{FF2B5EF4-FFF2-40B4-BE49-F238E27FC236}">
                  <a16:creationId xmlns:a16="http://schemas.microsoft.com/office/drawing/2014/main" id="{78184C10-D416-4CB8-BB4E-B2E159FC9497}"/>
                </a:ext>
              </a:extLst>
            </p:cNvPr>
            <p:cNvSpPr/>
            <p:nvPr/>
          </p:nvSpPr>
          <p:spPr>
            <a:xfrm rot="13089394">
              <a:off x="4840319" y="8151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6" name="Forme libre : forme 2375">
              <a:extLst>
                <a:ext uri="{FF2B5EF4-FFF2-40B4-BE49-F238E27FC236}">
                  <a16:creationId xmlns:a16="http://schemas.microsoft.com/office/drawing/2014/main" id="{BF43E5AD-AF64-4DBC-99B6-CB8CB0A23CDF}"/>
                </a:ext>
              </a:extLst>
            </p:cNvPr>
            <p:cNvSpPr/>
            <p:nvPr/>
          </p:nvSpPr>
          <p:spPr>
            <a:xfrm rot="8716295">
              <a:off x="5051883" y="-11617"/>
              <a:ext cx="112042" cy="89932"/>
            </a:xfrm>
            <a:custGeom>
              <a:avLst/>
              <a:gdLst>
                <a:gd name="connsiteX0" fmla="*/ 62355 w 112042"/>
                <a:gd name="connsiteY0" fmla="*/ 89932 h 89932"/>
                <a:gd name="connsiteX1" fmla="*/ 0 w 112042"/>
                <a:gd name="connsiteY1" fmla="*/ 46710 h 89932"/>
                <a:gd name="connsiteX2" fmla="*/ 14231 w 112042"/>
                <a:gd name="connsiteY2" fmla="*/ 33321 h 89932"/>
                <a:gd name="connsiteX3" fmla="*/ 78722 w 112042"/>
                <a:gd name="connsiteY3" fmla="*/ 0 h 89932"/>
                <a:gd name="connsiteX4" fmla="*/ 112042 w 112042"/>
                <a:gd name="connsiteY4" fmla="*/ 39770 h 89932"/>
                <a:gd name="connsiteX5" fmla="*/ 80872 w 112042"/>
                <a:gd name="connsiteY5" fmla="*/ 81689 h 89932"/>
                <a:gd name="connsiteX6" fmla="*/ 81408 w 112042"/>
                <a:gd name="connsiteY6" fmla="*/ 81689 h 89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2042" h="89932">
                  <a:moveTo>
                    <a:pt x="62355" y="89932"/>
                  </a:moveTo>
                  <a:lnTo>
                    <a:pt x="0" y="46710"/>
                  </a:lnTo>
                  <a:lnTo>
                    <a:pt x="14231" y="33321"/>
                  </a:lnTo>
                  <a:cubicBezTo>
                    <a:pt x="30353" y="14511"/>
                    <a:pt x="53462" y="2687"/>
                    <a:pt x="78722" y="0"/>
                  </a:cubicBezTo>
                  <a:cubicBezTo>
                    <a:pt x="104518" y="0"/>
                    <a:pt x="112042" y="22572"/>
                    <a:pt x="112042" y="39770"/>
                  </a:cubicBezTo>
                  <a:cubicBezTo>
                    <a:pt x="110429" y="58580"/>
                    <a:pt x="98068" y="74165"/>
                    <a:pt x="80872" y="81689"/>
                  </a:cubicBezTo>
                  <a:lnTo>
                    <a:pt x="81408" y="816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7" name="Forme libre : forme 2376">
              <a:extLst>
                <a:ext uri="{FF2B5EF4-FFF2-40B4-BE49-F238E27FC236}">
                  <a16:creationId xmlns:a16="http://schemas.microsoft.com/office/drawing/2014/main" id="{26D2FA4F-18E7-494F-86E7-D42024EE660E}"/>
                </a:ext>
              </a:extLst>
            </p:cNvPr>
            <p:cNvSpPr/>
            <p:nvPr/>
          </p:nvSpPr>
          <p:spPr>
            <a:xfrm rot="8716295">
              <a:off x="4142433" y="246392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8" name="Forme libre : forme 2377">
              <a:extLst>
                <a:ext uri="{FF2B5EF4-FFF2-40B4-BE49-F238E27FC236}">
                  <a16:creationId xmlns:a16="http://schemas.microsoft.com/office/drawing/2014/main" id="{8944C994-EC14-42D7-8113-E4AD6478A149}"/>
                </a:ext>
              </a:extLst>
            </p:cNvPr>
            <p:cNvSpPr/>
            <p:nvPr/>
          </p:nvSpPr>
          <p:spPr>
            <a:xfrm rot="8716295">
              <a:off x="4231825" y="249316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79" name="Forme libre : forme 2378">
              <a:extLst>
                <a:ext uri="{FF2B5EF4-FFF2-40B4-BE49-F238E27FC236}">
                  <a16:creationId xmlns:a16="http://schemas.microsoft.com/office/drawing/2014/main" id="{58192FC9-A1C8-4708-8225-509EE82E999A}"/>
                </a:ext>
              </a:extLst>
            </p:cNvPr>
            <p:cNvSpPr/>
            <p:nvPr/>
          </p:nvSpPr>
          <p:spPr>
            <a:xfrm rot="8716295">
              <a:off x="4186975" y="240688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0" name="Forme libre : forme 2379">
              <a:extLst>
                <a:ext uri="{FF2B5EF4-FFF2-40B4-BE49-F238E27FC236}">
                  <a16:creationId xmlns:a16="http://schemas.microsoft.com/office/drawing/2014/main" id="{C486D111-D4F8-4846-BF95-F7163EE73BEE}"/>
                </a:ext>
              </a:extLst>
            </p:cNvPr>
            <p:cNvSpPr/>
            <p:nvPr/>
          </p:nvSpPr>
          <p:spPr>
            <a:xfrm rot="8716295">
              <a:off x="4030199" y="255246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1" name="Forme libre : forme 2380">
              <a:extLst>
                <a:ext uri="{FF2B5EF4-FFF2-40B4-BE49-F238E27FC236}">
                  <a16:creationId xmlns:a16="http://schemas.microsoft.com/office/drawing/2014/main" id="{A056C44E-4EEE-45C1-B42B-67B9971F1D6B}"/>
                </a:ext>
              </a:extLst>
            </p:cNvPr>
            <p:cNvSpPr/>
            <p:nvPr/>
          </p:nvSpPr>
          <p:spPr>
            <a:xfrm rot="8716295">
              <a:off x="3905296" y="234379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2" name="Forme libre : forme 2381">
              <a:extLst>
                <a:ext uri="{FF2B5EF4-FFF2-40B4-BE49-F238E27FC236}">
                  <a16:creationId xmlns:a16="http://schemas.microsoft.com/office/drawing/2014/main" id="{1595D241-3B9E-492F-B5E8-BEF6BBA7E0C4}"/>
                </a:ext>
              </a:extLst>
            </p:cNvPr>
            <p:cNvSpPr/>
            <p:nvPr/>
          </p:nvSpPr>
          <p:spPr>
            <a:xfrm rot="8716295">
              <a:off x="3893244" y="220501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3" name="Forme libre : forme 2382">
              <a:extLst>
                <a:ext uri="{FF2B5EF4-FFF2-40B4-BE49-F238E27FC236}">
                  <a16:creationId xmlns:a16="http://schemas.microsoft.com/office/drawing/2014/main" id="{D50BF1A5-3883-4503-8AB0-39544967FCA2}"/>
                </a:ext>
              </a:extLst>
            </p:cNvPr>
            <p:cNvSpPr/>
            <p:nvPr/>
          </p:nvSpPr>
          <p:spPr>
            <a:xfrm rot="8716295">
              <a:off x="4120377" y="259342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4" name="Forme libre : forme 2383">
              <a:extLst>
                <a:ext uri="{FF2B5EF4-FFF2-40B4-BE49-F238E27FC236}">
                  <a16:creationId xmlns:a16="http://schemas.microsoft.com/office/drawing/2014/main" id="{0B8BE066-0168-4B85-9FA8-76371BFEBC23}"/>
                </a:ext>
              </a:extLst>
            </p:cNvPr>
            <p:cNvSpPr/>
            <p:nvPr/>
          </p:nvSpPr>
          <p:spPr>
            <a:xfrm rot="8716295">
              <a:off x="4431532" y="221377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5" name="Forme libre : forme 2384">
              <a:extLst>
                <a:ext uri="{FF2B5EF4-FFF2-40B4-BE49-F238E27FC236}">
                  <a16:creationId xmlns:a16="http://schemas.microsoft.com/office/drawing/2014/main" id="{35AEC013-8A96-4F7B-8121-5A77C7B85C89}"/>
                </a:ext>
              </a:extLst>
            </p:cNvPr>
            <p:cNvSpPr/>
            <p:nvPr/>
          </p:nvSpPr>
          <p:spPr>
            <a:xfrm rot="8716295">
              <a:off x="4520924" y="224301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6" name="Forme libre : forme 2385">
              <a:extLst>
                <a:ext uri="{FF2B5EF4-FFF2-40B4-BE49-F238E27FC236}">
                  <a16:creationId xmlns:a16="http://schemas.microsoft.com/office/drawing/2014/main" id="{134B4DCA-0087-4CBF-B7E2-1B6EFFD18866}"/>
                </a:ext>
              </a:extLst>
            </p:cNvPr>
            <p:cNvSpPr/>
            <p:nvPr/>
          </p:nvSpPr>
          <p:spPr>
            <a:xfrm rot="8716295">
              <a:off x="4319298" y="230231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7" name="Forme libre : forme 2386">
              <a:extLst>
                <a:ext uri="{FF2B5EF4-FFF2-40B4-BE49-F238E27FC236}">
                  <a16:creationId xmlns:a16="http://schemas.microsoft.com/office/drawing/2014/main" id="{163757B9-6FA5-43B3-BF05-4633A60F3C8C}"/>
                </a:ext>
              </a:extLst>
            </p:cNvPr>
            <p:cNvSpPr/>
            <p:nvPr/>
          </p:nvSpPr>
          <p:spPr>
            <a:xfrm rot="8716295">
              <a:off x="4194396" y="209364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8" name="Forme libre : forme 2387">
              <a:extLst>
                <a:ext uri="{FF2B5EF4-FFF2-40B4-BE49-F238E27FC236}">
                  <a16:creationId xmlns:a16="http://schemas.microsoft.com/office/drawing/2014/main" id="{E98B9827-653C-450A-90CC-AB24A5748561}"/>
                </a:ext>
              </a:extLst>
            </p:cNvPr>
            <p:cNvSpPr/>
            <p:nvPr/>
          </p:nvSpPr>
          <p:spPr>
            <a:xfrm rot="8716295">
              <a:off x="4409476" y="234326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89" name="Forme libre : forme 2388">
              <a:extLst>
                <a:ext uri="{FF2B5EF4-FFF2-40B4-BE49-F238E27FC236}">
                  <a16:creationId xmlns:a16="http://schemas.microsoft.com/office/drawing/2014/main" id="{FDDF805D-5240-4677-A207-30BF9FB2B531}"/>
                </a:ext>
              </a:extLst>
            </p:cNvPr>
            <p:cNvSpPr/>
            <p:nvPr/>
          </p:nvSpPr>
          <p:spPr>
            <a:xfrm rot="8716295">
              <a:off x="4168025" y="219366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0" name="Forme libre : forme 2389">
              <a:extLst>
                <a:ext uri="{FF2B5EF4-FFF2-40B4-BE49-F238E27FC236}">
                  <a16:creationId xmlns:a16="http://schemas.microsoft.com/office/drawing/2014/main" id="{C69C5DEB-0024-4F6B-9D95-227D595E9C83}"/>
                </a:ext>
              </a:extLst>
            </p:cNvPr>
            <p:cNvSpPr/>
            <p:nvPr/>
          </p:nvSpPr>
          <p:spPr>
            <a:xfrm rot="7484129">
              <a:off x="4514407" y="253461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1" name="Forme libre : forme 2390">
              <a:extLst>
                <a:ext uri="{FF2B5EF4-FFF2-40B4-BE49-F238E27FC236}">
                  <a16:creationId xmlns:a16="http://schemas.microsoft.com/office/drawing/2014/main" id="{0FB7443C-A618-4557-B32F-BF8D10D1B0F0}"/>
                </a:ext>
              </a:extLst>
            </p:cNvPr>
            <p:cNvSpPr/>
            <p:nvPr/>
          </p:nvSpPr>
          <p:spPr>
            <a:xfrm rot="13089394">
              <a:off x="4619227" y="250115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2" name="Forme libre : forme 2391">
              <a:extLst>
                <a:ext uri="{FF2B5EF4-FFF2-40B4-BE49-F238E27FC236}">
                  <a16:creationId xmlns:a16="http://schemas.microsoft.com/office/drawing/2014/main" id="{4C9C1422-C0E5-4066-8236-95853DBC40C6}"/>
                </a:ext>
              </a:extLst>
            </p:cNvPr>
            <p:cNvSpPr/>
            <p:nvPr/>
          </p:nvSpPr>
          <p:spPr>
            <a:xfrm rot="8716295">
              <a:off x="4804812" y="230947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3" name="Forme libre : forme 2392">
              <a:extLst>
                <a:ext uri="{FF2B5EF4-FFF2-40B4-BE49-F238E27FC236}">
                  <a16:creationId xmlns:a16="http://schemas.microsoft.com/office/drawing/2014/main" id="{51D166AF-4976-4D8C-853D-6904E98B922E}"/>
                </a:ext>
              </a:extLst>
            </p:cNvPr>
            <p:cNvSpPr/>
            <p:nvPr/>
          </p:nvSpPr>
          <p:spPr>
            <a:xfrm rot="8716295">
              <a:off x="4753007" y="220587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4" name="Forme libre : forme 2393">
              <a:extLst>
                <a:ext uri="{FF2B5EF4-FFF2-40B4-BE49-F238E27FC236}">
                  <a16:creationId xmlns:a16="http://schemas.microsoft.com/office/drawing/2014/main" id="{BA326BA3-E1FE-4A3E-AE3D-4E61F745D645}"/>
                </a:ext>
              </a:extLst>
            </p:cNvPr>
            <p:cNvSpPr/>
            <p:nvPr/>
          </p:nvSpPr>
          <p:spPr>
            <a:xfrm rot="8716295">
              <a:off x="4509761" y="223610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5" name="Forme libre : forme 2394">
              <a:extLst>
                <a:ext uri="{FF2B5EF4-FFF2-40B4-BE49-F238E27FC236}">
                  <a16:creationId xmlns:a16="http://schemas.microsoft.com/office/drawing/2014/main" id="{8A46B46F-F0B1-417E-8C7A-6962AE3F21E6}"/>
                </a:ext>
              </a:extLst>
            </p:cNvPr>
            <p:cNvSpPr/>
            <p:nvPr/>
          </p:nvSpPr>
          <p:spPr>
            <a:xfrm rot="8716295">
              <a:off x="4687213" y="207685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6" name="Forme libre : forme 2395">
              <a:extLst>
                <a:ext uri="{FF2B5EF4-FFF2-40B4-BE49-F238E27FC236}">
                  <a16:creationId xmlns:a16="http://schemas.microsoft.com/office/drawing/2014/main" id="{C9994092-3035-4DD9-9E09-3BAFE682BCD7}"/>
                </a:ext>
              </a:extLst>
            </p:cNvPr>
            <p:cNvSpPr/>
            <p:nvPr/>
          </p:nvSpPr>
          <p:spPr>
            <a:xfrm rot="8716295">
              <a:off x="4365600" y="312362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7" name="Forme libre : forme 2396">
              <a:extLst>
                <a:ext uri="{FF2B5EF4-FFF2-40B4-BE49-F238E27FC236}">
                  <a16:creationId xmlns:a16="http://schemas.microsoft.com/office/drawing/2014/main" id="{AE33B394-B806-4A40-8CAA-93B4FF185583}"/>
                </a:ext>
              </a:extLst>
            </p:cNvPr>
            <p:cNvSpPr/>
            <p:nvPr/>
          </p:nvSpPr>
          <p:spPr>
            <a:xfrm rot="8716295">
              <a:off x="4454992" y="315286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8" name="Forme libre : forme 2397">
              <a:extLst>
                <a:ext uri="{FF2B5EF4-FFF2-40B4-BE49-F238E27FC236}">
                  <a16:creationId xmlns:a16="http://schemas.microsoft.com/office/drawing/2014/main" id="{E2E1CE7D-7E21-4BD0-BBC2-789A64762168}"/>
                </a:ext>
              </a:extLst>
            </p:cNvPr>
            <p:cNvSpPr/>
            <p:nvPr/>
          </p:nvSpPr>
          <p:spPr>
            <a:xfrm rot="8716295">
              <a:off x="4410142" y="306658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99" name="Forme libre : forme 2398">
              <a:extLst>
                <a:ext uri="{FF2B5EF4-FFF2-40B4-BE49-F238E27FC236}">
                  <a16:creationId xmlns:a16="http://schemas.microsoft.com/office/drawing/2014/main" id="{D750BA49-1FAF-4289-9C9E-5D6FD1245959}"/>
                </a:ext>
              </a:extLst>
            </p:cNvPr>
            <p:cNvSpPr/>
            <p:nvPr/>
          </p:nvSpPr>
          <p:spPr>
            <a:xfrm rot="8716295">
              <a:off x="4253366" y="321216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0" name="Forme libre : forme 2399">
              <a:extLst>
                <a:ext uri="{FF2B5EF4-FFF2-40B4-BE49-F238E27FC236}">
                  <a16:creationId xmlns:a16="http://schemas.microsoft.com/office/drawing/2014/main" id="{DE694502-8787-4DE5-AFA1-0F3754EC84F2}"/>
                </a:ext>
              </a:extLst>
            </p:cNvPr>
            <p:cNvSpPr/>
            <p:nvPr/>
          </p:nvSpPr>
          <p:spPr>
            <a:xfrm rot="8716295">
              <a:off x="4128463" y="300349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1" name="Forme libre : forme 2400">
              <a:extLst>
                <a:ext uri="{FF2B5EF4-FFF2-40B4-BE49-F238E27FC236}">
                  <a16:creationId xmlns:a16="http://schemas.microsoft.com/office/drawing/2014/main" id="{FDAB4DC0-8BEB-4DD5-9B59-3390B09A63B4}"/>
                </a:ext>
              </a:extLst>
            </p:cNvPr>
            <p:cNvSpPr/>
            <p:nvPr/>
          </p:nvSpPr>
          <p:spPr>
            <a:xfrm rot="8716295">
              <a:off x="4116411" y="286471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2" name="Forme libre : forme 2401">
              <a:extLst>
                <a:ext uri="{FF2B5EF4-FFF2-40B4-BE49-F238E27FC236}">
                  <a16:creationId xmlns:a16="http://schemas.microsoft.com/office/drawing/2014/main" id="{B005B092-A2D6-4E32-9BFF-715AB97C0245}"/>
                </a:ext>
              </a:extLst>
            </p:cNvPr>
            <p:cNvSpPr/>
            <p:nvPr/>
          </p:nvSpPr>
          <p:spPr>
            <a:xfrm rot="8716295">
              <a:off x="4343544" y="325311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3" name="Forme libre : forme 2402">
              <a:extLst>
                <a:ext uri="{FF2B5EF4-FFF2-40B4-BE49-F238E27FC236}">
                  <a16:creationId xmlns:a16="http://schemas.microsoft.com/office/drawing/2014/main" id="{045312D5-1496-48E9-BE7A-E83846AC9783}"/>
                </a:ext>
              </a:extLst>
            </p:cNvPr>
            <p:cNvSpPr/>
            <p:nvPr/>
          </p:nvSpPr>
          <p:spPr>
            <a:xfrm rot="8716295">
              <a:off x="4654699" y="287347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4" name="Forme libre : forme 2403">
              <a:extLst>
                <a:ext uri="{FF2B5EF4-FFF2-40B4-BE49-F238E27FC236}">
                  <a16:creationId xmlns:a16="http://schemas.microsoft.com/office/drawing/2014/main" id="{F44F3FDE-EE75-48FF-90E8-43EFECEA6BFA}"/>
                </a:ext>
              </a:extLst>
            </p:cNvPr>
            <p:cNvSpPr/>
            <p:nvPr/>
          </p:nvSpPr>
          <p:spPr>
            <a:xfrm rot="8716295">
              <a:off x="4744091" y="290271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5" name="Forme libre : forme 2404">
              <a:extLst>
                <a:ext uri="{FF2B5EF4-FFF2-40B4-BE49-F238E27FC236}">
                  <a16:creationId xmlns:a16="http://schemas.microsoft.com/office/drawing/2014/main" id="{183E0100-AB2A-459F-8CD6-B918AF817720}"/>
                </a:ext>
              </a:extLst>
            </p:cNvPr>
            <p:cNvSpPr/>
            <p:nvPr/>
          </p:nvSpPr>
          <p:spPr>
            <a:xfrm rot="8716295">
              <a:off x="4542465" y="296201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6" name="Forme libre : forme 2405">
              <a:extLst>
                <a:ext uri="{FF2B5EF4-FFF2-40B4-BE49-F238E27FC236}">
                  <a16:creationId xmlns:a16="http://schemas.microsoft.com/office/drawing/2014/main" id="{5AC6947B-430C-4683-99FD-17BA671C7FAF}"/>
                </a:ext>
              </a:extLst>
            </p:cNvPr>
            <p:cNvSpPr/>
            <p:nvPr/>
          </p:nvSpPr>
          <p:spPr>
            <a:xfrm rot="8716295">
              <a:off x="4417563" y="275334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7" name="Forme libre : forme 2406">
              <a:extLst>
                <a:ext uri="{FF2B5EF4-FFF2-40B4-BE49-F238E27FC236}">
                  <a16:creationId xmlns:a16="http://schemas.microsoft.com/office/drawing/2014/main" id="{23371782-A91B-45D7-9243-4F5347843B7B}"/>
                </a:ext>
              </a:extLst>
            </p:cNvPr>
            <p:cNvSpPr/>
            <p:nvPr/>
          </p:nvSpPr>
          <p:spPr>
            <a:xfrm rot="8716295">
              <a:off x="4632643" y="300296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8" name="Forme libre : forme 2407">
              <a:extLst>
                <a:ext uri="{FF2B5EF4-FFF2-40B4-BE49-F238E27FC236}">
                  <a16:creationId xmlns:a16="http://schemas.microsoft.com/office/drawing/2014/main" id="{9755E835-965C-456F-87FE-92F81A3E4A63}"/>
                </a:ext>
              </a:extLst>
            </p:cNvPr>
            <p:cNvSpPr/>
            <p:nvPr/>
          </p:nvSpPr>
          <p:spPr>
            <a:xfrm rot="8716295">
              <a:off x="4391192" y="285336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9" name="Forme libre : forme 2408">
              <a:extLst>
                <a:ext uri="{FF2B5EF4-FFF2-40B4-BE49-F238E27FC236}">
                  <a16:creationId xmlns:a16="http://schemas.microsoft.com/office/drawing/2014/main" id="{C97A8178-02BF-4D6E-B4BD-592A2261203E}"/>
                </a:ext>
              </a:extLst>
            </p:cNvPr>
            <p:cNvSpPr/>
            <p:nvPr/>
          </p:nvSpPr>
          <p:spPr>
            <a:xfrm rot="7484129">
              <a:off x="4737574" y="319431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0" name="Forme libre : forme 2409">
              <a:extLst>
                <a:ext uri="{FF2B5EF4-FFF2-40B4-BE49-F238E27FC236}">
                  <a16:creationId xmlns:a16="http://schemas.microsoft.com/office/drawing/2014/main" id="{75E989AC-861F-445B-8523-87947D58BA59}"/>
                </a:ext>
              </a:extLst>
            </p:cNvPr>
            <p:cNvSpPr/>
            <p:nvPr/>
          </p:nvSpPr>
          <p:spPr>
            <a:xfrm rot="13089394">
              <a:off x="4842394" y="316085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1" name="Forme libre : forme 2410">
              <a:extLst>
                <a:ext uri="{FF2B5EF4-FFF2-40B4-BE49-F238E27FC236}">
                  <a16:creationId xmlns:a16="http://schemas.microsoft.com/office/drawing/2014/main" id="{8D82D2F1-5E32-4A31-B12C-8D7D976DCEFE}"/>
                </a:ext>
              </a:extLst>
            </p:cNvPr>
            <p:cNvSpPr/>
            <p:nvPr/>
          </p:nvSpPr>
          <p:spPr>
            <a:xfrm rot="8716295">
              <a:off x="5027979" y="296917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2" name="Forme libre : forme 2411">
              <a:extLst>
                <a:ext uri="{FF2B5EF4-FFF2-40B4-BE49-F238E27FC236}">
                  <a16:creationId xmlns:a16="http://schemas.microsoft.com/office/drawing/2014/main" id="{B13D46FD-93AC-45F4-9A10-E97DA44D8E6F}"/>
                </a:ext>
              </a:extLst>
            </p:cNvPr>
            <p:cNvSpPr/>
            <p:nvPr/>
          </p:nvSpPr>
          <p:spPr>
            <a:xfrm rot="8716295">
              <a:off x="4976174" y="286557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3" name="Forme libre : forme 2412">
              <a:extLst>
                <a:ext uri="{FF2B5EF4-FFF2-40B4-BE49-F238E27FC236}">
                  <a16:creationId xmlns:a16="http://schemas.microsoft.com/office/drawing/2014/main" id="{60E925F5-AA66-479A-8E63-2C1F069A7D43}"/>
                </a:ext>
              </a:extLst>
            </p:cNvPr>
            <p:cNvSpPr/>
            <p:nvPr/>
          </p:nvSpPr>
          <p:spPr>
            <a:xfrm rot="8716295">
              <a:off x="4732928" y="289579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4" name="Forme libre : forme 2413">
              <a:extLst>
                <a:ext uri="{FF2B5EF4-FFF2-40B4-BE49-F238E27FC236}">
                  <a16:creationId xmlns:a16="http://schemas.microsoft.com/office/drawing/2014/main" id="{080B48A7-A1B1-41BD-94B6-9C452E91624E}"/>
                </a:ext>
              </a:extLst>
            </p:cNvPr>
            <p:cNvSpPr/>
            <p:nvPr/>
          </p:nvSpPr>
          <p:spPr>
            <a:xfrm rot="8716295">
              <a:off x="4910380" y="273655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5" name="Forme libre : forme 2414">
              <a:extLst>
                <a:ext uri="{FF2B5EF4-FFF2-40B4-BE49-F238E27FC236}">
                  <a16:creationId xmlns:a16="http://schemas.microsoft.com/office/drawing/2014/main" id="{0674948B-A68F-42F0-B732-9AA4AFE7D76F}"/>
                </a:ext>
              </a:extLst>
            </p:cNvPr>
            <p:cNvSpPr/>
            <p:nvPr/>
          </p:nvSpPr>
          <p:spPr>
            <a:xfrm rot="8716295">
              <a:off x="5092983" y="5038194"/>
              <a:ext cx="153591" cy="101571"/>
            </a:xfrm>
            <a:custGeom>
              <a:avLst/>
              <a:gdLst>
                <a:gd name="connsiteX0" fmla="*/ 5923 w 153591"/>
                <a:gd name="connsiteY0" fmla="*/ 101571 h 101571"/>
                <a:gd name="connsiteX1" fmla="*/ 0 w 153591"/>
                <a:gd name="connsiteY1" fmla="*/ 93369 h 101571"/>
                <a:gd name="connsiteX2" fmla="*/ 99231 w 153591"/>
                <a:gd name="connsiteY2" fmla="*/ 0 h 101571"/>
                <a:gd name="connsiteX3" fmla="*/ 153591 w 153591"/>
                <a:gd name="connsiteY3" fmla="*/ 37681 h 101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3591" h="101571">
                  <a:moveTo>
                    <a:pt x="5923" y="101571"/>
                  </a:moveTo>
                  <a:lnTo>
                    <a:pt x="0" y="93369"/>
                  </a:lnTo>
                  <a:lnTo>
                    <a:pt x="99231" y="0"/>
                  </a:lnTo>
                  <a:lnTo>
                    <a:pt x="153591" y="3768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6" name="Forme libre : forme 2415">
              <a:extLst>
                <a:ext uri="{FF2B5EF4-FFF2-40B4-BE49-F238E27FC236}">
                  <a16:creationId xmlns:a16="http://schemas.microsoft.com/office/drawing/2014/main" id="{12A1F00F-33E4-4350-8E47-D86011A73F70}"/>
                </a:ext>
              </a:extLst>
            </p:cNvPr>
            <p:cNvSpPr/>
            <p:nvPr/>
          </p:nvSpPr>
          <p:spPr>
            <a:xfrm rot="8716295">
              <a:off x="4835281" y="4967476"/>
              <a:ext cx="151182" cy="195874"/>
            </a:xfrm>
            <a:custGeom>
              <a:avLst/>
              <a:gdLst>
                <a:gd name="connsiteX0" fmla="*/ 90709 w 151182"/>
                <a:gd name="connsiteY0" fmla="*/ 195874 h 195874"/>
                <a:gd name="connsiteX1" fmla="*/ 47847 w 151182"/>
                <a:gd name="connsiteY1" fmla="*/ 116129 h 195874"/>
                <a:gd name="connsiteX2" fmla="*/ 69777 w 151182"/>
                <a:gd name="connsiteY2" fmla="*/ 55323 h 195874"/>
                <a:gd name="connsiteX3" fmla="*/ 0 w 151182"/>
                <a:gd name="connsiteY3" fmla="*/ 55323 h 195874"/>
                <a:gd name="connsiteX4" fmla="*/ 0 w 151182"/>
                <a:gd name="connsiteY4" fmla="*/ 0 h 195874"/>
                <a:gd name="connsiteX5" fmla="*/ 71369 w 151182"/>
                <a:gd name="connsiteY5" fmla="*/ 0 h 195874"/>
                <a:gd name="connsiteX6" fmla="*/ 151182 w 151182"/>
                <a:gd name="connsiteY6" fmla="*/ 55323 h 195874"/>
                <a:gd name="connsiteX7" fmla="*/ 139055 w 151182"/>
                <a:gd name="connsiteY7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1182" h="195874">
                  <a:moveTo>
                    <a:pt x="90709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71369" y="0"/>
                  </a:lnTo>
                  <a:lnTo>
                    <a:pt x="151182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7" name="Forme libre : forme 2416">
              <a:extLst>
                <a:ext uri="{FF2B5EF4-FFF2-40B4-BE49-F238E27FC236}">
                  <a16:creationId xmlns:a16="http://schemas.microsoft.com/office/drawing/2014/main" id="{DC1C692C-2D66-4299-8775-AC821C8B995E}"/>
                </a:ext>
              </a:extLst>
            </p:cNvPr>
            <p:cNvSpPr/>
            <p:nvPr/>
          </p:nvSpPr>
          <p:spPr>
            <a:xfrm rot="8716295">
              <a:off x="4779766" y="484378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8" name="Forme libre : forme 2417">
              <a:extLst>
                <a:ext uri="{FF2B5EF4-FFF2-40B4-BE49-F238E27FC236}">
                  <a16:creationId xmlns:a16="http://schemas.microsoft.com/office/drawing/2014/main" id="{E6D77D73-3B42-4B2B-93BD-3B3DC93A2BC2}"/>
                </a:ext>
              </a:extLst>
            </p:cNvPr>
            <p:cNvSpPr/>
            <p:nvPr/>
          </p:nvSpPr>
          <p:spPr>
            <a:xfrm rot="8716295">
              <a:off x="5318054" y="485254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9" name="Forme libre : forme 2418">
              <a:extLst>
                <a:ext uri="{FF2B5EF4-FFF2-40B4-BE49-F238E27FC236}">
                  <a16:creationId xmlns:a16="http://schemas.microsoft.com/office/drawing/2014/main" id="{8B7FAF70-1022-4D25-AC9C-9716E663F64F}"/>
                </a:ext>
              </a:extLst>
            </p:cNvPr>
            <p:cNvSpPr/>
            <p:nvPr/>
          </p:nvSpPr>
          <p:spPr>
            <a:xfrm rot="8716295">
              <a:off x="5407622" y="4885251"/>
              <a:ext cx="236069" cy="254774"/>
            </a:xfrm>
            <a:custGeom>
              <a:avLst/>
              <a:gdLst>
                <a:gd name="connsiteX0" fmla="*/ 26920 w 236069"/>
                <a:gd name="connsiteY0" fmla="*/ 254774 h 254774"/>
                <a:gd name="connsiteX1" fmla="*/ 26920 w 236069"/>
                <a:gd name="connsiteY1" fmla="*/ 45624 h 254774"/>
                <a:gd name="connsiteX2" fmla="*/ 0 w 236069"/>
                <a:gd name="connsiteY2" fmla="*/ 45624 h 254774"/>
                <a:gd name="connsiteX3" fmla="*/ 36558 w 236069"/>
                <a:gd name="connsiteY3" fmla="*/ 1425 h 254774"/>
                <a:gd name="connsiteX4" fmla="*/ 80233 w 236069"/>
                <a:gd name="connsiteY4" fmla="*/ 1425 h 254774"/>
                <a:gd name="connsiteX5" fmla="*/ 80233 w 236069"/>
                <a:gd name="connsiteY5" fmla="*/ 75242 h 254774"/>
                <a:gd name="connsiteX6" fmla="*/ 81599 w 236069"/>
                <a:gd name="connsiteY6" fmla="*/ 75242 h 254774"/>
                <a:gd name="connsiteX7" fmla="*/ 129444 w 236069"/>
                <a:gd name="connsiteY7" fmla="*/ 5981 h 254774"/>
                <a:gd name="connsiteX8" fmla="*/ 160885 w 236069"/>
                <a:gd name="connsiteY8" fmla="*/ 57 h 254774"/>
                <a:gd name="connsiteX9" fmla="*/ 165106 w 236069"/>
                <a:gd name="connsiteY9" fmla="*/ 791 h 254774"/>
                <a:gd name="connsiteX10" fmla="*/ 227336 w 236069"/>
                <a:gd name="connsiteY10" fmla="*/ 43927 h 254774"/>
                <a:gd name="connsiteX11" fmla="*/ 230922 w 236069"/>
                <a:gd name="connsiteY11" fmla="*/ 50679 h 254774"/>
                <a:gd name="connsiteX12" fmla="*/ 236069 w 236069"/>
                <a:gd name="connsiteY12" fmla="*/ 88456 h 254774"/>
                <a:gd name="connsiteX13" fmla="*/ 236069 w 236069"/>
                <a:gd name="connsiteY13" fmla="*/ 94380 h 254774"/>
                <a:gd name="connsiteX14" fmla="*/ 174099 w 236069"/>
                <a:gd name="connsiteY14" fmla="*/ 98025 h 254774"/>
                <a:gd name="connsiteX15" fmla="*/ 174099 w 236069"/>
                <a:gd name="connsiteY15" fmla="*/ 81621 h 254774"/>
                <a:gd name="connsiteX16" fmla="*/ 140380 w 236069"/>
                <a:gd name="connsiteY16" fmla="*/ 40156 h 254774"/>
                <a:gd name="connsiteX17" fmla="*/ 87068 w 236069"/>
                <a:gd name="connsiteY17" fmla="*/ 127643 h 254774"/>
                <a:gd name="connsiteX18" fmla="*/ 87068 w 236069"/>
                <a:gd name="connsiteY18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36069" h="254774">
                  <a:moveTo>
                    <a:pt x="26920" y="254774"/>
                  </a:moveTo>
                  <a:lnTo>
                    <a:pt x="26920" y="45624"/>
                  </a:lnTo>
                  <a:lnTo>
                    <a:pt x="0" y="45624"/>
                  </a:lnTo>
                  <a:lnTo>
                    <a:pt x="36558" y="1425"/>
                  </a:lnTo>
                  <a:lnTo>
                    <a:pt x="80233" y="1425"/>
                  </a:lnTo>
                  <a:lnTo>
                    <a:pt x="80233" y="75242"/>
                  </a:lnTo>
                  <a:lnTo>
                    <a:pt x="81599" y="75242"/>
                  </a:lnTo>
                  <a:cubicBezTo>
                    <a:pt x="96181" y="31954"/>
                    <a:pt x="107572" y="15095"/>
                    <a:pt x="129444" y="5981"/>
                  </a:cubicBezTo>
                  <a:cubicBezTo>
                    <a:pt x="139469" y="1880"/>
                    <a:pt x="149949" y="-398"/>
                    <a:pt x="160885" y="57"/>
                  </a:cubicBezTo>
                  <a:lnTo>
                    <a:pt x="165106" y="791"/>
                  </a:lnTo>
                  <a:lnTo>
                    <a:pt x="227336" y="43927"/>
                  </a:lnTo>
                  <a:lnTo>
                    <a:pt x="230922" y="50679"/>
                  </a:lnTo>
                  <a:cubicBezTo>
                    <a:pt x="234303" y="61686"/>
                    <a:pt x="236069" y="74331"/>
                    <a:pt x="236069" y="88456"/>
                  </a:cubicBezTo>
                  <a:lnTo>
                    <a:pt x="236069" y="94380"/>
                  </a:lnTo>
                  <a:lnTo>
                    <a:pt x="174099" y="98025"/>
                  </a:lnTo>
                  <a:lnTo>
                    <a:pt x="174099" y="81621"/>
                  </a:lnTo>
                  <a:cubicBezTo>
                    <a:pt x="174099" y="57016"/>
                    <a:pt x="159974" y="40156"/>
                    <a:pt x="140380" y="40156"/>
                  </a:cubicBezTo>
                  <a:cubicBezTo>
                    <a:pt x="111218" y="40156"/>
                    <a:pt x="87068" y="78887"/>
                    <a:pt x="87068" y="127643"/>
                  </a:cubicBezTo>
                  <a:lnTo>
                    <a:pt x="87068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0" name="Forme libre : forme 2419">
              <a:extLst>
                <a:ext uri="{FF2B5EF4-FFF2-40B4-BE49-F238E27FC236}">
                  <a16:creationId xmlns:a16="http://schemas.microsoft.com/office/drawing/2014/main" id="{27602E58-FD35-4CD6-BDF7-ECF90C52F91B}"/>
                </a:ext>
              </a:extLst>
            </p:cNvPr>
            <p:cNvSpPr/>
            <p:nvPr/>
          </p:nvSpPr>
          <p:spPr>
            <a:xfrm rot="8716295">
              <a:off x="5205820" y="494108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1" name="Forme libre : forme 2420">
              <a:extLst>
                <a:ext uri="{FF2B5EF4-FFF2-40B4-BE49-F238E27FC236}">
                  <a16:creationId xmlns:a16="http://schemas.microsoft.com/office/drawing/2014/main" id="{CBCC54CA-829A-46B5-B9CA-D3D424638857}"/>
                </a:ext>
              </a:extLst>
            </p:cNvPr>
            <p:cNvSpPr/>
            <p:nvPr/>
          </p:nvSpPr>
          <p:spPr>
            <a:xfrm rot="8716295">
              <a:off x="5080918" y="473241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2" name="Forme libre : forme 2421">
              <a:extLst>
                <a:ext uri="{FF2B5EF4-FFF2-40B4-BE49-F238E27FC236}">
                  <a16:creationId xmlns:a16="http://schemas.microsoft.com/office/drawing/2014/main" id="{9CF4BAC4-4A9A-4E71-B1AD-94CDB63497C4}"/>
                </a:ext>
              </a:extLst>
            </p:cNvPr>
            <p:cNvSpPr/>
            <p:nvPr/>
          </p:nvSpPr>
          <p:spPr>
            <a:xfrm rot="8716295">
              <a:off x="5289767" y="4983528"/>
              <a:ext cx="103436" cy="207956"/>
            </a:xfrm>
            <a:custGeom>
              <a:avLst/>
              <a:gdLst>
                <a:gd name="connsiteX0" fmla="*/ 0 w 103436"/>
                <a:gd name="connsiteY0" fmla="*/ 5185 h 207956"/>
                <a:gd name="connsiteX1" fmla="*/ 0 w 103436"/>
                <a:gd name="connsiteY1" fmla="*/ 0 h 207956"/>
                <a:gd name="connsiteX2" fmla="*/ 7480 w 103436"/>
                <a:gd name="connsiteY2" fmla="*/ 5185 h 207956"/>
                <a:gd name="connsiteX3" fmla="*/ 103436 w 103436"/>
                <a:gd name="connsiteY3" fmla="*/ 207956 h 207956"/>
                <a:gd name="connsiteX4" fmla="*/ 43288 w 103436"/>
                <a:gd name="connsiteY4" fmla="*/ 150086 h 207956"/>
                <a:gd name="connsiteX5" fmla="*/ 43288 w 103436"/>
                <a:gd name="connsiteY5" fmla="*/ 30006 h 207956"/>
                <a:gd name="connsiteX6" fmla="*/ 103435 w 103436"/>
                <a:gd name="connsiteY6" fmla="*/ 71698 h 207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6" h="207956">
                  <a:moveTo>
                    <a:pt x="0" y="5185"/>
                  </a:moveTo>
                  <a:lnTo>
                    <a:pt x="0" y="0"/>
                  </a:lnTo>
                  <a:lnTo>
                    <a:pt x="7480" y="5185"/>
                  </a:lnTo>
                  <a:close/>
                  <a:moveTo>
                    <a:pt x="103436" y="207956"/>
                  </a:moveTo>
                  <a:lnTo>
                    <a:pt x="43288" y="150086"/>
                  </a:lnTo>
                  <a:lnTo>
                    <a:pt x="43288" y="30006"/>
                  </a:lnTo>
                  <a:lnTo>
                    <a:pt x="103435" y="716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3" name="Forme libre : forme 2422">
              <a:extLst>
                <a:ext uri="{FF2B5EF4-FFF2-40B4-BE49-F238E27FC236}">
                  <a16:creationId xmlns:a16="http://schemas.microsoft.com/office/drawing/2014/main" id="{58B97AE7-4DDA-4D02-8FCA-6E107A3309C6}"/>
                </a:ext>
              </a:extLst>
            </p:cNvPr>
            <p:cNvSpPr/>
            <p:nvPr/>
          </p:nvSpPr>
          <p:spPr>
            <a:xfrm rot="8716295">
              <a:off x="5054547" y="483243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4" name="Forme libre : forme 2423">
              <a:extLst>
                <a:ext uri="{FF2B5EF4-FFF2-40B4-BE49-F238E27FC236}">
                  <a16:creationId xmlns:a16="http://schemas.microsoft.com/office/drawing/2014/main" id="{FE870BF4-A4A5-4432-957C-57DF976F1501}"/>
                </a:ext>
              </a:extLst>
            </p:cNvPr>
            <p:cNvSpPr/>
            <p:nvPr/>
          </p:nvSpPr>
          <p:spPr>
            <a:xfrm rot="8716295">
              <a:off x="5627351" y="4851308"/>
              <a:ext cx="84852" cy="94931"/>
            </a:xfrm>
            <a:custGeom>
              <a:avLst/>
              <a:gdLst>
                <a:gd name="connsiteX0" fmla="*/ 0 w 84852"/>
                <a:gd name="connsiteY0" fmla="*/ 84445 h 94931"/>
                <a:gd name="connsiteX1" fmla="*/ 69845 w 84852"/>
                <a:gd name="connsiteY1" fmla="*/ 0 h 94931"/>
                <a:gd name="connsiteX2" fmla="*/ 84852 w 84852"/>
                <a:gd name="connsiteY2" fmla="*/ 35717 h 94931"/>
                <a:gd name="connsiteX3" fmla="*/ 67606 w 84852"/>
                <a:gd name="connsiteY3" fmla="*/ 77454 h 94931"/>
                <a:gd name="connsiteX4" fmla="*/ 26212 w 84852"/>
                <a:gd name="connsiteY4" fmla="*/ 94931 h 9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852" h="94931">
                  <a:moveTo>
                    <a:pt x="0" y="84445"/>
                  </a:moveTo>
                  <a:lnTo>
                    <a:pt x="69845" y="0"/>
                  </a:lnTo>
                  <a:lnTo>
                    <a:pt x="84852" y="35717"/>
                  </a:lnTo>
                  <a:cubicBezTo>
                    <a:pt x="84852" y="50779"/>
                    <a:pt x="79103" y="65956"/>
                    <a:pt x="67606" y="77454"/>
                  </a:cubicBezTo>
                  <a:cubicBezTo>
                    <a:pt x="56567" y="88492"/>
                    <a:pt x="41850" y="94930"/>
                    <a:pt x="26212" y="9493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5" name="Forme libre : forme 2424">
              <a:extLst>
                <a:ext uri="{FF2B5EF4-FFF2-40B4-BE49-F238E27FC236}">
                  <a16:creationId xmlns:a16="http://schemas.microsoft.com/office/drawing/2014/main" id="{D607EAB3-59AD-4F41-8791-D545B48F2ACD}"/>
                </a:ext>
              </a:extLst>
            </p:cNvPr>
            <p:cNvSpPr/>
            <p:nvPr/>
          </p:nvSpPr>
          <p:spPr>
            <a:xfrm rot="8716295">
              <a:off x="5396283" y="487486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6" name="Forme libre : forme 2425">
              <a:extLst>
                <a:ext uri="{FF2B5EF4-FFF2-40B4-BE49-F238E27FC236}">
                  <a16:creationId xmlns:a16="http://schemas.microsoft.com/office/drawing/2014/main" id="{3495DB46-32FD-4610-BD6C-D77CD1DF61F5}"/>
                </a:ext>
              </a:extLst>
            </p:cNvPr>
            <p:cNvSpPr/>
            <p:nvPr/>
          </p:nvSpPr>
          <p:spPr>
            <a:xfrm rot="8716295">
              <a:off x="5573735" y="47156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7" name="Forme libre : forme 2426">
              <a:extLst>
                <a:ext uri="{FF2B5EF4-FFF2-40B4-BE49-F238E27FC236}">
                  <a16:creationId xmlns:a16="http://schemas.microsoft.com/office/drawing/2014/main" id="{01864176-04A7-44D1-983B-1731250E407D}"/>
                </a:ext>
              </a:extLst>
            </p:cNvPr>
            <p:cNvSpPr/>
            <p:nvPr/>
          </p:nvSpPr>
          <p:spPr>
            <a:xfrm rot="8716295">
              <a:off x="4584270" y="378201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8" name="Forme libre : forme 2427">
              <a:extLst>
                <a:ext uri="{FF2B5EF4-FFF2-40B4-BE49-F238E27FC236}">
                  <a16:creationId xmlns:a16="http://schemas.microsoft.com/office/drawing/2014/main" id="{EED535F0-5180-4A4A-8891-7B62A3620DCB}"/>
                </a:ext>
              </a:extLst>
            </p:cNvPr>
            <p:cNvSpPr/>
            <p:nvPr/>
          </p:nvSpPr>
          <p:spPr>
            <a:xfrm rot="8716295">
              <a:off x="4673662" y="381126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29" name="Forme libre : forme 2428">
              <a:extLst>
                <a:ext uri="{FF2B5EF4-FFF2-40B4-BE49-F238E27FC236}">
                  <a16:creationId xmlns:a16="http://schemas.microsoft.com/office/drawing/2014/main" id="{57308AA9-0745-47A5-BC96-5FDF43BB9731}"/>
                </a:ext>
              </a:extLst>
            </p:cNvPr>
            <p:cNvSpPr/>
            <p:nvPr/>
          </p:nvSpPr>
          <p:spPr>
            <a:xfrm rot="8716295">
              <a:off x="4628812" y="3724981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0" name="Forme libre : forme 2429">
              <a:extLst>
                <a:ext uri="{FF2B5EF4-FFF2-40B4-BE49-F238E27FC236}">
                  <a16:creationId xmlns:a16="http://schemas.microsoft.com/office/drawing/2014/main" id="{920DA668-7019-4B80-96A3-4CE3AC64C7BE}"/>
                </a:ext>
              </a:extLst>
            </p:cNvPr>
            <p:cNvSpPr/>
            <p:nvPr/>
          </p:nvSpPr>
          <p:spPr>
            <a:xfrm rot="8716295">
              <a:off x="4472036" y="387056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1" name="Forme libre : forme 2430">
              <a:extLst>
                <a:ext uri="{FF2B5EF4-FFF2-40B4-BE49-F238E27FC236}">
                  <a16:creationId xmlns:a16="http://schemas.microsoft.com/office/drawing/2014/main" id="{031F0637-BE20-4832-B0CA-C99FB5A3149A}"/>
                </a:ext>
              </a:extLst>
            </p:cNvPr>
            <p:cNvSpPr/>
            <p:nvPr/>
          </p:nvSpPr>
          <p:spPr>
            <a:xfrm rot="8716295">
              <a:off x="4347133" y="366189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2" name="Forme libre : forme 2431">
              <a:extLst>
                <a:ext uri="{FF2B5EF4-FFF2-40B4-BE49-F238E27FC236}">
                  <a16:creationId xmlns:a16="http://schemas.microsoft.com/office/drawing/2014/main" id="{84ECF88F-D69F-4F47-ABE5-CFC7EA46DECA}"/>
                </a:ext>
              </a:extLst>
            </p:cNvPr>
            <p:cNvSpPr/>
            <p:nvPr/>
          </p:nvSpPr>
          <p:spPr>
            <a:xfrm rot="8716295">
              <a:off x="4335081" y="3523110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3" name="Forme libre : forme 2432">
              <a:extLst>
                <a:ext uri="{FF2B5EF4-FFF2-40B4-BE49-F238E27FC236}">
                  <a16:creationId xmlns:a16="http://schemas.microsoft.com/office/drawing/2014/main" id="{6CB6C353-AD91-46A6-A469-888E29AF2E49}"/>
                </a:ext>
              </a:extLst>
            </p:cNvPr>
            <p:cNvSpPr/>
            <p:nvPr/>
          </p:nvSpPr>
          <p:spPr>
            <a:xfrm rot="8716295">
              <a:off x="4562214" y="391151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4" name="Forme libre : forme 2433">
              <a:extLst>
                <a:ext uri="{FF2B5EF4-FFF2-40B4-BE49-F238E27FC236}">
                  <a16:creationId xmlns:a16="http://schemas.microsoft.com/office/drawing/2014/main" id="{086DBEB9-E578-4638-AD75-34C69245EF71}"/>
                </a:ext>
              </a:extLst>
            </p:cNvPr>
            <p:cNvSpPr/>
            <p:nvPr/>
          </p:nvSpPr>
          <p:spPr>
            <a:xfrm rot="8716295">
              <a:off x="4873369" y="353186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5" name="Forme libre : forme 2434">
              <a:extLst>
                <a:ext uri="{FF2B5EF4-FFF2-40B4-BE49-F238E27FC236}">
                  <a16:creationId xmlns:a16="http://schemas.microsoft.com/office/drawing/2014/main" id="{7B21A58F-E2F0-4215-B832-76E40C5DF8E5}"/>
                </a:ext>
              </a:extLst>
            </p:cNvPr>
            <p:cNvSpPr/>
            <p:nvPr/>
          </p:nvSpPr>
          <p:spPr>
            <a:xfrm rot="8716295">
              <a:off x="4962761" y="356110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6" name="Forme libre : forme 2435">
              <a:extLst>
                <a:ext uri="{FF2B5EF4-FFF2-40B4-BE49-F238E27FC236}">
                  <a16:creationId xmlns:a16="http://schemas.microsoft.com/office/drawing/2014/main" id="{45DD574A-1455-493E-80D8-5C0865892844}"/>
                </a:ext>
              </a:extLst>
            </p:cNvPr>
            <p:cNvSpPr/>
            <p:nvPr/>
          </p:nvSpPr>
          <p:spPr>
            <a:xfrm rot="8716295">
              <a:off x="4761135" y="362041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7" name="Forme libre : forme 2436">
              <a:extLst>
                <a:ext uri="{FF2B5EF4-FFF2-40B4-BE49-F238E27FC236}">
                  <a16:creationId xmlns:a16="http://schemas.microsoft.com/office/drawing/2014/main" id="{9402EDF4-6162-47B1-856E-512271BA1E2D}"/>
                </a:ext>
              </a:extLst>
            </p:cNvPr>
            <p:cNvSpPr/>
            <p:nvPr/>
          </p:nvSpPr>
          <p:spPr>
            <a:xfrm rot="8716295">
              <a:off x="4636233" y="341173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8" name="Forme libre : forme 2437">
              <a:extLst>
                <a:ext uri="{FF2B5EF4-FFF2-40B4-BE49-F238E27FC236}">
                  <a16:creationId xmlns:a16="http://schemas.microsoft.com/office/drawing/2014/main" id="{92FD67F1-1911-46B7-864C-A8340E98AEB9}"/>
                </a:ext>
              </a:extLst>
            </p:cNvPr>
            <p:cNvSpPr/>
            <p:nvPr/>
          </p:nvSpPr>
          <p:spPr>
            <a:xfrm rot="8716295">
              <a:off x="4851313" y="3661363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39" name="Forme libre : forme 2438">
              <a:extLst>
                <a:ext uri="{FF2B5EF4-FFF2-40B4-BE49-F238E27FC236}">
                  <a16:creationId xmlns:a16="http://schemas.microsoft.com/office/drawing/2014/main" id="{C0A8B3AB-0A14-466D-B633-33FF584D9D1A}"/>
                </a:ext>
              </a:extLst>
            </p:cNvPr>
            <p:cNvSpPr/>
            <p:nvPr/>
          </p:nvSpPr>
          <p:spPr>
            <a:xfrm rot="8716295">
              <a:off x="4609862" y="3511763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0" name="Forme libre : forme 2439">
              <a:extLst>
                <a:ext uri="{FF2B5EF4-FFF2-40B4-BE49-F238E27FC236}">
                  <a16:creationId xmlns:a16="http://schemas.microsoft.com/office/drawing/2014/main" id="{8537EA03-2CBB-4A82-BFA6-AA68754EFED7}"/>
                </a:ext>
              </a:extLst>
            </p:cNvPr>
            <p:cNvSpPr/>
            <p:nvPr/>
          </p:nvSpPr>
          <p:spPr>
            <a:xfrm rot="7484129">
              <a:off x="4956244" y="385271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1" name="Forme libre : forme 2440">
              <a:extLst>
                <a:ext uri="{FF2B5EF4-FFF2-40B4-BE49-F238E27FC236}">
                  <a16:creationId xmlns:a16="http://schemas.microsoft.com/office/drawing/2014/main" id="{9FFC3DC7-61CE-4979-B4C8-8711407C365B}"/>
                </a:ext>
              </a:extLst>
            </p:cNvPr>
            <p:cNvSpPr/>
            <p:nvPr/>
          </p:nvSpPr>
          <p:spPr>
            <a:xfrm rot="13089394">
              <a:off x="5061064" y="3819248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2" name="Forme libre : forme 2441">
              <a:extLst>
                <a:ext uri="{FF2B5EF4-FFF2-40B4-BE49-F238E27FC236}">
                  <a16:creationId xmlns:a16="http://schemas.microsoft.com/office/drawing/2014/main" id="{F52A3804-13E8-47E1-A267-8A4C6268610A}"/>
                </a:ext>
              </a:extLst>
            </p:cNvPr>
            <p:cNvSpPr/>
            <p:nvPr/>
          </p:nvSpPr>
          <p:spPr>
            <a:xfrm rot="8716295">
              <a:off x="5246649" y="3627567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3" name="Forme libre : forme 2442">
              <a:extLst>
                <a:ext uri="{FF2B5EF4-FFF2-40B4-BE49-F238E27FC236}">
                  <a16:creationId xmlns:a16="http://schemas.microsoft.com/office/drawing/2014/main" id="{DDD8FF0F-2CB2-46E4-B8C1-EC42199A0229}"/>
                </a:ext>
              </a:extLst>
            </p:cNvPr>
            <p:cNvSpPr/>
            <p:nvPr/>
          </p:nvSpPr>
          <p:spPr>
            <a:xfrm rot="8716295">
              <a:off x="5194844" y="352397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4" name="Forme libre : forme 2443">
              <a:extLst>
                <a:ext uri="{FF2B5EF4-FFF2-40B4-BE49-F238E27FC236}">
                  <a16:creationId xmlns:a16="http://schemas.microsoft.com/office/drawing/2014/main" id="{D8E94A73-AA06-4842-9947-539561E205B2}"/>
                </a:ext>
              </a:extLst>
            </p:cNvPr>
            <p:cNvSpPr/>
            <p:nvPr/>
          </p:nvSpPr>
          <p:spPr>
            <a:xfrm rot="8716295">
              <a:off x="4951598" y="355419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5" name="Forme libre : forme 2444">
              <a:extLst>
                <a:ext uri="{FF2B5EF4-FFF2-40B4-BE49-F238E27FC236}">
                  <a16:creationId xmlns:a16="http://schemas.microsoft.com/office/drawing/2014/main" id="{EDBB5EF8-DA90-40F3-98D1-1E640FBD7E9A}"/>
                </a:ext>
              </a:extLst>
            </p:cNvPr>
            <p:cNvSpPr/>
            <p:nvPr/>
          </p:nvSpPr>
          <p:spPr>
            <a:xfrm rot="8716295">
              <a:off x="5129050" y="339495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6" name="Forme libre : forme 2445">
              <a:extLst>
                <a:ext uri="{FF2B5EF4-FFF2-40B4-BE49-F238E27FC236}">
                  <a16:creationId xmlns:a16="http://schemas.microsoft.com/office/drawing/2014/main" id="{D8A526B0-68DE-481E-985D-671F87C10402}"/>
                </a:ext>
              </a:extLst>
            </p:cNvPr>
            <p:cNvSpPr/>
            <p:nvPr/>
          </p:nvSpPr>
          <p:spPr>
            <a:xfrm rot="8716295">
              <a:off x="4807437" y="44417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7" name="Forme libre : forme 2446">
              <a:extLst>
                <a:ext uri="{FF2B5EF4-FFF2-40B4-BE49-F238E27FC236}">
                  <a16:creationId xmlns:a16="http://schemas.microsoft.com/office/drawing/2014/main" id="{DB9E94CC-D6D4-4918-9EB1-055582451735}"/>
                </a:ext>
              </a:extLst>
            </p:cNvPr>
            <p:cNvSpPr/>
            <p:nvPr/>
          </p:nvSpPr>
          <p:spPr>
            <a:xfrm rot="8716295">
              <a:off x="4896829" y="44709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8" name="Forme libre : forme 2447">
              <a:extLst>
                <a:ext uri="{FF2B5EF4-FFF2-40B4-BE49-F238E27FC236}">
                  <a16:creationId xmlns:a16="http://schemas.microsoft.com/office/drawing/2014/main" id="{EC9EC492-D2DC-4705-B9B5-2FDDE3722E25}"/>
                </a:ext>
              </a:extLst>
            </p:cNvPr>
            <p:cNvSpPr/>
            <p:nvPr/>
          </p:nvSpPr>
          <p:spPr>
            <a:xfrm rot="8716295">
              <a:off x="4851979" y="438468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49" name="Forme libre : forme 2448">
              <a:extLst>
                <a:ext uri="{FF2B5EF4-FFF2-40B4-BE49-F238E27FC236}">
                  <a16:creationId xmlns:a16="http://schemas.microsoft.com/office/drawing/2014/main" id="{D5A473EB-0A13-41A3-B50C-E84513EDE777}"/>
                </a:ext>
              </a:extLst>
            </p:cNvPr>
            <p:cNvSpPr/>
            <p:nvPr/>
          </p:nvSpPr>
          <p:spPr>
            <a:xfrm rot="8716295">
              <a:off x="4695203" y="453026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0" name="Forme libre : forme 2449">
              <a:extLst>
                <a:ext uri="{FF2B5EF4-FFF2-40B4-BE49-F238E27FC236}">
                  <a16:creationId xmlns:a16="http://schemas.microsoft.com/office/drawing/2014/main" id="{28534207-0B01-4D67-8256-639FD0A19A07}"/>
                </a:ext>
              </a:extLst>
            </p:cNvPr>
            <p:cNvSpPr/>
            <p:nvPr/>
          </p:nvSpPr>
          <p:spPr>
            <a:xfrm rot="8716295">
              <a:off x="4570300" y="432158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1" name="Forme libre : forme 2450">
              <a:extLst>
                <a:ext uri="{FF2B5EF4-FFF2-40B4-BE49-F238E27FC236}">
                  <a16:creationId xmlns:a16="http://schemas.microsoft.com/office/drawing/2014/main" id="{42E0A2DC-6B50-4104-9147-7FDF1ECA641A}"/>
                </a:ext>
              </a:extLst>
            </p:cNvPr>
            <p:cNvSpPr/>
            <p:nvPr/>
          </p:nvSpPr>
          <p:spPr>
            <a:xfrm rot="8716295">
              <a:off x="4558248" y="4182809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2" name="Forme libre : forme 2451">
              <a:extLst>
                <a:ext uri="{FF2B5EF4-FFF2-40B4-BE49-F238E27FC236}">
                  <a16:creationId xmlns:a16="http://schemas.microsoft.com/office/drawing/2014/main" id="{C48C5EB2-44EB-4793-A40E-83D610E25EAF}"/>
                </a:ext>
              </a:extLst>
            </p:cNvPr>
            <p:cNvSpPr/>
            <p:nvPr/>
          </p:nvSpPr>
          <p:spPr>
            <a:xfrm rot="8716295">
              <a:off x="4785381" y="457121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3" name="Forme libre : forme 2452">
              <a:extLst>
                <a:ext uri="{FF2B5EF4-FFF2-40B4-BE49-F238E27FC236}">
                  <a16:creationId xmlns:a16="http://schemas.microsoft.com/office/drawing/2014/main" id="{53427E3B-CAF6-4BE5-89BB-EA97CC7D5720}"/>
                </a:ext>
              </a:extLst>
            </p:cNvPr>
            <p:cNvSpPr/>
            <p:nvPr/>
          </p:nvSpPr>
          <p:spPr>
            <a:xfrm rot="8716295">
              <a:off x="5096536" y="419156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4" name="Forme libre : forme 2453">
              <a:extLst>
                <a:ext uri="{FF2B5EF4-FFF2-40B4-BE49-F238E27FC236}">
                  <a16:creationId xmlns:a16="http://schemas.microsoft.com/office/drawing/2014/main" id="{8AEC789D-3D32-45E4-BAE9-3572BFC115CC}"/>
                </a:ext>
              </a:extLst>
            </p:cNvPr>
            <p:cNvSpPr/>
            <p:nvPr/>
          </p:nvSpPr>
          <p:spPr>
            <a:xfrm rot="8716295">
              <a:off x="5185928" y="422080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5" name="Forme libre : forme 2454">
              <a:extLst>
                <a:ext uri="{FF2B5EF4-FFF2-40B4-BE49-F238E27FC236}">
                  <a16:creationId xmlns:a16="http://schemas.microsoft.com/office/drawing/2014/main" id="{592ACBFB-A830-4F99-823F-B3C94B334AC4}"/>
                </a:ext>
              </a:extLst>
            </p:cNvPr>
            <p:cNvSpPr/>
            <p:nvPr/>
          </p:nvSpPr>
          <p:spPr>
            <a:xfrm rot="8716295">
              <a:off x="4984302" y="428011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6" name="Forme libre : forme 2455">
              <a:extLst>
                <a:ext uri="{FF2B5EF4-FFF2-40B4-BE49-F238E27FC236}">
                  <a16:creationId xmlns:a16="http://schemas.microsoft.com/office/drawing/2014/main" id="{3CD4BB51-622B-49CC-951B-C526F16097D1}"/>
                </a:ext>
              </a:extLst>
            </p:cNvPr>
            <p:cNvSpPr/>
            <p:nvPr/>
          </p:nvSpPr>
          <p:spPr>
            <a:xfrm rot="8716295">
              <a:off x="4859400" y="407143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7" name="Forme libre : forme 2456">
              <a:extLst>
                <a:ext uri="{FF2B5EF4-FFF2-40B4-BE49-F238E27FC236}">
                  <a16:creationId xmlns:a16="http://schemas.microsoft.com/office/drawing/2014/main" id="{4696620C-FBDE-4684-997F-DB4BCE7B2C8D}"/>
                </a:ext>
              </a:extLst>
            </p:cNvPr>
            <p:cNvSpPr/>
            <p:nvPr/>
          </p:nvSpPr>
          <p:spPr>
            <a:xfrm rot="8716295">
              <a:off x="5074480" y="432106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8" name="Forme libre : forme 2457">
              <a:extLst>
                <a:ext uri="{FF2B5EF4-FFF2-40B4-BE49-F238E27FC236}">
                  <a16:creationId xmlns:a16="http://schemas.microsoft.com/office/drawing/2014/main" id="{4E0A6A49-7396-4F13-A488-756A374C6DCD}"/>
                </a:ext>
              </a:extLst>
            </p:cNvPr>
            <p:cNvSpPr/>
            <p:nvPr/>
          </p:nvSpPr>
          <p:spPr>
            <a:xfrm rot="8716295">
              <a:off x="4833029" y="417146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59" name="Forme libre : forme 2458">
              <a:extLst>
                <a:ext uri="{FF2B5EF4-FFF2-40B4-BE49-F238E27FC236}">
                  <a16:creationId xmlns:a16="http://schemas.microsoft.com/office/drawing/2014/main" id="{931FED33-2848-493C-ADD2-B2912BEC30BE}"/>
                </a:ext>
              </a:extLst>
            </p:cNvPr>
            <p:cNvSpPr/>
            <p:nvPr/>
          </p:nvSpPr>
          <p:spPr>
            <a:xfrm rot="7484129">
              <a:off x="5179411" y="451241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0" name="Forme libre : forme 2459">
              <a:extLst>
                <a:ext uri="{FF2B5EF4-FFF2-40B4-BE49-F238E27FC236}">
                  <a16:creationId xmlns:a16="http://schemas.microsoft.com/office/drawing/2014/main" id="{D65E5AE8-9C98-4BB9-AF28-AFE5AF6633F3}"/>
                </a:ext>
              </a:extLst>
            </p:cNvPr>
            <p:cNvSpPr/>
            <p:nvPr/>
          </p:nvSpPr>
          <p:spPr>
            <a:xfrm rot="13089394">
              <a:off x="5284231" y="4478947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1" name="Forme libre : forme 2460">
              <a:extLst>
                <a:ext uri="{FF2B5EF4-FFF2-40B4-BE49-F238E27FC236}">
                  <a16:creationId xmlns:a16="http://schemas.microsoft.com/office/drawing/2014/main" id="{08897DFC-AD6E-449C-BB97-57B3220AEAF6}"/>
                </a:ext>
              </a:extLst>
            </p:cNvPr>
            <p:cNvSpPr/>
            <p:nvPr/>
          </p:nvSpPr>
          <p:spPr>
            <a:xfrm rot="8716295">
              <a:off x="5469816" y="4287266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2" name="Forme libre : forme 2461">
              <a:extLst>
                <a:ext uri="{FF2B5EF4-FFF2-40B4-BE49-F238E27FC236}">
                  <a16:creationId xmlns:a16="http://schemas.microsoft.com/office/drawing/2014/main" id="{0F22532E-1CE8-4736-88F7-603BA9637076}"/>
                </a:ext>
              </a:extLst>
            </p:cNvPr>
            <p:cNvSpPr/>
            <p:nvPr/>
          </p:nvSpPr>
          <p:spPr>
            <a:xfrm rot="8716295">
              <a:off x="5418011" y="418367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3" name="Forme libre : forme 2462">
              <a:extLst>
                <a:ext uri="{FF2B5EF4-FFF2-40B4-BE49-F238E27FC236}">
                  <a16:creationId xmlns:a16="http://schemas.microsoft.com/office/drawing/2014/main" id="{27FD49AF-531F-4E93-BDF6-7246B96C58D6}"/>
                </a:ext>
              </a:extLst>
            </p:cNvPr>
            <p:cNvSpPr/>
            <p:nvPr/>
          </p:nvSpPr>
          <p:spPr>
            <a:xfrm rot="8716295">
              <a:off x="5174765" y="421389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4" name="Forme libre : forme 2463">
              <a:extLst>
                <a:ext uri="{FF2B5EF4-FFF2-40B4-BE49-F238E27FC236}">
                  <a16:creationId xmlns:a16="http://schemas.microsoft.com/office/drawing/2014/main" id="{90925CD6-FB2D-4337-85BE-A4EB1C9E502F}"/>
                </a:ext>
              </a:extLst>
            </p:cNvPr>
            <p:cNvSpPr/>
            <p:nvPr/>
          </p:nvSpPr>
          <p:spPr>
            <a:xfrm rot="8716295">
              <a:off x="5352217" y="405465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5" name="Forme libre : forme 2464">
              <a:extLst>
                <a:ext uri="{FF2B5EF4-FFF2-40B4-BE49-F238E27FC236}">
                  <a16:creationId xmlns:a16="http://schemas.microsoft.com/office/drawing/2014/main" id="{32FBC2AF-39C6-436F-9E0E-B007DA33E003}"/>
                </a:ext>
              </a:extLst>
            </p:cNvPr>
            <p:cNvSpPr/>
            <p:nvPr/>
          </p:nvSpPr>
          <p:spPr>
            <a:xfrm rot="8716295">
              <a:off x="3920915" y="180295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6" name="Forme libre : forme 2465">
              <a:extLst>
                <a:ext uri="{FF2B5EF4-FFF2-40B4-BE49-F238E27FC236}">
                  <a16:creationId xmlns:a16="http://schemas.microsoft.com/office/drawing/2014/main" id="{643B8C13-9586-4A61-A35D-D9C0BCC8F291}"/>
                </a:ext>
              </a:extLst>
            </p:cNvPr>
            <p:cNvSpPr/>
            <p:nvPr/>
          </p:nvSpPr>
          <p:spPr>
            <a:xfrm rot="8716295">
              <a:off x="4010307" y="183219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7" name="Forme libre : forme 2466">
              <a:extLst>
                <a:ext uri="{FF2B5EF4-FFF2-40B4-BE49-F238E27FC236}">
                  <a16:creationId xmlns:a16="http://schemas.microsoft.com/office/drawing/2014/main" id="{D8623CC6-4FFF-4F4B-A41A-5741A26CA67C}"/>
                </a:ext>
              </a:extLst>
            </p:cNvPr>
            <p:cNvSpPr/>
            <p:nvPr/>
          </p:nvSpPr>
          <p:spPr>
            <a:xfrm rot="8716295">
              <a:off x="3965457" y="174591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8" name="Forme libre : forme 2467">
              <a:extLst>
                <a:ext uri="{FF2B5EF4-FFF2-40B4-BE49-F238E27FC236}">
                  <a16:creationId xmlns:a16="http://schemas.microsoft.com/office/drawing/2014/main" id="{A20E20F7-9952-4E3F-B0AB-212B773351F9}"/>
                </a:ext>
              </a:extLst>
            </p:cNvPr>
            <p:cNvSpPr/>
            <p:nvPr/>
          </p:nvSpPr>
          <p:spPr>
            <a:xfrm rot="8716295">
              <a:off x="3808681" y="189149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69" name="Forme libre : forme 2468">
              <a:extLst>
                <a:ext uri="{FF2B5EF4-FFF2-40B4-BE49-F238E27FC236}">
                  <a16:creationId xmlns:a16="http://schemas.microsoft.com/office/drawing/2014/main" id="{2AFD6358-3EC5-4230-924D-E1FEA2966D71}"/>
                </a:ext>
              </a:extLst>
            </p:cNvPr>
            <p:cNvSpPr/>
            <p:nvPr/>
          </p:nvSpPr>
          <p:spPr>
            <a:xfrm rot="8716295">
              <a:off x="3683778" y="168282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0" name="Forme libre : forme 2469">
              <a:extLst>
                <a:ext uri="{FF2B5EF4-FFF2-40B4-BE49-F238E27FC236}">
                  <a16:creationId xmlns:a16="http://schemas.microsoft.com/office/drawing/2014/main" id="{84C26A7D-16EF-401A-811B-AFBADF98607B}"/>
                </a:ext>
              </a:extLst>
            </p:cNvPr>
            <p:cNvSpPr/>
            <p:nvPr/>
          </p:nvSpPr>
          <p:spPr>
            <a:xfrm rot="8716295">
              <a:off x="3671726" y="1544041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1" name="Forme libre : forme 2470">
              <a:extLst>
                <a:ext uri="{FF2B5EF4-FFF2-40B4-BE49-F238E27FC236}">
                  <a16:creationId xmlns:a16="http://schemas.microsoft.com/office/drawing/2014/main" id="{E31DF341-C027-4798-8A24-45DA22FA4656}"/>
                </a:ext>
              </a:extLst>
            </p:cNvPr>
            <p:cNvSpPr/>
            <p:nvPr/>
          </p:nvSpPr>
          <p:spPr>
            <a:xfrm rot="8716295">
              <a:off x="3898859" y="193244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2" name="Forme libre : forme 2471">
              <a:extLst>
                <a:ext uri="{FF2B5EF4-FFF2-40B4-BE49-F238E27FC236}">
                  <a16:creationId xmlns:a16="http://schemas.microsoft.com/office/drawing/2014/main" id="{C07CF4E5-734D-4A47-8B2E-E99783FFFE58}"/>
                </a:ext>
              </a:extLst>
            </p:cNvPr>
            <p:cNvSpPr/>
            <p:nvPr/>
          </p:nvSpPr>
          <p:spPr>
            <a:xfrm rot="8716295">
              <a:off x="4210014" y="155279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3" name="Forme libre : forme 2472">
              <a:extLst>
                <a:ext uri="{FF2B5EF4-FFF2-40B4-BE49-F238E27FC236}">
                  <a16:creationId xmlns:a16="http://schemas.microsoft.com/office/drawing/2014/main" id="{E9E79472-5318-462A-9222-305605A9A4D4}"/>
                </a:ext>
              </a:extLst>
            </p:cNvPr>
            <p:cNvSpPr/>
            <p:nvPr/>
          </p:nvSpPr>
          <p:spPr>
            <a:xfrm rot="8716295">
              <a:off x="4299406" y="158204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4" name="Forme libre : forme 2473">
              <a:extLst>
                <a:ext uri="{FF2B5EF4-FFF2-40B4-BE49-F238E27FC236}">
                  <a16:creationId xmlns:a16="http://schemas.microsoft.com/office/drawing/2014/main" id="{5AFC5930-3BA6-40B9-BEDC-9757294DA873}"/>
                </a:ext>
              </a:extLst>
            </p:cNvPr>
            <p:cNvSpPr/>
            <p:nvPr/>
          </p:nvSpPr>
          <p:spPr>
            <a:xfrm rot="8716295">
              <a:off x="4097780" y="164134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5" name="Forme libre : forme 2474">
              <a:extLst>
                <a:ext uri="{FF2B5EF4-FFF2-40B4-BE49-F238E27FC236}">
                  <a16:creationId xmlns:a16="http://schemas.microsoft.com/office/drawing/2014/main" id="{7CE20D75-657E-4BF6-A3D6-C548A8B5AD4E}"/>
                </a:ext>
              </a:extLst>
            </p:cNvPr>
            <p:cNvSpPr/>
            <p:nvPr/>
          </p:nvSpPr>
          <p:spPr>
            <a:xfrm rot="8716295">
              <a:off x="3972878" y="143266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6" name="Forme libre : forme 2475">
              <a:extLst>
                <a:ext uri="{FF2B5EF4-FFF2-40B4-BE49-F238E27FC236}">
                  <a16:creationId xmlns:a16="http://schemas.microsoft.com/office/drawing/2014/main" id="{22F97EED-1D2F-4FE7-903C-845B9C0787F0}"/>
                </a:ext>
              </a:extLst>
            </p:cNvPr>
            <p:cNvSpPr/>
            <p:nvPr/>
          </p:nvSpPr>
          <p:spPr>
            <a:xfrm rot="8716295">
              <a:off x="4187958" y="168229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7" name="Forme libre : forme 2476">
              <a:extLst>
                <a:ext uri="{FF2B5EF4-FFF2-40B4-BE49-F238E27FC236}">
                  <a16:creationId xmlns:a16="http://schemas.microsoft.com/office/drawing/2014/main" id="{E84B3060-A813-44DB-B1F9-DF9C67A5CF00}"/>
                </a:ext>
              </a:extLst>
            </p:cNvPr>
            <p:cNvSpPr/>
            <p:nvPr/>
          </p:nvSpPr>
          <p:spPr>
            <a:xfrm rot="8716295">
              <a:off x="3946507" y="153269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8" name="Forme libre : forme 2477">
              <a:extLst>
                <a:ext uri="{FF2B5EF4-FFF2-40B4-BE49-F238E27FC236}">
                  <a16:creationId xmlns:a16="http://schemas.microsoft.com/office/drawing/2014/main" id="{C3852D69-4D29-4A5D-9D92-98A241B0E6D7}"/>
                </a:ext>
              </a:extLst>
            </p:cNvPr>
            <p:cNvSpPr/>
            <p:nvPr/>
          </p:nvSpPr>
          <p:spPr>
            <a:xfrm rot="7484129">
              <a:off x="4292889" y="187364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79" name="Forme libre : forme 2478">
              <a:extLst>
                <a:ext uri="{FF2B5EF4-FFF2-40B4-BE49-F238E27FC236}">
                  <a16:creationId xmlns:a16="http://schemas.microsoft.com/office/drawing/2014/main" id="{3CC45FA5-0E1F-4C45-97A6-41B7652569D0}"/>
                </a:ext>
              </a:extLst>
            </p:cNvPr>
            <p:cNvSpPr/>
            <p:nvPr/>
          </p:nvSpPr>
          <p:spPr>
            <a:xfrm rot="13089394">
              <a:off x="4397709" y="1840179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0" name="Forme libre : forme 2479">
              <a:extLst>
                <a:ext uri="{FF2B5EF4-FFF2-40B4-BE49-F238E27FC236}">
                  <a16:creationId xmlns:a16="http://schemas.microsoft.com/office/drawing/2014/main" id="{BBCDC532-309F-4C5E-BFF5-D7919C8CB1C0}"/>
                </a:ext>
              </a:extLst>
            </p:cNvPr>
            <p:cNvSpPr/>
            <p:nvPr/>
          </p:nvSpPr>
          <p:spPr>
            <a:xfrm rot="8716295">
              <a:off x="4583294" y="164849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1" name="Forme libre : forme 2480">
              <a:extLst>
                <a:ext uri="{FF2B5EF4-FFF2-40B4-BE49-F238E27FC236}">
                  <a16:creationId xmlns:a16="http://schemas.microsoft.com/office/drawing/2014/main" id="{18BE7348-0DDE-4529-8EFC-B0259B20E686}"/>
                </a:ext>
              </a:extLst>
            </p:cNvPr>
            <p:cNvSpPr/>
            <p:nvPr/>
          </p:nvSpPr>
          <p:spPr>
            <a:xfrm rot="8716295">
              <a:off x="4531489" y="154490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2" name="Forme libre : forme 2481">
              <a:extLst>
                <a:ext uri="{FF2B5EF4-FFF2-40B4-BE49-F238E27FC236}">
                  <a16:creationId xmlns:a16="http://schemas.microsoft.com/office/drawing/2014/main" id="{AC55D592-C696-401F-86AE-1F112E213A16}"/>
                </a:ext>
              </a:extLst>
            </p:cNvPr>
            <p:cNvSpPr/>
            <p:nvPr/>
          </p:nvSpPr>
          <p:spPr>
            <a:xfrm rot="8716295">
              <a:off x="4288243" y="157512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3" name="Forme libre : forme 2482">
              <a:extLst>
                <a:ext uri="{FF2B5EF4-FFF2-40B4-BE49-F238E27FC236}">
                  <a16:creationId xmlns:a16="http://schemas.microsoft.com/office/drawing/2014/main" id="{DED9BFFF-B254-42A0-B39E-0F305AD53521}"/>
                </a:ext>
              </a:extLst>
            </p:cNvPr>
            <p:cNvSpPr/>
            <p:nvPr/>
          </p:nvSpPr>
          <p:spPr>
            <a:xfrm rot="8716295">
              <a:off x="4465695" y="141588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4" name="Forme libre : forme 2483">
              <a:extLst>
                <a:ext uri="{FF2B5EF4-FFF2-40B4-BE49-F238E27FC236}">
                  <a16:creationId xmlns:a16="http://schemas.microsoft.com/office/drawing/2014/main" id="{A05B2376-5DD9-4691-A3A2-2B9A6CE6A543}"/>
                </a:ext>
              </a:extLst>
            </p:cNvPr>
            <p:cNvSpPr/>
            <p:nvPr/>
          </p:nvSpPr>
          <p:spPr>
            <a:xfrm rot="8716295">
              <a:off x="3697748" y="114325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5" name="Forme libre : forme 2484">
              <a:extLst>
                <a:ext uri="{FF2B5EF4-FFF2-40B4-BE49-F238E27FC236}">
                  <a16:creationId xmlns:a16="http://schemas.microsoft.com/office/drawing/2014/main" id="{D68DE097-F6FC-4E58-8F02-96B920A7DAAD}"/>
                </a:ext>
              </a:extLst>
            </p:cNvPr>
            <p:cNvSpPr/>
            <p:nvPr/>
          </p:nvSpPr>
          <p:spPr>
            <a:xfrm rot="8716295">
              <a:off x="3787140" y="117249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6" name="Forme libre : forme 2485">
              <a:extLst>
                <a:ext uri="{FF2B5EF4-FFF2-40B4-BE49-F238E27FC236}">
                  <a16:creationId xmlns:a16="http://schemas.microsoft.com/office/drawing/2014/main" id="{3326496F-3251-4001-8C18-B51CE14773DE}"/>
                </a:ext>
              </a:extLst>
            </p:cNvPr>
            <p:cNvSpPr/>
            <p:nvPr/>
          </p:nvSpPr>
          <p:spPr>
            <a:xfrm rot="8716295">
              <a:off x="3742290" y="108621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7" name="Forme libre : forme 2486">
              <a:extLst>
                <a:ext uri="{FF2B5EF4-FFF2-40B4-BE49-F238E27FC236}">
                  <a16:creationId xmlns:a16="http://schemas.microsoft.com/office/drawing/2014/main" id="{7F487E66-40A4-4F91-A574-0C01F31C9534}"/>
                </a:ext>
              </a:extLst>
            </p:cNvPr>
            <p:cNvSpPr/>
            <p:nvPr/>
          </p:nvSpPr>
          <p:spPr>
            <a:xfrm rot="8716295">
              <a:off x="3585514" y="123179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8" name="Forme libre : forme 2487">
              <a:extLst>
                <a:ext uri="{FF2B5EF4-FFF2-40B4-BE49-F238E27FC236}">
                  <a16:creationId xmlns:a16="http://schemas.microsoft.com/office/drawing/2014/main" id="{BF410579-E92D-43D8-957B-88DC03F8AFDC}"/>
                </a:ext>
              </a:extLst>
            </p:cNvPr>
            <p:cNvSpPr/>
            <p:nvPr/>
          </p:nvSpPr>
          <p:spPr>
            <a:xfrm rot="8716295">
              <a:off x="3460611" y="102312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89" name="Forme libre : forme 2488">
              <a:extLst>
                <a:ext uri="{FF2B5EF4-FFF2-40B4-BE49-F238E27FC236}">
                  <a16:creationId xmlns:a16="http://schemas.microsoft.com/office/drawing/2014/main" id="{DE1E32FD-5331-4C1C-9F88-9CC7D2B58F5E}"/>
                </a:ext>
              </a:extLst>
            </p:cNvPr>
            <p:cNvSpPr/>
            <p:nvPr/>
          </p:nvSpPr>
          <p:spPr>
            <a:xfrm rot="8716295">
              <a:off x="3448559" y="88434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0" name="Forme libre : forme 2489">
              <a:extLst>
                <a:ext uri="{FF2B5EF4-FFF2-40B4-BE49-F238E27FC236}">
                  <a16:creationId xmlns:a16="http://schemas.microsoft.com/office/drawing/2014/main" id="{DD459ADD-F84C-47F8-B574-F04ECFFEE719}"/>
                </a:ext>
              </a:extLst>
            </p:cNvPr>
            <p:cNvSpPr/>
            <p:nvPr/>
          </p:nvSpPr>
          <p:spPr>
            <a:xfrm rot="8716295">
              <a:off x="3675692" y="127274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1" name="Forme libre : forme 2490">
              <a:extLst>
                <a:ext uri="{FF2B5EF4-FFF2-40B4-BE49-F238E27FC236}">
                  <a16:creationId xmlns:a16="http://schemas.microsoft.com/office/drawing/2014/main" id="{BA820114-5CD1-4426-8381-FF5B658B7D54}"/>
                </a:ext>
              </a:extLst>
            </p:cNvPr>
            <p:cNvSpPr/>
            <p:nvPr/>
          </p:nvSpPr>
          <p:spPr>
            <a:xfrm rot="8716295">
              <a:off x="3986847" y="89309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2" name="Forme libre : forme 2491">
              <a:extLst>
                <a:ext uri="{FF2B5EF4-FFF2-40B4-BE49-F238E27FC236}">
                  <a16:creationId xmlns:a16="http://schemas.microsoft.com/office/drawing/2014/main" id="{B4B19ED1-A1E0-4F10-910E-E0EB470FCCF2}"/>
                </a:ext>
              </a:extLst>
            </p:cNvPr>
            <p:cNvSpPr/>
            <p:nvPr/>
          </p:nvSpPr>
          <p:spPr>
            <a:xfrm rot="8716295">
              <a:off x="4076239" y="92234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3" name="Forme libre : forme 2492">
              <a:extLst>
                <a:ext uri="{FF2B5EF4-FFF2-40B4-BE49-F238E27FC236}">
                  <a16:creationId xmlns:a16="http://schemas.microsoft.com/office/drawing/2014/main" id="{41CB6FB8-70A5-402D-A8D9-CA772A72066C}"/>
                </a:ext>
              </a:extLst>
            </p:cNvPr>
            <p:cNvSpPr/>
            <p:nvPr/>
          </p:nvSpPr>
          <p:spPr>
            <a:xfrm rot="8716295">
              <a:off x="3874613" y="98164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4" name="Forme libre : forme 2493">
              <a:extLst>
                <a:ext uri="{FF2B5EF4-FFF2-40B4-BE49-F238E27FC236}">
                  <a16:creationId xmlns:a16="http://schemas.microsoft.com/office/drawing/2014/main" id="{0743CC93-1EF5-43EA-846D-CC40A84D5D0A}"/>
                </a:ext>
              </a:extLst>
            </p:cNvPr>
            <p:cNvSpPr/>
            <p:nvPr/>
          </p:nvSpPr>
          <p:spPr>
            <a:xfrm rot="8716295">
              <a:off x="3749711" y="77297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5" name="Forme libre : forme 2494">
              <a:extLst>
                <a:ext uri="{FF2B5EF4-FFF2-40B4-BE49-F238E27FC236}">
                  <a16:creationId xmlns:a16="http://schemas.microsoft.com/office/drawing/2014/main" id="{453E78DE-215E-4FDE-854E-98B3522D8476}"/>
                </a:ext>
              </a:extLst>
            </p:cNvPr>
            <p:cNvSpPr/>
            <p:nvPr/>
          </p:nvSpPr>
          <p:spPr>
            <a:xfrm rot="8716295">
              <a:off x="3964791" y="102259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6" name="Forme libre : forme 2495">
              <a:extLst>
                <a:ext uri="{FF2B5EF4-FFF2-40B4-BE49-F238E27FC236}">
                  <a16:creationId xmlns:a16="http://schemas.microsoft.com/office/drawing/2014/main" id="{903C8E49-403C-45B6-B0A2-C71A3BCFB23E}"/>
                </a:ext>
              </a:extLst>
            </p:cNvPr>
            <p:cNvSpPr/>
            <p:nvPr/>
          </p:nvSpPr>
          <p:spPr>
            <a:xfrm rot="8716295">
              <a:off x="3723340" y="87299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7" name="Forme libre : forme 2496">
              <a:extLst>
                <a:ext uri="{FF2B5EF4-FFF2-40B4-BE49-F238E27FC236}">
                  <a16:creationId xmlns:a16="http://schemas.microsoft.com/office/drawing/2014/main" id="{DA428150-38DA-423B-B597-BE4C3B36B8ED}"/>
                </a:ext>
              </a:extLst>
            </p:cNvPr>
            <p:cNvSpPr/>
            <p:nvPr/>
          </p:nvSpPr>
          <p:spPr>
            <a:xfrm rot="7484129">
              <a:off x="4069722" y="121394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8" name="Forme libre : forme 2497">
              <a:extLst>
                <a:ext uri="{FF2B5EF4-FFF2-40B4-BE49-F238E27FC236}">
                  <a16:creationId xmlns:a16="http://schemas.microsoft.com/office/drawing/2014/main" id="{43E73B67-7353-4638-8D7E-85BE3E803185}"/>
                </a:ext>
              </a:extLst>
            </p:cNvPr>
            <p:cNvSpPr/>
            <p:nvPr/>
          </p:nvSpPr>
          <p:spPr>
            <a:xfrm rot="13089394">
              <a:off x="4174542" y="118048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99" name="Forme libre : forme 2498">
              <a:extLst>
                <a:ext uri="{FF2B5EF4-FFF2-40B4-BE49-F238E27FC236}">
                  <a16:creationId xmlns:a16="http://schemas.microsoft.com/office/drawing/2014/main" id="{4606F1ED-4668-4010-ABAF-1D2A4E2BCE67}"/>
                </a:ext>
              </a:extLst>
            </p:cNvPr>
            <p:cNvSpPr/>
            <p:nvPr/>
          </p:nvSpPr>
          <p:spPr>
            <a:xfrm rot="8716295">
              <a:off x="4360127" y="98879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0" name="Forme libre : forme 2499">
              <a:extLst>
                <a:ext uri="{FF2B5EF4-FFF2-40B4-BE49-F238E27FC236}">
                  <a16:creationId xmlns:a16="http://schemas.microsoft.com/office/drawing/2014/main" id="{8053BC89-A237-4743-AE1F-94011A88DB5F}"/>
                </a:ext>
              </a:extLst>
            </p:cNvPr>
            <p:cNvSpPr/>
            <p:nvPr/>
          </p:nvSpPr>
          <p:spPr>
            <a:xfrm rot="8716295">
              <a:off x="4308322" y="88520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1" name="Forme libre : forme 2500">
              <a:extLst>
                <a:ext uri="{FF2B5EF4-FFF2-40B4-BE49-F238E27FC236}">
                  <a16:creationId xmlns:a16="http://schemas.microsoft.com/office/drawing/2014/main" id="{1BE91312-A210-4744-AFAA-57545498B120}"/>
                </a:ext>
              </a:extLst>
            </p:cNvPr>
            <p:cNvSpPr/>
            <p:nvPr/>
          </p:nvSpPr>
          <p:spPr>
            <a:xfrm rot="8716295">
              <a:off x="4065076" y="91542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2" name="Forme libre : forme 2501">
              <a:extLst>
                <a:ext uri="{FF2B5EF4-FFF2-40B4-BE49-F238E27FC236}">
                  <a16:creationId xmlns:a16="http://schemas.microsoft.com/office/drawing/2014/main" id="{461CD8D7-9872-4A47-8F16-75614AF09DF8}"/>
                </a:ext>
              </a:extLst>
            </p:cNvPr>
            <p:cNvSpPr/>
            <p:nvPr/>
          </p:nvSpPr>
          <p:spPr>
            <a:xfrm rot="8716295">
              <a:off x="4242528" y="75618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3" name="Forme libre : forme 2502">
              <a:extLst>
                <a:ext uri="{FF2B5EF4-FFF2-40B4-BE49-F238E27FC236}">
                  <a16:creationId xmlns:a16="http://schemas.microsoft.com/office/drawing/2014/main" id="{C555A7E1-A287-4B80-9292-3BF85FFF88D7}"/>
                </a:ext>
              </a:extLst>
            </p:cNvPr>
            <p:cNvSpPr/>
            <p:nvPr/>
          </p:nvSpPr>
          <p:spPr>
            <a:xfrm rot="8716295">
              <a:off x="3478809" y="48119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4" name="Forme libre : forme 2503">
              <a:extLst>
                <a:ext uri="{FF2B5EF4-FFF2-40B4-BE49-F238E27FC236}">
                  <a16:creationId xmlns:a16="http://schemas.microsoft.com/office/drawing/2014/main" id="{0940EDF8-F1CB-4BEF-B48A-396B5431ABAD}"/>
                </a:ext>
              </a:extLst>
            </p:cNvPr>
            <p:cNvSpPr/>
            <p:nvPr/>
          </p:nvSpPr>
          <p:spPr>
            <a:xfrm rot="8716295">
              <a:off x="3568201" y="51043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5" name="Forme libre : forme 2504">
              <a:extLst>
                <a:ext uri="{FF2B5EF4-FFF2-40B4-BE49-F238E27FC236}">
                  <a16:creationId xmlns:a16="http://schemas.microsoft.com/office/drawing/2014/main" id="{22A88BBD-C725-49B9-BC83-492EC3CB89E6}"/>
                </a:ext>
              </a:extLst>
            </p:cNvPr>
            <p:cNvSpPr/>
            <p:nvPr/>
          </p:nvSpPr>
          <p:spPr>
            <a:xfrm rot="8716295">
              <a:off x="3523351" y="42415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6" name="Forme libre : forme 2505">
              <a:extLst>
                <a:ext uri="{FF2B5EF4-FFF2-40B4-BE49-F238E27FC236}">
                  <a16:creationId xmlns:a16="http://schemas.microsoft.com/office/drawing/2014/main" id="{4DA445B3-8E0C-4D22-8025-4E5653F0655E}"/>
                </a:ext>
              </a:extLst>
            </p:cNvPr>
            <p:cNvSpPr/>
            <p:nvPr/>
          </p:nvSpPr>
          <p:spPr>
            <a:xfrm rot="8716295">
              <a:off x="3366575" y="56973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7" name="Forme libre : forme 2506">
              <a:extLst>
                <a:ext uri="{FF2B5EF4-FFF2-40B4-BE49-F238E27FC236}">
                  <a16:creationId xmlns:a16="http://schemas.microsoft.com/office/drawing/2014/main" id="{6DEEAB7D-D4C8-4DDC-B7BF-F77A8BB80F8C}"/>
                </a:ext>
              </a:extLst>
            </p:cNvPr>
            <p:cNvSpPr/>
            <p:nvPr/>
          </p:nvSpPr>
          <p:spPr>
            <a:xfrm rot="8716295">
              <a:off x="3241672" y="36106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8" name="Forme libre : forme 2507">
              <a:extLst>
                <a:ext uri="{FF2B5EF4-FFF2-40B4-BE49-F238E27FC236}">
                  <a16:creationId xmlns:a16="http://schemas.microsoft.com/office/drawing/2014/main" id="{199DE347-17F6-461F-B90C-B69AAFA2F910}"/>
                </a:ext>
              </a:extLst>
            </p:cNvPr>
            <p:cNvSpPr/>
            <p:nvPr/>
          </p:nvSpPr>
          <p:spPr>
            <a:xfrm rot="8716295">
              <a:off x="3229620" y="22228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09" name="Forme libre : forme 2508">
              <a:extLst>
                <a:ext uri="{FF2B5EF4-FFF2-40B4-BE49-F238E27FC236}">
                  <a16:creationId xmlns:a16="http://schemas.microsoft.com/office/drawing/2014/main" id="{A01BDA60-4E43-4FBD-82A0-95C77C097A9E}"/>
                </a:ext>
              </a:extLst>
            </p:cNvPr>
            <p:cNvSpPr/>
            <p:nvPr/>
          </p:nvSpPr>
          <p:spPr>
            <a:xfrm rot="8716295">
              <a:off x="3456753" y="61068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0" name="Forme libre : forme 2509">
              <a:extLst>
                <a:ext uri="{FF2B5EF4-FFF2-40B4-BE49-F238E27FC236}">
                  <a16:creationId xmlns:a16="http://schemas.microsoft.com/office/drawing/2014/main" id="{84B2FBB5-B856-485C-83D9-69D2B6498A18}"/>
                </a:ext>
              </a:extLst>
            </p:cNvPr>
            <p:cNvSpPr/>
            <p:nvPr/>
          </p:nvSpPr>
          <p:spPr>
            <a:xfrm rot="8716295">
              <a:off x="3767908" y="23104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1" name="Forme libre : forme 2510">
              <a:extLst>
                <a:ext uri="{FF2B5EF4-FFF2-40B4-BE49-F238E27FC236}">
                  <a16:creationId xmlns:a16="http://schemas.microsoft.com/office/drawing/2014/main" id="{3D0C3739-8DA5-460B-B377-BF5789078C10}"/>
                </a:ext>
              </a:extLst>
            </p:cNvPr>
            <p:cNvSpPr/>
            <p:nvPr/>
          </p:nvSpPr>
          <p:spPr>
            <a:xfrm rot="8716295">
              <a:off x="3857300" y="26028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2" name="Forme libre : forme 2511">
              <a:extLst>
                <a:ext uri="{FF2B5EF4-FFF2-40B4-BE49-F238E27FC236}">
                  <a16:creationId xmlns:a16="http://schemas.microsoft.com/office/drawing/2014/main" id="{971F324A-C797-4A5A-9D42-0FA8C2BA8DAD}"/>
                </a:ext>
              </a:extLst>
            </p:cNvPr>
            <p:cNvSpPr/>
            <p:nvPr/>
          </p:nvSpPr>
          <p:spPr>
            <a:xfrm rot="8716295">
              <a:off x="3655674" y="31958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3" name="Forme libre : forme 2512">
              <a:extLst>
                <a:ext uri="{FF2B5EF4-FFF2-40B4-BE49-F238E27FC236}">
                  <a16:creationId xmlns:a16="http://schemas.microsoft.com/office/drawing/2014/main" id="{8EC218C7-06A4-4CA2-8080-F703AD883CED}"/>
                </a:ext>
              </a:extLst>
            </p:cNvPr>
            <p:cNvSpPr/>
            <p:nvPr/>
          </p:nvSpPr>
          <p:spPr>
            <a:xfrm rot="8716295">
              <a:off x="3530772" y="11091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4" name="Forme libre : forme 2513">
              <a:extLst>
                <a:ext uri="{FF2B5EF4-FFF2-40B4-BE49-F238E27FC236}">
                  <a16:creationId xmlns:a16="http://schemas.microsoft.com/office/drawing/2014/main" id="{65059EE1-7F5D-48ED-B85D-A46423F78D76}"/>
                </a:ext>
              </a:extLst>
            </p:cNvPr>
            <p:cNvSpPr/>
            <p:nvPr/>
          </p:nvSpPr>
          <p:spPr>
            <a:xfrm rot="8716295">
              <a:off x="3745852" y="36053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5" name="Forme libre : forme 2514">
              <a:extLst>
                <a:ext uri="{FF2B5EF4-FFF2-40B4-BE49-F238E27FC236}">
                  <a16:creationId xmlns:a16="http://schemas.microsoft.com/office/drawing/2014/main" id="{512AA149-007C-42E5-90DD-CC3331EEDCF7}"/>
                </a:ext>
              </a:extLst>
            </p:cNvPr>
            <p:cNvSpPr/>
            <p:nvPr/>
          </p:nvSpPr>
          <p:spPr>
            <a:xfrm rot="8716295">
              <a:off x="3504401" y="21093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6" name="Forme libre : forme 2515">
              <a:extLst>
                <a:ext uri="{FF2B5EF4-FFF2-40B4-BE49-F238E27FC236}">
                  <a16:creationId xmlns:a16="http://schemas.microsoft.com/office/drawing/2014/main" id="{23613C77-E0E1-44C1-8EC6-64AC0EEA97B7}"/>
                </a:ext>
              </a:extLst>
            </p:cNvPr>
            <p:cNvSpPr/>
            <p:nvPr/>
          </p:nvSpPr>
          <p:spPr>
            <a:xfrm rot="7484129">
              <a:off x="3850783" y="55188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7" name="Forme libre : forme 2516">
              <a:extLst>
                <a:ext uri="{FF2B5EF4-FFF2-40B4-BE49-F238E27FC236}">
                  <a16:creationId xmlns:a16="http://schemas.microsoft.com/office/drawing/2014/main" id="{AD9CF096-470A-4FB5-8989-86875B5B759F}"/>
                </a:ext>
              </a:extLst>
            </p:cNvPr>
            <p:cNvSpPr/>
            <p:nvPr/>
          </p:nvSpPr>
          <p:spPr>
            <a:xfrm rot="13089394">
              <a:off x="3955603" y="51842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8" name="Forme libre : forme 2517">
              <a:extLst>
                <a:ext uri="{FF2B5EF4-FFF2-40B4-BE49-F238E27FC236}">
                  <a16:creationId xmlns:a16="http://schemas.microsoft.com/office/drawing/2014/main" id="{EDD58B14-9EE6-43DE-AB53-02CE1EFD4AEF}"/>
                </a:ext>
              </a:extLst>
            </p:cNvPr>
            <p:cNvSpPr/>
            <p:nvPr/>
          </p:nvSpPr>
          <p:spPr>
            <a:xfrm rot="8716295">
              <a:off x="4141188" y="32674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19" name="Forme libre : forme 2518">
              <a:extLst>
                <a:ext uri="{FF2B5EF4-FFF2-40B4-BE49-F238E27FC236}">
                  <a16:creationId xmlns:a16="http://schemas.microsoft.com/office/drawing/2014/main" id="{B0126B85-3847-48C1-A04C-7973E77D1EDB}"/>
                </a:ext>
              </a:extLst>
            </p:cNvPr>
            <p:cNvSpPr/>
            <p:nvPr/>
          </p:nvSpPr>
          <p:spPr>
            <a:xfrm rot="8716295">
              <a:off x="4089383" y="22314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0" name="Forme libre : forme 2519">
              <a:extLst>
                <a:ext uri="{FF2B5EF4-FFF2-40B4-BE49-F238E27FC236}">
                  <a16:creationId xmlns:a16="http://schemas.microsoft.com/office/drawing/2014/main" id="{B39FA797-0108-450C-A9FF-E77B30368C8A}"/>
                </a:ext>
              </a:extLst>
            </p:cNvPr>
            <p:cNvSpPr/>
            <p:nvPr/>
          </p:nvSpPr>
          <p:spPr>
            <a:xfrm rot="8716295">
              <a:off x="3846137" y="25336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1" name="Forme libre : forme 2520">
              <a:extLst>
                <a:ext uri="{FF2B5EF4-FFF2-40B4-BE49-F238E27FC236}">
                  <a16:creationId xmlns:a16="http://schemas.microsoft.com/office/drawing/2014/main" id="{E59A0A69-0B8F-4075-9B80-4638F9047ACF}"/>
                </a:ext>
              </a:extLst>
            </p:cNvPr>
            <p:cNvSpPr/>
            <p:nvPr/>
          </p:nvSpPr>
          <p:spPr>
            <a:xfrm rot="8716295">
              <a:off x="4023589" y="9412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2" name="Forme libre : forme 2521">
              <a:extLst>
                <a:ext uri="{FF2B5EF4-FFF2-40B4-BE49-F238E27FC236}">
                  <a16:creationId xmlns:a16="http://schemas.microsoft.com/office/drawing/2014/main" id="{2EFF07EC-89C0-4663-BD43-B2A9421F76C1}"/>
                </a:ext>
              </a:extLst>
            </p:cNvPr>
            <p:cNvSpPr/>
            <p:nvPr/>
          </p:nvSpPr>
          <p:spPr>
            <a:xfrm rot="8716295">
              <a:off x="3298850" y="-42720"/>
              <a:ext cx="123263" cy="85442"/>
            </a:xfrm>
            <a:custGeom>
              <a:avLst/>
              <a:gdLst>
                <a:gd name="connsiteX0" fmla="*/ 123263 w 123263"/>
                <a:gd name="connsiteY0" fmla="*/ 85442 h 85442"/>
                <a:gd name="connsiteX1" fmla="*/ 0 w 123263"/>
                <a:gd name="connsiteY1" fmla="*/ 0 h 85442"/>
                <a:gd name="connsiteX2" fmla="*/ 66305 w 123263"/>
                <a:gd name="connsiteY2" fmla="*/ 0 h 85442"/>
                <a:gd name="connsiteX3" fmla="*/ 123263 w 123263"/>
                <a:gd name="connsiteY3" fmla="*/ 50123 h 85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63" h="85442">
                  <a:moveTo>
                    <a:pt x="123263" y="85442"/>
                  </a:moveTo>
                  <a:lnTo>
                    <a:pt x="0" y="0"/>
                  </a:lnTo>
                  <a:lnTo>
                    <a:pt x="66305" y="0"/>
                  </a:lnTo>
                  <a:cubicBezTo>
                    <a:pt x="103214" y="0"/>
                    <a:pt x="123263" y="15948"/>
                    <a:pt x="123263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3" name="Forme libre : forme 2522">
              <a:extLst>
                <a:ext uri="{FF2B5EF4-FFF2-40B4-BE49-F238E27FC236}">
                  <a16:creationId xmlns:a16="http://schemas.microsoft.com/office/drawing/2014/main" id="{FD4B967E-157B-4EC0-8E14-C729CCFF7879}"/>
                </a:ext>
              </a:extLst>
            </p:cNvPr>
            <p:cNvSpPr/>
            <p:nvPr/>
          </p:nvSpPr>
          <p:spPr>
            <a:xfrm rot="8716295">
              <a:off x="3388166" y="-13722"/>
              <a:ext cx="260639" cy="98025"/>
            </a:xfrm>
            <a:custGeom>
              <a:avLst/>
              <a:gdLst>
                <a:gd name="connsiteX0" fmla="*/ 104802 w 260639"/>
                <a:gd name="connsiteY0" fmla="*/ 74264 h 98025"/>
                <a:gd name="connsiteX1" fmla="*/ 0 w 260639"/>
                <a:gd name="connsiteY1" fmla="*/ 1618 h 98025"/>
                <a:gd name="connsiteX2" fmla="*/ 0 w 260639"/>
                <a:gd name="connsiteY2" fmla="*/ 1425 h 98025"/>
                <a:gd name="connsiteX3" fmla="*/ 104803 w 260639"/>
                <a:gd name="connsiteY3" fmla="*/ 1425 h 98025"/>
                <a:gd name="connsiteX4" fmla="*/ 122123 w 260639"/>
                <a:gd name="connsiteY4" fmla="*/ 86270 h 98025"/>
                <a:gd name="connsiteX5" fmla="*/ 106178 w 260639"/>
                <a:gd name="connsiteY5" fmla="*/ 75218 h 98025"/>
                <a:gd name="connsiteX6" fmla="*/ 116721 w 260639"/>
                <a:gd name="connsiteY6" fmla="*/ 47439 h 98025"/>
                <a:gd name="connsiteX7" fmla="*/ 154014 w 260639"/>
                <a:gd name="connsiteY7" fmla="*/ 5981 h 98025"/>
                <a:gd name="connsiteX8" fmla="*/ 185455 w 260639"/>
                <a:gd name="connsiteY8" fmla="*/ 57 h 98025"/>
                <a:gd name="connsiteX9" fmla="*/ 260639 w 260639"/>
                <a:gd name="connsiteY9" fmla="*/ 88456 h 98025"/>
                <a:gd name="connsiteX10" fmla="*/ 260639 w 260639"/>
                <a:gd name="connsiteY10" fmla="*/ 94380 h 98025"/>
                <a:gd name="connsiteX11" fmla="*/ 198669 w 260639"/>
                <a:gd name="connsiteY11" fmla="*/ 98025 h 98025"/>
                <a:gd name="connsiteX12" fmla="*/ 198669 w 260639"/>
                <a:gd name="connsiteY12" fmla="*/ 81621 h 98025"/>
                <a:gd name="connsiteX13" fmla="*/ 164950 w 260639"/>
                <a:gd name="connsiteY13" fmla="*/ 40156 h 98025"/>
                <a:gd name="connsiteX14" fmla="*/ 127358 w 260639"/>
                <a:gd name="connsiteY14" fmla="*/ 65616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60639" h="98025">
                  <a:moveTo>
                    <a:pt x="104802" y="74264"/>
                  </a:moveTo>
                  <a:lnTo>
                    <a:pt x="0" y="1618"/>
                  </a:lnTo>
                  <a:lnTo>
                    <a:pt x="0" y="1425"/>
                  </a:lnTo>
                  <a:lnTo>
                    <a:pt x="104803" y="1425"/>
                  </a:lnTo>
                  <a:close/>
                  <a:moveTo>
                    <a:pt x="122123" y="86270"/>
                  </a:moveTo>
                  <a:lnTo>
                    <a:pt x="106178" y="75218"/>
                  </a:lnTo>
                  <a:lnTo>
                    <a:pt x="116721" y="47439"/>
                  </a:lnTo>
                  <a:cubicBezTo>
                    <a:pt x="127102" y="24008"/>
                    <a:pt x="137610" y="12816"/>
                    <a:pt x="154014" y="5981"/>
                  </a:cubicBezTo>
                  <a:cubicBezTo>
                    <a:pt x="164038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50369" y="40156"/>
                    <a:pt x="137041" y="49839"/>
                    <a:pt x="127358" y="656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4" name="Forme libre : forme 2523">
              <a:extLst>
                <a:ext uri="{FF2B5EF4-FFF2-40B4-BE49-F238E27FC236}">
                  <a16:creationId xmlns:a16="http://schemas.microsoft.com/office/drawing/2014/main" id="{26F60FD7-190A-4D8F-9670-046678F59C56}"/>
                </a:ext>
              </a:extLst>
            </p:cNvPr>
            <p:cNvSpPr/>
            <p:nvPr/>
          </p:nvSpPr>
          <p:spPr>
            <a:xfrm rot="8716295">
              <a:off x="3234083" y="-5272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5" name="Forme libre : forme 2524">
              <a:extLst>
                <a:ext uri="{FF2B5EF4-FFF2-40B4-BE49-F238E27FC236}">
                  <a16:creationId xmlns:a16="http://schemas.microsoft.com/office/drawing/2014/main" id="{085654F2-7869-4845-81C8-ECDCFADD1D48}"/>
                </a:ext>
              </a:extLst>
            </p:cNvPr>
            <p:cNvSpPr/>
            <p:nvPr/>
          </p:nvSpPr>
          <p:spPr>
            <a:xfrm rot="7484129">
              <a:off x="3672246" y="-18656"/>
              <a:ext cx="154104" cy="104443"/>
            </a:xfrm>
            <a:custGeom>
              <a:avLst/>
              <a:gdLst>
                <a:gd name="connsiteX0" fmla="*/ 72416 w 154104"/>
                <a:gd name="connsiteY0" fmla="*/ 104443 h 104443"/>
                <a:gd name="connsiteX1" fmla="*/ 0 w 154104"/>
                <a:gd name="connsiteY1" fmla="*/ 0 h 104443"/>
                <a:gd name="connsiteX2" fmla="*/ 154104 w 154104"/>
                <a:gd name="connsiteY2" fmla="*/ 0 h 104443"/>
                <a:gd name="connsiteX3" fmla="*/ 154104 w 154104"/>
                <a:gd name="connsiteY3" fmla="*/ 55323 h 104443"/>
                <a:gd name="connsiteX4" fmla="*/ 89312 w 154104"/>
                <a:gd name="connsiteY4" fmla="*/ 55323 h 104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4104" h="104443">
                  <a:moveTo>
                    <a:pt x="72416" y="104443"/>
                  </a:moveTo>
                  <a:lnTo>
                    <a:pt x="0" y="0"/>
                  </a:lnTo>
                  <a:lnTo>
                    <a:pt x="154104" y="0"/>
                  </a:lnTo>
                  <a:lnTo>
                    <a:pt x="154104" y="55323"/>
                  </a:lnTo>
                  <a:lnTo>
                    <a:pt x="89312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6" name="Forme libre : forme 2525">
              <a:extLst>
                <a:ext uri="{FF2B5EF4-FFF2-40B4-BE49-F238E27FC236}">
                  <a16:creationId xmlns:a16="http://schemas.microsoft.com/office/drawing/2014/main" id="{7E176583-6C1C-4FE3-A612-16C14B2CEFC6}"/>
                </a:ext>
              </a:extLst>
            </p:cNvPr>
            <p:cNvSpPr/>
            <p:nvPr/>
          </p:nvSpPr>
          <p:spPr>
            <a:xfrm rot="13089394">
              <a:off x="3884960" y="-47886"/>
              <a:ext cx="84765" cy="281028"/>
            </a:xfrm>
            <a:custGeom>
              <a:avLst/>
              <a:gdLst>
                <a:gd name="connsiteX0" fmla="*/ 84765 w 84765"/>
                <a:gd name="connsiteY0" fmla="*/ 225012 h 281028"/>
                <a:gd name="connsiteX1" fmla="*/ 13471 w 84765"/>
                <a:gd name="connsiteY1" fmla="*/ 281028 h 281028"/>
                <a:gd name="connsiteX2" fmla="*/ 4828 w 84765"/>
                <a:gd name="connsiteY2" fmla="*/ 263963 h 281028"/>
                <a:gd name="connsiteX3" fmla="*/ 0 w 84765"/>
                <a:gd name="connsiteY3" fmla="*/ 206370 h 281028"/>
                <a:gd name="connsiteX4" fmla="*/ 0 w 84765"/>
                <a:gd name="connsiteY4" fmla="*/ 38074 h 281028"/>
                <a:gd name="connsiteX5" fmla="*/ 73388 w 84765"/>
                <a:gd name="connsiteY5" fmla="*/ 0 h 281028"/>
                <a:gd name="connsiteX6" fmla="*/ 74492 w 84765"/>
                <a:gd name="connsiteY6" fmla="*/ 153950 h 281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4765" h="281028">
                  <a:moveTo>
                    <a:pt x="84765" y="225012"/>
                  </a:moveTo>
                  <a:lnTo>
                    <a:pt x="13471" y="281028"/>
                  </a:lnTo>
                  <a:lnTo>
                    <a:pt x="4828" y="263963"/>
                  </a:lnTo>
                  <a:cubicBezTo>
                    <a:pt x="1241" y="248168"/>
                    <a:pt x="0" y="228993"/>
                    <a:pt x="0" y="206370"/>
                  </a:cubicBez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7" name="Forme libre : forme 2526">
              <a:extLst>
                <a:ext uri="{FF2B5EF4-FFF2-40B4-BE49-F238E27FC236}">
                  <a16:creationId xmlns:a16="http://schemas.microsoft.com/office/drawing/2014/main" id="{6411FD51-776E-4AA6-866C-86AC7DDE6B1E}"/>
                </a:ext>
              </a:extLst>
            </p:cNvPr>
            <p:cNvSpPr/>
            <p:nvPr/>
          </p:nvSpPr>
          <p:spPr>
            <a:xfrm rot="8716295">
              <a:off x="5789699" y="1993578"/>
              <a:ext cx="181333" cy="87320"/>
            </a:xfrm>
            <a:custGeom>
              <a:avLst/>
              <a:gdLst>
                <a:gd name="connsiteX0" fmla="*/ 0 w 181333"/>
                <a:gd name="connsiteY0" fmla="*/ 87320 h 87320"/>
                <a:gd name="connsiteX1" fmla="*/ 42309 w 181333"/>
                <a:gd name="connsiteY1" fmla="*/ 36168 h 87320"/>
                <a:gd name="connsiteX2" fmla="*/ 54839 w 181333"/>
                <a:gd name="connsiteY2" fmla="*/ 38831 h 87320"/>
                <a:gd name="connsiteX3" fmla="*/ 107790 w 181333"/>
                <a:gd name="connsiteY3" fmla="*/ 29417 h 87320"/>
                <a:gd name="connsiteX4" fmla="*/ 180157 w 181333"/>
                <a:gd name="connsiteY4" fmla="*/ 0 h 87320"/>
                <a:gd name="connsiteX5" fmla="*/ 181333 w 181333"/>
                <a:gd name="connsiteY5" fmla="*/ 7648 h 87320"/>
                <a:gd name="connsiteX6" fmla="*/ 181333 w 181333"/>
                <a:gd name="connsiteY6" fmla="*/ 13532 h 87320"/>
                <a:gd name="connsiteX7" fmla="*/ 30340 w 181333"/>
                <a:gd name="connsiteY7" fmla="*/ 83361 h 87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333" h="87320">
                  <a:moveTo>
                    <a:pt x="0" y="87320"/>
                  </a:moveTo>
                  <a:lnTo>
                    <a:pt x="42309" y="36168"/>
                  </a:lnTo>
                  <a:lnTo>
                    <a:pt x="54839" y="38831"/>
                  </a:lnTo>
                  <a:cubicBezTo>
                    <a:pt x="73078" y="38242"/>
                    <a:pt x="90728" y="34712"/>
                    <a:pt x="107790" y="29417"/>
                  </a:cubicBezTo>
                  <a:cubicBezTo>
                    <a:pt x="132500" y="21768"/>
                    <a:pt x="156623" y="11767"/>
                    <a:pt x="180157" y="0"/>
                  </a:cubicBezTo>
                  <a:cubicBezTo>
                    <a:pt x="180745" y="2353"/>
                    <a:pt x="181333" y="5295"/>
                    <a:pt x="181333" y="7648"/>
                  </a:cubicBezTo>
                  <a:lnTo>
                    <a:pt x="181333" y="13532"/>
                  </a:lnTo>
                  <a:cubicBezTo>
                    <a:pt x="134560" y="53687"/>
                    <a:pt x="76865" y="74315"/>
                    <a:pt x="30340" y="833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8" name="Forme libre : forme 2527">
              <a:extLst>
                <a:ext uri="{FF2B5EF4-FFF2-40B4-BE49-F238E27FC236}">
                  <a16:creationId xmlns:a16="http://schemas.microsoft.com/office/drawing/2014/main" id="{4016D6BF-E72B-479D-8087-47A81BBF417D}"/>
                </a:ext>
              </a:extLst>
            </p:cNvPr>
            <p:cNvSpPr/>
            <p:nvPr/>
          </p:nvSpPr>
          <p:spPr>
            <a:xfrm rot="8716295">
              <a:off x="5880884" y="1564845"/>
              <a:ext cx="61060" cy="195751"/>
            </a:xfrm>
            <a:custGeom>
              <a:avLst/>
              <a:gdLst>
                <a:gd name="connsiteX0" fmla="*/ 0 w 61060"/>
                <a:gd name="connsiteY0" fmla="*/ 195751 h 195751"/>
                <a:gd name="connsiteX1" fmla="*/ 0 w 61060"/>
                <a:gd name="connsiteY1" fmla="*/ 67520 h 195751"/>
                <a:gd name="connsiteX2" fmla="*/ 55847 w 61060"/>
                <a:gd name="connsiteY2" fmla="*/ 0 h 195751"/>
                <a:gd name="connsiteX3" fmla="*/ 61059 w 61060"/>
                <a:gd name="connsiteY3" fmla="*/ 13486 h 195751"/>
                <a:gd name="connsiteX4" fmla="*/ 61060 w 61060"/>
                <a:gd name="connsiteY4" fmla="*/ 171601 h 195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60" h="195751">
                  <a:moveTo>
                    <a:pt x="0" y="195751"/>
                  </a:moveTo>
                  <a:lnTo>
                    <a:pt x="0" y="67520"/>
                  </a:lnTo>
                  <a:lnTo>
                    <a:pt x="55847" y="0"/>
                  </a:lnTo>
                  <a:lnTo>
                    <a:pt x="61059" y="13486"/>
                  </a:lnTo>
                  <a:lnTo>
                    <a:pt x="61060" y="17160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29" name="Forme libre : forme 2528">
              <a:extLst>
                <a:ext uri="{FF2B5EF4-FFF2-40B4-BE49-F238E27FC236}">
                  <a16:creationId xmlns:a16="http://schemas.microsoft.com/office/drawing/2014/main" id="{C9150DCD-F0A2-40C0-9C18-4806DAE4299B}"/>
                </a:ext>
              </a:extLst>
            </p:cNvPr>
            <p:cNvSpPr/>
            <p:nvPr/>
          </p:nvSpPr>
          <p:spPr>
            <a:xfrm rot="8716295">
              <a:off x="5772692" y="162676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0" name="Forme libre : forme 2529">
              <a:extLst>
                <a:ext uri="{FF2B5EF4-FFF2-40B4-BE49-F238E27FC236}">
                  <a16:creationId xmlns:a16="http://schemas.microsoft.com/office/drawing/2014/main" id="{31E25632-0B2D-4088-97A3-B015DDAB706E}"/>
                </a:ext>
              </a:extLst>
            </p:cNvPr>
            <p:cNvSpPr/>
            <p:nvPr/>
          </p:nvSpPr>
          <p:spPr>
            <a:xfrm rot="8716295">
              <a:off x="5647789" y="141808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1" name="Forme libre : forme 2530">
              <a:extLst>
                <a:ext uri="{FF2B5EF4-FFF2-40B4-BE49-F238E27FC236}">
                  <a16:creationId xmlns:a16="http://schemas.microsoft.com/office/drawing/2014/main" id="{B3255F7B-0F97-465E-93D7-7FA94259C6BD}"/>
                </a:ext>
              </a:extLst>
            </p:cNvPr>
            <p:cNvSpPr/>
            <p:nvPr/>
          </p:nvSpPr>
          <p:spPr>
            <a:xfrm rot="8716295">
              <a:off x="5635737" y="1279309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2" name="Forme libre : forme 2531">
              <a:extLst>
                <a:ext uri="{FF2B5EF4-FFF2-40B4-BE49-F238E27FC236}">
                  <a16:creationId xmlns:a16="http://schemas.microsoft.com/office/drawing/2014/main" id="{DDCFE949-9F0B-4027-A955-7581B115547F}"/>
                </a:ext>
              </a:extLst>
            </p:cNvPr>
            <p:cNvSpPr/>
            <p:nvPr/>
          </p:nvSpPr>
          <p:spPr>
            <a:xfrm rot="8716295">
              <a:off x="5863691" y="1680538"/>
              <a:ext cx="60147" cy="219174"/>
            </a:xfrm>
            <a:custGeom>
              <a:avLst/>
              <a:gdLst>
                <a:gd name="connsiteX0" fmla="*/ 60147 w 60147"/>
                <a:gd name="connsiteY0" fmla="*/ 219174 h 219174"/>
                <a:gd name="connsiteX1" fmla="*/ 0 w 60147"/>
                <a:gd name="connsiteY1" fmla="*/ 161304 h 219174"/>
                <a:gd name="connsiteX2" fmla="*/ 0 w 60147"/>
                <a:gd name="connsiteY2" fmla="*/ 68045 h 219174"/>
                <a:gd name="connsiteX3" fmla="*/ 56210 w 60147"/>
                <a:gd name="connsiteY3" fmla="*/ 87 h 219174"/>
                <a:gd name="connsiteX4" fmla="*/ 60147 w 60147"/>
                <a:gd name="connsiteY4" fmla="*/ 0 h 219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47" h="219174">
                  <a:moveTo>
                    <a:pt x="60147" y="219174"/>
                  </a:moveTo>
                  <a:lnTo>
                    <a:pt x="0" y="161304"/>
                  </a:lnTo>
                  <a:lnTo>
                    <a:pt x="0" y="68045"/>
                  </a:lnTo>
                  <a:lnTo>
                    <a:pt x="56210" y="87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3" name="Forme libre : forme 2532">
              <a:extLst>
                <a:ext uri="{FF2B5EF4-FFF2-40B4-BE49-F238E27FC236}">
                  <a16:creationId xmlns:a16="http://schemas.microsoft.com/office/drawing/2014/main" id="{65DD55AE-558A-4E5E-92F3-6D26BC8FC5C0}"/>
                </a:ext>
              </a:extLst>
            </p:cNvPr>
            <p:cNvSpPr/>
            <p:nvPr/>
          </p:nvSpPr>
          <p:spPr>
            <a:xfrm rot="8716295">
              <a:off x="5910518" y="126796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4" name="Forme libre : forme 2533">
              <a:extLst>
                <a:ext uri="{FF2B5EF4-FFF2-40B4-BE49-F238E27FC236}">
                  <a16:creationId xmlns:a16="http://schemas.microsoft.com/office/drawing/2014/main" id="{0EC05458-5106-4134-90D2-715C795E2923}"/>
                </a:ext>
              </a:extLst>
            </p:cNvPr>
            <p:cNvSpPr/>
            <p:nvPr/>
          </p:nvSpPr>
          <p:spPr>
            <a:xfrm rot="8716295">
              <a:off x="5661759" y="87851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5" name="Forme libre : forme 2534">
              <a:extLst>
                <a:ext uri="{FF2B5EF4-FFF2-40B4-BE49-F238E27FC236}">
                  <a16:creationId xmlns:a16="http://schemas.microsoft.com/office/drawing/2014/main" id="{D057AB63-8011-4BAF-B87B-EAA1065401D7}"/>
                </a:ext>
              </a:extLst>
            </p:cNvPr>
            <p:cNvSpPr/>
            <p:nvPr/>
          </p:nvSpPr>
          <p:spPr>
            <a:xfrm rot="8716295">
              <a:off x="5751943" y="913207"/>
              <a:ext cx="229128" cy="254774"/>
            </a:xfrm>
            <a:custGeom>
              <a:avLst/>
              <a:gdLst>
                <a:gd name="connsiteX0" fmla="*/ 19979 w 229128"/>
                <a:gd name="connsiteY0" fmla="*/ 254774 h 254774"/>
                <a:gd name="connsiteX1" fmla="*/ 19979 w 229128"/>
                <a:gd name="connsiteY1" fmla="*/ 45624 h 254774"/>
                <a:gd name="connsiteX2" fmla="*/ 0 w 229128"/>
                <a:gd name="connsiteY2" fmla="*/ 45624 h 254774"/>
                <a:gd name="connsiteX3" fmla="*/ 36558 w 229128"/>
                <a:gd name="connsiteY3" fmla="*/ 1425 h 254774"/>
                <a:gd name="connsiteX4" fmla="*/ 73292 w 229128"/>
                <a:gd name="connsiteY4" fmla="*/ 1425 h 254774"/>
                <a:gd name="connsiteX5" fmla="*/ 73292 w 229128"/>
                <a:gd name="connsiteY5" fmla="*/ 75242 h 254774"/>
                <a:gd name="connsiteX6" fmla="*/ 74658 w 229128"/>
                <a:gd name="connsiteY6" fmla="*/ 75242 h 254774"/>
                <a:gd name="connsiteX7" fmla="*/ 122503 w 229128"/>
                <a:gd name="connsiteY7" fmla="*/ 5981 h 254774"/>
                <a:gd name="connsiteX8" fmla="*/ 153944 w 229128"/>
                <a:gd name="connsiteY8" fmla="*/ 57 h 254774"/>
                <a:gd name="connsiteX9" fmla="*/ 229128 w 229128"/>
                <a:gd name="connsiteY9" fmla="*/ 88456 h 254774"/>
                <a:gd name="connsiteX10" fmla="*/ 229128 w 229128"/>
                <a:gd name="connsiteY10" fmla="*/ 94380 h 254774"/>
                <a:gd name="connsiteX11" fmla="*/ 167158 w 229128"/>
                <a:gd name="connsiteY11" fmla="*/ 98025 h 254774"/>
                <a:gd name="connsiteX12" fmla="*/ 167158 w 229128"/>
                <a:gd name="connsiteY12" fmla="*/ 81621 h 254774"/>
                <a:gd name="connsiteX13" fmla="*/ 133439 w 229128"/>
                <a:gd name="connsiteY13" fmla="*/ 40156 h 254774"/>
                <a:gd name="connsiteX14" fmla="*/ 80127 w 229128"/>
                <a:gd name="connsiteY14" fmla="*/ 127643 h 254774"/>
                <a:gd name="connsiteX15" fmla="*/ 80127 w 229128"/>
                <a:gd name="connsiteY15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29128" h="254774">
                  <a:moveTo>
                    <a:pt x="19979" y="254774"/>
                  </a:moveTo>
                  <a:lnTo>
                    <a:pt x="19979" y="45624"/>
                  </a:lnTo>
                  <a:lnTo>
                    <a:pt x="0" y="45624"/>
                  </a:lnTo>
                  <a:lnTo>
                    <a:pt x="36558" y="1425"/>
                  </a:lnTo>
                  <a:lnTo>
                    <a:pt x="73292" y="1425"/>
                  </a:lnTo>
                  <a:lnTo>
                    <a:pt x="73292" y="75242"/>
                  </a:lnTo>
                  <a:lnTo>
                    <a:pt x="74658" y="75242"/>
                  </a:lnTo>
                  <a:cubicBezTo>
                    <a:pt x="89240" y="31954"/>
                    <a:pt x="100631" y="15094"/>
                    <a:pt x="122503" y="5981"/>
                  </a:cubicBezTo>
                  <a:cubicBezTo>
                    <a:pt x="132528" y="1880"/>
                    <a:pt x="143008" y="-398"/>
                    <a:pt x="153944" y="57"/>
                  </a:cubicBezTo>
                  <a:cubicBezTo>
                    <a:pt x="200877" y="-854"/>
                    <a:pt x="229128" y="31954"/>
                    <a:pt x="229128" y="88456"/>
                  </a:cubicBezTo>
                  <a:lnTo>
                    <a:pt x="229128" y="94380"/>
                  </a:lnTo>
                  <a:lnTo>
                    <a:pt x="167158" y="98025"/>
                  </a:lnTo>
                  <a:lnTo>
                    <a:pt x="167158" y="81621"/>
                  </a:lnTo>
                  <a:cubicBezTo>
                    <a:pt x="167158" y="57016"/>
                    <a:pt x="153033" y="40156"/>
                    <a:pt x="133439" y="40156"/>
                  </a:cubicBezTo>
                  <a:cubicBezTo>
                    <a:pt x="104277" y="40156"/>
                    <a:pt x="80127" y="78887"/>
                    <a:pt x="80127" y="127643"/>
                  </a:cubicBezTo>
                  <a:lnTo>
                    <a:pt x="80127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6" name="Forme libre : forme 2535">
              <a:extLst>
                <a:ext uri="{FF2B5EF4-FFF2-40B4-BE49-F238E27FC236}">
                  <a16:creationId xmlns:a16="http://schemas.microsoft.com/office/drawing/2014/main" id="{2835F711-6457-4567-BFF6-A0B784C09FC4}"/>
                </a:ext>
              </a:extLst>
            </p:cNvPr>
            <p:cNvSpPr/>
            <p:nvPr/>
          </p:nvSpPr>
          <p:spPr>
            <a:xfrm rot="8716295">
              <a:off x="5706301" y="821481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7" name="Forme libre : forme 2536">
              <a:extLst>
                <a:ext uri="{FF2B5EF4-FFF2-40B4-BE49-F238E27FC236}">
                  <a16:creationId xmlns:a16="http://schemas.microsoft.com/office/drawing/2014/main" id="{09671646-B442-4067-9AA2-DA2D5180E659}"/>
                </a:ext>
              </a:extLst>
            </p:cNvPr>
            <p:cNvSpPr/>
            <p:nvPr/>
          </p:nvSpPr>
          <p:spPr>
            <a:xfrm rot="8716295">
              <a:off x="5549525" y="96706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8" name="Forme libre : forme 2537">
              <a:extLst>
                <a:ext uri="{FF2B5EF4-FFF2-40B4-BE49-F238E27FC236}">
                  <a16:creationId xmlns:a16="http://schemas.microsoft.com/office/drawing/2014/main" id="{A36AF7BA-D17B-4A0F-86BD-D2B1CBD1C700}"/>
                </a:ext>
              </a:extLst>
            </p:cNvPr>
            <p:cNvSpPr/>
            <p:nvPr/>
          </p:nvSpPr>
          <p:spPr>
            <a:xfrm rot="8716295">
              <a:off x="5424622" y="75839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39" name="Forme libre : forme 2538">
              <a:extLst>
                <a:ext uri="{FF2B5EF4-FFF2-40B4-BE49-F238E27FC236}">
                  <a16:creationId xmlns:a16="http://schemas.microsoft.com/office/drawing/2014/main" id="{AF5CCE06-D137-4C0F-9245-A218B9F04135}"/>
                </a:ext>
              </a:extLst>
            </p:cNvPr>
            <p:cNvSpPr/>
            <p:nvPr/>
          </p:nvSpPr>
          <p:spPr>
            <a:xfrm rot="8716295">
              <a:off x="5412570" y="619610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0" name="Forme libre : forme 2539">
              <a:extLst>
                <a:ext uri="{FF2B5EF4-FFF2-40B4-BE49-F238E27FC236}">
                  <a16:creationId xmlns:a16="http://schemas.microsoft.com/office/drawing/2014/main" id="{ED460E8C-C78B-44EF-9945-8FB1024E7269}"/>
                </a:ext>
              </a:extLst>
            </p:cNvPr>
            <p:cNvSpPr/>
            <p:nvPr/>
          </p:nvSpPr>
          <p:spPr>
            <a:xfrm rot="8716295">
              <a:off x="5639703" y="100801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1" name="Forme libre : forme 2540">
              <a:extLst>
                <a:ext uri="{FF2B5EF4-FFF2-40B4-BE49-F238E27FC236}">
                  <a16:creationId xmlns:a16="http://schemas.microsoft.com/office/drawing/2014/main" id="{44797871-BF4A-4658-8B0F-C75DE4AC12D4}"/>
                </a:ext>
              </a:extLst>
            </p:cNvPr>
            <p:cNvSpPr/>
            <p:nvPr/>
          </p:nvSpPr>
          <p:spPr>
            <a:xfrm rot="8716295">
              <a:off x="5950315" y="653899"/>
              <a:ext cx="61060" cy="208036"/>
            </a:xfrm>
            <a:custGeom>
              <a:avLst/>
              <a:gdLst>
                <a:gd name="connsiteX0" fmla="*/ 0 w 61060"/>
                <a:gd name="connsiteY0" fmla="*/ 208036 h 208036"/>
                <a:gd name="connsiteX1" fmla="*/ 1 w 61060"/>
                <a:gd name="connsiteY1" fmla="*/ 61780 h 208036"/>
                <a:gd name="connsiteX2" fmla="*/ 51100 w 61060"/>
                <a:gd name="connsiteY2" fmla="*/ 0 h 208036"/>
                <a:gd name="connsiteX3" fmla="*/ 61059 w 61060"/>
                <a:gd name="connsiteY3" fmla="*/ 25771 h 208036"/>
                <a:gd name="connsiteX4" fmla="*/ 61060 w 61060"/>
                <a:gd name="connsiteY4" fmla="*/ 183886 h 208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60" h="208036">
                  <a:moveTo>
                    <a:pt x="0" y="208036"/>
                  </a:moveTo>
                  <a:lnTo>
                    <a:pt x="1" y="61780"/>
                  </a:lnTo>
                  <a:lnTo>
                    <a:pt x="51100" y="0"/>
                  </a:lnTo>
                  <a:lnTo>
                    <a:pt x="61059" y="25771"/>
                  </a:lnTo>
                  <a:lnTo>
                    <a:pt x="61060" y="18388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2" name="Forme libre : forme 2541">
              <a:extLst>
                <a:ext uri="{FF2B5EF4-FFF2-40B4-BE49-F238E27FC236}">
                  <a16:creationId xmlns:a16="http://schemas.microsoft.com/office/drawing/2014/main" id="{1F8AF864-43AC-4DF3-8966-C8908B7A01D3}"/>
                </a:ext>
              </a:extLst>
            </p:cNvPr>
            <p:cNvSpPr/>
            <p:nvPr/>
          </p:nvSpPr>
          <p:spPr>
            <a:xfrm rot="8716295">
              <a:off x="5838624" y="71691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3" name="Forme libre : forme 2542">
              <a:extLst>
                <a:ext uri="{FF2B5EF4-FFF2-40B4-BE49-F238E27FC236}">
                  <a16:creationId xmlns:a16="http://schemas.microsoft.com/office/drawing/2014/main" id="{A5452EDF-F2D0-4EB5-B794-A8063E26BBF7}"/>
                </a:ext>
              </a:extLst>
            </p:cNvPr>
            <p:cNvSpPr/>
            <p:nvPr/>
          </p:nvSpPr>
          <p:spPr>
            <a:xfrm rot="8716295">
              <a:off x="5713722" y="50823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4" name="Forme libre : forme 2543">
              <a:extLst>
                <a:ext uri="{FF2B5EF4-FFF2-40B4-BE49-F238E27FC236}">
                  <a16:creationId xmlns:a16="http://schemas.microsoft.com/office/drawing/2014/main" id="{1AC7FCE0-D551-4D48-B54B-39B8C83CD6FF}"/>
                </a:ext>
              </a:extLst>
            </p:cNvPr>
            <p:cNvSpPr/>
            <p:nvPr/>
          </p:nvSpPr>
          <p:spPr>
            <a:xfrm rot="8716295">
              <a:off x="5929622" y="770687"/>
              <a:ext cx="60148" cy="219175"/>
            </a:xfrm>
            <a:custGeom>
              <a:avLst/>
              <a:gdLst>
                <a:gd name="connsiteX0" fmla="*/ 60148 w 60148"/>
                <a:gd name="connsiteY0" fmla="*/ 219175 h 219175"/>
                <a:gd name="connsiteX1" fmla="*/ 0 w 60148"/>
                <a:gd name="connsiteY1" fmla="*/ 161305 h 219175"/>
                <a:gd name="connsiteX2" fmla="*/ 0 w 60148"/>
                <a:gd name="connsiteY2" fmla="*/ 50021 h 219175"/>
                <a:gd name="connsiteX3" fmla="*/ 41025 w 60148"/>
                <a:gd name="connsiteY3" fmla="*/ 421 h 219175"/>
                <a:gd name="connsiteX4" fmla="*/ 60147 w 60148"/>
                <a:gd name="connsiteY4" fmla="*/ 0 h 219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48" h="219175">
                  <a:moveTo>
                    <a:pt x="60148" y="219175"/>
                  </a:moveTo>
                  <a:lnTo>
                    <a:pt x="0" y="161305"/>
                  </a:lnTo>
                  <a:lnTo>
                    <a:pt x="0" y="50021"/>
                  </a:lnTo>
                  <a:lnTo>
                    <a:pt x="41025" y="421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5" name="Forme libre : forme 2544">
              <a:extLst>
                <a:ext uri="{FF2B5EF4-FFF2-40B4-BE49-F238E27FC236}">
                  <a16:creationId xmlns:a16="http://schemas.microsoft.com/office/drawing/2014/main" id="{528E3663-F822-4A22-A3E4-0940AC0A021C}"/>
                </a:ext>
              </a:extLst>
            </p:cNvPr>
            <p:cNvSpPr/>
            <p:nvPr/>
          </p:nvSpPr>
          <p:spPr>
            <a:xfrm rot="8716295">
              <a:off x="5687351" y="608263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6" name="Forme libre : forme 2545">
              <a:extLst>
                <a:ext uri="{FF2B5EF4-FFF2-40B4-BE49-F238E27FC236}">
                  <a16:creationId xmlns:a16="http://schemas.microsoft.com/office/drawing/2014/main" id="{1D9FE5D3-D3BA-4384-A368-415E7F501305}"/>
                </a:ext>
              </a:extLst>
            </p:cNvPr>
            <p:cNvSpPr/>
            <p:nvPr/>
          </p:nvSpPr>
          <p:spPr>
            <a:xfrm rot="8716295">
              <a:off x="6020907" y="657792"/>
              <a:ext cx="32038" cy="36361"/>
            </a:xfrm>
            <a:custGeom>
              <a:avLst/>
              <a:gdLst>
                <a:gd name="connsiteX0" fmla="*/ 0 w 32038"/>
                <a:gd name="connsiteY0" fmla="*/ 35166 h 36361"/>
                <a:gd name="connsiteX1" fmla="*/ 29086 w 32038"/>
                <a:gd name="connsiteY1" fmla="*/ 0 h 36361"/>
                <a:gd name="connsiteX2" fmla="*/ 32038 w 32038"/>
                <a:gd name="connsiteY2" fmla="*/ 7028 h 36361"/>
                <a:gd name="connsiteX3" fmla="*/ 23495 w 32038"/>
                <a:gd name="connsiteY3" fmla="*/ 27704 h 36361"/>
                <a:gd name="connsiteX4" fmla="*/ 2990 w 32038"/>
                <a:gd name="connsiteY4" fmla="*/ 36361 h 36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038" h="36361">
                  <a:moveTo>
                    <a:pt x="0" y="35166"/>
                  </a:moveTo>
                  <a:lnTo>
                    <a:pt x="29086" y="0"/>
                  </a:lnTo>
                  <a:lnTo>
                    <a:pt x="32038" y="7028"/>
                  </a:lnTo>
                  <a:cubicBezTo>
                    <a:pt x="32039" y="14489"/>
                    <a:pt x="29191" y="22008"/>
                    <a:pt x="23495" y="27704"/>
                  </a:cubicBezTo>
                  <a:cubicBezTo>
                    <a:pt x="18027" y="33172"/>
                    <a:pt x="10736" y="36361"/>
                    <a:pt x="2990" y="363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7" name="Forme libre : forme 2546">
              <a:extLst>
                <a:ext uri="{FF2B5EF4-FFF2-40B4-BE49-F238E27FC236}">
                  <a16:creationId xmlns:a16="http://schemas.microsoft.com/office/drawing/2014/main" id="{74B385B7-490F-4B64-8CDD-005D25D28D6D}"/>
                </a:ext>
              </a:extLst>
            </p:cNvPr>
            <p:cNvSpPr/>
            <p:nvPr/>
          </p:nvSpPr>
          <p:spPr>
            <a:xfrm rot="8716295">
              <a:off x="5442820" y="21646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8" name="Forme libre : forme 2547">
              <a:extLst>
                <a:ext uri="{FF2B5EF4-FFF2-40B4-BE49-F238E27FC236}">
                  <a16:creationId xmlns:a16="http://schemas.microsoft.com/office/drawing/2014/main" id="{00A5BEA9-8E4C-4D3C-A9D9-E06E091E430D}"/>
                </a:ext>
              </a:extLst>
            </p:cNvPr>
            <p:cNvSpPr/>
            <p:nvPr/>
          </p:nvSpPr>
          <p:spPr>
            <a:xfrm rot="8716295">
              <a:off x="5532212" y="24570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49" name="Forme libre : forme 2548">
              <a:extLst>
                <a:ext uri="{FF2B5EF4-FFF2-40B4-BE49-F238E27FC236}">
                  <a16:creationId xmlns:a16="http://schemas.microsoft.com/office/drawing/2014/main" id="{51F90AEB-3E6A-4371-81D7-8624D42EAD0B}"/>
                </a:ext>
              </a:extLst>
            </p:cNvPr>
            <p:cNvSpPr/>
            <p:nvPr/>
          </p:nvSpPr>
          <p:spPr>
            <a:xfrm rot="8716295">
              <a:off x="5487362" y="15942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0" name="Forme libre : forme 2549">
              <a:extLst>
                <a:ext uri="{FF2B5EF4-FFF2-40B4-BE49-F238E27FC236}">
                  <a16:creationId xmlns:a16="http://schemas.microsoft.com/office/drawing/2014/main" id="{66DEF209-BFB8-4520-8F33-CA20A27BB5A9}"/>
                </a:ext>
              </a:extLst>
            </p:cNvPr>
            <p:cNvSpPr/>
            <p:nvPr/>
          </p:nvSpPr>
          <p:spPr>
            <a:xfrm rot="8716295">
              <a:off x="5330586" y="30500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1" name="Forme libre : forme 2550">
              <a:extLst>
                <a:ext uri="{FF2B5EF4-FFF2-40B4-BE49-F238E27FC236}">
                  <a16:creationId xmlns:a16="http://schemas.microsoft.com/office/drawing/2014/main" id="{02E582F8-1DAD-41CD-B82A-472A28D81DC3}"/>
                </a:ext>
              </a:extLst>
            </p:cNvPr>
            <p:cNvSpPr/>
            <p:nvPr/>
          </p:nvSpPr>
          <p:spPr>
            <a:xfrm rot="8716295">
              <a:off x="5205683" y="9633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2" name="Forme libre : forme 2551">
              <a:extLst>
                <a:ext uri="{FF2B5EF4-FFF2-40B4-BE49-F238E27FC236}">
                  <a16:creationId xmlns:a16="http://schemas.microsoft.com/office/drawing/2014/main" id="{2D7C4CFF-E9C9-4017-8965-B23AA1CAC9F5}"/>
                </a:ext>
              </a:extLst>
            </p:cNvPr>
            <p:cNvSpPr/>
            <p:nvPr/>
          </p:nvSpPr>
          <p:spPr>
            <a:xfrm rot="8716295">
              <a:off x="5193248" y="-36152"/>
              <a:ext cx="290643" cy="340949"/>
            </a:xfrm>
            <a:custGeom>
              <a:avLst/>
              <a:gdLst>
                <a:gd name="connsiteX0" fmla="*/ 155476 w 290643"/>
                <a:gd name="connsiteY0" fmla="*/ 340949 h 340949"/>
                <a:gd name="connsiteX1" fmla="*/ 1169 w 290643"/>
                <a:gd name="connsiteY1" fmla="*/ 233989 h 340949"/>
                <a:gd name="connsiteX2" fmla="*/ 0 w 290643"/>
                <a:gd name="connsiteY2" fmla="*/ 220042 h 340949"/>
                <a:gd name="connsiteX3" fmla="*/ 0 w 290643"/>
                <a:gd name="connsiteY3" fmla="*/ 40596 h 340949"/>
                <a:gd name="connsiteX4" fmla="*/ 78250 w 290643"/>
                <a:gd name="connsiteY4" fmla="*/ 0 h 340949"/>
                <a:gd name="connsiteX5" fmla="*/ 79427 w 290643"/>
                <a:gd name="connsiteY5" fmla="*/ 164149 h 340949"/>
                <a:gd name="connsiteX6" fmla="*/ 93547 w 290643"/>
                <a:gd name="connsiteY6" fmla="*/ 261815 h 340949"/>
                <a:gd name="connsiteX7" fmla="*/ 164149 w 290643"/>
                <a:gd name="connsiteY7" fmla="*/ 300646 h 340949"/>
                <a:gd name="connsiteX8" fmla="*/ 217100 w 290643"/>
                <a:gd name="connsiteY8" fmla="*/ 291232 h 340949"/>
                <a:gd name="connsiteX9" fmla="*/ 289467 w 290643"/>
                <a:gd name="connsiteY9" fmla="*/ 261815 h 340949"/>
                <a:gd name="connsiteX10" fmla="*/ 290643 w 290643"/>
                <a:gd name="connsiteY10" fmla="*/ 269463 h 340949"/>
                <a:gd name="connsiteX11" fmla="*/ 290643 w 290643"/>
                <a:gd name="connsiteY11" fmla="*/ 275347 h 340949"/>
                <a:gd name="connsiteX12" fmla="*/ 189080 w 290643"/>
                <a:gd name="connsiteY12" fmla="*/ 331975 h 340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0643" h="340949">
                  <a:moveTo>
                    <a:pt x="155476" y="340949"/>
                  </a:moveTo>
                  <a:lnTo>
                    <a:pt x="1169" y="233989"/>
                  </a:lnTo>
                  <a:lnTo>
                    <a:pt x="0" y="220042"/>
                  </a:ln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9" y="300646"/>
                  </a:cubicBezTo>
                  <a:cubicBezTo>
                    <a:pt x="182388" y="300057"/>
                    <a:pt x="200038" y="296527"/>
                    <a:pt x="217100" y="291232"/>
                  </a:cubicBezTo>
                  <a:cubicBezTo>
                    <a:pt x="241810" y="283584"/>
                    <a:pt x="265933" y="273582"/>
                    <a:pt x="289467" y="261815"/>
                  </a:cubicBezTo>
                  <a:cubicBezTo>
                    <a:pt x="290055" y="264168"/>
                    <a:pt x="290643" y="267110"/>
                    <a:pt x="290643" y="269463"/>
                  </a:cubicBezTo>
                  <a:lnTo>
                    <a:pt x="290643" y="275347"/>
                  </a:lnTo>
                  <a:cubicBezTo>
                    <a:pt x="259461" y="302117"/>
                    <a:pt x="223425" y="320208"/>
                    <a:pt x="189080" y="3319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3" name="Forme libre : forme 2552">
              <a:extLst>
                <a:ext uri="{FF2B5EF4-FFF2-40B4-BE49-F238E27FC236}">
                  <a16:creationId xmlns:a16="http://schemas.microsoft.com/office/drawing/2014/main" id="{1B6E6328-9E6C-4820-97FC-4F7E1744304C}"/>
                </a:ext>
              </a:extLst>
            </p:cNvPr>
            <p:cNvSpPr/>
            <p:nvPr/>
          </p:nvSpPr>
          <p:spPr>
            <a:xfrm rot="8716295">
              <a:off x="5420764" y="34595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4" name="Forme libre : forme 2553">
              <a:extLst>
                <a:ext uri="{FF2B5EF4-FFF2-40B4-BE49-F238E27FC236}">
                  <a16:creationId xmlns:a16="http://schemas.microsoft.com/office/drawing/2014/main" id="{4F045B04-F6BC-4D60-B07A-B22F29BDB27C}"/>
                </a:ext>
              </a:extLst>
            </p:cNvPr>
            <p:cNvSpPr/>
            <p:nvPr/>
          </p:nvSpPr>
          <p:spPr>
            <a:xfrm rot="8716295">
              <a:off x="5731919" y="-3369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5" name="Forme libre : forme 2554">
              <a:extLst>
                <a:ext uri="{FF2B5EF4-FFF2-40B4-BE49-F238E27FC236}">
                  <a16:creationId xmlns:a16="http://schemas.microsoft.com/office/drawing/2014/main" id="{D50AC866-595F-4850-87C8-A4B5DFADD698}"/>
                </a:ext>
              </a:extLst>
            </p:cNvPr>
            <p:cNvSpPr/>
            <p:nvPr/>
          </p:nvSpPr>
          <p:spPr>
            <a:xfrm rot="8716295">
              <a:off x="5826428" y="14828"/>
              <a:ext cx="238830" cy="236556"/>
            </a:xfrm>
            <a:custGeom>
              <a:avLst/>
              <a:gdLst>
                <a:gd name="connsiteX0" fmla="*/ 56401 w 238830"/>
                <a:gd name="connsiteY0" fmla="*/ 236556 h 236556"/>
                <a:gd name="connsiteX1" fmla="*/ 29681 w 238830"/>
                <a:gd name="connsiteY1" fmla="*/ 218034 h 236556"/>
                <a:gd name="connsiteX2" fmla="*/ 29681 w 238830"/>
                <a:gd name="connsiteY2" fmla="*/ 45624 h 236556"/>
                <a:gd name="connsiteX3" fmla="*/ 0 w 238830"/>
                <a:gd name="connsiteY3" fmla="*/ 45624 h 236556"/>
                <a:gd name="connsiteX4" fmla="*/ 36558 w 238830"/>
                <a:gd name="connsiteY4" fmla="*/ 1425 h 236556"/>
                <a:gd name="connsiteX5" fmla="*/ 82994 w 238830"/>
                <a:gd name="connsiteY5" fmla="*/ 1425 h 236556"/>
                <a:gd name="connsiteX6" fmla="*/ 82994 w 238830"/>
                <a:gd name="connsiteY6" fmla="*/ 75242 h 236556"/>
                <a:gd name="connsiteX7" fmla="*/ 84360 w 238830"/>
                <a:gd name="connsiteY7" fmla="*/ 75242 h 236556"/>
                <a:gd name="connsiteX8" fmla="*/ 132205 w 238830"/>
                <a:gd name="connsiteY8" fmla="*/ 5981 h 236556"/>
                <a:gd name="connsiteX9" fmla="*/ 163646 w 238830"/>
                <a:gd name="connsiteY9" fmla="*/ 57 h 236556"/>
                <a:gd name="connsiteX10" fmla="*/ 238830 w 238830"/>
                <a:gd name="connsiteY10" fmla="*/ 88456 h 236556"/>
                <a:gd name="connsiteX11" fmla="*/ 238830 w 238830"/>
                <a:gd name="connsiteY11" fmla="*/ 94380 h 236556"/>
                <a:gd name="connsiteX12" fmla="*/ 176860 w 238830"/>
                <a:gd name="connsiteY12" fmla="*/ 98025 h 236556"/>
                <a:gd name="connsiteX13" fmla="*/ 176860 w 238830"/>
                <a:gd name="connsiteY13" fmla="*/ 81621 h 236556"/>
                <a:gd name="connsiteX14" fmla="*/ 143141 w 238830"/>
                <a:gd name="connsiteY14" fmla="*/ 40156 h 236556"/>
                <a:gd name="connsiteX15" fmla="*/ 89829 w 238830"/>
                <a:gd name="connsiteY15" fmla="*/ 127643 h 236556"/>
                <a:gd name="connsiteX16" fmla="*/ 89829 w 238830"/>
                <a:gd name="connsiteY16" fmla="*/ 213764 h 236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8830" h="236556">
                  <a:moveTo>
                    <a:pt x="56401" y="236556"/>
                  </a:moveTo>
                  <a:lnTo>
                    <a:pt x="29681" y="218034"/>
                  </a:lnTo>
                  <a:lnTo>
                    <a:pt x="29681" y="45624"/>
                  </a:lnTo>
                  <a:lnTo>
                    <a:pt x="0" y="45624"/>
                  </a:lnTo>
                  <a:lnTo>
                    <a:pt x="36558" y="1425"/>
                  </a:lnTo>
                  <a:lnTo>
                    <a:pt x="82994" y="1425"/>
                  </a:lnTo>
                  <a:lnTo>
                    <a:pt x="82994" y="75242"/>
                  </a:lnTo>
                  <a:lnTo>
                    <a:pt x="84360" y="75242"/>
                  </a:lnTo>
                  <a:cubicBezTo>
                    <a:pt x="98942" y="31954"/>
                    <a:pt x="110333" y="15095"/>
                    <a:pt x="132205" y="5981"/>
                  </a:cubicBezTo>
                  <a:cubicBezTo>
                    <a:pt x="142230" y="1880"/>
                    <a:pt x="152710" y="-398"/>
                    <a:pt x="163646" y="57"/>
                  </a:cubicBezTo>
                  <a:cubicBezTo>
                    <a:pt x="210579" y="-854"/>
                    <a:pt x="238830" y="31954"/>
                    <a:pt x="238830" y="88456"/>
                  </a:cubicBezTo>
                  <a:lnTo>
                    <a:pt x="238830" y="94380"/>
                  </a:lnTo>
                  <a:lnTo>
                    <a:pt x="176860" y="98025"/>
                  </a:lnTo>
                  <a:lnTo>
                    <a:pt x="176860" y="81621"/>
                  </a:lnTo>
                  <a:cubicBezTo>
                    <a:pt x="176860" y="57016"/>
                    <a:pt x="162735" y="40156"/>
                    <a:pt x="143141" y="40156"/>
                  </a:cubicBezTo>
                  <a:cubicBezTo>
                    <a:pt x="113979" y="40156"/>
                    <a:pt x="89829" y="78887"/>
                    <a:pt x="89829" y="127643"/>
                  </a:cubicBezTo>
                  <a:lnTo>
                    <a:pt x="89829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6" name="Forme libre : forme 2555">
              <a:extLst>
                <a:ext uri="{FF2B5EF4-FFF2-40B4-BE49-F238E27FC236}">
                  <a16:creationId xmlns:a16="http://schemas.microsoft.com/office/drawing/2014/main" id="{DC4B3E83-7005-4BBD-BBB0-A761AD405952}"/>
                </a:ext>
              </a:extLst>
            </p:cNvPr>
            <p:cNvSpPr/>
            <p:nvPr/>
          </p:nvSpPr>
          <p:spPr>
            <a:xfrm rot="8716295">
              <a:off x="5619685" y="5485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7" name="Forme libre : forme 2556">
              <a:extLst>
                <a:ext uri="{FF2B5EF4-FFF2-40B4-BE49-F238E27FC236}">
                  <a16:creationId xmlns:a16="http://schemas.microsoft.com/office/drawing/2014/main" id="{5C3D8184-C240-45BB-8949-CA444973BFCB}"/>
                </a:ext>
              </a:extLst>
            </p:cNvPr>
            <p:cNvSpPr/>
            <p:nvPr/>
          </p:nvSpPr>
          <p:spPr>
            <a:xfrm rot="8716295">
              <a:off x="5535493" y="-9286"/>
              <a:ext cx="144967" cy="55526"/>
            </a:xfrm>
            <a:custGeom>
              <a:avLst/>
              <a:gdLst>
                <a:gd name="connsiteX0" fmla="*/ 80105 w 144967"/>
                <a:gd name="connsiteY0" fmla="*/ 55526 h 55526"/>
                <a:gd name="connsiteX1" fmla="*/ 0 w 144967"/>
                <a:gd name="connsiteY1" fmla="*/ 0 h 55526"/>
                <a:gd name="connsiteX2" fmla="*/ 144967 w 144967"/>
                <a:gd name="connsiteY2" fmla="*/ 0 h 55526"/>
                <a:gd name="connsiteX3" fmla="*/ 144967 w 144967"/>
                <a:gd name="connsiteY3" fmla="*/ 55323 h 55526"/>
                <a:gd name="connsiteX4" fmla="*/ 80175 w 144967"/>
                <a:gd name="connsiteY4" fmla="*/ 55323 h 55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967" h="55526">
                  <a:moveTo>
                    <a:pt x="80105" y="55526"/>
                  </a:moveTo>
                  <a:lnTo>
                    <a:pt x="0" y="0"/>
                  </a:lnTo>
                  <a:lnTo>
                    <a:pt x="144967" y="0"/>
                  </a:lnTo>
                  <a:lnTo>
                    <a:pt x="144967" y="55323"/>
                  </a:lnTo>
                  <a:lnTo>
                    <a:pt x="8017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8" name="Forme libre : forme 2557">
              <a:extLst>
                <a:ext uri="{FF2B5EF4-FFF2-40B4-BE49-F238E27FC236}">
                  <a16:creationId xmlns:a16="http://schemas.microsoft.com/office/drawing/2014/main" id="{9211EEC6-BD80-4E39-BC94-F406797D4C14}"/>
                </a:ext>
              </a:extLst>
            </p:cNvPr>
            <p:cNvSpPr/>
            <p:nvPr/>
          </p:nvSpPr>
          <p:spPr>
            <a:xfrm rot="8716295">
              <a:off x="5709863" y="9580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59" name="Forme libre : forme 2558">
              <a:extLst>
                <a:ext uri="{FF2B5EF4-FFF2-40B4-BE49-F238E27FC236}">
                  <a16:creationId xmlns:a16="http://schemas.microsoft.com/office/drawing/2014/main" id="{787ACCBC-136A-4496-81B6-93B81D466D2B}"/>
                </a:ext>
              </a:extLst>
            </p:cNvPr>
            <p:cNvSpPr/>
            <p:nvPr/>
          </p:nvSpPr>
          <p:spPr>
            <a:xfrm rot="8716295">
              <a:off x="5474907" y="-18059"/>
              <a:ext cx="53295" cy="42130"/>
            </a:xfrm>
            <a:custGeom>
              <a:avLst/>
              <a:gdLst>
                <a:gd name="connsiteX0" fmla="*/ 51759 w 53295"/>
                <a:gd name="connsiteY0" fmla="*/ 42130 h 42130"/>
                <a:gd name="connsiteX1" fmla="*/ 0 w 53295"/>
                <a:gd name="connsiteY1" fmla="*/ 6252 h 42130"/>
                <a:gd name="connsiteX2" fmla="*/ 14807 w 53295"/>
                <a:gd name="connsiteY2" fmla="*/ 0 h 42130"/>
                <a:gd name="connsiteX3" fmla="*/ 41975 w 53295"/>
                <a:gd name="connsiteY3" fmla="*/ 11471 h 42130"/>
                <a:gd name="connsiteX4" fmla="*/ 53295 w 53295"/>
                <a:gd name="connsiteY4" fmla="*/ 38412 h 42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295" h="42130">
                  <a:moveTo>
                    <a:pt x="51759" y="42130"/>
                  </a:moveTo>
                  <a:lnTo>
                    <a:pt x="0" y="6252"/>
                  </a:lnTo>
                  <a:lnTo>
                    <a:pt x="14807" y="0"/>
                  </a:lnTo>
                  <a:cubicBezTo>
                    <a:pt x="25071" y="0"/>
                    <a:pt x="34731" y="4226"/>
                    <a:pt x="41975" y="11471"/>
                  </a:cubicBezTo>
                  <a:cubicBezTo>
                    <a:pt x="49522" y="18716"/>
                    <a:pt x="53295" y="28526"/>
                    <a:pt x="53295" y="3841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0" name="Forme libre : forme 2559">
              <a:extLst>
                <a:ext uri="{FF2B5EF4-FFF2-40B4-BE49-F238E27FC236}">
                  <a16:creationId xmlns:a16="http://schemas.microsoft.com/office/drawing/2014/main" id="{237D6F67-B176-4659-9C51-9A7BD34F0CA8}"/>
                </a:ext>
              </a:extLst>
            </p:cNvPr>
            <p:cNvSpPr/>
            <p:nvPr/>
          </p:nvSpPr>
          <p:spPr>
            <a:xfrm rot="7484129">
              <a:off x="5814794" y="28715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1" name="Forme libre : forme 2560">
              <a:extLst>
                <a:ext uri="{FF2B5EF4-FFF2-40B4-BE49-F238E27FC236}">
                  <a16:creationId xmlns:a16="http://schemas.microsoft.com/office/drawing/2014/main" id="{0A9A3C01-292B-4D95-942D-9306CC87D815}"/>
                </a:ext>
              </a:extLst>
            </p:cNvPr>
            <p:cNvSpPr/>
            <p:nvPr/>
          </p:nvSpPr>
          <p:spPr>
            <a:xfrm rot="13089394">
              <a:off x="5911866" y="269714"/>
              <a:ext cx="237929" cy="294867"/>
            </a:xfrm>
            <a:custGeom>
              <a:avLst/>
              <a:gdLst>
                <a:gd name="connsiteX0" fmla="*/ 39306 w 237929"/>
                <a:gd name="connsiteY0" fmla="*/ 79955 h 294867"/>
                <a:gd name="connsiteX1" fmla="*/ 0 w 237929"/>
                <a:gd name="connsiteY1" fmla="*/ 20095 h 294867"/>
                <a:gd name="connsiteX2" fmla="*/ 38733 w 237929"/>
                <a:gd name="connsiteY2" fmla="*/ 0 h 294867"/>
                <a:gd name="connsiteX3" fmla="*/ 237929 w 237929"/>
                <a:gd name="connsiteY3" fmla="*/ 258238 h 294867"/>
                <a:gd name="connsiteX4" fmla="*/ 191415 w 237929"/>
                <a:gd name="connsiteY4" fmla="*/ 290069 h 294867"/>
                <a:gd name="connsiteX5" fmla="*/ 180425 w 237929"/>
                <a:gd name="connsiteY5" fmla="*/ 294867 h 294867"/>
                <a:gd name="connsiteX6" fmla="*/ 166448 w 237929"/>
                <a:gd name="connsiteY6" fmla="*/ 273582 h 294867"/>
                <a:gd name="connsiteX7" fmla="*/ 168955 w 237929"/>
                <a:gd name="connsiteY7" fmla="*/ 273136 h 294867"/>
                <a:gd name="connsiteX8" fmla="*/ 236826 w 237929"/>
                <a:gd name="connsiteY8" fmla="*/ 245547 h 294867"/>
                <a:gd name="connsiteX9" fmla="*/ 237929 w 237929"/>
                <a:gd name="connsiteY9" fmla="*/ 252720 h 294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7929" h="294867">
                  <a:moveTo>
                    <a:pt x="39306" y="79955"/>
                  </a:moveTo>
                  <a:lnTo>
                    <a:pt x="0" y="20095"/>
                  </a:lnTo>
                  <a:lnTo>
                    <a:pt x="38733" y="0"/>
                  </a:lnTo>
                  <a:close/>
                  <a:moveTo>
                    <a:pt x="237929" y="258238"/>
                  </a:moveTo>
                  <a:cubicBezTo>
                    <a:pt x="223307" y="270791"/>
                    <a:pt x="207546" y="281309"/>
                    <a:pt x="191415" y="290069"/>
                  </a:cubicBezTo>
                  <a:lnTo>
                    <a:pt x="180425" y="294867"/>
                  </a:lnTo>
                  <a:lnTo>
                    <a:pt x="166448" y="273582"/>
                  </a:lnTo>
                  <a:lnTo>
                    <a:pt x="168955" y="273136"/>
                  </a:lnTo>
                  <a:cubicBezTo>
                    <a:pt x="192130" y="265963"/>
                    <a:pt x="214754" y="256582"/>
                    <a:pt x="236826" y="245547"/>
                  </a:cubicBezTo>
                  <a:cubicBezTo>
                    <a:pt x="237377" y="247754"/>
                    <a:pt x="237929" y="250513"/>
                    <a:pt x="237929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2" name="Forme libre : forme 2561">
              <a:extLst>
                <a:ext uri="{FF2B5EF4-FFF2-40B4-BE49-F238E27FC236}">
                  <a16:creationId xmlns:a16="http://schemas.microsoft.com/office/drawing/2014/main" id="{2A17DA33-A0C3-41F9-AE84-BDC6C53CFE7E}"/>
                </a:ext>
              </a:extLst>
            </p:cNvPr>
            <p:cNvSpPr/>
            <p:nvPr/>
          </p:nvSpPr>
          <p:spPr>
            <a:xfrm rot="8716295">
              <a:off x="6048768" y="-12983"/>
              <a:ext cx="59727" cy="80698"/>
            </a:xfrm>
            <a:custGeom>
              <a:avLst/>
              <a:gdLst>
                <a:gd name="connsiteX0" fmla="*/ 0 w 59727"/>
                <a:gd name="connsiteY0" fmla="*/ 52945 h 80698"/>
                <a:gd name="connsiteX1" fmla="*/ 43791 w 59727"/>
                <a:gd name="connsiteY1" fmla="*/ 0 h 80698"/>
                <a:gd name="connsiteX2" fmla="*/ 59727 w 59727"/>
                <a:gd name="connsiteY2" fmla="*/ 37928 h 80698"/>
                <a:gd name="connsiteX3" fmla="*/ 42480 w 59727"/>
                <a:gd name="connsiteY3" fmla="*/ 79666 h 80698"/>
                <a:gd name="connsiteX4" fmla="*/ 40038 w 59727"/>
                <a:gd name="connsiteY4" fmla="*/ 80698 h 80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727" h="80698">
                  <a:moveTo>
                    <a:pt x="0" y="52945"/>
                  </a:moveTo>
                  <a:lnTo>
                    <a:pt x="43791" y="0"/>
                  </a:lnTo>
                  <a:lnTo>
                    <a:pt x="59727" y="37928"/>
                  </a:lnTo>
                  <a:cubicBezTo>
                    <a:pt x="59727" y="52991"/>
                    <a:pt x="53978" y="68168"/>
                    <a:pt x="42480" y="79666"/>
                  </a:cubicBezTo>
                  <a:lnTo>
                    <a:pt x="40038" y="806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3" name="Forme libre : forme 2562">
              <a:extLst>
                <a:ext uri="{FF2B5EF4-FFF2-40B4-BE49-F238E27FC236}">
                  <a16:creationId xmlns:a16="http://schemas.microsoft.com/office/drawing/2014/main" id="{2353FF35-000A-436A-A845-6D57020C764E}"/>
                </a:ext>
              </a:extLst>
            </p:cNvPr>
            <p:cNvSpPr/>
            <p:nvPr/>
          </p:nvSpPr>
          <p:spPr>
            <a:xfrm rot="8716295">
              <a:off x="5807042" y="-10009"/>
              <a:ext cx="57775" cy="54433"/>
            </a:xfrm>
            <a:custGeom>
              <a:avLst/>
              <a:gdLst>
                <a:gd name="connsiteX0" fmla="*/ 37946 w 57775"/>
                <a:gd name="connsiteY0" fmla="*/ 54433 h 54433"/>
                <a:gd name="connsiteX1" fmla="*/ 0 w 57775"/>
                <a:gd name="connsiteY1" fmla="*/ 28130 h 54433"/>
                <a:gd name="connsiteX2" fmla="*/ 8222 w 57775"/>
                <a:gd name="connsiteY2" fmla="*/ 8658 h 54433"/>
                <a:gd name="connsiteX3" fmla="*/ 28726 w 57775"/>
                <a:gd name="connsiteY3" fmla="*/ 0 h 54433"/>
                <a:gd name="connsiteX4" fmla="*/ 49232 w 57775"/>
                <a:gd name="connsiteY4" fmla="*/ 8658 h 54433"/>
                <a:gd name="connsiteX5" fmla="*/ 49232 w 57775"/>
                <a:gd name="connsiteY5" fmla="*/ 49668 h 54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775" h="54433">
                  <a:moveTo>
                    <a:pt x="37946" y="54433"/>
                  </a:moveTo>
                  <a:lnTo>
                    <a:pt x="0" y="28130"/>
                  </a:lnTo>
                  <a:lnTo>
                    <a:pt x="8222" y="8658"/>
                  </a:lnTo>
                  <a:cubicBezTo>
                    <a:pt x="13690" y="3190"/>
                    <a:pt x="20981" y="0"/>
                    <a:pt x="28726" y="0"/>
                  </a:cubicBezTo>
                  <a:cubicBezTo>
                    <a:pt x="36473" y="0"/>
                    <a:pt x="43764" y="3190"/>
                    <a:pt x="49232" y="8658"/>
                  </a:cubicBezTo>
                  <a:cubicBezTo>
                    <a:pt x="60624" y="19594"/>
                    <a:pt x="60623" y="38276"/>
                    <a:pt x="49232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4" name="Forme libre : forme 2563">
              <a:extLst>
                <a:ext uri="{FF2B5EF4-FFF2-40B4-BE49-F238E27FC236}">
                  <a16:creationId xmlns:a16="http://schemas.microsoft.com/office/drawing/2014/main" id="{D553155B-6380-4B51-8419-ECFF292B83F9}"/>
                </a:ext>
              </a:extLst>
            </p:cNvPr>
            <p:cNvSpPr/>
            <p:nvPr/>
          </p:nvSpPr>
          <p:spPr>
            <a:xfrm rot="8716295">
              <a:off x="212141" y="304502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5" name="Forme libre : forme 2564">
              <a:extLst>
                <a:ext uri="{FF2B5EF4-FFF2-40B4-BE49-F238E27FC236}">
                  <a16:creationId xmlns:a16="http://schemas.microsoft.com/office/drawing/2014/main" id="{67BA1FC2-F36C-4A5C-929D-EFEA62216900}"/>
                </a:ext>
              </a:extLst>
            </p:cNvPr>
            <p:cNvSpPr/>
            <p:nvPr/>
          </p:nvSpPr>
          <p:spPr>
            <a:xfrm rot="8716295">
              <a:off x="301533" y="307427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6" name="Forme libre : forme 2565">
              <a:extLst>
                <a:ext uri="{FF2B5EF4-FFF2-40B4-BE49-F238E27FC236}">
                  <a16:creationId xmlns:a16="http://schemas.microsoft.com/office/drawing/2014/main" id="{511D384B-98C0-4C29-A1F9-D1BCF7610AEC}"/>
                </a:ext>
              </a:extLst>
            </p:cNvPr>
            <p:cNvSpPr/>
            <p:nvPr/>
          </p:nvSpPr>
          <p:spPr>
            <a:xfrm rot="8716295">
              <a:off x="256683" y="298799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7" name="Forme libre : forme 2566">
              <a:extLst>
                <a:ext uri="{FF2B5EF4-FFF2-40B4-BE49-F238E27FC236}">
                  <a16:creationId xmlns:a16="http://schemas.microsoft.com/office/drawing/2014/main" id="{B52ED1B2-C905-44CA-8DB7-D96A1D529045}"/>
                </a:ext>
              </a:extLst>
            </p:cNvPr>
            <p:cNvSpPr/>
            <p:nvPr/>
          </p:nvSpPr>
          <p:spPr>
            <a:xfrm rot="8716295">
              <a:off x="99907" y="313357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8" name="Forme libre : forme 2567">
              <a:extLst>
                <a:ext uri="{FF2B5EF4-FFF2-40B4-BE49-F238E27FC236}">
                  <a16:creationId xmlns:a16="http://schemas.microsoft.com/office/drawing/2014/main" id="{A5A1E363-60C9-4C33-A0CE-7C8397DEAC0C}"/>
                </a:ext>
              </a:extLst>
            </p:cNvPr>
            <p:cNvSpPr/>
            <p:nvPr/>
          </p:nvSpPr>
          <p:spPr>
            <a:xfrm rot="8716295">
              <a:off x="-24996" y="292489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69" name="Forme libre : forme 2568">
              <a:extLst>
                <a:ext uri="{FF2B5EF4-FFF2-40B4-BE49-F238E27FC236}">
                  <a16:creationId xmlns:a16="http://schemas.microsoft.com/office/drawing/2014/main" id="{8C120843-D6BE-458A-B9F4-0279F834C3ED}"/>
                </a:ext>
              </a:extLst>
            </p:cNvPr>
            <p:cNvSpPr/>
            <p:nvPr/>
          </p:nvSpPr>
          <p:spPr>
            <a:xfrm rot="8716295">
              <a:off x="51899" y="2754602"/>
              <a:ext cx="189488" cy="350829"/>
            </a:xfrm>
            <a:custGeom>
              <a:avLst/>
              <a:gdLst>
                <a:gd name="connsiteX0" fmla="*/ 25299 w 189488"/>
                <a:gd name="connsiteY0" fmla="*/ 321238 h 350829"/>
                <a:gd name="connsiteX1" fmla="*/ 0 w 189488"/>
                <a:gd name="connsiteY1" fmla="*/ 220042 h 350829"/>
                <a:gd name="connsiteX2" fmla="*/ 0 w 189488"/>
                <a:gd name="connsiteY2" fmla="*/ 40596 h 350829"/>
                <a:gd name="connsiteX3" fmla="*/ 78250 w 189488"/>
                <a:gd name="connsiteY3" fmla="*/ 0 h 350829"/>
                <a:gd name="connsiteX4" fmla="*/ 79427 w 189488"/>
                <a:gd name="connsiteY4" fmla="*/ 164149 h 350829"/>
                <a:gd name="connsiteX5" fmla="*/ 93547 w 189488"/>
                <a:gd name="connsiteY5" fmla="*/ 261815 h 350829"/>
                <a:gd name="connsiteX6" fmla="*/ 164148 w 189488"/>
                <a:gd name="connsiteY6" fmla="*/ 300646 h 350829"/>
                <a:gd name="connsiteX7" fmla="*/ 189488 w 189488"/>
                <a:gd name="connsiteY7" fmla="*/ 296141 h 350829"/>
                <a:gd name="connsiteX8" fmla="*/ 160617 w 189488"/>
                <a:gd name="connsiteY8" fmla="*/ 337791 h 350829"/>
                <a:gd name="connsiteX9" fmla="*/ 97666 w 189488"/>
                <a:gd name="connsiteY9" fmla="*/ 350655 h 350829"/>
                <a:gd name="connsiteX10" fmla="*/ 25299 w 189488"/>
                <a:gd name="connsiteY10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9488" h="350829">
                  <a:moveTo>
                    <a:pt x="25299" y="321238"/>
                  </a:moveTo>
                  <a:cubicBezTo>
                    <a:pt x="5295" y="301823"/>
                    <a:pt x="0" y="268286"/>
                    <a:pt x="0" y="220042"/>
                  </a:cubicBez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8" y="300646"/>
                  </a:cubicBezTo>
                  <a:lnTo>
                    <a:pt x="189488" y="296141"/>
                  </a:lnTo>
                  <a:lnTo>
                    <a:pt x="160617" y="337791"/>
                  </a:lnTo>
                  <a:lnTo>
                    <a:pt x="97666" y="350655"/>
                  </a:ln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0" name="Forme libre : forme 2569">
              <a:extLst>
                <a:ext uri="{FF2B5EF4-FFF2-40B4-BE49-F238E27FC236}">
                  <a16:creationId xmlns:a16="http://schemas.microsoft.com/office/drawing/2014/main" id="{8BAB5B23-705E-4A16-8C44-8327B4FD6CCC}"/>
                </a:ext>
              </a:extLst>
            </p:cNvPr>
            <p:cNvSpPr/>
            <p:nvPr/>
          </p:nvSpPr>
          <p:spPr>
            <a:xfrm rot="8716295">
              <a:off x="190085" y="317452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1" name="Forme libre : forme 2570">
              <a:extLst>
                <a:ext uri="{FF2B5EF4-FFF2-40B4-BE49-F238E27FC236}">
                  <a16:creationId xmlns:a16="http://schemas.microsoft.com/office/drawing/2014/main" id="{D9337EE8-67E6-49B9-9D08-B8E3597E2BD9}"/>
                </a:ext>
              </a:extLst>
            </p:cNvPr>
            <p:cNvSpPr/>
            <p:nvPr/>
          </p:nvSpPr>
          <p:spPr>
            <a:xfrm rot="8716295">
              <a:off x="501240" y="279487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2" name="Forme libre : forme 2571">
              <a:extLst>
                <a:ext uri="{FF2B5EF4-FFF2-40B4-BE49-F238E27FC236}">
                  <a16:creationId xmlns:a16="http://schemas.microsoft.com/office/drawing/2014/main" id="{383A3F11-DF41-44C2-9C23-687BDA5000E4}"/>
                </a:ext>
              </a:extLst>
            </p:cNvPr>
            <p:cNvSpPr/>
            <p:nvPr/>
          </p:nvSpPr>
          <p:spPr>
            <a:xfrm rot="8716295">
              <a:off x="590632" y="282411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3" name="Forme libre : forme 2572">
              <a:extLst>
                <a:ext uri="{FF2B5EF4-FFF2-40B4-BE49-F238E27FC236}">
                  <a16:creationId xmlns:a16="http://schemas.microsoft.com/office/drawing/2014/main" id="{55344225-1E1A-4BD5-AF05-BEDD630E150A}"/>
                </a:ext>
              </a:extLst>
            </p:cNvPr>
            <p:cNvSpPr/>
            <p:nvPr/>
          </p:nvSpPr>
          <p:spPr>
            <a:xfrm rot="8716295">
              <a:off x="389006" y="288342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4" name="Forme libre : forme 2573">
              <a:extLst>
                <a:ext uri="{FF2B5EF4-FFF2-40B4-BE49-F238E27FC236}">
                  <a16:creationId xmlns:a16="http://schemas.microsoft.com/office/drawing/2014/main" id="{85976604-818D-4F72-A8AF-F6A0827261B7}"/>
                </a:ext>
              </a:extLst>
            </p:cNvPr>
            <p:cNvSpPr/>
            <p:nvPr/>
          </p:nvSpPr>
          <p:spPr>
            <a:xfrm rot="8716295">
              <a:off x="264104" y="267474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5" name="Forme libre : forme 2574">
              <a:extLst>
                <a:ext uri="{FF2B5EF4-FFF2-40B4-BE49-F238E27FC236}">
                  <a16:creationId xmlns:a16="http://schemas.microsoft.com/office/drawing/2014/main" id="{A24AD263-F244-4E1D-862B-19F7259C99AB}"/>
                </a:ext>
              </a:extLst>
            </p:cNvPr>
            <p:cNvSpPr/>
            <p:nvPr/>
          </p:nvSpPr>
          <p:spPr>
            <a:xfrm rot="8716295">
              <a:off x="479184" y="292437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6" name="Forme libre : forme 2575">
              <a:extLst>
                <a:ext uri="{FF2B5EF4-FFF2-40B4-BE49-F238E27FC236}">
                  <a16:creationId xmlns:a16="http://schemas.microsoft.com/office/drawing/2014/main" id="{9C7315BF-5178-441E-B131-40E9768C1474}"/>
                </a:ext>
              </a:extLst>
            </p:cNvPr>
            <p:cNvSpPr/>
            <p:nvPr/>
          </p:nvSpPr>
          <p:spPr>
            <a:xfrm rot="8716295">
              <a:off x="237733" y="277477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7" name="Forme libre : forme 2576">
              <a:extLst>
                <a:ext uri="{FF2B5EF4-FFF2-40B4-BE49-F238E27FC236}">
                  <a16:creationId xmlns:a16="http://schemas.microsoft.com/office/drawing/2014/main" id="{349DA2D3-448B-490C-8DB7-4751B7D9038F}"/>
                </a:ext>
              </a:extLst>
            </p:cNvPr>
            <p:cNvSpPr/>
            <p:nvPr/>
          </p:nvSpPr>
          <p:spPr>
            <a:xfrm rot="7484129">
              <a:off x="584115" y="311572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8" name="Forme libre : forme 2577">
              <a:extLst>
                <a:ext uri="{FF2B5EF4-FFF2-40B4-BE49-F238E27FC236}">
                  <a16:creationId xmlns:a16="http://schemas.microsoft.com/office/drawing/2014/main" id="{9AA64EB5-5BC8-403B-AB82-04D81C133255}"/>
                </a:ext>
              </a:extLst>
            </p:cNvPr>
            <p:cNvSpPr/>
            <p:nvPr/>
          </p:nvSpPr>
          <p:spPr>
            <a:xfrm rot="13089394">
              <a:off x="688935" y="3082257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79" name="Forme libre : forme 2578">
              <a:extLst>
                <a:ext uri="{FF2B5EF4-FFF2-40B4-BE49-F238E27FC236}">
                  <a16:creationId xmlns:a16="http://schemas.microsoft.com/office/drawing/2014/main" id="{110BE40B-E2DA-4AFB-B27B-B3411BDC52CC}"/>
                </a:ext>
              </a:extLst>
            </p:cNvPr>
            <p:cNvSpPr/>
            <p:nvPr/>
          </p:nvSpPr>
          <p:spPr>
            <a:xfrm rot="8716295">
              <a:off x="874520" y="2890576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0" name="Forme libre : forme 2579">
              <a:extLst>
                <a:ext uri="{FF2B5EF4-FFF2-40B4-BE49-F238E27FC236}">
                  <a16:creationId xmlns:a16="http://schemas.microsoft.com/office/drawing/2014/main" id="{F835BCFD-B829-4BDD-8C2F-E93572759B49}"/>
                </a:ext>
              </a:extLst>
            </p:cNvPr>
            <p:cNvSpPr/>
            <p:nvPr/>
          </p:nvSpPr>
          <p:spPr>
            <a:xfrm rot="8716295">
              <a:off x="822715" y="278698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1" name="Forme libre : forme 2580">
              <a:extLst>
                <a:ext uri="{FF2B5EF4-FFF2-40B4-BE49-F238E27FC236}">
                  <a16:creationId xmlns:a16="http://schemas.microsoft.com/office/drawing/2014/main" id="{4C10496A-AC84-46A0-B11B-FC58DD24DFB9}"/>
                </a:ext>
              </a:extLst>
            </p:cNvPr>
            <p:cNvSpPr/>
            <p:nvPr/>
          </p:nvSpPr>
          <p:spPr>
            <a:xfrm rot="8716295">
              <a:off x="579469" y="28172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2" name="Forme libre : forme 2581">
              <a:extLst>
                <a:ext uri="{FF2B5EF4-FFF2-40B4-BE49-F238E27FC236}">
                  <a16:creationId xmlns:a16="http://schemas.microsoft.com/office/drawing/2014/main" id="{4AA264E2-3912-4F32-A3B9-9EF25D1D901D}"/>
                </a:ext>
              </a:extLst>
            </p:cNvPr>
            <p:cNvSpPr/>
            <p:nvPr/>
          </p:nvSpPr>
          <p:spPr>
            <a:xfrm rot="8716295">
              <a:off x="756921" y="265796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3" name="Forme libre : forme 2582">
              <a:extLst>
                <a:ext uri="{FF2B5EF4-FFF2-40B4-BE49-F238E27FC236}">
                  <a16:creationId xmlns:a16="http://schemas.microsoft.com/office/drawing/2014/main" id="{AA017B42-43C6-488B-8364-7F6BD3840C9C}"/>
                </a:ext>
              </a:extLst>
            </p:cNvPr>
            <p:cNvSpPr/>
            <p:nvPr/>
          </p:nvSpPr>
          <p:spPr>
            <a:xfrm rot="8716295">
              <a:off x="435308" y="370472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4" name="Forme libre : forme 2583">
              <a:extLst>
                <a:ext uri="{FF2B5EF4-FFF2-40B4-BE49-F238E27FC236}">
                  <a16:creationId xmlns:a16="http://schemas.microsoft.com/office/drawing/2014/main" id="{9757EFE7-39F8-43EA-9F4B-67F36396014B}"/>
                </a:ext>
              </a:extLst>
            </p:cNvPr>
            <p:cNvSpPr/>
            <p:nvPr/>
          </p:nvSpPr>
          <p:spPr>
            <a:xfrm rot="8716295">
              <a:off x="524700" y="373396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5" name="Forme libre : forme 2584">
              <a:extLst>
                <a:ext uri="{FF2B5EF4-FFF2-40B4-BE49-F238E27FC236}">
                  <a16:creationId xmlns:a16="http://schemas.microsoft.com/office/drawing/2014/main" id="{C8B0FFE9-5876-4A75-9F9D-7572BD2EA600}"/>
                </a:ext>
              </a:extLst>
            </p:cNvPr>
            <p:cNvSpPr/>
            <p:nvPr/>
          </p:nvSpPr>
          <p:spPr>
            <a:xfrm rot="8716295">
              <a:off x="479850" y="3647689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6" name="Forme libre : forme 2585">
              <a:extLst>
                <a:ext uri="{FF2B5EF4-FFF2-40B4-BE49-F238E27FC236}">
                  <a16:creationId xmlns:a16="http://schemas.microsoft.com/office/drawing/2014/main" id="{12E703CA-24C4-41EF-85F5-B38E93728456}"/>
                </a:ext>
              </a:extLst>
            </p:cNvPr>
            <p:cNvSpPr/>
            <p:nvPr/>
          </p:nvSpPr>
          <p:spPr>
            <a:xfrm rot="8716295">
              <a:off x="323074" y="379327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7" name="Forme libre : forme 2586">
              <a:extLst>
                <a:ext uri="{FF2B5EF4-FFF2-40B4-BE49-F238E27FC236}">
                  <a16:creationId xmlns:a16="http://schemas.microsoft.com/office/drawing/2014/main" id="{02E77907-D7EE-4230-A30B-47434E4968C2}"/>
                </a:ext>
              </a:extLst>
            </p:cNvPr>
            <p:cNvSpPr/>
            <p:nvPr/>
          </p:nvSpPr>
          <p:spPr>
            <a:xfrm rot="8716295">
              <a:off x="198171" y="358459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8" name="Forme libre : forme 2587">
              <a:extLst>
                <a:ext uri="{FF2B5EF4-FFF2-40B4-BE49-F238E27FC236}">
                  <a16:creationId xmlns:a16="http://schemas.microsoft.com/office/drawing/2014/main" id="{AB97544A-09D9-4A69-BC58-374B026F7202}"/>
                </a:ext>
              </a:extLst>
            </p:cNvPr>
            <p:cNvSpPr/>
            <p:nvPr/>
          </p:nvSpPr>
          <p:spPr>
            <a:xfrm rot="8716295">
              <a:off x="186119" y="344581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89" name="Forme libre : forme 2588">
              <a:extLst>
                <a:ext uri="{FF2B5EF4-FFF2-40B4-BE49-F238E27FC236}">
                  <a16:creationId xmlns:a16="http://schemas.microsoft.com/office/drawing/2014/main" id="{34C5510E-41C9-47D0-BA02-373BE24443F0}"/>
                </a:ext>
              </a:extLst>
            </p:cNvPr>
            <p:cNvSpPr/>
            <p:nvPr/>
          </p:nvSpPr>
          <p:spPr>
            <a:xfrm rot="8716295">
              <a:off x="413252" y="3834223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0" name="Forme libre : forme 2589">
              <a:extLst>
                <a:ext uri="{FF2B5EF4-FFF2-40B4-BE49-F238E27FC236}">
                  <a16:creationId xmlns:a16="http://schemas.microsoft.com/office/drawing/2014/main" id="{DC985ECF-E700-420E-BE15-8A41B5493ADF}"/>
                </a:ext>
              </a:extLst>
            </p:cNvPr>
            <p:cNvSpPr/>
            <p:nvPr/>
          </p:nvSpPr>
          <p:spPr>
            <a:xfrm rot="8716295">
              <a:off x="724407" y="345457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1" name="Forme libre : forme 2590">
              <a:extLst>
                <a:ext uri="{FF2B5EF4-FFF2-40B4-BE49-F238E27FC236}">
                  <a16:creationId xmlns:a16="http://schemas.microsoft.com/office/drawing/2014/main" id="{1E0CC155-5EA9-483B-9C01-9A8547393CE9}"/>
                </a:ext>
              </a:extLst>
            </p:cNvPr>
            <p:cNvSpPr/>
            <p:nvPr/>
          </p:nvSpPr>
          <p:spPr>
            <a:xfrm rot="8716295">
              <a:off x="813799" y="348381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2" name="Forme libre : forme 2591">
              <a:extLst>
                <a:ext uri="{FF2B5EF4-FFF2-40B4-BE49-F238E27FC236}">
                  <a16:creationId xmlns:a16="http://schemas.microsoft.com/office/drawing/2014/main" id="{C928522C-0918-4B4D-98AC-FEB2728E3112}"/>
                </a:ext>
              </a:extLst>
            </p:cNvPr>
            <p:cNvSpPr/>
            <p:nvPr/>
          </p:nvSpPr>
          <p:spPr>
            <a:xfrm rot="8716295">
              <a:off x="612173" y="354311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3" name="Forme libre : forme 2592">
              <a:extLst>
                <a:ext uri="{FF2B5EF4-FFF2-40B4-BE49-F238E27FC236}">
                  <a16:creationId xmlns:a16="http://schemas.microsoft.com/office/drawing/2014/main" id="{DC803AC2-4D03-45B3-B9A0-52BF6118175A}"/>
                </a:ext>
              </a:extLst>
            </p:cNvPr>
            <p:cNvSpPr/>
            <p:nvPr/>
          </p:nvSpPr>
          <p:spPr>
            <a:xfrm rot="8716295">
              <a:off x="487271" y="333444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4" name="Forme libre : forme 2593">
              <a:extLst>
                <a:ext uri="{FF2B5EF4-FFF2-40B4-BE49-F238E27FC236}">
                  <a16:creationId xmlns:a16="http://schemas.microsoft.com/office/drawing/2014/main" id="{A6BB2734-0B6A-4FD6-B566-A73E3DB68FC9}"/>
                </a:ext>
              </a:extLst>
            </p:cNvPr>
            <p:cNvSpPr/>
            <p:nvPr/>
          </p:nvSpPr>
          <p:spPr>
            <a:xfrm rot="8716295">
              <a:off x="702351" y="3584071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5" name="Forme libre : forme 2594">
              <a:extLst>
                <a:ext uri="{FF2B5EF4-FFF2-40B4-BE49-F238E27FC236}">
                  <a16:creationId xmlns:a16="http://schemas.microsoft.com/office/drawing/2014/main" id="{D74825A4-174B-4E11-B9F6-139E451B842F}"/>
                </a:ext>
              </a:extLst>
            </p:cNvPr>
            <p:cNvSpPr/>
            <p:nvPr/>
          </p:nvSpPr>
          <p:spPr>
            <a:xfrm rot="8716295">
              <a:off x="460900" y="343447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6" name="Forme libre : forme 2595">
              <a:extLst>
                <a:ext uri="{FF2B5EF4-FFF2-40B4-BE49-F238E27FC236}">
                  <a16:creationId xmlns:a16="http://schemas.microsoft.com/office/drawing/2014/main" id="{B39A9789-18FB-4A83-8AB0-8EE94A39D245}"/>
                </a:ext>
              </a:extLst>
            </p:cNvPr>
            <p:cNvSpPr/>
            <p:nvPr/>
          </p:nvSpPr>
          <p:spPr>
            <a:xfrm rot="7484129">
              <a:off x="807282" y="377542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7" name="Forme libre : forme 2596">
              <a:extLst>
                <a:ext uri="{FF2B5EF4-FFF2-40B4-BE49-F238E27FC236}">
                  <a16:creationId xmlns:a16="http://schemas.microsoft.com/office/drawing/2014/main" id="{AA0538E3-ADD4-4948-A138-F37F8A9A2A82}"/>
                </a:ext>
              </a:extLst>
            </p:cNvPr>
            <p:cNvSpPr/>
            <p:nvPr/>
          </p:nvSpPr>
          <p:spPr>
            <a:xfrm rot="13089394">
              <a:off x="912102" y="374195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8" name="Forme libre : forme 2597">
              <a:extLst>
                <a:ext uri="{FF2B5EF4-FFF2-40B4-BE49-F238E27FC236}">
                  <a16:creationId xmlns:a16="http://schemas.microsoft.com/office/drawing/2014/main" id="{CF8DE766-ABD4-4BFE-A9EE-39A1E5F1ADDE}"/>
                </a:ext>
              </a:extLst>
            </p:cNvPr>
            <p:cNvSpPr/>
            <p:nvPr/>
          </p:nvSpPr>
          <p:spPr>
            <a:xfrm rot="8716295">
              <a:off x="1097687" y="355027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99" name="Forme libre : forme 2598">
              <a:extLst>
                <a:ext uri="{FF2B5EF4-FFF2-40B4-BE49-F238E27FC236}">
                  <a16:creationId xmlns:a16="http://schemas.microsoft.com/office/drawing/2014/main" id="{BB03C112-DBC5-4C26-B8A2-9B16ED5B8438}"/>
                </a:ext>
              </a:extLst>
            </p:cNvPr>
            <p:cNvSpPr/>
            <p:nvPr/>
          </p:nvSpPr>
          <p:spPr>
            <a:xfrm rot="8716295">
              <a:off x="1045882" y="344668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0" name="Forme libre : forme 2599">
              <a:extLst>
                <a:ext uri="{FF2B5EF4-FFF2-40B4-BE49-F238E27FC236}">
                  <a16:creationId xmlns:a16="http://schemas.microsoft.com/office/drawing/2014/main" id="{8A6E9B1C-F5E3-4869-9D37-53881A1E0D30}"/>
                </a:ext>
              </a:extLst>
            </p:cNvPr>
            <p:cNvSpPr/>
            <p:nvPr/>
          </p:nvSpPr>
          <p:spPr>
            <a:xfrm rot="8716295">
              <a:off x="802636" y="347690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1" name="Forme libre : forme 2600">
              <a:extLst>
                <a:ext uri="{FF2B5EF4-FFF2-40B4-BE49-F238E27FC236}">
                  <a16:creationId xmlns:a16="http://schemas.microsoft.com/office/drawing/2014/main" id="{9334980A-BAFA-4A40-881F-47BA45E71C45}"/>
                </a:ext>
              </a:extLst>
            </p:cNvPr>
            <p:cNvSpPr/>
            <p:nvPr/>
          </p:nvSpPr>
          <p:spPr>
            <a:xfrm rot="8716295">
              <a:off x="980088" y="331766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2" name="Forme libre : forme 2601">
              <a:extLst>
                <a:ext uri="{FF2B5EF4-FFF2-40B4-BE49-F238E27FC236}">
                  <a16:creationId xmlns:a16="http://schemas.microsoft.com/office/drawing/2014/main" id="{CB8DEDF2-3B2E-45C9-B615-DEF954E19F5C}"/>
                </a:ext>
              </a:extLst>
            </p:cNvPr>
            <p:cNvSpPr/>
            <p:nvPr/>
          </p:nvSpPr>
          <p:spPr>
            <a:xfrm rot="8716295">
              <a:off x="653978" y="436312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3" name="Forme libre : forme 2602">
              <a:extLst>
                <a:ext uri="{FF2B5EF4-FFF2-40B4-BE49-F238E27FC236}">
                  <a16:creationId xmlns:a16="http://schemas.microsoft.com/office/drawing/2014/main" id="{A0F4E462-72BE-4E95-8052-DC09F97FD920}"/>
                </a:ext>
              </a:extLst>
            </p:cNvPr>
            <p:cNvSpPr/>
            <p:nvPr/>
          </p:nvSpPr>
          <p:spPr>
            <a:xfrm rot="8716295">
              <a:off x="743370" y="439236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4" name="Forme libre : forme 2603">
              <a:extLst>
                <a:ext uri="{FF2B5EF4-FFF2-40B4-BE49-F238E27FC236}">
                  <a16:creationId xmlns:a16="http://schemas.microsoft.com/office/drawing/2014/main" id="{B5E4A9EC-F9DB-4374-B71B-DBB47B736D39}"/>
                </a:ext>
              </a:extLst>
            </p:cNvPr>
            <p:cNvSpPr/>
            <p:nvPr/>
          </p:nvSpPr>
          <p:spPr>
            <a:xfrm rot="8716295">
              <a:off x="698520" y="430608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5" name="Forme libre : forme 2604">
              <a:extLst>
                <a:ext uri="{FF2B5EF4-FFF2-40B4-BE49-F238E27FC236}">
                  <a16:creationId xmlns:a16="http://schemas.microsoft.com/office/drawing/2014/main" id="{9327144A-57D0-46D2-94EE-E0EDBB5CBE6B}"/>
                </a:ext>
              </a:extLst>
            </p:cNvPr>
            <p:cNvSpPr/>
            <p:nvPr/>
          </p:nvSpPr>
          <p:spPr>
            <a:xfrm rot="8716295">
              <a:off x="541744" y="445166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6" name="Forme libre : forme 2605">
              <a:extLst>
                <a:ext uri="{FF2B5EF4-FFF2-40B4-BE49-F238E27FC236}">
                  <a16:creationId xmlns:a16="http://schemas.microsoft.com/office/drawing/2014/main" id="{CF6C36D8-54CF-4C2D-805A-C0939EA3F7FF}"/>
                </a:ext>
              </a:extLst>
            </p:cNvPr>
            <p:cNvSpPr/>
            <p:nvPr/>
          </p:nvSpPr>
          <p:spPr>
            <a:xfrm rot="8716295">
              <a:off x="416841" y="424299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7" name="Forme libre : forme 2606">
              <a:extLst>
                <a:ext uri="{FF2B5EF4-FFF2-40B4-BE49-F238E27FC236}">
                  <a16:creationId xmlns:a16="http://schemas.microsoft.com/office/drawing/2014/main" id="{C0525EEA-9ECF-45A3-94B2-985EBCFF2BE0}"/>
                </a:ext>
              </a:extLst>
            </p:cNvPr>
            <p:cNvSpPr/>
            <p:nvPr/>
          </p:nvSpPr>
          <p:spPr>
            <a:xfrm rot="8716295">
              <a:off x="404789" y="410421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8" name="Forme libre : forme 2607">
              <a:extLst>
                <a:ext uri="{FF2B5EF4-FFF2-40B4-BE49-F238E27FC236}">
                  <a16:creationId xmlns:a16="http://schemas.microsoft.com/office/drawing/2014/main" id="{A3C12029-0ED3-40B9-BF57-1173D18F4F7E}"/>
                </a:ext>
              </a:extLst>
            </p:cNvPr>
            <p:cNvSpPr/>
            <p:nvPr/>
          </p:nvSpPr>
          <p:spPr>
            <a:xfrm rot="8716295">
              <a:off x="631922" y="449261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09" name="Forme libre : forme 2608">
              <a:extLst>
                <a:ext uri="{FF2B5EF4-FFF2-40B4-BE49-F238E27FC236}">
                  <a16:creationId xmlns:a16="http://schemas.microsoft.com/office/drawing/2014/main" id="{C60E6EB0-4431-4352-A520-775C9B1D20EB}"/>
                </a:ext>
              </a:extLst>
            </p:cNvPr>
            <p:cNvSpPr/>
            <p:nvPr/>
          </p:nvSpPr>
          <p:spPr>
            <a:xfrm rot="8716295">
              <a:off x="943077" y="411297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0" name="Forme libre : forme 2609">
              <a:extLst>
                <a:ext uri="{FF2B5EF4-FFF2-40B4-BE49-F238E27FC236}">
                  <a16:creationId xmlns:a16="http://schemas.microsoft.com/office/drawing/2014/main" id="{B066E095-E974-4F34-ACE3-A24B4391CB1F}"/>
                </a:ext>
              </a:extLst>
            </p:cNvPr>
            <p:cNvSpPr/>
            <p:nvPr/>
          </p:nvSpPr>
          <p:spPr>
            <a:xfrm rot="8716295">
              <a:off x="1032469" y="414221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1" name="Forme libre : forme 2610">
              <a:extLst>
                <a:ext uri="{FF2B5EF4-FFF2-40B4-BE49-F238E27FC236}">
                  <a16:creationId xmlns:a16="http://schemas.microsoft.com/office/drawing/2014/main" id="{CBDAA4A6-CE8D-49EC-958E-CCED7DECB58D}"/>
                </a:ext>
              </a:extLst>
            </p:cNvPr>
            <p:cNvSpPr/>
            <p:nvPr/>
          </p:nvSpPr>
          <p:spPr>
            <a:xfrm rot="8716295">
              <a:off x="830843" y="420151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2" name="Forme libre : forme 2611">
              <a:extLst>
                <a:ext uri="{FF2B5EF4-FFF2-40B4-BE49-F238E27FC236}">
                  <a16:creationId xmlns:a16="http://schemas.microsoft.com/office/drawing/2014/main" id="{288DAD6F-B380-40EA-8AAF-2306A1EC474F}"/>
                </a:ext>
              </a:extLst>
            </p:cNvPr>
            <p:cNvSpPr/>
            <p:nvPr/>
          </p:nvSpPr>
          <p:spPr>
            <a:xfrm rot="8716295">
              <a:off x="705941" y="399284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3" name="Forme libre : forme 2612">
              <a:extLst>
                <a:ext uri="{FF2B5EF4-FFF2-40B4-BE49-F238E27FC236}">
                  <a16:creationId xmlns:a16="http://schemas.microsoft.com/office/drawing/2014/main" id="{4A24F38C-B025-479B-BFB4-01CC9653C749}"/>
                </a:ext>
              </a:extLst>
            </p:cNvPr>
            <p:cNvSpPr/>
            <p:nvPr/>
          </p:nvSpPr>
          <p:spPr>
            <a:xfrm rot="8716295">
              <a:off x="921021" y="424246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4" name="Forme libre : forme 2613">
              <a:extLst>
                <a:ext uri="{FF2B5EF4-FFF2-40B4-BE49-F238E27FC236}">
                  <a16:creationId xmlns:a16="http://schemas.microsoft.com/office/drawing/2014/main" id="{1223FB49-E601-4769-85A8-CFA4FAB7D70B}"/>
                </a:ext>
              </a:extLst>
            </p:cNvPr>
            <p:cNvSpPr/>
            <p:nvPr/>
          </p:nvSpPr>
          <p:spPr>
            <a:xfrm rot="8716295">
              <a:off x="679570" y="409286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5" name="Forme libre : forme 2614">
              <a:extLst>
                <a:ext uri="{FF2B5EF4-FFF2-40B4-BE49-F238E27FC236}">
                  <a16:creationId xmlns:a16="http://schemas.microsoft.com/office/drawing/2014/main" id="{BA639576-6474-4C0A-8D54-5559B761F42F}"/>
                </a:ext>
              </a:extLst>
            </p:cNvPr>
            <p:cNvSpPr/>
            <p:nvPr/>
          </p:nvSpPr>
          <p:spPr>
            <a:xfrm rot="7484129">
              <a:off x="1025952" y="443381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6" name="Forme libre : forme 2615">
              <a:extLst>
                <a:ext uri="{FF2B5EF4-FFF2-40B4-BE49-F238E27FC236}">
                  <a16:creationId xmlns:a16="http://schemas.microsoft.com/office/drawing/2014/main" id="{D1BF3875-F476-48EB-80B5-AB6552F18672}"/>
                </a:ext>
              </a:extLst>
            </p:cNvPr>
            <p:cNvSpPr/>
            <p:nvPr/>
          </p:nvSpPr>
          <p:spPr>
            <a:xfrm rot="13089394">
              <a:off x="1130772" y="440035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7" name="Forme libre : forme 2616">
              <a:extLst>
                <a:ext uri="{FF2B5EF4-FFF2-40B4-BE49-F238E27FC236}">
                  <a16:creationId xmlns:a16="http://schemas.microsoft.com/office/drawing/2014/main" id="{365A6B56-59C5-4058-A50F-5C3B4137CD35}"/>
                </a:ext>
              </a:extLst>
            </p:cNvPr>
            <p:cNvSpPr/>
            <p:nvPr/>
          </p:nvSpPr>
          <p:spPr>
            <a:xfrm rot="8716295">
              <a:off x="1316357" y="420867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8" name="Forme libre : forme 2617">
              <a:extLst>
                <a:ext uri="{FF2B5EF4-FFF2-40B4-BE49-F238E27FC236}">
                  <a16:creationId xmlns:a16="http://schemas.microsoft.com/office/drawing/2014/main" id="{8C5BA123-C7D6-44D6-AA16-D21269FAA986}"/>
                </a:ext>
              </a:extLst>
            </p:cNvPr>
            <p:cNvSpPr/>
            <p:nvPr/>
          </p:nvSpPr>
          <p:spPr>
            <a:xfrm rot="8716295">
              <a:off x="1264552" y="410507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19" name="Forme libre : forme 2618">
              <a:extLst>
                <a:ext uri="{FF2B5EF4-FFF2-40B4-BE49-F238E27FC236}">
                  <a16:creationId xmlns:a16="http://schemas.microsoft.com/office/drawing/2014/main" id="{70BEA0E6-BA45-474E-9DCD-1EA76AE64104}"/>
                </a:ext>
              </a:extLst>
            </p:cNvPr>
            <p:cNvSpPr/>
            <p:nvPr/>
          </p:nvSpPr>
          <p:spPr>
            <a:xfrm rot="8716295">
              <a:off x="1021306" y="413529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0" name="Forme libre : forme 2619">
              <a:extLst>
                <a:ext uri="{FF2B5EF4-FFF2-40B4-BE49-F238E27FC236}">
                  <a16:creationId xmlns:a16="http://schemas.microsoft.com/office/drawing/2014/main" id="{C149CD7C-7D92-4AED-9D1C-37BD7242EF23}"/>
                </a:ext>
              </a:extLst>
            </p:cNvPr>
            <p:cNvSpPr/>
            <p:nvPr/>
          </p:nvSpPr>
          <p:spPr>
            <a:xfrm rot="8716295">
              <a:off x="1198758" y="397605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1" name="Forme libre : forme 2620">
              <a:extLst>
                <a:ext uri="{FF2B5EF4-FFF2-40B4-BE49-F238E27FC236}">
                  <a16:creationId xmlns:a16="http://schemas.microsoft.com/office/drawing/2014/main" id="{80F0E45F-313A-4E3C-BD45-F7FCACCBFE55}"/>
                </a:ext>
              </a:extLst>
            </p:cNvPr>
            <p:cNvSpPr/>
            <p:nvPr/>
          </p:nvSpPr>
          <p:spPr>
            <a:xfrm rot="8716295">
              <a:off x="849927" y="5056695"/>
              <a:ext cx="61059" cy="114384"/>
            </a:xfrm>
            <a:custGeom>
              <a:avLst/>
              <a:gdLst>
                <a:gd name="connsiteX0" fmla="*/ 0 w 61059"/>
                <a:gd name="connsiteY0" fmla="*/ 114384 h 114384"/>
                <a:gd name="connsiteX1" fmla="*/ 0 w 61059"/>
                <a:gd name="connsiteY1" fmla="*/ 0 h 114384"/>
                <a:gd name="connsiteX2" fmla="*/ 61059 w 61059"/>
                <a:gd name="connsiteY2" fmla="*/ 42324 h 114384"/>
                <a:gd name="connsiteX3" fmla="*/ 61059 w 61059"/>
                <a:gd name="connsiteY3" fmla="*/ 90234 h 114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059" h="114384">
                  <a:moveTo>
                    <a:pt x="0" y="114384"/>
                  </a:moveTo>
                  <a:lnTo>
                    <a:pt x="0" y="0"/>
                  </a:lnTo>
                  <a:lnTo>
                    <a:pt x="61059" y="42324"/>
                  </a:lnTo>
                  <a:lnTo>
                    <a:pt x="61059" y="902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2" name="Forme libre : forme 2621">
              <a:extLst>
                <a:ext uri="{FF2B5EF4-FFF2-40B4-BE49-F238E27FC236}">
                  <a16:creationId xmlns:a16="http://schemas.microsoft.com/office/drawing/2014/main" id="{7529EC4C-3BE3-428A-99A6-A49001A03C8A}"/>
                </a:ext>
              </a:extLst>
            </p:cNvPr>
            <p:cNvSpPr/>
            <p:nvPr/>
          </p:nvSpPr>
          <p:spPr>
            <a:xfrm rot="8716295">
              <a:off x="1072880" y="5030752"/>
              <a:ext cx="60148" cy="142578"/>
            </a:xfrm>
            <a:custGeom>
              <a:avLst/>
              <a:gdLst>
                <a:gd name="connsiteX0" fmla="*/ 0 w 60148"/>
                <a:gd name="connsiteY0" fmla="*/ 142578 h 142578"/>
                <a:gd name="connsiteX1" fmla="*/ 0 w 60148"/>
                <a:gd name="connsiteY1" fmla="*/ 0 h 142578"/>
                <a:gd name="connsiteX2" fmla="*/ 60148 w 60148"/>
                <a:gd name="connsiteY2" fmla="*/ 41693 h 142578"/>
                <a:gd name="connsiteX3" fmla="*/ 60148 w 60148"/>
                <a:gd name="connsiteY3" fmla="*/ 101569 h 142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8" h="142578">
                  <a:moveTo>
                    <a:pt x="0" y="142578"/>
                  </a:moveTo>
                  <a:lnTo>
                    <a:pt x="0" y="0"/>
                  </a:lnTo>
                  <a:lnTo>
                    <a:pt x="60148" y="41693"/>
                  </a:lnTo>
                  <a:lnTo>
                    <a:pt x="60148" y="1015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3" name="Forme libre : forme 2622">
              <a:extLst>
                <a:ext uri="{FF2B5EF4-FFF2-40B4-BE49-F238E27FC236}">
                  <a16:creationId xmlns:a16="http://schemas.microsoft.com/office/drawing/2014/main" id="{236BE908-FD47-4165-8DE7-ECD8DAF2AAAA}"/>
                </a:ext>
              </a:extLst>
            </p:cNvPr>
            <p:cNvSpPr/>
            <p:nvPr/>
          </p:nvSpPr>
          <p:spPr>
            <a:xfrm rot="8716295">
              <a:off x="921687" y="496578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4" name="Forme libre : forme 2623">
              <a:extLst>
                <a:ext uri="{FF2B5EF4-FFF2-40B4-BE49-F238E27FC236}">
                  <a16:creationId xmlns:a16="http://schemas.microsoft.com/office/drawing/2014/main" id="{9D0A88D9-251D-4CDC-8AD5-7088F4C7446F}"/>
                </a:ext>
              </a:extLst>
            </p:cNvPr>
            <p:cNvSpPr/>
            <p:nvPr/>
          </p:nvSpPr>
          <p:spPr>
            <a:xfrm rot="8716295">
              <a:off x="762271" y="5108547"/>
              <a:ext cx="53742" cy="49705"/>
            </a:xfrm>
            <a:custGeom>
              <a:avLst/>
              <a:gdLst>
                <a:gd name="connsiteX0" fmla="*/ 8658 w 53742"/>
                <a:gd name="connsiteY0" fmla="*/ 41503 h 49705"/>
                <a:gd name="connsiteX1" fmla="*/ 0 w 53742"/>
                <a:gd name="connsiteY1" fmla="*/ 20999 h 49705"/>
                <a:gd name="connsiteX2" fmla="*/ 0 w 53742"/>
                <a:gd name="connsiteY2" fmla="*/ 20542 h 49705"/>
                <a:gd name="connsiteX3" fmla="*/ 8658 w 53742"/>
                <a:gd name="connsiteY3" fmla="*/ 38 h 49705"/>
                <a:gd name="connsiteX4" fmla="*/ 8747 w 53742"/>
                <a:gd name="connsiteY4" fmla="*/ 0 h 49705"/>
                <a:gd name="connsiteX5" fmla="*/ 53742 w 53742"/>
                <a:gd name="connsiteY5" fmla="*/ 31189 h 49705"/>
                <a:gd name="connsiteX6" fmla="*/ 49668 w 53742"/>
                <a:gd name="connsiteY6" fmla="*/ 41048 h 49705"/>
                <a:gd name="connsiteX7" fmla="*/ 29162 w 53742"/>
                <a:gd name="connsiteY7" fmla="*/ 49705 h 49705"/>
                <a:gd name="connsiteX8" fmla="*/ 8658 w 53742"/>
                <a:gd name="connsiteY8" fmla="*/ 41503 h 49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2" h="49705">
                  <a:moveTo>
                    <a:pt x="8658" y="41503"/>
                  </a:moveTo>
                  <a:cubicBezTo>
                    <a:pt x="3190" y="36035"/>
                    <a:pt x="0" y="28744"/>
                    <a:pt x="0" y="20999"/>
                  </a:cubicBezTo>
                  <a:lnTo>
                    <a:pt x="0" y="20542"/>
                  </a:lnTo>
                  <a:cubicBezTo>
                    <a:pt x="0" y="12796"/>
                    <a:pt x="3190" y="5506"/>
                    <a:pt x="8658" y="38"/>
                  </a:cubicBezTo>
                  <a:lnTo>
                    <a:pt x="8747" y="0"/>
                  </a:lnTo>
                  <a:lnTo>
                    <a:pt x="53742" y="31189"/>
                  </a:lnTo>
                  <a:lnTo>
                    <a:pt x="49668" y="41048"/>
                  </a:lnTo>
                  <a:cubicBezTo>
                    <a:pt x="44200" y="46516"/>
                    <a:pt x="36909" y="49705"/>
                    <a:pt x="29162" y="49705"/>
                  </a:cubicBezTo>
                  <a:cubicBezTo>
                    <a:pt x="21416" y="49705"/>
                    <a:pt x="14126" y="46971"/>
                    <a:pt x="8658" y="415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5" name="Forme libre : forme 2624">
              <a:extLst>
                <a:ext uri="{FF2B5EF4-FFF2-40B4-BE49-F238E27FC236}">
                  <a16:creationId xmlns:a16="http://schemas.microsoft.com/office/drawing/2014/main" id="{24CE2296-47DA-4E73-B690-5BD981A20099}"/>
                </a:ext>
              </a:extLst>
            </p:cNvPr>
            <p:cNvSpPr/>
            <p:nvPr/>
          </p:nvSpPr>
          <p:spPr>
            <a:xfrm rot="8716295">
              <a:off x="635497" y="4902607"/>
              <a:ext cx="203847" cy="195874"/>
            </a:xfrm>
            <a:custGeom>
              <a:avLst/>
              <a:gdLst>
                <a:gd name="connsiteX0" fmla="*/ 90709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203847 w 203847"/>
                <a:gd name="connsiteY5" fmla="*/ 0 h 195874"/>
                <a:gd name="connsiteX6" fmla="*/ 203847 w 203847"/>
                <a:gd name="connsiteY6" fmla="*/ 55323 h 195874"/>
                <a:gd name="connsiteX7" fmla="*/ 139055 w 203847"/>
                <a:gd name="connsiteY7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47" h="195874">
                  <a:moveTo>
                    <a:pt x="90709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6" name="Forme libre : forme 2625">
              <a:extLst>
                <a:ext uri="{FF2B5EF4-FFF2-40B4-BE49-F238E27FC236}">
                  <a16:creationId xmlns:a16="http://schemas.microsoft.com/office/drawing/2014/main" id="{69ED9B1C-460E-49D7-9814-5E873DD38909}"/>
                </a:ext>
              </a:extLst>
            </p:cNvPr>
            <p:cNvSpPr/>
            <p:nvPr/>
          </p:nvSpPr>
          <p:spPr>
            <a:xfrm rot="8716295">
              <a:off x="627956" y="476391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7" name="Forme libre : forme 2626">
              <a:extLst>
                <a:ext uri="{FF2B5EF4-FFF2-40B4-BE49-F238E27FC236}">
                  <a16:creationId xmlns:a16="http://schemas.microsoft.com/office/drawing/2014/main" id="{79D260F9-94B8-41AD-A161-808B1C0A7D15}"/>
                </a:ext>
              </a:extLst>
            </p:cNvPr>
            <p:cNvSpPr/>
            <p:nvPr/>
          </p:nvSpPr>
          <p:spPr>
            <a:xfrm rot="8716295">
              <a:off x="1166244" y="477267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8" name="Forme libre : forme 2627">
              <a:extLst>
                <a:ext uri="{FF2B5EF4-FFF2-40B4-BE49-F238E27FC236}">
                  <a16:creationId xmlns:a16="http://schemas.microsoft.com/office/drawing/2014/main" id="{F05AB143-FB53-4FDC-BA57-6D2DC99C98E2}"/>
                </a:ext>
              </a:extLst>
            </p:cNvPr>
            <p:cNvSpPr/>
            <p:nvPr/>
          </p:nvSpPr>
          <p:spPr>
            <a:xfrm rot="8716295">
              <a:off x="1255636" y="480191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29" name="Forme libre : forme 2628">
              <a:extLst>
                <a:ext uri="{FF2B5EF4-FFF2-40B4-BE49-F238E27FC236}">
                  <a16:creationId xmlns:a16="http://schemas.microsoft.com/office/drawing/2014/main" id="{7DCFE830-90FF-4B60-9B6B-E08B672D854F}"/>
                </a:ext>
              </a:extLst>
            </p:cNvPr>
            <p:cNvSpPr/>
            <p:nvPr/>
          </p:nvSpPr>
          <p:spPr>
            <a:xfrm rot="8716295">
              <a:off x="1054010" y="486121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0" name="Forme libre : forme 2629">
              <a:extLst>
                <a:ext uri="{FF2B5EF4-FFF2-40B4-BE49-F238E27FC236}">
                  <a16:creationId xmlns:a16="http://schemas.microsoft.com/office/drawing/2014/main" id="{B4B54539-14CC-41BD-B75A-325D1E42B0DE}"/>
                </a:ext>
              </a:extLst>
            </p:cNvPr>
            <p:cNvSpPr/>
            <p:nvPr/>
          </p:nvSpPr>
          <p:spPr>
            <a:xfrm rot="8716295">
              <a:off x="929108" y="465254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1" name="Forme libre : forme 2630">
              <a:extLst>
                <a:ext uri="{FF2B5EF4-FFF2-40B4-BE49-F238E27FC236}">
                  <a16:creationId xmlns:a16="http://schemas.microsoft.com/office/drawing/2014/main" id="{DEBFD6B9-903B-4010-BD7C-FE85EFE6B331}"/>
                </a:ext>
              </a:extLst>
            </p:cNvPr>
            <p:cNvSpPr/>
            <p:nvPr/>
          </p:nvSpPr>
          <p:spPr>
            <a:xfrm rot="8716295">
              <a:off x="1144188" y="490216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2" name="Forme libre : forme 2631">
              <a:extLst>
                <a:ext uri="{FF2B5EF4-FFF2-40B4-BE49-F238E27FC236}">
                  <a16:creationId xmlns:a16="http://schemas.microsoft.com/office/drawing/2014/main" id="{A82EDDD3-D641-4773-AD0E-A0BEBC26D35C}"/>
                </a:ext>
              </a:extLst>
            </p:cNvPr>
            <p:cNvSpPr/>
            <p:nvPr/>
          </p:nvSpPr>
          <p:spPr>
            <a:xfrm rot="8716295">
              <a:off x="902737" y="475256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3" name="Forme libre : forme 2632">
              <a:extLst>
                <a:ext uri="{FF2B5EF4-FFF2-40B4-BE49-F238E27FC236}">
                  <a16:creationId xmlns:a16="http://schemas.microsoft.com/office/drawing/2014/main" id="{47B99FED-FE43-4D3F-823F-416C658CC0FD}"/>
                </a:ext>
              </a:extLst>
            </p:cNvPr>
            <p:cNvSpPr/>
            <p:nvPr/>
          </p:nvSpPr>
          <p:spPr>
            <a:xfrm rot="7484129">
              <a:off x="1313689" y="5058219"/>
              <a:ext cx="97325" cy="159603"/>
            </a:xfrm>
            <a:custGeom>
              <a:avLst/>
              <a:gdLst>
                <a:gd name="connsiteX0" fmla="*/ 0 w 97325"/>
                <a:gd name="connsiteY0" fmla="*/ 19052 h 159603"/>
                <a:gd name="connsiteX1" fmla="*/ 0 w 97325"/>
                <a:gd name="connsiteY1" fmla="*/ 0 h 159603"/>
                <a:gd name="connsiteX2" fmla="*/ 13209 w 97325"/>
                <a:gd name="connsiteY2" fmla="*/ 19052 h 159603"/>
                <a:gd name="connsiteX3" fmla="*/ 90710 w 97325"/>
                <a:gd name="connsiteY3" fmla="*/ 159603 h 159603"/>
                <a:gd name="connsiteX4" fmla="*/ 47847 w 97325"/>
                <a:gd name="connsiteY4" fmla="*/ 79858 h 159603"/>
                <a:gd name="connsiteX5" fmla="*/ 50421 w 97325"/>
                <a:gd name="connsiteY5" fmla="*/ 72721 h 159603"/>
                <a:gd name="connsiteX6" fmla="*/ 97325 w 97325"/>
                <a:gd name="connsiteY6" fmla="*/ 140370 h 159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7325" h="159603">
                  <a:moveTo>
                    <a:pt x="0" y="19052"/>
                  </a:moveTo>
                  <a:lnTo>
                    <a:pt x="0" y="0"/>
                  </a:lnTo>
                  <a:lnTo>
                    <a:pt x="13209" y="19052"/>
                  </a:lnTo>
                  <a:close/>
                  <a:moveTo>
                    <a:pt x="90710" y="159603"/>
                  </a:moveTo>
                  <a:lnTo>
                    <a:pt x="47847" y="79858"/>
                  </a:lnTo>
                  <a:lnTo>
                    <a:pt x="50421" y="72721"/>
                  </a:lnTo>
                  <a:lnTo>
                    <a:pt x="97325" y="14037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4" name="Forme libre : forme 2633">
              <a:extLst>
                <a:ext uri="{FF2B5EF4-FFF2-40B4-BE49-F238E27FC236}">
                  <a16:creationId xmlns:a16="http://schemas.microsoft.com/office/drawing/2014/main" id="{CD995AAD-128C-467F-9BB7-36623FE9AF9C}"/>
                </a:ext>
              </a:extLst>
            </p:cNvPr>
            <p:cNvSpPr/>
            <p:nvPr/>
          </p:nvSpPr>
          <p:spPr>
            <a:xfrm rot="13089394">
              <a:off x="1435176" y="5064332"/>
              <a:ext cx="213297" cy="83320"/>
            </a:xfrm>
            <a:custGeom>
              <a:avLst/>
              <a:gdLst>
                <a:gd name="connsiteX0" fmla="*/ 213297 w 213297"/>
                <a:gd name="connsiteY0" fmla="*/ 12691 h 83320"/>
                <a:gd name="connsiteX1" fmla="*/ 32310 w 213297"/>
                <a:gd name="connsiteY1" fmla="*/ 83320 h 83320"/>
                <a:gd name="connsiteX2" fmla="*/ 0 w 213297"/>
                <a:gd name="connsiteY2" fmla="*/ 77753 h 83320"/>
                <a:gd name="connsiteX3" fmla="*/ 69926 w 213297"/>
                <a:gd name="connsiteY3" fmla="*/ 22813 h 83320"/>
                <a:gd name="connsiteX4" fmla="*/ 94662 w 213297"/>
                <a:gd name="connsiteY4" fmla="*/ 36418 h 83320"/>
                <a:gd name="connsiteX5" fmla="*/ 144323 w 213297"/>
                <a:gd name="connsiteY5" fmla="*/ 27589 h 83320"/>
                <a:gd name="connsiteX6" fmla="*/ 212193 w 213297"/>
                <a:gd name="connsiteY6" fmla="*/ 0 h 83320"/>
                <a:gd name="connsiteX7" fmla="*/ 213297 w 213297"/>
                <a:gd name="connsiteY7" fmla="*/ 7173 h 83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3297" h="83320">
                  <a:moveTo>
                    <a:pt x="213297" y="12691"/>
                  </a:moveTo>
                  <a:cubicBezTo>
                    <a:pt x="154807" y="62904"/>
                    <a:pt x="78108" y="80561"/>
                    <a:pt x="32310" y="83320"/>
                  </a:cubicBezTo>
                  <a:lnTo>
                    <a:pt x="0" y="77753"/>
                  </a:lnTo>
                  <a:lnTo>
                    <a:pt x="69926" y="22813"/>
                  </a:lnTo>
                  <a:lnTo>
                    <a:pt x="94662" y="36418"/>
                  </a:lnTo>
                  <a:cubicBezTo>
                    <a:pt x="111768" y="35866"/>
                    <a:pt x="128321" y="32555"/>
                    <a:pt x="144323" y="27589"/>
                  </a:cubicBezTo>
                  <a:cubicBezTo>
                    <a:pt x="167498" y="20416"/>
                    <a:pt x="190122" y="11036"/>
                    <a:pt x="212193" y="0"/>
                  </a:cubicBezTo>
                  <a:cubicBezTo>
                    <a:pt x="212745" y="2207"/>
                    <a:pt x="213297" y="4966"/>
                    <a:pt x="213297" y="71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5" name="Forme libre : forme 2634">
              <a:extLst>
                <a:ext uri="{FF2B5EF4-FFF2-40B4-BE49-F238E27FC236}">
                  <a16:creationId xmlns:a16="http://schemas.microsoft.com/office/drawing/2014/main" id="{49D90B24-A800-4AB4-8BC6-20F8B1C7CC95}"/>
                </a:ext>
              </a:extLst>
            </p:cNvPr>
            <p:cNvSpPr/>
            <p:nvPr/>
          </p:nvSpPr>
          <p:spPr>
            <a:xfrm rot="8716295">
              <a:off x="1539524" y="486837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6" name="Forme libre : forme 2635">
              <a:extLst>
                <a:ext uri="{FF2B5EF4-FFF2-40B4-BE49-F238E27FC236}">
                  <a16:creationId xmlns:a16="http://schemas.microsoft.com/office/drawing/2014/main" id="{E7BFA9FF-1546-4389-8A4F-CB28F2368F69}"/>
                </a:ext>
              </a:extLst>
            </p:cNvPr>
            <p:cNvSpPr/>
            <p:nvPr/>
          </p:nvSpPr>
          <p:spPr>
            <a:xfrm rot="8716295">
              <a:off x="1487719" y="476477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7" name="Forme libre : forme 2636">
              <a:extLst>
                <a:ext uri="{FF2B5EF4-FFF2-40B4-BE49-F238E27FC236}">
                  <a16:creationId xmlns:a16="http://schemas.microsoft.com/office/drawing/2014/main" id="{FCAD725F-8F6F-478A-87B0-EEC32F9F919D}"/>
                </a:ext>
              </a:extLst>
            </p:cNvPr>
            <p:cNvSpPr/>
            <p:nvPr/>
          </p:nvSpPr>
          <p:spPr>
            <a:xfrm rot="8716295">
              <a:off x="1244473" y="479499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8" name="Forme libre : forme 2637">
              <a:extLst>
                <a:ext uri="{FF2B5EF4-FFF2-40B4-BE49-F238E27FC236}">
                  <a16:creationId xmlns:a16="http://schemas.microsoft.com/office/drawing/2014/main" id="{8D93731B-9FC7-4DB3-B5BD-48812BA1AC03}"/>
                </a:ext>
              </a:extLst>
            </p:cNvPr>
            <p:cNvSpPr/>
            <p:nvPr/>
          </p:nvSpPr>
          <p:spPr>
            <a:xfrm rot="8716295">
              <a:off x="1421925" y="463575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39" name="Forme libre : forme 2638">
              <a:extLst>
                <a:ext uri="{FF2B5EF4-FFF2-40B4-BE49-F238E27FC236}">
                  <a16:creationId xmlns:a16="http://schemas.microsoft.com/office/drawing/2014/main" id="{FBF4D361-9AA8-4A88-8218-D320BCC61A2A}"/>
                </a:ext>
              </a:extLst>
            </p:cNvPr>
            <p:cNvSpPr/>
            <p:nvPr/>
          </p:nvSpPr>
          <p:spPr>
            <a:xfrm rot="8716295">
              <a:off x="-3428" y="2405990"/>
              <a:ext cx="142167" cy="208592"/>
            </a:xfrm>
            <a:custGeom>
              <a:avLst/>
              <a:gdLst>
                <a:gd name="connsiteX0" fmla="*/ 81108 w 142167"/>
                <a:gd name="connsiteY0" fmla="*/ 208592 h 208592"/>
                <a:gd name="connsiteX1" fmla="*/ 81108 w 142167"/>
                <a:gd name="connsiteY1" fmla="*/ 69717 h 208592"/>
                <a:gd name="connsiteX2" fmla="*/ 81108 w 142167"/>
                <a:gd name="connsiteY2" fmla="*/ 65615 h 208592"/>
                <a:gd name="connsiteX3" fmla="*/ 60604 w 142167"/>
                <a:gd name="connsiteY3" fmla="*/ 50123 h 208592"/>
                <a:gd name="connsiteX4" fmla="*/ 0 w 142167"/>
                <a:gd name="connsiteY4" fmla="*/ 50123 h 208592"/>
                <a:gd name="connsiteX5" fmla="*/ 0 w 142167"/>
                <a:gd name="connsiteY5" fmla="*/ 0 h 208592"/>
                <a:gd name="connsiteX6" fmla="*/ 85210 w 142167"/>
                <a:gd name="connsiteY6" fmla="*/ 0 h 208592"/>
                <a:gd name="connsiteX7" fmla="*/ 142167 w 142167"/>
                <a:gd name="connsiteY7" fmla="*/ 50123 h 208592"/>
                <a:gd name="connsiteX8" fmla="*/ 142167 w 142167"/>
                <a:gd name="connsiteY8" fmla="*/ 120504 h 20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7" h="208592">
                  <a:moveTo>
                    <a:pt x="81108" y="208592"/>
                  </a:moveTo>
                  <a:lnTo>
                    <a:pt x="81108" y="69717"/>
                  </a:lnTo>
                  <a:cubicBezTo>
                    <a:pt x="81108" y="68350"/>
                    <a:pt x="81108" y="66983"/>
                    <a:pt x="81108" y="65615"/>
                  </a:cubicBezTo>
                  <a:cubicBezTo>
                    <a:pt x="79742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10" y="0"/>
                  </a:lnTo>
                  <a:cubicBezTo>
                    <a:pt x="122118" y="0"/>
                    <a:pt x="142167" y="15948"/>
                    <a:pt x="142167" y="50123"/>
                  </a:cubicBezTo>
                  <a:lnTo>
                    <a:pt x="142167" y="1205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0" name="Forme libre : forme 2639">
              <a:extLst>
                <a:ext uri="{FF2B5EF4-FFF2-40B4-BE49-F238E27FC236}">
                  <a16:creationId xmlns:a16="http://schemas.microsoft.com/office/drawing/2014/main" id="{F59F7285-A490-40D9-B60E-0C3A9BE2B431}"/>
                </a:ext>
              </a:extLst>
            </p:cNvPr>
            <p:cNvSpPr/>
            <p:nvPr/>
          </p:nvSpPr>
          <p:spPr>
            <a:xfrm rot="8716295">
              <a:off x="80015" y="241329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1" name="Forme libre : forme 2640">
              <a:extLst>
                <a:ext uri="{FF2B5EF4-FFF2-40B4-BE49-F238E27FC236}">
                  <a16:creationId xmlns:a16="http://schemas.microsoft.com/office/drawing/2014/main" id="{20B54E2C-EE11-45C1-BA49-4E36F75318A1}"/>
                </a:ext>
              </a:extLst>
            </p:cNvPr>
            <p:cNvSpPr/>
            <p:nvPr/>
          </p:nvSpPr>
          <p:spPr>
            <a:xfrm rot="8716295">
              <a:off x="35165" y="232701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2" name="Forme libre : forme 2641">
              <a:extLst>
                <a:ext uri="{FF2B5EF4-FFF2-40B4-BE49-F238E27FC236}">
                  <a16:creationId xmlns:a16="http://schemas.microsoft.com/office/drawing/2014/main" id="{8AE2099A-B385-47DA-B590-BD7DDE6B6A71}"/>
                </a:ext>
              </a:extLst>
            </p:cNvPr>
            <p:cNvSpPr/>
            <p:nvPr/>
          </p:nvSpPr>
          <p:spPr>
            <a:xfrm rot="8716295">
              <a:off x="-20257" y="2217087"/>
              <a:ext cx="78731" cy="180665"/>
            </a:xfrm>
            <a:custGeom>
              <a:avLst/>
              <a:gdLst>
                <a:gd name="connsiteX0" fmla="*/ 0 w 78731"/>
                <a:gd name="connsiteY0" fmla="*/ 180665 h 180665"/>
                <a:gd name="connsiteX1" fmla="*/ 0 w 78731"/>
                <a:gd name="connsiteY1" fmla="*/ 40596 h 180665"/>
                <a:gd name="connsiteX2" fmla="*/ 78250 w 78731"/>
                <a:gd name="connsiteY2" fmla="*/ 0 h 180665"/>
                <a:gd name="connsiteX3" fmla="*/ 78731 w 78731"/>
                <a:gd name="connsiteY3" fmla="*/ 67083 h 180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731" h="180665">
                  <a:moveTo>
                    <a:pt x="0" y="180665"/>
                  </a:moveTo>
                  <a:lnTo>
                    <a:pt x="0" y="40596"/>
                  </a:lnTo>
                  <a:lnTo>
                    <a:pt x="78250" y="0"/>
                  </a:lnTo>
                  <a:lnTo>
                    <a:pt x="78731" y="670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3" name="Forme libre : forme 2642">
              <a:extLst>
                <a:ext uri="{FF2B5EF4-FFF2-40B4-BE49-F238E27FC236}">
                  <a16:creationId xmlns:a16="http://schemas.microsoft.com/office/drawing/2014/main" id="{D39E2648-E7A5-42E0-AD61-95E487ECB3DA}"/>
                </a:ext>
              </a:extLst>
            </p:cNvPr>
            <p:cNvSpPr/>
            <p:nvPr/>
          </p:nvSpPr>
          <p:spPr>
            <a:xfrm rot="8716295">
              <a:off x="-15341" y="2575209"/>
              <a:ext cx="103435" cy="152027"/>
            </a:xfrm>
            <a:custGeom>
              <a:avLst/>
              <a:gdLst>
                <a:gd name="connsiteX0" fmla="*/ 43288 w 103435"/>
                <a:gd name="connsiteY0" fmla="*/ 152027 h 152027"/>
                <a:gd name="connsiteX1" fmla="*/ 43288 w 103435"/>
                <a:gd name="connsiteY1" fmla="*/ 16404 h 152027"/>
                <a:gd name="connsiteX2" fmla="*/ 0 w 103435"/>
                <a:gd name="connsiteY2" fmla="*/ 16404 h 152027"/>
                <a:gd name="connsiteX3" fmla="*/ 0 w 103435"/>
                <a:gd name="connsiteY3" fmla="*/ 2278 h 152027"/>
                <a:gd name="connsiteX4" fmla="*/ 103435 w 103435"/>
                <a:gd name="connsiteY4" fmla="*/ 0 h 152027"/>
                <a:gd name="connsiteX5" fmla="*/ 103435 w 103435"/>
                <a:gd name="connsiteY5" fmla="*/ 65255 h 152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152027">
                  <a:moveTo>
                    <a:pt x="43288" y="152027"/>
                  </a:move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652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4" name="Forme libre : forme 2643">
              <a:extLst>
                <a:ext uri="{FF2B5EF4-FFF2-40B4-BE49-F238E27FC236}">
                  <a16:creationId xmlns:a16="http://schemas.microsoft.com/office/drawing/2014/main" id="{F9F90177-1768-4A55-9562-0BA26D7DB1AB}"/>
                </a:ext>
              </a:extLst>
            </p:cNvPr>
            <p:cNvSpPr/>
            <p:nvPr/>
          </p:nvSpPr>
          <p:spPr>
            <a:xfrm rot="8716295">
              <a:off x="279722" y="213390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5" name="Forme libre : forme 2644">
              <a:extLst>
                <a:ext uri="{FF2B5EF4-FFF2-40B4-BE49-F238E27FC236}">
                  <a16:creationId xmlns:a16="http://schemas.microsoft.com/office/drawing/2014/main" id="{C30F908C-2E6C-43EB-AF00-6AFB653DDDA9}"/>
                </a:ext>
              </a:extLst>
            </p:cNvPr>
            <p:cNvSpPr/>
            <p:nvPr/>
          </p:nvSpPr>
          <p:spPr>
            <a:xfrm rot="8716295">
              <a:off x="369114" y="216314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6" name="Forme libre : forme 2645">
              <a:extLst>
                <a:ext uri="{FF2B5EF4-FFF2-40B4-BE49-F238E27FC236}">
                  <a16:creationId xmlns:a16="http://schemas.microsoft.com/office/drawing/2014/main" id="{8A6E38A5-6A60-4A98-B0EA-F6F171396D5F}"/>
                </a:ext>
              </a:extLst>
            </p:cNvPr>
            <p:cNvSpPr/>
            <p:nvPr/>
          </p:nvSpPr>
          <p:spPr>
            <a:xfrm rot="8716295">
              <a:off x="167488" y="22224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7" name="Forme libre : forme 2646">
              <a:extLst>
                <a:ext uri="{FF2B5EF4-FFF2-40B4-BE49-F238E27FC236}">
                  <a16:creationId xmlns:a16="http://schemas.microsoft.com/office/drawing/2014/main" id="{F376FCED-9E56-4DE0-987C-6F4AE8F3F648}"/>
                </a:ext>
              </a:extLst>
            </p:cNvPr>
            <p:cNvSpPr/>
            <p:nvPr/>
          </p:nvSpPr>
          <p:spPr>
            <a:xfrm rot="8716295">
              <a:off x="42586" y="20137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8" name="Forme libre : forme 2647">
              <a:extLst>
                <a:ext uri="{FF2B5EF4-FFF2-40B4-BE49-F238E27FC236}">
                  <a16:creationId xmlns:a16="http://schemas.microsoft.com/office/drawing/2014/main" id="{FA68D9A1-7BE5-4865-B886-AE208170A038}"/>
                </a:ext>
              </a:extLst>
            </p:cNvPr>
            <p:cNvSpPr/>
            <p:nvPr/>
          </p:nvSpPr>
          <p:spPr>
            <a:xfrm rot="8716295">
              <a:off x="257666" y="226339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49" name="Forme libre : forme 2648">
              <a:extLst>
                <a:ext uri="{FF2B5EF4-FFF2-40B4-BE49-F238E27FC236}">
                  <a16:creationId xmlns:a16="http://schemas.microsoft.com/office/drawing/2014/main" id="{B16001C4-728E-4992-B46E-35C9C985501E}"/>
                </a:ext>
              </a:extLst>
            </p:cNvPr>
            <p:cNvSpPr/>
            <p:nvPr/>
          </p:nvSpPr>
          <p:spPr>
            <a:xfrm rot="8716295">
              <a:off x="16215" y="211379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0" name="Forme libre : forme 2649">
              <a:extLst>
                <a:ext uri="{FF2B5EF4-FFF2-40B4-BE49-F238E27FC236}">
                  <a16:creationId xmlns:a16="http://schemas.microsoft.com/office/drawing/2014/main" id="{7AF63A54-0A52-4D3C-947E-4870E0D9AE3D}"/>
                </a:ext>
              </a:extLst>
            </p:cNvPr>
            <p:cNvSpPr/>
            <p:nvPr/>
          </p:nvSpPr>
          <p:spPr>
            <a:xfrm rot="7484129">
              <a:off x="362597" y="245474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1" name="Forme libre : forme 2650">
              <a:extLst>
                <a:ext uri="{FF2B5EF4-FFF2-40B4-BE49-F238E27FC236}">
                  <a16:creationId xmlns:a16="http://schemas.microsoft.com/office/drawing/2014/main" id="{19CD0BE1-F9A9-42E6-8860-34AFCCE1A6B8}"/>
                </a:ext>
              </a:extLst>
            </p:cNvPr>
            <p:cNvSpPr/>
            <p:nvPr/>
          </p:nvSpPr>
          <p:spPr>
            <a:xfrm rot="13089394">
              <a:off x="467417" y="2421283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2" name="Forme libre : forme 2651">
              <a:extLst>
                <a:ext uri="{FF2B5EF4-FFF2-40B4-BE49-F238E27FC236}">
                  <a16:creationId xmlns:a16="http://schemas.microsoft.com/office/drawing/2014/main" id="{6BBE7DF2-3DA5-42A5-B37A-FA0BE876F37A}"/>
                </a:ext>
              </a:extLst>
            </p:cNvPr>
            <p:cNvSpPr/>
            <p:nvPr/>
          </p:nvSpPr>
          <p:spPr>
            <a:xfrm rot="8716295">
              <a:off x="653002" y="222960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3" name="Forme libre : forme 2652">
              <a:extLst>
                <a:ext uri="{FF2B5EF4-FFF2-40B4-BE49-F238E27FC236}">
                  <a16:creationId xmlns:a16="http://schemas.microsoft.com/office/drawing/2014/main" id="{59B7756E-7BCC-43E3-9597-FAD798A603DC}"/>
                </a:ext>
              </a:extLst>
            </p:cNvPr>
            <p:cNvSpPr/>
            <p:nvPr/>
          </p:nvSpPr>
          <p:spPr>
            <a:xfrm rot="8716295">
              <a:off x="601197" y="212600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4" name="Forme libre : forme 2653">
              <a:extLst>
                <a:ext uri="{FF2B5EF4-FFF2-40B4-BE49-F238E27FC236}">
                  <a16:creationId xmlns:a16="http://schemas.microsoft.com/office/drawing/2014/main" id="{D4FA18E5-B043-4ABB-ABB9-0D25921F91B2}"/>
                </a:ext>
              </a:extLst>
            </p:cNvPr>
            <p:cNvSpPr/>
            <p:nvPr/>
          </p:nvSpPr>
          <p:spPr>
            <a:xfrm rot="8716295">
              <a:off x="357951" y="21562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5" name="Forme libre : forme 2654">
              <a:extLst>
                <a:ext uri="{FF2B5EF4-FFF2-40B4-BE49-F238E27FC236}">
                  <a16:creationId xmlns:a16="http://schemas.microsoft.com/office/drawing/2014/main" id="{72361D6A-CAD4-4B23-97BF-CCD29A718F6D}"/>
                </a:ext>
              </a:extLst>
            </p:cNvPr>
            <p:cNvSpPr/>
            <p:nvPr/>
          </p:nvSpPr>
          <p:spPr>
            <a:xfrm rot="8716295">
              <a:off x="535403" y="199698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6" name="Forme libre : forme 2655">
              <a:extLst>
                <a:ext uri="{FF2B5EF4-FFF2-40B4-BE49-F238E27FC236}">
                  <a16:creationId xmlns:a16="http://schemas.microsoft.com/office/drawing/2014/main" id="{9E172F83-E73C-4A49-AAFF-F950F2FDECFE}"/>
                </a:ext>
              </a:extLst>
            </p:cNvPr>
            <p:cNvSpPr/>
            <p:nvPr/>
          </p:nvSpPr>
          <p:spPr>
            <a:xfrm rot="8716295">
              <a:off x="-76043" y="1768178"/>
              <a:ext cx="197178" cy="215049"/>
            </a:xfrm>
            <a:custGeom>
              <a:avLst/>
              <a:gdLst>
                <a:gd name="connsiteX0" fmla="*/ 51490 w 197178"/>
                <a:gd name="connsiteY0" fmla="*/ 215049 h 215049"/>
                <a:gd name="connsiteX1" fmla="*/ 51490 w 197178"/>
                <a:gd name="connsiteY1" fmla="*/ 45624 h 215049"/>
                <a:gd name="connsiteX2" fmla="*/ 0 w 197178"/>
                <a:gd name="connsiteY2" fmla="*/ 45624 h 215049"/>
                <a:gd name="connsiteX3" fmla="*/ 0 w 197178"/>
                <a:gd name="connsiteY3" fmla="*/ 1424 h 215049"/>
                <a:gd name="connsiteX4" fmla="*/ 104803 w 197178"/>
                <a:gd name="connsiteY4" fmla="*/ 1425 h 215049"/>
                <a:gd name="connsiteX5" fmla="*/ 104803 w 197178"/>
                <a:gd name="connsiteY5" fmla="*/ 75242 h 215049"/>
                <a:gd name="connsiteX6" fmla="*/ 106169 w 197178"/>
                <a:gd name="connsiteY6" fmla="*/ 75242 h 215049"/>
                <a:gd name="connsiteX7" fmla="*/ 154014 w 197178"/>
                <a:gd name="connsiteY7" fmla="*/ 5981 h 215049"/>
                <a:gd name="connsiteX8" fmla="*/ 185455 w 197178"/>
                <a:gd name="connsiteY8" fmla="*/ 57 h 215049"/>
                <a:gd name="connsiteX9" fmla="*/ 197178 w 197178"/>
                <a:gd name="connsiteY9" fmla="*/ 4872 h 215049"/>
                <a:gd name="connsiteX10" fmla="*/ 170795 w 197178"/>
                <a:gd name="connsiteY10" fmla="*/ 42934 h 215049"/>
                <a:gd name="connsiteX11" fmla="*/ 164950 w 197178"/>
                <a:gd name="connsiteY11" fmla="*/ 40156 h 215049"/>
                <a:gd name="connsiteX12" fmla="*/ 111638 w 197178"/>
                <a:gd name="connsiteY12" fmla="*/ 127643 h 215049"/>
                <a:gd name="connsiteX13" fmla="*/ 111638 w 197178"/>
                <a:gd name="connsiteY13" fmla="*/ 128277 h 21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178" h="215049">
                  <a:moveTo>
                    <a:pt x="51490" y="215049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4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lnTo>
                    <a:pt x="197178" y="4872"/>
                  </a:lnTo>
                  <a:lnTo>
                    <a:pt x="170795" y="42934"/>
                  </a:lnTo>
                  <a:lnTo>
                    <a:pt x="164950" y="40156"/>
                  </a:ln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1282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7" name="Forme libre : forme 2656">
              <a:extLst>
                <a:ext uri="{FF2B5EF4-FFF2-40B4-BE49-F238E27FC236}">
                  <a16:creationId xmlns:a16="http://schemas.microsoft.com/office/drawing/2014/main" id="{95638BCB-CAFD-4919-B8B3-7142385EAB97}"/>
                </a:ext>
              </a:extLst>
            </p:cNvPr>
            <p:cNvSpPr/>
            <p:nvPr/>
          </p:nvSpPr>
          <p:spPr>
            <a:xfrm rot="8716295">
              <a:off x="56555" y="147420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8" name="Forme libre : forme 2657">
              <a:extLst>
                <a:ext uri="{FF2B5EF4-FFF2-40B4-BE49-F238E27FC236}">
                  <a16:creationId xmlns:a16="http://schemas.microsoft.com/office/drawing/2014/main" id="{D25EC0C0-1452-4F89-A828-C9FC7DDD0CFA}"/>
                </a:ext>
              </a:extLst>
            </p:cNvPr>
            <p:cNvSpPr/>
            <p:nvPr/>
          </p:nvSpPr>
          <p:spPr>
            <a:xfrm rot="8716295">
              <a:off x="145947" y="150344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59" name="Forme libre : forme 2658">
              <a:extLst>
                <a:ext uri="{FF2B5EF4-FFF2-40B4-BE49-F238E27FC236}">
                  <a16:creationId xmlns:a16="http://schemas.microsoft.com/office/drawing/2014/main" id="{1519431B-42BD-4AC6-AD54-662969F8A726}"/>
                </a:ext>
              </a:extLst>
            </p:cNvPr>
            <p:cNvSpPr/>
            <p:nvPr/>
          </p:nvSpPr>
          <p:spPr>
            <a:xfrm rot="8716295">
              <a:off x="-21870" y="1443501"/>
              <a:ext cx="68614" cy="55323"/>
            </a:xfrm>
            <a:custGeom>
              <a:avLst/>
              <a:gdLst>
                <a:gd name="connsiteX0" fmla="*/ 0 w 68614"/>
                <a:gd name="connsiteY0" fmla="*/ 55323 h 55323"/>
                <a:gd name="connsiteX1" fmla="*/ 0 w 68614"/>
                <a:gd name="connsiteY1" fmla="*/ 0 h 55323"/>
                <a:gd name="connsiteX2" fmla="*/ 68614 w 68614"/>
                <a:gd name="connsiteY2" fmla="*/ 0 h 55323"/>
                <a:gd name="connsiteX3" fmla="*/ 30266 w 68614"/>
                <a:gd name="connsiteY3" fmla="*/ 55323 h 55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614" h="55323">
                  <a:moveTo>
                    <a:pt x="0" y="55323"/>
                  </a:moveTo>
                  <a:lnTo>
                    <a:pt x="0" y="0"/>
                  </a:lnTo>
                  <a:lnTo>
                    <a:pt x="68614" y="0"/>
                  </a:lnTo>
                  <a:lnTo>
                    <a:pt x="30266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0" name="Forme libre : forme 2659">
              <a:extLst>
                <a:ext uri="{FF2B5EF4-FFF2-40B4-BE49-F238E27FC236}">
                  <a16:creationId xmlns:a16="http://schemas.microsoft.com/office/drawing/2014/main" id="{60238100-8A0A-4F63-804A-4A98015B47BC}"/>
                </a:ext>
              </a:extLst>
            </p:cNvPr>
            <p:cNvSpPr/>
            <p:nvPr/>
          </p:nvSpPr>
          <p:spPr>
            <a:xfrm rot="8716295">
              <a:off x="35817" y="1618109"/>
              <a:ext cx="103435" cy="203897"/>
            </a:xfrm>
            <a:custGeom>
              <a:avLst/>
              <a:gdLst>
                <a:gd name="connsiteX0" fmla="*/ 87556 w 103435"/>
                <a:gd name="connsiteY0" fmla="*/ 203897 h 203897"/>
                <a:gd name="connsiteX1" fmla="*/ 43288 w 103435"/>
                <a:gd name="connsiteY1" fmla="*/ 161305 h 203897"/>
                <a:gd name="connsiteX2" fmla="*/ 43288 w 103435"/>
                <a:gd name="connsiteY2" fmla="*/ 16404 h 203897"/>
                <a:gd name="connsiteX3" fmla="*/ 0 w 103435"/>
                <a:gd name="connsiteY3" fmla="*/ 16404 h 203897"/>
                <a:gd name="connsiteX4" fmla="*/ 0 w 103435"/>
                <a:gd name="connsiteY4" fmla="*/ 2278 h 203897"/>
                <a:gd name="connsiteX5" fmla="*/ 103435 w 103435"/>
                <a:gd name="connsiteY5" fmla="*/ 0 h 203897"/>
                <a:gd name="connsiteX6" fmla="*/ 103435 w 103435"/>
                <a:gd name="connsiteY6" fmla="*/ 180989 h 203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5" h="203897">
                  <a:moveTo>
                    <a:pt x="87556" y="203897"/>
                  </a:moveTo>
                  <a:lnTo>
                    <a:pt x="43288" y="161305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1809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1" name="Forme libre : forme 2660">
              <a:extLst>
                <a:ext uri="{FF2B5EF4-FFF2-40B4-BE49-F238E27FC236}">
                  <a16:creationId xmlns:a16="http://schemas.microsoft.com/office/drawing/2014/main" id="{4E2C8EF5-C37E-433B-B4E7-F8D646EC6B2E}"/>
                </a:ext>
              </a:extLst>
            </p:cNvPr>
            <p:cNvSpPr/>
            <p:nvPr/>
          </p:nvSpPr>
          <p:spPr>
            <a:xfrm rot="7484129">
              <a:off x="139430" y="17950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2" name="Forme libre : forme 2661">
              <a:extLst>
                <a:ext uri="{FF2B5EF4-FFF2-40B4-BE49-F238E27FC236}">
                  <a16:creationId xmlns:a16="http://schemas.microsoft.com/office/drawing/2014/main" id="{EE3D8E88-95F9-4175-9223-3BA0971001EC}"/>
                </a:ext>
              </a:extLst>
            </p:cNvPr>
            <p:cNvSpPr/>
            <p:nvPr/>
          </p:nvSpPr>
          <p:spPr>
            <a:xfrm rot="13089394">
              <a:off x="244250" y="176158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3" name="Forme libre : forme 2662">
              <a:extLst>
                <a:ext uri="{FF2B5EF4-FFF2-40B4-BE49-F238E27FC236}">
                  <a16:creationId xmlns:a16="http://schemas.microsoft.com/office/drawing/2014/main" id="{F3C9AC87-A1FE-4D6A-AD7E-10654735E8A7}"/>
                </a:ext>
              </a:extLst>
            </p:cNvPr>
            <p:cNvSpPr/>
            <p:nvPr/>
          </p:nvSpPr>
          <p:spPr>
            <a:xfrm rot="8716295">
              <a:off x="429835" y="156990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4" name="Forme libre : forme 2663">
              <a:extLst>
                <a:ext uri="{FF2B5EF4-FFF2-40B4-BE49-F238E27FC236}">
                  <a16:creationId xmlns:a16="http://schemas.microsoft.com/office/drawing/2014/main" id="{5FFA192D-7DB1-4385-9CFD-89494EA18B76}"/>
                </a:ext>
              </a:extLst>
            </p:cNvPr>
            <p:cNvSpPr/>
            <p:nvPr/>
          </p:nvSpPr>
          <p:spPr>
            <a:xfrm rot="8716295">
              <a:off x="378030" y="146631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5" name="Forme libre : forme 2664">
              <a:extLst>
                <a:ext uri="{FF2B5EF4-FFF2-40B4-BE49-F238E27FC236}">
                  <a16:creationId xmlns:a16="http://schemas.microsoft.com/office/drawing/2014/main" id="{0F34417F-18EE-4E84-A289-EA164ECB3D71}"/>
                </a:ext>
              </a:extLst>
            </p:cNvPr>
            <p:cNvSpPr/>
            <p:nvPr/>
          </p:nvSpPr>
          <p:spPr>
            <a:xfrm rot="8716295">
              <a:off x="134784" y="14965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6" name="Forme libre : forme 2665">
              <a:extLst>
                <a:ext uri="{FF2B5EF4-FFF2-40B4-BE49-F238E27FC236}">
                  <a16:creationId xmlns:a16="http://schemas.microsoft.com/office/drawing/2014/main" id="{271203A9-03F5-485A-B145-792A15A69059}"/>
                </a:ext>
              </a:extLst>
            </p:cNvPr>
            <p:cNvSpPr/>
            <p:nvPr/>
          </p:nvSpPr>
          <p:spPr>
            <a:xfrm rot="8716295">
              <a:off x="312236" y="133728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7" name="Forme libre : forme 2666">
              <a:extLst>
                <a:ext uri="{FF2B5EF4-FFF2-40B4-BE49-F238E27FC236}">
                  <a16:creationId xmlns:a16="http://schemas.microsoft.com/office/drawing/2014/main" id="{405C0C8D-A9F9-4FDA-8710-B9B42D099BFD}"/>
                </a:ext>
              </a:extLst>
            </p:cNvPr>
            <p:cNvSpPr/>
            <p:nvPr/>
          </p:nvSpPr>
          <p:spPr>
            <a:xfrm rot="8716295">
              <a:off x="-17798" y="949199"/>
              <a:ext cx="39526" cy="50123"/>
            </a:xfrm>
            <a:custGeom>
              <a:avLst/>
              <a:gdLst>
                <a:gd name="connsiteX0" fmla="*/ 0 w 39526"/>
                <a:gd name="connsiteY0" fmla="*/ 50123 h 50123"/>
                <a:gd name="connsiteX1" fmla="*/ 0 w 39526"/>
                <a:gd name="connsiteY1" fmla="*/ 0 h 50123"/>
                <a:gd name="connsiteX2" fmla="*/ 39526 w 39526"/>
                <a:gd name="connsiteY2" fmla="*/ 0 h 50123"/>
                <a:gd name="connsiteX3" fmla="*/ 4782 w 39526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26" h="50123">
                  <a:moveTo>
                    <a:pt x="0" y="50123"/>
                  </a:moveTo>
                  <a:lnTo>
                    <a:pt x="0" y="0"/>
                  </a:lnTo>
                  <a:lnTo>
                    <a:pt x="39526" y="0"/>
                  </a:lnTo>
                  <a:lnTo>
                    <a:pt x="4782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8" name="Forme libre : forme 2667">
              <a:extLst>
                <a:ext uri="{FF2B5EF4-FFF2-40B4-BE49-F238E27FC236}">
                  <a16:creationId xmlns:a16="http://schemas.microsoft.com/office/drawing/2014/main" id="{D9E66FBE-87D5-42D6-912A-DFE2839C4FB5}"/>
                </a:ext>
              </a:extLst>
            </p:cNvPr>
            <p:cNvSpPr/>
            <p:nvPr/>
          </p:nvSpPr>
          <p:spPr>
            <a:xfrm rot="8716295">
              <a:off x="-64996" y="834728"/>
              <a:ext cx="249650" cy="254774"/>
            </a:xfrm>
            <a:custGeom>
              <a:avLst/>
              <a:gdLst>
                <a:gd name="connsiteX0" fmla="*/ 51490 w 249650"/>
                <a:gd name="connsiteY0" fmla="*/ 254774 h 254774"/>
                <a:gd name="connsiteX1" fmla="*/ 51490 w 249650"/>
                <a:gd name="connsiteY1" fmla="*/ 45624 h 254774"/>
                <a:gd name="connsiteX2" fmla="*/ 0 w 249650"/>
                <a:gd name="connsiteY2" fmla="*/ 45624 h 254774"/>
                <a:gd name="connsiteX3" fmla="*/ 0 w 249650"/>
                <a:gd name="connsiteY3" fmla="*/ 1425 h 254774"/>
                <a:gd name="connsiteX4" fmla="*/ 104803 w 249650"/>
                <a:gd name="connsiteY4" fmla="*/ 1425 h 254774"/>
                <a:gd name="connsiteX5" fmla="*/ 104803 w 249650"/>
                <a:gd name="connsiteY5" fmla="*/ 75242 h 254774"/>
                <a:gd name="connsiteX6" fmla="*/ 106169 w 249650"/>
                <a:gd name="connsiteY6" fmla="*/ 75242 h 254774"/>
                <a:gd name="connsiteX7" fmla="*/ 154014 w 249650"/>
                <a:gd name="connsiteY7" fmla="*/ 5981 h 254774"/>
                <a:gd name="connsiteX8" fmla="*/ 185455 w 249650"/>
                <a:gd name="connsiteY8" fmla="*/ 57 h 254774"/>
                <a:gd name="connsiteX9" fmla="*/ 240647 w 249650"/>
                <a:gd name="connsiteY9" fmla="*/ 22727 h 254774"/>
                <a:gd name="connsiteX10" fmla="*/ 249650 w 249650"/>
                <a:gd name="connsiteY10" fmla="*/ 52327 h 254774"/>
                <a:gd name="connsiteX11" fmla="*/ 218795 w 249650"/>
                <a:gd name="connsiteY11" fmla="*/ 96841 h 254774"/>
                <a:gd name="connsiteX12" fmla="*/ 198669 w 249650"/>
                <a:gd name="connsiteY12" fmla="*/ 98025 h 254774"/>
                <a:gd name="connsiteX13" fmla="*/ 198669 w 249650"/>
                <a:gd name="connsiteY13" fmla="*/ 81621 h 254774"/>
                <a:gd name="connsiteX14" fmla="*/ 164950 w 249650"/>
                <a:gd name="connsiteY14" fmla="*/ 40156 h 254774"/>
                <a:gd name="connsiteX15" fmla="*/ 111638 w 249650"/>
                <a:gd name="connsiteY15" fmla="*/ 127643 h 254774"/>
                <a:gd name="connsiteX16" fmla="*/ 111638 w 249650"/>
                <a:gd name="connsiteY16" fmla="*/ 213764 h 25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9650" h="254774">
                  <a:moveTo>
                    <a:pt x="51490" y="254774"/>
                  </a:move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4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08922" y="-398"/>
                    <a:pt x="227718" y="7576"/>
                    <a:pt x="240647" y="22727"/>
                  </a:cubicBezTo>
                  <a:lnTo>
                    <a:pt x="249650" y="52327"/>
                  </a:lnTo>
                  <a:lnTo>
                    <a:pt x="218795" y="96841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lnTo>
                    <a:pt x="111638" y="213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69" name="Forme libre : forme 2668">
              <a:extLst>
                <a:ext uri="{FF2B5EF4-FFF2-40B4-BE49-F238E27FC236}">
                  <a16:creationId xmlns:a16="http://schemas.microsoft.com/office/drawing/2014/main" id="{9509EEFE-28EA-4695-B516-F79E29B945F9}"/>
                </a:ext>
              </a:extLst>
            </p:cNvPr>
            <p:cNvSpPr/>
            <p:nvPr/>
          </p:nvSpPr>
          <p:spPr>
            <a:xfrm rot="7484129">
              <a:off x="-63314" y="1172497"/>
              <a:ext cx="203848" cy="146395"/>
            </a:xfrm>
            <a:custGeom>
              <a:avLst/>
              <a:gdLst>
                <a:gd name="connsiteX0" fmla="*/ 0 w 203848"/>
                <a:gd name="connsiteY0" fmla="*/ 55323 h 146395"/>
                <a:gd name="connsiteX1" fmla="*/ 0 w 203848"/>
                <a:gd name="connsiteY1" fmla="*/ 0 h 146395"/>
                <a:gd name="connsiteX2" fmla="*/ 203848 w 203848"/>
                <a:gd name="connsiteY2" fmla="*/ 0 h 146395"/>
                <a:gd name="connsiteX3" fmla="*/ 203847 w 203848"/>
                <a:gd name="connsiteY3" fmla="*/ 49512 h 146395"/>
                <a:gd name="connsiteX4" fmla="*/ 195466 w 203848"/>
                <a:gd name="connsiteY4" fmla="*/ 55323 h 146395"/>
                <a:gd name="connsiteX5" fmla="*/ 139055 w 203848"/>
                <a:gd name="connsiteY5" fmla="*/ 55323 h 146395"/>
                <a:gd name="connsiteX6" fmla="*/ 121388 w 203848"/>
                <a:gd name="connsiteY6" fmla="*/ 106685 h 146395"/>
                <a:gd name="connsiteX7" fmla="*/ 64115 w 203848"/>
                <a:gd name="connsiteY7" fmla="*/ 146395 h 146395"/>
                <a:gd name="connsiteX8" fmla="*/ 47847 w 203848"/>
                <a:gd name="connsiteY8" fmla="*/ 116129 h 146395"/>
                <a:gd name="connsiteX9" fmla="*/ 69777 w 203848"/>
                <a:gd name="connsiteY9" fmla="*/ 55323 h 146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848" h="146395">
                  <a:moveTo>
                    <a:pt x="0" y="55323"/>
                  </a:moveTo>
                  <a:lnTo>
                    <a:pt x="0" y="0"/>
                  </a:lnTo>
                  <a:lnTo>
                    <a:pt x="203848" y="0"/>
                  </a:lnTo>
                  <a:lnTo>
                    <a:pt x="203847" y="49512"/>
                  </a:lnTo>
                  <a:lnTo>
                    <a:pt x="195466" y="55323"/>
                  </a:lnTo>
                  <a:lnTo>
                    <a:pt x="139055" y="55323"/>
                  </a:lnTo>
                  <a:lnTo>
                    <a:pt x="121388" y="106685"/>
                  </a:lnTo>
                  <a:lnTo>
                    <a:pt x="64115" y="146395"/>
                  </a:lnTo>
                  <a:lnTo>
                    <a:pt x="47847" y="116129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0" name="Forme libre : forme 2669">
              <a:extLst>
                <a:ext uri="{FF2B5EF4-FFF2-40B4-BE49-F238E27FC236}">
                  <a16:creationId xmlns:a16="http://schemas.microsoft.com/office/drawing/2014/main" id="{71678257-6DF2-4EFF-B737-FA3D02FA5594}"/>
                </a:ext>
              </a:extLst>
            </p:cNvPr>
            <p:cNvSpPr/>
            <p:nvPr/>
          </p:nvSpPr>
          <p:spPr>
            <a:xfrm rot="13089394">
              <a:off x="25311" y="109952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1" name="Forme libre : forme 2670">
              <a:extLst>
                <a:ext uri="{FF2B5EF4-FFF2-40B4-BE49-F238E27FC236}">
                  <a16:creationId xmlns:a16="http://schemas.microsoft.com/office/drawing/2014/main" id="{A59D46CE-4426-40A3-8095-61819C0C7AE0}"/>
                </a:ext>
              </a:extLst>
            </p:cNvPr>
            <p:cNvSpPr/>
            <p:nvPr/>
          </p:nvSpPr>
          <p:spPr>
            <a:xfrm rot="8716295">
              <a:off x="210896" y="90784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2" name="Forme libre : forme 2671">
              <a:extLst>
                <a:ext uri="{FF2B5EF4-FFF2-40B4-BE49-F238E27FC236}">
                  <a16:creationId xmlns:a16="http://schemas.microsoft.com/office/drawing/2014/main" id="{7825CA42-276D-46E9-845F-1C3B3FD7B764}"/>
                </a:ext>
              </a:extLst>
            </p:cNvPr>
            <p:cNvSpPr/>
            <p:nvPr/>
          </p:nvSpPr>
          <p:spPr>
            <a:xfrm rot="8716295">
              <a:off x="159091" y="80425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3" name="Forme libre : forme 2672">
              <a:extLst>
                <a:ext uri="{FF2B5EF4-FFF2-40B4-BE49-F238E27FC236}">
                  <a16:creationId xmlns:a16="http://schemas.microsoft.com/office/drawing/2014/main" id="{2CF0D109-F01E-48EA-B846-7F271B9FCCEE}"/>
                </a:ext>
              </a:extLst>
            </p:cNvPr>
            <p:cNvSpPr/>
            <p:nvPr/>
          </p:nvSpPr>
          <p:spPr>
            <a:xfrm rot="8716295">
              <a:off x="93297" y="67523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4" name="Forme libre : forme 2673">
              <a:extLst>
                <a:ext uri="{FF2B5EF4-FFF2-40B4-BE49-F238E27FC236}">
                  <a16:creationId xmlns:a16="http://schemas.microsoft.com/office/drawing/2014/main" id="{15A67A1B-0593-4E21-A1BB-485D6912B395}"/>
                </a:ext>
              </a:extLst>
            </p:cNvPr>
            <p:cNvSpPr/>
            <p:nvPr/>
          </p:nvSpPr>
          <p:spPr>
            <a:xfrm rot="8716295">
              <a:off x="-7001" y="316701"/>
              <a:ext cx="14001" cy="20198"/>
            </a:xfrm>
            <a:custGeom>
              <a:avLst/>
              <a:gdLst>
                <a:gd name="connsiteX0" fmla="*/ 0 w 14001"/>
                <a:gd name="connsiteY0" fmla="*/ 20198 h 20198"/>
                <a:gd name="connsiteX1" fmla="*/ 0 w 14001"/>
                <a:gd name="connsiteY1" fmla="*/ 0 h 20198"/>
                <a:gd name="connsiteX2" fmla="*/ 14001 w 14001"/>
                <a:gd name="connsiteY2" fmla="*/ 0 h 2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01" h="20198">
                  <a:moveTo>
                    <a:pt x="0" y="20198"/>
                  </a:moveTo>
                  <a:lnTo>
                    <a:pt x="0" y="0"/>
                  </a:lnTo>
                  <a:lnTo>
                    <a:pt x="1400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5" name="Forme libre : forme 2674">
              <a:extLst>
                <a:ext uri="{FF2B5EF4-FFF2-40B4-BE49-F238E27FC236}">
                  <a16:creationId xmlns:a16="http://schemas.microsoft.com/office/drawing/2014/main" id="{F5C0AF50-10E7-4E14-B910-0C705A16AAC3}"/>
                </a:ext>
              </a:extLst>
            </p:cNvPr>
            <p:cNvSpPr/>
            <p:nvPr/>
          </p:nvSpPr>
          <p:spPr>
            <a:xfrm rot="13089394">
              <a:off x="-81658" y="472652"/>
              <a:ext cx="173631" cy="237684"/>
            </a:xfrm>
            <a:custGeom>
              <a:avLst/>
              <a:gdLst>
                <a:gd name="connsiteX0" fmla="*/ 173631 w 173631"/>
                <a:gd name="connsiteY0" fmla="*/ 220990 h 237684"/>
                <a:gd name="connsiteX1" fmla="*/ 130972 w 173631"/>
                <a:gd name="connsiteY1" fmla="*/ 232382 h 237684"/>
                <a:gd name="connsiteX2" fmla="*/ 91597 w 173631"/>
                <a:gd name="connsiteY2" fmla="*/ 237521 h 237684"/>
                <a:gd name="connsiteX3" fmla="*/ 23727 w 173631"/>
                <a:gd name="connsiteY3" fmla="*/ 209931 h 237684"/>
                <a:gd name="connsiteX4" fmla="*/ 0 w 173631"/>
                <a:gd name="connsiteY4" fmla="*/ 115023 h 237684"/>
                <a:gd name="connsiteX5" fmla="*/ 0 w 173631"/>
                <a:gd name="connsiteY5" fmla="*/ 0 h 237684"/>
                <a:gd name="connsiteX6" fmla="*/ 76176 w 173631"/>
                <a:gd name="connsiteY6" fmla="*/ 96953 h 237684"/>
                <a:gd name="connsiteX7" fmla="*/ 76768 w 173631"/>
                <a:gd name="connsiteY7" fmla="*/ 109023 h 237684"/>
                <a:gd name="connsiteX8" fmla="*/ 87734 w 173631"/>
                <a:gd name="connsiteY8" fmla="*/ 154201 h 237684"/>
                <a:gd name="connsiteX9" fmla="*/ 111117 w 173631"/>
                <a:gd name="connsiteY9" fmla="*/ 181514 h 237684"/>
                <a:gd name="connsiteX10" fmla="*/ 148930 w 173631"/>
                <a:gd name="connsiteY10" fmla="*/ 189552 h 237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3631" h="237684">
                  <a:moveTo>
                    <a:pt x="173631" y="220990"/>
                  </a:moveTo>
                  <a:lnTo>
                    <a:pt x="130972" y="232382"/>
                  </a:lnTo>
                  <a:cubicBezTo>
                    <a:pt x="116428" y="235210"/>
                    <a:pt x="103047" y="236831"/>
                    <a:pt x="91597" y="237521"/>
                  </a:cubicBezTo>
                  <a:cubicBezTo>
                    <a:pt x="66215" y="239176"/>
                    <a:pt x="41384" y="228141"/>
                    <a:pt x="23727" y="209931"/>
                  </a:cubicBezTo>
                  <a:cubicBezTo>
                    <a:pt x="4966" y="191722"/>
                    <a:pt x="0" y="160270"/>
                    <a:pt x="0" y="115023"/>
                  </a:cubicBezTo>
                  <a:lnTo>
                    <a:pt x="0" y="0"/>
                  </a:lnTo>
                  <a:lnTo>
                    <a:pt x="76176" y="96953"/>
                  </a:lnTo>
                  <a:lnTo>
                    <a:pt x="76768" y="109023"/>
                  </a:lnTo>
                  <a:cubicBezTo>
                    <a:pt x="79044" y="124404"/>
                    <a:pt x="82768" y="139578"/>
                    <a:pt x="87734" y="154201"/>
                  </a:cubicBezTo>
                  <a:cubicBezTo>
                    <a:pt x="92149" y="166340"/>
                    <a:pt x="100012" y="175445"/>
                    <a:pt x="111117" y="181514"/>
                  </a:cubicBezTo>
                  <a:lnTo>
                    <a:pt x="148930" y="1895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6" name="Forme libre : forme 2675">
              <a:extLst>
                <a:ext uri="{FF2B5EF4-FFF2-40B4-BE49-F238E27FC236}">
                  <a16:creationId xmlns:a16="http://schemas.microsoft.com/office/drawing/2014/main" id="{0D59FB1F-A28C-4E8B-B4BC-0A3A54031E65}"/>
                </a:ext>
              </a:extLst>
            </p:cNvPr>
            <p:cNvSpPr/>
            <p:nvPr/>
          </p:nvSpPr>
          <p:spPr>
            <a:xfrm rot="8716295">
              <a:off x="-11774" y="24443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7" name="Forme libre : forme 2676">
              <a:extLst>
                <a:ext uri="{FF2B5EF4-FFF2-40B4-BE49-F238E27FC236}">
                  <a16:creationId xmlns:a16="http://schemas.microsoft.com/office/drawing/2014/main" id="{6DA8E402-AB6F-4D42-B3D8-FD882D72E6EE}"/>
                </a:ext>
              </a:extLst>
            </p:cNvPr>
            <p:cNvSpPr/>
            <p:nvPr/>
          </p:nvSpPr>
          <p:spPr>
            <a:xfrm rot="8716295">
              <a:off x="-30092" y="143486"/>
              <a:ext cx="77721" cy="97260"/>
            </a:xfrm>
            <a:custGeom>
              <a:avLst/>
              <a:gdLst>
                <a:gd name="connsiteX0" fmla="*/ 15821 w 77721"/>
                <a:gd name="connsiteY0" fmla="*/ 97260 h 97260"/>
                <a:gd name="connsiteX1" fmla="*/ 0 w 77721"/>
                <a:gd name="connsiteY1" fmla="*/ 59790 h 97260"/>
                <a:gd name="connsiteX2" fmla="*/ 0 w 77721"/>
                <a:gd name="connsiteY2" fmla="*/ 58869 h 97260"/>
                <a:gd name="connsiteX3" fmla="*/ 17477 w 77721"/>
                <a:gd name="connsiteY3" fmla="*/ 17477 h 97260"/>
                <a:gd name="connsiteX4" fmla="*/ 58869 w 77721"/>
                <a:gd name="connsiteY4" fmla="*/ 0 h 97260"/>
                <a:gd name="connsiteX5" fmla="*/ 77721 w 77721"/>
                <a:gd name="connsiteY5" fmla="*/ 7960 h 97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721" h="97260">
                  <a:moveTo>
                    <a:pt x="15821" y="97260"/>
                  </a:moveTo>
                  <a:lnTo>
                    <a:pt x="0" y="59790"/>
                  </a:ln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lnTo>
                    <a:pt x="77721" y="79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8" name="Forme libre : forme 2677">
              <a:extLst>
                <a:ext uri="{FF2B5EF4-FFF2-40B4-BE49-F238E27FC236}">
                  <a16:creationId xmlns:a16="http://schemas.microsoft.com/office/drawing/2014/main" id="{FF96202D-5615-4C5C-B860-27779277BA03}"/>
                </a:ext>
              </a:extLst>
            </p:cNvPr>
            <p:cNvSpPr/>
            <p:nvPr/>
          </p:nvSpPr>
          <p:spPr>
            <a:xfrm rot="8716295">
              <a:off x="-17797" y="3452694"/>
              <a:ext cx="58455" cy="44199"/>
            </a:xfrm>
            <a:custGeom>
              <a:avLst/>
              <a:gdLst>
                <a:gd name="connsiteX0" fmla="*/ 0 w 58455"/>
                <a:gd name="connsiteY0" fmla="*/ 44199 h 44199"/>
                <a:gd name="connsiteX1" fmla="*/ 0 w 58455"/>
                <a:gd name="connsiteY1" fmla="*/ 0 h 44199"/>
                <a:gd name="connsiteX2" fmla="*/ 58455 w 58455"/>
                <a:gd name="connsiteY2" fmla="*/ 0 h 44199"/>
                <a:gd name="connsiteX3" fmla="*/ 27817 w 58455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55" h="44199">
                  <a:moveTo>
                    <a:pt x="0" y="44199"/>
                  </a:moveTo>
                  <a:lnTo>
                    <a:pt x="0" y="0"/>
                  </a:lnTo>
                  <a:lnTo>
                    <a:pt x="58455" y="0"/>
                  </a:lnTo>
                  <a:lnTo>
                    <a:pt x="27817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79" name="Forme libre : forme 2678">
              <a:extLst>
                <a:ext uri="{FF2B5EF4-FFF2-40B4-BE49-F238E27FC236}">
                  <a16:creationId xmlns:a16="http://schemas.microsoft.com/office/drawing/2014/main" id="{EFE05903-A2C3-4EA4-B6E8-4BC424605688}"/>
                </a:ext>
              </a:extLst>
            </p:cNvPr>
            <p:cNvSpPr/>
            <p:nvPr/>
          </p:nvSpPr>
          <p:spPr>
            <a:xfrm rot="13089394">
              <a:off x="-91485" y="3601812"/>
              <a:ext cx="206527" cy="292654"/>
            </a:xfrm>
            <a:custGeom>
              <a:avLst/>
              <a:gdLst>
                <a:gd name="connsiteX0" fmla="*/ 206527 w 206527"/>
                <a:gd name="connsiteY0" fmla="*/ 258693 h 292654"/>
                <a:gd name="connsiteX1" fmla="*/ 177331 w 206527"/>
                <a:gd name="connsiteY1" fmla="*/ 274971 h 292654"/>
                <a:gd name="connsiteX2" fmla="*/ 91597 w 206527"/>
                <a:gd name="connsiteY2" fmla="*/ 292491 h 292654"/>
                <a:gd name="connsiteX3" fmla="*/ 23727 w 206527"/>
                <a:gd name="connsiteY3" fmla="*/ 264901 h 292654"/>
                <a:gd name="connsiteX4" fmla="*/ 0 w 206527"/>
                <a:gd name="connsiteY4" fmla="*/ 169993 h 292654"/>
                <a:gd name="connsiteX5" fmla="*/ 0 w 206527"/>
                <a:gd name="connsiteY5" fmla="*/ 1698 h 292654"/>
                <a:gd name="connsiteX6" fmla="*/ 3273 w 206527"/>
                <a:gd name="connsiteY6" fmla="*/ 0 h 292654"/>
                <a:gd name="connsiteX7" fmla="*/ 74297 w 206527"/>
                <a:gd name="connsiteY7" fmla="*/ 90396 h 292654"/>
                <a:gd name="connsiteX8" fmla="*/ 74492 w 206527"/>
                <a:gd name="connsiteY8" fmla="*/ 117574 h 292654"/>
                <a:gd name="connsiteX9" fmla="*/ 87734 w 206527"/>
                <a:gd name="connsiteY9" fmla="*/ 209171 h 292654"/>
                <a:gd name="connsiteX10" fmla="*/ 153949 w 206527"/>
                <a:gd name="connsiteY10" fmla="*/ 245589 h 292654"/>
                <a:gd name="connsiteX11" fmla="*/ 191049 w 206527"/>
                <a:gd name="connsiteY11" fmla="*/ 238993 h 292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527" h="292654">
                  <a:moveTo>
                    <a:pt x="206527" y="258693"/>
                  </a:moveTo>
                  <a:lnTo>
                    <a:pt x="177331" y="274971"/>
                  </a:lnTo>
                  <a:cubicBezTo>
                    <a:pt x="145121" y="286007"/>
                    <a:pt x="114496" y="291111"/>
                    <a:pt x="91597" y="292491"/>
                  </a:cubicBezTo>
                  <a:cubicBezTo>
                    <a:pt x="66215" y="294146"/>
                    <a:pt x="41385" y="283111"/>
                    <a:pt x="23727" y="264901"/>
                  </a:cubicBezTo>
                  <a:cubicBezTo>
                    <a:pt x="4966" y="246692"/>
                    <a:pt x="0" y="215240"/>
                    <a:pt x="0" y="169993"/>
                  </a:cubicBezTo>
                  <a:lnTo>
                    <a:pt x="0" y="1698"/>
                  </a:lnTo>
                  <a:lnTo>
                    <a:pt x="3273" y="0"/>
                  </a:lnTo>
                  <a:lnTo>
                    <a:pt x="74297" y="90396"/>
                  </a:lnTo>
                  <a:lnTo>
                    <a:pt x="74492" y="117574"/>
                  </a:lnTo>
                  <a:cubicBezTo>
                    <a:pt x="72836" y="148474"/>
                    <a:pt x="77802" y="179926"/>
                    <a:pt x="87734" y="209171"/>
                  </a:cubicBezTo>
                  <a:cubicBezTo>
                    <a:pt x="96564" y="233450"/>
                    <a:pt x="119187" y="245589"/>
                    <a:pt x="153949" y="245589"/>
                  </a:cubicBezTo>
                  <a:lnTo>
                    <a:pt x="191049" y="2389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0" name="Forme libre : forme 2679">
              <a:extLst>
                <a:ext uri="{FF2B5EF4-FFF2-40B4-BE49-F238E27FC236}">
                  <a16:creationId xmlns:a16="http://schemas.microsoft.com/office/drawing/2014/main" id="{A958F052-274A-4809-9A7E-706B6FDA97DB}"/>
                </a:ext>
              </a:extLst>
            </p:cNvPr>
            <p:cNvSpPr/>
            <p:nvPr/>
          </p:nvSpPr>
          <p:spPr>
            <a:xfrm rot="8716295">
              <a:off x="24761" y="338962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1" name="Forme libre : forme 2680">
              <a:extLst>
                <a:ext uri="{FF2B5EF4-FFF2-40B4-BE49-F238E27FC236}">
                  <a16:creationId xmlns:a16="http://schemas.microsoft.com/office/drawing/2014/main" id="{3D25082F-4B73-45B2-BAAB-9D638EEF2592}"/>
                </a:ext>
              </a:extLst>
            </p:cNvPr>
            <p:cNvSpPr/>
            <p:nvPr/>
          </p:nvSpPr>
          <p:spPr>
            <a:xfrm rot="8716295">
              <a:off x="-24047" y="3281741"/>
              <a:ext cx="106042" cy="113733"/>
            </a:xfrm>
            <a:custGeom>
              <a:avLst/>
              <a:gdLst>
                <a:gd name="connsiteX0" fmla="*/ 17477 w 106042"/>
                <a:gd name="connsiteY0" fmla="*/ 101182 h 113733"/>
                <a:gd name="connsiteX1" fmla="*/ 0 w 106042"/>
                <a:gd name="connsiteY1" fmla="*/ 59790 h 113733"/>
                <a:gd name="connsiteX2" fmla="*/ 0 w 106042"/>
                <a:gd name="connsiteY2" fmla="*/ 58869 h 113733"/>
                <a:gd name="connsiteX3" fmla="*/ 17477 w 106042"/>
                <a:gd name="connsiteY3" fmla="*/ 17477 h 113733"/>
                <a:gd name="connsiteX4" fmla="*/ 58869 w 106042"/>
                <a:gd name="connsiteY4" fmla="*/ 0 h 113733"/>
                <a:gd name="connsiteX5" fmla="*/ 100262 w 106042"/>
                <a:gd name="connsiteY5" fmla="*/ 17477 h 113733"/>
                <a:gd name="connsiteX6" fmla="*/ 106042 w 106042"/>
                <a:gd name="connsiteY6" fmla="*/ 31234 h 113733"/>
                <a:gd name="connsiteX7" fmla="*/ 48856 w 106042"/>
                <a:gd name="connsiteY7" fmla="*/ 113733 h 11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042" h="113733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3" y="0"/>
                    <a:pt x="58869" y="0"/>
                  </a:cubicBezTo>
                  <a:cubicBezTo>
                    <a:pt x="74507" y="0"/>
                    <a:pt x="89224" y="6439"/>
                    <a:pt x="100262" y="17477"/>
                  </a:cubicBezTo>
                  <a:lnTo>
                    <a:pt x="106042" y="31234"/>
                  </a:lnTo>
                  <a:lnTo>
                    <a:pt x="48856" y="1137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2" name="Forme libre : forme 2681">
              <a:extLst>
                <a:ext uri="{FF2B5EF4-FFF2-40B4-BE49-F238E27FC236}">
                  <a16:creationId xmlns:a16="http://schemas.microsoft.com/office/drawing/2014/main" id="{9B3439DB-66BB-4F10-AE1A-D801C021A556}"/>
                </a:ext>
              </a:extLst>
            </p:cNvPr>
            <p:cNvSpPr/>
            <p:nvPr/>
          </p:nvSpPr>
          <p:spPr>
            <a:xfrm rot="8716295">
              <a:off x="-21924" y="3179872"/>
              <a:ext cx="45776" cy="62656"/>
            </a:xfrm>
            <a:custGeom>
              <a:avLst/>
              <a:gdLst>
                <a:gd name="connsiteX0" fmla="*/ 2345 w 45776"/>
                <a:gd name="connsiteY0" fmla="*/ 62656 h 62656"/>
                <a:gd name="connsiteX1" fmla="*/ 0 w 45776"/>
                <a:gd name="connsiteY1" fmla="*/ 57104 h 62656"/>
                <a:gd name="connsiteX2" fmla="*/ 0 w 45776"/>
                <a:gd name="connsiteY2" fmla="*/ 56183 h 62656"/>
                <a:gd name="connsiteX3" fmla="*/ 17477 w 45776"/>
                <a:gd name="connsiteY3" fmla="*/ 14791 h 62656"/>
                <a:gd name="connsiteX4" fmla="*/ 36449 w 45776"/>
                <a:gd name="connsiteY4" fmla="*/ 1913 h 62656"/>
                <a:gd name="connsiteX5" fmla="*/ 45776 w 45776"/>
                <a:gd name="connsiteY5" fmla="*/ 0 h 62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776" h="62656">
                  <a:moveTo>
                    <a:pt x="2345" y="62656"/>
                  </a:moveTo>
                  <a:lnTo>
                    <a:pt x="0" y="57104"/>
                  </a:lnTo>
                  <a:lnTo>
                    <a:pt x="0" y="56183"/>
                  </a:lnTo>
                  <a:cubicBezTo>
                    <a:pt x="0" y="40547"/>
                    <a:pt x="6439" y="25829"/>
                    <a:pt x="17477" y="14791"/>
                  </a:cubicBezTo>
                  <a:cubicBezTo>
                    <a:pt x="22996" y="9272"/>
                    <a:pt x="29435" y="4903"/>
                    <a:pt x="36449" y="1913"/>
                  </a:cubicBezTo>
                  <a:lnTo>
                    <a:pt x="4577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3" name="Forme libre : forme 2682">
              <a:extLst>
                <a:ext uri="{FF2B5EF4-FFF2-40B4-BE49-F238E27FC236}">
                  <a16:creationId xmlns:a16="http://schemas.microsoft.com/office/drawing/2014/main" id="{BE051C75-2EC0-4A07-8D42-5B1B5C7740A7}"/>
                </a:ext>
              </a:extLst>
            </p:cNvPr>
            <p:cNvSpPr/>
            <p:nvPr/>
          </p:nvSpPr>
          <p:spPr>
            <a:xfrm rot="8716295">
              <a:off x="592036" y="5123131"/>
              <a:ext cx="56900" cy="40151"/>
            </a:xfrm>
            <a:custGeom>
              <a:avLst/>
              <a:gdLst>
                <a:gd name="connsiteX0" fmla="*/ 13826 w 56900"/>
                <a:gd name="connsiteY0" fmla="*/ 23593 h 40151"/>
                <a:gd name="connsiteX1" fmla="*/ 948 w 56900"/>
                <a:gd name="connsiteY1" fmla="*/ 4622 h 40151"/>
                <a:gd name="connsiteX2" fmla="*/ 0 w 56900"/>
                <a:gd name="connsiteY2" fmla="*/ 0 h 40151"/>
                <a:gd name="connsiteX3" fmla="*/ 56900 w 56900"/>
                <a:gd name="connsiteY3" fmla="*/ 39441 h 40151"/>
                <a:gd name="connsiteX4" fmla="*/ 55218 w 56900"/>
                <a:gd name="connsiteY4" fmla="*/ 40151 h 40151"/>
                <a:gd name="connsiteX5" fmla="*/ 13826 w 56900"/>
                <a:gd name="connsiteY5" fmla="*/ 23593 h 40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900" h="40151">
                  <a:moveTo>
                    <a:pt x="13826" y="23593"/>
                  </a:moveTo>
                  <a:cubicBezTo>
                    <a:pt x="8307" y="18074"/>
                    <a:pt x="3938" y="11636"/>
                    <a:pt x="948" y="4622"/>
                  </a:cubicBezTo>
                  <a:lnTo>
                    <a:pt x="0" y="0"/>
                  </a:lnTo>
                  <a:lnTo>
                    <a:pt x="56900" y="39441"/>
                  </a:lnTo>
                  <a:lnTo>
                    <a:pt x="55218" y="40151"/>
                  </a:lnTo>
                  <a:cubicBezTo>
                    <a:pt x="39581" y="40151"/>
                    <a:pt x="24864" y="34631"/>
                    <a:pt x="13826" y="2359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4" name="Forme libre : forme 2683">
              <a:extLst>
                <a:ext uri="{FF2B5EF4-FFF2-40B4-BE49-F238E27FC236}">
                  <a16:creationId xmlns:a16="http://schemas.microsoft.com/office/drawing/2014/main" id="{A2DDC211-7D18-475F-9BDE-7390FC50600F}"/>
                </a:ext>
              </a:extLst>
            </p:cNvPr>
            <p:cNvSpPr/>
            <p:nvPr/>
          </p:nvSpPr>
          <p:spPr>
            <a:xfrm rot="8716295">
              <a:off x="-21324" y="4100649"/>
              <a:ext cx="79113" cy="50123"/>
            </a:xfrm>
            <a:custGeom>
              <a:avLst/>
              <a:gdLst>
                <a:gd name="connsiteX0" fmla="*/ 0 w 79113"/>
                <a:gd name="connsiteY0" fmla="*/ 50123 h 50123"/>
                <a:gd name="connsiteX1" fmla="*/ 0 w 79113"/>
                <a:gd name="connsiteY1" fmla="*/ 0 h 50123"/>
                <a:gd name="connsiteX2" fmla="*/ 79113 w 79113"/>
                <a:gd name="connsiteY2" fmla="*/ 0 h 50123"/>
                <a:gd name="connsiteX3" fmla="*/ 44369 w 79113"/>
                <a:gd name="connsiteY3" fmla="*/ 50123 h 5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113" h="50123">
                  <a:moveTo>
                    <a:pt x="0" y="50123"/>
                  </a:moveTo>
                  <a:lnTo>
                    <a:pt x="0" y="0"/>
                  </a:lnTo>
                  <a:lnTo>
                    <a:pt x="79113" y="0"/>
                  </a:lnTo>
                  <a:lnTo>
                    <a:pt x="44369" y="50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5" name="Forme libre : forme 2684">
              <a:extLst>
                <a:ext uri="{FF2B5EF4-FFF2-40B4-BE49-F238E27FC236}">
                  <a16:creationId xmlns:a16="http://schemas.microsoft.com/office/drawing/2014/main" id="{4A594CAD-D127-4A61-B2C8-0DE44CCFCB9E}"/>
                </a:ext>
              </a:extLst>
            </p:cNvPr>
            <p:cNvSpPr/>
            <p:nvPr/>
          </p:nvSpPr>
          <p:spPr>
            <a:xfrm rot="8716295">
              <a:off x="-40457" y="398156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6" name="Forme libre : forme 2685">
              <a:extLst>
                <a:ext uri="{FF2B5EF4-FFF2-40B4-BE49-F238E27FC236}">
                  <a16:creationId xmlns:a16="http://schemas.microsoft.com/office/drawing/2014/main" id="{C35F84B9-08F3-41F8-AB3B-A49B6847CE98}"/>
                </a:ext>
              </a:extLst>
            </p:cNvPr>
            <p:cNvSpPr/>
            <p:nvPr/>
          </p:nvSpPr>
          <p:spPr>
            <a:xfrm rot="7484129">
              <a:off x="-46974" y="427316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7" name="Forme libre : forme 2686">
              <a:extLst>
                <a:ext uri="{FF2B5EF4-FFF2-40B4-BE49-F238E27FC236}">
                  <a16:creationId xmlns:a16="http://schemas.microsoft.com/office/drawing/2014/main" id="{3D0897FF-826A-48CF-8574-888120D65678}"/>
                </a:ext>
              </a:extLst>
            </p:cNvPr>
            <p:cNvSpPr/>
            <p:nvPr/>
          </p:nvSpPr>
          <p:spPr>
            <a:xfrm rot="13089394">
              <a:off x="57846" y="423970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8" name="Forme libre : forme 2687">
              <a:extLst>
                <a:ext uri="{FF2B5EF4-FFF2-40B4-BE49-F238E27FC236}">
                  <a16:creationId xmlns:a16="http://schemas.microsoft.com/office/drawing/2014/main" id="{2F8D07DA-1D87-463F-B4DC-27CBA56DED7E}"/>
                </a:ext>
              </a:extLst>
            </p:cNvPr>
            <p:cNvSpPr/>
            <p:nvPr/>
          </p:nvSpPr>
          <p:spPr>
            <a:xfrm rot="8716295">
              <a:off x="243431" y="404801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89" name="Forme libre : forme 2688">
              <a:extLst>
                <a:ext uri="{FF2B5EF4-FFF2-40B4-BE49-F238E27FC236}">
                  <a16:creationId xmlns:a16="http://schemas.microsoft.com/office/drawing/2014/main" id="{BADA5750-C783-4D69-B30C-EF6BBA7037F4}"/>
                </a:ext>
              </a:extLst>
            </p:cNvPr>
            <p:cNvSpPr/>
            <p:nvPr/>
          </p:nvSpPr>
          <p:spPr>
            <a:xfrm rot="8716295">
              <a:off x="191626" y="39444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0" name="Forme libre : forme 2689">
              <a:extLst>
                <a:ext uri="{FF2B5EF4-FFF2-40B4-BE49-F238E27FC236}">
                  <a16:creationId xmlns:a16="http://schemas.microsoft.com/office/drawing/2014/main" id="{7176F547-28C8-4730-A116-BF57B49F4638}"/>
                </a:ext>
              </a:extLst>
            </p:cNvPr>
            <p:cNvSpPr/>
            <p:nvPr/>
          </p:nvSpPr>
          <p:spPr>
            <a:xfrm rot="8716295">
              <a:off x="125832" y="381540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1" name="Forme libre : forme 2690">
              <a:extLst>
                <a:ext uri="{FF2B5EF4-FFF2-40B4-BE49-F238E27FC236}">
                  <a16:creationId xmlns:a16="http://schemas.microsoft.com/office/drawing/2014/main" id="{1C963D98-5E90-4FBD-9A58-C704191F7207}"/>
                </a:ext>
              </a:extLst>
            </p:cNvPr>
            <p:cNvSpPr/>
            <p:nvPr/>
          </p:nvSpPr>
          <p:spPr>
            <a:xfrm rot="8716295">
              <a:off x="-73048" y="4876828"/>
              <a:ext cx="221382" cy="253349"/>
            </a:xfrm>
            <a:custGeom>
              <a:avLst/>
              <a:gdLst>
                <a:gd name="connsiteX0" fmla="*/ 51490 w 221382"/>
                <a:gd name="connsiteY0" fmla="*/ 253349 h 253349"/>
                <a:gd name="connsiteX1" fmla="*/ 51490 w 221382"/>
                <a:gd name="connsiteY1" fmla="*/ 44199 h 253349"/>
                <a:gd name="connsiteX2" fmla="*/ 0 w 221382"/>
                <a:gd name="connsiteY2" fmla="*/ 44199 h 253349"/>
                <a:gd name="connsiteX3" fmla="*/ 0 w 221382"/>
                <a:gd name="connsiteY3" fmla="*/ 0 h 253349"/>
                <a:gd name="connsiteX4" fmla="*/ 104803 w 221382"/>
                <a:gd name="connsiteY4" fmla="*/ 0 h 253349"/>
                <a:gd name="connsiteX5" fmla="*/ 104802 w 221382"/>
                <a:gd name="connsiteY5" fmla="*/ 73817 h 253349"/>
                <a:gd name="connsiteX6" fmla="*/ 106169 w 221382"/>
                <a:gd name="connsiteY6" fmla="*/ 73817 h 253349"/>
                <a:gd name="connsiteX7" fmla="*/ 154014 w 221382"/>
                <a:gd name="connsiteY7" fmla="*/ 4556 h 253349"/>
                <a:gd name="connsiteX8" fmla="*/ 174650 w 221382"/>
                <a:gd name="connsiteY8" fmla="*/ 668 h 253349"/>
                <a:gd name="connsiteX9" fmla="*/ 214075 w 221382"/>
                <a:gd name="connsiteY9" fmla="*/ 27996 h 253349"/>
                <a:gd name="connsiteX10" fmla="*/ 221382 w 221382"/>
                <a:gd name="connsiteY10" fmla="*/ 33060 h 253349"/>
                <a:gd name="connsiteX11" fmla="*/ 195540 w 221382"/>
                <a:gd name="connsiteY11" fmla="*/ 70341 h 253349"/>
                <a:gd name="connsiteX12" fmla="*/ 189157 w 221382"/>
                <a:gd name="connsiteY12" fmla="*/ 50236 h 253349"/>
                <a:gd name="connsiteX13" fmla="*/ 164950 w 221382"/>
                <a:gd name="connsiteY13" fmla="*/ 38731 h 253349"/>
                <a:gd name="connsiteX14" fmla="*/ 111638 w 221382"/>
                <a:gd name="connsiteY14" fmla="*/ 126218 h 253349"/>
                <a:gd name="connsiteX15" fmla="*/ 111638 w 221382"/>
                <a:gd name="connsiteY15" fmla="*/ 191383 h 253349"/>
                <a:gd name="connsiteX16" fmla="*/ 84096 w 221382"/>
                <a:gd name="connsiteY16" fmla="*/ 231117 h 253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1382" h="253349">
                  <a:moveTo>
                    <a:pt x="51490" y="253349"/>
                  </a:moveTo>
                  <a:lnTo>
                    <a:pt x="51490" y="44199"/>
                  </a:lnTo>
                  <a:lnTo>
                    <a:pt x="0" y="44199"/>
                  </a:lnTo>
                  <a:lnTo>
                    <a:pt x="0" y="0"/>
                  </a:lnTo>
                  <a:lnTo>
                    <a:pt x="104803" y="0"/>
                  </a:lnTo>
                  <a:lnTo>
                    <a:pt x="104802" y="73817"/>
                  </a:lnTo>
                  <a:lnTo>
                    <a:pt x="106169" y="73817"/>
                  </a:lnTo>
                  <a:cubicBezTo>
                    <a:pt x="120751" y="30529"/>
                    <a:pt x="132142" y="13670"/>
                    <a:pt x="154014" y="4556"/>
                  </a:cubicBezTo>
                  <a:lnTo>
                    <a:pt x="174650" y="668"/>
                  </a:lnTo>
                  <a:lnTo>
                    <a:pt x="214075" y="27996"/>
                  </a:lnTo>
                  <a:lnTo>
                    <a:pt x="221382" y="33060"/>
                  </a:lnTo>
                  <a:lnTo>
                    <a:pt x="195540" y="70341"/>
                  </a:lnTo>
                  <a:lnTo>
                    <a:pt x="189157" y="50236"/>
                  </a:lnTo>
                  <a:cubicBezTo>
                    <a:pt x="183177" y="42946"/>
                    <a:pt x="174747" y="38731"/>
                    <a:pt x="164950" y="38731"/>
                  </a:cubicBezTo>
                  <a:cubicBezTo>
                    <a:pt x="135788" y="38731"/>
                    <a:pt x="111638" y="77463"/>
                    <a:pt x="111638" y="126218"/>
                  </a:cubicBezTo>
                  <a:lnTo>
                    <a:pt x="111638" y="191383"/>
                  </a:lnTo>
                  <a:lnTo>
                    <a:pt x="84096" y="2311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2" name="Forme libre : forme 2691">
              <a:extLst>
                <a:ext uri="{FF2B5EF4-FFF2-40B4-BE49-F238E27FC236}">
                  <a16:creationId xmlns:a16="http://schemas.microsoft.com/office/drawing/2014/main" id="{8E8AC4EC-3332-4FDC-A396-BF01CCE8866D}"/>
                </a:ext>
              </a:extLst>
            </p:cNvPr>
            <p:cNvSpPr/>
            <p:nvPr/>
          </p:nvSpPr>
          <p:spPr>
            <a:xfrm rot="8716295">
              <a:off x="93318" y="461201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3" name="Forme libre : forme 2692">
              <a:extLst>
                <a:ext uri="{FF2B5EF4-FFF2-40B4-BE49-F238E27FC236}">
                  <a16:creationId xmlns:a16="http://schemas.microsoft.com/office/drawing/2014/main" id="{C4232B1B-4805-4D83-80AE-47B7546367B0}"/>
                </a:ext>
              </a:extLst>
            </p:cNvPr>
            <p:cNvSpPr/>
            <p:nvPr/>
          </p:nvSpPr>
          <p:spPr>
            <a:xfrm rot="8716295">
              <a:off x="182710" y="46412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4" name="Forme libre : forme 2693">
              <a:extLst>
                <a:ext uri="{FF2B5EF4-FFF2-40B4-BE49-F238E27FC236}">
                  <a16:creationId xmlns:a16="http://schemas.microsoft.com/office/drawing/2014/main" id="{952CFAFD-A1C3-49BC-88A4-2A9560CFFDDC}"/>
                </a:ext>
              </a:extLst>
            </p:cNvPr>
            <p:cNvSpPr/>
            <p:nvPr/>
          </p:nvSpPr>
          <p:spPr>
            <a:xfrm rot="8716295">
              <a:off x="-14524" y="4699631"/>
              <a:ext cx="49997" cy="54238"/>
            </a:xfrm>
            <a:custGeom>
              <a:avLst/>
              <a:gdLst>
                <a:gd name="connsiteX0" fmla="*/ 8658 w 49997"/>
                <a:gd name="connsiteY0" fmla="*/ 50123 h 54238"/>
                <a:gd name="connsiteX1" fmla="*/ 0 w 49997"/>
                <a:gd name="connsiteY1" fmla="*/ 29619 h 54238"/>
                <a:gd name="connsiteX2" fmla="*/ 0 w 49997"/>
                <a:gd name="connsiteY2" fmla="*/ 29162 h 54238"/>
                <a:gd name="connsiteX3" fmla="*/ 8658 w 49997"/>
                <a:gd name="connsiteY3" fmla="*/ 8658 h 54238"/>
                <a:gd name="connsiteX4" fmla="*/ 29163 w 49997"/>
                <a:gd name="connsiteY4" fmla="*/ 0 h 54238"/>
                <a:gd name="connsiteX5" fmla="*/ 49668 w 49997"/>
                <a:gd name="connsiteY5" fmla="*/ 8658 h 54238"/>
                <a:gd name="connsiteX6" fmla="*/ 49997 w 49997"/>
                <a:gd name="connsiteY6" fmla="*/ 9441 h 54238"/>
                <a:gd name="connsiteX7" fmla="*/ 18945 w 49997"/>
                <a:gd name="connsiteY7" fmla="*/ 54238 h 54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997" h="54238">
                  <a:moveTo>
                    <a:pt x="8658" y="50123"/>
                  </a:moveTo>
                  <a:cubicBezTo>
                    <a:pt x="3190" y="44655"/>
                    <a:pt x="0" y="37365"/>
                    <a:pt x="0" y="29619"/>
                  </a:cubicBezTo>
                  <a:lnTo>
                    <a:pt x="0" y="29162"/>
                  </a:lnTo>
                  <a:cubicBezTo>
                    <a:pt x="0" y="21417"/>
                    <a:pt x="3190" y="14126"/>
                    <a:pt x="8658" y="8658"/>
                  </a:cubicBezTo>
                  <a:cubicBezTo>
                    <a:pt x="14126" y="3190"/>
                    <a:pt x="21416" y="0"/>
                    <a:pt x="29163" y="0"/>
                  </a:cubicBezTo>
                  <a:cubicBezTo>
                    <a:pt x="36909" y="0"/>
                    <a:pt x="44200" y="3190"/>
                    <a:pt x="49668" y="8658"/>
                  </a:cubicBezTo>
                  <a:lnTo>
                    <a:pt x="49997" y="9441"/>
                  </a:lnTo>
                  <a:lnTo>
                    <a:pt x="18945" y="54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5" name="Forme libre : forme 2694">
              <a:extLst>
                <a:ext uri="{FF2B5EF4-FFF2-40B4-BE49-F238E27FC236}">
                  <a16:creationId xmlns:a16="http://schemas.microsoft.com/office/drawing/2014/main" id="{3FE0366B-AD9E-4FF0-B101-FF640F463910}"/>
                </a:ext>
              </a:extLst>
            </p:cNvPr>
            <p:cNvSpPr/>
            <p:nvPr/>
          </p:nvSpPr>
          <p:spPr>
            <a:xfrm rot="8716295">
              <a:off x="-30327" y="4579755"/>
              <a:ext cx="113346" cy="71024"/>
            </a:xfrm>
            <a:custGeom>
              <a:avLst/>
              <a:gdLst>
                <a:gd name="connsiteX0" fmla="*/ 0 w 113346"/>
                <a:gd name="connsiteY0" fmla="*/ 55323 h 71024"/>
                <a:gd name="connsiteX1" fmla="*/ 0 w 113346"/>
                <a:gd name="connsiteY1" fmla="*/ 0 h 71024"/>
                <a:gd name="connsiteX2" fmla="*/ 113346 w 113346"/>
                <a:gd name="connsiteY2" fmla="*/ 0 h 71024"/>
                <a:gd name="connsiteX3" fmla="*/ 64114 w 113346"/>
                <a:gd name="connsiteY3" fmla="*/ 71024 h 71024"/>
                <a:gd name="connsiteX4" fmla="*/ 69777 w 113346"/>
                <a:gd name="connsiteY4" fmla="*/ 55323 h 7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346" h="71024">
                  <a:moveTo>
                    <a:pt x="0" y="55323"/>
                  </a:moveTo>
                  <a:lnTo>
                    <a:pt x="0" y="0"/>
                  </a:lnTo>
                  <a:lnTo>
                    <a:pt x="113346" y="0"/>
                  </a:lnTo>
                  <a:lnTo>
                    <a:pt x="64114" y="71024"/>
                  </a:lnTo>
                  <a:lnTo>
                    <a:pt x="69777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6" name="Forme libre : forme 2695">
              <a:extLst>
                <a:ext uri="{FF2B5EF4-FFF2-40B4-BE49-F238E27FC236}">
                  <a16:creationId xmlns:a16="http://schemas.microsoft.com/office/drawing/2014/main" id="{462792DD-6AEC-43AE-AA23-31A7407E7186}"/>
                </a:ext>
              </a:extLst>
            </p:cNvPr>
            <p:cNvSpPr/>
            <p:nvPr/>
          </p:nvSpPr>
          <p:spPr>
            <a:xfrm rot="8716295">
              <a:off x="71262" y="474151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7" name="Forme libre : forme 2696">
              <a:extLst>
                <a:ext uri="{FF2B5EF4-FFF2-40B4-BE49-F238E27FC236}">
                  <a16:creationId xmlns:a16="http://schemas.microsoft.com/office/drawing/2014/main" id="{C223BB14-96CC-4B4E-BEF2-7DC15D49AC68}"/>
                </a:ext>
              </a:extLst>
            </p:cNvPr>
            <p:cNvSpPr/>
            <p:nvPr/>
          </p:nvSpPr>
          <p:spPr>
            <a:xfrm rot="7484129">
              <a:off x="172059" y="493353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170341 w 203847"/>
                <a:gd name="connsiteY5" fmla="*/ 0 h 195874"/>
                <a:gd name="connsiteX6" fmla="*/ 203847 w 203847"/>
                <a:gd name="connsiteY6" fmla="*/ 48325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170341" y="0"/>
                  </a:lnTo>
                  <a:lnTo>
                    <a:pt x="203847" y="48325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8" name="Forme libre : forme 2697">
              <a:extLst>
                <a:ext uri="{FF2B5EF4-FFF2-40B4-BE49-F238E27FC236}">
                  <a16:creationId xmlns:a16="http://schemas.microsoft.com/office/drawing/2014/main" id="{9105CD85-AB3C-4846-B6A4-83422B072A6F}"/>
                </a:ext>
              </a:extLst>
            </p:cNvPr>
            <p:cNvSpPr/>
            <p:nvPr/>
          </p:nvSpPr>
          <p:spPr>
            <a:xfrm rot="13089394">
              <a:off x="313263" y="4907079"/>
              <a:ext cx="272584" cy="221720"/>
            </a:xfrm>
            <a:custGeom>
              <a:avLst/>
              <a:gdLst>
                <a:gd name="connsiteX0" fmla="*/ 272584 w 272584"/>
                <a:gd name="connsiteY0" fmla="*/ 150928 h 221720"/>
                <a:gd name="connsiteX1" fmla="*/ 91597 w 272584"/>
                <a:gd name="connsiteY1" fmla="*/ 221557 h 221720"/>
                <a:gd name="connsiteX2" fmla="*/ 23727 w 272584"/>
                <a:gd name="connsiteY2" fmla="*/ 193967 h 221720"/>
                <a:gd name="connsiteX3" fmla="*/ 0 w 272584"/>
                <a:gd name="connsiteY3" fmla="*/ 99060 h 221720"/>
                <a:gd name="connsiteX4" fmla="*/ 0 w 272584"/>
                <a:gd name="connsiteY4" fmla="*/ 58265 h 221720"/>
                <a:gd name="connsiteX5" fmla="*/ 74157 w 272584"/>
                <a:gd name="connsiteY5" fmla="*/ 0 h 221720"/>
                <a:gd name="connsiteX6" fmla="*/ 74492 w 272584"/>
                <a:gd name="connsiteY6" fmla="*/ 46640 h 221720"/>
                <a:gd name="connsiteX7" fmla="*/ 87734 w 272584"/>
                <a:gd name="connsiteY7" fmla="*/ 138237 h 221720"/>
                <a:gd name="connsiteX8" fmla="*/ 153949 w 272584"/>
                <a:gd name="connsiteY8" fmla="*/ 174655 h 221720"/>
                <a:gd name="connsiteX9" fmla="*/ 203610 w 272584"/>
                <a:gd name="connsiteY9" fmla="*/ 165826 h 221720"/>
                <a:gd name="connsiteX10" fmla="*/ 271480 w 272584"/>
                <a:gd name="connsiteY10" fmla="*/ 138237 h 221720"/>
                <a:gd name="connsiteX11" fmla="*/ 272584 w 272584"/>
                <a:gd name="connsiteY11" fmla="*/ 145410 h 22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2584" h="221720">
                  <a:moveTo>
                    <a:pt x="272584" y="150928"/>
                  </a:moveTo>
                  <a:cubicBezTo>
                    <a:pt x="214094" y="201141"/>
                    <a:pt x="137395" y="218798"/>
                    <a:pt x="91597" y="221557"/>
                  </a:cubicBezTo>
                  <a:cubicBezTo>
                    <a:pt x="66215" y="223213"/>
                    <a:pt x="41384" y="212177"/>
                    <a:pt x="23727" y="193967"/>
                  </a:cubicBezTo>
                  <a:cubicBezTo>
                    <a:pt x="4966" y="175759"/>
                    <a:pt x="0" y="144306"/>
                    <a:pt x="0" y="99060"/>
                  </a:cubicBezTo>
                  <a:lnTo>
                    <a:pt x="0" y="58265"/>
                  </a:lnTo>
                  <a:lnTo>
                    <a:pt x="74157" y="0"/>
                  </a:lnTo>
                  <a:lnTo>
                    <a:pt x="74492" y="46640"/>
                  </a:lnTo>
                  <a:cubicBezTo>
                    <a:pt x="72836" y="77540"/>
                    <a:pt x="77802" y="108992"/>
                    <a:pt x="87734" y="138237"/>
                  </a:cubicBezTo>
                  <a:cubicBezTo>
                    <a:pt x="96563" y="162515"/>
                    <a:pt x="119186" y="174655"/>
                    <a:pt x="153949" y="174655"/>
                  </a:cubicBezTo>
                  <a:cubicBezTo>
                    <a:pt x="171055" y="174103"/>
                    <a:pt x="187608" y="170792"/>
                    <a:pt x="203610" y="165826"/>
                  </a:cubicBezTo>
                  <a:cubicBezTo>
                    <a:pt x="226785" y="158653"/>
                    <a:pt x="249409" y="149273"/>
                    <a:pt x="271480" y="138237"/>
                  </a:cubicBezTo>
                  <a:cubicBezTo>
                    <a:pt x="272032" y="140444"/>
                    <a:pt x="272584" y="143203"/>
                    <a:pt x="272584" y="1454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99" name="Forme libre : forme 2698">
              <a:extLst>
                <a:ext uri="{FF2B5EF4-FFF2-40B4-BE49-F238E27FC236}">
                  <a16:creationId xmlns:a16="http://schemas.microsoft.com/office/drawing/2014/main" id="{04F7B0B6-4F3C-463B-AFC6-7617C958C986}"/>
                </a:ext>
              </a:extLst>
            </p:cNvPr>
            <p:cNvSpPr/>
            <p:nvPr/>
          </p:nvSpPr>
          <p:spPr>
            <a:xfrm rot="8716295">
              <a:off x="466598" y="470771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00" name="Forme libre : forme 2699">
              <a:extLst>
                <a:ext uri="{FF2B5EF4-FFF2-40B4-BE49-F238E27FC236}">
                  <a16:creationId xmlns:a16="http://schemas.microsoft.com/office/drawing/2014/main" id="{9EAECEBF-102E-44C3-A49C-9E40F5D97CD7}"/>
                </a:ext>
              </a:extLst>
            </p:cNvPr>
            <p:cNvSpPr/>
            <p:nvPr/>
          </p:nvSpPr>
          <p:spPr>
            <a:xfrm rot="8716295">
              <a:off x="414793" y="460412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01" name="Forme libre : forme 2700">
              <a:extLst>
                <a:ext uri="{FF2B5EF4-FFF2-40B4-BE49-F238E27FC236}">
                  <a16:creationId xmlns:a16="http://schemas.microsoft.com/office/drawing/2014/main" id="{D86C9B04-A48F-43C5-818F-0682D918E935}"/>
                </a:ext>
              </a:extLst>
            </p:cNvPr>
            <p:cNvSpPr/>
            <p:nvPr/>
          </p:nvSpPr>
          <p:spPr>
            <a:xfrm rot="8716295">
              <a:off x="171547" y="463434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02" name="Forme libre : forme 2701">
              <a:extLst>
                <a:ext uri="{FF2B5EF4-FFF2-40B4-BE49-F238E27FC236}">
                  <a16:creationId xmlns:a16="http://schemas.microsoft.com/office/drawing/2014/main" id="{B50A5EA0-94C0-49DF-B3B3-0598110E9D36}"/>
                </a:ext>
              </a:extLst>
            </p:cNvPr>
            <p:cNvSpPr/>
            <p:nvPr/>
          </p:nvSpPr>
          <p:spPr>
            <a:xfrm rot="8716295">
              <a:off x="348999" y="447510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2703" name="Forme libre : forme 2702">
            <a:extLst>
              <a:ext uri="{FF2B5EF4-FFF2-40B4-BE49-F238E27FC236}">
                <a16:creationId xmlns:a16="http://schemas.microsoft.com/office/drawing/2014/main" id="{E408E4A5-CB62-44EA-BFB2-5C8080ABA866}"/>
              </a:ext>
            </a:extLst>
          </p:cNvPr>
          <p:cNvSpPr/>
          <p:nvPr userDrawn="1"/>
        </p:nvSpPr>
        <p:spPr>
          <a:xfrm>
            <a:off x="5658098" y="0"/>
            <a:ext cx="3485902" cy="5143500"/>
          </a:xfrm>
          <a:custGeom>
            <a:avLst/>
            <a:gdLst>
              <a:gd name="connsiteX0" fmla="*/ 437902 w 3485902"/>
              <a:gd name="connsiteY0" fmla="*/ 0 h 5143500"/>
              <a:gd name="connsiteX1" fmla="*/ 3485902 w 3485902"/>
              <a:gd name="connsiteY1" fmla="*/ 0 h 5143500"/>
              <a:gd name="connsiteX2" fmla="*/ 3485902 w 3485902"/>
              <a:gd name="connsiteY2" fmla="*/ 5143500 h 5143500"/>
              <a:gd name="connsiteX3" fmla="*/ 437902 w 3485902"/>
              <a:gd name="connsiteY3" fmla="*/ 5143500 h 5143500"/>
              <a:gd name="connsiteX4" fmla="*/ 0 w 3485902"/>
              <a:gd name="connsiteY4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85902" h="5143500">
                <a:moveTo>
                  <a:pt x="437902" y="0"/>
                </a:moveTo>
                <a:lnTo>
                  <a:pt x="3485902" y="0"/>
                </a:lnTo>
                <a:lnTo>
                  <a:pt x="3485902" y="5143500"/>
                </a:lnTo>
                <a:lnTo>
                  <a:pt x="437902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416" name="Triangle isocèle 1415">
            <a:extLst>
              <a:ext uri="{FF2B5EF4-FFF2-40B4-BE49-F238E27FC236}">
                <a16:creationId xmlns:a16="http://schemas.microsoft.com/office/drawing/2014/main" id="{AD7C94CF-E2EE-4D3E-8ABC-2B739EE56084}"/>
              </a:ext>
            </a:extLst>
          </p:cNvPr>
          <p:cNvSpPr/>
          <p:nvPr userDrawn="1"/>
        </p:nvSpPr>
        <p:spPr>
          <a:xfrm flipH="1" flipV="1">
            <a:off x="5860799" y="-4"/>
            <a:ext cx="697074" cy="2733677"/>
          </a:xfrm>
          <a:prstGeom prst="triangle">
            <a:avLst>
              <a:gd name="adj" fmla="val 98181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412" name="Espace réservé du texte 1411">
            <a:extLst>
              <a:ext uri="{FF2B5EF4-FFF2-40B4-BE49-F238E27FC236}">
                <a16:creationId xmlns:a16="http://schemas.microsoft.com/office/drawing/2014/main" id="{B975A26C-84FD-4C11-BF53-E602FA68DDC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9920" y="812296"/>
            <a:ext cx="36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1413" name="Espace réservé du texte 1412">
            <a:extLst>
              <a:ext uri="{FF2B5EF4-FFF2-40B4-BE49-F238E27FC236}">
                <a16:creationId xmlns:a16="http://schemas.microsoft.com/office/drawing/2014/main" id="{1F3E6244-BF30-44B9-B6F9-BF4959AA80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29920" y="812296"/>
            <a:ext cx="36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1414" name="Titre 1413">
            <a:extLst>
              <a:ext uri="{FF2B5EF4-FFF2-40B4-BE49-F238E27FC236}">
                <a16:creationId xmlns:a16="http://schemas.microsoft.com/office/drawing/2014/main" id="{7B15E4E4-6E7E-48BC-92A9-631F532CE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5123" y="333575"/>
            <a:ext cx="4278481" cy="4247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Titre de la slide</a:t>
            </a:r>
          </a:p>
        </p:txBody>
      </p:sp>
      <p:sp>
        <p:nvSpPr>
          <p:cNvPr id="2704" name="Espace réservé du texte 527">
            <a:extLst>
              <a:ext uri="{FF2B5EF4-FFF2-40B4-BE49-F238E27FC236}">
                <a16:creationId xmlns:a16="http://schemas.microsoft.com/office/drawing/2014/main" id="{CC11CCEC-9F44-4765-82D5-95394B68963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57797" y="4265959"/>
            <a:ext cx="972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2705" name="Espace réservé du texte 528">
            <a:extLst>
              <a:ext uri="{FF2B5EF4-FFF2-40B4-BE49-F238E27FC236}">
                <a16:creationId xmlns:a16="http://schemas.microsoft.com/office/drawing/2014/main" id="{7747CF4E-5B84-4DE3-88F9-EC35BF6D450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527881" y="4265959"/>
            <a:ext cx="972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rgbClr val="3A1B0B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2706" name="Espace réservé du texte 530">
            <a:extLst>
              <a:ext uri="{FF2B5EF4-FFF2-40B4-BE49-F238E27FC236}">
                <a16:creationId xmlns:a16="http://schemas.microsoft.com/office/drawing/2014/main" id="{CCE21332-A8BF-4D34-9256-DD4FFF00788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44353" y="491319"/>
            <a:ext cx="2190214" cy="3455711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100" b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Niveau 2</a:t>
            </a:r>
          </a:p>
        </p:txBody>
      </p:sp>
      <p:sp>
        <p:nvSpPr>
          <p:cNvPr id="905" name="Espace réservé du numéro de diapositive 904">
            <a:extLst>
              <a:ext uri="{FF2B5EF4-FFF2-40B4-BE49-F238E27FC236}">
                <a16:creationId xmlns:a16="http://schemas.microsoft.com/office/drawing/2014/main" id="{8E169AA1-F9FA-4AA9-8089-1E02EB58967C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5500800" y="2"/>
            <a:ext cx="594090" cy="2665951"/>
          </a:xfrm>
          <a:custGeom>
            <a:avLst/>
            <a:gdLst>
              <a:gd name="connsiteX0" fmla="*/ 0 w 594090"/>
              <a:gd name="connsiteY0" fmla="*/ 0 h 2665951"/>
              <a:gd name="connsiteX1" fmla="*/ 594090 w 594090"/>
              <a:gd name="connsiteY1" fmla="*/ 0 h 2665951"/>
              <a:gd name="connsiteX2" fmla="*/ 367119 w 594090"/>
              <a:gd name="connsiteY2" fmla="*/ 2665951 h 2665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94090" h="2665951">
                <a:moveTo>
                  <a:pt x="0" y="0"/>
                </a:moveTo>
                <a:lnTo>
                  <a:pt x="594090" y="0"/>
                </a:lnTo>
                <a:lnTo>
                  <a:pt x="367119" y="2665951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180000" rIns="0" bIns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337641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clair + Texte">
    <p:bg>
      <p:bgPr>
        <a:solidFill>
          <a:srgbClr val="009F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6" name="Groupe 905">
            <a:extLst>
              <a:ext uri="{FF2B5EF4-FFF2-40B4-BE49-F238E27FC236}">
                <a16:creationId xmlns:a16="http://schemas.microsoft.com/office/drawing/2014/main" id="{262DD600-3D98-450E-9C13-1ED3731F0C57}"/>
              </a:ext>
            </a:extLst>
          </p:cNvPr>
          <p:cNvGrpSpPr/>
          <p:nvPr userDrawn="1"/>
        </p:nvGrpSpPr>
        <p:grpSpPr>
          <a:xfrm>
            <a:off x="5646189" y="-56618"/>
            <a:ext cx="3577789" cy="5281077"/>
            <a:chOff x="5646189" y="-56618"/>
            <a:chExt cx="3577789" cy="5281077"/>
          </a:xfrm>
          <a:solidFill>
            <a:schemeClr val="bg2">
              <a:alpha val="5000"/>
            </a:schemeClr>
          </a:solidFill>
        </p:grpSpPr>
        <p:sp>
          <p:nvSpPr>
            <p:cNvPr id="907" name="Forme libre : forme 906">
              <a:extLst>
                <a:ext uri="{FF2B5EF4-FFF2-40B4-BE49-F238E27FC236}">
                  <a16:creationId xmlns:a16="http://schemas.microsoft.com/office/drawing/2014/main" id="{316F36C1-A141-4E61-9E83-EFDA32C46FDD}"/>
                </a:ext>
              </a:extLst>
            </p:cNvPr>
            <p:cNvSpPr/>
            <p:nvPr/>
          </p:nvSpPr>
          <p:spPr>
            <a:xfrm rot="8716295">
              <a:off x="5849244" y="2601866"/>
              <a:ext cx="81391" cy="44199"/>
            </a:xfrm>
            <a:custGeom>
              <a:avLst/>
              <a:gdLst>
                <a:gd name="connsiteX0" fmla="*/ 0 w 81391"/>
                <a:gd name="connsiteY0" fmla="*/ 44199 h 44199"/>
                <a:gd name="connsiteX1" fmla="*/ 0 w 81391"/>
                <a:gd name="connsiteY1" fmla="*/ 0 h 44199"/>
                <a:gd name="connsiteX2" fmla="*/ 81391 w 81391"/>
                <a:gd name="connsiteY2" fmla="*/ 0 h 44199"/>
                <a:gd name="connsiteX3" fmla="*/ 44834 w 81391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1391" h="44199">
                  <a:moveTo>
                    <a:pt x="0" y="44199"/>
                  </a:moveTo>
                  <a:lnTo>
                    <a:pt x="0" y="0"/>
                  </a:lnTo>
                  <a:lnTo>
                    <a:pt x="81391" y="0"/>
                  </a:lnTo>
                  <a:lnTo>
                    <a:pt x="44834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8" name="Forme libre : forme 907">
              <a:extLst>
                <a:ext uri="{FF2B5EF4-FFF2-40B4-BE49-F238E27FC236}">
                  <a16:creationId xmlns:a16="http://schemas.microsoft.com/office/drawing/2014/main" id="{3C10A908-8704-4ED3-B0DC-1D82C51CB83F}"/>
                </a:ext>
              </a:extLst>
            </p:cNvPr>
            <p:cNvSpPr/>
            <p:nvPr/>
          </p:nvSpPr>
          <p:spPr>
            <a:xfrm rot="13089394">
              <a:off x="5767060" y="2734286"/>
              <a:ext cx="230958" cy="317148"/>
            </a:xfrm>
            <a:custGeom>
              <a:avLst/>
              <a:gdLst>
                <a:gd name="connsiteX0" fmla="*/ 230958 w 230958"/>
                <a:gd name="connsiteY0" fmla="*/ 274842 h 317148"/>
                <a:gd name="connsiteX1" fmla="*/ 226070 w 230958"/>
                <a:gd name="connsiteY1" fmla="*/ 278187 h 317148"/>
                <a:gd name="connsiteX2" fmla="*/ 91597 w 230958"/>
                <a:gd name="connsiteY2" fmla="*/ 316985 h 317148"/>
                <a:gd name="connsiteX3" fmla="*/ 23727 w 230958"/>
                <a:gd name="connsiteY3" fmla="*/ 289395 h 317148"/>
                <a:gd name="connsiteX4" fmla="*/ 0 w 230958"/>
                <a:gd name="connsiteY4" fmla="*/ 194488 h 317148"/>
                <a:gd name="connsiteX5" fmla="*/ 0 w 230958"/>
                <a:gd name="connsiteY5" fmla="*/ 26192 h 317148"/>
                <a:gd name="connsiteX6" fmla="*/ 50486 w 230958"/>
                <a:gd name="connsiteY6" fmla="*/ 0 h 317148"/>
                <a:gd name="connsiteX7" fmla="*/ 73727 w 230958"/>
                <a:gd name="connsiteY7" fmla="*/ 35393 h 317148"/>
                <a:gd name="connsiteX8" fmla="*/ 74492 w 230958"/>
                <a:gd name="connsiteY8" fmla="*/ 142068 h 317148"/>
                <a:gd name="connsiteX9" fmla="*/ 87734 w 230958"/>
                <a:gd name="connsiteY9" fmla="*/ 233665 h 317148"/>
                <a:gd name="connsiteX10" fmla="*/ 153949 w 230958"/>
                <a:gd name="connsiteY10" fmla="*/ 270083 h 317148"/>
                <a:gd name="connsiteX11" fmla="*/ 203610 w 230958"/>
                <a:gd name="connsiteY11" fmla="*/ 261254 h 317148"/>
                <a:gd name="connsiteX12" fmla="*/ 218153 w 230958"/>
                <a:gd name="connsiteY12" fmla="*/ 255342 h 317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0958" h="317148">
                  <a:moveTo>
                    <a:pt x="230958" y="274842"/>
                  </a:moveTo>
                  <a:lnTo>
                    <a:pt x="226070" y="278187"/>
                  </a:lnTo>
                  <a:cubicBezTo>
                    <a:pt x="177676" y="304466"/>
                    <a:pt x="125946" y="314915"/>
                    <a:pt x="91597" y="316985"/>
                  </a:cubicBezTo>
                  <a:cubicBezTo>
                    <a:pt x="66215" y="318640"/>
                    <a:pt x="41385" y="307605"/>
                    <a:pt x="23727" y="289395"/>
                  </a:cubicBezTo>
                  <a:cubicBezTo>
                    <a:pt x="4966" y="271187"/>
                    <a:pt x="0" y="239734"/>
                    <a:pt x="0" y="194488"/>
                  </a:cubicBezTo>
                  <a:lnTo>
                    <a:pt x="0" y="26192"/>
                  </a:lnTo>
                  <a:lnTo>
                    <a:pt x="50486" y="0"/>
                  </a:lnTo>
                  <a:lnTo>
                    <a:pt x="73727" y="35393"/>
                  </a:lnTo>
                  <a:lnTo>
                    <a:pt x="74492" y="142068"/>
                  </a:lnTo>
                  <a:cubicBezTo>
                    <a:pt x="72836" y="172968"/>
                    <a:pt x="77802" y="204420"/>
                    <a:pt x="87734" y="233665"/>
                  </a:cubicBezTo>
                  <a:cubicBezTo>
                    <a:pt x="96564" y="257944"/>
                    <a:pt x="119186" y="270083"/>
                    <a:pt x="153949" y="270083"/>
                  </a:cubicBezTo>
                  <a:cubicBezTo>
                    <a:pt x="171055" y="269531"/>
                    <a:pt x="187608" y="266220"/>
                    <a:pt x="203610" y="261254"/>
                  </a:cubicBezTo>
                  <a:lnTo>
                    <a:pt x="218153" y="2553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09" name="Forme libre : forme 908">
              <a:extLst>
                <a:ext uri="{FF2B5EF4-FFF2-40B4-BE49-F238E27FC236}">
                  <a16:creationId xmlns:a16="http://schemas.microsoft.com/office/drawing/2014/main" id="{A199C0B0-5C8A-45B3-BBDF-121576C18A1E}"/>
                </a:ext>
              </a:extLst>
            </p:cNvPr>
            <p:cNvSpPr/>
            <p:nvPr/>
          </p:nvSpPr>
          <p:spPr>
            <a:xfrm rot="8716295">
              <a:off x="5912695" y="253226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0" name="Forme libre : forme 909">
              <a:extLst>
                <a:ext uri="{FF2B5EF4-FFF2-40B4-BE49-F238E27FC236}">
                  <a16:creationId xmlns:a16="http://schemas.microsoft.com/office/drawing/2014/main" id="{674F96B3-B4CB-4FDB-8233-AF794BDAABA3}"/>
                </a:ext>
              </a:extLst>
            </p:cNvPr>
            <p:cNvSpPr/>
            <p:nvPr/>
          </p:nvSpPr>
          <p:spPr>
            <a:xfrm rot="8716295">
              <a:off x="5857614" y="2424677"/>
              <a:ext cx="112409" cy="115397"/>
            </a:xfrm>
            <a:custGeom>
              <a:avLst/>
              <a:gdLst>
                <a:gd name="connsiteX0" fmla="*/ 17477 w 112409"/>
                <a:gd name="connsiteY0" fmla="*/ 101182 h 115397"/>
                <a:gd name="connsiteX1" fmla="*/ 0 w 112409"/>
                <a:gd name="connsiteY1" fmla="*/ 59790 h 115397"/>
                <a:gd name="connsiteX2" fmla="*/ 0 w 112409"/>
                <a:gd name="connsiteY2" fmla="*/ 58869 h 115397"/>
                <a:gd name="connsiteX3" fmla="*/ 17477 w 112409"/>
                <a:gd name="connsiteY3" fmla="*/ 17477 h 115397"/>
                <a:gd name="connsiteX4" fmla="*/ 58869 w 112409"/>
                <a:gd name="connsiteY4" fmla="*/ 0 h 115397"/>
                <a:gd name="connsiteX5" fmla="*/ 100263 w 112409"/>
                <a:gd name="connsiteY5" fmla="*/ 17477 h 115397"/>
                <a:gd name="connsiteX6" fmla="*/ 112409 w 112409"/>
                <a:gd name="connsiteY6" fmla="*/ 35332 h 115397"/>
                <a:gd name="connsiteX7" fmla="*/ 46186 w 112409"/>
                <a:gd name="connsiteY7" fmla="*/ 115397 h 115397"/>
                <a:gd name="connsiteX8" fmla="*/ 36449 w 112409"/>
                <a:gd name="connsiteY8" fmla="*/ 113599 h 115397"/>
                <a:gd name="connsiteX9" fmla="*/ 17477 w 112409"/>
                <a:gd name="connsiteY9" fmla="*/ 101182 h 11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2409" h="115397">
                  <a:moveTo>
                    <a:pt x="17477" y="101182"/>
                  </a:moveTo>
                  <a:cubicBezTo>
                    <a:pt x="6439" y="90144"/>
                    <a:pt x="0" y="75426"/>
                    <a:pt x="0" y="59790"/>
                  </a:cubicBezTo>
                  <a:lnTo>
                    <a:pt x="0" y="58869"/>
                  </a:lnTo>
                  <a:cubicBezTo>
                    <a:pt x="0" y="43233"/>
                    <a:pt x="6439" y="28515"/>
                    <a:pt x="17477" y="17477"/>
                  </a:cubicBezTo>
                  <a:cubicBezTo>
                    <a:pt x="28515" y="6439"/>
                    <a:pt x="43232" y="0"/>
                    <a:pt x="58869" y="0"/>
                  </a:cubicBezTo>
                  <a:cubicBezTo>
                    <a:pt x="74507" y="0"/>
                    <a:pt x="89224" y="6439"/>
                    <a:pt x="100263" y="17477"/>
                  </a:cubicBezTo>
                  <a:lnTo>
                    <a:pt x="112409" y="35332"/>
                  </a:lnTo>
                  <a:lnTo>
                    <a:pt x="46186" y="115397"/>
                  </a:lnTo>
                  <a:lnTo>
                    <a:pt x="36449" y="113599"/>
                  </a:lnTo>
                  <a:cubicBezTo>
                    <a:pt x="29435" y="110840"/>
                    <a:pt x="22996" y="106701"/>
                    <a:pt x="17477" y="10118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1" name="Forme libre : forme 910">
              <a:extLst>
                <a:ext uri="{FF2B5EF4-FFF2-40B4-BE49-F238E27FC236}">
                  <a16:creationId xmlns:a16="http://schemas.microsoft.com/office/drawing/2014/main" id="{3DE21975-F28E-4032-8E60-B5D4D4B87EE5}"/>
                </a:ext>
              </a:extLst>
            </p:cNvPr>
            <p:cNvSpPr/>
            <p:nvPr/>
          </p:nvSpPr>
          <p:spPr>
            <a:xfrm rot="8716295">
              <a:off x="5881807" y="2341768"/>
              <a:ext cx="26879" cy="32498"/>
            </a:xfrm>
            <a:custGeom>
              <a:avLst/>
              <a:gdLst>
                <a:gd name="connsiteX0" fmla="*/ 0 w 26879"/>
                <a:gd name="connsiteY0" fmla="*/ 32498 h 32498"/>
                <a:gd name="connsiteX1" fmla="*/ 10867 w 26879"/>
                <a:gd name="connsiteY1" fmla="*/ 6761 h 32498"/>
                <a:gd name="connsiteX2" fmla="*/ 26879 w 26879"/>
                <a:gd name="connsiteY2" fmla="*/ 0 h 32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879" h="32498">
                  <a:moveTo>
                    <a:pt x="0" y="32498"/>
                  </a:moveTo>
                  <a:lnTo>
                    <a:pt x="10867" y="6761"/>
                  </a:lnTo>
                  <a:lnTo>
                    <a:pt x="26879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2" name="Forme libre : forme 911">
              <a:extLst>
                <a:ext uri="{FF2B5EF4-FFF2-40B4-BE49-F238E27FC236}">
                  <a16:creationId xmlns:a16="http://schemas.microsoft.com/office/drawing/2014/main" id="{9764F5B5-C912-4DBF-84E2-7421124A4791}"/>
                </a:ext>
              </a:extLst>
            </p:cNvPr>
            <p:cNvSpPr/>
            <p:nvPr/>
          </p:nvSpPr>
          <p:spPr>
            <a:xfrm rot="8716295">
              <a:off x="5913671" y="466578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3" name="Forme libre : forme 912">
              <a:extLst>
                <a:ext uri="{FF2B5EF4-FFF2-40B4-BE49-F238E27FC236}">
                  <a16:creationId xmlns:a16="http://schemas.microsoft.com/office/drawing/2014/main" id="{28FBA634-B173-4807-AF78-C3BE0198B5A0}"/>
                </a:ext>
              </a:extLst>
            </p:cNvPr>
            <p:cNvSpPr/>
            <p:nvPr/>
          </p:nvSpPr>
          <p:spPr>
            <a:xfrm rot="8716295">
              <a:off x="6003063" y="469502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4" name="Forme libre : forme 913">
              <a:extLst>
                <a:ext uri="{FF2B5EF4-FFF2-40B4-BE49-F238E27FC236}">
                  <a16:creationId xmlns:a16="http://schemas.microsoft.com/office/drawing/2014/main" id="{D8555892-46F5-4C26-887B-701A898C715E}"/>
                </a:ext>
              </a:extLst>
            </p:cNvPr>
            <p:cNvSpPr/>
            <p:nvPr/>
          </p:nvSpPr>
          <p:spPr>
            <a:xfrm rot="8716295">
              <a:off x="5958213" y="460874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5" name="Forme libre : forme 914">
              <a:extLst>
                <a:ext uri="{FF2B5EF4-FFF2-40B4-BE49-F238E27FC236}">
                  <a16:creationId xmlns:a16="http://schemas.microsoft.com/office/drawing/2014/main" id="{681D1B8C-10AD-42F0-942E-CC687ED23676}"/>
                </a:ext>
              </a:extLst>
            </p:cNvPr>
            <p:cNvSpPr/>
            <p:nvPr/>
          </p:nvSpPr>
          <p:spPr>
            <a:xfrm rot="8716295">
              <a:off x="5801437" y="475432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6" name="Forme libre : forme 915">
              <a:extLst>
                <a:ext uri="{FF2B5EF4-FFF2-40B4-BE49-F238E27FC236}">
                  <a16:creationId xmlns:a16="http://schemas.microsoft.com/office/drawing/2014/main" id="{EE1786F7-846D-4C35-BEF0-71DF51874200}"/>
                </a:ext>
              </a:extLst>
            </p:cNvPr>
            <p:cNvSpPr/>
            <p:nvPr/>
          </p:nvSpPr>
          <p:spPr>
            <a:xfrm rot="8716295">
              <a:off x="5676534" y="454565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7" name="Forme libre : forme 916">
              <a:extLst>
                <a:ext uri="{FF2B5EF4-FFF2-40B4-BE49-F238E27FC236}">
                  <a16:creationId xmlns:a16="http://schemas.microsoft.com/office/drawing/2014/main" id="{D6857D82-8E0B-444B-8E66-5012E332E7B3}"/>
                </a:ext>
              </a:extLst>
            </p:cNvPr>
            <p:cNvSpPr/>
            <p:nvPr/>
          </p:nvSpPr>
          <p:spPr>
            <a:xfrm rot="8716295">
              <a:off x="5768458" y="4370657"/>
              <a:ext cx="172989" cy="350829"/>
            </a:xfrm>
            <a:custGeom>
              <a:avLst/>
              <a:gdLst>
                <a:gd name="connsiteX0" fmla="*/ 25299 w 172989"/>
                <a:gd name="connsiteY0" fmla="*/ 321238 h 350829"/>
                <a:gd name="connsiteX1" fmla="*/ 0 w 172989"/>
                <a:gd name="connsiteY1" fmla="*/ 220042 h 350829"/>
                <a:gd name="connsiteX2" fmla="*/ 0 w 172989"/>
                <a:gd name="connsiteY2" fmla="*/ 40596 h 350829"/>
                <a:gd name="connsiteX3" fmla="*/ 78250 w 172989"/>
                <a:gd name="connsiteY3" fmla="*/ 0 h 350829"/>
                <a:gd name="connsiteX4" fmla="*/ 79427 w 172989"/>
                <a:gd name="connsiteY4" fmla="*/ 164149 h 350829"/>
                <a:gd name="connsiteX5" fmla="*/ 93547 w 172989"/>
                <a:gd name="connsiteY5" fmla="*/ 261815 h 350829"/>
                <a:gd name="connsiteX6" fmla="*/ 164149 w 172989"/>
                <a:gd name="connsiteY6" fmla="*/ 300646 h 350829"/>
                <a:gd name="connsiteX7" fmla="*/ 172989 w 172989"/>
                <a:gd name="connsiteY7" fmla="*/ 299074 h 350829"/>
                <a:gd name="connsiteX8" fmla="*/ 134278 w 172989"/>
                <a:gd name="connsiteY8" fmla="*/ 345877 h 350829"/>
                <a:gd name="connsiteX9" fmla="*/ 97665 w 172989"/>
                <a:gd name="connsiteY9" fmla="*/ 350655 h 350829"/>
                <a:gd name="connsiteX10" fmla="*/ 25299 w 172989"/>
                <a:gd name="connsiteY10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2989" h="350829">
                  <a:moveTo>
                    <a:pt x="25299" y="321238"/>
                  </a:moveTo>
                  <a:cubicBezTo>
                    <a:pt x="5295" y="301822"/>
                    <a:pt x="0" y="268287"/>
                    <a:pt x="0" y="220042"/>
                  </a:cubicBez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102961" y="287702"/>
                    <a:pt x="127083" y="300646"/>
                    <a:pt x="164149" y="300646"/>
                  </a:cubicBezTo>
                  <a:lnTo>
                    <a:pt x="172989" y="299074"/>
                  </a:lnTo>
                  <a:lnTo>
                    <a:pt x="134278" y="345877"/>
                  </a:lnTo>
                  <a:lnTo>
                    <a:pt x="97665" y="350655"/>
                  </a:ln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8" name="Forme libre : forme 917">
              <a:extLst>
                <a:ext uri="{FF2B5EF4-FFF2-40B4-BE49-F238E27FC236}">
                  <a16:creationId xmlns:a16="http://schemas.microsoft.com/office/drawing/2014/main" id="{EB8D3ABA-6A82-4EB5-8976-7A067BF087A1}"/>
                </a:ext>
              </a:extLst>
            </p:cNvPr>
            <p:cNvSpPr/>
            <p:nvPr/>
          </p:nvSpPr>
          <p:spPr>
            <a:xfrm rot="8716295">
              <a:off x="5891615" y="479527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19" name="Forme libre : forme 918">
              <a:extLst>
                <a:ext uri="{FF2B5EF4-FFF2-40B4-BE49-F238E27FC236}">
                  <a16:creationId xmlns:a16="http://schemas.microsoft.com/office/drawing/2014/main" id="{CDE3B9A6-DC2D-4FA6-99E1-2A25E54B47AA}"/>
                </a:ext>
              </a:extLst>
            </p:cNvPr>
            <p:cNvSpPr/>
            <p:nvPr/>
          </p:nvSpPr>
          <p:spPr>
            <a:xfrm rot="8716295">
              <a:off x="6202770" y="441563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0" name="Forme libre : forme 919">
              <a:extLst>
                <a:ext uri="{FF2B5EF4-FFF2-40B4-BE49-F238E27FC236}">
                  <a16:creationId xmlns:a16="http://schemas.microsoft.com/office/drawing/2014/main" id="{5B7D053E-0D42-4B34-AF0A-97083013C28E}"/>
                </a:ext>
              </a:extLst>
            </p:cNvPr>
            <p:cNvSpPr/>
            <p:nvPr/>
          </p:nvSpPr>
          <p:spPr>
            <a:xfrm rot="8716295">
              <a:off x="6292162" y="444487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1" name="Forme libre : forme 920">
              <a:extLst>
                <a:ext uri="{FF2B5EF4-FFF2-40B4-BE49-F238E27FC236}">
                  <a16:creationId xmlns:a16="http://schemas.microsoft.com/office/drawing/2014/main" id="{694450A2-AFB6-47EC-9F1E-9256E1A21402}"/>
                </a:ext>
              </a:extLst>
            </p:cNvPr>
            <p:cNvSpPr/>
            <p:nvPr/>
          </p:nvSpPr>
          <p:spPr>
            <a:xfrm rot="8716295">
              <a:off x="6090536" y="450417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2" name="Forme libre : forme 921">
              <a:extLst>
                <a:ext uri="{FF2B5EF4-FFF2-40B4-BE49-F238E27FC236}">
                  <a16:creationId xmlns:a16="http://schemas.microsoft.com/office/drawing/2014/main" id="{2E1D4188-16BB-4F4E-B396-4368ED517467}"/>
                </a:ext>
              </a:extLst>
            </p:cNvPr>
            <p:cNvSpPr/>
            <p:nvPr/>
          </p:nvSpPr>
          <p:spPr>
            <a:xfrm rot="8716295">
              <a:off x="5965634" y="429550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3" name="Forme libre : forme 922">
              <a:extLst>
                <a:ext uri="{FF2B5EF4-FFF2-40B4-BE49-F238E27FC236}">
                  <a16:creationId xmlns:a16="http://schemas.microsoft.com/office/drawing/2014/main" id="{EBDC38B5-8342-4F3F-B5B5-1F3F235D0C56}"/>
                </a:ext>
              </a:extLst>
            </p:cNvPr>
            <p:cNvSpPr/>
            <p:nvPr/>
          </p:nvSpPr>
          <p:spPr>
            <a:xfrm rot="8716295">
              <a:off x="6180714" y="454512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4" name="Forme libre : forme 923">
              <a:extLst>
                <a:ext uri="{FF2B5EF4-FFF2-40B4-BE49-F238E27FC236}">
                  <a16:creationId xmlns:a16="http://schemas.microsoft.com/office/drawing/2014/main" id="{C4B5129D-445F-4392-8AC2-B9203BB346DD}"/>
                </a:ext>
              </a:extLst>
            </p:cNvPr>
            <p:cNvSpPr/>
            <p:nvPr/>
          </p:nvSpPr>
          <p:spPr>
            <a:xfrm rot="8716295">
              <a:off x="5939263" y="439552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5" name="Forme libre : forme 924">
              <a:extLst>
                <a:ext uri="{FF2B5EF4-FFF2-40B4-BE49-F238E27FC236}">
                  <a16:creationId xmlns:a16="http://schemas.microsoft.com/office/drawing/2014/main" id="{970FEF4F-2806-4E6F-A7A1-4451942C9570}"/>
                </a:ext>
              </a:extLst>
            </p:cNvPr>
            <p:cNvSpPr/>
            <p:nvPr/>
          </p:nvSpPr>
          <p:spPr>
            <a:xfrm rot="7484129">
              <a:off x="6285645" y="473647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6" name="Forme libre : forme 925">
              <a:extLst>
                <a:ext uri="{FF2B5EF4-FFF2-40B4-BE49-F238E27FC236}">
                  <a16:creationId xmlns:a16="http://schemas.microsoft.com/office/drawing/2014/main" id="{168E5BFD-1FF0-4328-BCD6-5A1BDBE7CD08}"/>
                </a:ext>
              </a:extLst>
            </p:cNvPr>
            <p:cNvSpPr/>
            <p:nvPr/>
          </p:nvSpPr>
          <p:spPr>
            <a:xfrm rot="13089394">
              <a:off x="6390465" y="470301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7" name="Forme libre : forme 926">
              <a:extLst>
                <a:ext uri="{FF2B5EF4-FFF2-40B4-BE49-F238E27FC236}">
                  <a16:creationId xmlns:a16="http://schemas.microsoft.com/office/drawing/2014/main" id="{951FD6F9-1046-440D-A307-0E7AB7A12F89}"/>
                </a:ext>
              </a:extLst>
            </p:cNvPr>
            <p:cNvSpPr/>
            <p:nvPr/>
          </p:nvSpPr>
          <p:spPr>
            <a:xfrm rot="8716295">
              <a:off x="6576050" y="451133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8" name="Forme libre : forme 927">
              <a:extLst>
                <a:ext uri="{FF2B5EF4-FFF2-40B4-BE49-F238E27FC236}">
                  <a16:creationId xmlns:a16="http://schemas.microsoft.com/office/drawing/2014/main" id="{1E996269-D47F-468E-AA98-30BA5BAD5601}"/>
                </a:ext>
              </a:extLst>
            </p:cNvPr>
            <p:cNvSpPr/>
            <p:nvPr/>
          </p:nvSpPr>
          <p:spPr>
            <a:xfrm rot="8716295">
              <a:off x="6524245" y="440773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9" name="Forme libre : forme 928">
              <a:extLst>
                <a:ext uri="{FF2B5EF4-FFF2-40B4-BE49-F238E27FC236}">
                  <a16:creationId xmlns:a16="http://schemas.microsoft.com/office/drawing/2014/main" id="{C949C9CA-7367-4FDB-9FDD-5DB19B82AE8D}"/>
                </a:ext>
              </a:extLst>
            </p:cNvPr>
            <p:cNvSpPr/>
            <p:nvPr/>
          </p:nvSpPr>
          <p:spPr>
            <a:xfrm rot="8716295">
              <a:off x="6280999" y="443795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0" name="Forme libre : forme 929">
              <a:extLst>
                <a:ext uri="{FF2B5EF4-FFF2-40B4-BE49-F238E27FC236}">
                  <a16:creationId xmlns:a16="http://schemas.microsoft.com/office/drawing/2014/main" id="{5CC25390-A23A-40EF-A07C-D971AF863154}"/>
                </a:ext>
              </a:extLst>
            </p:cNvPr>
            <p:cNvSpPr/>
            <p:nvPr/>
          </p:nvSpPr>
          <p:spPr>
            <a:xfrm rot="8716295">
              <a:off x="6458451" y="427871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1" name="Forme libre : forme 930">
              <a:extLst>
                <a:ext uri="{FF2B5EF4-FFF2-40B4-BE49-F238E27FC236}">
                  <a16:creationId xmlns:a16="http://schemas.microsoft.com/office/drawing/2014/main" id="{146B7D99-DE33-4639-937C-D36E74FC0553}"/>
                </a:ext>
              </a:extLst>
            </p:cNvPr>
            <p:cNvSpPr/>
            <p:nvPr/>
          </p:nvSpPr>
          <p:spPr>
            <a:xfrm rot="8716295">
              <a:off x="5769872" y="3510436"/>
              <a:ext cx="90341" cy="46972"/>
            </a:xfrm>
            <a:custGeom>
              <a:avLst/>
              <a:gdLst>
                <a:gd name="connsiteX0" fmla="*/ 0 w 90341"/>
                <a:gd name="connsiteY0" fmla="*/ 44199 h 46972"/>
                <a:gd name="connsiteX1" fmla="*/ 0 w 90341"/>
                <a:gd name="connsiteY1" fmla="*/ 0 h 46972"/>
                <a:gd name="connsiteX2" fmla="*/ 90341 w 90341"/>
                <a:gd name="connsiteY2" fmla="*/ 0 h 46972"/>
                <a:gd name="connsiteX3" fmla="*/ 51490 w 90341"/>
                <a:gd name="connsiteY3" fmla="*/ 46972 h 46972"/>
                <a:gd name="connsiteX4" fmla="*/ 51490 w 90341"/>
                <a:gd name="connsiteY4" fmla="*/ 44199 h 46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341" h="46972">
                  <a:moveTo>
                    <a:pt x="0" y="44199"/>
                  </a:moveTo>
                  <a:lnTo>
                    <a:pt x="0" y="0"/>
                  </a:lnTo>
                  <a:lnTo>
                    <a:pt x="90341" y="0"/>
                  </a:lnTo>
                  <a:lnTo>
                    <a:pt x="51490" y="46972"/>
                  </a:lnTo>
                  <a:lnTo>
                    <a:pt x="51490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2" name="Forme libre : forme 931">
              <a:extLst>
                <a:ext uri="{FF2B5EF4-FFF2-40B4-BE49-F238E27FC236}">
                  <a16:creationId xmlns:a16="http://schemas.microsoft.com/office/drawing/2014/main" id="{3DDBB1E4-D3C5-4DF2-B891-FF20DEDD11B2}"/>
                </a:ext>
              </a:extLst>
            </p:cNvPr>
            <p:cNvSpPr/>
            <p:nvPr/>
          </p:nvSpPr>
          <p:spPr>
            <a:xfrm rot="8716295">
              <a:off x="5792621" y="3203487"/>
              <a:ext cx="140657" cy="113060"/>
            </a:xfrm>
            <a:custGeom>
              <a:avLst/>
              <a:gdLst>
                <a:gd name="connsiteX0" fmla="*/ 81109 w 140657"/>
                <a:gd name="connsiteY0" fmla="*/ 113060 h 113060"/>
                <a:gd name="connsiteX1" fmla="*/ 81108 w 140657"/>
                <a:gd name="connsiteY1" fmla="*/ 69717 h 113060"/>
                <a:gd name="connsiteX2" fmla="*/ 81108 w 140657"/>
                <a:gd name="connsiteY2" fmla="*/ 65616 h 113060"/>
                <a:gd name="connsiteX3" fmla="*/ 60604 w 140657"/>
                <a:gd name="connsiteY3" fmla="*/ 50123 h 113060"/>
                <a:gd name="connsiteX4" fmla="*/ 0 w 140657"/>
                <a:gd name="connsiteY4" fmla="*/ 50123 h 113060"/>
                <a:gd name="connsiteX5" fmla="*/ 0 w 140657"/>
                <a:gd name="connsiteY5" fmla="*/ 0 h 113060"/>
                <a:gd name="connsiteX6" fmla="*/ 85209 w 140657"/>
                <a:gd name="connsiteY6" fmla="*/ 0 h 113060"/>
                <a:gd name="connsiteX7" fmla="*/ 138458 w 140657"/>
                <a:gd name="connsiteY7" fmla="*/ 27874 h 113060"/>
                <a:gd name="connsiteX8" fmla="*/ 140657 w 140657"/>
                <a:gd name="connsiteY8" fmla="*/ 41065 h 113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0657" h="113060">
                  <a:moveTo>
                    <a:pt x="81109" y="113060"/>
                  </a:moveTo>
                  <a:lnTo>
                    <a:pt x="81108" y="69717"/>
                  </a:lnTo>
                  <a:cubicBezTo>
                    <a:pt x="81108" y="68350"/>
                    <a:pt x="81109" y="66983"/>
                    <a:pt x="81108" y="65616"/>
                  </a:cubicBezTo>
                  <a:cubicBezTo>
                    <a:pt x="79741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12891" y="0"/>
                    <a:pt x="131089" y="8971"/>
                    <a:pt x="138458" y="27874"/>
                  </a:cubicBezTo>
                  <a:lnTo>
                    <a:pt x="140657" y="4106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3" name="Forme libre : forme 932">
              <a:extLst>
                <a:ext uri="{FF2B5EF4-FFF2-40B4-BE49-F238E27FC236}">
                  <a16:creationId xmlns:a16="http://schemas.microsoft.com/office/drawing/2014/main" id="{D0B2DA57-A70B-43F7-9619-5711704B639A}"/>
                </a:ext>
              </a:extLst>
            </p:cNvPr>
            <p:cNvSpPr/>
            <p:nvPr/>
          </p:nvSpPr>
          <p:spPr>
            <a:xfrm rot="8716295">
              <a:off x="5847477" y="312420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4" name="Forme libre : forme 933">
              <a:extLst>
                <a:ext uri="{FF2B5EF4-FFF2-40B4-BE49-F238E27FC236}">
                  <a16:creationId xmlns:a16="http://schemas.microsoft.com/office/drawing/2014/main" id="{1051B224-B15E-43CC-A0B6-B9EF6E747E24}"/>
                </a:ext>
              </a:extLst>
            </p:cNvPr>
            <p:cNvSpPr/>
            <p:nvPr/>
          </p:nvSpPr>
          <p:spPr>
            <a:xfrm rot="8716295">
              <a:off x="5773507" y="3354505"/>
              <a:ext cx="103435" cy="76949"/>
            </a:xfrm>
            <a:custGeom>
              <a:avLst/>
              <a:gdLst>
                <a:gd name="connsiteX0" fmla="*/ 43288 w 103435"/>
                <a:gd name="connsiteY0" fmla="*/ 76949 h 76949"/>
                <a:gd name="connsiteX1" fmla="*/ 43288 w 103435"/>
                <a:gd name="connsiteY1" fmla="*/ 16404 h 76949"/>
                <a:gd name="connsiteX2" fmla="*/ 0 w 103435"/>
                <a:gd name="connsiteY2" fmla="*/ 16404 h 76949"/>
                <a:gd name="connsiteX3" fmla="*/ 0 w 103435"/>
                <a:gd name="connsiteY3" fmla="*/ 2278 h 76949"/>
                <a:gd name="connsiteX4" fmla="*/ 103435 w 103435"/>
                <a:gd name="connsiteY4" fmla="*/ 0 h 76949"/>
                <a:gd name="connsiteX5" fmla="*/ 103435 w 103435"/>
                <a:gd name="connsiteY5" fmla="*/ 4230 h 76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76949">
                  <a:moveTo>
                    <a:pt x="43288" y="76949"/>
                  </a:move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423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5" name="Forme libre : forme 934">
              <a:extLst>
                <a:ext uri="{FF2B5EF4-FFF2-40B4-BE49-F238E27FC236}">
                  <a16:creationId xmlns:a16="http://schemas.microsoft.com/office/drawing/2014/main" id="{352A9204-99DE-4A12-9185-D55A857434F8}"/>
                </a:ext>
              </a:extLst>
            </p:cNvPr>
            <p:cNvSpPr/>
            <p:nvPr/>
          </p:nvSpPr>
          <p:spPr>
            <a:xfrm rot="7484129">
              <a:off x="5840960" y="341580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6" name="Forme libre : forme 935">
              <a:extLst>
                <a:ext uri="{FF2B5EF4-FFF2-40B4-BE49-F238E27FC236}">
                  <a16:creationId xmlns:a16="http://schemas.microsoft.com/office/drawing/2014/main" id="{1AF7DA6B-CCB6-40AE-904E-CD1E7D32B1FE}"/>
                </a:ext>
              </a:extLst>
            </p:cNvPr>
            <p:cNvSpPr/>
            <p:nvPr/>
          </p:nvSpPr>
          <p:spPr>
            <a:xfrm rot="13089394">
              <a:off x="5945780" y="3382339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7" name="Forme libre : forme 936">
              <a:extLst>
                <a:ext uri="{FF2B5EF4-FFF2-40B4-BE49-F238E27FC236}">
                  <a16:creationId xmlns:a16="http://schemas.microsoft.com/office/drawing/2014/main" id="{92F73C9C-D47A-4DBF-A36A-63EFBB8F7092}"/>
                </a:ext>
              </a:extLst>
            </p:cNvPr>
            <p:cNvSpPr/>
            <p:nvPr/>
          </p:nvSpPr>
          <p:spPr>
            <a:xfrm rot="8716295">
              <a:off x="6131365" y="319065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8" name="Forme libre : forme 937">
              <a:extLst>
                <a:ext uri="{FF2B5EF4-FFF2-40B4-BE49-F238E27FC236}">
                  <a16:creationId xmlns:a16="http://schemas.microsoft.com/office/drawing/2014/main" id="{86E70207-E48B-40D3-9AE0-B4D98BA8D82A}"/>
                </a:ext>
              </a:extLst>
            </p:cNvPr>
            <p:cNvSpPr/>
            <p:nvPr/>
          </p:nvSpPr>
          <p:spPr>
            <a:xfrm rot="8716295">
              <a:off x="6079560" y="308706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9" name="Forme libre : forme 938">
              <a:extLst>
                <a:ext uri="{FF2B5EF4-FFF2-40B4-BE49-F238E27FC236}">
                  <a16:creationId xmlns:a16="http://schemas.microsoft.com/office/drawing/2014/main" id="{578F257E-8AEA-4C62-8BCB-A3EC01FA30A5}"/>
                </a:ext>
              </a:extLst>
            </p:cNvPr>
            <p:cNvSpPr/>
            <p:nvPr/>
          </p:nvSpPr>
          <p:spPr>
            <a:xfrm rot="8716295">
              <a:off x="5836314" y="311728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0" name="Forme libre : forme 939">
              <a:extLst>
                <a:ext uri="{FF2B5EF4-FFF2-40B4-BE49-F238E27FC236}">
                  <a16:creationId xmlns:a16="http://schemas.microsoft.com/office/drawing/2014/main" id="{A29AEA70-F7EC-4CA7-971C-78399CA63009}"/>
                </a:ext>
              </a:extLst>
            </p:cNvPr>
            <p:cNvSpPr/>
            <p:nvPr/>
          </p:nvSpPr>
          <p:spPr>
            <a:xfrm rot="8716295">
              <a:off x="6013766" y="295804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1" name="Forme libre : forme 940">
              <a:extLst>
                <a:ext uri="{FF2B5EF4-FFF2-40B4-BE49-F238E27FC236}">
                  <a16:creationId xmlns:a16="http://schemas.microsoft.com/office/drawing/2014/main" id="{96E0F3D2-C3AC-4108-AFBE-445ECA00ACA7}"/>
                </a:ext>
              </a:extLst>
            </p:cNvPr>
            <p:cNvSpPr/>
            <p:nvPr/>
          </p:nvSpPr>
          <p:spPr>
            <a:xfrm rot="8716295">
              <a:off x="5720177" y="4097348"/>
              <a:ext cx="142168" cy="131086"/>
            </a:xfrm>
            <a:custGeom>
              <a:avLst/>
              <a:gdLst>
                <a:gd name="connsiteX0" fmla="*/ 81108 w 142168"/>
                <a:gd name="connsiteY0" fmla="*/ 131086 h 131086"/>
                <a:gd name="connsiteX1" fmla="*/ 81108 w 142168"/>
                <a:gd name="connsiteY1" fmla="*/ 69717 h 131086"/>
                <a:gd name="connsiteX2" fmla="*/ 81108 w 142168"/>
                <a:gd name="connsiteY2" fmla="*/ 65616 h 131086"/>
                <a:gd name="connsiteX3" fmla="*/ 60604 w 142168"/>
                <a:gd name="connsiteY3" fmla="*/ 50123 h 131086"/>
                <a:gd name="connsiteX4" fmla="*/ 0 w 142168"/>
                <a:gd name="connsiteY4" fmla="*/ 50123 h 131086"/>
                <a:gd name="connsiteX5" fmla="*/ 0 w 142168"/>
                <a:gd name="connsiteY5" fmla="*/ 0 h 131086"/>
                <a:gd name="connsiteX6" fmla="*/ 85209 w 142168"/>
                <a:gd name="connsiteY6" fmla="*/ 0 h 131086"/>
                <a:gd name="connsiteX7" fmla="*/ 142167 w 142168"/>
                <a:gd name="connsiteY7" fmla="*/ 50123 h 131086"/>
                <a:gd name="connsiteX8" fmla="*/ 142168 w 142168"/>
                <a:gd name="connsiteY8" fmla="*/ 57264 h 131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8" h="131086">
                  <a:moveTo>
                    <a:pt x="81108" y="131086"/>
                  </a:moveTo>
                  <a:lnTo>
                    <a:pt x="81108" y="69717"/>
                  </a:lnTo>
                  <a:cubicBezTo>
                    <a:pt x="81108" y="68350"/>
                    <a:pt x="81109" y="66983"/>
                    <a:pt x="81108" y="65616"/>
                  </a:cubicBezTo>
                  <a:cubicBezTo>
                    <a:pt x="79741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9"/>
                    <a:pt x="142167" y="50123"/>
                  </a:cubicBezTo>
                  <a:lnTo>
                    <a:pt x="142168" y="572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2" name="Forme libre : forme 941">
              <a:extLst>
                <a:ext uri="{FF2B5EF4-FFF2-40B4-BE49-F238E27FC236}">
                  <a16:creationId xmlns:a16="http://schemas.microsoft.com/office/drawing/2014/main" id="{D0A7ABF4-BCEC-4B57-BCB3-E83AC5575A2E}"/>
                </a:ext>
              </a:extLst>
            </p:cNvPr>
            <p:cNvSpPr/>
            <p:nvPr/>
          </p:nvSpPr>
          <p:spPr>
            <a:xfrm rot="8716295">
              <a:off x="5781545" y="403405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3" name="Forme libre : forme 942">
              <a:extLst>
                <a:ext uri="{FF2B5EF4-FFF2-40B4-BE49-F238E27FC236}">
                  <a16:creationId xmlns:a16="http://schemas.microsoft.com/office/drawing/2014/main" id="{E7410290-1E3A-47AF-BA4D-8362B73A00E3}"/>
                </a:ext>
              </a:extLst>
            </p:cNvPr>
            <p:cNvSpPr/>
            <p:nvPr/>
          </p:nvSpPr>
          <p:spPr>
            <a:xfrm rot="8716295">
              <a:off x="5736695" y="3947771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4" name="Forme libre : forme 943">
              <a:extLst>
                <a:ext uri="{FF2B5EF4-FFF2-40B4-BE49-F238E27FC236}">
                  <a16:creationId xmlns:a16="http://schemas.microsoft.com/office/drawing/2014/main" id="{9BED9B6C-47E6-4D5F-928F-91F5377B4250}"/>
                </a:ext>
              </a:extLst>
            </p:cNvPr>
            <p:cNvSpPr/>
            <p:nvPr/>
          </p:nvSpPr>
          <p:spPr>
            <a:xfrm rot="8716295">
              <a:off x="5702441" y="4247935"/>
              <a:ext cx="103435" cy="94974"/>
            </a:xfrm>
            <a:custGeom>
              <a:avLst/>
              <a:gdLst>
                <a:gd name="connsiteX0" fmla="*/ 43288 w 103435"/>
                <a:gd name="connsiteY0" fmla="*/ 94974 h 94974"/>
                <a:gd name="connsiteX1" fmla="*/ 43288 w 103435"/>
                <a:gd name="connsiteY1" fmla="*/ 16404 h 94974"/>
                <a:gd name="connsiteX2" fmla="*/ 0 w 103435"/>
                <a:gd name="connsiteY2" fmla="*/ 16404 h 94974"/>
                <a:gd name="connsiteX3" fmla="*/ 0 w 103435"/>
                <a:gd name="connsiteY3" fmla="*/ 2278 h 94974"/>
                <a:gd name="connsiteX4" fmla="*/ 103435 w 103435"/>
                <a:gd name="connsiteY4" fmla="*/ 0 h 94974"/>
                <a:gd name="connsiteX5" fmla="*/ 103435 w 103435"/>
                <a:gd name="connsiteY5" fmla="*/ 22255 h 94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94974">
                  <a:moveTo>
                    <a:pt x="43288" y="94974"/>
                  </a:moveTo>
                  <a:lnTo>
                    <a:pt x="43288" y="16404"/>
                  </a:lnTo>
                  <a:lnTo>
                    <a:pt x="0" y="16404"/>
                  </a:lnTo>
                  <a:lnTo>
                    <a:pt x="0" y="2278"/>
                  </a:lnTo>
                  <a:cubicBezTo>
                    <a:pt x="32808" y="3645"/>
                    <a:pt x="66982" y="911"/>
                    <a:pt x="103435" y="0"/>
                  </a:cubicBezTo>
                  <a:lnTo>
                    <a:pt x="103435" y="222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5" name="Forme libre : forme 944">
              <a:extLst>
                <a:ext uri="{FF2B5EF4-FFF2-40B4-BE49-F238E27FC236}">
                  <a16:creationId xmlns:a16="http://schemas.microsoft.com/office/drawing/2014/main" id="{3B973B62-C6C8-4FF1-84DA-2CF100C6F600}"/>
                </a:ext>
              </a:extLst>
            </p:cNvPr>
            <p:cNvSpPr/>
            <p:nvPr/>
          </p:nvSpPr>
          <p:spPr>
            <a:xfrm rot="8716295">
              <a:off x="5981252" y="375465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6" name="Forme libre : forme 945">
              <a:extLst>
                <a:ext uri="{FF2B5EF4-FFF2-40B4-BE49-F238E27FC236}">
                  <a16:creationId xmlns:a16="http://schemas.microsoft.com/office/drawing/2014/main" id="{2AF0D86E-53FF-404D-972C-BFC50DCEBF42}"/>
                </a:ext>
              </a:extLst>
            </p:cNvPr>
            <p:cNvSpPr/>
            <p:nvPr/>
          </p:nvSpPr>
          <p:spPr>
            <a:xfrm rot="8716295">
              <a:off x="6070644" y="378389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7" name="Forme libre : forme 946">
              <a:extLst>
                <a:ext uri="{FF2B5EF4-FFF2-40B4-BE49-F238E27FC236}">
                  <a16:creationId xmlns:a16="http://schemas.microsoft.com/office/drawing/2014/main" id="{1CD18C36-834E-4DAE-BDAA-F92E9244DC61}"/>
                </a:ext>
              </a:extLst>
            </p:cNvPr>
            <p:cNvSpPr/>
            <p:nvPr/>
          </p:nvSpPr>
          <p:spPr>
            <a:xfrm rot="8716295">
              <a:off x="5869018" y="384320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8" name="Forme libre : forme 947">
              <a:extLst>
                <a:ext uri="{FF2B5EF4-FFF2-40B4-BE49-F238E27FC236}">
                  <a16:creationId xmlns:a16="http://schemas.microsoft.com/office/drawing/2014/main" id="{3C7E1362-5870-4F46-928D-1A08D53107E4}"/>
                </a:ext>
              </a:extLst>
            </p:cNvPr>
            <p:cNvSpPr/>
            <p:nvPr/>
          </p:nvSpPr>
          <p:spPr>
            <a:xfrm rot="8716295">
              <a:off x="5744116" y="363452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9" name="Forme libre : forme 948">
              <a:extLst>
                <a:ext uri="{FF2B5EF4-FFF2-40B4-BE49-F238E27FC236}">
                  <a16:creationId xmlns:a16="http://schemas.microsoft.com/office/drawing/2014/main" id="{0C5E2F6B-6631-4816-8A8A-1BB8467E77D2}"/>
                </a:ext>
              </a:extLst>
            </p:cNvPr>
            <p:cNvSpPr/>
            <p:nvPr/>
          </p:nvSpPr>
          <p:spPr>
            <a:xfrm rot="8716295">
              <a:off x="5959196" y="3884153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0" name="Forme libre : forme 949">
              <a:extLst>
                <a:ext uri="{FF2B5EF4-FFF2-40B4-BE49-F238E27FC236}">
                  <a16:creationId xmlns:a16="http://schemas.microsoft.com/office/drawing/2014/main" id="{E65DCBA9-55EE-45E1-B233-4077B825D76D}"/>
                </a:ext>
              </a:extLst>
            </p:cNvPr>
            <p:cNvSpPr/>
            <p:nvPr/>
          </p:nvSpPr>
          <p:spPr>
            <a:xfrm rot="8716295">
              <a:off x="5756235" y="3750459"/>
              <a:ext cx="38930" cy="44504"/>
            </a:xfrm>
            <a:custGeom>
              <a:avLst/>
              <a:gdLst>
                <a:gd name="connsiteX0" fmla="*/ 2222 w 38930"/>
                <a:gd name="connsiteY0" fmla="*/ 44504 h 44504"/>
                <a:gd name="connsiteX1" fmla="*/ 0 w 38930"/>
                <a:gd name="connsiteY1" fmla="*/ 39242 h 44504"/>
                <a:gd name="connsiteX2" fmla="*/ 0 w 38930"/>
                <a:gd name="connsiteY2" fmla="*/ 38638 h 44504"/>
                <a:gd name="connsiteX3" fmla="*/ 11471 w 38930"/>
                <a:gd name="connsiteY3" fmla="*/ 11471 h 44504"/>
                <a:gd name="connsiteX4" fmla="*/ 38638 w 38930"/>
                <a:gd name="connsiteY4" fmla="*/ 0 h 44504"/>
                <a:gd name="connsiteX5" fmla="*/ 38930 w 38930"/>
                <a:gd name="connsiteY5" fmla="*/ 123 h 44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930" h="44504">
                  <a:moveTo>
                    <a:pt x="2222" y="44504"/>
                  </a:moveTo>
                  <a:lnTo>
                    <a:pt x="0" y="39242"/>
                  </a:lnTo>
                  <a:lnTo>
                    <a:pt x="0" y="38638"/>
                  </a:lnTo>
                  <a:cubicBezTo>
                    <a:pt x="0" y="28375"/>
                    <a:pt x="4226" y="18716"/>
                    <a:pt x="11471" y="11471"/>
                  </a:cubicBezTo>
                  <a:cubicBezTo>
                    <a:pt x="18716" y="4226"/>
                    <a:pt x="28376" y="0"/>
                    <a:pt x="38638" y="0"/>
                  </a:cubicBezTo>
                  <a:lnTo>
                    <a:pt x="38930" y="1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1" name="Forme libre : forme 950">
              <a:extLst>
                <a:ext uri="{FF2B5EF4-FFF2-40B4-BE49-F238E27FC236}">
                  <a16:creationId xmlns:a16="http://schemas.microsoft.com/office/drawing/2014/main" id="{EA118543-7877-4501-A5A0-4C2991DA5E90}"/>
                </a:ext>
              </a:extLst>
            </p:cNvPr>
            <p:cNvSpPr/>
            <p:nvPr/>
          </p:nvSpPr>
          <p:spPr>
            <a:xfrm rot="7484129">
              <a:off x="6064127" y="407550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2" name="Forme libre : forme 951">
              <a:extLst>
                <a:ext uri="{FF2B5EF4-FFF2-40B4-BE49-F238E27FC236}">
                  <a16:creationId xmlns:a16="http://schemas.microsoft.com/office/drawing/2014/main" id="{7AB6C3EC-555A-4C76-B15E-AAB3CAAF24B3}"/>
                </a:ext>
              </a:extLst>
            </p:cNvPr>
            <p:cNvSpPr/>
            <p:nvPr/>
          </p:nvSpPr>
          <p:spPr>
            <a:xfrm rot="13089394">
              <a:off x="6168947" y="4042038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3" name="Forme libre : forme 952">
              <a:extLst>
                <a:ext uri="{FF2B5EF4-FFF2-40B4-BE49-F238E27FC236}">
                  <a16:creationId xmlns:a16="http://schemas.microsoft.com/office/drawing/2014/main" id="{963A3DD5-51DE-4848-9EB9-5B90B6B81918}"/>
                </a:ext>
              </a:extLst>
            </p:cNvPr>
            <p:cNvSpPr/>
            <p:nvPr/>
          </p:nvSpPr>
          <p:spPr>
            <a:xfrm rot="8716295">
              <a:off x="6354532" y="3850357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4" name="Forme libre : forme 953">
              <a:extLst>
                <a:ext uri="{FF2B5EF4-FFF2-40B4-BE49-F238E27FC236}">
                  <a16:creationId xmlns:a16="http://schemas.microsoft.com/office/drawing/2014/main" id="{995C729E-49BA-4503-863A-2DDC26B4CD56}"/>
                </a:ext>
              </a:extLst>
            </p:cNvPr>
            <p:cNvSpPr/>
            <p:nvPr/>
          </p:nvSpPr>
          <p:spPr>
            <a:xfrm rot="8716295">
              <a:off x="6302727" y="374676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5" name="Forme libre : forme 954">
              <a:extLst>
                <a:ext uri="{FF2B5EF4-FFF2-40B4-BE49-F238E27FC236}">
                  <a16:creationId xmlns:a16="http://schemas.microsoft.com/office/drawing/2014/main" id="{B68D55F1-87C8-418D-9415-5E30511E82CD}"/>
                </a:ext>
              </a:extLst>
            </p:cNvPr>
            <p:cNvSpPr/>
            <p:nvPr/>
          </p:nvSpPr>
          <p:spPr>
            <a:xfrm rot="8716295">
              <a:off x="6059481" y="377698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6" name="Forme libre : forme 955">
              <a:extLst>
                <a:ext uri="{FF2B5EF4-FFF2-40B4-BE49-F238E27FC236}">
                  <a16:creationId xmlns:a16="http://schemas.microsoft.com/office/drawing/2014/main" id="{C863A7CC-4158-4F17-9AE2-A72A139B887C}"/>
                </a:ext>
              </a:extLst>
            </p:cNvPr>
            <p:cNvSpPr/>
            <p:nvPr/>
          </p:nvSpPr>
          <p:spPr>
            <a:xfrm rot="8716295">
              <a:off x="6236933" y="361774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7" name="Forme libre : forme 956">
              <a:extLst>
                <a:ext uri="{FF2B5EF4-FFF2-40B4-BE49-F238E27FC236}">
                  <a16:creationId xmlns:a16="http://schemas.microsoft.com/office/drawing/2014/main" id="{FAF82776-068F-41C0-96DF-85F697986F49}"/>
                </a:ext>
              </a:extLst>
            </p:cNvPr>
            <p:cNvSpPr/>
            <p:nvPr/>
          </p:nvSpPr>
          <p:spPr>
            <a:xfrm rot="8716295">
              <a:off x="5646341" y="5012072"/>
              <a:ext cx="61128" cy="44199"/>
            </a:xfrm>
            <a:custGeom>
              <a:avLst/>
              <a:gdLst>
                <a:gd name="connsiteX0" fmla="*/ 0 w 61128"/>
                <a:gd name="connsiteY0" fmla="*/ 44199 h 44199"/>
                <a:gd name="connsiteX1" fmla="*/ 0 w 61128"/>
                <a:gd name="connsiteY1" fmla="*/ 0 h 44199"/>
                <a:gd name="connsiteX2" fmla="*/ 61128 w 61128"/>
                <a:gd name="connsiteY2" fmla="*/ 0 h 44199"/>
                <a:gd name="connsiteX3" fmla="*/ 24570 w 61128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128" h="44199">
                  <a:moveTo>
                    <a:pt x="0" y="44199"/>
                  </a:moveTo>
                  <a:lnTo>
                    <a:pt x="0" y="0"/>
                  </a:lnTo>
                  <a:lnTo>
                    <a:pt x="61128" y="0"/>
                  </a:lnTo>
                  <a:lnTo>
                    <a:pt x="24570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8" name="Forme libre : forme 957">
              <a:extLst>
                <a:ext uri="{FF2B5EF4-FFF2-40B4-BE49-F238E27FC236}">
                  <a16:creationId xmlns:a16="http://schemas.microsoft.com/office/drawing/2014/main" id="{5D62A47A-9C19-4F62-9A51-E8D6D493BCBB}"/>
                </a:ext>
              </a:extLst>
            </p:cNvPr>
            <p:cNvSpPr/>
            <p:nvPr/>
          </p:nvSpPr>
          <p:spPr>
            <a:xfrm rot="8716295">
              <a:off x="5686469" y="4948149"/>
              <a:ext cx="225182" cy="162840"/>
            </a:xfrm>
            <a:custGeom>
              <a:avLst/>
              <a:gdLst>
                <a:gd name="connsiteX0" fmla="*/ 6986 w 225182"/>
                <a:gd name="connsiteY0" fmla="*/ 162840 h 162840"/>
                <a:gd name="connsiteX1" fmla="*/ 0 w 225182"/>
                <a:gd name="connsiteY1" fmla="*/ 153167 h 162840"/>
                <a:gd name="connsiteX2" fmla="*/ 127370 w 225182"/>
                <a:gd name="connsiteY2" fmla="*/ 33321 h 162840"/>
                <a:gd name="connsiteX3" fmla="*/ 191862 w 225182"/>
                <a:gd name="connsiteY3" fmla="*/ 0 h 162840"/>
                <a:gd name="connsiteX4" fmla="*/ 196795 w 225182"/>
                <a:gd name="connsiteY4" fmla="*/ 1164 h 162840"/>
                <a:gd name="connsiteX5" fmla="*/ 219028 w 225182"/>
                <a:gd name="connsiteY5" fmla="*/ 16575 h 162840"/>
                <a:gd name="connsiteX6" fmla="*/ 225182 w 225182"/>
                <a:gd name="connsiteY6" fmla="*/ 39770 h 162840"/>
                <a:gd name="connsiteX7" fmla="*/ 194012 w 225182"/>
                <a:gd name="connsiteY7" fmla="*/ 81689 h 162840"/>
                <a:gd name="connsiteX8" fmla="*/ 194548 w 225182"/>
                <a:gd name="connsiteY8" fmla="*/ 81689 h 162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5182" h="162840">
                  <a:moveTo>
                    <a:pt x="6986" y="162840"/>
                  </a:moveTo>
                  <a:lnTo>
                    <a:pt x="0" y="153167"/>
                  </a:lnTo>
                  <a:lnTo>
                    <a:pt x="127370" y="33321"/>
                  </a:lnTo>
                  <a:cubicBezTo>
                    <a:pt x="143493" y="14511"/>
                    <a:pt x="166602" y="2687"/>
                    <a:pt x="191862" y="0"/>
                  </a:cubicBezTo>
                  <a:lnTo>
                    <a:pt x="196795" y="1164"/>
                  </a:lnTo>
                  <a:lnTo>
                    <a:pt x="219028" y="16575"/>
                  </a:lnTo>
                  <a:lnTo>
                    <a:pt x="225182" y="39770"/>
                  </a:lnTo>
                  <a:cubicBezTo>
                    <a:pt x="223570" y="58580"/>
                    <a:pt x="211208" y="74165"/>
                    <a:pt x="194012" y="81689"/>
                  </a:cubicBezTo>
                  <a:lnTo>
                    <a:pt x="194548" y="8168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9" name="Forme libre : forme 958">
              <a:extLst>
                <a:ext uri="{FF2B5EF4-FFF2-40B4-BE49-F238E27FC236}">
                  <a16:creationId xmlns:a16="http://schemas.microsoft.com/office/drawing/2014/main" id="{2F2DED4E-A984-4BA6-A236-177692C90757}"/>
                </a:ext>
              </a:extLst>
            </p:cNvPr>
            <p:cNvSpPr/>
            <p:nvPr/>
          </p:nvSpPr>
          <p:spPr>
            <a:xfrm rot="8716295">
              <a:off x="5646189" y="4843185"/>
              <a:ext cx="103263" cy="109760"/>
            </a:xfrm>
            <a:custGeom>
              <a:avLst/>
              <a:gdLst>
                <a:gd name="connsiteX0" fmla="*/ 17478 w 103263"/>
                <a:gd name="connsiteY0" fmla="*/ 101182 h 109760"/>
                <a:gd name="connsiteX1" fmla="*/ 0 w 103263"/>
                <a:gd name="connsiteY1" fmla="*/ 59790 h 109760"/>
                <a:gd name="connsiteX2" fmla="*/ 0 w 103263"/>
                <a:gd name="connsiteY2" fmla="*/ 58869 h 109760"/>
                <a:gd name="connsiteX3" fmla="*/ 17477 w 103263"/>
                <a:gd name="connsiteY3" fmla="*/ 17477 h 109760"/>
                <a:gd name="connsiteX4" fmla="*/ 58869 w 103263"/>
                <a:gd name="connsiteY4" fmla="*/ 0 h 109760"/>
                <a:gd name="connsiteX5" fmla="*/ 100262 w 103263"/>
                <a:gd name="connsiteY5" fmla="*/ 17478 h 109760"/>
                <a:gd name="connsiteX6" fmla="*/ 103263 w 103263"/>
                <a:gd name="connsiteY6" fmla="*/ 21889 h 109760"/>
                <a:gd name="connsiteX7" fmla="*/ 30583 w 103263"/>
                <a:gd name="connsiteY7" fmla="*/ 109760 h 109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3263" h="109760">
                  <a:moveTo>
                    <a:pt x="17478" y="101182"/>
                  </a:moveTo>
                  <a:cubicBezTo>
                    <a:pt x="6440" y="90144"/>
                    <a:pt x="0" y="75426"/>
                    <a:pt x="0" y="59790"/>
                  </a:cubicBezTo>
                  <a:lnTo>
                    <a:pt x="0" y="58869"/>
                  </a:lnTo>
                  <a:cubicBezTo>
                    <a:pt x="0" y="43232"/>
                    <a:pt x="6439" y="28515"/>
                    <a:pt x="17477" y="17477"/>
                  </a:cubicBezTo>
                  <a:cubicBezTo>
                    <a:pt x="28515" y="6439"/>
                    <a:pt x="43232" y="0"/>
                    <a:pt x="58869" y="0"/>
                  </a:cubicBezTo>
                  <a:cubicBezTo>
                    <a:pt x="74507" y="0"/>
                    <a:pt x="89224" y="6440"/>
                    <a:pt x="100262" y="17478"/>
                  </a:cubicBezTo>
                  <a:lnTo>
                    <a:pt x="103263" y="21889"/>
                  </a:lnTo>
                  <a:lnTo>
                    <a:pt x="30583" y="1097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0" name="Forme libre : forme 959">
              <a:extLst>
                <a:ext uri="{FF2B5EF4-FFF2-40B4-BE49-F238E27FC236}">
                  <a16:creationId xmlns:a16="http://schemas.microsoft.com/office/drawing/2014/main" id="{A6F97576-1723-4483-ABFD-51F7D8B729B6}"/>
                </a:ext>
              </a:extLst>
            </p:cNvPr>
            <p:cNvSpPr/>
            <p:nvPr/>
          </p:nvSpPr>
          <p:spPr>
            <a:xfrm rot="8716295">
              <a:off x="5912192" y="5052711"/>
              <a:ext cx="199936" cy="162182"/>
            </a:xfrm>
            <a:custGeom>
              <a:avLst/>
              <a:gdLst>
                <a:gd name="connsiteX0" fmla="*/ 25299 w 199936"/>
                <a:gd name="connsiteY0" fmla="*/ 132591 h 162182"/>
                <a:gd name="connsiteX1" fmla="*/ 0 w 199936"/>
                <a:gd name="connsiteY1" fmla="*/ 31395 h 162182"/>
                <a:gd name="connsiteX2" fmla="*/ 0 w 199936"/>
                <a:gd name="connsiteY2" fmla="*/ 0 h 162182"/>
                <a:gd name="connsiteX3" fmla="*/ 92209 w 199936"/>
                <a:gd name="connsiteY3" fmla="*/ 63916 h 162182"/>
                <a:gd name="connsiteX4" fmla="*/ 93547 w 199936"/>
                <a:gd name="connsiteY4" fmla="*/ 73168 h 162182"/>
                <a:gd name="connsiteX5" fmla="*/ 118478 w 199936"/>
                <a:gd name="connsiteY5" fmla="*/ 102291 h 162182"/>
                <a:gd name="connsiteX6" fmla="*/ 160439 w 199936"/>
                <a:gd name="connsiteY6" fmla="*/ 111210 h 162182"/>
                <a:gd name="connsiteX7" fmla="*/ 199936 w 199936"/>
                <a:gd name="connsiteY7" fmla="*/ 138589 h 162182"/>
                <a:gd name="connsiteX8" fmla="*/ 189080 w 199936"/>
                <a:gd name="connsiteY8" fmla="*/ 143328 h 162182"/>
                <a:gd name="connsiteX9" fmla="*/ 97665 w 199936"/>
                <a:gd name="connsiteY9" fmla="*/ 162008 h 162182"/>
                <a:gd name="connsiteX10" fmla="*/ 25299 w 199936"/>
                <a:gd name="connsiteY10" fmla="*/ 132591 h 162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9936" h="162182">
                  <a:moveTo>
                    <a:pt x="25299" y="132591"/>
                  </a:moveTo>
                  <a:cubicBezTo>
                    <a:pt x="5295" y="113175"/>
                    <a:pt x="0" y="79640"/>
                    <a:pt x="0" y="31395"/>
                  </a:cubicBezTo>
                  <a:lnTo>
                    <a:pt x="0" y="0"/>
                  </a:lnTo>
                  <a:lnTo>
                    <a:pt x="92209" y="63916"/>
                  </a:lnTo>
                  <a:lnTo>
                    <a:pt x="93547" y="73168"/>
                  </a:lnTo>
                  <a:cubicBezTo>
                    <a:pt x="98254" y="86111"/>
                    <a:pt x="106638" y="95819"/>
                    <a:pt x="118478" y="102291"/>
                  </a:cubicBezTo>
                  <a:lnTo>
                    <a:pt x="160439" y="111210"/>
                  </a:lnTo>
                  <a:lnTo>
                    <a:pt x="199936" y="138589"/>
                  </a:lnTo>
                  <a:lnTo>
                    <a:pt x="189080" y="143328"/>
                  </a:lnTo>
                  <a:cubicBezTo>
                    <a:pt x="154735" y="155095"/>
                    <a:pt x="122082" y="160537"/>
                    <a:pt x="97665" y="162008"/>
                  </a:cubicBezTo>
                  <a:cubicBezTo>
                    <a:pt x="70602" y="163773"/>
                    <a:pt x="44126" y="152006"/>
                    <a:pt x="25299" y="13259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1" name="Forme libre : forme 960">
              <a:extLst>
                <a:ext uri="{FF2B5EF4-FFF2-40B4-BE49-F238E27FC236}">
                  <a16:creationId xmlns:a16="http://schemas.microsoft.com/office/drawing/2014/main" id="{90B8ABE7-A5DD-43D8-841B-962E7DF13DBB}"/>
                </a:ext>
              </a:extLst>
            </p:cNvPr>
            <p:cNvSpPr/>
            <p:nvPr/>
          </p:nvSpPr>
          <p:spPr>
            <a:xfrm rot="8716295">
              <a:off x="6391313" y="5109036"/>
              <a:ext cx="48754" cy="53077"/>
            </a:xfrm>
            <a:custGeom>
              <a:avLst/>
              <a:gdLst>
                <a:gd name="connsiteX0" fmla="*/ 0 w 48754"/>
                <a:gd name="connsiteY0" fmla="*/ 53077 h 53077"/>
                <a:gd name="connsiteX1" fmla="*/ 0 w 48754"/>
                <a:gd name="connsiteY1" fmla="*/ 0 h 53077"/>
                <a:gd name="connsiteX2" fmla="*/ 48754 w 48754"/>
                <a:gd name="connsiteY2" fmla="*/ 33794 h 53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754" h="53077">
                  <a:moveTo>
                    <a:pt x="0" y="53077"/>
                  </a:moveTo>
                  <a:lnTo>
                    <a:pt x="0" y="0"/>
                  </a:lnTo>
                  <a:lnTo>
                    <a:pt x="48754" y="337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2" name="Forme libre : forme 961">
              <a:extLst>
                <a:ext uri="{FF2B5EF4-FFF2-40B4-BE49-F238E27FC236}">
                  <a16:creationId xmlns:a16="http://schemas.microsoft.com/office/drawing/2014/main" id="{FE1A44B8-6EFF-4767-8A7A-1368FB776C2C}"/>
                </a:ext>
              </a:extLst>
            </p:cNvPr>
            <p:cNvSpPr/>
            <p:nvPr/>
          </p:nvSpPr>
          <p:spPr>
            <a:xfrm rot="8716295">
              <a:off x="6604006" y="5086303"/>
              <a:ext cx="59107" cy="81271"/>
            </a:xfrm>
            <a:custGeom>
              <a:avLst/>
              <a:gdLst>
                <a:gd name="connsiteX0" fmla="*/ 0 w 59107"/>
                <a:gd name="connsiteY0" fmla="*/ 81271 h 81271"/>
                <a:gd name="connsiteX1" fmla="*/ 0 w 59107"/>
                <a:gd name="connsiteY1" fmla="*/ 0 h 81271"/>
                <a:gd name="connsiteX2" fmla="*/ 59107 w 59107"/>
                <a:gd name="connsiteY2" fmla="*/ 40971 h 81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9107" h="81271">
                  <a:moveTo>
                    <a:pt x="0" y="81271"/>
                  </a:moveTo>
                  <a:lnTo>
                    <a:pt x="0" y="0"/>
                  </a:lnTo>
                  <a:lnTo>
                    <a:pt x="59107" y="409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3" name="Forme libre : forme 962">
              <a:extLst>
                <a:ext uri="{FF2B5EF4-FFF2-40B4-BE49-F238E27FC236}">
                  <a16:creationId xmlns:a16="http://schemas.microsoft.com/office/drawing/2014/main" id="{564969A8-6844-48A3-9D81-0C8C78AA871A}"/>
                </a:ext>
              </a:extLst>
            </p:cNvPr>
            <p:cNvSpPr/>
            <p:nvPr/>
          </p:nvSpPr>
          <p:spPr>
            <a:xfrm rot="8716295">
              <a:off x="6183968" y="4952734"/>
              <a:ext cx="202937" cy="195874"/>
            </a:xfrm>
            <a:custGeom>
              <a:avLst/>
              <a:gdLst>
                <a:gd name="connsiteX0" fmla="*/ 90709 w 202937"/>
                <a:gd name="connsiteY0" fmla="*/ 195874 h 195874"/>
                <a:gd name="connsiteX1" fmla="*/ 47847 w 202937"/>
                <a:gd name="connsiteY1" fmla="*/ 116129 h 195874"/>
                <a:gd name="connsiteX2" fmla="*/ 69777 w 202937"/>
                <a:gd name="connsiteY2" fmla="*/ 55323 h 195874"/>
                <a:gd name="connsiteX3" fmla="*/ 0 w 202937"/>
                <a:gd name="connsiteY3" fmla="*/ 55323 h 195874"/>
                <a:gd name="connsiteX4" fmla="*/ 0 w 202937"/>
                <a:gd name="connsiteY4" fmla="*/ 0 h 195874"/>
                <a:gd name="connsiteX5" fmla="*/ 123124 w 202937"/>
                <a:gd name="connsiteY5" fmla="*/ 0 h 195874"/>
                <a:gd name="connsiteX6" fmla="*/ 202937 w 202937"/>
                <a:gd name="connsiteY6" fmla="*/ 55323 h 195874"/>
                <a:gd name="connsiteX7" fmla="*/ 139055 w 202937"/>
                <a:gd name="connsiteY7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2937" h="195874">
                  <a:moveTo>
                    <a:pt x="90709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123124" y="0"/>
                  </a:lnTo>
                  <a:lnTo>
                    <a:pt x="20293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4" name="Forme libre : forme 963">
              <a:extLst>
                <a:ext uri="{FF2B5EF4-FFF2-40B4-BE49-F238E27FC236}">
                  <a16:creationId xmlns:a16="http://schemas.microsoft.com/office/drawing/2014/main" id="{08AD032C-6C86-4845-A4B0-3D6B054ABD87}"/>
                </a:ext>
              </a:extLst>
            </p:cNvPr>
            <p:cNvSpPr/>
            <p:nvPr/>
          </p:nvSpPr>
          <p:spPr>
            <a:xfrm rot="8716295">
              <a:off x="6161279" y="505310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5" name="Forme libre : forme 964">
              <a:extLst>
                <a:ext uri="{FF2B5EF4-FFF2-40B4-BE49-F238E27FC236}">
                  <a16:creationId xmlns:a16="http://schemas.microsoft.com/office/drawing/2014/main" id="{1634811C-B4C0-451B-962C-E46A7CD8B922}"/>
                </a:ext>
              </a:extLst>
            </p:cNvPr>
            <p:cNvSpPr/>
            <p:nvPr/>
          </p:nvSpPr>
          <p:spPr>
            <a:xfrm rot="8716295">
              <a:off x="6931575" y="5125548"/>
              <a:ext cx="28968" cy="21142"/>
            </a:xfrm>
            <a:custGeom>
              <a:avLst/>
              <a:gdLst>
                <a:gd name="connsiteX0" fmla="*/ 6986 w 28968"/>
                <a:gd name="connsiteY0" fmla="*/ 21142 h 21142"/>
                <a:gd name="connsiteX1" fmla="*/ 0 w 28968"/>
                <a:gd name="connsiteY1" fmla="*/ 11469 h 21142"/>
                <a:gd name="connsiteX2" fmla="*/ 12189 w 28968"/>
                <a:gd name="connsiteY2" fmla="*/ 0 h 21142"/>
                <a:gd name="connsiteX3" fmla="*/ 28968 w 28968"/>
                <a:gd name="connsiteY3" fmla="*/ 11631 h 2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968" h="21142">
                  <a:moveTo>
                    <a:pt x="6986" y="21142"/>
                  </a:moveTo>
                  <a:lnTo>
                    <a:pt x="0" y="11469"/>
                  </a:lnTo>
                  <a:lnTo>
                    <a:pt x="12189" y="0"/>
                  </a:lnTo>
                  <a:lnTo>
                    <a:pt x="28968" y="116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6" name="Forme libre : forme 965">
              <a:extLst>
                <a:ext uri="{FF2B5EF4-FFF2-40B4-BE49-F238E27FC236}">
                  <a16:creationId xmlns:a16="http://schemas.microsoft.com/office/drawing/2014/main" id="{4DAB4475-0622-4D27-8698-19DE6A41164E}"/>
                </a:ext>
              </a:extLst>
            </p:cNvPr>
            <p:cNvSpPr/>
            <p:nvPr/>
          </p:nvSpPr>
          <p:spPr>
            <a:xfrm rot="8716295">
              <a:off x="6737940" y="5060558"/>
              <a:ext cx="113691" cy="106472"/>
            </a:xfrm>
            <a:custGeom>
              <a:avLst/>
              <a:gdLst>
                <a:gd name="connsiteX0" fmla="*/ 17478 w 113691"/>
                <a:gd name="connsiteY0" fmla="*/ 89915 h 106472"/>
                <a:gd name="connsiteX1" fmla="*/ 0 w 113691"/>
                <a:gd name="connsiteY1" fmla="*/ 48523 h 106472"/>
                <a:gd name="connsiteX2" fmla="*/ 0 w 113691"/>
                <a:gd name="connsiteY2" fmla="*/ 47602 h 106472"/>
                <a:gd name="connsiteX3" fmla="*/ 17477 w 113691"/>
                <a:gd name="connsiteY3" fmla="*/ 6210 h 106472"/>
                <a:gd name="connsiteX4" fmla="*/ 32186 w 113691"/>
                <a:gd name="connsiteY4" fmla="*/ 0 h 106472"/>
                <a:gd name="connsiteX5" fmla="*/ 113691 w 113691"/>
                <a:gd name="connsiteY5" fmla="*/ 56496 h 106472"/>
                <a:gd name="connsiteX6" fmla="*/ 100263 w 113691"/>
                <a:gd name="connsiteY6" fmla="*/ 88995 h 106472"/>
                <a:gd name="connsiteX7" fmla="*/ 58869 w 113691"/>
                <a:gd name="connsiteY7" fmla="*/ 106472 h 106472"/>
                <a:gd name="connsiteX8" fmla="*/ 17478 w 113691"/>
                <a:gd name="connsiteY8" fmla="*/ 89915 h 106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3691" h="106472">
                  <a:moveTo>
                    <a:pt x="17478" y="89915"/>
                  </a:moveTo>
                  <a:cubicBezTo>
                    <a:pt x="6440" y="78877"/>
                    <a:pt x="0" y="64159"/>
                    <a:pt x="0" y="48523"/>
                  </a:cubicBezTo>
                  <a:lnTo>
                    <a:pt x="0" y="47602"/>
                  </a:lnTo>
                  <a:cubicBezTo>
                    <a:pt x="0" y="31965"/>
                    <a:pt x="6439" y="17248"/>
                    <a:pt x="17477" y="6210"/>
                  </a:cubicBezTo>
                  <a:lnTo>
                    <a:pt x="32186" y="0"/>
                  </a:lnTo>
                  <a:lnTo>
                    <a:pt x="113691" y="56496"/>
                  </a:lnTo>
                  <a:lnTo>
                    <a:pt x="100263" y="88995"/>
                  </a:lnTo>
                  <a:cubicBezTo>
                    <a:pt x="89224" y="100033"/>
                    <a:pt x="74507" y="106471"/>
                    <a:pt x="58869" y="106472"/>
                  </a:cubicBezTo>
                  <a:cubicBezTo>
                    <a:pt x="43233" y="106472"/>
                    <a:pt x="28515" y="100952"/>
                    <a:pt x="17478" y="8991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7" name="Forme libre : forme 966">
              <a:extLst>
                <a:ext uri="{FF2B5EF4-FFF2-40B4-BE49-F238E27FC236}">
                  <a16:creationId xmlns:a16="http://schemas.microsoft.com/office/drawing/2014/main" id="{B623F3B8-2654-4B92-BE58-3F7E38DD0FB8}"/>
                </a:ext>
              </a:extLst>
            </p:cNvPr>
            <p:cNvSpPr/>
            <p:nvPr/>
          </p:nvSpPr>
          <p:spPr>
            <a:xfrm rot="8716295">
              <a:off x="6498383" y="5093340"/>
              <a:ext cx="58211" cy="56997"/>
            </a:xfrm>
            <a:custGeom>
              <a:avLst/>
              <a:gdLst>
                <a:gd name="connsiteX0" fmla="*/ 8658 w 58211"/>
                <a:gd name="connsiteY0" fmla="*/ 48794 h 56997"/>
                <a:gd name="connsiteX1" fmla="*/ 0 w 58211"/>
                <a:gd name="connsiteY1" fmla="*/ 28290 h 56997"/>
                <a:gd name="connsiteX2" fmla="*/ 0 w 58211"/>
                <a:gd name="connsiteY2" fmla="*/ 27833 h 56997"/>
                <a:gd name="connsiteX3" fmla="*/ 8658 w 58211"/>
                <a:gd name="connsiteY3" fmla="*/ 7329 h 56997"/>
                <a:gd name="connsiteX4" fmla="*/ 26015 w 58211"/>
                <a:gd name="connsiteY4" fmla="*/ 0 h 56997"/>
                <a:gd name="connsiteX5" fmla="*/ 55042 w 58211"/>
                <a:gd name="connsiteY5" fmla="*/ 20120 h 56997"/>
                <a:gd name="connsiteX6" fmla="*/ 58211 w 58211"/>
                <a:gd name="connsiteY6" fmla="*/ 27663 h 56997"/>
                <a:gd name="connsiteX7" fmla="*/ 49668 w 58211"/>
                <a:gd name="connsiteY7" fmla="*/ 48339 h 56997"/>
                <a:gd name="connsiteX8" fmla="*/ 29163 w 58211"/>
                <a:gd name="connsiteY8" fmla="*/ 56997 h 56997"/>
                <a:gd name="connsiteX9" fmla="*/ 8658 w 58211"/>
                <a:gd name="connsiteY9" fmla="*/ 48794 h 56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8211" h="56997">
                  <a:moveTo>
                    <a:pt x="8658" y="48794"/>
                  </a:moveTo>
                  <a:cubicBezTo>
                    <a:pt x="3190" y="43327"/>
                    <a:pt x="0" y="36035"/>
                    <a:pt x="0" y="28290"/>
                  </a:cubicBezTo>
                  <a:lnTo>
                    <a:pt x="0" y="27833"/>
                  </a:lnTo>
                  <a:cubicBezTo>
                    <a:pt x="0" y="20088"/>
                    <a:pt x="3190" y="12797"/>
                    <a:pt x="8658" y="7329"/>
                  </a:cubicBezTo>
                  <a:lnTo>
                    <a:pt x="26015" y="0"/>
                  </a:lnTo>
                  <a:lnTo>
                    <a:pt x="55042" y="20120"/>
                  </a:lnTo>
                  <a:lnTo>
                    <a:pt x="58211" y="27663"/>
                  </a:lnTo>
                  <a:cubicBezTo>
                    <a:pt x="58212" y="35125"/>
                    <a:pt x="55364" y="42643"/>
                    <a:pt x="49668" y="48339"/>
                  </a:cubicBezTo>
                  <a:cubicBezTo>
                    <a:pt x="44200" y="53807"/>
                    <a:pt x="36909" y="56996"/>
                    <a:pt x="29163" y="56997"/>
                  </a:cubicBezTo>
                  <a:cubicBezTo>
                    <a:pt x="21416" y="56996"/>
                    <a:pt x="14126" y="54262"/>
                    <a:pt x="8658" y="4879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8" name="Forme libre : forme 967">
              <a:extLst>
                <a:ext uri="{FF2B5EF4-FFF2-40B4-BE49-F238E27FC236}">
                  <a16:creationId xmlns:a16="http://schemas.microsoft.com/office/drawing/2014/main" id="{09425ABD-6513-4C44-B2C5-3F8F0BD4C408}"/>
                </a:ext>
              </a:extLst>
            </p:cNvPr>
            <p:cNvSpPr/>
            <p:nvPr/>
          </p:nvSpPr>
          <p:spPr>
            <a:xfrm rot="8716295">
              <a:off x="6680467" y="493629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9" name="Forme libre : forme 968">
              <a:extLst>
                <a:ext uri="{FF2B5EF4-FFF2-40B4-BE49-F238E27FC236}">
                  <a16:creationId xmlns:a16="http://schemas.microsoft.com/office/drawing/2014/main" id="{9B183886-0645-4A14-8362-6B1FDC1B0148}"/>
                </a:ext>
              </a:extLst>
            </p:cNvPr>
            <p:cNvSpPr/>
            <p:nvPr/>
          </p:nvSpPr>
          <p:spPr>
            <a:xfrm rot="8716295">
              <a:off x="6106444" y="219919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0" name="Forme libre : forme 969">
              <a:extLst>
                <a:ext uri="{FF2B5EF4-FFF2-40B4-BE49-F238E27FC236}">
                  <a16:creationId xmlns:a16="http://schemas.microsoft.com/office/drawing/2014/main" id="{2EFB178A-8391-4919-B609-712FE3C8A80B}"/>
                </a:ext>
              </a:extLst>
            </p:cNvPr>
            <p:cNvSpPr/>
            <p:nvPr/>
          </p:nvSpPr>
          <p:spPr>
            <a:xfrm rot="8716295">
              <a:off x="6195836" y="222843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1" name="Forme libre : forme 970">
              <a:extLst>
                <a:ext uri="{FF2B5EF4-FFF2-40B4-BE49-F238E27FC236}">
                  <a16:creationId xmlns:a16="http://schemas.microsoft.com/office/drawing/2014/main" id="{0FFCBE3C-AA93-430F-8E5B-BDFB102AC2EA}"/>
                </a:ext>
              </a:extLst>
            </p:cNvPr>
            <p:cNvSpPr/>
            <p:nvPr/>
          </p:nvSpPr>
          <p:spPr>
            <a:xfrm rot="8716295">
              <a:off x="6150986" y="214215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2" name="Forme libre : forme 971">
              <a:extLst>
                <a:ext uri="{FF2B5EF4-FFF2-40B4-BE49-F238E27FC236}">
                  <a16:creationId xmlns:a16="http://schemas.microsoft.com/office/drawing/2014/main" id="{FFB53123-B577-43B0-94BC-06BEF39D167F}"/>
                </a:ext>
              </a:extLst>
            </p:cNvPr>
            <p:cNvSpPr/>
            <p:nvPr/>
          </p:nvSpPr>
          <p:spPr>
            <a:xfrm rot="8716295">
              <a:off x="5994210" y="228773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3" name="Forme libre : forme 972">
              <a:extLst>
                <a:ext uri="{FF2B5EF4-FFF2-40B4-BE49-F238E27FC236}">
                  <a16:creationId xmlns:a16="http://schemas.microsoft.com/office/drawing/2014/main" id="{42AC1E8A-7A0A-409A-9CF1-4E4EBD069982}"/>
                </a:ext>
              </a:extLst>
            </p:cNvPr>
            <p:cNvSpPr/>
            <p:nvPr/>
          </p:nvSpPr>
          <p:spPr>
            <a:xfrm rot="8716295">
              <a:off x="5869307" y="207906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4" name="Forme libre : forme 973">
              <a:extLst>
                <a:ext uri="{FF2B5EF4-FFF2-40B4-BE49-F238E27FC236}">
                  <a16:creationId xmlns:a16="http://schemas.microsoft.com/office/drawing/2014/main" id="{707943F8-782E-4969-8471-01FE2059FFE2}"/>
                </a:ext>
              </a:extLst>
            </p:cNvPr>
            <p:cNvSpPr/>
            <p:nvPr/>
          </p:nvSpPr>
          <p:spPr>
            <a:xfrm rot="8716295">
              <a:off x="5980698" y="1897979"/>
              <a:ext cx="151619" cy="350829"/>
            </a:xfrm>
            <a:custGeom>
              <a:avLst/>
              <a:gdLst>
                <a:gd name="connsiteX0" fmla="*/ 25299 w 151619"/>
                <a:gd name="connsiteY0" fmla="*/ 321238 h 350829"/>
                <a:gd name="connsiteX1" fmla="*/ 0 w 151619"/>
                <a:gd name="connsiteY1" fmla="*/ 220042 h 350829"/>
                <a:gd name="connsiteX2" fmla="*/ 0 w 151619"/>
                <a:gd name="connsiteY2" fmla="*/ 40596 h 350829"/>
                <a:gd name="connsiteX3" fmla="*/ 78250 w 151619"/>
                <a:gd name="connsiteY3" fmla="*/ 0 h 350829"/>
                <a:gd name="connsiteX4" fmla="*/ 79427 w 151619"/>
                <a:gd name="connsiteY4" fmla="*/ 164149 h 350829"/>
                <a:gd name="connsiteX5" fmla="*/ 93547 w 151619"/>
                <a:gd name="connsiteY5" fmla="*/ 261815 h 350829"/>
                <a:gd name="connsiteX6" fmla="*/ 118478 w 151619"/>
                <a:gd name="connsiteY6" fmla="*/ 290938 h 350829"/>
                <a:gd name="connsiteX7" fmla="*/ 151619 w 151619"/>
                <a:gd name="connsiteY7" fmla="*/ 297983 h 350829"/>
                <a:gd name="connsiteX8" fmla="*/ 109310 w 151619"/>
                <a:gd name="connsiteY8" fmla="*/ 349136 h 350829"/>
                <a:gd name="connsiteX9" fmla="*/ 97665 w 151619"/>
                <a:gd name="connsiteY9" fmla="*/ 350655 h 350829"/>
                <a:gd name="connsiteX10" fmla="*/ 25299 w 151619"/>
                <a:gd name="connsiteY10" fmla="*/ 321238 h 3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1619" h="350829">
                  <a:moveTo>
                    <a:pt x="25299" y="321238"/>
                  </a:moveTo>
                  <a:cubicBezTo>
                    <a:pt x="5295" y="301823"/>
                    <a:pt x="0" y="268287"/>
                    <a:pt x="0" y="220042"/>
                  </a:cubicBezTo>
                  <a:lnTo>
                    <a:pt x="0" y="40596"/>
                  </a:lnTo>
                  <a:lnTo>
                    <a:pt x="78250" y="0"/>
                  </a:lnTo>
                  <a:lnTo>
                    <a:pt x="79427" y="164149"/>
                  </a:lnTo>
                  <a:cubicBezTo>
                    <a:pt x="77662" y="197097"/>
                    <a:pt x="82957" y="230632"/>
                    <a:pt x="93547" y="261815"/>
                  </a:cubicBezTo>
                  <a:cubicBezTo>
                    <a:pt x="98254" y="274758"/>
                    <a:pt x="106638" y="284466"/>
                    <a:pt x="118478" y="290938"/>
                  </a:cubicBezTo>
                  <a:lnTo>
                    <a:pt x="151619" y="297983"/>
                  </a:lnTo>
                  <a:lnTo>
                    <a:pt x="109310" y="349136"/>
                  </a:lnTo>
                  <a:lnTo>
                    <a:pt x="97665" y="350655"/>
                  </a:lnTo>
                  <a:cubicBezTo>
                    <a:pt x="70602" y="352420"/>
                    <a:pt x="44126" y="340653"/>
                    <a:pt x="25299" y="32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5" name="Forme libre : forme 974">
              <a:extLst>
                <a:ext uri="{FF2B5EF4-FFF2-40B4-BE49-F238E27FC236}">
                  <a16:creationId xmlns:a16="http://schemas.microsoft.com/office/drawing/2014/main" id="{F4544020-0266-41BA-8C00-E24B164AB2ED}"/>
                </a:ext>
              </a:extLst>
            </p:cNvPr>
            <p:cNvSpPr/>
            <p:nvPr/>
          </p:nvSpPr>
          <p:spPr>
            <a:xfrm rot="8716295">
              <a:off x="6084388" y="232868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6" name="Forme libre : forme 975">
              <a:extLst>
                <a:ext uri="{FF2B5EF4-FFF2-40B4-BE49-F238E27FC236}">
                  <a16:creationId xmlns:a16="http://schemas.microsoft.com/office/drawing/2014/main" id="{271CA1CD-963F-4CD4-AA61-A9B8E1C43CF8}"/>
                </a:ext>
              </a:extLst>
            </p:cNvPr>
            <p:cNvSpPr/>
            <p:nvPr/>
          </p:nvSpPr>
          <p:spPr>
            <a:xfrm rot="8716295">
              <a:off x="6395543" y="194904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7" name="Forme libre : forme 976">
              <a:extLst>
                <a:ext uri="{FF2B5EF4-FFF2-40B4-BE49-F238E27FC236}">
                  <a16:creationId xmlns:a16="http://schemas.microsoft.com/office/drawing/2014/main" id="{FE1D00A6-C81C-4E96-A531-7D8D031389D2}"/>
                </a:ext>
              </a:extLst>
            </p:cNvPr>
            <p:cNvSpPr/>
            <p:nvPr/>
          </p:nvSpPr>
          <p:spPr>
            <a:xfrm rot="8716295">
              <a:off x="6484935" y="197828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8" name="Forme libre : forme 977">
              <a:extLst>
                <a:ext uri="{FF2B5EF4-FFF2-40B4-BE49-F238E27FC236}">
                  <a16:creationId xmlns:a16="http://schemas.microsoft.com/office/drawing/2014/main" id="{D1AD4F7D-FFA6-412C-8AC2-97E76C5D511B}"/>
                </a:ext>
              </a:extLst>
            </p:cNvPr>
            <p:cNvSpPr/>
            <p:nvPr/>
          </p:nvSpPr>
          <p:spPr>
            <a:xfrm rot="8716295">
              <a:off x="6283309" y="203758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9" name="Forme libre : forme 978">
              <a:extLst>
                <a:ext uri="{FF2B5EF4-FFF2-40B4-BE49-F238E27FC236}">
                  <a16:creationId xmlns:a16="http://schemas.microsoft.com/office/drawing/2014/main" id="{B6B09C33-56D6-43CA-889B-8BC67F824FD1}"/>
                </a:ext>
              </a:extLst>
            </p:cNvPr>
            <p:cNvSpPr/>
            <p:nvPr/>
          </p:nvSpPr>
          <p:spPr>
            <a:xfrm rot="8716295">
              <a:off x="6158407" y="182891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0" name="Forme libre : forme 979">
              <a:extLst>
                <a:ext uri="{FF2B5EF4-FFF2-40B4-BE49-F238E27FC236}">
                  <a16:creationId xmlns:a16="http://schemas.microsoft.com/office/drawing/2014/main" id="{64E9AC88-77BF-47F7-9F24-3879D854D04A}"/>
                </a:ext>
              </a:extLst>
            </p:cNvPr>
            <p:cNvSpPr/>
            <p:nvPr/>
          </p:nvSpPr>
          <p:spPr>
            <a:xfrm rot="8716295">
              <a:off x="6373487" y="207853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1" name="Forme libre : forme 980">
              <a:extLst>
                <a:ext uri="{FF2B5EF4-FFF2-40B4-BE49-F238E27FC236}">
                  <a16:creationId xmlns:a16="http://schemas.microsoft.com/office/drawing/2014/main" id="{CF11DCA9-1C6D-449B-A7C0-73F03FD1154F}"/>
                </a:ext>
              </a:extLst>
            </p:cNvPr>
            <p:cNvSpPr/>
            <p:nvPr/>
          </p:nvSpPr>
          <p:spPr>
            <a:xfrm rot="8716295">
              <a:off x="6132036" y="192893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2" name="Forme libre : forme 981">
              <a:extLst>
                <a:ext uri="{FF2B5EF4-FFF2-40B4-BE49-F238E27FC236}">
                  <a16:creationId xmlns:a16="http://schemas.microsoft.com/office/drawing/2014/main" id="{4B619A62-FDFD-4430-894F-6ACA1B302C71}"/>
                </a:ext>
              </a:extLst>
            </p:cNvPr>
            <p:cNvSpPr/>
            <p:nvPr/>
          </p:nvSpPr>
          <p:spPr>
            <a:xfrm rot="7484129">
              <a:off x="6478418" y="226988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3" name="Forme libre : forme 982">
              <a:extLst>
                <a:ext uri="{FF2B5EF4-FFF2-40B4-BE49-F238E27FC236}">
                  <a16:creationId xmlns:a16="http://schemas.microsoft.com/office/drawing/2014/main" id="{EEC07FBE-5BAD-4BDB-9368-94EB98E8DB84}"/>
                </a:ext>
              </a:extLst>
            </p:cNvPr>
            <p:cNvSpPr/>
            <p:nvPr/>
          </p:nvSpPr>
          <p:spPr>
            <a:xfrm rot="13089394">
              <a:off x="6583238" y="2236421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4" name="Forme libre : forme 983">
              <a:extLst>
                <a:ext uri="{FF2B5EF4-FFF2-40B4-BE49-F238E27FC236}">
                  <a16:creationId xmlns:a16="http://schemas.microsoft.com/office/drawing/2014/main" id="{6C20D42A-CF2C-4DF9-8389-1987D2DA4730}"/>
                </a:ext>
              </a:extLst>
            </p:cNvPr>
            <p:cNvSpPr/>
            <p:nvPr/>
          </p:nvSpPr>
          <p:spPr>
            <a:xfrm rot="8716295">
              <a:off x="6768823" y="204474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5" name="Forme libre : forme 984">
              <a:extLst>
                <a:ext uri="{FF2B5EF4-FFF2-40B4-BE49-F238E27FC236}">
                  <a16:creationId xmlns:a16="http://schemas.microsoft.com/office/drawing/2014/main" id="{690A085A-5485-49A4-B859-ADCE99BE4188}"/>
                </a:ext>
              </a:extLst>
            </p:cNvPr>
            <p:cNvSpPr/>
            <p:nvPr/>
          </p:nvSpPr>
          <p:spPr>
            <a:xfrm rot="8716295">
              <a:off x="6717018" y="194114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6" name="Forme libre : forme 985">
              <a:extLst>
                <a:ext uri="{FF2B5EF4-FFF2-40B4-BE49-F238E27FC236}">
                  <a16:creationId xmlns:a16="http://schemas.microsoft.com/office/drawing/2014/main" id="{617C9727-2FB5-4490-85D8-1E9D17ED0FFB}"/>
                </a:ext>
              </a:extLst>
            </p:cNvPr>
            <p:cNvSpPr/>
            <p:nvPr/>
          </p:nvSpPr>
          <p:spPr>
            <a:xfrm rot="8716295">
              <a:off x="6473772" y="197136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7" name="Forme libre : forme 986">
              <a:extLst>
                <a:ext uri="{FF2B5EF4-FFF2-40B4-BE49-F238E27FC236}">
                  <a16:creationId xmlns:a16="http://schemas.microsoft.com/office/drawing/2014/main" id="{A4EA73FB-BC31-47BA-B0AF-60CD29A14CE4}"/>
                </a:ext>
              </a:extLst>
            </p:cNvPr>
            <p:cNvSpPr/>
            <p:nvPr/>
          </p:nvSpPr>
          <p:spPr>
            <a:xfrm rot="8716295">
              <a:off x="6651224" y="181212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8" name="Forme libre : forme 987">
              <a:extLst>
                <a:ext uri="{FF2B5EF4-FFF2-40B4-BE49-F238E27FC236}">
                  <a16:creationId xmlns:a16="http://schemas.microsoft.com/office/drawing/2014/main" id="{156A20B8-C2E0-4D62-9BB2-A5D841EE0CF6}"/>
                </a:ext>
              </a:extLst>
            </p:cNvPr>
            <p:cNvSpPr/>
            <p:nvPr/>
          </p:nvSpPr>
          <p:spPr>
            <a:xfrm rot="8716295">
              <a:off x="6329611" y="285889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9" name="Forme libre : forme 988">
              <a:extLst>
                <a:ext uri="{FF2B5EF4-FFF2-40B4-BE49-F238E27FC236}">
                  <a16:creationId xmlns:a16="http://schemas.microsoft.com/office/drawing/2014/main" id="{23E51C9F-FBAB-4ECD-8008-9610D0830C99}"/>
                </a:ext>
              </a:extLst>
            </p:cNvPr>
            <p:cNvSpPr/>
            <p:nvPr/>
          </p:nvSpPr>
          <p:spPr>
            <a:xfrm rot="8716295">
              <a:off x="6419003" y="288813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0" name="Forme libre : forme 989">
              <a:extLst>
                <a:ext uri="{FF2B5EF4-FFF2-40B4-BE49-F238E27FC236}">
                  <a16:creationId xmlns:a16="http://schemas.microsoft.com/office/drawing/2014/main" id="{7F32C77C-4F6E-45B6-AD92-CD6F8E2E6271}"/>
                </a:ext>
              </a:extLst>
            </p:cNvPr>
            <p:cNvSpPr/>
            <p:nvPr/>
          </p:nvSpPr>
          <p:spPr>
            <a:xfrm rot="8716295">
              <a:off x="6374153" y="280185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1" name="Forme libre : forme 990">
              <a:extLst>
                <a:ext uri="{FF2B5EF4-FFF2-40B4-BE49-F238E27FC236}">
                  <a16:creationId xmlns:a16="http://schemas.microsoft.com/office/drawing/2014/main" id="{D4431DD9-04B9-4FE1-A081-03E62FD89C9D}"/>
                </a:ext>
              </a:extLst>
            </p:cNvPr>
            <p:cNvSpPr/>
            <p:nvPr/>
          </p:nvSpPr>
          <p:spPr>
            <a:xfrm rot="8716295">
              <a:off x="6217377" y="294743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2" name="Forme libre : forme 991">
              <a:extLst>
                <a:ext uri="{FF2B5EF4-FFF2-40B4-BE49-F238E27FC236}">
                  <a16:creationId xmlns:a16="http://schemas.microsoft.com/office/drawing/2014/main" id="{3776591D-A273-4F99-BE73-AB66F060ED94}"/>
                </a:ext>
              </a:extLst>
            </p:cNvPr>
            <p:cNvSpPr/>
            <p:nvPr/>
          </p:nvSpPr>
          <p:spPr>
            <a:xfrm rot="8716295">
              <a:off x="6092474" y="273876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3" name="Forme libre : forme 992">
              <a:extLst>
                <a:ext uri="{FF2B5EF4-FFF2-40B4-BE49-F238E27FC236}">
                  <a16:creationId xmlns:a16="http://schemas.microsoft.com/office/drawing/2014/main" id="{70BC3904-666B-4476-94FE-E1509AD90EDA}"/>
                </a:ext>
              </a:extLst>
            </p:cNvPr>
            <p:cNvSpPr/>
            <p:nvPr/>
          </p:nvSpPr>
          <p:spPr>
            <a:xfrm rot="8716295">
              <a:off x="6080422" y="259998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4" name="Forme libre : forme 993">
              <a:extLst>
                <a:ext uri="{FF2B5EF4-FFF2-40B4-BE49-F238E27FC236}">
                  <a16:creationId xmlns:a16="http://schemas.microsoft.com/office/drawing/2014/main" id="{9A71DA94-5749-49E1-B169-14B235223A8A}"/>
                </a:ext>
              </a:extLst>
            </p:cNvPr>
            <p:cNvSpPr/>
            <p:nvPr/>
          </p:nvSpPr>
          <p:spPr>
            <a:xfrm rot="8716295">
              <a:off x="6307555" y="298838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5" name="Forme libre : forme 994">
              <a:extLst>
                <a:ext uri="{FF2B5EF4-FFF2-40B4-BE49-F238E27FC236}">
                  <a16:creationId xmlns:a16="http://schemas.microsoft.com/office/drawing/2014/main" id="{5E531992-BAC1-4C94-95FD-24C15B9EF2BF}"/>
                </a:ext>
              </a:extLst>
            </p:cNvPr>
            <p:cNvSpPr/>
            <p:nvPr/>
          </p:nvSpPr>
          <p:spPr>
            <a:xfrm rot="8716295">
              <a:off x="6618710" y="260873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6" name="Forme libre : forme 995">
              <a:extLst>
                <a:ext uri="{FF2B5EF4-FFF2-40B4-BE49-F238E27FC236}">
                  <a16:creationId xmlns:a16="http://schemas.microsoft.com/office/drawing/2014/main" id="{E4284C6A-7A82-4CAE-89A5-2E977266E045}"/>
                </a:ext>
              </a:extLst>
            </p:cNvPr>
            <p:cNvSpPr/>
            <p:nvPr/>
          </p:nvSpPr>
          <p:spPr>
            <a:xfrm rot="8716295">
              <a:off x="6708102" y="263798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7" name="Forme libre : forme 996">
              <a:extLst>
                <a:ext uri="{FF2B5EF4-FFF2-40B4-BE49-F238E27FC236}">
                  <a16:creationId xmlns:a16="http://schemas.microsoft.com/office/drawing/2014/main" id="{6AD07265-46A4-4F48-AE48-C93ECBEB0115}"/>
                </a:ext>
              </a:extLst>
            </p:cNvPr>
            <p:cNvSpPr/>
            <p:nvPr/>
          </p:nvSpPr>
          <p:spPr>
            <a:xfrm rot="8716295">
              <a:off x="6506476" y="269728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8" name="Forme libre : forme 997">
              <a:extLst>
                <a:ext uri="{FF2B5EF4-FFF2-40B4-BE49-F238E27FC236}">
                  <a16:creationId xmlns:a16="http://schemas.microsoft.com/office/drawing/2014/main" id="{0F626FEE-5136-4D5A-B874-AE58DE51C27B}"/>
                </a:ext>
              </a:extLst>
            </p:cNvPr>
            <p:cNvSpPr/>
            <p:nvPr/>
          </p:nvSpPr>
          <p:spPr>
            <a:xfrm rot="8716295">
              <a:off x="6381574" y="248861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9" name="Forme libre : forme 998">
              <a:extLst>
                <a:ext uri="{FF2B5EF4-FFF2-40B4-BE49-F238E27FC236}">
                  <a16:creationId xmlns:a16="http://schemas.microsoft.com/office/drawing/2014/main" id="{7B0A3539-A5EC-4DA5-B326-1671C80D9FC9}"/>
                </a:ext>
              </a:extLst>
            </p:cNvPr>
            <p:cNvSpPr/>
            <p:nvPr/>
          </p:nvSpPr>
          <p:spPr>
            <a:xfrm rot="8716295">
              <a:off x="6596654" y="273823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0" name="Forme libre : forme 999">
              <a:extLst>
                <a:ext uri="{FF2B5EF4-FFF2-40B4-BE49-F238E27FC236}">
                  <a16:creationId xmlns:a16="http://schemas.microsoft.com/office/drawing/2014/main" id="{A34DFDFC-C834-479E-912E-6B279D3D7039}"/>
                </a:ext>
              </a:extLst>
            </p:cNvPr>
            <p:cNvSpPr/>
            <p:nvPr/>
          </p:nvSpPr>
          <p:spPr>
            <a:xfrm rot="8716295">
              <a:off x="6355203" y="258863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1" name="Forme libre : forme 1000">
              <a:extLst>
                <a:ext uri="{FF2B5EF4-FFF2-40B4-BE49-F238E27FC236}">
                  <a16:creationId xmlns:a16="http://schemas.microsoft.com/office/drawing/2014/main" id="{07620231-653C-4CB4-8F77-0AA8D3803BFF}"/>
                </a:ext>
              </a:extLst>
            </p:cNvPr>
            <p:cNvSpPr/>
            <p:nvPr/>
          </p:nvSpPr>
          <p:spPr>
            <a:xfrm rot="7484129">
              <a:off x="6701585" y="292958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2" name="Forme libre : forme 1001">
              <a:extLst>
                <a:ext uri="{FF2B5EF4-FFF2-40B4-BE49-F238E27FC236}">
                  <a16:creationId xmlns:a16="http://schemas.microsoft.com/office/drawing/2014/main" id="{D290ABBC-41B3-4F18-93F2-164F7D54EBDE}"/>
                </a:ext>
              </a:extLst>
            </p:cNvPr>
            <p:cNvSpPr/>
            <p:nvPr/>
          </p:nvSpPr>
          <p:spPr>
            <a:xfrm rot="13089394">
              <a:off x="6806405" y="289612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3" name="Forme libre : forme 1002">
              <a:extLst>
                <a:ext uri="{FF2B5EF4-FFF2-40B4-BE49-F238E27FC236}">
                  <a16:creationId xmlns:a16="http://schemas.microsoft.com/office/drawing/2014/main" id="{8DD9E291-7841-4F2C-A3C2-BF1A5190446E}"/>
                </a:ext>
              </a:extLst>
            </p:cNvPr>
            <p:cNvSpPr/>
            <p:nvPr/>
          </p:nvSpPr>
          <p:spPr>
            <a:xfrm rot="8716295">
              <a:off x="6991990" y="270443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4" name="Forme libre : forme 1003">
              <a:extLst>
                <a:ext uri="{FF2B5EF4-FFF2-40B4-BE49-F238E27FC236}">
                  <a16:creationId xmlns:a16="http://schemas.microsoft.com/office/drawing/2014/main" id="{41A89C08-3907-4E7D-B1E6-D307FE9BC2BC}"/>
                </a:ext>
              </a:extLst>
            </p:cNvPr>
            <p:cNvSpPr/>
            <p:nvPr/>
          </p:nvSpPr>
          <p:spPr>
            <a:xfrm rot="8716295">
              <a:off x="6940185" y="260084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5" name="Forme libre : forme 1004">
              <a:extLst>
                <a:ext uri="{FF2B5EF4-FFF2-40B4-BE49-F238E27FC236}">
                  <a16:creationId xmlns:a16="http://schemas.microsoft.com/office/drawing/2014/main" id="{157F3384-4A1D-41EA-805B-09275197A993}"/>
                </a:ext>
              </a:extLst>
            </p:cNvPr>
            <p:cNvSpPr/>
            <p:nvPr/>
          </p:nvSpPr>
          <p:spPr>
            <a:xfrm rot="8716295">
              <a:off x="6696939" y="263106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6" name="Forme libre : forme 1005">
              <a:extLst>
                <a:ext uri="{FF2B5EF4-FFF2-40B4-BE49-F238E27FC236}">
                  <a16:creationId xmlns:a16="http://schemas.microsoft.com/office/drawing/2014/main" id="{FF46E72A-AA4E-4A7E-AA90-4EE78B17F3E0}"/>
                </a:ext>
              </a:extLst>
            </p:cNvPr>
            <p:cNvSpPr/>
            <p:nvPr/>
          </p:nvSpPr>
          <p:spPr>
            <a:xfrm rot="8716295">
              <a:off x="6874391" y="247182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7" name="Forme libre : forme 1006">
              <a:extLst>
                <a:ext uri="{FF2B5EF4-FFF2-40B4-BE49-F238E27FC236}">
                  <a16:creationId xmlns:a16="http://schemas.microsoft.com/office/drawing/2014/main" id="{F3CC0703-4FAA-4CF5-BF29-341DDF37A94E}"/>
                </a:ext>
              </a:extLst>
            </p:cNvPr>
            <p:cNvSpPr/>
            <p:nvPr/>
          </p:nvSpPr>
          <p:spPr>
            <a:xfrm rot="8716295">
              <a:off x="6992966" y="483796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8" name="Forme libre : forme 1007">
              <a:extLst>
                <a:ext uri="{FF2B5EF4-FFF2-40B4-BE49-F238E27FC236}">
                  <a16:creationId xmlns:a16="http://schemas.microsoft.com/office/drawing/2014/main" id="{C3F81C70-85AD-4CF6-A01C-4C0E0F9C52D5}"/>
                </a:ext>
              </a:extLst>
            </p:cNvPr>
            <p:cNvSpPr/>
            <p:nvPr/>
          </p:nvSpPr>
          <p:spPr>
            <a:xfrm rot="8716295">
              <a:off x="7082358" y="486720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9" name="Forme libre : forme 1008">
              <a:extLst>
                <a:ext uri="{FF2B5EF4-FFF2-40B4-BE49-F238E27FC236}">
                  <a16:creationId xmlns:a16="http://schemas.microsoft.com/office/drawing/2014/main" id="{8594D2EF-5DEB-4BF2-8AF7-303476CE0CC5}"/>
                </a:ext>
              </a:extLst>
            </p:cNvPr>
            <p:cNvSpPr/>
            <p:nvPr/>
          </p:nvSpPr>
          <p:spPr>
            <a:xfrm rot="8716295">
              <a:off x="7037508" y="478092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0" name="Forme libre : forme 1009">
              <a:extLst>
                <a:ext uri="{FF2B5EF4-FFF2-40B4-BE49-F238E27FC236}">
                  <a16:creationId xmlns:a16="http://schemas.microsoft.com/office/drawing/2014/main" id="{77E9C412-FDC3-454A-B80E-5D8A9E43C4DA}"/>
                </a:ext>
              </a:extLst>
            </p:cNvPr>
            <p:cNvSpPr/>
            <p:nvPr/>
          </p:nvSpPr>
          <p:spPr>
            <a:xfrm rot="8716295">
              <a:off x="6880732" y="492650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1" name="Forme libre : forme 1010">
              <a:extLst>
                <a:ext uri="{FF2B5EF4-FFF2-40B4-BE49-F238E27FC236}">
                  <a16:creationId xmlns:a16="http://schemas.microsoft.com/office/drawing/2014/main" id="{A5D4AA44-D0FA-491F-BE63-FF8A4B5DD958}"/>
                </a:ext>
              </a:extLst>
            </p:cNvPr>
            <p:cNvSpPr/>
            <p:nvPr/>
          </p:nvSpPr>
          <p:spPr>
            <a:xfrm rot="8716295">
              <a:off x="6755829" y="471783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2" name="Forme libre : forme 1011">
              <a:extLst>
                <a:ext uri="{FF2B5EF4-FFF2-40B4-BE49-F238E27FC236}">
                  <a16:creationId xmlns:a16="http://schemas.microsoft.com/office/drawing/2014/main" id="{EA7B1920-6683-4EDE-8D1A-30EA77A457A9}"/>
                </a:ext>
              </a:extLst>
            </p:cNvPr>
            <p:cNvSpPr/>
            <p:nvPr/>
          </p:nvSpPr>
          <p:spPr>
            <a:xfrm rot="8716295">
              <a:off x="6743777" y="4579051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3" name="Forme libre : forme 1012">
              <a:extLst>
                <a:ext uri="{FF2B5EF4-FFF2-40B4-BE49-F238E27FC236}">
                  <a16:creationId xmlns:a16="http://schemas.microsoft.com/office/drawing/2014/main" id="{0C35C265-9177-4FAD-9F28-2B57935811A6}"/>
                </a:ext>
              </a:extLst>
            </p:cNvPr>
            <p:cNvSpPr/>
            <p:nvPr/>
          </p:nvSpPr>
          <p:spPr>
            <a:xfrm rot="8716295">
              <a:off x="6967304" y="4968128"/>
              <a:ext cx="103435" cy="217167"/>
            </a:xfrm>
            <a:custGeom>
              <a:avLst/>
              <a:gdLst>
                <a:gd name="connsiteX0" fmla="*/ 0 w 103435"/>
                <a:gd name="connsiteY0" fmla="*/ 14397 h 217167"/>
                <a:gd name="connsiteX1" fmla="*/ 0 w 103435"/>
                <a:gd name="connsiteY1" fmla="*/ 271 h 217167"/>
                <a:gd name="connsiteX2" fmla="*/ 12306 w 103435"/>
                <a:gd name="connsiteY2" fmla="*/ 0 h 217167"/>
                <a:gd name="connsiteX3" fmla="*/ 33075 w 103435"/>
                <a:gd name="connsiteY3" fmla="*/ 14397 h 217167"/>
                <a:gd name="connsiteX4" fmla="*/ 103435 w 103435"/>
                <a:gd name="connsiteY4" fmla="*/ 217167 h 217167"/>
                <a:gd name="connsiteX5" fmla="*/ 43288 w 103435"/>
                <a:gd name="connsiteY5" fmla="*/ 159297 h 217167"/>
                <a:gd name="connsiteX6" fmla="*/ 43288 w 103435"/>
                <a:gd name="connsiteY6" fmla="*/ 21477 h 217167"/>
                <a:gd name="connsiteX7" fmla="*/ 103435 w 103435"/>
                <a:gd name="connsiteY7" fmla="*/ 63169 h 217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3435" h="217167">
                  <a:moveTo>
                    <a:pt x="0" y="14397"/>
                  </a:moveTo>
                  <a:lnTo>
                    <a:pt x="0" y="271"/>
                  </a:lnTo>
                  <a:lnTo>
                    <a:pt x="12306" y="0"/>
                  </a:lnTo>
                  <a:lnTo>
                    <a:pt x="33075" y="14397"/>
                  </a:lnTo>
                  <a:close/>
                  <a:moveTo>
                    <a:pt x="103435" y="217167"/>
                  </a:moveTo>
                  <a:lnTo>
                    <a:pt x="43288" y="159297"/>
                  </a:lnTo>
                  <a:lnTo>
                    <a:pt x="43288" y="21477"/>
                  </a:lnTo>
                  <a:lnTo>
                    <a:pt x="103435" y="631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4" name="Forme libre : forme 1013">
              <a:extLst>
                <a:ext uri="{FF2B5EF4-FFF2-40B4-BE49-F238E27FC236}">
                  <a16:creationId xmlns:a16="http://schemas.microsoft.com/office/drawing/2014/main" id="{BD244519-3E70-4BEA-A7E9-6D6329332810}"/>
                </a:ext>
              </a:extLst>
            </p:cNvPr>
            <p:cNvSpPr/>
            <p:nvPr/>
          </p:nvSpPr>
          <p:spPr>
            <a:xfrm rot="8716295">
              <a:off x="7282065" y="458780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5" name="Forme libre : forme 1014">
              <a:extLst>
                <a:ext uri="{FF2B5EF4-FFF2-40B4-BE49-F238E27FC236}">
                  <a16:creationId xmlns:a16="http://schemas.microsoft.com/office/drawing/2014/main" id="{B4585F35-0A90-4165-A27A-19AF98E52F16}"/>
                </a:ext>
              </a:extLst>
            </p:cNvPr>
            <p:cNvSpPr/>
            <p:nvPr/>
          </p:nvSpPr>
          <p:spPr>
            <a:xfrm rot="8716295">
              <a:off x="7371457" y="461705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6" name="Forme libre : forme 1015">
              <a:extLst>
                <a:ext uri="{FF2B5EF4-FFF2-40B4-BE49-F238E27FC236}">
                  <a16:creationId xmlns:a16="http://schemas.microsoft.com/office/drawing/2014/main" id="{037BBBAE-DF3D-45D1-93C9-705EA55906DA}"/>
                </a:ext>
              </a:extLst>
            </p:cNvPr>
            <p:cNvSpPr/>
            <p:nvPr/>
          </p:nvSpPr>
          <p:spPr>
            <a:xfrm rot="8716295">
              <a:off x="7169831" y="467635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7" name="Forme libre : forme 1016">
              <a:extLst>
                <a:ext uri="{FF2B5EF4-FFF2-40B4-BE49-F238E27FC236}">
                  <a16:creationId xmlns:a16="http://schemas.microsoft.com/office/drawing/2014/main" id="{79B12E01-567A-4F11-A8EA-E4D5E5D6D861}"/>
                </a:ext>
              </a:extLst>
            </p:cNvPr>
            <p:cNvSpPr/>
            <p:nvPr/>
          </p:nvSpPr>
          <p:spPr>
            <a:xfrm rot="8716295">
              <a:off x="7044929" y="446767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8" name="Forme libre : forme 1017">
              <a:extLst>
                <a:ext uri="{FF2B5EF4-FFF2-40B4-BE49-F238E27FC236}">
                  <a16:creationId xmlns:a16="http://schemas.microsoft.com/office/drawing/2014/main" id="{FD84A8E2-51AA-4D9A-9373-C01406950A10}"/>
                </a:ext>
              </a:extLst>
            </p:cNvPr>
            <p:cNvSpPr/>
            <p:nvPr/>
          </p:nvSpPr>
          <p:spPr>
            <a:xfrm rot="8716295">
              <a:off x="7260009" y="471730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9" name="Forme libre : forme 1018">
              <a:extLst>
                <a:ext uri="{FF2B5EF4-FFF2-40B4-BE49-F238E27FC236}">
                  <a16:creationId xmlns:a16="http://schemas.microsoft.com/office/drawing/2014/main" id="{BA3A5019-01D7-4AD7-A88B-3385609FFFB0}"/>
                </a:ext>
              </a:extLst>
            </p:cNvPr>
            <p:cNvSpPr/>
            <p:nvPr/>
          </p:nvSpPr>
          <p:spPr>
            <a:xfrm rot="8716295">
              <a:off x="7018558" y="456770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0" name="Forme libre : forme 1019">
              <a:extLst>
                <a:ext uri="{FF2B5EF4-FFF2-40B4-BE49-F238E27FC236}">
                  <a16:creationId xmlns:a16="http://schemas.microsoft.com/office/drawing/2014/main" id="{C76C9B6C-CE3D-4347-A6FC-4F62281A45DE}"/>
                </a:ext>
              </a:extLst>
            </p:cNvPr>
            <p:cNvSpPr/>
            <p:nvPr/>
          </p:nvSpPr>
          <p:spPr>
            <a:xfrm rot="7484129">
              <a:off x="7360806" y="4909323"/>
              <a:ext cx="203847" cy="195874"/>
            </a:xfrm>
            <a:custGeom>
              <a:avLst/>
              <a:gdLst>
                <a:gd name="connsiteX0" fmla="*/ 90710 w 203847"/>
                <a:gd name="connsiteY0" fmla="*/ 195874 h 195874"/>
                <a:gd name="connsiteX1" fmla="*/ 47847 w 203847"/>
                <a:gd name="connsiteY1" fmla="*/ 116129 h 195874"/>
                <a:gd name="connsiteX2" fmla="*/ 69777 w 203847"/>
                <a:gd name="connsiteY2" fmla="*/ 55323 h 195874"/>
                <a:gd name="connsiteX3" fmla="*/ 0 w 203847"/>
                <a:gd name="connsiteY3" fmla="*/ 55323 h 195874"/>
                <a:gd name="connsiteX4" fmla="*/ 0 w 203847"/>
                <a:gd name="connsiteY4" fmla="*/ 0 h 195874"/>
                <a:gd name="connsiteX5" fmla="*/ 199801 w 203847"/>
                <a:gd name="connsiteY5" fmla="*/ 0 h 195874"/>
                <a:gd name="connsiteX6" fmla="*/ 203847 w 203847"/>
                <a:gd name="connsiteY6" fmla="*/ 5835 h 195874"/>
                <a:gd name="connsiteX7" fmla="*/ 203847 w 203847"/>
                <a:gd name="connsiteY7" fmla="*/ 55323 h 195874"/>
                <a:gd name="connsiteX8" fmla="*/ 139055 w 203847"/>
                <a:gd name="connsiteY8" fmla="*/ 55323 h 19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95874">
                  <a:moveTo>
                    <a:pt x="90710" y="195874"/>
                  </a:move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199801" y="0"/>
                  </a:lnTo>
                  <a:lnTo>
                    <a:pt x="203847" y="5835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1" name="Forme libre : forme 1020">
              <a:extLst>
                <a:ext uri="{FF2B5EF4-FFF2-40B4-BE49-F238E27FC236}">
                  <a16:creationId xmlns:a16="http://schemas.microsoft.com/office/drawing/2014/main" id="{968CDA2A-BCE6-4E6C-B078-182B2D0CB115}"/>
                </a:ext>
              </a:extLst>
            </p:cNvPr>
            <p:cNvSpPr/>
            <p:nvPr/>
          </p:nvSpPr>
          <p:spPr>
            <a:xfrm rot="13089394">
              <a:off x="7492553" y="4879598"/>
              <a:ext cx="272584" cy="252337"/>
            </a:xfrm>
            <a:custGeom>
              <a:avLst/>
              <a:gdLst>
                <a:gd name="connsiteX0" fmla="*/ 272584 w 272584"/>
                <a:gd name="connsiteY0" fmla="*/ 181545 h 252337"/>
                <a:gd name="connsiteX1" fmla="*/ 91597 w 272584"/>
                <a:gd name="connsiteY1" fmla="*/ 252174 h 252337"/>
                <a:gd name="connsiteX2" fmla="*/ 23727 w 272584"/>
                <a:gd name="connsiteY2" fmla="*/ 224584 h 252337"/>
                <a:gd name="connsiteX3" fmla="*/ 0 w 272584"/>
                <a:gd name="connsiteY3" fmla="*/ 129677 h 252337"/>
                <a:gd name="connsiteX4" fmla="*/ 0 w 272584"/>
                <a:gd name="connsiteY4" fmla="*/ 58093 h 252337"/>
                <a:gd name="connsiteX5" fmla="*/ 73938 w 272584"/>
                <a:gd name="connsiteY5" fmla="*/ 0 h 252337"/>
                <a:gd name="connsiteX6" fmla="*/ 74492 w 272584"/>
                <a:gd name="connsiteY6" fmla="*/ 77257 h 252337"/>
                <a:gd name="connsiteX7" fmla="*/ 87734 w 272584"/>
                <a:gd name="connsiteY7" fmla="*/ 168854 h 252337"/>
                <a:gd name="connsiteX8" fmla="*/ 153949 w 272584"/>
                <a:gd name="connsiteY8" fmla="*/ 205272 h 252337"/>
                <a:gd name="connsiteX9" fmla="*/ 203610 w 272584"/>
                <a:gd name="connsiteY9" fmla="*/ 196443 h 252337"/>
                <a:gd name="connsiteX10" fmla="*/ 271481 w 272584"/>
                <a:gd name="connsiteY10" fmla="*/ 168854 h 252337"/>
                <a:gd name="connsiteX11" fmla="*/ 272584 w 272584"/>
                <a:gd name="connsiteY11" fmla="*/ 176027 h 25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2584" h="252337">
                  <a:moveTo>
                    <a:pt x="272584" y="181545"/>
                  </a:moveTo>
                  <a:cubicBezTo>
                    <a:pt x="214095" y="231758"/>
                    <a:pt x="137395" y="249415"/>
                    <a:pt x="91597" y="252174"/>
                  </a:cubicBezTo>
                  <a:cubicBezTo>
                    <a:pt x="66215" y="253830"/>
                    <a:pt x="41384" y="242793"/>
                    <a:pt x="23727" y="224584"/>
                  </a:cubicBezTo>
                  <a:cubicBezTo>
                    <a:pt x="4966" y="206376"/>
                    <a:pt x="0" y="174923"/>
                    <a:pt x="0" y="129677"/>
                  </a:cubicBezTo>
                  <a:lnTo>
                    <a:pt x="0" y="58093"/>
                  </a:lnTo>
                  <a:lnTo>
                    <a:pt x="73938" y="0"/>
                  </a:lnTo>
                  <a:lnTo>
                    <a:pt x="74492" y="77257"/>
                  </a:lnTo>
                  <a:cubicBezTo>
                    <a:pt x="72836" y="108157"/>
                    <a:pt x="77802" y="139609"/>
                    <a:pt x="87734" y="168854"/>
                  </a:cubicBezTo>
                  <a:cubicBezTo>
                    <a:pt x="96563" y="193132"/>
                    <a:pt x="119186" y="205272"/>
                    <a:pt x="153949" y="205272"/>
                  </a:cubicBezTo>
                  <a:cubicBezTo>
                    <a:pt x="171055" y="204720"/>
                    <a:pt x="187608" y="201409"/>
                    <a:pt x="203610" y="196443"/>
                  </a:cubicBezTo>
                  <a:cubicBezTo>
                    <a:pt x="226785" y="189270"/>
                    <a:pt x="249409" y="179890"/>
                    <a:pt x="271481" y="168854"/>
                  </a:cubicBezTo>
                  <a:cubicBezTo>
                    <a:pt x="272032" y="171061"/>
                    <a:pt x="272584" y="173820"/>
                    <a:pt x="272584" y="17602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2" name="Forme libre : forme 1021">
              <a:extLst>
                <a:ext uri="{FF2B5EF4-FFF2-40B4-BE49-F238E27FC236}">
                  <a16:creationId xmlns:a16="http://schemas.microsoft.com/office/drawing/2014/main" id="{ADB8B43F-E5ED-4756-924C-F5F4F7DBE002}"/>
                </a:ext>
              </a:extLst>
            </p:cNvPr>
            <p:cNvSpPr/>
            <p:nvPr/>
          </p:nvSpPr>
          <p:spPr>
            <a:xfrm rot="8716295">
              <a:off x="7655345" y="468350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3" name="Forme libre : forme 1022">
              <a:extLst>
                <a:ext uri="{FF2B5EF4-FFF2-40B4-BE49-F238E27FC236}">
                  <a16:creationId xmlns:a16="http://schemas.microsoft.com/office/drawing/2014/main" id="{FEE379FB-4155-4B72-A7C1-37CBAC14E821}"/>
                </a:ext>
              </a:extLst>
            </p:cNvPr>
            <p:cNvSpPr/>
            <p:nvPr/>
          </p:nvSpPr>
          <p:spPr>
            <a:xfrm rot="8716295">
              <a:off x="7603540" y="457991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4" name="Forme libre : forme 1023">
              <a:extLst>
                <a:ext uri="{FF2B5EF4-FFF2-40B4-BE49-F238E27FC236}">
                  <a16:creationId xmlns:a16="http://schemas.microsoft.com/office/drawing/2014/main" id="{6003D4A9-3A9F-4CD8-9279-C73BEB73CC6E}"/>
                </a:ext>
              </a:extLst>
            </p:cNvPr>
            <p:cNvSpPr/>
            <p:nvPr/>
          </p:nvSpPr>
          <p:spPr>
            <a:xfrm rot="8716295">
              <a:off x="7360294" y="461013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5" name="Forme libre : forme 1024">
              <a:extLst>
                <a:ext uri="{FF2B5EF4-FFF2-40B4-BE49-F238E27FC236}">
                  <a16:creationId xmlns:a16="http://schemas.microsoft.com/office/drawing/2014/main" id="{AFF9EBE2-B2A3-496B-B841-3E5E6836F7FA}"/>
                </a:ext>
              </a:extLst>
            </p:cNvPr>
            <p:cNvSpPr/>
            <p:nvPr/>
          </p:nvSpPr>
          <p:spPr>
            <a:xfrm rot="8716295">
              <a:off x="7537746" y="445089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6" name="Forme libre : forme 1025">
              <a:extLst>
                <a:ext uri="{FF2B5EF4-FFF2-40B4-BE49-F238E27FC236}">
                  <a16:creationId xmlns:a16="http://schemas.microsoft.com/office/drawing/2014/main" id="{CD875011-73F3-4769-8BC4-991165C05F53}"/>
                </a:ext>
              </a:extLst>
            </p:cNvPr>
            <p:cNvSpPr/>
            <p:nvPr/>
          </p:nvSpPr>
          <p:spPr>
            <a:xfrm rot="8716295">
              <a:off x="6548281" y="351728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7" name="Forme libre : forme 1026">
              <a:extLst>
                <a:ext uri="{FF2B5EF4-FFF2-40B4-BE49-F238E27FC236}">
                  <a16:creationId xmlns:a16="http://schemas.microsoft.com/office/drawing/2014/main" id="{0615D39A-2E64-416D-A795-F3C0FDD2FE87}"/>
                </a:ext>
              </a:extLst>
            </p:cNvPr>
            <p:cNvSpPr/>
            <p:nvPr/>
          </p:nvSpPr>
          <p:spPr>
            <a:xfrm rot="8716295">
              <a:off x="6637673" y="354652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8" name="Forme libre : forme 1027">
              <a:extLst>
                <a:ext uri="{FF2B5EF4-FFF2-40B4-BE49-F238E27FC236}">
                  <a16:creationId xmlns:a16="http://schemas.microsoft.com/office/drawing/2014/main" id="{060FADA5-0D30-41B8-8660-35EDACE6E0AC}"/>
                </a:ext>
              </a:extLst>
            </p:cNvPr>
            <p:cNvSpPr/>
            <p:nvPr/>
          </p:nvSpPr>
          <p:spPr>
            <a:xfrm rot="8716295">
              <a:off x="6592823" y="3460249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9" name="Forme libre : forme 1028">
              <a:extLst>
                <a:ext uri="{FF2B5EF4-FFF2-40B4-BE49-F238E27FC236}">
                  <a16:creationId xmlns:a16="http://schemas.microsoft.com/office/drawing/2014/main" id="{3DD05617-C2D8-48AB-B506-5C707825A77C}"/>
                </a:ext>
              </a:extLst>
            </p:cNvPr>
            <p:cNvSpPr/>
            <p:nvPr/>
          </p:nvSpPr>
          <p:spPr>
            <a:xfrm rot="8716295">
              <a:off x="6436047" y="360583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0" name="Forme libre : forme 1029">
              <a:extLst>
                <a:ext uri="{FF2B5EF4-FFF2-40B4-BE49-F238E27FC236}">
                  <a16:creationId xmlns:a16="http://schemas.microsoft.com/office/drawing/2014/main" id="{026125EF-4515-4513-B863-6BC5A9CD34C8}"/>
                </a:ext>
              </a:extLst>
            </p:cNvPr>
            <p:cNvSpPr/>
            <p:nvPr/>
          </p:nvSpPr>
          <p:spPr>
            <a:xfrm rot="8716295">
              <a:off x="6311144" y="339715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1" name="Forme libre : forme 1030">
              <a:extLst>
                <a:ext uri="{FF2B5EF4-FFF2-40B4-BE49-F238E27FC236}">
                  <a16:creationId xmlns:a16="http://schemas.microsoft.com/office/drawing/2014/main" id="{C0D350EA-C4E6-472F-843B-5DB93BCF6803}"/>
                </a:ext>
              </a:extLst>
            </p:cNvPr>
            <p:cNvSpPr/>
            <p:nvPr/>
          </p:nvSpPr>
          <p:spPr>
            <a:xfrm rot="8716295">
              <a:off x="6299092" y="3258378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2" name="Forme libre : forme 1031">
              <a:extLst>
                <a:ext uri="{FF2B5EF4-FFF2-40B4-BE49-F238E27FC236}">
                  <a16:creationId xmlns:a16="http://schemas.microsoft.com/office/drawing/2014/main" id="{06276D8F-369A-4565-8BB4-AD96B8E4E096}"/>
                </a:ext>
              </a:extLst>
            </p:cNvPr>
            <p:cNvSpPr/>
            <p:nvPr/>
          </p:nvSpPr>
          <p:spPr>
            <a:xfrm rot="8716295">
              <a:off x="6526225" y="3646783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3" name="Forme libre : forme 1032">
              <a:extLst>
                <a:ext uri="{FF2B5EF4-FFF2-40B4-BE49-F238E27FC236}">
                  <a16:creationId xmlns:a16="http://schemas.microsoft.com/office/drawing/2014/main" id="{A7CF24B1-51CC-4AB6-89E7-65ED0BB80D36}"/>
                </a:ext>
              </a:extLst>
            </p:cNvPr>
            <p:cNvSpPr/>
            <p:nvPr/>
          </p:nvSpPr>
          <p:spPr>
            <a:xfrm rot="8716295">
              <a:off x="6837380" y="326713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4" name="Forme libre : forme 1033">
              <a:extLst>
                <a:ext uri="{FF2B5EF4-FFF2-40B4-BE49-F238E27FC236}">
                  <a16:creationId xmlns:a16="http://schemas.microsoft.com/office/drawing/2014/main" id="{5142FB3F-C994-4469-A365-E36070ACE548}"/>
                </a:ext>
              </a:extLst>
            </p:cNvPr>
            <p:cNvSpPr/>
            <p:nvPr/>
          </p:nvSpPr>
          <p:spPr>
            <a:xfrm rot="8716295">
              <a:off x="6926772" y="329637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5" name="Forme libre : forme 1034">
              <a:extLst>
                <a:ext uri="{FF2B5EF4-FFF2-40B4-BE49-F238E27FC236}">
                  <a16:creationId xmlns:a16="http://schemas.microsoft.com/office/drawing/2014/main" id="{5CF22B05-C83E-4374-AB2F-AF795A582E04}"/>
                </a:ext>
              </a:extLst>
            </p:cNvPr>
            <p:cNvSpPr/>
            <p:nvPr/>
          </p:nvSpPr>
          <p:spPr>
            <a:xfrm rot="8716295">
              <a:off x="6725146" y="335567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6" name="Forme libre : forme 1035">
              <a:extLst>
                <a:ext uri="{FF2B5EF4-FFF2-40B4-BE49-F238E27FC236}">
                  <a16:creationId xmlns:a16="http://schemas.microsoft.com/office/drawing/2014/main" id="{EFD9D455-CD8C-48E5-9EA7-45DB179447D5}"/>
                </a:ext>
              </a:extLst>
            </p:cNvPr>
            <p:cNvSpPr/>
            <p:nvPr/>
          </p:nvSpPr>
          <p:spPr>
            <a:xfrm rot="8716295">
              <a:off x="6600244" y="314700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7" name="Forme libre : forme 1036">
              <a:extLst>
                <a:ext uri="{FF2B5EF4-FFF2-40B4-BE49-F238E27FC236}">
                  <a16:creationId xmlns:a16="http://schemas.microsoft.com/office/drawing/2014/main" id="{35A86230-3679-4051-8A1E-60A8E79938A2}"/>
                </a:ext>
              </a:extLst>
            </p:cNvPr>
            <p:cNvSpPr/>
            <p:nvPr/>
          </p:nvSpPr>
          <p:spPr>
            <a:xfrm rot="8716295">
              <a:off x="6815324" y="3396631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8" name="Forme libre : forme 1037">
              <a:extLst>
                <a:ext uri="{FF2B5EF4-FFF2-40B4-BE49-F238E27FC236}">
                  <a16:creationId xmlns:a16="http://schemas.microsoft.com/office/drawing/2014/main" id="{C9206E0E-FAAE-4EE0-A8C9-53785CD31A1D}"/>
                </a:ext>
              </a:extLst>
            </p:cNvPr>
            <p:cNvSpPr/>
            <p:nvPr/>
          </p:nvSpPr>
          <p:spPr>
            <a:xfrm rot="8716295">
              <a:off x="6573873" y="3247031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9" name="Forme libre : forme 1038">
              <a:extLst>
                <a:ext uri="{FF2B5EF4-FFF2-40B4-BE49-F238E27FC236}">
                  <a16:creationId xmlns:a16="http://schemas.microsoft.com/office/drawing/2014/main" id="{249F3AA5-95A4-45B1-849C-670C08A25C3F}"/>
                </a:ext>
              </a:extLst>
            </p:cNvPr>
            <p:cNvSpPr/>
            <p:nvPr/>
          </p:nvSpPr>
          <p:spPr>
            <a:xfrm rot="7484129">
              <a:off x="6920255" y="358798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0" name="Forme libre : forme 1039">
              <a:extLst>
                <a:ext uri="{FF2B5EF4-FFF2-40B4-BE49-F238E27FC236}">
                  <a16:creationId xmlns:a16="http://schemas.microsoft.com/office/drawing/2014/main" id="{1087B106-1BAC-4BF5-B094-3EE0A3C2971B}"/>
                </a:ext>
              </a:extLst>
            </p:cNvPr>
            <p:cNvSpPr/>
            <p:nvPr/>
          </p:nvSpPr>
          <p:spPr>
            <a:xfrm rot="13089394">
              <a:off x="7025075" y="3554516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1" name="Forme libre : forme 1040">
              <a:extLst>
                <a:ext uri="{FF2B5EF4-FFF2-40B4-BE49-F238E27FC236}">
                  <a16:creationId xmlns:a16="http://schemas.microsoft.com/office/drawing/2014/main" id="{C7700747-2F7A-44F2-A882-B7E2217A3398}"/>
                </a:ext>
              </a:extLst>
            </p:cNvPr>
            <p:cNvSpPr/>
            <p:nvPr/>
          </p:nvSpPr>
          <p:spPr>
            <a:xfrm rot="8716295">
              <a:off x="7210660" y="3362835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2" name="Forme libre : forme 1041">
              <a:extLst>
                <a:ext uri="{FF2B5EF4-FFF2-40B4-BE49-F238E27FC236}">
                  <a16:creationId xmlns:a16="http://schemas.microsoft.com/office/drawing/2014/main" id="{36A96034-BC43-4282-A4BC-768E81ED9FC4}"/>
                </a:ext>
              </a:extLst>
            </p:cNvPr>
            <p:cNvSpPr/>
            <p:nvPr/>
          </p:nvSpPr>
          <p:spPr>
            <a:xfrm rot="8716295">
              <a:off x="7158855" y="325924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3" name="Forme libre : forme 1042">
              <a:extLst>
                <a:ext uri="{FF2B5EF4-FFF2-40B4-BE49-F238E27FC236}">
                  <a16:creationId xmlns:a16="http://schemas.microsoft.com/office/drawing/2014/main" id="{177D614D-3D8E-4B72-A402-6E4739EFD98F}"/>
                </a:ext>
              </a:extLst>
            </p:cNvPr>
            <p:cNvSpPr/>
            <p:nvPr/>
          </p:nvSpPr>
          <p:spPr>
            <a:xfrm rot="8716295">
              <a:off x="6915609" y="328946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4" name="Forme libre : forme 1043">
              <a:extLst>
                <a:ext uri="{FF2B5EF4-FFF2-40B4-BE49-F238E27FC236}">
                  <a16:creationId xmlns:a16="http://schemas.microsoft.com/office/drawing/2014/main" id="{F17CE4CA-0138-428C-BC4F-6826A011B769}"/>
                </a:ext>
              </a:extLst>
            </p:cNvPr>
            <p:cNvSpPr/>
            <p:nvPr/>
          </p:nvSpPr>
          <p:spPr>
            <a:xfrm rot="8716295">
              <a:off x="7093061" y="313022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5" name="Forme libre : forme 1044">
              <a:extLst>
                <a:ext uri="{FF2B5EF4-FFF2-40B4-BE49-F238E27FC236}">
                  <a16:creationId xmlns:a16="http://schemas.microsoft.com/office/drawing/2014/main" id="{4B720940-ABA3-4C23-81DC-0B6806C0661A}"/>
                </a:ext>
              </a:extLst>
            </p:cNvPr>
            <p:cNvSpPr/>
            <p:nvPr/>
          </p:nvSpPr>
          <p:spPr>
            <a:xfrm rot="8716295">
              <a:off x="6771448" y="417698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6" name="Forme libre : forme 1045">
              <a:extLst>
                <a:ext uri="{FF2B5EF4-FFF2-40B4-BE49-F238E27FC236}">
                  <a16:creationId xmlns:a16="http://schemas.microsoft.com/office/drawing/2014/main" id="{EC0DCD9D-823B-45DB-93A0-478BA4EF5F65}"/>
                </a:ext>
              </a:extLst>
            </p:cNvPr>
            <p:cNvSpPr/>
            <p:nvPr/>
          </p:nvSpPr>
          <p:spPr>
            <a:xfrm rot="8716295">
              <a:off x="6860840" y="420622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7" name="Forme libre : forme 1046">
              <a:extLst>
                <a:ext uri="{FF2B5EF4-FFF2-40B4-BE49-F238E27FC236}">
                  <a16:creationId xmlns:a16="http://schemas.microsoft.com/office/drawing/2014/main" id="{6714C14A-42A3-4158-A04D-39890F5FFDD6}"/>
                </a:ext>
              </a:extLst>
            </p:cNvPr>
            <p:cNvSpPr/>
            <p:nvPr/>
          </p:nvSpPr>
          <p:spPr>
            <a:xfrm rot="8716295">
              <a:off x="6815990" y="4119948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8" name="Forme libre : forme 1047">
              <a:extLst>
                <a:ext uri="{FF2B5EF4-FFF2-40B4-BE49-F238E27FC236}">
                  <a16:creationId xmlns:a16="http://schemas.microsoft.com/office/drawing/2014/main" id="{008B8287-375F-405E-8DE9-E2164C398F81}"/>
                </a:ext>
              </a:extLst>
            </p:cNvPr>
            <p:cNvSpPr/>
            <p:nvPr/>
          </p:nvSpPr>
          <p:spPr>
            <a:xfrm rot="8716295">
              <a:off x="6659214" y="426553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9" name="Forme libre : forme 1048">
              <a:extLst>
                <a:ext uri="{FF2B5EF4-FFF2-40B4-BE49-F238E27FC236}">
                  <a16:creationId xmlns:a16="http://schemas.microsoft.com/office/drawing/2014/main" id="{F04C8B7C-4B10-4B6E-8BA5-DDF0AF373E5C}"/>
                </a:ext>
              </a:extLst>
            </p:cNvPr>
            <p:cNvSpPr/>
            <p:nvPr/>
          </p:nvSpPr>
          <p:spPr>
            <a:xfrm rot="8716295">
              <a:off x="6534311" y="405685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0" name="Forme libre : forme 1049">
              <a:extLst>
                <a:ext uri="{FF2B5EF4-FFF2-40B4-BE49-F238E27FC236}">
                  <a16:creationId xmlns:a16="http://schemas.microsoft.com/office/drawing/2014/main" id="{5F188DCA-0384-43CB-8EBE-CC2C38A75C79}"/>
                </a:ext>
              </a:extLst>
            </p:cNvPr>
            <p:cNvSpPr/>
            <p:nvPr/>
          </p:nvSpPr>
          <p:spPr>
            <a:xfrm rot="8716295">
              <a:off x="6522259" y="3918077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1" name="Forme libre : forme 1050">
              <a:extLst>
                <a:ext uri="{FF2B5EF4-FFF2-40B4-BE49-F238E27FC236}">
                  <a16:creationId xmlns:a16="http://schemas.microsoft.com/office/drawing/2014/main" id="{399AA06D-1BD2-4996-9067-7FE24F4CC47C}"/>
                </a:ext>
              </a:extLst>
            </p:cNvPr>
            <p:cNvSpPr/>
            <p:nvPr/>
          </p:nvSpPr>
          <p:spPr>
            <a:xfrm rot="8716295">
              <a:off x="6749392" y="4306482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2" name="Forme libre : forme 1051">
              <a:extLst>
                <a:ext uri="{FF2B5EF4-FFF2-40B4-BE49-F238E27FC236}">
                  <a16:creationId xmlns:a16="http://schemas.microsoft.com/office/drawing/2014/main" id="{FCA379A2-63C0-43B0-AA38-EDFC8609AAA3}"/>
                </a:ext>
              </a:extLst>
            </p:cNvPr>
            <p:cNvSpPr/>
            <p:nvPr/>
          </p:nvSpPr>
          <p:spPr>
            <a:xfrm rot="8716295">
              <a:off x="7060547" y="392683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3" name="Forme libre : forme 1052">
              <a:extLst>
                <a:ext uri="{FF2B5EF4-FFF2-40B4-BE49-F238E27FC236}">
                  <a16:creationId xmlns:a16="http://schemas.microsoft.com/office/drawing/2014/main" id="{F8817E64-249C-4E98-998C-64B73B74C552}"/>
                </a:ext>
              </a:extLst>
            </p:cNvPr>
            <p:cNvSpPr/>
            <p:nvPr/>
          </p:nvSpPr>
          <p:spPr>
            <a:xfrm rot="8716295">
              <a:off x="7149939" y="395607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4" name="Forme libre : forme 1053">
              <a:extLst>
                <a:ext uri="{FF2B5EF4-FFF2-40B4-BE49-F238E27FC236}">
                  <a16:creationId xmlns:a16="http://schemas.microsoft.com/office/drawing/2014/main" id="{D2A1BAFB-4B8B-4354-AED5-B2DA7C911BD1}"/>
                </a:ext>
              </a:extLst>
            </p:cNvPr>
            <p:cNvSpPr/>
            <p:nvPr/>
          </p:nvSpPr>
          <p:spPr>
            <a:xfrm rot="8716295">
              <a:off x="6948313" y="401537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5" name="Forme libre : forme 1054">
              <a:extLst>
                <a:ext uri="{FF2B5EF4-FFF2-40B4-BE49-F238E27FC236}">
                  <a16:creationId xmlns:a16="http://schemas.microsoft.com/office/drawing/2014/main" id="{2D83A4CC-A29C-4FE2-BA50-FF0D6749F766}"/>
                </a:ext>
              </a:extLst>
            </p:cNvPr>
            <p:cNvSpPr/>
            <p:nvPr/>
          </p:nvSpPr>
          <p:spPr>
            <a:xfrm rot="8716295">
              <a:off x="6823411" y="380670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6" name="Forme libre : forme 1055">
              <a:extLst>
                <a:ext uri="{FF2B5EF4-FFF2-40B4-BE49-F238E27FC236}">
                  <a16:creationId xmlns:a16="http://schemas.microsoft.com/office/drawing/2014/main" id="{4A00E427-6E5D-4D47-9A38-C57E5463133B}"/>
                </a:ext>
              </a:extLst>
            </p:cNvPr>
            <p:cNvSpPr/>
            <p:nvPr/>
          </p:nvSpPr>
          <p:spPr>
            <a:xfrm rot="8716295">
              <a:off x="7038491" y="4056330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7" name="Forme libre : forme 1056">
              <a:extLst>
                <a:ext uri="{FF2B5EF4-FFF2-40B4-BE49-F238E27FC236}">
                  <a16:creationId xmlns:a16="http://schemas.microsoft.com/office/drawing/2014/main" id="{D1E998CB-4164-4F0A-AE45-D5940B3F5B03}"/>
                </a:ext>
              </a:extLst>
            </p:cNvPr>
            <p:cNvSpPr/>
            <p:nvPr/>
          </p:nvSpPr>
          <p:spPr>
            <a:xfrm rot="8716295">
              <a:off x="6797040" y="3906730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8" name="Forme libre : forme 1057">
              <a:extLst>
                <a:ext uri="{FF2B5EF4-FFF2-40B4-BE49-F238E27FC236}">
                  <a16:creationId xmlns:a16="http://schemas.microsoft.com/office/drawing/2014/main" id="{E95D9A03-19D9-41CF-AE73-1CCF51881A6C}"/>
                </a:ext>
              </a:extLst>
            </p:cNvPr>
            <p:cNvSpPr/>
            <p:nvPr/>
          </p:nvSpPr>
          <p:spPr>
            <a:xfrm rot="7484129">
              <a:off x="7143422" y="424768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9" name="Forme libre : forme 1058">
              <a:extLst>
                <a:ext uri="{FF2B5EF4-FFF2-40B4-BE49-F238E27FC236}">
                  <a16:creationId xmlns:a16="http://schemas.microsoft.com/office/drawing/2014/main" id="{16E31431-A176-4757-BB37-61FDFC58B5A0}"/>
                </a:ext>
              </a:extLst>
            </p:cNvPr>
            <p:cNvSpPr/>
            <p:nvPr/>
          </p:nvSpPr>
          <p:spPr>
            <a:xfrm rot="13089394">
              <a:off x="7248242" y="4214215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0" name="Forme libre : forme 1059">
              <a:extLst>
                <a:ext uri="{FF2B5EF4-FFF2-40B4-BE49-F238E27FC236}">
                  <a16:creationId xmlns:a16="http://schemas.microsoft.com/office/drawing/2014/main" id="{0E403317-EDA0-44E5-B8CC-1127CBB20F33}"/>
                </a:ext>
              </a:extLst>
            </p:cNvPr>
            <p:cNvSpPr/>
            <p:nvPr/>
          </p:nvSpPr>
          <p:spPr>
            <a:xfrm rot="8716295">
              <a:off x="7433827" y="4022534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1" name="Forme libre : forme 1060">
              <a:extLst>
                <a:ext uri="{FF2B5EF4-FFF2-40B4-BE49-F238E27FC236}">
                  <a16:creationId xmlns:a16="http://schemas.microsoft.com/office/drawing/2014/main" id="{AB67AE90-EF3D-41EE-9989-687C2404CA33}"/>
                </a:ext>
              </a:extLst>
            </p:cNvPr>
            <p:cNvSpPr/>
            <p:nvPr/>
          </p:nvSpPr>
          <p:spPr>
            <a:xfrm rot="8716295">
              <a:off x="7382022" y="391894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2" name="Forme libre : forme 1061">
              <a:extLst>
                <a:ext uri="{FF2B5EF4-FFF2-40B4-BE49-F238E27FC236}">
                  <a16:creationId xmlns:a16="http://schemas.microsoft.com/office/drawing/2014/main" id="{30ED97EE-1D2B-4407-8DB5-1B4E940C148E}"/>
                </a:ext>
              </a:extLst>
            </p:cNvPr>
            <p:cNvSpPr/>
            <p:nvPr/>
          </p:nvSpPr>
          <p:spPr>
            <a:xfrm rot="8716295">
              <a:off x="7138776" y="394916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3" name="Forme libre : forme 1062">
              <a:extLst>
                <a:ext uri="{FF2B5EF4-FFF2-40B4-BE49-F238E27FC236}">
                  <a16:creationId xmlns:a16="http://schemas.microsoft.com/office/drawing/2014/main" id="{095663CC-60E0-4062-92DC-F23C00E2E6AD}"/>
                </a:ext>
              </a:extLst>
            </p:cNvPr>
            <p:cNvSpPr/>
            <p:nvPr/>
          </p:nvSpPr>
          <p:spPr>
            <a:xfrm rot="8716295">
              <a:off x="7316228" y="378992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4" name="Forme libre : forme 1063">
              <a:extLst>
                <a:ext uri="{FF2B5EF4-FFF2-40B4-BE49-F238E27FC236}">
                  <a16:creationId xmlns:a16="http://schemas.microsoft.com/office/drawing/2014/main" id="{AE6FCD97-9FAA-4459-B8EC-324DA8C84CF3}"/>
                </a:ext>
              </a:extLst>
            </p:cNvPr>
            <p:cNvSpPr/>
            <p:nvPr/>
          </p:nvSpPr>
          <p:spPr>
            <a:xfrm rot="8716295">
              <a:off x="5923122" y="1654505"/>
              <a:ext cx="139422" cy="104157"/>
            </a:xfrm>
            <a:custGeom>
              <a:avLst/>
              <a:gdLst>
                <a:gd name="connsiteX0" fmla="*/ 0 w 139422"/>
                <a:gd name="connsiteY0" fmla="*/ 50123 h 104157"/>
                <a:gd name="connsiteX1" fmla="*/ 0 w 139422"/>
                <a:gd name="connsiteY1" fmla="*/ 0 h 104157"/>
                <a:gd name="connsiteX2" fmla="*/ 85209 w 139422"/>
                <a:gd name="connsiteY2" fmla="*/ 0 h 104157"/>
                <a:gd name="connsiteX3" fmla="*/ 138458 w 139422"/>
                <a:gd name="connsiteY3" fmla="*/ 27874 h 104157"/>
                <a:gd name="connsiteX4" fmla="*/ 139422 w 139422"/>
                <a:gd name="connsiteY4" fmla="*/ 33655 h 104157"/>
                <a:gd name="connsiteX5" fmla="*/ 81108 w 139422"/>
                <a:gd name="connsiteY5" fmla="*/ 104157 h 104157"/>
                <a:gd name="connsiteX6" fmla="*/ 81109 w 139422"/>
                <a:gd name="connsiteY6" fmla="*/ 69717 h 104157"/>
                <a:gd name="connsiteX7" fmla="*/ 81108 w 139422"/>
                <a:gd name="connsiteY7" fmla="*/ 65615 h 104157"/>
                <a:gd name="connsiteX8" fmla="*/ 60604 w 139422"/>
                <a:gd name="connsiteY8" fmla="*/ 50123 h 104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9422" h="104157">
                  <a:moveTo>
                    <a:pt x="0" y="50123"/>
                  </a:moveTo>
                  <a:lnTo>
                    <a:pt x="0" y="0"/>
                  </a:lnTo>
                  <a:lnTo>
                    <a:pt x="85209" y="0"/>
                  </a:lnTo>
                  <a:cubicBezTo>
                    <a:pt x="112891" y="0"/>
                    <a:pt x="131089" y="8971"/>
                    <a:pt x="138458" y="27874"/>
                  </a:cubicBezTo>
                  <a:lnTo>
                    <a:pt x="139422" y="33655"/>
                  </a:lnTo>
                  <a:lnTo>
                    <a:pt x="81108" y="104157"/>
                  </a:lnTo>
                  <a:lnTo>
                    <a:pt x="81109" y="69717"/>
                  </a:lnTo>
                  <a:cubicBezTo>
                    <a:pt x="81108" y="68349"/>
                    <a:pt x="81108" y="66983"/>
                    <a:pt x="81108" y="65615"/>
                  </a:cubicBezTo>
                  <a:cubicBezTo>
                    <a:pt x="79741" y="55591"/>
                    <a:pt x="70628" y="48756"/>
                    <a:pt x="60604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5" name="Forme libre : forme 1064">
              <a:extLst>
                <a:ext uri="{FF2B5EF4-FFF2-40B4-BE49-F238E27FC236}">
                  <a16:creationId xmlns:a16="http://schemas.microsoft.com/office/drawing/2014/main" id="{3E102D85-2676-42AD-ABAD-44897C15C1BF}"/>
                </a:ext>
              </a:extLst>
            </p:cNvPr>
            <p:cNvSpPr/>
            <p:nvPr/>
          </p:nvSpPr>
          <p:spPr>
            <a:xfrm rot="8716295">
              <a:off x="5974318" y="156746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6" name="Forme libre : forme 1065">
              <a:extLst>
                <a:ext uri="{FF2B5EF4-FFF2-40B4-BE49-F238E27FC236}">
                  <a16:creationId xmlns:a16="http://schemas.microsoft.com/office/drawing/2014/main" id="{D500F2F4-E9E6-4CF6-AFD9-43967F4858E6}"/>
                </a:ext>
              </a:extLst>
            </p:cNvPr>
            <p:cNvSpPr/>
            <p:nvPr/>
          </p:nvSpPr>
          <p:spPr>
            <a:xfrm rot="8716295">
              <a:off x="5925344" y="1481103"/>
              <a:ext cx="190923" cy="138066"/>
            </a:xfrm>
            <a:custGeom>
              <a:avLst/>
              <a:gdLst>
                <a:gd name="connsiteX0" fmla="*/ 5923 w 190923"/>
                <a:gd name="connsiteY0" fmla="*/ 138066 h 138066"/>
                <a:gd name="connsiteX1" fmla="*/ 0 w 190923"/>
                <a:gd name="connsiteY1" fmla="*/ 129864 h 138066"/>
                <a:gd name="connsiteX2" fmla="*/ 107993 w 190923"/>
                <a:gd name="connsiteY2" fmla="*/ 28251 h 138066"/>
                <a:gd name="connsiteX3" fmla="*/ 162672 w 190923"/>
                <a:gd name="connsiteY3" fmla="*/ 0 h 138066"/>
                <a:gd name="connsiteX4" fmla="*/ 190923 w 190923"/>
                <a:gd name="connsiteY4" fmla="*/ 33719 h 138066"/>
                <a:gd name="connsiteX5" fmla="*/ 184633 w 190923"/>
                <a:gd name="connsiteY5" fmla="*/ 49986 h 138066"/>
                <a:gd name="connsiteX6" fmla="*/ 176335 w 190923"/>
                <a:gd name="connsiteY6" fmla="*/ 60018 h 138066"/>
                <a:gd name="connsiteX7" fmla="*/ 164495 w 190923"/>
                <a:gd name="connsiteY7" fmla="*/ 69261 h 138066"/>
                <a:gd name="connsiteX8" fmla="*/ 164950 w 190923"/>
                <a:gd name="connsiteY8" fmla="*/ 69261 h 138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0923" h="138066">
                  <a:moveTo>
                    <a:pt x="5923" y="138066"/>
                  </a:moveTo>
                  <a:lnTo>
                    <a:pt x="0" y="129864"/>
                  </a:lnTo>
                  <a:lnTo>
                    <a:pt x="107993" y="28251"/>
                  </a:lnTo>
                  <a:cubicBezTo>
                    <a:pt x="121663" y="12303"/>
                    <a:pt x="141256" y="2279"/>
                    <a:pt x="162672" y="0"/>
                  </a:cubicBezTo>
                  <a:cubicBezTo>
                    <a:pt x="184544" y="0"/>
                    <a:pt x="190923" y="19138"/>
                    <a:pt x="190923" y="33719"/>
                  </a:cubicBezTo>
                  <a:lnTo>
                    <a:pt x="184633" y="49986"/>
                  </a:lnTo>
                  <a:lnTo>
                    <a:pt x="176335" y="60018"/>
                  </a:lnTo>
                  <a:lnTo>
                    <a:pt x="164495" y="69261"/>
                  </a:lnTo>
                  <a:lnTo>
                    <a:pt x="164950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7" name="Forme libre : forme 1066">
              <a:extLst>
                <a:ext uri="{FF2B5EF4-FFF2-40B4-BE49-F238E27FC236}">
                  <a16:creationId xmlns:a16="http://schemas.microsoft.com/office/drawing/2014/main" id="{0F62DC4A-077A-45F5-B182-21AD9369750E}"/>
                </a:ext>
              </a:extLst>
            </p:cNvPr>
            <p:cNvSpPr/>
            <p:nvPr/>
          </p:nvSpPr>
          <p:spPr>
            <a:xfrm rot="8716295">
              <a:off x="5906444" y="1804761"/>
              <a:ext cx="99498" cy="67958"/>
            </a:xfrm>
            <a:custGeom>
              <a:avLst/>
              <a:gdLst>
                <a:gd name="connsiteX0" fmla="*/ 43288 w 99498"/>
                <a:gd name="connsiteY0" fmla="*/ 67958 h 67958"/>
                <a:gd name="connsiteX1" fmla="*/ 43288 w 99498"/>
                <a:gd name="connsiteY1" fmla="*/ 16317 h 67958"/>
                <a:gd name="connsiteX2" fmla="*/ 0 w 99498"/>
                <a:gd name="connsiteY2" fmla="*/ 16317 h 67958"/>
                <a:gd name="connsiteX3" fmla="*/ 0 w 99498"/>
                <a:gd name="connsiteY3" fmla="*/ 2192 h 67958"/>
                <a:gd name="connsiteX4" fmla="*/ 99498 w 99498"/>
                <a:gd name="connsiteY4" fmla="*/ 0 h 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98" h="67958">
                  <a:moveTo>
                    <a:pt x="43288" y="67958"/>
                  </a:moveTo>
                  <a:lnTo>
                    <a:pt x="43288" y="16317"/>
                  </a:lnTo>
                  <a:lnTo>
                    <a:pt x="0" y="16317"/>
                  </a:lnTo>
                  <a:lnTo>
                    <a:pt x="0" y="2192"/>
                  </a:lnTo>
                  <a:lnTo>
                    <a:pt x="9949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8" name="Forme libre : forme 1067">
              <a:extLst>
                <a:ext uri="{FF2B5EF4-FFF2-40B4-BE49-F238E27FC236}">
                  <a16:creationId xmlns:a16="http://schemas.microsoft.com/office/drawing/2014/main" id="{559D0A60-2AFB-4EF8-A10C-4FEC23F97476}"/>
                </a:ext>
              </a:extLst>
            </p:cNvPr>
            <p:cNvSpPr/>
            <p:nvPr/>
          </p:nvSpPr>
          <p:spPr>
            <a:xfrm rot="8716295">
              <a:off x="6174025" y="128806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9" name="Forme libre : forme 1068">
              <a:extLst>
                <a:ext uri="{FF2B5EF4-FFF2-40B4-BE49-F238E27FC236}">
                  <a16:creationId xmlns:a16="http://schemas.microsoft.com/office/drawing/2014/main" id="{73861CC2-64F0-42DB-A7B3-CC13005B7BBD}"/>
                </a:ext>
              </a:extLst>
            </p:cNvPr>
            <p:cNvSpPr/>
            <p:nvPr/>
          </p:nvSpPr>
          <p:spPr>
            <a:xfrm rot="8716295">
              <a:off x="6263417" y="131730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0" name="Forme libre : forme 1069">
              <a:extLst>
                <a:ext uri="{FF2B5EF4-FFF2-40B4-BE49-F238E27FC236}">
                  <a16:creationId xmlns:a16="http://schemas.microsoft.com/office/drawing/2014/main" id="{0D1A1D48-D74E-427F-A329-7E9BE8568EC4}"/>
                </a:ext>
              </a:extLst>
            </p:cNvPr>
            <p:cNvSpPr/>
            <p:nvPr/>
          </p:nvSpPr>
          <p:spPr>
            <a:xfrm rot="8716295">
              <a:off x="6061791" y="137661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1" name="Forme libre : forme 1070">
              <a:extLst>
                <a:ext uri="{FF2B5EF4-FFF2-40B4-BE49-F238E27FC236}">
                  <a16:creationId xmlns:a16="http://schemas.microsoft.com/office/drawing/2014/main" id="{DD8B604F-D83A-432D-A7CC-91D01710CD5A}"/>
                </a:ext>
              </a:extLst>
            </p:cNvPr>
            <p:cNvSpPr/>
            <p:nvPr/>
          </p:nvSpPr>
          <p:spPr>
            <a:xfrm rot="8716295">
              <a:off x="5934512" y="1174677"/>
              <a:ext cx="203847" cy="188381"/>
            </a:xfrm>
            <a:custGeom>
              <a:avLst/>
              <a:gdLst>
                <a:gd name="connsiteX0" fmla="*/ 86683 w 203847"/>
                <a:gd name="connsiteY0" fmla="*/ 188381 h 188381"/>
                <a:gd name="connsiteX1" fmla="*/ 47847 w 203847"/>
                <a:gd name="connsiteY1" fmla="*/ 116128 h 188381"/>
                <a:gd name="connsiteX2" fmla="*/ 69777 w 203847"/>
                <a:gd name="connsiteY2" fmla="*/ 55323 h 188381"/>
                <a:gd name="connsiteX3" fmla="*/ 0 w 203847"/>
                <a:gd name="connsiteY3" fmla="*/ 55323 h 188381"/>
                <a:gd name="connsiteX4" fmla="*/ 0 w 203847"/>
                <a:gd name="connsiteY4" fmla="*/ 0 h 188381"/>
                <a:gd name="connsiteX5" fmla="*/ 203847 w 203847"/>
                <a:gd name="connsiteY5" fmla="*/ 0 h 188381"/>
                <a:gd name="connsiteX6" fmla="*/ 203847 w 203847"/>
                <a:gd name="connsiteY6" fmla="*/ 46726 h 188381"/>
                <a:gd name="connsiteX7" fmla="*/ 196736 w 203847"/>
                <a:gd name="connsiteY7" fmla="*/ 55323 h 188381"/>
                <a:gd name="connsiteX8" fmla="*/ 139055 w 203847"/>
                <a:gd name="connsiteY8" fmla="*/ 55323 h 188381"/>
                <a:gd name="connsiteX9" fmla="*/ 97989 w 203847"/>
                <a:gd name="connsiteY9" fmla="*/ 174711 h 188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847" h="188381">
                  <a:moveTo>
                    <a:pt x="86683" y="188381"/>
                  </a:moveTo>
                  <a:lnTo>
                    <a:pt x="47847" y="116128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46726"/>
                  </a:lnTo>
                  <a:lnTo>
                    <a:pt x="196736" y="55323"/>
                  </a:lnTo>
                  <a:lnTo>
                    <a:pt x="139055" y="55323"/>
                  </a:lnTo>
                  <a:lnTo>
                    <a:pt x="97989" y="1747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2" name="Forme libre : forme 1071">
              <a:extLst>
                <a:ext uri="{FF2B5EF4-FFF2-40B4-BE49-F238E27FC236}">
                  <a16:creationId xmlns:a16="http://schemas.microsoft.com/office/drawing/2014/main" id="{B563983C-B171-4A7B-83F3-23BB992AF6EF}"/>
                </a:ext>
              </a:extLst>
            </p:cNvPr>
            <p:cNvSpPr/>
            <p:nvPr/>
          </p:nvSpPr>
          <p:spPr>
            <a:xfrm rot="8716295">
              <a:off x="6151969" y="141756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3" name="Forme libre : forme 1072">
              <a:extLst>
                <a:ext uri="{FF2B5EF4-FFF2-40B4-BE49-F238E27FC236}">
                  <a16:creationId xmlns:a16="http://schemas.microsoft.com/office/drawing/2014/main" id="{831AE182-FAC7-488F-900A-43002A409545}"/>
                </a:ext>
              </a:extLst>
            </p:cNvPr>
            <p:cNvSpPr/>
            <p:nvPr/>
          </p:nvSpPr>
          <p:spPr>
            <a:xfrm rot="7484129">
              <a:off x="6256900" y="160891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4" name="Forme libre : forme 1073">
              <a:extLst>
                <a:ext uri="{FF2B5EF4-FFF2-40B4-BE49-F238E27FC236}">
                  <a16:creationId xmlns:a16="http://schemas.microsoft.com/office/drawing/2014/main" id="{F6941A0F-F413-40E0-B377-19E50B2069BC}"/>
                </a:ext>
              </a:extLst>
            </p:cNvPr>
            <p:cNvSpPr/>
            <p:nvPr/>
          </p:nvSpPr>
          <p:spPr>
            <a:xfrm rot="13089394">
              <a:off x="6361720" y="1575447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5" name="Forme libre : forme 1074">
              <a:extLst>
                <a:ext uri="{FF2B5EF4-FFF2-40B4-BE49-F238E27FC236}">
                  <a16:creationId xmlns:a16="http://schemas.microsoft.com/office/drawing/2014/main" id="{72C44DD1-DEBE-446A-8992-2DDCAF098F91}"/>
                </a:ext>
              </a:extLst>
            </p:cNvPr>
            <p:cNvSpPr/>
            <p:nvPr/>
          </p:nvSpPr>
          <p:spPr>
            <a:xfrm rot="8716295">
              <a:off x="6547305" y="1383766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6" name="Forme libre : forme 1075">
              <a:extLst>
                <a:ext uri="{FF2B5EF4-FFF2-40B4-BE49-F238E27FC236}">
                  <a16:creationId xmlns:a16="http://schemas.microsoft.com/office/drawing/2014/main" id="{2C8F4F40-3004-4B87-BA24-3390EA6EECD4}"/>
                </a:ext>
              </a:extLst>
            </p:cNvPr>
            <p:cNvSpPr/>
            <p:nvPr/>
          </p:nvSpPr>
          <p:spPr>
            <a:xfrm rot="8716295">
              <a:off x="6495500" y="128017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7" name="Forme libre : forme 1076">
              <a:extLst>
                <a:ext uri="{FF2B5EF4-FFF2-40B4-BE49-F238E27FC236}">
                  <a16:creationId xmlns:a16="http://schemas.microsoft.com/office/drawing/2014/main" id="{719509D2-B221-462F-99BE-1A0215C63C3E}"/>
                </a:ext>
              </a:extLst>
            </p:cNvPr>
            <p:cNvSpPr/>
            <p:nvPr/>
          </p:nvSpPr>
          <p:spPr>
            <a:xfrm rot="8716295">
              <a:off x="6252254" y="131039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8" name="Forme libre : forme 1077">
              <a:extLst>
                <a:ext uri="{FF2B5EF4-FFF2-40B4-BE49-F238E27FC236}">
                  <a16:creationId xmlns:a16="http://schemas.microsoft.com/office/drawing/2014/main" id="{75A12CA5-EDD6-41EF-886B-F85DCFC06CE9}"/>
                </a:ext>
              </a:extLst>
            </p:cNvPr>
            <p:cNvSpPr/>
            <p:nvPr/>
          </p:nvSpPr>
          <p:spPr>
            <a:xfrm rot="8716295">
              <a:off x="6429706" y="115115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9" name="Forme libre : forme 1078">
              <a:extLst>
                <a:ext uri="{FF2B5EF4-FFF2-40B4-BE49-F238E27FC236}">
                  <a16:creationId xmlns:a16="http://schemas.microsoft.com/office/drawing/2014/main" id="{AEA4E9A6-FD47-4377-8599-06FE127731A3}"/>
                </a:ext>
              </a:extLst>
            </p:cNvPr>
            <p:cNvSpPr/>
            <p:nvPr/>
          </p:nvSpPr>
          <p:spPr>
            <a:xfrm rot="8716295">
              <a:off x="5983723" y="1040028"/>
              <a:ext cx="68069" cy="44199"/>
            </a:xfrm>
            <a:custGeom>
              <a:avLst/>
              <a:gdLst>
                <a:gd name="connsiteX0" fmla="*/ 0 w 68069"/>
                <a:gd name="connsiteY0" fmla="*/ 44199 h 44199"/>
                <a:gd name="connsiteX1" fmla="*/ 0 w 68069"/>
                <a:gd name="connsiteY1" fmla="*/ 0 h 44199"/>
                <a:gd name="connsiteX2" fmla="*/ 68069 w 68069"/>
                <a:gd name="connsiteY2" fmla="*/ 0 h 44199"/>
                <a:gd name="connsiteX3" fmla="*/ 31511 w 68069"/>
                <a:gd name="connsiteY3" fmla="*/ 44199 h 4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069" h="44199">
                  <a:moveTo>
                    <a:pt x="0" y="44199"/>
                  </a:moveTo>
                  <a:lnTo>
                    <a:pt x="0" y="0"/>
                  </a:lnTo>
                  <a:lnTo>
                    <a:pt x="68069" y="0"/>
                  </a:lnTo>
                  <a:lnTo>
                    <a:pt x="31511" y="441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0" name="Forme libre : forme 1079">
              <a:extLst>
                <a:ext uri="{FF2B5EF4-FFF2-40B4-BE49-F238E27FC236}">
                  <a16:creationId xmlns:a16="http://schemas.microsoft.com/office/drawing/2014/main" id="{E1F987B1-1B94-478B-A58C-711372161096}"/>
                </a:ext>
              </a:extLst>
            </p:cNvPr>
            <p:cNvSpPr/>
            <p:nvPr/>
          </p:nvSpPr>
          <p:spPr>
            <a:xfrm rot="8716295">
              <a:off x="5998891" y="759603"/>
              <a:ext cx="134260" cy="86132"/>
            </a:xfrm>
            <a:custGeom>
              <a:avLst/>
              <a:gdLst>
                <a:gd name="connsiteX0" fmla="*/ 0 w 134260"/>
                <a:gd name="connsiteY0" fmla="*/ 50123 h 86132"/>
                <a:gd name="connsiteX1" fmla="*/ 0 w 134260"/>
                <a:gd name="connsiteY1" fmla="*/ 0 h 86132"/>
                <a:gd name="connsiteX2" fmla="*/ 85209 w 134260"/>
                <a:gd name="connsiteY2" fmla="*/ 0 h 86132"/>
                <a:gd name="connsiteX3" fmla="*/ 127529 w 134260"/>
                <a:gd name="connsiteY3" fmla="*/ 12246 h 86132"/>
                <a:gd name="connsiteX4" fmla="*/ 134260 w 134260"/>
                <a:gd name="connsiteY4" fmla="*/ 21871 h 86132"/>
                <a:gd name="connsiteX5" fmla="*/ 81108 w 134260"/>
                <a:gd name="connsiteY5" fmla="*/ 86132 h 86132"/>
                <a:gd name="connsiteX6" fmla="*/ 81108 w 134260"/>
                <a:gd name="connsiteY6" fmla="*/ 69717 h 86132"/>
                <a:gd name="connsiteX7" fmla="*/ 81108 w 134260"/>
                <a:gd name="connsiteY7" fmla="*/ 65615 h 86132"/>
                <a:gd name="connsiteX8" fmla="*/ 60604 w 134260"/>
                <a:gd name="connsiteY8" fmla="*/ 50123 h 86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4260" h="86132">
                  <a:moveTo>
                    <a:pt x="0" y="50123"/>
                  </a:moveTo>
                  <a:lnTo>
                    <a:pt x="0" y="0"/>
                  </a:lnTo>
                  <a:lnTo>
                    <a:pt x="85209" y="0"/>
                  </a:lnTo>
                  <a:cubicBezTo>
                    <a:pt x="103664" y="0"/>
                    <a:pt x="117903" y="3987"/>
                    <a:pt x="127529" y="12246"/>
                  </a:cubicBezTo>
                  <a:lnTo>
                    <a:pt x="134260" y="21871"/>
                  </a:lnTo>
                  <a:lnTo>
                    <a:pt x="81108" y="86132"/>
                  </a:lnTo>
                  <a:lnTo>
                    <a:pt x="81108" y="69717"/>
                  </a:lnTo>
                  <a:cubicBezTo>
                    <a:pt x="81108" y="68349"/>
                    <a:pt x="81108" y="66983"/>
                    <a:pt x="81108" y="65615"/>
                  </a:cubicBezTo>
                  <a:cubicBezTo>
                    <a:pt x="79741" y="55591"/>
                    <a:pt x="70628" y="48756"/>
                    <a:pt x="60604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1" name="Forme libre : forme 1080">
              <a:extLst>
                <a:ext uri="{FF2B5EF4-FFF2-40B4-BE49-F238E27FC236}">
                  <a16:creationId xmlns:a16="http://schemas.microsoft.com/office/drawing/2014/main" id="{D8733639-E083-48C4-B7AC-143FF95DA4EA}"/>
                </a:ext>
              </a:extLst>
            </p:cNvPr>
            <p:cNvSpPr/>
            <p:nvPr/>
          </p:nvSpPr>
          <p:spPr>
            <a:xfrm rot="8716295">
              <a:off x="6040250" y="65760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2" name="Forme libre : forme 1081">
              <a:extLst>
                <a:ext uri="{FF2B5EF4-FFF2-40B4-BE49-F238E27FC236}">
                  <a16:creationId xmlns:a16="http://schemas.microsoft.com/office/drawing/2014/main" id="{4C5AD67D-6BC4-40A6-B419-E1C6D391B5D2}"/>
                </a:ext>
              </a:extLst>
            </p:cNvPr>
            <p:cNvSpPr/>
            <p:nvPr/>
          </p:nvSpPr>
          <p:spPr>
            <a:xfrm rot="8716295">
              <a:off x="5991248" y="907034"/>
              <a:ext cx="84313" cy="49600"/>
            </a:xfrm>
            <a:custGeom>
              <a:avLst/>
              <a:gdLst>
                <a:gd name="connsiteX0" fmla="*/ 43288 w 84313"/>
                <a:gd name="connsiteY0" fmla="*/ 49600 h 49600"/>
                <a:gd name="connsiteX1" fmla="*/ 43288 w 84313"/>
                <a:gd name="connsiteY1" fmla="*/ 15983 h 49600"/>
                <a:gd name="connsiteX2" fmla="*/ 0 w 84313"/>
                <a:gd name="connsiteY2" fmla="*/ 15983 h 49600"/>
                <a:gd name="connsiteX3" fmla="*/ 0 w 84313"/>
                <a:gd name="connsiteY3" fmla="*/ 1857 h 49600"/>
                <a:gd name="connsiteX4" fmla="*/ 84313 w 84313"/>
                <a:gd name="connsiteY4" fmla="*/ 0 h 49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313" h="49600">
                  <a:moveTo>
                    <a:pt x="43288" y="49600"/>
                  </a:moveTo>
                  <a:lnTo>
                    <a:pt x="43288" y="15983"/>
                  </a:lnTo>
                  <a:lnTo>
                    <a:pt x="0" y="15983"/>
                  </a:lnTo>
                  <a:lnTo>
                    <a:pt x="0" y="1857"/>
                  </a:lnTo>
                  <a:lnTo>
                    <a:pt x="84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3" name="Forme libre : forme 1082">
              <a:extLst>
                <a:ext uri="{FF2B5EF4-FFF2-40B4-BE49-F238E27FC236}">
                  <a16:creationId xmlns:a16="http://schemas.microsoft.com/office/drawing/2014/main" id="{E0507806-EEA4-49D9-A332-F46B9C7122A0}"/>
                </a:ext>
              </a:extLst>
            </p:cNvPr>
            <p:cNvSpPr/>
            <p:nvPr/>
          </p:nvSpPr>
          <p:spPr>
            <a:xfrm rot="7484129">
              <a:off x="6033733" y="94921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4" name="Forme libre : forme 1083">
              <a:extLst>
                <a:ext uri="{FF2B5EF4-FFF2-40B4-BE49-F238E27FC236}">
                  <a16:creationId xmlns:a16="http://schemas.microsoft.com/office/drawing/2014/main" id="{AE139150-F899-47C8-9080-822320C87149}"/>
                </a:ext>
              </a:extLst>
            </p:cNvPr>
            <p:cNvSpPr/>
            <p:nvPr/>
          </p:nvSpPr>
          <p:spPr>
            <a:xfrm rot="13089394">
              <a:off x="6138553" y="915748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5" name="Forme libre : forme 1084">
              <a:extLst>
                <a:ext uri="{FF2B5EF4-FFF2-40B4-BE49-F238E27FC236}">
                  <a16:creationId xmlns:a16="http://schemas.microsoft.com/office/drawing/2014/main" id="{912D0E73-F8A3-4A4B-A726-36495324DCAB}"/>
                </a:ext>
              </a:extLst>
            </p:cNvPr>
            <p:cNvSpPr/>
            <p:nvPr/>
          </p:nvSpPr>
          <p:spPr>
            <a:xfrm rot="8716295">
              <a:off x="6324138" y="724067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6" name="Forme libre : forme 1085">
              <a:extLst>
                <a:ext uri="{FF2B5EF4-FFF2-40B4-BE49-F238E27FC236}">
                  <a16:creationId xmlns:a16="http://schemas.microsoft.com/office/drawing/2014/main" id="{2B4B35EE-0BB5-49CB-8C5B-42A88BD793D8}"/>
                </a:ext>
              </a:extLst>
            </p:cNvPr>
            <p:cNvSpPr/>
            <p:nvPr/>
          </p:nvSpPr>
          <p:spPr>
            <a:xfrm rot="8716295">
              <a:off x="6272333" y="62047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7" name="Forme libre : forme 1086">
              <a:extLst>
                <a:ext uri="{FF2B5EF4-FFF2-40B4-BE49-F238E27FC236}">
                  <a16:creationId xmlns:a16="http://schemas.microsoft.com/office/drawing/2014/main" id="{DD0061FC-B163-4DBC-B8D9-4C423CB17A9E}"/>
                </a:ext>
              </a:extLst>
            </p:cNvPr>
            <p:cNvSpPr/>
            <p:nvPr/>
          </p:nvSpPr>
          <p:spPr>
            <a:xfrm rot="8716295">
              <a:off x="6027863" y="648628"/>
              <a:ext cx="55259" cy="57130"/>
            </a:xfrm>
            <a:custGeom>
              <a:avLst/>
              <a:gdLst>
                <a:gd name="connsiteX0" fmla="*/ 8658 w 55259"/>
                <a:gd name="connsiteY0" fmla="*/ 50123 h 57130"/>
                <a:gd name="connsiteX1" fmla="*/ 0 w 55259"/>
                <a:gd name="connsiteY1" fmla="*/ 29619 h 57130"/>
                <a:gd name="connsiteX2" fmla="*/ 0 w 55259"/>
                <a:gd name="connsiteY2" fmla="*/ 29163 h 57130"/>
                <a:gd name="connsiteX3" fmla="*/ 8658 w 55259"/>
                <a:gd name="connsiteY3" fmla="*/ 8658 h 57130"/>
                <a:gd name="connsiteX4" fmla="*/ 29163 w 55259"/>
                <a:gd name="connsiteY4" fmla="*/ 0 h 57130"/>
                <a:gd name="connsiteX5" fmla="*/ 49668 w 55259"/>
                <a:gd name="connsiteY5" fmla="*/ 8658 h 57130"/>
                <a:gd name="connsiteX6" fmla="*/ 55259 w 55259"/>
                <a:gd name="connsiteY6" fmla="*/ 21964 h 57130"/>
                <a:gd name="connsiteX7" fmla="*/ 26173 w 55259"/>
                <a:gd name="connsiteY7" fmla="*/ 57130 h 57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5259" h="57130">
                  <a:moveTo>
                    <a:pt x="8658" y="50123"/>
                  </a:moveTo>
                  <a:cubicBezTo>
                    <a:pt x="3190" y="44655"/>
                    <a:pt x="0" y="37364"/>
                    <a:pt x="0" y="29619"/>
                  </a:cubicBezTo>
                  <a:lnTo>
                    <a:pt x="0" y="29163"/>
                  </a:lnTo>
                  <a:cubicBezTo>
                    <a:pt x="0" y="21417"/>
                    <a:pt x="3190" y="14126"/>
                    <a:pt x="8658" y="8658"/>
                  </a:cubicBezTo>
                  <a:cubicBezTo>
                    <a:pt x="14126" y="3190"/>
                    <a:pt x="21417" y="0"/>
                    <a:pt x="29163" y="0"/>
                  </a:cubicBezTo>
                  <a:cubicBezTo>
                    <a:pt x="36909" y="0"/>
                    <a:pt x="44200" y="3190"/>
                    <a:pt x="49668" y="8658"/>
                  </a:cubicBezTo>
                  <a:lnTo>
                    <a:pt x="55259" y="21964"/>
                  </a:lnTo>
                  <a:lnTo>
                    <a:pt x="26173" y="5713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8" name="Forme libre : forme 1087">
              <a:extLst>
                <a:ext uri="{FF2B5EF4-FFF2-40B4-BE49-F238E27FC236}">
                  <a16:creationId xmlns:a16="http://schemas.microsoft.com/office/drawing/2014/main" id="{4D8AC7F8-F18B-4BC7-A549-62EC42E18C0E}"/>
                </a:ext>
              </a:extLst>
            </p:cNvPr>
            <p:cNvSpPr/>
            <p:nvPr/>
          </p:nvSpPr>
          <p:spPr>
            <a:xfrm rot="8716295">
              <a:off x="6206539" y="49145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9" name="Forme libre : forme 1088">
              <a:extLst>
                <a:ext uri="{FF2B5EF4-FFF2-40B4-BE49-F238E27FC236}">
                  <a16:creationId xmlns:a16="http://schemas.microsoft.com/office/drawing/2014/main" id="{AB9FAD6E-CA1F-425C-B0AC-99CCAEDDC6ED}"/>
                </a:ext>
              </a:extLst>
            </p:cNvPr>
            <p:cNvSpPr/>
            <p:nvPr/>
          </p:nvSpPr>
          <p:spPr>
            <a:xfrm rot="8716295">
              <a:off x="5990259" y="-43220"/>
              <a:ext cx="78210" cy="235131"/>
            </a:xfrm>
            <a:custGeom>
              <a:avLst/>
              <a:gdLst>
                <a:gd name="connsiteX0" fmla="*/ 0 w 78210"/>
                <a:gd name="connsiteY0" fmla="*/ 44199 h 235131"/>
                <a:gd name="connsiteX1" fmla="*/ 0 w 78210"/>
                <a:gd name="connsiteY1" fmla="*/ 0 h 235131"/>
                <a:gd name="connsiteX2" fmla="*/ 58367 w 78210"/>
                <a:gd name="connsiteY2" fmla="*/ 0 h 235131"/>
                <a:gd name="connsiteX3" fmla="*/ 21809 w 78210"/>
                <a:gd name="connsiteY3" fmla="*/ 44199 h 235131"/>
                <a:gd name="connsiteX4" fmla="*/ 78210 w 78210"/>
                <a:gd name="connsiteY4" fmla="*/ 235131 h 235131"/>
                <a:gd name="connsiteX5" fmla="*/ 64850 w 78210"/>
                <a:gd name="connsiteY5" fmla="*/ 225870 h 235131"/>
                <a:gd name="connsiteX6" fmla="*/ 78210 w 78210"/>
                <a:gd name="connsiteY6" fmla="*/ 235131 h 235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210" h="235131">
                  <a:moveTo>
                    <a:pt x="0" y="44199"/>
                  </a:moveTo>
                  <a:lnTo>
                    <a:pt x="0" y="0"/>
                  </a:lnTo>
                  <a:lnTo>
                    <a:pt x="58367" y="0"/>
                  </a:lnTo>
                  <a:lnTo>
                    <a:pt x="21809" y="44199"/>
                  </a:lnTo>
                  <a:close/>
                  <a:moveTo>
                    <a:pt x="78210" y="235131"/>
                  </a:moveTo>
                  <a:lnTo>
                    <a:pt x="64850" y="225870"/>
                  </a:lnTo>
                  <a:lnTo>
                    <a:pt x="78210" y="2351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0" name="Forme libre : forme 1089">
              <a:extLst>
                <a:ext uri="{FF2B5EF4-FFF2-40B4-BE49-F238E27FC236}">
                  <a16:creationId xmlns:a16="http://schemas.microsoft.com/office/drawing/2014/main" id="{76D9A3BA-A429-46B9-9CE6-D737A95DD8B3}"/>
                </a:ext>
              </a:extLst>
            </p:cNvPr>
            <p:cNvSpPr/>
            <p:nvPr/>
          </p:nvSpPr>
          <p:spPr>
            <a:xfrm rot="13089394">
              <a:off x="5976283" y="269816"/>
              <a:ext cx="215080" cy="308935"/>
            </a:xfrm>
            <a:custGeom>
              <a:avLst/>
              <a:gdLst>
                <a:gd name="connsiteX0" fmla="*/ 215080 w 215080"/>
                <a:gd name="connsiteY0" fmla="*/ 274772 h 308935"/>
                <a:gd name="connsiteX1" fmla="*/ 177331 w 215080"/>
                <a:gd name="connsiteY1" fmla="*/ 291252 h 308935"/>
                <a:gd name="connsiteX2" fmla="*/ 91597 w 215080"/>
                <a:gd name="connsiteY2" fmla="*/ 308772 h 308935"/>
                <a:gd name="connsiteX3" fmla="*/ 23726 w 215080"/>
                <a:gd name="connsiteY3" fmla="*/ 281182 h 308935"/>
                <a:gd name="connsiteX4" fmla="*/ 0 w 215080"/>
                <a:gd name="connsiteY4" fmla="*/ 186274 h 308935"/>
                <a:gd name="connsiteX5" fmla="*/ 0 w 215080"/>
                <a:gd name="connsiteY5" fmla="*/ 17979 h 308935"/>
                <a:gd name="connsiteX6" fmla="*/ 34655 w 215080"/>
                <a:gd name="connsiteY6" fmla="*/ 0 h 308935"/>
                <a:gd name="connsiteX7" fmla="*/ 73961 w 215080"/>
                <a:gd name="connsiteY7" fmla="*/ 59860 h 308935"/>
                <a:gd name="connsiteX8" fmla="*/ 74492 w 215080"/>
                <a:gd name="connsiteY8" fmla="*/ 133855 h 308935"/>
                <a:gd name="connsiteX9" fmla="*/ 87734 w 215080"/>
                <a:gd name="connsiteY9" fmla="*/ 225452 h 308935"/>
                <a:gd name="connsiteX10" fmla="*/ 153949 w 215080"/>
                <a:gd name="connsiteY10" fmla="*/ 261870 h 308935"/>
                <a:gd name="connsiteX11" fmla="*/ 201103 w 215080"/>
                <a:gd name="connsiteY11" fmla="*/ 253487 h 308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5080" h="308935">
                  <a:moveTo>
                    <a:pt x="215080" y="274772"/>
                  </a:moveTo>
                  <a:lnTo>
                    <a:pt x="177331" y="291252"/>
                  </a:lnTo>
                  <a:cubicBezTo>
                    <a:pt x="145121" y="302288"/>
                    <a:pt x="114496" y="307392"/>
                    <a:pt x="91597" y="308772"/>
                  </a:cubicBezTo>
                  <a:cubicBezTo>
                    <a:pt x="66215" y="310427"/>
                    <a:pt x="41384" y="299392"/>
                    <a:pt x="23726" y="281182"/>
                  </a:cubicBezTo>
                  <a:cubicBezTo>
                    <a:pt x="4966" y="262973"/>
                    <a:pt x="0" y="231521"/>
                    <a:pt x="0" y="186274"/>
                  </a:cubicBezTo>
                  <a:lnTo>
                    <a:pt x="0" y="17979"/>
                  </a:lnTo>
                  <a:lnTo>
                    <a:pt x="34655" y="0"/>
                  </a:lnTo>
                  <a:lnTo>
                    <a:pt x="73961" y="59860"/>
                  </a:lnTo>
                  <a:lnTo>
                    <a:pt x="74492" y="133855"/>
                  </a:lnTo>
                  <a:cubicBezTo>
                    <a:pt x="72836" y="164755"/>
                    <a:pt x="77802" y="196207"/>
                    <a:pt x="87734" y="225452"/>
                  </a:cubicBezTo>
                  <a:cubicBezTo>
                    <a:pt x="96564" y="249730"/>
                    <a:pt x="119186" y="261870"/>
                    <a:pt x="153949" y="261870"/>
                  </a:cubicBezTo>
                  <a:lnTo>
                    <a:pt x="201103" y="25348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1" name="Forme libre : forme 1090">
              <a:extLst>
                <a:ext uri="{FF2B5EF4-FFF2-40B4-BE49-F238E27FC236}">
                  <a16:creationId xmlns:a16="http://schemas.microsoft.com/office/drawing/2014/main" id="{4E622CC6-C496-4DCE-9057-BDF9539B95A4}"/>
                </a:ext>
              </a:extLst>
            </p:cNvPr>
            <p:cNvSpPr/>
            <p:nvPr/>
          </p:nvSpPr>
          <p:spPr>
            <a:xfrm rot="8716295">
              <a:off x="6105199" y="6200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2" name="Forme libre : forme 1091">
              <a:extLst>
                <a:ext uri="{FF2B5EF4-FFF2-40B4-BE49-F238E27FC236}">
                  <a16:creationId xmlns:a16="http://schemas.microsoft.com/office/drawing/2014/main" id="{7603AAA1-071D-439F-A511-02E260209FED}"/>
                </a:ext>
              </a:extLst>
            </p:cNvPr>
            <p:cNvSpPr/>
            <p:nvPr/>
          </p:nvSpPr>
          <p:spPr>
            <a:xfrm rot="8716295">
              <a:off x="6072242" y="-8046"/>
              <a:ext cx="93729" cy="73541"/>
            </a:xfrm>
            <a:custGeom>
              <a:avLst/>
              <a:gdLst>
                <a:gd name="connsiteX0" fmla="*/ 0 w 93729"/>
                <a:gd name="connsiteY0" fmla="*/ 39235 h 73541"/>
                <a:gd name="connsiteX1" fmla="*/ 9187 w 93729"/>
                <a:gd name="connsiteY1" fmla="*/ 17477 h 73541"/>
                <a:gd name="connsiteX2" fmla="*/ 50579 w 93729"/>
                <a:gd name="connsiteY2" fmla="*/ 0 h 73541"/>
                <a:gd name="connsiteX3" fmla="*/ 91973 w 93729"/>
                <a:gd name="connsiteY3" fmla="*/ 17477 h 73541"/>
                <a:gd name="connsiteX4" fmla="*/ 93729 w 93729"/>
                <a:gd name="connsiteY4" fmla="*/ 20058 h 73541"/>
                <a:gd name="connsiteX5" fmla="*/ 49492 w 93729"/>
                <a:gd name="connsiteY5" fmla="*/ 73541 h 73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729" h="73541">
                  <a:moveTo>
                    <a:pt x="0" y="39235"/>
                  </a:moveTo>
                  <a:lnTo>
                    <a:pt x="9187" y="17477"/>
                  </a:lnTo>
                  <a:cubicBezTo>
                    <a:pt x="20225" y="6439"/>
                    <a:pt x="34943" y="0"/>
                    <a:pt x="50579" y="0"/>
                  </a:cubicBezTo>
                  <a:cubicBezTo>
                    <a:pt x="66217" y="0"/>
                    <a:pt x="80934" y="6439"/>
                    <a:pt x="91973" y="17477"/>
                  </a:cubicBezTo>
                  <a:lnTo>
                    <a:pt x="93729" y="20058"/>
                  </a:lnTo>
                  <a:lnTo>
                    <a:pt x="49492" y="735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3" name="Forme libre : forme 1092">
              <a:extLst>
                <a:ext uri="{FF2B5EF4-FFF2-40B4-BE49-F238E27FC236}">
                  <a16:creationId xmlns:a16="http://schemas.microsoft.com/office/drawing/2014/main" id="{9C8F8AD8-9BE3-4AFF-9D9E-827181BFFE71}"/>
                </a:ext>
              </a:extLst>
            </p:cNvPr>
            <p:cNvSpPr/>
            <p:nvPr/>
          </p:nvSpPr>
          <p:spPr>
            <a:xfrm rot="8716295">
              <a:off x="7172347" y="237144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4" name="Forme libre : forme 1093">
              <a:extLst>
                <a:ext uri="{FF2B5EF4-FFF2-40B4-BE49-F238E27FC236}">
                  <a16:creationId xmlns:a16="http://schemas.microsoft.com/office/drawing/2014/main" id="{B50EEFFE-50F1-41BD-AC0F-C587493B9502}"/>
                </a:ext>
              </a:extLst>
            </p:cNvPr>
            <p:cNvSpPr/>
            <p:nvPr/>
          </p:nvSpPr>
          <p:spPr>
            <a:xfrm rot="8716295">
              <a:off x="7261739" y="240068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5" name="Forme libre : forme 1094">
              <a:extLst>
                <a:ext uri="{FF2B5EF4-FFF2-40B4-BE49-F238E27FC236}">
                  <a16:creationId xmlns:a16="http://schemas.microsoft.com/office/drawing/2014/main" id="{2580D73F-ABFD-46AB-A8B8-663F26EB77C2}"/>
                </a:ext>
              </a:extLst>
            </p:cNvPr>
            <p:cNvSpPr/>
            <p:nvPr/>
          </p:nvSpPr>
          <p:spPr>
            <a:xfrm rot="8716295">
              <a:off x="7216889" y="2314408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6" name="Forme libre : forme 1095">
              <a:extLst>
                <a:ext uri="{FF2B5EF4-FFF2-40B4-BE49-F238E27FC236}">
                  <a16:creationId xmlns:a16="http://schemas.microsoft.com/office/drawing/2014/main" id="{2C3435C1-11AD-43F5-B057-1EA87D25FBC9}"/>
                </a:ext>
              </a:extLst>
            </p:cNvPr>
            <p:cNvSpPr/>
            <p:nvPr/>
          </p:nvSpPr>
          <p:spPr>
            <a:xfrm rot="8716295">
              <a:off x="7060113" y="245999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7" name="Forme libre : forme 1096">
              <a:extLst>
                <a:ext uri="{FF2B5EF4-FFF2-40B4-BE49-F238E27FC236}">
                  <a16:creationId xmlns:a16="http://schemas.microsoft.com/office/drawing/2014/main" id="{4B47ED33-41DD-4DB3-AD1B-B82A88377D4B}"/>
                </a:ext>
              </a:extLst>
            </p:cNvPr>
            <p:cNvSpPr/>
            <p:nvPr/>
          </p:nvSpPr>
          <p:spPr>
            <a:xfrm rot="8716295">
              <a:off x="6935210" y="225131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8" name="Forme libre : forme 1097">
              <a:extLst>
                <a:ext uri="{FF2B5EF4-FFF2-40B4-BE49-F238E27FC236}">
                  <a16:creationId xmlns:a16="http://schemas.microsoft.com/office/drawing/2014/main" id="{FDADFB27-095D-4A69-842C-AC50F274C2CB}"/>
                </a:ext>
              </a:extLst>
            </p:cNvPr>
            <p:cNvSpPr/>
            <p:nvPr/>
          </p:nvSpPr>
          <p:spPr>
            <a:xfrm rot="8716295">
              <a:off x="6923158" y="2112537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9" name="Forme libre : forme 1098">
              <a:extLst>
                <a:ext uri="{FF2B5EF4-FFF2-40B4-BE49-F238E27FC236}">
                  <a16:creationId xmlns:a16="http://schemas.microsoft.com/office/drawing/2014/main" id="{51728AE9-139E-41E1-8F39-80B1269EE624}"/>
                </a:ext>
              </a:extLst>
            </p:cNvPr>
            <p:cNvSpPr/>
            <p:nvPr/>
          </p:nvSpPr>
          <p:spPr>
            <a:xfrm rot="8716295">
              <a:off x="7150291" y="2500942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0" name="Forme libre : forme 1099">
              <a:extLst>
                <a:ext uri="{FF2B5EF4-FFF2-40B4-BE49-F238E27FC236}">
                  <a16:creationId xmlns:a16="http://schemas.microsoft.com/office/drawing/2014/main" id="{92B4175C-E509-4678-8549-D6B4F8ECF63E}"/>
                </a:ext>
              </a:extLst>
            </p:cNvPr>
            <p:cNvSpPr/>
            <p:nvPr/>
          </p:nvSpPr>
          <p:spPr>
            <a:xfrm rot="8716295">
              <a:off x="7461446" y="212129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1" name="Forme libre : forme 1100">
              <a:extLst>
                <a:ext uri="{FF2B5EF4-FFF2-40B4-BE49-F238E27FC236}">
                  <a16:creationId xmlns:a16="http://schemas.microsoft.com/office/drawing/2014/main" id="{03A48A9F-470F-4E42-AB0D-A2092DAB19E1}"/>
                </a:ext>
              </a:extLst>
            </p:cNvPr>
            <p:cNvSpPr/>
            <p:nvPr/>
          </p:nvSpPr>
          <p:spPr>
            <a:xfrm rot="8716295">
              <a:off x="7550838" y="215053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2" name="Forme libre : forme 1101">
              <a:extLst>
                <a:ext uri="{FF2B5EF4-FFF2-40B4-BE49-F238E27FC236}">
                  <a16:creationId xmlns:a16="http://schemas.microsoft.com/office/drawing/2014/main" id="{D787AC24-D650-46E0-AF17-D8D11DE74854}"/>
                </a:ext>
              </a:extLst>
            </p:cNvPr>
            <p:cNvSpPr/>
            <p:nvPr/>
          </p:nvSpPr>
          <p:spPr>
            <a:xfrm rot="8716295">
              <a:off x="7349212" y="220983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3" name="Forme libre : forme 1102">
              <a:extLst>
                <a:ext uri="{FF2B5EF4-FFF2-40B4-BE49-F238E27FC236}">
                  <a16:creationId xmlns:a16="http://schemas.microsoft.com/office/drawing/2014/main" id="{0FB757C5-F53D-4FA3-95F2-B6B3C4253FFC}"/>
                </a:ext>
              </a:extLst>
            </p:cNvPr>
            <p:cNvSpPr/>
            <p:nvPr/>
          </p:nvSpPr>
          <p:spPr>
            <a:xfrm rot="8716295">
              <a:off x="7224310" y="200116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4" name="Forme libre : forme 1103">
              <a:extLst>
                <a:ext uri="{FF2B5EF4-FFF2-40B4-BE49-F238E27FC236}">
                  <a16:creationId xmlns:a16="http://schemas.microsoft.com/office/drawing/2014/main" id="{BF242107-D725-4B4F-BC78-5EDCA137735E}"/>
                </a:ext>
              </a:extLst>
            </p:cNvPr>
            <p:cNvSpPr/>
            <p:nvPr/>
          </p:nvSpPr>
          <p:spPr>
            <a:xfrm rot="8716295">
              <a:off x="7439390" y="2250790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5" name="Forme libre : forme 1104">
              <a:extLst>
                <a:ext uri="{FF2B5EF4-FFF2-40B4-BE49-F238E27FC236}">
                  <a16:creationId xmlns:a16="http://schemas.microsoft.com/office/drawing/2014/main" id="{3CE12C75-E0FA-48A2-87D6-5CE57DDA0BBD}"/>
                </a:ext>
              </a:extLst>
            </p:cNvPr>
            <p:cNvSpPr/>
            <p:nvPr/>
          </p:nvSpPr>
          <p:spPr>
            <a:xfrm rot="8716295">
              <a:off x="7197939" y="2101190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6" name="Forme libre : forme 1105">
              <a:extLst>
                <a:ext uri="{FF2B5EF4-FFF2-40B4-BE49-F238E27FC236}">
                  <a16:creationId xmlns:a16="http://schemas.microsoft.com/office/drawing/2014/main" id="{B337DB84-252C-4B02-A3DE-B9A85A114904}"/>
                </a:ext>
              </a:extLst>
            </p:cNvPr>
            <p:cNvSpPr/>
            <p:nvPr/>
          </p:nvSpPr>
          <p:spPr>
            <a:xfrm rot="7484129">
              <a:off x="7544321" y="244214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7" name="Forme libre : forme 1106">
              <a:extLst>
                <a:ext uri="{FF2B5EF4-FFF2-40B4-BE49-F238E27FC236}">
                  <a16:creationId xmlns:a16="http://schemas.microsoft.com/office/drawing/2014/main" id="{F19E0C83-77A7-4617-BCA2-22616BECAE12}"/>
                </a:ext>
              </a:extLst>
            </p:cNvPr>
            <p:cNvSpPr/>
            <p:nvPr/>
          </p:nvSpPr>
          <p:spPr>
            <a:xfrm rot="13089394">
              <a:off x="7649141" y="2408675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8" name="Forme libre : forme 1107">
              <a:extLst>
                <a:ext uri="{FF2B5EF4-FFF2-40B4-BE49-F238E27FC236}">
                  <a16:creationId xmlns:a16="http://schemas.microsoft.com/office/drawing/2014/main" id="{F5B45C54-84E0-4739-ADB3-959633174024}"/>
                </a:ext>
              </a:extLst>
            </p:cNvPr>
            <p:cNvSpPr/>
            <p:nvPr/>
          </p:nvSpPr>
          <p:spPr>
            <a:xfrm rot="8716295">
              <a:off x="7834726" y="2216994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9" name="Forme libre : forme 1108">
              <a:extLst>
                <a:ext uri="{FF2B5EF4-FFF2-40B4-BE49-F238E27FC236}">
                  <a16:creationId xmlns:a16="http://schemas.microsoft.com/office/drawing/2014/main" id="{66B27175-8CF2-4D68-B9A3-8660A0B5CD05}"/>
                </a:ext>
              </a:extLst>
            </p:cNvPr>
            <p:cNvSpPr/>
            <p:nvPr/>
          </p:nvSpPr>
          <p:spPr>
            <a:xfrm rot="8716295">
              <a:off x="7782921" y="211340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0" name="Forme libre : forme 1109">
              <a:extLst>
                <a:ext uri="{FF2B5EF4-FFF2-40B4-BE49-F238E27FC236}">
                  <a16:creationId xmlns:a16="http://schemas.microsoft.com/office/drawing/2014/main" id="{8FD17293-97E3-4673-AA7F-84B5B99446CA}"/>
                </a:ext>
              </a:extLst>
            </p:cNvPr>
            <p:cNvSpPr/>
            <p:nvPr/>
          </p:nvSpPr>
          <p:spPr>
            <a:xfrm rot="8716295">
              <a:off x="7539675" y="214362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1" name="Forme libre : forme 1110">
              <a:extLst>
                <a:ext uri="{FF2B5EF4-FFF2-40B4-BE49-F238E27FC236}">
                  <a16:creationId xmlns:a16="http://schemas.microsoft.com/office/drawing/2014/main" id="{C73B72CE-98CF-4B2D-903B-F181C83E80BA}"/>
                </a:ext>
              </a:extLst>
            </p:cNvPr>
            <p:cNvSpPr/>
            <p:nvPr/>
          </p:nvSpPr>
          <p:spPr>
            <a:xfrm rot="8716295">
              <a:off x="7717127" y="198438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2" name="Forme libre : forme 1111">
              <a:extLst>
                <a:ext uri="{FF2B5EF4-FFF2-40B4-BE49-F238E27FC236}">
                  <a16:creationId xmlns:a16="http://schemas.microsoft.com/office/drawing/2014/main" id="{696CB62E-C4B4-4490-8872-413E82440B78}"/>
                </a:ext>
              </a:extLst>
            </p:cNvPr>
            <p:cNvSpPr/>
            <p:nvPr/>
          </p:nvSpPr>
          <p:spPr>
            <a:xfrm rot="8716295">
              <a:off x="7395514" y="303114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3" name="Forme libre : forme 1112">
              <a:extLst>
                <a:ext uri="{FF2B5EF4-FFF2-40B4-BE49-F238E27FC236}">
                  <a16:creationId xmlns:a16="http://schemas.microsoft.com/office/drawing/2014/main" id="{B9248AD5-32BA-4917-BA85-0157D956096A}"/>
                </a:ext>
              </a:extLst>
            </p:cNvPr>
            <p:cNvSpPr/>
            <p:nvPr/>
          </p:nvSpPr>
          <p:spPr>
            <a:xfrm rot="8716295">
              <a:off x="7484906" y="306038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4" name="Forme libre : forme 1113">
              <a:extLst>
                <a:ext uri="{FF2B5EF4-FFF2-40B4-BE49-F238E27FC236}">
                  <a16:creationId xmlns:a16="http://schemas.microsoft.com/office/drawing/2014/main" id="{C01A8DA7-4F44-4FB4-AD68-2519B990D7F2}"/>
                </a:ext>
              </a:extLst>
            </p:cNvPr>
            <p:cNvSpPr/>
            <p:nvPr/>
          </p:nvSpPr>
          <p:spPr>
            <a:xfrm rot="8716295">
              <a:off x="7440056" y="297410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5" name="Forme libre : forme 1114">
              <a:extLst>
                <a:ext uri="{FF2B5EF4-FFF2-40B4-BE49-F238E27FC236}">
                  <a16:creationId xmlns:a16="http://schemas.microsoft.com/office/drawing/2014/main" id="{42D9C24E-2646-42DD-BFA5-E1307CC2B5EC}"/>
                </a:ext>
              </a:extLst>
            </p:cNvPr>
            <p:cNvSpPr/>
            <p:nvPr/>
          </p:nvSpPr>
          <p:spPr>
            <a:xfrm rot="8716295">
              <a:off x="7283280" y="311968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6" name="Forme libre : forme 1115">
              <a:extLst>
                <a:ext uri="{FF2B5EF4-FFF2-40B4-BE49-F238E27FC236}">
                  <a16:creationId xmlns:a16="http://schemas.microsoft.com/office/drawing/2014/main" id="{CFABA53A-4A06-4580-8C61-8286352F9F67}"/>
                </a:ext>
              </a:extLst>
            </p:cNvPr>
            <p:cNvSpPr/>
            <p:nvPr/>
          </p:nvSpPr>
          <p:spPr>
            <a:xfrm rot="8716295">
              <a:off x="7158377" y="291101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7" name="Forme libre : forme 1116">
              <a:extLst>
                <a:ext uri="{FF2B5EF4-FFF2-40B4-BE49-F238E27FC236}">
                  <a16:creationId xmlns:a16="http://schemas.microsoft.com/office/drawing/2014/main" id="{C74B7EC2-6979-4A8A-9284-FAC8E9267907}"/>
                </a:ext>
              </a:extLst>
            </p:cNvPr>
            <p:cNvSpPr/>
            <p:nvPr/>
          </p:nvSpPr>
          <p:spPr>
            <a:xfrm rot="8716295">
              <a:off x="7146325" y="277223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8" name="Forme libre : forme 1117">
              <a:extLst>
                <a:ext uri="{FF2B5EF4-FFF2-40B4-BE49-F238E27FC236}">
                  <a16:creationId xmlns:a16="http://schemas.microsoft.com/office/drawing/2014/main" id="{F8DC9ECB-1E3E-434D-AF3D-8360A2556CE1}"/>
                </a:ext>
              </a:extLst>
            </p:cNvPr>
            <p:cNvSpPr/>
            <p:nvPr/>
          </p:nvSpPr>
          <p:spPr>
            <a:xfrm rot="8716295">
              <a:off x="7373458" y="316064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9" name="Forme libre : forme 1118">
              <a:extLst>
                <a:ext uri="{FF2B5EF4-FFF2-40B4-BE49-F238E27FC236}">
                  <a16:creationId xmlns:a16="http://schemas.microsoft.com/office/drawing/2014/main" id="{51772F42-3F0C-424A-977C-894DBAF1080F}"/>
                </a:ext>
              </a:extLst>
            </p:cNvPr>
            <p:cNvSpPr/>
            <p:nvPr/>
          </p:nvSpPr>
          <p:spPr>
            <a:xfrm rot="8716295">
              <a:off x="7684613" y="278099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0" name="Forme libre : forme 1119">
              <a:extLst>
                <a:ext uri="{FF2B5EF4-FFF2-40B4-BE49-F238E27FC236}">
                  <a16:creationId xmlns:a16="http://schemas.microsoft.com/office/drawing/2014/main" id="{B5CD12DE-C7EB-4EFA-AC20-74C4AE1F7190}"/>
                </a:ext>
              </a:extLst>
            </p:cNvPr>
            <p:cNvSpPr/>
            <p:nvPr/>
          </p:nvSpPr>
          <p:spPr>
            <a:xfrm rot="8716295">
              <a:off x="7774005" y="281023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1" name="Forme libre : forme 1120">
              <a:extLst>
                <a:ext uri="{FF2B5EF4-FFF2-40B4-BE49-F238E27FC236}">
                  <a16:creationId xmlns:a16="http://schemas.microsoft.com/office/drawing/2014/main" id="{D4963745-603E-4027-A61D-8C66F68BBCF1}"/>
                </a:ext>
              </a:extLst>
            </p:cNvPr>
            <p:cNvSpPr/>
            <p:nvPr/>
          </p:nvSpPr>
          <p:spPr>
            <a:xfrm rot="8716295">
              <a:off x="7572379" y="286953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2" name="Forme libre : forme 1121">
              <a:extLst>
                <a:ext uri="{FF2B5EF4-FFF2-40B4-BE49-F238E27FC236}">
                  <a16:creationId xmlns:a16="http://schemas.microsoft.com/office/drawing/2014/main" id="{B2AE503B-34E9-4267-86FA-CBE3FB4412BF}"/>
                </a:ext>
              </a:extLst>
            </p:cNvPr>
            <p:cNvSpPr/>
            <p:nvPr/>
          </p:nvSpPr>
          <p:spPr>
            <a:xfrm rot="8716295">
              <a:off x="7447477" y="266086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3" name="Forme libre : forme 1122">
              <a:extLst>
                <a:ext uri="{FF2B5EF4-FFF2-40B4-BE49-F238E27FC236}">
                  <a16:creationId xmlns:a16="http://schemas.microsoft.com/office/drawing/2014/main" id="{555AB00F-5214-4D5A-B856-0D6CE43A6974}"/>
                </a:ext>
              </a:extLst>
            </p:cNvPr>
            <p:cNvSpPr/>
            <p:nvPr/>
          </p:nvSpPr>
          <p:spPr>
            <a:xfrm rot="8716295">
              <a:off x="7662557" y="291048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4" name="Forme libre : forme 1123">
              <a:extLst>
                <a:ext uri="{FF2B5EF4-FFF2-40B4-BE49-F238E27FC236}">
                  <a16:creationId xmlns:a16="http://schemas.microsoft.com/office/drawing/2014/main" id="{E9EF5FF3-F4BF-4CDD-9607-4DBF4C2F0085}"/>
                </a:ext>
              </a:extLst>
            </p:cNvPr>
            <p:cNvSpPr/>
            <p:nvPr/>
          </p:nvSpPr>
          <p:spPr>
            <a:xfrm rot="8716295">
              <a:off x="7421106" y="276088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5" name="Forme libre : forme 1124">
              <a:extLst>
                <a:ext uri="{FF2B5EF4-FFF2-40B4-BE49-F238E27FC236}">
                  <a16:creationId xmlns:a16="http://schemas.microsoft.com/office/drawing/2014/main" id="{59DF2FDB-C1DD-4AAC-8ED6-A9A2F1015694}"/>
                </a:ext>
              </a:extLst>
            </p:cNvPr>
            <p:cNvSpPr/>
            <p:nvPr/>
          </p:nvSpPr>
          <p:spPr>
            <a:xfrm rot="7484129">
              <a:off x="7767488" y="310184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6" name="Forme libre : forme 1125">
              <a:extLst>
                <a:ext uri="{FF2B5EF4-FFF2-40B4-BE49-F238E27FC236}">
                  <a16:creationId xmlns:a16="http://schemas.microsoft.com/office/drawing/2014/main" id="{4196ADC5-483D-4AAF-B032-555B70BC6EE5}"/>
                </a:ext>
              </a:extLst>
            </p:cNvPr>
            <p:cNvSpPr/>
            <p:nvPr/>
          </p:nvSpPr>
          <p:spPr>
            <a:xfrm rot="13089394">
              <a:off x="7872308" y="306837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7" name="Forme libre : forme 1126">
              <a:extLst>
                <a:ext uri="{FF2B5EF4-FFF2-40B4-BE49-F238E27FC236}">
                  <a16:creationId xmlns:a16="http://schemas.microsoft.com/office/drawing/2014/main" id="{32A56DA8-4C3D-4B7F-A319-4811C6B7AA5C}"/>
                </a:ext>
              </a:extLst>
            </p:cNvPr>
            <p:cNvSpPr/>
            <p:nvPr/>
          </p:nvSpPr>
          <p:spPr>
            <a:xfrm rot="8716295">
              <a:off x="8057893" y="287669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8" name="Forme libre : forme 1127">
              <a:extLst>
                <a:ext uri="{FF2B5EF4-FFF2-40B4-BE49-F238E27FC236}">
                  <a16:creationId xmlns:a16="http://schemas.microsoft.com/office/drawing/2014/main" id="{8E0F1C28-8F77-4966-95BD-C88FCEF83216}"/>
                </a:ext>
              </a:extLst>
            </p:cNvPr>
            <p:cNvSpPr/>
            <p:nvPr/>
          </p:nvSpPr>
          <p:spPr>
            <a:xfrm rot="8716295">
              <a:off x="8006088" y="277310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29" name="Forme libre : forme 1128">
              <a:extLst>
                <a:ext uri="{FF2B5EF4-FFF2-40B4-BE49-F238E27FC236}">
                  <a16:creationId xmlns:a16="http://schemas.microsoft.com/office/drawing/2014/main" id="{E5A4A31B-3B75-496C-9F61-22A820F43FCD}"/>
                </a:ext>
              </a:extLst>
            </p:cNvPr>
            <p:cNvSpPr/>
            <p:nvPr/>
          </p:nvSpPr>
          <p:spPr>
            <a:xfrm rot="8716295">
              <a:off x="7762842" y="280332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0" name="Forme libre : forme 1129">
              <a:extLst>
                <a:ext uri="{FF2B5EF4-FFF2-40B4-BE49-F238E27FC236}">
                  <a16:creationId xmlns:a16="http://schemas.microsoft.com/office/drawing/2014/main" id="{4862B135-8953-4E24-B4C9-59ECE15EAE81}"/>
                </a:ext>
              </a:extLst>
            </p:cNvPr>
            <p:cNvSpPr/>
            <p:nvPr/>
          </p:nvSpPr>
          <p:spPr>
            <a:xfrm rot="8716295">
              <a:off x="7940294" y="264407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1" name="Forme libre : forme 1130">
              <a:extLst>
                <a:ext uri="{FF2B5EF4-FFF2-40B4-BE49-F238E27FC236}">
                  <a16:creationId xmlns:a16="http://schemas.microsoft.com/office/drawing/2014/main" id="{3E405773-6C52-4033-9D2E-C77CD5E36C97}"/>
                </a:ext>
              </a:extLst>
            </p:cNvPr>
            <p:cNvSpPr/>
            <p:nvPr/>
          </p:nvSpPr>
          <p:spPr>
            <a:xfrm rot="8716295">
              <a:off x="8044812" y="5014610"/>
              <a:ext cx="142167" cy="185946"/>
            </a:xfrm>
            <a:custGeom>
              <a:avLst/>
              <a:gdLst>
                <a:gd name="connsiteX0" fmla="*/ 0 w 142167"/>
                <a:gd name="connsiteY0" fmla="*/ 3681 h 185946"/>
                <a:gd name="connsiteX1" fmla="*/ 0 w 142167"/>
                <a:gd name="connsiteY1" fmla="*/ 0 h 185946"/>
                <a:gd name="connsiteX2" fmla="*/ 5311 w 142167"/>
                <a:gd name="connsiteY2" fmla="*/ 3681 h 185946"/>
                <a:gd name="connsiteX3" fmla="*/ 81108 w 142167"/>
                <a:gd name="connsiteY3" fmla="*/ 185946 h 185946"/>
                <a:gd name="connsiteX4" fmla="*/ 81108 w 142167"/>
                <a:gd name="connsiteY4" fmla="*/ 56221 h 185946"/>
                <a:gd name="connsiteX5" fmla="*/ 142167 w 142167"/>
                <a:gd name="connsiteY5" fmla="*/ 98545 h 185946"/>
                <a:gd name="connsiteX6" fmla="*/ 142167 w 142167"/>
                <a:gd name="connsiteY6" fmla="*/ 161796 h 185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167" h="185946">
                  <a:moveTo>
                    <a:pt x="0" y="3681"/>
                  </a:moveTo>
                  <a:lnTo>
                    <a:pt x="0" y="0"/>
                  </a:lnTo>
                  <a:lnTo>
                    <a:pt x="5311" y="3681"/>
                  </a:lnTo>
                  <a:close/>
                  <a:moveTo>
                    <a:pt x="81108" y="185946"/>
                  </a:moveTo>
                  <a:lnTo>
                    <a:pt x="81108" y="56221"/>
                  </a:lnTo>
                  <a:lnTo>
                    <a:pt x="142167" y="98545"/>
                  </a:lnTo>
                  <a:lnTo>
                    <a:pt x="142167" y="1617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2" name="Forme libre : forme 1131">
              <a:extLst>
                <a:ext uri="{FF2B5EF4-FFF2-40B4-BE49-F238E27FC236}">
                  <a16:creationId xmlns:a16="http://schemas.microsoft.com/office/drawing/2014/main" id="{1E88E955-7F03-41E3-9D75-6D519C17C0A9}"/>
                </a:ext>
              </a:extLst>
            </p:cNvPr>
            <p:cNvSpPr/>
            <p:nvPr/>
          </p:nvSpPr>
          <p:spPr>
            <a:xfrm rot="8716295">
              <a:off x="8258973" y="5016779"/>
              <a:ext cx="60148" cy="157919"/>
            </a:xfrm>
            <a:custGeom>
              <a:avLst/>
              <a:gdLst>
                <a:gd name="connsiteX0" fmla="*/ 0 w 60148"/>
                <a:gd name="connsiteY0" fmla="*/ 157919 h 157919"/>
                <a:gd name="connsiteX1" fmla="*/ 0 w 60148"/>
                <a:gd name="connsiteY1" fmla="*/ 0 h 157919"/>
                <a:gd name="connsiteX2" fmla="*/ 60148 w 60148"/>
                <a:gd name="connsiteY2" fmla="*/ 41692 h 157919"/>
                <a:gd name="connsiteX3" fmla="*/ 60148 w 60148"/>
                <a:gd name="connsiteY3" fmla="*/ 116909 h 157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8" h="157919">
                  <a:moveTo>
                    <a:pt x="0" y="157919"/>
                  </a:moveTo>
                  <a:lnTo>
                    <a:pt x="0" y="0"/>
                  </a:lnTo>
                  <a:lnTo>
                    <a:pt x="60148" y="41692"/>
                  </a:lnTo>
                  <a:lnTo>
                    <a:pt x="60148" y="11690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3" name="Forme libre : forme 1132">
              <a:extLst>
                <a:ext uri="{FF2B5EF4-FFF2-40B4-BE49-F238E27FC236}">
                  <a16:creationId xmlns:a16="http://schemas.microsoft.com/office/drawing/2014/main" id="{CA2B8755-B7BC-4A60-A8F4-7FADFD1B1DC2}"/>
                </a:ext>
              </a:extLst>
            </p:cNvPr>
            <p:cNvSpPr/>
            <p:nvPr/>
          </p:nvSpPr>
          <p:spPr>
            <a:xfrm rot="8716295">
              <a:off x="8103411" y="495317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4" name="Forme libre : forme 1133">
              <a:extLst>
                <a:ext uri="{FF2B5EF4-FFF2-40B4-BE49-F238E27FC236}">
                  <a16:creationId xmlns:a16="http://schemas.microsoft.com/office/drawing/2014/main" id="{E1AF4DEC-6ACA-4C7B-B12C-9DCB672B78AA}"/>
                </a:ext>
              </a:extLst>
            </p:cNvPr>
            <p:cNvSpPr/>
            <p:nvPr/>
          </p:nvSpPr>
          <p:spPr>
            <a:xfrm rot="8716295">
              <a:off x="7941579" y="5096694"/>
              <a:ext cx="58211" cy="55513"/>
            </a:xfrm>
            <a:custGeom>
              <a:avLst/>
              <a:gdLst>
                <a:gd name="connsiteX0" fmla="*/ 8658 w 58211"/>
                <a:gd name="connsiteY0" fmla="*/ 47310 h 55513"/>
                <a:gd name="connsiteX1" fmla="*/ 0 w 58211"/>
                <a:gd name="connsiteY1" fmla="*/ 26806 h 55513"/>
                <a:gd name="connsiteX2" fmla="*/ 0 w 58211"/>
                <a:gd name="connsiteY2" fmla="*/ 26349 h 55513"/>
                <a:gd name="connsiteX3" fmla="*/ 8658 w 58211"/>
                <a:gd name="connsiteY3" fmla="*/ 5845 h 55513"/>
                <a:gd name="connsiteX4" fmla="*/ 22501 w 58211"/>
                <a:gd name="connsiteY4" fmla="*/ 0 h 55513"/>
                <a:gd name="connsiteX5" fmla="*/ 57366 w 58211"/>
                <a:gd name="connsiteY5" fmla="*/ 24167 h 55513"/>
                <a:gd name="connsiteX6" fmla="*/ 58211 w 58211"/>
                <a:gd name="connsiteY6" fmla="*/ 26179 h 55513"/>
                <a:gd name="connsiteX7" fmla="*/ 49668 w 58211"/>
                <a:gd name="connsiteY7" fmla="*/ 46855 h 55513"/>
                <a:gd name="connsiteX8" fmla="*/ 29163 w 58211"/>
                <a:gd name="connsiteY8" fmla="*/ 55513 h 55513"/>
                <a:gd name="connsiteX9" fmla="*/ 8658 w 58211"/>
                <a:gd name="connsiteY9" fmla="*/ 47310 h 55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8211" h="55513">
                  <a:moveTo>
                    <a:pt x="8658" y="47310"/>
                  </a:moveTo>
                  <a:cubicBezTo>
                    <a:pt x="3190" y="41843"/>
                    <a:pt x="0" y="34551"/>
                    <a:pt x="0" y="26806"/>
                  </a:cubicBezTo>
                  <a:lnTo>
                    <a:pt x="0" y="26349"/>
                  </a:lnTo>
                  <a:cubicBezTo>
                    <a:pt x="0" y="18604"/>
                    <a:pt x="3190" y="11313"/>
                    <a:pt x="8658" y="5845"/>
                  </a:cubicBezTo>
                  <a:lnTo>
                    <a:pt x="22501" y="0"/>
                  </a:lnTo>
                  <a:lnTo>
                    <a:pt x="57366" y="24167"/>
                  </a:lnTo>
                  <a:lnTo>
                    <a:pt x="58211" y="26179"/>
                  </a:lnTo>
                  <a:cubicBezTo>
                    <a:pt x="58212" y="33641"/>
                    <a:pt x="55364" y="41159"/>
                    <a:pt x="49668" y="46855"/>
                  </a:cubicBezTo>
                  <a:cubicBezTo>
                    <a:pt x="44200" y="52323"/>
                    <a:pt x="36909" y="55512"/>
                    <a:pt x="29163" y="55513"/>
                  </a:cubicBezTo>
                  <a:cubicBezTo>
                    <a:pt x="21416" y="55512"/>
                    <a:pt x="14126" y="52778"/>
                    <a:pt x="8658" y="473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5" name="Forme libre : forme 1134">
              <a:extLst>
                <a:ext uri="{FF2B5EF4-FFF2-40B4-BE49-F238E27FC236}">
                  <a16:creationId xmlns:a16="http://schemas.microsoft.com/office/drawing/2014/main" id="{B8F042BB-C9F6-4157-AE20-FD1AD8D9B197}"/>
                </a:ext>
              </a:extLst>
            </p:cNvPr>
            <p:cNvSpPr/>
            <p:nvPr/>
          </p:nvSpPr>
          <p:spPr>
            <a:xfrm rot="8716295">
              <a:off x="7821732" y="489008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6" name="Forme libre : forme 1135">
              <a:extLst>
                <a:ext uri="{FF2B5EF4-FFF2-40B4-BE49-F238E27FC236}">
                  <a16:creationId xmlns:a16="http://schemas.microsoft.com/office/drawing/2014/main" id="{42560913-1E4E-4677-9E81-A4912B35BE09}"/>
                </a:ext>
              </a:extLst>
            </p:cNvPr>
            <p:cNvSpPr/>
            <p:nvPr/>
          </p:nvSpPr>
          <p:spPr>
            <a:xfrm rot="8716295">
              <a:off x="7809680" y="475130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7" name="Forme libre : forme 1136">
              <a:extLst>
                <a:ext uri="{FF2B5EF4-FFF2-40B4-BE49-F238E27FC236}">
                  <a16:creationId xmlns:a16="http://schemas.microsoft.com/office/drawing/2014/main" id="{7BFA6FDC-5CB7-4DDB-87E8-074ECA1084F2}"/>
                </a:ext>
              </a:extLst>
            </p:cNvPr>
            <p:cNvSpPr/>
            <p:nvPr/>
          </p:nvSpPr>
          <p:spPr>
            <a:xfrm rot="8716295">
              <a:off x="8347968" y="476006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8" name="Forme libre : forme 1137">
              <a:extLst>
                <a:ext uri="{FF2B5EF4-FFF2-40B4-BE49-F238E27FC236}">
                  <a16:creationId xmlns:a16="http://schemas.microsoft.com/office/drawing/2014/main" id="{A72146F5-0FE8-433A-B4E4-A08CDA8CE838}"/>
                </a:ext>
              </a:extLst>
            </p:cNvPr>
            <p:cNvSpPr/>
            <p:nvPr/>
          </p:nvSpPr>
          <p:spPr>
            <a:xfrm rot="8716295">
              <a:off x="8437360" y="478930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9" name="Forme libre : forme 1138">
              <a:extLst>
                <a:ext uri="{FF2B5EF4-FFF2-40B4-BE49-F238E27FC236}">
                  <a16:creationId xmlns:a16="http://schemas.microsoft.com/office/drawing/2014/main" id="{B0815185-98D4-4C05-A864-471788D20585}"/>
                </a:ext>
              </a:extLst>
            </p:cNvPr>
            <p:cNvSpPr/>
            <p:nvPr/>
          </p:nvSpPr>
          <p:spPr>
            <a:xfrm rot="8716295">
              <a:off x="8235734" y="484860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0" name="Forme libre : forme 1139">
              <a:extLst>
                <a:ext uri="{FF2B5EF4-FFF2-40B4-BE49-F238E27FC236}">
                  <a16:creationId xmlns:a16="http://schemas.microsoft.com/office/drawing/2014/main" id="{ADDDCEE7-B6A9-4A01-8C1B-1A7C3E608705}"/>
                </a:ext>
              </a:extLst>
            </p:cNvPr>
            <p:cNvSpPr/>
            <p:nvPr/>
          </p:nvSpPr>
          <p:spPr>
            <a:xfrm rot="8716295">
              <a:off x="8110832" y="463993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1" name="Forme libre : forme 1140">
              <a:extLst>
                <a:ext uri="{FF2B5EF4-FFF2-40B4-BE49-F238E27FC236}">
                  <a16:creationId xmlns:a16="http://schemas.microsoft.com/office/drawing/2014/main" id="{286D2BD3-550D-4955-8EE3-067F78BD5B31}"/>
                </a:ext>
              </a:extLst>
            </p:cNvPr>
            <p:cNvSpPr/>
            <p:nvPr/>
          </p:nvSpPr>
          <p:spPr>
            <a:xfrm rot="8716295">
              <a:off x="8325912" y="488955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2" name="Forme libre : forme 1141">
              <a:extLst>
                <a:ext uri="{FF2B5EF4-FFF2-40B4-BE49-F238E27FC236}">
                  <a16:creationId xmlns:a16="http://schemas.microsoft.com/office/drawing/2014/main" id="{74F489EB-7AD1-4764-88E8-EF5930816B76}"/>
                </a:ext>
              </a:extLst>
            </p:cNvPr>
            <p:cNvSpPr/>
            <p:nvPr/>
          </p:nvSpPr>
          <p:spPr>
            <a:xfrm rot="8716295">
              <a:off x="8084461" y="473995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3" name="Forme libre : forme 1142">
              <a:extLst>
                <a:ext uri="{FF2B5EF4-FFF2-40B4-BE49-F238E27FC236}">
                  <a16:creationId xmlns:a16="http://schemas.microsoft.com/office/drawing/2014/main" id="{848DCC45-C596-44D7-A17C-7DD4A4668DE6}"/>
                </a:ext>
              </a:extLst>
            </p:cNvPr>
            <p:cNvSpPr/>
            <p:nvPr/>
          </p:nvSpPr>
          <p:spPr>
            <a:xfrm rot="7484129">
              <a:off x="8500513" y="5042942"/>
              <a:ext cx="102412" cy="181729"/>
            </a:xfrm>
            <a:custGeom>
              <a:avLst/>
              <a:gdLst>
                <a:gd name="connsiteX0" fmla="*/ 0 w 102412"/>
                <a:gd name="connsiteY0" fmla="*/ 41179 h 181729"/>
                <a:gd name="connsiteX1" fmla="*/ 0 w 102412"/>
                <a:gd name="connsiteY1" fmla="*/ 0 h 181729"/>
                <a:gd name="connsiteX2" fmla="*/ 28551 w 102412"/>
                <a:gd name="connsiteY2" fmla="*/ 41179 h 181729"/>
                <a:gd name="connsiteX3" fmla="*/ 90709 w 102412"/>
                <a:gd name="connsiteY3" fmla="*/ 181729 h 181729"/>
                <a:gd name="connsiteX4" fmla="*/ 47847 w 102412"/>
                <a:gd name="connsiteY4" fmla="*/ 101985 h 181729"/>
                <a:gd name="connsiteX5" fmla="*/ 55670 w 102412"/>
                <a:gd name="connsiteY5" fmla="*/ 80292 h 181729"/>
                <a:gd name="connsiteX6" fmla="*/ 102412 w 102412"/>
                <a:gd name="connsiteY6" fmla="*/ 147707 h 181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2412" h="181729">
                  <a:moveTo>
                    <a:pt x="0" y="41179"/>
                  </a:moveTo>
                  <a:lnTo>
                    <a:pt x="0" y="0"/>
                  </a:lnTo>
                  <a:lnTo>
                    <a:pt x="28551" y="41179"/>
                  </a:lnTo>
                  <a:close/>
                  <a:moveTo>
                    <a:pt x="90709" y="181729"/>
                  </a:moveTo>
                  <a:lnTo>
                    <a:pt x="47847" y="101985"/>
                  </a:lnTo>
                  <a:lnTo>
                    <a:pt x="55670" y="80292"/>
                  </a:lnTo>
                  <a:lnTo>
                    <a:pt x="102412" y="14770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4" name="Forme libre : forme 1143">
              <a:extLst>
                <a:ext uri="{FF2B5EF4-FFF2-40B4-BE49-F238E27FC236}">
                  <a16:creationId xmlns:a16="http://schemas.microsoft.com/office/drawing/2014/main" id="{7A947FA2-4A2A-44E5-9A4C-F2720B1B3F87}"/>
                </a:ext>
              </a:extLst>
            </p:cNvPr>
            <p:cNvSpPr/>
            <p:nvPr/>
          </p:nvSpPr>
          <p:spPr>
            <a:xfrm rot="13089394">
              <a:off x="8615617" y="5055433"/>
              <a:ext cx="225779" cy="83483"/>
            </a:xfrm>
            <a:custGeom>
              <a:avLst/>
              <a:gdLst>
                <a:gd name="connsiteX0" fmla="*/ 225779 w 225779"/>
                <a:gd name="connsiteY0" fmla="*/ 12691 h 83483"/>
                <a:gd name="connsiteX1" fmla="*/ 44792 w 225779"/>
                <a:gd name="connsiteY1" fmla="*/ 83320 h 83483"/>
                <a:gd name="connsiteX2" fmla="*/ 7960 w 225779"/>
                <a:gd name="connsiteY2" fmla="*/ 76974 h 83483"/>
                <a:gd name="connsiteX3" fmla="*/ 0 w 225779"/>
                <a:gd name="connsiteY3" fmla="*/ 71526 h 83483"/>
                <a:gd name="connsiteX4" fmla="*/ 70403 w 225779"/>
                <a:gd name="connsiteY4" fmla="*/ 16211 h 83483"/>
                <a:gd name="connsiteX5" fmla="*/ 107144 w 225779"/>
                <a:gd name="connsiteY5" fmla="*/ 36418 h 83483"/>
                <a:gd name="connsiteX6" fmla="*/ 156805 w 225779"/>
                <a:gd name="connsiteY6" fmla="*/ 27589 h 83483"/>
                <a:gd name="connsiteX7" fmla="*/ 224676 w 225779"/>
                <a:gd name="connsiteY7" fmla="*/ 0 h 83483"/>
                <a:gd name="connsiteX8" fmla="*/ 225779 w 225779"/>
                <a:gd name="connsiteY8" fmla="*/ 7173 h 83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5779" h="83483">
                  <a:moveTo>
                    <a:pt x="225779" y="12691"/>
                  </a:moveTo>
                  <a:cubicBezTo>
                    <a:pt x="167290" y="62904"/>
                    <a:pt x="90590" y="80561"/>
                    <a:pt x="44792" y="83320"/>
                  </a:cubicBezTo>
                  <a:cubicBezTo>
                    <a:pt x="32101" y="84147"/>
                    <a:pt x="19548" y="81802"/>
                    <a:pt x="7960" y="76974"/>
                  </a:cubicBezTo>
                  <a:lnTo>
                    <a:pt x="0" y="71526"/>
                  </a:lnTo>
                  <a:lnTo>
                    <a:pt x="70403" y="16211"/>
                  </a:lnTo>
                  <a:lnTo>
                    <a:pt x="107144" y="36418"/>
                  </a:lnTo>
                  <a:cubicBezTo>
                    <a:pt x="124250" y="35866"/>
                    <a:pt x="140803" y="32555"/>
                    <a:pt x="156805" y="27589"/>
                  </a:cubicBezTo>
                  <a:cubicBezTo>
                    <a:pt x="179981" y="20416"/>
                    <a:pt x="202604" y="11036"/>
                    <a:pt x="224676" y="0"/>
                  </a:cubicBezTo>
                  <a:cubicBezTo>
                    <a:pt x="225227" y="2207"/>
                    <a:pt x="225779" y="4965"/>
                    <a:pt x="225779" y="71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5" name="Forme libre : forme 1144">
              <a:extLst>
                <a:ext uri="{FF2B5EF4-FFF2-40B4-BE49-F238E27FC236}">
                  <a16:creationId xmlns:a16="http://schemas.microsoft.com/office/drawing/2014/main" id="{39ED4F39-D158-4423-B25C-BC478768EA1A}"/>
                </a:ext>
              </a:extLst>
            </p:cNvPr>
            <p:cNvSpPr/>
            <p:nvPr/>
          </p:nvSpPr>
          <p:spPr>
            <a:xfrm rot="8716295">
              <a:off x="8721248" y="4855762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6" name="Forme libre : forme 1145">
              <a:extLst>
                <a:ext uri="{FF2B5EF4-FFF2-40B4-BE49-F238E27FC236}">
                  <a16:creationId xmlns:a16="http://schemas.microsoft.com/office/drawing/2014/main" id="{1CB5F890-4E11-48EA-BB42-A7836BF6E61A}"/>
                </a:ext>
              </a:extLst>
            </p:cNvPr>
            <p:cNvSpPr/>
            <p:nvPr/>
          </p:nvSpPr>
          <p:spPr>
            <a:xfrm rot="8716295">
              <a:off x="8669443" y="475216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7" name="Forme libre : forme 1146">
              <a:extLst>
                <a:ext uri="{FF2B5EF4-FFF2-40B4-BE49-F238E27FC236}">
                  <a16:creationId xmlns:a16="http://schemas.microsoft.com/office/drawing/2014/main" id="{2FE11692-ECC8-46EB-8FDE-A35EDA11A744}"/>
                </a:ext>
              </a:extLst>
            </p:cNvPr>
            <p:cNvSpPr/>
            <p:nvPr/>
          </p:nvSpPr>
          <p:spPr>
            <a:xfrm rot="8716295">
              <a:off x="8426197" y="478239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8" name="Forme libre : forme 1147">
              <a:extLst>
                <a:ext uri="{FF2B5EF4-FFF2-40B4-BE49-F238E27FC236}">
                  <a16:creationId xmlns:a16="http://schemas.microsoft.com/office/drawing/2014/main" id="{DA75CED1-0CC6-4289-861E-A817A7D7FDCB}"/>
                </a:ext>
              </a:extLst>
            </p:cNvPr>
            <p:cNvSpPr/>
            <p:nvPr/>
          </p:nvSpPr>
          <p:spPr>
            <a:xfrm rot="8716295">
              <a:off x="8603649" y="462314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9" name="Forme libre : forme 1148">
              <a:extLst>
                <a:ext uri="{FF2B5EF4-FFF2-40B4-BE49-F238E27FC236}">
                  <a16:creationId xmlns:a16="http://schemas.microsoft.com/office/drawing/2014/main" id="{E3DA200A-0DBF-467B-A809-7E259C003918}"/>
                </a:ext>
              </a:extLst>
            </p:cNvPr>
            <p:cNvSpPr/>
            <p:nvPr/>
          </p:nvSpPr>
          <p:spPr>
            <a:xfrm rot="8716295">
              <a:off x="7614184" y="368954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0" name="Forme libre : forme 1149">
              <a:extLst>
                <a:ext uri="{FF2B5EF4-FFF2-40B4-BE49-F238E27FC236}">
                  <a16:creationId xmlns:a16="http://schemas.microsoft.com/office/drawing/2014/main" id="{9D92A201-A401-4BB8-B0E2-C72AA1A3DC87}"/>
                </a:ext>
              </a:extLst>
            </p:cNvPr>
            <p:cNvSpPr/>
            <p:nvPr/>
          </p:nvSpPr>
          <p:spPr>
            <a:xfrm rot="8716295">
              <a:off x="7703576" y="371878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1" name="Forme libre : forme 1150">
              <a:extLst>
                <a:ext uri="{FF2B5EF4-FFF2-40B4-BE49-F238E27FC236}">
                  <a16:creationId xmlns:a16="http://schemas.microsoft.com/office/drawing/2014/main" id="{79DA82A8-A0CA-4B4F-BBBB-315766D51523}"/>
                </a:ext>
              </a:extLst>
            </p:cNvPr>
            <p:cNvSpPr/>
            <p:nvPr/>
          </p:nvSpPr>
          <p:spPr>
            <a:xfrm rot="8716295">
              <a:off x="7658726" y="363250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2" name="Forme libre : forme 1151">
              <a:extLst>
                <a:ext uri="{FF2B5EF4-FFF2-40B4-BE49-F238E27FC236}">
                  <a16:creationId xmlns:a16="http://schemas.microsoft.com/office/drawing/2014/main" id="{8B5996A9-C87F-4F13-AF9E-E2187D14CB27}"/>
                </a:ext>
              </a:extLst>
            </p:cNvPr>
            <p:cNvSpPr/>
            <p:nvPr/>
          </p:nvSpPr>
          <p:spPr>
            <a:xfrm rot="8716295">
              <a:off x="7501950" y="377808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3" name="Forme libre : forme 1152">
              <a:extLst>
                <a:ext uri="{FF2B5EF4-FFF2-40B4-BE49-F238E27FC236}">
                  <a16:creationId xmlns:a16="http://schemas.microsoft.com/office/drawing/2014/main" id="{9D90D6A8-2DAB-4C1A-9D9D-7615E3303858}"/>
                </a:ext>
              </a:extLst>
            </p:cNvPr>
            <p:cNvSpPr/>
            <p:nvPr/>
          </p:nvSpPr>
          <p:spPr>
            <a:xfrm rot="8716295">
              <a:off x="7377047" y="356941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4" name="Forme libre : forme 1153">
              <a:extLst>
                <a:ext uri="{FF2B5EF4-FFF2-40B4-BE49-F238E27FC236}">
                  <a16:creationId xmlns:a16="http://schemas.microsoft.com/office/drawing/2014/main" id="{49FBE6DC-FE15-41E4-B5B4-10D7B4864EFF}"/>
                </a:ext>
              </a:extLst>
            </p:cNvPr>
            <p:cNvSpPr/>
            <p:nvPr/>
          </p:nvSpPr>
          <p:spPr>
            <a:xfrm rot="8716295">
              <a:off x="7364995" y="343063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5" name="Forme libre : forme 1154">
              <a:extLst>
                <a:ext uri="{FF2B5EF4-FFF2-40B4-BE49-F238E27FC236}">
                  <a16:creationId xmlns:a16="http://schemas.microsoft.com/office/drawing/2014/main" id="{7D94CD64-B4CB-4A42-A476-CA0C3DFEE258}"/>
                </a:ext>
              </a:extLst>
            </p:cNvPr>
            <p:cNvSpPr/>
            <p:nvPr/>
          </p:nvSpPr>
          <p:spPr>
            <a:xfrm rot="8716295">
              <a:off x="7592128" y="381903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6" name="Forme libre : forme 1155">
              <a:extLst>
                <a:ext uri="{FF2B5EF4-FFF2-40B4-BE49-F238E27FC236}">
                  <a16:creationId xmlns:a16="http://schemas.microsoft.com/office/drawing/2014/main" id="{E15F6D57-42A0-4212-B322-938D731726CE}"/>
                </a:ext>
              </a:extLst>
            </p:cNvPr>
            <p:cNvSpPr/>
            <p:nvPr/>
          </p:nvSpPr>
          <p:spPr>
            <a:xfrm rot="8716295">
              <a:off x="7903283" y="343938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7" name="Forme libre : forme 1156">
              <a:extLst>
                <a:ext uri="{FF2B5EF4-FFF2-40B4-BE49-F238E27FC236}">
                  <a16:creationId xmlns:a16="http://schemas.microsoft.com/office/drawing/2014/main" id="{0096F62B-549C-4459-9305-3A442F92B5A1}"/>
                </a:ext>
              </a:extLst>
            </p:cNvPr>
            <p:cNvSpPr/>
            <p:nvPr/>
          </p:nvSpPr>
          <p:spPr>
            <a:xfrm rot="8716295">
              <a:off x="7992675" y="346863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8" name="Forme libre : forme 1157">
              <a:extLst>
                <a:ext uri="{FF2B5EF4-FFF2-40B4-BE49-F238E27FC236}">
                  <a16:creationId xmlns:a16="http://schemas.microsoft.com/office/drawing/2014/main" id="{3DE0E646-3932-4C85-B367-D7385C416577}"/>
                </a:ext>
              </a:extLst>
            </p:cNvPr>
            <p:cNvSpPr/>
            <p:nvPr/>
          </p:nvSpPr>
          <p:spPr>
            <a:xfrm rot="8716295">
              <a:off x="7791049" y="352793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9" name="Forme libre : forme 1158">
              <a:extLst>
                <a:ext uri="{FF2B5EF4-FFF2-40B4-BE49-F238E27FC236}">
                  <a16:creationId xmlns:a16="http://schemas.microsoft.com/office/drawing/2014/main" id="{340EEC8A-A514-4289-B2AE-301D73A339EB}"/>
                </a:ext>
              </a:extLst>
            </p:cNvPr>
            <p:cNvSpPr/>
            <p:nvPr/>
          </p:nvSpPr>
          <p:spPr>
            <a:xfrm rot="8716295">
              <a:off x="7666147" y="331926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0" name="Forme libre : forme 1159">
              <a:extLst>
                <a:ext uri="{FF2B5EF4-FFF2-40B4-BE49-F238E27FC236}">
                  <a16:creationId xmlns:a16="http://schemas.microsoft.com/office/drawing/2014/main" id="{BBF08D7F-AB50-4F5F-92DC-B2A874D297A9}"/>
                </a:ext>
              </a:extLst>
            </p:cNvPr>
            <p:cNvSpPr/>
            <p:nvPr/>
          </p:nvSpPr>
          <p:spPr>
            <a:xfrm rot="8716295">
              <a:off x="7881227" y="3568885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1" name="Forme libre : forme 1160">
              <a:extLst>
                <a:ext uri="{FF2B5EF4-FFF2-40B4-BE49-F238E27FC236}">
                  <a16:creationId xmlns:a16="http://schemas.microsoft.com/office/drawing/2014/main" id="{AF11B51D-4A34-4A10-8CC2-9BAFA07FF6D7}"/>
                </a:ext>
              </a:extLst>
            </p:cNvPr>
            <p:cNvSpPr/>
            <p:nvPr/>
          </p:nvSpPr>
          <p:spPr>
            <a:xfrm rot="8716295">
              <a:off x="7639776" y="341928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2" name="Forme libre : forme 1161">
              <a:extLst>
                <a:ext uri="{FF2B5EF4-FFF2-40B4-BE49-F238E27FC236}">
                  <a16:creationId xmlns:a16="http://schemas.microsoft.com/office/drawing/2014/main" id="{19A2DF71-5EF9-42D2-9E22-9A592E16CE1F}"/>
                </a:ext>
              </a:extLst>
            </p:cNvPr>
            <p:cNvSpPr/>
            <p:nvPr/>
          </p:nvSpPr>
          <p:spPr>
            <a:xfrm rot="7484129">
              <a:off x="7986158" y="376023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3" name="Forme libre : forme 1162">
              <a:extLst>
                <a:ext uri="{FF2B5EF4-FFF2-40B4-BE49-F238E27FC236}">
                  <a16:creationId xmlns:a16="http://schemas.microsoft.com/office/drawing/2014/main" id="{ECF89376-999C-4FB6-A0B0-CD63B4196AF0}"/>
                </a:ext>
              </a:extLst>
            </p:cNvPr>
            <p:cNvSpPr/>
            <p:nvPr/>
          </p:nvSpPr>
          <p:spPr>
            <a:xfrm rot="13089394">
              <a:off x="8090978" y="3726770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4" name="Forme libre : forme 1163">
              <a:extLst>
                <a:ext uri="{FF2B5EF4-FFF2-40B4-BE49-F238E27FC236}">
                  <a16:creationId xmlns:a16="http://schemas.microsoft.com/office/drawing/2014/main" id="{2FB7576F-977D-487A-A779-FFB16DC20CBE}"/>
                </a:ext>
              </a:extLst>
            </p:cNvPr>
            <p:cNvSpPr/>
            <p:nvPr/>
          </p:nvSpPr>
          <p:spPr>
            <a:xfrm rot="8716295">
              <a:off x="8276563" y="3535089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5" name="Forme libre : forme 1164">
              <a:extLst>
                <a:ext uri="{FF2B5EF4-FFF2-40B4-BE49-F238E27FC236}">
                  <a16:creationId xmlns:a16="http://schemas.microsoft.com/office/drawing/2014/main" id="{B3B583BE-52BB-4659-A9E4-9638AD2373BB}"/>
                </a:ext>
              </a:extLst>
            </p:cNvPr>
            <p:cNvSpPr/>
            <p:nvPr/>
          </p:nvSpPr>
          <p:spPr>
            <a:xfrm rot="8716295">
              <a:off x="8224758" y="343149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6" name="Forme libre : forme 1165">
              <a:extLst>
                <a:ext uri="{FF2B5EF4-FFF2-40B4-BE49-F238E27FC236}">
                  <a16:creationId xmlns:a16="http://schemas.microsoft.com/office/drawing/2014/main" id="{C7154427-FACD-42B2-ADC3-A6FEB97A7B7A}"/>
                </a:ext>
              </a:extLst>
            </p:cNvPr>
            <p:cNvSpPr/>
            <p:nvPr/>
          </p:nvSpPr>
          <p:spPr>
            <a:xfrm rot="8716295">
              <a:off x="7981512" y="346171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7" name="Forme libre : forme 1166">
              <a:extLst>
                <a:ext uri="{FF2B5EF4-FFF2-40B4-BE49-F238E27FC236}">
                  <a16:creationId xmlns:a16="http://schemas.microsoft.com/office/drawing/2014/main" id="{846AA465-4FEC-4EA7-9F46-8AC26FB6F4CA}"/>
                </a:ext>
              </a:extLst>
            </p:cNvPr>
            <p:cNvSpPr/>
            <p:nvPr/>
          </p:nvSpPr>
          <p:spPr>
            <a:xfrm rot="8716295">
              <a:off x="8158964" y="330247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8" name="Forme libre : forme 1167">
              <a:extLst>
                <a:ext uri="{FF2B5EF4-FFF2-40B4-BE49-F238E27FC236}">
                  <a16:creationId xmlns:a16="http://schemas.microsoft.com/office/drawing/2014/main" id="{1C5A03CD-5F8E-4F7E-B077-E3D486F6E4FC}"/>
                </a:ext>
              </a:extLst>
            </p:cNvPr>
            <p:cNvSpPr/>
            <p:nvPr/>
          </p:nvSpPr>
          <p:spPr>
            <a:xfrm rot="8716295">
              <a:off x="7837351" y="434924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69" name="Forme libre : forme 1168">
              <a:extLst>
                <a:ext uri="{FF2B5EF4-FFF2-40B4-BE49-F238E27FC236}">
                  <a16:creationId xmlns:a16="http://schemas.microsoft.com/office/drawing/2014/main" id="{A3C54C69-E017-421B-9FCB-48E02E5B88D5}"/>
                </a:ext>
              </a:extLst>
            </p:cNvPr>
            <p:cNvSpPr/>
            <p:nvPr/>
          </p:nvSpPr>
          <p:spPr>
            <a:xfrm rot="8716295">
              <a:off x="7926743" y="437848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0" name="Forme libre : forme 1169">
              <a:extLst>
                <a:ext uri="{FF2B5EF4-FFF2-40B4-BE49-F238E27FC236}">
                  <a16:creationId xmlns:a16="http://schemas.microsoft.com/office/drawing/2014/main" id="{8629CE69-864F-4EE6-B494-A17DC76E667F}"/>
                </a:ext>
              </a:extLst>
            </p:cNvPr>
            <p:cNvSpPr/>
            <p:nvPr/>
          </p:nvSpPr>
          <p:spPr>
            <a:xfrm rot="8716295">
              <a:off x="7881893" y="4292202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1" name="Forme libre : forme 1170">
              <a:extLst>
                <a:ext uri="{FF2B5EF4-FFF2-40B4-BE49-F238E27FC236}">
                  <a16:creationId xmlns:a16="http://schemas.microsoft.com/office/drawing/2014/main" id="{F6A5667A-39C4-44BA-804E-5395FBF424A8}"/>
                </a:ext>
              </a:extLst>
            </p:cNvPr>
            <p:cNvSpPr/>
            <p:nvPr/>
          </p:nvSpPr>
          <p:spPr>
            <a:xfrm rot="8716295">
              <a:off x="7725117" y="443778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2" name="Forme libre : forme 1171">
              <a:extLst>
                <a:ext uri="{FF2B5EF4-FFF2-40B4-BE49-F238E27FC236}">
                  <a16:creationId xmlns:a16="http://schemas.microsoft.com/office/drawing/2014/main" id="{66550BB0-7261-45C4-B672-89C2B638E15A}"/>
                </a:ext>
              </a:extLst>
            </p:cNvPr>
            <p:cNvSpPr/>
            <p:nvPr/>
          </p:nvSpPr>
          <p:spPr>
            <a:xfrm rot="8716295">
              <a:off x="7600214" y="422911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3" name="Forme libre : forme 1172">
              <a:extLst>
                <a:ext uri="{FF2B5EF4-FFF2-40B4-BE49-F238E27FC236}">
                  <a16:creationId xmlns:a16="http://schemas.microsoft.com/office/drawing/2014/main" id="{420EB997-CA34-4E05-86E2-81CD1690B28B}"/>
                </a:ext>
              </a:extLst>
            </p:cNvPr>
            <p:cNvSpPr/>
            <p:nvPr/>
          </p:nvSpPr>
          <p:spPr>
            <a:xfrm rot="8716295">
              <a:off x="7588162" y="4090331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4" name="Forme libre : forme 1173">
              <a:extLst>
                <a:ext uri="{FF2B5EF4-FFF2-40B4-BE49-F238E27FC236}">
                  <a16:creationId xmlns:a16="http://schemas.microsoft.com/office/drawing/2014/main" id="{F89D5A3F-20B8-4A58-8C23-93C433B8124B}"/>
                </a:ext>
              </a:extLst>
            </p:cNvPr>
            <p:cNvSpPr/>
            <p:nvPr/>
          </p:nvSpPr>
          <p:spPr>
            <a:xfrm rot="8716295">
              <a:off x="7815295" y="4478736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5" name="Forme libre : forme 1174">
              <a:extLst>
                <a:ext uri="{FF2B5EF4-FFF2-40B4-BE49-F238E27FC236}">
                  <a16:creationId xmlns:a16="http://schemas.microsoft.com/office/drawing/2014/main" id="{3D6899F7-E78B-45C3-8C5E-9B72454B3CE5}"/>
                </a:ext>
              </a:extLst>
            </p:cNvPr>
            <p:cNvSpPr/>
            <p:nvPr/>
          </p:nvSpPr>
          <p:spPr>
            <a:xfrm rot="8716295">
              <a:off x="8126450" y="409908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6" name="Forme libre : forme 1175">
              <a:extLst>
                <a:ext uri="{FF2B5EF4-FFF2-40B4-BE49-F238E27FC236}">
                  <a16:creationId xmlns:a16="http://schemas.microsoft.com/office/drawing/2014/main" id="{4BE7A350-33AF-4013-BE12-592AC789A5B0}"/>
                </a:ext>
              </a:extLst>
            </p:cNvPr>
            <p:cNvSpPr/>
            <p:nvPr/>
          </p:nvSpPr>
          <p:spPr>
            <a:xfrm rot="8716295">
              <a:off x="8215842" y="412833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7" name="Forme libre : forme 1176">
              <a:extLst>
                <a:ext uri="{FF2B5EF4-FFF2-40B4-BE49-F238E27FC236}">
                  <a16:creationId xmlns:a16="http://schemas.microsoft.com/office/drawing/2014/main" id="{8CC775CD-B94F-4EE8-84DE-64B0E72EE88B}"/>
                </a:ext>
              </a:extLst>
            </p:cNvPr>
            <p:cNvSpPr/>
            <p:nvPr/>
          </p:nvSpPr>
          <p:spPr>
            <a:xfrm rot="8716295">
              <a:off x="8014216" y="418763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8" name="Forme libre : forme 1177">
              <a:extLst>
                <a:ext uri="{FF2B5EF4-FFF2-40B4-BE49-F238E27FC236}">
                  <a16:creationId xmlns:a16="http://schemas.microsoft.com/office/drawing/2014/main" id="{D5C7DC3C-BE17-4FC7-B720-096C91CE00BF}"/>
                </a:ext>
              </a:extLst>
            </p:cNvPr>
            <p:cNvSpPr/>
            <p:nvPr/>
          </p:nvSpPr>
          <p:spPr>
            <a:xfrm rot="8716295">
              <a:off x="7889314" y="397895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9" name="Forme libre : forme 1178">
              <a:extLst>
                <a:ext uri="{FF2B5EF4-FFF2-40B4-BE49-F238E27FC236}">
                  <a16:creationId xmlns:a16="http://schemas.microsoft.com/office/drawing/2014/main" id="{6BDC2261-090A-49AA-8E70-A2121C18643A}"/>
                </a:ext>
              </a:extLst>
            </p:cNvPr>
            <p:cNvSpPr/>
            <p:nvPr/>
          </p:nvSpPr>
          <p:spPr>
            <a:xfrm rot="8716295">
              <a:off x="8104394" y="4228584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0" name="Forme libre : forme 1179">
              <a:extLst>
                <a:ext uri="{FF2B5EF4-FFF2-40B4-BE49-F238E27FC236}">
                  <a16:creationId xmlns:a16="http://schemas.microsoft.com/office/drawing/2014/main" id="{E0B0FE31-338C-48EF-82D0-84F5E36B60EC}"/>
                </a:ext>
              </a:extLst>
            </p:cNvPr>
            <p:cNvSpPr/>
            <p:nvPr/>
          </p:nvSpPr>
          <p:spPr>
            <a:xfrm rot="8716295">
              <a:off x="7862943" y="4078984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1" name="Forme libre : forme 1180">
              <a:extLst>
                <a:ext uri="{FF2B5EF4-FFF2-40B4-BE49-F238E27FC236}">
                  <a16:creationId xmlns:a16="http://schemas.microsoft.com/office/drawing/2014/main" id="{0109B29D-4E66-45E1-8B31-E15A265250AC}"/>
                </a:ext>
              </a:extLst>
            </p:cNvPr>
            <p:cNvSpPr/>
            <p:nvPr/>
          </p:nvSpPr>
          <p:spPr>
            <a:xfrm rot="7484129">
              <a:off x="8209325" y="441993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2" name="Forme libre : forme 1181">
              <a:extLst>
                <a:ext uri="{FF2B5EF4-FFF2-40B4-BE49-F238E27FC236}">
                  <a16:creationId xmlns:a16="http://schemas.microsoft.com/office/drawing/2014/main" id="{3FAC18C9-44B5-40A5-96E0-CFC26768C4D4}"/>
                </a:ext>
              </a:extLst>
            </p:cNvPr>
            <p:cNvSpPr/>
            <p:nvPr/>
          </p:nvSpPr>
          <p:spPr>
            <a:xfrm rot="13089394">
              <a:off x="8314145" y="4386469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3" name="Forme libre : forme 1182">
              <a:extLst>
                <a:ext uri="{FF2B5EF4-FFF2-40B4-BE49-F238E27FC236}">
                  <a16:creationId xmlns:a16="http://schemas.microsoft.com/office/drawing/2014/main" id="{4E3D2B23-BEFF-40D9-B6DB-37F124FD3C95}"/>
                </a:ext>
              </a:extLst>
            </p:cNvPr>
            <p:cNvSpPr/>
            <p:nvPr/>
          </p:nvSpPr>
          <p:spPr>
            <a:xfrm rot="8716295">
              <a:off x="8499730" y="4194788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4" name="Forme libre : forme 1183">
              <a:extLst>
                <a:ext uri="{FF2B5EF4-FFF2-40B4-BE49-F238E27FC236}">
                  <a16:creationId xmlns:a16="http://schemas.microsoft.com/office/drawing/2014/main" id="{28DC055A-3C20-403E-B18A-B01A6D4D41D9}"/>
                </a:ext>
              </a:extLst>
            </p:cNvPr>
            <p:cNvSpPr/>
            <p:nvPr/>
          </p:nvSpPr>
          <p:spPr>
            <a:xfrm rot="8716295">
              <a:off x="8447925" y="4091195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5" name="Forme libre : forme 1184">
              <a:extLst>
                <a:ext uri="{FF2B5EF4-FFF2-40B4-BE49-F238E27FC236}">
                  <a16:creationId xmlns:a16="http://schemas.microsoft.com/office/drawing/2014/main" id="{4FC27D3B-4F75-4013-B2B8-3865EB368D2F}"/>
                </a:ext>
              </a:extLst>
            </p:cNvPr>
            <p:cNvSpPr/>
            <p:nvPr/>
          </p:nvSpPr>
          <p:spPr>
            <a:xfrm rot="8716295">
              <a:off x="8204679" y="412141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6" name="Forme libre : forme 1185">
              <a:extLst>
                <a:ext uri="{FF2B5EF4-FFF2-40B4-BE49-F238E27FC236}">
                  <a16:creationId xmlns:a16="http://schemas.microsoft.com/office/drawing/2014/main" id="{AA78BC68-C129-41C5-BCC5-3BDBF1C6DDA8}"/>
                </a:ext>
              </a:extLst>
            </p:cNvPr>
            <p:cNvSpPr/>
            <p:nvPr/>
          </p:nvSpPr>
          <p:spPr>
            <a:xfrm rot="8716295">
              <a:off x="8382131" y="396217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7" name="Forme libre : forme 1186">
              <a:extLst>
                <a:ext uri="{FF2B5EF4-FFF2-40B4-BE49-F238E27FC236}">
                  <a16:creationId xmlns:a16="http://schemas.microsoft.com/office/drawing/2014/main" id="{AB1FFA2C-792B-47BA-B840-8265A523ABB9}"/>
                </a:ext>
              </a:extLst>
            </p:cNvPr>
            <p:cNvSpPr/>
            <p:nvPr/>
          </p:nvSpPr>
          <p:spPr>
            <a:xfrm rot="8716295">
              <a:off x="6950829" y="171047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8" name="Forme libre : forme 1187">
              <a:extLst>
                <a:ext uri="{FF2B5EF4-FFF2-40B4-BE49-F238E27FC236}">
                  <a16:creationId xmlns:a16="http://schemas.microsoft.com/office/drawing/2014/main" id="{1340850E-4196-4DCD-9404-99CDA26BEA50}"/>
                </a:ext>
              </a:extLst>
            </p:cNvPr>
            <p:cNvSpPr/>
            <p:nvPr/>
          </p:nvSpPr>
          <p:spPr>
            <a:xfrm rot="8716295">
              <a:off x="7040221" y="173971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9" name="Forme libre : forme 1188">
              <a:extLst>
                <a:ext uri="{FF2B5EF4-FFF2-40B4-BE49-F238E27FC236}">
                  <a16:creationId xmlns:a16="http://schemas.microsoft.com/office/drawing/2014/main" id="{E59EE44C-1FC2-4EAA-9CFD-E7A5FA798CFB}"/>
                </a:ext>
              </a:extLst>
            </p:cNvPr>
            <p:cNvSpPr/>
            <p:nvPr/>
          </p:nvSpPr>
          <p:spPr>
            <a:xfrm rot="8716295">
              <a:off x="6995371" y="165343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0" name="Forme libre : forme 1189">
              <a:extLst>
                <a:ext uri="{FF2B5EF4-FFF2-40B4-BE49-F238E27FC236}">
                  <a16:creationId xmlns:a16="http://schemas.microsoft.com/office/drawing/2014/main" id="{C6B79EE2-6C49-4D52-A8CF-44579DD6EFF4}"/>
                </a:ext>
              </a:extLst>
            </p:cNvPr>
            <p:cNvSpPr/>
            <p:nvPr/>
          </p:nvSpPr>
          <p:spPr>
            <a:xfrm rot="8716295">
              <a:off x="6838595" y="179901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1" name="Forme libre : forme 1190">
              <a:extLst>
                <a:ext uri="{FF2B5EF4-FFF2-40B4-BE49-F238E27FC236}">
                  <a16:creationId xmlns:a16="http://schemas.microsoft.com/office/drawing/2014/main" id="{C13E9905-F473-4E72-BA1A-3BCA03F6BE9A}"/>
                </a:ext>
              </a:extLst>
            </p:cNvPr>
            <p:cNvSpPr/>
            <p:nvPr/>
          </p:nvSpPr>
          <p:spPr>
            <a:xfrm rot="8716295">
              <a:off x="6713692" y="159034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2" name="Forme libre : forme 1191">
              <a:extLst>
                <a:ext uri="{FF2B5EF4-FFF2-40B4-BE49-F238E27FC236}">
                  <a16:creationId xmlns:a16="http://schemas.microsoft.com/office/drawing/2014/main" id="{40BA29EB-56BC-4FAD-86A4-0A628B321930}"/>
                </a:ext>
              </a:extLst>
            </p:cNvPr>
            <p:cNvSpPr/>
            <p:nvPr/>
          </p:nvSpPr>
          <p:spPr>
            <a:xfrm rot="8716295">
              <a:off x="6701640" y="145156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3" name="Forme libre : forme 1192">
              <a:extLst>
                <a:ext uri="{FF2B5EF4-FFF2-40B4-BE49-F238E27FC236}">
                  <a16:creationId xmlns:a16="http://schemas.microsoft.com/office/drawing/2014/main" id="{95F7CF15-1FFD-4AFF-91F7-2E7EEF3CE144}"/>
                </a:ext>
              </a:extLst>
            </p:cNvPr>
            <p:cNvSpPr/>
            <p:nvPr/>
          </p:nvSpPr>
          <p:spPr>
            <a:xfrm rot="8716295">
              <a:off x="6928773" y="183996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4" name="Forme libre : forme 1193">
              <a:extLst>
                <a:ext uri="{FF2B5EF4-FFF2-40B4-BE49-F238E27FC236}">
                  <a16:creationId xmlns:a16="http://schemas.microsoft.com/office/drawing/2014/main" id="{947C422F-B3CC-4BA9-A815-4BFF8E1CD09A}"/>
                </a:ext>
              </a:extLst>
            </p:cNvPr>
            <p:cNvSpPr/>
            <p:nvPr/>
          </p:nvSpPr>
          <p:spPr>
            <a:xfrm rot="8716295">
              <a:off x="7239928" y="146032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5" name="Forme libre : forme 1194">
              <a:extLst>
                <a:ext uri="{FF2B5EF4-FFF2-40B4-BE49-F238E27FC236}">
                  <a16:creationId xmlns:a16="http://schemas.microsoft.com/office/drawing/2014/main" id="{EA8D18A5-23F7-4D1E-A33B-42E161986869}"/>
                </a:ext>
              </a:extLst>
            </p:cNvPr>
            <p:cNvSpPr/>
            <p:nvPr/>
          </p:nvSpPr>
          <p:spPr>
            <a:xfrm rot="8716295">
              <a:off x="7329320" y="1489562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6" name="Forme libre : forme 1195">
              <a:extLst>
                <a:ext uri="{FF2B5EF4-FFF2-40B4-BE49-F238E27FC236}">
                  <a16:creationId xmlns:a16="http://schemas.microsoft.com/office/drawing/2014/main" id="{90520389-A6A6-49A2-BB39-41FD8B6EF60F}"/>
                </a:ext>
              </a:extLst>
            </p:cNvPr>
            <p:cNvSpPr/>
            <p:nvPr/>
          </p:nvSpPr>
          <p:spPr>
            <a:xfrm rot="8716295">
              <a:off x="7127694" y="154886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7" name="Forme libre : forme 1196">
              <a:extLst>
                <a:ext uri="{FF2B5EF4-FFF2-40B4-BE49-F238E27FC236}">
                  <a16:creationId xmlns:a16="http://schemas.microsoft.com/office/drawing/2014/main" id="{EE879CA0-425E-4E55-AC41-43CE23168272}"/>
                </a:ext>
              </a:extLst>
            </p:cNvPr>
            <p:cNvSpPr/>
            <p:nvPr/>
          </p:nvSpPr>
          <p:spPr>
            <a:xfrm rot="8716295">
              <a:off x="7002792" y="134019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8" name="Forme libre : forme 1197">
              <a:extLst>
                <a:ext uri="{FF2B5EF4-FFF2-40B4-BE49-F238E27FC236}">
                  <a16:creationId xmlns:a16="http://schemas.microsoft.com/office/drawing/2014/main" id="{CC45E380-8DC0-4437-8CAE-10BBE8319094}"/>
                </a:ext>
              </a:extLst>
            </p:cNvPr>
            <p:cNvSpPr/>
            <p:nvPr/>
          </p:nvSpPr>
          <p:spPr>
            <a:xfrm rot="8716295">
              <a:off x="7217872" y="158981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9" name="Forme libre : forme 1198">
              <a:extLst>
                <a:ext uri="{FF2B5EF4-FFF2-40B4-BE49-F238E27FC236}">
                  <a16:creationId xmlns:a16="http://schemas.microsoft.com/office/drawing/2014/main" id="{A7F354BB-9DA2-43FD-82DC-9135B0A54746}"/>
                </a:ext>
              </a:extLst>
            </p:cNvPr>
            <p:cNvSpPr/>
            <p:nvPr/>
          </p:nvSpPr>
          <p:spPr>
            <a:xfrm rot="8716295">
              <a:off x="6976421" y="144021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0" name="Forme libre : forme 1199">
              <a:extLst>
                <a:ext uri="{FF2B5EF4-FFF2-40B4-BE49-F238E27FC236}">
                  <a16:creationId xmlns:a16="http://schemas.microsoft.com/office/drawing/2014/main" id="{629D5918-99E3-4AFB-9828-C7C893447217}"/>
                </a:ext>
              </a:extLst>
            </p:cNvPr>
            <p:cNvSpPr/>
            <p:nvPr/>
          </p:nvSpPr>
          <p:spPr>
            <a:xfrm rot="7484129">
              <a:off x="7322803" y="178116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1" name="Forme libre : forme 1200">
              <a:extLst>
                <a:ext uri="{FF2B5EF4-FFF2-40B4-BE49-F238E27FC236}">
                  <a16:creationId xmlns:a16="http://schemas.microsoft.com/office/drawing/2014/main" id="{2B5BC839-D232-40BF-9839-AF973EE23896}"/>
                </a:ext>
              </a:extLst>
            </p:cNvPr>
            <p:cNvSpPr/>
            <p:nvPr/>
          </p:nvSpPr>
          <p:spPr>
            <a:xfrm rot="13089394">
              <a:off x="7427623" y="1747701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2" name="Forme libre : forme 1201">
              <a:extLst>
                <a:ext uri="{FF2B5EF4-FFF2-40B4-BE49-F238E27FC236}">
                  <a16:creationId xmlns:a16="http://schemas.microsoft.com/office/drawing/2014/main" id="{17F8EB19-741C-4F5D-8114-83E4E38C0BD0}"/>
                </a:ext>
              </a:extLst>
            </p:cNvPr>
            <p:cNvSpPr/>
            <p:nvPr/>
          </p:nvSpPr>
          <p:spPr>
            <a:xfrm rot="8716295">
              <a:off x="7613208" y="1556020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3" name="Forme libre : forme 1202">
              <a:extLst>
                <a:ext uri="{FF2B5EF4-FFF2-40B4-BE49-F238E27FC236}">
                  <a16:creationId xmlns:a16="http://schemas.microsoft.com/office/drawing/2014/main" id="{72D1D28C-63E4-4163-9C3E-64676831F0B1}"/>
                </a:ext>
              </a:extLst>
            </p:cNvPr>
            <p:cNvSpPr/>
            <p:nvPr/>
          </p:nvSpPr>
          <p:spPr>
            <a:xfrm rot="8716295">
              <a:off x="7561403" y="145242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4" name="Forme libre : forme 1203">
              <a:extLst>
                <a:ext uri="{FF2B5EF4-FFF2-40B4-BE49-F238E27FC236}">
                  <a16:creationId xmlns:a16="http://schemas.microsoft.com/office/drawing/2014/main" id="{B09D03B7-6104-4FA1-85AD-34E5E1086C66}"/>
                </a:ext>
              </a:extLst>
            </p:cNvPr>
            <p:cNvSpPr/>
            <p:nvPr/>
          </p:nvSpPr>
          <p:spPr>
            <a:xfrm rot="8716295">
              <a:off x="7318157" y="148264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5" name="Forme libre : forme 1204">
              <a:extLst>
                <a:ext uri="{FF2B5EF4-FFF2-40B4-BE49-F238E27FC236}">
                  <a16:creationId xmlns:a16="http://schemas.microsoft.com/office/drawing/2014/main" id="{DF608D14-5B9F-44E8-A664-3F90091BB211}"/>
                </a:ext>
              </a:extLst>
            </p:cNvPr>
            <p:cNvSpPr/>
            <p:nvPr/>
          </p:nvSpPr>
          <p:spPr>
            <a:xfrm rot="8716295">
              <a:off x="7495609" y="1323406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6" name="Forme libre : forme 1205">
              <a:extLst>
                <a:ext uri="{FF2B5EF4-FFF2-40B4-BE49-F238E27FC236}">
                  <a16:creationId xmlns:a16="http://schemas.microsoft.com/office/drawing/2014/main" id="{7A151D09-AFBB-4FA0-B1C3-A8DD66CD3D63}"/>
                </a:ext>
              </a:extLst>
            </p:cNvPr>
            <p:cNvSpPr/>
            <p:nvPr/>
          </p:nvSpPr>
          <p:spPr>
            <a:xfrm rot="8716295">
              <a:off x="6727662" y="105077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7" name="Forme libre : forme 1206">
              <a:extLst>
                <a:ext uri="{FF2B5EF4-FFF2-40B4-BE49-F238E27FC236}">
                  <a16:creationId xmlns:a16="http://schemas.microsoft.com/office/drawing/2014/main" id="{537DC097-29D2-46CB-98BF-879E7F90C023}"/>
                </a:ext>
              </a:extLst>
            </p:cNvPr>
            <p:cNvSpPr/>
            <p:nvPr/>
          </p:nvSpPr>
          <p:spPr>
            <a:xfrm rot="8716295">
              <a:off x="6817054" y="108001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8" name="Forme libre : forme 1207">
              <a:extLst>
                <a:ext uri="{FF2B5EF4-FFF2-40B4-BE49-F238E27FC236}">
                  <a16:creationId xmlns:a16="http://schemas.microsoft.com/office/drawing/2014/main" id="{2DFEF32C-E4B4-44C9-A69A-253F120A6BFE}"/>
                </a:ext>
              </a:extLst>
            </p:cNvPr>
            <p:cNvSpPr/>
            <p:nvPr/>
          </p:nvSpPr>
          <p:spPr>
            <a:xfrm rot="8716295">
              <a:off x="6772204" y="99373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9" name="Forme libre : forme 1208">
              <a:extLst>
                <a:ext uri="{FF2B5EF4-FFF2-40B4-BE49-F238E27FC236}">
                  <a16:creationId xmlns:a16="http://schemas.microsoft.com/office/drawing/2014/main" id="{414D5FAB-9669-4C92-BDB9-096006C9E3F3}"/>
                </a:ext>
              </a:extLst>
            </p:cNvPr>
            <p:cNvSpPr/>
            <p:nvPr/>
          </p:nvSpPr>
          <p:spPr>
            <a:xfrm rot="8716295">
              <a:off x="6615428" y="113931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0" name="Forme libre : forme 1209">
              <a:extLst>
                <a:ext uri="{FF2B5EF4-FFF2-40B4-BE49-F238E27FC236}">
                  <a16:creationId xmlns:a16="http://schemas.microsoft.com/office/drawing/2014/main" id="{33070C28-3765-49B2-B940-22EBB7C77257}"/>
                </a:ext>
              </a:extLst>
            </p:cNvPr>
            <p:cNvSpPr/>
            <p:nvPr/>
          </p:nvSpPr>
          <p:spPr>
            <a:xfrm rot="8716295">
              <a:off x="6490525" y="93064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1" name="Forme libre : forme 1210">
              <a:extLst>
                <a:ext uri="{FF2B5EF4-FFF2-40B4-BE49-F238E27FC236}">
                  <a16:creationId xmlns:a16="http://schemas.microsoft.com/office/drawing/2014/main" id="{3E91FBF7-F71A-4004-BD6B-3B4CA8CC5BC1}"/>
                </a:ext>
              </a:extLst>
            </p:cNvPr>
            <p:cNvSpPr/>
            <p:nvPr/>
          </p:nvSpPr>
          <p:spPr>
            <a:xfrm rot="8716295">
              <a:off x="6478473" y="79186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2" name="Forme libre : forme 1211">
              <a:extLst>
                <a:ext uri="{FF2B5EF4-FFF2-40B4-BE49-F238E27FC236}">
                  <a16:creationId xmlns:a16="http://schemas.microsoft.com/office/drawing/2014/main" id="{DEC26DC2-9B7C-4ED5-8F46-A9DE3CC1E8F6}"/>
                </a:ext>
              </a:extLst>
            </p:cNvPr>
            <p:cNvSpPr/>
            <p:nvPr/>
          </p:nvSpPr>
          <p:spPr>
            <a:xfrm rot="8716295">
              <a:off x="6705606" y="118026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3" name="Forme libre : forme 1212">
              <a:extLst>
                <a:ext uri="{FF2B5EF4-FFF2-40B4-BE49-F238E27FC236}">
                  <a16:creationId xmlns:a16="http://schemas.microsoft.com/office/drawing/2014/main" id="{AEE9DF08-A4FF-4C9E-9471-932A27226041}"/>
                </a:ext>
              </a:extLst>
            </p:cNvPr>
            <p:cNvSpPr/>
            <p:nvPr/>
          </p:nvSpPr>
          <p:spPr>
            <a:xfrm rot="8716295">
              <a:off x="7016761" y="80062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4" name="Forme libre : forme 1213">
              <a:extLst>
                <a:ext uri="{FF2B5EF4-FFF2-40B4-BE49-F238E27FC236}">
                  <a16:creationId xmlns:a16="http://schemas.microsoft.com/office/drawing/2014/main" id="{A4F04E13-842A-4005-8B9F-7B34EAAE6EED}"/>
                </a:ext>
              </a:extLst>
            </p:cNvPr>
            <p:cNvSpPr/>
            <p:nvPr/>
          </p:nvSpPr>
          <p:spPr>
            <a:xfrm rot="8716295">
              <a:off x="7106153" y="829863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5" name="Forme libre : forme 1214">
              <a:extLst>
                <a:ext uri="{FF2B5EF4-FFF2-40B4-BE49-F238E27FC236}">
                  <a16:creationId xmlns:a16="http://schemas.microsoft.com/office/drawing/2014/main" id="{F5247EBE-0FCF-4EAA-AB3A-810D83F18B0E}"/>
                </a:ext>
              </a:extLst>
            </p:cNvPr>
            <p:cNvSpPr/>
            <p:nvPr/>
          </p:nvSpPr>
          <p:spPr>
            <a:xfrm rot="8716295">
              <a:off x="6904527" y="88916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6" name="Forme libre : forme 1215">
              <a:extLst>
                <a:ext uri="{FF2B5EF4-FFF2-40B4-BE49-F238E27FC236}">
                  <a16:creationId xmlns:a16="http://schemas.microsoft.com/office/drawing/2014/main" id="{C7BAA05C-D979-45BB-B4AB-BF6D372F6625}"/>
                </a:ext>
              </a:extLst>
            </p:cNvPr>
            <p:cNvSpPr/>
            <p:nvPr/>
          </p:nvSpPr>
          <p:spPr>
            <a:xfrm rot="8716295">
              <a:off x="6779625" y="68049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7" name="Forme libre : forme 1216">
              <a:extLst>
                <a:ext uri="{FF2B5EF4-FFF2-40B4-BE49-F238E27FC236}">
                  <a16:creationId xmlns:a16="http://schemas.microsoft.com/office/drawing/2014/main" id="{5E1B5732-0C73-4728-BB7A-E84990C08201}"/>
                </a:ext>
              </a:extLst>
            </p:cNvPr>
            <p:cNvSpPr/>
            <p:nvPr/>
          </p:nvSpPr>
          <p:spPr>
            <a:xfrm rot="8716295">
              <a:off x="6994705" y="930117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8" name="Forme libre : forme 1217">
              <a:extLst>
                <a:ext uri="{FF2B5EF4-FFF2-40B4-BE49-F238E27FC236}">
                  <a16:creationId xmlns:a16="http://schemas.microsoft.com/office/drawing/2014/main" id="{C9672C88-6D83-47B9-B7AE-2C7AC95A35BB}"/>
                </a:ext>
              </a:extLst>
            </p:cNvPr>
            <p:cNvSpPr/>
            <p:nvPr/>
          </p:nvSpPr>
          <p:spPr>
            <a:xfrm rot="8716295">
              <a:off x="6753254" y="78051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9" name="Forme libre : forme 1218">
              <a:extLst>
                <a:ext uri="{FF2B5EF4-FFF2-40B4-BE49-F238E27FC236}">
                  <a16:creationId xmlns:a16="http://schemas.microsoft.com/office/drawing/2014/main" id="{7E8C7D36-8D7B-4EC3-8272-B128D4C63C8D}"/>
                </a:ext>
              </a:extLst>
            </p:cNvPr>
            <p:cNvSpPr/>
            <p:nvPr/>
          </p:nvSpPr>
          <p:spPr>
            <a:xfrm rot="7484129">
              <a:off x="7099636" y="112146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0" name="Forme libre : forme 1219">
              <a:extLst>
                <a:ext uri="{FF2B5EF4-FFF2-40B4-BE49-F238E27FC236}">
                  <a16:creationId xmlns:a16="http://schemas.microsoft.com/office/drawing/2014/main" id="{328F1E42-AB6A-4F60-8C64-A19DEE7C769E}"/>
                </a:ext>
              </a:extLst>
            </p:cNvPr>
            <p:cNvSpPr/>
            <p:nvPr/>
          </p:nvSpPr>
          <p:spPr>
            <a:xfrm rot="13089394">
              <a:off x="7204456" y="1088002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1" name="Forme libre : forme 1220">
              <a:extLst>
                <a:ext uri="{FF2B5EF4-FFF2-40B4-BE49-F238E27FC236}">
                  <a16:creationId xmlns:a16="http://schemas.microsoft.com/office/drawing/2014/main" id="{509D4D12-E9CA-410B-BB0F-D0713E56A398}"/>
                </a:ext>
              </a:extLst>
            </p:cNvPr>
            <p:cNvSpPr/>
            <p:nvPr/>
          </p:nvSpPr>
          <p:spPr>
            <a:xfrm rot="8716295">
              <a:off x="7390041" y="896321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2" name="Forme libre : forme 1221">
              <a:extLst>
                <a:ext uri="{FF2B5EF4-FFF2-40B4-BE49-F238E27FC236}">
                  <a16:creationId xmlns:a16="http://schemas.microsoft.com/office/drawing/2014/main" id="{830904F0-D47A-4A6A-8ABD-BDF673EC72D4}"/>
                </a:ext>
              </a:extLst>
            </p:cNvPr>
            <p:cNvSpPr/>
            <p:nvPr/>
          </p:nvSpPr>
          <p:spPr>
            <a:xfrm rot="8716295">
              <a:off x="7338236" y="792728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3" name="Forme libre : forme 1222">
              <a:extLst>
                <a:ext uri="{FF2B5EF4-FFF2-40B4-BE49-F238E27FC236}">
                  <a16:creationId xmlns:a16="http://schemas.microsoft.com/office/drawing/2014/main" id="{B303CAC1-0497-41B6-AE51-AFDB58DA234D}"/>
                </a:ext>
              </a:extLst>
            </p:cNvPr>
            <p:cNvSpPr/>
            <p:nvPr/>
          </p:nvSpPr>
          <p:spPr>
            <a:xfrm rot="8716295">
              <a:off x="7094990" y="82294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4" name="Forme libre : forme 1223">
              <a:extLst>
                <a:ext uri="{FF2B5EF4-FFF2-40B4-BE49-F238E27FC236}">
                  <a16:creationId xmlns:a16="http://schemas.microsoft.com/office/drawing/2014/main" id="{7AB18378-0E44-4AB1-8DD6-2E92F7CD14AF}"/>
                </a:ext>
              </a:extLst>
            </p:cNvPr>
            <p:cNvSpPr/>
            <p:nvPr/>
          </p:nvSpPr>
          <p:spPr>
            <a:xfrm rot="8716295">
              <a:off x="7272442" y="663707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5" name="Forme libre : forme 1224">
              <a:extLst>
                <a:ext uri="{FF2B5EF4-FFF2-40B4-BE49-F238E27FC236}">
                  <a16:creationId xmlns:a16="http://schemas.microsoft.com/office/drawing/2014/main" id="{F703561A-BE93-421B-BC6A-B698ECD7F8E2}"/>
                </a:ext>
              </a:extLst>
            </p:cNvPr>
            <p:cNvSpPr/>
            <p:nvPr/>
          </p:nvSpPr>
          <p:spPr>
            <a:xfrm rot="8716295">
              <a:off x="6508723" y="38871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6" name="Forme libre : forme 1225">
              <a:extLst>
                <a:ext uri="{FF2B5EF4-FFF2-40B4-BE49-F238E27FC236}">
                  <a16:creationId xmlns:a16="http://schemas.microsoft.com/office/drawing/2014/main" id="{6483B125-4CCB-42BB-A5D9-88213C0491CD}"/>
                </a:ext>
              </a:extLst>
            </p:cNvPr>
            <p:cNvSpPr/>
            <p:nvPr/>
          </p:nvSpPr>
          <p:spPr>
            <a:xfrm rot="8716295">
              <a:off x="6598115" y="41795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7" name="Forme libre : forme 1226">
              <a:extLst>
                <a:ext uri="{FF2B5EF4-FFF2-40B4-BE49-F238E27FC236}">
                  <a16:creationId xmlns:a16="http://schemas.microsoft.com/office/drawing/2014/main" id="{A49BDE23-F77C-4882-B6C8-151A102158FC}"/>
                </a:ext>
              </a:extLst>
            </p:cNvPr>
            <p:cNvSpPr/>
            <p:nvPr/>
          </p:nvSpPr>
          <p:spPr>
            <a:xfrm rot="8716295">
              <a:off x="6553265" y="33167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8" name="Forme libre : forme 1227">
              <a:extLst>
                <a:ext uri="{FF2B5EF4-FFF2-40B4-BE49-F238E27FC236}">
                  <a16:creationId xmlns:a16="http://schemas.microsoft.com/office/drawing/2014/main" id="{C40CBD4D-C196-457C-9A88-EDB02C0969CB}"/>
                </a:ext>
              </a:extLst>
            </p:cNvPr>
            <p:cNvSpPr/>
            <p:nvPr/>
          </p:nvSpPr>
          <p:spPr>
            <a:xfrm rot="8716295">
              <a:off x="6396489" y="47725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9" name="Forme libre : forme 1228">
              <a:extLst>
                <a:ext uri="{FF2B5EF4-FFF2-40B4-BE49-F238E27FC236}">
                  <a16:creationId xmlns:a16="http://schemas.microsoft.com/office/drawing/2014/main" id="{A27EEF75-7221-4666-98E0-0825D37EA836}"/>
                </a:ext>
              </a:extLst>
            </p:cNvPr>
            <p:cNvSpPr/>
            <p:nvPr/>
          </p:nvSpPr>
          <p:spPr>
            <a:xfrm rot="8716295">
              <a:off x="6271586" y="26858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0" name="Forme libre : forme 1229">
              <a:extLst>
                <a:ext uri="{FF2B5EF4-FFF2-40B4-BE49-F238E27FC236}">
                  <a16:creationId xmlns:a16="http://schemas.microsoft.com/office/drawing/2014/main" id="{B5E1367D-C065-41FF-91C9-C5A9486DC9ED}"/>
                </a:ext>
              </a:extLst>
            </p:cNvPr>
            <p:cNvSpPr/>
            <p:nvPr/>
          </p:nvSpPr>
          <p:spPr>
            <a:xfrm rot="8716295">
              <a:off x="6259534" y="12980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1" name="Forme libre : forme 1230">
              <a:extLst>
                <a:ext uri="{FF2B5EF4-FFF2-40B4-BE49-F238E27FC236}">
                  <a16:creationId xmlns:a16="http://schemas.microsoft.com/office/drawing/2014/main" id="{1913EF5B-0FAD-4DB9-AE2C-65D6AB9888CC}"/>
                </a:ext>
              </a:extLst>
            </p:cNvPr>
            <p:cNvSpPr/>
            <p:nvPr/>
          </p:nvSpPr>
          <p:spPr>
            <a:xfrm rot="8716295">
              <a:off x="6486667" y="51821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2" name="Forme libre : forme 1231">
              <a:extLst>
                <a:ext uri="{FF2B5EF4-FFF2-40B4-BE49-F238E27FC236}">
                  <a16:creationId xmlns:a16="http://schemas.microsoft.com/office/drawing/2014/main" id="{EC81A569-5FA3-4248-96EC-9B1D26C84996}"/>
                </a:ext>
              </a:extLst>
            </p:cNvPr>
            <p:cNvSpPr/>
            <p:nvPr/>
          </p:nvSpPr>
          <p:spPr>
            <a:xfrm rot="8716295">
              <a:off x="6797822" y="13856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3" name="Forme libre : forme 1232">
              <a:extLst>
                <a:ext uri="{FF2B5EF4-FFF2-40B4-BE49-F238E27FC236}">
                  <a16:creationId xmlns:a16="http://schemas.microsoft.com/office/drawing/2014/main" id="{A22DBA90-02BD-4F3A-BDB3-FE0902AA9AB8}"/>
                </a:ext>
              </a:extLst>
            </p:cNvPr>
            <p:cNvSpPr/>
            <p:nvPr/>
          </p:nvSpPr>
          <p:spPr>
            <a:xfrm rot="8716295">
              <a:off x="6887214" y="16780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4" name="Forme libre : forme 1233">
              <a:extLst>
                <a:ext uri="{FF2B5EF4-FFF2-40B4-BE49-F238E27FC236}">
                  <a16:creationId xmlns:a16="http://schemas.microsoft.com/office/drawing/2014/main" id="{FEF05712-8A56-4367-8FEE-945FBECD01B5}"/>
                </a:ext>
              </a:extLst>
            </p:cNvPr>
            <p:cNvSpPr/>
            <p:nvPr/>
          </p:nvSpPr>
          <p:spPr>
            <a:xfrm rot="8716295">
              <a:off x="6685588" y="22710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5" name="Forme libre : forme 1234">
              <a:extLst>
                <a:ext uri="{FF2B5EF4-FFF2-40B4-BE49-F238E27FC236}">
                  <a16:creationId xmlns:a16="http://schemas.microsoft.com/office/drawing/2014/main" id="{2E8C24E9-575D-4C62-9BD6-2C78B3992080}"/>
                </a:ext>
              </a:extLst>
            </p:cNvPr>
            <p:cNvSpPr/>
            <p:nvPr/>
          </p:nvSpPr>
          <p:spPr>
            <a:xfrm rot="8716295">
              <a:off x="6560686" y="1843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6" name="Forme libre : forme 1235">
              <a:extLst>
                <a:ext uri="{FF2B5EF4-FFF2-40B4-BE49-F238E27FC236}">
                  <a16:creationId xmlns:a16="http://schemas.microsoft.com/office/drawing/2014/main" id="{7FFD2C46-732D-4C6D-86D8-43D8100DC4BB}"/>
                </a:ext>
              </a:extLst>
            </p:cNvPr>
            <p:cNvSpPr/>
            <p:nvPr/>
          </p:nvSpPr>
          <p:spPr>
            <a:xfrm rot="8716295">
              <a:off x="6775766" y="26805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7" name="Forme libre : forme 1236">
              <a:extLst>
                <a:ext uri="{FF2B5EF4-FFF2-40B4-BE49-F238E27FC236}">
                  <a16:creationId xmlns:a16="http://schemas.microsoft.com/office/drawing/2014/main" id="{54000F56-7D25-433E-A7C8-6A29B8CAD136}"/>
                </a:ext>
              </a:extLst>
            </p:cNvPr>
            <p:cNvSpPr/>
            <p:nvPr/>
          </p:nvSpPr>
          <p:spPr>
            <a:xfrm rot="8716295">
              <a:off x="6534315" y="11845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8" name="Forme libre : forme 1237">
              <a:extLst>
                <a:ext uri="{FF2B5EF4-FFF2-40B4-BE49-F238E27FC236}">
                  <a16:creationId xmlns:a16="http://schemas.microsoft.com/office/drawing/2014/main" id="{F78F27FF-A989-48C0-90D5-D4D8D52897CB}"/>
                </a:ext>
              </a:extLst>
            </p:cNvPr>
            <p:cNvSpPr/>
            <p:nvPr/>
          </p:nvSpPr>
          <p:spPr>
            <a:xfrm rot="7484129">
              <a:off x="6880697" y="45941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9" name="Forme libre : forme 1238">
              <a:extLst>
                <a:ext uri="{FF2B5EF4-FFF2-40B4-BE49-F238E27FC236}">
                  <a16:creationId xmlns:a16="http://schemas.microsoft.com/office/drawing/2014/main" id="{8DC30F69-7296-48A1-A43C-EC188F89BEA5}"/>
                </a:ext>
              </a:extLst>
            </p:cNvPr>
            <p:cNvSpPr/>
            <p:nvPr/>
          </p:nvSpPr>
          <p:spPr>
            <a:xfrm rot="13089394">
              <a:off x="6985517" y="42594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0" name="Forme libre : forme 1239">
              <a:extLst>
                <a:ext uri="{FF2B5EF4-FFF2-40B4-BE49-F238E27FC236}">
                  <a16:creationId xmlns:a16="http://schemas.microsoft.com/office/drawing/2014/main" id="{D47ED595-5E0B-4FF2-BED8-A5E968958FDA}"/>
                </a:ext>
              </a:extLst>
            </p:cNvPr>
            <p:cNvSpPr/>
            <p:nvPr/>
          </p:nvSpPr>
          <p:spPr>
            <a:xfrm rot="8716295">
              <a:off x="7171102" y="23426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1" name="Forme libre : forme 1240">
              <a:extLst>
                <a:ext uri="{FF2B5EF4-FFF2-40B4-BE49-F238E27FC236}">
                  <a16:creationId xmlns:a16="http://schemas.microsoft.com/office/drawing/2014/main" id="{E870685A-3B15-499C-B93E-DAE343CA274F}"/>
                </a:ext>
              </a:extLst>
            </p:cNvPr>
            <p:cNvSpPr/>
            <p:nvPr/>
          </p:nvSpPr>
          <p:spPr>
            <a:xfrm rot="8716295">
              <a:off x="7119297" y="13067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2" name="Forme libre : forme 1241">
              <a:extLst>
                <a:ext uri="{FF2B5EF4-FFF2-40B4-BE49-F238E27FC236}">
                  <a16:creationId xmlns:a16="http://schemas.microsoft.com/office/drawing/2014/main" id="{25EC0356-F84B-4116-B821-ACE30FB22FFC}"/>
                </a:ext>
              </a:extLst>
            </p:cNvPr>
            <p:cNvSpPr/>
            <p:nvPr/>
          </p:nvSpPr>
          <p:spPr>
            <a:xfrm rot="8716295">
              <a:off x="6876051" y="16089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3" name="Forme libre : forme 1242">
              <a:extLst>
                <a:ext uri="{FF2B5EF4-FFF2-40B4-BE49-F238E27FC236}">
                  <a16:creationId xmlns:a16="http://schemas.microsoft.com/office/drawing/2014/main" id="{C756C41F-43B4-4A5A-9BD8-36D108A4F6F6}"/>
                </a:ext>
              </a:extLst>
            </p:cNvPr>
            <p:cNvSpPr/>
            <p:nvPr/>
          </p:nvSpPr>
          <p:spPr>
            <a:xfrm rot="8716295">
              <a:off x="7053503" y="164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4" name="Forme libre : forme 1243">
              <a:extLst>
                <a:ext uri="{FF2B5EF4-FFF2-40B4-BE49-F238E27FC236}">
                  <a16:creationId xmlns:a16="http://schemas.microsoft.com/office/drawing/2014/main" id="{5023A082-5622-42E1-99CC-B465837313AB}"/>
                </a:ext>
              </a:extLst>
            </p:cNvPr>
            <p:cNvSpPr/>
            <p:nvPr/>
          </p:nvSpPr>
          <p:spPr>
            <a:xfrm rot="8716295">
              <a:off x="6443978" y="-32333"/>
              <a:ext cx="92323" cy="67774"/>
            </a:xfrm>
            <a:custGeom>
              <a:avLst/>
              <a:gdLst>
                <a:gd name="connsiteX0" fmla="*/ 92323 w 92323"/>
                <a:gd name="connsiteY0" fmla="*/ 67774 h 67774"/>
                <a:gd name="connsiteX1" fmla="*/ 0 w 92323"/>
                <a:gd name="connsiteY1" fmla="*/ 3779 h 67774"/>
                <a:gd name="connsiteX2" fmla="*/ 19952 w 92323"/>
                <a:gd name="connsiteY2" fmla="*/ 19 h 67774"/>
                <a:gd name="connsiteX3" fmla="*/ 89989 w 92323"/>
                <a:gd name="connsiteY3" fmla="*/ 50641 h 67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323" h="67774">
                  <a:moveTo>
                    <a:pt x="92323" y="67774"/>
                  </a:moveTo>
                  <a:lnTo>
                    <a:pt x="0" y="3779"/>
                  </a:lnTo>
                  <a:lnTo>
                    <a:pt x="19952" y="19"/>
                  </a:lnTo>
                  <a:cubicBezTo>
                    <a:pt x="55152" y="-664"/>
                    <a:pt x="79843" y="17619"/>
                    <a:pt x="89989" y="5064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5" name="Forme libre : forme 1244">
              <a:extLst>
                <a:ext uri="{FF2B5EF4-FFF2-40B4-BE49-F238E27FC236}">
                  <a16:creationId xmlns:a16="http://schemas.microsoft.com/office/drawing/2014/main" id="{4292D438-03B7-4554-BAAC-30500F05D527}"/>
                </a:ext>
              </a:extLst>
            </p:cNvPr>
            <p:cNvSpPr/>
            <p:nvPr/>
          </p:nvSpPr>
          <p:spPr>
            <a:xfrm rot="8716295">
              <a:off x="6294141" y="-38610"/>
              <a:ext cx="103435" cy="102698"/>
            </a:xfrm>
            <a:custGeom>
              <a:avLst/>
              <a:gdLst>
                <a:gd name="connsiteX0" fmla="*/ 103435 w 103435"/>
                <a:gd name="connsiteY0" fmla="*/ 102698 h 102698"/>
                <a:gd name="connsiteX1" fmla="*/ 43288 w 103435"/>
                <a:gd name="connsiteY1" fmla="*/ 61006 h 102698"/>
                <a:gd name="connsiteX2" fmla="*/ 43288 w 103435"/>
                <a:gd name="connsiteY2" fmla="*/ 16404 h 102698"/>
                <a:gd name="connsiteX3" fmla="*/ 0 w 103435"/>
                <a:gd name="connsiteY3" fmla="*/ 16404 h 102698"/>
                <a:gd name="connsiteX4" fmla="*/ 0 w 103435"/>
                <a:gd name="connsiteY4" fmla="*/ 2279 h 102698"/>
                <a:gd name="connsiteX5" fmla="*/ 103435 w 103435"/>
                <a:gd name="connsiteY5" fmla="*/ 0 h 102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5" h="102698">
                  <a:moveTo>
                    <a:pt x="103435" y="102698"/>
                  </a:moveTo>
                  <a:lnTo>
                    <a:pt x="43288" y="61006"/>
                  </a:lnTo>
                  <a:lnTo>
                    <a:pt x="43288" y="16404"/>
                  </a:lnTo>
                  <a:lnTo>
                    <a:pt x="0" y="16404"/>
                  </a:lnTo>
                  <a:lnTo>
                    <a:pt x="0" y="2279"/>
                  </a:lnTo>
                  <a:cubicBezTo>
                    <a:pt x="32808" y="3645"/>
                    <a:pt x="66983" y="911"/>
                    <a:pt x="10343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6" name="Forme libre : forme 1245">
              <a:extLst>
                <a:ext uri="{FF2B5EF4-FFF2-40B4-BE49-F238E27FC236}">
                  <a16:creationId xmlns:a16="http://schemas.microsoft.com/office/drawing/2014/main" id="{E78BAE53-0890-439D-972C-8E15B622CE74}"/>
                </a:ext>
              </a:extLst>
            </p:cNvPr>
            <p:cNvSpPr/>
            <p:nvPr/>
          </p:nvSpPr>
          <p:spPr>
            <a:xfrm rot="7484129">
              <a:off x="6746550" y="-26340"/>
              <a:ext cx="41571" cy="55323"/>
            </a:xfrm>
            <a:custGeom>
              <a:avLst/>
              <a:gdLst>
                <a:gd name="connsiteX0" fmla="*/ 38358 w 41571"/>
                <a:gd name="connsiteY0" fmla="*/ 55323 h 55323"/>
                <a:gd name="connsiteX1" fmla="*/ 0 w 41571"/>
                <a:gd name="connsiteY1" fmla="*/ 0 h 55323"/>
                <a:gd name="connsiteX2" fmla="*/ 41571 w 41571"/>
                <a:gd name="connsiteY2" fmla="*/ 0 h 55323"/>
                <a:gd name="connsiteX3" fmla="*/ 41571 w 41571"/>
                <a:gd name="connsiteY3" fmla="*/ 55323 h 55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571" h="55323">
                  <a:moveTo>
                    <a:pt x="38358" y="55323"/>
                  </a:moveTo>
                  <a:lnTo>
                    <a:pt x="0" y="0"/>
                  </a:lnTo>
                  <a:lnTo>
                    <a:pt x="41571" y="0"/>
                  </a:lnTo>
                  <a:lnTo>
                    <a:pt x="41571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7" name="Forme libre : forme 1246">
              <a:extLst>
                <a:ext uri="{FF2B5EF4-FFF2-40B4-BE49-F238E27FC236}">
                  <a16:creationId xmlns:a16="http://schemas.microsoft.com/office/drawing/2014/main" id="{D6E1A050-AAB6-49AB-8BF0-F86E9CB3E3ED}"/>
                </a:ext>
              </a:extLst>
            </p:cNvPr>
            <p:cNvSpPr/>
            <p:nvPr/>
          </p:nvSpPr>
          <p:spPr>
            <a:xfrm rot="13089394">
              <a:off x="6891234" y="-41515"/>
              <a:ext cx="74217" cy="174004"/>
            </a:xfrm>
            <a:custGeom>
              <a:avLst/>
              <a:gdLst>
                <a:gd name="connsiteX0" fmla="*/ 74217 w 74217"/>
                <a:gd name="connsiteY0" fmla="*/ 115692 h 174004"/>
                <a:gd name="connsiteX1" fmla="*/ 0 w 74217"/>
                <a:gd name="connsiteY1" fmla="*/ 174004 h 174004"/>
                <a:gd name="connsiteX2" fmla="*/ 0 w 74217"/>
                <a:gd name="connsiteY2" fmla="*/ 38074 h 174004"/>
                <a:gd name="connsiteX3" fmla="*/ 73388 w 74217"/>
                <a:gd name="connsiteY3" fmla="*/ 0 h 17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217" h="174004">
                  <a:moveTo>
                    <a:pt x="74217" y="115692"/>
                  </a:moveTo>
                  <a:lnTo>
                    <a:pt x="0" y="174004"/>
                  </a:lnTo>
                  <a:lnTo>
                    <a:pt x="0" y="38074"/>
                  </a:lnTo>
                  <a:lnTo>
                    <a:pt x="7338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8" name="Forme libre : forme 1247">
              <a:extLst>
                <a:ext uri="{FF2B5EF4-FFF2-40B4-BE49-F238E27FC236}">
                  <a16:creationId xmlns:a16="http://schemas.microsoft.com/office/drawing/2014/main" id="{2A426EB1-69A8-4B8C-95E3-ADCF2B7D8201}"/>
                </a:ext>
              </a:extLst>
            </p:cNvPr>
            <p:cNvSpPr/>
            <p:nvPr/>
          </p:nvSpPr>
          <p:spPr>
            <a:xfrm rot="8716295">
              <a:off x="8238556" y="2542479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9" name="Forme libre : forme 1248">
              <a:extLst>
                <a:ext uri="{FF2B5EF4-FFF2-40B4-BE49-F238E27FC236}">
                  <a16:creationId xmlns:a16="http://schemas.microsoft.com/office/drawing/2014/main" id="{A1136BA6-7E11-4570-BF0A-E022C010F10B}"/>
                </a:ext>
              </a:extLst>
            </p:cNvPr>
            <p:cNvSpPr/>
            <p:nvPr/>
          </p:nvSpPr>
          <p:spPr>
            <a:xfrm rot="8716295">
              <a:off x="8327948" y="2571721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0" name="Forme libre : forme 1249">
              <a:extLst>
                <a:ext uri="{FF2B5EF4-FFF2-40B4-BE49-F238E27FC236}">
                  <a16:creationId xmlns:a16="http://schemas.microsoft.com/office/drawing/2014/main" id="{9E188FF5-EB46-4C83-98D2-A6FBCDBA9974}"/>
                </a:ext>
              </a:extLst>
            </p:cNvPr>
            <p:cNvSpPr/>
            <p:nvPr/>
          </p:nvSpPr>
          <p:spPr>
            <a:xfrm rot="8716295">
              <a:off x="8283098" y="2485441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1" name="Forme libre : forme 1250">
              <a:extLst>
                <a:ext uri="{FF2B5EF4-FFF2-40B4-BE49-F238E27FC236}">
                  <a16:creationId xmlns:a16="http://schemas.microsoft.com/office/drawing/2014/main" id="{0F03884C-9A24-4485-8C8A-520F146E35BD}"/>
                </a:ext>
              </a:extLst>
            </p:cNvPr>
            <p:cNvSpPr/>
            <p:nvPr/>
          </p:nvSpPr>
          <p:spPr>
            <a:xfrm rot="8716295">
              <a:off x="8126322" y="263102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2" name="Forme libre : forme 1251">
              <a:extLst>
                <a:ext uri="{FF2B5EF4-FFF2-40B4-BE49-F238E27FC236}">
                  <a16:creationId xmlns:a16="http://schemas.microsoft.com/office/drawing/2014/main" id="{EA64506B-D82A-4EEA-924F-30E2F79C1B7D}"/>
                </a:ext>
              </a:extLst>
            </p:cNvPr>
            <p:cNvSpPr/>
            <p:nvPr/>
          </p:nvSpPr>
          <p:spPr>
            <a:xfrm rot="8716295">
              <a:off x="8001419" y="24223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3" name="Forme libre : forme 1252">
              <a:extLst>
                <a:ext uri="{FF2B5EF4-FFF2-40B4-BE49-F238E27FC236}">
                  <a16:creationId xmlns:a16="http://schemas.microsoft.com/office/drawing/2014/main" id="{5B8FDB35-6753-4D04-985E-254E87C9982E}"/>
                </a:ext>
              </a:extLst>
            </p:cNvPr>
            <p:cNvSpPr/>
            <p:nvPr/>
          </p:nvSpPr>
          <p:spPr>
            <a:xfrm rot="8716295">
              <a:off x="7989367" y="2283570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4" name="Forme libre : forme 1253">
              <a:extLst>
                <a:ext uri="{FF2B5EF4-FFF2-40B4-BE49-F238E27FC236}">
                  <a16:creationId xmlns:a16="http://schemas.microsoft.com/office/drawing/2014/main" id="{F77402CE-B126-41FD-B060-8753DA6781D5}"/>
                </a:ext>
              </a:extLst>
            </p:cNvPr>
            <p:cNvSpPr/>
            <p:nvPr/>
          </p:nvSpPr>
          <p:spPr>
            <a:xfrm rot="8716295">
              <a:off x="8216500" y="2671975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5" name="Forme libre : forme 1254">
              <a:extLst>
                <a:ext uri="{FF2B5EF4-FFF2-40B4-BE49-F238E27FC236}">
                  <a16:creationId xmlns:a16="http://schemas.microsoft.com/office/drawing/2014/main" id="{D662227F-81B5-45A3-8065-CFABAFC187C6}"/>
                </a:ext>
              </a:extLst>
            </p:cNvPr>
            <p:cNvSpPr/>
            <p:nvPr/>
          </p:nvSpPr>
          <p:spPr>
            <a:xfrm rot="8716295">
              <a:off x="8527655" y="2292327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6" name="Forme libre : forme 1255">
              <a:extLst>
                <a:ext uri="{FF2B5EF4-FFF2-40B4-BE49-F238E27FC236}">
                  <a16:creationId xmlns:a16="http://schemas.microsoft.com/office/drawing/2014/main" id="{B3F07D8E-83A0-44A5-8F5F-C55A1A045146}"/>
                </a:ext>
              </a:extLst>
            </p:cNvPr>
            <p:cNvSpPr/>
            <p:nvPr/>
          </p:nvSpPr>
          <p:spPr>
            <a:xfrm rot="8716295">
              <a:off x="8617047" y="2321569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7" name="Forme libre : forme 1256">
              <a:extLst>
                <a:ext uri="{FF2B5EF4-FFF2-40B4-BE49-F238E27FC236}">
                  <a16:creationId xmlns:a16="http://schemas.microsoft.com/office/drawing/2014/main" id="{BEC9833E-1103-4B09-9C27-70B4371CFFC3}"/>
                </a:ext>
              </a:extLst>
            </p:cNvPr>
            <p:cNvSpPr/>
            <p:nvPr/>
          </p:nvSpPr>
          <p:spPr>
            <a:xfrm rot="8716295">
              <a:off x="8415421" y="238087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8" name="Forme libre : forme 1257">
              <a:extLst>
                <a:ext uri="{FF2B5EF4-FFF2-40B4-BE49-F238E27FC236}">
                  <a16:creationId xmlns:a16="http://schemas.microsoft.com/office/drawing/2014/main" id="{B1FB9B12-3BD9-453E-A39D-3DAA86A44344}"/>
                </a:ext>
              </a:extLst>
            </p:cNvPr>
            <p:cNvSpPr/>
            <p:nvPr/>
          </p:nvSpPr>
          <p:spPr>
            <a:xfrm rot="8716295">
              <a:off x="8290519" y="2172198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9" name="Forme libre : forme 1258">
              <a:extLst>
                <a:ext uri="{FF2B5EF4-FFF2-40B4-BE49-F238E27FC236}">
                  <a16:creationId xmlns:a16="http://schemas.microsoft.com/office/drawing/2014/main" id="{3C2388FE-8F47-47D7-86C1-60ACC4D81856}"/>
                </a:ext>
              </a:extLst>
            </p:cNvPr>
            <p:cNvSpPr/>
            <p:nvPr/>
          </p:nvSpPr>
          <p:spPr>
            <a:xfrm rot="8716295">
              <a:off x="8505599" y="2421823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0" name="Forme libre : forme 1259">
              <a:extLst>
                <a:ext uri="{FF2B5EF4-FFF2-40B4-BE49-F238E27FC236}">
                  <a16:creationId xmlns:a16="http://schemas.microsoft.com/office/drawing/2014/main" id="{A11C39A7-D0D0-434D-A171-90D1234959F5}"/>
                </a:ext>
              </a:extLst>
            </p:cNvPr>
            <p:cNvSpPr/>
            <p:nvPr/>
          </p:nvSpPr>
          <p:spPr>
            <a:xfrm rot="8716295">
              <a:off x="8264148" y="2272223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1" name="Forme libre : forme 1260">
              <a:extLst>
                <a:ext uri="{FF2B5EF4-FFF2-40B4-BE49-F238E27FC236}">
                  <a16:creationId xmlns:a16="http://schemas.microsoft.com/office/drawing/2014/main" id="{4C61989D-4DFE-46E1-AF97-41DE6361CDB1}"/>
                </a:ext>
              </a:extLst>
            </p:cNvPr>
            <p:cNvSpPr/>
            <p:nvPr/>
          </p:nvSpPr>
          <p:spPr>
            <a:xfrm rot="7484129">
              <a:off x="8610530" y="261317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2" name="Forme libre : forme 1261">
              <a:extLst>
                <a:ext uri="{FF2B5EF4-FFF2-40B4-BE49-F238E27FC236}">
                  <a16:creationId xmlns:a16="http://schemas.microsoft.com/office/drawing/2014/main" id="{5C49FF36-E600-4A74-B23E-CD8D4047E6EE}"/>
                </a:ext>
              </a:extLst>
            </p:cNvPr>
            <p:cNvSpPr/>
            <p:nvPr/>
          </p:nvSpPr>
          <p:spPr>
            <a:xfrm rot="13089394">
              <a:off x="8715350" y="2579708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3" name="Forme libre : forme 1262">
              <a:extLst>
                <a:ext uri="{FF2B5EF4-FFF2-40B4-BE49-F238E27FC236}">
                  <a16:creationId xmlns:a16="http://schemas.microsoft.com/office/drawing/2014/main" id="{1D04E94A-1C0D-454D-9922-50FF5EBE6C43}"/>
                </a:ext>
              </a:extLst>
            </p:cNvPr>
            <p:cNvSpPr/>
            <p:nvPr/>
          </p:nvSpPr>
          <p:spPr>
            <a:xfrm rot="8716295">
              <a:off x="8900935" y="2388027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4" name="Forme libre : forme 1263">
              <a:extLst>
                <a:ext uri="{FF2B5EF4-FFF2-40B4-BE49-F238E27FC236}">
                  <a16:creationId xmlns:a16="http://schemas.microsoft.com/office/drawing/2014/main" id="{10563C18-A269-4229-B70A-8D68962158B9}"/>
                </a:ext>
              </a:extLst>
            </p:cNvPr>
            <p:cNvSpPr/>
            <p:nvPr/>
          </p:nvSpPr>
          <p:spPr>
            <a:xfrm rot="8716295">
              <a:off x="8849130" y="2284434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5" name="Forme libre : forme 1264">
              <a:extLst>
                <a:ext uri="{FF2B5EF4-FFF2-40B4-BE49-F238E27FC236}">
                  <a16:creationId xmlns:a16="http://schemas.microsoft.com/office/drawing/2014/main" id="{208F3E00-CBC6-4CD3-9BBC-C388642BC9E1}"/>
                </a:ext>
              </a:extLst>
            </p:cNvPr>
            <p:cNvSpPr/>
            <p:nvPr/>
          </p:nvSpPr>
          <p:spPr>
            <a:xfrm rot="8716295">
              <a:off x="8605884" y="231465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6" name="Forme libre : forme 1265">
              <a:extLst>
                <a:ext uri="{FF2B5EF4-FFF2-40B4-BE49-F238E27FC236}">
                  <a16:creationId xmlns:a16="http://schemas.microsoft.com/office/drawing/2014/main" id="{A7B737F3-1AE0-4B4A-887B-DCA6987975B9}"/>
                </a:ext>
              </a:extLst>
            </p:cNvPr>
            <p:cNvSpPr/>
            <p:nvPr/>
          </p:nvSpPr>
          <p:spPr>
            <a:xfrm rot="8716295">
              <a:off x="8783336" y="215541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7" name="Forme libre : forme 1266">
              <a:extLst>
                <a:ext uri="{FF2B5EF4-FFF2-40B4-BE49-F238E27FC236}">
                  <a16:creationId xmlns:a16="http://schemas.microsoft.com/office/drawing/2014/main" id="{ED038CD8-6F63-4DEA-AFB9-416565E0B1AE}"/>
                </a:ext>
              </a:extLst>
            </p:cNvPr>
            <p:cNvSpPr/>
            <p:nvPr/>
          </p:nvSpPr>
          <p:spPr>
            <a:xfrm rot="8716295">
              <a:off x="8461723" y="320217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8" name="Forme libre : forme 1267">
              <a:extLst>
                <a:ext uri="{FF2B5EF4-FFF2-40B4-BE49-F238E27FC236}">
                  <a16:creationId xmlns:a16="http://schemas.microsoft.com/office/drawing/2014/main" id="{4ADDF2AA-F777-43E8-985A-08DA5C91CAC3}"/>
                </a:ext>
              </a:extLst>
            </p:cNvPr>
            <p:cNvSpPr/>
            <p:nvPr/>
          </p:nvSpPr>
          <p:spPr>
            <a:xfrm rot="8716295">
              <a:off x="8551115" y="323142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9" name="Forme libre : forme 1268">
              <a:extLst>
                <a:ext uri="{FF2B5EF4-FFF2-40B4-BE49-F238E27FC236}">
                  <a16:creationId xmlns:a16="http://schemas.microsoft.com/office/drawing/2014/main" id="{5F6A757A-2778-41F5-B5E1-C920513FE4A3}"/>
                </a:ext>
              </a:extLst>
            </p:cNvPr>
            <p:cNvSpPr/>
            <p:nvPr/>
          </p:nvSpPr>
          <p:spPr>
            <a:xfrm rot="8716295">
              <a:off x="8506265" y="314514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0" name="Forme libre : forme 1269">
              <a:extLst>
                <a:ext uri="{FF2B5EF4-FFF2-40B4-BE49-F238E27FC236}">
                  <a16:creationId xmlns:a16="http://schemas.microsoft.com/office/drawing/2014/main" id="{0EFEE5D5-C1BD-4136-8474-BA19679B6FE6}"/>
                </a:ext>
              </a:extLst>
            </p:cNvPr>
            <p:cNvSpPr/>
            <p:nvPr/>
          </p:nvSpPr>
          <p:spPr>
            <a:xfrm rot="8716295">
              <a:off x="8349489" y="329072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1" name="Forme libre : forme 1270">
              <a:extLst>
                <a:ext uri="{FF2B5EF4-FFF2-40B4-BE49-F238E27FC236}">
                  <a16:creationId xmlns:a16="http://schemas.microsoft.com/office/drawing/2014/main" id="{478BD2EF-1B5E-4C0F-83FF-65BB9BDBEB73}"/>
                </a:ext>
              </a:extLst>
            </p:cNvPr>
            <p:cNvSpPr/>
            <p:nvPr/>
          </p:nvSpPr>
          <p:spPr>
            <a:xfrm rot="8716295">
              <a:off x="8224586" y="308204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2" name="Forme libre : forme 1271">
              <a:extLst>
                <a:ext uri="{FF2B5EF4-FFF2-40B4-BE49-F238E27FC236}">
                  <a16:creationId xmlns:a16="http://schemas.microsoft.com/office/drawing/2014/main" id="{CA9F447E-DAA7-42DE-BF9D-296DA2E235D4}"/>
                </a:ext>
              </a:extLst>
            </p:cNvPr>
            <p:cNvSpPr/>
            <p:nvPr/>
          </p:nvSpPr>
          <p:spPr>
            <a:xfrm rot="8716295">
              <a:off x="8212534" y="2943269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3" name="Forme libre : forme 1272">
              <a:extLst>
                <a:ext uri="{FF2B5EF4-FFF2-40B4-BE49-F238E27FC236}">
                  <a16:creationId xmlns:a16="http://schemas.microsoft.com/office/drawing/2014/main" id="{B7FB840A-B629-4503-ACF9-05EB6F60350A}"/>
                </a:ext>
              </a:extLst>
            </p:cNvPr>
            <p:cNvSpPr/>
            <p:nvPr/>
          </p:nvSpPr>
          <p:spPr>
            <a:xfrm rot="8716295">
              <a:off x="8439667" y="333167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4" name="Forme libre : forme 1273">
              <a:extLst>
                <a:ext uri="{FF2B5EF4-FFF2-40B4-BE49-F238E27FC236}">
                  <a16:creationId xmlns:a16="http://schemas.microsoft.com/office/drawing/2014/main" id="{284BE434-693F-4B53-B96A-BC8BBBAA6451}"/>
                </a:ext>
              </a:extLst>
            </p:cNvPr>
            <p:cNvSpPr/>
            <p:nvPr/>
          </p:nvSpPr>
          <p:spPr>
            <a:xfrm rot="8716295">
              <a:off x="8750822" y="295202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5" name="Forme libre : forme 1274">
              <a:extLst>
                <a:ext uri="{FF2B5EF4-FFF2-40B4-BE49-F238E27FC236}">
                  <a16:creationId xmlns:a16="http://schemas.microsoft.com/office/drawing/2014/main" id="{00E031F6-CDA7-4F23-85AC-0C03588D8BFF}"/>
                </a:ext>
              </a:extLst>
            </p:cNvPr>
            <p:cNvSpPr/>
            <p:nvPr/>
          </p:nvSpPr>
          <p:spPr>
            <a:xfrm rot="8716295">
              <a:off x="8840214" y="298126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6" name="Forme libre : forme 1275">
              <a:extLst>
                <a:ext uri="{FF2B5EF4-FFF2-40B4-BE49-F238E27FC236}">
                  <a16:creationId xmlns:a16="http://schemas.microsoft.com/office/drawing/2014/main" id="{48A487FF-161F-413C-A2D1-AFC7148CC4B0}"/>
                </a:ext>
              </a:extLst>
            </p:cNvPr>
            <p:cNvSpPr/>
            <p:nvPr/>
          </p:nvSpPr>
          <p:spPr>
            <a:xfrm rot="8716295">
              <a:off x="8638588" y="304057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7" name="Forme libre : forme 1276">
              <a:extLst>
                <a:ext uri="{FF2B5EF4-FFF2-40B4-BE49-F238E27FC236}">
                  <a16:creationId xmlns:a16="http://schemas.microsoft.com/office/drawing/2014/main" id="{DD5BE4D1-C7C8-4842-9CD7-28661B0A4744}"/>
                </a:ext>
              </a:extLst>
            </p:cNvPr>
            <p:cNvSpPr/>
            <p:nvPr/>
          </p:nvSpPr>
          <p:spPr>
            <a:xfrm rot="8716295">
              <a:off x="8513686" y="283189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8" name="Forme libre : forme 1277">
              <a:extLst>
                <a:ext uri="{FF2B5EF4-FFF2-40B4-BE49-F238E27FC236}">
                  <a16:creationId xmlns:a16="http://schemas.microsoft.com/office/drawing/2014/main" id="{0B4DA140-E81E-4D65-A5C9-F035DA31F730}"/>
                </a:ext>
              </a:extLst>
            </p:cNvPr>
            <p:cNvSpPr/>
            <p:nvPr/>
          </p:nvSpPr>
          <p:spPr>
            <a:xfrm rot="8716295">
              <a:off x="8728766" y="308152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9" name="Forme libre : forme 1278">
              <a:extLst>
                <a:ext uri="{FF2B5EF4-FFF2-40B4-BE49-F238E27FC236}">
                  <a16:creationId xmlns:a16="http://schemas.microsoft.com/office/drawing/2014/main" id="{14371798-95AB-4DEA-8474-58BAC0008E89}"/>
                </a:ext>
              </a:extLst>
            </p:cNvPr>
            <p:cNvSpPr/>
            <p:nvPr/>
          </p:nvSpPr>
          <p:spPr>
            <a:xfrm rot="8716295">
              <a:off x="8487315" y="293192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0" name="Forme libre : forme 1279">
              <a:extLst>
                <a:ext uri="{FF2B5EF4-FFF2-40B4-BE49-F238E27FC236}">
                  <a16:creationId xmlns:a16="http://schemas.microsoft.com/office/drawing/2014/main" id="{B40273FF-66D0-4D54-A913-9136C391E5E9}"/>
                </a:ext>
              </a:extLst>
            </p:cNvPr>
            <p:cNvSpPr/>
            <p:nvPr/>
          </p:nvSpPr>
          <p:spPr>
            <a:xfrm rot="7484129">
              <a:off x="8833697" y="327287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1" name="Forme libre : forme 1280">
              <a:extLst>
                <a:ext uri="{FF2B5EF4-FFF2-40B4-BE49-F238E27FC236}">
                  <a16:creationId xmlns:a16="http://schemas.microsoft.com/office/drawing/2014/main" id="{FCD6CCFC-12B5-4C32-A6C9-28B6678973BF}"/>
                </a:ext>
              </a:extLst>
            </p:cNvPr>
            <p:cNvSpPr/>
            <p:nvPr/>
          </p:nvSpPr>
          <p:spPr>
            <a:xfrm rot="13089394">
              <a:off x="8933167" y="3248496"/>
              <a:ext cx="272584" cy="314617"/>
            </a:xfrm>
            <a:custGeom>
              <a:avLst/>
              <a:gdLst>
                <a:gd name="connsiteX0" fmla="*/ 77412 w 272584"/>
                <a:gd name="connsiteY0" fmla="*/ 203022 h 314617"/>
                <a:gd name="connsiteX1" fmla="*/ 0 w 272584"/>
                <a:gd name="connsiteY1" fmla="*/ 104495 h 314617"/>
                <a:gd name="connsiteX2" fmla="*/ 0 w 272584"/>
                <a:gd name="connsiteY2" fmla="*/ 38074 h 314617"/>
                <a:gd name="connsiteX3" fmla="*/ 73388 w 272584"/>
                <a:gd name="connsiteY3" fmla="*/ 0 h 314617"/>
                <a:gd name="connsiteX4" fmla="*/ 74492 w 272584"/>
                <a:gd name="connsiteY4" fmla="*/ 153950 h 314617"/>
                <a:gd name="connsiteX5" fmla="*/ 76768 w 272584"/>
                <a:gd name="connsiteY5" fmla="*/ 200369 h 314617"/>
                <a:gd name="connsiteX6" fmla="*/ 272584 w 272584"/>
                <a:gd name="connsiteY6" fmla="*/ 258238 h 314617"/>
                <a:gd name="connsiteX7" fmla="*/ 177331 w 272584"/>
                <a:gd name="connsiteY7" fmla="*/ 311348 h 314617"/>
                <a:gd name="connsiteX8" fmla="*/ 165091 w 272584"/>
                <a:gd name="connsiteY8" fmla="*/ 314617 h 314617"/>
                <a:gd name="connsiteX9" fmla="*/ 136528 w 272584"/>
                <a:gd name="connsiteY9" fmla="*/ 278262 h 314617"/>
                <a:gd name="connsiteX10" fmla="*/ 153949 w 272584"/>
                <a:gd name="connsiteY10" fmla="*/ 281965 h 314617"/>
                <a:gd name="connsiteX11" fmla="*/ 203610 w 272584"/>
                <a:gd name="connsiteY11" fmla="*/ 273137 h 314617"/>
                <a:gd name="connsiteX12" fmla="*/ 271481 w 272584"/>
                <a:gd name="connsiteY12" fmla="*/ 245547 h 314617"/>
                <a:gd name="connsiteX13" fmla="*/ 272584 w 272584"/>
                <a:gd name="connsiteY13" fmla="*/ 252720 h 314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2584" h="314617">
                  <a:moveTo>
                    <a:pt x="77412" y="203022"/>
                  </a:moveTo>
                  <a:lnTo>
                    <a:pt x="0" y="104495"/>
                  </a:ln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3664" y="169400"/>
                    <a:pt x="74491" y="184988"/>
                    <a:pt x="76768" y="200369"/>
                  </a:cubicBezTo>
                  <a:close/>
                  <a:moveTo>
                    <a:pt x="272584" y="258238"/>
                  </a:moveTo>
                  <a:cubicBezTo>
                    <a:pt x="243339" y="283344"/>
                    <a:pt x="209542" y="300312"/>
                    <a:pt x="177331" y="311348"/>
                  </a:cubicBezTo>
                  <a:lnTo>
                    <a:pt x="165091" y="314617"/>
                  </a:lnTo>
                  <a:lnTo>
                    <a:pt x="136528" y="278262"/>
                  </a:lnTo>
                  <a:lnTo>
                    <a:pt x="153949" y="281965"/>
                  </a:lnTo>
                  <a:cubicBezTo>
                    <a:pt x="171055" y="281413"/>
                    <a:pt x="187608" y="278102"/>
                    <a:pt x="203610" y="273137"/>
                  </a:cubicBezTo>
                  <a:cubicBezTo>
                    <a:pt x="226786" y="265963"/>
                    <a:pt x="249409" y="256583"/>
                    <a:pt x="271481" y="245547"/>
                  </a:cubicBezTo>
                  <a:cubicBezTo>
                    <a:pt x="272032" y="247754"/>
                    <a:pt x="272584" y="250512"/>
                    <a:pt x="272584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2" name="Forme libre : forme 1281">
              <a:extLst>
                <a:ext uri="{FF2B5EF4-FFF2-40B4-BE49-F238E27FC236}">
                  <a16:creationId xmlns:a16="http://schemas.microsoft.com/office/drawing/2014/main" id="{49322978-3720-487C-8006-BF9E3F6D1CD3}"/>
                </a:ext>
              </a:extLst>
            </p:cNvPr>
            <p:cNvSpPr/>
            <p:nvPr/>
          </p:nvSpPr>
          <p:spPr>
            <a:xfrm rot="8716295">
              <a:off x="9063436" y="2943322"/>
              <a:ext cx="105430" cy="113008"/>
            </a:xfrm>
            <a:custGeom>
              <a:avLst/>
              <a:gdLst>
                <a:gd name="connsiteX0" fmla="*/ 5398 w 105430"/>
                <a:gd name="connsiteY0" fmla="*/ 96451 h 113008"/>
                <a:gd name="connsiteX1" fmla="*/ 0 w 105430"/>
                <a:gd name="connsiteY1" fmla="*/ 83667 h 113008"/>
                <a:gd name="connsiteX2" fmla="*/ 57995 w 105430"/>
                <a:gd name="connsiteY2" fmla="*/ 0 h 113008"/>
                <a:gd name="connsiteX3" fmla="*/ 88184 w 105430"/>
                <a:gd name="connsiteY3" fmla="*/ 12746 h 113008"/>
                <a:gd name="connsiteX4" fmla="*/ 88183 w 105430"/>
                <a:gd name="connsiteY4" fmla="*/ 95531 h 113008"/>
                <a:gd name="connsiteX5" fmla="*/ 46790 w 105430"/>
                <a:gd name="connsiteY5" fmla="*/ 113008 h 113008"/>
                <a:gd name="connsiteX6" fmla="*/ 5398 w 105430"/>
                <a:gd name="connsiteY6" fmla="*/ 96451 h 113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5430" h="113008">
                  <a:moveTo>
                    <a:pt x="5398" y="96451"/>
                  </a:moveTo>
                  <a:lnTo>
                    <a:pt x="0" y="83667"/>
                  </a:lnTo>
                  <a:lnTo>
                    <a:pt x="57995" y="0"/>
                  </a:lnTo>
                  <a:lnTo>
                    <a:pt x="88184" y="12746"/>
                  </a:lnTo>
                  <a:cubicBezTo>
                    <a:pt x="111179" y="34822"/>
                    <a:pt x="111179" y="72535"/>
                    <a:pt x="88183" y="95531"/>
                  </a:cubicBezTo>
                  <a:cubicBezTo>
                    <a:pt x="77145" y="106569"/>
                    <a:pt x="62428" y="113008"/>
                    <a:pt x="46790" y="113008"/>
                  </a:cubicBezTo>
                  <a:cubicBezTo>
                    <a:pt x="31154" y="113008"/>
                    <a:pt x="16436" y="107489"/>
                    <a:pt x="5398" y="9645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3" name="Forme libre : forme 1282">
              <a:extLst>
                <a:ext uri="{FF2B5EF4-FFF2-40B4-BE49-F238E27FC236}">
                  <a16:creationId xmlns:a16="http://schemas.microsoft.com/office/drawing/2014/main" id="{0E79394D-1F93-4DAB-A031-4180A71FEAA6}"/>
                </a:ext>
              </a:extLst>
            </p:cNvPr>
            <p:cNvSpPr/>
            <p:nvPr/>
          </p:nvSpPr>
          <p:spPr>
            <a:xfrm rot="8716295">
              <a:off x="8829051" y="297435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4" name="Forme libre : forme 1283">
              <a:extLst>
                <a:ext uri="{FF2B5EF4-FFF2-40B4-BE49-F238E27FC236}">
                  <a16:creationId xmlns:a16="http://schemas.microsoft.com/office/drawing/2014/main" id="{A779B4B1-CCAB-4B22-BE71-EFFAA7770D63}"/>
                </a:ext>
              </a:extLst>
            </p:cNvPr>
            <p:cNvSpPr/>
            <p:nvPr/>
          </p:nvSpPr>
          <p:spPr>
            <a:xfrm rot="8716295">
              <a:off x="9006503" y="281511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5" name="Forme libre : forme 1284">
              <a:extLst>
                <a:ext uri="{FF2B5EF4-FFF2-40B4-BE49-F238E27FC236}">
                  <a16:creationId xmlns:a16="http://schemas.microsoft.com/office/drawing/2014/main" id="{755E45E0-E074-4D6C-9B76-6EFDFD1013C0}"/>
                </a:ext>
              </a:extLst>
            </p:cNvPr>
            <p:cNvSpPr/>
            <p:nvPr/>
          </p:nvSpPr>
          <p:spPr>
            <a:xfrm rot="8716295">
              <a:off x="8951372" y="5039787"/>
              <a:ext cx="114842" cy="149763"/>
            </a:xfrm>
            <a:custGeom>
              <a:avLst/>
              <a:gdLst>
                <a:gd name="connsiteX0" fmla="*/ 0 w 114842"/>
                <a:gd name="connsiteY0" fmla="*/ 9212 h 149763"/>
                <a:gd name="connsiteX1" fmla="*/ 0 w 114842"/>
                <a:gd name="connsiteY1" fmla="*/ 0 h 149763"/>
                <a:gd name="connsiteX2" fmla="*/ 13290 w 114842"/>
                <a:gd name="connsiteY2" fmla="*/ 9212 h 149763"/>
                <a:gd name="connsiteX3" fmla="*/ 90709 w 114842"/>
                <a:gd name="connsiteY3" fmla="*/ 149763 h 149763"/>
                <a:gd name="connsiteX4" fmla="*/ 47847 w 114842"/>
                <a:gd name="connsiteY4" fmla="*/ 70018 h 149763"/>
                <a:gd name="connsiteX5" fmla="*/ 58479 w 114842"/>
                <a:gd name="connsiteY5" fmla="*/ 40536 h 149763"/>
                <a:gd name="connsiteX6" fmla="*/ 114842 w 114842"/>
                <a:gd name="connsiteY6" fmla="*/ 79604 h 149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842" h="149763">
                  <a:moveTo>
                    <a:pt x="0" y="9212"/>
                  </a:moveTo>
                  <a:lnTo>
                    <a:pt x="0" y="0"/>
                  </a:lnTo>
                  <a:lnTo>
                    <a:pt x="13290" y="9212"/>
                  </a:lnTo>
                  <a:close/>
                  <a:moveTo>
                    <a:pt x="90709" y="149763"/>
                  </a:moveTo>
                  <a:lnTo>
                    <a:pt x="47847" y="70018"/>
                  </a:lnTo>
                  <a:lnTo>
                    <a:pt x="58479" y="40536"/>
                  </a:lnTo>
                  <a:lnTo>
                    <a:pt x="114842" y="796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6" name="Forme libre : forme 1285">
              <a:extLst>
                <a:ext uri="{FF2B5EF4-FFF2-40B4-BE49-F238E27FC236}">
                  <a16:creationId xmlns:a16="http://schemas.microsoft.com/office/drawing/2014/main" id="{8AED8A80-C2CB-4353-A4D6-B63B770DAFE6}"/>
                </a:ext>
              </a:extLst>
            </p:cNvPr>
            <p:cNvSpPr/>
            <p:nvPr/>
          </p:nvSpPr>
          <p:spPr>
            <a:xfrm rot="8716295">
              <a:off x="8858304" y="4924131"/>
              <a:ext cx="290644" cy="300328"/>
            </a:xfrm>
            <a:custGeom>
              <a:avLst/>
              <a:gdLst>
                <a:gd name="connsiteX0" fmla="*/ 25298 w 290644"/>
                <a:gd name="connsiteY0" fmla="*/ 270737 h 300328"/>
                <a:gd name="connsiteX1" fmla="*/ 1 w 290644"/>
                <a:gd name="connsiteY1" fmla="*/ 169541 h 300328"/>
                <a:gd name="connsiteX2" fmla="*/ 0 w 290644"/>
                <a:gd name="connsiteY2" fmla="*/ 113409 h 300328"/>
                <a:gd name="connsiteX3" fmla="*/ 78612 w 290644"/>
                <a:gd name="connsiteY3" fmla="*/ 0 h 300328"/>
                <a:gd name="connsiteX4" fmla="*/ 79427 w 290644"/>
                <a:gd name="connsiteY4" fmla="*/ 113648 h 300328"/>
                <a:gd name="connsiteX5" fmla="*/ 93547 w 290644"/>
                <a:gd name="connsiteY5" fmla="*/ 211314 h 300328"/>
                <a:gd name="connsiteX6" fmla="*/ 164149 w 290644"/>
                <a:gd name="connsiteY6" fmla="*/ 250145 h 300328"/>
                <a:gd name="connsiteX7" fmla="*/ 217100 w 290644"/>
                <a:gd name="connsiteY7" fmla="*/ 240732 h 300328"/>
                <a:gd name="connsiteX8" fmla="*/ 289467 w 290644"/>
                <a:gd name="connsiteY8" fmla="*/ 211314 h 300328"/>
                <a:gd name="connsiteX9" fmla="*/ 290643 w 290644"/>
                <a:gd name="connsiteY9" fmla="*/ 218962 h 300328"/>
                <a:gd name="connsiteX10" fmla="*/ 290644 w 290644"/>
                <a:gd name="connsiteY10" fmla="*/ 224846 h 300328"/>
                <a:gd name="connsiteX11" fmla="*/ 97666 w 290644"/>
                <a:gd name="connsiteY11" fmla="*/ 300154 h 300328"/>
                <a:gd name="connsiteX12" fmla="*/ 25298 w 290644"/>
                <a:gd name="connsiteY12" fmla="*/ 270737 h 300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0644" h="300328">
                  <a:moveTo>
                    <a:pt x="25298" y="270737"/>
                  </a:moveTo>
                  <a:cubicBezTo>
                    <a:pt x="5295" y="251321"/>
                    <a:pt x="0" y="217786"/>
                    <a:pt x="1" y="169541"/>
                  </a:cubicBezTo>
                  <a:lnTo>
                    <a:pt x="0" y="113409"/>
                  </a:lnTo>
                  <a:lnTo>
                    <a:pt x="78612" y="0"/>
                  </a:lnTo>
                  <a:lnTo>
                    <a:pt x="79427" y="113648"/>
                  </a:lnTo>
                  <a:cubicBezTo>
                    <a:pt x="77662" y="146596"/>
                    <a:pt x="82956" y="180131"/>
                    <a:pt x="93547" y="211314"/>
                  </a:cubicBezTo>
                  <a:cubicBezTo>
                    <a:pt x="102961" y="237201"/>
                    <a:pt x="127083" y="250145"/>
                    <a:pt x="164149" y="250145"/>
                  </a:cubicBezTo>
                  <a:cubicBezTo>
                    <a:pt x="182388" y="249557"/>
                    <a:pt x="200038" y="246026"/>
                    <a:pt x="217100" y="240732"/>
                  </a:cubicBezTo>
                  <a:cubicBezTo>
                    <a:pt x="241810" y="233083"/>
                    <a:pt x="265932" y="223080"/>
                    <a:pt x="289467" y="211314"/>
                  </a:cubicBezTo>
                  <a:cubicBezTo>
                    <a:pt x="290055" y="213668"/>
                    <a:pt x="290643" y="216609"/>
                    <a:pt x="290643" y="218962"/>
                  </a:cubicBezTo>
                  <a:lnTo>
                    <a:pt x="290644" y="224846"/>
                  </a:lnTo>
                  <a:cubicBezTo>
                    <a:pt x="228278" y="278385"/>
                    <a:pt x="146498" y="297213"/>
                    <a:pt x="97666" y="300154"/>
                  </a:cubicBezTo>
                  <a:cubicBezTo>
                    <a:pt x="70602" y="301920"/>
                    <a:pt x="44126" y="290152"/>
                    <a:pt x="25298" y="27073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7" name="Forme libre : forme 1286">
              <a:extLst>
                <a:ext uri="{FF2B5EF4-FFF2-40B4-BE49-F238E27FC236}">
                  <a16:creationId xmlns:a16="http://schemas.microsoft.com/office/drawing/2014/main" id="{F6434F03-7136-449A-AE8B-69AAC2772741}"/>
                </a:ext>
              </a:extLst>
            </p:cNvPr>
            <p:cNvSpPr/>
            <p:nvPr/>
          </p:nvSpPr>
          <p:spPr>
            <a:xfrm rot="8716295">
              <a:off x="8680393" y="386057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8" name="Forme libre : forme 1287">
              <a:extLst>
                <a:ext uri="{FF2B5EF4-FFF2-40B4-BE49-F238E27FC236}">
                  <a16:creationId xmlns:a16="http://schemas.microsoft.com/office/drawing/2014/main" id="{18FA482F-B79B-416B-B433-51E98289C96F}"/>
                </a:ext>
              </a:extLst>
            </p:cNvPr>
            <p:cNvSpPr/>
            <p:nvPr/>
          </p:nvSpPr>
          <p:spPr>
            <a:xfrm rot="8716295">
              <a:off x="8769785" y="388981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9" name="Forme libre : forme 1288">
              <a:extLst>
                <a:ext uri="{FF2B5EF4-FFF2-40B4-BE49-F238E27FC236}">
                  <a16:creationId xmlns:a16="http://schemas.microsoft.com/office/drawing/2014/main" id="{0633B816-D2AD-461A-8DC1-A0C291E15BED}"/>
                </a:ext>
              </a:extLst>
            </p:cNvPr>
            <p:cNvSpPr/>
            <p:nvPr/>
          </p:nvSpPr>
          <p:spPr>
            <a:xfrm rot="8716295">
              <a:off x="8724935" y="3803536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0" name="Forme libre : forme 1289">
              <a:extLst>
                <a:ext uri="{FF2B5EF4-FFF2-40B4-BE49-F238E27FC236}">
                  <a16:creationId xmlns:a16="http://schemas.microsoft.com/office/drawing/2014/main" id="{6AEF1F62-3BB3-42AF-9ABA-6922472D9D4C}"/>
                </a:ext>
              </a:extLst>
            </p:cNvPr>
            <p:cNvSpPr/>
            <p:nvPr/>
          </p:nvSpPr>
          <p:spPr>
            <a:xfrm rot="8716295">
              <a:off x="8568159" y="394911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1" name="Forme libre : forme 1290">
              <a:extLst>
                <a:ext uri="{FF2B5EF4-FFF2-40B4-BE49-F238E27FC236}">
                  <a16:creationId xmlns:a16="http://schemas.microsoft.com/office/drawing/2014/main" id="{37A3E740-A35C-49B8-BCA6-B63F53924CD9}"/>
                </a:ext>
              </a:extLst>
            </p:cNvPr>
            <p:cNvSpPr/>
            <p:nvPr/>
          </p:nvSpPr>
          <p:spPr>
            <a:xfrm rot="8716295">
              <a:off x="8443256" y="374044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2" name="Forme libre : forme 1291">
              <a:extLst>
                <a:ext uri="{FF2B5EF4-FFF2-40B4-BE49-F238E27FC236}">
                  <a16:creationId xmlns:a16="http://schemas.microsoft.com/office/drawing/2014/main" id="{4BC6A6C6-3506-4720-B433-50EBFD398AB2}"/>
                </a:ext>
              </a:extLst>
            </p:cNvPr>
            <p:cNvSpPr/>
            <p:nvPr/>
          </p:nvSpPr>
          <p:spPr>
            <a:xfrm rot="8716295">
              <a:off x="8431204" y="3601665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3" name="Forme libre : forme 1292">
              <a:extLst>
                <a:ext uri="{FF2B5EF4-FFF2-40B4-BE49-F238E27FC236}">
                  <a16:creationId xmlns:a16="http://schemas.microsoft.com/office/drawing/2014/main" id="{856A2550-AA18-418C-9080-EC3036E4F436}"/>
                </a:ext>
              </a:extLst>
            </p:cNvPr>
            <p:cNvSpPr/>
            <p:nvPr/>
          </p:nvSpPr>
          <p:spPr>
            <a:xfrm rot="8716295">
              <a:off x="8658337" y="399007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4" name="Forme libre : forme 1293">
              <a:extLst>
                <a:ext uri="{FF2B5EF4-FFF2-40B4-BE49-F238E27FC236}">
                  <a16:creationId xmlns:a16="http://schemas.microsoft.com/office/drawing/2014/main" id="{D5235751-C722-4643-BB69-A63D9B7E2C7F}"/>
                </a:ext>
              </a:extLst>
            </p:cNvPr>
            <p:cNvSpPr/>
            <p:nvPr/>
          </p:nvSpPr>
          <p:spPr>
            <a:xfrm rot="8716295">
              <a:off x="8968661" y="3610682"/>
              <a:ext cx="142168" cy="232388"/>
            </a:xfrm>
            <a:custGeom>
              <a:avLst/>
              <a:gdLst>
                <a:gd name="connsiteX0" fmla="*/ 81109 w 142168"/>
                <a:gd name="connsiteY0" fmla="*/ 232388 h 232388"/>
                <a:gd name="connsiteX1" fmla="*/ 81108 w 142168"/>
                <a:gd name="connsiteY1" fmla="*/ 69717 h 232388"/>
                <a:gd name="connsiteX2" fmla="*/ 81108 w 142168"/>
                <a:gd name="connsiteY2" fmla="*/ 65615 h 232388"/>
                <a:gd name="connsiteX3" fmla="*/ 60603 w 142168"/>
                <a:gd name="connsiteY3" fmla="*/ 50123 h 232388"/>
                <a:gd name="connsiteX4" fmla="*/ 0 w 142168"/>
                <a:gd name="connsiteY4" fmla="*/ 50123 h 232388"/>
                <a:gd name="connsiteX5" fmla="*/ 0 w 142168"/>
                <a:gd name="connsiteY5" fmla="*/ 35740 h 232388"/>
                <a:gd name="connsiteX6" fmla="*/ 24774 w 142168"/>
                <a:gd name="connsiteY6" fmla="*/ 0 h 232388"/>
                <a:gd name="connsiteX7" fmla="*/ 85210 w 142168"/>
                <a:gd name="connsiteY7" fmla="*/ 0 h 232388"/>
                <a:gd name="connsiteX8" fmla="*/ 142168 w 142168"/>
                <a:gd name="connsiteY8" fmla="*/ 50123 h 232388"/>
                <a:gd name="connsiteX9" fmla="*/ 142167 w 142168"/>
                <a:gd name="connsiteY9" fmla="*/ 208238 h 2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2168" h="232388">
                  <a:moveTo>
                    <a:pt x="81109" y="232388"/>
                  </a:moveTo>
                  <a:lnTo>
                    <a:pt x="81108" y="69717"/>
                  </a:lnTo>
                  <a:cubicBezTo>
                    <a:pt x="81108" y="68350"/>
                    <a:pt x="81108" y="66982"/>
                    <a:pt x="81108" y="65615"/>
                  </a:cubicBezTo>
                  <a:cubicBezTo>
                    <a:pt x="79741" y="55591"/>
                    <a:pt x="70628" y="48756"/>
                    <a:pt x="60603" y="50123"/>
                  </a:cubicBezTo>
                  <a:lnTo>
                    <a:pt x="0" y="50123"/>
                  </a:lnTo>
                  <a:lnTo>
                    <a:pt x="0" y="35740"/>
                  </a:lnTo>
                  <a:lnTo>
                    <a:pt x="24774" y="0"/>
                  </a:lnTo>
                  <a:lnTo>
                    <a:pt x="85210" y="0"/>
                  </a:lnTo>
                  <a:cubicBezTo>
                    <a:pt x="122118" y="0"/>
                    <a:pt x="142167" y="15949"/>
                    <a:pt x="142168" y="50123"/>
                  </a:cubicBezTo>
                  <a:lnTo>
                    <a:pt x="142167" y="2082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5" name="Forme libre : forme 1294">
              <a:extLst>
                <a:ext uri="{FF2B5EF4-FFF2-40B4-BE49-F238E27FC236}">
                  <a16:creationId xmlns:a16="http://schemas.microsoft.com/office/drawing/2014/main" id="{85A06E5C-7F12-4A00-B7C2-0D110DC8B17B}"/>
                </a:ext>
              </a:extLst>
            </p:cNvPr>
            <p:cNvSpPr/>
            <p:nvPr/>
          </p:nvSpPr>
          <p:spPr>
            <a:xfrm rot="8716295">
              <a:off x="9109023" y="3840461"/>
              <a:ext cx="57223" cy="60210"/>
            </a:xfrm>
            <a:custGeom>
              <a:avLst/>
              <a:gdLst>
                <a:gd name="connsiteX0" fmla="*/ 0 w 57223"/>
                <a:gd name="connsiteY0" fmla="*/ 60210 h 60210"/>
                <a:gd name="connsiteX1" fmla="*/ 41735 w 57223"/>
                <a:gd name="connsiteY1" fmla="*/ 0 h 60210"/>
                <a:gd name="connsiteX2" fmla="*/ 57223 w 57223"/>
                <a:gd name="connsiteY2" fmla="*/ 50920 h 60210"/>
                <a:gd name="connsiteX3" fmla="*/ 57223 w 57223"/>
                <a:gd name="connsiteY3" fmla="*/ 56844 h 60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223" h="60210">
                  <a:moveTo>
                    <a:pt x="0" y="60210"/>
                  </a:moveTo>
                  <a:lnTo>
                    <a:pt x="41735" y="0"/>
                  </a:lnTo>
                  <a:lnTo>
                    <a:pt x="57223" y="50920"/>
                  </a:lnTo>
                  <a:lnTo>
                    <a:pt x="57223" y="568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6" name="Forme libre : forme 1295">
              <a:extLst>
                <a:ext uri="{FF2B5EF4-FFF2-40B4-BE49-F238E27FC236}">
                  <a16:creationId xmlns:a16="http://schemas.microsoft.com/office/drawing/2014/main" id="{1252EC58-9E57-4107-B2FC-C59BA27CE7DF}"/>
                </a:ext>
              </a:extLst>
            </p:cNvPr>
            <p:cNvSpPr/>
            <p:nvPr/>
          </p:nvSpPr>
          <p:spPr>
            <a:xfrm rot="8716295">
              <a:off x="8857258" y="369896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7" name="Forme libre : forme 1296">
              <a:extLst>
                <a:ext uri="{FF2B5EF4-FFF2-40B4-BE49-F238E27FC236}">
                  <a16:creationId xmlns:a16="http://schemas.microsoft.com/office/drawing/2014/main" id="{1954E87D-9885-4B97-8ACC-9DDD71F1F192}"/>
                </a:ext>
              </a:extLst>
            </p:cNvPr>
            <p:cNvSpPr/>
            <p:nvPr/>
          </p:nvSpPr>
          <p:spPr>
            <a:xfrm rot="8716295">
              <a:off x="8732356" y="349029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8" name="Forme libre : forme 1297">
              <a:extLst>
                <a:ext uri="{FF2B5EF4-FFF2-40B4-BE49-F238E27FC236}">
                  <a16:creationId xmlns:a16="http://schemas.microsoft.com/office/drawing/2014/main" id="{7DA0C229-B685-46FD-A282-2DDCFCEDAB1D}"/>
                </a:ext>
              </a:extLst>
            </p:cNvPr>
            <p:cNvSpPr/>
            <p:nvPr/>
          </p:nvSpPr>
          <p:spPr>
            <a:xfrm rot="8716295">
              <a:off x="8947436" y="3739918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9" name="Forme libre : forme 1298">
              <a:extLst>
                <a:ext uri="{FF2B5EF4-FFF2-40B4-BE49-F238E27FC236}">
                  <a16:creationId xmlns:a16="http://schemas.microsoft.com/office/drawing/2014/main" id="{E583C73B-C59E-4715-A88F-1B25FEE34388}"/>
                </a:ext>
              </a:extLst>
            </p:cNvPr>
            <p:cNvSpPr/>
            <p:nvPr/>
          </p:nvSpPr>
          <p:spPr>
            <a:xfrm rot="8716295">
              <a:off x="8705985" y="3590318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0" name="Forme libre : forme 1299">
              <a:extLst>
                <a:ext uri="{FF2B5EF4-FFF2-40B4-BE49-F238E27FC236}">
                  <a16:creationId xmlns:a16="http://schemas.microsoft.com/office/drawing/2014/main" id="{38178581-3BEA-4A48-A870-1DDB85404FFE}"/>
                </a:ext>
              </a:extLst>
            </p:cNvPr>
            <p:cNvSpPr/>
            <p:nvPr/>
          </p:nvSpPr>
          <p:spPr>
            <a:xfrm rot="7484129">
              <a:off x="9046498" y="3963386"/>
              <a:ext cx="145510" cy="161114"/>
            </a:xfrm>
            <a:custGeom>
              <a:avLst/>
              <a:gdLst>
                <a:gd name="connsiteX0" fmla="*/ 115849 w 145510"/>
                <a:gd name="connsiteY0" fmla="*/ 20564 h 161114"/>
                <a:gd name="connsiteX1" fmla="*/ 145509 w 145510"/>
                <a:gd name="connsiteY1" fmla="*/ 0 h 161114"/>
                <a:gd name="connsiteX2" fmla="*/ 145510 w 145510"/>
                <a:gd name="connsiteY2" fmla="*/ 20564 h 161114"/>
                <a:gd name="connsiteX3" fmla="*/ 32372 w 145510"/>
                <a:gd name="connsiteY3" fmla="*/ 161114 h 161114"/>
                <a:gd name="connsiteX4" fmla="*/ 0 w 145510"/>
                <a:gd name="connsiteY4" fmla="*/ 100888 h 161114"/>
                <a:gd name="connsiteX5" fmla="*/ 69714 w 145510"/>
                <a:gd name="connsiteY5" fmla="*/ 52552 h 161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5510" h="161114">
                  <a:moveTo>
                    <a:pt x="115849" y="20564"/>
                  </a:moveTo>
                  <a:lnTo>
                    <a:pt x="145509" y="0"/>
                  </a:lnTo>
                  <a:lnTo>
                    <a:pt x="145510" y="20564"/>
                  </a:lnTo>
                  <a:close/>
                  <a:moveTo>
                    <a:pt x="32372" y="161114"/>
                  </a:moveTo>
                  <a:lnTo>
                    <a:pt x="0" y="100888"/>
                  </a:lnTo>
                  <a:lnTo>
                    <a:pt x="69714" y="525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1" name="Forme libre : forme 1300">
              <a:extLst>
                <a:ext uri="{FF2B5EF4-FFF2-40B4-BE49-F238E27FC236}">
                  <a16:creationId xmlns:a16="http://schemas.microsoft.com/office/drawing/2014/main" id="{2DF0D885-AE91-4D82-A22C-467632822CD4}"/>
                </a:ext>
              </a:extLst>
            </p:cNvPr>
            <p:cNvSpPr/>
            <p:nvPr/>
          </p:nvSpPr>
          <p:spPr>
            <a:xfrm rot="8716295">
              <a:off x="9047721" y="363275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2" name="Forme libre : forme 1301">
              <a:extLst>
                <a:ext uri="{FF2B5EF4-FFF2-40B4-BE49-F238E27FC236}">
                  <a16:creationId xmlns:a16="http://schemas.microsoft.com/office/drawing/2014/main" id="{33C52D86-EED4-4053-8849-8D331CAB4CF0}"/>
                </a:ext>
              </a:extLst>
            </p:cNvPr>
            <p:cNvSpPr/>
            <p:nvPr/>
          </p:nvSpPr>
          <p:spPr>
            <a:xfrm rot="8716295">
              <a:off x="8903560" y="452027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3" name="Forme libre : forme 1302">
              <a:extLst>
                <a:ext uri="{FF2B5EF4-FFF2-40B4-BE49-F238E27FC236}">
                  <a16:creationId xmlns:a16="http://schemas.microsoft.com/office/drawing/2014/main" id="{0AC4DA6A-C1AB-4D56-874A-91BC5CE716BE}"/>
                </a:ext>
              </a:extLst>
            </p:cNvPr>
            <p:cNvSpPr/>
            <p:nvPr/>
          </p:nvSpPr>
          <p:spPr>
            <a:xfrm rot="8716295">
              <a:off x="8995011" y="4560813"/>
              <a:ext cx="209150" cy="252972"/>
            </a:xfrm>
            <a:custGeom>
              <a:avLst/>
              <a:gdLst>
                <a:gd name="connsiteX0" fmla="*/ 147180 w 209150"/>
                <a:gd name="connsiteY0" fmla="*/ 96224 h 252972"/>
                <a:gd name="connsiteX1" fmla="*/ 147180 w 209150"/>
                <a:gd name="connsiteY1" fmla="*/ 79820 h 252972"/>
                <a:gd name="connsiteX2" fmla="*/ 113461 w 209150"/>
                <a:gd name="connsiteY2" fmla="*/ 38355 h 252972"/>
                <a:gd name="connsiteX3" fmla="*/ 111078 w 209150"/>
                <a:gd name="connsiteY3" fmla="*/ 39142 h 252972"/>
                <a:gd name="connsiteX4" fmla="*/ 138210 w 209150"/>
                <a:gd name="connsiteY4" fmla="*/ 0 h 252972"/>
                <a:gd name="connsiteX5" fmla="*/ 189158 w 209150"/>
                <a:gd name="connsiteY5" fmla="*/ 20925 h 252972"/>
                <a:gd name="connsiteX6" fmla="*/ 209150 w 209150"/>
                <a:gd name="connsiteY6" fmla="*/ 86655 h 252972"/>
                <a:gd name="connsiteX7" fmla="*/ 209150 w 209150"/>
                <a:gd name="connsiteY7" fmla="*/ 92579 h 252972"/>
                <a:gd name="connsiteX8" fmla="*/ 0 w 209150"/>
                <a:gd name="connsiteY8" fmla="*/ 252972 h 252972"/>
                <a:gd name="connsiteX9" fmla="*/ 0 w 209150"/>
                <a:gd name="connsiteY9" fmla="*/ 199389 h 252972"/>
                <a:gd name="connsiteX10" fmla="*/ 62137 w 209150"/>
                <a:gd name="connsiteY10" fmla="*/ 109748 h 252972"/>
                <a:gd name="connsiteX11" fmla="*/ 60149 w 209150"/>
                <a:gd name="connsiteY11" fmla="*/ 125842 h 252972"/>
                <a:gd name="connsiteX12" fmla="*/ 60149 w 209150"/>
                <a:gd name="connsiteY12" fmla="*/ 211963 h 252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9150" h="252972">
                  <a:moveTo>
                    <a:pt x="147180" y="96224"/>
                  </a:moveTo>
                  <a:lnTo>
                    <a:pt x="147180" y="79820"/>
                  </a:lnTo>
                  <a:cubicBezTo>
                    <a:pt x="147180" y="55214"/>
                    <a:pt x="133055" y="38354"/>
                    <a:pt x="113461" y="38355"/>
                  </a:cubicBezTo>
                  <a:lnTo>
                    <a:pt x="111078" y="39142"/>
                  </a:lnTo>
                  <a:lnTo>
                    <a:pt x="138210" y="0"/>
                  </a:lnTo>
                  <a:lnTo>
                    <a:pt x="189158" y="20925"/>
                  </a:lnTo>
                  <a:cubicBezTo>
                    <a:pt x="202088" y="36076"/>
                    <a:pt x="209150" y="58404"/>
                    <a:pt x="209150" y="86655"/>
                  </a:cubicBezTo>
                  <a:lnTo>
                    <a:pt x="209150" y="92579"/>
                  </a:lnTo>
                  <a:close/>
                  <a:moveTo>
                    <a:pt x="0" y="252972"/>
                  </a:moveTo>
                  <a:lnTo>
                    <a:pt x="0" y="199389"/>
                  </a:lnTo>
                  <a:lnTo>
                    <a:pt x="62137" y="109748"/>
                  </a:lnTo>
                  <a:lnTo>
                    <a:pt x="60149" y="125842"/>
                  </a:lnTo>
                  <a:lnTo>
                    <a:pt x="60149" y="211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4" name="Forme libre : forme 1303">
              <a:extLst>
                <a:ext uri="{FF2B5EF4-FFF2-40B4-BE49-F238E27FC236}">
                  <a16:creationId xmlns:a16="http://schemas.microsoft.com/office/drawing/2014/main" id="{46EFB273-913D-41A4-BE13-A8E412E897AD}"/>
                </a:ext>
              </a:extLst>
            </p:cNvPr>
            <p:cNvSpPr/>
            <p:nvPr/>
          </p:nvSpPr>
          <p:spPr>
            <a:xfrm rot="8716295">
              <a:off x="8948102" y="4463235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5" name="Forme libre : forme 1304">
              <a:extLst>
                <a:ext uri="{FF2B5EF4-FFF2-40B4-BE49-F238E27FC236}">
                  <a16:creationId xmlns:a16="http://schemas.microsoft.com/office/drawing/2014/main" id="{C8AFD01E-66A1-4775-A3BB-2B5B572FDEF5}"/>
                </a:ext>
              </a:extLst>
            </p:cNvPr>
            <p:cNvSpPr/>
            <p:nvPr/>
          </p:nvSpPr>
          <p:spPr>
            <a:xfrm rot="8716295">
              <a:off x="8791326" y="460881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6" name="Forme libre : forme 1305">
              <a:extLst>
                <a:ext uri="{FF2B5EF4-FFF2-40B4-BE49-F238E27FC236}">
                  <a16:creationId xmlns:a16="http://schemas.microsoft.com/office/drawing/2014/main" id="{C962FDB1-0DD4-43C1-8205-DE0798092D1A}"/>
                </a:ext>
              </a:extLst>
            </p:cNvPr>
            <p:cNvSpPr/>
            <p:nvPr/>
          </p:nvSpPr>
          <p:spPr>
            <a:xfrm rot="8716295">
              <a:off x="8666423" y="440014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7" name="Forme libre : forme 1306">
              <a:extLst>
                <a:ext uri="{FF2B5EF4-FFF2-40B4-BE49-F238E27FC236}">
                  <a16:creationId xmlns:a16="http://schemas.microsoft.com/office/drawing/2014/main" id="{0480D47A-1697-4D7E-813B-FF226D47F8DF}"/>
                </a:ext>
              </a:extLst>
            </p:cNvPr>
            <p:cNvSpPr/>
            <p:nvPr/>
          </p:nvSpPr>
          <p:spPr>
            <a:xfrm rot="8716295">
              <a:off x="8654371" y="4261364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8" name="Forme libre : forme 1307">
              <a:extLst>
                <a:ext uri="{FF2B5EF4-FFF2-40B4-BE49-F238E27FC236}">
                  <a16:creationId xmlns:a16="http://schemas.microsoft.com/office/drawing/2014/main" id="{65904141-C75F-433C-BE0F-46087197E036}"/>
                </a:ext>
              </a:extLst>
            </p:cNvPr>
            <p:cNvSpPr/>
            <p:nvPr/>
          </p:nvSpPr>
          <p:spPr>
            <a:xfrm rot="8716295">
              <a:off x="8881504" y="464976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9" name="Forme libre : forme 1308">
              <a:extLst>
                <a:ext uri="{FF2B5EF4-FFF2-40B4-BE49-F238E27FC236}">
                  <a16:creationId xmlns:a16="http://schemas.microsoft.com/office/drawing/2014/main" id="{A0CD19D0-7C1F-40D5-AA23-F68A2F38F994}"/>
                </a:ext>
              </a:extLst>
            </p:cNvPr>
            <p:cNvSpPr/>
            <p:nvPr/>
          </p:nvSpPr>
          <p:spPr>
            <a:xfrm rot="8716295">
              <a:off x="9080425" y="435866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0" name="Forme libre : forme 1309">
              <a:extLst>
                <a:ext uri="{FF2B5EF4-FFF2-40B4-BE49-F238E27FC236}">
                  <a16:creationId xmlns:a16="http://schemas.microsoft.com/office/drawing/2014/main" id="{81CE2624-1FCB-48DB-8B92-3586C59F8F57}"/>
                </a:ext>
              </a:extLst>
            </p:cNvPr>
            <p:cNvSpPr/>
            <p:nvPr/>
          </p:nvSpPr>
          <p:spPr>
            <a:xfrm rot="8716295">
              <a:off x="9127247" y="4438294"/>
              <a:ext cx="21643" cy="52047"/>
            </a:xfrm>
            <a:custGeom>
              <a:avLst/>
              <a:gdLst>
                <a:gd name="connsiteX0" fmla="*/ 21643 w 21643"/>
                <a:gd name="connsiteY0" fmla="*/ 52047 h 52047"/>
                <a:gd name="connsiteX1" fmla="*/ 0 w 21643"/>
                <a:gd name="connsiteY1" fmla="*/ 31224 h 52047"/>
                <a:gd name="connsiteX2" fmla="*/ 21643 w 21643"/>
                <a:gd name="connsiteY2" fmla="*/ 0 h 52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643" h="52047">
                  <a:moveTo>
                    <a:pt x="21643" y="52047"/>
                  </a:moveTo>
                  <a:lnTo>
                    <a:pt x="0" y="31224"/>
                  </a:lnTo>
                  <a:lnTo>
                    <a:pt x="2164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1" name="Forme libre : forme 1310">
              <a:extLst>
                <a:ext uri="{FF2B5EF4-FFF2-40B4-BE49-F238E27FC236}">
                  <a16:creationId xmlns:a16="http://schemas.microsoft.com/office/drawing/2014/main" id="{31C12572-D0CA-4CC0-9BB5-4B6FE0704FA0}"/>
                </a:ext>
              </a:extLst>
            </p:cNvPr>
            <p:cNvSpPr/>
            <p:nvPr/>
          </p:nvSpPr>
          <p:spPr>
            <a:xfrm rot="8716295">
              <a:off x="8929152" y="4250017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2" name="Forme libre : forme 1311">
              <a:extLst>
                <a:ext uri="{FF2B5EF4-FFF2-40B4-BE49-F238E27FC236}">
                  <a16:creationId xmlns:a16="http://schemas.microsoft.com/office/drawing/2014/main" id="{06FE0F28-DCFA-4771-A32B-AC14F208D6DB}"/>
                </a:ext>
              </a:extLst>
            </p:cNvPr>
            <p:cNvSpPr/>
            <p:nvPr/>
          </p:nvSpPr>
          <p:spPr>
            <a:xfrm rot="8716295">
              <a:off x="8017038" y="1881505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3" name="Forme libre : forme 1312">
              <a:extLst>
                <a:ext uri="{FF2B5EF4-FFF2-40B4-BE49-F238E27FC236}">
                  <a16:creationId xmlns:a16="http://schemas.microsoft.com/office/drawing/2014/main" id="{03B42E83-510C-4BBE-9C20-B941145EA450}"/>
                </a:ext>
              </a:extLst>
            </p:cNvPr>
            <p:cNvSpPr/>
            <p:nvPr/>
          </p:nvSpPr>
          <p:spPr>
            <a:xfrm rot="8716295">
              <a:off x="8106430" y="1910747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4" name="Forme libre : forme 1313">
              <a:extLst>
                <a:ext uri="{FF2B5EF4-FFF2-40B4-BE49-F238E27FC236}">
                  <a16:creationId xmlns:a16="http://schemas.microsoft.com/office/drawing/2014/main" id="{E67399C3-F788-46B5-AAA0-190EC08469BC}"/>
                </a:ext>
              </a:extLst>
            </p:cNvPr>
            <p:cNvSpPr/>
            <p:nvPr/>
          </p:nvSpPr>
          <p:spPr>
            <a:xfrm rot="8716295">
              <a:off x="8061580" y="1824467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5" name="Forme libre : forme 1314">
              <a:extLst>
                <a:ext uri="{FF2B5EF4-FFF2-40B4-BE49-F238E27FC236}">
                  <a16:creationId xmlns:a16="http://schemas.microsoft.com/office/drawing/2014/main" id="{BD7D0800-7564-4656-8A63-156A029FB19B}"/>
                </a:ext>
              </a:extLst>
            </p:cNvPr>
            <p:cNvSpPr/>
            <p:nvPr/>
          </p:nvSpPr>
          <p:spPr>
            <a:xfrm rot="8716295">
              <a:off x="7904804" y="197004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6" name="Forme libre : forme 1315">
              <a:extLst>
                <a:ext uri="{FF2B5EF4-FFF2-40B4-BE49-F238E27FC236}">
                  <a16:creationId xmlns:a16="http://schemas.microsoft.com/office/drawing/2014/main" id="{E030DE09-FA2D-4210-A1C0-5CFD337D68EF}"/>
                </a:ext>
              </a:extLst>
            </p:cNvPr>
            <p:cNvSpPr/>
            <p:nvPr/>
          </p:nvSpPr>
          <p:spPr>
            <a:xfrm rot="8716295">
              <a:off x="7779901" y="17613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7" name="Forme libre : forme 1316">
              <a:extLst>
                <a:ext uri="{FF2B5EF4-FFF2-40B4-BE49-F238E27FC236}">
                  <a16:creationId xmlns:a16="http://schemas.microsoft.com/office/drawing/2014/main" id="{441C3211-E12F-43F5-818D-D86C03979435}"/>
                </a:ext>
              </a:extLst>
            </p:cNvPr>
            <p:cNvSpPr/>
            <p:nvPr/>
          </p:nvSpPr>
          <p:spPr>
            <a:xfrm rot="8716295">
              <a:off x="7767849" y="1622596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8" name="Forme libre : forme 1317">
              <a:extLst>
                <a:ext uri="{FF2B5EF4-FFF2-40B4-BE49-F238E27FC236}">
                  <a16:creationId xmlns:a16="http://schemas.microsoft.com/office/drawing/2014/main" id="{C81B3DBB-390A-4D8F-BC6E-FD3ECDEE0BB0}"/>
                </a:ext>
              </a:extLst>
            </p:cNvPr>
            <p:cNvSpPr/>
            <p:nvPr/>
          </p:nvSpPr>
          <p:spPr>
            <a:xfrm rot="8716295">
              <a:off x="7994982" y="2011001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9" name="Forme libre : forme 1318">
              <a:extLst>
                <a:ext uri="{FF2B5EF4-FFF2-40B4-BE49-F238E27FC236}">
                  <a16:creationId xmlns:a16="http://schemas.microsoft.com/office/drawing/2014/main" id="{BFAFB460-4ECD-40BE-A4EC-4006AC399A7C}"/>
                </a:ext>
              </a:extLst>
            </p:cNvPr>
            <p:cNvSpPr/>
            <p:nvPr/>
          </p:nvSpPr>
          <p:spPr>
            <a:xfrm rot="8716295">
              <a:off x="8306137" y="1631353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0" name="Forme libre : forme 1319">
              <a:extLst>
                <a:ext uri="{FF2B5EF4-FFF2-40B4-BE49-F238E27FC236}">
                  <a16:creationId xmlns:a16="http://schemas.microsoft.com/office/drawing/2014/main" id="{7B541B2F-C4AD-4DCD-BCB5-5352D9CFB3ED}"/>
                </a:ext>
              </a:extLst>
            </p:cNvPr>
            <p:cNvSpPr/>
            <p:nvPr/>
          </p:nvSpPr>
          <p:spPr>
            <a:xfrm rot="8716295">
              <a:off x="8395529" y="1660595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1" name="Forme libre : forme 1320">
              <a:extLst>
                <a:ext uri="{FF2B5EF4-FFF2-40B4-BE49-F238E27FC236}">
                  <a16:creationId xmlns:a16="http://schemas.microsoft.com/office/drawing/2014/main" id="{A45C4522-56D9-451A-9CF4-67FE5A5396B0}"/>
                </a:ext>
              </a:extLst>
            </p:cNvPr>
            <p:cNvSpPr/>
            <p:nvPr/>
          </p:nvSpPr>
          <p:spPr>
            <a:xfrm rot="8716295">
              <a:off x="8193903" y="1719897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2" name="Forme libre : forme 1321">
              <a:extLst>
                <a:ext uri="{FF2B5EF4-FFF2-40B4-BE49-F238E27FC236}">
                  <a16:creationId xmlns:a16="http://schemas.microsoft.com/office/drawing/2014/main" id="{E7717817-0555-4B4B-895C-A33E36D53D8F}"/>
                </a:ext>
              </a:extLst>
            </p:cNvPr>
            <p:cNvSpPr/>
            <p:nvPr/>
          </p:nvSpPr>
          <p:spPr>
            <a:xfrm rot="8716295">
              <a:off x="8069001" y="1511224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3" name="Forme libre : forme 1322">
              <a:extLst>
                <a:ext uri="{FF2B5EF4-FFF2-40B4-BE49-F238E27FC236}">
                  <a16:creationId xmlns:a16="http://schemas.microsoft.com/office/drawing/2014/main" id="{5BD4E83D-6535-4EE0-A9B7-D5185CFA466C}"/>
                </a:ext>
              </a:extLst>
            </p:cNvPr>
            <p:cNvSpPr/>
            <p:nvPr/>
          </p:nvSpPr>
          <p:spPr>
            <a:xfrm rot="8716295">
              <a:off x="8284081" y="1760849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4" name="Forme libre : forme 1323">
              <a:extLst>
                <a:ext uri="{FF2B5EF4-FFF2-40B4-BE49-F238E27FC236}">
                  <a16:creationId xmlns:a16="http://schemas.microsoft.com/office/drawing/2014/main" id="{550B4B31-795C-4AC8-BA83-B9758B5300F7}"/>
                </a:ext>
              </a:extLst>
            </p:cNvPr>
            <p:cNvSpPr/>
            <p:nvPr/>
          </p:nvSpPr>
          <p:spPr>
            <a:xfrm rot="8716295">
              <a:off x="8042630" y="1611249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5" name="Forme libre : forme 1324">
              <a:extLst>
                <a:ext uri="{FF2B5EF4-FFF2-40B4-BE49-F238E27FC236}">
                  <a16:creationId xmlns:a16="http://schemas.microsoft.com/office/drawing/2014/main" id="{7AE347C2-0FF0-43F2-9E07-9395DE30E665}"/>
                </a:ext>
              </a:extLst>
            </p:cNvPr>
            <p:cNvSpPr/>
            <p:nvPr/>
          </p:nvSpPr>
          <p:spPr>
            <a:xfrm rot="7484129">
              <a:off x="8389012" y="195220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6" name="Forme libre : forme 1325">
              <a:extLst>
                <a:ext uri="{FF2B5EF4-FFF2-40B4-BE49-F238E27FC236}">
                  <a16:creationId xmlns:a16="http://schemas.microsoft.com/office/drawing/2014/main" id="{D3A4F277-D48F-4980-838D-133EBFE3B58C}"/>
                </a:ext>
              </a:extLst>
            </p:cNvPr>
            <p:cNvSpPr/>
            <p:nvPr/>
          </p:nvSpPr>
          <p:spPr>
            <a:xfrm rot="13089394">
              <a:off x="8493832" y="1918734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7" name="Forme libre : forme 1326">
              <a:extLst>
                <a:ext uri="{FF2B5EF4-FFF2-40B4-BE49-F238E27FC236}">
                  <a16:creationId xmlns:a16="http://schemas.microsoft.com/office/drawing/2014/main" id="{F44857BA-0E6D-444C-8130-0CFA8DA44B30}"/>
                </a:ext>
              </a:extLst>
            </p:cNvPr>
            <p:cNvSpPr/>
            <p:nvPr/>
          </p:nvSpPr>
          <p:spPr>
            <a:xfrm rot="8716295">
              <a:off x="8679417" y="1727053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8" name="Forme libre : forme 1327">
              <a:extLst>
                <a:ext uri="{FF2B5EF4-FFF2-40B4-BE49-F238E27FC236}">
                  <a16:creationId xmlns:a16="http://schemas.microsoft.com/office/drawing/2014/main" id="{D4C84979-7E73-4B70-A159-042D83A98EA4}"/>
                </a:ext>
              </a:extLst>
            </p:cNvPr>
            <p:cNvSpPr/>
            <p:nvPr/>
          </p:nvSpPr>
          <p:spPr>
            <a:xfrm rot="8716295">
              <a:off x="8627612" y="162346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9" name="Forme libre : forme 1328">
              <a:extLst>
                <a:ext uri="{FF2B5EF4-FFF2-40B4-BE49-F238E27FC236}">
                  <a16:creationId xmlns:a16="http://schemas.microsoft.com/office/drawing/2014/main" id="{C1D10C79-BBC0-4738-9EE2-1E8709B72D7D}"/>
                </a:ext>
              </a:extLst>
            </p:cNvPr>
            <p:cNvSpPr/>
            <p:nvPr/>
          </p:nvSpPr>
          <p:spPr>
            <a:xfrm rot="8716295">
              <a:off x="8384366" y="1653681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0" name="Forme libre : forme 1329">
              <a:extLst>
                <a:ext uri="{FF2B5EF4-FFF2-40B4-BE49-F238E27FC236}">
                  <a16:creationId xmlns:a16="http://schemas.microsoft.com/office/drawing/2014/main" id="{84968DC1-9DA6-4257-AB15-0940E818C029}"/>
                </a:ext>
              </a:extLst>
            </p:cNvPr>
            <p:cNvSpPr/>
            <p:nvPr/>
          </p:nvSpPr>
          <p:spPr>
            <a:xfrm rot="8716295">
              <a:off x="8561818" y="1494439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1" name="Forme libre : forme 1330">
              <a:extLst>
                <a:ext uri="{FF2B5EF4-FFF2-40B4-BE49-F238E27FC236}">
                  <a16:creationId xmlns:a16="http://schemas.microsoft.com/office/drawing/2014/main" id="{259462E3-1804-418C-9BF0-9C34C3096E62}"/>
                </a:ext>
              </a:extLst>
            </p:cNvPr>
            <p:cNvSpPr/>
            <p:nvPr/>
          </p:nvSpPr>
          <p:spPr>
            <a:xfrm rot="8716295">
              <a:off x="7793871" y="122180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2" name="Forme libre : forme 1331">
              <a:extLst>
                <a:ext uri="{FF2B5EF4-FFF2-40B4-BE49-F238E27FC236}">
                  <a16:creationId xmlns:a16="http://schemas.microsoft.com/office/drawing/2014/main" id="{7B2E794A-058D-4204-8976-C2253563124B}"/>
                </a:ext>
              </a:extLst>
            </p:cNvPr>
            <p:cNvSpPr/>
            <p:nvPr/>
          </p:nvSpPr>
          <p:spPr>
            <a:xfrm rot="8716295">
              <a:off x="7883263" y="125104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3" name="Forme libre : forme 1332">
              <a:extLst>
                <a:ext uri="{FF2B5EF4-FFF2-40B4-BE49-F238E27FC236}">
                  <a16:creationId xmlns:a16="http://schemas.microsoft.com/office/drawing/2014/main" id="{31CF00F1-0460-4F25-BB21-EB3DEDFBD98D}"/>
                </a:ext>
              </a:extLst>
            </p:cNvPr>
            <p:cNvSpPr/>
            <p:nvPr/>
          </p:nvSpPr>
          <p:spPr>
            <a:xfrm rot="8716295">
              <a:off x="7838413" y="1164768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4" name="Forme libre : forme 1333">
              <a:extLst>
                <a:ext uri="{FF2B5EF4-FFF2-40B4-BE49-F238E27FC236}">
                  <a16:creationId xmlns:a16="http://schemas.microsoft.com/office/drawing/2014/main" id="{BCBED745-150E-4526-8568-62C6BF9E77BE}"/>
                </a:ext>
              </a:extLst>
            </p:cNvPr>
            <p:cNvSpPr/>
            <p:nvPr/>
          </p:nvSpPr>
          <p:spPr>
            <a:xfrm rot="8716295">
              <a:off x="7681637" y="131035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5" name="Forme libre : forme 1334">
              <a:extLst>
                <a:ext uri="{FF2B5EF4-FFF2-40B4-BE49-F238E27FC236}">
                  <a16:creationId xmlns:a16="http://schemas.microsoft.com/office/drawing/2014/main" id="{4F66BBCB-B640-4584-ADDB-9A235DECC828}"/>
                </a:ext>
              </a:extLst>
            </p:cNvPr>
            <p:cNvSpPr/>
            <p:nvPr/>
          </p:nvSpPr>
          <p:spPr>
            <a:xfrm rot="8716295">
              <a:off x="7556734" y="110167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6" name="Forme libre : forme 1335">
              <a:extLst>
                <a:ext uri="{FF2B5EF4-FFF2-40B4-BE49-F238E27FC236}">
                  <a16:creationId xmlns:a16="http://schemas.microsoft.com/office/drawing/2014/main" id="{E6E36EEB-8827-4842-B89F-26523D1637B2}"/>
                </a:ext>
              </a:extLst>
            </p:cNvPr>
            <p:cNvSpPr/>
            <p:nvPr/>
          </p:nvSpPr>
          <p:spPr>
            <a:xfrm rot="8716295">
              <a:off x="7544682" y="962897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7" name="Forme libre : forme 1336">
              <a:extLst>
                <a:ext uri="{FF2B5EF4-FFF2-40B4-BE49-F238E27FC236}">
                  <a16:creationId xmlns:a16="http://schemas.microsoft.com/office/drawing/2014/main" id="{ECE47C5C-3D06-4911-A1DE-543CB20F5396}"/>
                </a:ext>
              </a:extLst>
            </p:cNvPr>
            <p:cNvSpPr/>
            <p:nvPr/>
          </p:nvSpPr>
          <p:spPr>
            <a:xfrm rot="8716295">
              <a:off x="7771815" y="1351302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8" name="Forme libre : forme 1337">
              <a:extLst>
                <a:ext uri="{FF2B5EF4-FFF2-40B4-BE49-F238E27FC236}">
                  <a16:creationId xmlns:a16="http://schemas.microsoft.com/office/drawing/2014/main" id="{8CC68F11-D64D-4203-A8DD-898BE62FB0FE}"/>
                </a:ext>
              </a:extLst>
            </p:cNvPr>
            <p:cNvSpPr/>
            <p:nvPr/>
          </p:nvSpPr>
          <p:spPr>
            <a:xfrm rot="8716295">
              <a:off x="8082970" y="97165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9" name="Forme libre : forme 1338">
              <a:extLst>
                <a:ext uri="{FF2B5EF4-FFF2-40B4-BE49-F238E27FC236}">
                  <a16:creationId xmlns:a16="http://schemas.microsoft.com/office/drawing/2014/main" id="{1B97A536-69CC-493F-9F28-150068FA4CCA}"/>
                </a:ext>
              </a:extLst>
            </p:cNvPr>
            <p:cNvSpPr/>
            <p:nvPr/>
          </p:nvSpPr>
          <p:spPr>
            <a:xfrm rot="8716295">
              <a:off x="8172362" y="100089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0" name="Forme libre : forme 1339">
              <a:extLst>
                <a:ext uri="{FF2B5EF4-FFF2-40B4-BE49-F238E27FC236}">
                  <a16:creationId xmlns:a16="http://schemas.microsoft.com/office/drawing/2014/main" id="{CCB2D551-0206-4F5E-9C9A-7BFB60BB3657}"/>
                </a:ext>
              </a:extLst>
            </p:cNvPr>
            <p:cNvSpPr/>
            <p:nvPr/>
          </p:nvSpPr>
          <p:spPr>
            <a:xfrm rot="8716295">
              <a:off x="7970736" y="106019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1" name="Forme libre : forme 1340">
              <a:extLst>
                <a:ext uri="{FF2B5EF4-FFF2-40B4-BE49-F238E27FC236}">
                  <a16:creationId xmlns:a16="http://schemas.microsoft.com/office/drawing/2014/main" id="{9A449D56-39AF-4FEE-8AA3-483E9E2127DF}"/>
                </a:ext>
              </a:extLst>
            </p:cNvPr>
            <p:cNvSpPr/>
            <p:nvPr/>
          </p:nvSpPr>
          <p:spPr>
            <a:xfrm rot="8716295">
              <a:off x="7845834" y="851525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2" name="Forme libre : forme 1341">
              <a:extLst>
                <a:ext uri="{FF2B5EF4-FFF2-40B4-BE49-F238E27FC236}">
                  <a16:creationId xmlns:a16="http://schemas.microsoft.com/office/drawing/2014/main" id="{2C1F0455-4C7C-4E73-A620-001FD7ED9AB5}"/>
                </a:ext>
              </a:extLst>
            </p:cNvPr>
            <p:cNvSpPr/>
            <p:nvPr/>
          </p:nvSpPr>
          <p:spPr>
            <a:xfrm rot="8716295">
              <a:off x="8060914" y="1101150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3" name="Forme libre : forme 1342">
              <a:extLst>
                <a:ext uri="{FF2B5EF4-FFF2-40B4-BE49-F238E27FC236}">
                  <a16:creationId xmlns:a16="http://schemas.microsoft.com/office/drawing/2014/main" id="{41DB3307-8152-4BE9-B762-06FE2A91823A}"/>
                </a:ext>
              </a:extLst>
            </p:cNvPr>
            <p:cNvSpPr/>
            <p:nvPr/>
          </p:nvSpPr>
          <p:spPr>
            <a:xfrm rot="8716295">
              <a:off x="7819463" y="951550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4" name="Forme libre : forme 1343">
              <a:extLst>
                <a:ext uri="{FF2B5EF4-FFF2-40B4-BE49-F238E27FC236}">
                  <a16:creationId xmlns:a16="http://schemas.microsoft.com/office/drawing/2014/main" id="{2DB83C87-A139-49A9-B6AB-1102034F7247}"/>
                </a:ext>
              </a:extLst>
            </p:cNvPr>
            <p:cNvSpPr/>
            <p:nvPr/>
          </p:nvSpPr>
          <p:spPr>
            <a:xfrm rot="7484129">
              <a:off x="8165845" y="129250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5" name="Forme libre : forme 1344">
              <a:extLst>
                <a:ext uri="{FF2B5EF4-FFF2-40B4-BE49-F238E27FC236}">
                  <a16:creationId xmlns:a16="http://schemas.microsoft.com/office/drawing/2014/main" id="{11C329AE-CBAF-4CCB-B99D-3F22C888BA7C}"/>
                </a:ext>
              </a:extLst>
            </p:cNvPr>
            <p:cNvSpPr/>
            <p:nvPr/>
          </p:nvSpPr>
          <p:spPr>
            <a:xfrm rot="13089394">
              <a:off x="8270665" y="1259035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6" name="Forme libre : forme 1345">
              <a:extLst>
                <a:ext uri="{FF2B5EF4-FFF2-40B4-BE49-F238E27FC236}">
                  <a16:creationId xmlns:a16="http://schemas.microsoft.com/office/drawing/2014/main" id="{E706AB59-2595-41B4-8522-59590F4D9699}"/>
                </a:ext>
              </a:extLst>
            </p:cNvPr>
            <p:cNvSpPr/>
            <p:nvPr/>
          </p:nvSpPr>
          <p:spPr>
            <a:xfrm rot="8716295">
              <a:off x="8456250" y="1067354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7" name="Forme libre : forme 1346">
              <a:extLst>
                <a:ext uri="{FF2B5EF4-FFF2-40B4-BE49-F238E27FC236}">
                  <a16:creationId xmlns:a16="http://schemas.microsoft.com/office/drawing/2014/main" id="{8B218DA3-4C20-417B-B0EF-ABDFE6AB8CC6}"/>
                </a:ext>
              </a:extLst>
            </p:cNvPr>
            <p:cNvSpPr/>
            <p:nvPr/>
          </p:nvSpPr>
          <p:spPr>
            <a:xfrm rot="8716295">
              <a:off x="8404445" y="963761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8" name="Forme libre : forme 1347">
              <a:extLst>
                <a:ext uri="{FF2B5EF4-FFF2-40B4-BE49-F238E27FC236}">
                  <a16:creationId xmlns:a16="http://schemas.microsoft.com/office/drawing/2014/main" id="{377AE419-7F42-4BED-883F-DE4817AED47F}"/>
                </a:ext>
              </a:extLst>
            </p:cNvPr>
            <p:cNvSpPr/>
            <p:nvPr/>
          </p:nvSpPr>
          <p:spPr>
            <a:xfrm rot="8716295">
              <a:off x="8161199" y="99398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9" name="Forme libre : forme 1348">
              <a:extLst>
                <a:ext uri="{FF2B5EF4-FFF2-40B4-BE49-F238E27FC236}">
                  <a16:creationId xmlns:a16="http://schemas.microsoft.com/office/drawing/2014/main" id="{7E83A637-26B0-46B8-8EFD-0E2059469BCD}"/>
                </a:ext>
              </a:extLst>
            </p:cNvPr>
            <p:cNvSpPr/>
            <p:nvPr/>
          </p:nvSpPr>
          <p:spPr>
            <a:xfrm rot="8716295">
              <a:off x="8338651" y="834740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0" name="Forme libre : forme 1349">
              <a:extLst>
                <a:ext uri="{FF2B5EF4-FFF2-40B4-BE49-F238E27FC236}">
                  <a16:creationId xmlns:a16="http://schemas.microsoft.com/office/drawing/2014/main" id="{C18F78D3-27CA-4FE7-8D10-288FCA710C52}"/>
                </a:ext>
              </a:extLst>
            </p:cNvPr>
            <p:cNvSpPr/>
            <p:nvPr/>
          </p:nvSpPr>
          <p:spPr>
            <a:xfrm rot="8716295">
              <a:off x="7574932" y="559748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1" name="Forme libre : forme 1350">
              <a:extLst>
                <a:ext uri="{FF2B5EF4-FFF2-40B4-BE49-F238E27FC236}">
                  <a16:creationId xmlns:a16="http://schemas.microsoft.com/office/drawing/2014/main" id="{A924F1C2-2B76-450B-9A77-8646D18AD03B}"/>
                </a:ext>
              </a:extLst>
            </p:cNvPr>
            <p:cNvSpPr/>
            <p:nvPr/>
          </p:nvSpPr>
          <p:spPr>
            <a:xfrm rot="8716295">
              <a:off x="7664324" y="588990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2" name="Forme libre : forme 1351">
              <a:extLst>
                <a:ext uri="{FF2B5EF4-FFF2-40B4-BE49-F238E27FC236}">
                  <a16:creationId xmlns:a16="http://schemas.microsoft.com/office/drawing/2014/main" id="{60DD2207-E931-4D7C-9A6C-4E56F5350FC4}"/>
                </a:ext>
              </a:extLst>
            </p:cNvPr>
            <p:cNvSpPr/>
            <p:nvPr/>
          </p:nvSpPr>
          <p:spPr>
            <a:xfrm rot="8716295">
              <a:off x="7619474" y="502710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3" name="Forme libre : forme 1352">
              <a:extLst>
                <a:ext uri="{FF2B5EF4-FFF2-40B4-BE49-F238E27FC236}">
                  <a16:creationId xmlns:a16="http://schemas.microsoft.com/office/drawing/2014/main" id="{689E2E49-7D57-46D6-AA9A-1A26E7895ACE}"/>
                </a:ext>
              </a:extLst>
            </p:cNvPr>
            <p:cNvSpPr/>
            <p:nvPr/>
          </p:nvSpPr>
          <p:spPr>
            <a:xfrm rot="8716295">
              <a:off x="7462698" y="648292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4" name="Forme libre : forme 1353">
              <a:extLst>
                <a:ext uri="{FF2B5EF4-FFF2-40B4-BE49-F238E27FC236}">
                  <a16:creationId xmlns:a16="http://schemas.microsoft.com/office/drawing/2014/main" id="{E762F27D-A5ED-44DC-B200-6B930738C39C}"/>
                </a:ext>
              </a:extLst>
            </p:cNvPr>
            <p:cNvSpPr/>
            <p:nvPr/>
          </p:nvSpPr>
          <p:spPr>
            <a:xfrm rot="8716295">
              <a:off x="7337795" y="43961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5" name="Forme libre : forme 1354">
              <a:extLst>
                <a:ext uri="{FF2B5EF4-FFF2-40B4-BE49-F238E27FC236}">
                  <a16:creationId xmlns:a16="http://schemas.microsoft.com/office/drawing/2014/main" id="{CE2E4ED8-7B2D-48C9-B5B5-5ED6C2B0B006}"/>
                </a:ext>
              </a:extLst>
            </p:cNvPr>
            <p:cNvSpPr/>
            <p:nvPr/>
          </p:nvSpPr>
          <p:spPr>
            <a:xfrm rot="8716295">
              <a:off x="7325743" y="300839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6" name="Forme libre : forme 1355">
              <a:extLst>
                <a:ext uri="{FF2B5EF4-FFF2-40B4-BE49-F238E27FC236}">
                  <a16:creationId xmlns:a16="http://schemas.microsoft.com/office/drawing/2014/main" id="{9FB8DA68-5ABC-4DC0-834A-BDB943EA68FB}"/>
                </a:ext>
              </a:extLst>
            </p:cNvPr>
            <p:cNvSpPr/>
            <p:nvPr/>
          </p:nvSpPr>
          <p:spPr>
            <a:xfrm rot="8716295">
              <a:off x="7552876" y="689244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7" name="Forme libre : forme 1356">
              <a:extLst>
                <a:ext uri="{FF2B5EF4-FFF2-40B4-BE49-F238E27FC236}">
                  <a16:creationId xmlns:a16="http://schemas.microsoft.com/office/drawing/2014/main" id="{2532A1A1-AFF9-4E4A-AE61-85F94FA9A1F0}"/>
                </a:ext>
              </a:extLst>
            </p:cNvPr>
            <p:cNvSpPr/>
            <p:nvPr/>
          </p:nvSpPr>
          <p:spPr>
            <a:xfrm rot="8716295">
              <a:off x="7864031" y="309596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8" name="Forme libre : forme 1357">
              <a:extLst>
                <a:ext uri="{FF2B5EF4-FFF2-40B4-BE49-F238E27FC236}">
                  <a16:creationId xmlns:a16="http://schemas.microsoft.com/office/drawing/2014/main" id="{DED91229-5351-48DF-B7EF-4609E3893D59}"/>
                </a:ext>
              </a:extLst>
            </p:cNvPr>
            <p:cNvSpPr/>
            <p:nvPr/>
          </p:nvSpPr>
          <p:spPr>
            <a:xfrm rot="8716295">
              <a:off x="7953423" y="338838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9" name="Forme libre : forme 1358">
              <a:extLst>
                <a:ext uri="{FF2B5EF4-FFF2-40B4-BE49-F238E27FC236}">
                  <a16:creationId xmlns:a16="http://schemas.microsoft.com/office/drawing/2014/main" id="{F6DE1FE8-6182-462A-B540-3AB721D4880E}"/>
                </a:ext>
              </a:extLst>
            </p:cNvPr>
            <p:cNvSpPr/>
            <p:nvPr/>
          </p:nvSpPr>
          <p:spPr>
            <a:xfrm rot="8716295">
              <a:off x="7751797" y="398140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0" name="Forme libre : forme 1359">
              <a:extLst>
                <a:ext uri="{FF2B5EF4-FFF2-40B4-BE49-F238E27FC236}">
                  <a16:creationId xmlns:a16="http://schemas.microsoft.com/office/drawing/2014/main" id="{2928CCE2-867E-4FA8-A555-51BA581DB6E0}"/>
                </a:ext>
              </a:extLst>
            </p:cNvPr>
            <p:cNvSpPr/>
            <p:nvPr/>
          </p:nvSpPr>
          <p:spPr>
            <a:xfrm rot="8716295">
              <a:off x="7626895" y="189467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1" name="Forme libre : forme 1360">
              <a:extLst>
                <a:ext uri="{FF2B5EF4-FFF2-40B4-BE49-F238E27FC236}">
                  <a16:creationId xmlns:a16="http://schemas.microsoft.com/office/drawing/2014/main" id="{055FDC26-CCE7-48FF-9A8C-B56F5E68D13A}"/>
                </a:ext>
              </a:extLst>
            </p:cNvPr>
            <p:cNvSpPr/>
            <p:nvPr/>
          </p:nvSpPr>
          <p:spPr>
            <a:xfrm rot="8716295">
              <a:off x="7841975" y="43909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2" name="Forme libre : forme 1361">
              <a:extLst>
                <a:ext uri="{FF2B5EF4-FFF2-40B4-BE49-F238E27FC236}">
                  <a16:creationId xmlns:a16="http://schemas.microsoft.com/office/drawing/2014/main" id="{988F6F8A-D004-4539-900F-79E6C75585ED}"/>
                </a:ext>
              </a:extLst>
            </p:cNvPr>
            <p:cNvSpPr/>
            <p:nvPr/>
          </p:nvSpPr>
          <p:spPr>
            <a:xfrm rot="8716295">
              <a:off x="7600524" y="289492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3" name="Forme libre : forme 1362">
              <a:extLst>
                <a:ext uri="{FF2B5EF4-FFF2-40B4-BE49-F238E27FC236}">
                  <a16:creationId xmlns:a16="http://schemas.microsoft.com/office/drawing/2014/main" id="{4FDA5393-01D2-4137-A7AE-DC3D20BA6CB3}"/>
                </a:ext>
              </a:extLst>
            </p:cNvPr>
            <p:cNvSpPr/>
            <p:nvPr/>
          </p:nvSpPr>
          <p:spPr>
            <a:xfrm rot="7484129">
              <a:off x="7946906" y="63044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4" name="Forme libre : forme 1363">
              <a:extLst>
                <a:ext uri="{FF2B5EF4-FFF2-40B4-BE49-F238E27FC236}">
                  <a16:creationId xmlns:a16="http://schemas.microsoft.com/office/drawing/2014/main" id="{B758289F-AE2B-40D9-A572-42C3517F5AA9}"/>
                </a:ext>
              </a:extLst>
            </p:cNvPr>
            <p:cNvSpPr/>
            <p:nvPr/>
          </p:nvSpPr>
          <p:spPr>
            <a:xfrm rot="13089394">
              <a:off x="8051726" y="596977"/>
              <a:ext cx="270377" cy="325556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5" name="Forme libre : forme 1364">
              <a:extLst>
                <a:ext uri="{FF2B5EF4-FFF2-40B4-BE49-F238E27FC236}">
                  <a16:creationId xmlns:a16="http://schemas.microsoft.com/office/drawing/2014/main" id="{ED6E2519-7C8C-4C17-B032-71686AF10CAE}"/>
                </a:ext>
              </a:extLst>
            </p:cNvPr>
            <p:cNvSpPr/>
            <p:nvPr/>
          </p:nvSpPr>
          <p:spPr>
            <a:xfrm rot="8716295">
              <a:off x="8237311" y="405296"/>
              <a:ext cx="220345" cy="161228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6" name="Forme libre : forme 1365">
              <a:extLst>
                <a:ext uri="{FF2B5EF4-FFF2-40B4-BE49-F238E27FC236}">
                  <a16:creationId xmlns:a16="http://schemas.microsoft.com/office/drawing/2014/main" id="{8B98362B-5544-455D-AD14-4D640A01A342}"/>
                </a:ext>
              </a:extLst>
            </p:cNvPr>
            <p:cNvSpPr/>
            <p:nvPr/>
          </p:nvSpPr>
          <p:spPr>
            <a:xfrm rot="8716295">
              <a:off x="8185506" y="301703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7" name="Forme libre : forme 1366">
              <a:extLst>
                <a:ext uri="{FF2B5EF4-FFF2-40B4-BE49-F238E27FC236}">
                  <a16:creationId xmlns:a16="http://schemas.microsoft.com/office/drawing/2014/main" id="{25F3D004-02E6-4757-8DE0-F470300CA68C}"/>
                </a:ext>
              </a:extLst>
            </p:cNvPr>
            <p:cNvSpPr/>
            <p:nvPr/>
          </p:nvSpPr>
          <p:spPr>
            <a:xfrm rot="8716295">
              <a:off x="7942260" y="33192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8" name="Forme libre : forme 1367">
              <a:extLst>
                <a:ext uri="{FF2B5EF4-FFF2-40B4-BE49-F238E27FC236}">
                  <a16:creationId xmlns:a16="http://schemas.microsoft.com/office/drawing/2014/main" id="{D4EFEE6B-69F7-42E4-9007-3A49D0282381}"/>
                </a:ext>
              </a:extLst>
            </p:cNvPr>
            <p:cNvSpPr/>
            <p:nvPr/>
          </p:nvSpPr>
          <p:spPr>
            <a:xfrm rot="8716295">
              <a:off x="8119712" y="172682"/>
              <a:ext cx="110380" cy="1103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9" name="Forme libre : forme 1368">
              <a:extLst>
                <a:ext uri="{FF2B5EF4-FFF2-40B4-BE49-F238E27FC236}">
                  <a16:creationId xmlns:a16="http://schemas.microsoft.com/office/drawing/2014/main" id="{AF4B2206-0455-407E-9842-620BA12D9F9F}"/>
                </a:ext>
              </a:extLst>
            </p:cNvPr>
            <p:cNvSpPr/>
            <p:nvPr/>
          </p:nvSpPr>
          <p:spPr>
            <a:xfrm rot="8716295">
              <a:off x="7366062" y="-56618"/>
              <a:ext cx="142168" cy="181024"/>
            </a:xfrm>
            <a:custGeom>
              <a:avLst/>
              <a:gdLst>
                <a:gd name="connsiteX0" fmla="*/ 142168 w 142168"/>
                <a:gd name="connsiteY0" fmla="*/ 181024 h 181024"/>
                <a:gd name="connsiteX1" fmla="*/ 81108 w 142168"/>
                <a:gd name="connsiteY1" fmla="*/ 138700 h 181024"/>
                <a:gd name="connsiteX2" fmla="*/ 81108 w 142168"/>
                <a:gd name="connsiteY2" fmla="*/ 69717 h 181024"/>
                <a:gd name="connsiteX3" fmla="*/ 81108 w 142168"/>
                <a:gd name="connsiteY3" fmla="*/ 65616 h 181024"/>
                <a:gd name="connsiteX4" fmla="*/ 60604 w 142168"/>
                <a:gd name="connsiteY4" fmla="*/ 50123 h 181024"/>
                <a:gd name="connsiteX5" fmla="*/ 0 w 142168"/>
                <a:gd name="connsiteY5" fmla="*/ 50123 h 181024"/>
                <a:gd name="connsiteX6" fmla="*/ 0 w 142168"/>
                <a:gd name="connsiteY6" fmla="*/ 0 h 181024"/>
                <a:gd name="connsiteX7" fmla="*/ 85209 w 142168"/>
                <a:gd name="connsiteY7" fmla="*/ 0 h 181024"/>
                <a:gd name="connsiteX8" fmla="*/ 142167 w 142168"/>
                <a:gd name="connsiteY8" fmla="*/ 50123 h 18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168" h="181024">
                  <a:moveTo>
                    <a:pt x="142168" y="181024"/>
                  </a:moveTo>
                  <a:lnTo>
                    <a:pt x="81108" y="138700"/>
                  </a:lnTo>
                  <a:lnTo>
                    <a:pt x="81108" y="69717"/>
                  </a:lnTo>
                  <a:cubicBezTo>
                    <a:pt x="81108" y="68349"/>
                    <a:pt x="81108" y="66983"/>
                    <a:pt x="81108" y="65616"/>
                  </a:cubicBezTo>
                  <a:cubicBezTo>
                    <a:pt x="79741" y="55591"/>
                    <a:pt x="70628" y="48756"/>
                    <a:pt x="60604" y="50123"/>
                  </a:cubicBezTo>
                  <a:lnTo>
                    <a:pt x="0" y="50123"/>
                  </a:lnTo>
                  <a:lnTo>
                    <a:pt x="0" y="0"/>
                  </a:lnTo>
                  <a:lnTo>
                    <a:pt x="85209" y="0"/>
                  </a:lnTo>
                  <a:cubicBezTo>
                    <a:pt x="122118" y="0"/>
                    <a:pt x="142167" y="15949"/>
                    <a:pt x="142167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0" name="Forme libre : forme 1369">
              <a:extLst>
                <a:ext uri="{FF2B5EF4-FFF2-40B4-BE49-F238E27FC236}">
                  <a16:creationId xmlns:a16="http://schemas.microsoft.com/office/drawing/2014/main" id="{60AE319B-5FB3-4EAD-96BF-8E2F415B0911}"/>
                </a:ext>
              </a:extLst>
            </p:cNvPr>
            <p:cNvSpPr/>
            <p:nvPr/>
          </p:nvSpPr>
          <p:spPr>
            <a:xfrm rot="8716295">
              <a:off x="7462482" y="-4908"/>
              <a:ext cx="260639" cy="174584"/>
            </a:xfrm>
            <a:custGeom>
              <a:avLst/>
              <a:gdLst>
                <a:gd name="connsiteX0" fmla="*/ 111638 w 260639"/>
                <a:gd name="connsiteY0" fmla="*/ 174584 h 174584"/>
                <a:gd name="connsiteX1" fmla="*/ 51490 w 260639"/>
                <a:gd name="connsiteY1" fmla="*/ 132891 h 174584"/>
                <a:gd name="connsiteX2" fmla="*/ 51490 w 260639"/>
                <a:gd name="connsiteY2" fmla="*/ 45624 h 174584"/>
                <a:gd name="connsiteX3" fmla="*/ 0 w 260639"/>
                <a:gd name="connsiteY3" fmla="*/ 45624 h 174584"/>
                <a:gd name="connsiteX4" fmla="*/ 0 w 260639"/>
                <a:gd name="connsiteY4" fmla="*/ 1425 h 174584"/>
                <a:gd name="connsiteX5" fmla="*/ 104803 w 260639"/>
                <a:gd name="connsiteY5" fmla="*/ 1425 h 174584"/>
                <a:gd name="connsiteX6" fmla="*/ 104803 w 260639"/>
                <a:gd name="connsiteY6" fmla="*/ 75242 h 174584"/>
                <a:gd name="connsiteX7" fmla="*/ 106169 w 260639"/>
                <a:gd name="connsiteY7" fmla="*/ 75242 h 174584"/>
                <a:gd name="connsiteX8" fmla="*/ 154014 w 260639"/>
                <a:gd name="connsiteY8" fmla="*/ 5981 h 174584"/>
                <a:gd name="connsiteX9" fmla="*/ 185455 w 260639"/>
                <a:gd name="connsiteY9" fmla="*/ 57 h 174584"/>
                <a:gd name="connsiteX10" fmla="*/ 260639 w 260639"/>
                <a:gd name="connsiteY10" fmla="*/ 88456 h 174584"/>
                <a:gd name="connsiteX11" fmla="*/ 260639 w 260639"/>
                <a:gd name="connsiteY11" fmla="*/ 94380 h 174584"/>
                <a:gd name="connsiteX12" fmla="*/ 198669 w 260639"/>
                <a:gd name="connsiteY12" fmla="*/ 98025 h 174584"/>
                <a:gd name="connsiteX13" fmla="*/ 198669 w 260639"/>
                <a:gd name="connsiteY13" fmla="*/ 81621 h 174584"/>
                <a:gd name="connsiteX14" fmla="*/ 164950 w 260639"/>
                <a:gd name="connsiteY14" fmla="*/ 40156 h 174584"/>
                <a:gd name="connsiteX15" fmla="*/ 111638 w 260639"/>
                <a:gd name="connsiteY15" fmla="*/ 127643 h 174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0639" h="174584">
                  <a:moveTo>
                    <a:pt x="111638" y="174584"/>
                  </a:moveTo>
                  <a:lnTo>
                    <a:pt x="51490" y="132891"/>
                  </a:lnTo>
                  <a:lnTo>
                    <a:pt x="51490" y="45624"/>
                  </a:lnTo>
                  <a:lnTo>
                    <a:pt x="0" y="45624"/>
                  </a:lnTo>
                  <a:lnTo>
                    <a:pt x="0" y="1425"/>
                  </a:lnTo>
                  <a:lnTo>
                    <a:pt x="104803" y="1425"/>
                  </a:lnTo>
                  <a:lnTo>
                    <a:pt x="104803" y="75242"/>
                  </a:lnTo>
                  <a:lnTo>
                    <a:pt x="106169" y="75242"/>
                  </a:lnTo>
                  <a:cubicBezTo>
                    <a:pt x="120751" y="31954"/>
                    <a:pt x="132142" y="15095"/>
                    <a:pt x="154014" y="5981"/>
                  </a:cubicBezTo>
                  <a:cubicBezTo>
                    <a:pt x="164039" y="1880"/>
                    <a:pt x="174519" y="-398"/>
                    <a:pt x="185455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6"/>
                    <a:pt x="184544" y="40156"/>
                    <a:pt x="164950" y="40156"/>
                  </a:cubicBezTo>
                  <a:cubicBezTo>
                    <a:pt x="135788" y="40156"/>
                    <a:pt x="111638" y="78887"/>
                    <a:pt x="111638" y="1276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1" name="Forme libre : forme 1370">
              <a:extLst>
                <a:ext uri="{FF2B5EF4-FFF2-40B4-BE49-F238E27FC236}">
                  <a16:creationId xmlns:a16="http://schemas.microsoft.com/office/drawing/2014/main" id="{9DF7A270-CA19-4125-81C5-D8ACDF29EE64}"/>
                </a:ext>
              </a:extLst>
            </p:cNvPr>
            <p:cNvSpPr/>
            <p:nvPr/>
          </p:nvSpPr>
          <p:spPr>
            <a:xfrm rot="8716295">
              <a:off x="7443082" y="-10146"/>
              <a:ext cx="28973" cy="21279"/>
            </a:xfrm>
            <a:custGeom>
              <a:avLst/>
              <a:gdLst>
                <a:gd name="connsiteX0" fmla="*/ 28973 w 28973"/>
                <a:gd name="connsiteY0" fmla="*/ 21279 h 21279"/>
                <a:gd name="connsiteX1" fmla="*/ 0 w 28973"/>
                <a:gd name="connsiteY1" fmla="*/ 1196 h 21279"/>
                <a:gd name="connsiteX2" fmla="*/ 4022 w 28973"/>
                <a:gd name="connsiteY2" fmla="*/ 0 h 21279"/>
                <a:gd name="connsiteX3" fmla="*/ 26350 w 28973"/>
                <a:gd name="connsiteY3" fmla="*/ 11392 h 21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973" h="21279">
                  <a:moveTo>
                    <a:pt x="28973" y="21279"/>
                  </a:moveTo>
                  <a:lnTo>
                    <a:pt x="0" y="1196"/>
                  </a:lnTo>
                  <a:lnTo>
                    <a:pt x="4022" y="0"/>
                  </a:lnTo>
                  <a:cubicBezTo>
                    <a:pt x="14958" y="0"/>
                    <a:pt x="22021" y="4785"/>
                    <a:pt x="26350" y="113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2" name="Forme libre : forme 1371">
              <a:extLst>
                <a:ext uri="{FF2B5EF4-FFF2-40B4-BE49-F238E27FC236}">
                  <a16:creationId xmlns:a16="http://schemas.microsoft.com/office/drawing/2014/main" id="{3D6704E2-4C91-48C3-B5AB-B19397D56649}"/>
                </a:ext>
              </a:extLst>
            </p:cNvPr>
            <p:cNvSpPr/>
            <p:nvPr/>
          </p:nvSpPr>
          <p:spPr>
            <a:xfrm rot="8716295">
              <a:off x="7237548" y="-11765"/>
              <a:ext cx="56281" cy="52701"/>
            </a:xfrm>
            <a:custGeom>
              <a:avLst/>
              <a:gdLst>
                <a:gd name="connsiteX0" fmla="*/ 40554 w 56281"/>
                <a:gd name="connsiteY0" fmla="*/ 52701 h 52701"/>
                <a:gd name="connsiteX1" fmla="*/ 0 w 56281"/>
                <a:gd name="connsiteY1" fmla="*/ 24591 h 52701"/>
                <a:gd name="connsiteX2" fmla="*/ 6728 w 56281"/>
                <a:gd name="connsiteY2" fmla="*/ 8658 h 52701"/>
                <a:gd name="connsiteX3" fmla="*/ 27232 w 56281"/>
                <a:gd name="connsiteY3" fmla="*/ 0 h 52701"/>
                <a:gd name="connsiteX4" fmla="*/ 47738 w 56281"/>
                <a:gd name="connsiteY4" fmla="*/ 8658 h 52701"/>
                <a:gd name="connsiteX5" fmla="*/ 47738 w 56281"/>
                <a:gd name="connsiteY5" fmla="*/ 49668 h 52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281" h="52701">
                  <a:moveTo>
                    <a:pt x="40554" y="52701"/>
                  </a:moveTo>
                  <a:lnTo>
                    <a:pt x="0" y="24591"/>
                  </a:lnTo>
                  <a:lnTo>
                    <a:pt x="6728" y="8658"/>
                  </a:lnTo>
                  <a:cubicBezTo>
                    <a:pt x="12196" y="3190"/>
                    <a:pt x="19487" y="0"/>
                    <a:pt x="27232" y="0"/>
                  </a:cubicBezTo>
                  <a:cubicBezTo>
                    <a:pt x="34979" y="0"/>
                    <a:pt x="42270" y="3190"/>
                    <a:pt x="47738" y="8658"/>
                  </a:cubicBezTo>
                  <a:cubicBezTo>
                    <a:pt x="59130" y="19594"/>
                    <a:pt x="59129" y="38276"/>
                    <a:pt x="47738" y="49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3" name="Forme libre : forme 1372">
              <a:extLst>
                <a:ext uri="{FF2B5EF4-FFF2-40B4-BE49-F238E27FC236}">
                  <a16:creationId xmlns:a16="http://schemas.microsoft.com/office/drawing/2014/main" id="{AF0E56D3-9FDC-4C86-AF97-6A5B745021CC}"/>
                </a:ext>
              </a:extLst>
            </p:cNvPr>
            <p:cNvSpPr/>
            <p:nvPr/>
          </p:nvSpPr>
          <p:spPr>
            <a:xfrm rot="8716295">
              <a:off x="7178221" y="-7670"/>
              <a:ext cx="22135" cy="15343"/>
            </a:xfrm>
            <a:custGeom>
              <a:avLst/>
              <a:gdLst>
                <a:gd name="connsiteX0" fmla="*/ 22135 w 22135"/>
                <a:gd name="connsiteY0" fmla="*/ 15343 h 15343"/>
                <a:gd name="connsiteX1" fmla="*/ 0 w 22135"/>
                <a:gd name="connsiteY1" fmla="*/ 0 h 15343"/>
                <a:gd name="connsiteX2" fmla="*/ 22135 w 22135"/>
                <a:gd name="connsiteY2" fmla="*/ 0 h 15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135" h="15343">
                  <a:moveTo>
                    <a:pt x="22135" y="15343"/>
                  </a:moveTo>
                  <a:lnTo>
                    <a:pt x="0" y="0"/>
                  </a:lnTo>
                  <a:lnTo>
                    <a:pt x="2213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4" name="Forme libre : forme 1373">
              <a:extLst>
                <a:ext uri="{FF2B5EF4-FFF2-40B4-BE49-F238E27FC236}">
                  <a16:creationId xmlns:a16="http://schemas.microsoft.com/office/drawing/2014/main" id="{F9D2269A-12D2-478A-A148-0174F4547759}"/>
                </a:ext>
              </a:extLst>
            </p:cNvPr>
            <p:cNvSpPr/>
            <p:nvPr/>
          </p:nvSpPr>
          <p:spPr>
            <a:xfrm rot="8716295">
              <a:off x="7330206" y="25829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5" name="Forme libre : forme 1374">
              <a:extLst>
                <a:ext uri="{FF2B5EF4-FFF2-40B4-BE49-F238E27FC236}">
                  <a16:creationId xmlns:a16="http://schemas.microsoft.com/office/drawing/2014/main" id="{AF2048E4-EBEC-4616-8234-D6C4143F0269}"/>
                </a:ext>
              </a:extLst>
            </p:cNvPr>
            <p:cNvSpPr/>
            <p:nvPr/>
          </p:nvSpPr>
          <p:spPr>
            <a:xfrm rot="7484129">
              <a:off x="7724236" y="-3297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6" name="Forme libre : forme 1375">
              <a:extLst>
                <a:ext uri="{FF2B5EF4-FFF2-40B4-BE49-F238E27FC236}">
                  <a16:creationId xmlns:a16="http://schemas.microsoft.com/office/drawing/2014/main" id="{BCCFC94C-6F39-428B-907F-F878519A4EFD}"/>
                </a:ext>
              </a:extLst>
            </p:cNvPr>
            <p:cNvSpPr/>
            <p:nvPr/>
          </p:nvSpPr>
          <p:spPr>
            <a:xfrm rot="13089394">
              <a:off x="7941179" y="-29293"/>
              <a:ext cx="145407" cy="327190"/>
            </a:xfrm>
            <a:custGeom>
              <a:avLst/>
              <a:gdLst>
                <a:gd name="connsiteX0" fmla="*/ 145407 w 145407"/>
                <a:gd name="connsiteY0" fmla="*/ 277267 h 327190"/>
                <a:gd name="connsiteX1" fmla="*/ 81867 w 145407"/>
                <a:gd name="connsiteY1" fmla="*/ 327190 h 327190"/>
                <a:gd name="connsiteX2" fmla="*/ 54765 w 145407"/>
                <a:gd name="connsiteY2" fmla="*/ 322521 h 327190"/>
                <a:gd name="connsiteX3" fmla="*/ 23727 w 145407"/>
                <a:gd name="connsiteY3" fmla="*/ 301277 h 327190"/>
                <a:gd name="connsiteX4" fmla="*/ 0 w 145407"/>
                <a:gd name="connsiteY4" fmla="*/ 206369 h 327190"/>
                <a:gd name="connsiteX5" fmla="*/ 0 w 145407"/>
                <a:gd name="connsiteY5" fmla="*/ 38074 h 327190"/>
                <a:gd name="connsiteX6" fmla="*/ 73388 w 145407"/>
                <a:gd name="connsiteY6" fmla="*/ 0 h 327190"/>
                <a:gd name="connsiteX7" fmla="*/ 74492 w 145407"/>
                <a:gd name="connsiteY7" fmla="*/ 153950 h 327190"/>
                <a:gd name="connsiteX8" fmla="*/ 87734 w 145407"/>
                <a:gd name="connsiteY8" fmla="*/ 245547 h 327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5407" h="327190">
                  <a:moveTo>
                    <a:pt x="145407" y="277267"/>
                  </a:moveTo>
                  <a:lnTo>
                    <a:pt x="81867" y="327190"/>
                  </a:lnTo>
                  <a:lnTo>
                    <a:pt x="54765" y="322521"/>
                  </a:lnTo>
                  <a:cubicBezTo>
                    <a:pt x="43178" y="317693"/>
                    <a:pt x="32556" y="310382"/>
                    <a:pt x="23727" y="301277"/>
                  </a:cubicBezTo>
                  <a:cubicBezTo>
                    <a:pt x="4966" y="283069"/>
                    <a:pt x="0" y="251616"/>
                    <a:pt x="0" y="206369"/>
                  </a:cubicBezTo>
                  <a:lnTo>
                    <a:pt x="0" y="38074"/>
                  </a:lnTo>
                  <a:lnTo>
                    <a:pt x="73388" y="0"/>
                  </a:lnTo>
                  <a:lnTo>
                    <a:pt x="74492" y="153950"/>
                  </a:lnTo>
                  <a:cubicBezTo>
                    <a:pt x="72836" y="184850"/>
                    <a:pt x="77802" y="216302"/>
                    <a:pt x="87734" y="2455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7" name="Forme libre : forme 1376">
              <a:extLst>
                <a:ext uri="{FF2B5EF4-FFF2-40B4-BE49-F238E27FC236}">
                  <a16:creationId xmlns:a16="http://schemas.microsoft.com/office/drawing/2014/main" id="{53C58AA9-5E6A-49CD-9AC5-5641232CD965}"/>
                </a:ext>
              </a:extLst>
            </p:cNvPr>
            <p:cNvSpPr/>
            <p:nvPr/>
          </p:nvSpPr>
          <p:spPr>
            <a:xfrm rot="8716295">
              <a:off x="9089009" y="2081072"/>
              <a:ext cx="61059" cy="173964"/>
            </a:xfrm>
            <a:custGeom>
              <a:avLst/>
              <a:gdLst>
                <a:gd name="connsiteX0" fmla="*/ 0 w 61059"/>
                <a:gd name="connsiteY0" fmla="*/ 173964 h 173964"/>
                <a:gd name="connsiteX1" fmla="*/ 0 w 61059"/>
                <a:gd name="connsiteY1" fmla="*/ 88087 h 173964"/>
                <a:gd name="connsiteX2" fmla="*/ 61059 w 61059"/>
                <a:gd name="connsiteY2" fmla="*/ 0 h 173964"/>
                <a:gd name="connsiteX3" fmla="*/ 61059 w 61059"/>
                <a:gd name="connsiteY3" fmla="*/ 149814 h 173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059" h="173964">
                  <a:moveTo>
                    <a:pt x="0" y="173964"/>
                  </a:moveTo>
                  <a:lnTo>
                    <a:pt x="0" y="88087"/>
                  </a:lnTo>
                  <a:lnTo>
                    <a:pt x="61059" y="0"/>
                  </a:lnTo>
                  <a:lnTo>
                    <a:pt x="61059" y="14981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8" name="Forme libre : forme 1377">
              <a:extLst>
                <a:ext uri="{FF2B5EF4-FFF2-40B4-BE49-F238E27FC236}">
                  <a16:creationId xmlns:a16="http://schemas.microsoft.com/office/drawing/2014/main" id="{67AAFA86-3922-4406-A9C1-01A9C544B234}"/>
                </a:ext>
              </a:extLst>
            </p:cNvPr>
            <p:cNvSpPr/>
            <p:nvPr/>
          </p:nvSpPr>
          <p:spPr>
            <a:xfrm rot="8716295">
              <a:off x="8987023" y="2141049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9" name="Forme libre : forme 1378">
              <a:extLst>
                <a:ext uri="{FF2B5EF4-FFF2-40B4-BE49-F238E27FC236}">
                  <a16:creationId xmlns:a16="http://schemas.microsoft.com/office/drawing/2014/main" id="{F49E9DC2-C797-4A9E-913F-D8431378EB92}"/>
                </a:ext>
              </a:extLst>
            </p:cNvPr>
            <p:cNvSpPr/>
            <p:nvPr/>
          </p:nvSpPr>
          <p:spPr>
            <a:xfrm rot="8716295">
              <a:off x="8862120" y="1932376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0" name="Forme libre : forme 1379">
              <a:extLst>
                <a:ext uri="{FF2B5EF4-FFF2-40B4-BE49-F238E27FC236}">
                  <a16:creationId xmlns:a16="http://schemas.microsoft.com/office/drawing/2014/main" id="{1BF45189-83CA-4A70-B575-8A2D9D49B065}"/>
                </a:ext>
              </a:extLst>
            </p:cNvPr>
            <p:cNvSpPr/>
            <p:nvPr/>
          </p:nvSpPr>
          <p:spPr>
            <a:xfrm rot="8716295">
              <a:off x="8845263" y="1791394"/>
              <a:ext cx="290644" cy="345190"/>
            </a:xfrm>
            <a:custGeom>
              <a:avLst/>
              <a:gdLst>
                <a:gd name="connsiteX0" fmla="*/ 25298 w 290644"/>
                <a:gd name="connsiteY0" fmla="*/ 315598 h 345190"/>
                <a:gd name="connsiteX1" fmla="*/ 0 w 290644"/>
                <a:gd name="connsiteY1" fmla="*/ 214403 h 345190"/>
                <a:gd name="connsiteX2" fmla="*/ 0 w 290644"/>
                <a:gd name="connsiteY2" fmla="*/ 112946 h 345190"/>
                <a:gd name="connsiteX3" fmla="*/ 78290 w 290644"/>
                <a:gd name="connsiteY3" fmla="*/ 0 h 345190"/>
                <a:gd name="connsiteX4" fmla="*/ 79427 w 290644"/>
                <a:gd name="connsiteY4" fmla="*/ 158510 h 345190"/>
                <a:gd name="connsiteX5" fmla="*/ 93547 w 290644"/>
                <a:gd name="connsiteY5" fmla="*/ 256176 h 345190"/>
                <a:gd name="connsiteX6" fmla="*/ 164149 w 290644"/>
                <a:gd name="connsiteY6" fmla="*/ 295007 h 345190"/>
                <a:gd name="connsiteX7" fmla="*/ 217100 w 290644"/>
                <a:gd name="connsiteY7" fmla="*/ 285593 h 345190"/>
                <a:gd name="connsiteX8" fmla="*/ 289467 w 290644"/>
                <a:gd name="connsiteY8" fmla="*/ 256176 h 345190"/>
                <a:gd name="connsiteX9" fmla="*/ 290644 w 290644"/>
                <a:gd name="connsiteY9" fmla="*/ 263824 h 345190"/>
                <a:gd name="connsiteX10" fmla="*/ 290644 w 290644"/>
                <a:gd name="connsiteY10" fmla="*/ 269708 h 345190"/>
                <a:gd name="connsiteX11" fmla="*/ 97666 w 290644"/>
                <a:gd name="connsiteY11" fmla="*/ 345016 h 345190"/>
                <a:gd name="connsiteX12" fmla="*/ 25298 w 290644"/>
                <a:gd name="connsiteY12" fmla="*/ 315598 h 345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0644" h="345190">
                  <a:moveTo>
                    <a:pt x="25298" y="315598"/>
                  </a:moveTo>
                  <a:cubicBezTo>
                    <a:pt x="5294" y="296183"/>
                    <a:pt x="0" y="262647"/>
                    <a:pt x="0" y="214403"/>
                  </a:cubicBezTo>
                  <a:lnTo>
                    <a:pt x="0" y="112946"/>
                  </a:lnTo>
                  <a:lnTo>
                    <a:pt x="78290" y="0"/>
                  </a:lnTo>
                  <a:lnTo>
                    <a:pt x="79427" y="158510"/>
                  </a:lnTo>
                  <a:cubicBezTo>
                    <a:pt x="77662" y="191458"/>
                    <a:pt x="82956" y="224993"/>
                    <a:pt x="93547" y="256176"/>
                  </a:cubicBezTo>
                  <a:cubicBezTo>
                    <a:pt x="102961" y="282063"/>
                    <a:pt x="127083" y="295007"/>
                    <a:pt x="164149" y="295007"/>
                  </a:cubicBezTo>
                  <a:cubicBezTo>
                    <a:pt x="182388" y="294418"/>
                    <a:pt x="200038" y="290888"/>
                    <a:pt x="217100" y="285593"/>
                  </a:cubicBezTo>
                  <a:cubicBezTo>
                    <a:pt x="241810" y="277945"/>
                    <a:pt x="265932" y="267942"/>
                    <a:pt x="289467" y="256176"/>
                  </a:cubicBezTo>
                  <a:cubicBezTo>
                    <a:pt x="290055" y="258529"/>
                    <a:pt x="290643" y="261471"/>
                    <a:pt x="290644" y="263824"/>
                  </a:cubicBezTo>
                  <a:lnTo>
                    <a:pt x="290644" y="269708"/>
                  </a:lnTo>
                  <a:cubicBezTo>
                    <a:pt x="228278" y="323247"/>
                    <a:pt x="146498" y="342075"/>
                    <a:pt x="97666" y="345016"/>
                  </a:cubicBezTo>
                  <a:cubicBezTo>
                    <a:pt x="70602" y="346782"/>
                    <a:pt x="44126" y="335014"/>
                    <a:pt x="25298" y="31559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1" name="Forme libre : forme 1380">
              <a:extLst>
                <a:ext uri="{FF2B5EF4-FFF2-40B4-BE49-F238E27FC236}">
                  <a16:creationId xmlns:a16="http://schemas.microsoft.com/office/drawing/2014/main" id="{3AC6BB5F-39B7-428A-B7D5-ED66181C770C}"/>
                </a:ext>
              </a:extLst>
            </p:cNvPr>
            <p:cNvSpPr/>
            <p:nvPr/>
          </p:nvSpPr>
          <p:spPr>
            <a:xfrm rot="8716295">
              <a:off x="9077116" y="2195107"/>
              <a:ext cx="60148" cy="215998"/>
            </a:xfrm>
            <a:custGeom>
              <a:avLst/>
              <a:gdLst>
                <a:gd name="connsiteX0" fmla="*/ 60148 w 60148"/>
                <a:gd name="connsiteY0" fmla="*/ 215998 h 215998"/>
                <a:gd name="connsiteX1" fmla="*/ 1 w 60148"/>
                <a:gd name="connsiteY1" fmla="*/ 158129 h 215998"/>
                <a:gd name="connsiteX2" fmla="*/ 0 w 60148"/>
                <a:gd name="connsiteY2" fmla="*/ 86771 h 215998"/>
                <a:gd name="connsiteX3" fmla="*/ 60147 w 60148"/>
                <a:gd name="connsiteY3" fmla="*/ 0 h 215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148" h="215998">
                  <a:moveTo>
                    <a:pt x="60148" y="215998"/>
                  </a:moveTo>
                  <a:lnTo>
                    <a:pt x="1" y="158129"/>
                  </a:lnTo>
                  <a:lnTo>
                    <a:pt x="0" y="86771"/>
                  </a:lnTo>
                  <a:lnTo>
                    <a:pt x="601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2" name="Forme libre : forme 1381">
              <a:extLst>
                <a:ext uri="{FF2B5EF4-FFF2-40B4-BE49-F238E27FC236}">
                  <a16:creationId xmlns:a16="http://schemas.microsoft.com/office/drawing/2014/main" id="{62FF5918-1B87-4604-8492-36999A995344}"/>
                </a:ext>
              </a:extLst>
            </p:cNvPr>
            <p:cNvSpPr/>
            <p:nvPr/>
          </p:nvSpPr>
          <p:spPr>
            <a:xfrm rot="8716295">
              <a:off x="9116544" y="1789625"/>
              <a:ext cx="46394" cy="58308"/>
            </a:xfrm>
            <a:custGeom>
              <a:avLst/>
              <a:gdLst>
                <a:gd name="connsiteX0" fmla="*/ 0 w 46394"/>
                <a:gd name="connsiteY0" fmla="*/ 55145 h 58308"/>
                <a:gd name="connsiteX1" fmla="*/ 38225 w 46394"/>
                <a:gd name="connsiteY1" fmla="*/ 0 h 58308"/>
                <a:gd name="connsiteX2" fmla="*/ 46394 w 46394"/>
                <a:gd name="connsiteY2" fmla="*/ 19443 h 58308"/>
                <a:gd name="connsiteX3" fmla="*/ 35074 w 46394"/>
                <a:gd name="connsiteY3" fmla="*/ 46837 h 58308"/>
                <a:gd name="connsiteX4" fmla="*/ 7907 w 46394"/>
                <a:gd name="connsiteY4" fmla="*/ 58308 h 58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394" h="58308">
                  <a:moveTo>
                    <a:pt x="0" y="55145"/>
                  </a:moveTo>
                  <a:lnTo>
                    <a:pt x="38225" y="0"/>
                  </a:lnTo>
                  <a:lnTo>
                    <a:pt x="46394" y="19443"/>
                  </a:lnTo>
                  <a:cubicBezTo>
                    <a:pt x="46394" y="29329"/>
                    <a:pt x="42621" y="39290"/>
                    <a:pt x="35074" y="46837"/>
                  </a:cubicBezTo>
                  <a:cubicBezTo>
                    <a:pt x="27830" y="54082"/>
                    <a:pt x="18170" y="58308"/>
                    <a:pt x="7907" y="5830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3" name="Forme libre : forme 1382">
              <a:extLst>
                <a:ext uri="{FF2B5EF4-FFF2-40B4-BE49-F238E27FC236}">
                  <a16:creationId xmlns:a16="http://schemas.microsoft.com/office/drawing/2014/main" id="{413B021A-A885-48B9-8570-152DCC9A71A5}"/>
                </a:ext>
              </a:extLst>
            </p:cNvPr>
            <p:cNvSpPr/>
            <p:nvPr/>
          </p:nvSpPr>
          <p:spPr>
            <a:xfrm rot="8716295">
              <a:off x="9083119" y="2618313"/>
              <a:ext cx="117324" cy="177047"/>
            </a:xfrm>
            <a:custGeom>
              <a:avLst/>
              <a:gdLst>
                <a:gd name="connsiteX0" fmla="*/ 92026 w 117324"/>
                <a:gd name="connsiteY0" fmla="*/ 36497 h 177047"/>
                <a:gd name="connsiteX1" fmla="*/ 117324 w 117324"/>
                <a:gd name="connsiteY1" fmla="*/ 0 h 177047"/>
                <a:gd name="connsiteX2" fmla="*/ 117324 w 117324"/>
                <a:gd name="connsiteY2" fmla="*/ 36497 h 177047"/>
                <a:gd name="connsiteX3" fmla="*/ 4187 w 117324"/>
                <a:gd name="connsiteY3" fmla="*/ 177047 h 177047"/>
                <a:gd name="connsiteX4" fmla="*/ 0 w 117324"/>
                <a:gd name="connsiteY4" fmla="*/ 169258 h 177047"/>
                <a:gd name="connsiteX5" fmla="*/ 13629 w 117324"/>
                <a:gd name="connsiteY5" fmla="*/ 149597 h 177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7324" h="177047">
                  <a:moveTo>
                    <a:pt x="92026" y="36497"/>
                  </a:moveTo>
                  <a:lnTo>
                    <a:pt x="117324" y="0"/>
                  </a:lnTo>
                  <a:lnTo>
                    <a:pt x="117324" y="36497"/>
                  </a:lnTo>
                  <a:close/>
                  <a:moveTo>
                    <a:pt x="4187" y="177047"/>
                  </a:moveTo>
                  <a:lnTo>
                    <a:pt x="0" y="169258"/>
                  </a:lnTo>
                  <a:lnTo>
                    <a:pt x="13629" y="14959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4" name="Forme libre : forme 1383">
              <a:extLst>
                <a:ext uri="{FF2B5EF4-FFF2-40B4-BE49-F238E27FC236}">
                  <a16:creationId xmlns:a16="http://schemas.microsoft.com/office/drawing/2014/main" id="{9BA6659A-4363-4246-884D-227E97C0C14A}"/>
                </a:ext>
              </a:extLst>
            </p:cNvPr>
            <p:cNvSpPr/>
            <p:nvPr/>
          </p:nvSpPr>
          <p:spPr>
            <a:xfrm rot="8716295">
              <a:off x="9006440" y="2509028"/>
              <a:ext cx="177822" cy="85743"/>
            </a:xfrm>
            <a:custGeom>
              <a:avLst/>
              <a:gdLst>
                <a:gd name="connsiteX0" fmla="*/ 0 w 177822"/>
                <a:gd name="connsiteY0" fmla="*/ 85743 h 85743"/>
                <a:gd name="connsiteX1" fmla="*/ 37709 w 177822"/>
                <a:gd name="connsiteY1" fmla="*/ 31342 h 85743"/>
                <a:gd name="connsiteX2" fmla="*/ 51327 w 177822"/>
                <a:gd name="connsiteY2" fmla="*/ 38831 h 85743"/>
                <a:gd name="connsiteX3" fmla="*/ 104278 w 177822"/>
                <a:gd name="connsiteY3" fmla="*/ 29418 h 85743"/>
                <a:gd name="connsiteX4" fmla="*/ 176645 w 177822"/>
                <a:gd name="connsiteY4" fmla="*/ 0 h 85743"/>
                <a:gd name="connsiteX5" fmla="*/ 177822 w 177822"/>
                <a:gd name="connsiteY5" fmla="*/ 7648 h 85743"/>
                <a:gd name="connsiteX6" fmla="*/ 177822 w 177822"/>
                <a:gd name="connsiteY6" fmla="*/ 13532 h 85743"/>
                <a:gd name="connsiteX7" fmla="*/ 76258 w 177822"/>
                <a:gd name="connsiteY7" fmla="*/ 70160 h 85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7822" h="85743">
                  <a:moveTo>
                    <a:pt x="0" y="85743"/>
                  </a:moveTo>
                  <a:lnTo>
                    <a:pt x="37709" y="31342"/>
                  </a:lnTo>
                  <a:lnTo>
                    <a:pt x="51327" y="38831"/>
                  </a:lnTo>
                  <a:cubicBezTo>
                    <a:pt x="69566" y="38242"/>
                    <a:pt x="87216" y="34712"/>
                    <a:pt x="104278" y="29418"/>
                  </a:cubicBezTo>
                  <a:cubicBezTo>
                    <a:pt x="128988" y="21768"/>
                    <a:pt x="153111" y="11766"/>
                    <a:pt x="176645" y="0"/>
                  </a:cubicBezTo>
                  <a:cubicBezTo>
                    <a:pt x="177233" y="2354"/>
                    <a:pt x="177821" y="5295"/>
                    <a:pt x="177822" y="7648"/>
                  </a:cubicBezTo>
                  <a:lnTo>
                    <a:pt x="177822" y="13532"/>
                  </a:lnTo>
                  <a:cubicBezTo>
                    <a:pt x="146639" y="40301"/>
                    <a:pt x="110603" y="58393"/>
                    <a:pt x="76258" y="7016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5" name="Forme libre : forme 1384">
              <a:extLst>
                <a:ext uri="{FF2B5EF4-FFF2-40B4-BE49-F238E27FC236}">
                  <a16:creationId xmlns:a16="http://schemas.microsoft.com/office/drawing/2014/main" id="{CD8F4158-D52E-4B42-86D9-9C394223B4E4}"/>
                </a:ext>
              </a:extLst>
            </p:cNvPr>
            <p:cNvSpPr/>
            <p:nvPr/>
          </p:nvSpPr>
          <p:spPr>
            <a:xfrm rot="8716295">
              <a:off x="8877739" y="1391531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6" name="Forme libre : forme 1385">
              <a:extLst>
                <a:ext uri="{FF2B5EF4-FFF2-40B4-BE49-F238E27FC236}">
                  <a16:creationId xmlns:a16="http://schemas.microsoft.com/office/drawing/2014/main" id="{34819D09-90FC-40AC-A71E-2F09A9E62118}"/>
                </a:ext>
              </a:extLst>
            </p:cNvPr>
            <p:cNvSpPr/>
            <p:nvPr/>
          </p:nvSpPr>
          <p:spPr>
            <a:xfrm rot="8716295">
              <a:off x="8969693" y="1431914"/>
              <a:ext cx="209150" cy="254735"/>
            </a:xfrm>
            <a:custGeom>
              <a:avLst/>
              <a:gdLst>
                <a:gd name="connsiteX0" fmla="*/ 0 w 209150"/>
                <a:gd name="connsiteY0" fmla="*/ 254735 h 254735"/>
                <a:gd name="connsiteX1" fmla="*/ 0 w 209150"/>
                <a:gd name="connsiteY1" fmla="*/ 155827 h 254735"/>
                <a:gd name="connsiteX2" fmla="*/ 104101 w 209150"/>
                <a:gd name="connsiteY2" fmla="*/ 5646 h 254735"/>
                <a:gd name="connsiteX3" fmla="*/ 133965 w 209150"/>
                <a:gd name="connsiteY3" fmla="*/ 19 h 254735"/>
                <a:gd name="connsiteX4" fmla="*/ 209150 w 209150"/>
                <a:gd name="connsiteY4" fmla="*/ 88418 h 254735"/>
                <a:gd name="connsiteX5" fmla="*/ 209150 w 209150"/>
                <a:gd name="connsiteY5" fmla="*/ 94342 h 254735"/>
                <a:gd name="connsiteX6" fmla="*/ 147180 w 209150"/>
                <a:gd name="connsiteY6" fmla="*/ 97987 h 254735"/>
                <a:gd name="connsiteX7" fmla="*/ 147180 w 209150"/>
                <a:gd name="connsiteY7" fmla="*/ 81584 h 254735"/>
                <a:gd name="connsiteX8" fmla="*/ 113461 w 209150"/>
                <a:gd name="connsiteY8" fmla="*/ 40118 h 254735"/>
                <a:gd name="connsiteX9" fmla="*/ 60149 w 209150"/>
                <a:gd name="connsiteY9" fmla="*/ 127605 h 254735"/>
                <a:gd name="connsiteX10" fmla="*/ 60149 w 209150"/>
                <a:gd name="connsiteY10" fmla="*/ 213726 h 254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9150" h="254735">
                  <a:moveTo>
                    <a:pt x="0" y="254735"/>
                  </a:moveTo>
                  <a:lnTo>
                    <a:pt x="0" y="155827"/>
                  </a:lnTo>
                  <a:lnTo>
                    <a:pt x="104101" y="5646"/>
                  </a:lnTo>
                  <a:lnTo>
                    <a:pt x="133965" y="19"/>
                  </a:lnTo>
                  <a:cubicBezTo>
                    <a:pt x="180899" y="-892"/>
                    <a:pt x="209150" y="31916"/>
                    <a:pt x="209150" y="88418"/>
                  </a:cubicBezTo>
                  <a:lnTo>
                    <a:pt x="209150" y="94342"/>
                  </a:lnTo>
                  <a:lnTo>
                    <a:pt x="147180" y="97987"/>
                  </a:lnTo>
                  <a:lnTo>
                    <a:pt x="147180" y="81584"/>
                  </a:lnTo>
                  <a:cubicBezTo>
                    <a:pt x="147180" y="56977"/>
                    <a:pt x="133054" y="40118"/>
                    <a:pt x="113461" y="40118"/>
                  </a:cubicBezTo>
                  <a:cubicBezTo>
                    <a:pt x="84299" y="40118"/>
                    <a:pt x="60149" y="78850"/>
                    <a:pt x="60149" y="127605"/>
                  </a:cubicBezTo>
                  <a:lnTo>
                    <a:pt x="60149" y="21372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7" name="Forme libre : forme 1386">
              <a:extLst>
                <a:ext uri="{FF2B5EF4-FFF2-40B4-BE49-F238E27FC236}">
                  <a16:creationId xmlns:a16="http://schemas.microsoft.com/office/drawing/2014/main" id="{A927842F-CF5D-4DDB-980D-DAEB7684488A}"/>
                </a:ext>
              </a:extLst>
            </p:cNvPr>
            <p:cNvSpPr/>
            <p:nvPr/>
          </p:nvSpPr>
          <p:spPr>
            <a:xfrm rot="8716295">
              <a:off x="8922281" y="1334493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8" name="Forme libre : forme 1387">
              <a:extLst>
                <a:ext uri="{FF2B5EF4-FFF2-40B4-BE49-F238E27FC236}">
                  <a16:creationId xmlns:a16="http://schemas.microsoft.com/office/drawing/2014/main" id="{360EB861-FB1A-4E23-9134-68DC077A8790}"/>
                </a:ext>
              </a:extLst>
            </p:cNvPr>
            <p:cNvSpPr/>
            <p:nvPr/>
          </p:nvSpPr>
          <p:spPr>
            <a:xfrm rot="8716295">
              <a:off x="8765505" y="1480075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9" name="Forme libre : forme 1388">
              <a:extLst>
                <a:ext uri="{FF2B5EF4-FFF2-40B4-BE49-F238E27FC236}">
                  <a16:creationId xmlns:a16="http://schemas.microsoft.com/office/drawing/2014/main" id="{0001364E-BDF9-4964-AFCF-8B1B5ED15F9E}"/>
                </a:ext>
              </a:extLst>
            </p:cNvPr>
            <p:cNvSpPr/>
            <p:nvPr/>
          </p:nvSpPr>
          <p:spPr>
            <a:xfrm rot="8716295">
              <a:off x="8640602" y="1271402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0" name="Forme libre : forme 1389">
              <a:extLst>
                <a:ext uri="{FF2B5EF4-FFF2-40B4-BE49-F238E27FC236}">
                  <a16:creationId xmlns:a16="http://schemas.microsoft.com/office/drawing/2014/main" id="{EE73FF96-9E36-461F-A96C-8FEF57947F14}"/>
                </a:ext>
              </a:extLst>
            </p:cNvPr>
            <p:cNvSpPr/>
            <p:nvPr/>
          </p:nvSpPr>
          <p:spPr>
            <a:xfrm rot="8716295">
              <a:off x="8628550" y="1132622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1" name="Forme libre : forme 1390">
              <a:extLst>
                <a:ext uri="{FF2B5EF4-FFF2-40B4-BE49-F238E27FC236}">
                  <a16:creationId xmlns:a16="http://schemas.microsoft.com/office/drawing/2014/main" id="{6DB2B1A4-E2FA-49FA-9C05-6E8348596F60}"/>
                </a:ext>
              </a:extLst>
            </p:cNvPr>
            <p:cNvSpPr/>
            <p:nvPr/>
          </p:nvSpPr>
          <p:spPr>
            <a:xfrm rot="8716295">
              <a:off x="8855683" y="1521027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2" name="Forme libre : forme 1391">
              <a:extLst>
                <a:ext uri="{FF2B5EF4-FFF2-40B4-BE49-F238E27FC236}">
                  <a16:creationId xmlns:a16="http://schemas.microsoft.com/office/drawing/2014/main" id="{C6D4FFEB-A683-4FE3-8068-6610CCEEB1B0}"/>
                </a:ext>
              </a:extLst>
            </p:cNvPr>
            <p:cNvSpPr/>
            <p:nvPr/>
          </p:nvSpPr>
          <p:spPr>
            <a:xfrm rot="8716295">
              <a:off x="9129108" y="1200690"/>
              <a:ext cx="29782" cy="42964"/>
            </a:xfrm>
            <a:custGeom>
              <a:avLst/>
              <a:gdLst>
                <a:gd name="connsiteX0" fmla="*/ 0 w 29782"/>
                <a:gd name="connsiteY0" fmla="*/ 42964 h 42964"/>
                <a:gd name="connsiteX1" fmla="*/ 29782 w 29782"/>
                <a:gd name="connsiteY1" fmla="*/ 0 h 42964"/>
                <a:gd name="connsiteX2" fmla="*/ 29782 w 29782"/>
                <a:gd name="connsiteY2" fmla="*/ 31185 h 4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9782" h="42964">
                  <a:moveTo>
                    <a:pt x="0" y="42964"/>
                  </a:moveTo>
                  <a:lnTo>
                    <a:pt x="29782" y="0"/>
                  </a:lnTo>
                  <a:lnTo>
                    <a:pt x="29782" y="311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3" name="Forme libre : forme 1392">
              <a:extLst>
                <a:ext uri="{FF2B5EF4-FFF2-40B4-BE49-F238E27FC236}">
                  <a16:creationId xmlns:a16="http://schemas.microsoft.com/office/drawing/2014/main" id="{EA725989-A234-4480-B04C-CFCEE23774F2}"/>
                </a:ext>
              </a:extLst>
            </p:cNvPr>
            <p:cNvSpPr/>
            <p:nvPr/>
          </p:nvSpPr>
          <p:spPr>
            <a:xfrm rot="8716295">
              <a:off x="9054604" y="1229923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4" name="Forme libre : forme 1393">
              <a:extLst>
                <a:ext uri="{FF2B5EF4-FFF2-40B4-BE49-F238E27FC236}">
                  <a16:creationId xmlns:a16="http://schemas.microsoft.com/office/drawing/2014/main" id="{466911C7-5D17-4DD5-91B8-36CEBB4BC9F6}"/>
                </a:ext>
              </a:extLst>
            </p:cNvPr>
            <p:cNvSpPr/>
            <p:nvPr/>
          </p:nvSpPr>
          <p:spPr>
            <a:xfrm rot="8716295">
              <a:off x="8929702" y="1021250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5" name="Forme libre : forme 1394">
              <a:extLst>
                <a:ext uri="{FF2B5EF4-FFF2-40B4-BE49-F238E27FC236}">
                  <a16:creationId xmlns:a16="http://schemas.microsoft.com/office/drawing/2014/main" id="{87609BCB-7D37-4FB0-A906-2BDD38155F26}"/>
                </a:ext>
              </a:extLst>
            </p:cNvPr>
            <p:cNvSpPr/>
            <p:nvPr/>
          </p:nvSpPr>
          <p:spPr>
            <a:xfrm rot="8716295">
              <a:off x="9112658" y="1300147"/>
              <a:ext cx="40491" cy="97371"/>
            </a:xfrm>
            <a:custGeom>
              <a:avLst/>
              <a:gdLst>
                <a:gd name="connsiteX0" fmla="*/ 40491 w 40491"/>
                <a:gd name="connsiteY0" fmla="*/ 97371 h 97371"/>
                <a:gd name="connsiteX1" fmla="*/ 0 w 40491"/>
                <a:gd name="connsiteY1" fmla="*/ 58414 h 97371"/>
                <a:gd name="connsiteX2" fmla="*/ 40491 w 40491"/>
                <a:gd name="connsiteY2" fmla="*/ 0 h 9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491" h="97371">
                  <a:moveTo>
                    <a:pt x="40491" y="97371"/>
                  </a:moveTo>
                  <a:lnTo>
                    <a:pt x="0" y="58414"/>
                  </a:lnTo>
                  <a:lnTo>
                    <a:pt x="4049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6" name="Forme libre : forme 1395">
              <a:extLst>
                <a:ext uri="{FF2B5EF4-FFF2-40B4-BE49-F238E27FC236}">
                  <a16:creationId xmlns:a16="http://schemas.microsoft.com/office/drawing/2014/main" id="{947B4F8A-AEF6-4C9F-8CA5-B6B423F87C52}"/>
                </a:ext>
              </a:extLst>
            </p:cNvPr>
            <p:cNvSpPr/>
            <p:nvPr/>
          </p:nvSpPr>
          <p:spPr>
            <a:xfrm rot="8716295">
              <a:off x="8903331" y="1121275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7" name="Forme libre : forme 1396">
              <a:extLst>
                <a:ext uri="{FF2B5EF4-FFF2-40B4-BE49-F238E27FC236}">
                  <a16:creationId xmlns:a16="http://schemas.microsoft.com/office/drawing/2014/main" id="{ECC3872B-A5B2-45B1-9D4A-B953AF7F8C47}"/>
                </a:ext>
              </a:extLst>
            </p:cNvPr>
            <p:cNvSpPr/>
            <p:nvPr/>
          </p:nvSpPr>
          <p:spPr>
            <a:xfrm rot="8716295">
              <a:off x="8654572" y="731832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9" name="Forme libre : forme 1398">
              <a:extLst>
                <a:ext uri="{FF2B5EF4-FFF2-40B4-BE49-F238E27FC236}">
                  <a16:creationId xmlns:a16="http://schemas.microsoft.com/office/drawing/2014/main" id="{EF2C5093-481E-4A2C-8B5F-4CE69A605FED}"/>
                </a:ext>
              </a:extLst>
            </p:cNvPr>
            <p:cNvSpPr/>
            <p:nvPr/>
          </p:nvSpPr>
          <p:spPr>
            <a:xfrm rot="8716295">
              <a:off x="8743964" y="761074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0" name="Forme libre : forme 1399">
              <a:extLst>
                <a:ext uri="{FF2B5EF4-FFF2-40B4-BE49-F238E27FC236}">
                  <a16:creationId xmlns:a16="http://schemas.microsoft.com/office/drawing/2014/main" id="{30AF5DC6-0C45-4EE5-BDB7-B8625E175365}"/>
                </a:ext>
              </a:extLst>
            </p:cNvPr>
            <p:cNvSpPr/>
            <p:nvPr/>
          </p:nvSpPr>
          <p:spPr>
            <a:xfrm rot="8716295">
              <a:off x="8699114" y="674794"/>
              <a:ext cx="186822" cy="136699"/>
            </a:xfrm>
            <a:custGeom>
              <a:avLst/>
              <a:gdLst>
                <a:gd name="connsiteX0" fmla="*/ 343853 w 390525"/>
                <a:gd name="connsiteY0" fmla="*/ 144780 h 285750"/>
                <a:gd name="connsiteX1" fmla="*/ 344805 w 390525"/>
                <a:gd name="connsiteY1" fmla="*/ 144780 h 285750"/>
                <a:gd name="connsiteX2" fmla="*/ 12382 w 390525"/>
                <a:gd name="connsiteY2" fmla="*/ 288608 h 285750"/>
                <a:gd name="connsiteX3" fmla="*/ 0 w 390525"/>
                <a:gd name="connsiteY3" fmla="*/ 271463 h 285750"/>
                <a:gd name="connsiteX4" fmla="*/ 225743 w 390525"/>
                <a:gd name="connsiteY4" fmla="*/ 59055 h 285750"/>
                <a:gd name="connsiteX5" fmla="*/ 340043 w 390525"/>
                <a:gd name="connsiteY5" fmla="*/ 0 h 285750"/>
                <a:gd name="connsiteX6" fmla="*/ 399098 w 390525"/>
                <a:gd name="connsiteY6" fmla="*/ 70485 h 285750"/>
                <a:gd name="connsiteX7" fmla="*/ 343853 w 390525"/>
                <a:gd name="connsiteY7" fmla="*/ 14478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285750">
                  <a:moveTo>
                    <a:pt x="343853" y="144780"/>
                  </a:moveTo>
                  <a:lnTo>
                    <a:pt x="344805" y="144780"/>
                  </a:lnTo>
                  <a:lnTo>
                    <a:pt x="12382" y="288608"/>
                  </a:lnTo>
                  <a:lnTo>
                    <a:pt x="0" y="271463"/>
                  </a:lnTo>
                  <a:lnTo>
                    <a:pt x="225743" y="59055"/>
                  </a:lnTo>
                  <a:cubicBezTo>
                    <a:pt x="254318" y="25718"/>
                    <a:pt x="295275" y="4763"/>
                    <a:pt x="340043" y="0"/>
                  </a:cubicBezTo>
                  <a:cubicBezTo>
                    <a:pt x="385763" y="0"/>
                    <a:pt x="399098" y="40005"/>
                    <a:pt x="399098" y="70485"/>
                  </a:cubicBezTo>
                  <a:cubicBezTo>
                    <a:pt x="396240" y="103823"/>
                    <a:pt x="374332" y="131445"/>
                    <a:pt x="343853" y="1447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3" name="Forme libre : forme 1402">
              <a:extLst>
                <a:ext uri="{FF2B5EF4-FFF2-40B4-BE49-F238E27FC236}">
                  <a16:creationId xmlns:a16="http://schemas.microsoft.com/office/drawing/2014/main" id="{B70C0FD5-7DFB-4A0C-AE55-F5A7B134B91A}"/>
                </a:ext>
              </a:extLst>
            </p:cNvPr>
            <p:cNvSpPr/>
            <p:nvPr/>
          </p:nvSpPr>
          <p:spPr>
            <a:xfrm rot="8716295">
              <a:off x="8542338" y="820376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4" name="Forme libre : forme 1403">
              <a:extLst>
                <a:ext uri="{FF2B5EF4-FFF2-40B4-BE49-F238E27FC236}">
                  <a16:creationId xmlns:a16="http://schemas.microsoft.com/office/drawing/2014/main" id="{9023C4A5-B8BC-415D-A51C-5615A6A3B1AB}"/>
                </a:ext>
              </a:extLst>
            </p:cNvPr>
            <p:cNvSpPr/>
            <p:nvPr/>
          </p:nvSpPr>
          <p:spPr>
            <a:xfrm rot="8716295">
              <a:off x="8417435" y="611703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5" name="Forme libre : forme 1404">
              <a:extLst>
                <a:ext uri="{FF2B5EF4-FFF2-40B4-BE49-F238E27FC236}">
                  <a16:creationId xmlns:a16="http://schemas.microsoft.com/office/drawing/2014/main" id="{E7A0D7D3-B881-47A9-8F6D-CE2F06D30D49}"/>
                </a:ext>
              </a:extLst>
            </p:cNvPr>
            <p:cNvSpPr/>
            <p:nvPr/>
          </p:nvSpPr>
          <p:spPr>
            <a:xfrm rot="8716295">
              <a:off x="8405383" y="472923"/>
              <a:ext cx="288290" cy="347125"/>
            </a:xfrm>
            <a:custGeom>
              <a:avLst/>
              <a:gdLst>
                <a:gd name="connsiteX0" fmla="*/ 470535 w 466725"/>
                <a:gd name="connsiteY0" fmla="*/ 436245 h 561975"/>
                <a:gd name="connsiteX1" fmla="*/ 470535 w 466725"/>
                <a:gd name="connsiteY1" fmla="*/ 445770 h 561975"/>
                <a:gd name="connsiteX2" fmla="*/ 158115 w 466725"/>
                <a:gd name="connsiteY2" fmla="*/ 567690 h 561975"/>
                <a:gd name="connsiteX3" fmla="*/ 40957 w 466725"/>
                <a:gd name="connsiteY3" fmla="*/ 520065 h 561975"/>
                <a:gd name="connsiteX4" fmla="*/ 0 w 466725"/>
                <a:gd name="connsiteY4" fmla="*/ 356235 h 561975"/>
                <a:gd name="connsiteX5" fmla="*/ 0 w 466725"/>
                <a:gd name="connsiteY5" fmla="*/ 65723 h 561975"/>
                <a:gd name="connsiteX6" fmla="*/ 126682 w 466725"/>
                <a:gd name="connsiteY6" fmla="*/ 0 h 561975"/>
                <a:gd name="connsiteX7" fmla="*/ 128588 w 466725"/>
                <a:gd name="connsiteY7" fmla="*/ 265748 h 561975"/>
                <a:gd name="connsiteX8" fmla="*/ 151447 w 466725"/>
                <a:gd name="connsiteY8" fmla="*/ 423863 h 561975"/>
                <a:gd name="connsiteX9" fmla="*/ 265747 w 466725"/>
                <a:gd name="connsiteY9" fmla="*/ 486728 h 561975"/>
                <a:gd name="connsiteX10" fmla="*/ 351472 w 466725"/>
                <a:gd name="connsiteY10" fmla="*/ 471488 h 561975"/>
                <a:gd name="connsiteX11" fmla="*/ 468630 w 466725"/>
                <a:gd name="connsiteY11" fmla="*/ 423863 h 561975"/>
                <a:gd name="connsiteX12" fmla="*/ 470535 w 466725"/>
                <a:gd name="connsiteY12" fmla="*/ 43624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5" h="561975">
                  <a:moveTo>
                    <a:pt x="470535" y="436245"/>
                  </a:moveTo>
                  <a:lnTo>
                    <a:pt x="470535" y="445770"/>
                  </a:lnTo>
                  <a:cubicBezTo>
                    <a:pt x="369570" y="532448"/>
                    <a:pt x="237172" y="562928"/>
                    <a:pt x="158115" y="567690"/>
                  </a:cubicBezTo>
                  <a:cubicBezTo>
                    <a:pt x="114300" y="570548"/>
                    <a:pt x="71438" y="551498"/>
                    <a:pt x="40957" y="520065"/>
                  </a:cubicBezTo>
                  <a:cubicBezTo>
                    <a:pt x="8572" y="488633"/>
                    <a:pt x="0" y="434340"/>
                    <a:pt x="0" y="356235"/>
                  </a:cubicBezTo>
                  <a:lnTo>
                    <a:pt x="0" y="65723"/>
                  </a:lnTo>
                  <a:lnTo>
                    <a:pt x="126682" y="0"/>
                  </a:lnTo>
                  <a:lnTo>
                    <a:pt x="128588" y="265748"/>
                  </a:lnTo>
                  <a:cubicBezTo>
                    <a:pt x="125730" y="319088"/>
                    <a:pt x="134302" y="373380"/>
                    <a:pt x="151447" y="423863"/>
                  </a:cubicBezTo>
                  <a:cubicBezTo>
                    <a:pt x="166688" y="465773"/>
                    <a:pt x="205740" y="486728"/>
                    <a:pt x="265747" y="486728"/>
                  </a:cubicBezTo>
                  <a:cubicBezTo>
                    <a:pt x="295275" y="485775"/>
                    <a:pt x="323850" y="480060"/>
                    <a:pt x="351472" y="471488"/>
                  </a:cubicBezTo>
                  <a:cubicBezTo>
                    <a:pt x="391477" y="459105"/>
                    <a:pt x="430530" y="442913"/>
                    <a:pt x="468630" y="423863"/>
                  </a:cubicBezTo>
                  <a:cubicBezTo>
                    <a:pt x="469582" y="427673"/>
                    <a:pt x="470535" y="432435"/>
                    <a:pt x="470535" y="4362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7" name="Forme libre : forme 1406">
              <a:extLst>
                <a:ext uri="{FF2B5EF4-FFF2-40B4-BE49-F238E27FC236}">
                  <a16:creationId xmlns:a16="http://schemas.microsoft.com/office/drawing/2014/main" id="{63003894-E4F2-4BC2-83BB-B9FC026CCC8B}"/>
                </a:ext>
              </a:extLst>
            </p:cNvPr>
            <p:cNvSpPr/>
            <p:nvPr/>
          </p:nvSpPr>
          <p:spPr>
            <a:xfrm rot="8716295">
              <a:off x="8632516" y="861328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8" name="Forme libre : forme 1407">
              <a:extLst>
                <a:ext uri="{FF2B5EF4-FFF2-40B4-BE49-F238E27FC236}">
                  <a16:creationId xmlns:a16="http://schemas.microsoft.com/office/drawing/2014/main" id="{4177F84E-2F46-4B16-B2EB-2A6CAAA999C1}"/>
                </a:ext>
              </a:extLst>
            </p:cNvPr>
            <p:cNvSpPr/>
            <p:nvPr/>
          </p:nvSpPr>
          <p:spPr>
            <a:xfrm rot="8716295">
              <a:off x="8943671" y="481680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9" name="Forme libre : forme 1408">
              <a:extLst>
                <a:ext uri="{FF2B5EF4-FFF2-40B4-BE49-F238E27FC236}">
                  <a16:creationId xmlns:a16="http://schemas.microsoft.com/office/drawing/2014/main" id="{7ECC4D0A-0137-4778-9C34-ECD007160309}"/>
                </a:ext>
              </a:extLst>
            </p:cNvPr>
            <p:cNvSpPr/>
            <p:nvPr/>
          </p:nvSpPr>
          <p:spPr>
            <a:xfrm rot="8716295">
              <a:off x="9036942" y="543643"/>
              <a:ext cx="187036" cy="222292"/>
            </a:xfrm>
            <a:custGeom>
              <a:avLst/>
              <a:gdLst>
                <a:gd name="connsiteX0" fmla="*/ 125066 w 187036"/>
                <a:gd name="connsiteY0" fmla="*/ 80621 h 222292"/>
                <a:gd name="connsiteX1" fmla="*/ 125066 w 187036"/>
                <a:gd name="connsiteY1" fmla="*/ 64217 h 222292"/>
                <a:gd name="connsiteX2" fmla="*/ 120199 w 187036"/>
                <a:gd name="connsiteY2" fmla="*/ 48887 h 222292"/>
                <a:gd name="connsiteX3" fmla="*/ 154086 w 187036"/>
                <a:gd name="connsiteY3" fmla="*/ 0 h 222292"/>
                <a:gd name="connsiteX4" fmla="*/ 167044 w 187036"/>
                <a:gd name="connsiteY4" fmla="*/ 5322 h 222292"/>
                <a:gd name="connsiteX5" fmla="*/ 187036 w 187036"/>
                <a:gd name="connsiteY5" fmla="*/ 71052 h 222292"/>
                <a:gd name="connsiteX6" fmla="*/ 187036 w 187036"/>
                <a:gd name="connsiteY6" fmla="*/ 76976 h 222292"/>
                <a:gd name="connsiteX7" fmla="*/ 0 w 187036"/>
                <a:gd name="connsiteY7" fmla="*/ 222292 h 222292"/>
                <a:gd name="connsiteX8" fmla="*/ 38035 w 187036"/>
                <a:gd name="connsiteY8" fmla="*/ 167421 h 222292"/>
                <a:gd name="connsiteX9" fmla="*/ 38035 w 187036"/>
                <a:gd name="connsiteY9" fmla="*/ 196360 h 222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036" h="222292">
                  <a:moveTo>
                    <a:pt x="125066" y="80621"/>
                  </a:moveTo>
                  <a:lnTo>
                    <a:pt x="125066" y="64217"/>
                  </a:lnTo>
                  <a:lnTo>
                    <a:pt x="120199" y="48887"/>
                  </a:lnTo>
                  <a:lnTo>
                    <a:pt x="154086" y="0"/>
                  </a:lnTo>
                  <a:lnTo>
                    <a:pt x="167044" y="5322"/>
                  </a:lnTo>
                  <a:cubicBezTo>
                    <a:pt x="179974" y="20473"/>
                    <a:pt x="187036" y="42801"/>
                    <a:pt x="187036" y="71052"/>
                  </a:cubicBezTo>
                  <a:lnTo>
                    <a:pt x="187036" y="76976"/>
                  </a:lnTo>
                  <a:close/>
                  <a:moveTo>
                    <a:pt x="0" y="222292"/>
                  </a:moveTo>
                  <a:lnTo>
                    <a:pt x="38035" y="167421"/>
                  </a:lnTo>
                  <a:lnTo>
                    <a:pt x="38035" y="1963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0" name="Forme libre : forme 1409">
              <a:extLst>
                <a:ext uri="{FF2B5EF4-FFF2-40B4-BE49-F238E27FC236}">
                  <a16:creationId xmlns:a16="http://schemas.microsoft.com/office/drawing/2014/main" id="{8CF1C17D-8FE5-4586-84EC-797BF0C748ED}"/>
                </a:ext>
              </a:extLst>
            </p:cNvPr>
            <p:cNvSpPr/>
            <p:nvPr/>
          </p:nvSpPr>
          <p:spPr>
            <a:xfrm rot="8716295">
              <a:off x="8831437" y="570224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1" name="Forme libre : forme 1410">
              <a:extLst>
                <a:ext uri="{FF2B5EF4-FFF2-40B4-BE49-F238E27FC236}">
                  <a16:creationId xmlns:a16="http://schemas.microsoft.com/office/drawing/2014/main" id="{AE830191-0020-4FE4-A98C-BF2C46A15C3D}"/>
                </a:ext>
              </a:extLst>
            </p:cNvPr>
            <p:cNvSpPr/>
            <p:nvPr/>
          </p:nvSpPr>
          <p:spPr>
            <a:xfrm rot="8716295">
              <a:off x="8706535" y="361551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5" name="Forme libre : forme 1414">
              <a:extLst>
                <a:ext uri="{FF2B5EF4-FFF2-40B4-BE49-F238E27FC236}">
                  <a16:creationId xmlns:a16="http://schemas.microsoft.com/office/drawing/2014/main" id="{EE8C59D9-229F-48BD-A5E1-860C9FC9870C}"/>
                </a:ext>
              </a:extLst>
            </p:cNvPr>
            <p:cNvSpPr/>
            <p:nvPr/>
          </p:nvSpPr>
          <p:spPr>
            <a:xfrm rot="8716295">
              <a:off x="8921615" y="611176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7" name="Forme libre : forme 1416">
              <a:extLst>
                <a:ext uri="{FF2B5EF4-FFF2-40B4-BE49-F238E27FC236}">
                  <a16:creationId xmlns:a16="http://schemas.microsoft.com/office/drawing/2014/main" id="{8B3EDBB4-588F-4A74-A7EE-F28AB8A86698}"/>
                </a:ext>
              </a:extLst>
            </p:cNvPr>
            <p:cNvSpPr/>
            <p:nvPr/>
          </p:nvSpPr>
          <p:spPr>
            <a:xfrm rot="8716295">
              <a:off x="8680164" y="461576"/>
              <a:ext cx="72447" cy="72447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8" name="Forme libre : forme 1417">
              <a:extLst>
                <a:ext uri="{FF2B5EF4-FFF2-40B4-BE49-F238E27FC236}">
                  <a16:creationId xmlns:a16="http://schemas.microsoft.com/office/drawing/2014/main" id="{E513DE33-1C86-4B9E-A5D2-1C775A4B6B9A}"/>
                </a:ext>
              </a:extLst>
            </p:cNvPr>
            <p:cNvSpPr/>
            <p:nvPr/>
          </p:nvSpPr>
          <p:spPr>
            <a:xfrm rot="7484129">
              <a:off x="9031331" y="823575"/>
              <a:ext cx="156001" cy="192535"/>
            </a:xfrm>
            <a:custGeom>
              <a:avLst/>
              <a:gdLst>
                <a:gd name="connsiteX0" fmla="*/ 42863 w 156001"/>
                <a:gd name="connsiteY0" fmla="*/ 192535 h 192535"/>
                <a:gd name="connsiteX1" fmla="*/ 0 w 156001"/>
                <a:gd name="connsiteY1" fmla="*/ 112791 h 192535"/>
                <a:gd name="connsiteX2" fmla="*/ 2226 w 156001"/>
                <a:gd name="connsiteY2" fmla="*/ 106620 h 192535"/>
                <a:gd name="connsiteX3" fmla="*/ 156001 w 156001"/>
                <a:gd name="connsiteY3" fmla="*/ 0 h 192535"/>
                <a:gd name="connsiteX4" fmla="*/ 156001 w 156001"/>
                <a:gd name="connsiteY4" fmla="*/ 51985 h 192535"/>
                <a:gd name="connsiteX5" fmla="*/ 91208 w 156001"/>
                <a:gd name="connsiteY5" fmla="*/ 51985 h 192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6001" h="192535">
                  <a:moveTo>
                    <a:pt x="42863" y="192535"/>
                  </a:moveTo>
                  <a:lnTo>
                    <a:pt x="0" y="112791"/>
                  </a:lnTo>
                  <a:lnTo>
                    <a:pt x="2226" y="106620"/>
                  </a:lnTo>
                  <a:lnTo>
                    <a:pt x="156001" y="0"/>
                  </a:lnTo>
                  <a:lnTo>
                    <a:pt x="156001" y="51985"/>
                  </a:lnTo>
                  <a:lnTo>
                    <a:pt x="91208" y="519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9" name="Forme libre : forme 1418">
              <a:extLst>
                <a:ext uri="{FF2B5EF4-FFF2-40B4-BE49-F238E27FC236}">
                  <a16:creationId xmlns:a16="http://schemas.microsoft.com/office/drawing/2014/main" id="{A1C128FB-3960-4D7F-8598-CEF9CD401A08}"/>
                </a:ext>
              </a:extLst>
            </p:cNvPr>
            <p:cNvSpPr/>
            <p:nvPr/>
          </p:nvSpPr>
          <p:spPr>
            <a:xfrm rot="8716295">
              <a:off x="9021900" y="50400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0" name="Forme libre : forme 1419">
              <a:extLst>
                <a:ext uri="{FF2B5EF4-FFF2-40B4-BE49-F238E27FC236}">
                  <a16:creationId xmlns:a16="http://schemas.microsoft.com/office/drawing/2014/main" id="{BC46D4D0-028A-4521-9F49-7D03D0168DF3}"/>
                </a:ext>
              </a:extLst>
            </p:cNvPr>
            <p:cNvSpPr/>
            <p:nvPr/>
          </p:nvSpPr>
          <p:spPr>
            <a:xfrm rot="8716295">
              <a:off x="8435633" y="69774"/>
              <a:ext cx="141256" cy="232388"/>
            </a:xfrm>
            <a:custGeom>
              <a:avLst/>
              <a:gdLst>
                <a:gd name="connsiteX0" fmla="*/ 297180 w 295275"/>
                <a:gd name="connsiteY0" fmla="*/ 104775 h 485775"/>
                <a:gd name="connsiteX1" fmla="*/ 297180 w 295275"/>
                <a:gd name="connsiteY1" fmla="*/ 435293 h 485775"/>
                <a:gd name="connsiteX2" fmla="*/ 169545 w 295275"/>
                <a:gd name="connsiteY2" fmla="*/ 485775 h 485775"/>
                <a:gd name="connsiteX3" fmla="*/ 169545 w 295275"/>
                <a:gd name="connsiteY3" fmla="*/ 145733 h 485775"/>
                <a:gd name="connsiteX4" fmla="*/ 169545 w 295275"/>
                <a:gd name="connsiteY4" fmla="*/ 137160 h 485775"/>
                <a:gd name="connsiteX5" fmla="*/ 126683 w 295275"/>
                <a:gd name="connsiteY5" fmla="*/ 104775 h 485775"/>
                <a:gd name="connsiteX6" fmla="*/ 0 w 295275"/>
                <a:gd name="connsiteY6" fmla="*/ 104775 h 485775"/>
                <a:gd name="connsiteX7" fmla="*/ 0 w 295275"/>
                <a:gd name="connsiteY7" fmla="*/ 0 h 485775"/>
                <a:gd name="connsiteX8" fmla="*/ 178118 w 295275"/>
                <a:gd name="connsiteY8" fmla="*/ 0 h 485775"/>
                <a:gd name="connsiteX9" fmla="*/ 297180 w 295275"/>
                <a:gd name="connsiteY9" fmla="*/ 104775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275" h="485775">
                  <a:moveTo>
                    <a:pt x="297180" y="104775"/>
                  </a:moveTo>
                  <a:lnTo>
                    <a:pt x="297180" y="435293"/>
                  </a:lnTo>
                  <a:lnTo>
                    <a:pt x="169545" y="485775"/>
                  </a:lnTo>
                  <a:lnTo>
                    <a:pt x="169545" y="145733"/>
                  </a:lnTo>
                  <a:cubicBezTo>
                    <a:pt x="169545" y="142875"/>
                    <a:pt x="169545" y="140018"/>
                    <a:pt x="169545" y="137160"/>
                  </a:cubicBezTo>
                  <a:cubicBezTo>
                    <a:pt x="166688" y="116205"/>
                    <a:pt x="147638" y="101918"/>
                    <a:pt x="126683" y="104775"/>
                  </a:cubicBezTo>
                  <a:lnTo>
                    <a:pt x="0" y="104775"/>
                  </a:lnTo>
                  <a:lnTo>
                    <a:pt x="0" y="0"/>
                  </a:lnTo>
                  <a:lnTo>
                    <a:pt x="178118" y="0"/>
                  </a:lnTo>
                  <a:cubicBezTo>
                    <a:pt x="255270" y="0"/>
                    <a:pt x="297180" y="33338"/>
                    <a:pt x="29718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1" name="Forme libre : forme 1420">
              <a:extLst>
                <a:ext uri="{FF2B5EF4-FFF2-40B4-BE49-F238E27FC236}">
                  <a16:creationId xmlns:a16="http://schemas.microsoft.com/office/drawing/2014/main" id="{6EAA635A-78A6-405C-8277-7FA4213ACDA7}"/>
                </a:ext>
              </a:extLst>
            </p:cNvPr>
            <p:cNvSpPr/>
            <p:nvPr/>
          </p:nvSpPr>
          <p:spPr>
            <a:xfrm rot="8716295">
              <a:off x="8525025" y="99016"/>
              <a:ext cx="259728" cy="250615"/>
            </a:xfrm>
            <a:custGeom>
              <a:avLst/>
              <a:gdLst>
                <a:gd name="connsiteX0" fmla="*/ 544830 w 542925"/>
                <a:gd name="connsiteY0" fmla="*/ 184905 h 523875"/>
                <a:gd name="connsiteX1" fmla="*/ 544830 w 542925"/>
                <a:gd name="connsiteY1" fmla="*/ 197288 h 523875"/>
                <a:gd name="connsiteX2" fmla="*/ 415290 w 542925"/>
                <a:gd name="connsiteY2" fmla="*/ 204908 h 523875"/>
                <a:gd name="connsiteX3" fmla="*/ 415290 w 542925"/>
                <a:gd name="connsiteY3" fmla="*/ 170618 h 523875"/>
                <a:gd name="connsiteX4" fmla="*/ 344805 w 542925"/>
                <a:gd name="connsiteY4" fmla="*/ 83940 h 523875"/>
                <a:gd name="connsiteX5" fmla="*/ 233363 w 542925"/>
                <a:gd name="connsiteY5" fmla="*/ 266820 h 523875"/>
                <a:gd name="connsiteX6" fmla="*/ 233363 w 542925"/>
                <a:gd name="connsiteY6" fmla="*/ 446843 h 523875"/>
                <a:gd name="connsiteX7" fmla="*/ 107632 w 542925"/>
                <a:gd name="connsiteY7" fmla="*/ 532568 h 523875"/>
                <a:gd name="connsiteX8" fmla="*/ 107632 w 542925"/>
                <a:gd name="connsiteY8" fmla="*/ 95370 h 523875"/>
                <a:gd name="connsiteX9" fmla="*/ 0 w 542925"/>
                <a:gd name="connsiteY9" fmla="*/ 95370 h 523875"/>
                <a:gd name="connsiteX10" fmla="*/ 0 w 542925"/>
                <a:gd name="connsiteY10" fmla="*/ 2978 h 523875"/>
                <a:gd name="connsiteX11" fmla="*/ 219075 w 542925"/>
                <a:gd name="connsiteY11" fmla="*/ 2978 h 523875"/>
                <a:gd name="connsiteX12" fmla="*/ 219075 w 542925"/>
                <a:gd name="connsiteY12" fmla="*/ 157283 h 523875"/>
                <a:gd name="connsiteX13" fmla="*/ 221932 w 542925"/>
                <a:gd name="connsiteY13" fmla="*/ 157283 h 523875"/>
                <a:gd name="connsiteX14" fmla="*/ 321945 w 542925"/>
                <a:gd name="connsiteY14" fmla="*/ 12503 h 523875"/>
                <a:gd name="connsiteX15" fmla="*/ 387667 w 542925"/>
                <a:gd name="connsiteY15" fmla="*/ 120 h 523875"/>
                <a:gd name="connsiteX16" fmla="*/ 544830 w 542925"/>
                <a:gd name="connsiteY16" fmla="*/ 18490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2925" h="523875">
                  <a:moveTo>
                    <a:pt x="544830" y="184905"/>
                  </a:moveTo>
                  <a:lnTo>
                    <a:pt x="544830" y="197288"/>
                  </a:lnTo>
                  <a:lnTo>
                    <a:pt x="415290" y="204908"/>
                  </a:lnTo>
                  <a:lnTo>
                    <a:pt x="415290" y="170618"/>
                  </a:lnTo>
                  <a:cubicBezTo>
                    <a:pt x="415290" y="119183"/>
                    <a:pt x="385763" y="83940"/>
                    <a:pt x="344805" y="83940"/>
                  </a:cubicBezTo>
                  <a:cubicBezTo>
                    <a:pt x="283845" y="83940"/>
                    <a:pt x="233363" y="164903"/>
                    <a:pt x="233363" y="266820"/>
                  </a:cubicBezTo>
                  <a:lnTo>
                    <a:pt x="233363" y="446843"/>
                  </a:lnTo>
                  <a:lnTo>
                    <a:pt x="107632" y="532568"/>
                  </a:lnTo>
                  <a:lnTo>
                    <a:pt x="107632" y="95370"/>
                  </a:lnTo>
                  <a:lnTo>
                    <a:pt x="0" y="95370"/>
                  </a:lnTo>
                  <a:lnTo>
                    <a:pt x="0" y="2978"/>
                  </a:lnTo>
                  <a:lnTo>
                    <a:pt x="219075" y="2978"/>
                  </a:lnTo>
                  <a:lnTo>
                    <a:pt x="219075" y="157283"/>
                  </a:lnTo>
                  <a:lnTo>
                    <a:pt x="221932" y="157283"/>
                  </a:lnTo>
                  <a:cubicBezTo>
                    <a:pt x="252413" y="66795"/>
                    <a:pt x="276225" y="31553"/>
                    <a:pt x="321945" y="12503"/>
                  </a:cubicBezTo>
                  <a:cubicBezTo>
                    <a:pt x="342900" y="3930"/>
                    <a:pt x="364807" y="-832"/>
                    <a:pt x="387667" y="120"/>
                  </a:cubicBezTo>
                  <a:cubicBezTo>
                    <a:pt x="485775" y="-1785"/>
                    <a:pt x="544830" y="66795"/>
                    <a:pt x="544830" y="184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2" name="Forme libre : forme 1421">
              <a:extLst>
                <a:ext uri="{FF2B5EF4-FFF2-40B4-BE49-F238E27FC236}">
                  <a16:creationId xmlns:a16="http://schemas.microsoft.com/office/drawing/2014/main" id="{C5FD0327-5E56-4ECB-88CA-C38610032A32}"/>
                </a:ext>
              </a:extLst>
            </p:cNvPr>
            <p:cNvSpPr/>
            <p:nvPr/>
          </p:nvSpPr>
          <p:spPr>
            <a:xfrm rot="8716295">
              <a:off x="8481025" y="28568"/>
              <a:ext cx="174031" cy="125883"/>
            </a:xfrm>
            <a:custGeom>
              <a:avLst/>
              <a:gdLst>
                <a:gd name="connsiteX0" fmla="*/ 17189 w 174031"/>
                <a:gd name="connsiteY0" fmla="*/ 125883 h 125883"/>
                <a:gd name="connsiteX1" fmla="*/ 0 w 174031"/>
                <a:gd name="connsiteY1" fmla="*/ 113969 h 125883"/>
                <a:gd name="connsiteX2" fmla="*/ 91100 w 174031"/>
                <a:gd name="connsiteY2" fmla="*/ 28251 h 125883"/>
                <a:gd name="connsiteX3" fmla="*/ 145780 w 174031"/>
                <a:gd name="connsiteY3" fmla="*/ 0 h 125883"/>
                <a:gd name="connsiteX4" fmla="*/ 174031 w 174031"/>
                <a:gd name="connsiteY4" fmla="*/ 33719 h 125883"/>
                <a:gd name="connsiteX5" fmla="*/ 147603 w 174031"/>
                <a:gd name="connsiteY5" fmla="*/ 69261 h 125883"/>
                <a:gd name="connsiteX6" fmla="*/ 148058 w 174031"/>
                <a:gd name="connsiteY6" fmla="*/ 69261 h 125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4031" h="125883">
                  <a:moveTo>
                    <a:pt x="17189" y="125883"/>
                  </a:moveTo>
                  <a:lnTo>
                    <a:pt x="0" y="113969"/>
                  </a:lnTo>
                  <a:lnTo>
                    <a:pt x="91100" y="28251"/>
                  </a:lnTo>
                  <a:cubicBezTo>
                    <a:pt x="104771" y="12303"/>
                    <a:pt x="124364" y="2279"/>
                    <a:pt x="145780" y="0"/>
                  </a:cubicBezTo>
                  <a:cubicBezTo>
                    <a:pt x="167652" y="0"/>
                    <a:pt x="174031" y="19138"/>
                    <a:pt x="174031" y="33719"/>
                  </a:cubicBezTo>
                  <a:cubicBezTo>
                    <a:pt x="172664" y="49668"/>
                    <a:pt x="162183" y="62881"/>
                    <a:pt x="147603" y="69261"/>
                  </a:cubicBezTo>
                  <a:lnTo>
                    <a:pt x="148058" y="69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3" name="Forme libre : forme 1422">
              <a:extLst>
                <a:ext uri="{FF2B5EF4-FFF2-40B4-BE49-F238E27FC236}">
                  <a16:creationId xmlns:a16="http://schemas.microsoft.com/office/drawing/2014/main" id="{8E0D4F69-3810-42E5-A76B-E65DD8821F35}"/>
                </a:ext>
              </a:extLst>
            </p:cNvPr>
            <p:cNvSpPr/>
            <p:nvPr/>
          </p:nvSpPr>
          <p:spPr>
            <a:xfrm rot="8716295">
              <a:off x="8323399" y="158318"/>
              <a:ext cx="54680" cy="54680"/>
            </a:xfrm>
            <a:custGeom>
              <a:avLst/>
              <a:gdLst>
                <a:gd name="connsiteX0" fmla="*/ 103823 w 114300"/>
                <a:gd name="connsiteY0" fmla="*/ 103823 h 114300"/>
                <a:gd name="connsiteX1" fmla="*/ 60960 w 114300"/>
                <a:gd name="connsiteY1" fmla="*/ 121920 h 114300"/>
                <a:gd name="connsiteX2" fmla="*/ 18098 w 114300"/>
                <a:gd name="connsiteY2" fmla="*/ 104775 h 114300"/>
                <a:gd name="connsiteX3" fmla="*/ 0 w 114300"/>
                <a:gd name="connsiteY3" fmla="*/ 61913 h 114300"/>
                <a:gd name="connsiteX4" fmla="*/ 0 w 114300"/>
                <a:gd name="connsiteY4" fmla="*/ 60960 h 114300"/>
                <a:gd name="connsiteX5" fmla="*/ 18098 w 114300"/>
                <a:gd name="connsiteY5" fmla="*/ 18098 h 114300"/>
                <a:gd name="connsiteX6" fmla="*/ 60960 w 114300"/>
                <a:gd name="connsiteY6" fmla="*/ 0 h 114300"/>
                <a:gd name="connsiteX7" fmla="*/ 103823 w 114300"/>
                <a:gd name="connsiteY7" fmla="*/ 18098 h 114300"/>
                <a:gd name="connsiteX8" fmla="*/ 103823 w 114300"/>
                <a:gd name="connsiteY8" fmla="*/ 10382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3823" y="103823"/>
                  </a:moveTo>
                  <a:cubicBezTo>
                    <a:pt x="92393" y="115253"/>
                    <a:pt x="77153" y="121920"/>
                    <a:pt x="60960" y="121920"/>
                  </a:cubicBezTo>
                  <a:cubicBezTo>
                    <a:pt x="44768" y="121920"/>
                    <a:pt x="29528" y="116205"/>
                    <a:pt x="18098" y="104775"/>
                  </a:cubicBezTo>
                  <a:cubicBezTo>
                    <a:pt x="6668" y="93345"/>
                    <a:pt x="0" y="78105"/>
                    <a:pt x="0" y="61913"/>
                  </a:cubicBezTo>
                  <a:lnTo>
                    <a:pt x="0" y="60960"/>
                  </a:lnTo>
                  <a:cubicBezTo>
                    <a:pt x="0" y="44768"/>
                    <a:pt x="6668" y="29528"/>
                    <a:pt x="18098" y="18098"/>
                  </a:cubicBezTo>
                  <a:cubicBezTo>
                    <a:pt x="29528" y="6668"/>
                    <a:pt x="44768" y="0"/>
                    <a:pt x="60960" y="0"/>
                  </a:cubicBezTo>
                  <a:cubicBezTo>
                    <a:pt x="77153" y="0"/>
                    <a:pt x="92393" y="6668"/>
                    <a:pt x="103823" y="18098"/>
                  </a:cubicBezTo>
                  <a:cubicBezTo>
                    <a:pt x="127635" y="40958"/>
                    <a:pt x="127635" y="80010"/>
                    <a:pt x="103823" y="103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4" name="Forme libre : forme 1423">
              <a:extLst>
                <a:ext uri="{FF2B5EF4-FFF2-40B4-BE49-F238E27FC236}">
                  <a16:creationId xmlns:a16="http://schemas.microsoft.com/office/drawing/2014/main" id="{25E613B1-767E-4C1C-A1A1-1C6EDD583421}"/>
                </a:ext>
              </a:extLst>
            </p:cNvPr>
            <p:cNvSpPr/>
            <p:nvPr/>
          </p:nvSpPr>
          <p:spPr>
            <a:xfrm rot="8716295">
              <a:off x="8205007" y="-15193"/>
              <a:ext cx="203847" cy="157180"/>
            </a:xfrm>
            <a:custGeom>
              <a:avLst/>
              <a:gdLst>
                <a:gd name="connsiteX0" fmla="*/ 104019 w 203847"/>
                <a:gd name="connsiteY0" fmla="*/ 157180 h 157180"/>
                <a:gd name="connsiteX1" fmla="*/ 49658 w 203847"/>
                <a:gd name="connsiteY1" fmla="*/ 119499 h 157180"/>
                <a:gd name="connsiteX2" fmla="*/ 47847 w 203847"/>
                <a:gd name="connsiteY2" fmla="*/ 116129 h 157180"/>
                <a:gd name="connsiteX3" fmla="*/ 69777 w 203847"/>
                <a:gd name="connsiteY3" fmla="*/ 55323 h 157180"/>
                <a:gd name="connsiteX4" fmla="*/ 0 w 203847"/>
                <a:gd name="connsiteY4" fmla="*/ 55323 h 157180"/>
                <a:gd name="connsiteX5" fmla="*/ 0 w 203847"/>
                <a:gd name="connsiteY5" fmla="*/ 0 h 157180"/>
                <a:gd name="connsiteX6" fmla="*/ 203847 w 203847"/>
                <a:gd name="connsiteY6" fmla="*/ 0 h 157180"/>
                <a:gd name="connsiteX7" fmla="*/ 203847 w 203847"/>
                <a:gd name="connsiteY7" fmla="*/ 55323 h 157180"/>
                <a:gd name="connsiteX8" fmla="*/ 139055 w 203847"/>
                <a:gd name="connsiteY8" fmla="*/ 55323 h 157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847" h="157180">
                  <a:moveTo>
                    <a:pt x="104019" y="157180"/>
                  </a:moveTo>
                  <a:lnTo>
                    <a:pt x="49658" y="119499"/>
                  </a:lnTo>
                  <a:lnTo>
                    <a:pt x="47847" y="116129"/>
                  </a:lnTo>
                  <a:lnTo>
                    <a:pt x="69777" y="55323"/>
                  </a:lnTo>
                  <a:lnTo>
                    <a:pt x="0" y="55323"/>
                  </a:lnTo>
                  <a:lnTo>
                    <a:pt x="0" y="0"/>
                  </a:lnTo>
                  <a:lnTo>
                    <a:pt x="203847" y="0"/>
                  </a:lnTo>
                  <a:lnTo>
                    <a:pt x="203847" y="55323"/>
                  </a:lnTo>
                  <a:lnTo>
                    <a:pt x="13905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5" name="Forme libre : forme 1424">
              <a:extLst>
                <a:ext uri="{FF2B5EF4-FFF2-40B4-BE49-F238E27FC236}">
                  <a16:creationId xmlns:a16="http://schemas.microsoft.com/office/drawing/2014/main" id="{F63808BA-4F7E-40A3-8486-7E6DEBA484C6}"/>
                </a:ext>
              </a:extLst>
            </p:cNvPr>
            <p:cNvSpPr/>
            <p:nvPr/>
          </p:nvSpPr>
          <p:spPr>
            <a:xfrm rot="8716295">
              <a:off x="8444752" y="-32262"/>
              <a:ext cx="79035" cy="109481"/>
            </a:xfrm>
            <a:custGeom>
              <a:avLst/>
              <a:gdLst>
                <a:gd name="connsiteX0" fmla="*/ 79035 w 79035"/>
                <a:gd name="connsiteY0" fmla="*/ 109481 h 109481"/>
                <a:gd name="connsiteX1" fmla="*/ 0 w 79035"/>
                <a:gd name="connsiteY1" fmla="*/ 54697 h 109481"/>
                <a:gd name="connsiteX2" fmla="*/ 0 w 79035"/>
                <a:gd name="connsiteY2" fmla="*/ 40597 h 109481"/>
                <a:gd name="connsiteX3" fmla="*/ 78250 w 79035"/>
                <a:gd name="connsiteY3" fmla="*/ 0 h 109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035" h="109481">
                  <a:moveTo>
                    <a:pt x="79035" y="109481"/>
                  </a:moveTo>
                  <a:lnTo>
                    <a:pt x="0" y="54697"/>
                  </a:lnTo>
                  <a:lnTo>
                    <a:pt x="0" y="40597"/>
                  </a:lnTo>
                  <a:lnTo>
                    <a:pt x="7825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6" name="Forme libre : forme 1425">
              <a:extLst>
                <a:ext uri="{FF2B5EF4-FFF2-40B4-BE49-F238E27FC236}">
                  <a16:creationId xmlns:a16="http://schemas.microsoft.com/office/drawing/2014/main" id="{D63DA307-52BC-4792-8492-1FEF33029CFC}"/>
                </a:ext>
              </a:extLst>
            </p:cNvPr>
            <p:cNvSpPr/>
            <p:nvPr/>
          </p:nvSpPr>
          <p:spPr>
            <a:xfrm rot="8716295">
              <a:off x="8413577" y="199270"/>
              <a:ext cx="100246" cy="218718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7" name="Forme libre : forme 1426">
              <a:extLst>
                <a:ext uri="{FF2B5EF4-FFF2-40B4-BE49-F238E27FC236}">
                  <a16:creationId xmlns:a16="http://schemas.microsoft.com/office/drawing/2014/main" id="{AD849204-8303-4A61-8B71-EA8E15704047}"/>
                </a:ext>
              </a:extLst>
            </p:cNvPr>
            <p:cNvSpPr/>
            <p:nvPr/>
          </p:nvSpPr>
          <p:spPr>
            <a:xfrm rot="8716295">
              <a:off x="8766514" y="-43842"/>
              <a:ext cx="126501" cy="87686"/>
            </a:xfrm>
            <a:custGeom>
              <a:avLst/>
              <a:gdLst>
                <a:gd name="connsiteX0" fmla="*/ 126501 w 126501"/>
                <a:gd name="connsiteY0" fmla="*/ 87686 h 87686"/>
                <a:gd name="connsiteX1" fmla="*/ 0 w 126501"/>
                <a:gd name="connsiteY1" fmla="*/ 0 h 87686"/>
                <a:gd name="connsiteX2" fmla="*/ 69543 w 126501"/>
                <a:gd name="connsiteY2" fmla="*/ 0 h 87686"/>
                <a:gd name="connsiteX3" fmla="*/ 126501 w 126501"/>
                <a:gd name="connsiteY3" fmla="*/ 50123 h 87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501" h="87686">
                  <a:moveTo>
                    <a:pt x="126501" y="87686"/>
                  </a:moveTo>
                  <a:lnTo>
                    <a:pt x="0" y="0"/>
                  </a:lnTo>
                  <a:lnTo>
                    <a:pt x="69543" y="0"/>
                  </a:lnTo>
                  <a:cubicBezTo>
                    <a:pt x="106451" y="0"/>
                    <a:pt x="126500" y="15949"/>
                    <a:pt x="126501" y="501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8" name="Forme libre : forme 1427">
              <a:extLst>
                <a:ext uri="{FF2B5EF4-FFF2-40B4-BE49-F238E27FC236}">
                  <a16:creationId xmlns:a16="http://schemas.microsoft.com/office/drawing/2014/main" id="{A2D7FB67-3D0C-4319-811C-4A6A2542C621}"/>
                </a:ext>
              </a:extLst>
            </p:cNvPr>
            <p:cNvSpPr/>
            <p:nvPr/>
          </p:nvSpPr>
          <p:spPr>
            <a:xfrm rot="8716295">
              <a:off x="8856759" y="-11878"/>
              <a:ext cx="260639" cy="98025"/>
            </a:xfrm>
            <a:custGeom>
              <a:avLst/>
              <a:gdLst>
                <a:gd name="connsiteX0" fmla="*/ 121640 w 260639"/>
                <a:gd name="connsiteY0" fmla="*/ 88179 h 98025"/>
                <a:gd name="connsiteX1" fmla="*/ 0 w 260639"/>
                <a:gd name="connsiteY1" fmla="*/ 3862 h 98025"/>
                <a:gd name="connsiteX2" fmla="*/ 0 w 260639"/>
                <a:gd name="connsiteY2" fmla="*/ 1424 h 98025"/>
                <a:gd name="connsiteX3" fmla="*/ 104802 w 260639"/>
                <a:gd name="connsiteY3" fmla="*/ 1424 h 98025"/>
                <a:gd name="connsiteX4" fmla="*/ 104802 w 260639"/>
                <a:gd name="connsiteY4" fmla="*/ 75242 h 98025"/>
                <a:gd name="connsiteX5" fmla="*/ 106170 w 260639"/>
                <a:gd name="connsiteY5" fmla="*/ 75242 h 98025"/>
                <a:gd name="connsiteX6" fmla="*/ 154014 w 260639"/>
                <a:gd name="connsiteY6" fmla="*/ 5981 h 98025"/>
                <a:gd name="connsiteX7" fmla="*/ 185454 w 260639"/>
                <a:gd name="connsiteY7" fmla="*/ 57 h 98025"/>
                <a:gd name="connsiteX8" fmla="*/ 260639 w 260639"/>
                <a:gd name="connsiteY8" fmla="*/ 88456 h 98025"/>
                <a:gd name="connsiteX9" fmla="*/ 260639 w 260639"/>
                <a:gd name="connsiteY9" fmla="*/ 94380 h 98025"/>
                <a:gd name="connsiteX10" fmla="*/ 198669 w 260639"/>
                <a:gd name="connsiteY10" fmla="*/ 98025 h 98025"/>
                <a:gd name="connsiteX11" fmla="*/ 198669 w 260639"/>
                <a:gd name="connsiteY11" fmla="*/ 81621 h 98025"/>
                <a:gd name="connsiteX12" fmla="*/ 164950 w 260639"/>
                <a:gd name="connsiteY12" fmla="*/ 40156 h 98025"/>
                <a:gd name="connsiteX13" fmla="*/ 127358 w 260639"/>
                <a:gd name="connsiteY13" fmla="*/ 65616 h 9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60639" h="98025">
                  <a:moveTo>
                    <a:pt x="121640" y="88179"/>
                  </a:moveTo>
                  <a:lnTo>
                    <a:pt x="0" y="3862"/>
                  </a:lnTo>
                  <a:lnTo>
                    <a:pt x="0" y="1424"/>
                  </a:lnTo>
                  <a:lnTo>
                    <a:pt x="104802" y="1424"/>
                  </a:lnTo>
                  <a:lnTo>
                    <a:pt x="104802" y="75242"/>
                  </a:lnTo>
                  <a:lnTo>
                    <a:pt x="106170" y="75242"/>
                  </a:lnTo>
                  <a:cubicBezTo>
                    <a:pt x="120751" y="31954"/>
                    <a:pt x="132143" y="15095"/>
                    <a:pt x="154014" y="5981"/>
                  </a:cubicBezTo>
                  <a:cubicBezTo>
                    <a:pt x="164039" y="1880"/>
                    <a:pt x="174519" y="-398"/>
                    <a:pt x="185454" y="57"/>
                  </a:cubicBezTo>
                  <a:cubicBezTo>
                    <a:pt x="232388" y="-854"/>
                    <a:pt x="260639" y="31954"/>
                    <a:pt x="260639" y="88456"/>
                  </a:cubicBezTo>
                  <a:lnTo>
                    <a:pt x="260639" y="94380"/>
                  </a:lnTo>
                  <a:lnTo>
                    <a:pt x="198669" y="98025"/>
                  </a:lnTo>
                  <a:lnTo>
                    <a:pt x="198669" y="81621"/>
                  </a:lnTo>
                  <a:cubicBezTo>
                    <a:pt x="198669" y="57015"/>
                    <a:pt x="184543" y="40156"/>
                    <a:pt x="164950" y="40156"/>
                  </a:cubicBezTo>
                  <a:cubicBezTo>
                    <a:pt x="150369" y="40156"/>
                    <a:pt x="137041" y="49839"/>
                    <a:pt x="127358" y="656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9" name="Forme libre : forme 1428">
              <a:extLst>
                <a:ext uri="{FF2B5EF4-FFF2-40B4-BE49-F238E27FC236}">
                  <a16:creationId xmlns:a16="http://schemas.microsoft.com/office/drawing/2014/main" id="{7EB29EE7-8CE0-4F9C-BE94-981E02C14E6E}"/>
                </a:ext>
              </a:extLst>
            </p:cNvPr>
            <p:cNvSpPr/>
            <p:nvPr/>
          </p:nvSpPr>
          <p:spPr>
            <a:xfrm rot="8716295">
              <a:off x="8702676" y="-50882"/>
              <a:ext cx="100246" cy="218719"/>
            </a:xfrm>
            <a:custGeom>
              <a:avLst/>
              <a:gdLst>
                <a:gd name="connsiteX0" fmla="*/ 216217 w 209550"/>
                <a:gd name="connsiteY0" fmla="*/ 0 h 457200"/>
                <a:gd name="connsiteX1" fmla="*/ 216217 w 209550"/>
                <a:gd name="connsiteY1" fmla="*/ 458153 h 457200"/>
                <a:gd name="connsiteX2" fmla="*/ 90488 w 209550"/>
                <a:gd name="connsiteY2" fmla="*/ 337185 h 457200"/>
                <a:gd name="connsiteX3" fmla="*/ 90488 w 209550"/>
                <a:gd name="connsiteY3" fmla="*/ 34290 h 457200"/>
                <a:gd name="connsiteX4" fmla="*/ 0 w 209550"/>
                <a:gd name="connsiteY4" fmla="*/ 34290 h 457200"/>
                <a:gd name="connsiteX5" fmla="*/ 0 w 209550"/>
                <a:gd name="connsiteY5" fmla="*/ 4763 h 457200"/>
                <a:gd name="connsiteX6" fmla="*/ 216217 w 209550"/>
                <a:gd name="connsiteY6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57200">
                  <a:moveTo>
                    <a:pt x="216217" y="0"/>
                  </a:moveTo>
                  <a:lnTo>
                    <a:pt x="216217" y="458153"/>
                  </a:lnTo>
                  <a:lnTo>
                    <a:pt x="90488" y="337185"/>
                  </a:lnTo>
                  <a:lnTo>
                    <a:pt x="90488" y="34290"/>
                  </a:lnTo>
                  <a:lnTo>
                    <a:pt x="0" y="34290"/>
                  </a:lnTo>
                  <a:lnTo>
                    <a:pt x="0" y="4763"/>
                  </a:lnTo>
                  <a:cubicBezTo>
                    <a:pt x="68580" y="7620"/>
                    <a:pt x="140017" y="1905"/>
                    <a:pt x="21621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0" name="Forme libre : forme 1429">
              <a:extLst>
                <a:ext uri="{FF2B5EF4-FFF2-40B4-BE49-F238E27FC236}">
                  <a16:creationId xmlns:a16="http://schemas.microsoft.com/office/drawing/2014/main" id="{0BDDD1E9-AF02-445F-B0F9-274E91D802B8}"/>
                </a:ext>
              </a:extLst>
            </p:cNvPr>
            <p:cNvSpPr/>
            <p:nvPr/>
          </p:nvSpPr>
          <p:spPr>
            <a:xfrm rot="7484129">
              <a:off x="8807607" y="140469"/>
              <a:ext cx="199362" cy="194378"/>
            </a:xfrm>
            <a:custGeom>
              <a:avLst/>
              <a:gdLst>
                <a:gd name="connsiteX0" fmla="*/ 389572 w 381000"/>
                <a:gd name="connsiteY0" fmla="*/ 0 h 371475"/>
                <a:gd name="connsiteX1" fmla="*/ 389572 w 381000"/>
                <a:gd name="connsiteY1" fmla="*/ 105728 h 371475"/>
                <a:gd name="connsiteX2" fmla="*/ 265747 w 381000"/>
                <a:gd name="connsiteY2" fmla="*/ 105728 h 371475"/>
                <a:gd name="connsiteX3" fmla="*/ 173355 w 381000"/>
                <a:gd name="connsiteY3" fmla="*/ 374333 h 371475"/>
                <a:gd name="connsiteX4" fmla="*/ 91440 w 381000"/>
                <a:gd name="connsiteY4" fmla="*/ 221933 h 371475"/>
                <a:gd name="connsiteX5" fmla="*/ 133350 w 381000"/>
                <a:gd name="connsiteY5" fmla="*/ 105728 h 371475"/>
                <a:gd name="connsiteX6" fmla="*/ 0 w 381000"/>
                <a:gd name="connsiteY6" fmla="*/ 105728 h 371475"/>
                <a:gd name="connsiteX7" fmla="*/ 0 w 381000"/>
                <a:gd name="connsiteY7" fmla="*/ 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371475">
                  <a:moveTo>
                    <a:pt x="389572" y="0"/>
                  </a:moveTo>
                  <a:lnTo>
                    <a:pt x="389572" y="105728"/>
                  </a:lnTo>
                  <a:lnTo>
                    <a:pt x="265747" y="105728"/>
                  </a:lnTo>
                  <a:lnTo>
                    <a:pt x="173355" y="374333"/>
                  </a:lnTo>
                  <a:lnTo>
                    <a:pt x="91440" y="221933"/>
                  </a:lnTo>
                  <a:lnTo>
                    <a:pt x="133350" y="105728"/>
                  </a:lnTo>
                  <a:lnTo>
                    <a:pt x="0" y="1057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1" name="Forme libre : forme 1430">
              <a:extLst>
                <a:ext uri="{FF2B5EF4-FFF2-40B4-BE49-F238E27FC236}">
                  <a16:creationId xmlns:a16="http://schemas.microsoft.com/office/drawing/2014/main" id="{2995B139-7C17-446E-807C-66D934593AD9}"/>
                </a:ext>
              </a:extLst>
            </p:cNvPr>
            <p:cNvSpPr/>
            <p:nvPr/>
          </p:nvSpPr>
          <p:spPr>
            <a:xfrm rot="13089394">
              <a:off x="8909339" y="109550"/>
              <a:ext cx="272584" cy="321941"/>
            </a:xfrm>
            <a:custGeom>
              <a:avLst/>
              <a:gdLst>
                <a:gd name="connsiteX0" fmla="*/ 272584 w 272584"/>
                <a:gd name="connsiteY0" fmla="*/ 258238 h 321941"/>
                <a:gd name="connsiteX1" fmla="*/ 177331 w 272584"/>
                <a:gd name="connsiteY1" fmla="*/ 311348 h 321941"/>
                <a:gd name="connsiteX2" fmla="*/ 137666 w 272584"/>
                <a:gd name="connsiteY2" fmla="*/ 321941 h 321941"/>
                <a:gd name="connsiteX3" fmla="*/ 0 w 272584"/>
                <a:gd name="connsiteY3" fmla="*/ 146725 h 321941"/>
                <a:gd name="connsiteX4" fmla="*/ 0 w 272584"/>
                <a:gd name="connsiteY4" fmla="*/ 38074 h 321941"/>
                <a:gd name="connsiteX5" fmla="*/ 73387 w 272584"/>
                <a:gd name="connsiteY5" fmla="*/ 0 h 321941"/>
                <a:gd name="connsiteX6" fmla="*/ 74491 w 272584"/>
                <a:gd name="connsiteY6" fmla="*/ 153950 h 321941"/>
                <a:gd name="connsiteX7" fmla="*/ 87734 w 272584"/>
                <a:gd name="connsiteY7" fmla="*/ 245547 h 321941"/>
                <a:gd name="connsiteX8" fmla="*/ 153949 w 272584"/>
                <a:gd name="connsiteY8" fmla="*/ 281965 h 321941"/>
                <a:gd name="connsiteX9" fmla="*/ 203610 w 272584"/>
                <a:gd name="connsiteY9" fmla="*/ 273136 h 321941"/>
                <a:gd name="connsiteX10" fmla="*/ 271481 w 272584"/>
                <a:gd name="connsiteY10" fmla="*/ 245547 h 321941"/>
                <a:gd name="connsiteX11" fmla="*/ 272584 w 272584"/>
                <a:gd name="connsiteY11" fmla="*/ 252720 h 321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2584" h="321941">
                  <a:moveTo>
                    <a:pt x="272584" y="258238"/>
                  </a:moveTo>
                  <a:cubicBezTo>
                    <a:pt x="243339" y="283344"/>
                    <a:pt x="209542" y="300312"/>
                    <a:pt x="177331" y="311348"/>
                  </a:cubicBezTo>
                  <a:lnTo>
                    <a:pt x="137666" y="321941"/>
                  </a:lnTo>
                  <a:lnTo>
                    <a:pt x="0" y="146725"/>
                  </a:lnTo>
                  <a:lnTo>
                    <a:pt x="0" y="38074"/>
                  </a:lnTo>
                  <a:lnTo>
                    <a:pt x="73387" y="0"/>
                  </a:lnTo>
                  <a:lnTo>
                    <a:pt x="74491" y="153950"/>
                  </a:lnTo>
                  <a:cubicBezTo>
                    <a:pt x="72836" y="184850"/>
                    <a:pt x="77802" y="216301"/>
                    <a:pt x="87734" y="245547"/>
                  </a:cubicBezTo>
                  <a:cubicBezTo>
                    <a:pt x="96563" y="269826"/>
                    <a:pt x="119187" y="281965"/>
                    <a:pt x="153949" y="281965"/>
                  </a:cubicBezTo>
                  <a:cubicBezTo>
                    <a:pt x="171055" y="281413"/>
                    <a:pt x="187608" y="278102"/>
                    <a:pt x="203610" y="273136"/>
                  </a:cubicBezTo>
                  <a:cubicBezTo>
                    <a:pt x="226786" y="265962"/>
                    <a:pt x="249409" y="256583"/>
                    <a:pt x="271481" y="245547"/>
                  </a:cubicBezTo>
                  <a:cubicBezTo>
                    <a:pt x="272032" y="247754"/>
                    <a:pt x="272584" y="250512"/>
                    <a:pt x="272584" y="252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2" name="Forme libre : forme 1431">
              <a:extLst>
                <a:ext uri="{FF2B5EF4-FFF2-40B4-BE49-F238E27FC236}">
                  <a16:creationId xmlns:a16="http://schemas.microsoft.com/office/drawing/2014/main" id="{5A473123-E00F-4291-A955-BB5219A058F6}"/>
                </a:ext>
              </a:extLst>
            </p:cNvPr>
            <p:cNvSpPr/>
            <p:nvPr/>
          </p:nvSpPr>
          <p:spPr>
            <a:xfrm rot="8716295">
              <a:off x="9122688" y="40501"/>
              <a:ext cx="40667" cy="55234"/>
            </a:xfrm>
            <a:custGeom>
              <a:avLst/>
              <a:gdLst>
                <a:gd name="connsiteX0" fmla="*/ 0 w 40667"/>
                <a:gd name="connsiteY0" fmla="*/ 55234 h 55234"/>
                <a:gd name="connsiteX1" fmla="*/ 38286 w 40667"/>
                <a:gd name="connsiteY1" fmla="*/ 0 h 55234"/>
                <a:gd name="connsiteX2" fmla="*/ 40667 w 40667"/>
                <a:gd name="connsiteY2" fmla="*/ 8974 h 55234"/>
                <a:gd name="connsiteX3" fmla="*/ 9497 w 40667"/>
                <a:gd name="connsiteY3" fmla="*/ 50893 h 55234"/>
                <a:gd name="connsiteX4" fmla="*/ 10033 w 40667"/>
                <a:gd name="connsiteY4" fmla="*/ 50893 h 55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667" h="55234">
                  <a:moveTo>
                    <a:pt x="0" y="55234"/>
                  </a:moveTo>
                  <a:lnTo>
                    <a:pt x="38286" y="0"/>
                  </a:lnTo>
                  <a:lnTo>
                    <a:pt x="40667" y="8974"/>
                  </a:lnTo>
                  <a:cubicBezTo>
                    <a:pt x="39055" y="27784"/>
                    <a:pt x="26693" y="43369"/>
                    <a:pt x="9497" y="50893"/>
                  </a:cubicBezTo>
                  <a:lnTo>
                    <a:pt x="10033" y="508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3" name="Forme libre : forme 1432">
              <a:extLst>
                <a:ext uri="{FF2B5EF4-FFF2-40B4-BE49-F238E27FC236}">
                  <a16:creationId xmlns:a16="http://schemas.microsoft.com/office/drawing/2014/main" id="{EE271554-B785-4605-928F-70CAFB70DEA7}"/>
                </a:ext>
              </a:extLst>
            </p:cNvPr>
            <p:cNvSpPr/>
            <p:nvPr/>
          </p:nvSpPr>
          <p:spPr>
            <a:xfrm rot="8716295">
              <a:off x="8952852" y="4155793"/>
              <a:ext cx="183188" cy="195873"/>
            </a:xfrm>
            <a:custGeom>
              <a:avLst/>
              <a:gdLst>
                <a:gd name="connsiteX0" fmla="*/ 70051 w 183188"/>
                <a:gd name="connsiteY0" fmla="*/ 195873 h 195873"/>
                <a:gd name="connsiteX1" fmla="*/ 27188 w 183188"/>
                <a:gd name="connsiteY1" fmla="*/ 116129 h 195873"/>
                <a:gd name="connsiteX2" fmla="*/ 49117 w 183188"/>
                <a:gd name="connsiteY2" fmla="*/ 55323 h 195873"/>
                <a:gd name="connsiteX3" fmla="*/ 0 w 183188"/>
                <a:gd name="connsiteY3" fmla="*/ 55323 h 195873"/>
                <a:gd name="connsiteX4" fmla="*/ 38348 w 183188"/>
                <a:gd name="connsiteY4" fmla="*/ 0 h 195873"/>
                <a:gd name="connsiteX5" fmla="*/ 183188 w 183188"/>
                <a:gd name="connsiteY5" fmla="*/ 0 h 195873"/>
                <a:gd name="connsiteX6" fmla="*/ 183188 w 183188"/>
                <a:gd name="connsiteY6" fmla="*/ 55323 h 195873"/>
                <a:gd name="connsiteX7" fmla="*/ 118395 w 183188"/>
                <a:gd name="connsiteY7" fmla="*/ 55323 h 1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3188" h="195873">
                  <a:moveTo>
                    <a:pt x="70051" y="195873"/>
                  </a:moveTo>
                  <a:lnTo>
                    <a:pt x="27188" y="116129"/>
                  </a:lnTo>
                  <a:lnTo>
                    <a:pt x="49117" y="55323"/>
                  </a:lnTo>
                  <a:lnTo>
                    <a:pt x="0" y="55323"/>
                  </a:lnTo>
                  <a:lnTo>
                    <a:pt x="38348" y="0"/>
                  </a:lnTo>
                  <a:lnTo>
                    <a:pt x="183188" y="0"/>
                  </a:lnTo>
                  <a:lnTo>
                    <a:pt x="183188" y="55323"/>
                  </a:lnTo>
                  <a:lnTo>
                    <a:pt x="118395" y="553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defTabSz="685800"/>
              <a:endParaRPr lang="fr-F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1434" name="Forme libre : forme 1433">
            <a:extLst>
              <a:ext uri="{FF2B5EF4-FFF2-40B4-BE49-F238E27FC236}">
                <a16:creationId xmlns:a16="http://schemas.microsoft.com/office/drawing/2014/main" id="{3099C65B-8B10-484F-B315-40A09E366107}"/>
              </a:ext>
            </a:extLst>
          </p:cNvPr>
          <p:cNvSpPr/>
          <p:nvPr userDrawn="1"/>
        </p:nvSpPr>
        <p:spPr>
          <a:xfrm>
            <a:off x="1" y="0"/>
            <a:ext cx="6096000" cy="5143500"/>
          </a:xfrm>
          <a:custGeom>
            <a:avLst/>
            <a:gdLst>
              <a:gd name="connsiteX0" fmla="*/ 0 w 6096000"/>
              <a:gd name="connsiteY0" fmla="*/ 0 h 5143500"/>
              <a:gd name="connsiteX1" fmla="*/ 6096000 w 6096000"/>
              <a:gd name="connsiteY1" fmla="*/ 0 h 5143500"/>
              <a:gd name="connsiteX2" fmla="*/ 5658098 w 6096000"/>
              <a:gd name="connsiteY2" fmla="*/ 5143500 h 5143500"/>
              <a:gd name="connsiteX3" fmla="*/ 0 w 6096000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5143500">
                <a:moveTo>
                  <a:pt x="0" y="0"/>
                </a:moveTo>
                <a:lnTo>
                  <a:pt x="6096000" y="0"/>
                </a:lnTo>
                <a:lnTo>
                  <a:pt x="5658098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412" name="Espace réservé du texte 1411">
            <a:extLst>
              <a:ext uri="{FF2B5EF4-FFF2-40B4-BE49-F238E27FC236}">
                <a16:creationId xmlns:a16="http://schemas.microsoft.com/office/drawing/2014/main" id="{B975A26C-84FD-4C11-BF53-E602FA68DDC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9920" y="812296"/>
            <a:ext cx="36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1413" name="Espace réservé du texte 1412">
            <a:extLst>
              <a:ext uri="{FF2B5EF4-FFF2-40B4-BE49-F238E27FC236}">
                <a16:creationId xmlns:a16="http://schemas.microsoft.com/office/drawing/2014/main" id="{1F3E6244-BF30-44B9-B6F9-BF4959AA80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29920" y="812296"/>
            <a:ext cx="360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1414" name="Titre 1413">
            <a:extLst>
              <a:ext uri="{FF2B5EF4-FFF2-40B4-BE49-F238E27FC236}">
                <a16:creationId xmlns:a16="http://schemas.microsoft.com/office/drawing/2014/main" id="{7B15E4E4-6E7E-48BC-92A9-631F532CE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5123" y="333575"/>
            <a:ext cx="4278481" cy="4247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Titre de la slide</a:t>
            </a:r>
          </a:p>
        </p:txBody>
      </p:sp>
      <p:sp>
        <p:nvSpPr>
          <p:cNvPr id="1435" name="Espace réservé du texte 527">
            <a:extLst>
              <a:ext uri="{FF2B5EF4-FFF2-40B4-BE49-F238E27FC236}">
                <a16:creationId xmlns:a16="http://schemas.microsoft.com/office/drawing/2014/main" id="{122505A0-011B-4B6A-B1E5-4E67B987548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57797" y="4265959"/>
            <a:ext cx="972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1436" name="Espace réservé du texte 528">
            <a:extLst>
              <a:ext uri="{FF2B5EF4-FFF2-40B4-BE49-F238E27FC236}">
                <a16:creationId xmlns:a16="http://schemas.microsoft.com/office/drawing/2014/main" id="{FA2FD6D6-E4AA-4328-9FAB-C95B52D0740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527881" y="4265959"/>
            <a:ext cx="972000" cy="45719"/>
          </a:xfrm>
          <a:custGeom>
            <a:avLst/>
            <a:gdLst>
              <a:gd name="connsiteX0" fmla="*/ 0 w 360000"/>
              <a:gd name="connsiteY0" fmla="*/ 0 h 45719"/>
              <a:gd name="connsiteX1" fmla="*/ 360000 w 360000"/>
              <a:gd name="connsiteY1" fmla="*/ 0 h 45719"/>
              <a:gd name="connsiteX2" fmla="*/ 360000 w 360000"/>
              <a:gd name="connsiteY2" fmla="*/ 45719 h 45719"/>
              <a:gd name="connsiteX3" fmla="*/ 0 w 360000"/>
              <a:gd name="connsiteY3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00" h="45719">
                <a:moveTo>
                  <a:pt x="0" y="0"/>
                </a:moveTo>
                <a:lnTo>
                  <a:pt x="360000" y="0"/>
                </a:lnTo>
                <a:lnTo>
                  <a:pt x="360000" y="45719"/>
                </a:lnTo>
                <a:lnTo>
                  <a:pt x="0" y="45719"/>
                </a:lnTo>
                <a:close/>
              </a:path>
            </a:pathLst>
          </a:custGeom>
          <a:solidFill>
            <a:srgbClr val="3A1B0B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1437" name="Espace réservé du texte 530">
            <a:extLst>
              <a:ext uri="{FF2B5EF4-FFF2-40B4-BE49-F238E27FC236}">
                <a16:creationId xmlns:a16="http://schemas.microsoft.com/office/drawing/2014/main" id="{08A6D908-22E3-475D-AFD6-C01F2E5AFFB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44353" y="491319"/>
            <a:ext cx="2190214" cy="3455711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1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Niveau 2</a:t>
            </a:r>
          </a:p>
        </p:txBody>
      </p:sp>
      <p:sp>
        <p:nvSpPr>
          <p:cNvPr id="531" name="Espace réservé du numéro de diapositive 530">
            <a:extLst>
              <a:ext uri="{FF2B5EF4-FFF2-40B4-BE49-F238E27FC236}">
                <a16:creationId xmlns:a16="http://schemas.microsoft.com/office/drawing/2014/main" id="{88C86476-5A7E-47D7-A0E9-020EE06E65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00800" y="0"/>
            <a:ext cx="594090" cy="2665951"/>
          </a:xfrm>
          <a:custGeom>
            <a:avLst/>
            <a:gdLst>
              <a:gd name="connsiteX0" fmla="*/ 0 w 594090"/>
              <a:gd name="connsiteY0" fmla="*/ 0 h 2665951"/>
              <a:gd name="connsiteX1" fmla="*/ 594090 w 594090"/>
              <a:gd name="connsiteY1" fmla="*/ 0 h 2665951"/>
              <a:gd name="connsiteX2" fmla="*/ 367119 w 594090"/>
              <a:gd name="connsiteY2" fmla="*/ 2665951 h 2665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94090" h="2665951">
                <a:moveTo>
                  <a:pt x="0" y="0"/>
                </a:moveTo>
                <a:lnTo>
                  <a:pt x="594090" y="0"/>
                </a:lnTo>
                <a:lnTo>
                  <a:pt x="367119" y="2665951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180000" rIns="0" bIns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90275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5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4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25.xml"/><Relationship Id="rId21" Type="http://schemas.openxmlformats.org/officeDocument/2006/relationships/slideLayout" Target="../slideLayouts/slideLayout43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29" Type="http://schemas.openxmlformats.org/officeDocument/2006/relationships/image" Target="../media/image5.png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slideLayout" Target="../slideLayouts/slideLayout45.xml"/><Relationship Id="rId28" Type="http://schemas.openxmlformats.org/officeDocument/2006/relationships/image" Target="../media/image4.png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Relationship Id="rId27" Type="http://schemas.openxmlformats.org/officeDocument/2006/relationships/image" Target="../media/image3.png"/><Relationship Id="rId30" Type="http://schemas.openxmlformats.org/officeDocument/2006/relationships/image" Target="../media/image6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18" Type="http://schemas.openxmlformats.org/officeDocument/2006/relationships/slideLayout" Target="../slideLayouts/slideLayout63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48.xml"/><Relationship Id="rId21" Type="http://schemas.openxmlformats.org/officeDocument/2006/relationships/slideLayout" Target="../slideLayouts/slideLayout66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slideLayout" Target="../slideLayouts/slideLayout62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20" Type="http://schemas.openxmlformats.org/officeDocument/2006/relationships/slideLayout" Target="../slideLayouts/slideLayout65.xml"/><Relationship Id="rId29" Type="http://schemas.openxmlformats.org/officeDocument/2006/relationships/image" Target="../media/image6.png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23" Type="http://schemas.openxmlformats.org/officeDocument/2006/relationships/theme" Target="../theme/theme3.xml"/><Relationship Id="rId28" Type="http://schemas.openxmlformats.org/officeDocument/2006/relationships/image" Target="../media/image5.png"/><Relationship Id="rId10" Type="http://schemas.openxmlformats.org/officeDocument/2006/relationships/slideLayout" Target="../slideLayouts/slideLayout55.xml"/><Relationship Id="rId19" Type="http://schemas.openxmlformats.org/officeDocument/2006/relationships/slideLayout" Target="../slideLayouts/slideLayout64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Relationship Id="rId22" Type="http://schemas.openxmlformats.org/officeDocument/2006/relationships/slideLayout" Target="../slideLayouts/slideLayout67.xml"/><Relationship Id="rId27" Type="http://schemas.openxmlformats.org/officeDocument/2006/relationships/image" Target="../media/image4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slideLayout" Target="../slideLayouts/slideLayout80.xml"/><Relationship Id="rId18" Type="http://schemas.openxmlformats.org/officeDocument/2006/relationships/slideLayout" Target="../slideLayouts/slideLayout85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70.xml"/><Relationship Id="rId21" Type="http://schemas.openxmlformats.org/officeDocument/2006/relationships/slideLayout" Target="../slideLayouts/slideLayout88.xml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9.xml"/><Relationship Id="rId17" Type="http://schemas.openxmlformats.org/officeDocument/2006/relationships/slideLayout" Target="../slideLayouts/slideLayout84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69.xml"/><Relationship Id="rId16" Type="http://schemas.openxmlformats.org/officeDocument/2006/relationships/slideLayout" Target="../slideLayouts/slideLayout83.xml"/><Relationship Id="rId20" Type="http://schemas.openxmlformats.org/officeDocument/2006/relationships/slideLayout" Target="../slideLayouts/slideLayout87.xml"/><Relationship Id="rId29" Type="http://schemas.openxmlformats.org/officeDocument/2006/relationships/image" Target="../media/image6.png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72.xml"/><Relationship Id="rId15" Type="http://schemas.openxmlformats.org/officeDocument/2006/relationships/slideLayout" Target="../slideLayouts/slideLayout82.xml"/><Relationship Id="rId23" Type="http://schemas.openxmlformats.org/officeDocument/2006/relationships/theme" Target="../theme/theme4.xml"/><Relationship Id="rId28" Type="http://schemas.openxmlformats.org/officeDocument/2006/relationships/image" Target="../media/image5.png"/><Relationship Id="rId10" Type="http://schemas.openxmlformats.org/officeDocument/2006/relationships/slideLayout" Target="../slideLayouts/slideLayout77.xml"/><Relationship Id="rId19" Type="http://schemas.openxmlformats.org/officeDocument/2006/relationships/slideLayout" Target="../slideLayouts/slideLayout86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slideLayout" Target="../slideLayouts/slideLayout81.xml"/><Relationship Id="rId22" Type="http://schemas.openxmlformats.org/officeDocument/2006/relationships/slideLayout" Target="../slideLayouts/slideLayout89.xml"/><Relationship Id="rId27" Type="http://schemas.openxmlformats.org/officeDocument/2006/relationships/image" Target="../media/image4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slideLayout" Target="../slideLayouts/slideLayout102.xml"/><Relationship Id="rId18" Type="http://schemas.openxmlformats.org/officeDocument/2006/relationships/slideLayout" Target="../slideLayouts/slideLayout107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92.xml"/><Relationship Id="rId21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96.xml"/><Relationship Id="rId12" Type="http://schemas.openxmlformats.org/officeDocument/2006/relationships/slideLayout" Target="../slideLayouts/slideLayout101.xml"/><Relationship Id="rId17" Type="http://schemas.openxmlformats.org/officeDocument/2006/relationships/slideLayout" Target="../slideLayouts/slideLayout106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91.xml"/><Relationship Id="rId16" Type="http://schemas.openxmlformats.org/officeDocument/2006/relationships/slideLayout" Target="../slideLayouts/slideLayout105.xml"/><Relationship Id="rId20" Type="http://schemas.openxmlformats.org/officeDocument/2006/relationships/slideLayout" Target="../slideLayouts/slideLayout109.xml"/><Relationship Id="rId29" Type="http://schemas.openxmlformats.org/officeDocument/2006/relationships/image" Target="../media/image6.png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94.xml"/><Relationship Id="rId15" Type="http://schemas.openxmlformats.org/officeDocument/2006/relationships/slideLayout" Target="../slideLayouts/slideLayout104.xml"/><Relationship Id="rId23" Type="http://schemas.openxmlformats.org/officeDocument/2006/relationships/theme" Target="../theme/theme5.xml"/><Relationship Id="rId28" Type="http://schemas.openxmlformats.org/officeDocument/2006/relationships/image" Target="../media/image5.png"/><Relationship Id="rId10" Type="http://schemas.openxmlformats.org/officeDocument/2006/relationships/slideLayout" Target="../slideLayouts/slideLayout99.xml"/><Relationship Id="rId19" Type="http://schemas.openxmlformats.org/officeDocument/2006/relationships/slideLayout" Target="../slideLayouts/slideLayout108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slideLayout" Target="../slideLayouts/slideLayout103.xml"/><Relationship Id="rId22" Type="http://schemas.openxmlformats.org/officeDocument/2006/relationships/slideLayout" Target="../slideLayouts/slideLayout111.xml"/><Relationship Id="rId27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E488B9EA-7276-448B-9DAE-747149E54F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8859" y="349390"/>
            <a:ext cx="7316491" cy="424732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marL="0" lvl="0" defTabSz="457200"/>
            <a:r>
              <a:rPr lang="fr-FR" dirty="0"/>
              <a:t>Modifiez le style du titr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86193F7-39B9-485A-8469-75D89F81A5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0766" y="4767263"/>
            <a:ext cx="51534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2"/>
                </a:solidFill>
              </a:defRPr>
            </a:lvl1pPr>
          </a:lstStyle>
          <a:p>
            <a:fld id="{42A674EB-CF99-4CC2-8F94-AC08E84D1EAE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20AB581-2CE2-4237-B488-2ECE4A6CC6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98858" y="1370013"/>
            <a:ext cx="7316491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Niveau 2</a:t>
            </a:r>
          </a:p>
          <a:p>
            <a:pPr lvl="2"/>
            <a:r>
              <a:rPr lang="fr-FR" dirty="0"/>
              <a:t>Niveau 3</a:t>
            </a:r>
          </a:p>
          <a:p>
            <a:pPr lvl="3"/>
            <a:r>
              <a:rPr lang="fr-FR" dirty="0"/>
              <a:t>Niveau 4</a:t>
            </a:r>
          </a:p>
          <a:p>
            <a:pPr lvl="4"/>
            <a:r>
              <a:rPr lang="fr-FR" dirty="0"/>
              <a:t>Niveau 5</a:t>
            </a:r>
          </a:p>
          <a:p>
            <a:pPr lvl="5"/>
            <a:r>
              <a:rPr lang="fr-FR" dirty="0"/>
              <a:t>Niveau 6</a:t>
            </a:r>
          </a:p>
          <a:p>
            <a:pPr lvl="6"/>
            <a:r>
              <a:rPr lang="fr-FR" dirty="0"/>
              <a:t>Niveau 7</a:t>
            </a:r>
          </a:p>
          <a:p>
            <a:pPr lvl="7"/>
            <a:r>
              <a:rPr lang="fr-FR" dirty="0"/>
              <a:t>Niveau 8</a:t>
            </a:r>
          </a:p>
          <a:p>
            <a:pPr lvl="8"/>
            <a:r>
              <a:rPr lang="fr-FR" dirty="0"/>
              <a:t>Niveau 9</a:t>
            </a:r>
          </a:p>
        </p:txBody>
      </p:sp>
    </p:spTree>
    <p:extLst>
      <p:ext uri="{BB962C8B-B14F-4D97-AF65-F5344CB8AC3E}">
        <p14:creationId xmlns:p14="http://schemas.microsoft.com/office/powerpoint/2010/main" val="2131108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3" r:id="rId3"/>
    <p:sldLayoutId id="2147483700" r:id="rId4"/>
    <p:sldLayoutId id="2147483694" r:id="rId5"/>
    <p:sldLayoutId id="2147483675" r:id="rId6"/>
    <p:sldLayoutId id="2147483692" r:id="rId7"/>
    <p:sldLayoutId id="2147483691" r:id="rId8"/>
    <p:sldLayoutId id="2147483684" r:id="rId9"/>
    <p:sldLayoutId id="2147483689" r:id="rId10"/>
    <p:sldLayoutId id="2147483697" r:id="rId11"/>
    <p:sldLayoutId id="2147483690" r:id="rId12"/>
    <p:sldLayoutId id="2147483678" r:id="rId13"/>
    <p:sldLayoutId id="2147483679" r:id="rId14"/>
    <p:sldLayoutId id="2147483687" r:id="rId15"/>
    <p:sldLayoutId id="2147483702" r:id="rId16"/>
    <p:sldLayoutId id="2147483698" r:id="rId17"/>
    <p:sldLayoutId id="2147483699" r:id="rId18"/>
    <p:sldLayoutId id="2147483688" r:id="rId19"/>
    <p:sldLayoutId id="2147483701" r:id="rId20"/>
    <p:sldLayoutId id="2147483685" r:id="rId21"/>
    <p:sldLayoutId id="2147483686" r:id="rId22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fr-FR" sz="2400" b="1" kern="1200">
          <a:solidFill>
            <a:srgbClr val="3A1B0B"/>
          </a:solidFill>
          <a:latin typeface="+mn-lt"/>
          <a:ea typeface="+mn-ea"/>
          <a:cs typeface="+mn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None/>
        <a:defRPr lang="fr-FR" sz="1600" b="1" kern="1200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None/>
        <a:defRPr lang="fr-FR" sz="1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270000" indent="-270000" algn="l" defTabSz="685800" rtl="0" eaLnBrk="1" latinLnBrk="0" hangingPunct="1">
        <a:lnSpc>
          <a:spcPct val="90000"/>
        </a:lnSpc>
        <a:spcBef>
          <a:spcPts val="400"/>
        </a:spcBef>
        <a:spcAft>
          <a:spcPts val="600"/>
        </a:spcAft>
        <a:buFontTx/>
        <a:buBlip>
          <a:blip r:embed="rId24"/>
        </a:buBlip>
        <a:defRPr lang="fr-FR" sz="1400" b="1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270000" indent="-270000" algn="l" defTabSz="685800" rtl="0" eaLnBrk="1" latinLnBrk="0" hangingPunct="1">
        <a:lnSpc>
          <a:spcPct val="90000"/>
        </a:lnSpc>
        <a:spcBef>
          <a:spcPts val="400"/>
        </a:spcBef>
        <a:spcAft>
          <a:spcPts val="600"/>
        </a:spcAft>
        <a:buFontTx/>
        <a:buBlip>
          <a:blip r:embed="rId25"/>
        </a:buBlip>
        <a:defRPr lang="fr-FR" sz="1400" b="1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70000" indent="-270000" algn="l" defTabSz="685800" rtl="0" eaLnBrk="1" latinLnBrk="0" hangingPunct="1">
        <a:lnSpc>
          <a:spcPct val="90000"/>
        </a:lnSpc>
        <a:spcBef>
          <a:spcPts val="400"/>
        </a:spcBef>
        <a:spcAft>
          <a:spcPts val="600"/>
        </a:spcAft>
        <a:buFontTx/>
        <a:buBlip>
          <a:blip r:embed="rId26"/>
        </a:buBlip>
        <a:defRPr lang="fr-FR" sz="1400" b="1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70000" indent="-270000" algn="l" defTabSz="685800" rtl="0" eaLnBrk="1" latinLnBrk="0" hangingPunct="1">
        <a:lnSpc>
          <a:spcPct val="90000"/>
        </a:lnSpc>
        <a:spcBef>
          <a:spcPts val="400"/>
        </a:spcBef>
        <a:spcAft>
          <a:spcPts val="600"/>
        </a:spcAft>
        <a:buFontTx/>
        <a:buBlip>
          <a:blip r:embed="rId27"/>
        </a:buBlip>
        <a:defRPr lang="fr-FR" sz="1400" b="1" kern="120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270000" indent="-270000" algn="l" defTabSz="685800" rtl="0" eaLnBrk="1" latinLnBrk="0" hangingPunct="1">
        <a:lnSpc>
          <a:spcPct val="90000"/>
        </a:lnSpc>
        <a:spcBef>
          <a:spcPts val="400"/>
        </a:spcBef>
        <a:spcAft>
          <a:spcPts val="600"/>
        </a:spcAft>
        <a:buFontTx/>
        <a:buBlip>
          <a:blip r:embed="rId28"/>
        </a:buBlip>
        <a:defRPr lang="fr-FR" sz="1400" b="1" kern="120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270000" indent="-270000" algn="l" defTabSz="685800" rtl="0" eaLnBrk="1" latinLnBrk="0" hangingPunct="1">
        <a:lnSpc>
          <a:spcPct val="90000"/>
        </a:lnSpc>
        <a:spcBef>
          <a:spcPts val="400"/>
        </a:spcBef>
        <a:spcAft>
          <a:spcPts val="600"/>
        </a:spcAft>
        <a:buFontTx/>
        <a:buBlip>
          <a:blip r:embed="rId29"/>
        </a:buBlip>
        <a:defRPr lang="fr-FR" sz="1400" b="1" kern="120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E488B9EA-7276-448B-9DAE-747149E54F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8859" y="349390"/>
            <a:ext cx="7316491" cy="424732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marL="0" lvl="0" defTabSz="457200"/>
            <a:r>
              <a:rPr lang="fr-FR" dirty="0"/>
              <a:t>Modifiez le style du titr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86193F7-39B9-485A-8469-75D89F81A5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0766" y="4767263"/>
            <a:ext cx="51534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2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srgbClr val="000000"/>
                </a:solidFill>
              </a:rPr>
              <a:pPr/>
              <a:t>‹N°›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20AB581-2CE2-4237-B488-2ECE4A6CC6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98858" y="1370013"/>
            <a:ext cx="7316491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Niveau 2</a:t>
            </a:r>
          </a:p>
          <a:p>
            <a:pPr lvl="2"/>
            <a:r>
              <a:rPr lang="fr-FR" dirty="0"/>
              <a:t>Niveau 3</a:t>
            </a:r>
          </a:p>
          <a:p>
            <a:pPr lvl="3"/>
            <a:r>
              <a:rPr lang="fr-FR" dirty="0"/>
              <a:t>Niveau 4</a:t>
            </a:r>
          </a:p>
          <a:p>
            <a:pPr lvl="4"/>
            <a:r>
              <a:rPr lang="fr-FR" dirty="0"/>
              <a:t>Niveau 5</a:t>
            </a:r>
          </a:p>
          <a:p>
            <a:pPr lvl="5"/>
            <a:r>
              <a:rPr lang="fr-FR" dirty="0"/>
              <a:t>Niveau 6</a:t>
            </a:r>
          </a:p>
          <a:p>
            <a:pPr lvl="6"/>
            <a:r>
              <a:rPr lang="fr-FR" dirty="0"/>
              <a:t>Niveau 7</a:t>
            </a:r>
          </a:p>
          <a:p>
            <a:pPr lvl="7"/>
            <a:r>
              <a:rPr lang="fr-FR" dirty="0"/>
              <a:t>Niveau 8</a:t>
            </a:r>
          </a:p>
          <a:p>
            <a:pPr lvl="8"/>
            <a:r>
              <a:rPr lang="fr-FR" dirty="0"/>
              <a:t>Niveau 9</a:t>
            </a:r>
          </a:p>
        </p:txBody>
      </p:sp>
    </p:spTree>
    <p:extLst>
      <p:ext uri="{BB962C8B-B14F-4D97-AF65-F5344CB8AC3E}">
        <p14:creationId xmlns:p14="http://schemas.microsoft.com/office/powerpoint/2010/main" val="3669632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  <p:sldLayoutId id="2147483716" r:id="rId13"/>
    <p:sldLayoutId id="2147483717" r:id="rId14"/>
    <p:sldLayoutId id="2147483718" r:id="rId15"/>
    <p:sldLayoutId id="2147483719" r:id="rId16"/>
    <p:sldLayoutId id="2147483720" r:id="rId17"/>
    <p:sldLayoutId id="2147483721" r:id="rId18"/>
    <p:sldLayoutId id="2147483722" r:id="rId19"/>
    <p:sldLayoutId id="2147483723" r:id="rId20"/>
    <p:sldLayoutId id="2147483724" r:id="rId21"/>
    <p:sldLayoutId id="2147483725" r:id="rId22"/>
    <p:sldLayoutId id="2147483797" r:id="rId23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fr-FR" sz="2400" b="1" kern="1200">
          <a:solidFill>
            <a:srgbClr val="3A1B0B"/>
          </a:solidFill>
          <a:latin typeface="+mn-lt"/>
          <a:ea typeface="+mn-ea"/>
          <a:cs typeface="+mn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None/>
        <a:defRPr lang="fr-FR" sz="1600" b="1" kern="1200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None/>
        <a:defRPr lang="fr-FR" sz="1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270000" indent="-270000" algn="l" defTabSz="685800" rtl="0" eaLnBrk="1" latinLnBrk="0" hangingPunct="1">
        <a:lnSpc>
          <a:spcPct val="90000"/>
        </a:lnSpc>
        <a:spcBef>
          <a:spcPts val="400"/>
        </a:spcBef>
        <a:spcAft>
          <a:spcPts val="600"/>
        </a:spcAft>
        <a:buFontTx/>
        <a:buBlip>
          <a:blip r:embed="rId25"/>
        </a:buBlip>
        <a:defRPr lang="fr-FR" sz="1400" b="1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270000" indent="-270000" algn="l" defTabSz="685800" rtl="0" eaLnBrk="1" latinLnBrk="0" hangingPunct="1">
        <a:lnSpc>
          <a:spcPct val="90000"/>
        </a:lnSpc>
        <a:spcBef>
          <a:spcPts val="400"/>
        </a:spcBef>
        <a:spcAft>
          <a:spcPts val="600"/>
        </a:spcAft>
        <a:buFontTx/>
        <a:buBlip>
          <a:blip r:embed="rId26"/>
        </a:buBlip>
        <a:defRPr lang="fr-FR" sz="1400" b="1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70000" indent="-270000" algn="l" defTabSz="685800" rtl="0" eaLnBrk="1" latinLnBrk="0" hangingPunct="1">
        <a:lnSpc>
          <a:spcPct val="90000"/>
        </a:lnSpc>
        <a:spcBef>
          <a:spcPts val="400"/>
        </a:spcBef>
        <a:spcAft>
          <a:spcPts val="600"/>
        </a:spcAft>
        <a:buFontTx/>
        <a:buBlip>
          <a:blip r:embed="rId27"/>
        </a:buBlip>
        <a:defRPr lang="fr-FR" sz="1400" b="1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70000" indent="-270000" algn="l" defTabSz="685800" rtl="0" eaLnBrk="1" latinLnBrk="0" hangingPunct="1">
        <a:lnSpc>
          <a:spcPct val="90000"/>
        </a:lnSpc>
        <a:spcBef>
          <a:spcPts val="400"/>
        </a:spcBef>
        <a:spcAft>
          <a:spcPts val="600"/>
        </a:spcAft>
        <a:buFontTx/>
        <a:buBlip>
          <a:blip r:embed="rId28"/>
        </a:buBlip>
        <a:defRPr lang="fr-FR" sz="1400" b="1" kern="120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270000" indent="-270000" algn="l" defTabSz="685800" rtl="0" eaLnBrk="1" latinLnBrk="0" hangingPunct="1">
        <a:lnSpc>
          <a:spcPct val="90000"/>
        </a:lnSpc>
        <a:spcBef>
          <a:spcPts val="400"/>
        </a:spcBef>
        <a:spcAft>
          <a:spcPts val="600"/>
        </a:spcAft>
        <a:buFontTx/>
        <a:buBlip>
          <a:blip r:embed="rId29"/>
        </a:buBlip>
        <a:defRPr lang="fr-FR" sz="1400" b="1" kern="120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270000" indent="-270000" algn="l" defTabSz="685800" rtl="0" eaLnBrk="1" latinLnBrk="0" hangingPunct="1">
        <a:lnSpc>
          <a:spcPct val="90000"/>
        </a:lnSpc>
        <a:spcBef>
          <a:spcPts val="400"/>
        </a:spcBef>
        <a:spcAft>
          <a:spcPts val="600"/>
        </a:spcAft>
        <a:buFontTx/>
        <a:buBlip>
          <a:blip r:embed="rId30"/>
        </a:buBlip>
        <a:defRPr lang="fr-FR" sz="1400" b="1" kern="120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E488B9EA-7276-448B-9DAE-747149E54F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8859" y="349390"/>
            <a:ext cx="7316491" cy="424732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marL="0" lvl="0" defTabSz="457200"/>
            <a:r>
              <a:rPr lang="fr-FR" dirty="0"/>
              <a:t>Modifiez le style du titr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86193F7-39B9-485A-8469-75D89F81A5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0766" y="4767263"/>
            <a:ext cx="51534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2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srgbClr val="000000"/>
                </a:solidFill>
              </a:rPr>
              <a:pPr/>
              <a:t>‹N°›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20AB581-2CE2-4237-B488-2ECE4A6CC6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98858" y="1370013"/>
            <a:ext cx="7316491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Niveau 2</a:t>
            </a:r>
          </a:p>
          <a:p>
            <a:pPr lvl="2"/>
            <a:r>
              <a:rPr lang="fr-FR" dirty="0"/>
              <a:t>Niveau 3</a:t>
            </a:r>
          </a:p>
          <a:p>
            <a:pPr lvl="3"/>
            <a:r>
              <a:rPr lang="fr-FR" dirty="0"/>
              <a:t>Niveau 4</a:t>
            </a:r>
          </a:p>
          <a:p>
            <a:pPr lvl="4"/>
            <a:r>
              <a:rPr lang="fr-FR" dirty="0"/>
              <a:t>Niveau 5</a:t>
            </a:r>
          </a:p>
          <a:p>
            <a:pPr lvl="5"/>
            <a:r>
              <a:rPr lang="fr-FR" dirty="0"/>
              <a:t>Niveau 6</a:t>
            </a:r>
          </a:p>
          <a:p>
            <a:pPr lvl="6"/>
            <a:r>
              <a:rPr lang="fr-FR" dirty="0"/>
              <a:t>Niveau 7</a:t>
            </a:r>
          </a:p>
          <a:p>
            <a:pPr lvl="7"/>
            <a:r>
              <a:rPr lang="fr-FR" dirty="0"/>
              <a:t>Niveau 8</a:t>
            </a:r>
          </a:p>
          <a:p>
            <a:pPr lvl="8"/>
            <a:r>
              <a:rPr lang="fr-FR" dirty="0"/>
              <a:t>Niveau 9</a:t>
            </a:r>
          </a:p>
        </p:txBody>
      </p:sp>
    </p:spTree>
    <p:extLst>
      <p:ext uri="{BB962C8B-B14F-4D97-AF65-F5344CB8AC3E}">
        <p14:creationId xmlns:p14="http://schemas.microsoft.com/office/powerpoint/2010/main" val="3860300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  <p:sldLayoutId id="2147483739" r:id="rId13"/>
    <p:sldLayoutId id="2147483740" r:id="rId14"/>
    <p:sldLayoutId id="2147483741" r:id="rId15"/>
    <p:sldLayoutId id="2147483742" r:id="rId16"/>
    <p:sldLayoutId id="2147483743" r:id="rId17"/>
    <p:sldLayoutId id="2147483744" r:id="rId18"/>
    <p:sldLayoutId id="2147483745" r:id="rId19"/>
    <p:sldLayoutId id="2147483746" r:id="rId20"/>
    <p:sldLayoutId id="2147483747" r:id="rId21"/>
    <p:sldLayoutId id="2147483748" r:id="rId22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fr-FR" sz="2400" b="1" kern="1200">
          <a:solidFill>
            <a:srgbClr val="3A1B0B"/>
          </a:solidFill>
          <a:latin typeface="+mn-lt"/>
          <a:ea typeface="+mn-ea"/>
          <a:cs typeface="+mn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None/>
        <a:defRPr lang="fr-FR" sz="1600" b="1" kern="1200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None/>
        <a:defRPr lang="fr-FR" sz="1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270000" indent="-270000" algn="l" defTabSz="685800" rtl="0" eaLnBrk="1" latinLnBrk="0" hangingPunct="1">
        <a:lnSpc>
          <a:spcPct val="90000"/>
        </a:lnSpc>
        <a:spcBef>
          <a:spcPts val="400"/>
        </a:spcBef>
        <a:spcAft>
          <a:spcPts val="600"/>
        </a:spcAft>
        <a:buFontTx/>
        <a:buBlip>
          <a:blip r:embed="rId24"/>
        </a:buBlip>
        <a:defRPr lang="fr-FR" sz="1400" b="1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270000" indent="-270000" algn="l" defTabSz="685800" rtl="0" eaLnBrk="1" latinLnBrk="0" hangingPunct="1">
        <a:lnSpc>
          <a:spcPct val="90000"/>
        </a:lnSpc>
        <a:spcBef>
          <a:spcPts val="400"/>
        </a:spcBef>
        <a:spcAft>
          <a:spcPts val="600"/>
        </a:spcAft>
        <a:buFontTx/>
        <a:buBlip>
          <a:blip r:embed="rId25"/>
        </a:buBlip>
        <a:defRPr lang="fr-FR" sz="1400" b="1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70000" indent="-270000" algn="l" defTabSz="685800" rtl="0" eaLnBrk="1" latinLnBrk="0" hangingPunct="1">
        <a:lnSpc>
          <a:spcPct val="90000"/>
        </a:lnSpc>
        <a:spcBef>
          <a:spcPts val="400"/>
        </a:spcBef>
        <a:spcAft>
          <a:spcPts val="600"/>
        </a:spcAft>
        <a:buFontTx/>
        <a:buBlip>
          <a:blip r:embed="rId26"/>
        </a:buBlip>
        <a:defRPr lang="fr-FR" sz="1400" b="1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70000" indent="-270000" algn="l" defTabSz="685800" rtl="0" eaLnBrk="1" latinLnBrk="0" hangingPunct="1">
        <a:lnSpc>
          <a:spcPct val="90000"/>
        </a:lnSpc>
        <a:spcBef>
          <a:spcPts val="400"/>
        </a:spcBef>
        <a:spcAft>
          <a:spcPts val="600"/>
        </a:spcAft>
        <a:buFontTx/>
        <a:buBlip>
          <a:blip r:embed="rId27"/>
        </a:buBlip>
        <a:defRPr lang="fr-FR" sz="1400" b="1" kern="120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270000" indent="-270000" algn="l" defTabSz="685800" rtl="0" eaLnBrk="1" latinLnBrk="0" hangingPunct="1">
        <a:lnSpc>
          <a:spcPct val="90000"/>
        </a:lnSpc>
        <a:spcBef>
          <a:spcPts val="400"/>
        </a:spcBef>
        <a:spcAft>
          <a:spcPts val="600"/>
        </a:spcAft>
        <a:buFontTx/>
        <a:buBlip>
          <a:blip r:embed="rId28"/>
        </a:buBlip>
        <a:defRPr lang="fr-FR" sz="1400" b="1" kern="120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270000" indent="-270000" algn="l" defTabSz="685800" rtl="0" eaLnBrk="1" latinLnBrk="0" hangingPunct="1">
        <a:lnSpc>
          <a:spcPct val="90000"/>
        </a:lnSpc>
        <a:spcBef>
          <a:spcPts val="400"/>
        </a:spcBef>
        <a:spcAft>
          <a:spcPts val="600"/>
        </a:spcAft>
        <a:buFontTx/>
        <a:buBlip>
          <a:blip r:embed="rId29"/>
        </a:buBlip>
        <a:defRPr lang="fr-FR" sz="1400" b="1" kern="120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E488B9EA-7276-448B-9DAE-747149E54F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8859" y="349390"/>
            <a:ext cx="7316491" cy="424732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marL="0" lvl="0" defTabSz="457200"/>
            <a:r>
              <a:rPr lang="fr-FR" dirty="0"/>
              <a:t>Modifiez le style du titr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86193F7-39B9-485A-8469-75D89F81A5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0766" y="4767263"/>
            <a:ext cx="51534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2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srgbClr val="000000"/>
                </a:solidFill>
              </a:rPr>
              <a:pPr/>
              <a:t>‹N°›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20AB581-2CE2-4237-B488-2ECE4A6CC6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98858" y="1370013"/>
            <a:ext cx="7316491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Niveau 2</a:t>
            </a:r>
          </a:p>
          <a:p>
            <a:pPr lvl="2"/>
            <a:r>
              <a:rPr lang="fr-FR" dirty="0"/>
              <a:t>Niveau 3</a:t>
            </a:r>
          </a:p>
          <a:p>
            <a:pPr lvl="3"/>
            <a:r>
              <a:rPr lang="fr-FR" dirty="0"/>
              <a:t>Niveau 4</a:t>
            </a:r>
          </a:p>
          <a:p>
            <a:pPr lvl="4"/>
            <a:r>
              <a:rPr lang="fr-FR" dirty="0"/>
              <a:t>Niveau 5</a:t>
            </a:r>
          </a:p>
          <a:p>
            <a:pPr lvl="5"/>
            <a:r>
              <a:rPr lang="fr-FR" dirty="0"/>
              <a:t>Niveau 6</a:t>
            </a:r>
          </a:p>
          <a:p>
            <a:pPr lvl="6"/>
            <a:r>
              <a:rPr lang="fr-FR" dirty="0"/>
              <a:t>Niveau 7</a:t>
            </a:r>
          </a:p>
          <a:p>
            <a:pPr lvl="7"/>
            <a:r>
              <a:rPr lang="fr-FR" dirty="0"/>
              <a:t>Niveau 8</a:t>
            </a:r>
          </a:p>
          <a:p>
            <a:pPr lvl="8"/>
            <a:r>
              <a:rPr lang="fr-FR" dirty="0"/>
              <a:t>Niveau 9</a:t>
            </a:r>
          </a:p>
        </p:txBody>
      </p:sp>
    </p:spTree>
    <p:extLst>
      <p:ext uri="{BB962C8B-B14F-4D97-AF65-F5344CB8AC3E}">
        <p14:creationId xmlns:p14="http://schemas.microsoft.com/office/powerpoint/2010/main" val="4249101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  <p:sldLayoutId id="2147483761" r:id="rId12"/>
    <p:sldLayoutId id="2147483762" r:id="rId13"/>
    <p:sldLayoutId id="2147483763" r:id="rId14"/>
    <p:sldLayoutId id="2147483764" r:id="rId15"/>
    <p:sldLayoutId id="2147483765" r:id="rId16"/>
    <p:sldLayoutId id="2147483766" r:id="rId17"/>
    <p:sldLayoutId id="2147483767" r:id="rId18"/>
    <p:sldLayoutId id="2147483768" r:id="rId19"/>
    <p:sldLayoutId id="2147483769" r:id="rId20"/>
    <p:sldLayoutId id="2147483770" r:id="rId21"/>
    <p:sldLayoutId id="2147483771" r:id="rId22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fr-FR" sz="2400" b="1" kern="1200">
          <a:solidFill>
            <a:srgbClr val="3A1B0B"/>
          </a:solidFill>
          <a:latin typeface="+mn-lt"/>
          <a:ea typeface="+mn-ea"/>
          <a:cs typeface="+mn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None/>
        <a:defRPr lang="fr-FR" sz="1600" b="1" kern="1200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None/>
        <a:defRPr lang="fr-FR" sz="1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270000" indent="-270000" algn="l" defTabSz="685800" rtl="0" eaLnBrk="1" latinLnBrk="0" hangingPunct="1">
        <a:lnSpc>
          <a:spcPct val="90000"/>
        </a:lnSpc>
        <a:spcBef>
          <a:spcPts val="400"/>
        </a:spcBef>
        <a:spcAft>
          <a:spcPts val="600"/>
        </a:spcAft>
        <a:buFontTx/>
        <a:buBlip>
          <a:blip r:embed="rId24"/>
        </a:buBlip>
        <a:defRPr lang="fr-FR" sz="1400" b="1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270000" indent="-270000" algn="l" defTabSz="685800" rtl="0" eaLnBrk="1" latinLnBrk="0" hangingPunct="1">
        <a:lnSpc>
          <a:spcPct val="90000"/>
        </a:lnSpc>
        <a:spcBef>
          <a:spcPts val="400"/>
        </a:spcBef>
        <a:spcAft>
          <a:spcPts val="600"/>
        </a:spcAft>
        <a:buFontTx/>
        <a:buBlip>
          <a:blip r:embed="rId25"/>
        </a:buBlip>
        <a:defRPr lang="fr-FR" sz="1400" b="1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70000" indent="-270000" algn="l" defTabSz="685800" rtl="0" eaLnBrk="1" latinLnBrk="0" hangingPunct="1">
        <a:lnSpc>
          <a:spcPct val="90000"/>
        </a:lnSpc>
        <a:spcBef>
          <a:spcPts val="400"/>
        </a:spcBef>
        <a:spcAft>
          <a:spcPts val="600"/>
        </a:spcAft>
        <a:buFontTx/>
        <a:buBlip>
          <a:blip r:embed="rId26"/>
        </a:buBlip>
        <a:defRPr lang="fr-FR" sz="1400" b="1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70000" indent="-270000" algn="l" defTabSz="685800" rtl="0" eaLnBrk="1" latinLnBrk="0" hangingPunct="1">
        <a:lnSpc>
          <a:spcPct val="90000"/>
        </a:lnSpc>
        <a:spcBef>
          <a:spcPts val="400"/>
        </a:spcBef>
        <a:spcAft>
          <a:spcPts val="600"/>
        </a:spcAft>
        <a:buFontTx/>
        <a:buBlip>
          <a:blip r:embed="rId27"/>
        </a:buBlip>
        <a:defRPr lang="fr-FR" sz="1400" b="1" kern="120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270000" indent="-270000" algn="l" defTabSz="685800" rtl="0" eaLnBrk="1" latinLnBrk="0" hangingPunct="1">
        <a:lnSpc>
          <a:spcPct val="90000"/>
        </a:lnSpc>
        <a:spcBef>
          <a:spcPts val="400"/>
        </a:spcBef>
        <a:spcAft>
          <a:spcPts val="600"/>
        </a:spcAft>
        <a:buFontTx/>
        <a:buBlip>
          <a:blip r:embed="rId28"/>
        </a:buBlip>
        <a:defRPr lang="fr-FR" sz="1400" b="1" kern="120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270000" indent="-270000" algn="l" defTabSz="685800" rtl="0" eaLnBrk="1" latinLnBrk="0" hangingPunct="1">
        <a:lnSpc>
          <a:spcPct val="90000"/>
        </a:lnSpc>
        <a:spcBef>
          <a:spcPts val="400"/>
        </a:spcBef>
        <a:spcAft>
          <a:spcPts val="600"/>
        </a:spcAft>
        <a:buFontTx/>
        <a:buBlip>
          <a:blip r:embed="rId29"/>
        </a:buBlip>
        <a:defRPr lang="fr-FR" sz="1400" b="1" kern="120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E488B9EA-7276-448B-9DAE-747149E54F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8859" y="349390"/>
            <a:ext cx="7316491" cy="424732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marL="0" lvl="0" defTabSz="457200"/>
            <a:r>
              <a:rPr lang="fr-FR" dirty="0"/>
              <a:t>Modifiez le style du titr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86193F7-39B9-485A-8469-75D89F81A5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0766" y="4767263"/>
            <a:ext cx="51534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2"/>
                </a:solidFill>
              </a:defRPr>
            </a:lvl1pPr>
          </a:lstStyle>
          <a:p>
            <a:fld id="{42A674EB-CF99-4CC2-8F94-AC08E84D1EAE}" type="slidenum">
              <a:rPr lang="fr-FR" smtClean="0">
                <a:solidFill>
                  <a:srgbClr val="000000"/>
                </a:solidFill>
              </a:rPr>
              <a:pPr/>
              <a:t>‹N°›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20AB581-2CE2-4237-B488-2ECE4A6CC6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98858" y="1370013"/>
            <a:ext cx="7316491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Niveau 1</a:t>
            </a:r>
          </a:p>
          <a:p>
            <a:pPr lvl="1"/>
            <a:r>
              <a:rPr lang="fr-FR" dirty="0"/>
              <a:t>Niveau 2</a:t>
            </a:r>
          </a:p>
          <a:p>
            <a:pPr lvl="2"/>
            <a:r>
              <a:rPr lang="fr-FR" dirty="0"/>
              <a:t>Niveau 3</a:t>
            </a:r>
          </a:p>
          <a:p>
            <a:pPr lvl="3"/>
            <a:r>
              <a:rPr lang="fr-FR" dirty="0"/>
              <a:t>Niveau 4</a:t>
            </a:r>
          </a:p>
          <a:p>
            <a:pPr lvl="4"/>
            <a:r>
              <a:rPr lang="fr-FR" dirty="0"/>
              <a:t>Niveau 5</a:t>
            </a:r>
          </a:p>
          <a:p>
            <a:pPr lvl="5"/>
            <a:r>
              <a:rPr lang="fr-FR" dirty="0"/>
              <a:t>Niveau 6</a:t>
            </a:r>
          </a:p>
          <a:p>
            <a:pPr lvl="6"/>
            <a:r>
              <a:rPr lang="fr-FR" dirty="0"/>
              <a:t>Niveau 7</a:t>
            </a:r>
          </a:p>
          <a:p>
            <a:pPr lvl="7"/>
            <a:r>
              <a:rPr lang="fr-FR" dirty="0"/>
              <a:t>Niveau 8</a:t>
            </a:r>
          </a:p>
          <a:p>
            <a:pPr lvl="8"/>
            <a:r>
              <a:rPr lang="fr-FR" dirty="0"/>
              <a:t>Niveau 9</a:t>
            </a:r>
          </a:p>
        </p:txBody>
      </p:sp>
    </p:spTree>
    <p:extLst>
      <p:ext uri="{BB962C8B-B14F-4D97-AF65-F5344CB8AC3E}">
        <p14:creationId xmlns:p14="http://schemas.microsoft.com/office/powerpoint/2010/main" val="919952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  <p:sldLayoutId id="2147483784" r:id="rId12"/>
    <p:sldLayoutId id="2147483785" r:id="rId13"/>
    <p:sldLayoutId id="2147483786" r:id="rId14"/>
    <p:sldLayoutId id="2147483787" r:id="rId15"/>
    <p:sldLayoutId id="2147483788" r:id="rId16"/>
    <p:sldLayoutId id="2147483789" r:id="rId17"/>
    <p:sldLayoutId id="2147483790" r:id="rId18"/>
    <p:sldLayoutId id="2147483791" r:id="rId19"/>
    <p:sldLayoutId id="2147483792" r:id="rId20"/>
    <p:sldLayoutId id="2147483793" r:id="rId21"/>
    <p:sldLayoutId id="2147483794" r:id="rId22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fr-FR" sz="2400" b="1" kern="1200">
          <a:solidFill>
            <a:srgbClr val="3A1B0B"/>
          </a:solidFill>
          <a:latin typeface="+mn-lt"/>
          <a:ea typeface="+mn-ea"/>
          <a:cs typeface="+mn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None/>
        <a:defRPr lang="fr-FR" sz="1600" b="1" kern="1200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None/>
        <a:defRPr lang="fr-FR" sz="1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270000" indent="-270000" algn="l" defTabSz="685800" rtl="0" eaLnBrk="1" latinLnBrk="0" hangingPunct="1">
        <a:lnSpc>
          <a:spcPct val="90000"/>
        </a:lnSpc>
        <a:spcBef>
          <a:spcPts val="400"/>
        </a:spcBef>
        <a:spcAft>
          <a:spcPts val="600"/>
        </a:spcAft>
        <a:buFontTx/>
        <a:buBlip>
          <a:blip r:embed="rId24"/>
        </a:buBlip>
        <a:defRPr lang="fr-FR" sz="1400" b="1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270000" indent="-270000" algn="l" defTabSz="685800" rtl="0" eaLnBrk="1" latinLnBrk="0" hangingPunct="1">
        <a:lnSpc>
          <a:spcPct val="90000"/>
        </a:lnSpc>
        <a:spcBef>
          <a:spcPts val="400"/>
        </a:spcBef>
        <a:spcAft>
          <a:spcPts val="600"/>
        </a:spcAft>
        <a:buFontTx/>
        <a:buBlip>
          <a:blip r:embed="rId25"/>
        </a:buBlip>
        <a:defRPr lang="fr-FR" sz="1400" b="1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70000" indent="-270000" algn="l" defTabSz="685800" rtl="0" eaLnBrk="1" latinLnBrk="0" hangingPunct="1">
        <a:lnSpc>
          <a:spcPct val="90000"/>
        </a:lnSpc>
        <a:spcBef>
          <a:spcPts val="400"/>
        </a:spcBef>
        <a:spcAft>
          <a:spcPts val="600"/>
        </a:spcAft>
        <a:buFontTx/>
        <a:buBlip>
          <a:blip r:embed="rId26"/>
        </a:buBlip>
        <a:defRPr lang="fr-FR" sz="1400" b="1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70000" indent="-270000" algn="l" defTabSz="685800" rtl="0" eaLnBrk="1" latinLnBrk="0" hangingPunct="1">
        <a:lnSpc>
          <a:spcPct val="90000"/>
        </a:lnSpc>
        <a:spcBef>
          <a:spcPts val="400"/>
        </a:spcBef>
        <a:spcAft>
          <a:spcPts val="600"/>
        </a:spcAft>
        <a:buFontTx/>
        <a:buBlip>
          <a:blip r:embed="rId27"/>
        </a:buBlip>
        <a:defRPr lang="fr-FR" sz="1400" b="1" kern="120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270000" indent="-270000" algn="l" defTabSz="685800" rtl="0" eaLnBrk="1" latinLnBrk="0" hangingPunct="1">
        <a:lnSpc>
          <a:spcPct val="90000"/>
        </a:lnSpc>
        <a:spcBef>
          <a:spcPts val="400"/>
        </a:spcBef>
        <a:spcAft>
          <a:spcPts val="600"/>
        </a:spcAft>
        <a:buFontTx/>
        <a:buBlip>
          <a:blip r:embed="rId28"/>
        </a:buBlip>
        <a:defRPr lang="fr-FR" sz="1400" b="1" kern="120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270000" indent="-270000" algn="l" defTabSz="685800" rtl="0" eaLnBrk="1" latinLnBrk="0" hangingPunct="1">
        <a:lnSpc>
          <a:spcPct val="90000"/>
        </a:lnSpc>
        <a:spcBef>
          <a:spcPts val="400"/>
        </a:spcBef>
        <a:spcAft>
          <a:spcPts val="600"/>
        </a:spcAft>
        <a:buFontTx/>
        <a:buBlip>
          <a:blip r:embed="rId29"/>
        </a:buBlip>
        <a:defRPr lang="fr-FR" sz="1400" b="1" kern="120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3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2.xml"/><Relationship Id="rId6" Type="http://schemas.openxmlformats.org/officeDocument/2006/relationships/hyperlink" Target="https://fr.wikipedia.org/wiki/Wikip%C3%A9dia:Marronniers" TargetMode="External"/><Relationship Id="rId5" Type="http://schemas.openxmlformats.org/officeDocument/2006/relationships/hyperlink" Target="https://fr.wikipedia.org/wiki/Wikip%C3%A9dia:R%C3%A8gles_et_recommandations" TargetMode="External"/><Relationship Id="rId4" Type="http://schemas.openxmlformats.org/officeDocument/2006/relationships/image" Target="../media/image5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1.xml"/><Relationship Id="rId1" Type="http://schemas.openxmlformats.org/officeDocument/2006/relationships/tags" Target="../tags/tag13.xml"/><Relationship Id="rId4" Type="http://schemas.openxmlformats.org/officeDocument/2006/relationships/image" Target="../media/image41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4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Relationship Id="rId9" Type="http://schemas.openxmlformats.org/officeDocument/2006/relationships/hyperlink" Target="https://stats.wikimedia.org/" TargetMode="Externa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fr.wikipedia.org/wiki/Wikip%C3%A9dia:Patrouille_RC" TargetMode="Externa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8.xml"/><Relationship Id="rId4" Type="http://schemas.openxmlformats.org/officeDocument/2006/relationships/image" Target="../media/image5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fr.wikipedia.org/wiki/Wikip%C3%A9dia:LiveRC/Documentation/Commandes/fr#Lignes_RC" TargetMode="Externa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2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4.xml"/><Relationship Id="rId1" Type="http://schemas.openxmlformats.org/officeDocument/2006/relationships/tags" Target="../tags/tag2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3.xml"/><Relationship Id="rId1" Type="http://schemas.openxmlformats.org/officeDocument/2006/relationships/tags" Target="../tags/tag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22.xml"/><Relationship Id="rId5" Type="http://schemas.openxmlformats.org/officeDocument/2006/relationships/hyperlink" Target="https://fr.wikipedia.org/wiki/Utilisateur:Salebot" TargetMode="External"/><Relationship Id="rId4" Type="http://schemas.openxmlformats.org/officeDocument/2006/relationships/hyperlink" Target="https://www.liberation.fr/futurs/2008/08/06/inside-wikipedia-5-sous-haute-surveillance_16843/" TargetMode="Externa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2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1.xml"/><Relationship Id="rId1" Type="http://schemas.openxmlformats.org/officeDocument/2006/relationships/tags" Target="../tags/tag24.xml"/><Relationship Id="rId4" Type="http://schemas.openxmlformats.org/officeDocument/2006/relationships/image" Target="../media/image4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2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2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27.xml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2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2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30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3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4.xml"/><Relationship Id="rId4" Type="http://schemas.openxmlformats.org/officeDocument/2006/relationships/image" Target="../media/image41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32.xml"/><Relationship Id="rId4" Type="http://schemas.openxmlformats.org/officeDocument/2006/relationships/image" Target="../media/image70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33.xml"/><Relationship Id="rId5" Type="http://schemas.openxmlformats.org/officeDocument/2006/relationships/hyperlink" Target="https://fr.wikipedia.org/wiki/Wikip%C3%A9dia:L'article_parfait" TargetMode="External"/><Relationship Id="rId4" Type="http://schemas.openxmlformats.org/officeDocument/2006/relationships/image" Target="../media/image71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3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3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36.xml"/><Relationship Id="rId5" Type="http://schemas.openxmlformats.org/officeDocument/2006/relationships/image" Target="../media/image75.png"/><Relationship Id="rId4" Type="http://schemas.openxmlformats.org/officeDocument/2006/relationships/image" Target="../media/image74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3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38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39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40.xml"/><Relationship Id="rId4" Type="http://schemas.openxmlformats.org/officeDocument/2006/relationships/hyperlink" Target="https://fr.wikipedia.org/wiki/Aide:Liste_des_bandeaux_de_maintenance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6.xml"/><Relationship Id="rId5" Type="http://schemas.openxmlformats.org/officeDocument/2006/relationships/image" Target="../media/image42.png"/><Relationship Id="rId4" Type="http://schemas.openxmlformats.org/officeDocument/2006/relationships/hyperlink" Target="https://fr.wikipedia.org/wiki/Wikip%C3%A9dia:Principes_fondateurs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doi.org/10.1038/438900a" TargetMode="External"/><Relationship Id="rId3" Type="http://schemas.openxmlformats.org/officeDocument/2006/relationships/image" Target="../media/image43.jpeg"/><Relationship Id="rId7" Type="http://schemas.openxmlformats.org/officeDocument/2006/relationships/image" Target="../media/image47.jpeg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7.xml"/><Relationship Id="rId6" Type="http://schemas.openxmlformats.org/officeDocument/2006/relationships/image" Target="../media/image46.jpeg"/><Relationship Id="rId5" Type="http://schemas.openxmlformats.org/officeDocument/2006/relationships/image" Target="../media/image45.jpeg"/><Relationship Id="rId4" Type="http://schemas.openxmlformats.org/officeDocument/2006/relationships/image" Target="../media/image44.jpg"/><Relationship Id="rId9" Type="http://schemas.openxmlformats.org/officeDocument/2006/relationships/hyperlink" Target="https://www.nature.com/articles/438900a.pdf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8.xml"/><Relationship Id="rId6" Type="http://schemas.openxmlformats.org/officeDocument/2006/relationships/hyperlink" Target="https://fr.wikipedia.org/wiki/Attentats_du_11_septembre_2001" TargetMode="External"/><Relationship Id="rId5" Type="http://schemas.openxmlformats.org/officeDocument/2006/relationships/hyperlink" Target="https://fr.wikipedia.org/w/index.php?title=Harc%C3%A8lement_de_rue&amp;diff=190119720&amp;oldid=189794669#France" TargetMode="External"/><Relationship Id="rId4" Type="http://schemas.openxmlformats.org/officeDocument/2006/relationships/image" Target="../media/image4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51.png"/><Relationship Id="rId4" Type="http://schemas.openxmlformats.org/officeDocument/2006/relationships/image" Target="../media/image50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>
          <a:xfrm>
            <a:off x="275974" y="475195"/>
            <a:ext cx="8543285" cy="2991872"/>
          </a:xfrm>
        </p:spPr>
        <p:txBody>
          <a:bodyPr/>
          <a:lstStyle/>
          <a:p>
            <a:pPr algn="ctr"/>
            <a:r>
              <a:rPr lang="fr-FR" dirty="0"/>
              <a:t>Wikipédia et ses qualité</a:t>
            </a:r>
          </a:p>
          <a:p>
            <a:pPr algn="ctr"/>
            <a:r>
              <a:rPr lang="fr-FR" dirty="0"/>
              <a:t>Wikipédia et « la » qualité</a:t>
            </a:r>
          </a:p>
          <a:p>
            <a:pPr algn="ctr"/>
            <a:endParaRPr lang="fr-FR" sz="3600" dirty="0"/>
          </a:p>
          <a:p>
            <a:pPr algn="ctr"/>
            <a:r>
              <a:rPr lang="fr-FR" sz="3600" dirty="0"/>
              <a:t>Expérimentation </a:t>
            </a:r>
            <a:r>
              <a:rPr lang="fr-FR" sz="3600" dirty="0" err="1"/>
              <a:t>WikIST</a:t>
            </a:r>
            <a:endParaRPr lang="fr-FR" sz="3600" dirty="0"/>
          </a:p>
          <a:p>
            <a:pPr algn="ctr"/>
            <a:r>
              <a:rPr lang="fr-FR" sz="3200" dirty="0"/>
              <a:t>28 juin 2022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806278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10</a:t>
            </a:fld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F5. Wikipédia n’a pas d’autres règles fixes</a:t>
            </a: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0017" y="921288"/>
            <a:ext cx="2741953" cy="3507513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768588" y="4463899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fr-FR" dirty="0"/>
              <a:t>de l’audace, encore de l’audace, toujours de l’audace</a:t>
            </a:r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33127" y="1242572"/>
            <a:ext cx="5164569" cy="2034796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4191000" y="3277368"/>
            <a:ext cx="4572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fr-FR" sz="1400" dirty="0">
                <a:hlinkClick r:id="rId5"/>
              </a:rPr>
              <a:t>https://fr.wikipedia.org/wiki/Wikip%C3%A9dia:R%C3%A8gles_et_recommandations</a:t>
            </a:r>
            <a:r>
              <a:rPr lang="fr-FR" sz="1400" dirty="0"/>
              <a:t> </a:t>
            </a:r>
          </a:p>
        </p:txBody>
      </p:sp>
      <p:sp>
        <p:nvSpPr>
          <p:cNvPr id="12" name="Rectangle 11"/>
          <p:cNvSpPr/>
          <p:nvPr/>
        </p:nvSpPr>
        <p:spPr>
          <a:xfrm rot="16200000">
            <a:off x="-1386606" y="2086906"/>
            <a:ext cx="4572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fr-FR" sz="1100" dirty="0"/>
              <a:t>https://commons.wikimedia.org/wiki/File:GeorgesDanton.jpg</a:t>
            </a:r>
          </a:p>
        </p:txBody>
      </p:sp>
      <p:sp>
        <p:nvSpPr>
          <p:cNvPr id="4" name="Rectangle 3"/>
          <p:cNvSpPr/>
          <p:nvPr/>
        </p:nvSpPr>
        <p:spPr>
          <a:xfrm>
            <a:off x="4129410" y="3857380"/>
            <a:ext cx="486828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dirty="0">
                <a:hlinkClick r:id="rId6"/>
              </a:rPr>
              <a:t>https://fr.wikipedia.org/wiki/Wikip%C3%A9dia:Marronniers</a:t>
            </a:r>
            <a:r>
              <a:rPr lang="fr-FR" sz="1400" dirty="0"/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835190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>
          <a:xfrm>
            <a:off x="153824" y="482179"/>
            <a:ext cx="3092727" cy="3028054"/>
          </a:xfrm>
        </p:spPr>
        <p:txBody>
          <a:bodyPr>
            <a:normAutofit/>
          </a:bodyPr>
          <a:lstStyle/>
          <a:p>
            <a:r>
              <a:rPr lang="fr-FR" dirty="0"/>
              <a:t>Wikipédia : l’antivirus</a:t>
            </a:r>
          </a:p>
          <a:p>
            <a:r>
              <a:rPr lang="fr-FR" sz="900" dirty="0">
                <a:solidFill>
                  <a:schemeClr val="bg1"/>
                </a:solidFill>
              </a:rPr>
              <a:t>		</a:t>
            </a:r>
            <a:endParaRPr lang="fr-FR" sz="900" i="1" dirty="0">
              <a:solidFill>
                <a:schemeClr val="bg1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11</a:t>
            </a:fld>
            <a:endParaRPr lang="fr-FR" dirty="0">
              <a:solidFill>
                <a:prstClr val="white"/>
              </a:solidFill>
            </a:endParaRPr>
          </a:p>
        </p:txBody>
      </p:sp>
      <p:pic>
        <p:nvPicPr>
          <p:cNvPr id="9" name="Espace réservé pour une image  8"/>
          <p:cNvPicPr>
            <a:picLocks noGrp="1" noChangeAspect="1"/>
          </p:cNvPicPr>
          <p:nvPr>
            <p:ph type="pic" sz="quarter" idx="17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07" r="9207"/>
          <a:stretch>
            <a:fillRect/>
          </a:stretch>
        </p:blipFill>
        <p:spPr>
          <a:xfrm>
            <a:off x="3246551" y="3412"/>
            <a:ext cx="5897449" cy="5143501"/>
          </a:xfr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70735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1089569" y="322971"/>
            <a:ext cx="6979157" cy="424732"/>
          </a:xfrm>
        </p:spPr>
        <p:txBody>
          <a:bodyPr/>
          <a:lstStyle/>
          <a:p>
            <a:r>
              <a:rPr lang="fr-FR" dirty="0"/>
              <a:t>Une communauté large : Wikipédia FR</a:t>
            </a:r>
          </a:p>
        </p:txBody>
      </p:sp>
      <p:sp>
        <p:nvSpPr>
          <p:cNvPr id="11" name="Espace réservé du contenu 4"/>
          <p:cNvSpPr txBox="1">
            <a:spLocks/>
          </p:cNvSpPr>
          <p:nvPr/>
        </p:nvSpPr>
        <p:spPr>
          <a:xfrm>
            <a:off x="1089569" y="1159314"/>
            <a:ext cx="7886700" cy="32635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fr-FR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lang="fr-FR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6858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600"/>
              </a:spcAft>
              <a:buFontTx/>
              <a:buBlip>
                <a:blip r:embed="rId3"/>
              </a:buBlip>
              <a:defRPr lang="fr-FR" sz="14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0000" indent="-270000" algn="l" defTabSz="6858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600"/>
              </a:spcAft>
              <a:buFontTx/>
              <a:buBlip>
                <a:blip r:embed="rId4"/>
              </a:buBlip>
              <a:defRPr lang="fr-FR" sz="14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0000" indent="-270000" algn="l" defTabSz="6858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600"/>
              </a:spcAft>
              <a:buFontTx/>
              <a:buBlip>
                <a:blip r:embed="rId5"/>
              </a:buBlip>
              <a:defRPr lang="fr-FR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0000" indent="-270000" algn="l" defTabSz="6858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600"/>
              </a:spcAft>
              <a:buFontTx/>
              <a:buBlip>
                <a:blip r:embed="rId6"/>
              </a:buBlip>
              <a:defRPr lang="fr-FR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0000" indent="-270000" algn="l" defTabSz="6858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600"/>
              </a:spcAft>
              <a:buFontTx/>
              <a:buBlip>
                <a:blip r:embed="rId7"/>
              </a:buBlip>
              <a:defRPr lang="fr-FR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0000" indent="-270000" algn="l" defTabSz="6858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600"/>
              </a:spcAft>
              <a:buFontTx/>
              <a:buBlip>
                <a:blip r:embed="rId8"/>
              </a:buBlip>
              <a:defRPr lang="fr-FR" sz="14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800" dirty="0"/>
              <a:t>1 221 056 utilisateurs enregistrés en tout</a:t>
            </a:r>
          </a:p>
          <a:p>
            <a:endParaRPr lang="fr-FR" sz="2400" dirty="0"/>
          </a:p>
          <a:p>
            <a:r>
              <a:rPr lang="fr-FR" dirty="0"/>
              <a:t>Le mois dernier : </a:t>
            </a:r>
          </a:p>
          <a:p>
            <a:pPr lvl="1"/>
            <a:r>
              <a:rPr lang="fr-FR" sz="1600" dirty="0"/>
              <a:t>- 600 000 modifications</a:t>
            </a:r>
          </a:p>
          <a:p>
            <a:pPr lvl="1"/>
            <a:r>
              <a:rPr lang="fr-FR" sz="1600" dirty="0"/>
              <a:t>- 1 modification ou plus = 17000 contributeurs</a:t>
            </a:r>
          </a:p>
          <a:p>
            <a:pPr lvl="1"/>
            <a:r>
              <a:rPr lang="fr-FR" sz="1600" dirty="0"/>
              <a:t>- 5 modifications ou plus = 6500 contributeurs</a:t>
            </a:r>
          </a:p>
          <a:p>
            <a:pPr lvl="1"/>
            <a:r>
              <a:rPr lang="fr-FR" sz="1600" dirty="0"/>
              <a:t>- 1000 modifications ou plus = 100 contributeur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215016" y="4649763"/>
            <a:ext cx="290335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>
                <a:hlinkClick r:id="rId9"/>
              </a:rPr>
              <a:t>https://stats.wikimedia.org</a:t>
            </a:r>
            <a:r>
              <a:rPr lang="fr-FR" dirty="0"/>
              <a:t> 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460917" y="2811362"/>
            <a:ext cx="519702" cy="2332138"/>
          </a:xfrm>
        </p:spPr>
        <p:txBody>
          <a:bodyPr/>
          <a:lstStyle/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12</a:t>
            </a:fld>
            <a:endParaRPr lang="fr-FR" dirty="0">
              <a:solidFill>
                <a:prstClr val="white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581181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922686" y="301478"/>
            <a:ext cx="6979157" cy="424732"/>
          </a:xfrm>
        </p:spPr>
        <p:txBody>
          <a:bodyPr/>
          <a:lstStyle/>
          <a:p>
            <a:r>
              <a:rPr lang="fr-FR" dirty="0"/>
              <a:t>Une communauté structurée : rôles principaux</a:t>
            </a:r>
          </a:p>
        </p:txBody>
      </p:sp>
      <p:sp>
        <p:nvSpPr>
          <p:cNvPr id="5" name="Rectangle à coins arrondis 4"/>
          <p:cNvSpPr/>
          <p:nvPr/>
        </p:nvSpPr>
        <p:spPr>
          <a:xfrm>
            <a:off x="1229719" y="1000760"/>
            <a:ext cx="2316370" cy="69422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fr-FR" sz="1600" b="1" dirty="0"/>
              <a:t>Contributeur sous IP</a:t>
            </a:r>
          </a:p>
          <a:p>
            <a:pPr algn="ctr"/>
            <a:r>
              <a:rPr lang="fr-FR" sz="1600" dirty="0"/>
              <a:t>Modification de pages</a:t>
            </a:r>
          </a:p>
        </p:txBody>
      </p:sp>
      <p:sp>
        <p:nvSpPr>
          <p:cNvPr id="6" name="Rectangle à coins arrondis 5"/>
          <p:cNvSpPr/>
          <p:nvPr/>
        </p:nvSpPr>
        <p:spPr>
          <a:xfrm>
            <a:off x="1174377" y="1758955"/>
            <a:ext cx="4222813" cy="174263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fr-FR" sz="1600" b="1" dirty="0"/>
              <a:t>Contributeur inscrit</a:t>
            </a:r>
          </a:p>
          <a:p>
            <a:r>
              <a:rPr lang="fr-FR" sz="1600" dirty="0"/>
              <a:t>Au bout de 4 jours : </a:t>
            </a:r>
            <a:r>
              <a:rPr lang="fr-FR" sz="1600" dirty="0" err="1"/>
              <a:t>autoconfirmed</a:t>
            </a:r>
            <a:r>
              <a:rPr lang="fr-FR" sz="1600" dirty="0"/>
              <a:t> : renommage  de pages et ajout de fichiers</a:t>
            </a:r>
          </a:p>
          <a:p>
            <a:r>
              <a:rPr lang="fr-FR" sz="1600" dirty="0"/>
              <a:t>Au bout de 90 jours et 500 </a:t>
            </a:r>
            <a:r>
              <a:rPr lang="fr-FR" sz="1600" dirty="0" err="1"/>
              <a:t>modifs</a:t>
            </a:r>
            <a:r>
              <a:rPr lang="fr-FR" sz="1600" dirty="0"/>
              <a:t> : </a:t>
            </a:r>
            <a:r>
              <a:rPr lang="fr-FR" sz="1600" dirty="0" err="1"/>
              <a:t>autopatrolled</a:t>
            </a:r>
            <a:r>
              <a:rPr lang="fr-FR" sz="1600" dirty="0"/>
              <a:t> : disparaît des modifications récentes</a:t>
            </a:r>
          </a:p>
        </p:txBody>
      </p:sp>
      <p:sp>
        <p:nvSpPr>
          <p:cNvPr id="8" name="Rectangle à coins arrondis 7"/>
          <p:cNvSpPr/>
          <p:nvPr/>
        </p:nvSpPr>
        <p:spPr>
          <a:xfrm>
            <a:off x="1174377" y="3568503"/>
            <a:ext cx="2624472" cy="146441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fr-FR" sz="1600" b="1" dirty="0"/>
              <a:t>Administrateur</a:t>
            </a:r>
            <a:endParaRPr lang="fr-FR" sz="1600" dirty="0"/>
          </a:p>
          <a:p>
            <a:pPr marL="342900" indent="-342900">
              <a:buFontTx/>
              <a:buChar char="-"/>
            </a:pPr>
            <a:r>
              <a:rPr lang="fr-FR" sz="1600" dirty="0"/>
              <a:t>Supprimer des pages</a:t>
            </a:r>
          </a:p>
          <a:p>
            <a:pPr marL="342900" indent="-342900">
              <a:buFontTx/>
              <a:buChar char="-"/>
            </a:pPr>
            <a:r>
              <a:rPr lang="fr-FR" sz="1600" dirty="0"/>
              <a:t>Bloquer des contributeurs</a:t>
            </a:r>
          </a:p>
          <a:p>
            <a:pPr marL="342900" indent="-342900">
              <a:buFontTx/>
              <a:buChar char="-"/>
            </a:pPr>
            <a:r>
              <a:rPr lang="fr-FR" sz="1600" dirty="0"/>
              <a:t>Protéger des articles</a:t>
            </a:r>
          </a:p>
        </p:txBody>
      </p:sp>
      <p:sp>
        <p:nvSpPr>
          <p:cNvPr id="9" name="Rectangle à coins arrondis 8"/>
          <p:cNvSpPr/>
          <p:nvPr/>
        </p:nvSpPr>
        <p:spPr>
          <a:xfrm>
            <a:off x="3858321" y="3583363"/>
            <a:ext cx="2371864" cy="147928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fr-FR" sz="1600" b="1" dirty="0"/>
              <a:t>Bureaucrate</a:t>
            </a:r>
          </a:p>
          <a:p>
            <a:r>
              <a:rPr lang="fr-FR" sz="1600" dirty="0"/>
              <a:t>Attribue des droits d’administrateur, de bureaucrate, et les retire</a:t>
            </a:r>
          </a:p>
        </p:txBody>
      </p:sp>
      <p:sp>
        <p:nvSpPr>
          <p:cNvPr id="10" name="Rectangle à coins arrondis 9"/>
          <p:cNvSpPr/>
          <p:nvPr/>
        </p:nvSpPr>
        <p:spPr>
          <a:xfrm>
            <a:off x="7145599" y="717852"/>
            <a:ext cx="1730772" cy="4336440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/>
              <a:t>Tous égaux du point de vue du pouvoir éditorial (personne n’a le final </a:t>
            </a:r>
            <a:r>
              <a:rPr lang="fr-FR" sz="1600" b="1" dirty="0" err="1"/>
              <a:t>cut</a:t>
            </a:r>
            <a:r>
              <a:rPr lang="fr-FR" sz="1600" b="1" dirty="0"/>
              <a:t>)</a:t>
            </a:r>
          </a:p>
        </p:txBody>
      </p:sp>
      <p:sp>
        <p:nvSpPr>
          <p:cNvPr id="2" name="Accolade fermante 1"/>
          <p:cNvSpPr/>
          <p:nvPr/>
        </p:nvSpPr>
        <p:spPr>
          <a:xfrm>
            <a:off x="6525541" y="1000760"/>
            <a:ext cx="394009" cy="4053532"/>
          </a:xfrm>
          <a:prstGeom prst="rightBrac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460917" y="2811362"/>
            <a:ext cx="519702" cy="2332138"/>
          </a:xfrm>
        </p:spPr>
        <p:txBody>
          <a:bodyPr/>
          <a:lstStyle/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13</a:t>
            </a:fld>
            <a:endParaRPr lang="fr-FR" dirty="0">
              <a:solidFill>
                <a:prstClr val="white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757064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jouter une page à sa liste de suivi</a:t>
            </a:r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460917" y="2811362"/>
            <a:ext cx="519702" cy="2332138"/>
          </a:xfrm>
        </p:spPr>
        <p:txBody>
          <a:bodyPr/>
          <a:lstStyle/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14</a:t>
            </a:fld>
            <a:endParaRPr lang="fr-FR" dirty="0">
              <a:solidFill>
                <a:prstClr val="white"/>
              </a:solidFill>
            </a:endParaRP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535" y="1084144"/>
            <a:ext cx="9144000" cy="3611783"/>
          </a:xfrm>
          <a:prstGeom prst="rect">
            <a:avLst/>
          </a:prstGeom>
        </p:spPr>
      </p:pic>
      <p:sp>
        <p:nvSpPr>
          <p:cNvPr id="4" name="Rectangle à coins arrondis 3"/>
          <p:cNvSpPr/>
          <p:nvPr/>
        </p:nvSpPr>
        <p:spPr>
          <a:xfrm>
            <a:off x="8116494" y="1830172"/>
            <a:ext cx="320040" cy="350520"/>
          </a:xfrm>
          <a:prstGeom prst="roundRect">
            <a:avLst/>
          </a:prstGeom>
          <a:noFill/>
          <a:ln w="285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6223003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jouter une page à sa liste de suivi /2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460917" y="2811362"/>
            <a:ext cx="519702" cy="2332138"/>
          </a:xfrm>
        </p:spPr>
        <p:txBody>
          <a:bodyPr/>
          <a:lstStyle/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15</a:t>
            </a:fld>
            <a:endParaRPr lang="fr-FR" dirty="0">
              <a:solidFill>
                <a:prstClr val="white"/>
              </a:solidFill>
            </a:endParaRP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263" y="1084157"/>
            <a:ext cx="9144000" cy="3793212"/>
          </a:xfrm>
          <a:prstGeom prst="rect">
            <a:avLst/>
          </a:prstGeom>
        </p:spPr>
      </p:pic>
      <p:sp>
        <p:nvSpPr>
          <p:cNvPr id="5" name="Rectangle à coins arrondis 4"/>
          <p:cNvSpPr/>
          <p:nvPr/>
        </p:nvSpPr>
        <p:spPr>
          <a:xfrm>
            <a:off x="8269691" y="1084157"/>
            <a:ext cx="320040" cy="350520"/>
          </a:xfrm>
          <a:prstGeom prst="roundRect">
            <a:avLst/>
          </a:prstGeom>
          <a:noFill/>
          <a:ln w="285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7656098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1165276" y="64260"/>
            <a:ext cx="7978724" cy="757130"/>
          </a:xfrm>
        </p:spPr>
        <p:txBody>
          <a:bodyPr/>
          <a:lstStyle/>
          <a:p>
            <a:r>
              <a:rPr lang="fr-FR" dirty="0"/>
              <a:t>Un ensemble de contributeurs qui modèrent Wikipédia : les patrouilleurs </a:t>
            </a:r>
          </a:p>
        </p:txBody>
      </p:sp>
      <p:sp>
        <p:nvSpPr>
          <p:cNvPr id="2" name="Rectangle 1"/>
          <p:cNvSpPr/>
          <p:nvPr/>
        </p:nvSpPr>
        <p:spPr>
          <a:xfrm>
            <a:off x="2217675" y="3068389"/>
            <a:ext cx="4459554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350" u="sng" dirty="0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3"/>
              </a:rPr>
              <a:t>https://fr.wikipedia.org/wiki/Wikip%C3%A9dia:Patrouille_RC</a:t>
            </a:r>
            <a:endParaRPr lang="fr-FR" sz="1350" dirty="0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72235" y="1640592"/>
            <a:ext cx="5949156" cy="1427798"/>
          </a:xfrm>
          <a:prstGeom prst="rect">
            <a:avLst/>
          </a:prstGeom>
        </p:spPr>
      </p:pic>
      <p:sp>
        <p:nvSpPr>
          <p:cNvPr id="5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460917" y="2811362"/>
            <a:ext cx="519702" cy="2332138"/>
          </a:xfrm>
        </p:spPr>
        <p:txBody>
          <a:bodyPr/>
          <a:lstStyle/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16</a:t>
            </a:fld>
            <a:endParaRPr lang="fr-FR" dirty="0">
              <a:solidFill>
                <a:prstClr val="white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1697122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827763" y="107259"/>
            <a:ext cx="6606383" cy="757130"/>
          </a:xfrm>
        </p:spPr>
        <p:txBody>
          <a:bodyPr/>
          <a:lstStyle/>
          <a:p>
            <a:pPr algn="ctr"/>
            <a:r>
              <a:rPr lang="fr-FR" dirty="0"/>
              <a:t>Un outil de suivi en temps réel : </a:t>
            </a:r>
            <a:r>
              <a:rPr lang="fr-FR" dirty="0" err="1"/>
              <a:t>LiveRC</a:t>
            </a:r>
            <a:endParaRPr lang="fr-FR" dirty="0"/>
          </a:p>
        </p:txBody>
      </p:sp>
      <p:sp>
        <p:nvSpPr>
          <p:cNvPr id="6" name="Rectangle 5"/>
          <p:cNvSpPr/>
          <p:nvPr/>
        </p:nvSpPr>
        <p:spPr>
          <a:xfrm>
            <a:off x="1115122" y="1998780"/>
            <a:ext cx="729289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fr-FR" sz="1600" dirty="0">
              <a:hlinkClick r:id="rId3"/>
            </a:endParaRPr>
          </a:p>
          <a:p>
            <a:r>
              <a:rPr lang="fr-FR" sz="1600" dirty="0">
                <a:hlinkClick r:id="rId3"/>
              </a:rPr>
              <a:t>Source : https://fr.wikipedia.org/wiki/Wikip%C3%A9dia:LiveRC/Documentation/Commandes/fr#Lignes_RC</a:t>
            </a:r>
            <a:r>
              <a:rPr lang="fr-FR" sz="1600" dirty="0"/>
              <a:t> </a:t>
            </a:r>
          </a:p>
        </p:txBody>
      </p:sp>
      <p:sp>
        <p:nvSpPr>
          <p:cNvPr id="2" name="ZoneTexte 1"/>
          <p:cNvSpPr txBox="1"/>
          <p:nvPr/>
        </p:nvSpPr>
        <p:spPr>
          <a:xfrm>
            <a:off x="1115122" y="1286107"/>
            <a:ext cx="64231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Voir capture d’écran sur la diapositive suivante.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460917" y="2811362"/>
            <a:ext cx="519702" cy="2332138"/>
          </a:xfrm>
        </p:spPr>
        <p:txBody>
          <a:bodyPr/>
          <a:lstStyle/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17</a:t>
            </a:fld>
            <a:endParaRPr lang="fr-FR" dirty="0">
              <a:solidFill>
                <a:prstClr val="white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753072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221" y="-53340"/>
            <a:ext cx="8326244" cy="519684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460106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s robots sur Wikipédia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idx="4294967295"/>
          </p:nvPr>
        </p:nvSpPr>
        <p:spPr>
          <a:xfrm>
            <a:off x="1254783" y="1459920"/>
            <a:ext cx="7316787" cy="3462337"/>
          </a:xfrm>
        </p:spPr>
        <p:txBody>
          <a:bodyPr>
            <a:normAutofit/>
          </a:bodyPr>
          <a:lstStyle/>
          <a:p>
            <a:r>
              <a:rPr lang="fr-FR" dirty="0"/>
              <a:t>Permettent des modifications automatiques ou semi-automatiques de Wikipédia</a:t>
            </a:r>
          </a:p>
          <a:p>
            <a:endParaRPr lang="fr-FR" dirty="0"/>
          </a:p>
          <a:p>
            <a:r>
              <a:rPr lang="fr-FR" dirty="0"/>
              <a:t>Sont des catégories d’utilisateurs (une page utilisateur, modifications dans l’historique), généralement repérables par un nom en –bot</a:t>
            </a:r>
          </a:p>
          <a:p>
            <a:endParaRPr lang="fr-FR" dirty="0"/>
          </a:p>
          <a:p>
            <a:r>
              <a:rPr lang="fr-FR" dirty="0"/>
              <a:t>Tous les bots doivent être élus par la communauté et démontrer leur utilité</a:t>
            </a:r>
          </a:p>
          <a:p>
            <a:endParaRPr lang="fr-FR" dirty="0"/>
          </a:p>
          <a:p>
            <a:r>
              <a:rPr lang="fr-FR" dirty="0"/>
              <a:t>Exemples : </a:t>
            </a:r>
          </a:p>
          <a:p>
            <a:pPr lvl="1"/>
            <a:r>
              <a:rPr lang="fr-FR" sz="1600" dirty="0" err="1"/>
              <a:t>Analphabot</a:t>
            </a:r>
            <a:r>
              <a:rPr lang="fr-FR" sz="1600" dirty="0"/>
              <a:t> (corrections orthographiques et typographiques)</a:t>
            </a:r>
          </a:p>
          <a:p>
            <a:pPr lvl="1"/>
            <a:r>
              <a:rPr lang="fr-FR" sz="1600" dirty="0" err="1"/>
              <a:t>Salebot</a:t>
            </a:r>
            <a:r>
              <a:rPr lang="fr-FR" sz="1600" dirty="0"/>
              <a:t> (traitement de vandalisme avéré)</a:t>
            </a:r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460917" y="2811362"/>
            <a:ext cx="519702" cy="2332138"/>
          </a:xfrm>
        </p:spPr>
        <p:txBody>
          <a:bodyPr/>
          <a:lstStyle/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19</a:t>
            </a:fld>
            <a:endParaRPr lang="fr-FR" dirty="0">
              <a:solidFill>
                <a:prstClr val="white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753737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223161765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460917" y="2811362"/>
            <a:ext cx="519702" cy="2332138"/>
          </a:xfrm>
        </p:spPr>
        <p:txBody>
          <a:bodyPr/>
          <a:lstStyle/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20</a:t>
            </a:fld>
            <a:endParaRPr lang="fr-FR" dirty="0">
              <a:solidFill>
                <a:prstClr val="white"/>
              </a:solidFill>
            </a:endParaRP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3838" y="968320"/>
            <a:ext cx="7306184" cy="3626388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Outil d’aide contre le vandalisme</a:t>
            </a:r>
          </a:p>
        </p:txBody>
      </p:sp>
      <p:sp>
        <p:nvSpPr>
          <p:cNvPr id="4" name="Rectangle 3"/>
          <p:cNvSpPr/>
          <p:nvPr/>
        </p:nvSpPr>
        <p:spPr>
          <a:xfrm>
            <a:off x="1318785" y="4730605"/>
            <a:ext cx="75819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fr-FR" sz="1200" dirty="0">
                <a:hlinkClick r:id="rId4"/>
              </a:rPr>
              <a:t>https://www.liberation.fr/futurs/2008/08/06/inside-wikipedia-5-sous-haute-surveillance_16843/</a:t>
            </a:r>
            <a:r>
              <a:rPr lang="fr-FR" sz="1200" dirty="0"/>
              <a:t> </a:t>
            </a:r>
          </a:p>
        </p:txBody>
      </p:sp>
      <p:sp>
        <p:nvSpPr>
          <p:cNvPr id="5" name="Rectangle 4"/>
          <p:cNvSpPr/>
          <p:nvPr/>
        </p:nvSpPr>
        <p:spPr>
          <a:xfrm>
            <a:off x="1630040" y="4433126"/>
            <a:ext cx="7270645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fr-FR" sz="1200" dirty="0">
                <a:hlinkClick r:id="rId5"/>
              </a:rPr>
              <a:t>https</a:t>
            </a:r>
            <a:r>
              <a:rPr lang="fr-FR" sz="1500" dirty="0">
                <a:hlinkClick r:id="rId5"/>
              </a:rPr>
              <a:t>://</a:t>
            </a:r>
            <a:r>
              <a:rPr lang="fr-FR" sz="1200" dirty="0">
                <a:hlinkClick r:id="rId5"/>
              </a:rPr>
              <a:t>fr.wikipedia.org/wiki/Utilisateur:Salebot</a:t>
            </a:r>
            <a:r>
              <a:rPr lang="fr-FR" sz="1500" dirty="0"/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0474557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Un principe pour éviter les guerres d’édition : la règle des 3 révocations</a:t>
            </a: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30623" y="971312"/>
            <a:ext cx="6758958" cy="4926860"/>
          </a:xfrm>
          <a:prstGeom prst="rect">
            <a:avLst/>
          </a:prstGeom>
        </p:spPr>
      </p:pic>
      <p:sp>
        <p:nvSpPr>
          <p:cNvPr id="5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460917" y="2811362"/>
            <a:ext cx="519702" cy="2332138"/>
          </a:xfrm>
        </p:spPr>
        <p:txBody>
          <a:bodyPr/>
          <a:lstStyle/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21</a:t>
            </a:fld>
            <a:endParaRPr lang="fr-FR" dirty="0">
              <a:solidFill>
                <a:prstClr val="white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5574054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>
          <a:xfrm>
            <a:off x="153824" y="482179"/>
            <a:ext cx="3092727" cy="3028054"/>
          </a:xfrm>
        </p:spPr>
        <p:txBody>
          <a:bodyPr>
            <a:normAutofit/>
          </a:bodyPr>
          <a:lstStyle/>
          <a:p>
            <a:r>
              <a:rPr lang="fr-FR" dirty="0"/>
              <a:t>Exemples de qualité Wikipédia</a:t>
            </a:r>
          </a:p>
          <a:p>
            <a:r>
              <a:rPr lang="fr-FR" sz="900" dirty="0">
                <a:solidFill>
                  <a:schemeClr val="bg1"/>
                </a:solidFill>
              </a:rPr>
              <a:t>		</a:t>
            </a:r>
            <a:endParaRPr lang="fr-FR" sz="900" i="1" dirty="0">
              <a:solidFill>
                <a:schemeClr val="bg1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22</a:t>
            </a:fld>
            <a:endParaRPr lang="fr-FR" dirty="0">
              <a:solidFill>
                <a:prstClr val="white"/>
              </a:solidFill>
            </a:endParaRPr>
          </a:p>
        </p:txBody>
      </p:sp>
      <p:pic>
        <p:nvPicPr>
          <p:cNvPr id="9" name="Espace réservé pour une image  8"/>
          <p:cNvPicPr>
            <a:picLocks noGrp="1" noChangeAspect="1"/>
          </p:cNvPicPr>
          <p:nvPr>
            <p:ph type="pic" sz="quarter" idx="17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07" r="9207"/>
          <a:stretch>
            <a:fillRect/>
          </a:stretch>
        </p:blipFill>
        <p:spPr>
          <a:xfrm>
            <a:off x="3246551" y="3412"/>
            <a:ext cx="5897449" cy="5143501"/>
          </a:xfr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2373738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2347" y="244642"/>
            <a:ext cx="9048367" cy="4612106"/>
          </a:xfrm>
          <a:prstGeom prst="rect">
            <a:avLst/>
          </a:prstGeom>
        </p:spPr>
      </p:pic>
      <p:sp>
        <p:nvSpPr>
          <p:cNvPr id="6" name="Rectangle à coins arrondis 5"/>
          <p:cNvSpPr/>
          <p:nvPr/>
        </p:nvSpPr>
        <p:spPr>
          <a:xfrm>
            <a:off x="2393206" y="1503948"/>
            <a:ext cx="2652036" cy="272716"/>
          </a:xfrm>
          <a:prstGeom prst="round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sp>
        <p:nvSpPr>
          <p:cNvPr id="7" name="Rectangle à coins arrondis 6"/>
          <p:cNvSpPr/>
          <p:nvPr/>
        </p:nvSpPr>
        <p:spPr>
          <a:xfrm>
            <a:off x="2545343" y="1197309"/>
            <a:ext cx="585689" cy="272716"/>
          </a:xfrm>
          <a:prstGeom prst="round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sp>
        <p:nvSpPr>
          <p:cNvPr id="8" name="Rectangle à coins arrondis 7"/>
          <p:cNvSpPr/>
          <p:nvPr/>
        </p:nvSpPr>
        <p:spPr>
          <a:xfrm>
            <a:off x="7819696" y="1231232"/>
            <a:ext cx="755169" cy="272716"/>
          </a:xfrm>
          <a:prstGeom prst="round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sp>
        <p:nvSpPr>
          <p:cNvPr id="9" name="Rectangle à coins arrondis 8"/>
          <p:cNvSpPr/>
          <p:nvPr/>
        </p:nvSpPr>
        <p:spPr>
          <a:xfrm>
            <a:off x="7602920" y="886755"/>
            <a:ext cx="1430721" cy="272716"/>
          </a:xfrm>
          <a:prstGeom prst="round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sp>
        <p:nvSpPr>
          <p:cNvPr id="10" name="Rectangle à coins arrondis 9"/>
          <p:cNvSpPr/>
          <p:nvPr/>
        </p:nvSpPr>
        <p:spPr>
          <a:xfrm>
            <a:off x="86711" y="1425120"/>
            <a:ext cx="1700647" cy="2051177"/>
          </a:xfrm>
          <a:prstGeom prst="round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sp>
        <p:nvSpPr>
          <p:cNvPr id="11" name="Rectangle à coins arrondis 10"/>
          <p:cNvSpPr/>
          <p:nvPr/>
        </p:nvSpPr>
        <p:spPr>
          <a:xfrm>
            <a:off x="218043" y="3137159"/>
            <a:ext cx="718991" cy="272716"/>
          </a:xfrm>
          <a:prstGeom prst="round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1332061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0911"/>
            <a:ext cx="9144000" cy="4981678"/>
          </a:xfrm>
          <a:prstGeom prst="rect">
            <a:avLst/>
          </a:prstGeom>
        </p:spPr>
      </p:pic>
      <p:sp>
        <p:nvSpPr>
          <p:cNvPr id="6" name="Rectangle à coins arrondis 5"/>
          <p:cNvSpPr/>
          <p:nvPr/>
        </p:nvSpPr>
        <p:spPr>
          <a:xfrm>
            <a:off x="5430088" y="629045"/>
            <a:ext cx="231311" cy="160808"/>
          </a:xfrm>
          <a:prstGeom prst="round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8618454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3">
            <a:lum bright="-26000"/>
          </a:blip>
          <a:stretch>
            <a:fillRect/>
          </a:stretch>
        </p:blipFill>
        <p:spPr>
          <a:xfrm>
            <a:off x="0" y="80911"/>
            <a:ext cx="9144000" cy="4981678"/>
          </a:xfrm>
          <a:prstGeom prst="rect">
            <a:avLst/>
          </a:prstGeom>
          <a:effectLst>
            <a:outerShdw blurRad="50800" dist="50800" dir="5400000" algn="ctr" rotWithShape="0">
              <a:srgbClr val="000000"/>
            </a:outerShdw>
          </a:effectLst>
        </p:spPr>
      </p:pic>
      <p:sp>
        <p:nvSpPr>
          <p:cNvPr id="6" name="Rectangle à coins arrondis 5"/>
          <p:cNvSpPr/>
          <p:nvPr/>
        </p:nvSpPr>
        <p:spPr>
          <a:xfrm>
            <a:off x="5430088" y="629045"/>
            <a:ext cx="231311" cy="160808"/>
          </a:xfrm>
          <a:prstGeom prst="round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64" y="1524805"/>
            <a:ext cx="9144000" cy="669761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80693" y="1073668"/>
            <a:ext cx="2185988" cy="264319"/>
          </a:xfrm>
          <a:prstGeom prst="rect">
            <a:avLst/>
          </a:prstGeom>
        </p:spPr>
      </p:pic>
      <p:sp>
        <p:nvSpPr>
          <p:cNvPr id="12" name="Rectangle à coins arrondis 11"/>
          <p:cNvSpPr/>
          <p:nvPr/>
        </p:nvSpPr>
        <p:spPr>
          <a:xfrm>
            <a:off x="3660753" y="1073668"/>
            <a:ext cx="2337239" cy="212564"/>
          </a:xfrm>
          <a:prstGeom prst="round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sp>
        <p:nvSpPr>
          <p:cNvPr id="2" name="Arrondir un rectangle à un seul coin 1"/>
          <p:cNvSpPr/>
          <p:nvPr/>
        </p:nvSpPr>
        <p:spPr>
          <a:xfrm>
            <a:off x="1976996" y="2587122"/>
            <a:ext cx="4616144" cy="1608083"/>
          </a:xfrm>
          <a:prstGeom prst="round1Rect">
            <a:avLst/>
          </a:prstGeom>
          <a:solidFill>
            <a:schemeClr val="bg1"/>
          </a:solidFill>
          <a:ln w="476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350" dirty="0">
                <a:solidFill>
                  <a:schemeClr val="tx1"/>
                </a:solidFill>
              </a:rPr>
              <a:t>Information établie par une source secondaire</a:t>
            </a:r>
          </a:p>
          <a:p>
            <a:pPr algn="ctr"/>
            <a:r>
              <a:rPr lang="fr-FR" sz="1350" dirty="0">
                <a:solidFill>
                  <a:schemeClr val="tx1"/>
                </a:solidFill>
              </a:rPr>
              <a:t>Sources et références : principalement des sources secondaires utilisées, quelques sources journalistiques.</a:t>
            </a:r>
          </a:p>
          <a:p>
            <a:pPr algn="ctr"/>
            <a:endParaRPr lang="fr-FR" sz="1350" dirty="0">
              <a:solidFill>
                <a:schemeClr val="tx1"/>
              </a:solidFill>
            </a:endParaRPr>
          </a:p>
          <a:p>
            <a:pPr algn="ctr"/>
            <a:r>
              <a:rPr lang="fr-FR" sz="1350" dirty="0">
                <a:solidFill>
                  <a:schemeClr val="tx1"/>
                </a:solidFill>
              </a:rPr>
              <a:t>Usage raisonné de sources primaires (citations des fondateurs de la notion)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2078708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7045" y="61485"/>
            <a:ext cx="8392346" cy="5143500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3">
            <a:lum bright="-26000"/>
          </a:blip>
          <a:stretch>
            <a:fillRect/>
          </a:stretch>
        </p:blipFill>
        <p:spPr>
          <a:xfrm>
            <a:off x="381345" y="175785"/>
            <a:ext cx="8392346" cy="5143500"/>
          </a:xfrm>
          <a:prstGeom prst="rect">
            <a:avLst/>
          </a:prstGeom>
          <a:effectLst>
            <a:outerShdw blurRad="50800" dist="50800" dir="5400000" algn="ctr" rotWithShape="0">
              <a:srgbClr val="000000"/>
            </a:outerShdw>
          </a:effectLst>
        </p:spPr>
      </p:pic>
      <p:sp>
        <p:nvSpPr>
          <p:cNvPr id="6" name="Arrondir un rectangle à un seul coin 5"/>
          <p:cNvSpPr/>
          <p:nvPr/>
        </p:nvSpPr>
        <p:spPr>
          <a:xfrm>
            <a:off x="2804686" y="2587121"/>
            <a:ext cx="4024937" cy="775664"/>
          </a:xfrm>
          <a:prstGeom prst="round1Rect">
            <a:avLst/>
          </a:prstGeom>
          <a:solidFill>
            <a:schemeClr val="bg1"/>
          </a:solidFill>
          <a:ln w="476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350" dirty="0">
                <a:solidFill>
                  <a:schemeClr val="tx1"/>
                </a:solidFill>
              </a:rPr>
              <a:t>Sources primaires isolées, principalement des sources secondaires utilisées pour établir les informations de l’artic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7722329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36412"/>
            <a:ext cx="9144000" cy="467067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8795895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36412"/>
            <a:ext cx="9144000" cy="4670676"/>
          </a:xfrm>
          <a:prstGeom prst="rect">
            <a:avLst/>
          </a:prstGeom>
        </p:spPr>
      </p:pic>
      <p:sp>
        <p:nvSpPr>
          <p:cNvPr id="3" name="Rectangle à coins arrondis 2"/>
          <p:cNvSpPr/>
          <p:nvPr/>
        </p:nvSpPr>
        <p:spPr>
          <a:xfrm>
            <a:off x="1844566" y="2781037"/>
            <a:ext cx="321617" cy="198644"/>
          </a:xfrm>
          <a:prstGeom prst="round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sp>
        <p:nvSpPr>
          <p:cNvPr id="5" name="Arrondir un rectangle à un seul coin 4"/>
          <p:cNvSpPr/>
          <p:nvPr/>
        </p:nvSpPr>
        <p:spPr>
          <a:xfrm>
            <a:off x="5089110" y="2835751"/>
            <a:ext cx="3953992" cy="1103192"/>
          </a:xfrm>
          <a:prstGeom prst="round1Rect">
            <a:avLst/>
          </a:prstGeom>
          <a:solidFill>
            <a:schemeClr val="bg1"/>
          </a:solidFill>
          <a:ln w="476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350" dirty="0">
                <a:solidFill>
                  <a:schemeClr val="tx1"/>
                </a:solidFill>
              </a:rPr>
              <a:t>Un utilisateur enregistré, un robot, un utilisateur non authentifié (adresse IP)</a:t>
            </a:r>
          </a:p>
          <a:p>
            <a:pPr algn="ctr"/>
            <a:r>
              <a:rPr lang="fr-FR" sz="1350" dirty="0">
                <a:solidFill>
                  <a:schemeClr val="tx1"/>
                </a:solidFill>
              </a:rPr>
              <a:t>Exemple de révocation</a:t>
            </a:r>
          </a:p>
        </p:txBody>
      </p:sp>
      <p:sp>
        <p:nvSpPr>
          <p:cNvPr id="6" name="Rectangle à coins arrondis 5"/>
          <p:cNvSpPr/>
          <p:nvPr/>
        </p:nvSpPr>
        <p:spPr>
          <a:xfrm>
            <a:off x="2005373" y="3126302"/>
            <a:ext cx="714179" cy="198644"/>
          </a:xfrm>
          <a:prstGeom prst="round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sp>
        <p:nvSpPr>
          <p:cNvPr id="7" name="Rectangle à coins arrondis 6"/>
          <p:cNvSpPr/>
          <p:nvPr/>
        </p:nvSpPr>
        <p:spPr>
          <a:xfrm>
            <a:off x="1760219" y="4635063"/>
            <a:ext cx="714179" cy="198644"/>
          </a:xfrm>
          <a:prstGeom prst="round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sp>
        <p:nvSpPr>
          <p:cNvPr id="8" name="Rectangle à coins arrondis 7"/>
          <p:cNvSpPr/>
          <p:nvPr/>
        </p:nvSpPr>
        <p:spPr>
          <a:xfrm>
            <a:off x="4111646" y="4323694"/>
            <a:ext cx="2070013" cy="198644"/>
          </a:xfrm>
          <a:prstGeom prst="round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sp>
        <p:nvSpPr>
          <p:cNvPr id="9" name="Rectangle à coins arrondis 8"/>
          <p:cNvSpPr/>
          <p:nvPr/>
        </p:nvSpPr>
        <p:spPr>
          <a:xfrm>
            <a:off x="757532" y="1552115"/>
            <a:ext cx="959333" cy="198644"/>
          </a:xfrm>
          <a:prstGeom prst="round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sp>
        <p:nvSpPr>
          <p:cNvPr id="11" name="Arrondir un rectangle à un seul coin 10"/>
          <p:cNvSpPr/>
          <p:nvPr/>
        </p:nvSpPr>
        <p:spPr>
          <a:xfrm>
            <a:off x="189580" y="1836964"/>
            <a:ext cx="3054569" cy="494324"/>
          </a:xfrm>
          <a:prstGeom prst="round1Rect">
            <a:avLst/>
          </a:prstGeom>
          <a:solidFill>
            <a:schemeClr val="bg1"/>
          </a:solidFill>
          <a:ln w="476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350" dirty="0">
                <a:solidFill>
                  <a:schemeClr val="tx1"/>
                </a:solidFill>
              </a:rPr>
              <a:t>Synthèse des contributions sur l’artic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4636613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72233"/>
            <a:ext cx="9144000" cy="4399034"/>
          </a:xfrm>
          <a:prstGeom prst="rect">
            <a:avLst/>
          </a:prstGeom>
        </p:spPr>
      </p:pic>
      <p:sp>
        <p:nvSpPr>
          <p:cNvPr id="5" name="Rectangle à coins arrondis 4"/>
          <p:cNvSpPr/>
          <p:nvPr/>
        </p:nvSpPr>
        <p:spPr>
          <a:xfrm>
            <a:off x="2611557" y="2520946"/>
            <a:ext cx="311370" cy="198644"/>
          </a:xfrm>
          <a:prstGeom prst="round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sp>
        <p:nvSpPr>
          <p:cNvPr id="6" name="Arrondir un rectangle à un seul coin 5"/>
          <p:cNvSpPr/>
          <p:nvPr/>
        </p:nvSpPr>
        <p:spPr>
          <a:xfrm>
            <a:off x="3216559" y="2384060"/>
            <a:ext cx="1934036" cy="981442"/>
          </a:xfrm>
          <a:prstGeom prst="round1Rect">
            <a:avLst/>
          </a:prstGeom>
          <a:solidFill>
            <a:schemeClr val="bg1"/>
          </a:solidFill>
          <a:ln w="476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350" dirty="0">
                <a:solidFill>
                  <a:schemeClr val="tx1"/>
                </a:solidFill>
              </a:rPr>
              <a:t>Contributeurs nombreux</a:t>
            </a:r>
          </a:p>
          <a:p>
            <a:pPr algn="ctr"/>
            <a:r>
              <a:rPr lang="fr-FR" sz="1350" dirty="0">
                <a:solidFill>
                  <a:schemeClr val="tx1"/>
                </a:solidFill>
              </a:rPr>
              <a:t>Surveillance humaine sur cette page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2650182" y="2876458"/>
            <a:ext cx="311370" cy="198644"/>
          </a:xfrm>
          <a:prstGeom prst="round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sp>
        <p:nvSpPr>
          <p:cNvPr id="8" name="Rectangle à coins arrondis 7"/>
          <p:cNvSpPr/>
          <p:nvPr/>
        </p:nvSpPr>
        <p:spPr>
          <a:xfrm>
            <a:off x="6873765" y="2525715"/>
            <a:ext cx="311370" cy="198644"/>
          </a:xfrm>
          <a:prstGeom prst="round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sp>
        <p:nvSpPr>
          <p:cNvPr id="9" name="Arrondir un rectangle à un seul coin 8"/>
          <p:cNvSpPr/>
          <p:nvPr/>
        </p:nvSpPr>
        <p:spPr>
          <a:xfrm>
            <a:off x="7666771" y="1167161"/>
            <a:ext cx="1468361" cy="1557198"/>
          </a:xfrm>
          <a:prstGeom prst="round1Rect">
            <a:avLst/>
          </a:prstGeom>
          <a:solidFill>
            <a:schemeClr val="bg1"/>
          </a:solidFill>
          <a:ln w="476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350" dirty="0">
                <a:solidFill>
                  <a:schemeClr val="tx1"/>
                </a:solidFill>
              </a:rPr>
              <a:t>Peu de modifications annulées</a:t>
            </a:r>
          </a:p>
          <a:p>
            <a:pPr algn="ctr"/>
            <a:r>
              <a:rPr lang="fr-FR" sz="1350" dirty="0">
                <a:solidFill>
                  <a:schemeClr val="tx1"/>
                </a:solidFill>
              </a:rPr>
              <a:t>Grande majorité : contributeurs enregistrés</a:t>
            </a:r>
          </a:p>
        </p:txBody>
      </p:sp>
      <p:sp>
        <p:nvSpPr>
          <p:cNvPr id="10" name="Rectangle à coins arrondis 9"/>
          <p:cNvSpPr/>
          <p:nvPr/>
        </p:nvSpPr>
        <p:spPr>
          <a:xfrm>
            <a:off x="5563650" y="4077791"/>
            <a:ext cx="311370" cy="198644"/>
          </a:xfrm>
          <a:prstGeom prst="round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sp>
        <p:nvSpPr>
          <p:cNvPr id="11" name="Arrondir un rectangle à un seul coin 10"/>
          <p:cNvSpPr/>
          <p:nvPr/>
        </p:nvSpPr>
        <p:spPr>
          <a:xfrm>
            <a:off x="6218117" y="3896398"/>
            <a:ext cx="1934036" cy="981442"/>
          </a:xfrm>
          <a:prstGeom prst="round1Rect">
            <a:avLst/>
          </a:prstGeom>
          <a:solidFill>
            <a:schemeClr val="bg1"/>
          </a:solidFill>
          <a:ln w="476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350" dirty="0">
                <a:solidFill>
                  <a:schemeClr val="tx1"/>
                </a:solidFill>
              </a:rPr>
              <a:t>Cette page est bien intégrée à l’encyclopédie et n’est pas une nich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08026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>
          <a:xfrm>
            <a:off x="153824" y="482179"/>
            <a:ext cx="3092727" cy="3028054"/>
          </a:xfrm>
        </p:spPr>
        <p:txBody>
          <a:bodyPr>
            <a:normAutofit/>
          </a:bodyPr>
          <a:lstStyle/>
          <a:p>
            <a:r>
              <a:rPr lang="fr-FR" dirty="0"/>
              <a:t>Wikipédia : les fondamentaux</a:t>
            </a:r>
          </a:p>
          <a:p>
            <a:r>
              <a:rPr lang="fr-FR" sz="900" dirty="0">
                <a:solidFill>
                  <a:schemeClr val="bg1"/>
                </a:solidFill>
              </a:rPr>
              <a:t>		</a:t>
            </a:r>
            <a:endParaRPr lang="fr-FR" sz="900" i="1" dirty="0">
              <a:solidFill>
                <a:schemeClr val="bg1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3</a:t>
            </a:fld>
            <a:endParaRPr lang="fr-FR" dirty="0">
              <a:solidFill>
                <a:prstClr val="white"/>
              </a:solidFill>
            </a:endParaRPr>
          </a:p>
        </p:txBody>
      </p:sp>
      <p:pic>
        <p:nvPicPr>
          <p:cNvPr id="9" name="Espace réservé pour une image  8"/>
          <p:cNvPicPr>
            <a:picLocks noGrp="1" noChangeAspect="1"/>
          </p:cNvPicPr>
          <p:nvPr>
            <p:ph type="pic" sz="quarter" idx="17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07" r="9207"/>
          <a:stretch>
            <a:fillRect/>
          </a:stretch>
        </p:blipFill>
        <p:spPr>
          <a:xfrm>
            <a:off x="3246551" y="3412"/>
            <a:ext cx="5897449" cy="5143501"/>
          </a:xfr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0798913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55285"/>
            <a:ext cx="9144000" cy="3588343"/>
          </a:xfrm>
          <a:prstGeom prst="rect">
            <a:avLst/>
          </a:prstGeom>
        </p:spPr>
      </p:pic>
      <p:sp>
        <p:nvSpPr>
          <p:cNvPr id="5" name="Rectangle à coins arrondis 4"/>
          <p:cNvSpPr/>
          <p:nvPr/>
        </p:nvSpPr>
        <p:spPr>
          <a:xfrm flipV="1">
            <a:off x="681858" y="3637143"/>
            <a:ext cx="647175" cy="572250"/>
          </a:xfrm>
          <a:prstGeom prst="round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sp>
        <p:nvSpPr>
          <p:cNvPr id="6" name="Arrondir un rectangle à un seul coin 5"/>
          <p:cNvSpPr/>
          <p:nvPr/>
        </p:nvSpPr>
        <p:spPr>
          <a:xfrm>
            <a:off x="1729081" y="3637143"/>
            <a:ext cx="2301864" cy="1321317"/>
          </a:xfrm>
          <a:prstGeom prst="round1Rect">
            <a:avLst/>
          </a:prstGeom>
          <a:solidFill>
            <a:schemeClr val="bg1"/>
          </a:solidFill>
          <a:ln w="476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350" dirty="0">
                <a:solidFill>
                  <a:schemeClr val="tx1"/>
                </a:solidFill>
              </a:rPr>
              <a:t>Liens permettant d’apprécier la qualité des contributeurs : page utilisateur, âge du compte, nombre de modifications (et de remerciements)</a:t>
            </a:r>
          </a:p>
        </p:txBody>
      </p:sp>
      <p:sp>
        <p:nvSpPr>
          <p:cNvPr id="7" name="Rectangle à coins arrondis 6"/>
          <p:cNvSpPr/>
          <p:nvPr/>
        </p:nvSpPr>
        <p:spPr>
          <a:xfrm flipV="1">
            <a:off x="4193037" y="3637143"/>
            <a:ext cx="1402146" cy="572250"/>
          </a:xfrm>
          <a:prstGeom prst="round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52198" y="2653338"/>
            <a:ext cx="2782424" cy="2176897"/>
          </a:xfrm>
          <a:prstGeom prst="rect">
            <a:avLst/>
          </a:prstGeom>
        </p:spPr>
      </p:pic>
      <p:sp>
        <p:nvSpPr>
          <p:cNvPr id="9" name="Rectangle à coins arrondis 8"/>
          <p:cNvSpPr/>
          <p:nvPr/>
        </p:nvSpPr>
        <p:spPr>
          <a:xfrm flipV="1">
            <a:off x="7632286" y="3116842"/>
            <a:ext cx="1056092" cy="185245"/>
          </a:xfrm>
          <a:prstGeom prst="round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sp>
        <p:nvSpPr>
          <p:cNvPr id="10" name="Rectangle à coins arrondis 9"/>
          <p:cNvSpPr/>
          <p:nvPr/>
        </p:nvSpPr>
        <p:spPr>
          <a:xfrm flipV="1">
            <a:off x="7664552" y="4051004"/>
            <a:ext cx="304917" cy="158389"/>
          </a:xfrm>
          <a:prstGeom prst="round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sp>
        <p:nvSpPr>
          <p:cNvPr id="11" name="Rectangle à coins arrondis 10"/>
          <p:cNvSpPr/>
          <p:nvPr/>
        </p:nvSpPr>
        <p:spPr>
          <a:xfrm flipV="1">
            <a:off x="7703178" y="4557863"/>
            <a:ext cx="431830" cy="190710"/>
          </a:xfrm>
          <a:prstGeom prst="round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2078409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ucune page n’est parfaite</a:t>
            </a: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7809" y="1019974"/>
            <a:ext cx="7518590" cy="3846527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2416854" y="4866501"/>
            <a:ext cx="5410726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350" dirty="0">
                <a:hlinkClick r:id="rId5"/>
              </a:rPr>
              <a:t>https://fr.wikipedia.org/wiki/Wikip%C3%A9dia:L%27article_parfait</a:t>
            </a:r>
            <a:r>
              <a:rPr lang="fr-FR" sz="1350" dirty="0"/>
              <a:t> 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460917" y="2811362"/>
            <a:ext cx="519702" cy="2332138"/>
          </a:xfrm>
        </p:spPr>
        <p:txBody>
          <a:bodyPr/>
          <a:lstStyle/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31</a:t>
            </a:fld>
            <a:endParaRPr lang="fr-FR" dirty="0">
              <a:solidFill>
                <a:prstClr val="white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3669567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96728"/>
            <a:ext cx="9144000" cy="4550045"/>
          </a:xfrm>
          <a:prstGeom prst="rect">
            <a:avLst/>
          </a:prstGeom>
        </p:spPr>
      </p:pic>
      <p:sp>
        <p:nvSpPr>
          <p:cNvPr id="5" name="Arrondir un rectangle à un seul coin 4"/>
          <p:cNvSpPr/>
          <p:nvPr/>
        </p:nvSpPr>
        <p:spPr>
          <a:xfrm>
            <a:off x="76068" y="2445835"/>
            <a:ext cx="2009710" cy="1541266"/>
          </a:xfrm>
          <a:prstGeom prst="round1Rect">
            <a:avLst/>
          </a:prstGeom>
          <a:solidFill>
            <a:schemeClr val="bg1"/>
          </a:solidFill>
          <a:ln w="476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350" dirty="0">
                <a:solidFill>
                  <a:schemeClr val="tx1"/>
                </a:solidFill>
              </a:rPr>
              <a:t>Bien rédigé et mis en forme</a:t>
            </a:r>
          </a:p>
          <a:p>
            <a:pPr algn="ctr"/>
            <a:r>
              <a:rPr lang="fr-FR" sz="1350" dirty="0">
                <a:solidFill>
                  <a:schemeClr val="tx1"/>
                </a:solidFill>
              </a:rPr>
              <a:t>Mais…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5435578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96728"/>
            <a:ext cx="9144000" cy="4550045"/>
          </a:xfrm>
          <a:prstGeom prst="rect">
            <a:avLst/>
          </a:prstGeom>
        </p:spPr>
      </p:pic>
      <p:sp>
        <p:nvSpPr>
          <p:cNvPr id="5" name="Arrondir un rectangle à un seul coin 4"/>
          <p:cNvSpPr/>
          <p:nvPr/>
        </p:nvSpPr>
        <p:spPr>
          <a:xfrm>
            <a:off x="76068" y="2660393"/>
            <a:ext cx="2009710" cy="1326707"/>
          </a:xfrm>
          <a:prstGeom prst="round1Rect">
            <a:avLst/>
          </a:prstGeom>
          <a:solidFill>
            <a:schemeClr val="bg1"/>
          </a:solidFill>
          <a:ln w="476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350" dirty="0">
                <a:solidFill>
                  <a:schemeClr val="tx1"/>
                </a:solidFill>
              </a:rPr>
              <a:t>… Une seule source !</a:t>
            </a:r>
          </a:p>
          <a:p>
            <a:pPr algn="ctr"/>
            <a:r>
              <a:rPr lang="fr-FR" sz="1350" dirty="0">
                <a:solidFill>
                  <a:schemeClr val="tx1"/>
                </a:solidFill>
              </a:rPr>
              <a:t>Quasi aucune information n’est sourcé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4559139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Espace réservé du contenu 3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564806" y="936802"/>
            <a:ext cx="5452237" cy="2619853"/>
          </a:xfrm>
          <a:prstGeom prst="rect">
            <a:avLst/>
          </a:prstGeom>
        </p:spPr>
      </p:pic>
      <p:sp>
        <p:nvSpPr>
          <p:cNvPr id="6" name="Arrondir un rectangle à un seul coin 5"/>
          <p:cNvSpPr/>
          <p:nvPr/>
        </p:nvSpPr>
        <p:spPr>
          <a:xfrm>
            <a:off x="80798" y="144238"/>
            <a:ext cx="2064863" cy="1184466"/>
          </a:xfrm>
          <a:prstGeom prst="round1Rect">
            <a:avLst/>
          </a:prstGeom>
          <a:solidFill>
            <a:schemeClr val="bg1"/>
          </a:solidFill>
          <a:ln w="476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350" dirty="0">
                <a:solidFill>
                  <a:schemeClr val="tx1"/>
                </a:solidFill>
              </a:rPr>
              <a:t>Une seule source (journalistique)</a:t>
            </a:r>
          </a:p>
          <a:p>
            <a:pPr algn="ctr"/>
            <a:r>
              <a:rPr lang="fr-FR" sz="1350" dirty="0">
                <a:solidFill>
                  <a:schemeClr val="tx1"/>
                </a:solidFill>
              </a:rPr>
              <a:t>Issu de traduction (prudence sur d’éventuels faux-sens)</a:t>
            </a:r>
          </a:p>
        </p:txBody>
      </p:sp>
      <p:sp>
        <p:nvSpPr>
          <p:cNvPr id="7" name="Arrondir un rectangle à un seul coin 6"/>
          <p:cNvSpPr/>
          <p:nvPr/>
        </p:nvSpPr>
        <p:spPr>
          <a:xfrm>
            <a:off x="80798" y="1443004"/>
            <a:ext cx="1792146" cy="475368"/>
          </a:xfrm>
          <a:prstGeom prst="round1Rect">
            <a:avLst/>
          </a:prstGeom>
          <a:solidFill>
            <a:schemeClr val="bg1"/>
          </a:solidFill>
          <a:ln w="476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350" dirty="0">
                <a:solidFill>
                  <a:schemeClr val="tx1"/>
                </a:solidFill>
              </a:rPr>
              <a:t>Pas de discussion</a:t>
            </a:r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 rotWithShape="1">
          <a:blip r:embed="rId4"/>
          <a:srcRect r="7325"/>
          <a:stretch/>
        </p:blipFill>
        <p:spPr>
          <a:xfrm>
            <a:off x="2221831" y="39816"/>
            <a:ext cx="6809875" cy="805663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00200" y="3466633"/>
            <a:ext cx="7543800" cy="1676867"/>
          </a:xfrm>
          <a:prstGeom prst="rect">
            <a:avLst/>
          </a:prstGeom>
        </p:spPr>
      </p:pic>
      <p:sp>
        <p:nvSpPr>
          <p:cNvPr id="10" name="Arrondir un rectangle à un seul coin 9"/>
          <p:cNvSpPr/>
          <p:nvPr/>
        </p:nvSpPr>
        <p:spPr>
          <a:xfrm>
            <a:off x="72807" y="2549912"/>
            <a:ext cx="2072854" cy="2479288"/>
          </a:xfrm>
          <a:prstGeom prst="round1Rect">
            <a:avLst/>
          </a:prstGeom>
          <a:solidFill>
            <a:schemeClr val="bg1"/>
          </a:solidFill>
          <a:ln w="476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350" dirty="0">
                <a:solidFill>
                  <a:schemeClr val="tx1"/>
                </a:solidFill>
              </a:rPr>
              <a:t>Très peu de modifications, 3 contributeurs humains</a:t>
            </a:r>
          </a:p>
          <a:p>
            <a:pPr algn="ctr"/>
            <a:r>
              <a:rPr lang="fr-FR" sz="1350" dirty="0">
                <a:solidFill>
                  <a:schemeClr val="tx1"/>
                </a:solidFill>
              </a:rPr>
              <a:t>Initié par un « nouveau » mais relu par 2 « expérimentés »</a:t>
            </a:r>
          </a:p>
          <a:p>
            <a:pPr algn="ctr"/>
            <a:r>
              <a:rPr lang="fr-FR" sz="1350" dirty="0">
                <a:solidFill>
                  <a:schemeClr val="tx1"/>
                </a:solidFill>
              </a:rPr>
              <a:t>Moins de 30 « suiveurs »</a:t>
            </a:r>
          </a:p>
          <a:p>
            <a:pPr algn="ctr"/>
            <a:r>
              <a:rPr lang="fr-FR" sz="1350" dirty="0">
                <a:solidFill>
                  <a:schemeClr val="tx1"/>
                </a:solidFill>
              </a:rPr>
              <a:t>Seules 3 pages liées dans Wikipédi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5888459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uances : bien fait mais beaucoup de sources primaires (sur des faits)</a:t>
            </a: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68440" y="976316"/>
            <a:ext cx="6577328" cy="4043765"/>
          </a:xfrm>
          <a:prstGeom prst="rect">
            <a:avLst/>
          </a:prstGeom>
        </p:spPr>
      </p:pic>
      <p:sp>
        <p:nvSpPr>
          <p:cNvPr id="5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460917" y="2811362"/>
            <a:ext cx="519702" cy="2332138"/>
          </a:xfrm>
        </p:spPr>
        <p:txBody>
          <a:bodyPr/>
          <a:lstStyle/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35</a:t>
            </a:fld>
            <a:endParaRPr lang="fr-FR" dirty="0">
              <a:solidFill>
                <a:prstClr val="white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763920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uances : bien fait mais beaucoup de sources primaires (sur des faits)</a:t>
            </a: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 rotWithShape="1">
          <a:blip r:embed="rId3"/>
          <a:srcRect r="1583" b="10643"/>
          <a:stretch/>
        </p:blipFill>
        <p:spPr>
          <a:xfrm>
            <a:off x="1198859" y="1031255"/>
            <a:ext cx="6890112" cy="4244628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1135370" y="1464527"/>
            <a:ext cx="3368843" cy="27526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sp>
        <p:nvSpPr>
          <p:cNvPr id="8" name="Rectangle 7"/>
          <p:cNvSpPr/>
          <p:nvPr/>
        </p:nvSpPr>
        <p:spPr>
          <a:xfrm>
            <a:off x="1135370" y="2004794"/>
            <a:ext cx="3368843" cy="588227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sp>
        <p:nvSpPr>
          <p:cNvPr id="9" name="Rectangle 8"/>
          <p:cNvSpPr/>
          <p:nvPr/>
        </p:nvSpPr>
        <p:spPr>
          <a:xfrm>
            <a:off x="1110303" y="4152267"/>
            <a:ext cx="3418975" cy="425825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sp>
        <p:nvSpPr>
          <p:cNvPr id="10" name="Rectangle 9"/>
          <p:cNvSpPr/>
          <p:nvPr/>
        </p:nvSpPr>
        <p:spPr>
          <a:xfrm>
            <a:off x="4652272" y="3153570"/>
            <a:ext cx="3525255" cy="56350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sp>
        <p:nvSpPr>
          <p:cNvPr id="11" name="Rectangle 10"/>
          <p:cNvSpPr/>
          <p:nvPr/>
        </p:nvSpPr>
        <p:spPr>
          <a:xfrm>
            <a:off x="4704931" y="4365179"/>
            <a:ext cx="3597444" cy="73598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460917" y="2811362"/>
            <a:ext cx="519702" cy="2332138"/>
          </a:xfrm>
        </p:spPr>
        <p:txBody>
          <a:bodyPr/>
          <a:lstStyle/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36</a:t>
            </a:fld>
            <a:endParaRPr lang="fr-FR" dirty="0">
              <a:solidFill>
                <a:prstClr val="white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4613806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/>
        </p:nvPicPr>
        <p:blipFill rotWithShape="1">
          <a:blip r:embed="rId3"/>
          <a:srcRect t="-1" r="551" b="44640"/>
          <a:stretch/>
        </p:blipFill>
        <p:spPr>
          <a:xfrm>
            <a:off x="925027" y="8020"/>
            <a:ext cx="8218973" cy="2847474"/>
          </a:xfrm>
          <a:prstGeom prst="rect">
            <a:avLst/>
          </a:prstGeom>
        </p:spPr>
      </p:pic>
      <p:sp>
        <p:nvSpPr>
          <p:cNvPr id="6" name="Rectangle à coins arrondis 5"/>
          <p:cNvSpPr/>
          <p:nvPr/>
        </p:nvSpPr>
        <p:spPr>
          <a:xfrm flipV="1">
            <a:off x="1697789" y="1078427"/>
            <a:ext cx="6673448" cy="1777067"/>
          </a:xfrm>
          <a:prstGeom prst="round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sp>
        <p:nvSpPr>
          <p:cNvPr id="7" name="Rectangle à coins arrondis 6"/>
          <p:cNvSpPr/>
          <p:nvPr/>
        </p:nvSpPr>
        <p:spPr>
          <a:xfrm flipV="1">
            <a:off x="7367337" y="0"/>
            <a:ext cx="1776663" cy="346910"/>
          </a:xfrm>
          <a:prstGeom prst="round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sp>
        <p:nvSpPr>
          <p:cNvPr id="8" name="ZoneTexte 7"/>
          <p:cNvSpPr txBox="1"/>
          <p:nvPr/>
        </p:nvSpPr>
        <p:spPr>
          <a:xfrm>
            <a:off x="1901059" y="3268028"/>
            <a:ext cx="4993037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350" dirty="0"/>
              <a:t>Section généralités intégralement sans sources</a:t>
            </a:r>
          </a:p>
          <a:p>
            <a:r>
              <a:rPr lang="fr-FR" sz="1350" dirty="0"/>
              <a:t>Quasi aucune discussion depuis 2012</a:t>
            </a:r>
          </a:p>
          <a:p>
            <a:r>
              <a:rPr lang="fr-FR" sz="1350" dirty="0"/>
              <a:t>Quelques modifications très récentes après on long moment d’inactivité, sur un sujet en obsolescence rapide</a:t>
            </a:r>
          </a:p>
          <a:p>
            <a:r>
              <a:rPr lang="fr-FR" sz="1350" dirty="0"/>
              <a:t>68 modifications annulées</a:t>
            </a:r>
          </a:p>
          <a:p>
            <a:pPr marL="214313" indent="-214313">
              <a:buFont typeface="Symbol" panose="05050102010706020507" pitchFamily="18" charset="2"/>
              <a:buChar char="Þ"/>
            </a:pPr>
            <a:r>
              <a:rPr lang="fr-FR" sz="1350" dirty="0"/>
              <a:t>Indicateurs de méfiance</a:t>
            </a:r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460917" y="2811362"/>
            <a:ext cx="519702" cy="2332138"/>
          </a:xfrm>
        </p:spPr>
        <p:txBody>
          <a:bodyPr/>
          <a:lstStyle/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37</a:t>
            </a:fld>
            <a:endParaRPr lang="fr-FR" dirty="0">
              <a:solidFill>
                <a:prstClr val="white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5740313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s bandeaux sur Wikipédia, un nuancier de qualité</a:t>
            </a: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3"/>
          <a:srcRect l="1" r="-1278" b="28268"/>
          <a:stretch/>
        </p:blipFill>
        <p:spPr bwMode="auto">
          <a:xfrm>
            <a:off x="1382751" y="949823"/>
            <a:ext cx="6731346" cy="3703181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1060015" y="4769366"/>
            <a:ext cx="697467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fr-FR" sz="1200" u="sng" dirty="0">
                <a:hlinkClick r:id="rId4" tooltip="https://fr.wikipedia.org/wiki/Aide:Liste_des_bandeaux_de_maintenance"/>
              </a:rPr>
              <a:t>https://fr.wikipedia.org/wiki/Aide:Liste_des_bandeaux_de_maintenance</a:t>
            </a:r>
            <a:r>
              <a:rPr lang="fr-FR" sz="1200" dirty="0"/>
              <a:t> </a:t>
            </a:r>
            <a:endParaRPr sz="1200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460917" y="2811362"/>
            <a:ext cx="519702" cy="2332138"/>
          </a:xfrm>
        </p:spPr>
        <p:txBody>
          <a:bodyPr/>
          <a:lstStyle/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38</a:t>
            </a:fld>
            <a:endParaRPr lang="fr-FR" dirty="0">
              <a:solidFill>
                <a:prstClr val="white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542062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6"/>
          <p:cNvSpPr>
            <a:spLocks noGrp="1"/>
          </p:cNvSpPr>
          <p:nvPr>
            <p:ph type="title"/>
          </p:nvPr>
        </p:nvSpPr>
        <p:spPr>
          <a:xfrm>
            <a:off x="1198859" y="674964"/>
            <a:ext cx="7316491" cy="424732"/>
          </a:xfrm>
        </p:spPr>
        <p:txBody>
          <a:bodyPr/>
          <a:lstStyle/>
          <a:p>
            <a:r>
              <a:rPr lang="fr-FR" dirty="0"/>
              <a:t>Les origines de Wikipédia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7"/>
          </p:nvPr>
        </p:nvSpPr>
        <p:spPr>
          <a:xfrm>
            <a:off x="1197960" y="1685677"/>
            <a:ext cx="3115230" cy="2950604"/>
          </a:xfrm>
        </p:spPr>
        <p:txBody>
          <a:bodyPr/>
          <a:lstStyle/>
          <a:p>
            <a:r>
              <a:rPr lang="fr-FR" sz="2000" dirty="0" err="1"/>
              <a:t>Nupedia</a:t>
            </a:r>
            <a:endParaRPr lang="fr-FR" sz="2000" dirty="0"/>
          </a:p>
          <a:p>
            <a:endParaRPr lang="fr-FR" sz="1400" dirty="0"/>
          </a:p>
          <a:p>
            <a:r>
              <a:rPr lang="fr-FR" sz="1600" dirty="0"/>
              <a:t>Créé en mars 2000</a:t>
            </a:r>
          </a:p>
          <a:p>
            <a:r>
              <a:rPr lang="fr-FR" sz="1600" dirty="0"/>
              <a:t>Modèle éditorial classique (rédacteurs : experts du domaine, comité de relecture, validation a priori)</a:t>
            </a:r>
          </a:p>
          <a:p>
            <a:endParaRPr lang="fr-FR" sz="1600" dirty="0"/>
          </a:p>
          <a:p>
            <a:r>
              <a:rPr lang="fr-FR" sz="1600" dirty="0"/>
              <a:t>Fermeture en 2003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674EB-CF99-4CC2-8F94-AC08E84D1EAE}" type="slidenum">
              <a:rPr lang="fr-FR" smtClean="0"/>
              <a:pPr/>
              <a:t>4</a:t>
            </a:fld>
            <a:endParaRPr lang="fr-FR" dirty="0"/>
          </a:p>
        </p:txBody>
      </p:sp>
      <p:sp>
        <p:nvSpPr>
          <p:cNvPr id="9" name="Espace réservé du texte 7"/>
          <p:cNvSpPr txBox="1">
            <a:spLocks/>
          </p:cNvSpPr>
          <p:nvPr/>
        </p:nvSpPr>
        <p:spPr>
          <a:xfrm>
            <a:off x="4477948" y="1688858"/>
            <a:ext cx="3115230" cy="295060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fr-FR" sz="12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1000"/>
              </a:spcAft>
              <a:buFont typeface="Arial" panose="020B0604020202020204" pitchFamily="34" charset="0"/>
              <a:buNone/>
              <a:defRPr lang="fr-FR"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4572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1000"/>
              </a:spcAft>
              <a:buSzPct val="100000"/>
              <a:buFontTx/>
              <a:buBlip>
                <a:blip r:embed="rId3"/>
              </a:buBlip>
              <a:defRPr lang="fr-FR" sz="1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0000" indent="-269875" algn="l" defTabSz="6858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1000"/>
              </a:spcAft>
              <a:buFontTx/>
              <a:buBlip>
                <a:blip r:embed="rId4"/>
              </a:buBlip>
              <a:defRPr lang="fr-FR"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0000" indent="-270000" algn="l" defTabSz="6858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1000"/>
              </a:spcAft>
              <a:buFontTx/>
              <a:buBlip>
                <a:blip r:embed="rId5"/>
              </a:buBlip>
              <a:defRPr lang="fr-FR"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0000" indent="-270000" algn="l" defTabSz="6858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1000"/>
              </a:spcAft>
              <a:buFontTx/>
              <a:buBlip>
                <a:blip r:embed="rId6"/>
              </a:buBlip>
              <a:defRPr lang="fr-FR"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0000" indent="-270000" algn="l" defTabSz="6858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1000"/>
              </a:spcAft>
              <a:buFontTx/>
              <a:buBlip>
                <a:blip r:embed="rId7"/>
              </a:buBlip>
              <a:defRPr lang="fr-FR"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0000" indent="-270000" algn="l" defTabSz="6858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1000"/>
              </a:spcAft>
              <a:buFontTx/>
              <a:buBlip>
                <a:blip r:embed="rId8"/>
              </a:buBlip>
              <a:defRPr lang="fr-FR"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dirty="0"/>
              <a:t>Wikipédia</a:t>
            </a:r>
          </a:p>
          <a:p>
            <a:endParaRPr lang="fr-FR" sz="1400" dirty="0"/>
          </a:p>
          <a:p>
            <a:r>
              <a:rPr lang="fr-FR" sz="1600" dirty="0"/>
              <a:t>Créé le 15 janvier 2001</a:t>
            </a:r>
          </a:p>
          <a:p>
            <a:r>
              <a:rPr lang="fr-FR" sz="1600" dirty="0"/>
              <a:t>Tout le monde peut contribuer</a:t>
            </a:r>
          </a:p>
          <a:p>
            <a:r>
              <a:rPr lang="fr-FR" sz="1600" dirty="0"/>
              <a:t>Rédaction collaborative (« wiki »)</a:t>
            </a:r>
          </a:p>
          <a:p>
            <a:endParaRPr lang="fr-FR" sz="1600" dirty="0"/>
          </a:p>
          <a:p>
            <a:r>
              <a:rPr lang="fr-FR" sz="1600" dirty="0"/>
              <a:t>Version francophone créée le 23 mars 2001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381802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Wikipédia : 5 Principes Fondateurs (PF)</a:t>
            </a:r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5</a:t>
            </a:fld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270315" y="4522565"/>
            <a:ext cx="517357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dirty="0">
                <a:hlinkClick r:id="rId4"/>
              </a:rPr>
              <a:t>https://fr.wikipedia.org/wiki/Wikip%C3%A9dia:Principes_fondateurs</a:t>
            </a:r>
            <a:r>
              <a:rPr lang="fr-FR" sz="1200" dirty="0"/>
              <a:t> </a:t>
            </a:r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3313" y="1393980"/>
            <a:ext cx="7519164" cy="209099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642858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6</a:t>
            </a:fld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F1. Wikipédia est une encyclopédie</a:t>
            </a:r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8859" y="1132968"/>
            <a:ext cx="2485487" cy="1454433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0794" y="2748326"/>
            <a:ext cx="2145869" cy="2145869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29020" y="2173435"/>
            <a:ext cx="1637386" cy="237786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05527" y="1132968"/>
            <a:ext cx="1538610" cy="2327148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1289" y="865866"/>
            <a:ext cx="1520076" cy="2282396"/>
          </a:xfrm>
          <a:prstGeom prst="rect">
            <a:avLst/>
          </a:prstGeom>
        </p:spPr>
      </p:pic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2872740" y="4571029"/>
            <a:ext cx="6271260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Giles, J. Internet </a:t>
            </a:r>
            <a:r>
              <a:rPr kumimoji="0" lang="fr-FR" altLang="fr-FR" sz="1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encyclopaedias</a:t>
            </a:r>
            <a:r>
              <a:rPr kumimoji="0" lang="fr-FR" altLang="fr-FR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go </a:t>
            </a:r>
            <a:r>
              <a:rPr kumimoji="0" lang="fr-FR" altLang="fr-FR" sz="1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head</a:t>
            </a:r>
            <a:r>
              <a:rPr kumimoji="0" lang="fr-FR" altLang="fr-FR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to </a:t>
            </a:r>
            <a:r>
              <a:rPr kumimoji="0" lang="fr-FR" altLang="fr-FR" sz="1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head</a:t>
            </a:r>
            <a:r>
              <a:rPr kumimoji="0" lang="fr-FR" altLang="fr-FR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. </a:t>
            </a:r>
            <a:r>
              <a:rPr kumimoji="0" lang="fr-FR" altLang="fr-FR" sz="18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Nature</a:t>
            </a:r>
            <a:r>
              <a:rPr kumimoji="0" lang="fr-FR" altLang="fr-FR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fr-FR" altLang="fr-FR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438</a:t>
            </a:r>
            <a:r>
              <a:rPr kumimoji="0" lang="fr-FR" altLang="fr-FR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, 900–901 (2005). </a:t>
            </a:r>
            <a:r>
              <a:rPr kumimoji="0" lang="fr-FR" altLang="fr-FR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hlinkClick r:id="rId8"/>
              </a:rPr>
              <a:t>https://doi.org/10.1038/438900a</a:t>
            </a:r>
            <a:r>
              <a:rPr kumimoji="0" lang="fr-FR" altLang="fr-FR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fr-FR" altLang="fr-FR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AutoShape 4" descr="data:image/svg+xml;base64,PHN2ZyBpZD0iQ2FscXVlXzEiIGRhdGEtbmFtZT0iQ2FscXVlIDEiIHhtbG5zPSJodHRwOi8vd3d3LnczLm9yZy8yMDAwL3N2ZyIgdmlld0JveD0iMCAwIDUwIDI4LjE4Ij48cmVjdCB3aWR0aD0iNTAiIGhlaWdodD0iMjguMTgiIHJ4PSIxNC4wOSIgc3R5bGU9ImZpbGw6IzIxY2UyMSIvPjxwYXRoIGQ9Ik0xOC45MywxNi40NWEuMzIuMzIsMCwwLDAtLjU0LjIydjJoLTRhNS4wOCw1LjA4LDAsMCwxLDAtMTAuMTZoNS4yMlY1LjQ0SDE0LjQ0YTguMTQsOC4xNCwwLDAsMCwwLDE2LjI4aDR2MmEuMzIuMzIsMCwwLDAsLjU0LjIzbDMuNTEtMy41MWEuMzQuMzQsMCwwLDAsMC0uNDZaIiBzdHlsZT0iZmlsbDojZmZmIi8+PHBhdGggZD0iTTQyLjUyLDIxLjA3bC00Ljg0LTUuNjlhMCwwLDAsMCwxLDAsMCw1LjMsNS4zLDAsMCwwLDIuNTktNC45LDUuNDMsNS40MywwLDAsMC01LjQ4LTVIMjguNDhhMCwwLDAsMCwwLDAsMFYyMS42OWEwLDAsMCwwLDAsMCwwaDMuMDVsMCwwVjguNTVzMCwwLDAsMEgzNWEyLjI0LDIuMjQsMCwwLDEsMi4yMiwyLjUzLDIuMywyLjMsMCwwLDEtMi4zMiwySDMyLjRhLjM2LjM2LDAsMCwwLS4yOC41OWw2LjYyLDcuNzlhLjkzLjkzLDAsMCwwLC42OC4zMWgyLjgxQS4zOS4zOSwwLDAsMCw0Mi41MiwyMS4wN1oiIHN0eWxlPSJmaWxsOiNmZmYiLz48Y2lyY2xlIGN4PSIyNC4yIiBjeT0iOC4yIiByPSIyLjc2IiBzdHlsZT0iZmlsbDojZmZmIi8+PC9zdmc+">
            <a:hlinkClick r:id="rId9" tooltip="La ressource a été trouvée dans  UNPAYWALL"/>
          </p:cNvPr>
          <p:cNvSpPr>
            <a:spLocks noChangeAspect="1" noChangeArrowheads="1"/>
          </p:cNvSpPr>
          <p:nvPr/>
        </p:nvSpPr>
        <p:spPr bwMode="auto">
          <a:xfrm>
            <a:off x="11430000" y="-136525"/>
            <a:ext cx="257175" cy="257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623322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7</a:t>
            </a:fld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1198859" y="16992"/>
            <a:ext cx="7316491" cy="757130"/>
          </a:xfrm>
        </p:spPr>
        <p:txBody>
          <a:bodyPr/>
          <a:lstStyle/>
          <a:p>
            <a:r>
              <a:rPr lang="fr-FR" dirty="0"/>
              <a:t>PF2. Wikipédia recherche la neutralité de point de vue</a:t>
            </a: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01" y="967475"/>
            <a:ext cx="4541899" cy="329967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4146" y="1619031"/>
            <a:ext cx="4844918" cy="34412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Rectangle 6"/>
          <p:cNvSpPr/>
          <p:nvPr/>
        </p:nvSpPr>
        <p:spPr>
          <a:xfrm>
            <a:off x="4715858" y="734912"/>
            <a:ext cx="441327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dirty="0">
                <a:hlinkClick r:id="rId5"/>
              </a:rPr>
              <a:t>https://fr.wikipedia.org/w/index.php?title=Harc%C3%A8lement_de_rue&amp;diff=190119720&amp;oldid=189794669#France</a:t>
            </a:r>
            <a:r>
              <a:rPr lang="fr-FR" sz="1400" dirty="0"/>
              <a:t> </a:t>
            </a:r>
          </a:p>
        </p:txBody>
      </p:sp>
      <p:sp>
        <p:nvSpPr>
          <p:cNvPr id="8" name="Rectangle 7"/>
          <p:cNvSpPr/>
          <p:nvPr/>
        </p:nvSpPr>
        <p:spPr>
          <a:xfrm>
            <a:off x="842014" y="4443713"/>
            <a:ext cx="348442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dirty="0">
                <a:hlinkClick r:id="rId6"/>
              </a:rPr>
              <a:t>https://fr.wikipedia.org/wiki/Attentats_du_11_septembre_2001</a:t>
            </a:r>
            <a:r>
              <a:rPr lang="fr-FR" sz="1400" dirty="0"/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328517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8</a:t>
            </a:fld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F3. Wikipédia est publiée sous licence libre</a:t>
            </a:r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531" y="1174682"/>
            <a:ext cx="2587072" cy="3962400"/>
          </a:xfrm>
          <a:prstGeom prst="rect">
            <a:avLst/>
          </a:prstGeom>
        </p:spPr>
      </p:pic>
      <p:sp>
        <p:nvSpPr>
          <p:cNvPr id="11" name="Magnifying_Glass" descr="{&quot;Key&quot;:&quot;POWER_USER_SHAPE_ICON&quot;,&quot;Value&quot;:&quot;POWER_USER_SHAPE_ICON_STYLE_1&quot;}"/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1773627" y="3419816"/>
            <a:ext cx="1960100" cy="1955648"/>
          </a:xfrm>
          <a:custGeom>
            <a:avLst/>
            <a:gdLst>
              <a:gd name="T0" fmla="*/ 1150 w 1171"/>
              <a:gd name="T1" fmla="*/ 1073 h 1166"/>
              <a:gd name="T2" fmla="*/ 779 w 1171"/>
              <a:gd name="T3" fmla="*/ 703 h 1166"/>
              <a:gd name="T4" fmla="*/ 871 w 1171"/>
              <a:gd name="T5" fmla="*/ 436 h 1166"/>
              <a:gd name="T6" fmla="*/ 436 w 1171"/>
              <a:gd name="T7" fmla="*/ 0 h 1166"/>
              <a:gd name="T8" fmla="*/ 0 w 1171"/>
              <a:gd name="T9" fmla="*/ 436 h 1166"/>
              <a:gd name="T10" fmla="*/ 436 w 1171"/>
              <a:gd name="T11" fmla="*/ 871 h 1166"/>
              <a:gd name="T12" fmla="*/ 703 w 1171"/>
              <a:gd name="T13" fmla="*/ 779 h 1166"/>
              <a:gd name="T14" fmla="*/ 1073 w 1171"/>
              <a:gd name="T15" fmla="*/ 1150 h 1166"/>
              <a:gd name="T16" fmla="*/ 1112 w 1171"/>
              <a:gd name="T17" fmla="*/ 1166 h 1166"/>
              <a:gd name="T18" fmla="*/ 1150 w 1171"/>
              <a:gd name="T19" fmla="*/ 1150 h 1166"/>
              <a:gd name="T20" fmla="*/ 1150 w 1171"/>
              <a:gd name="T21" fmla="*/ 1073 h 1166"/>
              <a:gd name="T22" fmla="*/ 109 w 1171"/>
              <a:gd name="T23" fmla="*/ 436 h 1166"/>
              <a:gd name="T24" fmla="*/ 436 w 1171"/>
              <a:gd name="T25" fmla="*/ 109 h 1166"/>
              <a:gd name="T26" fmla="*/ 763 w 1171"/>
              <a:gd name="T27" fmla="*/ 436 h 1166"/>
              <a:gd name="T28" fmla="*/ 436 w 1171"/>
              <a:gd name="T29" fmla="*/ 763 h 1166"/>
              <a:gd name="T30" fmla="*/ 109 w 1171"/>
              <a:gd name="T31" fmla="*/ 436 h 11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171" h="1166">
                <a:moveTo>
                  <a:pt x="1150" y="1073"/>
                </a:moveTo>
                <a:lnTo>
                  <a:pt x="779" y="703"/>
                </a:lnTo>
                <a:cubicBezTo>
                  <a:pt x="837" y="629"/>
                  <a:pt x="871" y="536"/>
                  <a:pt x="871" y="436"/>
                </a:cubicBezTo>
                <a:cubicBezTo>
                  <a:pt x="871" y="196"/>
                  <a:pt x="676" y="0"/>
                  <a:pt x="436" y="0"/>
                </a:cubicBezTo>
                <a:cubicBezTo>
                  <a:pt x="196" y="0"/>
                  <a:pt x="0" y="196"/>
                  <a:pt x="0" y="436"/>
                </a:cubicBezTo>
                <a:cubicBezTo>
                  <a:pt x="0" y="676"/>
                  <a:pt x="196" y="871"/>
                  <a:pt x="436" y="871"/>
                </a:cubicBezTo>
                <a:cubicBezTo>
                  <a:pt x="536" y="871"/>
                  <a:pt x="629" y="837"/>
                  <a:pt x="703" y="779"/>
                </a:cubicBezTo>
                <a:lnTo>
                  <a:pt x="1073" y="1150"/>
                </a:lnTo>
                <a:cubicBezTo>
                  <a:pt x="1084" y="1161"/>
                  <a:pt x="1098" y="1166"/>
                  <a:pt x="1112" y="1166"/>
                </a:cubicBezTo>
                <a:cubicBezTo>
                  <a:pt x="1125" y="1166"/>
                  <a:pt x="1139" y="1161"/>
                  <a:pt x="1150" y="1150"/>
                </a:cubicBezTo>
                <a:cubicBezTo>
                  <a:pt x="1171" y="1129"/>
                  <a:pt x="1171" y="1094"/>
                  <a:pt x="1150" y="1073"/>
                </a:cubicBezTo>
                <a:close/>
                <a:moveTo>
                  <a:pt x="109" y="436"/>
                </a:moveTo>
                <a:cubicBezTo>
                  <a:pt x="109" y="255"/>
                  <a:pt x="255" y="109"/>
                  <a:pt x="436" y="109"/>
                </a:cubicBezTo>
                <a:cubicBezTo>
                  <a:pt x="616" y="109"/>
                  <a:pt x="763" y="255"/>
                  <a:pt x="763" y="436"/>
                </a:cubicBezTo>
                <a:cubicBezTo>
                  <a:pt x="763" y="616"/>
                  <a:pt x="616" y="763"/>
                  <a:pt x="436" y="763"/>
                </a:cubicBezTo>
                <a:cubicBezTo>
                  <a:pt x="256" y="763"/>
                  <a:pt x="109" y="616"/>
                  <a:pt x="109" y="436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ZoneTexte 9"/>
          <p:cNvSpPr txBox="1"/>
          <p:nvPr/>
        </p:nvSpPr>
        <p:spPr>
          <a:xfrm>
            <a:off x="2717636" y="3767449"/>
            <a:ext cx="36137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©Guillaume </a:t>
            </a:r>
            <a:r>
              <a:rPr lang="fr-FR" dirty="0" err="1"/>
              <a:t>Pumier</a:t>
            </a:r>
            <a:r>
              <a:rPr lang="fr-FR" dirty="0"/>
              <a:t> / </a:t>
            </a:r>
            <a:r>
              <a:rPr lang="fr-FR" dirty="0" err="1"/>
              <a:t>Wikimedia</a:t>
            </a:r>
            <a:r>
              <a:rPr lang="fr-FR" dirty="0"/>
              <a:t> Commons, CC-by-3.0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50819" y="1121755"/>
            <a:ext cx="6301741" cy="207800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890220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674EB-CF99-4CC2-8F94-AC08E84D1EAE}" type="slidenum">
              <a:rPr lang="fr-FR" smtClean="0">
                <a:solidFill>
                  <a:prstClr val="white"/>
                </a:solidFill>
              </a:rPr>
              <a:pPr/>
              <a:t>9</a:t>
            </a:fld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1198859" y="16992"/>
            <a:ext cx="7316491" cy="757130"/>
          </a:xfrm>
        </p:spPr>
        <p:txBody>
          <a:bodyPr/>
          <a:lstStyle/>
          <a:p>
            <a:r>
              <a:rPr lang="fr-FR" dirty="0"/>
              <a:t>PF4. Wikipédia est un projet collaboratif qui suit des règles de savoir-vivre </a:t>
            </a: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56166" y="774122"/>
            <a:ext cx="5901881" cy="423647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591551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  <p:tag name="ARTICULATE_DESIGN_ID_1_TEMPLATE UNIVERSITÉ DE BORDEAUX 16/9" val="6Lhml9Dn"/>
  <p:tag name="ARTICULATE_PROJECT_OPEN" val="0"/>
  <p:tag name="ARTICULATE_SLIDE_COUNT" val="4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agnifying-glass_POWER_USER_SEPARATOR_ICONS_find_POWER_USER_SEPARATOR_ICONS_look_POWER_USER_SEPARATOR_ICONS_search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Template Université de Bordeaux 16/9">
  <a:themeElements>
    <a:clrScheme name="Université de Bordeaux">
      <a:dk1>
        <a:srgbClr val="3A1B0B"/>
      </a:dk1>
      <a:lt1>
        <a:sysClr val="window" lastClr="FFFFFF"/>
      </a:lt1>
      <a:dk2>
        <a:srgbClr val="009DE0"/>
      </a:dk2>
      <a:lt2>
        <a:srgbClr val="000000"/>
      </a:lt2>
      <a:accent1>
        <a:srgbClr val="EC6C43"/>
      </a:accent1>
      <a:accent2>
        <a:srgbClr val="57BC71"/>
      </a:accent2>
      <a:accent3>
        <a:srgbClr val="9F3E91"/>
      </a:accent3>
      <a:accent4>
        <a:srgbClr val="34B1A9"/>
      </a:accent4>
      <a:accent5>
        <a:srgbClr val="E53C43"/>
      </a:accent5>
      <a:accent6>
        <a:srgbClr val="BEAD8A"/>
      </a:accent6>
      <a:hlink>
        <a:srgbClr val="3A1B0B"/>
      </a:hlink>
      <a:folHlink>
        <a:srgbClr val="009DE0"/>
      </a:folHlink>
    </a:clrScheme>
    <a:fontScheme name="Personnalisé 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Template Université de Bordeaux 16/9">
  <a:themeElements>
    <a:clrScheme name="Université de Bordeaux">
      <a:dk1>
        <a:srgbClr val="3A1B0B"/>
      </a:dk1>
      <a:lt1>
        <a:sysClr val="window" lastClr="FFFFFF"/>
      </a:lt1>
      <a:dk2>
        <a:srgbClr val="009DE0"/>
      </a:dk2>
      <a:lt2>
        <a:srgbClr val="000000"/>
      </a:lt2>
      <a:accent1>
        <a:srgbClr val="EC6C43"/>
      </a:accent1>
      <a:accent2>
        <a:srgbClr val="57BC71"/>
      </a:accent2>
      <a:accent3>
        <a:srgbClr val="9F3E91"/>
      </a:accent3>
      <a:accent4>
        <a:srgbClr val="34B1A9"/>
      </a:accent4>
      <a:accent5>
        <a:srgbClr val="E53C43"/>
      </a:accent5>
      <a:accent6>
        <a:srgbClr val="BEAD8A"/>
      </a:accent6>
      <a:hlink>
        <a:srgbClr val="3A1B0B"/>
      </a:hlink>
      <a:folHlink>
        <a:srgbClr val="009DE0"/>
      </a:folHlink>
    </a:clrScheme>
    <a:fontScheme name="Personnalisé 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Template Université de Bordeaux 16/9">
  <a:themeElements>
    <a:clrScheme name="Université de Bordeaux">
      <a:dk1>
        <a:srgbClr val="3A1B0B"/>
      </a:dk1>
      <a:lt1>
        <a:sysClr val="window" lastClr="FFFFFF"/>
      </a:lt1>
      <a:dk2>
        <a:srgbClr val="009DE0"/>
      </a:dk2>
      <a:lt2>
        <a:srgbClr val="000000"/>
      </a:lt2>
      <a:accent1>
        <a:srgbClr val="EC6C43"/>
      </a:accent1>
      <a:accent2>
        <a:srgbClr val="57BC71"/>
      </a:accent2>
      <a:accent3>
        <a:srgbClr val="9F3E91"/>
      </a:accent3>
      <a:accent4>
        <a:srgbClr val="34B1A9"/>
      </a:accent4>
      <a:accent5>
        <a:srgbClr val="E53C43"/>
      </a:accent5>
      <a:accent6>
        <a:srgbClr val="BEAD8A"/>
      </a:accent6>
      <a:hlink>
        <a:srgbClr val="3A1B0B"/>
      </a:hlink>
      <a:folHlink>
        <a:srgbClr val="009DE0"/>
      </a:folHlink>
    </a:clrScheme>
    <a:fontScheme name="Personnalisé 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Template Université de Bordeaux 16/9">
  <a:themeElements>
    <a:clrScheme name="Université de Bordeaux">
      <a:dk1>
        <a:srgbClr val="3A1B0B"/>
      </a:dk1>
      <a:lt1>
        <a:sysClr val="window" lastClr="FFFFFF"/>
      </a:lt1>
      <a:dk2>
        <a:srgbClr val="009DE0"/>
      </a:dk2>
      <a:lt2>
        <a:srgbClr val="000000"/>
      </a:lt2>
      <a:accent1>
        <a:srgbClr val="EC6C43"/>
      </a:accent1>
      <a:accent2>
        <a:srgbClr val="57BC71"/>
      </a:accent2>
      <a:accent3>
        <a:srgbClr val="9F3E91"/>
      </a:accent3>
      <a:accent4>
        <a:srgbClr val="34B1A9"/>
      </a:accent4>
      <a:accent5>
        <a:srgbClr val="E53C43"/>
      </a:accent5>
      <a:accent6>
        <a:srgbClr val="BEAD8A"/>
      </a:accent6>
      <a:hlink>
        <a:srgbClr val="3A1B0B"/>
      </a:hlink>
      <a:folHlink>
        <a:srgbClr val="009DE0"/>
      </a:folHlink>
    </a:clrScheme>
    <a:fontScheme name="Personnalisé 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Template Université de Bordeaux 16/9">
  <a:themeElements>
    <a:clrScheme name="Université de Bordeaux">
      <a:dk1>
        <a:srgbClr val="3A1B0B"/>
      </a:dk1>
      <a:lt1>
        <a:sysClr val="window" lastClr="FFFFFF"/>
      </a:lt1>
      <a:dk2>
        <a:srgbClr val="009DE0"/>
      </a:dk2>
      <a:lt2>
        <a:srgbClr val="000000"/>
      </a:lt2>
      <a:accent1>
        <a:srgbClr val="EC6C43"/>
      </a:accent1>
      <a:accent2>
        <a:srgbClr val="57BC71"/>
      </a:accent2>
      <a:accent3>
        <a:srgbClr val="9F3E91"/>
      </a:accent3>
      <a:accent4>
        <a:srgbClr val="34B1A9"/>
      </a:accent4>
      <a:accent5>
        <a:srgbClr val="E53C43"/>
      </a:accent5>
      <a:accent6>
        <a:srgbClr val="BEAD8A"/>
      </a:accent6>
      <a:hlink>
        <a:srgbClr val="3A1B0B"/>
      </a:hlink>
      <a:folHlink>
        <a:srgbClr val="009DE0"/>
      </a:folHlink>
    </a:clrScheme>
    <a:fontScheme name="Personnalisé 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9480</TotalTime>
  <Words>983</Words>
  <Application>Microsoft Office PowerPoint</Application>
  <PresentationFormat>Affichage à l'écran (16:9)</PresentationFormat>
  <Paragraphs>150</Paragraphs>
  <Slides>38</Slides>
  <Notes>6</Notes>
  <HiddenSlides>0</HiddenSlides>
  <MMClips>0</MMClips>
  <ScaleCrop>false</ScaleCrop>
  <HeadingPairs>
    <vt:vector size="6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5</vt:i4>
      </vt:variant>
      <vt:variant>
        <vt:lpstr>Titres des diapositives</vt:lpstr>
      </vt:variant>
      <vt:variant>
        <vt:i4>38</vt:i4>
      </vt:variant>
    </vt:vector>
  </HeadingPairs>
  <TitlesOfParts>
    <vt:vector size="46" baseType="lpstr">
      <vt:lpstr>Arial</vt:lpstr>
      <vt:lpstr>Calibri</vt:lpstr>
      <vt:lpstr>Symbol</vt:lpstr>
      <vt:lpstr>Template Université de Bordeaux 16/9</vt:lpstr>
      <vt:lpstr>1_Template Université de Bordeaux 16/9</vt:lpstr>
      <vt:lpstr>2_Template Université de Bordeaux 16/9</vt:lpstr>
      <vt:lpstr>3_Template Université de Bordeaux 16/9</vt:lpstr>
      <vt:lpstr>4_Template Université de Bordeaux 16/9</vt:lpstr>
      <vt:lpstr>Présentation PowerPoint</vt:lpstr>
      <vt:lpstr>Présentation PowerPoint</vt:lpstr>
      <vt:lpstr>Présentation PowerPoint</vt:lpstr>
      <vt:lpstr>Les origines de Wikipédia</vt:lpstr>
      <vt:lpstr>Wikipédia : 5 Principes Fondateurs (PF)</vt:lpstr>
      <vt:lpstr>PF1. Wikipédia est une encyclopédie</vt:lpstr>
      <vt:lpstr>PF2. Wikipédia recherche la neutralité de point de vue</vt:lpstr>
      <vt:lpstr>PF3. Wikipédia est publiée sous licence libre</vt:lpstr>
      <vt:lpstr>PF4. Wikipédia est un projet collaboratif qui suit des règles de savoir-vivre </vt:lpstr>
      <vt:lpstr>PF5. Wikipédia n’a pas d’autres règles fixes</vt:lpstr>
      <vt:lpstr>Présentation PowerPoint</vt:lpstr>
      <vt:lpstr>Une communauté large : Wikipédia FR</vt:lpstr>
      <vt:lpstr>Une communauté structurée : rôles principaux</vt:lpstr>
      <vt:lpstr>Ajouter une page à sa liste de suivi</vt:lpstr>
      <vt:lpstr>Ajouter une page à sa liste de suivi /2</vt:lpstr>
      <vt:lpstr>Un ensemble de contributeurs qui modèrent Wikipédia : les patrouilleurs </vt:lpstr>
      <vt:lpstr>Un outil de suivi en temps réel : LiveRC</vt:lpstr>
      <vt:lpstr>Présentation PowerPoint</vt:lpstr>
      <vt:lpstr>Les robots sur Wikipédia</vt:lpstr>
      <vt:lpstr>Outil d’aide contre le vandalisme</vt:lpstr>
      <vt:lpstr>Un principe pour éviter les guerres d’édition : la règle des 3 révocations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Aucune page n’est parfaite</vt:lpstr>
      <vt:lpstr>Présentation PowerPoint</vt:lpstr>
      <vt:lpstr>Présentation PowerPoint</vt:lpstr>
      <vt:lpstr>Présentation PowerPoint</vt:lpstr>
      <vt:lpstr>Nuances : bien fait mais beaucoup de sources primaires (sur des faits)</vt:lpstr>
      <vt:lpstr>Nuances : bien fait mais beaucoup de sources primaires (sur des faits)</vt:lpstr>
      <vt:lpstr>Présentation PowerPoint</vt:lpstr>
      <vt:lpstr>Les bandeaux sur Wikipédia, un nuancier de qualité</vt:lpstr>
    </vt:vector>
  </TitlesOfParts>
  <Company>Université de Bordeaux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mplate 16/9 - Université de Bordeaux</dc:title>
  <dc:creator>Jason</dc:creator>
  <cp:lastModifiedBy>Morgane Russeil</cp:lastModifiedBy>
  <cp:revision>583</cp:revision>
  <dcterms:created xsi:type="dcterms:W3CDTF">2019-03-15T07:57:19Z</dcterms:created>
  <dcterms:modified xsi:type="dcterms:W3CDTF">2025-10-15T07:18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50B3D5FC-7369-4E50-8D6D-59ACC148B428</vt:lpwstr>
  </property>
  <property fmtid="{D5CDD505-2E9C-101B-9397-08002B2CF9AE}" pid="3" name="ArticulatePath">
    <vt:lpwstr>WIkIST</vt:lpwstr>
  </property>
</Properties>
</file>